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2.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4.xml" ContentType="application/vnd.openxmlformats-officedocument.theme+xml"/>
  <Override PartName="/ppt/tags/tag2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6.xml" ContentType="application/vnd.openxmlformats-officedocument.presentationml.notesSlide+xml"/>
  <Override PartName="/ppt/tags/tag46.xml" ContentType="application/vnd.openxmlformats-officedocument.presentationml.tags+xml"/>
  <Override PartName="/ppt/notesSlides/notesSlide7.xml" ContentType="application/vnd.openxmlformats-officedocument.presentationml.notesSlide+xml"/>
  <Override PartName="/ppt/tags/tag47.xml" ContentType="application/vnd.openxmlformats-officedocument.presentationml.tags+xml"/>
  <Override PartName="/ppt/notesSlides/notesSlide8.xml" ContentType="application/vnd.openxmlformats-officedocument.presentationml.notesSlide+xml"/>
  <Override PartName="/ppt/tags/tag48.xml" ContentType="application/vnd.openxmlformats-officedocument.presentationml.tags+xml"/>
  <Override PartName="/ppt/notesSlides/notesSlide9.xml" ContentType="application/vnd.openxmlformats-officedocument.presentationml.notesSlide+xml"/>
  <Override PartName="/ppt/tags/tag49.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ppt/notesSlides/notesSlide11.xml" ContentType="application/vnd.openxmlformats-officedocument.presentationml.notesSlide+xml"/>
  <Override PartName="/ppt/tags/tag51.xml" ContentType="application/vnd.openxmlformats-officedocument.presentationml.tags+xml"/>
  <Override PartName="/ppt/notesSlides/notesSlide12.xml" ContentType="application/vnd.openxmlformats-officedocument.presentationml.notesSlide+xml"/>
  <Override PartName="/ppt/tags/tag52.xml" ContentType="application/vnd.openxmlformats-officedocument.presentationml.tags+xml"/>
  <Override PartName="/ppt/notesSlides/notesSlide13.xml" ContentType="application/vnd.openxmlformats-officedocument.presentationml.notesSlide+xml"/>
  <Override PartName="/ppt/tags/tag53.xml" ContentType="application/vnd.openxmlformats-officedocument.presentationml.tags+xml"/>
  <Override PartName="/ppt/notesSlides/notesSlide14.xml" ContentType="application/vnd.openxmlformats-officedocument.presentationml.notesSlide+xml"/>
  <Override PartName="/ppt/tags/tag54.xml" ContentType="application/vnd.openxmlformats-officedocument.presentationml.tags+xml"/>
  <Override PartName="/ppt/notesSlides/notesSlide15.xml" ContentType="application/vnd.openxmlformats-officedocument.presentationml.notesSlide+xml"/>
  <Override PartName="/ppt/tags/tag55.xml" ContentType="application/vnd.openxmlformats-officedocument.presentationml.tags+xml"/>
  <Override PartName="/ppt/notesSlides/notesSlide16.xml" ContentType="application/vnd.openxmlformats-officedocument.presentationml.notesSlide+xml"/>
  <Override PartName="/ppt/tags/tag56.xml" ContentType="application/vnd.openxmlformats-officedocument.presentationml.tags+xml"/>
  <Override PartName="/ppt/notesSlides/notesSlide17.xml" ContentType="application/vnd.openxmlformats-officedocument.presentationml.notesSlide+xml"/>
  <Override PartName="/ppt/tags/tag57.xml" ContentType="application/vnd.openxmlformats-officedocument.presentationml.tags+xml"/>
  <Override PartName="/ppt/notesSlides/notesSlide18.xml" ContentType="application/vnd.openxmlformats-officedocument.presentationml.notesSlide+xml"/>
  <Override PartName="/ppt/tags/tag58.xml" ContentType="application/vnd.openxmlformats-officedocument.presentationml.tags+xml"/>
  <Override PartName="/ppt/notesSlides/notesSlide19.xml" ContentType="application/vnd.openxmlformats-officedocument.presentationml.notesSlide+xml"/>
  <Override PartName="/ppt/tags/tag59.xml" ContentType="application/vnd.openxmlformats-officedocument.presentationml.tags+xml"/>
  <Override PartName="/ppt/notesSlides/notesSlide20.xml" ContentType="application/vnd.openxmlformats-officedocument.presentationml.notesSlide+xml"/>
  <Override PartName="/ppt/tags/tag60.xml" ContentType="application/vnd.openxmlformats-officedocument.presentationml.tags+xml"/>
  <Override PartName="/ppt/notesSlides/notesSlide21.xml" ContentType="application/vnd.openxmlformats-officedocument.presentationml.notesSlide+xml"/>
  <Override PartName="/ppt/tags/tag61.xml" ContentType="application/vnd.openxmlformats-officedocument.presentationml.tags+xml"/>
  <Override PartName="/ppt/notesSlides/notesSlide22.xml" ContentType="application/vnd.openxmlformats-officedocument.presentationml.notesSlide+xml"/>
  <Override PartName="/ppt/tags/tag62.xml" ContentType="application/vnd.openxmlformats-officedocument.presentationml.tags+xml"/>
  <Override PartName="/ppt/notesSlides/notesSlide23.xml" ContentType="application/vnd.openxmlformats-officedocument.presentationml.notesSlide+xml"/>
  <Override PartName="/ppt/tags/tag63.xml" ContentType="application/vnd.openxmlformats-officedocument.presentationml.tags+xml"/>
  <Override PartName="/ppt/notesSlides/notesSlide24.xml" ContentType="application/vnd.openxmlformats-officedocument.presentationml.notesSlide+xml"/>
  <Override PartName="/ppt/tags/tag64.xml" ContentType="application/vnd.openxmlformats-officedocument.presentationml.tags+xml"/>
  <Override PartName="/ppt/notesSlides/notesSlide25.xml" ContentType="application/vnd.openxmlformats-officedocument.presentationml.notesSlide+xml"/>
  <Override PartName="/ppt/tags/tag65.xml" ContentType="application/vnd.openxmlformats-officedocument.presentationml.tags+xml"/>
  <Override PartName="/ppt/notesSlides/notesSlide26.xml" ContentType="application/vnd.openxmlformats-officedocument.presentationml.notesSlide+xml"/>
  <Override PartName="/ppt/tags/tag66.xml" ContentType="application/vnd.openxmlformats-officedocument.presentationml.tags+xml"/>
  <Override PartName="/ppt/notesSlides/notesSlide27.xml" ContentType="application/vnd.openxmlformats-officedocument.presentationml.notesSlide+xml"/>
  <Override PartName="/ppt/tags/tag67.xml" ContentType="application/vnd.openxmlformats-officedocument.presentationml.tags+xml"/>
  <Override PartName="/ppt/notesSlides/notesSlide2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29.xml" ContentType="application/vnd.openxmlformats-officedocument.presentationml.notesSlide+xml"/>
  <Override PartName="/ppt/tags/tag70.xml" ContentType="application/vnd.openxmlformats-officedocument.presentationml.tags+xml"/>
  <Override PartName="/ppt/notesSlides/notesSlide30.xml" ContentType="application/vnd.openxmlformats-officedocument.presentationml.notesSlide+xml"/>
  <Override PartName="/ppt/tags/tag71.xml" ContentType="application/vnd.openxmlformats-officedocument.presentationml.tags+xml"/>
  <Override PartName="/ppt/notesSlides/notesSlide31.xml" ContentType="application/vnd.openxmlformats-officedocument.presentationml.notesSlide+xml"/>
  <Override PartName="/ppt/tags/tag72.xml" ContentType="application/vnd.openxmlformats-officedocument.presentationml.tags+xml"/>
  <Override PartName="/ppt/notesSlides/notesSlide32.xml" ContentType="application/vnd.openxmlformats-officedocument.presentationml.notesSlide+xml"/>
  <Override PartName="/ppt/tags/tag73.xml" ContentType="application/vnd.openxmlformats-officedocument.presentationml.tags+xml"/>
  <Override PartName="/ppt/notesSlides/notesSlide33.xml" ContentType="application/vnd.openxmlformats-officedocument.presentationml.notesSlide+xml"/>
  <Override PartName="/ppt/tags/tag74.xml" ContentType="application/vnd.openxmlformats-officedocument.presentationml.tags+xml"/>
  <Override PartName="/ppt/notesSlides/notesSlide34.xml" ContentType="application/vnd.openxmlformats-officedocument.presentationml.notesSlide+xml"/>
  <Override PartName="/ppt/tags/tag75.xml" ContentType="application/vnd.openxmlformats-officedocument.presentationml.tags+xml"/>
  <Override PartName="/ppt/notesSlides/notesSlide35.xml" ContentType="application/vnd.openxmlformats-officedocument.presentationml.notesSlide+xml"/>
  <Override PartName="/ppt/tags/tag76.xml" ContentType="application/vnd.openxmlformats-officedocument.presentationml.tags+xml"/>
  <Override PartName="/ppt/notesSlides/notesSlide36.xml" ContentType="application/vnd.openxmlformats-officedocument.presentationml.notesSlide+xml"/>
  <Override PartName="/ppt/tags/tag77.xml" ContentType="application/vnd.openxmlformats-officedocument.presentationml.tags+xml"/>
  <Override PartName="/ppt/notesSlides/notesSlide37.xml" ContentType="application/vnd.openxmlformats-officedocument.presentationml.notesSlide+xml"/>
  <Override PartName="/ppt/tags/tag78.xml" ContentType="application/vnd.openxmlformats-officedocument.presentationml.tags+xml"/>
  <Override PartName="/ppt/notesSlides/notesSlide38.xml" ContentType="application/vnd.openxmlformats-officedocument.presentationml.notesSlide+xml"/>
  <Override PartName="/ppt/tags/tag79.xml" ContentType="application/vnd.openxmlformats-officedocument.presentationml.tags+xml"/>
  <Override PartName="/ppt/notesSlides/notesSlide39.xml" ContentType="application/vnd.openxmlformats-officedocument.presentationml.notesSlide+xml"/>
  <Override PartName="/ppt/tags/tag80.xml" ContentType="application/vnd.openxmlformats-officedocument.presentationml.tags+xml"/>
  <Override PartName="/ppt/notesSlides/notesSlide40.xml" ContentType="application/vnd.openxmlformats-officedocument.presentationml.notesSlide+xml"/>
  <Override PartName="/ppt/tags/tag81.xml" ContentType="application/vnd.openxmlformats-officedocument.presentationml.tags+xml"/>
  <Override PartName="/ppt/notesSlides/notesSlide41.xml" ContentType="application/vnd.openxmlformats-officedocument.presentationml.notesSlide+xml"/>
  <Override PartName="/ppt/tags/tag82.xml" ContentType="application/vnd.openxmlformats-officedocument.presentationml.tags+xml"/>
  <Override PartName="/ppt/notesSlides/notesSlide42.xml" ContentType="application/vnd.openxmlformats-officedocument.presentationml.notesSlide+xml"/>
  <Override PartName="/ppt/tags/tag83.xml" ContentType="application/vnd.openxmlformats-officedocument.presentationml.tags+xml"/>
  <Override PartName="/ppt/notesSlides/notesSlide43.xml" ContentType="application/vnd.openxmlformats-officedocument.presentationml.notesSlide+xml"/>
  <Override PartName="/ppt/tags/tag84.xml" ContentType="application/vnd.openxmlformats-officedocument.presentationml.tags+xml"/>
  <Override PartName="/ppt/notesSlides/notesSlide44.xml" ContentType="application/vnd.openxmlformats-officedocument.presentationml.notesSlide+xml"/>
  <Override PartName="/ppt/tags/tag85.xml" ContentType="application/vnd.openxmlformats-officedocument.presentationml.tags+xml"/>
  <Override PartName="/ppt/notesSlides/notesSlide45.xml" ContentType="application/vnd.openxmlformats-officedocument.presentationml.notesSlide+xml"/>
  <Override PartName="/ppt/tags/tag86.xml" ContentType="application/vnd.openxmlformats-officedocument.presentationml.tags+xml"/>
  <Override PartName="/ppt/notesSlides/notesSlide46.xml" ContentType="application/vnd.openxmlformats-officedocument.presentationml.notesSlide+xml"/>
  <Override PartName="/ppt/tags/tag87.xml" ContentType="application/vnd.openxmlformats-officedocument.presentationml.tags+xml"/>
  <Override PartName="/ppt/notesSlides/notesSlide47.xml" ContentType="application/vnd.openxmlformats-officedocument.presentationml.notesSlide+xml"/>
  <Override PartName="/ppt/tags/tag88.xml" ContentType="application/vnd.openxmlformats-officedocument.presentationml.tags+xml"/>
  <Override PartName="/ppt/notesSlides/notesSlide48.xml" ContentType="application/vnd.openxmlformats-officedocument.presentationml.notesSlide+xml"/>
  <Override PartName="/ppt/tags/tag89.xml" ContentType="application/vnd.openxmlformats-officedocument.presentationml.tags+xml"/>
  <Override PartName="/ppt/notesSlides/notesSlide49.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99.xml" ContentType="application/vnd.openxmlformats-officedocument.presentationml.tags+xml"/>
  <Override PartName="/ppt/notesSlides/notesSlide52.xml" ContentType="application/vnd.openxmlformats-officedocument.presentationml.notesSlide+xml"/>
  <Override PartName="/ppt/tags/tag100.xml" ContentType="application/vnd.openxmlformats-officedocument.presentationml.tags+xml"/>
  <Override PartName="/ppt/notesSlides/notesSlide53.xml" ContentType="application/vnd.openxmlformats-officedocument.presentationml.notesSlide+xml"/>
  <Override PartName="/ppt/tags/tag101.xml" ContentType="application/vnd.openxmlformats-officedocument.presentationml.tags+xml"/>
  <Override PartName="/ppt/notesSlides/notesSlide54.xml" ContentType="application/vnd.openxmlformats-officedocument.presentationml.notesSlide+xml"/>
  <Override PartName="/ppt/tags/tag102.xml" ContentType="application/vnd.openxmlformats-officedocument.presentationml.tags+xml"/>
  <Override PartName="/ppt/notesSlides/notesSlide55.xml" ContentType="application/vnd.openxmlformats-officedocument.presentationml.notesSlide+xml"/>
  <Override PartName="/ppt/tags/tag103.xml" ContentType="application/vnd.openxmlformats-officedocument.presentationml.tags+xml"/>
  <Override PartName="/ppt/notesSlides/notesSlide56.xml" ContentType="application/vnd.openxmlformats-officedocument.presentationml.notesSlide+xml"/>
  <Override PartName="/ppt/tags/tag104.xml" ContentType="application/vnd.openxmlformats-officedocument.presentationml.tags+xml"/>
  <Override PartName="/ppt/notesSlides/notesSlide57.xml" ContentType="application/vnd.openxmlformats-officedocument.presentationml.notesSlide+xml"/>
  <Override PartName="/ppt/tags/tag105.xml" ContentType="application/vnd.openxmlformats-officedocument.presentationml.tags+xml"/>
  <Override PartName="/ppt/notesSlides/notesSlide58.xml" ContentType="application/vnd.openxmlformats-officedocument.presentationml.notesSlide+xml"/>
  <Override PartName="/ppt/tags/tag106.xml" ContentType="application/vnd.openxmlformats-officedocument.presentationml.tags+xml"/>
  <Override PartName="/ppt/notesSlides/notesSlide59.xml" ContentType="application/vnd.openxmlformats-officedocument.presentationml.notesSlide+xml"/>
  <Override PartName="/ppt/tags/tag107.xml" ContentType="application/vnd.openxmlformats-officedocument.presentationml.tags+xml"/>
  <Override PartName="/ppt/notesSlides/notesSlide60.xml" ContentType="application/vnd.openxmlformats-officedocument.presentationml.notesSlide+xml"/>
  <Override PartName="/ppt/tags/tag108.xml" ContentType="application/vnd.openxmlformats-officedocument.presentationml.tags+xml"/>
  <Override PartName="/ppt/notesSlides/notesSlide61.xml" ContentType="application/vnd.openxmlformats-officedocument.presentationml.notesSlide+xml"/>
  <Override PartName="/ppt/tags/tag109.xml" ContentType="application/vnd.openxmlformats-officedocument.presentationml.tags+xml"/>
  <Override PartName="/ppt/notesSlides/notesSlide62.xml" ContentType="application/vnd.openxmlformats-officedocument.presentationml.notesSlide+xml"/>
  <Override PartName="/ppt/tags/tag110.xml" ContentType="application/vnd.openxmlformats-officedocument.presentationml.tags+xml"/>
  <Override PartName="/ppt/notesSlides/notesSlide63.xml" ContentType="application/vnd.openxmlformats-officedocument.presentationml.notesSlide+xml"/>
  <Override PartName="/ppt/tags/tag111.xml" ContentType="application/vnd.openxmlformats-officedocument.presentationml.tags+xml"/>
  <Override PartName="/ppt/notesSlides/notesSlide64.xml" ContentType="application/vnd.openxmlformats-officedocument.presentationml.notesSlide+xml"/>
  <Override PartName="/ppt/tags/tag112.xml" ContentType="application/vnd.openxmlformats-officedocument.presentationml.tags+xml"/>
  <Override PartName="/ppt/notesSlides/notesSlide65.xml" ContentType="application/vnd.openxmlformats-officedocument.presentationml.notesSlide+xml"/>
  <Override PartName="/ppt/tags/tag113.xml" ContentType="application/vnd.openxmlformats-officedocument.presentationml.tags+xml"/>
  <Override PartName="/ppt/notesSlides/notesSlide66.xml" ContentType="application/vnd.openxmlformats-officedocument.presentationml.notesSlide+xml"/>
  <Override PartName="/ppt/tags/tag114.xml" ContentType="application/vnd.openxmlformats-officedocument.presentationml.tags+xml"/>
  <Override PartName="/ppt/notesSlides/notesSlide67.xml" ContentType="application/vnd.openxmlformats-officedocument.presentationml.notesSlide+xml"/>
  <Override PartName="/ppt/tags/tag115.xml" ContentType="application/vnd.openxmlformats-officedocument.presentationml.tags+xml"/>
  <Override PartName="/ppt/notesSlides/notesSlide68.xml" ContentType="application/vnd.openxmlformats-officedocument.presentationml.notesSlide+xml"/>
  <Override PartName="/ppt/tags/tag116.xml" ContentType="application/vnd.openxmlformats-officedocument.presentationml.tags+xml"/>
  <Override PartName="/ppt/notesSlides/notesSlide69.xml" ContentType="application/vnd.openxmlformats-officedocument.presentationml.notesSlide+xml"/>
  <Override PartName="/ppt/tags/tag117.xml" ContentType="application/vnd.openxmlformats-officedocument.presentationml.tags+xml"/>
  <Override PartName="/ppt/notesSlides/notesSlide70.xml" ContentType="application/vnd.openxmlformats-officedocument.presentationml.notesSlide+xml"/>
  <Override PartName="/ppt/tags/tag118.xml" ContentType="application/vnd.openxmlformats-officedocument.presentationml.tags+xml"/>
  <Override PartName="/ppt/notesSlides/notesSlide71.xml" ContentType="application/vnd.openxmlformats-officedocument.presentationml.notesSlide+xml"/>
  <Override PartName="/ppt/tags/tag119.xml" ContentType="application/vnd.openxmlformats-officedocument.presentationml.tags+xml"/>
  <Override PartName="/ppt/notesSlides/notesSlide72.xml" ContentType="application/vnd.openxmlformats-officedocument.presentationml.notesSlide+xml"/>
  <Override PartName="/ppt/tags/tag120.xml" ContentType="application/vnd.openxmlformats-officedocument.presentationml.tags+xml"/>
  <Override PartName="/ppt/notesSlides/notesSlide7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752" r:id="rId5"/>
    <p:sldMasterId id="2147483810" r:id="rId6"/>
    <p:sldMasterId id="2147483888" r:id="rId7"/>
  </p:sldMasterIdLst>
  <p:notesMasterIdLst>
    <p:notesMasterId r:id="rId126"/>
  </p:notesMasterIdLst>
  <p:handoutMasterIdLst>
    <p:handoutMasterId r:id="rId127"/>
  </p:handoutMasterIdLst>
  <p:sldIdLst>
    <p:sldId id="801" r:id="rId8"/>
    <p:sldId id="669" r:id="rId9"/>
    <p:sldId id="803" r:id="rId10"/>
    <p:sldId id="813" r:id="rId11"/>
    <p:sldId id="611" r:id="rId12"/>
    <p:sldId id="700" r:id="rId13"/>
    <p:sldId id="641" r:id="rId14"/>
    <p:sldId id="842" r:id="rId15"/>
    <p:sldId id="401" r:id="rId16"/>
    <p:sldId id="402" r:id="rId17"/>
    <p:sldId id="403" r:id="rId18"/>
    <p:sldId id="404" r:id="rId19"/>
    <p:sldId id="405" r:id="rId20"/>
    <p:sldId id="406" r:id="rId21"/>
    <p:sldId id="638" r:id="rId22"/>
    <p:sldId id="639" r:id="rId23"/>
    <p:sldId id="661" r:id="rId24"/>
    <p:sldId id="814" r:id="rId25"/>
    <p:sldId id="808" r:id="rId26"/>
    <p:sldId id="809" r:id="rId27"/>
    <p:sldId id="811" r:id="rId28"/>
    <p:sldId id="812" r:id="rId29"/>
    <p:sldId id="821" r:id="rId30"/>
    <p:sldId id="815" r:id="rId31"/>
    <p:sldId id="817" r:id="rId32"/>
    <p:sldId id="265" r:id="rId33"/>
    <p:sldId id="824" r:id="rId34"/>
    <p:sldId id="702" r:id="rId35"/>
    <p:sldId id="724" r:id="rId36"/>
    <p:sldId id="832" r:id="rId37"/>
    <p:sldId id="833" r:id="rId38"/>
    <p:sldId id="834" r:id="rId39"/>
    <p:sldId id="835" r:id="rId40"/>
    <p:sldId id="836" r:id="rId41"/>
    <p:sldId id="379" r:id="rId42"/>
    <p:sldId id="841" r:id="rId43"/>
    <p:sldId id="837" r:id="rId44"/>
    <p:sldId id="838" r:id="rId45"/>
    <p:sldId id="839" r:id="rId46"/>
    <p:sldId id="840" r:id="rId47"/>
    <p:sldId id="703" r:id="rId48"/>
    <p:sldId id="850" r:id="rId49"/>
    <p:sldId id="709" r:id="rId50"/>
    <p:sldId id="798" r:id="rId51"/>
    <p:sldId id="828" r:id="rId52"/>
    <p:sldId id="851" r:id="rId53"/>
    <p:sldId id="852" r:id="rId54"/>
    <p:sldId id="853" r:id="rId55"/>
    <p:sldId id="854" r:id="rId56"/>
    <p:sldId id="739" r:id="rId57"/>
    <p:sldId id="728" r:id="rId58"/>
    <p:sldId id="733" r:id="rId59"/>
    <p:sldId id="736" r:id="rId60"/>
    <p:sldId id="740" r:id="rId61"/>
    <p:sldId id="742" r:id="rId62"/>
    <p:sldId id="746" r:id="rId63"/>
    <p:sldId id="747" r:id="rId64"/>
    <p:sldId id="752" r:id="rId65"/>
    <p:sldId id="686" r:id="rId66"/>
    <p:sldId id="704" r:id="rId67"/>
    <p:sldId id="791" r:id="rId68"/>
    <p:sldId id="761" r:id="rId69"/>
    <p:sldId id="804" r:id="rId70"/>
    <p:sldId id="705" r:id="rId71"/>
    <p:sldId id="765" r:id="rId72"/>
    <p:sldId id="820" r:id="rId73"/>
    <p:sldId id="819" r:id="rId74"/>
    <p:sldId id="706" r:id="rId75"/>
    <p:sldId id="772" r:id="rId76"/>
    <p:sldId id="805" r:id="rId77"/>
    <p:sldId id="711" r:id="rId78"/>
    <p:sldId id="806" r:id="rId79"/>
    <p:sldId id="707" r:id="rId80"/>
    <p:sldId id="768" r:id="rId81"/>
    <p:sldId id="807" r:id="rId82"/>
    <p:sldId id="708" r:id="rId83"/>
    <p:sldId id="849" r:id="rId84"/>
    <p:sldId id="720" r:id="rId85"/>
    <p:sldId id="782" r:id="rId86"/>
    <p:sldId id="719" r:id="rId87"/>
    <p:sldId id="783" r:id="rId88"/>
    <p:sldId id="784" r:id="rId89"/>
    <p:sldId id="785" r:id="rId90"/>
    <p:sldId id="802" r:id="rId91"/>
    <p:sldId id="792" r:id="rId92"/>
    <p:sldId id="613" r:id="rId93"/>
    <p:sldId id="843" r:id="rId94"/>
    <p:sldId id="844" r:id="rId95"/>
    <p:sldId id="845" r:id="rId96"/>
    <p:sldId id="846" r:id="rId97"/>
    <p:sldId id="847" r:id="rId98"/>
    <p:sldId id="848" r:id="rId99"/>
    <p:sldId id="712" r:id="rId100"/>
    <p:sldId id="713" r:id="rId101"/>
    <p:sldId id="599" r:id="rId102"/>
    <p:sldId id="667" r:id="rId103"/>
    <p:sldId id="650" r:id="rId104"/>
    <p:sldId id="651" r:id="rId105"/>
    <p:sldId id="605" r:id="rId106"/>
    <p:sldId id="590" r:id="rId107"/>
    <p:sldId id="717" r:id="rId108"/>
    <p:sldId id="642" r:id="rId109"/>
    <p:sldId id="643" r:id="rId110"/>
    <p:sldId id="644" r:id="rId111"/>
    <p:sldId id="645" r:id="rId112"/>
    <p:sldId id="647" r:id="rId113"/>
    <p:sldId id="593" r:id="rId114"/>
    <p:sldId id="598" r:id="rId115"/>
    <p:sldId id="723" r:id="rId116"/>
    <p:sldId id="306" r:id="rId117"/>
    <p:sldId id="327" r:id="rId118"/>
    <p:sldId id="326" r:id="rId119"/>
    <p:sldId id="307" r:id="rId120"/>
    <p:sldId id="325" r:id="rId121"/>
    <p:sldId id="322" r:id="rId122"/>
    <p:sldId id="317" r:id="rId123"/>
    <p:sldId id="328" r:id="rId124"/>
    <p:sldId id="726" r:id="rId125"/>
  </p:sldIdLst>
  <p:sldSz cx="12192000" cy="6858000"/>
  <p:notesSz cx="7102475" cy="10234613"/>
  <p:custDataLst>
    <p:tags r:id="rId1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89625A9D-10EB-4317-8B5E-D56003A29E5C}">
          <p14:sldIdLst>
            <p14:sldId id="801"/>
            <p14:sldId id="669"/>
          </p14:sldIdLst>
        </p14:section>
        <p14:section name="Gas analyzer solutions for industrial gas" id="{D5CB7A98-0DC7-456E-ACD9-755339068A92}">
          <p14:sldIdLst>
            <p14:sldId id="803"/>
            <p14:sldId id="813"/>
            <p14:sldId id="611"/>
            <p14:sldId id="700"/>
            <p14:sldId id="641"/>
            <p14:sldId id="842"/>
            <p14:sldId id="401"/>
            <p14:sldId id="402"/>
            <p14:sldId id="403"/>
            <p14:sldId id="404"/>
            <p14:sldId id="405"/>
            <p14:sldId id="406"/>
            <p14:sldId id="638"/>
            <p14:sldId id="639"/>
            <p14:sldId id="661"/>
            <p14:sldId id="814"/>
            <p14:sldId id="808"/>
            <p14:sldId id="809"/>
            <p14:sldId id="811"/>
            <p14:sldId id="812"/>
            <p14:sldId id="821"/>
            <p14:sldId id="815"/>
            <p14:sldId id="817"/>
            <p14:sldId id="265"/>
            <p14:sldId id="824"/>
          </p14:sldIdLst>
        </p14:section>
        <p14:section name="Air separation &amp; argon purification" id="{28FE9B3D-49B1-4B00-B4A7-1B2604BE8F93}">
          <p14:sldIdLst>
            <p14:sldId id="702"/>
            <p14:sldId id="724"/>
            <p14:sldId id="832"/>
            <p14:sldId id="833"/>
            <p14:sldId id="834"/>
            <p14:sldId id="835"/>
            <p14:sldId id="836"/>
            <p14:sldId id="379"/>
            <p14:sldId id="841"/>
            <p14:sldId id="837"/>
            <p14:sldId id="838"/>
            <p14:sldId id="839"/>
            <p14:sldId id="840"/>
          </p14:sldIdLst>
        </p14:section>
        <p14:section name="Hydrogen, carbon monoxide &amp; syngas production" id="{59CAE2A8-3FA3-46CD-BD31-30E10D3286C3}">
          <p14:sldIdLst>
            <p14:sldId id="703"/>
            <p14:sldId id="850"/>
            <p14:sldId id="709"/>
            <p14:sldId id="798"/>
            <p14:sldId id="828"/>
            <p14:sldId id="851"/>
            <p14:sldId id="852"/>
            <p14:sldId id="853"/>
            <p14:sldId id="854"/>
          </p14:sldIdLst>
        </p14:section>
        <p14:section name="Interlinks with petrochemical industry" id="{DCF14E13-3312-4E3E-96C3-D6836B2EFAA6}">
          <p14:sldIdLst>
            <p14:sldId id="739"/>
            <p14:sldId id="728"/>
            <p14:sldId id="733"/>
            <p14:sldId id="736"/>
            <p14:sldId id="740"/>
            <p14:sldId id="742"/>
            <p14:sldId id="746"/>
            <p14:sldId id="747"/>
            <p14:sldId id="752"/>
            <p14:sldId id="686"/>
          </p14:sldIdLst>
        </p14:section>
        <p14:section name="Large scale CO2 – associated with H2 / syngas / ammonia" id="{67483381-833A-4926-93E6-561B03633F40}">
          <p14:sldIdLst>
            <p14:sldId id="704"/>
            <p14:sldId id="791"/>
            <p14:sldId id="761"/>
            <p14:sldId id="804"/>
          </p14:sldIdLst>
        </p14:section>
        <p14:section name="Natural Gas – LNG / CNG" id="{F3D5637E-2C64-4ABB-9397-DA00982D28DC}">
          <p14:sldIdLst>
            <p14:sldId id="705"/>
            <p14:sldId id="765"/>
            <p14:sldId id="820"/>
            <p14:sldId id="819"/>
          </p14:sldIdLst>
        </p14:section>
        <p14:section name="Biomethane &amp; small-scale CO2" id="{E0CEBDEE-0A78-4B63-BF16-5335C72E0CF1}">
          <p14:sldIdLst>
            <p14:sldId id="706"/>
            <p14:sldId id="772"/>
            <p14:sldId id="805"/>
            <p14:sldId id="711"/>
            <p14:sldId id="806"/>
          </p14:sldIdLst>
        </p14:section>
        <p14:section name="Hydrogen – emerging applications" id="{75C85545-C657-4EBC-85D2-C67370069203}">
          <p14:sldIdLst>
            <p14:sldId id="707"/>
            <p14:sldId id="768"/>
            <p14:sldId id="807"/>
          </p14:sldIdLst>
        </p14:section>
        <p14:section name="Cylinder / specialty gases" id="{901D497E-8B5F-4ECC-8323-A32F5A60E016}">
          <p14:sldIdLst>
            <p14:sldId id="708"/>
            <p14:sldId id="849"/>
            <p14:sldId id="720"/>
            <p14:sldId id="782"/>
            <p14:sldId id="719"/>
            <p14:sldId id="783"/>
            <p14:sldId id="784"/>
            <p14:sldId id="785"/>
          </p14:sldIdLst>
        </p14:section>
        <p14:section name="Summary" id="{65B3D6F7-4B1B-46A7-91FC-DB4825DECA54}">
          <p14:sldIdLst>
            <p14:sldId id="802"/>
            <p14:sldId id="792"/>
            <p14:sldId id="613"/>
            <p14:sldId id="843"/>
            <p14:sldId id="844"/>
            <p14:sldId id="845"/>
            <p14:sldId id="846"/>
            <p14:sldId id="847"/>
            <p14:sldId id="848"/>
            <p14:sldId id="712"/>
            <p14:sldId id="713"/>
            <p14:sldId id="599"/>
            <p14:sldId id="667"/>
            <p14:sldId id="650"/>
            <p14:sldId id="651"/>
            <p14:sldId id="605"/>
            <p14:sldId id="590"/>
            <p14:sldId id="717"/>
            <p14:sldId id="642"/>
            <p14:sldId id="643"/>
            <p14:sldId id="644"/>
            <p14:sldId id="645"/>
            <p14:sldId id="647"/>
            <p14:sldId id="593"/>
            <p14:sldId id="598"/>
            <p14:sldId id="723"/>
            <p14:sldId id="306"/>
            <p14:sldId id="327"/>
            <p14:sldId id="326"/>
            <p14:sldId id="307"/>
            <p14:sldId id="325"/>
            <p14:sldId id="322"/>
            <p14:sldId id="317"/>
            <p14:sldId id="328"/>
            <p14:sldId id="726"/>
          </p14:sldIdLst>
        </p14:section>
      </p14:sectionLst>
    </p:ext>
    <p:ext uri="{EFAFB233-063F-42B5-8137-9DF3F51BA10A}">
      <p15:sldGuideLst xmlns:p15="http://schemas.microsoft.com/office/powerpoint/2012/main">
        <p15:guide id="1" orient="horz" pos="436" userDrawn="1">
          <p15:clr>
            <a:srgbClr val="A4A3A4"/>
          </p15:clr>
        </p15:guide>
        <p15:guide id="2" pos="3840">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muel Rackstraw" initials="SR" lastIdx="332" clrIdx="0"/>
  <p:cmAuthor id="1" name="Stephen Gibbons" initials="SG" lastIdx="412" clrIdx="1">
    <p:extLst/>
  </p:cmAuthor>
  <p:cmAuthor id="2" name="Fabrice Spriestersbach" initials="FS" lastIdx="123" clrIdx="2">
    <p:extLst>
      <p:ext uri="{19B8F6BF-5375-455C-9EA6-DF929625EA0E}">
        <p15:presenceInfo xmlns:p15="http://schemas.microsoft.com/office/powerpoint/2012/main" userId="S-1-5-21-1832937852-2116575123-337272265-42054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4F78A8"/>
    <a:srgbClr val="CBE0EB"/>
    <a:srgbClr val="DDEBF2"/>
    <a:srgbClr val="093D87"/>
    <a:srgbClr val="00ADEE"/>
    <a:srgbClr val="71BF44"/>
    <a:srgbClr val="231F20"/>
    <a:srgbClr val="093B82"/>
    <a:srgbClr val="F582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073A0DAA-6AF3-43AB-8588-CEC1D06C72B9}">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Styl jasny 1 — Ak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D083AE6-46FA-4A59-8FB0-9F97EB10719F}" styleName="Styl jasny 3 — Ak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D5ABB26-0587-4C30-8999-92F81FD0307C}" styleName="Bez stylu, bez siatki">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DBED569-4797-4DF1-A0F4-6AAB3CD982D8}" styleName="Helle Formatvorlage 3 - Akz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73F8A54-F971-430D-9108-034FE38666EA}" styleName="ABB Default Table">
    <a:wholeTbl>
      <a:tcTxStyle>
        <a:fontRef idx="minor">
          <a:prstClr val="black"/>
        </a:fontRef>
        <a:schemeClr val="dk1"/>
      </a:tcTxStyle>
      <a:tcStyle>
        <a:tcBdr>
          <a:left>
            <a:ln>
              <a:noFill/>
            </a:ln>
          </a:left>
          <a:right>
            <a:ln>
              <a:noFill/>
            </a:ln>
          </a:right>
          <a:top>
            <a:ln>
              <a:noFill/>
            </a:ln>
          </a:top>
          <a:bottom>
            <a:ln w="0" cmpd="sng">
              <a:solidFill>
                <a:schemeClr val="dk1"/>
              </a:solidFill>
            </a:ln>
          </a:bottom>
          <a:insideH>
            <a:ln w="7500" cmpd="sng">
              <a:solidFill>
                <a:schemeClr val="dk1"/>
              </a:solidFill>
            </a:ln>
          </a:insideH>
          <a:insideV>
            <a:ln>
              <a:no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lt1"/>
          </a:solidFill>
        </a:fill>
      </a:tcStyle>
    </a:band1V>
    <a:band2V>
      <a:tcStyle>
        <a:tcBdr/>
      </a:tcStyle>
    </a:band2V>
    <a:lastCol>
      <a:tcTxStyle b="off">
        <a:fontRef idx="minor">
          <a:schemeClr val="dk1"/>
        </a:fontRef>
        <a:schemeClr val="dk1"/>
      </a:tcTxStyle>
      <a:tcStyle>
        <a:tcBdr/>
        <a:fill>
          <a:solidFill>
            <a:schemeClr val="accent5"/>
          </a:solidFill>
        </a:fill>
      </a:tcStyle>
    </a:lastCol>
    <a:firstCol>
      <a:tcTxStyle b="on">
        <a:fontRef idx="minor">
          <a:schemeClr val="dk1"/>
        </a:fontRef>
        <a:schemeClr val="dk1"/>
      </a:tcTxStyle>
      <a:tcStyle>
        <a:tcBdr/>
        <a:fill>
          <a:solidFill>
            <a:schemeClr val="lt1"/>
          </a:solidFill>
        </a:fill>
      </a:tcStyle>
    </a:firstCol>
    <a:lastRow>
      <a:tcTxStyle b="off">
        <a:fontRef idx="minor">
          <a:prstClr val="black"/>
        </a:fontRef>
        <a:schemeClr val="lt1"/>
      </a:tcTxStyle>
      <a:tcStyle>
        <a:tcBdr/>
        <a:fill>
          <a:solidFill>
            <a:schemeClr val="accent5"/>
          </a:solidFill>
        </a:fill>
      </a:tcStyle>
    </a:lastRow>
    <a:firstRow>
      <a:tcTxStyle b="on">
        <a:fontRef idx="minor">
          <a:prstClr val="black"/>
        </a:fontRef>
        <a:schemeClr val="tx2"/>
      </a:tcTxStyle>
      <a:tcStyle>
        <a:tcBdr>
          <a:bottom>
            <a:ln w="15000" cmpd="sng">
              <a:solidFill>
                <a:schemeClr val="dk1"/>
              </a:solidFill>
            </a:ln>
          </a:bottom>
        </a:tcBdr>
        <a:fill>
          <a:solidFill>
            <a:schemeClr val="l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79" autoAdjust="0"/>
    <p:restoredTop sz="86575" autoAdjust="0"/>
  </p:normalViewPr>
  <p:slideViewPr>
    <p:cSldViewPr snapToGrid="0" snapToObjects="1" showGuides="1">
      <p:cViewPr varScale="1">
        <p:scale>
          <a:sx n="95" d="100"/>
          <a:sy n="95" d="100"/>
        </p:scale>
        <p:origin x="1356" y="90"/>
      </p:cViewPr>
      <p:guideLst>
        <p:guide orient="horz" pos="436"/>
        <p:guide pos="3840"/>
      </p:guideLst>
    </p:cSldViewPr>
  </p:slideViewPr>
  <p:outlineViewPr>
    <p:cViewPr>
      <p:scale>
        <a:sx n="33" d="100"/>
        <a:sy n="33" d="100"/>
      </p:scale>
      <p:origin x="0" y="0"/>
    </p:cViewPr>
  </p:outlineViewPr>
  <p:notesTextViewPr>
    <p:cViewPr>
      <p:scale>
        <a:sx n="150" d="100"/>
        <a:sy n="150" d="100"/>
      </p:scale>
      <p:origin x="0" y="0"/>
    </p:cViewPr>
  </p:notesTextViewPr>
  <p:sorterViewPr>
    <p:cViewPr>
      <p:scale>
        <a:sx n="50" d="100"/>
        <a:sy n="50" d="100"/>
      </p:scale>
      <p:origin x="0" y="-11549"/>
    </p:cViewPr>
  </p:sorterViewPr>
  <p:notesViewPr>
    <p:cSldViewPr snapToGrid="0" snapToObjects="1" showGuides="1">
      <p:cViewPr varScale="1">
        <p:scale>
          <a:sx n="81" d="100"/>
          <a:sy n="81" d="100"/>
        </p:scale>
        <p:origin x="3091" y="48"/>
      </p:cViewPr>
      <p:guideLst>
        <p:guide orient="horz" pos="3224"/>
        <p:guide pos="2237"/>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slide" Target="slides/slide105.xml"/><Relationship Id="rId133" Type="http://schemas.openxmlformats.org/officeDocument/2006/relationships/tableStyles" Target="tableStyles.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28" Type="http://schemas.openxmlformats.org/officeDocument/2006/relationships/tags" Target="tags/tag1.xml"/><Relationship Id="rId5" Type="http://schemas.openxmlformats.org/officeDocument/2006/relationships/slideMaster" Target="slideMasters/slideMaster2.xml"/><Relationship Id="rId90" Type="http://schemas.openxmlformats.org/officeDocument/2006/relationships/slide" Target="slides/slide83.xml"/><Relationship Id="rId95" Type="http://schemas.openxmlformats.org/officeDocument/2006/relationships/slide" Target="slides/slide88.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13" Type="http://schemas.openxmlformats.org/officeDocument/2006/relationships/slide" Target="slides/slide106.xml"/><Relationship Id="rId118" Type="http://schemas.openxmlformats.org/officeDocument/2006/relationships/slide" Target="slides/slide111.xml"/><Relationship Id="rId126" Type="http://schemas.openxmlformats.org/officeDocument/2006/relationships/notesMaster" Target="notesMasters/notesMaster1.xml"/><Relationship Id="rId134" Type="http://schemas.microsoft.com/office/2016/11/relationships/changesInfo" Target="changesInfos/changesInfo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slide" Target="slides/slide11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slide" Target="slides/slide96.xml"/><Relationship Id="rId108" Type="http://schemas.openxmlformats.org/officeDocument/2006/relationships/slide" Target="slides/slide101.xml"/><Relationship Id="rId116" Type="http://schemas.openxmlformats.org/officeDocument/2006/relationships/slide" Target="slides/slide109.xml"/><Relationship Id="rId124" Type="http://schemas.openxmlformats.org/officeDocument/2006/relationships/slide" Target="slides/slide117.xml"/><Relationship Id="rId129" Type="http://schemas.openxmlformats.org/officeDocument/2006/relationships/commentAuthors" Target="commentAuthor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11" Type="http://schemas.openxmlformats.org/officeDocument/2006/relationships/slide" Target="slides/slide104.xml"/><Relationship Id="rId13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slide" Target="slides/slide99.xml"/><Relationship Id="rId114" Type="http://schemas.openxmlformats.org/officeDocument/2006/relationships/slide" Target="slides/slide107.xml"/><Relationship Id="rId119" Type="http://schemas.openxmlformats.org/officeDocument/2006/relationships/slide" Target="slides/slide112.xml"/><Relationship Id="rId127" Type="http://schemas.openxmlformats.org/officeDocument/2006/relationships/handoutMaster" Target="handoutMasters/handout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13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slide" Target="slides/slide113.xml"/><Relationship Id="rId125" Type="http://schemas.openxmlformats.org/officeDocument/2006/relationships/slide" Target="slides/slide118.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 Id="rId131" Type="http://schemas.openxmlformats.org/officeDocument/2006/relationships/viewProps" Target="viewProps.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hen Gibbons" userId="8dc11794-a8ed-4f7c-8128-a48b124e2777" providerId="ADAL" clId="{98D2CDEC-B8A7-42C1-B376-7827D4C4F7FD}"/>
    <pc:docChg chg="undo custSel addSld delSld modSld sldOrd modMainMaster modSection">
      <pc:chgData name="Stephen Gibbons" userId="8dc11794-a8ed-4f7c-8128-a48b124e2777" providerId="ADAL" clId="{98D2CDEC-B8A7-42C1-B376-7827D4C4F7FD}" dt="2019-09-08T16:12:40.430" v="3673" actId="20577"/>
      <pc:docMkLst>
        <pc:docMk/>
      </pc:docMkLst>
      <pc:sldChg chg="delSp add delAnim">
        <pc:chgData name="Stephen Gibbons" userId="8dc11794-a8ed-4f7c-8128-a48b124e2777" providerId="ADAL" clId="{98D2CDEC-B8A7-42C1-B376-7827D4C4F7FD}" dt="2019-09-07T14:27:41.572" v="3668" actId="478"/>
        <pc:sldMkLst>
          <pc:docMk/>
          <pc:sldMk cId="708997917" sldId="306"/>
        </pc:sldMkLst>
        <pc:spChg chg="del">
          <ac:chgData name="Stephen Gibbons" userId="8dc11794-a8ed-4f7c-8128-a48b124e2777" providerId="ADAL" clId="{98D2CDEC-B8A7-42C1-B376-7827D4C4F7FD}" dt="2019-09-07T14:27:41.572" v="3668" actId="478"/>
          <ac:spMkLst>
            <pc:docMk/>
            <pc:sldMk cId="708997917" sldId="306"/>
            <ac:spMk id="5" creationId="{598E458A-59C2-4AAC-83C5-0332223EEA96}"/>
          </ac:spMkLst>
        </pc:spChg>
      </pc:sldChg>
      <pc:sldChg chg="addSp delSp modSp add delCm">
        <pc:chgData name="Stephen Gibbons" userId="8dc11794-a8ed-4f7c-8128-a48b124e2777" providerId="ADAL" clId="{98D2CDEC-B8A7-42C1-B376-7827D4C4F7FD}" dt="2019-09-07T13:49:19.457" v="2934"/>
        <pc:sldMkLst>
          <pc:docMk/>
          <pc:sldMk cId="3441510904" sldId="307"/>
        </pc:sldMkLst>
        <pc:spChg chg="del">
          <ac:chgData name="Stephen Gibbons" userId="8dc11794-a8ed-4f7c-8128-a48b124e2777" providerId="ADAL" clId="{98D2CDEC-B8A7-42C1-B376-7827D4C4F7FD}" dt="2019-09-07T12:35:52.750" v="1384" actId="478"/>
          <ac:spMkLst>
            <pc:docMk/>
            <pc:sldMk cId="3441510904" sldId="307"/>
            <ac:spMk id="21" creationId="{2AAA9843-4D25-4213-AE82-8ACDBF0B6F31}"/>
          </ac:spMkLst>
        </pc:spChg>
        <pc:spChg chg="del">
          <ac:chgData name="Stephen Gibbons" userId="8dc11794-a8ed-4f7c-8128-a48b124e2777" providerId="ADAL" clId="{98D2CDEC-B8A7-42C1-B376-7827D4C4F7FD}" dt="2019-09-07T12:35:48.983" v="1382" actId="478"/>
          <ac:spMkLst>
            <pc:docMk/>
            <pc:sldMk cId="3441510904" sldId="307"/>
            <ac:spMk id="22" creationId="{7B535339-7E14-444E-A6D6-4E0B915D3A3D}"/>
          </ac:spMkLst>
        </pc:spChg>
        <pc:spChg chg="del">
          <ac:chgData name="Stephen Gibbons" userId="8dc11794-a8ed-4f7c-8128-a48b124e2777" providerId="ADAL" clId="{98D2CDEC-B8A7-42C1-B376-7827D4C4F7FD}" dt="2019-09-07T12:35:50.671" v="1383" actId="478"/>
          <ac:spMkLst>
            <pc:docMk/>
            <pc:sldMk cId="3441510904" sldId="307"/>
            <ac:spMk id="23" creationId="{F862DA02-BD49-4A93-A2CF-D144B69790DD}"/>
          </ac:spMkLst>
        </pc:spChg>
        <pc:spChg chg="mod">
          <ac:chgData name="Stephen Gibbons" userId="8dc11794-a8ed-4f7c-8128-a48b124e2777" providerId="ADAL" clId="{98D2CDEC-B8A7-42C1-B376-7827D4C4F7FD}" dt="2019-09-07T12:35:25.840" v="1376" actId="20577"/>
          <ac:spMkLst>
            <pc:docMk/>
            <pc:sldMk cId="3441510904" sldId="307"/>
            <ac:spMk id="46" creationId="{67F740D7-215A-4A6A-AAEA-124CBD557E92}"/>
          </ac:spMkLst>
        </pc:spChg>
        <pc:spChg chg="add del">
          <ac:chgData name="Stephen Gibbons" userId="8dc11794-a8ed-4f7c-8128-a48b124e2777" providerId="ADAL" clId="{98D2CDEC-B8A7-42C1-B376-7827D4C4F7FD}" dt="2019-09-07T13:49:18.785" v="2933" actId="478"/>
          <ac:spMkLst>
            <pc:docMk/>
            <pc:sldMk cId="3441510904" sldId="307"/>
            <ac:spMk id="64" creationId="{15AD470B-93F6-4B1B-AC03-207099978F38}"/>
          </ac:spMkLst>
        </pc:spChg>
        <pc:spChg chg="add">
          <ac:chgData name="Stephen Gibbons" userId="8dc11794-a8ed-4f7c-8128-a48b124e2777" providerId="ADAL" clId="{98D2CDEC-B8A7-42C1-B376-7827D4C4F7FD}" dt="2019-09-07T13:49:19.457" v="2934"/>
          <ac:spMkLst>
            <pc:docMk/>
            <pc:sldMk cId="3441510904" sldId="307"/>
            <ac:spMk id="81" creationId="{D29FB306-CBBD-4FA5-A379-6D09F6771D7E}"/>
          </ac:spMkLst>
        </pc:spChg>
        <pc:spChg chg="add">
          <ac:chgData name="Stephen Gibbons" userId="8dc11794-a8ed-4f7c-8128-a48b124e2777" providerId="ADAL" clId="{98D2CDEC-B8A7-42C1-B376-7827D4C4F7FD}" dt="2019-09-07T13:49:19.457" v="2934"/>
          <ac:spMkLst>
            <pc:docMk/>
            <pc:sldMk cId="3441510904" sldId="307"/>
            <ac:spMk id="82" creationId="{3BF82129-225E-4E10-8EC1-EB0EECE197FF}"/>
          </ac:spMkLst>
        </pc:spChg>
      </pc:sldChg>
      <pc:sldChg chg="delSp modSp add del delCm">
        <pc:chgData name="Stephen Gibbons" userId="8dc11794-a8ed-4f7c-8128-a48b124e2777" providerId="ADAL" clId="{98D2CDEC-B8A7-42C1-B376-7827D4C4F7FD}" dt="2019-09-07T12:39:23.156" v="1402" actId="2696"/>
        <pc:sldMkLst>
          <pc:docMk/>
          <pc:sldMk cId="700879779" sldId="308"/>
        </pc:sldMkLst>
        <pc:spChg chg="del">
          <ac:chgData name="Stephen Gibbons" userId="8dc11794-a8ed-4f7c-8128-a48b124e2777" providerId="ADAL" clId="{98D2CDEC-B8A7-42C1-B376-7827D4C4F7FD}" dt="2019-09-07T12:35:56.344" v="1385" actId="478"/>
          <ac:spMkLst>
            <pc:docMk/>
            <pc:sldMk cId="700879779" sldId="308"/>
            <ac:spMk id="32" creationId="{0ADBB04E-9B35-4732-81F9-5DA0F2D8508C}"/>
          </ac:spMkLst>
        </pc:spChg>
        <pc:spChg chg="mod">
          <ac:chgData name="Stephen Gibbons" userId="8dc11794-a8ed-4f7c-8128-a48b124e2777" providerId="ADAL" clId="{98D2CDEC-B8A7-42C1-B376-7827D4C4F7FD}" dt="2019-09-07T12:35:39.373" v="1380" actId="20577"/>
          <ac:spMkLst>
            <pc:docMk/>
            <pc:sldMk cId="700879779" sldId="308"/>
            <ac:spMk id="39" creationId="{7086C80C-73CD-4A40-9846-D249DA911ED5}"/>
          </ac:spMkLst>
        </pc:spChg>
        <pc:spChg chg="del">
          <ac:chgData name="Stephen Gibbons" userId="8dc11794-a8ed-4f7c-8128-a48b124e2777" providerId="ADAL" clId="{98D2CDEC-B8A7-42C1-B376-7827D4C4F7FD}" dt="2019-09-07T12:35:57.719" v="1386" actId="478"/>
          <ac:spMkLst>
            <pc:docMk/>
            <pc:sldMk cId="700879779" sldId="308"/>
            <ac:spMk id="74" creationId="{73C65730-B984-4610-AE83-62776216591B}"/>
          </ac:spMkLst>
        </pc:spChg>
      </pc:sldChg>
      <pc:sldChg chg="delSp add del">
        <pc:chgData name="Stephen Gibbons" userId="8dc11794-a8ed-4f7c-8128-a48b124e2777" providerId="ADAL" clId="{98D2CDEC-B8A7-42C1-B376-7827D4C4F7FD}" dt="2019-09-07T12:39:01.830" v="1399" actId="2696"/>
        <pc:sldMkLst>
          <pc:docMk/>
          <pc:sldMk cId="1879071801" sldId="309"/>
        </pc:sldMkLst>
        <pc:spChg chg="del">
          <ac:chgData name="Stephen Gibbons" userId="8dc11794-a8ed-4f7c-8128-a48b124e2777" providerId="ADAL" clId="{98D2CDEC-B8A7-42C1-B376-7827D4C4F7FD}" dt="2019-09-07T12:36:13.393" v="1387" actId="478"/>
          <ac:spMkLst>
            <pc:docMk/>
            <pc:sldMk cId="1879071801" sldId="309"/>
            <ac:spMk id="336" creationId="{9978EF18-87DF-44E7-A55A-14DC3865FB54}"/>
          </ac:spMkLst>
        </pc:spChg>
      </pc:sldChg>
      <pc:sldChg chg="delSp modSp add del delCm">
        <pc:chgData name="Stephen Gibbons" userId="8dc11794-a8ed-4f7c-8128-a48b124e2777" providerId="ADAL" clId="{98D2CDEC-B8A7-42C1-B376-7827D4C4F7FD}" dt="2019-09-07T12:39:26.529" v="1403" actId="2696"/>
        <pc:sldMkLst>
          <pc:docMk/>
          <pc:sldMk cId="3997990467" sldId="310"/>
        </pc:sldMkLst>
        <pc:spChg chg="del">
          <ac:chgData name="Stephen Gibbons" userId="8dc11794-a8ed-4f7c-8128-a48b124e2777" providerId="ADAL" clId="{98D2CDEC-B8A7-42C1-B376-7827D4C4F7FD}" dt="2019-09-07T12:37:13.259" v="1390" actId="478"/>
          <ac:spMkLst>
            <pc:docMk/>
            <pc:sldMk cId="3997990467" sldId="310"/>
            <ac:spMk id="28" creationId="{C1E234BD-214C-49FB-AA01-4ECD74BBB066}"/>
          </ac:spMkLst>
        </pc:spChg>
        <pc:spChg chg="mod">
          <ac:chgData name="Stephen Gibbons" userId="8dc11794-a8ed-4f7c-8128-a48b124e2777" providerId="ADAL" clId="{98D2CDEC-B8A7-42C1-B376-7827D4C4F7FD}" dt="2019-09-07T12:37:43.356" v="1398" actId="20577"/>
          <ac:spMkLst>
            <pc:docMk/>
            <pc:sldMk cId="3997990467" sldId="310"/>
            <ac:spMk id="47" creationId="{5E0EBB7B-E7F5-45F2-BD23-F9C8C0F37278}"/>
          </ac:spMkLst>
        </pc:spChg>
        <pc:spChg chg="del">
          <ac:chgData name="Stephen Gibbons" userId="8dc11794-a8ed-4f7c-8128-a48b124e2777" providerId="ADAL" clId="{98D2CDEC-B8A7-42C1-B376-7827D4C4F7FD}" dt="2019-09-07T12:37:14.337" v="1391" actId="478"/>
          <ac:spMkLst>
            <pc:docMk/>
            <pc:sldMk cId="3997990467" sldId="310"/>
            <ac:spMk id="64" creationId="{D41335E6-FCFE-4800-A9ED-2BA13F230976}"/>
          </ac:spMkLst>
        </pc:spChg>
      </pc:sldChg>
      <pc:sldChg chg="delSp add del">
        <pc:chgData name="Stephen Gibbons" userId="8dc11794-a8ed-4f7c-8128-a48b124e2777" providerId="ADAL" clId="{98D2CDEC-B8A7-42C1-B376-7827D4C4F7FD}" dt="2019-09-07T12:39:03.949" v="1400" actId="2696"/>
        <pc:sldMkLst>
          <pc:docMk/>
          <pc:sldMk cId="1283085184" sldId="311"/>
        </pc:sldMkLst>
        <pc:spChg chg="del">
          <ac:chgData name="Stephen Gibbons" userId="8dc11794-a8ed-4f7c-8128-a48b124e2777" providerId="ADAL" clId="{98D2CDEC-B8A7-42C1-B376-7827D4C4F7FD}" dt="2019-09-07T12:37:18.087" v="1392" actId="478"/>
          <ac:spMkLst>
            <pc:docMk/>
            <pc:sldMk cId="1283085184" sldId="311"/>
            <ac:spMk id="174" creationId="{13A1D4BE-02C6-4BBF-9724-83002DEF0253}"/>
          </ac:spMkLst>
        </pc:spChg>
        <pc:spChg chg="del">
          <ac:chgData name="Stephen Gibbons" userId="8dc11794-a8ed-4f7c-8128-a48b124e2777" providerId="ADAL" clId="{98D2CDEC-B8A7-42C1-B376-7827D4C4F7FD}" dt="2019-09-07T12:37:19.337" v="1393" actId="478"/>
          <ac:spMkLst>
            <pc:docMk/>
            <pc:sldMk cId="1283085184" sldId="311"/>
            <ac:spMk id="191" creationId="{5D41CFF6-01E1-4805-93F0-A8AB56D3F663}"/>
          </ac:spMkLst>
        </pc:spChg>
      </pc:sldChg>
      <pc:sldChg chg="delSp add del">
        <pc:chgData name="Stephen Gibbons" userId="8dc11794-a8ed-4f7c-8128-a48b124e2777" providerId="ADAL" clId="{98D2CDEC-B8A7-42C1-B376-7827D4C4F7FD}" dt="2019-09-07T12:39:05.888" v="1401" actId="2696"/>
        <pc:sldMkLst>
          <pc:docMk/>
          <pc:sldMk cId="3384569901" sldId="312"/>
        </pc:sldMkLst>
        <pc:spChg chg="del">
          <ac:chgData name="Stephen Gibbons" userId="8dc11794-a8ed-4f7c-8128-a48b124e2777" providerId="ADAL" clId="{98D2CDEC-B8A7-42C1-B376-7827D4C4F7FD}" dt="2019-09-07T12:37:25.697" v="1394" actId="478"/>
          <ac:spMkLst>
            <pc:docMk/>
            <pc:sldMk cId="3384569901" sldId="312"/>
            <ac:spMk id="218" creationId="{26ED39A5-E690-44BF-BB17-588B15548151}"/>
          </ac:spMkLst>
        </pc:spChg>
      </pc:sldChg>
      <pc:sldChg chg="addSp delSp modSp add delCm">
        <pc:chgData name="Stephen Gibbons" userId="8dc11794-a8ed-4f7c-8128-a48b124e2777" providerId="ADAL" clId="{98D2CDEC-B8A7-42C1-B376-7827D4C4F7FD}" dt="2019-09-07T14:27:30.097" v="3667" actId="478"/>
        <pc:sldMkLst>
          <pc:docMk/>
          <pc:sldMk cId="938108915" sldId="317"/>
        </pc:sldMkLst>
        <pc:spChg chg="del">
          <ac:chgData name="Stephen Gibbons" userId="8dc11794-a8ed-4f7c-8128-a48b124e2777" providerId="ADAL" clId="{98D2CDEC-B8A7-42C1-B376-7827D4C4F7FD}" dt="2019-09-07T12:40:54.892" v="1412" actId="478"/>
          <ac:spMkLst>
            <pc:docMk/>
            <pc:sldMk cId="938108915" sldId="317"/>
            <ac:spMk id="14" creationId="{C730006F-4715-4047-BE44-9C6C6D5C3140}"/>
          </ac:spMkLst>
        </pc:spChg>
        <pc:spChg chg="mod">
          <ac:chgData name="Stephen Gibbons" userId="8dc11794-a8ed-4f7c-8128-a48b124e2777" providerId="ADAL" clId="{98D2CDEC-B8A7-42C1-B376-7827D4C4F7FD}" dt="2019-09-07T12:41:38.686" v="1431" actId="20577"/>
          <ac:spMkLst>
            <pc:docMk/>
            <pc:sldMk cId="938108915" sldId="317"/>
            <ac:spMk id="22" creationId="{58424193-519A-47BE-BCA8-37C8834040A1}"/>
          </ac:spMkLst>
        </pc:spChg>
        <pc:spChg chg="mod">
          <ac:chgData name="Stephen Gibbons" userId="8dc11794-a8ed-4f7c-8128-a48b124e2777" providerId="ADAL" clId="{98D2CDEC-B8A7-42C1-B376-7827D4C4F7FD}" dt="2019-09-07T12:42:56.117" v="1444" actId="108"/>
          <ac:spMkLst>
            <pc:docMk/>
            <pc:sldMk cId="938108915" sldId="317"/>
            <ac:spMk id="24" creationId="{19600932-6006-42AE-8823-CFE50F7EB362}"/>
          </ac:spMkLst>
        </pc:spChg>
        <pc:spChg chg="add del">
          <ac:chgData name="Stephen Gibbons" userId="8dc11794-a8ed-4f7c-8128-a48b124e2777" providerId="ADAL" clId="{98D2CDEC-B8A7-42C1-B376-7827D4C4F7FD}" dt="2019-09-07T13:49:53.461" v="2937" actId="478"/>
          <ac:spMkLst>
            <pc:docMk/>
            <pc:sldMk cId="938108915" sldId="317"/>
            <ac:spMk id="55" creationId="{85886AA8-29AF-4DAD-8AAF-0D6E5791525D}"/>
          </ac:spMkLst>
        </pc:spChg>
        <pc:spChg chg="add del">
          <ac:chgData name="Stephen Gibbons" userId="8dc11794-a8ed-4f7c-8128-a48b124e2777" providerId="ADAL" clId="{98D2CDEC-B8A7-42C1-B376-7827D4C4F7FD}" dt="2019-09-07T14:27:30.097" v="3667" actId="478"/>
          <ac:spMkLst>
            <pc:docMk/>
            <pc:sldMk cId="938108915" sldId="317"/>
            <ac:spMk id="56" creationId="{99D6B343-F45F-46B3-B6C0-619169D28684}"/>
          </ac:spMkLst>
        </pc:spChg>
        <pc:spChg chg="add">
          <ac:chgData name="Stephen Gibbons" userId="8dc11794-a8ed-4f7c-8128-a48b124e2777" providerId="ADAL" clId="{98D2CDEC-B8A7-42C1-B376-7827D4C4F7FD}" dt="2019-09-07T13:49:54.008" v="2938"/>
          <ac:spMkLst>
            <pc:docMk/>
            <pc:sldMk cId="938108915" sldId="317"/>
            <ac:spMk id="57" creationId="{28798278-8793-483A-88F9-12BC9EDBFB1B}"/>
          </ac:spMkLst>
        </pc:spChg>
      </pc:sldChg>
      <pc:sldChg chg="addSp delSp modSp add ord delCm">
        <pc:chgData name="Stephen Gibbons" userId="8dc11794-a8ed-4f7c-8128-a48b124e2777" providerId="ADAL" clId="{98D2CDEC-B8A7-42C1-B376-7827D4C4F7FD}" dt="2019-09-07T13:49:48.335" v="2936"/>
        <pc:sldMkLst>
          <pc:docMk/>
          <pc:sldMk cId="3677566460" sldId="322"/>
        </pc:sldMkLst>
        <pc:spChg chg="del">
          <ac:chgData name="Stephen Gibbons" userId="8dc11794-a8ed-4f7c-8128-a48b124e2777" providerId="ADAL" clId="{98D2CDEC-B8A7-42C1-B376-7827D4C4F7FD}" dt="2019-09-07T12:40:57.502" v="1413" actId="478"/>
          <ac:spMkLst>
            <pc:docMk/>
            <pc:sldMk cId="3677566460" sldId="322"/>
            <ac:spMk id="10" creationId="{2CC63A17-D9DE-4784-B683-54ED2226C962}"/>
          </ac:spMkLst>
        </pc:spChg>
        <pc:spChg chg="mod">
          <ac:chgData name="Stephen Gibbons" userId="8dc11794-a8ed-4f7c-8128-a48b124e2777" providerId="ADAL" clId="{98D2CDEC-B8A7-42C1-B376-7827D4C4F7FD}" dt="2019-09-07T12:41:32.857" v="1430" actId="20577"/>
          <ac:spMkLst>
            <pc:docMk/>
            <pc:sldMk cId="3677566460" sldId="322"/>
            <ac:spMk id="29" creationId="{89176C50-9900-4969-A442-CBD8048C9B18}"/>
          </ac:spMkLst>
        </pc:spChg>
        <pc:spChg chg="mod">
          <ac:chgData name="Stephen Gibbons" userId="8dc11794-a8ed-4f7c-8128-a48b124e2777" providerId="ADAL" clId="{98D2CDEC-B8A7-42C1-B376-7827D4C4F7FD}" dt="2019-09-07T12:42:53.023" v="1443" actId="108"/>
          <ac:spMkLst>
            <pc:docMk/>
            <pc:sldMk cId="3677566460" sldId="322"/>
            <ac:spMk id="31" creationId="{5CEB8795-73B0-4CB6-A135-912699B111D0}"/>
          </ac:spMkLst>
        </pc:spChg>
        <pc:spChg chg="del">
          <ac:chgData name="Stephen Gibbons" userId="8dc11794-a8ed-4f7c-8128-a48b124e2777" providerId="ADAL" clId="{98D2CDEC-B8A7-42C1-B376-7827D4C4F7FD}" dt="2019-09-07T12:40:59.118" v="1414" actId="478"/>
          <ac:spMkLst>
            <pc:docMk/>
            <pc:sldMk cId="3677566460" sldId="322"/>
            <ac:spMk id="63" creationId="{F9BCE10F-961D-4DDE-A64B-ADDEAB14A696}"/>
          </ac:spMkLst>
        </pc:spChg>
        <pc:spChg chg="add del">
          <ac:chgData name="Stephen Gibbons" userId="8dc11794-a8ed-4f7c-8128-a48b124e2777" providerId="ADAL" clId="{98D2CDEC-B8A7-42C1-B376-7827D4C4F7FD}" dt="2019-09-07T13:49:47.507" v="2935" actId="478"/>
          <ac:spMkLst>
            <pc:docMk/>
            <pc:sldMk cId="3677566460" sldId="322"/>
            <ac:spMk id="91" creationId="{670D8C00-88E8-4FF4-B6A6-E7D2FC0A9D28}"/>
          </ac:spMkLst>
        </pc:spChg>
        <pc:spChg chg="add">
          <ac:chgData name="Stephen Gibbons" userId="8dc11794-a8ed-4f7c-8128-a48b124e2777" providerId="ADAL" clId="{98D2CDEC-B8A7-42C1-B376-7827D4C4F7FD}" dt="2019-09-07T13:49:48.335" v="2936"/>
          <ac:spMkLst>
            <pc:docMk/>
            <pc:sldMk cId="3677566460" sldId="322"/>
            <ac:spMk id="93" creationId="{4DDDF239-58CC-4288-8088-08912BDBBBC5}"/>
          </ac:spMkLst>
        </pc:spChg>
      </pc:sldChg>
      <pc:sldChg chg="addSp delSp modSp add ord delCm">
        <pc:chgData name="Stephen Gibbons" userId="8dc11794-a8ed-4f7c-8128-a48b124e2777" providerId="ADAL" clId="{98D2CDEC-B8A7-42C1-B376-7827D4C4F7FD}" dt="2019-09-07T13:49:02.921" v="2930"/>
        <pc:sldMkLst>
          <pc:docMk/>
          <pc:sldMk cId="3549612637" sldId="325"/>
        </pc:sldMkLst>
        <pc:spChg chg="mod">
          <ac:chgData name="Stephen Gibbons" userId="8dc11794-a8ed-4f7c-8128-a48b124e2777" providerId="ADAL" clId="{98D2CDEC-B8A7-42C1-B376-7827D4C4F7FD}" dt="2019-09-07T12:41:45.765" v="1432" actId="20577"/>
          <ac:spMkLst>
            <pc:docMk/>
            <pc:sldMk cId="3549612637" sldId="325"/>
            <ac:spMk id="20" creationId="{FC50C0E2-D77C-4EE9-9B4A-B52E673AE9F9}"/>
          </ac:spMkLst>
        </pc:spChg>
        <pc:spChg chg="mod">
          <ac:chgData name="Stephen Gibbons" userId="8dc11794-a8ed-4f7c-8128-a48b124e2777" providerId="ADAL" clId="{98D2CDEC-B8A7-42C1-B376-7827D4C4F7FD}" dt="2019-09-07T12:42:49.491" v="1442" actId="108"/>
          <ac:spMkLst>
            <pc:docMk/>
            <pc:sldMk cId="3549612637" sldId="325"/>
            <ac:spMk id="22" creationId="{08418EF2-BE13-4494-8628-1600AF2C9D54}"/>
          </ac:spMkLst>
        </pc:spChg>
        <pc:spChg chg="del">
          <ac:chgData name="Stephen Gibbons" userId="8dc11794-a8ed-4f7c-8128-a48b124e2777" providerId="ADAL" clId="{98D2CDEC-B8A7-42C1-B376-7827D4C4F7FD}" dt="2019-09-07T12:40:39.140" v="1407" actId="478"/>
          <ac:spMkLst>
            <pc:docMk/>
            <pc:sldMk cId="3549612637" sldId="325"/>
            <ac:spMk id="61" creationId="{8B21FAC3-DFC6-4779-AE47-7136A9CC89FF}"/>
          </ac:spMkLst>
        </pc:spChg>
        <pc:spChg chg="add">
          <ac:chgData name="Stephen Gibbons" userId="8dc11794-a8ed-4f7c-8128-a48b124e2777" providerId="ADAL" clId="{98D2CDEC-B8A7-42C1-B376-7827D4C4F7FD}" dt="2019-09-07T13:49:02.921" v="2930"/>
          <ac:spMkLst>
            <pc:docMk/>
            <pc:sldMk cId="3549612637" sldId="325"/>
            <ac:spMk id="62" creationId="{D2FD59D6-DB37-4A76-A4E4-A6433AF57190}"/>
          </ac:spMkLst>
        </pc:spChg>
      </pc:sldChg>
      <pc:sldChg chg="modSp add">
        <pc:chgData name="Stephen Gibbons" userId="8dc11794-a8ed-4f7c-8128-a48b124e2777" providerId="ADAL" clId="{98D2CDEC-B8A7-42C1-B376-7827D4C4F7FD}" dt="2019-09-07T12:34:59.071" v="1374" actId="108"/>
        <pc:sldMkLst>
          <pc:docMk/>
          <pc:sldMk cId="2495340050" sldId="326"/>
        </pc:sldMkLst>
        <pc:spChg chg="mod">
          <ac:chgData name="Stephen Gibbons" userId="8dc11794-a8ed-4f7c-8128-a48b124e2777" providerId="ADAL" clId="{98D2CDEC-B8A7-42C1-B376-7827D4C4F7FD}" dt="2019-09-07T12:34:59.071" v="1374" actId="108"/>
          <ac:spMkLst>
            <pc:docMk/>
            <pc:sldMk cId="2495340050" sldId="326"/>
            <ac:spMk id="26" creationId="{2C16B67B-7C8E-473E-86C7-71A0EACCD827}"/>
          </ac:spMkLst>
        </pc:spChg>
      </pc:sldChg>
      <pc:sldChg chg="modSp add">
        <pc:chgData name="Stephen Gibbons" userId="8dc11794-a8ed-4f7c-8128-a48b124e2777" providerId="ADAL" clId="{98D2CDEC-B8A7-42C1-B376-7827D4C4F7FD}" dt="2019-09-07T12:34:38.975" v="1373" actId="108"/>
        <pc:sldMkLst>
          <pc:docMk/>
          <pc:sldMk cId="174660173" sldId="327"/>
        </pc:sldMkLst>
        <pc:spChg chg="mod">
          <ac:chgData name="Stephen Gibbons" userId="8dc11794-a8ed-4f7c-8128-a48b124e2777" providerId="ADAL" clId="{98D2CDEC-B8A7-42C1-B376-7827D4C4F7FD}" dt="2019-09-07T12:34:38.975" v="1373" actId="108"/>
          <ac:spMkLst>
            <pc:docMk/>
            <pc:sldMk cId="174660173" sldId="327"/>
            <ac:spMk id="22" creationId="{71EE2C16-B3A9-4E65-80D8-66269CCD4FE5}"/>
          </ac:spMkLst>
        </pc:spChg>
      </pc:sldChg>
      <pc:sldChg chg="addSp delSp modSp add delCm">
        <pc:chgData name="Stephen Gibbons" userId="8dc11794-a8ed-4f7c-8128-a48b124e2777" providerId="ADAL" clId="{98D2CDEC-B8A7-42C1-B376-7827D4C4F7FD}" dt="2019-09-07T14:27:25.519" v="3666"/>
        <pc:sldMkLst>
          <pc:docMk/>
          <pc:sldMk cId="3876069171" sldId="328"/>
        </pc:sldMkLst>
        <pc:spChg chg="add">
          <ac:chgData name="Stephen Gibbons" userId="8dc11794-a8ed-4f7c-8128-a48b124e2777" providerId="ADAL" clId="{98D2CDEC-B8A7-42C1-B376-7827D4C4F7FD}" dt="2019-09-07T14:27:25.519" v="3666"/>
          <ac:spMkLst>
            <pc:docMk/>
            <pc:sldMk cId="3876069171" sldId="328"/>
            <ac:spMk id="12" creationId="{DDE338E3-CF84-4408-A4C4-6CA621452BCE}"/>
          </ac:spMkLst>
        </pc:spChg>
        <pc:spChg chg="add">
          <ac:chgData name="Stephen Gibbons" userId="8dc11794-a8ed-4f7c-8128-a48b124e2777" providerId="ADAL" clId="{98D2CDEC-B8A7-42C1-B376-7827D4C4F7FD}" dt="2019-09-07T14:27:25.519" v="3666"/>
          <ac:spMkLst>
            <pc:docMk/>
            <pc:sldMk cId="3876069171" sldId="328"/>
            <ac:spMk id="13" creationId="{2C5B4FA3-B73C-42BC-B5C8-F6FC79DAD1E3}"/>
          </ac:spMkLst>
        </pc:spChg>
        <pc:spChg chg="mod">
          <ac:chgData name="Stephen Gibbons" userId="8dc11794-a8ed-4f7c-8128-a48b124e2777" providerId="ADAL" clId="{98D2CDEC-B8A7-42C1-B376-7827D4C4F7FD}" dt="2019-09-07T12:42:21.738" v="1437" actId="20577"/>
          <ac:spMkLst>
            <pc:docMk/>
            <pc:sldMk cId="3876069171" sldId="328"/>
            <ac:spMk id="22" creationId="{461DDFCA-20C4-41C4-A39C-0E379901498E}"/>
          </ac:spMkLst>
        </pc:spChg>
        <pc:spChg chg="mod">
          <ac:chgData name="Stephen Gibbons" userId="8dc11794-a8ed-4f7c-8128-a48b124e2777" providerId="ADAL" clId="{98D2CDEC-B8A7-42C1-B376-7827D4C4F7FD}" dt="2019-09-07T12:42:59.398" v="1445" actId="108"/>
          <ac:spMkLst>
            <pc:docMk/>
            <pc:sldMk cId="3876069171" sldId="328"/>
            <ac:spMk id="26" creationId="{20A4705B-43E7-467F-A9AC-5A7F68E0DC00}"/>
          </ac:spMkLst>
        </pc:spChg>
        <pc:spChg chg="del">
          <ac:chgData name="Stephen Gibbons" userId="8dc11794-a8ed-4f7c-8128-a48b124e2777" providerId="ADAL" clId="{98D2CDEC-B8A7-42C1-B376-7827D4C4F7FD}" dt="2019-09-07T12:42:38.052" v="1441" actId="478"/>
          <ac:spMkLst>
            <pc:docMk/>
            <pc:sldMk cId="3876069171" sldId="328"/>
            <ac:spMk id="45" creationId="{D567C17B-1E9D-4875-84D2-08B137B1D4CD}"/>
          </ac:spMkLst>
        </pc:spChg>
      </pc:sldChg>
      <pc:sldChg chg="delSp modSp add">
        <pc:chgData name="Stephen Gibbons" userId="8dc11794-a8ed-4f7c-8128-a48b124e2777" providerId="ADAL" clId="{98D2CDEC-B8A7-42C1-B376-7827D4C4F7FD}" dt="2019-09-07T14:20:14.352" v="3579" actId="20577"/>
        <pc:sldMkLst>
          <pc:docMk/>
          <pc:sldMk cId="15751030" sldId="379"/>
        </pc:sldMkLst>
        <pc:spChg chg="del">
          <ac:chgData name="Stephen Gibbons" userId="8dc11794-a8ed-4f7c-8128-a48b124e2777" providerId="ADAL" clId="{98D2CDEC-B8A7-42C1-B376-7827D4C4F7FD}" dt="2019-09-07T14:20:08.351" v="3571" actId="478"/>
          <ac:spMkLst>
            <pc:docMk/>
            <pc:sldMk cId="15751030" sldId="379"/>
            <ac:spMk id="12" creationId="{29B29BE4-200C-4017-B3A9-735BB8417BAA}"/>
          </ac:spMkLst>
        </pc:spChg>
        <pc:spChg chg="del">
          <ac:chgData name="Stephen Gibbons" userId="8dc11794-a8ed-4f7c-8128-a48b124e2777" providerId="ADAL" clId="{98D2CDEC-B8A7-42C1-B376-7827D4C4F7FD}" dt="2019-09-07T14:20:02.335" v="3569" actId="478"/>
          <ac:spMkLst>
            <pc:docMk/>
            <pc:sldMk cId="15751030" sldId="379"/>
            <ac:spMk id="13" creationId="{88DF1451-CE62-4412-81EE-2B7A78ED2881}"/>
          </ac:spMkLst>
        </pc:spChg>
        <pc:spChg chg="mod">
          <ac:chgData name="Stephen Gibbons" userId="8dc11794-a8ed-4f7c-8128-a48b124e2777" providerId="ADAL" clId="{98D2CDEC-B8A7-42C1-B376-7827D4C4F7FD}" dt="2019-09-07T14:20:14.352" v="3579" actId="20577"/>
          <ac:spMkLst>
            <pc:docMk/>
            <pc:sldMk cId="15751030" sldId="379"/>
            <ac:spMk id="17" creationId="{0D8ED231-23D9-48E5-9A18-8FF4EE39A499}"/>
          </ac:spMkLst>
        </pc:spChg>
        <pc:spChg chg="mod">
          <ac:chgData name="Stephen Gibbons" userId="8dc11794-a8ed-4f7c-8128-a48b124e2777" providerId="ADAL" clId="{98D2CDEC-B8A7-42C1-B376-7827D4C4F7FD}" dt="2019-09-07T14:20:04.538" v="3570" actId="20577"/>
          <ac:spMkLst>
            <pc:docMk/>
            <pc:sldMk cId="15751030" sldId="379"/>
            <ac:spMk id="18" creationId="{E1752C82-2FDE-4873-9775-0A2CB4D1762F}"/>
          </ac:spMkLst>
        </pc:spChg>
      </pc:sldChg>
      <pc:sldChg chg="add del">
        <pc:chgData name="Stephen Gibbons" userId="8dc11794-a8ed-4f7c-8128-a48b124e2777" providerId="ADAL" clId="{98D2CDEC-B8A7-42C1-B376-7827D4C4F7FD}" dt="2019-09-07T12:25:11.167" v="1363"/>
        <pc:sldMkLst>
          <pc:docMk/>
          <pc:sldMk cId="657604621" sldId="401"/>
        </pc:sldMkLst>
      </pc:sldChg>
      <pc:sldChg chg="add del">
        <pc:chgData name="Stephen Gibbons" userId="8dc11794-a8ed-4f7c-8128-a48b124e2777" providerId="ADAL" clId="{98D2CDEC-B8A7-42C1-B376-7827D4C4F7FD}" dt="2019-09-07T12:25:11.167" v="1363"/>
        <pc:sldMkLst>
          <pc:docMk/>
          <pc:sldMk cId="3900001282" sldId="402"/>
        </pc:sldMkLst>
      </pc:sldChg>
      <pc:sldChg chg="modSp add del">
        <pc:chgData name="Stephen Gibbons" userId="8dc11794-a8ed-4f7c-8128-a48b124e2777" providerId="ADAL" clId="{98D2CDEC-B8A7-42C1-B376-7827D4C4F7FD}" dt="2019-09-07T13:43:05.977" v="2517" actId="1036"/>
        <pc:sldMkLst>
          <pc:docMk/>
          <pc:sldMk cId="2400100242" sldId="403"/>
        </pc:sldMkLst>
        <pc:spChg chg="mod">
          <ac:chgData name="Stephen Gibbons" userId="8dc11794-a8ed-4f7c-8128-a48b124e2777" providerId="ADAL" clId="{98D2CDEC-B8A7-42C1-B376-7827D4C4F7FD}" dt="2019-09-07T13:43:05.977" v="2517" actId="1036"/>
          <ac:spMkLst>
            <pc:docMk/>
            <pc:sldMk cId="2400100242" sldId="403"/>
            <ac:spMk id="43" creationId="{A71F427B-841D-44C2-96B0-2B7092092EDF}"/>
          </ac:spMkLst>
        </pc:spChg>
      </pc:sldChg>
      <pc:sldChg chg="add del">
        <pc:chgData name="Stephen Gibbons" userId="8dc11794-a8ed-4f7c-8128-a48b124e2777" providerId="ADAL" clId="{98D2CDEC-B8A7-42C1-B376-7827D4C4F7FD}" dt="2019-09-07T12:25:11.167" v="1363"/>
        <pc:sldMkLst>
          <pc:docMk/>
          <pc:sldMk cId="561063317" sldId="404"/>
        </pc:sldMkLst>
      </pc:sldChg>
      <pc:sldChg chg="modSp add del">
        <pc:chgData name="Stephen Gibbons" userId="8dc11794-a8ed-4f7c-8128-a48b124e2777" providerId="ADAL" clId="{98D2CDEC-B8A7-42C1-B376-7827D4C4F7FD}" dt="2019-09-07T12:29:02.567" v="1368"/>
        <pc:sldMkLst>
          <pc:docMk/>
          <pc:sldMk cId="2459606459" sldId="405"/>
        </pc:sldMkLst>
        <pc:spChg chg="mod">
          <ac:chgData name="Stephen Gibbons" userId="8dc11794-a8ed-4f7c-8128-a48b124e2777" providerId="ADAL" clId="{98D2CDEC-B8A7-42C1-B376-7827D4C4F7FD}" dt="2019-09-07T12:29:02.567" v="1368"/>
          <ac:spMkLst>
            <pc:docMk/>
            <pc:sldMk cId="2459606459" sldId="405"/>
            <ac:spMk id="8" creationId="{84708C3E-9A36-4D86-A268-87E1CB1F996E}"/>
          </ac:spMkLst>
        </pc:spChg>
        <pc:spChg chg="mod">
          <ac:chgData name="Stephen Gibbons" userId="8dc11794-a8ed-4f7c-8128-a48b124e2777" providerId="ADAL" clId="{98D2CDEC-B8A7-42C1-B376-7827D4C4F7FD}" dt="2019-09-07T12:28:49.894" v="1367"/>
          <ac:spMkLst>
            <pc:docMk/>
            <pc:sldMk cId="2459606459" sldId="405"/>
            <ac:spMk id="56" creationId="{0D43048A-B565-41C6-B5B0-A93A1D74A5AE}"/>
          </ac:spMkLst>
        </pc:spChg>
      </pc:sldChg>
      <pc:sldChg chg="add del">
        <pc:chgData name="Stephen Gibbons" userId="8dc11794-a8ed-4f7c-8128-a48b124e2777" providerId="ADAL" clId="{98D2CDEC-B8A7-42C1-B376-7827D4C4F7FD}" dt="2019-09-07T12:25:11.167" v="1363"/>
        <pc:sldMkLst>
          <pc:docMk/>
          <pc:sldMk cId="2750551004" sldId="406"/>
        </pc:sldMkLst>
      </pc:sldChg>
      <pc:sldChg chg="add">
        <pc:chgData name="Stephen Gibbons" userId="8dc11794-a8ed-4f7c-8128-a48b124e2777" providerId="ADAL" clId="{98D2CDEC-B8A7-42C1-B376-7827D4C4F7FD}" dt="2019-09-07T12:27:10.883" v="1365"/>
        <pc:sldMkLst>
          <pc:docMk/>
          <pc:sldMk cId="2674649312" sldId="590"/>
        </pc:sldMkLst>
      </pc:sldChg>
      <pc:sldChg chg="add">
        <pc:chgData name="Stephen Gibbons" userId="8dc11794-a8ed-4f7c-8128-a48b124e2777" providerId="ADAL" clId="{98D2CDEC-B8A7-42C1-B376-7827D4C4F7FD}" dt="2019-09-07T12:27:10.883" v="1365"/>
        <pc:sldMkLst>
          <pc:docMk/>
          <pc:sldMk cId="2636579395" sldId="593"/>
        </pc:sldMkLst>
      </pc:sldChg>
      <pc:sldChg chg="add">
        <pc:chgData name="Stephen Gibbons" userId="8dc11794-a8ed-4f7c-8128-a48b124e2777" providerId="ADAL" clId="{98D2CDEC-B8A7-42C1-B376-7827D4C4F7FD}" dt="2019-09-07T12:27:10.883" v="1365"/>
        <pc:sldMkLst>
          <pc:docMk/>
          <pc:sldMk cId="1884421666" sldId="598"/>
        </pc:sldMkLst>
      </pc:sldChg>
      <pc:sldChg chg="add">
        <pc:chgData name="Stephen Gibbons" userId="8dc11794-a8ed-4f7c-8128-a48b124e2777" providerId="ADAL" clId="{98D2CDEC-B8A7-42C1-B376-7827D4C4F7FD}" dt="2019-09-07T12:27:10.883" v="1365"/>
        <pc:sldMkLst>
          <pc:docMk/>
          <pc:sldMk cId="391424962" sldId="599"/>
        </pc:sldMkLst>
      </pc:sldChg>
      <pc:sldChg chg="add">
        <pc:chgData name="Stephen Gibbons" userId="8dc11794-a8ed-4f7c-8128-a48b124e2777" providerId="ADAL" clId="{98D2CDEC-B8A7-42C1-B376-7827D4C4F7FD}" dt="2019-09-07T12:27:10.883" v="1365"/>
        <pc:sldMkLst>
          <pc:docMk/>
          <pc:sldMk cId="562899603" sldId="605"/>
        </pc:sldMkLst>
      </pc:sldChg>
      <pc:sldChg chg="add modAnim">
        <pc:chgData name="Stephen Gibbons" userId="8dc11794-a8ed-4f7c-8128-a48b124e2777" providerId="ADAL" clId="{98D2CDEC-B8A7-42C1-B376-7827D4C4F7FD}" dt="2019-09-07T14:00:52.445" v="3214"/>
        <pc:sldMkLst>
          <pc:docMk/>
          <pc:sldMk cId="3652407748" sldId="611"/>
        </pc:sldMkLst>
      </pc:sldChg>
      <pc:sldChg chg="modSp add del">
        <pc:chgData name="Stephen Gibbons" userId="8dc11794-a8ed-4f7c-8128-a48b124e2777" providerId="ADAL" clId="{98D2CDEC-B8A7-42C1-B376-7827D4C4F7FD}" dt="2019-09-07T13:31:07.456" v="2312" actId="20577"/>
        <pc:sldMkLst>
          <pc:docMk/>
          <pc:sldMk cId="3507987945" sldId="638"/>
        </pc:sldMkLst>
        <pc:spChg chg="mod">
          <ac:chgData name="Stephen Gibbons" userId="8dc11794-a8ed-4f7c-8128-a48b124e2777" providerId="ADAL" clId="{98D2CDEC-B8A7-42C1-B376-7827D4C4F7FD}" dt="2019-09-07T13:31:07.456" v="2312" actId="20577"/>
          <ac:spMkLst>
            <pc:docMk/>
            <pc:sldMk cId="3507987945" sldId="638"/>
            <ac:spMk id="3" creationId="{00000000-0000-0000-0000-000000000000}"/>
          </ac:spMkLst>
        </pc:spChg>
      </pc:sldChg>
      <pc:sldChg chg="addSp modSp add del modAnim">
        <pc:chgData name="Stephen Gibbons" userId="8dc11794-a8ed-4f7c-8128-a48b124e2777" providerId="ADAL" clId="{98D2CDEC-B8A7-42C1-B376-7827D4C4F7FD}" dt="2019-09-07T13:51:20.471" v="2996" actId="1036"/>
        <pc:sldMkLst>
          <pc:docMk/>
          <pc:sldMk cId="2491236502" sldId="639"/>
        </pc:sldMkLst>
        <pc:spChg chg="mod">
          <ac:chgData name="Stephen Gibbons" userId="8dc11794-a8ed-4f7c-8128-a48b124e2777" providerId="ADAL" clId="{98D2CDEC-B8A7-42C1-B376-7827D4C4F7FD}" dt="2019-09-07T13:31:34.583" v="2313"/>
          <ac:spMkLst>
            <pc:docMk/>
            <pc:sldMk cId="2491236502" sldId="639"/>
            <ac:spMk id="6" creationId="{00000000-0000-0000-0000-000000000000}"/>
          </ac:spMkLst>
        </pc:spChg>
        <pc:spChg chg="add mod">
          <ac:chgData name="Stephen Gibbons" userId="8dc11794-a8ed-4f7c-8128-a48b124e2777" providerId="ADAL" clId="{98D2CDEC-B8A7-42C1-B376-7827D4C4F7FD}" dt="2019-09-07T13:51:20.471" v="2996" actId="1036"/>
          <ac:spMkLst>
            <pc:docMk/>
            <pc:sldMk cId="2491236502" sldId="639"/>
            <ac:spMk id="44" creationId="{B4C6CD71-29DC-4900-ACAC-F04D19763E97}"/>
          </ac:spMkLst>
        </pc:spChg>
        <pc:spChg chg="mod">
          <ac:chgData name="Stephen Gibbons" userId="8dc11794-a8ed-4f7c-8128-a48b124e2777" providerId="ADAL" clId="{98D2CDEC-B8A7-42C1-B376-7827D4C4F7FD}" dt="2019-09-07T13:44:08.499" v="2546" actId="179"/>
          <ac:spMkLst>
            <pc:docMk/>
            <pc:sldMk cId="2491236502" sldId="639"/>
            <ac:spMk id="2533435" creationId="{00000000-0000-0000-0000-000000000000}"/>
          </ac:spMkLst>
        </pc:spChg>
        <pc:grpChg chg="add mod">
          <ac:chgData name="Stephen Gibbons" userId="8dc11794-a8ed-4f7c-8128-a48b124e2777" providerId="ADAL" clId="{98D2CDEC-B8A7-42C1-B376-7827D4C4F7FD}" dt="2019-09-07T13:45:55.075" v="2699" actId="1036"/>
          <ac:grpSpMkLst>
            <pc:docMk/>
            <pc:sldMk cId="2491236502" sldId="639"/>
            <ac:grpSpMk id="37" creationId="{BC725E19-DD1C-4418-B14B-371DE282F96E}"/>
          </ac:grpSpMkLst>
        </pc:grpChg>
        <pc:grpChg chg="mod">
          <ac:chgData name="Stephen Gibbons" userId="8dc11794-a8ed-4f7c-8128-a48b124e2777" providerId="ADAL" clId="{98D2CDEC-B8A7-42C1-B376-7827D4C4F7FD}" dt="2019-09-07T13:45:55.075" v="2699" actId="1036"/>
          <ac:grpSpMkLst>
            <pc:docMk/>
            <pc:sldMk cId="2491236502" sldId="639"/>
            <ac:grpSpMk id="39" creationId="{BA9D177A-1D21-44F2-AD6A-72087F2026FE}"/>
          </ac:grpSpMkLst>
        </pc:grpChg>
        <pc:picChg chg="add mod">
          <ac:chgData name="Stephen Gibbons" userId="8dc11794-a8ed-4f7c-8128-a48b124e2777" providerId="ADAL" clId="{98D2CDEC-B8A7-42C1-B376-7827D4C4F7FD}" dt="2019-09-07T13:47:20.992" v="2927" actId="1037"/>
          <ac:picMkLst>
            <pc:docMk/>
            <pc:sldMk cId="2491236502" sldId="639"/>
            <ac:picMk id="45" creationId="{0B487812-BEA8-4352-B0D0-A3882D75881F}"/>
          </ac:picMkLst>
        </pc:picChg>
        <pc:picChg chg="add mod">
          <ac:chgData name="Stephen Gibbons" userId="8dc11794-a8ed-4f7c-8128-a48b124e2777" providerId="ADAL" clId="{98D2CDEC-B8A7-42C1-B376-7827D4C4F7FD}" dt="2019-09-07T13:47:20.992" v="2927" actId="1037"/>
          <ac:picMkLst>
            <pc:docMk/>
            <pc:sldMk cId="2491236502" sldId="639"/>
            <ac:picMk id="46" creationId="{64DE07B5-83EC-45CC-AE15-7DD17D322A50}"/>
          </ac:picMkLst>
        </pc:picChg>
        <pc:picChg chg="add mod">
          <ac:chgData name="Stephen Gibbons" userId="8dc11794-a8ed-4f7c-8128-a48b124e2777" providerId="ADAL" clId="{98D2CDEC-B8A7-42C1-B376-7827D4C4F7FD}" dt="2019-09-07T13:47:20.992" v="2927" actId="1037"/>
          <ac:picMkLst>
            <pc:docMk/>
            <pc:sldMk cId="2491236502" sldId="639"/>
            <ac:picMk id="47" creationId="{1B973689-88CD-4BCE-8BCF-63E474DC6B36}"/>
          </ac:picMkLst>
        </pc:picChg>
        <pc:picChg chg="add mod">
          <ac:chgData name="Stephen Gibbons" userId="8dc11794-a8ed-4f7c-8128-a48b124e2777" providerId="ADAL" clId="{98D2CDEC-B8A7-42C1-B376-7827D4C4F7FD}" dt="2019-09-07T13:47:34.072" v="2928" actId="1076"/>
          <ac:picMkLst>
            <pc:docMk/>
            <pc:sldMk cId="2491236502" sldId="639"/>
            <ac:picMk id="48" creationId="{CCBC6597-93CB-4F9C-82DB-561BDD1575BE}"/>
          </ac:picMkLst>
        </pc:picChg>
        <pc:picChg chg="add mod">
          <ac:chgData name="Stephen Gibbons" userId="8dc11794-a8ed-4f7c-8128-a48b124e2777" providerId="ADAL" clId="{98D2CDEC-B8A7-42C1-B376-7827D4C4F7FD}" dt="2019-09-07T13:47:34.072" v="2928" actId="1076"/>
          <ac:picMkLst>
            <pc:docMk/>
            <pc:sldMk cId="2491236502" sldId="639"/>
            <ac:picMk id="49" creationId="{E04A0DF7-F7EF-4A88-9B0E-CB419EB13D62}"/>
          </ac:picMkLst>
        </pc:picChg>
      </pc:sldChg>
      <pc:sldChg chg="add del">
        <pc:chgData name="Stephen Gibbons" userId="8dc11794-a8ed-4f7c-8128-a48b124e2777" providerId="ADAL" clId="{98D2CDEC-B8A7-42C1-B376-7827D4C4F7FD}" dt="2019-09-07T12:25:11.167" v="1363"/>
        <pc:sldMkLst>
          <pc:docMk/>
          <pc:sldMk cId="3790340293" sldId="641"/>
        </pc:sldMkLst>
      </pc:sldChg>
      <pc:sldChg chg="add">
        <pc:chgData name="Stephen Gibbons" userId="8dc11794-a8ed-4f7c-8128-a48b124e2777" providerId="ADAL" clId="{98D2CDEC-B8A7-42C1-B376-7827D4C4F7FD}" dt="2019-09-07T12:27:10.883" v="1365"/>
        <pc:sldMkLst>
          <pc:docMk/>
          <pc:sldMk cId="1447763917" sldId="642"/>
        </pc:sldMkLst>
      </pc:sldChg>
      <pc:sldChg chg="add">
        <pc:chgData name="Stephen Gibbons" userId="8dc11794-a8ed-4f7c-8128-a48b124e2777" providerId="ADAL" clId="{98D2CDEC-B8A7-42C1-B376-7827D4C4F7FD}" dt="2019-09-07T12:27:10.883" v="1365"/>
        <pc:sldMkLst>
          <pc:docMk/>
          <pc:sldMk cId="208696573" sldId="643"/>
        </pc:sldMkLst>
      </pc:sldChg>
      <pc:sldChg chg="add">
        <pc:chgData name="Stephen Gibbons" userId="8dc11794-a8ed-4f7c-8128-a48b124e2777" providerId="ADAL" clId="{98D2CDEC-B8A7-42C1-B376-7827D4C4F7FD}" dt="2019-09-07T12:27:10.883" v="1365"/>
        <pc:sldMkLst>
          <pc:docMk/>
          <pc:sldMk cId="995626755" sldId="644"/>
        </pc:sldMkLst>
      </pc:sldChg>
      <pc:sldChg chg="add">
        <pc:chgData name="Stephen Gibbons" userId="8dc11794-a8ed-4f7c-8128-a48b124e2777" providerId="ADAL" clId="{98D2CDEC-B8A7-42C1-B376-7827D4C4F7FD}" dt="2019-09-07T12:27:10.883" v="1365"/>
        <pc:sldMkLst>
          <pc:docMk/>
          <pc:sldMk cId="2846162999" sldId="645"/>
        </pc:sldMkLst>
      </pc:sldChg>
      <pc:sldChg chg="add">
        <pc:chgData name="Stephen Gibbons" userId="8dc11794-a8ed-4f7c-8128-a48b124e2777" providerId="ADAL" clId="{98D2CDEC-B8A7-42C1-B376-7827D4C4F7FD}" dt="2019-09-07T12:27:10.883" v="1365"/>
        <pc:sldMkLst>
          <pc:docMk/>
          <pc:sldMk cId="1156840592" sldId="647"/>
        </pc:sldMkLst>
      </pc:sldChg>
      <pc:sldChg chg="add">
        <pc:chgData name="Stephen Gibbons" userId="8dc11794-a8ed-4f7c-8128-a48b124e2777" providerId="ADAL" clId="{98D2CDEC-B8A7-42C1-B376-7827D4C4F7FD}" dt="2019-09-07T12:27:10.883" v="1365"/>
        <pc:sldMkLst>
          <pc:docMk/>
          <pc:sldMk cId="2712426723" sldId="650"/>
        </pc:sldMkLst>
      </pc:sldChg>
      <pc:sldChg chg="add">
        <pc:chgData name="Stephen Gibbons" userId="8dc11794-a8ed-4f7c-8128-a48b124e2777" providerId="ADAL" clId="{98D2CDEC-B8A7-42C1-B376-7827D4C4F7FD}" dt="2019-09-07T12:27:10.883" v="1365"/>
        <pc:sldMkLst>
          <pc:docMk/>
          <pc:sldMk cId="2545249506" sldId="651"/>
        </pc:sldMkLst>
      </pc:sldChg>
      <pc:sldChg chg="addSp delSp modSp add modAnim">
        <pc:chgData name="Stephen Gibbons" userId="8dc11794-a8ed-4f7c-8128-a48b124e2777" providerId="ADAL" clId="{98D2CDEC-B8A7-42C1-B376-7827D4C4F7FD}" dt="2019-09-07T13:59:11.886" v="3188" actId="1038"/>
        <pc:sldMkLst>
          <pc:docMk/>
          <pc:sldMk cId="1183516562" sldId="661"/>
        </pc:sldMkLst>
        <pc:spChg chg="add mod">
          <ac:chgData name="Stephen Gibbons" userId="8dc11794-a8ed-4f7c-8128-a48b124e2777" providerId="ADAL" clId="{98D2CDEC-B8A7-42C1-B376-7827D4C4F7FD}" dt="2019-09-07T13:53:16.766" v="3081"/>
          <ac:spMkLst>
            <pc:docMk/>
            <pc:sldMk cId="1183516562" sldId="661"/>
            <ac:spMk id="32" creationId="{785D7474-6EDB-4534-8FB4-A70DC059E789}"/>
          </ac:spMkLst>
        </pc:spChg>
        <pc:spChg chg="mod">
          <ac:chgData name="Stephen Gibbons" userId="8dc11794-a8ed-4f7c-8128-a48b124e2777" providerId="ADAL" clId="{98D2CDEC-B8A7-42C1-B376-7827D4C4F7FD}" dt="2019-09-07T13:56:15.834" v="3140" actId="1076"/>
          <ac:spMkLst>
            <pc:docMk/>
            <pc:sldMk cId="1183516562" sldId="661"/>
            <ac:spMk id="296" creationId="{69DF20E9-F78D-4A61-A53F-CD8C949B73C5}"/>
          </ac:spMkLst>
        </pc:spChg>
        <pc:spChg chg="mod">
          <ac:chgData name="Stephen Gibbons" userId="8dc11794-a8ed-4f7c-8128-a48b124e2777" providerId="ADAL" clId="{98D2CDEC-B8A7-42C1-B376-7827D4C4F7FD}" dt="2019-09-07T13:56:20.413" v="3141" actId="1076"/>
          <ac:spMkLst>
            <pc:docMk/>
            <pc:sldMk cId="1183516562" sldId="661"/>
            <ac:spMk id="297" creationId="{B05157E0-D32C-46CE-88AA-A028CFA906C9}"/>
          </ac:spMkLst>
        </pc:spChg>
        <pc:spChg chg="mod">
          <ac:chgData name="Stephen Gibbons" userId="8dc11794-a8ed-4f7c-8128-a48b124e2777" providerId="ADAL" clId="{98D2CDEC-B8A7-42C1-B376-7827D4C4F7FD}" dt="2019-09-07T13:38:38.071" v="2371" actId="20577"/>
          <ac:spMkLst>
            <pc:docMk/>
            <pc:sldMk cId="1183516562" sldId="661"/>
            <ac:spMk id="671" creationId="{00000000-0000-0000-0000-000000000000}"/>
          </ac:spMkLst>
        </pc:spChg>
        <pc:spChg chg="mod">
          <ac:chgData name="Stephen Gibbons" userId="8dc11794-a8ed-4f7c-8128-a48b124e2777" providerId="ADAL" clId="{98D2CDEC-B8A7-42C1-B376-7827D4C4F7FD}" dt="2019-09-07T13:51:57.726" v="3037" actId="179"/>
          <ac:spMkLst>
            <pc:docMk/>
            <pc:sldMk cId="1183516562" sldId="661"/>
            <ac:spMk id="683" creationId="{00000000-0000-0000-0000-000000000000}"/>
          </ac:spMkLst>
        </pc:spChg>
        <pc:grpChg chg="add">
          <ac:chgData name="Stephen Gibbons" userId="8dc11794-a8ed-4f7c-8128-a48b124e2777" providerId="ADAL" clId="{98D2CDEC-B8A7-42C1-B376-7827D4C4F7FD}" dt="2019-09-07T13:51:00.469" v="2962"/>
          <ac:grpSpMkLst>
            <pc:docMk/>
            <pc:sldMk cId="1183516562" sldId="661"/>
            <ac:grpSpMk id="33" creationId="{D33241F6-5E8C-4DCB-B04B-18D702F9739D}"/>
          </ac:grpSpMkLst>
        </pc:grpChg>
        <pc:grpChg chg="add mod">
          <ac:chgData name="Stephen Gibbons" userId="8dc11794-a8ed-4f7c-8128-a48b124e2777" providerId="ADAL" clId="{98D2CDEC-B8A7-42C1-B376-7827D4C4F7FD}" dt="2019-09-07T13:56:10.099" v="3139" actId="1076"/>
          <ac:grpSpMkLst>
            <pc:docMk/>
            <pc:sldMk cId="1183516562" sldId="661"/>
            <ac:grpSpMk id="44" creationId="{2F8D0D6C-E567-4203-98F4-CDA59CD7A618}"/>
          </ac:grpSpMkLst>
        </pc:grpChg>
        <pc:picChg chg="add mod">
          <ac:chgData name="Stephen Gibbons" userId="8dc11794-a8ed-4f7c-8128-a48b124e2777" providerId="ADAL" clId="{98D2CDEC-B8A7-42C1-B376-7827D4C4F7FD}" dt="2019-09-07T13:59:11.886" v="3188" actId="1038"/>
          <ac:picMkLst>
            <pc:docMk/>
            <pc:sldMk cId="1183516562" sldId="661"/>
            <ac:picMk id="38" creationId="{A341CA0C-7B50-4D8F-8BF1-AEC1C47E62A1}"/>
          </ac:picMkLst>
        </pc:picChg>
        <pc:picChg chg="add mod">
          <ac:chgData name="Stephen Gibbons" userId="8dc11794-a8ed-4f7c-8128-a48b124e2777" providerId="ADAL" clId="{98D2CDEC-B8A7-42C1-B376-7827D4C4F7FD}" dt="2019-09-07T13:59:11.886" v="3188" actId="1038"/>
          <ac:picMkLst>
            <pc:docMk/>
            <pc:sldMk cId="1183516562" sldId="661"/>
            <ac:picMk id="39" creationId="{0A343EF2-C258-46ED-B972-85D9FBE3E687}"/>
          </ac:picMkLst>
        </pc:picChg>
        <pc:picChg chg="add mod">
          <ac:chgData name="Stephen Gibbons" userId="8dc11794-a8ed-4f7c-8128-a48b124e2777" providerId="ADAL" clId="{98D2CDEC-B8A7-42C1-B376-7827D4C4F7FD}" dt="2019-09-07T13:59:11.886" v="3188" actId="1038"/>
          <ac:picMkLst>
            <pc:docMk/>
            <pc:sldMk cId="1183516562" sldId="661"/>
            <ac:picMk id="40" creationId="{895107E7-20E1-49FB-841B-A0AC2EAB235C}"/>
          </ac:picMkLst>
        </pc:picChg>
        <pc:picChg chg="add mod">
          <ac:chgData name="Stephen Gibbons" userId="8dc11794-a8ed-4f7c-8128-a48b124e2777" providerId="ADAL" clId="{98D2CDEC-B8A7-42C1-B376-7827D4C4F7FD}" dt="2019-09-07T13:59:11.886" v="3188" actId="1038"/>
          <ac:picMkLst>
            <pc:docMk/>
            <pc:sldMk cId="1183516562" sldId="661"/>
            <ac:picMk id="41" creationId="{9E934A18-F266-4907-8CB5-9004EBBA1B6F}"/>
          </ac:picMkLst>
        </pc:picChg>
        <pc:picChg chg="add mod">
          <ac:chgData name="Stephen Gibbons" userId="8dc11794-a8ed-4f7c-8128-a48b124e2777" providerId="ADAL" clId="{98D2CDEC-B8A7-42C1-B376-7827D4C4F7FD}" dt="2019-09-07T13:59:11.886" v="3188" actId="1038"/>
          <ac:picMkLst>
            <pc:docMk/>
            <pc:sldMk cId="1183516562" sldId="661"/>
            <ac:picMk id="42" creationId="{3A95A7ED-96A5-4929-A291-005025F500AE}"/>
          </ac:picMkLst>
        </pc:picChg>
        <pc:picChg chg="add mod">
          <ac:chgData name="Stephen Gibbons" userId="8dc11794-a8ed-4f7c-8128-a48b124e2777" providerId="ADAL" clId="{98D2CDEC-B8A7-42C1-B376-7827D4C4F7FD}" dt="2019-09-07T13:56:10.099" v="3139" actId="1076"/>
          <ac:picMkLst>
            <pc:docMk/>
            <pc:sldMk cId="1183516562" sldId="661"/>
            <ac:picMk id="43" creationId="{FD2714C1-E39A-4C73-8E63-C6C92500D7F8}"/>
          </ac:picMkLst>
        </pc:picChg>
        <pc:picChg chg="add mod">
          <ac:chgData name="Stephen Gibbons" userId="8dc11794-a8ed-4f7c-8128-a48b124e2777" providerId="ADAL" clId="{98D2CDEC-B8A7-42C1-B376-7827D4C4F7FD}" dt="2019-09-07T13:59:11.886" v="3188" actId="1038"/>
          <ac:picMkLst>
            <pc:docMk/>
            <pc:sldMk cId="1183516562" sldId="661"/>
            <ac:picMk id="48" creationId="{A3725DD0-2A4C-4DE9-8E9B-14AEA326082D}"/>
          </ac:picMkLst>
        </pc:picChg>
        <pc:picChg chg="add mod">
          <ac:chgData name="Stephen Gibbons" userId="8dc11794-a8ed-4f7c-8128-a48b124e2777" providerId="ADAL" clId="{98D2CDEC-B8A7-42C1-B376-7827D4C4F7FD}" dt="2019-09-07T13:59:11.886" v="3188" actId="1038"/>
          <ac:picMkLst>
            <pc:docMk/>
            <pc:sldMk cId="1183516562" sldId="661"/>
            <ac:picMk id="49" creationId="{9BA40053-E66C-48D1-9181-F0D9A5818B5D}"/>
          </ac:picMkLst>
        </pc:picChg>
        <pc:picChg chg="del">
          <ac:chgData name="Stephen Gibbons" userId="8dc11794-a8ed-4f7c-8128-a48b124e2777" providerId="ADAL" clId="{98D2CDEC-B8A7-42C1-B376-7827D4C4F7FD}" dt="2019-09-07T13:54:34.462" v="3082" actId="478"/>
          <ac:picMkLst>
            <pc:docMk/>
            <pc:sldMk cId="1183516562" sldId="661"/>
            <ac:picMk id="288" creationId="{5F912AC4-FCBE-443C-BB88-39B96F29A64C}"/>
          </ac:picMkLst>
        </pc:picChg>
        <pc:picChg chg="del">
          <ac:chgData name="Stephen Gibbons" userId="8dc11794-a8ed-4f7c-8128-a48b124e2777" providerId="ADAL" clId="{98D2CDEC-B8A7-42C1-B376-7827D4C4F7FD}" dt="2019-09-07T13:54:36.118" v="3083" actId="478"/>
          <ac:picMkLst>
            <pc:docMk/>
            <pc:sldMk cId="1183516562" sldId="661"/>
            <ac:picMk id="289" creationId="{72D20C7E-76F9-4B4A-8F05-BB389781D6E3}"/>
          </ac:picMkLst>
        </pc:picChg>
        <pc:picChg chg="del mod">
          <ac:chgData name="Stephen Gibbons" userId="8dc11794-a8ed-4f7c-8128-a48b124e2777" providerId="ADAL" clId="{98D2CDEC-B8A7-42C1-B376-7827D4C4F7FD}" dt="2019-09-07T13:55:55.535" v="3136" actId="478"/>
          <ac:picMkLst>
            <pc:docMk/>
            <pc:sldMk cId="1183516562" sldId="661"/>
            <ac:picMk id="291" creationId="{785DD2EE-437E-480B-AB9D-5FBC83DC1304}"/>
          </ac:picMkLst>
        </pc:picChg>
        <pc:picChg chg="del">
          <ac:chgData name="Stephen Gibbons" userId="8dc11794-a8ed-4f7c-8128-a48b124e2777" providerId="ADAL" clId="{98D2CDEC-B8A7-42C1-B376-7827D4C4F7FD}" dt="2019-09-07T13:55:57.597" v="3137" actId="478"/>
          <ac:picMkLst>
            <pc:docMk/>
            <pc:sldMk cId="1183516562" sldId="661"/>
            <ac:picMk id="292" creationId="{EDF93266-3610-43E6-BAC9-D99B808376D5}"/>
          </ac:picMkLst>
        </pc:picChg>
        <pc:cxnChg chg="del mod">
          <ac:chgData name="Stephen Gibbons" userId="8dc11794-a8ed-4f7c-8128-a48b124e2777" providerId="ADAL" clId="{98D2CDEC-B8A7-42C1-B376-7827D4C4F7FD}" dt="2019-09-07T13:55:13.545" v="3084" actId="478"/>
          <ac:cxnSpMkLst>
            <pc:docMk/>
            <pc:sldMk cId="1183516562" sldId="661"/>
            <ac:cxnSpMk id="298" creationId="{080EB120-0E51-4009-9841-42E9C31050B7}"/>
          </ac:cxnSpMkLst>
        </pc:cxnChg>
      </pc:sldChg>
      <pc:sldChg chg="add">
        <pc:chgData name="Stephen Gibbons" userId="8dc11794-a8ed-4f7c-8128-a48b124e2777" providerId="ADAL" clId="{98D2CDEC-B8A7-42C1-B376-7827D4C4F7FD}" dt="2019-09-07T12:27:10.883" v="1365"/>
        <pc:sldMkLst>
          <pc:docMk/>
          <pc:sldMk cId="1707542886" sldId="667"/>
        </pc:sldMkLst>
      </pc:sldChg>
      <pc:sldChg chg="del">
        <pc:chgData name="Stephen Gibbons" userId="8dc11794-a8ed-4f7c-8128-a48b124e2777" providerId="ADAL" clId="{98D2CDEC-B8A7-42C1-B376-7827D4C4F7FD}" dt="2019-09-07T12:45:45.919" v="1448" actId="2696"/>
        <pc:sldMkLst>
          <pc:docMk/>
          <pc:sldMk cId="3229760087" sldId="699"/>
        </pc:sldMkLst>
      </pc:sldChg>
      <pc:sldChg chg="modSp add del">
        <pc:chgData name="Stephen Gibbons" userId="8dc11794-a8ed-4f7c-8128-a48b124e2777" providerId="ADAL" clId="{98D2CDEC-B8A7-42C1-B376-7827D4C4F7FD}" dt="2019-09-07T14:13:26.021" v="3554" actId="1036"/>
        <pc:sldMkLst>
          <pc:docMk/>
          <pc:sldMk cId="540011179" sldId="700"/>
        </pc:sldMkLst>
        <pc:spChg chg="mod">
          <ac:chgData name="Stephen Gibbons" userId="8dc11794-a8ed-4f7c-8128-a48b124e2777" providerId="ADAL" clId="{98D2CDEC-B8A7-42C1-B376-7827D4C4F7FD}" dt="2019-09-07T14:13:26.021" v="3554" actId="1036"/>
          <ac:spMkLst>
            <pc:docMk/>
            <pc:sldMk cId="540011179" sldId="700"/>
            <ac:spMk id="80" creationId="{ABEF6DB7-AB34-4982-B5D1-7A681FDBC758}"/>
          </ac:spMkLst>
        </pc:spChg>
        <pc:graphicFrameChg chg="modGraphic">
          <ac:chgData name="Stephen Gibbons" userId="8dc11794-a8ed-4f7c-8128-a48b124e2777" providerId="ADAL" clId="{98D2CDEC-B8A7-42C1-B376-7827D4C4F7FD}" dt="2019-09-07T14:12:43.016" v="3482" actId="20577"/>
          <ac:graphicFrameMkLst>
            <pc:docMk/>
            <pc:sldMk cId="540011179" sldId="700"/>
            <ac:graphicFrameMk id="74" creationId="{5BF09866-514D-463C-9019-5D7982BE2F1C}"/>
          </ac:graphicFrameMkLst>
        </pc:graphicFrameChg>
        <pc:graphicFrameChg chg="modGraphic">
          <ac:chgData name="Stephen Gibbons" userId="8dc11794-a8ed-4f7c-8128-a48b124e2777" providerId="ADAL" clId="{98D2CDEC-B8A7-42C1-B376-7827D4C4F7FD}" dt="2019-09-07T14:13:14.395" v="3532" actId="20577"/>
          <ac:graphicFrameMkLst>
            <pc:docMk/>
            <pc:sldMk cId="540011179" sldId="700"/>
            <ac:graphicFrameMk id="77" creationId="{856A669F-06E5-4E4D-A445-02AEA9CB75F8}"/>
          </ac:graphicFrameMkLst>
        </pc:graphicFrameChg>
      </pc:sldChg>
      <pc:sldChg chg="del">
        <pc:chgData name="Stephen Gibbons" userId="8dc11794-a8ed-4f7c-8128-a48b124e2777" providerId="ADAL" clId="{98D2CDEC-B8A7-42C1-B376-7827D4C4F7FD}" dt="2019-09-07T11:35:01.056" v="434" actId="2696"/>
        <pc:sldMkLst>
          <pc:docMk/>
          <pc:sldMk cId="2456034102" sldId="700"/>
        </pc:sldMkLst>
      </pc:sldChg>
      <pc:sldChg chg="add">
        <pc:chgData name="Stephen Gibbons" userId="8dc11794-a8ed-4f7c-8128-a48b124e2777" providerId="ADAL" clId="{98D2CDEC-B8A7-42C1-B376-7827D4C4F7FD}" dt="2019-09-07T12:27:10.883" v="1365"/>
        <pc:sldMkLst>
          <pc:docMk/>
          <pc:sldMk cId="2731425171" sldId="712"/>
        </pc:sldMkLst>
      </pc:sldChg>
      <pc:sldChg chg="add">
        <pc:chgData name="Stephen Gibbons" userId="8dc11794-a8ed-4f7c-8128-a48b124e2777" providerId="ADAL" clId="{98D2CDEC-B8A7-42C1-B376-7827D4C4F7FD}" dt="2019-09-07T12:27:10.883" v="1365"/>
        <pc:sldMkLst>
          <pc:docMk/>
          <pc:sldMk cId="2686560456" sldId="713"/>
        </pc:sldMkLst>
      </pc:sldChg>
      <pc:sldChg chg="add">
        <pc:chgData name="Stephen Gibbons" userId="8dc11794-a8ed-4f7c-8128-a48b124e2777" providerId="ADAL" clId="{98D2CDEC-B8A7-42C1-B376-7827D4C4F7FD}" dt="2019-09-07T12:27:10.883" v="1365"/>
        <pc:sldMkLst>
          <pc:docMk/>
          <pc:sldMk cId="1922595000" sldId="717"/>
        </pc:sldMkLst>
      </pc:sldChg>
      <pc:sldChg chg="add modNotesTx">
        <pc:chgData name="Stephen Gibbons" userId="8dc11794-a8ed-4f7c-8128-a48b124e2777" providerId="ADAL" clId="{98D2CDEC-B8A7-42C1-B376-7827D4C4F7FD}" dt="2019-09-07T12:43:50.827" v="1446" actId="20577"/>
        <pc:sldMkLst>
          <pc:docMk/>
          <pc:sldMk cId="1882463411" sldId="723"/>
        </pc:sldMkLst>
      </pc:sldChg>
      <pc:sldChg chg="add modTransition modAnim">
        <pc:chgData name="Stephen Gibbons" userId="8dc11794-a8ed-4f7c-8128-a48b124e2777" providerId="ADAL" clId="{98D2CDEC-B8A7-42C1-B376-7827D4C4F7FD}" dt="2019-09-07T14:06:22.952" v="3337"/>
        <pc:sldMkLst>
          <pc:docMk/>
          <pc:sldMk cId="3190613969" sldId="724"/>
        </pc:sldMkLst>
      </pc:sldChg>
      <pc:sldChg chg="add">
        <pc:chgData name="Stephen Gibbons" userId="8dc11794-a8ed-4f7c-8128-a48b124e2777" providerId="ADAL" clId="{98D2CDEC-B8A7-42C1-B376-7827D4C4F7FD}" dt="2019-09-07T12:27:10.883" v="1365"/>
        <pc:sldMkLst>
          <pc:docMk/>
          <pc:sldMk cId="885269359" sldId="726"/>
        </pc:sldMkLst>
      </pc:sldChg>
      <pc:sldChg chg="modSp">
        <pc:chgData name="Stephen Gibbons" userId="8dc11794-a8ed-4f7c-8128-a48b124e2777" providerId="ADAL" clId="{98D2CDEC-B8A7-42C1-B376-7827D4C4F7FD}" dt="2019-09-07T14:10:22.481" v="3460" actId="20577"/>
        <pc:sldMkLst>
          <pc:docMk/>
          <pc:sldMk cId="708035142" sldId="739"/>
        </pc:sldMkLst>
        <pc:spChg chg="mod">
          <ac:chgData name="Stephen Gibbons" userId="8dc11794-a8ed-4f7c-8128-a48b124e2777" providerId="ADAL" clId="{98D2CDEC-B8A7-42C1-B376-7827D4C4F7FD}" dt="2019-09-07T14:10:22.481" v="3460" actId="20577"/>
          <ac:spMkLst>
            <pc:docMk/>
            <pc:sldMk cId="708035142" sldId="739"/>
            <ac:spMk id="2" creationId="{3F1D260E-D3B3-4907-8EE4-2167B22C38D4}"/>
          </ac:spMkLst>
        </pc:spChg>
      </pc:sldChg>
      <pc:sldChg chg="modSp">
        <pc:chgData name="Stephen Gibbons" userId="8dc11794-a8ed-4f7c-8128-a48b124e2777" providerId="ADAL" clId="{98D2CDEC-B8A7-42C1-B376-7827D4C4F7FD}" dt="2019-09-07T14:26:43.561" v="3665" actId="113"/>
        <pc:sldMkLst>
          <pc:docMk/>
          <pc:sldMk cId="567481301" sldId="785"/>
        </pc:sldMkLst>
        <pc:spChg chg="mod">
          <ac:chgData name="Stephen Gibbons" userId="8dc11794-a8ed-4f7c-8128-a48b124e2777" providerId="ADAL" clId="{98D2CDEC-B8A7-42C1-B376-7827D4C4F7FD}" dt="2019-09-07T14:26:36.216" v="3663" actId="113"/>
          <ac:spMkLst>
            <pc:docMk/>
            <pc:sldMk cId="567481301" sldId="785"/>
            <ac:spMk id="103" creationId="{2A919D25-79B2-4C92-8CCD-D63F3D2F08A8}"/>
          </ac:spMkLst>
        </pc:spChg>
        <pc:spChg chg="mod">
          <ac:chgData name="Stephen Gibbons" userId="8dc11794-a8ed-4f7c-8128-a48b124e2777" providerId="ADAL" clId="{98D2CDEC-B8A7-42C1-B376-7827D4C4F7FD}" dt="2019-09-07T14:26:43.561" v="3665" actId="113"/>
          <ac:spMkLst>
            <pc:docMk/>
            <pc:sldMk cId="567481301" sldId="785"/>
            <ac:spMk id="109" creationId="{B5ADAA1A-0461-4C03-8DB4-BD4A01717B4D}"/>
          </ac:spMkLst>
        </pc:spChg>
      </pc:sldChg>
      <pc:sldChg chg="del">
        <pc:chgData name="Stephen Gibbons" userId="8dc11794-a8ed-4f7c-8128-a48b124e2777" providerId="ADAL" clId="{98D2CDEC-B8A7-42C1-B376-7827D4C4F7FD}" dt="2019-09-07T11:35:02.353" v="435" actId="2696"/>
        <pc:sldMkLst>
          <pc:docMk/>
          <pc:sldMk cId="2374109382" sldId="795"/>
        </pc:sldMkLst>
      </pc:sldChg>
      <pc:sldChg chg="del">
        <pc:chgData name="Stephen Gibbons" userId="8dc11794-a8ed-4f7c-8128-a48b124e2777" providerId="ADAL" clId="{98D2CDEC-B8A7-42C1-B376-7827D4C4F7FD}" dt="2019-09-07T11:35:03.744" v="436" actId="2696"/>
        <pc:sldMkLst>
          <pc:docMk/>
          <pc:sldMk cId="208418594" sldId="796"/>
        </pc:sldMkLst>
      </pc:sldChg>
      <pc:sldChg chg="addSp modSp">
        <pc:chgData name="Stephen Gibbons" userId="8dc11794-a8ed-4f7c-8128-a48b124e2777" providerId="ADAL" clId="{98D2CDEC-B8A7-42C1-B376-7827D4C4F7FD}" dt="2019-09-07T12:56:18.675" v="1604" actId="1036"/>
        <pc:sldMkLst>
          <pc:docMk/>
          <pc:sldMk cId="646636368" sldId="798"/>
        </pc:sldMkLst>
        <pc:spChg chg="mod">
          <ac:chgData name="Stephen Gibbons" userId="8dc11794-a8ed-4f7c-8128-a48b124e2777" providerId="ADAL" clId="{98D2CDEC-B8A7-42C1-B376-7827D4C4F7FD}" dt="2019-09-07T12:56:18.675" v="1604" actId="1036"/>
          <ac:spMkLst>
            <pc:docMk/>
            <pc:sldMk cId="646636368" sldId="798"/>
            <ac:spMk id="211" creationId="{F87F6391-F42E-4F60-83DC-E26426CF3A43}"/>
          </ac:spMkLst>
        </pc:spChg>
        <pc:grpChg chg="add mod">
          <ac:chgData name="Stephen Gibbons" userId="8dc11794-a8ed-4f7c-8128-a48b124e2777" providerId="ADAL" clId="{98D2CDEC-B8A7-42C1-B376-7827D4C4F7FD}" dt="2019-09-07T12:56:15.503" v="1602" actId="1076"/>
          <ac:grpSpMkLst>
            <pc:docMk/>
            <pc:sldMk cId="646636368" sldId="798"/>
            <ac:grpSpMk id="103" creationId="{FEE46901-B991-45C0-B33D-0783C2650669}"/>
          </ac:grpSpMkLst>
        </pc:grpChg>
        <pc:graphicFrameChg chg="modGraphic">
          <ac:chgData name="Stephen Gibbons" userId="8dc11794-a8ed-4f7c-8128-a48b124e2777" providerId="ADAL" clId="{98D2CDEC-B8A7-42C1-B376-7827D4C4F7FD}" dt="2019-09-07T12:55:55.360" v="1599" actId="20577"/>
          <ac:graphicFrameMkLst>
            <pc:docMk/>
            <pc:sldMk cId="646636368" sldId="798"/>
            <ac:graphicFrameMk id="8" creationId="{DC6804CB-0604-42F3-9226-1A6ADDF3BDDA}"/>
          </ac:graphicFrameMkLst>
        </pc:graphicFrameChg>
      </pc:sldChg>
      <pc:sldChg chg="modSp">
        <pc:chgData name="Stephen Gibbons" userId="8dc11794-a8ed-4f7c-8128-a48b124e2777" providerId="ADAL" clId="{98D2CDEC-B8A7-42C1-B376-7827D4C4F7FD}" dt="2019-09-07T13:23:30.880" v="2237" actId="20577"/>
        <pc:sldMkLst>
          <pc:docMk/>
          <pc:sldMk cId="3566985572" sldId="801"/>
        </pc:sldMkLst>
        <pc:spChg chg="mod">
          <ac:chgData name="Stephen Gibbons" userId="8dc11794-a8ed-4f7c-8128-a48b124e2777" providerId="ADAL" clId="{98D2CDEC-B8A7-42C1-B376-7827D4C4F7FD}" dt="2019-09-07T13:23:30.880" v="2237" actId="20577"/>
          <ac:spMkLst>
            <pc:docMk/>
            <pc:sldMk cId="3566985572" sldId="801"/>
            <ac:spMk id="3" creationId="{D0AABEFC-18A7-4276-8644-CC442F922D04}"/>
          </ac:spMkLst>
        </pc:spChg>
      </pc:sldChg>
      <pc:sldChg chg="modSp">
        <pc:chgData name="Stephen Gibbons" userId="8dc11794-a8ed-4f7c-8128-a48b124e2777" providerId="ADAL" clId="{98D2CDEC-B8A7-42C1-B376-7827D4C4F7FD}" dt="2019-09-07T14:22:26.273" v="3582" actId="20577"/>
        <pc:sldMkLst>
          <pc:docMk/>
          <pc:sldMk cId="2367696695" sldId="804"/>
        </pc:sldMkLst>
        <pc:spChg chg="mod">
          <ac:chgData name="Stephen Gibbons" userId="8dc11794-a8ed-4f7c-8128-a48b124e2777" providerId="ADAL" clId="{98D2CDEC-B8A7-42C1-B376-7827D4C4F7FD}" dt="2019-09-07T14:22:26.273" v="3582" actId="20577"/>
          <ac:spMkLst>
            <pc:docMk/>
            <pc:sldMk cId="2367696695" sldId="804"/>
            <ac:spMk id="6" creationId="{252F64F4-E036-4539-AEC2-C4CF901180D6}"/>
          </ac:spMkLst>
        </pc:spChg>
      </pc:sldChg>
      <pc:sldChg chg="modSp">
        <pc:chgData name="Stephen Gibbons" userId="8dc11794-a8ed-4f7c-8128-a48b124e2777" providerId="ADAL" clId="{98D2CDEC-B8A7-42C1-B376-7827D4C4F7FD}" dt="2019-09-07T14:23:26.211" v="3585" actId="20577"/>
        <pc:sldMkLst>
          <pc:docMk/>
          <pc:sldMk cId="1111308749" sldId="806"/>
        </pc:sldMkLst>
        <pc:spChg chg="mod">
          <ac:chgData name="Stephen Gibbons" userId="8dc11794-a8ed-4f7c-8128-a48b124e2777" providerId="ADAL" clId="{98D2CDEC-B8A7-42C1-B376-7827D4C4F7FD}" dt="2019-09-07T14:23:26.211" v="3585" actId="20577"/>
          <ac:spMkLst>
            <pc:docMk/>
            <pc:sldMk cId="1111308749" sldId="806"/>
            <ac:spMk id="6" creationId="{252F64F4-E036-4539-AEC2-C4CF901180D6}"/>
          </ac:spMkLst>
        </pc:spChg>
      </pc:sldChg>
      <pc:sldChg chg="modSp">
        <pc:chgData name="Stephen Gibbons" userId="8dc11794-a8ed-4f7c-8128-a48b124e2777" providerId="ADAL" clId="{98D2CDEC-B8A7-42C1-B376-7827D4C4F7FD}" dt="2019-09-07T13:02:28.675" v="1684" actId="20577"/>
        <pc:sldMkLst>
          <pc:docMk/>
          <pc:sldMk cId="1441518077" sldId="811"/>
        </pc:sldMkLst>
        <pc:spChg chg="mod">
          <ac:chgData name="Stephen Gibbons" userId="8dc11794-a8ed-4f7c-8128-a48b124e2777" providerId="ADAL" clId="{98D2CDEC-B8A7-42C1-B376-7827D4C4F7FD}" dt="2019-09-07T13:02:28.675" v="1684" actId="20577"/>
          <ac:spMkLst>
            <pc:docMk/>
            <pc:sldMk cId="1441518077" sldId="811"/>
            <ac:spMk id="7" creationId="{5E16346A-1BF3-44C7-BAF2-D3DFE50F2CE2}"/>
          </ac:spMkLst>
        </pc:spChg>
      </pc:sldChg>
      <pc:sldChg chg="modAnim">
        <pc:chgData name="Stephen Gibbons" userId="8dc11794-a8ed-4f7c-8128-a48b124e2777" providerId="ADAL" clId="{98D2CDEC-B8A7-42C1-B376-7827D4C4F7FD}" dt="2019-09-07T14:01:04.822" v="3215"/>
        <pc:sldMkLst>
          <pc:docMk/>
          <pc:sldMk cId="642345755" sldId="813"/>
        </pc:sldMkLst>
      </pc:sldChg>
      <pc:sldChg chg="modSp">
        <pc:chgData name="Stephen Gibbons" userId="8dc11794-a8ed-4f7c-8128-a48b124e2777" providerId="ADAL" clId="{98D2CDEC-B8A7-42C1-B376-7827D4C4F7FD}" dt="2019-09-07T11:11:15.121" v="24" actId="20577"/>
        <pc:sldMkLst>
          <pc:docMk/>
          <pc:sldMk cId="890577894" sldId="814"/>
        </pc:sldMkLst>
        <pc:spChg chg="mod">
          <ac:chgData name="Stephen Gibbons" userId="8dc11794-a8ed-4f7c-8128-a48b124e2777" providerId="ADAL" clId="{98D2CDEC-B8A7-42C1-B376-7827D4C4F7FD}" dt="2019-09-07T11:11:15.121" v="24" actId="20577"/>
          <ac:spMkLst>
            <pc:docMk/>
            <pc:sldMk cId="890577894" sldId="814"/>
            <ac:spMk id="7" creationId="{27D3F8D2-FC9F-4FAA-B465-3C9532F93822}"/>
          </ac:spMkLst>
        </pc:spChg>
      </pc:sldChg>
      <pc:sldChg chg="modSp">
        <pc:chgData name="Stephen Gibbons" userId="8dc11794-a8ed-4f7c-8128-a48b124e2777" providerId="ADAL" clId="{98D2CDEC-B8A7-42C1-B376-7827D4C4F7FD}" dt="2019-09-07T14:10:43.093" v="3463" actId="20577"/>
        <pc:sldMkLst>
          <pc:docMk/>
          <pc:sldMk cId="3486035003" sldId="820"/>
        </pc:sldMkLst>
        <pc:spChg chg="mod">
          <ac:chgData name="Stephen Gibbons" userId="8dc11794-a8ed-4f7c-8128-a48b124e2777" providerId="ADAL" clId="{98D2CDEC-B8A7-42C1-B376-7827D4C4F7FD}" dt="2019-09-07T14:10:43.093" v="3463" actId="20577"/>
          <ac:spMkLst>
            <pc:docMk/>
            <pc:sldMk cId="3486035003" sldId="820"/>
            <ac:spMk id="2" creationId="{0215483F-C7BF-4974-8322-7953F7A24BB2}"/>
          </ac:spMkLst>
        </pc:spChg>
      </pc:sldChg>
      <pc:sldChg chg="del">
        <pc:chgData name="Stephen Gibbons" userId="8dc11794-a8ed-4f7c-8128-a48b124e2777" providerId="ADAL" clId="{98D2CDEC-B8A7-42C1-B376-7827D4C4F7FD}" dt="2019-09-07T11:34:37.834" v="432" actId="2696"/>
        <pc:sldMkLst>
          <pc:docMk/>
          <pc:sldMk cId="1923833375" sldId="822"/>
        </pc:sldMkLst>
      </pc:sldChg>
      <pc:sldChg chg="del">
        <pc:chgData name="Stephen Gibbons" userId="8dc11794-a8ed-4f7c-8128-a48b124e2777" providerId="ADAL" clId="{98D2CDEC-B8A7-42C1-B376-7827D4C4F7FD}" dt="2019-09-07T12:48:39.264" v="1451" actId="2696"/>
        <pc:sldMkLst>
          <pc:docMk/>
          <pc:sldMk cId="4124274861" sldId="823"/>
        </pc:sldMkLst>
      </pc:sldChg>
      <pc:sldChg chg="modSp delCm">
        <pc:chgData name="Stephen Gibbons" userId="8dc11794-a8ed-4f7c-8128-a48b124e2777" providerId="ADAL" clId="{98D2CDEC-B8A7-42C1-B376-7827D4C4F7FD}" dt="2019-09-07T14:17:37.831" v="3562"/>
        <pc:sldMkLst>
          <pc:docMk/>
          <pc:sldMk cId="3906196098" sldId="824"/>
        </pc:sldMkLst>
        <pc:spChg chg="mod">
          <ac:chgData name="Stephen Gibbons" userId="8dc11794-a8ed-4f7c-8128-a48b124e2777" providerId="ADAL" clId="{98D2CDEC-B8A7-42C1-B376-7827D4C4F7FD}" dt="2019-09-07T14:05:47.916" v="3312" actId="20577"/>
          <ac:spMkLst>
            <pc:docMk/>
            <pc:sldMk cId="3906196098" sldId="824"/>
            <ac:spMk id="3" creationId="{71168447-CD78-4F8A-AB4E-AC87144E559D}"/>
          </ac:spMkLst>
        </pc:spChg>
        <pc:spChg chg="mod">
          <ac:chgData name="Stephen Gibbons" userId="8dc11794-a8ed-4f7c-8128-a48b124e2777" providerId="ADAL" clId="{98D2CDEC-B8A7-42C1-B376-7827D4C4F7FD}" dt="2019-09-07T14:05:38.274" v="3300" actId="20577"/>
          <ac:spMkLst>
            <pc:docMk/>
            <pc:sldMk cId="3906196098" sldId="824"/>
            <ac:spMk id="7" creationId="{09CF7B58-7315-43E5-8590-7A47B8C7E10E}"/>
          </ac:spMkLst>
        </pc:spChg>
        <pc:graphicFrameChg chg="mod modGraphic">
          <ac:chgData name="Stephen Gibbons" userId="8dc11794-a8ed-4f7c-8128-a48b124e2777" providerId="ADAL" clId="{98D2CDEC-B8A7-42C1-B376-7827D4C4F7FD}" dt="2019-09-07T14:17:37.831" v="3562"/>
          <ac:graphicFrameMkLst>
            <pc:docMk/>
            <pc:sldMk cId="3906196098" sldId="824"/>
            <ac:graphicFrameMk id="8" creationId="{DC6804CB-0604-42F3-9226-1A6ADDF3BDDA}"/>
          </ac:graphicFrameMkLst>
        </pc:graphicFrameChg>
      </pc:sldChg>
      <pc:sldChg chg="del">
        <pc:chgData name="Stephen Gibbons" userId="8dc11794-a8ed-4f7c-8128-a48b124e2777" providerId="ADAL" clId="{98D2CDEC-B8A7-42C1-B376-7827D4C4F7FD}" dt="2019-09-07T12:25:17.308" v="1364" actId="2696"/>
        <pc:sldMkLst>
          <pc:docMk/>
          <pc:sldMk cId="1268151202" sldId="825"/>
        </pc:sldMkLst>
      </pc:sldChg>
      <pc:sldChg chg="modSp add ord">
        <pc:chgData name="Stephen Gibbons" userId="8dc11794-a8ed-4f7c-8128-a48b124e2777" providerId="ADAL" clId="{98D2CDEC-B8A7-42C1-B376-7827D4C4F7FD}" dt="2019-09-07T14:18:32.688" v="3567"/>
        <pc:sldMkLst>
          <pc:docMk/>
          <pc:sldMk cId="7329470" sldId="828"/>
        </pc:sldMkLst>
        <pc:spChg chg="mod">
          <ac:chgData name="Stephen Gibbons" userId="8dc11794-a8ed-4f7c-8128-a48b124e2777" providerId="ADAL" clId="{98D2CDEC-B8A7-42C1-B376-7827D4C4F7FD}" dt="2019-09-07T14:18:32.688" v="3567"/>
          <ac:spMkLst>
            <pc:docMk/>
            <pc:sldMk cId="7329470" sldId="828"/>
            <ac:spMk id="15" creationId="{847F1449-65DF-4129-AFEC-044C1AA4D4D5}"/>
          </ac:spMkLst>
        </pc:spChg>
      </pc:sldChg>
      <pc:sldChg chg="add ord">
        <pc:chgData name="Stephen Gibbons" userId="8dc11794-a8ed-4f7c-8128-a48b124e2777" providerId="ADAL" clId="{98D2CDEC-B8A7-42C1-B376-7827D4C4F7FD}" dt="2019-09-07T11:57:54.982" v="939"/>
        <pc:sldMkLst>
          <pc:docMk/>
          <pc:sldMk cId="469907964" sldId="832"/>
        </pc:sldMkLst>
      </pc:sldChg>
      <pc:sldChg chg="modSp add ord">
        <pc:chgData name="Stephen Gibbons" userId="8dc11794-a8ed-4f7c-8128-a48b124e2777" providerId="ADAL" clId="{98D2CDEC-B8A7-42C1-B376-7827D4C4F7FD}" dt="2019-09-08T16:12:40.430" v="3673" actId="20577"/>
        <pc:sldMkLst>
          <pc:docMk/>
          <pc:sldMk cId="3181477368" sldId="833"/>
        </pc:sldMkLst>
        <pc:graphicFrameChg chg="modGraphic">
          <ac:chgData name="Stephen Gibbons" userId="8dc11794-a8ed-4f7c-8128-a48b124e2777" providerId="ADAL" clId="{98D2CDEC-B8A7-42C1-B376-7827D4C4F7FD}" dt="2019-09-08T16:12:40.430" v="3673" actId="20577"/>
          <ac:graphicFrameMkLst>
            <pc:docMk/>
            <pc:sldMk cId="3181477368" sldId="833"/>
            <ac:graphicFrameMk id="8" creationId="{DC6804CB-0604-42F3-9226-1A6ADDF3BDDA}"/>
          </ac:graphicFrameMkLst>
        </pc:graphicFrameChg>
      </pc:sldChg>
      <pc:sldChg chg="modSp add ord">
        <pc:chgData name="Stephen Gibbons" userId="8dc11794-a8ed-4f7c-8128-a48b124e2777" providerId="ADAL" clId="{98D2CDEC-B8A7-42C1-B376-7827D4C4F7FD}" dt="2019-09-07T12:05:32.621" v="1044" actId="20577"/>
        <pc:sldMkLst>
          <pc:docMk/>
          <pc:sldMk cId="847921421" sldId="834"/>
        </pc:sldMkLst>
        <pc:graphicFrameChg chg="modGraphic">
          <ac:chgData name="Stephen Gibbons" userId="8dc11794-a8ed-4f7c-8128-a48b124e2777" providerId="ADAL" clId="{98D2CDEC-B8A7-42C1-B376-7827D4C4F7FD}" dt="2019-09-07T12:05:32.621" v="1044" actId="20577"/>
          <ac:graphicFrameMkLst>
            <pc:docMk/>
            <pc:sldMk cId="847921421" sldId="834"/>
            <ac:graphicFrameMk id="8" creationId="{DC6804CB-0604-42F3-9226-1A6ADDF3BDDA}"/>
          </ac:graphicFrameMkLst>
        </pc:graphicFrameChg>
      </pc:sldChg>
      <pc:sldChg chg="modSp add">
        <pc:chgData name="Stephen Gibbons" userId="8dc11794-a8ed-4f7c-8128-a48b124e2777" providerId="ADAL" clId="{98D2CDEC-B8A7-42C1-B376-7827D4C4F7FD}" dt="2019-09-07T14:18:19.984" v="3565"/>
        <pc:sldMkLst>
          <pc:docMk/>
          <pc:sldMk cId="3840184005" sldId="835"/>
        </pc:sldMkLst>
        <pc:spChg chg="mod">
          <ac:chgData name="Stephen Gibbons" userId="8dc11794-a8ed-4f7c-8128-a48b124e2777" providerId="ADAL" clId="{98D2CDEC-B8A7-42C1-B376-7827D4C4F7FD}" dt="2019-09-07T14:18:19.984" v="3565"/>
          <ac:spMkLst>
            <pc:docMk/>
            <pc:sldMk cId="3840184005" sldId="835"/>
            <ac:spMk id="15" creationId="{847F1449-65DF-4129-AFEC-044C1AA4D4D5}"/>
          </ac:spMkLst>
        </pc:spChg>
      </pc:sldChg>
      <pc:sldChg chg="addSp delSp modSp add delAnim modAnim">
        <pc:chgData name="Stephen Gibbons" userId="8dc11794-a8ed-4f7c-8128-a48b124e2777" providerId="ADAL" clId="{98D2CDEC-B8A7-42C1-B376-7827D4C4F7FD}" dt="2019-09-07T14:07:27.006" v="3345" actId="207"/>
        <pc:sldMkLst>
          <pc:docMk/>
          <pc:sldMk cId="2160239963" sldId="836"/>
        </pc:sldMkLst>
        <pc:spChg chg="mod">
          <ac:chgData name="Stephen Gibbons" userId="8dc11794-a8ed-4f7c-8128-a48b124e2777" providerId="ADAL" clId="{98D2CDEC-B8A7-42C1-B376-7827D4C4F7FD}" dt="2019-09-07T11:55:54.377" v="912" actId="20577"/>
          <ac:spMkLst>
            <pc:docMk/>
            <pc:sldMk cId="2160239963" sldId="836"/>
            <ac:spMk id="2" creationId="{3AEF4F7D-2CCB-4CA7-AFFD-55D74038827F}"/>
          </ac:spMkLst>
        </pc:spChg>
        <pc:spChg chg="mod">
          <ac:chgData name="Stephen Gibbons" userId="8dc11794-a8ed-4f7c-8128-a48b124e2777" providerId="ADAL" clId="{98D2CDEC-B8A7-42C1-B376-7827D4C4F7FD}" dt="2019-09-07T14:07:27.006" v="3345" actId="207"/>
          <ac:spMkLst>
            <pc:docMk/>
            <pc:sldMk cId="2160239963" sldId="836"/>
            <ac:spMk id="6" creationId="{7EC1AF45-CE34-4000-B1D3-C095586E07CA}"/>
          </ac:spMkLst>
        </pc:spChg>
        <pc:spChg chg="mod">
          <ac:chgData name="Stephen Gibbons" userId="8dc11794-a8ed-4f7c-8128-a48b124e2777" providerId="ADAL" clId="{98D2CDEC-B8A7-42C1-B376-7827D4C4F7FD}" dt="2019-09-07T11:48:53.593" v="757" actId="20577"/>
          <ac:spMkLst>
            <pc:docMk/>
            <pc:sldMk cId="2160239963" sldId="836"/>
            <ac:spMk id="7" creationId="{2ADDC11F-5D49-4BCD-922D-04728BABF3FE}"/>
          </ac:spMkLst>
        </pc:spChg>
        <pc:spChg chg="mod">
          <ac:chgData name="Stephen Gibbons" userId="8dc11794-a8ed-4f7c-8128-a48b124e2777" providerId="ADAL" clId="{98D2CDEC-B8A7-42C1-B376-7827D4C4F7FD}" dt="2019-09-07T11:40:04.007" v="521" actId="20577"/>
          <ac:spMkLst>
            <pc:docMk/>
            <pc:sldMk cId="2160239963" sldId="836"/>
            <ac:spMk id="8" creationId="{8716F94D-E2ED-4522-BA19-0B094F971306}"/>
          </ac:spMkLst>
        </pc:spChg>
        <pc:spChg chg="add del mod">
          <ac:chgData name="Stephen Gibbons" userId="8dc11794-a8ed-4f7c-8128-a48b124e2777" providerId="ADAL" clId="{98D2CDEC-B8A7-42C1-B376-7827D4C4F7FD}" dt="2019-09-07T11:40:47.387" v="522" actId="478"/>
          <ac:spMkLst>
            <pc:docMk/>
            <pc:sldMk cId="2160239963" sldId="836"/>
            <ac:spMk id="9" creationId="{E285A581-AB2B-46FA-A540-5BA6FE5C266C}"/>
          </ac:spMkLst>
        </pc:spChg>
        <pc:spChg chg="add mod">
          <ac:chgData name="Stephen Gibbons" userId="8dc11794-a8ed-4f7c-8128-a48b124e2777" providerId="ADAL" clId="{98D2CDEC-B8A7-42C1-B376-7827D4C4F7FD}" dt="2019-09-07T11:43:40.455" v="583" actId="1076"/>
          <ac:spMkLst>
            <pc:docMk/>
            <pc:sldMk cId="2160239963" sldId="836"/>
            <ac:spMk id="10" creationId="{CF5F03F3-437E-46AB-BC4F-0F27F9630D15}"/>
          </ac:spMkLst>
        </pc:spChg>
        <pc:picChg chg="add del mod ord">
          <ac:chgData name="Stephen Gibbons" userId="8dc11794-a8ed-4f7c-8128-a48b124e2777" providerId="ADAL" clId="{98D2CDEC-B8A7-42C1-B376-7827D4C4F7FD}" dt="2019-09-07T11:50:59.859" v="873" actId="478"/>
          <ac:picMkLst>
            <pc:docMk/>
            <pc:sldMk cId="2160239963" sldId="836"/>
            <ac:picMk id="11" creationId="{477C33DE-C725-4F51-9ED6-3136876A2ABF}"/>
          </ac:picMkLst>
        </pc:picChg>
        <pc:picChg chg="add del mod">
          <ac:chgData name="Stephen Gibbons" userId="8dc11794-a8ed-4f7c-8128-a48b124e2777" providerId="ADAL" clId="{98D2CDEC-B8A7-42C1-B376-7827D4C4F7FD}" dt="2019-09-07T11:50:49.874" v="872" actId="478"/>
          <ac:picMkLst>
            <pc:docMk/>
            <pc:sldMk cId="2160239963" sldId="836"/>
            <ac:picMk id="12" creationId="{80E8E411-D927-49D6-9D96-D64462E67A8C}"/>
          </ac:picMkLst>
        </pc:picChg>
      </pc:sldChg>
      <pc:sldChg chg="addSp delSp modSp add modAnim">
        <pc:chgData name="Stephen Gibbons" userId="8dc11794-a8ed-4f7c-8128-a48b124e2777" providerId="ADAL" clId="{98D2CDEC-B8A7-42C1-B376-7827D4C4F7FD}" dt="2019-09-07T14:07:33.351" v="3346" actId="207"/>
        <pc:sldMkLst>
          <pc:docMk/>
          <pc:sldMk cId="2352075795" sldId="837"/>
        </pc:sldMkLst>
        <pc:spChg chg="mod">
          <ac:chgData name="Stephen Gibbons" userId="8dc11794-a8ed-4f7c-8128-a48b124e2777" providerId="ADAL" clId="{98D2CDEC-B8A7-42C1-B376-7827D4C4F7FD}" dt="2019-09-07T11:55:59.987" v="916" actId="20577"/>
          <ac:spMkLst>
            <pc:docMk/>
            <pc:sldMk cId="2352075795" sldId="837"/>
            <ac:spMk id="2" creationId="{3AEF4F7D-2CCB-4CA7-AFFD-55D74038827F}"/>
          </ac:spMkLst>
        </pc:spChg>
        <pc:spChg chg="mod">
          <ac:chgData name="Stephen Gibbons" userId="8dc11794-a8ed-4f7c-8128-a48b124e2777" providerId="ADAL" clId="{98D2CDEC-B8A7-42C1-B376-7827D4C4F7FD}" dt="2019-09-07T14:07:33.351" v="3346" actId="207"/>
          <ac:spMkLst>
            <pc:docMk/>
            <pc:sldMk cId="2352075795" sldId="837"/>
            <ac:spMk id="6" creationId="{7EC1AF45-CE34-4000-B1D3-C095586E07CA}"/>
          </ac:spMkLst>
        </pc:spChg>
        <pc:spChg chg="mod">
          <ac:chgData name="Stephen Gibbons" userId="8dc11794-a8ed-4f7c-8128-a48b124e2777" providerId="ADAL" clId="{98D2CDEC-B8A7-42C1-B376-7827D4C4F7FD}" dt="2019-09-07T11:59:11.365" v="946" actId="20577"/>
          <ac:spMkLst>
            <pc:docMk/>
            <pc:sldMk cId="2352075795" sldId="837"/>
            <ac:spMk id="7" creationId="{2ADDC11F-5D49-4BCD-922D-04728BABF3FE}"/>
          </ac:spMkLst>
        </pc:spChg>
        <pc:spChg chg="del">
          <ac:chgData name="Stephen Gibbons" userId="8dc11794-a8ed-4f7c-8128-a48b124e2777" providerId="ADAL" clId="{98D2CDEC-B8A7-42C1-B376-7827D4C4F7FD}" dt="2019-09-07T11:52:51.481" v="906" actId="478"/>
          <ac:spMkLst>
            <pc:docMk/>
            <pc:sldMk cId="2352075795" sldId="837"/>
            <ac:spMk id="10" creationId="{CF5F03F3-437E-46AB-BC4F-0F27F9630D15}"/>
          </ac:spMkLst>
        </pc:spChg>
        <pc:grpChg chg="add mod">
          <ac:chgData name="Stephen Gibbons" userId="8dc11794-a8ed-4f7c-8128-a48b124e2777" providerId="ADAL" clId="{98D2CDEC-B8A7-42C1-B376-7827D4C4F7FD}" dt="2019-09-07T11:53:00.373" v="908" actId="1076"/>
          <ac:grpSpMkLst>
            <pc:docMk/>
            <pc:sldMk cId="2352075795" sldId="837"/>
            <ac:grpSpMk id="11" creationId="{6C3284AD-31F2-4A72-AF2D-120CABC8444A}"/>
          </ac:grpSpMkLst>
        </pc:grpChg>
        <pc:grpChg chg="mod">
          <ac:chgData name="Stephen Gibbons" userId="8dc11794-a8ed-4f7c-8128-a48b124e2777" providerId="ADAL" clId="{98D2CDEC-B8A7-42C1-B376-7827D4C4F7FD}" dt="2019-09-07T11:53:00.373" v="908" actId="1076"/>
          <ac:grpSpMkLst>
            <pc:docMk/>
            <pc:sldMk cId="2352075795" sldId="837"/>
            <ac:grpSpMk id="12" creationId="{2BA5ECC1-9B22-4EA6-82BB-C9424EAAA317}"/>
          </ac:grpSpMkLst>
        </pc:grpChg>
        <pc:grpChg chg="mod">
          <ac:chgData name="Stephen Gibbons" userId="8dc11794-a8ed-4f7c-8128-a48b124e2777" providerId="ADAL" clId="{98D2CDEC-B8A7-42C1-B376-7827D4C4F7FD}" dt="2019-09-07T11:53:00.373" v="908" actId="1076"/>
          <ac:grpSpMkLst>
            <pc:docMk/>
            <pc:sldMk cId="2352075795" sldId="837"/>
            <ac:grpSpMk id="13" creationId="{43EF1CDB-11B8-40D6-A9A1-E6290F205476}"/>
          </ac:grpSpMkLst>
        </pc:grpChg>
      </pc:sldChg>
      <pc:sldChg chg="addSp delSp modSp add modAnim">
        <pc:chgData name="Stephen Gibbons" userId="8dc11794-a8ed-4f7c-8128-a48b124e2777" providerId="ADAL" clId="{98D2CDEC-B8A7-42C1-B376-7827D4C4F7FD}" dt="2019-09-07T14:07:43.055" v="3348" actId="207"/>
        <pc:sldMkLst>
          <pc:docMk/>
          <pc:sldMk cId="2925739161" sldId="838"/>
        </pc:sldMkLst>
        <pc:spChg chg="mod">
          <ac:chgData name="Stephen Gibbons" userId="8dc11794-a8ed-4f7c-8128-a48b124e2777" providerId="ADAL" clId="{98D2CDEC-B8A7-42C1-B376-7827D4C4F7FD}" dt="2019-09-07T14:07:43.055" v="3348" actId="207"/>
          <ac:spMkLst>
            <pc:docMk/>
            <pc:sldMk cId="2925739161" sldId="838"/>
            <ac:spMk id="6" creationId="{7EC1AF45-CE34-4000-B1D3-C095586E07CA}"/>
          </ac:spMkLst>
        </pc:spChg>
        <pc:spChg chg="mod">
          <ac:chgData name="Stephen Gibbons" userId="8dc11794-a8ed-4f7c-8128-a48b124e2777" providerId="ADAL" clId="{98D2CDEC-B8A7-42C1-B376-7827D4C4F7FD}" dt="2019-09-07T12:03:54.531" v="997"/>
          <ac:spMkLst>
            <pc:docMk/>
            <pc:sldMk cId="2925739161" sldId="838"/>
            <ac:spMk id="7" creationId="{2ADDC11F-5D49-4BCD-922D-04728BABF3FE}"/>
          </ac:spMkLst>
        </pc:spChg>
        <pc:grpChg chg="del">
          <ac:chgData name="Stephen Gibbons" userId="8dc11794-a8ed-4f7c-8128-a48b124e2777" providerId="ADAL" clId="{98D2CDEC-B8A7-42C1-B376-7827D4C4F7FD}" dt="2019-09-07T12:03:37.451" v="995" actId="478"/>
          <ac:grpSpMkLst>
            <pc:docMk/>
            <pc:sldMk cId="2925739161" sldId="838"/>
            <ac:grpSpMk id="11" creationId="{6C3284AD-31F2-4A72-AF2D-120CABC8444A}"/>
          </ac:grpSpMkLst>
        </pc:grpChg>
        <pc:grpChg chg="add mod">
          <ac:chgData name="Stephen Gibbons" userId="8dc11794-a8ed-4f7c-8128-a48b124e2777" providerId="ADAL" clId="{98D2CDEC-B8A7-42C1-B376-7827D4C4F7FD}" dt="2019-09-07T12:03:43.296" v="996" actId="1076"/>
          <ac:grpSpMkLst>
            <pc:docMk/>
            <pc:sldMk cId="2925739161" sldId="838"/>
            <ac:grpSpMk id="22" creationId="{E3C9A841-14D2-4A5F-B188-263D6A8EF3BC}"/>
          </ac:grpSpMkLst>
        </pc:grpChg>
      </pc:sldChg>
      <pc:sldChg chg="addSp delSp modSp add modAnim">
        <pc:chgData name="Stephen Gibbons" userId="8dc11794-a8ed-4f7c-8128-a48b124e2777" providerId="ADAL" clId="{98D2CDEC-B8A7-42C1-B376-7827D4C4F7FD}" dt="2019-09-07T14:07:48.759" v="3349" actId="207"/>
        <pc:sldMkLst>
          <pc:docMk/>
          <pc:sldMk cId="2755446594" sldId="839"/>
        </pc:sldMkLst>
        <pc:spChg chg="mod">
          <ac:chgData name="Stephen Gibbons" userId="8dc11794-a8ed-4f7c-8128-a48b124e2777" providerId="ADAL" clId="{98D2CDEC-B8A7-42C1-B376-7827D4C4F7FD}" dt="2019-09-07T14:07:48.759" v="3349" actId="207"/>
          <ac:spMkLst>
            <pc:docMk/>
            <pc:sldMk cId="2755446594" sldId="839"/>
            <ac:spMk id="6" creationId="{7EC1AF45-CE34-4000-B1D3-C095586E07CA}"/>
          </ac:spMkLst>
        </pc:spChg>
        <pc:spChg chg="mod">
          <ac:chgData name="Stephen Gibbons" userId="8dc11794-a8ed-4f7c-8128-a48b124e2777" providerId="ADAL" clId="{98D2CDEC-B8A7-42C1-B376-7827D4C4F7FD}" dt="2019-09-07T12:08:54.425" v="1127"/>
          <ac:spMkLst>
            <pc:docMk/>
            <pc:sldMk cId="2755446594" sldId="839"/>
            <ac:spMk id="7" creationId="{2ADDC11F-5D49-4BCD-922D-04728BABF3FE}"/>
          </ac:spMkLst>
        </pc:spChg>
        <pc:grpChg chg="add mod">
          <ac:chgData name="Stephen Gibbons" userId="8dc11794-a8ed-4f7c-8128-a48b124e2777" providerId="ADAL" clId="{98D2CDEC-B8A7-42C1-B376-7827D4C4F7FD}" dt="2019-09-07T12:08:26.609" v="1113" actId="1076"/>
          <ac:grpSpMkLst>
            <pc:docMk/>
            <pc:sldMk cId="2755446594" sldId="839"/>
            <ac:grpSpMk id="21" creationId="{5F073BB5-9324-4965-BEF1-26E393AE2CB3}"/>
          </ac:grpSpMkLst>
        </pc:grpChg>
        <pc:grpChg chg="del">
          <ac:chgData name="Stephen Gibbons" userId="8dc11794-a8ed-4f7c-8128-a48b124e2777" providerId="ADAL" clId="{98D2CDEC-B8A7-42C1-B376-7827D4C4F7FD}" dt="2019-09-07T12:08:17.202" v="1112" actId="478"/>
          <ac:grpSpMkLst>
            <pc:docMk/>
            <pc:sldMk cId="2755446594" sldId="839"/>
            <ac:grpSpMk id="22" creationId="{E3C9A841-14D2-4A5F-B188-263D6A8EF3BC}"/>
          </ac:grpSpMkLst>
        </pc:grpChg>
      </pc:sldChg>
      <pc:sldChg chg="addSp delSp modSp add modAnim">
        <pc:chgData name="Stephen Gibbons" userId="8dc11794-a8ed-4f7c-8128-a48b124e2777" providerId="ADAL" clId="{98D2CDEC-B8A7-42C1-B376-7827D4C4F7FD}" dt="2019-09-07T14:07:21.443" v="3344" actId="207"/>
        <pc:sldMkLst>
          <pc:docMk/>
          <pc:sldMk cId="849406659" sldId="840"/>
        </pc:sldMkLst>
        <pc:spChg chg="mod">
          <ac:chgData name="Stephen Gibbons" userId="8dc11794-a8ed-4f7c-8128-a48b124e2777" providerId="ADAL" clId="{98D2CDEC-B8A7-42C1-B376-7827D4C4F7FD}" dt="2019-09-07T14:07:21.443" v="3344" actId="207"/>
          <ac:spMkLst>
            <pc:docMk/>
            <pc:sldMk cId="849406659" sldId="840"/>
            <ac:spMk id="6" creationId="{7EC1AF45-CE34-4000-B1D3-C095586E07CA}"/>
          </ac:spMkLst>
        </pc:spChg>
        <pc:spChg chg="mod">
          <ac:chgData name="Stephen Gibbons" userId="8dc11794-a8ed-4f7c-8128-a48b124e2777" providerId="ADAL" clId="{98D2CDEC-B8A7-42C1-B376-7827D4C4F7FD}" dt="2019-09-07T12:15:54.020" v="1220"/>
          <ac:spMkLst>
            <pc:docMk/>
            <pc:sldMk cId="849406659" sldId="840"/>
            <ac:spMk id="7" creationId="{2ADDC11F-5D49-4BCD-922D-04728BABF3FE}"/>
          </ac:spMkLst>
        </pc:spChg>
        <pc:grpChg chg="add mod">
          <ac:chgData name="Stephen Gibbons" userId="8dc11794-a8ed-4f7c-8128-a48b124e2777" providerId="ADAL" clId="{98D2CDEC-B8A7-42C1-B376-7827D4C4F7FD}" dt="2019-09-07T12:15:44.410" v="1219" actId="1076"/>
          <ac:grpSpMkLst>
            <pc:docMk/>
            <pc:sldMk cId="849406659" sldId="840"/>
            <ac:grpSpMk id="20" creationId="{E0579ACA-D6BA-4FAE-9353-1BF8864E2EA5}"/>
          </ac:grpSpMkLst>
        </pc:grpChg>
        <pc:grpChg chg="del">
          <ac:chgData name="Stephen Gibbons" userId="8dc11794-a8ed-4f7c-8128-a48b124e2777" providerId="ADAL" clId="{98D2CDEC-B8A7-42C1-B376-7827D4C4F7FD}" dt="2019-09-07T12:15:09.140" v="1190" actId="478"/>
          <ac:grpSpMkLst>
            <pc:docMk/>
            <pc:sldMk cId="849406659" sldId="840"/>
            <ac:grpSpMk id="21" creationId="{5F073BB5-9324-4965-BEF1-26E393AE2CB3}"/>
          </ac:grpSpMkLst>
        </pc:grpChg>
        <pc:grpChg chg="mod">
          <ac:chgData name="Stephen Gibbons" userId="8dc11794-a8ed-4f7c-8128-a48b124e2777" providerId="ADAL" clId="{98D2CDEC-B8A7-42C1-B376-7827D4C4F7FD}" dt="2019-09-07T12:15:44.410" v="1219" actId="1076"/>
          <ac:grpSpMkLst>
            <pc:docMk/>
            <pc:sldMk cId="849406659" sldId="840"/>
            <ac:grpSpMk id="22" creationId="{07A09B44-F8F4-4A1A-9406-99791B82E763}"/>
          </ac:grpSpMkLst>
        </pc:grpChg>
      </pc:sldChg>
      <pc:sldChg chg="delSp modSp add del">
        <pc:chgData name="Stephen Gibbons" userId="8dc11794-a8ed-4f7c-8128-a48b124e2777" providerId="ADAL" clId="{98D2CDEC-B8A7-42C1-B376-7827D4C4F7FD}" dt="2019-09-07T12:22:21.056" v="1360" actId="1076"/>
        <pc:sldMkLst>
          <pc:docMk/>
          <pc:sldMk cId="222135898" sldId="841"/>
        </pc:sldMkLst>
        <pc:spChg chg="del">
          <ac:chgData name="Stephen Gibbons" userId="8dc11794-a8ed-4f7c-8128-a48b124e2777" providerId="ADAL" clId="{98D2CDEC-B8A7-42C1-B376-7827D4C4F7FD}" dt="2019-09-07T12:22:14.977" v="1359" actId="478"/>
          <ac:spMkLst>
            <pc:docMk/>
            <pc:sldMk cId="222135898" sldId="841"/>
            <ac:spMk id="12" creationId="{5AED104B-A036-44E3-B90F-10C4174465EF}"/>
          </ac:spMkLst>
        </pc:spChg>
        <pc:picChg chg="mod">
          <ac:chgData name="Stephen Gibbons" userId="8dc11794-a8ed-4f7c-8128-a48b124e2777" providerId="ADAL" clId="{98D2CDEC-B8A7-42C1-B376-7827D4C4F7FD}" dt="2019-09-07T12:22:21.056" v="1360" actId="1076"/>
          <ac:picMkLst>
            <pc:docMk/>
            <pc:sldMk cId="222135898" sldId="841"/>
            <ac:picMk id="10" creationId="{1C7377E0-DD0A-4A6C-B0A4-99EC6E5358B8}"/>
          </ac:picMkLst>
        </pc:picChg>
      </pc:sldChg>
      <pc:sldChg chg="add del">
        <pc:chgData name="Stephen Gibbons" userId="8dc11794-a8ed-4f7c-8128-a48b124e2777" providerId="ADAL" clId="{98D2CDEC-B8A7-42C1-B376-7827D4C4F7FD}" dt="2019-09-07T12:25:11.167" v="1363"/>
        <pc:sldMkLst>
          <pc:docMk/>
          <pc:sldMk cId="3126315305" sldId="842"/>
        </pc:sldMkLst>
      </pc:sldChg>
      <pc:sldChg chg="add">
        <pc:chgData name="Stephen Gibbons" userId="8dc11794-a8ed-4f7c-8128-a48b124e2777" providerId="ADAL" clId="{98D2CDEC-B8A7-42C1-B376-7827D4C4F7FD}" dt="2019-09-07T12:27:10.883" v="1365"/>
        <pc:sldMkLst>
          <pc:docMk/>
          <pc:sldMk cId="1748559975" sldId="843"/>
        </pc:sldMkLst>
      </pc:sldChg>
      <pc:sldChg chg="add">
        <pc:chgData name="Stephen Gibbons" userId="8dc11794-a8ed-4f7c-8128-a48b124e2777" providerId="ADAL" clId="{98D2CDEC-B8A7-42C1-B376-7827D4C4F7FD}" dt="2019-09-07T12:27:10.883" v="1365"/>
        <pc:sldMkLst>
          <pc:docMk/>
          <pc:sldMk cId="605701846" sldId="844"/>
        </pc:sldMkLst>
      </pc:sldChg>
      <pc:sldChg chg="modSp add">
        <pc:chgData name="Stephen Gibbons" userId="8dc11794-a8ed-4f7c-8128-a48b124e2777" providerId="ADAL" clId="{98D2CDEC-B8A7-42C1-B376-7827D4C4F7FD}" dt="2019-09-07T12:29:49.400" v="1369"/>
        <pc:sldMkLst>
          <pc:docMk/>
          <pc:sldMk cId="1171249887" sldId="845"/>
        </pc:sldMkLst>
        <pc:spChg chg="mod">
          <ac:chgData name="Stephen Gibbons" userId="8dc11794-a8ed-4f7c-8128-a48b124e2777" providerId="ADAL" clId="{98D2CDEC-B8A7-42C1-B376-7827D4C4F7FD}" dt="2019-09-07T12:29:49.400" v="1369"/>
          <ac:spMkLst>
            <pc:docMk/>
            <pc:sldMk cId="1171249887" sldId="845"/>
            <ac:spMk id="32" creationId="{842DEE62-1FE0-45E0-BBB1-4E3A4E1623D1}"/>
          </ac:spMkLst>
        </pc:spChg>
      </pc:sldChg>
      <pc:sldChg chg="add del">
        <pc:chgData name="Stephen Gibbons" userId="8dc11794-a8ed-4f7c-8128-a48b124e2777" providerId="ADAL" clId="{98D2CDEC-B8A7-42C1-B376-7827D4C4F7FD}" dt="2019-09-07T12:30:37.077" v="1371" actId="2696"/>
        <pc:sldMkLst>
          <pc:docMk/>
          <pc:sldMk cId="176295198" sldId="846"/>
        </pc:sldMkLst>
      </pc:sldChg>
      <pc:sldChg chg="add">
        <pc:chgData name="Stephen Gibbons" userId="8dc11794-a8ed-4f7c-8128-a48b124e2777" providerId="ADAL" clId="{98D2CDEC-B8A7-42C1-B376-7827D4C4F7FD}" dt="2019-09-07T12:27:10.883" v="1365"/>
        <pc:sldMkLst>
          <pc:docMk/>
          <pc:sldMk cId="3549378076" sldId="847"/>
        </pc:sldMkLst>
      </pc:sldChg>
      <pc:sldChg chg="add">
        <pc:chgData name="Stephen Gibbons" userId="8dc11794-a8ed-4f7c-8128-a48b124e2777" providerId="ADAL" clId="{98D2CDEC-B8A7-42C1-B376-7827D4C4F7FD}" dt="2019-09-07T12:27:10.883" v="1365"/>
        <pc:sldMkLst>
          <pc:docMk/>
          <pc:sldMk cId="373061693" sldId="848"/>
        </pc:sldMkLst>
      </pc:sldChg>
      <pc:sldChg chg="modSp add">
        <pc:chgData name="Stephen Gibbons" userId="8dc11794-a8ed-4f7c-8128-a48b124e2777" providerId="ADAL" clId="{98D2CDEC-B8A7-42C1-B376-7827D4C4F7FD}" dt="2019-09-07T14:24:56.112" v="3661" actId="20577"/>
        <pc:sldMkLst>
          <pc:docMk/>
          <pc:sldMk cId="3450562401" sldId="849"/>
        </pc:sldMkLst>
        <pc:spChg chg="mod">
          <ac:chgData name="Stephen Gibbons" userId="8dc11794-a8ed-4f7c-8128-a48b124e2777" providerId="ADAL" clId="{98D2CDEC-B8A7-42C1-B376-7827D4C4F7FD}" dt="2019-09-07T14:24:56.112" v="3661" actId="20577"/>
          <ac:spMkLst>
            <pc:docMk/>
            <pc:sldMk cId="3450562401" sldId="849"/>
            <ac:spMk id="104" creationId="{45120B1A-E3DF-474A-842C-537E3102CCA3}"/>
          </ac:spMkLst>
        </pc:spChg>
      </pc:sldChg>
      <pc:sldChg chg="add modTransition modAnim">
        <pc:chgData name="Stephen Gibbons" userId="8dc11794-a8ed-4f7c-8128-a48b124e2777" providerId="ADAL" clId="{98D2CDEC-B8A7-42C1-B376-7827D4C4F7FD}" dt="2019-09-07T14:08:09.950" v="3395"/>
        <pc:sldMkLst>
          <pc:docMk/>
          <pc:sldMk cId="3802715393" sldId="850"/>
        </pc:sldMkLst>
      </pc:sldChg>
      <pc:sldChg chg="addSp delSp modSp add modAnim">
        <pc:chgData name="Stephen Gibbons" userId="8dc11794-a8ed-4f7c-8128-a48b124e2777" providerId="ADAL" clId="{98D2CDEC-B8A7-42C1-B376-7827D4C4F7FD}" dt="2019-09-07T14:08:30.624" v="3397" actId="207"/>
        <pc:sldMkLst>
          <pc:docMk/>
          <pc:sldMk cId="2840408604" sldId="851"/>
        </pc:sldMkLst>
        <pc:spChg chg="mod">
          <ac:chgData name="Stephen Gibbons" userId="8dc11794-a8ed-4f7c-8128-a48b124e2777" providerId="ADAL" clId="{98D2CDEC-B8A7-42C1-B376-7827D4C4F7FD}" dt="2019-09-07T14:08:30.624" v="3397" actId="207"/>
          <ac:spMkLst>
            <pc:docMk/>
            <pc:sldMk cId="2840408604" sldId="851"/>
            <ac:spMk id="6" creationId="{7EC1AF45-CE34-4000-B1D3-C095586E07CA}"/>
          </ac:spMkLst>
        </pc:spChg>
        <pc:spChg chg="mod">
          <ac:chgData name="Stephen Gibbons" userId="8dc11794-a8ed-4f7c-8128-a48b124e2777" providerId="ADAL" clId="{98D2CDEC-B8A7-42C1-B376-7827D4C4F7FD}" dt="2019-09-07T12:50:39.624" v="1508"/>
          <ac:spMkLst>
            <pc:docMk/>
            <pc:sldMk cId="2840408604" sldId="851"/>
            <ac:spMk id="7" creationId="{2ADDC11F-5D49-4BCD-922D-04728BABF3FE}"/>
          </ac:spMkLst>
        </pc:spChg>
        <pc:spChg chg="del">
          <ac:chgData name="Stephen Gibbons" userId="8dc11794-a8ed-4f7c-8128-a48b124e2777" providerId="ADAL" clId="{98D2CDEC-B8A7-42C1-B376-7827D4C4F7FD}" dt="2019-09-07T12:49:47.648" v="1459" actId="478"/>
          <ac:spMkLst>
            <pc:docMk/>
            <pc:sldMk cId="2840408604" sldId="851"/>
            <ac:spMk id="10" creationId="{CF5F03F3-437E-46AB-BC4F-0F27F9630D15}"/>
          </ac:spMkLst>
        </pc:spChg>
        <pc:grpChg chg="add mod">
          <ac:chgData name="Stephen Gibbons" userId="8dc11794-a8ed-4f7c-8128-a48b124e2777" providerId="ADAL" clId="{98D2CDEC-B8A7-42C1-B376-7827D4C4F7FD}" dt="2019-09-07T12:50:27.357" v="1507" actId="1076"/>
          <ac:grpSpMkLst>
            <pc:docMk/>
            <pc:sldMk cId="2840408604" sldId="851"/>
            <ac:grpSpMk id="11" creationId="{7E15D3EF-A6B0-4376-B872-7DEFF36100D3}"/>
          </ac:grpSpMkLst>
        </pc:grpChg>
      </pc:sldChg>
      <pc:sldChg chg="addSp delSp modSp add modAnim">
        <pc:chgData name="Stephen Gibbons" userId="8dc11794-a8ed-4f7c-8128-a48b124e2777" providerId="ADAL" clId="{98D2CDEC-B8A7-42C1-B376-7827D4C4F7FD}" dt="2019-09-07T14:08:37.578" v="3399" actId="207"/>
        <pc:sldMkLst>
          <pc:docMk/>
          <pc:sldMk cId="1118090002" sldId="852"/>
        </pc:sldMkLst>
        <pc:spChg chg="mod">
          <ac:chgData name="Stephen Gibbons" userId="8dc11794-a8ed-4f7c-8128-a48b124e2777" providerId="ADAL" clId="{98D2CDEC-B8A7-42C1-B376-7827D4C4F7FD}" dt="2019-09-07T14:08:37.578" v="3399" actId="207"/>
          <ac:spMkLst>
            <pc:docMk/>
            <pc:sldMk cId="1118090002" sldId="852"/>
            <ac:spMk id="6" creationId="{7EC1AF45-CE34-4000-B1D3-C095586E07CA}"/>
          </ac:spMkLst>
        </pc:spChg>
        <pc:spChg chg="mod">
          <ac:chgData name="Stephen Gibbons" userId="8dc11794-a8ed-4f7c-8128-a48b124e2777" providerId="ADAL" clId="{98D2CDEC-B8A7-42C1-B376-7827D4C4F7FD}" dt="2019-09-07T13:08:39.283" v="2006"/>
          <ac:spMkLst>
            <pc:docMk/>
            <pc:sldMk cId="1118090002" sldId="852"/>
            <ac:spMk id="7" creationId="{2ADDC11F-5D49-4BCD-922D-04728BABF3FE}"/>
          </ac:spMkLst>
        </pc:spChg>
        <pc:grpChg chg="add mod">
          <ac:chgData name="Stephen Gibbons" userId="8dc11794-a8ed-4f7c-8128-a48b124e2777" providerId="ADAL" clId="{98D2CDEC-B8A7-42C1-B376-7827D4C4F7FD}" dt="2019-09-07T13:08:28.491" v="2005" actId="1076"/>
          <ac:grpSpMkLst>
            <pc:docMk/>
            <pc:sldMk cId="1118090002" sldId="852"/>
            <ac:grpSpMk id="20" creationId="{9001D2E9-5476-4698-8FDD-6D98B5D674EB}"/>
          </ac:grpSpMkLst>
        </pc:grpChg>
        <pc:grpChg chg="del">
          <ac:chgData name="Stephen Gibbons" userId="8dc11794-a8ed-4f7c-8128-a48b124e2777" providerId="ADAL" clId="{98D2CDEC-B8A7-42C1-B376-7827D4C4F7FD}" dt="2019-09-07T13:08:20.090" v="2003" actId="478"/>
          <ac:grpSpMkLst>
            <pc:docMk/>
            <pc:sldMk cId="1118090002" sldId="852"/>
            <ac:grpSpMk id="21" creationId="{5F073BB5-9324-4965-BEF1-26E393AE2CB3}"/>
          </ac:grpSpMkLst>
        </pc:grpChg>
        <pc:grpChg chg="mod">
          <ac:chgData name="Stephen Gibbons" userId="8dc11794-a8ed-4f7c-8128-a48b124e2777" providerId="ADAL" clId="{98D2CDEC-B8A7-42C1-B376-7827D4C4F7FD}" dt="2019-09-07T13:08:28.491" v="2005" actId="1076"/>
          <ac:grpSpMkLst>
            <pc:docMk/>
            <pc:sldMk cId="1118090002" sldId="852"/>
            <ac:grpSpMk id="29" creationId="{23109EA8-4992-4C3C-8896-B0E7A380991B}"/>
          </ac:grpSpMkLst>
        </pc:grpChg>
      </pc:sldChg>
      <pc:sldChg chg="addSp delSp modSp add modAnim">
        <pc:chgData name="Stephen Gibbons" userId="8dc11794-a8ed-4f7c-8128-a48b124e2777" providerId="ADAL" clId="{98D2CDEC-B8A7-42C1-B376-7827D4C4F7FD}" dt="2019-09-07T14:08:48.111" v="3402"/>
        <pc:sldMkLst>
          <pc:docMk/>
          <pc:sldMk cId="1712494979" sldId="853"/>
        </pc:sldMkLst>
        <pc:spChg chg="mod">
          <ac:chgData name="Stephen Gibbons" userId="8dc11794-a8ed-4f7c-8128-a48b124e2777" providerId="ADAL" clId="{98D2CDEC-B8A7-42C1-B376-7827D4C4F7FD}" dt="2019-09-07T14:08:46.079" v="3401" actId="207"/>
          <ac:spMkLst>
            <pc:docMk/>
            <pc:sldMk cId="1712494979" sldId="853"/>
            <ac:spMk id="6" creationId="{7EC1AF45-CE34-4000-B1D3-C095586E07CA}"/>
          </ac:spMkLst>
        </pc:spChg>
        <pc:spChg chg="mod">
          <ac:chgData name="Stephen Gibbons" userId="8dc11794-a8ed-4f7c-8128-a48b124e2777" providerId="ADAL" clId="{98D2CDEC-B8A7-42C1-B376-7827D4C4F7FD}" dt="2019-09-07T13:12:30.591" v="2095"/>
          <ac:spMkLst>
            <pc:docMk/>
            <pc:sldMk cId="1712494979" sldId="853"/>
            <ac:spMk id="7" creationId="{2ADDC11F-5D49-4BCD-922D-04728BABF3FE}"/>
          </ac:spMkLst>
        </pc:spChg>
        <pc:grpChg chg="del">
          <ac:chgData name="Stephen Gibbons" userId="8dc11794-a8ed-4f7c-8128-a48b124e2777" providerId="ADAL" clId="{98D2CDEC-B8A7-42C1-B376-7827D4C4F7FD}" dt="2019-09-07T13:11:57.132" v="2075" actId="478"/>
          <ac:grpSpMkLst>
            <pc:docMk/>
            <pc:sldMk cId="1712494979" sldId="853"/>
            <ac:grpSpMk id="20" creationId="{9001D2E9-5476-4698-8FDD-6D98B5D674EB}"/>
          </ac:grpSpMkLst>
        </pc:grpChg>
        <pc:grpChg chg="add mod">
          <ac:chgData name="Stephen Gibbons" userId="8dc11794-a8ed-4f7c-8128-a48b124e2777" providerId="ADAL" clId="{98D2CDEC-B8A7-42C1-B376-7827D4C4F7FD}" dt="2019-09-07T13:12:20.451" v="2094" actId="1076"/>
          <ac:grpSpMkLst>
            <pc:docMk/>
            <pc:sldMk cId="1712494979" sldId="853"/>
            <ac:grpSpMk id="34" creationId="{738AA2DF-A897-467D-8880-27A6B0B3082B}"/>
          </ac:grpSpMkLst>
        </pc:grpChg>
        <pc:grpChg chg="mod">
          <ac:chgData name="Stephen Gibbons" userId="8dc11794-a8ed-4f7c-8128-a48b124e2777" providerId="ADAL" clId="{98D2CDEC-B8A7-42C1-B376-7827D4C4F7FD}" dt="2019-09-07T13:12:20.451" v="2094" actId="1076"/>
          <ac:grpSpMkLst>
            <pc:docMk/>
            <pc:sldMk cId="1712494979" sldId="853"/>
            <ac:grpSpMk id="38" creationId="{AA44C330-4BA8-495F-9EF1-9CF59896CD07}"/>
          </ac:grpSpMkLst>
        </pc:grpChg>
        <pc:grpChg chg="mod">
          <ac:chgData name="Stephen Gibbons" userId="8dc11794-a8ed-4f7c-8128-a48b124e2777" providerId="ADAL" clId="{98D2CDEC-B8A7-42C1-B376-7827D4C4F7FD}" dt="2019-09-07T13:12:20.451" v="2094" actId="1076"/>
          <ac:grpSpMkLst>
            <pc:docMk/>
            <pc:sldMk cId="1712494979" sldId="853"/>
            <ac:grpSpMk id="39" creationId="{9CC5CF0A-4F1D-4717-A105-93D810EE9081}"/>
          </ac:grpSpMkLst>
        </pc:grpChg>
        <pc:grpChg chg="mod">
          <ac:chgData name="Stephen Gibbons" userId="8dc11794-a8ed-4f7c-8128-a48b124e2777" providerId="ADAL" clId="{98D2CDEC-B8A7-42C1-B376-7827D4C4F7FD}" dt="2019-09-07T13:12:20.451" v="2094" actId="1076"/>
          <ac:grpSpMkLst>
            <pc:docMk/>
            <pc:sldMk cId="1712494979" sldId="853"/>
            <ac:grpSpMk id="40" creationId="{320B8321-AA02-469B-8A46-8866CE722AB0}"/>
          </ac:grpSpMkLst>
        </pc:grpChg>
        <pc:grpChg chg="mod">
          <ac:chgData name="Stephen Gibbons" userId="8dc11794-a8ed-4f7c-8128-a48b124e2777" providerId="ADAL" clId="{98D2CDEC-B8A7-42C1-B376-7827D4C4F7FD}" dt="2019-09-07T13:12:20.451" v="2094" actId="1076"/>
          <ac:grpSpMkLst>
            <pc:docMk/>
            <pc:sldMk cId="1712494979" sldId="853"/>
            <ac:grpSpMk id="43" creationId="{65184560-90F1-4BDD-99A1-BC5167944750}"/>
          </ac:grpSpMkLst>
        </pc:grpChg>
        <pc:grpChg chg="mod">
          <ac:chgData name="Stephen Gibbons" userId="8dc11794-a8ed-4f7c-8128-a48b124e2777" providerId="ADAL" clId="{98D2CDEC-B8A7-42C1-B376-7827D4C4F7FD}" dt="2019-09-07T13:12:20.451" v="2094" actId="1076"/>
          <ac:grpSpMkLst>
            <pc:docMk/>
            <pc:sldMk cId="1712494979" sldId="853"/>
            <ac:grpSpMk id="48" creationId="{C43263B8-977F-4C0B-A0BA-487D517E3C17}"/>
          </ac:grpSpMkLst>
        </pc:grpChg>
        <pc:grpChg chg="mod">
          <ac:chgData name="Stephen Gibbons" userId="8dc11794-a8ed-4f7c-8128-a48b124e2777" providerId="ADAL" clId="{98D2CDEC-B8A7-42C1-B376-7827D4C4F7FD}" dt="2019-09-07T13:12:20.451" v="2094" actId="1076"/>
          <ac:grpSpMkLst>
            <pc:docMk/>
            <pc:sldMk cId="1712494979" sldId="853"/>
            <ac:grpSpMk id="51" creationId="{613F8D4E-FFAD-444C-8447-35C3F316955E}"/>
          </ac:grpSpMkLst>
        </pc:grpChg>
      </pc:sldChg>
      <pc:sldChg chg="addSp delSp modSp add modAnim">
        <pc:chgData name="Stephen Gibbons" userId="8dc11794-a8ed-4f7c-8128-a48b124e2777" providerId="ADAL" clId="{98D2CDEC-B8A7-42C1-B376-7827D4C4F7FD}" dt="2019-09-07T14:09:00.440" v="3405"/>
        <pc:sldMkLst>
          <pc:docMk/>
          <pc:sldMk cId="3534284509" sldId="854"/>
        </pc:sldMkLst>
        <pc:spChg chg="mod">
          <ac:chgData name="Stephen Gibbons" userId="8dc11794-a8ed-4f7c-8128-a48b124e2777" providerId="ADAL" clId="{98D2CDEC-B8A7-42C1-B376-7827D4C4F7FD}" dt="2019-09-07T14:08:59.081" v="3404" actId="207"/>
          <ac:spMkLst>
            <pc:docMk/>
            <pc:sldMk cId="3534284509" sldId="854"/>
            <ac:spMk id="6" creationId="{7EC1AF45-CE34-4000-B1D3-C095586E07CA}"/>
          </ac:spMkLst>
        </pc:spChg>
        <pc:spChg chg="mod">
          <ac:chgData name="Stephen Gibbons" userId="8dc11794-a8ed-4f7c-8128-a48b124e2777" providerId="ADAL" clId="{98D2CDEC-B8A7-42C1-B376-7827D4C4F7FD}" dt="2019-09-07T13:16:15.732" v="2152"/>
          <ac:spMkLst>
            <pc:docMk/>
            <pc:sldMk cId="3534284509" sldId="854"/>
            <ac:spMk id="7" creationId="{2ADDC11F-5D49-4BCD-922D-04728BABF3FE}"/>
          </ac:spMkLst>
        </pc:spChg>
        <pc:grpChg chg="add mod">
          <ac:chgData name="Stephen Gibbons" userId="8dc11794-a8ed-4f7c-8128-a48b124e2777" providerId="ADAL" clId="{98D2CDEC-B8A7-42C1-B376-7827D4C4F7FD}" dt="2019-09-07T13:16:05.171" v="2151" actId="1076"/>
          <ac:grpSpMkLst>
            <pc:docMk/>
            <pc:sldMk cId="3534284509" sldId="854"/>
            <ac:grpSpMk id="29" creationId="{57E1A6A8-A5C8-4678-B834-87961F991BC3}"/>
          </ac:grpSpMkLst>
        </pc:grpChg>
        <pc:grpChg chg="del">
          <ac:chgData name="Stephen Gibbons" userId="8dc11794-a8ed-4f7c-8128-a48b124e2777" providerId="ADAL" clId="{98D2CDEC-B8A7-42C1-B376-7827D4C4F7FD}" dt="2019-09-07T13:15:58.168" v="2149" actId="478"/>
          <ac:grpSpMkLst>
            <pc:docMk/>
            <pc:sldMk cId="3534284509" sldId="854"/>
            <ac:grpSpMk id="34" creationId="{738AA2DF-A897-467D-8880-27A6B0B3082B}"/>
          </ac:grpSpMkLst>
        </pc:grpChg>
      </pc:sldChg>
      <pc:sldMasterChg chg="modSldLayout">
        <pc:chgData name="Stephen Gibbons" userId="8dc11794-a8ed-4f7c-8128-a48b124e2777" providerId="ADAL" clId="{98D2CDEC-B8A7-42C1-B376-7827D4C4F7FD}" dt="2019-09-07T11:43:20.499" v="582" actId="14100"/>
        <pc:sldMasterMkLst>
          <pc:docMk/>
          <pc:sldMasterMk cId="2242401632" sldId="2147483648"/>
        </pc:sldMasterMkLst>
        <pc:sldLayoutChg chg="modSp">
          <pc:chgData name="Stephen Gibbons" userId="8dc11794-a8ed-4f7c-8128-a48b124e2777" providerId="ADAL" clId="{98D2CDEC-B8A7-42C1-B376-7827D4C4F7FD}" dt="2019-09-07T11:43:20.499" v="582" actId="14100"/>
          <pc:sldLayoutMkLst>
            <pc:docMk/>
            <pc:sldMasterMk cId="2242401632" sldId="2147483648"/>
            <pc:sldLayoutMk cId="2719668363" sldId="2147483751"/>
          </pc:sldLayoutMkLst>
          <pc:spChg chg="mod">
            <ac:chgData name="Stephen Gibbons" userId="8dc11794-a8ed-4f7c-8128-a48b124e2777" providerId="ADAL" clId="{98D2CDEC-B8A7-42C1-B376-7827D4C4F7FD}" dt="2019-09-07T11:43:11.123" v="581" actId="1037"/>
            <ac:spMkLst>
              <pc:docMk/>
              <pc:sldMasterMk cId="2242401632" sldId="2147483648"/>
              <pc:sldLayoutMk cId="2719668363" sldId="2147483751"/>
              <ac:spMk id="6" creationId="{00000000-0000-0000-0000-000000000000}"/>
            </ac:spMkLst>
          </pc:spChg>
          <pc:spChg chg="mod">
            <ac:chgData name="Stephen Gibbons" userId="8dc11794-a8ed-4f7c-8128-a48b124e2777" providerId="ADAL" clId="{98D2CDEC-B8A7-42C1-B376-7827D4C4F7FD}" dt="2019-09-07T11:43:20.499" v="582" actId="14100"/>
            <ac:spMkLst>
              <pc:docMk/>
              <pc:sldMasterMk cId="2242401632" sldId="2147483648"/>
              <pc:sldLayoutMk cId="2719668363" sldId="2147483751"/>
              <ac:spMk id="11" creationId="{00000000-0000-0000-0000-000000000000}"/>
            </ac:spMkLst>
          </pc:spChg>
          <pc:spChg chg="mod">
            <ac:chgData name="Stephen Gibbons" userId="8dc11794-a8ed-4f7c-8128-a48b124e2777" providerId="ADAL" clId="{98D2CDEC-B8A7-42C1-B376-7827D4C4F7FD}" dt="2019-09-07T11:43:02.481" v="528" actId="14100"/>
            <ac:spMkLst>
              <pc:docMk/>
              <pc:sldMasterMk cId="2242401632" sldId="2147483648"/>
              <pc:sldLayoutMk cId="2719668363" sldId="2147483751"/>
              <ac:spMk id="12" creationId="{00000000-0000-0000-0000-000000000000}"/>
            </ac:spMkLst>
          </pc:spChg>
        </pc:sldLayoutChg>
      </pc:sldMasterChg>
    </pc:docChg>
  </pc:docChgLst>
  <pc:docChgLst>
    <pc:chgData name="Stephen Gibbons" userId="8dc11794-a8ed-4f7c-8128-a48b124e2777" providerId="ADAL" clId="{43BBE4CB-99CF-47BC-9D24-90C72205A37B}"/>
    <pc:docChg chg="undo custSel addSld delSld modSld sldOrd modSection">
      <pc:chgData name="Stephen Gibbons" userId="8dc11794-a8ed-4f7c-8128-a48b124e2777" providerId="ADAL" clId="{43BBE4CB-99CF-47BC-9D24-90C72205A37B}" dt="2019-07-24T21:12:01.626" v="1434" actId="20577"/>
      <pc:docMkLst>
        <pc:docMk/>
      </pc:docMkLst>
      <pc:sldChg chg="modSp">
        <pc:chgData name="Stephen Gibbons" userId="8dc11794-a8ed-4f7c-8128-a48b124e2777" providerId="ADAL" clId="{43BBE4CB-99CF-47BC-9D24-90C72205A37B}" dt="2019-07-24T20:36:02.641" v="336" actId="20577"/>
        <pc:sldMkLst>
          <pc:docMk/>
          <pc:sldMk cId="1508582007" sldId="669"/>
        </pc:sldMkLst>
        <pc:spChg chg="mod">
          <ac:chgData name="Stephen Gibbons" userId="8dc11794-a8ed-4f7c-8128-a48b124e2777" providerId="ADAL" clId="{43BBE4CB-99CF-47BC-9D24-90C72205A37B}" dt="2019-07-24T20:36:02.641" v="336" actId="20577"/>
          <ac:spMkLst>
            <pc:docMk/>
            <pc:sldMk cId="1508582007" sldId="669"/>
            <ac:spMk id="25" creationId="{0DF1A29F-68E2-44EB-BDCE-A1CE9D3ADBD8}"/>
          </ac:spMkLst>
        </pc:spChg>
        <pc:spChg chg="mod">
          <ac:chgData name="Stephen Gibbons" userId="8dc11794-a8ed-4f7c-8128-a48b124e2777" providerId="ADAL" clId="{43BBE4CB-99CF-47BC-9D24-90C72205A37B}" dt="2019-07-24T20:25:02.386" v="214" actId="6549"/>
          <ac:spMkLst>
            <pc:docMk/>
            <pc:sldMk cId="1508582007" sldId="669"/>
            <ac:spMk id="30" creationId="{F5C2453A-22C6-4977-A90B-EEBD8206BA80}"/>
          </ac:spMkLst>
        </pc:spChg>
        <pc:spChg chg="mod">
          <ac:chgData name="Stephen Gibbons" userId="8dc11794-a8ed-4f7c-8128-a48b124e2777" providerId="ADAL" clId="{43BBE4CB-99CF-47BC-9D24-90C72205A37B}" dt="2019-07-24T20:23:59.358" v="155" actId="20577"/>
          <ac:spMkLst>
            <pc:docMk/>
            <pc:sldMk cId="1508582007" sldId="669"/>
            <ac:spMk id="120" creationId="{D93A70D8-2B77-4920-BFE8-DB4A23248647}"/>
          </ac:spMkLst>
        </pc:spChg>
      </pc:sldChg>
      <pc:sldChg chg="delSp">
        <pc:chgData name="Stephen Gibbons" userId="8dc11794-a8ed-4f7c-8128-a48b124e2777" providerId="ADAL" clId="{43BBE4CB-99CF-47BC-9D24-90C72205A37B}" dt="2019-07-24T20:10:11.536" v="72" actId="478"/>
        <pc:sldMkLst>
          <pc:docMk/>
          <pc:sldMk cId="1466215089" sldId="709"/>
        </pc:sldMkLst>
        <pc:spChg chg="del">
          <ac:chgData name="Stephen Gibbons" userId="8dc11794-a8ed-4f7c-8128-a48b124e2777" providerId="ADAL" clId="{43BBE4CB-99CF-47BC-9D24-90C72205A37B}" dt="2019-07-24T20:10:11.536" v="72" actId="478"/>
          <ac:spMkLst>
            <pc:docMk/>
            <pc:sldMk cId="1466215089" sldId="709"/>
            <ac:spMk id="862" creationId="{4D2CAAE3-49AA-4770-B20F-BEB2D309F675}"/>
          </ac:spMkLst>
        </pc:spChg>
      </pc:sldChg>
      <pc:sldChg chg="delSp modSp">
        <pc:chgData name="Stephen Gibbons" userId="8dc11794-a8ed-4f7c-8128-a48b124e2777" providerId="ADAL" clId="{43BBE4CB-99CF-47BC-9D24-90C72205A37B}" dt="2019-07-24T20:20:47.113" v="128" actId="478"/>
        <pc:sldMkLst>
          <pc:docMk/>
          <pc:sldMk cId="1331225007" sldId="711"/>
        </pc:sldMkLst>
        <pc:spChg chg="del">
          <ac:chgData name="Stephen Gibbons" userId="8dc11794-a8ed-4f7c-8128-a48b124e2777" providerId="ADAL" clId="{43BBE4CB-99CF-47BC-9D24-90C72205A37B}" dt="2019-07-24T20:20:47.113" v="128" actId="478"/>
          <ac:spMkLst>
            <pc:docMk/>
            <pc:sldMk cId="1331225007" sldId="711"/>
            <ac:spMk id="10" creationId="{871A426B-6FFE-47B0-BEE7-41D6C4C937DD}"/>
          </ac:spMkLst>
        </pc:spChg>
        <pc:spChg chg="mod">
          <ac:chgData name="Stephen Gibbons" userId="8dc11794-a8ed-4f7c-8128-a48b124e2777" providerId="ADAL" clId="{43BBE4CB-99CF-47BC-9D24-90C72205A37B}" dt="2019-07-24T20:20:40.720" v="127" actId="1076"/>
          <ac:spMkLst>
            <pc:docMk/>
            <pc:sldMk cId="1331225007" sldId="711"/>
            <ac:spMk id="831" creationId="{4DE36BA7-A8CB-4E57-9392-465FAF6E6020}"/>
          </ac:spMkLst>
        </pc:spChg>
        <pc:spChg chg="mod">
          <ac:chgData name="Stephen Gibbons" userId="8dc11794-a8ed-4f7c-8128-a48b124e2777" providerId="ADAL" clId="{43BBE4CB-99CF-47BC-9D24-90C72205A37B}" dt="2019-07-24T20:20:40.720" v="127" actId="1076"/>
          <ac:spMkLst>
            <pc:docMk/>
            <pc:sldMk cId="1331225007" sldId="711"/>
            <ac:spMk id="832" creationId="{5AE84D18-E618-47F9-AFB6-3249DB09F7FB}"/>
          </ac:spMkLst>
        </pc:spChg>
        <pc:spChg chg="mod">
          <ac:chgData name="Stephen Gibbons" userId="8dc11794-a8ed-4f7c-8128-a48b124e2777" providerId="ADAL" clId="{43BBE4CB-99CF-47BC-9D24-90C72205A37B}" dt="2019-07-24T20:20:40.720" v="127" actId="1076"/>
          <ac:spMkLst>
            <pc:docMk/>
            <pc:sldMk cId="1331225007" sldId="711"/>
            <ac:spMk id="834" creationId="{82C5558A-279F-467D-AABE-EF971EA0260F}"/>
          </ac:spMkLst>
        </pc:spChg>
        <pc:spChg chg="mod">
          <ac:chgData name="Stephen Gibbons" userId="8dc11794-a8ed-4f7c-8128-a48b124e2777" providerId="ADAL" clId="{43BBE4CB-99CF-47BC-9D24-90C72205A37B}" dt="2019-07-24T20:20:40.720" v="127" actId="1076"/>
          <ac:spMkLst>
            <pc:docMk/>
            <pc:sldMk cId="1331225007" sldId="711"/>
            <ac:spMk id="835" creationId="{50342D57-3433-42BC-8752-373805A04252}"/>
          </ac:spMkLst>
        </pc:spChg>
        <pc:spChg chg="mod">
          <ac:chgData name="Stephen Gibbons" userId="8dc11794-a8ed-4f7c-8128-a48b124e2777" providerId="ADAL" clId="{43BBE4CB-99CF-47BC-9D24-90C72205A37B}" dt="2019-07-24T20:20:40.720" v="127" actId="1076"/>
          <ac:spMkLst>
            <pc:docMk/>
            <pc:sldMk cId="1331225007" sldId="711"/>
            <ac:spMk id="836" creationId="{AA83357D-FCC6-47B4-B0C0-EB1097EAB9BC}"/>
          </ac:spMkLst>
        </pc:spChg>
        <pc:spChg chg="mod">
          <ac:chgData name="Stephen Gibbons" userId="8dc11794-a8ed-4f7c-8128-a48b124e2777" providerId="ADAL" clId="{43BBE4CB-99CF-47BC-9D24-90C72205A37B}" dt="2019-07-24T20:20:40.720" v="127" actId="1076"/>
          <ac:spMkLst>
            <pc:docMk/>
            <pc:sldMk cId="1331225007" sldId="711"/>
            <ac:spMk id="837" creationId="{53339C50-6791-42D2-9721-4A3177330B48}"/>
          </ac:spMkLst>
        </pc:spChg>
        <pc:spChg chg="mod">
          <ac:chgData name="Stephen Gibbons" userId="8dc11794-a8ed-4f7c-8128-a48b124e2777" providerId="ADAL" clId="{43BBE4CB-99CF-47BC-9D24-90C72205A37B}" dt="2019-07-24T20:20:40.720" v="127" actId="1076"/>
          <ac:spMkLst>
            <pc:docMk/>
            <pc:sldMk cId="1331225007" sldId="711"/>
            <ac:spMk id="838" creationId="{C55423C8-58BE-429D-B89A-D499660D9608}"/>
          </ac:spMkLst>
        </pc:spChg>
        <pc:spChg chg="mod">
          <ac:chgData name="Stephen Gibbons" userId="8dc11794-a8ed-4f7c-8128-a48b124e2777" providerId="ADAL" clId="{43BBE4CB-99CF-47BC-9D24-90C72205A37B}" dt="2019-07-24T20:20:40.720" v="127" actId="1076"/>
          <ac:spMkLst>
            <pc:docMk/>
            <pc:sldMk cId="1331225007" sldId="711"/>
            <ac:spMk id="839" creationId="{A14C1524-31DA-48B5-B8AE-B2F796AF5D3B}"/>
          </ac:spMkLst>
        </pc:spChg>
        <pc:spChg chg="mod">
          <ac:chgData name="Stephen Gibbons" userId="8dc11794-a8ed-4f7c-8128-a48b124e2777" providerId="ADAL" clId="{43BBE4CB-99CF-47BC-9D24-90C72205A37B}" dt="2019-07-24T20:20:40.720" v="127" actId="1076"/>
          <ac:spMkLst>
            <pc:docMk/>
            <pc:sldMk cId="1331225007" sldId="711"/>
            <ac:spMk id="858" creationId="{12A5FB59-5501-4A46-9D3A-593E672BE1CA}"/>
          </ac:spMkLst>
        </pc:spChg>
        <pc:spChg chg="mod">
          <ac:chgData name="Stephen Gibbons" userId="8dc11794-a8ed-4f7c-8128-a48b124e2777" providerId="ADAL" clId="{43BBE4CB-99CF-47BC-9D24-90C72205A37B}" dt="2019-07-24T20:20:40.720" v="127" actId="1076"/>
          <ac:spMkLst>
            <pc:docMk/>
            <pc:sldMk cId="1331225007" sldId="711"/>
            <ac:spMk id="879" creationId="{2BAF4781-01A3-4976-B3EB-F2512842628A}"/>
          </ac:spMkLst>
        </pc:spChg>
        <pc:spChg chg="mod">
          <ac:chgData name="Stephen Gibbons" userId="8dc11794-a8ed-4f7c-8128-a48b124e2777" providerId="ADAL" clId="{43BBE4CB-99CF-47BC-9D24-90C72205A37B}" dt="2019-07-24T20:20:40.720" v="127" actId="1076"/>
          <ac:spMkLst>
            <pc:docMk/>
            <pc:sldMk cId="1331225007" sldId="711"/>
            <ac:spMk id="927" creationId="{F8FB1EC8-DC9D-453E-A40C-1E39CEE860D3}"/>
          </ac:spMkLst>
        </pc:spChg>
        <pc:spChg chg="mod">
          <ac:chgData name="Stephen Gibbons" userId="8dc11794-a8ed-4f7c-8128-a48b124e2777" providerId="ADAL" clId="{43BBE4CB-99CF-47BC-9D24-90C72205A37B}" dt="2019-07-24T20:20:40.720" v="127" actId="1076"/>
          <ac:spMkLst>
            <pc:docMk/>
            <pc:sldMk cId="1331225007" sldId="711"/>
            <ac:spMk id="938" creationId="{8AD41EBF-C43A-40D1-A685-3F907D3E63ED}"/>
          </ac:spMkLst>
        </pc:spChg>
        <pc:grpChg chg="mod">
          <ac:chgData name="Stephen Gibbons" userId="8dc11794-a8ed-4f7c-8128-a48b124e2777" providerId="ADAL" clId="{43BBE4CB-99CF-47BC-9D24-90C72205A37B}" dt="2019-07-24T20:20:40.720" v="127" actId="1076"/>
          <ac:grpSpMkLst>
            <pc:docMk/>
            <pc:sldMk cId="1331225007" sldId="711"/>
            <ac:grpSpMk id="841" creationId="{F99855A1-A87B-424E-9E06-4E7D912CF30F}"/>
          </ac:grpSpMkLst>
        </pc:grpChg>
        <pc:grpChg chg="mod">
          <ac:chgData name="Stephen Gibbons" userId="8dc11794-a8ed-4f7c-8128-a48b124e2777" providerId="ADAL" clId="{43BBE4CB-99CF-47BC-9D24-90C72205A37B}" dt="2019-07-24T20:20:40.720" v="127" actId="1076"/>
          <ac:grpSpMkLst>
            <pc:docMk/>
            <pc:sldMk cId="1331225007" sldId="711"/>
            <ac:grpSpMk id="844" creationId="{C0A35781-AE47-45E6-92D9-75E1A7C24BD1}"/>
          </ac:grpSpMkLst>
        </pc:grpChg>
        <pc:grpChg chg="mod">
          <ac:chgData name="Stephen Gibbons" userId="8dc11794-a8ed-4f7c-8128-a48b124e2777" providerId="ADAL" clId="{43BBE4CB-99CF-47BC-9D24-90C72205A37B}" dt="2019-07-24T20:20:40.720" v="127" actId="1076"/>
          <ac:grpSpMkLst>
            <pc:docMk/>
            <pc:sldMk cId="1331225007" sldId="711"/>
            <ac:grpSpMk id="848" creationId="{6D6404C5-6F11-4199-B4E9-C25816A3F932}"/>
          </ac:grpSpMkLst>
        </pc:grpChg>
        <pc:grpChg chg="mod">
          <ac:chgData name="Stephen Gibbons" userId="8dc11794-a8ed-4f7c-8128-a48b124e2777" providerId="ADAL" clId="{43BBE4CB-99CF-47BC-9D24-90C72205A37B}" dt="2019-07-24T20:20:40.720" v="127" actId="1076"/>
          <ac:grpSpMkLst>
            <pc:docMk/>
            <pc:sldMk cId="1331225007" sldId="711"/>
            <ac:grpSpMk id="855" creationId="{4AA3F32E-B16C-465F-BDF1-2ACE3FFC61A0}"/>
          </ac:grpSpMkLst>
        </pc:grpChg>
        <pc:grpChg chg="mod">
          <ac:chgData name="Stephen Gibbons" userId="8dc11794-a8ed-4f7c-8128-a48b124e2777" providerId="ADAL" clId="{43BBE4CB-99CF-47BC-9D24-90C72205A37B}" dt="2019-07-24T20:20:40.720" v="127" actId="1076"/>
          <ac:grpSpMkLst>
            <pc:docMk/>
            <pc:sldMk cId="1331225007" sldId="711"/>
            <ac:grpSpMk id="859" creationId="{0425B40E-0F51-4AEE-9BE7-FEB41D70A621}"/>
          </ac:grpSpMkLst>
        </pc:grpChg>
        <pc:grpChg chg="mod">
          <ac:chgData name="Stephen Gibbons" userId="8dc11794-a8ed-4f7c-8128-a48b124e2777" providerId="ADAL" clId="{43BBE4CB-99CF-47BC-9D24-90C72205A37B}" dt="2019-07-24T20:20:40.720" v="127" actId="1076"/>
          <ac:grpSpMkLst>
            <pc:docMk/>
            <pc:sldMk cId="1331225007" sldId="711"/>
            <ac:grpSpMk id="872" creationId="{6B1C131F-B015-421B-A478-342819DB99B9}"/>
          </ac:grpSpMkLst>
        </pc:grpChg>
        <pc:grpChg chg="mod">
          <ac:chgData name="Stephen Gibbons" userId="8dc11794-a8ed-4f7c-8128-a48b124e2777" providerId="ADAL" clId="{43BBE4CB-99CF-47BC-9D24-90C72205A37B}" dt="2019-07-24T20:20:40.720" v="127" actId="1076"/>
          <ac:grpSpMkLst>
            <pc:docMk/>
            <pc:sldMk cId="1331225007" sldId="711"/>
            <ac:grpSpMk id="876" creationId="{327115B0-3428-4FCB-8313-505348E07402}"/>
          </ac:grpSpMkLst>
        </pc:grpChg>
        <pc:grpChg chg="mod">
          <ac:chgData name="Stephen Gibbons" userId="8dc11794-a8ed-4f7c-8128-a48b124e2777" providerId="ADAL" clId="{43BBE4CB-99CF-47BC-9D24-90C72205A37B}" dt="2019-07-24T20:20:40.720" v="127" actId="1076"/>
          <ac:grpSpMkLst>
            <pc:docMk/>
            <pc:sldMk cId="1331225007" sldId="711"/>
            <ac:grpSpMk id="880" creationId="{EE60382E-6EAD-4167-BE6C-6B10623677A8}"/>
          </ac:grpSpMkLst>
        </pc:grpChg>
        <pc:grpChg chg="mod">
          <ac:chgData name="Stephen Gibbons" userId="8dc11794-a8ed-4f7c-8128-a48b124e2777" providerId="ADAL" clId="{43BBE4CB-99CF-47BC-9D24-90C72205A37B}" dt="2019-07-24T20:20:40.720" v="127" actId="1076"/>
          <ac:grpSpMkLst>
            <pc:docMk/>
            <pc:sldMk cId="1331225007" sldId="711"/>
            <ac:grpSpMk id="884" creationId="{39E15FE5-1A74-4389-9AEC-E8700A70B506}"/>
          </ac:grpSpMkLst>
        </pc:grpChg>
        <pc:grpChg chg="mod">
          <ac:chgData name="Stephen Gibbons" userId="8dc11794-a8ed-4f7c-8128-a48b124e2777" providerId="ADAL" clId="{43BBE4CB-99CF-47BC-9D24-90C72205A37B}" dt="2019-07-24T20:20:40.720" v="127" actId="1076"/>
          <ac:grpSpMkLst>
            <pc:docMk/>
            <pc:sldMk cId="1331225007" sldId="711"/>
            <ac:grpSpMk id="888" creationId="{10FB76FD-3DA8-4887-BF93-39D052774638}"/>
          </ac:grpSpMkLst>
        </pc:grpChg>
        <pc:grpChg chg="mod">
          <ac:chgData name="Stephen Gibbons" userId="8dc11794-a8ed-4f7c-8128-a48b124e2777" providerId="ADAL" clId="{43BBE4CB-99CF-47BC-9D24-90C72205A37B}" dt="2019-07-24T20:20:40.720" v="127" actId="1076"/>
          <ac:grpSpMkLst>
            <pc:docMk/>
            <pc:sldMk cId="1331225007" sldId="711"/>
            <ac:grpSpMk id="898" creationId="{48B94ADD-7E19-40E4-80A7-422407D72BE9}"/>
          </ac:grpSpMkLst>
        </pc:grpChg>
        <pc:grpChg chg="mod">
          <ac:chgData name="Stephen Gibbons" userId="8dc11794-a8ed-4f7c-8128-a48b124e2777" providerId="ADAL" clId="{43BBE4CB-99CF-47BC-9D24-90C72205A37B}" dt="2019-07-24T20:20:40.720" v="127" actId="1076"/>
          <ac:grpSpMkLst>
            <pc:docMk/>
            <pc:sldMk cId="1331225007" sldId="711"/>
            <ac:grpSpMk id="910" creationId="{C6174456-028D-496F-877F-FC1250ACA764}"/>
          </ac:grpSpMkLst>
        </pc:grpChg>
        <pc:grpChg chg="mod">
          <ac:chgData name="Stephen Gibbons" userId="8dc11794-a8ed-4f7c-8128-a48b124e2777" providerId="ADAL" clId="{43BBE4CB-99CF-47BC-9D24-90C72205A37B}" dt="2019-07-24T20:20:40.720" v="127" actId="1076"/>
          <ac:grpSpMkLst>
            <pc:docMk/>
            <pc:sldMk cId="1331225007" sldId="711"/>
            <ac:grpSpMk id="918" creationId="{03B3C48F-432E-43E0-B9BC-2DB5F1A7C58C}"/>
          </ac:grpSpMkLst>
        </pc:grpChg>
        <pc:grpChg chg="mod">
          <ac:chgData name="Stephen Gibbons" userId="8dc11794-a8ed-4f7c-8128-a48b124e2777" providerId="ADAL" clId="{43BBE4CB-99CF-47BC-9D24-90C72205A37B}" dt="2019-07-24T20:20:40.720" v="127" actId="1076"/>
          <ac:grpSpMkLst>
            <pc:docMk/>
            <pc:sldMk cId="1331225007" sldId="711"/>
            <ac:grpSpMk id="942" creationId="{39BC19C9-EC01-4CC2-B150-46CF04DBA278}"/>
          </ac:grpSpMkLst>
        </pc:grpChg>
        <pc:grpChg chg="mod">
          <ac:chgData name="Stephen Gibbons" userId="8dc11794-a8ed-4f7c-8128-a48b124e2777" providerId="ADAL" clId="{43BBE4CB-99CF-47BC-9D24-90C72205A37B}" dt="2019-07-24T20:20:40.720" v="127" actId="1076"/>
          <ac:grpSpMkLst>
            <pc:docMk/>
            <pc:sldMk cId="1331225007" sldId="711"/>
            <ac:grpSpMk id="965" creationId="{5B228897-F19C-450B-B33A-B93E8DA3F7DD}"/>
          </ac:grpSpMkLst>
        </pc:grpChg>
        <pc:grpChg chg="mod">
          <ac:chgData name="Stephen Gibbons" userId="8dc11794-a8ed-4f7c-8128-a48b124e2777" providerId="ADAL" clId="{43BBE4CB-99CF-47BC-9D24-90C72205A37B}" dt="2019-07-24T20:20:40.720" v="127" actId="1076"/>
          <ac:grpSpMkLst>
            <pc:docMk/>
            <pc:sldMk cId="1331225007" sldId="711"/>
            <ac:grpSpMk id="975" creationId="{094CE445-D544-4CA1-827C-7C12D4490D4A}"/>
          </ac:grpSpMkLst>
        </pc:grpChg>
        <pc:picChg chg="del">
          <ac:chgData name="Stephen Gibbons" userId="8dc11794-a8ed-4f7c-8128-a48b124e2777" providerId="ADAL" clId="{43BBE4CB-99CF-47BC-9D24-90C72205A37B}" dt="2019-07-24T20:20:17.839" v="126" actId="478"/>
          <ac:picMkLst>
            <pc:docMk/>
            <pc:sldMk cId="1331225007" sldId="711"/>
            <ac:picMk id="840" creationId="{29056C3D-6A72-4572-B8FE-D7CBD6AC8B0B}"/>
          </ac:picMkLst>
        </pc:picChg>
        <pc:cxnChg chg="mod">
          <ac:chgData name="Stephen Gibbons" userId="8dc11794-a8ed-4f7c-8128-a48b124e2777" providerId="ADAL" clId="{43BBE4CB-99CF-47BC-9D24-90C72205A37B}" dt="2019-07-24T20:20:40.720" v="127" actId="1076"/>
          <ac:cxnSpMkLst>
            <pc:docMk/>
            <pc:sldMk cId="1331225007" sldId="711"/>
            <ac:cxnSpMk id="833" creationId="{6C6B6365-A191-4E29-8C4D-0045F7713CD0}"/>
          </ac:cxnSpMkLst>
        </pc:cxnChg>
        <pc:cxnChg chg="mod">
          <ac:chgData name="Stephen Gibbons" userId="8dc11794-a8ed-4f7c-8128-a48b124e2777" providerId="ADAL" clId="{43BBE4CB-99CF-47BC-9D24-90C72205A37B}" dt="2019-07-24T20:20:40.720" v="127" actId="1076"/>
          <ac:cxnSpMkLst>
            <pc:docMk/>
            <pc:sldMk cId="1331225007" sldId="711"/>
            <ac:cxnSpMk id="892" creationId="{4C94734D-658E-4DC8-A142-22CEBD0632B0}"/>
          </ac:cxnSpMkLst>
        </pc:cxnChg>
        <pc:cxnChg chg="mod">
          <ac:chgData name="Stephen Gibbons" userId="8dc11794-a8ed-4f7c-8128-a48b124e2777" providerId="ADAL" clId="{43BBE4CB-99CF-47BC-9D24-90C72205A37B}" dt="2019-07-24T20:20:40.720" v="127" actId="1076"/>
          <ac:cxnSpMkLst>
            <pc:docMk/>
            <pc:sldMk cId="1331225007" sldId="711"/>
            <ac:cxnSpMk id="901" creationId="{4B1EC0D9-1C49-48FA-AAEF-A3AE2197467B}"/>
          </ac:cxnSpMkLst>
        </pc:cxnChg>
        <pc:cxnChg chg="mod">
          <ac:chgData name="Stephen Gibbons" userId="8dc11794-a8ed-4f7c-8128-a48b124e2777" providerId="ADAL" clId="{43BBE4CB-99CF-47BC-9D24-90C72205A37B}" dt="2019-07-24T20:20:40.720" v="127" actId="1076"/>
          <ac:cxnSpMkLst>
            <pc:docMk/>
            <pc:sldMk cId="1331225007" sldId="711"/>
            <ac:cxnSpMk id="902" creationId="{8B5C3507-DFD1-4726-9566-58D14149EB27}"/>
          </ac:cxnSpMkLst>
        </pc:cxnChg>
        <pc:cxnChg chg="mod">
          <ac:chgData name="Stephen Gibbons" userId="8dc11794-a8ed-4f7c-8128-a48b124e2777" providerId="ADAL" clId="{43BBE4CB-99CF-47BC-9D24-90C72205A37B}" dt="2019-07-24T20:20:40.720" v="127" actId="1076"/>
          <ac:cxnSpMkLst>
            <pc:docMk/>
            <pc:sldMk cId="1331225007" sldId="711"/>
            <ac:cxnSpMk id="903" creationId="{A926D35D-4044-4387-9565-185B83E3B8B3}"/>
          </ac:cxnSpMkLst>
        </pc:cxnChg>
        <pc:cxnChg chg="mod">
          <ac:chgData name="Stephen Gibbons" userId="8dc11794-a8ed-4f7c-8128-a48b124e2777" providerId="ADAL" clId="{43BBE4CB-99CF-47BC-9D24-90C72205A37B}" dt="2019-07-24T20:20:40.720" v="127" actId="1076"/>
          <ac:cxnSpMkLst>
            <pc:docMk/>
            <pc:sldMk cId="1331225007" sldId="711"/>
            <ac:cxnSpMk id="904" creationId="{80F4FB95-6CA3-43EE-868D-5DF5CD2A7647}"/>
          </ac:cxnSpMkLst>
        </pc:cxnChg>
        <pc:cxnChg chg="mod">
          <ac:chgData name="Stephen Gibbons" userId="8dc11794-a8ed-4f7c-8128-a48b124e2777" providerId="ADAL" clId="{43BBE4CB-99CF-47BC-9D24-90C72205A37B}" dt="2019-07-24T20:20:40.720" v="127" actId="1076"/>
          <ac:cxnSpMkLst>
            <pc:docMk/>
            <pc:sldMk cId="1331225007" sldId="711"/>
            <ac:cxnSpMk id="905" creationId="{5828A997-70BD-48F1-A09C-C163681BC2F0}"/>
          </ac:cxnSpMkLst>
        </pc:cxnChg>
        <pc:cxnChg chg="mod">
          <ac:chgData name="Stephen Gibbons" userId="8dc11794-a8ed-4f7c-8128-a48b124e2777" providerId="ADAL" clId="{43BBE4CB-99CF-47BC-9D24-90C72205A37B}" dt="2019-07-24T20:20:40.720" v="127" actId="1076"/>
          <ac:cxnSpMkLst>
            <pc:docMk/>
            <pc:sldMk cId="1331225007" sldId="711"/>
            <ac:cxnSpMk id="906" creationId="{302965BE-1910-4848-A8E3-A042A4DD5CEA}"/>
          </ac:cxnSpMkLst>
        </pc:cxnChg>
        <pc:cxnChg chg="mod">
          <ac:chgData name="Stephen Gibbons" userId="8dc11794-a8ed-4f7c-8128-a48b124e2777" providerId="ADAL" clId="{43BBE4CB-99CF-47BC-9D24-90C72205A37B}" dt="2019-07-24T20:20:40.720" v="127" actId="1076"/>
          <ac:cxnSpMkLst>
            <pc:docMk/>
            <pc:sldMk cId="1331225007" sldId="711"/>
            <ac:cxnSpMk id="907" creationId="{D9AED6DA-C64B-482F-A3AA-712EDEE50BE6}"/>
          </ac:cxnSpMkLst>
        </pc:cxnChg>
        <pc:cxnChg chg="mod">
          <ac:chgData name="Stephen Gibbons" userId="8dc11794-a8ed-4f7c-8128-a48b124e2777" providerId="ADAL" clId="{43BBE4CB-99CF-47BC-9D24-90C72205A37B}" dt="2019-07-24T20:20:40.720" v="127" actId="1076"/>
          <ac:cxnSpMkLst>
            <pc:docMk/>
            <pc:sldMk cId="1331225007" sldId="711"/>
            <ac:cxnSpMk id="909" creationId="{CDA8404F-9174-4FEA-8385-BDC89E2DA249}"/>
          </ac:cxnSpMkLst>
        </pc:cxnChg>
        <pc:cxnChg chg="mod">
          <ac:chgData name="Stephen Gibbons" userId="8dc11794-a8ed-4f7c-8128-a48b124e2777" providerId="ADAL" clId="{43BBE4CB-99CF-47BC-9D24-90C72205A37B}" dt="2019-07-24T20:20:40.720" v="127" actId="1076"/>
          <ac:cxnSpMkLst>
            <pc:docMk/>
            <pc:sldMk cId="1331225007" sldId="711"/>
            <ac:cxnSpMk id="914" creationId="{E7056D29-6992-45F8-AA69-4DBD1D91C1E4}"/>
          </ac:cxnSpMkLst>
        </pc:cxnChg>
        <pc:cxnChg chg="mod">
          <ac:chgData name="Stephen Gibbons" userId="8dc11794-a8ed-4f7c-8128-a48b124e2777" providerId="ADAL" clId="{43BBE4CB-99CF-47BC-9D24-90C72205A37B}" dt="2019-07-24T20:20:40.720" v="127" actId="1076"/>
          <ac:cxnSpMkLst>
            <pc:docMk/>
            <pc:sldMk cId="1331225007" sldId="711"/>
            <ac:cxnSpMk id="915" creationId="{71B84972-48A3-4579-97CA-5CA8F1FB8877}"/>
          </ac:cxnSpMkLst>
        </pc:cxnChg>
        <pc:cxnChg chg="mod">
          <ac:chgData name="Stephen Gibbons" userId="8dc11794-a8ed-4f7c-8128-a48b124e2777" providerId="ADAL" clId="{43BBE4CB-99CF-47BC-9D24-90C72205A37B}" dt="2019-07-24T20:20:40.720" v="127" actId="1076"/>
          <ac:cxnSpMkLst>
            <pc:docMk/>
            <pc:sldMk cId="1331225007" sldId="711"/>
            <ac:cxnSpMk id="916" creationId="{FC360876-34E9-4B55-8BB6-13D153A1AA40}"/>
          </ac:cxnSpMkLst>
        </pc:cxnChg>
        <pc:cxnChg chg="mod">
          <ac:chgData name="Stephen Gibbons" userId="8dc11794-a8ed-4f7c-8128-a48b124e2777" providerId="ADAL" clId="{43BBE4CB-99CF-47BC-9D24-90C72205A37B}" dt="2019-07-24T20:20:40.720" v="127" actId="1076"/>
          <ac:cxnSpMkLst>
            <pc:docMk/>
            <pc:sldMk cId="1331225007" sldId="711"/>
            <ac:cxnSpMk id="917" creationId="{373478A7-7AB3-4514-952A-3097D2DC71AA}"/>
          </ac:cxnSpMkLst>
        </pc:cxnChg>
        <pc:cxnChg chg="mod">
          <ac:chgData name="Stephen Gibbons" userId="8dc11794-a8ed-4f7c-8128-a48b124e2777" providerId="ADAL" clId="{43BBE4CB-99CF-47BC-9D24-90C72205A37B}" dt="2019-07-24T20:20:40.720" v="127" actId="1076"/>
          <ac:cxnSpMkLst>
            <pc:docMk/>
            <pc:sldMk cId="1331225007" sldId="711"/>
            <ac:cxnSpMk id="924" creationId="{D12C2DCB-201B-4D9D-AD21-FCB890B07E41}"/>
          </ac:cxnSpMkLst>
        </pc:cxnChg>
        <pc:cxnChg chg="mod">
          <ac:chgData name="Stephen Gibbons" userId="8dc11794-a8ed-4f7c-8128-a48b124e2777" providerId="ADAL" clId="{43BBE4CB-99CF-47BC-9D24-90C72205A37B}" dt="2019-07-24T20:20:40.720" v="127" actId="1076"/>
          <ac:cxnSpMkLst>
            <pc:docMk/>
            <pc:sldMk cId="1331225007" sldId="711"/>
            <ac:cxnSpMk id="925" creationId="{4E3F8753-42E1-4B7C-9D75-A85AA93791BE}"/>
          </ac:cxnSpMkLst>
        </pc:cxnChg>
        <pc:cxnChg chg="mod">
          <ac:chgData name="Stephen Gibbons" userId="8dc11794-a8ed-4f7c-8128-a48b124e2777" providerId="ADAL" clId="{43BBE4CB-99CF-47BC-9D24-90C72205A37B}" dt="2019-07-24T20:20:40.720" v="127" actId="1076"/>
          <ac:cxnSpMkLst>
            <pc:docMk/>
            <pc:sldMk cId="1331225007" sldId="711"/>
            <ac:cxnSpMk id="926" creationId="{F9FE3541-6EC8-43D6-96DA-55F078190A6A}"/>
          </ac:cxnSpMkLst>
        </pc:cxnChg>
        <pc:cxnChg chg="mod">
          <ac:chgData name="Stephen Gibbons" userId="8dc11794-a8ed-4f7c-8128-a48b124e2777" providerId="ADAL" clId="{43BBE4CB-99CF-47BC-9D24-90C72205A37B}" dt="2019-07-24T20:20:40.720" v="127" actId="1076"/>
          <ac:cxnSpMkLst>
            <pc:docMk/>
            <pc:sldMk cId="1331225007" sldId="711"/>
            <ac:cxnSpMk id="928" creationId="{3ABE4539-540E-4613-85AA-63AB48EF0FB4}"/>
          </ac:cxnSpMkLst>
        </pc:cxnChg>
        <pc:cxnChg chg="mod">
          <ac:chgData name="Stephen Gibbons" userId="8dc11794-a8ed-4f7c-8128-a48b124e2777" providerId="ADAL" clId="{43BBE4CB-99CF-47BC-9D24-90C72205A37B}" dt="2019-07-24T20:20:40.720" v="127" actId="1076"/>
          <ac:cxnSpMkLst>
            <pc:docMk/>
            <pc:sldMk cId="1331225007" sldId="711"/>
            <ac:cxnSpMk id="929" creationId="{E6FC534A-6BA7-4822-AF2D-EB92D7CBDF5B}"/>
          </ac:cxnSpMkLst>
        </pc:cxnChg>
        <pc:cxnChg chg="mod">
          <ac:chgData name="Stephen Gibbons" userId="8dc11794-a8ed-4f7c-8128-a48b124e2777" providerId="ADAL" clId="{43BBE4CB-99CF-47BC-9D24-90C72205A37B}" dt="2019-07-24T20:20:40.720" v="127" actId="1076"/>
          <ac:cxnSpMkLst>
            <pc:docMk/>
            <pc:sldMk cId="1331225007" sldId="711"/>
            <ac:cxnSpMk id="930" creationId="{4C523526-B359-4EBD-80ED-1BD50C60E21E}"/>
          </ac:cxnSpMkLst>
        </pc:cxnChg>
        <pc:cxnChg chg="mod">
          <ac:chgData name="Stephen Gibbons" userId="8dc11794-a8ed-4f7c-8128-a48b124e2777" providerId="ADAL" clId="{43BBE4CB-99CF-47BC-9D24-90C72205A37B}" dt="2019-07-24T20:20:40.720" v="127" actId="1076"/>
          <ac:cxnSpMkLst>
            <pc:docMk/>
            <pc:sldMk cId="1331225007" sldId="711"/>
            <ac:cxnSpMk id="931" creationId="{57D77965-3A82-4988-8B2A-84AAC91E2626}"/>
          </ac:cxnSpMkLst>
        </pc:cxnChg>
        <pc:cxnChg chg="mod">
          <ac:chgData name="Stephen Gibbons" userId="8dc11794-a8ed-4f7c-8128-a48b124e2777" providerId="ADAL" clId="{43BBE4CB-99CF-47BC-9D24-90C72205A37B}" dt="2019-07-24T20:20:40.720" v="127" actId="1076"/>
          <ac:cxnSpMkLst>
            <pc:docMk/>
            <pc:sldMk cId="1331225007" sldId="711"/>
            <ac:cxnSpMk id="932" creationId="{09888FCD-0155-4FA1-A283-6EA3AFE7AB8E}"/>
          </ac:cxnSpMkLst>
        </pc:cxnChg>
        <pc:cxnChg chg="mod">
          <ac:chgData name="Stephen Gibbons" userId="8dc11794-a8ed-4f7c-8128-a48b124e2777" providerId="ADAL" clId="{43BBE4CB-99CF-47BC-9D24-90C72205A37B}" dt="2019-07-24T20:20:40.720" v="127" actId="1076"/>
          <ac:cxnSpMkLst>
            <pc:docMk/>
            <pc:sldMk cId="1331225007" sldId="711"/>
            <ac:cxnSpMk id="933" creationId="{D4E03D8D-368E-46F3-8C39-AAE9158C013F}"/>
          </ac:cxnSpMkLst>
        </pc:cxnChg>
        <pc:cxnChg chg="mod">
          <ac:chgData name="Stephen Gibbons" userId="8dc11794-a8ed-4f7c-8128-a48b124e2777" providerId="ADAL" clId="{43BBE4CB-99CF-47BC-9D24-90C72205A37B}" dt="2019-07-24T20:20:40.720" v="127" actId="1076"/>
          <ac:cxnSpMkLst>
            <pc:docMk/>
            <pc:sldMk cId="1331225007" sldId="711"/>
            <ac:cxnSpMk id="934" creationId="{35A6B63D-44EA-426B-901C-528EFA88D050}"/>
          </ac:cxnSpMkLst>
        </pc:cxnChg>
        <pc:cxnChg chg="mod">
          <ac:chgData name="Stephen Gibbons" userId="8dc11794-a8ed-4f7c-8128-a48b124e2777" providerId="ADAL" clId="{43BBE4CB-99CF-47BC-9D24-90C72205A37B}" dt="2019-07-24T20:20:40.720" v="127" actId="1076"/>
          <ac:cxnSpMkLst>
            <pc:docMk/>
            <pc:sldMk cId="1331225007" sldId="711"/>
            <ac:cxnSpMk id="935" creationId="{3BE43DA7-485C-4D35-BABC-722030BCE2F0}"/>
          </ac:cxnSpMkLst>
        </pc:cxnChg>
        <pc:cxnChg chg="mod">
          <ac:chgData name="Stephen Gibbons" userId="8dc11794-a8ed-4f7c-8128-a48b124e2777" providerId="ADAL" clId="{43BBE4CB-99CF-47BC-9D24-90C72205A37B}" dt="2019-07-24T20:20:40.720" v="127" actId="1076"/>
          <ac:cxnSpMkLst>
            <pc:docMk/>
            <pc:sldMk cId="1331225007" sldId="711"/>
            <ac:cxnSpMk id="936" creationId="{CFDD88DB-90E7-4FB4-82C2-1163036C57C8}"/>
          </ac:cxnSpMkLst>
        </pc:cxnChg>
        <pc:cxnChg chg="mod">
          <ac:chgData name="Stephen Gibbons" userId="8dc11794-a8ed-4f7c-8128-a48b124e2777" providerId="ADAL" clId="{43BBE4CB-99CF-47BC-9D24-90C72205A37B}" dt="2019-07-24T20:20:40.720" v="127" actId="1076"/>
          <ac:cxnSpMkLst>
            <pc:docMk/>
            <pc:sldMk cId="1331225007" sldId="711"/>
            <ac:cxnSpMk id="937" creationId="{A7B112B6-BFCA-43CF-A2CB-75AECDFD92B3}"/>
          </ac:cxnSpMkLst>
        </pc:cxnChg>
        <pc:cxnChg chg="mod">
          <ac:chgData name="Stephen Gibbons" userId="8dc11794-a8ed-4f7c-8128-a48b124e2777" providerId="ADAL" clId="{43BBE4CB-99CF-47BC-9D24-90C72205A37B}" dt="2019-07-24T20:20:40.720" v="127" actId="1076"/>
          <ac:cxnSpMkLst>
            <pc:docMk/>
            <pc:sldMk cId="1331225007" sldId="711"/>
            <ac:cxnSpMk id="939" creationId="{6267494A-5246-4345-994F-B3FDE72988A0}"/>
          </ac:cxnSpMkLst>
        </pc:cxnChg>
        <pc:cxnChg chg="mod">
          <ac:chgData name="Stephen Gibbons" userId="8dc11794-a8ed-4f7c-8128-a48b124e2777" providerId="ADAL" clId="{43BBE4CB-99CF-47BC-9D24-90C72205A37B}" dt="2019-07-24T20:20:40.720" v="127" actId="1076"/>
          <ac:cxnSpMkLst>
            <pc:docMk/>
            <pc:sldMk cId="1331225007" sldId="711"/>
            <ac:cxnSpMk id="940" creationId="{90B42854-B12F-4771-9035-8052EE415F03}"/>
          </ac:cxnSpMkLst>
        </pc:cxnChg>
        <pc:cxnChg chg="mod">
          <ac:chgData name="Stephen Gibbons" userId="8dc11794-a8ed-4f7c-8128-a48b124e2777" providerId="ADAL" clId="{43BBE4CB-99CF-47BC-9D24-90C72205A37B}" dt="2019-07-24T20:20:40.720" v="127" actId="1076"/>
          <ac:cxnSpMkLst>
            <pc:docMk/>
            <pc:sldMk cId="1331225007" sldId="711"/>
            <ac:cxnSpMk id="941" creationId="{76BC1377-D635-44EA-A218-88B8D7965BB2}"/>
          </ac:cxnSpMkLst>
        </pc:cxnChg>
        <pc:cxnChg chg="mod">
          <ac:chgData name="Stephen Gibbons" userId="8dc11794-a8ed-4f7c-8128-a48b124e2777" providerId="ADAL" clId="{43BBE4CB-99CF-47BC-9D24-90C72205A37B}" dt="2019-07-24T20:20:40.720" v="127" actId="1076"/>
          <ac:cxnSpMkLst>
            <pc:docMk/>
            <pc:sldMk cId="1331225007" sldId="711"/>
            <ac:cxnSpMk id="976" creationId="{70DE8291-2E92-4D1A-A5E8-5364428A11CC}"/>
          </ac:cxnSpMkLst>
        </pc:cxnChg>
        <pc:cxnChg chg="mod">
          <ac:chgData name="Stephen Gibbons" userId="8dc11794-a8ed-4f7c-8128-a48b124e2777" providerId="ADAL" clId="{43BBE4CB-99CF-47BC-9D24-90C72205A37B}" dt="2019-07-24T20:20:40.720" v="127" actId="1076"/>
          <ac:cxnSpMkLst>
            <pc:docMk/>
            <pc:sldMk cId="1331225007" sldId="711"/>
            <ac:cxnSpMk id="977" creationId="{6AAC413A-AA40-4F15-824E-77F53175A4A5}"/>
          </ac:cxnSpMkLst>
        </pc:cxnChg>
      </pc:sldChg>
      <pc:sldChg chg="modSp">
        <pc:chgData name="Stephen Gibbons" userId="8dc11794-a8ed-4f7c-8128-a48b124e2777" providerId="ADAL" clId="{43BBE4CB-99CF-47BC-9D24-90C72205A37B}" dt="2019-07-24T20:26:28.983" v="217"/>
        <pc:sldMkLst>
          <pc:docMk/>
          <pc:sldMk cId="708035142" sldId="739"/>
        </pc:sldMkLst>
        <pc:spChg chg="mod">
          <ac:chgData name="Stephen Gibbons" userId="8dc11794-a8ed-4f7c-8128-a48b124e2777" providerId="ADAL" clId="{43BBE4CB-99CF-47BC-9D24-90C72205A37B}" dt="2019-07-24T20:26:28.983" v="217"/>
          <ac:spMkLst>
            <pc:docMk/>
            <pc:sldMk cId="708035142" sldId="739"/>
            <ac:spMk id="2" creationId="{3F1D260E-D3B3-4907-8EE4-2167B22C38D4}"/>
          </ac:spMkLst>
        </pc:spChg>
      </pc:sldChg>
      <pc:sldChg chg="addSp delSp modSp">
        <pc:chgData name="Stephen Gibbons" userId="8dc11794-a8ed-4f7c-8128-a48b124e2777" providerId="ADAL" clId="{43BBE4CB-99CF-47BC-9D24-90C72205A37B}" dt="2019-07-24T20:17:14.787" v="110" actId="478"/>
        <pc:sldMkLst>
          <pc:docMk/>
          <pc:sldMk cId="2214856969" sldId="740"/>
        </pc:sldMkLst>
        <pc:spChg chg="del">
          <ac:chgData name="Stephen Gibbons" userId="8dc11794-a8ed-4f7c-8128-a48b124e2777" providerId="ADAL" clId="{43BBE4CB-99CF-47BC-9D24-90C72205A37B}" dt="2019-07-24T20:17:14.787" v="110" actId="478"/>
          <ac:spMkLst>
            <pc:docMk/>
            <pc:sldMk cId="2214856969" sldId="740"/>
            <ac:spMk id="15" creationId="{4C2CDD8A-123C-4B7E-85A6-1FC5867F9B5B}"/>
          </ac:spMkLst>
        </pc:spChg>
        <pc:spChg chg="mod">
          <ac:chgData name="Stephen Gibbons" userId="8dc11794-a8ed-4f7c-8128-a48b124e2777" providerId="ADAL" clId="{43BBE4CB-99CF-47BC-9D24-90C72205A37B}" dt="2019-07-24T20:15:26.377" v="101" actId="164"/>
          <ac:spMkLst>
            <pc:docMk/>
            <pc:sldMk cId="2214856969" sldId="740"/>
            <ac:spMk id="2893" creationId="{D6C780E5-8713-4992-AC5F-B2F6D46F4A8E}"/>
          </ac:spMkLst>
        </pc:spChg>
        <pc:spChg chg="mod">
          <ac:chgData name="Stephen Gibbons" userId="8dc11794-a8ed-4f7c-8128-a48b124e2777" providerId="ADAL" clId="{43BBE4CB-99CF-47BC-9D24-90C72205A37B}" dt="2019-07-24T20:15:26.377" v="101" actId="164"/>
          <ac:spMkLst>
            <pc:docMk/>
            <pc:sldMk cId="2214856969" sldId="740"/>
            <ac:spMk id="2894" creationId="{AE4A74C1-0BC6-4198-A08F-66DBB027320C}"/>
          </ac:spMkLst>
        </pc:spChg>
        <pc:spChg chg="mod">
          <ac:chgData name="Stephen Gibbons" userId="8dc11794-a8ed-4f7c-8128-a48b124e2777" providerId="ADAL" clId="{43BBE4CB-99CF-47BC-9D24-90C72205A37B}" dt="2019-07-24T20:15:26.377" v="101" actId="164"/>
          <ac:spMkLst>
            <pc:docMk/>
            <pc:sldMk cId="2214856969" sldId="740"/>
            <ac:spMk id="2895" creationId="{877C7336-C313-4D49-A38D-EA7968AC27BF}"/>
          </ac:spMkLst>
        </pc:spChg>
        <pc:spChg chg="mod">
          <ac:chgData name="Stephen Gibbons" userId="8dc11794-a8ed-4f7c-8128-a48b124e2777" providerId="ADAL" clId="{43BBE4CB-99CF-47BC-9D24-90C72205A37B}" dt="2019-07-24T20:15:26.377" v="101" actId="164"/>
          <ac:spMkLst>
            <pc:docMk/>
            <pc:sldMk cId="2214856969" sldId="740"/>
            <ac:spMk id="2896" creationId="{B4F5D1CE-2C59-4C09-B434-5D752D0895F4}"/>
          </ac:spMkLst>
        </pc:spChg>
        <pc:spChg chg="mod">
          <ac:chgData name="Stephen Gibbons" userId="8dc11794-a8ed-4f7c-8128-a48b124e2777" providerId="ADAL" clId="{43BBE4CB-99CF-47BC-9D24-90C72205A37B}" dt="2019-07-24T20:15:26.377" v="101" actId="164"/>
          <ac:spMkLst>
            <pc:docMk/>
            <pc:sldMk cId="2214856969" sldId="740"/>
            <ac:spMk id="2897" creationId="{3CA383FA-D931-420A-901D-8EB3D953F7EF}"/>
          </ac:spMkLst>
        </pc:spChg>
        <pc:spChg chg="mod">
          <ac:chgData name="Stephen Gibbons" userId="8dc11794-a8ed-4f7c-8128-a48b124e2777" providerId="ADAL" clId="{43BBE4CB-99CF-47BC-9D24-90C72205A37B}" dt="2019-07-24T20:15:26.377" v="101" actId="164"/>
          <ac:spMkLst>
            <pc:docMk/>
            <pc:sldMk cId="2214856969" sldId="740"/>
            <ac:spMk id="2929" creationId="{F738DAD2-8985-460F-8608-9F6175CAFDEA}"/>
          </ac:spMkLst>
        </pc:spChg>
        <pc:spChg chg="mod">
          <ac:chgData name="Stephen Gibbons" userId="8dc11794-a8ed-4f7c-8128-a48b124e2777" providerId="ADAL" clId="{43BBE4CB-99CF-47BC-9D24-90C72205A37B}" dt="2019-07-24T20:15:26.377" v="101" actId="164"/>
          <ac:spMkLst>
            <pc:docMk/>
            <pc:sldMk cId="2214856969" sldId="740"/>
            <ac:spMk id="2930" creationId="{8F1DA11B-2091-4D04-8F96-5440B0BFEDE8}"/>
          </ac:spMkLst>
        </pc:spChg>
        <pc:spChg chg="mod">
          <ac:chgData name="Stephen Gibbons" userId="8dc11794-a8ed-4f7c-8128-a48b124e2777" providerId="ADAL" clId="{43BBE4CB-99CF-47BC-9D24-90C72205A37B}" dt="2019-07-24T20:15:26.377" v="101" actId="164"/>
          <ac:spMkLst>
            <pc:docMk/>
            <pc:sldMk cId="2214856969" sldId="740"/>
            <ac:spMk id="2931" creationId="{0B8C419C-2060-4E34-9303-8C789FFC4076}"/>
          </ac:spMkLst>
        </pc:spChg>
        <pc:spChg chg="mod">
          <ac:chgData name="Stephen Gibbons" userId="8dc11794-a8ed-4f7c-8128-a48b124e2777" providerId="ADAL" clId="{43BBE4CB-99CF-47BC-9D24-90C72205A37B}" dt="2019-07-24T20:15:26.377" v="101" actId="164"/>
          <ac:spMkLst>
            <pc:docMk/>
            <pc:sldMk cId="2214856969" sldId="740"/>
            <ac:spMk id="2932" creationId="{647CAFBD-C9D9-439B-B826-11673ECBFE01}"/>
          </ac:spMkLst>
        </pc:spChg>
        <pc:spChg chg="mod">
          <ac:chgData name="Stephen Gibbons" userId="8dc11794-a8ed-4f7c-8128-a48b124e2777" providerId="ADAL" clId="{43BBE4CB-99CF-47BC-9D24-90C72205A37B}" dt="2019-07-24T20:15:26.377" v="101" actId="164"/>
          <ac:spMkLst>
            <pc:docMk/>
            <pc:sldMk cId="2214856969" sldId="740"/>
            <ac:spMk id="2944" creationId="{043D6EEE-58F2-4B4A-A0AE-AE1BCE55FC28}"/>
          </ac:spMkLst>
        </pc:spChg>
        <pc:spChg chg="mod">
          <ac:chgData name="Stephen Gibbons" userId="8dc11794-a8ed-4f7c-8128-a48b124e2777" providerId="ADAL" clId="{43BBE4CB-99CF-47BC-9D24-90C72205A37B}" dt="2019-07-24T20:15:26.377" v="101" actId="164"/>
          <ac:spMkLst>
            <pc:docMk/>
            <pc:sldMk cId="2214856969" sldId="740"/>
            <ac:spMk id="2949" creationId="{AA1642F8-2048-42FA-A531-1D13417946B6}"/>
          </ac:spMkLst>
        </pc:spChg>
        <pc:spChg chg="mod">
          <ac:chgData name="Stephen Gibbons" userId="8dc11794-a8ed-4f7c-8128-a48b124e2777" providerId="ADAL" clId="{43BBE4CB-99CF-47BC-9D24-90C72205A37B}" dt="2019-07-24T20:15:26.377" v="101" actId="164"/>
          <ac:spMkLst>
            <pc:docMk/>
            <pc:sldMk cId="2214856969" sldId="740"/>
            <ac:spMk id="2957" creationId="{B7D8D181-74BB-415F-926D-479A2C6CD19B}"/>
          </ac:spMkLst>
        </pc:spChg>
        <pc:spChg chg="mod">
          <ac:chgData name="Stephen Gibbons" userId="8dc11794-a8ed-4f7c-8128-a48b124e2777" providerId="ADAL" clId="{43BBE4CB-99CF-47BC-9D24-90C72205A37B}" dt="2019-07-24T20:15:26.377" v="101" actId="164"/>
          <ac:spMkLst>
            <pc:docMk/>
            <pc:sldMk cId="2214856969" sldId="740"/>
            <ac:spMk id="2963" creationId="{4903E96F-D9CD-41A3-8153-85DE9FD3955E}"/>
          </ac:spMkLst>
        </pc:spChg>
        <pc:spChg chg="mod">
          <ac:chgData name="Stephen Gibbons" userId="8dc11794-a8ed-4f7c-8128-a48b124e2777" providerId="ADAL" clId="{43BBE4CB-99CF-47BC-9D24-90C72205A37B}" dt="2019-07-24T20:15:26.377" v="101" actId="164"/>
          <ac:spMkLst>
            <pc:docMk/>
            <pc:sldMk cId="2214856969" sldId="740"/>
            <ac:spMk id="2971" creationId="{AFDFBEB3-E0C4-4D9E-8612-55F853A9C791}"/>
          </ac:spMkLst>
        </pc:spChg>
        <pc:spChg chg="mod">
          <ac:chgData name="Stephen Gibbons" userId="8dc11794-a8ed-4f7c-8128-a48b124e2777" providerId="ADAL" clId="{43BBE4CB-99CF-47BC-9D24-90C72205A37B}" dt="2019-07-24T20:16:17.357" v="108" actId="403"/>
          <ac:spMkLst>
            <pc:docMk/>
            <pc:sldMk cId="2214856969" sldId="740"/>
            <ac:spMk id="2994" creationId="{F0A0069E-8165-4E43-91A1-B7CAF51A87B3}"/>
          </ac:spMkLst>
        </pc:spChg>
        <pc:spChg chg="mod">
          <ac:chgData name="Stephen Gibbons" userId="8dc11794-a8ed-4f7c-8128-a48b124e2777" providerId="ADAL" clId="{43BBE4CB-99CF-47BC-9D24-90C72205A37B}" dt="2019-07-24T20:16:17.357" v="108" actId="403"/>
          <ac:spMkLst>
            <pc:docMk/>
            <pc:sldMk cId="2214856969" sldId="740"/>
            <ac:spMk id="3008" creationId="{ADFD4CD4-F802-4CE6-9AC5-7A3CE0FB1CAC}"/>
          </ac:spMkLst>
        </pc:spChg>
        <pc:spChg chg="mod">
          <ac:chgData name="Stephen Gibbons" userId="8dc11794-a8ed-4f7c-8128-a48b124e2777" providerId="ADAL" clId="{43BBE4CB-99CF-47BC-9D24-90C72205A37B}" dt="2019-07-24T20:16:17.357" v="108" actId="403"/>
          <ac:spMkLst>
            <pc:docMk/>
            <pc:sldMk cId="2214856969" sldId="740"/>
            <ac:spMk id="3009" creationId="{B3CFECB3-25C8-4EEF-8D4E-5A86F8CB64BD}"/>
          </ac:spMkLst>
        </pc:spChg>
        <pc:spChg chg="mod">
          <ac:chgData name="Stephen Gibbons" userId="8dc11794-a8ed-4f7c-8128-a48b124e2777" providerId="ADAL" clId="{43BBE4CB-99CF-47BC-9D24-90C72205A37B}" dt="2019-07-24T20:16:17.357" v="108" actId="403"/>
          <ac:spMkLst>
            <pc:docMk/>
            <pc:sldMk cId="2214856969" sldId="740"/>
            <ac:spMk id="3028" creationId="{62385269-B57A-482C-99BA-680DB5D2157F}"/>
          </ac:spMkLst>
        </pc:spChg>
        <pc:spChg chg="mod">
          <ac:chgData name="Stephen Gibbons" userId="8dc11794-a8ed-4f7c-8128-a48b124e2777" providerId="ADAL" clId="{43BBE4CB-99CF-47BC-9D24-90C72205A37B}" dt="2019-07-24T20:16:17.357" v="108" actId="403"/>
          <ac:spMkLst>
            <pc:docMk/>
            <pc:sldMk cId="2214856969" sldId="740"/>
            <ac:spMk id="3030" creationId="{743B7B21-AFF7-4BB0-81DE-8C2F4437B6C7}"/>
          </ac:spMkLst>
        </pc:spChg>
        <pc:spChg chg="mod">
          <ac:chgData name="Stephen Gibbons" userId="8dc11794-a8ed-4f7c-8128-a48b124e2777" providerId="ADAL" clId="{43BBE4CB-99CF-47BC-9D24-90C72205A37B}" dt="2019-07-24T20:16:17.357" v="108" actId="403"/>
          <ac:spMkLst>
            <pc:docMk/>
            <pc:sldMk cId="2214856969" sldId="740"/>
            <ac:spMk id="3032" creationId="{B94D8B86-9F99-4E10-99EE-6282061E0E58}"/>
          </ac:spMkLst>
        </pc:spChg>
        <pc:spChg chg="mod">
          <ac:chgData name="Stephen Gibbons" userId="8dc11794-a8ed-4f7c-8128-a48b124e2777" providerId="ADAL" clId="{43BBE4CB-99CF-47BC-9D24-90C72205A37B}" dt="2019-07-24T20:16:17.357" v="108" actId="403"/>
          <ac:spMkLst>
            <pc:docMk/>
            <pc:sldMk cId="2214856969" sldId="740"/>
            <ac:spMk id="3033" creationId="{31F04E29-7CFF-4354-ADBB-0D0B64A5F77C}"/>
          </ac:spMkLst>
        </pc:spChg>
        <pc:spChg chg="mod">
          <ac:chgData name="Stephen Gibbons" userId="8dc11794-a8ed-4f7c-8128-a48b124e2777" providerId="ADAL" clId="{43BBE4CB-99CF-47BC-9D24-90C72205A37B}" dt="2019-07-24T20:16:17.357" v="108" actId="403"/>
          <ac:spMkLst>
            <pc:docMk/>
            <pc:sldMk cId="2214856969" sldId="740"/>
            <ac:spMk id="3035" creationId="{E0C25764-42A6-4C6D-8278-710EB932A792}"/>
          </ac:spMkLst>
        </pc:spChg>
        <pc:spChg chg="mod">
          <ac:chgData name="Stephen Gibbons" userId="8dc11794-a8ed-4f7c-8128-a48b124e2777" providerId="ADAL" clId="{43BBE4CB-99CF-47BC-9D24-90C72205A37B}" dt="2019-07-24T20:16:17.357" v="108" actId="403"/>
          <ac:spMkLst>
            <pc:docMk/>
            <pc:sldMk cId="2214856969" sldId="740"/>
            <ac:spMk id="3040" creationId="{C2DB9F78-2810-46E2-8B7D-14E1920EBB8D}"/>
          </ac:spMkLst>
        </pc:spChg>
        <pc:spChg chg="mod">
          <ac:chgData name="Stephen Gibbons" userId="8dc11794-a8ed-4f7c-8128-a48b124e2777" providerId="ADAL" clId="{43BBE4CB-99CF-47BC-9D24-90C72205A37B}" dt="2019-07-24T20:16:17.357" v="108" actId="403"/>
          <ac:spMkLst>
            <pc:docMk/>
            <pc:sldMk cId="2214856969" sldId="740"/>
            <ac:spMk id="3084" creationId="{9493C2E1-400F-4ABE-8DC9-4F6A83F0591D}"/>
          </ac:spMkLst>
        </pc:spChg>
        <pc:spChg chg="mod">
          <ac:chgData name="Stephen Gibbons" userId="8dc11794-a8ed-4f7c-8128-a48b124e2777" providerId="ADAL" clId="{43BBE4CB-99CF-47BC-9D24-90C72205A37B}" dt="2019-07-24T20:16:17.357" v="108" actId="403"/>
          <ac:spMkLst>
            <pc:docMk/>
            <pc:sldMk cId="2214856969" sldId="740"/>
            <ac:spMk id="3085" creationId="{1AC81985-B391-4EFC-AB75-967427C75E67}"/>
          </ac:spMkLst>
        </pc:spChg>
        <pc:spChg chg="mod">
          <ac:chgData name="Stephen Gibbons" userId="8dc11794-a8ed-4f7c-8128-a48b124e2777" providerId="ADAL" clId="{43BBE4CB-99CF-47BC-9D24-90C72205A37B}" dt="2019-07-24T20:16:17.357" v="108" actId="403"/>
          <ac:spMkLst>
            <pc:docMk/>
            <pc:sldMk cId="2214856969" sldId="740"/>
            <ac:spMk id="3088" creationId="{91FD610D-ECA8-4E01-AAB6-EE630057312A}"/>
          </ac:spMkLst>
        </pc:spChg>
        <pc:spChg chg="mod">
          <ac:chgData name="Stephen Gibbons" userId="8dc11794-a8ed-4f7c-8128-a48b124e2777" providerId="ADAL" clId="{43BBE4CB-99CF-47BC-9D24-90C72205A37B}" dt="2019-07-24T20:16:17.357" v="108" actId="403"/>
          <ac:spMkLst>
            <pc:docMk/>
            <pc:sldMk cId="2214856969" sldId="740"/>
            <ac:spMk id="3089" creationId="{3420E5BB-17EE-4F88-8C4A-831E2DBAAA2A}"/>
          </ac:spMkLst>
        </pc:spChg>
        <pc:spChg chg="mod">
          <ac:chgData name="Stephen Gibbons" userId="8dc11794-a8ed-4f7c-8128-a48b124e2777" providerId="ADAL" clId="{43BBE4CB-99CF-47BC-9D24-90C72205A37B}" dt="2019-07-24T20:16:17.357" v="108" actId="403"/>
          <ac:spMkLst>
            <pc:docMk/>
            <pc:sldMk cId="2214856969" sldId="740"/>
            <ac:spMk id="3091" creationId="{CE17973D-C25E-4BAC-9391-00C8B14EFC63}"/>
          </ac:spMkLst>
        </pc:spChg>
        <pc:spChg chg="mod">
          <ac:chgData name="Stephen Gibbons" userId="8dc11794-a8ed-4f7c-8128-a48b124e2777" providerId="ADAL" clId="{43BBE4CB-99CF-47BC-9D24-90C72205A37B}" dt="2019-07-24T20:16:17.357" v="108" actId="403"/>
          <ac:spMkLst>
            <pc:docMk/>
            <pc:sldMk cId="2214856969" sldId="740"/>
            <ac:spMk id="3092" creationId="{4F50B994-B1C5-4609-9369-52ECFA9F84EB}"/>
          </ac:spMkLst>
        </pc:spChg>
        <pc:spChg chg="mod">
          <ac:chgData name="Stephen Gibbons" userId="8dc11794-a8ed-4f7c-8128-a48b124e2777" providerId="ADAL" clId="{43BBE4CB-99CF-47BC-9D24-90C72205A37B}" dt="2019-07-24T20:16:17.357" v="108" actId="403"/>
          <ac:spMkLst>
            <pc:docMk/>
            <pc:sldMk cId="2214856969" sldId="740"/>
            <ac:spMk id="3093" creationId="{F9F7CB17-EEBB-48BA-9D33-F4BA90979B19}"/>
          </ac:spMkLst>
        </pc:spChg>
        <pc:spChg chg="mod">
          <ac:chgData name="Stephen Gibbons" userId="8dc11794-a8ed-4f7c-8128-a48b124e2777" providerId="ADAL" clId="{43BBE4CB-99CF-47BC-9D24-90C72205A37B}" dt="2019-07-24T20:16:17.357" v="108" actId="403"/>
          <ac:spMkLst>
            <pc:docMk/>
            <pc:sldMk cId="2214856969" sldId="740"/>
            <ac:spMk id="3094" creationId="{AC6F9F83-21E3-41CD-BDFF-7A28CDF674AD}"/>
          </ac:spMkLst>
        </pc:spChg>
        <pc:spChg chg="mod">
          <ac:chgData name="Stephen Gibbons" userId="8dc11794-a8ed-4f7c-8128-a48b124e2777" providerId="ADAL" clId="{43BBE4CB-99CF-47BC-9D24-90C72205A37B}" dt="2019-07-24T20:16:17.357" v="108" actId="403"/>
          <ac:spMkLst>
            <pc:docMk/>
            <pc:sldMk cId="2214856969" sldId="740"/>
            <ac:spMk id="3107" creationId="{4788FBC4-BA68-4A1B-9318-F8F7C62FD0E6}"/>
          </ac:spMkLst>
        </pc:spChg>
        <pc:spChg chg="mod">
          <ac:chgData name="Stephen Gibbons" userId="8dc11794-a8ed-4f7c-8128-a48b124e2777" providerId="ADAL" clId="{43BBE4CB-99CF-47BC-9D24-90C72205A37B}" dt="2019-07-24T20:16:17.357" v="108" actId="403"/>
          <ac:spMkLst>
            <pc:docMk/>
            <pc:sldMk cId="2214856969" sldId="740"/>
            <ac:spMk id="3108" creationId="{1719D33F-D68E-401F-A04E-49FE011A37F2}"/>
          </ac:spMkLst>
        </pc:spChg>
        <pc:spChg chg="mod">
          <ac:chgData name="Stephen Gibbons" userId="8dc11794-a8ed-4f7c-8128-a48b124e2777" providerId="ADAL" clId="{43BBE4CB-99CF-47BC-9D24-90C72205A37B}" dt="2019-07-24T20:16:17.357" v="108" actId="403"/>
          <ac:spMkLst>
            <pc:docMk/>
            <pc:sldMk cId="2214856969" sldId="740"/>
            <ac:spMk id="3109" creationId="{3E0F9199-3BDD-4D68-B3B6-F0CCD7AC0A72}"/>
          </ac:spMkLst>
        </pc:spChg>
        <pc:spChg chg="mod">
          <ac:chgData name="Stephen Gibbons" userId="8dc11794-a8ed-4f7c-8128-a48b124e2777" providerId="ADAL" clId="{43BBE4CB-99CF-47BC-9D24-90C72205A37B}" dt="2019-07-24T20:16:17.357" v="108" actId="403"/>
          <ac:spMkLst>
            <pc:docMk/>
            <pc:sldMk cId="2214856969" sldId="740"/>
            <ac:spMk id="3112" creationId="{74C44ED1-6E38-4127-B20F-440810B8521C}"/>
          </ac:spMkLst>
        </pc:spChg>
        <pc:spChg chg="mod">
          <ac:chgData name="Stephen Gibbons" userId="8dc11794-a8ed-4f7c-8128-a48b124e2777" providerId="ADAL" clId="{43BBE4CB-99CF-47BC-9D24-90C72205A37B}" dt="2019-07-24T20:16:17.357" v="108" actId="403"/>
          <ac:spMkLst>
            <pc:docMk/>
            <pc:sldMk cId="2214856969" sldId="740"/>
            <ac:spMk id="3115" creationId="{7061D7A9-B725-4CF1-9C26-66D0F4C6FEF8}"/>
          </ac:spMkLst>
        </pc:spChg>
        <pc:spChg chg="mod">
          <ac:chgData name="Stephen Gibbons" userId="8dc11794-a8ed-4f7c-8128-a48b124e2777" providerId="ADAL" clId="{43BBE4CB-99CF-47BC-9D24-90C72205A37B}" dt="2019-07-24T20:16:17.357" v="108" actId="403"/>
          <ac:spMkLst>
            <pc:docMk/>
            <pc:sldMk cId="2214856969" sldId="740"/>
            <ac:spMk id="3116" creationId="{BB001114-42C5-449E-AEF7-28BE92A6B338}"/>
          </ac:spMkLst>
        </pc:spChg>
        <pc:spChg chg="mod">
          <ac:chgData name="Stephen Gibbons" userId="8dc11794-a8ed-4f7c-8128-a48b124e2777" providerId="ADAL" clId="{43BBE4CB-99CF-47BC-9D24-90C72205A37B}" dt="2019-07-24T20:16:17.357" v="108" actId="403"/>
          <ac:spMkLst>
            <pc:docMk/>
            <pc:sldMk cId="2214856969" sldId="740"/>
            <ac:spMk id="3119" creationId="{DEFE8580-0BED-480C-A731-B4C5E79E14D6}"/>
          </ac:spMkLst>
        </pc:spChg>
        <pc:spChg chg="mod">
          <ac:chgData name="Stephen Gibbons" userId="8dc11794-a8ed-4f7c-8128-a48b124e2777" providerId="ADAL" clId="{43BBE4CB-99CF-47BC-9D24-90C72205A37B}" dt="2019-07-24T20:16:17.357" v="108" actId="403"/>
          <ac:spMkLst>
            <pc:docMk/>
            <pc:sldMk cId="2214856969" sldId="740"/>
            <ac:spMk id="3120" creationId="{76CEAF92-4306-466B-BB1F-DB2A03311D27}"/>
          </ac:spMkLst>
        </pc:spChg>
        <pc:spChg chg="mod">
          <ac:chgData name="Stephen Gibbons" userId="8dc11794-a8ed-4f7c-8128-a48b124e2777" providerId="ADAL" clId="{43BBE4CB-99CF-47BC-9D24-90C72205A37B}" dt="2019-07-24T20:16:17.357" v="108" actId="403"/>
          <ac:spMkLst>
            <pc:docMk/>
            <pc:sldMk cId="2214856969" sldId="740"/>
            <ac:spMk id="3121" creationId="{B07F91A5-248B-4935-8AFC-FD154AE22339}"/>
          </ac:spMkLst>
        </pc:spChg>
        <pc:spChg chg="mod">
          <ac:chgData name="Stephen Gibbons" userId="8dc11794-a8ed-4f7c-8128-a48b124e2777" providerId="ADAL" clId="{43BBE4CB-99CF-47BC-9D24-90C72205A37B}" dt="2019-07-24T20:16:17.357" v="108" actId="403"/>
          <ac:spMkLst>
            <pc:docMk/>
            <pc:sldMk cId="2214856969" sldId="740"/>
            <ac:spMk id="3122" creationId="{869F7CC1-4BE5-4F16-A400-EB8527AF20CE}"/>
          </ac:spMkLst>
        </pc:spChg>
        <pc:spChg chg="mod">
          <ac:chgData name="Stephen Gibbons" userId="8dc11794-a8ed-4f7c-8128-a48b124e2777" providerId="ADAL" clId="{43BBE4CB-99CF-47BC-9D24-90C72205A37B}" dt="2019-07-24T20:16:17.357" v="108" actId="403"/>
          <ac:spMkLst>
            <pc:docMk/>
            <pc:sldMk cId="2214856969" sldId="740"/>
            <ac:spMk id="3123" creationId="{FC26BE77-E634-4210-B8D7-F68D26F593B7}"/>
          </ac:spMkLst>
        </pc:spChg>
        <pc:spChg chg="mod">
          <ac:chgData name="Stephen Gibbons" userId="8dc11794-a8ed-4f7c-8128-a48b124e2777" providerId="ADAL" clId="{43BBE4CB-99CF-47BC-9D24-90C72205A37B}" dt="2019-07-24T20:16:17.357" v="108" actId="403"/>
          <ac:spMkLst>
            <pc:docMk/>
            <pc:sldMk cId="2214856969" sldId="740"/>
            <ac:spMk id="3124" creationId="{B08AB62D-7921-4FDA-AA4F-7EE9A9F4D8DA}"/>
          </ac:spMkLst>
        </pc:spChg>
        <pc:spChg chg="mod">
          <ac:chgData name="Stephen Gibbons" userId="8dc11794-a8ed-4f7c-8128-a48b124e2777" providerId="ADAL" clId="{43BBE4CB-99CF-47BC-9D24-90C72205A37B}" dt="2019-07-24T20:16:17.357" v="108" actId="403"/>
          <ac:spMkLst>
            <pc:docMk/>
            <pc:sldMk cId="2214856969" sldId="740"/>
            <ac:spMk id="3126" creationId="{C325389D-7237-4EF1-B09A-B6BD2AAA2B81}"/>
          </ac:spMkLst>
        </pc:spChg>
        <pc:spChg chg="mod">
          <ac:chgData name="Stephen Gibbons" userId="8dc11794-a8ed-4f7c-8128-a48b124e2777" providerId="ADAL" clId="{43BBE4CB-99CF-47BC-9D24-90C72205A37B}" dt="2019-07-24T20:16:17.357" v="108" actId="403"/>
          <ac:spMkLst>
            <pc:docMk/>
            <pc:sldMk cId="2214856969" sldId="740"/>
            <ac:spMk id="3154" creationId="{E2558639-57C6-4092-B5D2-CDD3EE90CD06}"/>
          </ac:spMkLst>
        </pc:spChg>
        <pc:spChg chg="mod">
          <ac:chgData name="Stephen Gibbons" userId="8dc11794-a8ed-4f7c-8128-a48b124e2777" providerId="ADAL" clId="{43BBE4CB-99CF-47BC-9D24-90C72205A37B}" dt="2019-07-24T20:16:17.357" v="108" actId="403"/>
          <ac:spMkLst>
            <pc:docMk/>
            <pc:sldMk cId="2214856969" sldId="740"/>
            <ac:spMk id="3159" creationId="{F790CE13-7719-42B6-95DC-129DB28046CF}"/>
          </ac:spMkLst>
        </pc:spChg>
        <pc:spChg chg="mod">
          <ac:chgData name="Stephen Gibbons" userId="8dc11794-a8ed-4f7c-8128-a48b124e2777" providerId="ADAL" clId="{43BBE4CB-99CF-47BC-9D24-90C72205A37B}" dt="2019-07-24T20:16:17.357" v="108" actId="403"/>
          <ac:spMkLst>
            <pc:docMk/>
            <pc:sldMk cId="2214856969" sldId="740"/>
            <ac:spMk id="3165" creationId="{7F59A748-3D0F-4AEB-A9DB-60D762A5535F}"/>
          </ac:spMkLst>
        </pc:spChg>
        <pc:spChg chg="mod">
          <ac:chgData name="Stephen Gibbons" userId="8dc11794-a8ed-4f7c-8128-a48b124e2777" providerId="ADAL" clId="{43BBE4CB-99CF-47BC-9D24-90C72205A37B}" dt="2019-07-24T20:16:17.357" v="108" actId="403"/>
          <ac:spMkLst>
            <pc:docMk/>
            <pc:sldMk cId="2214856969" sldId="740"/>
            <ac:spMk id="3174" creationId="{9CACD357-BAC5-49B6-85E9-DEEA09EBA049}"/>
          </ac:spMkLst>
        </pc:spChg>
        <pc:spChg chg="mod">
          <ac:chgData name="Stephen Gibbons" userId="8dc11794-a8ed-4f7c-8128-a48b124e2777" providerId="ADAL" clId="{43BBE4CB-99CF-47BC-9D24-90C72205A37B}" dt="2019-07-24T20:16:17.357" v="108" actId="403"/>
          <ac:spMkLst>
            <pc:docMk/>
            <pc:sldMk cId="2214856969" sldId="740"/>
            <ac:spMk id="3184" creationId="{C1158F0E-2F0C-4A25-8C26-62BCF2281E3C}"/>
          </ac:spMkLst>
        </pc:spChg>
        <pc:spChg chg="mod">
          <ac:chgData name="Stephen Gibbons" userId="8dc11794-a8ed-4f7c-8128-a48b124e2777" providerId="ADAL" clId="{43BBE4CB-99CF-47BC-9D24-90C72205A37B}" dt="2019-07-24T20:16:17.357" v="108" actId="403"/>
          <ac:spMkLst>
            <pc:docMk/>
            <pc:sldMk cId="2214856969" sldId="740"/>
            <ac:spMk id="3189" creationId="{62C9FEFE-61EF-4976-BF39-6978BE455F83}"/>
          </ac:spMkLst>
        </pc:spChg>
        <pc:spChg chg="mod">
          <ac:chgData name="Stephen Gibbons" userId="8dc11794-a8ed-4f7c-8128-a48b124e2777" providerId="ADAL" clId="{43BBE4CB-99CF-47BC-9D24-90C72205A37B}" dt="2019-07-24T20:16:17.357" v="108" actId="403"/>
          <ac:spMkLst>
            <pc:docMk/>
            <pc:sldMk cId="2214856969" sldId="740"/>
            <ac:spMk id="3202" creationId="{06720640-54DD-41C2-AA42-6729A447497D}"/>
          </ac:spMkLst>
        </pc:spChg>
        <pc:spChg chg="mod">
          <ac:chgData name="Stephen Gibbons" userId="8dc11794-a8ed-4f7c-8128-a48b124e2777" providerId="ADAL" clId="{43BBE4CB-99CF-47BC-9D24-90C72205A37B}" dt="2019-07-24T20:16:17.357" v="108" actId="403"/>
          <ac:spMkLst>
            <pc:docMk/>
            <pc:sldMk cId="2214856969" sldId="740"/>
            <ac:spMk id="3204" creationId="{C6E7E2B9-B463-4323-9081-2DDDD6193632}"/>
          </ac:spMkLst>
        </pc:spChg>
        <pc:spChg chg="mod">
          <ac:chgData name="Stephen Gibbons" userId="8dc11794-a8ed-4f7c-8128-a48b124e2777" providerId="ADAL" clId="{43BBE4CB-99CF-47BC-9D24-90C72205A37B}" dt="2019-07-24T20:16:17.357" v="108" actId="403"/>
          <ac:spMkLst>
            <pc:docMk/>
            <pc:sldMk cId="2214856969" sldId="740"/>
            <ac:spMk id="3215" creationId="{26C19B26-B832-4B40-B252-E79B456290D7}"/>
          </ac:spMkLst>
        </pc:spChg>
        <pc:spChg chg="mod">
          <ac:chgData name="Stephen Gibbons" userId="8dc11794-a8ed-4f7c-8128-a48b124e2777" providerId="ADAL" clId="{43BBE4CB-99CF-47BC-9D24-90C72205A37B}" dt="2019-07-24T20:16:17.357" v="108" actId="403"/>
          <ac:spMkLst>
            <pc:docMk/>
            <pc:sldMk cId="2214856969" sldId="740"/>
            <ac:spMk id="3232" creationId="{50E87BB2-AAC8-4CB3-B49D-89480407F07D}"/>
          </ac:spMkLst>
        </pc:spChg>
        <pc:spChg chg="del">
          <ac:chgData name="Stephen Gibbons" userId="8dc11794-a8ed-4f7c-8128-a48b124e2777" providerId="ADAL" clId="{43BBE4CB-99CF-47BC-9D24-90C72205A37B}" dt="2019-07-24T20:14:28.132" v="93" actId="478"/>
          <ac:spMkLst>
            <pc:docMk/>
            <pc:sldMk cId="2214856969" sldId="740"/>
            <ac:spMk id="3235" creationId="{5A7B815D-9C38-4762-860E-B51C21C00F3F}"/>
          </ac:spMkLst>
        </pc:spChg>
        <pc:grpChg chg="add mod">
          <ac:chgData name="Stephen Gibbons" userId="8dc11794-a8ed-4f7c-8128-a48b124e2777" providerId="ADAL" clId="{43BBE4CB-99CF-47BC-9D24-90C72205A37B}" dt="2019-07-24T20:15:49.674" v="104" actId="14100"/>
          <ac:grpSpMkLst>
            <pc:docMk/>
            <pc:sldMk cId="2214856969" sldId="740"/>
            <ac:grpSpMk id="2" creationId="{2F781BAD-E912-4D54-BECD-56165F5CFDA4}"/>
          </ac:grpSpMkLst>
        </pc:grpChg>
        <pc:grpChg chg="mod">
          <ac:chgData name="Stephen Gibbons" userId="8dc11794-a8ed-4f7c-8128-a48b124e2777" providerId="ADAL" clId="{43BBE4CB-99CF-47BC-9D24-90C72205A37B}" dt="2019-07-24T20:14:58.857" v="97" actId="14100"/>
          <ac:grpSpMkLst>
            <pc:docMk/>
            <pc:sldMk cId="2214856969" sldId="740"/>
            <ac:grpSpMk id="27" creationId="{9CF22EC8-B2D1-4B14-80C8-BFBE41BC26C0}"/>
          </ac:grpSpMkLst>
        </pc:grpChg>
        <pc:grpChg chg="mod">
          <ac:chgData name="Stephen Gibbons" userId="8dc11794-a8ed-4f7c-8128-a48b124e2777" providerId="ADAL" clId="{43BBE4CB-99CF-47BC-9D24-90C72205A37B}" dt="2019-07-24T20:15:26.377" v="101" actId="164"/>
          <ac:grpSpMkLst>
            <pc:docMk/>
            <pc:sldMk cId="2214856969" sldId="740"/>
            <ac:grpSpMk id="2148" creationId="{AD545644-C48B-4AD3-856F-81E7BB680050}"/>
          </ac:grpSpMkLst>
        </pc:grpChg>
        <pc:grpChg chg="mod">
          <ac:chgData name="Stephen Gibbons" userId="8dc11794-a8ed-4f7c-8128-a48b124e2777" providerId="ADAL" clId="{43BBE4CB-99CF-47BC-9D24-90C72205A37B}" dt="2019-07-24T20:15:26.377" v="101" actId="164"/>
          <ac:grpSpMkLst>
            <pc:docMk/>
            <pc:sldMk cId="2214856969" sldId="740"/>
            <ac:grpSpMk id="2848" creationId="{46B6EFF6-537C-4C90-92DC-7596FE0C3A8E}"/>
          </ac:grpSpMkLst>
        </pc:grpChg>
        <pc:grpChg chg="mod">
          <ac:chgData name="Stephen Gibbons" userId="8dc11794-a8ed-4f7c-8128-a48b124e2777" providerId="ADAL" clId="{43BBE4CB-99CF-47BC-9D24-90C72205A37B}" dt="2019-07-24T20:15:26.377" v="101" actId="164"/>
          <ac:grpSpMkLst>
            <pc:docMk/>
            <pc:sldMk cId="2214856969" sldId="740"/>
            <ac:grpSpMk id="2852" creationId="{F4874E33-7FFF-4476-A5E7-5D27A4A86BD4}"/>
          </ac:grpSpMkLst>
        </pc:grpChg>
        <pc:grpChg chg="mod">
          <ac:chgData name="Stephen Gibbons" userId="8dc11794-a8ed-4f7c-8128-a48b124e2777" providerId="ADAL" clId="{43BBE4CB-99CF-47BC-9D24-90C72205A37B}" dt="2019-07-24T20:15:26.377" v="101" actId="164"/>
          <ac:grpSpMkLst>
            <pc:docMk/>
            <pc:sldMk cId="2214856969" sldId="740"/>
            <ac:grpSpMk id="2868" creationId="{8A85BCF1-027E-45C4-BB92-A3846EEE638E}"/>
          </ac:grpSpMkLst>
        </pc:grpChg>
        <pc:grpChg chg="mod">
          <ac:chgData name="Stephen Gibbons" userId="8dc11794-a8ed-4f7c-8128-a48b124e2777" providerId="ADAL" clId="{43BBE4CB-99CF-47BC-9D24-90C72205A37B}" dt="2019-07-24T20:15:26.377" v="101" actId="164"/>
          <ac:grpSpMkLst>
            <pc:docMk/>
            <pc:sldMk cId="2214856969" sldId="740"/>
            <ac:grpSpMk id="2869" creationId="{60DFE355-02F7-4F28-80A4-5DE3F3552CB4}"/>
          </ac:grpSpMkLst>
        </pc:grpChg>
        <pc:cxnChg chg="mod">
          <ac:chgData name="Stephen Gibbons" userId="8dc11794-a8ed-4f7c-8128-a48b124e2777" providerId="ADAL" clId="{43BBE4CB-99CF-47BC-9D24-90C72205A37B}" dt="2019-07-24T20:16:57.718" v="109" actId="14100"/>
          <ac:cxnSpMkLst>
            <pc:docMk/>
            <pc:sldMk cId="2214856969" sldId="740"/>
            <ac:cxnSpMk id="23" creationId="{A3441362-BEFE-45EE-9E6E-C0574FF2FC44}"/>
          </ac:cxnSpMkLst>
        </pc:cxnChg>
        <pc:cxnChg chg="mod">
          <ac:chgData name="Stephen Gibbons" userId="8dc11794-a8ed-4f7c-8128-a48b124e2777" providerId="ADAL" clId="{43BBE4CB-99CF-47BC-9D24-90C72205A37B}" dt="2019-07-24T20:15:26.377" v="101" actId="164"/>
          <ac:cxnSpMkLst>
            <pc:docMk/>
            <pc:sldMk cId="2214856969" sldId="740"/>
            <ac:cxnSpMk id="2875" creationId="{E0C03776-0F20-40D2-AC6A-7B8A5BE6A436}"/>
          </ac:cxnSpMkLst>
        </pc:cxnChg>
        <pc:cxnChg chg="mod">
          <ac:chgData name="Stephen Gibbons" userId="8dc11794-a8ed-4f7c-8128-a48b124e2777" providerId="ADAL" clId="{43BBE4CB-99CF-47BC-9D24-90C72205A37B}" dt="2019-07-24T20:15:26.377" v="101" actId="164"/>
          <ac:cxnSpMkLst>
            <pc:docMk/>
            <pc:sldMk cId="2214856969" sldId="740"/>
            <ac:cxnSpMk id="2877" creationId="{FC98C80D-3DD4-4836-9D71-BA3BB4240B5D}"/>
          </ac:cxnSpMkLst>
        </pc:cxnChg>
        <pc:cxnChg chg="mod">
          <ac:chgData name="Stephen Gibbons" userId="8dc11794-a8ed-4f7c-8128-a48b124e2777" providerId="ADAL" clId="{43BBE4CB-99CF-47BC-9D24-90C72205A37B}" dt="2019-07-24T20:15:26.377" v="101" actId="164"/>
          <ac:cxnSpMkLst>
            <pc:docMk/>
            <pc:sldMk cId="2214856969" sldId="740"/>
            <ac:cxnSpMk id="2881" creationId="{3D67E463-9A35-495F-A8E2-C5E5BD017952}"/>
          </ac:cxnSpMkLst>
        </pc:cxnChg>
        <pc:cxnChg chg="mod">
          <ac:chgData name="Stephen Gibbons" userId="8dc11794-a8ed-4f7c-8128-a48b124e2777" providerId="ADAL" clId="{43BBE4CB-99CF-47BC-9D24-90C72205A37B}" dt="2019-07-24T20:15:26.377" v="101" actId="164"/>
          <ac:cxnSpMkLst>
            <pc:docMk/>
            <pc:sldMk cId="2214856969" sldId="740"/>
            <ac:cxnSpMk id="2882" creationId="{04D43B6A-9F3D-4607-AE35-4A1F9C9F0A62}"/>
          </ac:cxnSpMkLst>
        </pc:cxnChg>
        <pc:cxnChg chg="mod">
          <ac:chgData name="Stephen Gibbons" userId="8dc11794-a8ed-4f7c-8128-a48b124e2777" providerId="ADAL" clId="{43BBE4CB-99CF-47BC-9D24-90C72205A37B}" dt="2019-07-24T20:15:26.377" v="101" actId="164"/>
          <ac:cxnSpMkLst>
            <pc:docMk/>
            <pc:sldMk cId="2214856969" sldId="740"/>
            <ac:cxnSpMk id="2899" creationId="{0CF9D52C-F5ED-4868-8094-24F5825BEA76}"/>
          </ac:cxnSpMkLst>
        </pc:cxnChg>
        <pc:cxnChg chg="mod">
          <ac:chgData name="Stephen Gibbons" userId="8dc11794-a8ed-4f7c-8128-a48b124e2777" providerId="ADAL" clId="{43BBE4CB-99CF-47BC-9D24-90C72205A37B}" dt="2019-07-24T20:15:26.377" v="101" actId="164"/>
          <ac:cxnSpMkLst>
            <pc:docMk/>
            <pc:sldMk cId="2214856969" sldId="740"/>
            <ac:cxnSpMk id="2903" creationId="{18503E63-C415-4461-A151-D6603B1F9354}"/>
          </ac:cxnSpMkLst>
        </pc:cxnChg>
        <pc:cxnChg chg="mod">
          <ac:chgData name="Stephen Gibbons" userId="8dc11794-a8ed-4f7c-8128-a48b124e2777" providerId="ADAL" clId="{43BBE4CB-99CF-47BC-9D24-90C72205A37B}" dt="2019-07-24T20:15:26.377" v="101" actId="164"/>
          <ac:cxnSpMkLst>
            <pc:docMk/>
            <pc:sldMk cId="2214856969" sldId="740"/>
            <ac:cxnSpMk id="2911" creationId="{A1248DB2-8C99-47CE-9AFC-C07509E2D63A}"/>
          </ac:cxnSpMkLst>
        </pc:cxnChg>
        <pc:cxnChg chg="mod">
          <ac:chgData name="Stephen Gibbons" userId="8dc11794-a8ed-4f7c-8128-a48b124e2777" providerId="ADAL" clId="{43BBE4CB-99CF-47BC-9D24-90C72205A37B}" dt="2019-07-24T20:15:26.377" v="101" actId="164"/>
          <ac:cxnSpMkLst>
            <pc:docMk/>
            <pc:sldMk cId="2214856969" sldId="740"/>
            <ac:cxnSpMk id="2915" creationId="{D72CC06F-DE55-4AA4-9EB9-C24E978E3797}"/>
          </ac:cxnSpMkLst>
        </pc:cxnChg>
        <pc:cxnChg chg="mod">
          <ac:chgData name="Stephen Gibbons" userId="8dc11794-a8ed-4f7c-8128-a48b124e2777" providerId="ADAL" clId="{43BBE4CB-99CF-47BC-9D24-90C72205A37B}" dt="2019-07-24T20:15:26.377" v="101" actId="164"/>
          <ac:cxnSpMkLst>
            <pc:docMk/>
            <pc:sldMk cId="2214856969" sldId="740"/>
            <ac:cxnSpMk id="2920" creationId="{7E744DD3-38A0-4989-808B-3905869D8D30}"/>
          </ac:cxnSpMkLst>
        </pc:cxnChg>
        <pc:cxnChg chg="mod">
          <ac:chgData name="Stephen Gibbons" userId="8dc11794-a8ed-4f7c-8128-a48b124e2777" providerId="ADAL" clId="{43BBE4CB-99CF-47BC-9D24-90C72205A37B}" dt="2019-07-24T20:15:26.377" v="101" actId="164"/>
          <ac:cxnSpMkLst>
            <pc:docMk/>
            <pc:sldMk cId="2214856969" sldId="740"/>
            <ac:cxnSpMk id="2923" creationId="{EE626294-CE2F-4B28-A6E2-A8F36B47D7A1}"/>
          </ac:cxnSpMkLst>
        </pc:cxnChg>
        <pc:cxnChg chg="mod">
          <ac:chgData name="Stephen Gibbons" userId="8dc11794-a8ed-4f7c-8128-a48b124e2777" providerId="ADAL" clId="{43BBE4CB-99CF-47BC-9D24-90C72205A37B}" dt="2019-07-24T20:15:26.377" v="101" actId="164"/>
          <ac:cxnSpMkLst>
            <pc:docMk/>
            <pc:sldMk cId="2214856969" sldId="740"/>
            <ac:cxnSpMk id="2934" creationId="{E12E76D4-D38A-4C9C-AB02-5E27E2D98E59}"/>
          </ac:cxnSpMkLst>
        </pc:cxnChg>
        <pc:cxnChg chg="mod">
          <ac:chgData name="Stephen Gibbons" userId="8dc11794-a8ed-4f7c-8128-a48b124e2777" providerId="ADAL" clId="{43BBE4CB-99CF-47BC-9D24-90C72205A37B}" dt="2019-07-24T20:15:26.377" v="101" actId="164"/>
          <ac:cxnSpMkLst>
            <pc:docMk/>
            <pc:sldMk cId="2214856969" sldId="740"/>
            <ac:cxnSpMk id="2937" creationId="{80730DA6-1355-4BDA-A624-250F262BBAFE}"/>
          </ac:cxnSpMkLst>
        </pc:cxnChg>
        <pc:cxnChg chg="mod">
          <ac:chgData name="Stephen Gibbons" userId="8dc11794-a8ed-4f7c-8128-a48b124e2777" providerId="ADAL" clId="{43BBE4CB-99CF-47BC-9D24-90C72205A37B}" dt="2019-07-24T20:15:26.377" v="101" actId="164"/>
          <ac:cxnSpMkLst>
            <pc:docMk/>
            <pc:sldMk cId="2214856969" sldId="740"/>
            <ac:cxnSpMk id="2939" creationId="{0BF9F44E-FB63-46D0-BF06-82A622A900CE}"/>
          </ac:cxnSpMkLst>
        </pc:cxnChg>
        <pc:cxnChg chg="mod">
          <ac:chgData name="Stephen Gibbons" userId="8dc11794-a8ed-4f7c-8128-a48b124e2777" providerId="ADAL" clId="{43BBE4CB-99CF-47BC-9D24-90C72205A37B}" dt="2019-07-24T20:15:26.377" v="101" actId="164"/>
          <ac:cxnSpMkLst>
            <pc:docMk/>
            <pc:sldMk cId="2214856969" sldId="740"/>
            <ac:cxnSpMk id="2943" creationId="{B550F8C9-FBC7-4276-8711-DB15E1A5F01C}"/>
          </ac:cxnSpMkLst>
        </pc:cxnChg>
        <pc:cxnChg chg="mod">
          <ac:chgData name="Stephen Gibbons" userId="8dc11794-a8ed-4f7c-8128-a48b124e2777" providerId="ADAL" clId="{43BBE4CB-99CF-47BC-9D24-90C72205A37B}" dt="2019-07-24T20:15:26.377" v="101" actId="164"/>
          <ac:cxnSpMkLst>
            <pc:docMk/>
            <pc:sldMk cId="2214856969" sldId="740"/>
            <ac:cxnSpMk id="2951" creationId="{8B44F436-B326-437A-8315-63B4724C9AF2}"/>
          </ac:cxnSpMkLst>
        </pc:cxnChg>
        <pc:cxnChg chg="mod">
          <ac:chgData name="Stephen Gibbons" userId="8dc11794-a8ed-4f7c-8128-a48b124e2777" providerId="ADAL" clId="{43BBE4CB-99CF-47BC-9D24-90C72205A37B}" dt="2019-07-24T20:15:26.377" v="101" actId="164"/>
          <ac:cxnSpMkLst>
            <pc:docMk/>
            <pc:sldMk cId="2214856969" sldId="740"/>
            <ac:cxnSpMk id="2954" creationId="{20DB5826-DE5E-4097-9F93-50CDCC60653C}"/>
          </ac:cxnSpMkLst>
        </pc:cxnChg>
        <pc:cxnChg chg="mod">
          <ac:chgData name="Stephen Gibbons" userId="8dc11794-a8ed-4f7c-8128-a48b124e2777" providerId="ADAL" clId="{43BBE4CB-99CF-47BC-9D24-90C72205A37B}" dt="2019-07-24T20:15:26.377" v="101" actId="164"/>
          <ac:cxnSpMkLst>
            <pc:docMk/>
            <pc:sldMk cId="2214856969" sldId="740"/>
            <ac:cxnSpMk id="2967" creationId="{93111E63-46F2-496F-99B0-1A0EE46E6B41}"/>
          </ac:cxnSpMkLst>
        </pc:cxnChg>
      </pc:sldChg>
      <pc:sldChg chg="delSp modSp">
        <pc:chgData name="Stephen Gibbons" userId="8dc11794-a8ed-4f7c-8128-a48b124e2777" providerId="ADAL" clId="{43BBE4CB-99CF-47BC-9D24-90C72205A37B}" dt="2019-07-24T20:28:18.493" v="278" actId="20577"/>
        <pc:sldMkLst>
          <pc:docMk/>
          <pc:sldMk cId="934340306" sldId="746"/>
        </pc:sldMkLst>
        <pc:spChg chg="mod">
          <ac:chgData name="Stephen Gibbons" userId="8dc11794-a8ed-4f7c-8128-a48b124e2777" providerId="ADAL" clId="{43BBE4CB-99CF-47BC-9D24-90C72205A37B}" dt="2019-07-24T20:28:18.493" v="278" actId="20577"/>
          <ac:spMkLst>
            <pc:docMk/>
            <pc:sldMk cId="934340306" sldId="746"/>
            <ac:spMk id="15" creationId="{675FBAA8-5AA1-4B1F-8C77-C0B6B01EFBB0}"/>
          </ac:spMkLst>
        </pc:spChg>
        <pc:spChg chg="del">
          <ac:chgData name="Stephen Gibbons" userId="8dc11794-a8ed-4f7c-8128-a48b124e2777" providerId="ADAL" clId="{43BBE4CB-99CF-47BC-9D24-90C72205A37B}" dt="2019-07-24T20:27:45.913" v="240" actId="478"/>
          <ac:spMkLst>
            <pc:docMk/>
            <pc:sldMk cId="934340306" sldId="746"/>
            <ac:spMk id="22" creationId="{EEB39451-AB2A-4E87-B77B-36EBA0D905FC}"/>
          </ac:spMkLst>
        </pc:spChg>
        <pc:spChg chg="del">
          <ac:chgData name="Stephen Gibbons" userId="8dc11794-a8ed-4f7c-8128-a48b124e2777" providerId="ADAL" clId="{43BBE4CB-99CF-47BC-9D24-90C72205A37B}" dt="2019-07-24T20:27:10.566" v="219" actId="478"/>
          <ac:spMkLst>
            <pc:docMk/>
            <pc:sldMk cId="934340306" sldId="746"/>
            <ac:spMk id="1027" creationId="{7FBE6460-BD82-4513-805F-065E17D9E91C}"/>
          </ac:spMkLst>
        </pc:spChg>
        <pc:grpChg chg="mod">
          <ac:chgData name="Stephen Gibbons" userId="8dc11794-a8ed-4f7c-8128-a48b124e2777" providerId="ADAL" clId="{43BBE4CB-99CF-47BC-9D24-90C72205A37B}" dt="2019-07-24T20:27:28.905" v="239" actId="1035"/>
          <ac:grpSpMkLst>
            <pc:docMk/>
            <pc:sldMk cId="934340306" sldId="746"/>
            <ac:grpSpMk id="2" creationId="{86DE2DCE-4A54-411C-80F8-AEC3AD866238}"/>
          </ac:grpSpMkLst>
        </pc:grpChg>
        <pc:cxnChg chg="del mod">
          <ac:chgData name="Stephen Gibbons" userId="8dc11794-a8ed-4f7c-8128-a48b124e2777" providerId="ADAL" clId="{43BBE4CB-99CF-47BC-9D24-90C72205A37B}" dt="2019-07-24T20:27:13.846" v="220" actId="478"/>
          <ac:cxnSpMkLst>
            <pc:docMk/>
            <pc:sldMk cId="934340306" sldId="746"/>
            <ac:cxnSpMk id="1029" creationId="{F48A641A-6B6A-40F3-B53E-F55AA4558CAD}"/>
          </ac:cxnSpMkLst>
        </pc:cxnChg>
        <pc:cxnChg chg="del mod">
          <ac:chgData name="Stephen Gibbons" userId="8dc11794-a8ed-4f7c-8128-a48b124e2777" providerId="ADAL" clId="{43BBE4CB-99CF-47BC-9D24-90C72205A37B}" dt="2019-07-24T20:27:03.625" v="218" actId="478"/>
          <ac:cxnSpMkLst>
            <pc:docMk/>
            <pc:sldMk cId="934340306" sldId="746"/>
            <ac:cxnSpMk id="1030" creationId="{8E1C1E02-F178-480F-9832-FEEB41DC88EB}"/>
          </ac:cxnSpMkLst>
        </pc:cxnChg>
      </pc:sldChg>
      <pc:sldChg chg="modSp">
        <pc:chgData name="Stephen Gibbons" userId="8dc11794-a8ed-4f7c-8128-a48b124e2777" providerId="ADAL" clId="{43BBE4CB-99CF-47BC-9D24-90C72205A37B}" dt="2019-07-24T20:40:33.460" v="379" actId="20577"/>
        <pc:sldMkLst>
          <pc:docMk/>
          <pc:sldMk cId="3382779714" sldId="747"/>
        </pc:sldMkLst>
        <pc:spChg chg="mod">
          <ac:chgData name="Stephen Gibbons" userId="8dc11794-a8ed-4f7c-8128-a48b124e2777" providerId="ADAL" clId="{43BBE4CB-99CF-47BC-9D24-90C72205A37B}" dt="2019-07-24T20:40:33.460" v="379" actId="20577"/>
          <ac:spMkLst>
            <pc:docMk/>
            <pc:sldMk cId="3382779714" sldId="747"/>
            <ac:spMk id="3" creationId="{F41BCF31-5C55-4657-A54F-DC1EA3C30CD6}"/>
          </ac:spMkLst>
        </pc:spChg>
        <pc:spChg chg="mod">
          <ac:chgData name="Stephen Gibbons" userId="8dc11794-a8ed-4f7c-8128-a48b124e2777" providerId="ADAL" clId="{43BBE4CB-99CF-47BC-9D24-90C72205A37B}" dt="2019-07-24T20:28:09.918" v="259" actId="20577"/>
          <ac:spMkLst>
            <pc:docMk/>
            <pc:sldMk cId="3382779714" sldId="747"/>
            <ac:spMk id="18" creationId="{73906099-CF02-4494-8E62-0665EAE3387D}"/>
          </ac:spMkLst>
        </pc:spChg>
      </pc:sldChg>
      <pc:sldChg chg="modSp">
        <pc:chgData name="Stephen Gibbons" userId="8dc11794-a8ed-4f7c-8128-a48b124e2777" providerId="ADAL" clId="{43BBE4CB-99CF-47BC-9D24-90C72205A37B}" dt="2019-07-24T20:42:34.331" v="384" actId="20577"/>
        <pc:sldMkLst>
          <pc:docMk/>
          <pc:sldMk cId="3139924294" sldId="752"/>
        </pc:sldMkLst>
        <pc:spChg chg="mod">
          <ac:chgData name="Stephen Gibbons" userId="8dc11794-a8ed-4f7c-8128-a48b124e2777" providerId="ADAL" clId="{43BBE4CB-99CF-47BC-9D24-90C72205A37B}" dt="2019-07-24T20:42:34.331" v="384" actId="20577"/>
          <ac:spMkLst>
            <pc:docMk/>
            <pc:sldMk cId="3139924294" sldId="752"/>
            <ac:spMk id="1730" creationId="{93E9AAB9-EF06-443C-A469-08AB512DD29B}"/>
          </ac:spMkLst>
        </pc:spChg>
      </pc:sldChg>
      <pc:sldChg chg="delSp add del">
        <pc:chgData name="Stephen Gibbons" userId="8dc11794-a8ed-4f7c-8128-a48b124e2777" providerId="ADAL" clId="{43BBE4CB-99CF-47BC-9D24-90C72205A37B}" dt="2019-07-24T20:34:54.114" v="282" actId="478"/>
        <pc:sldMkLst>
          <pc:docMk/>
          <pc:sldMk cId="229403085" sldId="768"/>
        </pc:sldMkLst>
        <pc:spChg chg="del">
          <ac:chgData name="Stephen Gibbons" userId="8dc11794-a8ed-4f7c-8128-a48b124e2777" providerId="ADAL" clId="{43BBE4CB-99CF-47BC-9D24-90C72205A37B}" dt="2019-07-24T20:34:54.114" v="282" actId="478"/>
          <ac:spMkLst>
            <pc:docMk/>
            <pc:sldMk cId="229403085" sldId="768"/>
            <ac:spMk id="9" creationId="{4D2BD434-44E6-4E61-AA1E-59329F46F768}"/>
          </ac:spMkLst>
        </pc:spChg>
      </pc:sldChg>
      <pc:sldChg chg="delSp modSp">
        <pc:chgData name="Stephen Gibbons" userId="8dc11794-a8ed-4f7c-8128-a48b124e2777" providerId="ADAL" clId="{43BBE4CB-99CF-47BC-9D24-90C72205A37B}" dt="2019-07-24T20:56:58.212" v="936" actId="20577"/>
        <pc:sldMkLst>
          <pc:docMk/>
          <pc:sldMk cId="1676173216" sldId="772"/>
        </pc:sldMkLst>
        <pc:spChg chg="mod">
          <ac:chgData name="Stephen Gibbons" userId="8dc11794-a8ed-4f7c-8128-a48b124e2777" providerId="ADAL" clId="{43BBE4CB-99CF-47BC-9D24-90C72205A37B}" dt="2019-07-24T20:56:08.563" v="877" actId="20577"/>
          <ac:spMkLst>
            <pc:docMk/>
            <pc:sldMk cId="1676173216" sldId="772"/>
            <ac:spMk id="3" creationId="{7B28D607-79B9-48CA-B3D1-2A066A95DB88}"/>
          </ac:spMkLst>
        </pc:spChg>
        <pc:spChg chg="mod">
          <ac:chgData name="Stephen Gibbons" userId="8dc11794-a8ed-4f7c-8128-a48b124e2777" providerId="ADAL" clId="{43BBE4CB-99CF-47BC-9D24-90C72205A37B}" dt="2019-07-24T20:56:58.212" v="936" actId="20577"/>
          <ac:spMkLst>
            <pc:docMk/>
            <pc:sldMk cId="1676173216" sldId="772"/>
            <ac:spMk id="7" creationId="{9F75A4E0-CECB-4DA4-B5BB-A4DD8999B737}"/>
          </ac:spMkLst>
        </pc:spChg>
        <pc:spChg chg="del">
          <ac:chgData name="Stephen Gibbons" userId="8dc11794-a8ed-4f7c-8128-a48b124e2777" providerId="ADAL" clId="{43BBE4CB-99CF-47BC-9D24-90C72205A37B}" dt="2019-07-24T20:19:28.635" v="125" actId="478"/>
          <ac:spMkLst>
            <pc:docMk/>
            <pc:sldMk cId="1676173216" sldId="772"/>
            <ac:spMk id="12" creationId="{5B96A6C1-CD60-4151-8E50-D240271CF342}"/>
          </ac:spMkLst>
        </pc:spChg>
        <pc:spChg chg="mod">
          <ac:chgData name="Stephen Gibbons" userId="8dc11794-a8ed-4f7c-8128-a48b124e2777" providerId="ADAL" clId="{43BBE4CB-99CF-47BC-9D24-90C72205A37B}" dt="2019-07-24T20:19:19.567" v="123" actId="1076"/>
          <ac:spMkLst>
            <pc:docMk/>
            <pc:sldMk cId="1676173216" sldId="772"/>
            <ac:spMk id="2264" creationId="{6E4C40AB-8B45-411E-91CE-630FB7DCEEA6}"/>
          </ac:spMkLst>
        </pc:spChg>
        <pc:grpChg chg="mod">
          <ac:chgData name="Stephen Gibbons" userId="8dc11794-a8ed-4f7c-8128-a48b124e2777" providerId="ADAL" clId="{43BBE4CB-99CF-47BC-9D24-90C72205A37B}" dt="2019-07-24T20:19:19.567" v="123" actId="1076"/>
          <ac:grpSpMkLst>
            <pc:docMk/>
            <pc:sldMk cId="1676173216" sldId="772"/>
            <ac:grpSpMk id="2286" creationId="{A83DD933-5BFC-4E3E-AF71-B200970B8230}"/>
          </ac:grpSpMkLst>
        </pc:grpChg>
        <pc:picChg chg="del">
          <ac:chgData name="Stephen Gibbons" userId="8dc11794-a8ed-4f7c-8128-a48b124e2777" providerId="ADAL" clId="{43BBE4CB-99CF-47BC-9D24-90C72205A37B}" dt="2019-07-24T20:19:00.762" v="122" actId="478"/>
          <ac:picMkLst>
            <pc:docMk/>
            <pc:sldMk cId="1676173216" sldId="772"/>
            <ac:picMk id="8" creationId="{2915F23F-04A5-4908-930E-73E558BF2F4A}"/>
          </ac:picMkLst>
        </pc:picChg>
        <pc:picChg chg="del">
          <ac:chgData name="Stephen Gibbons" userId="8dc11794-a8ed-4f7c-8128-a48b124e2777" providerId="ADAL" clId="{43BBE4CB-99CF-47BC-9D24-90C72205A37B}" dt="2019-07-24T20:19:24.581" v="124" actId="478"/>
          <ac:picMkLst>
            <pc:docMk/>
            <pc:sldMk cId="1676173216" sldId="772"/>
            <ac:picMk id="9" creationId="{E8614726-7D86-4ED7-98D4-5CA0FD5E377A}"/>
          </ac:picMkLst>
        </pc:picChg>
      </pc:sldChg>
      <pc:sldChg chg="modSp">
        <pc:chgData name="Stephen Gibbons" userId="8dc11794-a8ed-4f7c-8128-a48b124e2777" providerId="ADAL" clId="{43BBE4CB-99CF-47BC-9D24-90C72205A37B}" dt="2019-07-24T20:08:47.871" v="58" actId="20577"/>
        <pc:sldMkLst>
          <pc:docMk/>
          <pc:sldMk cId="3566985572" sldId="801"/>
        </pc:sldMkLst>
        <pc:spChg chg="mod">
          <ac:chgData name="Stephen Gibbons" userId="8dc11794-a8ed-4f7c-8128-a48b124e2777" providerId="ADAL" clId="{43BBE4CB-99CF-47BC-9D24-90C72205A37B}" dt="2019-07-24T20:08:47.871" v="58" actId="20577"/>
          <ac:spMkLst>
            <pc:docMk/>
            <pc:sldMk cId="3566985572" sldId="801"/>
            <ac:spMk id="5" creationId="{D2C9F862-0448-44BC-8978-6730992A367B}"/>
          </ac:spMkLst>
        </pc:spChg>
      </pc:sldChg>
      <pc:sldChg chg="modSp add">
        <pc:chgData name="Stephen Gibbons" userId="8dc11794-a8ed-4f7c-8128-a48b124e2777" providerId="ADAL" clId="{43BBE4CB-99CF-47BC-9D24-90C72205A37B}" dt="2019-07-24T20:23:43.219" v="148" actId="20577"/>
        <pc:sldMkLst>
          <pc:docMk/>
          <pc:sldMk cId="43436944" sldId="802"/>
        </pc:sldMkLst>
        <pc:spChg chg="mod">
          <ac:chgData name="Stephen Gibbons" userId="8dc11794-a8ed-4f7c-8128-a48b124e2777" providerId="ADAL" clId="{43BBE4CB-99CF-47BC-9D24-90C72205A37B}" dt="2019-07-24T20:23:43.219" v="148" actId="20577"/>
          <ac:spMkLst>
            <pc:docMk/>
            <pc:sldMk cId="43436944" sldId="802"/>
            <ac:spMk id="2" creationId="{8F50E161-4AA6-4221-A420-87F8E88B44AB}"/>
          </ac:spMkLst>
        </pc:spChg>
      </pc:sldChg>
      <pc:sldChg chg="modSp add">
        <pc:chgData name="Stephen Gibbons" userId="8dc11794-a8ed-4f7c-8128-a48b124e2777" providerId="ADAL" clId="{43BBE4CB-99CF-47BC-9D24-90C72205A37B}" dt="2019-07-24T20:36:36.500" v="378" actId="20577"/>
        <pc:sldMkLst>
          <pc:docMk/>
          <pc:sldMk cId="940994289" sldId="803"/>
        </pc:sldMkLst>
        <pc:spChg chg="mod">
          <ac:chgData name="Stephen Gibbons" userId="8dc11794-a8ed-4f7c-8128-a48b124e2777" providerId="ADAL" clId="{43BBE4CB-99CF-47BC-9D24-90C72205A37B}" dt="2019-07-24T20:36:36.500" v="378" actId="20577"/>
          <ac:spMkLst>
            <pc:docMk/>
            <pc:sldMk cId="940994289" sldId="803"/>
            <ac:spMk id="2" creationId="{1ADABE69-73DE-49F2-9EAC-AABF832ACA65}"/>
          </ac:spMkLst>
        </pc:spChg>
      </pc:sldChg>
      <pc:sldChg chg="addSp delSp modSp add">
        <pc:chgData name="Stephen Gibbons" userId="8dc11794-a8ed-4f7c-8128-a48b124e2777" providerId="ADAL" clId="{43BBE4CB-99CF-47BC-9D24-90C72205A37B}" dt="2019-07-24T21:08:43.874" v="1295"/>
        <pc:sldMkLst>
          <pc:docMk/>
          <pc:sldMk cId="2367696695" sldId="804"/>
        </pc:sldMkLst>
        <pc:spChg chg="mod">
          <ac:chgData name="Stephen Gibbons" userId="8dc11794-a8ed-4f7c-8128-a48b124e2777" providerId="ADAL" clId="{43BBE4CB-99CF-47BC-9D24-90C72205A37B}" dt="2019-07-24T20:43:40.191" v="412" actId="947"/>
          <ac:spMkLst>
            <pc:docMk/>
            <pc:sldMk cId="2367696695" sldId="804"/>
            <ac:spMk id="2" creationId="{4378BDEE-73F6-491C-813E-F6349F685D39}"/>
          </ac:spMkLst>
        </pc:spChg>
        <pc:spChg chg="mod">
          <ac:chgData name="Stephen Gibbons" userId="8dc11794-a8ed-4f7c-8128-a48b124e2777" providerId="ADAL" clId="{43BBE4CB-99CF-47BC-9D24-90C72205A37B}" dt="2019-07-24T21:08:43.874" v="1295"/>
          <ac:spMkLst>
            <pc:docMk/>
            <pc:sldMk cId="2367696695" sldId="804"/>
            <ac:spMk id="6" creationId="{252F64F4-E036-4539-AEC2-C4CF901180D6}"/>
          </ac:spMkLst>
        </pc:spChg>
        <pc:spChg chg="mod">
          <ac:chgData name="Stephen Gibbons" userId="8dc11794-a8ed-4f7c-8128-a48b124e2777" providerId="ADAL" clId="{43BBE4CB-99CF-47BC-9D24-90C72205A37B}" dt="2019-07-24T21:08:25.009" v="1294" actId="20577"/>
          <ac:spMkLst>
            <pc:docMk/>
            <pc:sldMk cId="2367696695" sldId="804"/>
            <ac:spMk id="7" creationId="{56411B2F-B2D2-4A9D-B692-751DE49E10E8}"/>
          </ac:spMkLst>
        </pc:spChg>
        <pc:spChg chg="mod">
          <ac:chgData name="Stephen Gibbons" userId="8dc11794-a8ed-4f7c-8128-a48b124e2777" providerId="ADAL" clId="{43BBE4CB-99CF-47BC-9D24-90C72205A37B}" dt="2019-07-24T20:43:46.089" v="434" actId="20577"/>
          <ac:spMkLst>
            <pc:docMk/>
            <pc:sldMk cId="2367696695" sldId="804"/>
            <ac:spMk id="8" creationId="{5D7AD41D-97E6-414E-9380-DC70146F02B3}"/>
          </ac:spMkLst>
        </pc:spChg>
        <pc:picChg chg="add del mod ord modCrop">
          <ac:chgData name="Stephen Gibbons" userId="8dc11794-a8ed-4f7c-8128-a48b124e2777" providerId="ADAL" clId="{43BBE4CB-99CF-47BC-9D24-90C72205A37B}" dt="2019-07-24T20:55:13.130" v="876" actId="478"/>
          <ac:picMkLst>
            <pc:docMk/>
            <pc:sldMk cId="2367696695" sldId="804"/>
            <ac:picMk id="9" creationId="{FFBC9A16-DB32-4614-893B-F24FD0B4F74F}"/>
          </ac:picMkLst>
        </pc:picChg>
      </pc:sldChg>
      <pc:sldChg chg="modSp add ord">
        <pc:chgData name="Stephen Gibbons" userId="8dc11794-a8ed-4f7c-8128-a48b124e2777" providerId="ADAL" clId="{43BBE4CB-99CF-47BC-9D24-90C72205A37B}" dt="2019-07-24T21:10:28.425" v="1407"/>
        <pc:sldMkLst>
          <pc:docMk/>
          <pc:sldMk cId="434349003" sldId="805"/>
        </pc:sldMkLst>
        <pc:spChg chg="mod">
          <ac:chgData name="Stephen Gibbons" userId="8dc11794-a8ed-4f7c-8128-a48b124e2777" providerId="ADAL" clId="{43BBE4CB-99CF-47BC-9D24-90C72205A37B}" dt="2019-07-24T21:01:37.530" v="1141"/>
          <ac:spMkLst>
            <pc:docMk/>
            <pc:sldMk cId="434349003" sldId="805"/>
            <ac:spMk id="2" creationId="{4378BDEE-73F6-491C-813E-F6349F685D39}"/>
          </ac:spMkLst>
        </pc:spChg>
        <pc:spChg chg="mod">
          <ac:chgData name="Stephen Gibbons" userId="8dc11794-a8ed-4f7c-8128-a48b124e2777" providerId="ADAL" clId="{43BBE4CB-99CF-47BC-9D24-90C72205A37B}" dt="2019-07-24T21:01:01.033" v="1140" actId="108"/>
          <ac:spMkLst>
            <pc:docMk/>
            <pc:sldMk cId="434349003" sldId="805"/>
            <ac:spMk id="6" creationId="{252F64F4-E036-4539-AEC2-C4CF901180D6}"/>
          </ac:spMkLst>
        </pc:spChg>
        <pc:spChg chg="mod">
          <ac:chgData name="Stephen Gibbons" userId="8dc11794-a8ed-4f7c-8128-a48b124e2777" providerId="ADAL" clId="{43BBE4CB-99CF-47BC-9D24-90C72205A37B}" dt="2019-07-24T21:01:54.397" v="1181" actId="20577"/>
          <ac:spMkLst>
            <pc:docMk/>
            <pc:sldMk cId="434349003" sldId="805"/>
            <ac:spMk id="7" creationId="{56411B2F-B2D2-4A9D-B692-751DE49E10E8}"/>
          </ac:spMkLst>
        </pc:spChg>
      </pc:sldChg>
      <pc:sldChg chg="modSp add">
        <pc:chgData name="Stephen Gibbons" userId="8dc11794-a8ed-4f7c-8128-a48b124e2777" providerId="ADAL" clId="{43BBE4CB-99CF-47BC-9D24-90C72205A37B}" dt="2019-07-24T21:07:45.302" v="1292" actId="20577"/>
        <pc:sldMkLst>
          <pc:docMk/>
          <pc:sldMk cId="1111308749" sldId="806"/>
        </pc:sldMkLst>
        <pc:spChg chg="mod">
          <ac:chgData name="Stephen Gibbons" userId="8dc11794-a8ed-4f7c-8128-a48b124e2777" providerId="ADAL" clId="{43BBE4CB-99CF-47BC-9D24-90C72205A37B}" dt="2019-07-24T21:06:11.237" v="1240" actId="20577"/>
          <ac:spMkLst>
            <pc:docMk/>
            <pc:sldMk cId="1111308749" sldId="806"/>
            <ac:spMk id="2" creationId="{4378BDEE-73F6-491C-813E-F6349F685D39}"/>
          </ac:spMkLst>
        </pc:spChg>
        <pc:spChg chg="mod">
          <ac:chgData name="Stephen Gibbons" userId="8dc11794-a8ed-4f7c-8128-a48b124e2777" providerId="ADAL" clId="{43BBE4CB-99CF-47BC-9D24-90C72205A37B}" dt="2019-07-24T21:07:45.302" v="1292" actId="20577"/>
          <ac:spMkLst>
            <pc:docMk/>
            <pc:sldMk cId="1111308749" sldId="806"/>
            <ac:spMk id="6" creationId="{252F64F4-E036-4539-AEC2-C4CF901180D6}"/>
          </ac:spMkLst>
        </pc:spChg>
        <pc:spChg chg="mod">
          <ac:chgData name="Stephen Gibbons" userId="8dc11794-a8ed-4f7c-8128-a48b124e2777" providerId="ADAL" clId="{43BBE4CB-99CF-47BC-9D24-90C72205A37B}" dt="2019-07-24T21:07:14.509" v="1284" actId="947"/>
          <ac:spMkLst>
            <pc:docMk/>
            <pc:sldMk cId="1111308749" sldId="806"/>
            <ac:spMk id="7" creationId="{56411B2F-B2D2-4A9D-B692-751DE49E10E8}"/>
          </ac:spMkLst>
        </pc:spChg>
      </pc:sldChg>
      <pc:sldChg chg="modSp add">
        <pc:chgData name="Stephen Gibbons" userId="8dc11794-a8ed-4f7c-8128-a48b124e2777" providerId="ADAL" clId="{43BBE4CB-99CF-47BC-9D24-90C72205A37B}" dt="2019-07-24T21:12:01.626" v="1434" actId="20577"/>
        <pc:sldMkLst>
          <pc:docMk/>
          <pc:sldMk cId="2702378902" sldId="807"/>
        </pc:sldMkLst>
        <pc:spChg chg="mod">
          <ac:chgData name="Stephen Gibbons" userId="8dc11794-a8ed-4f7c-8128-a48b124e2777" providerId="ADAL" clId="{43BBE4CB-99CF-47BC-9D24-90C72205A37B}" dt="2019-07-24T21:11:00.510" v="1419" actId="20577"/>
          <ac:spMkLst>
            <pc:docMk/>
            <pc:sldMk cId="2702378902" sldId="807"/>
            <ac:spMk id="2" creationId="{4378BDEE-73F6-491C-813E-F6349F685D39}"/>
          </ac:spMkLst>
        </pc:spChg>
        <pc:spChg chg="mod">
          <ac:chgData name="Stephen Gibbons" userId="8dc11794-a8ed-4f7c-8128-a48b124e2777" providerId="ADAL" clId="{43BBE4CB-99CF-47BC-9D24-90C72205A37B}" dt="2019-07-24T21:12:01.626" v="1434" actId="20577"/>
          <ac:spMkLst>
            <pc:docMk/>
            <pc:sldMk cId="2702378902" sldId="807"/>
            <ac:spMk id="6" creationId="{252F64F4-E036-4539-AEC2-C4CF901180D6}"/>
          </ac:spMkLst>
        </pc:spChg>
        <pc:spChg chg="mod">
          <ac:chgData name="Stephen Gibbons" userId="8dc11794-a8ed-4f7c-8128-a48b124e2777" providerId="ADAL" clId="{43BBE4CB-99CF-47BC-9D24-90C72205A37B}" dt="2019-07-24T21:11:54.186" v="1433" actId="6549"/>
          <ac:spMkLst>
            <pc:docMk/>
            <pc:sldMk cId="2702378902" sldId="807"/>
            <ac:spMk id="7" creationId="{56411B2F-B2D2-4A9D-B692-751DE49E10E8}"/>
          </ac:spMkLst>
        </pc:spChg>
      </pc:sldChg>
    </pc:docChg>
  </pc:docChgLst>
  <pc:docChgLst>
    <pc:chgData name="Stephen Gibbons" userId="8dc11794-a8ed-4f7c-8128-a48b124e2777" providerId="ADAL" clId="{9F8380D4-03F7-4BF6-AD2D-A3D4904663F9}"/>
    <pc:docChg chg="undo custSel addSld delSld modSld sldOrd modMainMaster modSection">
      <pc:chgData name="Stephen Gibbons" userId="8dc11794-a8ed-4f7c-8128-a48b124e2777" providerId="ADAL" clId="{9F8380D4-03F7-4BF6-AD2D-A3D4904663F9}" dt="2019-08-13T21:20:11.727" v="8334"/>
      <pc:docMkLst>
        <pc:docMk/>
      </pc:docMkLst>
      <pc:sldChg chg="modSp add">
        <pc:chgData name="Stephen Gibbons" userId="8dc11794-a8ed-4f7c-8128-a48b124e2777" providerId="ADAL" clId="{9F8380D4-03F7-4BF6-AD2D-A3D4904663F9}" dt="2019-08-09T14:03:35.903" v="3189" actId="20577"/>
        <pc:sldMkLst>
          <pc:docMk/>
          <pc:sldMk cId="4204112391" sldId="265"/>
        </pc:sldMkLst>
        <pc:spChg chg="mod">
          <ac:chgData name="Stephen Gibbons" userId="8dc11794-a8ed-4f7c-8128-a48b124e2777" providerId="ADAL" clId="{9F8380D4-03F7-4BF6-AD2D-A3D4904663F9}" dt="2019-08-09T14:03:15.938" v="3169" actId="20577"/>
          <ac:spMkLst>
            <pc:docMk/>
            <pc:sldMk cId="4204112391" sldId="265"/>
            <ac:spMk id="7" creationId="{00000000-0000-0000-0000-000000000000}"/>
          </ac:spMkLst>
        </pc:spChg>
        <pc:spChg chg="mod">
          <ac:chgData name="Stephen Gibbons" userId="8dc11794-a8ed-4f7c-8128-a48b124e2777" providerId="ADAL" clId="{9F8380D4-03F7-4BF6-AD2D-A3D4904663F9}" dt="2019-08-09T14:03:31.027" v="3179" actId="20577"/>
          <ac:spMkLst>
            <pc:docMk/>
            <pc:sldMk cId="4204112391" sldId="265"/>
            <ac:spMk id="10" creationId="{B8108089-6F4A-41FF-A64E-8B13DBB3C549}"/>
          </ac:spMkLst>
        </pc:spChg>
        <pc:spChg chg="mod">
          <ac:chgData name="Stephen Gibbons" userId="8dc11794-a8ed-4f7c-8128-a48b124e2777" providerId="ADAL" clId="{9F8380D4-03F7-4BF6-AD2D-A3D4904663F9}" dt="2019-07-26T15:19:46.366" v="2506" actId="14100"/>
          <ac:spMkLst>
            <pc:docMk/>
            <pc:sldMk cId="4204112391" sldId="265"/>
            <ac:spMk id="19" creationId="{00000000-0000-0000-0000-000000000000}"/>
          </ac:spMkLst>
        </pc:spChg>
        <pc:spChg chg="mod">
          <ac:chgData name="Stephen Gibbons" userId="8dc11794-a8ed-4f7c-8128-a48b124e2777" providerId="ADAL" clId="{9F8380D4-03F7-4BF6-AD2D-A3D4904663F9}" dt="2019-08-09T14:03:35.903" v="3189" actId="20577"/>
          <ac:spMkLst>
            <pc:docMk/>
            <pc:sldMk cId="4204112391" sldId="265"/>
            <ac:spMk id="21" creationId="{AD60E4AE-6657-44EE-B5B9-09543503C49F}"/>
          </ac:spMkLst>
        </pc:spChg>
        <pc:picChg chg="mod">
          <ac:chgData name="Stephen Gibbons" userId="8dc11794-a8ed-4f7c-8128-a48b124e2777" providerId="ADAL" clId="{9F8380D4-03F7-4BF6-AD2D-A3D4904663F9}" dt="2019-07-26T15:19:33.587" v="2504" actId="1038"/>
          <ac:picMkLst>
            <pc:docMk/>
            <pc:sldMk cId="4204112391" sldId="265"/>
            <ac:picMk id="14" creationId="{2D49F593-8807-405F-8FCF-00C0840BD107}"/>
          </ac:picMkLst>
        </pc:picChg>
        <pc:picChg chg="mod">
          <ac:chgData name="Stephen Gibbons" userId="8dc11794-a8ed-4f7c-8128-a48b124e2777" providerId="ADAL" clId="{9F8380D4-03F7-4BF6-AD2D-A3D4904663F9}" dt="2019-07-26T15:19:18.833" v="2480" actId="1038"/>
          <ac:picMkLst>
            <pc:docMk/>
            <pc:sldMk cId="4204112391" sldId="265"/>
            <ac:picMk id="18" creationId="{00000000-0000-0000-0000-000000000000}"/>
          </ac:picMkLst>
        </pc:picChg>
      </pc:sldChg>
      <pc:sldChg chg="modSp add">
        <pc:chgData name="Stephen Gibbons" userId="8dc11794-a8ed-4f7c-8128-a48b124e2777" providerId="ADAL" clId="{9F8380D4-03F7-4BF6-AD2D-A3D4904663F9}" dt="2019-08-09T14:39:23.618" v="3835" actId="20577"/>
        <pc:sldMkLst>
          <pc:docMk/>
          <pc:sldMk cId="1898056282" sldId="686"/>
        </pc:sldMkLst>
        <pc:spChg chg="mod">
          <ac:chgData name="Stephen Gibbons" userId="8dc11794-a8ed-4f7c-8128-a48b124e2777" providerId="ADAL" clId="{9F8380D4-03F7-4BF6-AD2D-A3D4904663F9}" dt="2019-08-09T14:22:58.876" v="3413" actId="20577"/>
          <ac:spMkLst>
            <pc:docMk/>
            <pc:sldMk cId="1898056282" sldId="686"/>
            <ac:spMk id="3" creationId="{1402BB33-CB7C-49D4-AED6-C4D9A4575FA5}"/>
          </ac:spMkLst>
        </pc:spChg>
        <pc:spChg chg="mod">
          <ac:chgData name="Stephen Gibbons" userId="8dc11794-a8ed-4f7c-8128-a48b124e2777" providerId="ADAL" clId="{9F8380D4-03F7-4BF6-AD2D-A3D4904663F9}" dt="2019-08-09T14:39:23.618" v="3835" actId="20577"/>
          <ac:spMkLst>
            <pc:docMk/>
            <pc:sldMk cId="1898056282" sldId="686"/>
            <ac:spMk id="7" creationId="{E4023EB8-CB59-4562-9898-2F4554AEB741}"/>
          </ac:spMkLst>
        </pc:spChg>
      </pc:sldChg>
      <pc:sldChg chg="modSp">
        <pc:chgData name="Stephen Gibbons" userId="8dc11794-a8ed-4f7c-8128-a48b124e2777" providerId="ADAL" clId="{9F8380D4-03F7-4BF6-AD2D-A3D4904663F9}" dt="2019-08-13T20:07:18.520" v="6930"/>
        <pc:sldMkLst>
          <pc:docMk/>
          <pc:sldMk cId="1466215089" sldId="709"/>
        </pc:sldMkLst>
        <pc:spChg chg="mod">
          <ac:chgData name="Stephen Gibbons" userId="8dc11794-a8ed-4f7c-8128-a48b124e2777" providerId="ADAL" clId="{9F8380D4-03F7-4BF6-AD2D-A3D4904663F9}" dt="2019-08-13T20:07:18.520" v="6930"/>
          <ac:spMkLst>
            <pc:docMk/>
            <pc:sldMk cId="1466215089" sldId="709"/>
            <ac:spMk id="3" creationId="{9567B261-29DB-4A49-9E9B-0E8E67770887}"/>
          </ac:spMkLst>
        </pc:spChg>
      </pc:sldChg>
      <pc:sldChg chg="delSp modSp">
        <pc:chgData name="Stephen Gibbons" userId="8dc11794-a8ed-4f7c-8128-a48b124e2777" providerId="ADAL" clId="{9F8380D4-03F7-4BF6-AD2D-A3D4904663F9}" dt="2019-07-26T15:06:07.002" v="2339" actId="478"/>
        <pc:sldMkLst>
          <pc:docMk/>
          <pc:sldMk cId="4141775338" sldId="720"/>
        </pc:sldMkLst>
        <pc:spChg chg="del">
          <ac:chgData name="Stephen Gibbons" userId="8dc11794-a8ed-4f7c-8128-a48b124e2777" providerId="ADAL" clId="{9F8380D4-03F7-4BF6-AD2D-A3D4904663F9}" dt="2019-07-26T15:06:07.002" v="2339" actId="478"/>
          <ac:spMkLst>
            <pc:docMk/>
            <pc:sldMk cId="4141775338" sldId="720"/>
            <ac:spMk id="10" creationId="{57627467-EEC1-49B6-984A-7939241DEF36}"/>
          </ac:spMkLst>
        </pc:spChg>
        <pc:spChg chg="mod">
          <ac:chgData name="Stephen Gibbons" userId="8dc11794-a8ed-4f7c-8128-a48b124e2777" providerId="ADAL" clId="{9F8380D4-03F7-4BF6-AD2D-A3D4904663F9}" dt="2019-07-26T15:05:57.335" v="2336" actId="207"/>
          <ac:spMkLst>
            <pc:docMk/>
            <pc:sldMk cId="4141775338" sldId="720"/>
            <ac:spMk id="174" creationId="{58430D78-BDF1-4723-BF3C-266D31E28E90}"/>
          </ac:spMkLst>
        </pc:spChg>
        <pc:spChg chg="mod">
          <ac:chgData name="Stephen Gibbons" userId="8dc11794-a8ed-4f7c-8128-a48b124e2777" providerId="ADAL" clId="{9F8380D4-03F7-4BF6-AD2D-A3D4904663F9}" dt="2019-07-26T15:06:04.879" v="2338" actId="207"/>
          <ac:spMkLst>
            <pc:docMk/>
            <pc:sldMk cId="4141775338" sldId="720"/>
            <ac:spMk id="177" creationId="{2E3DBE20-1CA1-450A-9585-69437F5FD95B}"/>
          </ac:spMkLst>
        </pc:spChg>
      </pc:sldChg>
      <pc:sldChg chg="addSp delSp modSp">
        <pc:chgData name="Stephen Gibbons" userId="8dc11794-a8ed-4f7c-8128-a48b124e2777" providerId="ADAL" clId="{9F8380D4-03F7-4BF6-AD2D-A3D4904663F9}" dt="2019-08-09T14:11:13.742" v="3201" actId="478"/>
        <pc:sldMkLst>
          <pc:docMk/>
          <pc:sldMk cId="4164434253" sldId="765"/>
        </pc:sldMkLst>
        <pc:spChg chg="add del mod">
          <ac:chgData name="Stephen Gibbons" userId="8dc11794-a8ed-4f7c-8128-a48b124e2777" providerId="ADAL" clId="{9F8380D4-03F7-4BF6-AD2D-A3D4904663F9}" dt="2019-08-09T14:10:54.679" v="3195" actId="478"/>
          <ac:spMkLst>
            <pc:docMk/>
            <pc:sldMk cId="4164434253" sldId="765"/>
            <ac:spMk id="184" creationId="{C6E15056-3531-4A6E-8C72-EDF9896266D1}"/>
          </ac:spMkLst>
        </pc:spChg>
        <pc:spChg chg="add del mod">
          <ac:chgData name="Stephen Gibbons" userId="8dc11794-a8ed-4f7c-8128-a48b124e2777" providerId="ADAL" clId="{9F8380D4-03F7-4BF6-AD2D-A3D4904663F9}" dt="2019-08-09T14:10:50.992" v="3194" actId="478"/>
          <ac:spMkLst>
            <pc:docMk/>
            <pc:sldMk cId="4164434253" sldId="765"/>
            <ac:spMk id="185" creationId="{E7D4778F-993E-4B02-867F-8376CE4AF276}"/>
          </ac:spMkLst>
        </pc:spChg>
        <pc:spChg chg="add del">
          <ac:chgData name="Stephen Gibbons" userId="8dc11794-a8ed-4f7c-8128-a48b124e2777" providerId="ADAL" clId="{9F8380D4-03F7-4BF6-AD2D-A3D4904663F9}" dt="2019-08-09T14:11:13.742" v="3201" actId="478"/>
          <ac:spMkLst>
            <pc:docMk/>
            <pc:sldMk cId="4164434253" sldId="765"/>
            <ac:spMk id="186" creationId="{394B0D1C-65C2-4386-8781-C4D39E642521}"/>
          </ac:spMkLst>
        </pc:spChg>
        <pc:spChg chg="add del">
          <ac:chgData name="Stephen Gibbons" userId="8dc11794-a8ed-4f7c-8128-a48b124e2777" providerId="ADAL" clId="{9F8380D4-03F7-4BF6-AD2D-A3D4904663F9}" dt="2019-08-09T14:11:06.789" v="3200" actId="478"/>
          <ac:spMkLst>
            <pc:docMk/>
            <pc:sldMk cId="4164434253" sldId="765"/>
            <ac:spMk id="187" creationId="{F4F5381C-909F-43E1-A7AB-3B001C7FE419}"/>
          </ac:spMkLst>
        </pc:spChg>
        <pc:spChg chg="add del">
          <ac:chgData name="Stephen Gibbons" userId="8dc11794-a8ed-4f7c-8128-a48b124e2777" providerId="ADAL" clId="{9F8380D4-03F7-4BF6-AD2D-A3D4904663F9}" dt="2019-08-09T14:11:01.633" v="3198" actId="478"/>
          <ac:spMkLst>
            <pc:docMk/>
            <pc:sldMk cId="4164434253" sldId="765"/>
            <ac:spMk id="188" creationId="{874F3C5D-BE39-4D57-9101-A4904F6C4FB0}"/>
          </ac:spMkLst>
        </pc:spChg>
        <pc:spChg chg="add del">
          <ac:chgData name="Stephen Gibbons" userId="8dc11794-a8ed-4f7c-8128-a48b124e2777" providerId="ADAL" clId="{9F8380D4-03F7-4BF6-AD2D-A3D4904663F9}" dt="2019-08-09T14:11:04.204" v="3199" actId="478"/>
          <ac:spMkLst>
            <pc:docMk/>
            <pc:sldMk cId="4164434253" sldId="765"/>
            <ac:spMk id="189" creationId="{44B71D02-5A33-4149-B70D-4D8301BCAB92}"/>
          </ac:spMkLst>
        </pc:spChg>
        <pc:spChg chg="add del">
          <ac:chgData name="Stephen Gibbons" userId="8dc11794-a8ed-4f7c-8128-a48b124e2777" providerId="ADAL" clId="{9F8380D4-03F7-4BF6-AD2D-A3D4904663F9}" dt="2019-08-09T14:10:57.215" v="3196" actId="478"/>
          <ac:spMkLst>
            <pc:docMk/>
            <pc:sldMk cId="4164434253" sldId="765"/>
            <ac:spMk id="190" creationId="{1E69F3FA-0E2B-4409-82D0-3A73AD8D7ACA}"/>
          </ac:spMkLst>
        </pc:spChg>
        <pc:spChg chg="add del">
          <ac:chgData name="Stephen Gibbons" userId="8dc11794-a8ed-4f7c-8128-a48b124e2777" providerId="ADAL" clId="{9F8380D4-03F7-4BF6-AD2D-A3D4904663F9}" dt="2019-08-09T14:10:58.953" v="3197" actId="478"/>
          <ac:spMkLst>
            <pc:docMk/>
            <pc:sldMk cId="4164434253" sldId="765"/>
            <ac:spMk id="191" creationId="{3BD04015-FA77-4396-BF98-8BE31605C296}"/>
          </ac:spMkLst>
        </pc:spChg>
      </pc:sldChg>
      <pc:sldChg chg="delSp modSp">
        <pc:chgData name="Stephen Gibbons" userId="8dc11794-a8ed-4f7c-8128-a48b124e2777" providerId="ADAL" clId="{9F8380D4-03F7-4BF6-AD2D-A3D4904663F9}" dt="2019-07-26T15:06:32.274" v="2344" actId="207"/>
        <pc:sldMkLst>
          <pc:docMk/>
          <pc:sldMk cId="2182367437" sldId="782"/>
        </pc:sldMkLst>
        <pc:spChg chg="del">
          <ac:chgData name="Stephen Gibbons" userId="8dc11794-a8ed-4f7c-8128-a48b124e2777" providerId="ADAL" clId="{9F8380D4-03F7-4BF6-AD2D-A3D4904663F9}" dt="2019-07-26T15:05:30.722" v="2331" actId="478"/>
          <ac:spMkLst>
            <pc:docMk/>
            <pc:sldMk cId="2182367437" sldId="782"/>
            <ac:spMk id="9" creationId="{263A0561-B33D-4233-8DBE-395D3112F6F3}"/>
          </ac:spMkLst>
        </pc:spChg>
        <pc:spChg chg="mod">
          <ac:chgData name="Stephen Gibbons" userId="8dc11794-a8ed-4f7c-8128-a48b124e2777" providerId="ADAL" clId="{9F8380D4-03F7-4BF6-AD2D-A3D4904663F9}" dt="2019-07-26T15:05:41.978" v="2332" actId="20577"/>
          <ac:spMkLst>
            <pc:docMk/>
            <pc:sldMk cId="2182367437" sldId="782"/>
            <ac:spMk id="41" creationId="{73652F8D-1ECE-43B2-8401-E044CB74BA0B}"/>
          </ac:spMkLst>
        </pc:spChg>
        <pc:spChg chg="mod">
          <ac:chgData name="Stephen Gibbons" userId="8dc11794-a8ed-4f7c-8128-a48b124e2777" providerId="ADAL" clId="{9F8380D4-03F7-4BF6-AD2D-A3D4904663F9}" dt="2019-07-26T15:06:32.274" v="2344" actId="207"/>
          <ac:spMkLst>
            <pc:docMk/>
            <pc:sldMk cId="2182367437" sldId="782"/>
            <ac:spMk id="44" creationId="{408A93FE-7883-457B-BCA6-24071072A2E9}"/>
          </ac:spMkLst>
        </pc:spChg>
      </pc:sldChg>
      <pc:sldChg chg="delSp modSp">
        <pc:chgData name="Stephen Gibbons" userId="8dc11794-a8ed-4f7c-8128-a48b124e2777" providerId="ADAL" clId="{9F8380D4-03F7-4BF6-AD2D-A3D4904663F9}" dt="2019-07-26T15:07:02.979" v="2347" actId="207"/>
        <pc:sldMkLst>
          <pc:docMk/>
          <pc:sldMk cId="4003682255" sldId="783"/>
        </pc:sldMkLst>
        <pc:spChg chg="del">
          <ac:chgData name="Stephen Gibbons" userId="8dc11794-a8ed-4f7c-8128-a48b124e2777" providerId="ADAL" clId="{9F8380D4-03F7-4BF6-AD2D-A3D4904663F9}" dt="2019-07-26T15:05:09.498" v="2330" actId="478"/>
          <ac:spMkLst>
            <pc:docMk/>
            <pc:sldMk cId="4003682255" sldId="783"/>
            <ac:spMk id="9" creationId="{842B8796-287F-4DAF-82EC-5D89BE95B5D7}"/>
          </ac:spMkLst>
        </pc:spChg>
        <pc:spChg chg="mod">
          <ac:chgData name="Stephen Gibbons" userId="8dc11794-a8ed-4f7c-8128-a48b124e2777" providerId="ADAL" clId="{9F8380D4-03F7-4BF6-AD2D-A3D4904663F9}" dt="2019-07-26T15:05:06.893" v="2329" actId="113"/>
          <ac:spMkLst>
            <pc:docMk/>
            <pc:sldMk cId="4003682255" sldId="783"/>
            <ac:spMk id="137" creationId="{86540AC3-018B-4DFD-A4B9-A1477CCDE86B}"/>
          </ac:spMkLst>
        </pc:spChg>
        <pc:spChg chg="mod">
          <ac:chgData name="Stephen Gibbons" userId="8dc11794-a8ed-4f7c-8128-a48b124e2777" providerId="ADAL" clId="{9F8380D4-03F7-4BF6-AD2D-A3D4904663F9}" dt="2019-07-26T15:07:02.979" v="2347" actId="207"/>
          <ac:spMkLst>
            <pc:docMk/>
            <pc:sldMk cId="4003682255" sldId="783"/>
            <ac:spMk id="140" creationId="{1489E96E-3775-4E0C-91F8-17BF7D456264}"/>
          </ac:spMkLst>
        </pc:spChg>
      </pc:sldChg>
      <pc:sldChg chg="delSp modSp">
        <pc:chgData name="Stephen Gibbons" userId="8dc11794-a8ed-4f7c-8128-a48b124e2777" providerId="ADAL" clId="{9F8380D4-03F7-4BF6-AD2D-A3D4904663F9}" dt="2019-07-26T15:04:50.294" v="2327" actId="478"/>
        <pc:sldMkLst>
          <pc:docMk/>
          <pc:sldMk cId="2945508466" sldId="784"/>
        </pc:sldMkLst>
        <pc:spChg chg="del">
          <ac:chgData name="Stephen Gibbons" userId="8dc11794-a8ed-4f7c-8128-a48b124e2777" providerId="ADAL" clId="{9F8380D4-03F7-4BF6-AD2D-A3D4904663F9}" dt="2019-07-26T15:04:50.294" v="2327" actId="478"/>
          <ac:spMkLst>
            <pc:docMk/>
            <pc:sldMk cId="2945508466" sldId="784"/>
            <ac:spMk id="12" creationId="{64090076-1994-4456-AE5A-BD264058B527}"/>
          </ac:spMkLst>
        </pc:spChg>
        <pc:spChg chg="mod">
          <ac:chgData name="Stephen Gibbons" userId="8dc11794-a8ed-4f7c-8128-a48b124e2777" providerId="ADAL" clId="{9F8380D4-03F7-4BF6-AD2D-A3D4904663F9}" dt="2019-07-26T15:04:33.730" v="2325" actId="113"/>
          <ac:spMkLst>
            <pc:docMk/>
            <pc:sldMk cId="2945508466" sldId="784"/>
            <ac:spMk id="164" creationId="{E4A3B6CF-E556-41FC-8C55-129D54F4A468}"/>
          </ac:spMkLst>
        </pc:spChg>
        <pc:spChg chg="mod">
          <ac:chgData name="Stephen Gibbons" userId="8dc11794-a8ed-4f7c-8128-a48b124e2777" providerId="ADAL" clId="{9F8380D4-03F7-4BF6-AD2D-A3D4904663F9}" dt="2019-07-26T15:04:23.556" v="2322" actId="207"/>
          <ac:spMkLst>
            <pc:docMk/>
            <pc:sldMk cId="2945508466" sldId="784"/>
            <ac:spMk id="165" creationId="{75F734A9-D3F5-443C-BE1F-7501374158D0}"/>
          </ac:spMkLst>
        </pc:spChg>
        <pc:spChg chg="del">
          <ac:chgData name="Stephen Gibbons" userId="8dc11794-a8ed-4f7c-8128-a48b124e2777" providerId="ADAL" clId="{9F8380D4-03F7-4BF6-AD2D-A3D4904663F9}" dt="2019-07-26T15:04:46.892" v="2326" actId="478"/>
          <ac:spMkLst>
            <pc:docMk/>
            <pc:sldMk cId="2945508466" sldId="784"/>
            <ac:spMk id="229" creationId="{289E77EB-5402-4DB4-A805-84C829553D0D}"/>
          </ac:spMkLst>
        </pc:spChg>
      </pc:sldChg>
      <pc:sldChg chg="delSp modSp">
        <pc:chgData name="Stephen Gibbons" userId="8dc11794-a8ed-4f7c-8128-a48b124e2777" providerId="ADAL" clId="{9F8380D4-03F7-4BF6-AD2D-A3D4904663F9}" dt="2019-07-26T15:07:57.280" v="2367" actId="20577"/>
        <pc:sldMkLst>
          <pc:docMk/>
          <pc:sldMk cId="567481301" sldId="785"/>
        </pc:sldMkLst>
        <pc:spChg chg="mod">
          <ac:chgData name="Stephen Gibbons" userId="8dc11794-a8ed-4f7c-8128-a48b124e2777" providerId="ADAL" clId="{9F8380D4-03F7-4BF6-AD2D-A3D4904663F9}" dt="2019-07-26T15:07:57.280" v="2367" actId="20577"/>
          <ac:spMkLst>
            <pc:docMk/>
            <pc:sldMk cId="567481301" sldId="785"/>
            <ac:spMk id="7" creationId="{12BE739F-7DDE-422C-AD2D-83388DCBB3E9}"/>
          </ac:spMkLst>
        </pc:spChg>
        <pc:spChg chg="del">
          <ac:chgData name="Stephen Gibbons" userId="8dc11794-a8ed-4f7c-8128-a48b124e2777" providerId="ADAL" clId="{9F8380D4-03F7-4BF6-AD2D-A3D4904663F9}" dt="2019-07-26T15:04:04.910" v="2319" actId="478"/>
          <ac:spMkLst>
            <pc:docMk/>
            <pc:sldMk cId="567481301" sldId="785"/>
            <ac:spMk id="9" creationId="{A6B8E815-9562-4826-A1CE-9369DEC91FBB}"/>
          </ac:spMkLst>
        </pc:spChg>
        <pc:spChg chg="del">
          <ac:chgData name="Stephen Gibbons" userId="8dc11794-a8ed-4f7c-8128-a48b124e2777" providerId="ADAL" clId="{9F8380D4-03F7-4BF6-AD2D-A3D4904663F9}" dt="2019-07-26T15:04:02.339" v="2318" actId="478"/>
          <ac:spMkLst>
            <pc:docMk/>
            <pc:sldMk cId="567481301" sldId="785"/>
            <ac:spMk id="61" creationId="{2F4DD99A-2EAF-4BB4-A0A2-DFD15B739F20}"/>
          </ac:spMkLst>
        </pc:spChg>
        <pc:spChg chg="mod">
          <ac:chgData name="Stephen Gibbons" userId="8dc11794-a8ed-4f7c-8128-a48b124e2777" providerId="ADAL" clId="{9F8380D4-03F7-4BF6-AD2D-A3D4904663F9}" dt="2019-07-26T15:03:31.035" v="2317" actId="113"/>
          <ac:spMkLst>
            <pc:docMk/>
            <pc:sldMk cId="567481301" sldId="785"/>
            <ac:spMk id="104" creationId="{02E8020C-48A9-4895-B218-22228BB7EB01}"/>
          </ac:spMkLst>
        </pc:spChg>
        <pc:spChg chg="mod">
          <ac:chgData name="Stephen Gibbons" userId="8dc11794-a8ed-4f7c-8128-a48b124e2777" providerId="ADAL" clId="{9F8380D4-03F7-4BF6-AD2D-A3D4904663F9}" dt="2019-07-26T15:07:33.030" v="2359" actId="20577"/>
          <ac:spMkLst>
            <pc:docMk/>
            <pc:sldMk cId="567481301" sldId="785"/>
            <ac:spMk id="109" creationId="{B5ADAA1A-0461-4C03-8DB4-BD4A01717B4D}"/>
          </ac:spMkLst>
        </pc:spChg>
      </pc:sldChg>
      <pc:sldChg chg="modSp">
        <pc:chgData name="Stephen Gibbons" userId="8dc11794-a8ed-4f7c-8128-a48b124e2777" providerId="ADAL" clId="{9F8380D4-03F7-4BF6-AD2D-A3D4904663F9}" dt="2019-08-09T14:41:02.264" v="3843" actId="20577"/>
        <pc:sldMkLst>
          <pc:docMk/>
          <pc:sldMk cId="2909886533" sldId="792"/>
        </pc:sldMkLst>
        <pc:spChg chg="mod">
          <ac:chgData name="Stephen Gibbons" userId="8dc11794-a8ed-4f7c-8128-a48b124e2777" providerId="ADAL" clId="{9F8380D4-03F7-4BF6-AD2D-A3D4904663F9}" dt="2019-07-26T15:00:02.892" v="2017" actId="20577"/>
          <ac:spMkLst>
            <pc:docMk/>
            <pc:sldMk cId="2909886533" sldId="792"/>
            <ac:spMk id="7" creationId="{3EE72CAF-E1F1-4052-8F3F-4C669F133F44}"/>
          </ac:spMkLst>
        </pc:spChg>
        <pc:spChg chg="mod">
          <ac:chgData name="Stephen Gibbons" userId="8dc11794-a8ed-4f7c-8128-a48b124e2777" providerId="ADAL" clId="{9F8380D4-03F7-4BF6-AD2D-A3D4904663F9}" dt="2019-07-26T15:03:09.192" v="2315" actId="20577"/>
          <ac:spMkLst>
            <pc:docMk/>
            <pc:sldMk cId="2909886533" sldId="792"/>
            <ac:spMk id="49" creationId="{1CC7EBFE-E2B9-4330-90F5-2B5AA73FE66A}"/>
          </ac:spMkLst>
        </pc:spChg>
        <pc:spChg chg="mod">
          <ac:chgData name="Stephen Gibbons" userId="8dc11794-a8ed-4f7c-8128-a48b124e2777" providerId="ADAL" clId="{9F8380D4-03F7-4BF6-AD2D-A3D4904663F9}" dt="2019-08-09T14:41:02.264" v="3843" actId="20577"/>
          <ac:spMkLst>
            <pc:docMk/>
            <pc:sldMk cId="2909886533" sldId="792"/>
            <ac:spMk id="53" creationId="{B52A1943-D873-4BEE-B944-368E366EB1BB}"/>
          </ac:spMkLst>
        </pc:spChg>
        <pc:spChg chg="mod">
          <ac:chgData name="Stephen Gibbons" userId="8dc11794-a8ed-4f7c-8128-a48b124e2777" providerId="ADAL" clId="{9F8380D4-03F7-4BF6-AD2D-A3D4904663F9}" dt="2019-07-26T15:02:57.184" v="2310" actId="14100"/>
          <ac:spMkLst>
            <pc:docMk/>
            <pc:sldMk cId="2909886533" sldId="792"/>
            <ac:spMk id="55" creationId="{F8096E0D-E894-4895-91A0-B2BBC7D4816F}"/>
          </ac:spMkLst>
        </pc:spChg>
      </pc:sldChg>
      <pc:sldChg chg="modSp">
        <pc:chgData name="Stephen Gibbons" userId="8dc11794-a8ed-4f7c-8128-a48b124e2777" providerId="ADAL" clId="{9F8380D4-03F7-4BF6-AD2D-A3D4904663F9}" dt="2019-07-26T15:13:07.157" v="2374" actId="20577"/>
        <pc:sldMkLst>
          <pc:docMk/>
          <pc:sldMk cId="3566985572" sldId="801"/>
        </pc:sldMkLst>
        <pc:spChg chg="mod">
          <ac:chgData name="Stephen Gibbons" userId="8dc11794-a8ed-4f7c-8128-a48b124e2777" providerId="ADAL" clId="{9F8380D4-03F7-4BF6-AD2D-A3D4904663F9}" dt="2019-07-26T15:13:07.157" v="2374" actId="20577"/>
          <ac:spMkLst>
            <pc:docMk/>
            <pc:sldMk cId="3566985572" sldId="801"/>
            <ac:spMk id="4" creationId="{30BCC099-6406-4D35-B3A0-F75694516EC9}"/>
          </ac:spMkLst>
        </pc:spChg>
      </pc:sldChg>
      <pc:sldChg chg="modSp">
        <pc:chgData name="Stephen Gibbons" userId="8dc11794-a8ed-4f7c-8128-a48b124e2777" providerId="ADAL" clId="{9F8380D4-03F7-4BF6-AD2D-A3D4904663F9}" dt="2019-07-26T14:54:54.303" v="1830" actId="20577"/>
        <pc:sldMkLst>
          <pc:docMk/>
          <pc:sldMk cId="940994289" sldId="803"/>
        </pc:sldMkLst>
        <pc:spChg chg="mod">
          <ac:chgData name="Stephen Gibbons" userId="8dc11794-a8ed-4f7c-8128-a48b124e2777" providerId="ADAL" clId="{9F8380D4-03F7-4BF6-AD2D-A3D4904663F9}" dt="2019-07-26T14:49:08.949" v="1743" actId="20577"/>
          <ac:spMkLst>
            <pc:docMk/>
            <pc:sldMk cId="940994289" sldId="803"/>
            <ac:spMk id="2" creationId="{1ADABE69-73DE-49F2-9EAC-AABF832ACA65}"/>
          </ac:spMkLst>
        </pc:spChg>
        <pc:spChg chg="mod">
          <ac:chgData name="Stephen Gibbons" userId="8dc11794-a8ed-4f7c-8128-a48b124e2777" providerId="ADAL" clId="{9F8380D4-03F7-4BF6-AD2D-A3D4904663F9}" dt="2019-07-26T14:54:54.303" v="1830" actId="20577"/>
          <ac:spMkLst>
            <pc:docMk/>
            <pc:sldMk cId="940994289" sldId="803"/>
            <ac:spMk id="3" creationId="{E17C4001-558D-412A-ACD3-299DE7F71B1C}"/>
          </ac:spMkLst>
        </pc:spChg>
      </pc:sldChg>
      <pc:sldChg chg="modSp">
        <pc:chgData name="Stephen Gibbons" userId="8dc11794-a8ed-4f7c-8128-a48b124e2777" providerId="ADAL" clId="{9F8380D4-03F7-4BF6-AD2D-A3D4904663F9}" dt="2019-07-26T14:58:13.945" v="1971" actId="20577"/>
        <pc:sldMkLst>
          <pc:docMk/>
          <pc:sldMk cId="434349003" sldId="805"/>
        </pc:sldMkLst>
        <pc:spChg chg="mod">
          <ac:chgData name="Stephen Gibbons" userId="8dc11794-a8ed-4f7c-8128-a48b124e2777" providerId="ADAL" clId="{9F8380D4-03F7-4BF6-AD2D-A3D4904663F9}" dt="2019-07-26T14:58:13.945" v="1971" actId="20577"/>
          <ac:spMkLst>
            <pc:docMk/>
            <pc:sldMk cId="434349003" sldId="805"/>
            <ac:spMk id="6" creationId="{252F64F4-E036-4539-AEC2-C4CF901180D6}"/>
          </ac:spMkLst>
        </pc:spChg>
      </pc:sldChg>
      <pc:sldChg chg="modSp">
        <pc:chgData name="Stephen Gibbons" userId="8dc11794-a8ed-4f7c-8128-a48b124e2777" providerId="ADAL" clId="{9F8380D4-03F7-4BF6-AD2D-A3D4904663F9}" dt="2019-07-26T14:58:44.626" v="1979" actId="20577"/>
        <pc:sldMkLst>
          <pc:docMk/>
          <pc:sldMk cId="1111308749" sldId="806"/>
        </pc:sldMkLst>
        <pc:spChg chg="mod">
          <ac:chgData name="Stephen Gibbons" userId="8dc11794-a8ed-4f7c-8128-a48b124e2777" providerId="ADAL" clId="{9F8380D4-03F7-4BF6-AD2D-A3D4904663F9}" dt="2019-07-26T14:58:44.626" v="1979" actId="20577"/>
          <ac:spMkLst>
            <pc:docMk/>
            <pc:sldMk cId="1111308749" sldId="806"/>
            <ac:spMk id="6" creationId="{252F64F4-E036-4539-AEC2-C4CF901180D6}"/>
          </ac:spMkLst>
        </pc:spChg>
      </pc:sldChg>
      <pc:sldChg chg="modSp">
        <pc:chgData name="Stephen Gibbons" userId="8dc11794-a8ed-4f7c-8128-a48b124e2777" providerId="ADAL" clId="{9F8380D4-03F7-4BF6-AD2D-A3D4904663F9}" dt="2019-07-26T14:58:57.094" v="1984" actId="20577"/>
        <pc:sldMkLst>
          <pc:docMk/>
          <pc:sldMk cId="2702378902" sldId="807"/>
        </pc:sldMkLst>
        <pc:spChg chg="mod">
          <ac:chgData name="Stephen Gibbons" userId="8dc11794-a8ed-4f7c-8128-a48b124e2777" providerId="ADAL" clId="{9F8380D4-03F7-4BF6-AD2D-A3D4904663F9}" dt="2019-07-26T14:58:57.094" v="1984" actId="20577"/>
          <ac:spMkLst>
            <pc:docMk/>
            <pc:sldMk cId="2702378902" sldId="807"/>
            <ac:spMk id="6" creationId="{252F64F4-E036-4539-AEC2-C4CF901180D6}"/>
          </ac:spMkLst>
        </pc:spChg>
      </pc:sldChg>
      <pc:sldChg chg="addSp delSp modSp add">
        <pc:chgData name="Stephen Gibbons" userId="8dc11794-a8ed-4f7c-8128-a48b124e2777" providerId="ADAL" clId="{9F8380D4-03F7-4BF6-AD2D-A3D4904663F9}" dt="2019-07-26T14:40:04.973" v="1534" actId="20577"/>
        <pc:sldMkLst>
          <pc:docMk/>
          <pc:sldMk cId="3158417065" sldId="808"/>
        </pc:sldMkLst>
        <pc:spChg chg="mod">
          <ac:chgData name="Stephen Gibbons" userId="8dc11794-a8ed-4f7c-8128-a48b124e2777" providerId="ADAL" clId="{9F8380D4-03F7-4BF6-AD2D-A3D4904663F9}" dt="2019-07-26T14:40:04.973" v="1534" actId="20577"/>
          <ac:spMkLst>
            <pc:docMk/>
            <pc:sldMk cId="3158417065" sldId="808"/>
            <ac:spMk id="2" creationId="{A0CBEE00-8D68-48E8-B07E-45B9D42DA6A5}"/>
          </ac:spMkLst>
        </pc:spChg>
        <pc:spChg chg="mod">
          <ac:chgData name="Stephen Gibbons" userId="8dc11794-a8ed-4f7c-8128-a48b124e2777" providerId="ADAL" clId="{9F8380D4-03F7-4BF6-AD2D-A3D4904663F9}" dt="2019-07-26T13:36:50.094" v="490" actId="20577"/>
          <ac:spMkLst>
            <pc:docMk/>
            <pc:sldMk cId="3158417065" sldId="808"/>
            <ac:spMk id="3" creationId="{FCFAE6ED-2BD2-4128-8E53-17204230E1D0}"/>
          </ac:spMkLst>
        </pc:spChg>
        <pc:spChg chg="del">
          <ac:chgData name="Stephen Gibbons" userId="8dc11794-a8ed-4f7c-8128-a48b124e2777" providerId="ADAL" clId="{9F8380D4-03F7-4BF6-AD2D-A3D4904663F9}" dt="2019-07-26T13:25:42.592" v="128"/>
          <ac:spMkLst>
            <pc:docMk/>
            <pc:sldMk cId="3158417065" sldId="808"/>
            <ac:spMk id="6" creationId="{8F3D5B2B-6B27-4413-BEB1-08A09F9156AB}"/>
          </ac:spMkLst>
        </pc:spChg>
        <pc:spChg chg="mod">
          <ac:chgData name="Stephen Gibbons" userId="8dc11794-a8ed-4f7c-8128-a48b124e2777" providerId="ADAL" clId="{9F8380D4-03F7-4BF6-AD2D-A3D4904663F9}" dt="2019-07-26T14:18:00.859" v="973" actId="20577"/>
          <ac:spMkLst>
            <pc:docMk/>
            <pc:sldMk cId="3158417065" sldId="808"/>
            <ac:spMk id="7" creationId="{4F41C17D-90C1-448B-A8A2-444045B82FA0}"/>
          </ac:spMkLst>
        </pc:spChg>
        <pc:spChg chg="mod">
          <ac:chgData name="Stephen Gibbons" userId="8dc11794-a8ed-4f7c-8128-a48b124e2777" providerId="ADAL" clId="{9F8380D4-03F7-4BF6-AD2D-A3D4904663F9}" dt="2019-07-26T14:18:04.579" v="974" actId="20577"/>
          <ac:spMkLst>
            <pc:docMk/>
            <pc:sldMk cId="3158417065" sldId="808"/>
            <ac:spMk id="8" creationId="{D65FD280-78B6-4100-815C-3DFE0884149A}"/>
          </ac:spMkLst>
        </pc:spChg>
        <pc:picChg chg="add mod">
          <ac:chgData name="Stephen Gibbons" userId="8dc11794-a8ed-4f7c-8128-a48b124e2777" providerId="ADAL" clId="{9F8380D4-03F7-4BF6-AD2D-A3D4904663F9}" dt="2019-07-26T13:36:31.914" v="451" actId="1076"/>
          <ac:picMkLst>
            <pc:docMk/>
            <pc:sldMk cId="3158417065" sldId="808"/>
            <ac:picMk id="10" creationId="{AACFA058-1481-4774-9D35-D9CE3285A22B}"/>
          </ac:picMkLst>
        </pc:picChg>
      </pc:sldChg>
      <pc:sldChg chg="addSp delSp modSp add">
        <pc:chgData name="Stephen Gibbons" userId="8dc11794-a8ed-4f7c-8128-a48b124e2777" providerId="ADAL" clId="{9F8380D4-03F7-4BF6-AD2D-A3D4904663F9}" dt="2019-07-26T14:38:01.527" v="1492" actId="1036"/>
        <pc:sldMkLst>
          <pc:docMk/>
          <pc:sldMk cId="4291715723" sldId="809"/>
        </pc:sldMkLst>
        <pc:spChg chg="mod">
          <ac:chgData name="Stephen Gibbons" userId="8dc11794-a8ed-4f7c-8128-a48b124e2777" providerId="ADAL" clId="{9F8380D4-03F7-4BF6-AD2D-A3D4904663F9}" dt="2019-07-26T13:27:32.755" v="152" actId="20577"/>
          <ac:spMkLst>
            <pc:docMk/>
            <pc:sldMk cId="4291715723" sldId="809"/>
            <ac:spMk id="2" creationId="{44D93DA6-B3D7-4B84-B596-0476644CB0A6}"/>
          </ac:spMkLst>
        </pc:spChg>
        <pc:spChg chg="mod">
          <ac:chgData name="Stephen Gibbons" userId="8dc11794-a8ed-4f7c-8128-a48b124e2777" providerId="ADAL" clId="{9F8380D4-03F7-4BF6-AD2D-A3D4904663F9}" dt="2019-07-26T13:30:22.921" v="354" actId="20577"/>
          <ac:spMkLst>
            <pc:docMk/>
            <pc:sldMk cId="4291715723" sldId="809"/>
            <ac:spMk id="3" creationId="{80000AF5-9313-46C5-BB30-4F68D966CD77}"/>
          </ac:spMkLst>
        </pc:spChg>
        <pc:spChg chg="del">
          <ac:chgData name="Stephen Gibbons" userId="8dc11794-a8ed-4f7c-8128-a48b124e2777" providerId="ADAL" clId="{9F8380D4-03F7-4BF6-AD2D-A3D4904663F9}" dt="2019-07-26T13:32:22.245" v="419" actId="478"/>
          <ac:spMkLst>
            <pc:docMk/>
            <pc:sldMk cId="4291715723" sldId="809"/>
            <ac:spMk id="6" creationId="{52D99A15-5946-49C9-809E-725BF2D80D91}"/>
          </ac:spMkLst>
        </pc:spChg>
        <pc:spChg chg="mod">
          <ac:chgData name="Stephen Gibbons" userId="8dc11794-a8ed-4f7c-8128-a48b124e2777" providerId="ADAL" clId="{9F8380D4-03F7-4BF6-AD2D-A3D4904663F9}" dt="2019-07-26T13:31:57.721" v="415" actId="20577"/>
          <ac:spMkLst>
            <pc:docMk/>
            <pc:sldMk cId="4291715723" sldId="809"/>
            <ac:spMk id="7" creationId="{9FC6FF3F-C313-4799-96F9-7D594BDC53DF}"/>
          </ac:spMkLst>
        </pc:spChg>
        <pc:spChg chg="mod">
          <ac:chgData name="Stephen Gibbons" userId="8dc11794-a8ed-4f7c-8128-a48b124e2777" providerId="ADAL" clId="{9F8380D4-03F7-4BF6-AD2D-A3D4904663F9}" dt="2019-07-26T13:27:41.680" v="178" actId="20577"/>
          <ac:spMkLst>
            <pc:docMk/>
            <pc:sldMk cId="4291715723" sldId="809"/>
            <ac:spMk id="8" creationId="{AD667E06-1B66-416C-855C-E2A3101062EA}"/>
          </ac:spMkLst>
        </pc:spChg>
        <pc:spChg chg="add del mod">
          <ac:chgData name="Stephen Gibbons" userId="8dc11794-a8ed-4f7c-8128-a48b124e2777" providerId="ADAL" clId="{9F8380D4-03F7-4BF6-AD2D-A3D4904663F9}" dt="2019-07-26T13:34:34.121" v="425"/>
          <ac:spMkLst>
            <pc:docMk/>
            <pc:sldMk cId="4291715723" sldId="809"/>
            <ac:spMk id="13" creationId="{26D21D3C-6F76-4B38-85A6-3A91271188B1}"/>
          </ac:spMkLst>
        </pc:spChg>
        <pc:spChg chg="add del mod">
          <ac:chgData name="Stephen Gibbons" userId="8dc11794-a8ed-4f7c-8128-a48b124e2777" providerId="ADAL" clId="{9F8380D4-03F7-4BF6-AD2D-A3D4904663F9}" dt="2019-07-26T13:35:03.409" v="442"/>
          <ac:spMkLst>
            <pc:docMk/>
            <pc:sldMk cId="4291715723" sldId="809"/>
            <ac:spMk id="14" creationId="{9C508C47-9018-4F9D-9BFC-546A57C3D125}"/>
          </ac:spMkLst>
        </pc:spChg>
        <pc:spChg chg="add del mod">
          <ac:chgData name="Stephen Gibbons" userId="8dc11794-a8ed-4f7c-8128-a48b124e2777" providerId="ADAL" clId="{9F8380D4-03F7-4BF6-AD2D-A3D4904663F9}" dt="2019-07-26T13:35:12.989" v="444"/>
          <ac:spMkLst>
            <pc:docMk/>
            <pc:sldMk cId="4291715723" sldId="809"/>
            <ac:spMk id="15" creationId="{AC1B70EC-16A8-41EB-8ABD-2793B5912782}"/>
          </ac:spMkLst>
        </pc:spChg>
        <pc:spChg chg="add del mod">
          <ac:chgData name="Stephen Gibbons" userId="8dc11794-a8ed-4f7c-8128-a48b124e2777" providerId="ADAL" clId="{9F8380D4-03F7-4BF6-AD2D-A3D4904663F9}" dt="2019-07-26T13:35:18.069" v="446"/>
          <ac:spMkLst>
            <pc:docMk/>
            <pc:sldMk cId="4291715723" sldId="809"/>
            <ac:spMk id="16" creationId="{3862BAE2-B444-47F2-9037-6D0765894031}"/>
          </ac:spMkLst>
        </pc:spChg>
        <pc:picChg chg="add del mod">
          <ac:chgData name="Stephen Gibbons" userId="8dc11794-a8ed-4f7c-8128-a48b124e2777" providerId="ADAL" clId="{9F8380D4-03F7-4BF6-AD2D-A3D4904663F9}" dt="2019-07-26T13:34:31.352" v="424"/>
          <ac:picMkLst>
            <pc:docMk/>
            <pc:sldMk cId="4291715723" sldId="809"/>
            <ac:picMk id="9" creationId="{E3E36A3F-9183-4A30-8CA9-B28A71052C68}"/>
          </ac:picMkLst>
        </pc:picChg>
        <pc:picChg chg="add del">
          <ac:chgData name="Stephen Gibbons" userId="8dc11794-a8ed-4f7c-8128-a48b124e2777" providerId="ADAL" clId="{9F8380D4-03F7-4BF6-AD2D-A3D4904663F9}" dt="2019-07-26T13:35:15.089" v="445"/>
          <ac:picMkLst>
            <pc:docMk/>
            <pc:sldMk cId="4291715723" sldId="809"/>
            <ac:picMk id="10" creationId="{99869C17-ED16-464C-855D-28439EB67941}"/>
          </ac:picMkLst>
        </pc:picChg>
        <pc:picChg chg="add del mod">
          <ac:chgData name="Stephen Gibbons" userId="8dc11794-a8ed-4f7c-8128-a48b124e2777" providerId="ADAL" clId="{9F8380D4-03F7-4BF6-AD2D-A3D4904663F9}" dt="2019-07-26T13:35:01.485" v="441"/>
          <ac:picMkLst>
            <pc:docMk/>
            <pc:sldMk cId="4291715723" sldId="809"/>
            <ac:picMk id="11" creationId="{ACF7614D-DA6A-4E35-9038-A6DE35300C8F}"/>
          </ac:picMkLst>
        </pc:picChg>
        <pc:picChg chg="add del">
          <ac:chgData name="Stephen Gibbons" userId="8dc11794-a8ed-4f7c-8128-a48b124e2777" providerId="ADAL" clId="{9F8380D4-03F7-4BF6-AD2D-A3D4904663F9}" dt="2019-07-26T13:35:10.492" v="443"/>
          <ac:picMkLst>
            <pc:docMk/>
            <pc:sldMk cId="4291715723" sldId="809"/>
            <ac:picMk id="12" creationId="{92F54FD3-BF33-43DA-98E1-2910BBBBFEA9}"/>
          </ac:picMkLst>
        </pc:picChg>
        <pc:picChg chg="add mod">
          <ac:chgData name="Stephen Gibbons" userId="8dc11794-a8ed-4f7c-8128-a48b124e2777" providerId="ADAL" clId="{9F8380D4-03F7-4BF6-AD2D-A3D4904663F9}" dt="2019-07-26T14:08:11.488" v="752" actId="1076"/>
          <ac:picMkLst>
            <pc:docMk/>
            <pc:sldMk cId="4291715723" sldId="809"/>
            <ac:picMk id="17" creationId="{86842CC1-CA81-40CA-8D0C-65E7C8B6A540}"/>
          </ac:picMkLst>
        </pc:picChg>
        <pc:picChg chg="add mod">
          <ac:chgData name="Stephen Gibbons" userId="8dc11794-a8ed-4f7c-8128-a48b124e2777" providerId="ADAL" clId="{9F8380D4-03F7-4BF6-AD2D-A3D4904663F9}" dt="2019-07-26T14:38:01.527" v="1492" actId="1036"/>
          <ac:picMkLst>
            <pc:docMk/>
            <pc:sldMk cId="4291715723" sldId="809"/>
            <ac:picMk id="18" creationId="{37FD387C-78E6-4B62-851C-59073446A500}"/>
          </ac:picMkLst>
        </pc:picChg>
        <pc:picChg chg="add mod">
          <ac:chgData name="Stephen Gibbons" userId="8dc11794-a8ed-4f7c-8128-a48b124e2777" providerId="ADAL" clId="{9F8380D4-03F7-4BF6-AD2D-A3D4904663F9}" dt="2019-07-26T14:38:01.527" v="1492" actId="1036"/>
          <ac:picMkLst>
            <pc:docMk/>
            <pc:sldMk cId="4291715723" sldId="809"/>
            <ac:picMk id="19" creationId="{2D683C9C-D486-4374-8F32-90F3BD9847E4}"/>
          </ac:picMkLst>
        </pc:picChg>
        <pc:picChg chg="add mod">
          <ac:chgData name="Stephen Gibbons" userId="8dc11794-a8ed-4f7c-8128-a48b124e2777" providerId="ADAL" clId="{9F8380D4-03F7-4BF6-AD2D-A3D4904663F9}" dt="2019-07-26T14:38:01.527" v="1492" actId="1036"/>
          <ac:picMkLst>
            <pc:docMk/>
            <pc:sldMk cId="4291715723" sldId="809"/>
            <ac:picMk id="20" creationId="{215E3653-A2E3-4D7E-8928-6C96F0D04B05}"/>
          </ac:picMkLst>
        </pc:picChg>
        <pc:picChg chg="add mod">
          <ac:chgData name="Stephen Gibbons" userId="8dc11794-a8ed-4f7c-8128-a48b124e2777" providerId="ADAL" clId="{9F8380D4-03F7-4BF6-AD2D-A3D4904663F9}" dt="2019-07-26T14:07:24.687" v="745" actId="1076"/>
          <ac:picMkLst>
            <pc:docMk/>
            <pc:sldMk cId="4291715723" sldId="809"/>
            <ac:picMk id="1026" creationId="{C7D1A0F5-0A60-4C8E-8C14-E542AC8039DC}"/>
          </ac:picMkLst>
        </pc:picChg>
      </pc:sldChg>
      <pc:sldChg chg="addSp delSp modSp add">
        <pc:chgData name="Stephen Gibbons" userId="8dc11794-a8ed-4f7c-8128-a48b124e2777" providerId="ADAL" clId="{9F8380D4-03F7-4BF6-AD2D-A3D4904663F9}" dt="2019-07-26T14:40:23.740" v="1556" actId="20577"/>
        <pc:sldMkLst>
          <pc:docMk/>
          <pc:sldMk cId="1441518077" sldId="811"/>
        </pc:sldMkLst>
        <pc:spChg chg="mod">
          <ac:chgData name="Stephen Gibbons" userId="8dc11794-a8ed-4f7c-8128-a48b124e2777" providerId="ADAL" clId="{9F8380D4-03F7-4BF6-AD2D-A3D4904663F9}" dt="2019-07-26T14:40:23.740" v="1556" actId="20577"/>
          <ac:spMkLst>
            <pc:docMk/>
            <pc:sldMk cId="1441518077" sldId="811"/>
            <ac:spMk id="2" creationId="{95A46B83-915D-46C7-8E6A-EAFF63962100}"/>
          </ac:spMkLst>
        </pc:spChg>
        <pc:spChg chg="del">
          <ac:chgData name="Stephen Gibbons" userId="8dc11794-a8ed-4f7c-8128-a48b124e2777" providerId="ADAL" clId="{9F8380D4-03F7-4BF6-AD2D-A3D4904663F9}" dt="2019-07-26T13:51:08.182" v="738" actId="478"/>
          <ac:spMkLst>
            <pc:docMk/>
            <pc:sldMk cId="1441518077" sldId="811"/>
            <ac:spMk id="6" creationId="{2D22CDE9-3AFB-4225-8B8B-0785EE905096}"/>
          </ac:spMkLst>
        </pc:spChg>
        <pc:spChg chg="mod">
          <ac:chgData name="Stephen Gibbons" userId="8dc11794-a8ed-4f7c-8128-a48b124e2777" providerId="ADAL" clId="{9F8380D4-03F7-4BF6-AD2D-A3D4904663F9}" dt="2019-07-26T14:25:28.034" v="1167"/>
          <ac:spMkLst>
            <pc:docMk/>
            <pc:sldMk cId="1441518077" sldId="811"/>
            <ac:spMk id="7" creationId="{5E16346A-1BF3-44C7-BAF2-D3DFE50F2CE2}"/>
          </ac:spMkLst>
        </pc:spChg>
        <pc:spChg chg="mod">
          <ac:chgData name="Stephen Gibbons" userId="8dc11794-a8ed-4f7c-8128-a48b124e2777" providerId="ADAL" clId="{9F8380D4-03F7-4BF6-AD2D-A3D4904663F9}" dt="2019-07-26T13:50:51.615" v="736" actId="20577"/>
          <ac:spMkLst>
            <pc:docMk/>
            <pc:sldMk cId="1441518077" sldId="811"/>
            <ac:spMk id="8" creationId="{F93DA376-8518-4C36-AAAD-DE6F5DA468DC}"/>
          </ac:spMkLst>
        </pc:spChg>
        <pc:picChg chg="add">
          <ac:chgData name="Stephen Gibbons" userId="8dc11794-a8ed-4f7c-8128-a48b124e2777" providerId="ADAL" clId="{9F8380D4-03F7-4BF6-AD2D-A3D4904663F9}" dt="2019-07-26T13:51:03.412" v="737"/>
          <ac:picMkLst>
            <pc:docMk/>
            <pc:sldMk cId="1441518077" sldId="811"/>
            <ac:picMk id="9" creationId="{153910AF-CF39-4C0A-82D7-40AB81FA6380}"/>
          </ac:picMkLst>
        </pc:picChg>
        <pc:picChg chg="add">
          <ac:chgData name="Stephen Gibbons" userId="8dc11794-a8ed-4f7c-8128-a48b124e2777" providerId="ADAL" clId="{9F8380D4-03F7-4BF6-AD2D-A3D4904663F9}" dt="2019-07-26T13:51:03.412" v="737"/>
          <ac:picMkLst>
            <pc:docMk/>
            <pc:sldMk cId="1441518077" sldId="811"/>
            <ac:picMk id="10" creationId="{454B98DE-A75D-4941-AD3B-27B62D2BAA72}"/>
          </ac:picMkLst>
        </pc:picChg>
        <pc:picChg chg="add">
          <ac:chgData name="Stephen Gibbons" userId="8dc11794-a8ed-4f7c-8128-a48b124e2777" providerId="ADAL" clId="{9F8380D4-03F7-4BF6-AD2D-A3D4904663F9}" dt="2019-07-26T13:51:03.412" v="737"/>
          <ac:picMkLst>
            <pc:docMk/>
            <pc:sldMk cId="1441518077" sldId="811"/>
            <ac:picMk id="11" creationId="{E534028B-41F8-4FE4-A18D-0E413C212285}"/>
          </ac:picMkLst>
        </pc:picChg>
      </pc:sldChg>
      <pc:sldChg chg="addSp delSp modSp add">
        <pc:chgData name="Stephen Gibbons" userId="8dc11794-a8ed-4f7c-8128-a48b124e2777" providerId="ADAL" clId="{9F8380D4-03F7-4BF6-AD2D-A3D4904663F9}" dt="2019-07-26T14:26:44.847" v="1175" actId="20577"/>
        <pc:sldMkLst>
          <pc:docMk/>
          <pc:sldMk cId="2699093573" sldId="812"/>
        </pc:sldMkLst>
        <pc:spChg chg="mod">
          <ac:chgData name="Stephen Gibbons" userId="8dc11794-a8ed-4f7c-8128-a48b124e2777" providerId="ADAL" clId="{9F8380D4-03F7-4BF6-AD2D-A3D4904663F9}" dt="2019-07-26T14:11:30.417" v="793" actId="20577"/>
          <ac:spMkLst>
            <pc:docMk/>
            <pc:sldMk cId="2699093573" sldId="812"/>
            <ac:spMk id="2" creationId="{E3F35EA4-1A6C-4374-BFFD-D89759A1AB9F}"/>
          </ac:spMkLst>
        </pc:spChg>
        <pc:spChg chg="del">
          <ac:chgData name="Stephen Gibbons" userId="8dc11794-a8ed-4f7c-8128-a48b124e2777" providerId="ADAL" clId="{9F8380D4-03F7-4BF6-AD2D-A3D4904663F9}" dt="2019-07-26T14:11:22.765" v="786" actId="478"/>
          <ac:spMkLst>
            <pc:docMk/>
            <pc:sldMk cId="2699093573" sldId="812"/>
            <ac:spMk id="6" creationId="{5FF01890-A953-431C-873D-9827B945F2BE}"/>
          </ac:spMkLst>
        </pc:spChg>
        <pc:spChg chg="mod">
          <ac:chgData name="Stephen Gibbons" userId="8dc11794-a8ed-4f7c-8128-a48b124e2777" providerId="ADAL" clId="{9F8380D4-03F7-4BF6-AD2D-A3D4904663F9}" dt="2019-07-26T14:26:44.847" v="1175" actId="20577"/>
          <ac:spMkLst>
            <pc:docMk/>
            <pc:sldMk cId="2699093573" sldId="812"/>
            <ac:spMk id="7" creationId="{476D857E-6890-4E07-AF39-53A992514FE4}"/>
          </ac:spMkLst>
        </pc:spChg>
        <pc:spChg chg="mod">
          <ac:chgData name="Stephen Gibbons" userId="8dc11794-a8ed-4f7c-8128-a48b124e2777" providerId="ADAL" clId="{9F8380D4-03F7-4BF6-AD2D-A3D4904663F9}" dt="2019-07-26T14:11:39.131" v="819" actId="20577"/>
          <ac:spMkLst>
            <pc:docMk/>
            <pc:sldMk cId="2699093573" sldId="812"/>
            <ac:spMk id="8" creationId="{9ED0C3A2-47CB-4932-BDBB-DA35F9A4CF46}"/>
          </ac:spMkLst>
        </pc:spChg>
        <pc:spChg chg="add mod">
          <ac:chgData name="Stephen Gibbons" userId="8dc11794-a8ed-4f7c-8128-a48b124e2777" providerId="ADAL" clId="{9F8380D4-03F7-4BF6-AD2D-A3D4904663F9}" dt="2019-07-26T14:11:19.442" v="785" actId="1076"/>
          <ac:spMkLst>
            <pc:docMk/>
            <pc:sldMk cId="2699093573" sldId="812"/>
            <ac:spMk id="12" creationId="{04D10056-581E-4666-BBFF-46C0FB46EF41}"/>
          </ac:spMkLst>
        </pc:spChg>
        <pc:picChg chg="add mod">
          <ac:chgData name="Stephen Gibbons" userId="8dc11794-a8ed-4f7c-8128-a48b124e2777" providerId="ADAL" clId="{9F8380D4-03F7-4BF6-AD2D-A3D4904663F9}" dt="2019-07-26T14:11:19.442" v="785" actId="1076"/>
          <ac:picMkLst>
            <pc:docMk/>
            <pc:sldMk cId="2699093573" sldId="812"/>
            <ac:picMk id="9" creationId="{A4ADE222-E022-45A7-8CBD-DEEEABEBB8B7}"/>
          </ac:picMkLst>
        </pc:picChg>
        <pc:picChg chg="add mod">
          <ac:chgData name="Stephen Gibbons" userId="8dc11794-a8ed-4f7c-8128-a48b124e2777" providerId="ADAL" clId="{9F8380D4-03F7-4BF6-AD2D-A3D4904663F9}" dt="2019-07-26T14:11:19.442" v="785" actId="1076"/>
          <ac:picMkLst>
            <pc:docMk/>
            <pc:sldMk cId="2699093573" sldId="812"/>
            <ac:picMk id="10" creationId="{F3E044D7-7652-4A67-8983-E5471DB3F25F}"/>
          </ac:picMkLst>
        </pc:picChg>
        <pc:cxnChg chg="add mod">
          <ac:chgData name="Stephen Gibbons" userId="8dc11794-a8ed-4f7c-8128-a48b124e2777" providerId="ADAL" clId="{9F8380D4-03F7-4BF6-AD2D-A3D4904663F9}" dt="2019-07-26T14:11:19.442" v="785" actId="1076"/>
          <ac:cxnSpMkLst>
            <pc:docMk/>
            <pc:sldMk cId="2699093573" sldId="812"/>
            <ac:cxnSpMk id="11" creationId="{438A1052-9F92-4489-99E9-BDAE88AAB536}"/>
          </ac:cxnSpMkLst>
        </pc:cxnChg>
      </pc:sldChg>
      <pc:sldChg chg="addSp delSp modSp add modAnim">
        <pc:chgData name="Stephen Gibbons" userId="8dc11794-a8ed-4f7c-8128-a48b124e2777" providerId="ADAL" clId="{9F8380D4-03F7-4BF6-AD2D-A3D4904663F9}" dt="2019-07-26T14:55:01.394" v="1843" actId="20577"/>
        <pc:sldMkLst>
          <pc:docMk/>
          <pc:sldMk cId="642345755" sldId="813"/>
        </pc:sldMkLst>
        <pc:spChg chg="mod">
          <ac:chgData name="Stephen Gibbons" userId="8dc11794-a8ed-4f7c-8128-a48b124e2777" providerId="ADAL" clId="{9F8380D4-03F7-4BF6-AD2D-A3D4904663F9}" dt="2019-07-26T14:29:16.265" v="1370" actId="20577"/>
          <ac:spMkLst>
            <pc:docMk/>
            <pc:sldMk cId="642345755" sldId="813"/>
            <ac:spMk id="2" creationId="{3DC283EB-C799-4D19-AA50-AB8408790876}"/>
          </ac:spMkLst>
        </pc:spChg>
        <pc:spChg chg="mod">
          <ac:chgData name="Stephen Gibbons" userId="8dc11794-a8ed-4f7c-8128-a48b124e2777" providerId="ADAL" clId="{9F8380D4-03F7-4BF6-AD2D-A3D4904663F9}" dt="2019-07-26T14:36:18.693" v="1479" actId="122"/>
          <ac:spMkLst>
            <pc:docMk/>
            <pc:sldMk cId="642345755" sldId="813"/>
            <ac:spMk id="6" creationId="{CCD18A68-0E0D-497D-9272-FE4272E76224}"/>
          </ac:spMkLst>
        </pc:spChg>
        <pc:spChg chg="del">
          <ac:chgData name="Stephen Gibbons" userId="8dc11794-a8ed-4f7c-8128-a48b124e2777" providerId="ADAL" clId="{9F8380D4-03F7-4BF6-AD2D-A3D4904663F9}" dt="2019-07-26T14:30:23.779" v="1432"/>
          <ac:spMkLst>
            <pc:docMk/>
            <pc:sldMk cId="642345755" sldId="813"/>
            <ac:spMk id="7" creationId="{67DFD379-55A8-40D8-BD22-9837D93856E4}"/>
          </ac:spMkLst>
        </pc:spChg>
        <pc:spChg chg="mod">
          <ac:chgData name="Stephen Gibbons" userId="8dc11794-a8ed-4f7c-8128-a48b124e2777" providerId="ADAL" clId="{9F8380D4-03F7-4BF6-AD2D-A3D4904663F9}" dt="2019-07-26T14:36:18.693" v="1479" actId="122"/>
          <ac:spMkLst>
            <pc:docMk/>
            <pc:sldMk cId="642345755" sldId="813"/>
            <ac:spMk id="8" creationId="{5357A048-C04D-47BC-B30E-C577B2FD56DC}"/>
          </ac:spMkLst>
        </pc:spChg>
        <pc:spChg chg="del">
          <ac:chgData name="Stephen Gibbons" userId="8dc11794-a8ed-4f7c-8128-a48b124e2777" providerId="ADAL" clId="{9F8380D4-03F7-4BF6-AD2D-A3D4904663F9}" dt="2019-07-26T14:34:44.500" v="1472" actId="478"/>
          <ac:spMkLst>
            <pc:docMk/>
            <pc:sldMk cId="642345755" sldId="813"/>
            <ac:spMk id="9" creationId="{E03BF6EB-4B3A-447C-A007-F59E08E78C67}"/>
          </ac:spMkLst>
        </pc:spChg>
        <pc:spChg chg="mod">
          <ac:chgData name="Stephen Gibbons" userId="8dc11794-a8ed-4f7c-8128-a48b124e2777" providerId="ADAL" clId="{9F8380D4-03F7-4BF6-AD2D-A3D4904663F9}" dt="2019-07-26T14:36:18.693" v="1479" actId="122"/>
          <ac:spMkLst>
            <pc:docMk/>
            <pc:sldMk cId="642345755" sldId="813"/>
            <ac:spMk id="10" creationId="{90D519BF-C721-4600-8C5F-ED62C3AD6457}"/>
          </ac:spMkLst>
        </pc:spChg>
        <pc:spChg chg="del">
          <ac:chgData name="Stephen Gibbons" userId="8dc11794-a8ed-4f7c-8128-a48b124e2777" providerId="ADAL" clId="{9F8380D4-03F7-4BF6-AD2D-A3D4904663F9}" dt="2019-07-26T14:35:58.867" v="1478" actId="478"/>
          <ac:spMkLst>
            <pc:docMk/>
            <pc:sldMk cId="642345755" sldId="813"/>
            <ac:spMk id="11" creationId="{F0E04567-15FB-4EED-8150-D444EFB93027}"/>
          </ac:spMkLst>
        </pc:spChg>
        <pc:spChg chg="mod">
          <ac:chgData name="Stephen Gibbons" userId="8dc11794-a8ed-4f7c-8128-a48b124e2777" providerId="ADAL" clId="{9F8380D4-03F7-4BF6-AD2D-A3D4904663F9}" dt="2019-07-26T14:28:47.377" v="1337" actId="20577"/>
          <ac:spMkLst>
            <pc:docMk/>
            <pc:sldMk cId="642345755" sldId="813"/>
            <ac:spMk id="12" creationId="{5AA089FC-0DD9-4ABB-B573-019E6DB49825}"/>
          </ac:spMkLst>
        </pc:spChg>
        <pc:spChg chg="mod">
          <ac:chgData name="Stephen Gibbons" userId="8dc11794-a8ed-4f7c-8128-a48b124e2777" providerId="ADAL" clId="{9F8380D4-03F7-4BF6-AD2D-A3D4904663F9}" dt="2019-07-26T14:55:01.394" v="1843" actId="20577"/>
          <ac:spMkLst>
            <pc:docMk/>
            <pc:sldMk cId="642345755" sldId="813"/>
            <ac:spMk id="13" creationId="{02CAAB55-7B78-43FB-B248-8D85F3E6A9EE}"/>
          </ac:spMkLst>
        </pc:spChg>
        <pc:grpChg chg="add mod">
          <ac:chgData name="Stephen Gibbons" userId="8dc11794-a8ed-4f7c-8128-a48b124e2777" providerId="ADAL" clId="{9F8380D4-03F7-4BF6-AD2D-A3D4904663F9}" dt="2019-07-26T14:32:43.596" v="1462" actId="1037"/>
          <ac:grpSpMkLst>
            <pc:docMk/>
            <pc:sldMk cId="642345755" sldId="813"/>
            <ac:grpSpMk id="19" creationId="{278FA54C-0084-45BF-9D35-D81D8F0B12D6}"/>
          </ac:grpSpMkLst>
        </pc:grpChg>
        <pc:picChg chg="add mod modCrop">
          <ac:chgData name="Stephen Gibbons" userId="8dc11794-a8ed-4f7c-8128-a48b124e2777" providerId="ADAL" clId="{9F8380D4-03F7-4BF6-AD2D-A3D4904663F9}" dt="2019-07-26T14:31:14.029" v="1439" actId="732"/>
          <ac:picMkLst>
            <pc:docMk/>
            <pc:sldMk cId="642345755" sldId="813"/>
            <ac:picMk id="14" creationId="{B01E2D1A-71CF-4ABC-9AA6-E3E446A5D718}"/>
          </ac:picMkLst>
        </pc:picChg>
        <pc:picChg chg="add mod">
          <ac:chgData name="Stephen Gibbons" userId="8dc11794-a8ed-4f7c-8128-a48b124e2777" providerId="ADAL" clId="{9F8380D4-03F7-4BF6-AD2D-A3D4904663F9}" dt="2019-07-26T14:33:04.557" v="1471" actId="1038"/>
          <ac:picMkLst>
            <pc:docMk/>
            <pc:sldMk cId="642345755" sldId="813"/>
            <ac:picMk id="15" creationId="{4022F610-7C69-4F69-855F-14230B5F18A3}"/>
          </ac:picMkLst>
        </pc:picChg>
        <pc:picChg chg="add mod">
          <ac:chgData name="Stephen Gibbons" userId="8dc11794-a8ed-4f7c-8128-a48b124e2777" providerId="ADAL" clId="{9F8380D4-03F7-4BF6-AD2D-A3D4904663F9}" dt="2019-07-26T14:31:46.824" v="1444" actId="164"/>
          <ac:picMkLst>
            <pc:docMk/>
            <pc:sldMk cId="642345755" sldId="813"/>
            <ac:picMk id="16" creationId="{3D7C473B-32FC-4349-BEC6-49E2CB590351}"/>
          </ac:picMkLst>
        </pc:picChg>
        <pc:picChg chg="add mod">
          <ac:chgData name="Stephen Gibbons" userId="8dc11794-a8ed-4f7c-8128-a48b124e2777" providerId="ADAL" clId="{9F8380D4-03F7-4BF6-AD2D-A3D4904663F9}" dt="2019-07-26T14:31:46.824" v="1444" actId="164"/>
          <ac:picMkLst>
            <pc:docMk/>
            <pc:sldMk cId="642345755" sldId="813"/>
            <ac:picMk id="17" creationId="{8B7E8B76-E64E-4ACA-8AF0-DD0B7A015F39}"/>
          </ac:picMkLst>
        </pc:picChg>
        <pc:picChg chg="add mod">
          <ac:chgData name="Stephen Gibbons" userId="8dc11794-a8ed-4f7c-8128-a48b124e2777" providerId="ADAL" clId="{9F8380D4-03F7-4BF6-AD2D-A3D4904663F9}" dt="2019-07-26T14:31:46.824" v="1444" actId="164"/>
          <ac:picMkLst>
            <pc:docMk/>
            <pc:sldMk cId="642345755" sldId="813"/>
            <ac:picMk id="18" creationId="{FF1A0224-1915-4A69-A91B-5A647D7FC4FD}"/>
          </ac:picMkLst>
        </pc:picChg>
        <pc:picChg chg="add mod">
          <ac:chgData name="Stephen Gibbons" userId="8dc11794-a8ed-4f7c-8128-a48b124e2777" providerId="ADAL" clId="{9F8380D4-03F7-4BF6-AD2D-A3D4904663F9}" dt="2019-07-26T14:35:56.097" v="1477" actId="1076"/>
          <ac:picMkLst>
            <pc:docMk/>
            <pc:sldMk cId="642345755" sldId="813"/>
            <ac:picMk id="20" creationId="{D7971209-A16C-4D64-AC32-102C5B1CD2B7}"/>
          </ac:picMkLst>
        </pc:picChg>
      </pc:sldChg>
      <pc:sldChg chg="addSp delSp modSp add">
        <pc:chgData name="Stephen Gibbons" userId="8dc11794-a8ed-4f7c-8128-a48b124e2777" providerId="ADAL" clId="{9F8380D4-03F7-4BF6-AD2D-A3D4904663F9}" dt="2019-08-09T14:36:29.157" v="3775" actId="20577"/>
        <pc:sldMkLst>
          <pc:docMk/>
          <pc:sldMk cId="890577894" sldId="814"/>
        </pc:sldMkLst>
        <pc:spChg chg="mod">
          <ac:chgData name="Stephen Gibbons" userId="8dc11794-a8ed-4f7c-8128-a48b124e2777" providerId="ADAL" clId="{9F8380D4-03F7-4BF6-AD2D-A3D4904663F9}" dt="2019-08-09T14:28:39.387" v="3561" actId="20577"/>
          <ac:spMkLst>
            <pc:docMk/>
            <pc:sldMk cId="890577894" sldId="814"/>
            <ac:spMk id="2" creationId="{5B895729-4838-4FBA-9525-4C794E35C2B3}"/>
          </ac:spMkLst>
        </pc:spChg>
        <pc:spChg chg="del">
          <ac:chgData name="Stephen Gibbons" userId="8dc11794-a8ed-4f7c-8128-a48b124e2777" providerId="ADAL" clId="{9F8380D4-03F7-4BF6-AD2D-A3D4904663F9}" dt="2019-07-26T14:41:21.036" v="1559"/>
          <ac:spMkLst>
            <pc:docMk/>
            <pc:sldMk cId="890577894" sldId="814"/>
            <ac:spMk id="6" creationId="{0EA91573-1B73-484C-9D68-C451A6A17B70}"/>
          </ac:spMkLst>
        </pc:spChg>
        <pc:spChg chg="add del mod">
          <ac:chgData name="Stephen Gibbons" userId="8dc11794-a8ed-4f7c-8128-a48b124e2777" providerId="ADAL" clId="{9F8380D4-03F7-4BF6-AD2D-A3D4904663F9}" dt="2019-08-09T14:36:15.617" v="3732" actId="20577"/>
          <ac:spMkLst>
            <pc:docMk/>
            <pc:sldMk cId="890577894" sldId="814"/>
            <ac:spMk id="7" creationId="{27D3F8D2-FC9F-4FAA-B465-3C9532F93822}"/>
          </ac:spMkLst>
        </pc:spChg>
        <pc:spChg chg="mod">
          <ac:chgData name="Stephen Gibbons" userId="8dc11794-a8ed-4f7c-8128-a48b124e2777" providerId="ADAL" clId="{9F8380D4-03F7-4BF6-AD2D-A3D4904663F9}" dt="2019-08-09T14:36:29.157" v="3775" actId="20577"/>
          <ac:spMkLst>
            <pc:docMk/>
            <pc:sldMk cId="890577894" sldId="814"/>
            <ac:spMk id="8" creationId="{A367C9C8-23FF-4627-8CC4-E2C9A8C7A6F4}"/>
          </ac:spMkLst>
        </pc:spChg>
        <pc:spChg chg="add del mod">
          <ac:chgData name="Stephen Gibbons" userId="8dc11794-a8ed-4f7c-8128-a48b124e2777" providerId="ADAL" clId="{9F8380D4-03F7-4BF6-AD2D-A3D4904663F9}" dt="2019-08-09T14:33:24.747" v="3646"/>
          <ac:spMkLst>
            <pc:docMk/>
            <pc:sldMk cId="890577894" sldId="814"/>
            <ac:spMk id="9" creationId="{5B7C7EC6-F486-4F6A-8DAA-3AAD654DB53C}"/>
          </ac:spMkLst>
        </pc:spChg>
        <pc:spChg chg="add del mod">
          <ac:chgData name="Stephen Gibbons" userId="8dc11794-a8ed-4f7c-8128-a48b124e2777" providerId="ADAL" clId="{9F8380D4-03F7-4BF6-AD2D-A3D4904663F9}" dt="2019-08-09T14:33:07.200" v="3645" actId="478"/>
          <ac:spMkLst>
            <pc:docMk/>
            <pc:sldMk cId="890577894" sldId="814"/>
            <ac:spMk id="23" creationId="{14A2A3BA-AE78-429C-A561-A32134FEDEB9}"/>
          </ac:spMkLst>
        </pc:spChg>
        <pc:spChg chg="add del mod">
          <ac:chgData name="Stephen Gibbons" userId="8dc11794-a8ed-4f7c-8128-a48b124e2777" providerId="ADAL" clId="{9F8380D4-03F7-4BF6-AD2D-A3D4904663F9}" dt="2019-08-09T14:33:07.200" v="3645" actId="478"/>
          <ac:spMkLst>
            <pc:docMk/>
            <pc:sldMk cId="890577894" sldId="814"/>
            <ac:spMk id="24" creationId="{19AC0D47-DAB1-461D-AB16-29C4EF90BAA4}"/>
          </ac:spMkLst>
        </pc:spChg>
        <pc:spChg chg="add del mod">
          <ac:chgData name="Stephen Gibbons" userId="8dc11794-a8ed-4f7c-8128-a48b124e2777" providerId="ADAL" clId="{9F8380D4-03F7-4BF6-AD2D-A3D4904663F9}" dt="2019-08-09T14:33:07.200" v="3645" actId="478"/>
          <ac:spMkLst>
            <pc:docMk/>
            <pc:sldMk cId="890577894" sldId="814"/>
            <ac:spMk id="25" creationId="{5BA48BB2-8EBF-44DA-AA54-E469573FBFBB}"/>
          </ac:spMkLst>
        </pc:spChg>
        <pc:spChg chg="add del mod">
          <ac:chgData name="Stephen Gibbons" userId="8dc11794-a8ed-4f7c-8128-a48b124e2777" providerId="ADAL" clId="{9F8380D4-03F7-4BF6-AD2D-A3D4904663F9}" dt="2019-08-09T14:33:07.200" v="3645" actId="478"/>
          <ac:spMkLst>
            <pc:docMk/>
            <pc:sldMk cId="890577894" sldId="814"/>
            <ac:spMk id="26" creationId="{C474EDC0-8313-4821-9F45-562B4EDC4FCF}"/>
          </ac:spMkLst>
        </pc:spChg>
        <pc:picChg chg="add del mod">
          <ac:chgData name="Stephen Gibbons" userId="8dc11794-a8ed-4f7c-8128-a48b124e2777" providerId="ADAL" clId="{9F8380D4-03F7-4BF6-AD2D-A3D4904663F9}" dt="2019-07-26T14:41:18.913" v="1558"/>
          <ac:picMkLst>
            <pc:docMk/>
            <pc:sldMk cId="890577894" sldId="814"/>
            <ac:picMk id="10" creationId="{70E6AF47-31E9-4821-A14E-FF1A919D33C9}"/>
          </ac:picMkLst>
        </pc:picChg>
        <pc:picChg chg="add del mod modCrop">
          <ac:chgData name="Stephen Gibbons" userId="8dc11794-a8ed-4f7c-8128-a48b124e2777" providerId="ADAL" clId="{9F8380D4-03F7-4BF6-AD2D-A3D4904663F9}" dt="2019-08-09T14:33:07.200" v="3645" actId="478"/>
          <ac:picMkLst>
            <pc:docMk/>
            <pc:sldMk cId="890577894" sldId="814"/>
            <ac:picMk id="12" creationId="{A827E2D4-3924-4F5E-B33C-53B6941E92BB}"/>
          </ac:picMkLst>
        </pc:picChg>
        <pc:picChg chg="add del mod">
          <ac:chgData name="Stephen Gibbons" userId="8dc11794-a8ed-4f7c-8128-a48b124e2777" providerId="ADAL" clId="{9F8380D4-03F7-4BF6-AD2D-A3D4904663F9}" dt="2019-07-26T14:42:07.333" v="1565"/>
          <ac:picMkLst>
            <pc:docMk/>
            <pc:sldMk cId="890577894" sldId="814"/>
            <ac:picMk id="14" creationId="{F15E256D-EC7C-41CA-A329-CF2B6BABA52F}"/>
          </ac:picMkLst>
        </pc:picChg>
        <pc:picChg chg="add del mod">
          <ac:chgData name="Stephen Gibbons" userId="8dc11794-a8ed-4f7c-8128-a48b124e2777" providerId="ADAL" clId="{9F8380D4-03F7-4BF6-AD2D-A3D4904663F9}" dt="2019-07-26T14:42:11.737" v="1567"/>
          <ac:picMkLst>
            <pc:docMk/>
            <pc:sldMk cId="890577894" sldId="814"/>
            <ac:picMk id="16" creationId="{132E28FF-2F01-4BD5-8601-1ABC08019C34}"/>
          </ac:picMkLst>
        </pc:picChg>
        <pc:picChg chg="add del mod">
          <ac:chgData name="Stephen Gibbons" userId="8dc11794-a8ed-4f7c-8128-a48b124e2777" providerId="ADAL" clId="{9F8380D4-03F7-4BF6-AD2D-A3D4904663F9}" dt="2019-08-09T14:33:07.200" v="3645" actId="478"/>
          <ac:picMkLst>
            <pc:docMk/>
            <pc:sldMk cId="890577894" sldId="814"/>
            <ac:picMk id="18" creationId="{3C6D2F0B-9016-4DC3-866E-41002433E38F}"/>
          </ac:picMkLst>
        </pc:picChg>
        <pc:picChg chg="add mod">
          <ac:chgData name="Stephen Gibbons" userId="8dc11794-a8ed-4f7c-8128-a48b124e2777" providerId="ADAL" clId="{9F8380D4-03F7-4BF6-AD2D-A3D4904663F9}" dt="2019-08-09T14:33:24.747" v="3646"/>
          <ac:picMkLst>
            <pc:docMk/>
            <pc:sldMk cId="890577894" sldId="814"/>
            <ac:picMk id="19" creationId="{1B6641C4-44ED-49A5-9A10-AD3C7436EB99}"/>
          </ac:picMkLst>
        </pc:picChg>
        <pc:picChg chg="add del mod modCrop">
          <ac:chgData name="Stephen Gibbons" userId="8dc11794-a8ed-4f7c-8128-a48b124e2777" providerId="ADAL" clId="{9F8380D4-03F7-4BF6-AD2D-A3D4904663F9}" dt="2019-08-09T14:33:07.200" v="3645" actId="478"/>
          <ac:picMkLst>
            <pc:docMk/>
            <pc:sldMk cId="890577894" sldId="814"/>
            <ac:picMk id="20" creationId="{E2EB1E7A-6463-4F9E-9B5A-F35F8F842576}"/>
          </ac:picMkLst>
        </pc:picChg>
        <pc:picChg chg="add del mod modCrop">
          <ac:chgData name="Stephen Gibbons" userId="8dc11794-a8ed-4f7c-8128-a48b124e2777" providerId="ADAL" clId="{9F8380D4-03F7-4BF6-AD2D-A3D4904663F9}" dt="2019-08-09T14:33:07.200" v="3645" actId="478"/>
          <ac:picMkLst>
            <pc:docMk/>
            <pc:sldMk cId="890577894" sldId="814"/>
            <ac:picMk id="22" creationId="{D22E0660-250E-4E38-98DE-367CD3311844}"/>
          </ac:picMkLst>
        </pc:picChg>
      </pc:sldChg>
      <pc:sldChg chg="addSp delSp modSp add">
        <pc:chgData name="Stephen Gibbons" userId="8dc11794-a8ed-4f7c-8128-a48b124e2777" providerId="ADAL" clId="{9F8380D4-03F7-4BF6-AD2D-A3D4904663F9}" dt="2019-07-26T15:29:54.914" v="3158" actId="113"/>
        <pc:sldMkLst>
          <pc:docMk/>
          <pc:sldMk cId="783840877" sldId="815"/>
        </pc:sldMkLst>
        <pc:spChg chg="mod">
          <ac:chgData name="Stephen Gibbons" userId="8dc11794-a8ed-4f7c-8128-a48b124e2777" providerId="ADAL" clId="{9F8380D4-03F7-4BF6-AD2D-A3D4904663F9}" dt="2019-07-26T14:51:43.047" v="1809" actId="20577"/>
          <ac:spMkLst>
            <pc:docMk/>
            <pc:sldMk cId="783840877" sldId="815"/>
            <ac:spMk id="2" creationId="{88AFC4AF-9E94-4AB0-ABC6-A755B54AED11}"/>
          </ac:spMkLst>
        </pc:spChg>
        <pc:spChg chg="del">
          <ac:chgData name="Stephen Gibbons" userId="8dc11794-a8ed-4f7c-8128-a48b124e2777" providerId="ADAL" clId="{9F8380D4-03F7-4BF6-AD2D-A3D4904663F9}" dt="2019-07-26T14:52:32.687" v="1813"/>
          <ac:spMkLst>
            <pc:docMk/>
            <pc:sldMk cId="783840877" sldId="815"/>
            <ac:spMk id="6" creationId="{07DAFE58-11CB-4E5F-8A78-E47CD72749B0}"/>
          </ac:spMkLst>
        </pc:spChg>
        <pc:spChg chg="mod">
          <ac:chgData name="Stephen Gibbons" userId="8dc11794-a8ed-4f7c-8128-a48b124e2777" providerId="ADAL" clId="{9F8380D4-03F7-4BF6-AD2D-A3D4904663F9}" dt="2019-07-26T15:29:54.914" v="3158" actId="113"/>
          <ac:spMkLst>
            <pc:docMk/>
            <pc:sldMk cId="783840877" sldId="815"/>
            <ac:spMk id="7" creationId="{67378C0C-2B46-4956-8315-2B4184C9AE34}"/>
          </ac:spMkLst>
        </pc:spChg>
        <pc:spChg chg="mod">
          <ac:chgData name="Stephen Gibbons" userId="8dc11794-a8ed-4f7c-8128-a48b124e2777" providerId="ADAL" clId="{9F8380D4-03F7-4BF6-AD2D-A3D4904663F9}" dt="2019-07-26T14:52:15.276" v="1812" actId="20577"/>
          <ac:spMkLst>
            <pc:docMk/>
            <pc:sldMk cId="783840877" sldId="815"/>
            <ac:spMk id="8" creationId="{19B30CCA-4101-4569-B540-3853A2D4C2F4}"/>
          </ac:spMkLst>
        </pc:spChg>
        <pc:picChg chg="add mod">
          <ac:chgData name="Stephen Gibbons" userId="8dc11794-a8ed-4f7c-8128-a48b124e2777" providerId="ADAL" clId="{9F8380D4-03F7-4BF6-AD2D-A3D4904663F9}" dt="2019-07-26T14:52:45.690" v="1816" actId="1076"/>
          <ac:picMkLst>
            <pc:docMk/>
            <pc:sldMk cId="783840877" sldId="815"/>
            <ac:picMk id="9" creationId="{FC7BEC28-17D4-4228-A846-5832A555B38E}"/>
          </ac:picMkLst>
        </pc:picChg>
      </pc:sldChg>
      <pc:sldChg chg="addSp modSp add ord">
        <pc:chgData name="Stephen Gibbons" userId="8dc11794-a8ed-4f7c-8128-a48b124e2777" providerId="ADAL" clId="{9F8380D4-03F7-4BF6-AD2D-A3D4904663F9}" dt="2019-07-26T15:18:24.475" v="2454"/>
        <pc:sldMkLst>
          <pc:docMk/>
          <pc:sldMk cId="540948698" sldId="817"/>
        </pc:sldMkLst>
        <pc:spChg chg="mod">
          <ac:chgData name="Stephen Gibbons" userId="8dc11794-a8ed-4f7c-8128-a48b124e2777" providerId="ADAL" clId="{9F8380D4-03F7-4BF6-AD2D-A3D4904663F9}" dt="2019-07-26T15:16:32.189" v="2420" actId="108"/>
          <ac:spMkLst>
            <pc:docMk/>
            <pc:sldMk cId="540948698" sldId="817"/>
            <ac:spMk id="2" creationId="{7558CFEF-2B71-4CA8-9FED-2E68312FFD17}"/>
          </ac:spMkLst>
        </pc:spChg>
        <pc:spChg chg="mod">
          <ac:chgData name="Stephen Gibbons" userId="8dc11794-a8ed-4f7c-8128-a48b124e2777" providerId="ADAL" clId="{9F8380D4-03F7-4BF6-AD2D-A3D4904663F9}" dt="2019-07-26T15:18:09.095" v="2451"/>
          <ac:spMkLst>
            <pc:docMk/>
            <pc:sldMk cId="540948698" sldId="817"/>
            <ac:spMk id="3" creationId="{4DC0E85F-1382-45DC-9DF0-1E930FFC5914}"/>
          </ac:spMkLst>
        </pc:spChg>
        <pc:spChg chg="mod">
          <ac:chgData name="Stephen Gibbons" userId="8dc11794-a8ed-4f7c-8128-a48b124e2777" providerId="ADAL" clId="{9F8380D4-03F7-4BF6-AD2D-A3D4904663F9}" dt="2019-07-26T15:18:15.752" v="2453" actId="20577"/>
          <ac:spMkLst>
            <pc:docMk/>
            <pc:sldMk cId="540948698" sldId="817"/>
            <ac:spMk id="7" creationId="{410519D0-5FDD-400D-B9D9-3554134A5C45}"/>
          </ac:spMkLst>
        </pc:spChg>
        <pc:spChg chg="mod">
          <ac:chgData name="Stephen Gibbons" userId="8dc11794-a8ed-4f7c-8128-a48b124e2777" providerId="ADAL" clId="{9F8380D4-03F7-4BF6-AD2D-A3D4904663F9}" dt="2019-07-26T15:17:36.807" v="2439" actId="6549"/>
          <ac:spMkLst>
            <pc:docMk/>
            <pc:sldMk cId="540948698" sldId="817"/>
            <ac:spMk id="8" creationId="{E695A0CF-286D-4C63-A7BA-949856304898}"/>
          </ac:spMkLst>
        </pc:spChg>
        <pc:spChg chg="add mod">
          <ac:chgData name="Stephen Gibbons" userId="8dc11794-a8ed-4f7c-8128-a48b124e2777" providerId="ADAL" clId="{9F8380D4-03F7-4BF6-AD2D-A3D4904663F9}" dt="2019-07-26T15:17:12.118" v="2436" actId="1036"/>
          <ac:spMkLst>
            <pc:docMk/>
            <pc:sldMk cId="540948698" sldId="817"/>
            <ac:spMk id="9" creationId="{FD9831EA-4A55-4724-B686-FFABB36D0F3C}"/>
          </ac:spMkLst>
        </pc:spChg>
        <pc:spChg chg="add mod">
          <ac:chgData name="Stephen Gibbons" userId="8dc11794-a8ed-4f7c-8128-a48b124e2777" providerId="ADAL" clId="{9F8380D4-03F7-4BF6-AD2D-A3D4904663F9}" dt="2019-07-26T15:17:06.860" v="2432" actId="1035"/>
          <ac:spMkLst>
            <pc:docMk/>
            <pc:sldMk cId="540948698" sldId="817"/>
            <ac:spMk id="10" creationId="{1BA53D8E-0311-4B80-84DF-BBA2AE2C1889}"/>
          </ac:spMkLst>
        </pc:spChg>
        <pc:spChg chg="add mod">
          <ac:chgData name="Stephen Gibbons" userId="8dc11794-a8ed-4f7c-8128-a48b124e2777" providerId="ADAL" clId="{9F8380D4-03F7-4BF6-AD2D-A3D4904663F9}" dt="2019-07-26T15:17:12.118" v="2436" actId="1036"/>
          <ac:spMkLst>
            <pc:docMk/>
            <pc:sldMk cId="540948698" sldId="817"/>
            <ac:spMk id="11" creationId="{6C4676FF-104F-42AB-B6D7-2A9D29FF2793}"/>
          </ac:spMkLst>
        </pc:spChg>
        <pc:spChg chg="add mod">
          <ac:chgData name="Stephen Gibbons" userId="8dc11794-a8ed-4f7c-8128-a48b124e2777" providerId="ADAL" clId="{9F8380D4-03F7-4BF6-AD2D-A3D4904663F9}" dt="2019-07-26T15:17:06.860" v="2432" actId="1035"/>
          <ac:spMkLst>
            <pc:docMk/>
            <pc:sldMk cId="540948698" sldId="817"/>
            <ac:spMk id="12" creationId="{C21C1C75-81A9-4132-94BC-17E4A3223350}"/>
          </ac:spMkLst>
        </pc:spChg>
      </pc:sldChg>
      <pc:sldChg chg="modSp add">
        <pc:chgData name="Stephen Gibbons" userId="8dc11794-a8ed-4f7c-8128-a48b124e2777" providerId="ADAL" clId="{9F8380D4-03F7-4BF6-AD2D-A3D4904663F9}" dt="2019-08-09T14:40:03.064" v="3842" actId="20577"/>
        <pc:sldMkLst>
          <pc:docMk/>
          <pc:sldMk cId="3510136926" sldId="819"/>
        </pc:sldMkLst>
        <pc:spChg chg="mod">
          <ac:chgData name="Stephen Gibbons" userId="8dc11794-a8ed-4f7c-8128-a48b124e2777" providerId="ADAL" clId="{9F8380D4-03F7-4BF6-AD2D-A3D4904663F9}" dt="2019-08-09T14:40:03.064" v="3842" actId="20577"/>
          <ac:spMkLst>
            <pc:docMk/>
            <pc:sldMk cId="3510136926" sldId="819"/>
            <ac:spMk id="7" creationId="{09CF7B58-7315-43E5-8590-7A47B8C7E10E}"/>
          </ac:spMkLst>
        </pc:spChg>
        <pc:graphicFrameChg chg="mod modGraphic">
          <ac:chgData name="Stephen Gibbons" userId="8dc11794-a8ed-4f7c-8128-a48b124e2777" providerId="ADAL" clId="{9F8380D4-03F7-4BF6-AD2D-A3D4904663F9}" dt="2019-08-09T14:12:42.683" v="3245" actId="2084"/>
          <ac:graphicFrameMkLst>
            <pc:docMk/>
            <pc:sldMk cId="3510136926" sldId="819"/>
            <ac:graphicFrameMk id="8" creationId="{DC6804CB-0604-42F3-9226-1A6ADDF3BDDA}"/>
          </ac:graphicFrameMkLst>
        </pc:graphicFrameChg>
      </pc:sldChg>
      <pc:sldChg chg="modSp add">
        <pc:chgData name="Stephen Gibbons" userId="8dc11794-a8ed-4f7c-8128-a48b124e2777" providerId="ADAL" clId="{9F8380D4-03F7-4BF6-AD2D-A3D4904663F9}" dt="2019-08-09T14:17:20.016" v="3364" actId="948"/>
        <pc:sldMkLst>
          <pc:docMk/>
          <pc:sldMk cId="3486035003" sldId="820"/>
        </pc:sldMkLst>
        <pc:spChg chg="mod">
          <ac:chgData name="Stephen Gibbons" userId="8dc11794-a8ed-4f7c-8128-a48b124e2777" providerId="ADAL" clId="{9F8380D4-03F7-4BF6-AD2D-A3D4904663F9}" dt="2019-08-09T14:17:20.016" v="3364" actId="948"/>
          <ac:spMkLst>
            <pc:docMk/>
            <pc:sldMk cId="3486035003" sldId="820"/>
            <ac:spMk id="2" creationId="{0215483F-C7BF-4974-8322-7953F7A24BB2}"/>
          </ac:spMkLst>
        </pc:spChg>
        <pc:spChg chg="mod">
          <ac:chgData name="Stephen Gibbons" userId="8dc11794-a8ed-4f7c-8128-a48b124e2777" providerId="ADAL" clId="{9F8380D4-03F7-4BF6-AD2D-A3D4904663F9}" dt="2019-08-09T14:13:22.956" v="3274" actId="20577"/>
          <ac:spMkLst>
            <pc:docMk/>
            <pc:sldMk cId="3486035003" sldId="820"/>
            <ac:spMk id="3" creationId="{26DD4476-C3E9-4E4D-8C34-69CFC0416F8D}"/>
          </ac:spMkLst>
        </pc:spChg>
        <pc:spChg chg="mod">
          <ac:chgData name="Stephen Gibbons" userId="8dc11794-a8ed-4f7c-8128-a48b124e2777" providerId="ADAL" clId="{9F8380D4-03F7-4BF6-AD2D-A3D4904663F9}" dt="2019-08-09T14:15:49.563" v="3350" actId="20577"/>
          <ac:spMkLst>
            <pc:docMk/>
            <pc:sldMk cId="3486035003" sldId="820"/>
            <ac:spMk id="8" creationId="{DC2A1F22-0D25-47E9-8DA1-2BA21A7221B4}"/>
          </ac:spMkLst>
        </pc:spChg>
      </pc:sldChg>
      <pc:sldChg chg="addSp delSp modSp add">
        <pc:chgData name="Stephen Gibbons" userId="8dc11794-a8ed-4f7c-8128-a48b124e2777" providerId="ADAL" clId="{9F8380D4-03F7-4BF6-AD2D-A3D4904663F9}" dt="2019-08-13T21:04:04.081" v="7701" actId="20577"/>
        <pc:sldMkLst>
          <pc:docMk/>
          <pc:sldMk cId="1736737448" sldId="821"/>
        </pc:sldMkLst>
        <pc:spChg chg="mod">
          <ac:chgData name="Stephen Gibbons" userId="8dc11794-a8ed-4f7c-8128-a48b124e2777" providerId="ADAL" clId="{9F8380D4-03F7-4BF6-AD2D-A3D4904663F9}" dt="2019-08-13T20:56:04.027" v="6994" actId="20577"/>
          <ac:spMkLst>
            <pc:docMk/>
            <pc:sldMk cId="1736737448" sldId="821"/>
            <ac:spMk id="2" creationId="{8FC5975C-6033-4099-89C5-F72F78ED277B}"/>
          </ac:spMkLst>
        </pc:spChg>
        <pc:spChg chg="del">
          <ac:chgData name="Stephen Gibbons" userId="8dc11794-a8ed-4f7c-8128-a48b124e2777" providerId="ADAL" clId="{9F8380D4-03F7-4BF6-AD2D-A3D4904663F9}" dt="2019-08-13T20:49:28.350" v="6965"/>
          <ac:spMkLst>
            <pc:docMk/>
            <pc:sldMk cId="1736737448" sldId="821"/>
            <ac:spMk id="6" creationId="{F8DE07ED-31A8-4DDF-81A8-A8A0AF146619}"/>
          </ac:spMkLst>
        </pc:spChg>
        <pc:spChg chg="mod">
          <ac:chgData name="Stephen Gibbons" userId="8dc11794-a8ed-4f7c-8128-a48b124e2777" providerId="ADAL" clId="{9F8380D4-03F7-4BF6-AD2D-A3D4904663F9}" dt="2019-08-13T21:03:30.155" v="7663" actId="20577"/>
          <ac:spMkLst>
            <pc:docMk/>
            <pc:sldMk cId="1736737448" sldId="821"/>
            <ac:spMk id="7" creationId="{B1BF0A33-ECCD-40CC-BDCD-0E97B3032B58}"/>
          </ac:spMkLst>
        </pc:spChg>
        <pc:spChg chg="mod">
          <ac:chgData name="Stephen Gibbons" userId="8dc11794-a8ed-4f7c-8128-a48b124e2777" providerId="ADAL" clId="{9F8380D4-03F7-4BF6-AD2D-A3D4904663F9}" dt="2019-08-13T21:04:04.081" v="7701" actId="20577"/>
          <ac:spMkLst>
            <pc:docMk/>
            <pc:sldMk cId="1736737448" sldId="821"/>
            <ac:spMk id="8" creationId="{A75D854B-41C6-4EC3-BF43-8A175939A004}"/>
          </ac:spMkLst>
        </pc:spChg>
        <pc:picChg chg="add mod modCrop">
          <ac:chgData name="Stephen Gibbons" userId="8dc11794-a8ed-4f7c-8128-a48b124e2777" providerId="ADAL" clId="{9F8380D4-03F7-4BF6-AD2D-A3D4904663F9}" dt="2019-08-13T20:50:11.929" v="6970" actId="1076"/>
          <ac:picMkLst>
            <pc:docMk/>
            <pc:sldMk cId="1736737448" sldId="821"/>
            <ac:picMk id="10" creationId="{68A48F49-A097-4EC5-BAD6-1B81AAF8D16A}"/>
          </ac:picMkLst>
        </pc:picChg>
      </pc:sldChg>
      <pc:sldChg chg="delSp modSp add addCm modCm">
        <pc:chgData name="Stephen Gibbons" userId="8dc11794-a8ed-4f7c-8128-a48b124e2777" providerId="ADAL" clId="{9F8380D4-03F7-4BF6-AD2D-A3D4904663F9}" dt="2019-08-13T21:19:37.717" v="8331"/>
        <pc:sldMkLst>
          <pc:docMk/>
          <pc:sldMk cId="3906196098" sldId="824"/>
        </pc:sldMkLst>
        <pc:spChg chg="mod">
          <ac:chgData name="Stephen Gibbons" userId="8dc11794-a8ed-4f7c-8128-a48b124e2777" providerId="ADAL" clId="{9F8380D4-03F7-4BF6-AD2D-A3D4904663F9}" dt="2019-08-13T21:05:13.494" v="7721" actId="20577"/>
          <ac:spMkLst>
            <pc:docMk/>
            <pc:sldMk cId="3906196098" sldId="824"/>
            <ac:spMk id="3" creationId="{71168447-CD78-4F8A-AB4E-AC87144E559D}"/>
          </ac:spMkLst>
        </pc:spChg>
        <pc:spChg chg="mod">
          <ac:chgData name="Stephen Gibbons" userId="8dc11794-a8ed-4f7c-8128-a48b124e2777" providerId="ADAL" clId="{9F8380D4-03F7-4BF6-AD2D-A3D4904663F9}" dt="2019-08-13T21:05:21.816" v="7745" actId="20577"/>
          <ac:spMkLst>
            <pc:docMk/>
            <pc:sldMk cId="3906196098" sldId="824"/>
            <ac:spMk id="7" creationId="{09CF7B58-7315-43E5-8590-7A47B8C7E10E}"/>
          </ac:spMkLst>
        </pc:spChg>
        <pc:spChg chg="del">
          <ac:chgData name="Stephen Gibbons" userId="8dc11794-a8ed-4f7c-8128-a48b124e2777" providerId="ADAL" clId="{9F8380D4-03F7-4BF6-AD2D-A3D4904663F9}" dt="2019-08-13T21:10:01.912" v="7893" actId="478"/>
          <ac:spMkLst>
            <pc:docMk/>
            <pc:sldMk cId="3906196098" sldId="824"/>
            <ac:spMk id="48" creationId="{A7D6BB0A-0323-46A2-AB63-5CB413C20A2E}"/>
          </ac:spMkLst>
        </pc:spChg>
        <pc:grpChg chg="del">
          <ac:chgData name="Stephen Gibbons" userId="8dc11794-a8ed-4f7c-8128-a48b124e2777" providerId="ADAL" clId="{9F8380D4-03F7-4BF6-AD2D-A3D4904663F9}" dt="2019-08-13T21:10:01.912" v="7893" actId="478"/>
          <ac:grpSpMkLst>
            <pc:docMk/>
            <pc:sldMk cId="3906196098" sldId="824"/>
            <ac:grpSpMk id="23" creationId="{C48B2949-E647-4C81-8A07-8DDED96D4D44}"/>
          </ac:grpSpMkLst>
        </pc:grpChg>
        <pc:grpChg chg="del">
          <ac:chgData name="Stephen Gibbons" userId="8dc11794-a8ed-4f7c-8128-a48b124e2777" providerId="ADAL" clId="{9F8380D4-03F7-4BF6-AD2D-A3D4904663F9}" dt="2019-08-13T21:10:01.912" v="7893" actId="478"/>
          <ac:grpSpMkLst>
            <pc:docMk/>
            <pc:sldMk cId="3906196098" sldId="824"/>
            <ac:grpSpMk id="34" creationId="{BFD98087-40CA-4EC1-9557-46AED934604B}"/>
          </ac:grpSpMkLst>
        </pc:grpChg>
        <pc:grpChg chg="del">
          <ac:chgData name="Stephen Gibbons" userId="8dc11794-a8ed-4f7c-8128-a48b124e2777" providerId="ADAL" clId="{9F8380D4-03F7-4BF6-AD2D-A3D4904663F9}" dt="2019-08-13T21:10:01.912" v="7893" actId="478"/>
          <ac:grpSpMkLst>
            <pc:docMk/>
            <pc:sldMk cId="3906196098" sldId="824"/>
            <ac:grpSpMk id="52" creationId="{00815343-D10D-4BCD-8D2D-DCDC8DCEB57C}"/>
          </ac:grpSpMkLst>
        </pc:grpChg>
        <pc:grpChg chg="del">
          <ac:chgData name="Stephen Gibbons" userId="8dc11794-a8ed-4f7c-8128-a48b124e2777" providerId="ADAL" clId="{9F8380D4-03F7-4BF6-AD2D-A3D4904663F9}" dt="2019-08-13T21:10:01.912" v="7893" actId="478"/>
          <ac:grpSpMkLst>
            <pc:docMk/>
            <pc:sldMk cId="3906196098" sldId="824"/>
            <ac:grpSpMk id="57" creationId="{145948D3-A55B-4E3D-9C8E-855C11436D38}"/>
          </ac:grpSpMkLst>
        </pc:grpChg>
        <pc:grpChg chg="del">
          <ac:chgData name="Stephen Gibbons" userId="8dc11794-a8ed-4f7c-8128-a48b124e2777" providerId="ADAL" clId="{9F8380D4-03F7-4BF6-AD2D-A3D4904663F9}" dt="2019-08-13T21:10:01.912" v="7893" actId="478"/>
          <ac:grpSpMkLst>
            <pc:docMk/>
            <pc:sldMk cId="3906196098" sldId="824"/>
            <ac:grpSpMk id="76" creationId="{BD28A91F-6A2B-4BE3-A610-499D08E37A8A}"/>
          </ac:grpSpMkLst>
        </pc:grpChg>
        <pc:grpChg chg="del">
          <ac:chgData name="Stephen Gibbons" userId="8dc11794-a8ed-4f7c-8128-a48b124e2777" providerId="ADAL" clId="{9F8380D4-03F7-4BF6-AD2D-A3D4904663F9}" dt="2019-08-13T21:10:01.912" v="7893" actId="478"/>
          <ac:grpSpMkLst>
            <pc:docMk/>
            <pc:sldMk cId="3906196098" sldId="824"/>
            <ac:grpSpMk id="82" creationId="{48C2A725-F99D-4AF3-977F-CD4DE6BADA66}"/>
          </ac:grpSpMkLst>
        </pc:grpChg>
        <pc:grpChg chg="del">
          <ac:chgData name="Stephen Gibbons" userId="8dc11794-a8ed-4f7c-8128-a48b124e2777" providerId="ADAL" clId="{9F8380D4-03F7-4BF6-AD2D-A3D4904663F9}" dt="2019-08-13T21:10:01.912" v="7893" actId="478"/>
          <ac:grpSpMkLst>
            <pc:docMk/>
            <pc:sldMk cId="3906196098" sldId="824"/>
            <ac:grpSpMk id="93" creationId="{C294170A-C515-4B0D-A574-A9CD727ECC76}"/>
          </ac:grpSpMkLst>
        </pc:grpChg>
        <pc:grpChg chg="del">
          <ac:chgData name="Stephen Gibbons" userId="8dc11794-a8ed-4f7c-8128-a48b124e2777" providerId="ADAL" clId="{9F8380D4-03F7-4BF6-AD2D-A3D4904663F9}" dt="2019-08-13T21:10:01.912" v="7893" actId="478"/>
          <ac:grpSpMkLst>
            <pc:docMk/>
            <pc:sldMk cId="3906196098" sldId="824"/>
            <ac:grpSpMk id="97" creationId="{807D7B0C-A0CC-458F-BA62-937EB1FBA71A}"/>
          </ac:grpSpMkLst>
        </pc:grpChg>
        <pc:grpChg chg="del">
          <ac:chgData name="Stephen Gibbons" userId="8dc11794-a8ed-4f7c-8128-a48b124e2777" providerId="ADAL" clId="{9F8380D4-03F7-4BF6-AD2D-A3D4904663F9}" dt="2019-08-13T21:10:01.912" v="7893" actId="478"/>
          <ac:grpSpMkLst>
            <pc:docMk/>
            <pc:sldMk cId="3906196098" sldId="824"/>
            <ac:grpSpMk id="108" creationId="{010ECF57-1B5A-4613-91EF-E04356342F3A}"/>
          </ac:grpSpMkLst>
        </pc:grpChg>
        <pc:grpChg chg="del">
          <ac:chgData name="Stephen Gibbons" userId="8dc11794-a8ed-4f7c-8128-a48b124e2777" providerId="ADAL" clId="{9F8380D4-03F7-4BF6-AD2D-A3D4904663F9}" dt="2019-08-13T21:10:01.912" v="7893" actId="478"/>
          <ac:grpSpMkLst>
            <pc:docMk/>
            <pc:sldMk cId="3906196098" sldId="824"/>
            <ac:grpSpMk id="113" creationId="{F73B413C-5FF6-40B0-9CFA-B03E3BE516E1}"/>
          </ac:grpSpMkLst>
        </pc:grpChg>
        <pc:grpChg chg="del">
          <ac:chgData name="Stephen Gibbons" userId="8dc11794-a8ed-4f7c-8128-a48b124e2777" providerId="ADAL" clId="{9F8380D4-03F7-4BF6-AD2D-A3D4904663F9}" dt="2019-08-13T21:10:01.912" v="7893" actId="478"/>
          <ac:grpSpMkLst>
            <pc:docMk/>
            <pc:sldMk cId="3906196098" sldId="824"/>
            <ac:grpSpMk id="124" creationId="{311EBEC9-529F-4089-B36A-D4FE65B15227}"/>
          </ac:grpSpMkLst>
        </pc:grpChg>
        <pc:grpChg chg="del">
          <ac:chgData name="Stephen Gibbons" userId="8dc11794-a8ed-4f7c-8128-a48b124e2777" providerId="ADAL" clId="{9F8380D4-03F7-4BF6-AD2D-A3D4904663F9}" dt="2019-08-13T21:10:01.912" v="7893" actId="478"/>
          <ac:grpSpMkLst>
            <pc:docMk/>
            <pc:sldMk cId="3906196098" sldId="824"/>
            <ac:grpSpMk id="128" creationId="{057CFB9F-C721-4836-897B-D1D67225ABA0}"/>
          </ac:grpSpMkLst>
        </pc:grpChg>
        <pc:graphicFrameChg chg="mod modGraphic">
          <ac:chgData name="Stephen Gibbons" userId="8dc11794-a8ed-4f7c-8128-a48b124e2777" providerId="ADAL" clId="{9F8380D4-03F7-4BF6-AD2D-A3D4904663F9}" dt="2019-08-13T21:18:09.740" v="8327" actId="20577"/>
          <ac:graphicFrameMkLst>
            <pc:docMk/>
            <pc:sldMk cId="3906196098" sldId="824"/>
            <ac:graphicFrameMk id="8" creationId="{DC6804CB-0604-42F3-9226-1A6ADDF3BDDA}"/>
          </ac:graphicFrameMkLst>
        </pc:graphicFrameChg>
        <pc:cxnChg chg="mod">
          <ac:chgData name="Stephen Gibbons" userId="8dc11794-a8ed-4f7c-8128-a48b124e2777" providerId="ADAL" clId="{9F8380D4-03F7-4BF6-AD2D-A3D4904663F9}" dt="2019-08-13T21:10:01.912" v="7893" actId="478"/>
          <ac:cxnSpMkLst>
            <pc:docMk/>
            <pc:sldMk cId="3906196098" sldId="824"/>
            <ac:cxnSpMk id="55" creationId="{26022712-203F-46C7-9E95-D811E691F478}"/>
          </ac:cxnSpMkLst>
        </pc:cxnChg>
        <pc:cxnChg chg="mod">
          <ac:chgData name="Stephen Gibbons" userId="8dc11794-a8ed-4f7c-8128-a48b124e2777" providerId="ADAL" clId="{9F8380D4-03F7-4BF6-AD2D-A3D4904663F9}" dt="2019-08-13T21:10:01.912" v="7893" actId="478"/>
          <ac:cxnSpMkLst>
            <pc:docMk/>
            <pc:sldMk cId="3906196098" sldId="824"/>
            <ac:cxnSpMk id="60" creationId="{91396243-4A8D-4C9D-87E9-189E42286EDD}"/>
          </ac:cxnSpMkLst>
        </pc:cxnChg>
        <pc:cxnChg chg="mod">
          <ac:chgData name="Stephen Gibbons" userId="8dc11794-a8ed-4f7c-8128-a48b124e2777" providerId="ADAL" clId="{9F8380D4-03F7-4BF6-AD2D-A3D4904663F9}" dt="2019-08-13T21:10:01.912" v="7893" actId="478"/>
          <ac:cxnSpMkLst>
            <pc:docMk/>
            <pc:sldMk cId="3906196098" sldId="824"/>
            <ac:cxnSpMk id="111" creationId="{3D551F28-38F0-41F2-B628-0EEEF8D3917D}"/>
          </ac:cxnSpMkLst>
        </pc:cxnChg>
        <pc:cxnChg chg="mod">
          <ac:chgData name="Stephen Gibbons" userId="8dc11794-a8ed-4f7c-8128-a48b124e2777" providerId="ADAL" clId="{9F8380D4-03F7-4BF6-AD2D-A3D4904663F9}" dt="2019-08-13T21:10:01.912" v="7893" actId="478"/>
          <ac:cxnSpMkLst>
            <pc:docMk/>
            <pc:sldMk cId="3906196098" sldId="824"/>
            <ac:cxnSpMk id="131" creationId="{BAB251B4-7386-4F2A-BB36-0A8D9126766B}"/>
          </ac:cxnSpMkLst>
        </pc:cxnChg>
      </pc:sldChg>
      <pc:sldMasterChg chg="modSldLayout">
        <pc:chgData name="Stephen Gibbons" userId="8dc11794-a8ed-4f7c-8128-a48b124e2777" providerId="ADAL" clId="{9F8380D4-03F7-4BF6-AD2D-A3D4904663F9}" dt="2019-07-26T13:34:09.794" v="422"/>
        <pc:sldMasterMkLst>
          <pc:docMk/>
          <pc:sldMasterMk cId="2242401632" sldId="2147483648"/>
        </pc:sldMasterMkLst>
        <pc:sldLayoutChg chg="addSp delSp">
          <pc:chgData name="Stephen Gibbons" userId="8dc11794-a8ed-4f7c-8128-a48b124e2777" providerId="ADAL" clId="{9F8380D4-03F7-4BF6-AD2D-A3D4904663F9}" dt="2019-07-26T13:34:09.794" v="422"/>
          <pc:sldLayoutMkLst>
            <pc:docMk/>
            <pc:sldMasterMk cId="2242401632" sldId="2147483648"/>
            <pc:sldLayoutMk cId="1324381580" sldId="2147483750"/>
          </pc:sldLayoutMkLst>
          <pc:spChg chg="add">
            <ac:chgData name="Stephen Gibbons" userId="8dc11794-a8ed-4f7c-8128-a48b124e2777" providerId="ADAL" clId="{9F8380D4-03F7-4BF6-AD2D-A3D4904663F9}" dt="2019-07-26T13:34:09.794" v="422"/>
            <ac:spMkLst>
              <pc:docMk/>
              <pc:sldMasterMk cId="2242401632" sldId="2147483648"/>
              <pc:sldLayoutMk cId="1324381580" sldId="2147483750"/>
              <ac:spMk id="9" creationId="{DCF6C023-5400-4841-AF14-FD2156638EE1}"/>
            </ac:spMkLst>
          </pc:spChg>
          <pc:spChg chg="add">
            <ac:chgData name="Stephen Gibbons" userId="8dc11794-a8ed-4f7c-8128-a48b124e2777" providerId="ADAL" clId="{9F8380D4-03F7-4BF6-AD2D-A3D4904663F9}" dt="2019-07-26T13:34:09.794" v="422"/>
            <ac:spMkLst>
              <pc:docMk/>
              <pc:sldMasterMk cId="2242401632" sldId="2147483648"/>
              <pc:sldLayoutMk cId="1324381580" sldId="2147483750"/>
              <ac:spMk id="10" creationId="{E167538E-88F7-453F-8B98-EDFB85F1E45A}"/>
            </ac:spMkLst>
          </pc:spChg>
          <pc:spChg chg="del">
            <ac:chgData name="Stephen Gibbons" userId="8dc11794-a8ed-4f7c-8128-a48b124e2777" providerId="ADAL" clId="{9F8380D4-03F7-4BF6-AD2D-A3D4904663F9}" dt="2019-07-26T13:33:49.697" v="421" actId="478"/>
            <ac:spMkLst>
              <pc:docMk/>
              <pc:sldMasterMk cId="2242401632" sldId="2147483648"/>
              <pc:sldLayoutMk cId="1324381580" sldId="2147483750"/>
              <ac:spMk id="11" creationId="{00000000-0000-0000-0000-000000000000}"/>
            </ac:spMkLst>
          </pc:spChg>
          <pc:spChg chg="add">
            <ac:chgData name="Stephen Gibbons" userId="8dc11794-a8ed-4f7c-8128-a48b124e2777" providerId="ADAL" clId="{9F8380D4-03F7-4BF6-AD2D-A3D4904663F9}" dt="2019-07-26T13:34:09.794" v="422"/>
            <ac:spMkLst>
              <pc:docMk/>
              <pc:sldMasterMk cId="2242401632" sldId="2147483648"/>
              <pc:sldLayoutMk cId="1324381580" sldId="2147483750"/>
              <ac:spMk id="13" creationId="{7B85C0DE-6358-4353-B21E-03DCE2820755}"/>
            </ac:spMkLst>
          </pc:spChg>
          <pc:spChg chg="add">
            <ac:chgData name="Stephen Gibbons" userId="8dc11794-a8ed-4f7c-8128-a48b124e2777" providerId="ADAL" clId="{9F8380D4-03F7-4BF6-AD2D-A3D4904663F9}" dt="2019-07-26T13:34:09.794" v="422"/>
            <ac:spMkLst>
              <pc:docMk/>
              <pc:sldMasterMk cId="2242401632" sldId="2147483648"/>
              <pc:sldLayoutMk cId="1324381580" sldId="2147483750"/>
              <ac:spMk id="14" creationId="{9AAF4CE2-FDB7-4C2B-A209-6959EF6FE92C}"/>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70AA74C-29DC-4E69-A66A-55FFFD0CCA6C}" type="doc">
      <dgm:prSet loTypeId="urn:microsoft.com/office/officeart/2005/8/layout/chevron1" loCatId="process" qsTypeId="urn:microsoft.com/office/officeart/2005/8/quickstyle/simple1" qsCatId="simple" csTypeId="urn:microsoft.com/office/officeart/2005/8/colors/accent1_2" csCatId="accent1" phldr="1"/>
      <dgm:spPr/>
    </dgm:pt>
    <dgm:pt modelId="{47AC93B5-1057-446F-9B19-92E006A89729}">
      <dgm:prSet phldrT="[Text]" custT="1"/>
      <dgm:spPr>
        <a:solidFill>
          <a:schemeClr val="accent3"/>
        </a:solidFill>
      </dgm:spPr>
      <dgm:t>
        <a:bodyPr/>
        <a:lstStyle/>
        <a:p>
          <a:pPr algn="l"/>
          <a:r>
            <a:rPr lang="de-DE" sz="2000" dirty="0"/>
            <a:t>   1920s</a:t>
          </a:r>
          <a:endParaRPr lang="en-US" sz="2000" dirty="0"/>
        </a:p>
      </dgm:t>
    </dgm:pt>
    <dgm:pt modelId="{E765E282-6E93-48E3-8807-909B8506EF4F}" type="parTrans" cxnId="{090B7196-6DD7-424F-88A0-EE776542970C}">
      <dgm:prSet/>
      <dgm:spPr/>
      <dgm:t>
        <a:bodyPr/>
        <a:lstStyle/>
        <a:p>
          <a:endParaRPr lang="en-US" sz="1400"/>
        </a:p>
      </dgm:t>
    </dgm:pt>
    <dgm:pt modelId="{85896F5A-DFE7-46B7-AA7A-6E1B9A121B94}" type="sibTrans" cxnId="{090B7196-6DD7-424F-88A0-EE776542970C}">
      <dgm:prSet/>
      <dgm:spPr/>
      <dgm:t>
        <a:bodyPr/>
        <a:lstStyle/>
        <a:p>
          <a:endParaRPr lang="en-US" sz="1400"/>
        </a:p>
      </dgm:t>
    </dgm:pt>
    <dgm:pt modelId="{B0C75817-F6BA-4605-BEBF-E4AD19C4407D}">
      <dgm:prSet phldrT="[Text]" custT="1"/>
      <dgm:spPr>
        <a:solidFill>
          <a:schemeClr val="accent3"/>
        </a:solidFill>
      </dgm:spPr>
      <dgm:t>
        <a:bodyPr/>
        <a:lstStyle/>
        <a:p>
          <a:pPr algn="l"/>
          <a:r>
            <a:rPr lang="de-DE" sz="2000" dirty="0"/>
            <a:t>   1930s</a:t>
          </a:r>
          <a:endParaRPr lang="en-US" sz="2000" dirty="0"/>
        </a:p>
      </dgm:t>
    </dgm:pt>
    <dgm:pt modelId="{2EE01F91-B6A3-4BA9-938C-FBFF39F02282}" type="parTrans" cxnId="{CDF78B55-4031-4452-85DA-6C8EC3907DEA}">
      <dgm:prSet/>
      <dgm:spPr/>
      <dgm:t>
        <a:bodyPr/>
        <a:lstStyle/>
        <a:p>
          <a:endParaRPr lang="en-US" sz="1400"/>
        </a:p>
      </dgm:t>
    </dgm:pt>
    <dgm:pt modelId="{FECDA8C6-F2FC-4FD9-BEE7-94ECB0C28826}" type="sibTrans" cxnId="{CDF78B55-4031-4452-85DA-6C8EC3907DEA}">
      <dgm:prSet/>
      <dgm:spPr/>
      <dgm:t>
        <a:bodyPr/>
        <a:lstStyle/>
        <a:p>
          <a:endParaRPr lang="en-US" sz="1400"/>
        </a:p>
      </dgm:t>
    </dgm:pt>
    <dgm:pt modelId="{C1921197-D0E7-4E69-BFF9-6E01C0C737AC}">
      <dgm:prSet phldrT="[Text]" custT="1"/>
      <dgm:spPr>
        <a:solidFill>
          <a:schemeClr val="accent3"/>
        </a:solidFill>
      </dgm:spPr>
      <dgm:t>
        <a:bodyPr/>
        <a:lstStyle/>
        <a:p>
          <a:pPr algn="l"/>
          <a:r>
            <a:rPr lang="de-DE" sz="2000" dirty="0"/>
            <a:t>    1950s</a:t>
          </a:r>
          <a:endParaRPr lang="en-US" sz="2000" dirty="0"/>
        </a:p>
      </dgm:t>
    </dgm:pt>
    <dgm:pt modelId="{84D81B66-BCD3-40DD-92B4-5BE41E16914F}" type="parTrans" cxnId="{55D0E75E-9F95-4DD7-A827-B6AF369FC426}">
      <dgm:prSet/>
      <dgm:spPr/>
      <dgm:t>
        <a:bodyPr/>
        <a:lstStyle/>
        <a:p>
          <a:endParaRPr lang="en-US" sz="1400"/>
        </a:p>
      </dgm:t>
    </dgm:pt>
    <dgm:pt modelId="{81CA32D2-A101-43E4-BF13-7FBDF4589C4A}" type="sibTrans" cxnId="{55D0E75E-9F95-4DD7-A827-B6AF369FC426}">
      <dgm:prSet/>
      <dgm:spPr/>
      <dgm:t>
        <a:bodyPr/>
        <a:lstStyle/>
        <a:p>
          <a:endParaRPr lang="en-US" sz="1400"/>
        </a:p>
      </dgm:t>
    </dgm:pt>
    <dgm:pt modelId="{5E68E909-BB15-4D07-8C78-D3C985D55E72}">
      <dgm:prSet phldrT="[Text]" custT="1"/>
      <dgm:spPr>
        <a:solidFill>
          <a:schemeClr val="accent3"/>
        </a:solidFill>
      </dgm:spPr>
      <dgm:t>
        <a:bodyPr/>
        <a:lstStyle/>
        <a:p>
          <a:r>
            <a:rPr lang="de-DE" sz="2000" dirty="0"/>
            <a:t>1960s</a:t>
          </a:r>
          <a:endParaRPr lang="en-US" sz="2000" dirty="0"/>
        </a:p>
      </dgm:t>
    </dgm:pt>
    <dgm:pt modelId="{EAF6C96A-DAA8-40CD-92C5-DEADD737E0D1}" type="parTrans" cxnId="{4AC8C8E2-6E8D-4B25-AF25-1DFCA280CBD4}">
      <dgm:prSet/>
      <dgm:spPr/>
      <dgm:t>
        <a:bodyPr/>
        <a:lstStyle/>
        <a:p>
          <a:endParaRPr lang="en-US" sz="1400"/>
        </a:p>
      </dgm:t>
    </dgm:pt>
    <dgm:pt modelId="{0F1D97C8-5041-4D97-B1F4-27217BE5A392}" type="sibTrans" cxnId="{4AC8C8E2-6E8D-4B25-AF25-1DFCA280CBD4}">
      <dgm:prSet/>
      <dgm:spPr/>
      <dgm:t>
        <a:bodyPr/>
        <a:lstStyle/>
        <a:p>
          <a:endParaRPr lang="en-US" sz="1400"/>
        </a:p>
      </dgm:t>
    </dgm:pt>
    <dgm:pt modelId="{36C42ECA-C989-4334-A35E-ADCD5027CED7}">
      <dgm:prSet phldrT="[Text]" custT="1"/>
      <dgm:spPr>
        <a:solidFill>
          <a:schemeClr val="accent3"/>
        </a:solidFill>
      </dgm:spPr>
      <dgm:t>
        <a:bodyPr/>
        <a:lstStyle/>
        <a:p>
          <a:r>
            <a:rPr lang="de-DE" sz="2000" dirty="0"/>
            <a:t>1970s</a:t>
          </a:r>
          <a:endParaRPr lang="en-US" sz="2000" dirty="0"/>
        </a:p>
      </dgm:t>
    </dgm:pt>
    <dgm:pt modelId="{262BF633-1B39-4C00-8360-F6DEC5FA6484}" type="parTrans" cxnId="{DAD1220B-B8C7-49DD-BD62-E852F2BA5698}">
      <dgm:prSet/>
      <dgm:spPr/>
      <dgm:t>
        <a:bodyPr/>
        <a:lstStyle/>
        <a:p>
          <a:endParaRPr lang="en-US" sz="1400"/>
        </a:p>
      </dgm:t>
    </dgm:pt>
    <dgm:pt modelId="{DF79B2AB-7304-4E72-9B9B-30383390B071}" type="sibTrans" cxnId="{DAD1220B-B8C7-49DD-BD62-E852F2BA5698}">
      <dgm:prSet/>
      <dgm:spPr/>
      <dgm:t>
        <a:bodyPr/>
        <a:lstStyle/>
        <a:p>
          <a:endParaRPr lang="en-US" sz="1400"/>
        </a:p>
      </dgm:t>
    </dgm:pt>
    <dgm:pt modelId="{7C6BFEAC-B90E-4B8C-A72C-4D5E83F7D917}">
      <dgm:prSet phldrT="[Text]" custT="1"/>
      <dgm:spPr>
        <a:solidFill>
          <a:schemeClr val="accent3"/>
        </a:solidFill>
      </dgm:spPr>
      <dgm:t>
        <a:bodyPr/>
        <a:lstStyle/>
        <a:p>
          <a:r>
            <a:rPr lang="de-DE" sz="2000" dirty="0"/>
            <a:t>1980s</a:t>
          </a:r>
          <a:endParaRPr lang="en-US" sz="2000" dirty="0"/>
        </a:p>
      </dgm:t>
    </dgm:pt>
    <dgm:pt modelId="{37EA5015-F21A-43A8-86A6-9510D2467C03}" type="parTrans" cxnId="{4473DD69-B9F0-495B-B5AD-E80E53F7727A}">
      <dgm:prSet/>
      <dgm:spPr/>
      <dgm:t>
        <a:bodyPr/>
        <a:lstStyle/>
        <a:p>
          <a:endParaRPr lang="en-US" sz="1400"/>
        </a:p>
      </dgm:t>
    </dgm:pt>
    <dgm:pt modelId="{8E0576D9-DD05-48C4-8395-E6363CC517C5}" type="sibTrans" cxnId="{4473DD69-B9F0-495B-B5AD-E80E53F7727A}">
      <dgm:prSet/>
      <dgm:spPr/>
      <dgm:t>
        <a:bodyPr/>
        <a:lstStyle/>
        <a:p>
          <a:endParaRPr lang="en-US" sz="1400"/>
        </a:p>
      </dgm:t>
    </dgm:pt>
    <dgm:pt modelId="{CF16017F-7877-4C5A-9401-7FF34D0637AA}">
      <dgm:prSet phldrT="[Text]" custT="1"/>
      <dgm:spPr>
        <a:solidFill>
          <a:schemeClr val="accent3"/>
        </a:solidFill>
      </dgm:spPr>
      <dgm:t>
        <a:bodyPr/>
        <a:lstStyle/>
        <a:p>
          <a:r>
            <a:rPr lang="de-DE" sz="2000" dirty="0"/>
            <a:t>2000s</a:t>
          </a:r>
          <a:endParaRPr lang="en-US" sz="2000" dirty="0"/>
        </a:p>
      </dgm:t>
    </dgm:pt>
    <dgm:pt modelId="{DE47FF31-2BB0-407A-AA76-B1939502FFC4}" type="parTrans" cxnId="{72CFAC51-A7BA-4483-B933-B3C5E812F9FA}">
      <dgm:prSet/>
      <dgm:spPr/>
      <dgm:t>
        <a:bodyPr/>
        <a:lstStyle/>
        <a:p>
          <a:endParaRPr lang="en-US" sz="1400"/>
        </a:p>
      </dgm:t>
    </dgm:pt>
    <dgm:pt modelId="{2F409B27-B04A-4229-B1C3-DC558EC82EE8}" type="sibTrans" cxnId="{72CFAC51-A7BA-4483-B933-B3C5E812F9FA}">
      <dgm:prSet/>
      <dgm:spPr/>
      <dgm:t>
        <a:bodyPr/>
        <a:lstStyle/>
        <a:p>
          <a:endParaRPr lang="en-US" sz="1400"/>
        </a:p>
      </dgm:t>
    </dgm:pt>
    <dgm:pt modelId="{C4C6232E-4102-4AB9-A84A-E4E765A6A1A9}" type="pres">
      <dgm:prSet presAssocID="{F70AA74C-29DC-4E69-A66A-55FFFD0CCA6C}" presName="Name0" presStyleCnt="0">
        <dgm:presLayoutVars>
          <dgm:dir/>
          <dgm:animLvl val="lvl"/>
          <dgm:resizeHandles val="exact"/>
        </dgm:presLayoutVars>
      </dgm:prSet>
      <dgm:spPr/>
    </dgm:pt>
    <dgm:pt modelId="{534E881E-24A0-4CF3-BC65-3302BA598699}" type="pres">
      <dgm:prSet presAssocID="{47AC93B5-1057-446F-9B19-92E006A89729}" presName="parTxOnly" presStyleLbl="node1" presStyleIdx="0" presStyleCnt="7">
        <dgm:presLayoutVars>
          <dgm:chMax val="0"/>
          <dgm:chPref val="0"/>
          <dgm:bulletEnabled val="1"/>
        </dgm:presLayoutVars>
      </dgm:prSet>
      <dgm:spPr/>
    </dgm:pt>
    <dgm:pt modelId="{7CB5240F-8A61-49B4-A487-D92D4C50628F}" type="pres">
      <dgm:prSet presAssocID="{85896F5A-DFE7-46B7-AA7A-6E1B9A121B94}" presName="parTxOnlySpace" presStyleCnt="0"/>
      <dgm:spPr/>
    </dgm:pt>
    <dgm:pt modelId="{F01AF5FF-D766-49E8-AE75-9C0FB66DD061}" type="pres">
      <dgm:prSet presAssocID="{B0C75817-F6BA-4605-BEBF-E4AD19C4407D}" presName="parTxOnly" presStyleLbl="node1" presStyleIdx="1" presStyleCnt="7">
        <dgm:presLayoutVars>
          <dgm:chMax val="0"/>
          <dgm:chPref val="0"/>
          <dgm:bulletEnabled val="1"/>
        </dgm:presLayoutVars>
      </dgm:prSet>
      <dgm:spPr/>
    </dgm:pt>
    <dgm:pt modelId="{F28BA2EC-13B4-4A6E-A658-691A83C80EAE}" type="pres">
      <dgm:prSet presAssocID="{FECDA8C6-F2FC-4FD9-BEE7-94ECB0C28826}" presName="parTxOnlySpace" presStyleCnt="0"/>
      <dgm:spPr/>
    </dgm:pt>
    <dgm:pt modelId="{CF4D78CB-6493-4EC9-A4B9-A60DF7B09887}" type="pres">
      <dgm:prSet presAssocID="{C1921197-D0E7-4E69-BFF9-6E01C0C737AC}" presName="parTxOnly" presStyleLbl="node1" presStyleIdx="2" presStyleCnt="7">
        <dgm:presLayoutVars>
          <dgm:chMax val="0"/>
          <dgm:chPref val="0"/>
          <dgm:bulletEnabled val="1"/>
        </dgm:presLayoutVars>
      </dgm:prSet>
      <dgm:spPr/>
    </dgm:pt>
    <dgm:pt modelId="{5547E97F-3AFE-491C-A1C0-96D84DDA3E88}" type="pres">
      <dgm:prSet presAssocID="{81CA32D2-A101-43E4-BF13-7FBDF4589C4A}" presName="parTxOnlySpace" presStyleCnt="0"/>
      <dgm:spPr/>
    </dgm:pt>
    <dgm:pt modelId="{871A159A-1B10-489E-A224-23083C3CF108}" type="pres">
      <dgm:prSet presAssocID="{5E68E909-BB15-4D07-8C78-D3C985D55E72}" presName="parTxOnly" presStyleLbl="node1" presStyleIdx="3" presStyleCnt="7">
        <dgm:presLayoutVars>
          <dgm:chMax val="0"/>
          <dgm:chPref val="0"/>
          <dgm:bulletEnabled val="1"/>
        </dgm:presLayoutVars>
      </dgm:prSet>
      <dgm:spPr/>
    </dgm:pt>
    <dgm:pt modelId="{5EFB815F-6BDC-46F6-AFA6-0BBF1B6DAE9E}" type="pres">
      <dgm:prSet presAssocID="{0F1D97C8-5041-4D97-B1F4-27217BE5A392}" presName="parTxOnlySpace" presStyleCnt="0"/>
      <dgm:spPr/>
    </dgm:pt>
    <dgm:pt modelId="{5B306147-E30D-493B-A8A8-D7C6686C64BF}" type="pres">
      <dgm:prSet presAssocID="{36C42ECA-C989-4334-A35E-ADCD5027CED7}" presName="parTxOnly" presStyleLbl="node1" presStyleIdx="4" presStyleCnt="7">
        <dgm:presLayoutVars>
          <dgm:chMax val="0"/>
          <dgm:chPref val="0"/>
          <dgm:bulletEnabled val="1"/>
        </dgm:presLayoutVars>
      </dgm:prSet>
      <dgm:spPr/>
    </dgm:pt>
    <dgm:pt modelId="{B0F9D377-D824-41FC-AE5C-C834BD543F8D}" type="pres">
      <dgm:prSet presAssocID="{DF79B2AB-7304-4E72-9B9B-30383390B071}" presName="parTxOnlySpace" presStyleCnt="0"/>
      <dgm:spPr/>
    </dgm:pt>
    <dgm:pt modelId="{7EBA5B3B-1352-4019-A582-26E494A65104}" type="pres">
      <dgm:prSet presAssocID="{7C6BFEAC-B90E-4B8C-A72C-4D5E83F7D917}" presName="parTxOnly" presStyleLbl="node1" presStyleIdx="5" presStyleCnt="7">
        <dgm:presLayoutVars>
          <dgm:chMax val="0"/>
          <dgm:chPref val="0"/>
          <dgm:bulletEnabled val="1"/>
        </dgm:presLayoutVars>
      </dgm:prSet>
      <dgm:spPr/>
    </dgm:pt>
    <dgm:pt modelId="{AE63155C-A7E7-4955-B8CD-1D9FC6EB361E}" type="pres">
      <dgm:prSet presAssocID="{8E0576D9-DD05-48C4-8395-E6363CC517C5}" presName="parTxOnlySpace" presStyleCnt="0"/>
      <dgm:spPr/>
    </dgm:pt>
    <dgm:pt modelId="{3F6FC8CB-04B4-4230-A353-A30AFCA226C4}" type="pres">
      <dgm:prSet presAssocID="{CF16017F-7877-4C5A-9401-7FF34D0637AA}" presName="parTxOnly" presStyleLbl="node1" presStyleIdx="6" presStyleCnt="7">
        <dgm:presLayoutVars>
          <dgm:chMax val="0"/>
          <dgm:chPref val="0"/>
          <dgm:bulletEnabled val="1"/>
        </dgm:presLayoutVars>
      </dgm:prSet>
      <dgm:spPr/>
    </dgm:pt>
  </dgm:ptLst>
  <dgm:cxnLst>
    <dgm:cxn modelId="{DAD1220B-B8C7-49DD-BD62-E852F2BA5698}" srcId="{F70AA74C-29DC-4E69-A66A-55FFFD0CCA6C}" destId="{36C42ECA-C989-4334-A35E-ADCD5027CED7}" srcOrd="4" destOrd="0" parTransId="{262BF633-1B39-4C00-8360-F6DEC5FA6484}" sibTransId="{DF79B2AB-7304-4E72-9B9B-30383390B071}"/>
    <dgm:cxn modelId="{C1701021-00F3-4986-9835-337CCE48C1B1}" type="presOf" srcId="{36C42ECA-C989-4334-A35E-ADCD5027CED7}" destId="{5B306147-E30D-493B-A8A8-D7C6686C64BF}" srcOrd="0" destOrd="0" presId="urn:microsoft.com/office/officeart/2005/8/layout/chevron1"/>
    <dgm:cxn modelId="{8F1CD35D-0E22-4EC3-84E3-4E53139F42C8}" type="presOf" srcId="{7C6BFEAC-B90E-4B8C-A72C-4D5E83F7D917}" destId="{7EBA5B3B-1352-4019-A582-26E494A65104}" srcOrd="0" destOrd="0" presId="urn:microsoft.com/office/officeart/2005/8/layout/chevron1"/>
    <dgm:cxn modelId="{55D0E75E-9F95-4DD7-A827-B6AF369FC426}" srcId="{F70AA74C-29DC-4E69-A66A-55FFFD0CCA6C}" destId="{C1921197-D0E7-4E69-BFF9-6E01C0C737AC}" srcOrd="2" destOrd="0" parTransId="{84D81B66-BCD3-40DD-92B4-5BE41E16914F}" sibTransId="{81CA32D2-A101-43E4-BF13-7FBDF4589C4A}"/>
    <dgm:cxn modelId="{4473DD69-B9F0-495B-B5AD-E80E53F7727A}" srcId="{F70AA74C-29DC-4E69-A66A-55FFFD0CCA6C}" destId="{7C6BFEAC-B90E-4B8C-A72C-4D5E83F7D917}" srcOrd="5" destOrd="0" parTransId="{37EA5015-F21A-43A8-86A6-9510D2467C03}" sibTransId="{8E0576D9-DD05-48C4-8395-E6363CC517C5}"/>
    <dgm:cxn modelId="{72CFAC51-A7BA-4483-B933-B3C5E812F9FA}" srcId="{F70AA74C-29DC-4E69-A66A-55FFFD0CCA6C}" destId="{CF16017F-7877-4C5A-9401-7FF34D0637AA}" srcOrd="6" destOrd="0" parTransId="{DE47FF31-2BB0-407A-AA76-B1939502FFC4}" sibTransId="{2F409B27-B04A-4229-B1C3-DC558EC82EE8}"/>
    <dgm:cxn modelId="{CDF78B55-4031-4452-85DA-6C8EC3907DEA}" srcId="{F70AA74C-29DC-4E69-A66A-55FFFD0CCA6C}" destId="{B0C75817-F6BA-4605-BEBF-E4AD19C4407D}" srcOrd="1" destOrd="0" parTransId="{2EE01F91-B6A3-4BA9-938C-FBFF39F02282}" sibTransId="{FECDA8C6-F2FC-4FD9-BEE7-94ECB0C28826}"/>
    <dgm:cxn modelId="{5EBB0E94-2725-470F-A1BE-A8D2120A7B4A}" type="presOf" srcId="{C1921197-D0E7-4E69-BFF9-6E01C0C737AC}" destId="{CF4D78CB-6493-4EC9-A4B9-A60DF7B09887}" srcOrd="0" destOrd="0" presId="urn:microsoft.com/office/officeart/2005/8/layout/chevron1"/>
    <dgm:cxn modelId="{090B7196-6DD7-424F-88A0-EE776542970C}" srcId="{F70AA74C-29DC-4E69-A66A-55FFFD0CCA6C}" destId="{47AC93B5-1057-446F-9B19-92E006A89729}" srcOrd="0" destOrd="0" parTransId="{E765E282-6E93-48E3-8807-909B8506EF4F}" sibTransId="{85896F5A-DFE7-46B7-AA7A-6E1B9A121B94}"/>
    <dgm:cxn modelId="{28CB8BAF-8B63-44BD-9D7D-24777AAAA282}" type="presOf" srcId="{B0C75817-F6BA-4605-BEBF-E4AD19C4407D}" destId="{F01AF5FF-D766-49E8-AE75-9C0FB66DD061}" srcOrd="0" destOrd="0" presId="urn:microsoft.com/office/officeart/2005/8/layout/chevron1"/>
    <dgm:cxn modelId="{A77F63B2-52E1-433D-93AC-C282A0FC606A}" type="presOf" srcId="{F70AA74C-29DC-4E69-A66A-55FFFD0CCA6C}" destId="{C4C6232E-4102-4AB9-A84A-E4E765A6A1A9}" srcOrd="0" destOrd="0" presId="urn:microsoft.com/office/officeart/2005/8/layout/chevron1"/>
    <dgm:cxn modelId="{9D3024B3-6C8C-494B-B342-02ECECE1C809}" type="presOf" srcId="{5E68E909-BB15-4D07-8C78-D3C985D55E72}" destId="{871A159A-1B10-489E-A224-23083C3CF108}" srcOrd="0" destOrd="0" presId="urn:microsoft.com/office/officeart/2005/8/layout/chevron1"/>
    <dgm:cxn modelId="{4AC8C8E2-6E8D-4B25-AF25-1DFCA280CBD4}" srcId="{F70AA74C-29DC-4E69-A66A-55FFFD0CCA6C}" destId="{5E68E909-BB15-4D07-8C78-D3C985D55E72}" srcOrd="3" destOrd="0" parTransId="{EAF6C96A-DAA8-40CD-92C5-DEADD737E0D1}" sibTransId="{0F1D97C8-5041-4D97-B1F4-27217BE5A392}"/>
    <dgm:cxn modelId="{50E431E9-DEF3-496A-97E7-11F8443B6C62}" type="presOf" srcId="{CF16017F-7877-4C5A-9401-7FF34D0637AA}" destId="{3F6FC8CB-04B4-4230-A353-A30AFCA226C4}" srcOrd="0" destOrd="0" presId="urn:microsoft.com/office/officeart/2005/8/layout/chevron1"/>
    <dgm:cxn modelId="{0C806AF6-2717-43AA-A7CB-7259A1209BAB}" type="presOf" srcId="{47AC93B5-1057-446F-9B19-92E006A89729}" destId="{534E881E-24A0-4CF3-BC65-3302BA598699}" srcOrd="0" destOrd="0" presId="urn:microsoft.com/office/officeart/2005/8/layout/chevron1"/>
    <dgm:cxn modelId="{56AE1E73-3328-4C7B-ADB6-5377CD7076E6}" type="presParOf" srcId="{C4C6232E-4102-4AB9-A84A-E4E765A6A1A9}" destId="{534E881E-24A0-4CF3-BC65-3302BA598699}" srcOrd="0" destOrd="0" presId="urn:microsoft.com/office/officeart/2005/8/layout/chevron1"/>
    <dgm:cxn modelId="{937168FA-7786-4B44-8033-2262C117E642}" type="presParOf" srcId="{C4C6232E-4102-4AB9-A84A-E4E765A6A1A9}" destId="{7CB5240F-8A61-49B4-A487-D92D4C50628F}" srcOrd="1" destOrd="0" presId="urn:microsoft.com/office/officeart/2005/8/layout/chevron1"/>
    <dgm:cxn modelId="{AFCF6AA6-9BEC-4319-BC7A-69072B1926D9}" type="presParOf" srcId="{C4C6232E-4102-4AB9-A84A-E4E765A6A1A9}" destId="{F01AF5FF-D766-49E8-AE75-9C0FB66DD061}" srcOrd="2" destOrd="0" presId="urn:microsoft.com/office/officeart/2005/8/layout/chevron1"/>
    <dgm:cxn modelId="{59908B7C-B32A-458E-9F17-A8031A7AD91B}" type="presParOf" srcId="{C4C6232E-4102-4AB9-A84A-E4E765A6A1A9}" destId="{F28BA2EC-13B4-4A6E-A658-691A83C80EAE}" srcOrd="3" destOrd="0" presId="urn:microsoft.com/office/officeart/2005/8/layout/chevron1"/>
    <dgm:cxn modelId="{A7653E80-91B2-4C84-8604-DBF78ECDBCCD}" type="presParOf" srcId="{C4C6232E-4102-4AB9-A84A-E4E765A6A1A9}" destId="{CF4D78CB-6493-4EC9-A4B9-A60DF7B09887}" srcOrd="4" destOrd="0" presId="urn:microsoft.com/office/officeart/2005/8/layout/chevron1"/>
    <dgm:cxn modelId="{82D98AD7-C6C9-49EA-8FA3-00C5B8BE038B}" type="presParOf" srcId="{C4C6232E-4102-4AB9-A84A-E4E765A6A1A9}" destId="{5547E97F-3AFE-491C-A1C0-96D84DDA3E88}" srcOrd="5" destOrd="0" presId="urn:microsoft.com/office/officeart/2005/8/layout/chevron1"/>
    <dgm:cxn modelId="{47190034-9788-4CC2-A701-55258441AB63}" type="presParOf" srcId="{C4C6232E-4102-4AB9-A84A-E4E765A6A1A9}" destId="{871A159A-1B10-489E-A224-23083C3CF108}" srcOrd="6" destOrd="0" presId="urn:microsoft.com/office/officeart/2005/8/layout/chevron1"/>
    <dgm:cxn modelId="{A8A8EAB1-690D-414F-9F50-F923DB2CFF2B}" type="presParOf" srcId="{C4C6232E-4102-4AB9-A84A-E4E765A6A1A9}" destId="{5EFB815F-6BDC-46F6-AFA6-0BBF1B6DAE9E}" srcOrd="7" destOrd="0" presId="urn:microsoft.com/office/officeart/2005/8/layout/chevron1"/>
    <dgm:cxn modelId="{C2F24096-49F6-4E8B-BDDD-3077A7637EF0}" type="presParOf" srcId="{C4C6232E-4102-4AB9-A84A-E4E765A6A1A9}" destId="{5B306147-E30D-493B-A8A8-D7C6686C64BF}" srcOrd="8" destOrd="0" presId="urn:microsoft.com/office/officeart/2005/8/layout/chevron1"/>
    <dgm:cxn modelId="{84DAB8CB-98F9-4481-8CBA-BC0606932483}" type="presParOf" srcId="{C4C6232E-4102-4AB9-A84A-E4E765A6A1A9}" destId="{B0F9D377-D824-41FC-AE5C-C834BD543F8D}" srcOrd="9" destOrd="0" presId="urn:microsoft.com/office/officeart/2005/8/layout/chevron1"/>
    <dgm:cxn modelId="{3785E910-EA21-48CC-85B3-355E32402299}" type="presParOf" srcId="{C4C6232E-4102-4AB9-A84A-E4E765A6A1A9}" destId="{7EBA5B3B-1352-4019-A582-26E494A65104}" srcOrd="10" destOrd="0" presId="urn:microsoft.com/office/officeart/2005/8/layout/chevron1"/>
    <dgm:cxn modelId="{3E15EAAB-03DD-47C6-B4D9-8632CC9EF848}" type="presParOf" srcId="{C4C6232E-4102-4AB9-A84A-E4E765A6A1A9}" destId="{AE63155C-A7E7-4955-B8CD-1D9FC6EB361E}" srcOrd="11" destOrd="0" presId="urn:microsoft.com/office/officeart/2005/8/layout/chevron1"/>
    <dgm:cxn modelId="{DDBD2F3B-28A7-4CD1-8EDF-0B0AF4E23938}" type="presParOf" srcId="{C4C6232E-4102-4AB9-A84A-E4E765A6A1A9}" destId="{3F6FC8CB-04B4-4230-A353-A30AFCA226C4}" srcOrd="12"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4E881E-24A0-4CF3-BC65-3302BA598699}">
      <dsp:nvSpPr>
        <dsp:cNvPr id="0" name=""/>
        <dsp:cNvSpPr/>
      </dsp:nvSpPr>
      <dsp:spPr>
        <a:xfrm>
          <a:off x="0" y="0"/>
          <a:ext cx="1796771" cy="462859"/>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l" defTabSz="889000">
            <a:lnSpc>
              <a:spcPct val="90000"/>
            </a:lnSpc>
            <a:spcBef>
              <a:spcPct val="0"/>
            </a:spcBef>
            <a:spcAft>
              <a:spcPct val="35000"/>
            </a:spcAft>
            <a:buNone/>
          </a:pPr>
          <a:r>
            <a:rPr lang="de-DE" sz="2000" kern="1200" dirty="0"/>
            <a:t>   1920s</a:t>
          </a:r>
          <a:endParaRPr lang="en-US" sz="2000" kern="1200" dirty="0"/>
        </a:p>
      </dsp:txBody>
      <dsp:txXfrm>
        <a:off x="231430" y="0"/>
        <a:ext cx="1333912" cy="462859"/>
      </dsp:txXfrm>
    </dsp:sp>
    <dsp:sp modelId="{F01AF5FF-D766-49E8-AE75-9C0FB66DD061}">
      <dsp:nvSpPr>
        <dsp:cNvPr id="0" name=""/>
        <dsp:cNvSpPr/>
      </dsp:nvSpPr>
      <dsp:spPr>
        <a:xfrm>
          <a:off x="1617094" y="0"/>
          <a:ext cx="1796771" cy="462859"/>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l" defTabSz="889000">
            <a:lnSpc>
              <a:spcPct val="90000"/>
            </a:lnSpc>
            <a:spcBef>
              <a:spcPct val="0"/>
            </a:spcBef>
            <a:spcAft>
              <a:spcPct val="35000"/>
            </a:spcAft>
            <a:buNone/>
          </a:pPr>
          <a:r>
            <a:rPr lang="de-DE" sz="2000" kern="1200" dirty="0"/>
            <a:t>   1930s</a:t>
          </a:r>
          <a:endParaRPr lang="en-US" sz="2000" kern="1200" dirty="0"/>
        </a:p>
      </dsp:txBody>
      <dsp:txXfrm>
        <a:off x="1848524" y="0"/>
        <a:ext cx="1333912" cy="462859"/>
      </dsp:txXfrm>
    </dsp:sp>
    <dsp:sp modelId="{CF4D78CB-6493-4EC9-A4B9-A60DF7B09887}">
      <dsp:nvSpPr>
        <dsp:cNvPr id="0" name=""/>
        <dsp:cNvSpPr/>
      </dsp:nvSpPr>
      <dsp:spPr>
        <a:xfrm>
          <a:off x="3234188" y="0"/>
          <a:ext cx="1796771" cy="462859"/>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l" defTabSz="889000">
            <a:lnSpc>
              <a:spcPct val="90000"/>
            </a:lnSpc>
            <a:spcBef>
              <a:spcPct val="0"/>
            </a:spcBef>
            <a:spcAft>
              <a:spcPct val="35000"/>
            </a:spcAft>
            <a:buNone/>
          </a:pPr>
          <a:r>
            <a:rPr lang="de-DE" sz="2000" kern="1200" dirty="0"/>
            <a:t>    1950s</a:t>
          </a:r>
          <a:endParaRPr lang="en-US" sz="2000" kern="1200" dirty="0"/>
        </a:p>
      </dsp:txBody>
      <dsp:txXfrm>
        <a:off x="3465618" y="0"/>
        <a:ext cx="1333912" cy="462859"/>
      </dsp:txXfrm>
    </dsp:sp>
    <dsp:sp modelId="{871A159A-1B10-489E-A224-23083C3CF108}">
      <dsp:nvSpPr>
        <dsp:cNvPr id="0" name=""/>
        <dsp:cNvSpPr/>
      </dsp:nvSpPr>
      <dsp:spPr>
        <a:xfrm>
          <a:off x="4851283" y="0"/>
          <a:ext cx="1796771" cy="462859"/>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kern="1200" dirty="0"/>
            <a:t>1960s</a:t>
          </a:r>
          <a:endParaRPr lang="en-US" sz="2000" kern="1200" dirty="0"/>
        </a:p>
      </dsp:txBody>
      <dsp:txXfrm>
        <a:off x="5082713" y="0"/>
        <a:ext cx="1333912" cy="462859"/>
      </dsp:txXfrm>
    </dsp:sp>
    <dsp:sp modelId="{5B306147-E30D-493B-A8A8-D7C6686C64BF}">
      <dsp:nvSpPr>
        <dsp:cNvPr id="0" name=""/>
        <dsp:cNvSpPr/>
      </dsp:nvSpPr>
      <dsp:spPr>
        <a:xfrm>
          <a:off x="6468377" y="0"/>
          <a:ext cx="1796771" cy="462859"/>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kern="1200" dirty="0"/>
            <a:t>1970s</a:t>
          </a:r>
          <a:endParaRPr lang="en-US" sz="2000" kern="1200" dirty="0"/>
        </a:p>
      </dsp:txBody>
      <dsp:txXfrm>
        <a:off x="6699807" y="0"/>
        <a:ext cx="1333912" cy="462859"/>
      </dsp:txXfrm>
    </dsp:sp>
    <dsp:sp modelId="{7EBA5B3B-1352-4019-A582-26E494A65104}">
      <dsp:nvSpPr>
        <dsp:cNvPr id="0" name=""/>
        <dsp:cNvSpPr/>
      </dsp:nvSpPr>
      <dsp:spPr>
        <a:xfrm>
          <a:off x="8085472" y="0"/>
          <a:ext cx="1796771" cy="462859"/>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kern="1200" dirty="0"/>
            <a:t>1980s</a:t>
          </a:r>
          <a:endParaRPr lang="en-US" sz="2000" kern="1200" dirty="0"/>
        </a:p>
      </dsp:txBody>
      <dsp:txXfrm>
        <a:off x="8316902" y="0"/>
        <a:ext cx="1333912" cy="462859"/>
      </dsp:txXfrm>
    </dsp:sp>
    <dsp:sp modelId="{3F6FC8CB-04B4-4230-A353-A30AFCA226C4}">
      <dsp:nvSpPr>
        <dsp:cNvPr id="0" name=""/>
        <dsp:cNvSpPr/>
      </dsp:nvSpPr>
      <dsp:spPr>
        <a:xfrm>
          <a:off x="9702566" y="0"/>
          <a:ext cx="1796771" cy="462859"/>
        </a:xfrm>
        <a:prstGeom prst="chevron">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de-DE" sz="2000" kern="1200" dirty="0"/>
            <a:t>2000s</a:t>
          </a:r>
          <a:endParaRPr lang="en-US" sz="2000" kern="1200" dirty="0"/>
        </a:p>
      </dsp:txBody>
      <dsp:txXfrm>
        <a:off x="9933996" y="0"/>
        <a:ext cx="1333912" cy="46285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1" y="1"/>
            <a:ext cx="3077739" cy="511730"/>
          </a:xfrm>
          <a:prstGeom prst="rect">
            <a:avLst/>
          </a:prstGeom>
        </p:spPr>
        <p:txBody>
          <a:bodyPr vert="horz" lIns="99058" tIns="49529" rIns="99058" bIns="49529" rtlCol="0"/>
          <a:lstStyle>
            <a:lvl1pPr algn="l">
              <a:defRPr sz="1300"/>
            </a:lvl1pPr>
          </a:lstStyle>
          <a:p>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3" name="Date Placeholder 2"/>
          <p:cNvSpPr>
            <a:spLocks noGrp="1"/>
          </p:cNvSpPr>
          <p:nvPr>
            <p:ph type="dt" sz="quarter" idx="1"/>
          </p:nvPr>
        </p:nvSpPr>
        <p:spPr bwMode="gray">
          <a:xfrm>
            <a:off x="4023093" y="1"/>
            <a:ext cx="3077739" cy="511730"/>
          </a:xfrm>
          <a:prstGeom prst="rect">
            <a:avLst/>
          </a:prstGeom>
        </p:spPr>
        <p:txBody>
          <a:bodyPr vert="horz" lIns="99058" tIns="49529" rIns="99058" bIns="49529" rtlCol="0"/>
          <a:lstStyle>
            <a:lvl1pPr algn="r">
              <a:defRPr sz="1300"/>
            </a:lvl1pPr>
          </a:lstStyle>
          <a:p>
            <a:fld id="{696490A3-8906-4C15-BA06-29841194A30F}" type="datetimeFigureOut">
              <a:rPr lang="en-US" smtClean="0">
                <a:latin typeface="ABBvoice" panose="020D0603020503020204" pitchFamily="34" charset="0"/>
                <a:ea typeface="ABBvoice" panose="020D0603020503020204" pitchFamily="34" charset="0"/>
                <a:cs typeface="ABBvoice" panose="020D0603020503020204" pitchFamily="34" charset="0"/>
              </a:rPr>
              <a:t>9/8/2019</a:t>
            </a:fld>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4" name="Footer Placeholder 3"/>
          <p:cNvSpPr>
            <a:spLocks noGrp="1"/>
          </p:cNvSpPr>
          <p:nvPr>
            <p:ph type="ftr" sz="quarter" idx="2"/>
          </p:nvPr>
        </p:nvSpPr>
        <p:spPr bwMode="gray">
          <a:xfrm>
            <a:off x="1" y="9721107"/>
            <a:ext cx="3077739" cy="511730"/>
          </a:xfrm>
          <a:prstGeom prst="rect">
            <a:avLst/>
          </a:prstGeom>
        </p:spPr>
        <p:txBody>
          <a:bodyPr vert="horz" lIns="99058" tIns="49529" rIns="99058" bIns="49529" rtlCol="0" anchor="b"/>
          <a:lstStyle>
            <a:lvl1pPr algn="l">
              <a:defRPr sz="1300"/>
            </a:lvl1pPr>
          </a:lstStyle>
          <a:p>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5" name="Slide Number Placeholder 4"/>
          <p:cNvSpPr>
            <a:spLocks noGrp="1"/>
          </p:cNvSpPr>
          <p:nvPr>
            <p:ph type="sldNum" sz="quarter" idx="3"/>
          </p:nvPr>
        </p:nvSpPr>
        <p:spPr bwMode="gray">
          <a:xfrm>
            <a:off x="4023093" y="9721107"/>
            <a:ext cx="3077739" cy="511730"/>
          </a:xfrm>
          <a:prstGeom prst="rect">
            <a:avLst/>
          </a:prstGeom>
        </p:spPr>
        <p:txBody>
          <a:bodyPr vert="horz" lIns="99058" tIns="49529" rIns="99058" bIns="49529" rtlCol="0" anchor="b"/>
          <a:lstStyle>
            <a:lvl1pPr algn="r">
              <a:defRPr sz="1300"/>
            </a:lvl1pPr>
          </a:lstStyle>
          <a:p>
            <a:fld id="{CDABD733-F72C-4484-8056-9C6167F848BC}" type="slidenum">
              <a:rPr lang="en-US" smtClean="0">
                <a:latin typeface="ABBvoice" panose="020D0603020503020204" pitchFamily="34" charset="0"/>
                <a:ea typeface="ABBvoice" panose="020D0603020503020204" pitchFamily="34" charset="0"/>
                <a:cs typeface="ABBvoice" panose="020D0603020503020204" pitchFamily="34" charset="0"/>
              </a:rPr>
              <a:t>‹#›</a:t>
            </a:fld>
            <a:endParaRPr lang="en-US" dirty="0">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35656115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1" y="1"/>
            <a:ext cx="3077739" cy="511730"/>
          </a:xfrm>
          <a:prstGeom prst="rect">
            <a:avLst/>
          </a:prstGeom>
        </p:spPr>
        <p:txBody>
          <a:bodyPr vert="horz" lIns="99058" tIns="49529" rIns="99058" bIns="49529" rtlCol="0"/>
          <a:lstStyle>
            <a:lvl1pPr algn="l">
              <a:defRPr sz="1300">
                <a:latin typeface="ABBvoice" panose="020D0603020503020204" pitchFamily="34" charset="0"/>
                <a:ea typeface="ABBvoice" panose="020D0603020503020204" pitchFamily="34" charset="0"/>
                <a:cs typeface="ABBvoice" panose="020D0603020503020204" pitchFamily="34" charset="0"/>
              </a:defRPr>
            </a:lvl1pPr>
          </a:lstStyle>
          <a:p>
            <a:endParaRPr lang="en-US" dirty="0"/>
          </a:p>
        </p:txBody>
      </p:sp>
      <p:sp>
        <p:nvSpPr>
          <p:cNvPr id="3" name="Date Placeholder 2"/>
          <p:cNvSpPr>
            <a:spLocks noGrp="1"/>
          </p:cNvSpPr>
          <p:nvPr>
            <p:ph type="dt" idx="1"/>
          </p:nvPr>
        </p:nvSpPr>
        <p:spPr bwMode="gray">
          <a:xfrm>
            <a:off x="4023093" y="1"/>
            <a:ext cx="3077739" cy="511730"/>
          </a:xfrm>
          <a:prstGeom prst="rect">
            <a:avLst/>
          </a:prstGeom>
        </p:spPr>
        <p:txBody>
          <a:bodyPr vert="horz" lIns="99058" tIns="49529" rIns="99058" bIns="49529" rtlCol="0"/>
          <a:lstStyle>
            <a:lvl1pPr algn="r">
              <a:defRPr sz="1300">
                <a:latin typeface="ABBvoice" panose="020D0603020503020204" pitchFamily="34" charset="0"/>
                <a:ea typeface="ABBvoice" panose="020D0603020503020204" pitchFamily="34" charset="0"/>
                <a:cs typeface="ABBvoice" panose="020D0603020503020204" pitchFamily="34" charset="0"/>
              </a:defRPr>
            </a:lvl1pPr>
          </a:lstStyle>
          <a:p>
            <a:fld id="{7B9B1A6A-6BBE-4409-8C9E-DA0703379151}" type="datetimeFigureOut">
              <a:rPr lang="en-US" smtClean="0"/>
              <a:pPr/>
              <a:t>9/8/2019</a:t>
            </a:fld>
            <a:endParaRPr lang="en-US" dirty="0"/>
          </a:p>
        </p:txBody>
      </p:sp>
      <p:sp>
        <p:nvSpPr>
          <p:cNvPr id="4" name="Slide Image Placeholder 3"/>
          <p:cNvSpPr>
            <a:spLocks noGrp="1" noRot="1" noChangeAspect="1"/>
          </p:cNvSpPr>
          <p:nvPr>
            <p:ph type="sldImg" idx="2"/>
          </p:nvPr>
        </p:nvSpPr>
        <p:spPr bwMode="gray">
          <a:xfrm>
            <a:off x="142875" y="766763"/>
            <a:ext cx="6821488" cy="3838575"/>
          </a:xfrm>
          <a:prstGeom prst="rect">
            <a:avLst/>
          </a:prstGeom>
          <a:noFill/>
          <a:ln w="12700">
            <a:solidFill>
              <a:schemeClr val="accent5"/>
            </a:solidFill>
          </a:ln>
        </p:spPr>
        <p:txBody>
          <a:bodyPr vert="horz" lIns="99058" tIns="49529" rIns="99058" bIns="49529" rtlCol="0" anchor="ctr"/>
          <a:lstStyle/>
          <a:p>
            <a:endParaRPr lang="en-US" dirty="0"/>
          </a:p>
        </p:txBody>
      </p:sp>
      <p:sp>
        <p:nvSpPr>
          <p:cNvPr id="5" name="Notes Placeholder 4"/>
          <p:cNvSpPr>
            <a:spLocks noGrp="1"/>
          </p:cNvSpPr>
          <p:nvPr>
            <p:ph type="body" sz="quarter" idx="3"/>
          </p:nvPr>
        </p:nvSpPr>
        <p:spPr bwMode="gray">
          <a:xfrm>
            <a:off x="397505" y="4861442"/>
            <a:ext cx="6307466" cy="4605576"/>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bwMode="gray">
          <a:xfrm>
            <a:off x="1" y="9721107"/>
            <a:ext cx="3077739" cy="511730"/>
          </a:xfrm>
          <a:prstGeom prst="rect">
            <a:avLst/>
          </a:prstGeom>
        </p:spPr>
        <p:txBody>
          <a:bodyPr vert="horz" lIns="99058" tIns="49529" rIns="99058" bIns="49529" rtlCol="0" anchor="b"/>
          <a:lstStyle>
            <a:lvl1pPr algn="l">
              <a:defRPr sz="1300">
                <a:latin typeface="ABBvoice" panose="020D0603020503020204" pitchFamily="34" charset="0"/>
                <a:ea typeface="ABBvoice" panose="020D0603020503020204" pitchFamily="34" charset="0"/>
                <a:cs typeface="ABBvoice" panose="020D0603020503020204" pitchFamily="34" charset="0"/>
              </a:defRPr>
            </a:lvl1pPr>
          </a:lstStyle>
          <a:p>
            <a:endParaRPr lang="en-US" dirty="0"/>
          </a:p>
        </p:txBody>
      </p:sp>
      <p:sp>
        <p:nvSpPr>
          <p:cNvPr id="7" name="Slide Number Placeholder 6"/>
          <p:cNvSpPr>
            <a:spLocks noGrp="1"/>
          </p:cNvSpPr>
          <p:nvPr>
            <p:ph type="sldNum" sz="quarter" idx="5"/>
          </p:nvPr>
        </p:nvSpPr>
        <p:spPr bwMode="gray">
          <a:xfrm>
            <a:off x="4023093" y="9721107"/>
            <a:ext cx="3077739" cy="511730"/>
          </a:xfrm>
          <a:prstGeom prst="rect">
            <a:avLst/>
          </a:prstGeom>
        </p:spPr>
        <p:txBody>
          <a:bodyPr vert="horz" lIns="99058" tIns="49529" rIns="99058" bIns="49529" rtlCol="0" anchor="b"/>
          <a:lstStyle>
            <a:lvl1pPr algn="r">
              <a:defRPr sz="1300">
                <a:latin typeface="ABBvoice" panose="020D0603020503020204" pitchFamily="34" charset="0"/>
                <a:ea typeface="ABBvoice" panose="020D0603020503020204" pitchFamily="34" charset="0"/>
                <a:cs typeface="ABBvoice" panose="020D0603020503020204" pitchFamily="34" charset="0"/>
              </a:defRPr>
            </a:lvl1pPr>
          </a:lstStyle>
          <a:p>
            <a:fld id="{3A94E69C-C28A-4BE6-BE89-71D8FB2035FD}" type="slidenum">
              <a:rPr lang="en-US" smtClean="0"/>
              <a:pPr/>
              <a:t>‹#›</a:t>
            </a:fld>
            <a:endParaRPr lang="en-US" dirty="0"/>
          </a:p>
        </p:txBody>
      </p:sp>
    </p:spTree>
    <p:extLst>
      <p:ext uri="{BB962C8B-B14F-4D97-AF65-F5344CB8AC3E}">
        <p14:creationId xmlns:p14="http://schemas.microsoft.com/office/powerpoint/2010/main" val="4290885645"/>
      </p:ext>
    </p:extLst>
  </p:cSld>
  <p:clrMap bg1="lt1" tx1="dk1" bg2="lt2" tx2="dk2" accent1="accent1" accent2="accent2" accent3="accent3" accent4="accent4" accent5="accent5" accent6="accent6" hlink="hlink" folHlink="folHlink"/>
  <p:notesStyle>
    <a:lvl1pPr marL="0" indent="0" algn="l" defTabSz="914400" rtl="0" eaLnBrk="1" latinLnBrk="0" hangingPunct="1">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1pPr>
    <a:lvl2pPr marL="180000" indent="-180000" algn="l" defTabSz="914400" rtl="0" eaLnBrk="1" latinLnBrk="0" hangingPunct="1">
      <a:buFont typeface="ABBvoiceOffice" panose="020D0603020503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2pPr>
    <a:lvl3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3pPr>
    <a:lvl4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4pPr>
    <a:lvl5pPr marL="360000" indent="-180000" algn="l" defTabSz="914400" rtl="0" eaLnBrk="1" latinLnBrk="0" hangingPunct="1">
      <a:buFont typeface="Arial" panose="020B0604020202020204" pitchFamily="34" charset="0"/>
      <a:buChar char="•"/>
      <a:defRPr sz="1200" kern="1200">
        <a:solidFill>
          <a:schemeClr val="tx1"/>
        </a:solidFill>
        <a:latin typeface="ABBvoice" panose="020D0603020503020204" pitchFamily="34" charset="0"/>
        <a:ea typeface="ABBvoice" panose="020D0603020503020204" pitchFamily="34" charset="0"/>
        <a:cs typeface="ABBvoice" panose="020D0603020503020204" pitchFamily="34" charset="0"/>
      </a:defRPr>
    </a:lvl5pPr>
    <a:lvl6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6pPr>
    <a:lvl7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7pPr>
    <a:lvl8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8pPr>
    <a:lvl9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2</a:t>
            </a:fld>
            <a:endParaRPr lang="en-US" dirty="0"/>
          </a:p>
        </p:txBody>
      </p:sp>
    </p:spTree>
    <p:extLst>
      <p:ext uri="{BB962C8B-B14F-4D97-AF65-F5344CB8AC3E}">
        <p14:creationId xmlns:p14="http://schemas.microsoft.com/office/powerpoint/2010/main" val="22866937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Here‘s</a:t>
            </a:r>
            <a:r>
              <a:rPr lang="de-DE" dirty="0"/>
              <a:t> </a:t>
            </a:r>
            <a:r>
              <a:rPr lang="de-DE" dirty="0" err="1"/>
              <a:t>what</a:t>
            </a:r>
            <a:r>
              <a:rPr lang="de-DE" dirty="0"/>
              <a:t> an ASU </a:t>
            </a:r>
            <a:r>
              <a:rPr lang="de-DE" dirty="0" err="1"/>
              <a:t>may</a:t>
            </a:r>
            <a:r>
              <a:rPr lang="de-DE" dirty="0"/>
              <a:t> </a:t>
            </a:r>
            <a:r>
              <a:rPr lang="de-DE" dirty="0" err="1"/>
              <a:t>look</a:t>
            </a:r>
            <a:r>
              <a:rPr lang="de-DE" dirty="0"/>
              <a:t> like.  As </a:t>
            </a:r>
            <a:r>
              <a:rPr lang="de-DE" dirty="0" err="1"/>
              <a:t>the</a:t>
            </a:r>
            <a:r>
              <a:rPr lang="de-DE" dirty="0"/>
              <a:t> </a:t>
            </a:r>
            <a:r>
              <a:rPr lang="de-DE" dirty="0" err="1"/>
              <a:t>name</a:t>
            </a:r>
            <a:r>
              <a:rPr lang="de-DE" dirty="0"/>
              <a:t> </a:t>
            </a:r>
            <a:r>
              <a:rPr lang="de-DE" dirty="0" err="1"/>
              <a:t>suggests</a:t>
            </a:r>
            <a:r>
              <a:rPr lang="de-DE" dirty="0"/>
              <a:t>, </a:t>
            </a:r>
            <a:r>
              <a:rPr lang="de-DE" dirty="0" err="1"/>
              <a:t>it</a:t>
            </a:r>
            <a:r>
              <a:rPr lang="de-DE" dirty="0"/>
              <a:t> separates </a:t>
            </a:r>
            <a:r>
              <a:rPr lang="de-DE" dirty="0" err="1"/>
              <a:t>air</a:t>
            </a:r>
            <a:r>
              <a:rPr lang="de-DE" dirty="0"/>
              <a:t> </a:t>
            </a:r>
            <a:r>
              <a:rPr lang="de-DE" dirty="0" err="1"/>
              <a:t>into</a:t>
            </a:r>
            <a:r>
              <a:rPr lang="de-DE" dirty="0"/>
              <a:t> </a:t>
            </a:r>
            <a:r>
              <a:rPr lang="de-DE" dirty="0" err="1"/>
              <a:t>its</a:t>
            </a:r>
            <a:r>
              <a:rPr lang="de-DE" dirty="0"/>
              <a:t> </a:t>
            </a:r>
            <a:r>
              <a:rPr lang="de-DE" dirty="0" err="1"/>
              <a:t>main</a:t>
            </a:r>
            <a:r>
              <a:rPr lang="de-DE" dirty="0"/>
              <a:t> </a:t>
            </a:r>
            <a:r>
              <a:rPr lang="de-DE" dirty="0" err="1"/>
              <a:t>component</a:t>
            </a:r>
            <a:r>
              <a:rPr lang="de-DE" dirty="0"/>
              <a:t> </a:t>
            </a:r>
            <a:r>
              <a:rPr lang="de-DE" dirty="0" err="1"/>
              <a:t>gases</a:t>
            </a:r>
            <a:r>
              <a:rPr lang="de-DE" dirty="0"/>
              <a:t> </a:t>
            </a:r>
            <a:r>
              <a:rPr lang="de-DE" dirty="0" err="1"/>
              <a:t>of</a:t>
            </a:r>
            <a:r>
              <a:rPr lang="de-DE" dirty="0"/>
              <a:t> </a:t>
            </a:r>
            <a:r>
              <a:rPr lang="de-DE" dirty="0" err="1"/>
              <a:t>oxygen</a:t>
            </a:r>
            <a:r>
              <a:rPr lang="de-DE" dirty="0"/>
              <a:t>, </a:t>
            </a:r>
            <a:r>
              <a:rPr lang="de-DE" dirty="0" err="1"/>
              <a:t>nitrogen</a:t>
            </a:r>
            <a:r>
              <a:rPr lang="de-DE" dirty="0"/>
              <a:t> and </a:t>
            </a:r>
            <a:r>
              <a:rPr lang="de-DE" dirty="0" err="1"/>
              <a:t>argon</a:t>
            </a:r>
            <a:r>
              <a:rPr lang="de-DE" dirty="0"/>
              <a:t>.  </a:t>
            </a:r>
            <a:r>
              <a:rPr lang="de-DE" dirty="0" err="1"/>
              <a:t>Some</a:t>
            </a:r>
            <a:r>
              <a:rPr lang="de-DE" dirty="0"/>
              <a:t> Mega-</a:t>
            </a:r>
            <a:r>
              <a:rPr lang="de-DE" dirty="0" err="1"/>
              <a:t>ASU‘s</a:t>
            </a:r>
            <a:r>
              <a:rPr lang="de-DE" dirty="0"/>
              <a:t> </a:t>
            </a:r>
            <a:r>
              <a:rPr lang="de-DE" dirty="0" err="1"/>
              <a:t>go</a:t>
            </a:r>
            <a:r>
              <a:rPr lang="de-DE" dirty="0"/>
              <a:t> </a:t>
            </a:r>
            <a:r>
              <a:rPr lang="de-DE" dirty="0" err="1"/>
              <a:t>further</a:t>
            </a:r>
            <a:r>
              <a:rPr lang="de-DE" dirty="0"/>
              <a:t> and also </a:t>
            </a:r>
            <a:r>
              <a:rPr lang="de-DE" dirty="0" err="1"/>
              <a:t>extract</a:t>
            </a:r>
            <a:r>
              <a:rPr lang="de-DE" dirty="0"/>
              <a:t> </a:t>
            </a:r>
            <a:r>
              <a:rPr lang="de-DE" dirty="0" err="1"/>
              <a:t>the</a:t>
            </a:r>
            <a:r>
              <a:rPr lang="de-DE" dirty="0"/>
              <a:t> rare </a:t>
            </a:r>
            <a:r>
              <a:rPr lang="de-DE" dirty="0" err="1"/>
              <a:t>gases</a:t>
            </a:r>
            <a:r>
              <a:rPr lang="de-DE" dirty="0"/>
              <a:t> Neon, Krypton and Xenon.  </a:t>
            </a:r>
            <a:r>
              <a:rPr lang="de-DE" dirty="0" err="1"/>
              <a:t>One</a:t>
            </a:r>
            <a:r>
              <a:rPr lang="de-DE" dirty="0"/>
              <a:t> </a:t>
            </a:r>
            <a:r>
              <a:rPr lang="de-DE" dirty="0" err="1"/>
              <a:t>or</a:t>
            </a:r>
            <a:r>
              <a:rPr lang="de-DE" dirty="0"/>
              <a:t> </a:t>
            </a:r>
            <a:r>
              <a:rPr lang="de-DE" dirty="0" err="1"/>
              <a:t>two</a:t>
            </a:r>
            <a:r>
              <a:rPr lang="de-DE" dirty="0"/>
              <a:t> </a:t>
            </a:r>
            <a:r>
              <a:rPr lang="de-DE" dirty="0" err="1"/>
              <a:t>even</a:t>
            </a:r>
            <a:r>
              <a:rPr lang="de-DE" dirty="0"/>
              <a:t> </a:t>
            </a:r>
            <a:r>
              <a:rPr lang="de-DE" dirty="0" err="1"/>
              <a:t>recover</a:t>
            </a:r>
            <a:r>
              <a:rPr lang="de-DE" dirty="0"/>
              <a:t> </a:t>
            </a:r>
            <a:r>
              <a:rPr lang="de-DE" dirty="0" err="1"/>
              <a:t>helium</a:t>
            </a:r>
            <a:r>
              <a:rPr lang="de-DE" dirty="0"/>
              <a:t> </a:t>
            </a:r>
            <a:r>
              <a:rPr lang="de-DE" dirty="0" err="1"/>
              <a:t>from</a:t>
            </a:r>
            <a:r>
              <a:rPr lang="de-DE" dirty="0"/>
              <a:t> </a:t>
            </a:r>
            <a:r>
              <a:rPr lang="de-DE" dirty="0" err="1"/>
              <a:t>the</a:t>
            </a:r>
            <a:r>
              <a:rPr lang="de-DE" dirty="0"/>
              <a:t> </a:t>
            </a:r>
            <a:r>
              <a:rPr lang="de-DE" dirty="0" err="1"/>
              <a:t>air</a:t>
            </a:r>
            <a:r>
              <a:rPr lang="de-DE" dirty="0"/>
              <a:t>.  But, </a:t>
            </a:r>
            <a:r>
              <a:rPr lang="de-DE" dirty="0" err="1"/>
              <a:t>these</a:t>
            </a:r>
            <a:r>
              <a:rPr lang="de-DE" dirty="0"/>
              <a:t> </a:t>
            </a:r>
            <a:r>
              <a:rPr lang="de-DE" dirty="0" err="1"/>
              <a:t>types</a:t>
            </a:r>
            <a:r>
              <a:rPr lang="de-DE" dirty="0"/>
              <a:t> </a:t>
            </a:r>
            <a:r>
              <a:rPr lang="de-DE" dirty="0" err="1"/>
              <a:t>of</a:t>
            </a:r>
            <a:r>
              <a:rPr lang="de-DE" dirty="0"/>
              <a:t> ASU </a:t>
            </a:r>
            <a:r>
              <a:rPr lang="de-DE" dirty="0" err="1"/>
              <a:t>are</a:t>
            </a:r>
            <a:r>
              <a:rPr lang="de-DE" dirty="0"/>
              <a:t> </a:t>
            </a:r>
            <a:r>
              <a:rPr lang="de-DE" dirty="0" err="1"/>
              <a:t>really</a:t>
            </a:r>
            <a:r>
              <a:rPr lang="de-DE" dirty="0"/>
              <a:t> </a:t>
            </a:r>
            <a:r>
              <a:rPr lang="de-DE" dirty="0" err="1"/>
              <a:t>quite</a:t>
            </a:r>
            <a:r>
              <a:rPr lang="de-DE" dirty="0"/>
              <a:t> </a:t>
            </a:r>
            <a:r>
              <a:rPr lang="de-DE" dirty="0" err="1"/>
              <a:t>exotic</a:t>
            </a:r>
            <a:r>
              <a:rPr lang="de-DE" dirty="0"/>
              <a:t>.  The </a:t>
            </a:r>
            <a:r>
              <a:rPr lang="de-DE" dirty="0" err="1"/>
              <a:t>vast</a:t>
            </a:r>
            <a:r>
              <a:rPr lang="de-DE" dirty="0"/>
              <a:t> </a:t>
            </a:r>
            <a:r>
              <a:rPr lang="de-DE" dirty="0" err="1"/>
              <a:t>majority</a:t>
            </a:r>
            <a:r>
              <a:rPr lang="de-DE" dirty="0"/>
              <a:t> </a:t>
            </a:r>
            <a:r>
              <a:rPr lang="de-DE" dirty="0" err="1"/>
              <a:t>of</a:t>
            </a:r>
            <a:r>
              <a:rPr lang="de-DE" dirty="0"/>
              <a:t> ASUs </a:t>
            </a:r>
            <a:r>
              <a:rPr lang="de-DE" dirty="0" err="1"/>
              <a:t>work</a:t>
            </a:r>
            <a:r>
              <a:rPr lang="de-DE" dirty="0"/>
              <a:t> </a:t>
            </a:r>
            <a:r>
              <a:rPr lang="de-DE" dirty="0" err="1"/>
              <a:t>with</a:t>
            </a:r>
            <a:r>
              <a:rPr lang="de-DE" dirty="0"/>
              <a:t> </a:t>
            </a:r>
            <a:r>
              <a:rPr lang="de-DE" dirty="0" err="1"/>
              <a:t>oxygen</a:t>
            </a:r>
            <a:r>
              <a:rPr lang="de-DE" dirty="0"/>
              <a:t>, </a:t>
            </a:r>
            <a:r>
              <a:rPr lang="de-DE" dirty="0" err="1"/>
              <a:t>nitrogen</a:t>
            </a:r>
            <a:r>
              <a:rPr lang="de-DE" dirty="0"/>
              <a:t> and </a:t>
            </a:r>
            <a:r>
              <a:rPr lang="de-DE" dirty="0" err="1"/>
              <a:t>argon</a:t>
            </a:r>
            <a:r>
              <a:rPr lang="de-DE" dirty="0"/>
              <a:t>.</a:t>
            </a:r>
          </a:p>
          <a:p>
            <a:endParaRPr lang="de-DE" dirty="0"/>
          </a:p>
          <a:p>
            <a:r>
              <a:rPr lang="de-DE" dirty="0"/>
              <a:t>The </a:t>
            </a:r>
            <a:r>
              <a:rPr lang="de-DE" dirty="0" err="1"/>
              <a:t>applications</a:t>
            </a:r>
            <a:r>
              <a:rPr lang="de-DE" dirty="0"/>
              <a:t> </a:t>
            </a:r>
            <a:r>
              <a:rPr lang="de-DE" dirty="0" err="1"/>
              <a:t>for</a:t>
            </a:r>
            <a:r>
              <a:rPr lang="de-DE" dirty="0"/>
              <a:t> </a:t>
            </a:r>
            <a:r>
              <a:rPr lang="de-DE" dirty="0" err="1"/>
              <a:t>those</a:t>
            </a:r>
            <a:r>
              <a:rPr lang="de-DE" dirty="0"/>
              <a:t> </a:t>
            </a:r>
            <a:r>
              <a:rPr lang="de-DE" dirty="0" err="1"/>
              <a:t>three</a:t>
            </a:r>
            <a:r>
              <a:rPr lang="de-DE" dirty="0"/>
              <a:t> </a:t>
            </a:r>
            <a:r>
              <a:rPr lang="de-DE" dirty="0" err="1"/>
              <a:t>gases</a:t>
            </a:r>
            <a:r>
              <a:rPr lang="de-DE" dirty="0"/>
              <a:t> </a:t>
            </a:r>
            <a:r>
              <a:rPr lang="de-DE" dirty="0" err="1"/>
              <a:t>require</a:t>
            </a:r>
            <a:r>
              <a:rPr lang="de-DE" dirty="0"/>
              <a:t> </a:t>
            </a:r>
            <a:r>
              <a:rPr lang="de-DE" dirty="0" err="1"/>
              <a:t>them</a:t>
            </a:r>
            <a:r>
              <a:rPr lang="de-DE" dirty="0"/>
              <a:t> </a:t>
            </a:r>
            <a:r>
              <a:rPr lang="de-DE" dirty="0" err="1"/>
              <a:t>to</a:t>
            </a:r>
            <a:r>
              <a:rPr lang="de-DE" dirty="0"/>
              <a:t> </a:t>
            </a:r>
            <a:r>
              <a:rPr lang="de-DE" dirty="0" err="1"/>
              <a:t>be</a:t>
            </a:r>
            <a:r>
              <a:rPr lang="de-DE" dirty="0"/>
              <a:t> </a:t>
            </a:r>
            <a:r>
              <a:rPr lang="de-DE" dirty="0" err="1"/>
              <a:t>very</a:t>
            </a:r>
            <a:r>
              <a:rPr lang="de-DE" dirty="0"/>
              <a:t> pure.  So, </a:t>
            </a:r>
            <a:r>
              <a:rPr lang="de-DE" dirty="0" err="1"/>
              <a:t>the</a:t>
            </a:r>
            <a:r>
              <a:rPr lang="de-DE" dirty="0"/>
              <a:t> </a:t>
            </a:r>
            <a:r>
              <a:rPr lang="de-DE" dirty="0" err="1"/>
              <a:t>need</a:t>
            </a:r>
            <a:r>
              <a:rPr lang="de-DE" dirty="0"/>
              <a:t> </a:t>
            </a:r>
            <a:r>
              <a:rPr lang="de-DE" dirty="0" err="1"/>
              <a:t>for</a:t>
            </a:r>
            <a:r>
              <a:rPr lang="de-DE" dirty="0"/>
              <a:t> </a:t>
            </a:r>
            <a:r>
              <a:rPr lang="de-DE" dirty="0" err="1"/>
              <a:t>quality</a:t>
            </a:r>
            <a:r>
              <a:rPr lang="de-DE" dirty="0"/>
              <a:t> </a:t>
            </a:r>
            <a:r>
              <a:rPr lang="de-DE" dirty="0" err="1"/>
              <a:t>assurance</a:t>
            </a:r>
            <a:r>
              <a:rPr lang="de-DE" dirty="0"/>
              <a:t> gas </a:t>
            </a:r>
            <a:r>
              <a:rPr lang="de-DE" dirty="0" err="1"/>
              <a:t>analyzers</a:t>
            </a:r>
            <a:r>
              <a:rPr lang="de-DE" dirty="0"/>
              <a:t> </a:t>
            </a:r>
            <a:r>
              <a:rPr lang="de-DE" dirty="0" err="1"/>
              <a:t>is</a:t>
            </a:r>
            <a:r>
              <a:rPr lang="de-DE" dirty="0"/>
              <a:t> </a:t>
            </a:r>
            <a:r>
              <a:rPr lang="de-DE" dirty="0" err="1"/>
              <a:t>clear</a:t>
            </a:r>
            <a:r>
              <a:rPr lang="de-DE" dirty="0"/>
              <a:t>.  </a:t>
            </a:r>
            <a:r>
              <a:rPr lang="de-DE" dirty="0" err="1"/>
              <a:t>Furthermore</a:t>
            </a:r>
            <a:r>
              <a:rPr lang="de-DE" dirty="0"/>
              <a:t>, </a:t>
            </a:r>
            <a:r>
              <a:rPr lang="de-DE" dirty="0" err="1"/>
              <a:t>within</a:t>
            </a:r>
            <a:r>
              <a:rPr lang="de-DE" dirty="0"/>
              <a:t> </a:t>
            </a:r>
            <a:r>
              <a:rPr lang="de-DE" dirty="0" err="1"/>
              <a:t>the</a:t>
            </a:r>
            <a:r>
              <a:rPr lang="de-DE" dirty="0"/>
              <a:t> ASU </a:t>
            </a:r>
            <a:r>
              <a:rPr lang="de-DE" dirty="0" err="1"/>
              <a:t>there</a:t>
            </a:r>
            <a:r>
              <a:rPr lang="de-DE" dirty="0"/>
              <a:t> </a:t>
            </a:r>
            <a:r>
              <a:rPr lang="de-DE" dirty="0" err="1"/>
              <a:t>are</a:t>
            </a:r>
            <a:r>
              <a:rPr lang="de-DE" dirty="0"/>
              <a:t> </a:t>
            </a:r>
            <a:r>
              <a:rPr lang="de-DE" dirty="0" err="1"/>
              <a:t>process-control</a:t>
            </a:r>
            <a:r>
              <a:rPr lang="de-DE" dirty="0"/>
              <a:t> </a:t>
            </a:r>
            <a:r>
              <a:rPr lang="de-DE" dirty="0" err="1"/>
              <a:t>measurement</a:t>
            </a:r>
            <a:r>
              <a:rPr lang="de-DE" dirty="0"/>
              <a:t> </a:t>
            </a:r>
            <a:r>
              <a:rPr lang="de-DE" dirty="0" err="1"/>
              <a:t>requirements</a:t>
            </a:r>
            <a:r>
              <a:rPr lang="de-DE" dirty="0"/>
              <a:t>.  In </a:t>
            </a:r>
            <a:r>
              <a:rPr lang="de-DE" dirty="0" err="1"/>
              <a:t>fact</a:t>
            </a:r>
            <a:r>
              <a:rPr lang="de-DE" dirty="0"/>
              <a:t>, on a </a:t>
            </a:r>
            <a:r>
              <a:rPr lang="de-DE" dirty="0" err="1"/>
              <a:t>typical</a:t>
            </a:r>
            <a:r>
              <a:rPr lang="de-DE" dirty="0"/>
              <a:t> ASU and tanker-</a:t>
            </a:r>
            <a:r>
              <a:rPr lang="de-DE" dirty="0" err="1"/>
              <a:t>loading</a:t>
            </a:r>
            <a:r>
              <a:rPr lang="de-DE" dirty="0"/>
              <a:t> </a:t>
            </a:r>
            <a:r>
              <a:rPr lang="de-DE" dirty="0" err="1"/>
              <a:t>site</a:t>
            </a:r>
            <a:r>
              <a:rPr lang="de-DE" dirty="0"/>
              <a:t> </a:t>
            </a:r>
            <a:r>
              <a:rPr lang="de-DE" dirty="0" err="1"/>
              <a:t>you</a:t>
            </a:r>
            <a:r>
              <a:rPr lang="de-DE" dirty="0"/>
              <a:t> </a:t>
            </a:r>
            <a:r>
              <a:rPr lang="de-DE" dirty="0" err="1"/>
              <a:t>can</a:t>
            </a:r>
            <a:r>
              <a:rPr lang="de-DE" dirty="0"/>
              <a:t> </a:t>
            </a:r>
            <a:r>
              <a:rPr lang="de-DE" dirty="0" err="1"/>
              <a:t>expect</a:t>
            </a:r>
            <a:r>
              <a:rPr lang="de-DE" dirty="0"/>
              <a:t> </a:t>
            </a:r>
            <a:r>
              <a:rPr lang="de-DE" dirty="0" err="1"/>
              <a:t>to</a:t>
            </a:r>
            <a:r>
              <a:rPr lang="de-DE" dirty="0"/>
              <a:t> find </a:t>
            </a:r>
            <a:r>
              <a:rPr lang="de-DE" dirty="0" err="1"/>
              <a:t>about</a:t>
            </a:r>
            <a:r>
              <a:rPr lang="de-DE" dirty="0"/>
              <a:t> 20 gas </a:t>
            </a:r>
            <a:r>
              <a:rPr lang="de-DE" dirty="0" err="1"/>
              <a:t>analyzers</a:t>
            </a:r>
            <a:r>
              <a:rPr lang="de-DE" dirty="0"/>
              <a:t>.  And, all </a:t>
            </a:r>
            <a:r>
              <a:rPr lang="de-DE" dirty="0" err="1"/>
              <a:t>of</a:t>
            </a:r>
            <a:r>
              <a:rPr lang="de-DE" dirty="0"/>
              <a:t> </a:t>
            </a:r>
            <a:r>
              <a:rPr lang="de-DE" dirty="0" err="1"/>
              <a:t>those</a:t>
            </a:r>
            <a:r>
              <a:rPr lang="de-DE" dirty="0"/>
              <a:t> </a:t>
            </a:r>
            <a:r>
              <a:rPr lang="de-DE" dirty="0" err="1"/>
              <a:t>can</a:t>
            </a:r>
            <a:r>
              <a:rPr lang="de-DE" dirty="0"/>
              <a:t> </a:t>
            </a:r>
            <a:r>
              <a:rPr lang="de-DE" dirty="0" err="1"/>
              <a:t>be</a:t>
            </a:r>
            <a:r>
              <a:rPr lang="de-DE" dirty="0"/>
              <a:t> </a:t>
            </a:r>
            <a:r>
              <a:rPr lang="de-DE" dirty="0" err="1"/>
              <a:t>manufactured</a:t>
            </a:r>
            <a:r>
              <a:rPr lang="de-DE" dirty="0"/>
              <a:t> and </a:t>
            </a:r>
            <a:r>
              <a:rPr lang="de-DE" dirty="0" err="1"/>
              <a:t>sold</a:t>
            </a:r>
            <a:r>
              <a:rPr lang="de-DE" dirty="0"/>
              <a:t> </a:t>
            </a:r>
            <a:r>
              <a:rPr lang="de-DE" dirty="0" err="1"/>
              <a:t>by</a:t>
            </a:r>
            <a:r>
              <a:rPr lang="de-DE" dirty="0"/>
              <a:t> ABB Analytical.  ABB </a:t>
            </a:r>
            <a:r>
              <a:rPr lang="de-DE" dirty="0" err="1"/>
              <a:t>is</a:t>
            </a:r>
            <a:r>
              <a:rPr lang="de-DE" dirty="0"/>
              <a:t> </a:t>
            </a:r>
            <a:r>
              <a:rPr lang="de-DE" dirty="0" err="1"/>
              <a:t>very</a:t>
            </a:r>
            <a:r>
              <a:rPr lang="de-DE" dirty="0"/>
              <a:t> </a:t>
            </a:r>
            <a:r>
              <a:rPr lang="de-DE" dirty="0" err="1"/>
              <a:t>well</a:t>
            </a:r>
            <a:r>
              <a:rPr lang="de-DE" dirty="0"/>
              <a:t> </a:t>
            </a:r>
            <a:r>
              <a:rPr lang="de-DE" dirty="0" err="1"/>
              <a:t>positioned</a:t>
            </a:r>
            <a:r>
              <a:rPr lang="de-DE" dirty="0"/>
              <a:t> </a:t>
            </a:r>
            <a:r>
              <a:rPr lang="de-DE" dirty="0" err="1"/>
              <a:t>to</a:t>
            </a:r>
            <a:r>
              <a:rPr lang="de-DE" dirty="0"/>
              <a:t> </a:t>
            </a:r>
            <a:r>
              <a:rPr lang="de-DE" dirty="0" err="1"/>
              <a:t>play</a:t>
            </a:r>
            <a:r>
              <a:rPr lang="de-DE" dirty="0"/>
              <a:t> a </a:t>
            </a:r>
            <a:r>
              <a:rPr lang="de-DE" dirty="0" err="1"/>
              <a:t>leading</a:t>
            </a:r>
            <a:r>
              <a:rPr lang="de-DE" dirty="0"/>
              <a:t> </a:t>
            </a:r>
            <a:r>
              <a:rPr lang="de-DE" dirty="0" err="1"/>
              <a:t>role</a:t>
            </a:r>
            <a:r>
              <a:rPr lang="de-DE" dirty="0"/>
              <a:t> in </a:t>
            </a:r>
            <a:r>
              <a:rPr lang="de-DE" dirty="0" err="1"/>
              <a:t>the</a:t>
            </a:r>
            <a:r>
              <a:rPr lang="de-DE" dirty="0"/>
              <a:t> </a:t>
            </a:r>
            <a:r>
              <a:rPr lang="de-DE" dirty="0" err="1"/>
              <a:t>supply</a:t>
            </a:r>
            <a:r>
              <a:rPr lang="de-DE" dirty="0"/>
              <a:t> </a:t>
            </a:r>
            <a:r>
              <a:rPr lang="de-DE" dirty="0" err="1"/>
              <a:t>of</a:t>
            </a:r>
            <a:r>
              <a:rPr lang="de-DE" dirty="0"/>
              <a:t> gas </a:t>
            </a:r>
            <a:r>
              <a:rPr lang="de-DE" dirty="0" err="1"/>
              <a:t>analyzers</a:t>
            </a:r>
            <a:r>
              <a:rPr lang="de-DE" dirty="0"/>
              <a:t> </a:t>
            </a:r>
            <a:r>
              <a:rPr lang="de-DE" dirty="0" err="1"/>
              <a:t>to</a:t>
            </a:r>
            <a:r>
              <a:rPr lang="de-DE" dirty="0"/>
              <a:t> </a:t>
            </a:r>
            <a:r>
              <a:rPr lang="de-DE" dirty="0" err="1"/>
              <a:t>this</a:t>
            </a:r>
            <a:r>
              <a:rPr lang="de-DE" dirty="0"/>
              <a:t> </a:t>
            </a:r>
            <a:r>
              <a:rPr lang="de-DE" dirty="0" err="1"/>
              <a:t>sector</a:t>
            </a:r>
            <a:r>
              <a:rPr lang="de-DE" dirty="0"/>
              <a:t>.  </a:t>
            </a:r>
            <a:r>
              <a:rPr lang="de-DE" dirty="0" err="1"/>
              <a:t>You</a:t>
            </a:r>
            <a:r>
              <a:rPr lang="de-DE" dirty="0"/>
              <a:t> </a:t>
            </a:r>
            <a:r>
              <a:rPr lang="de-DE" dirty="0" err="1"/>
              <a:t>have</a:t>
            </a:r>
            <a:r>
              <a:rPr lang="de-DE" dirty="0"/>
              <a:t> </a:t>
            </a:r>
            <a:r>
              <a:rPr lang="de-DE" dirty="0" err="1"/>
              <a:t>the</a:t>
            </a:r>
            <a:r>
              <a:rPr lang="de-DE" dirty="0"/>
              <a:t> </a:t>
            </a:r>
            <a:r>
              <a:rPr lang="de-DE" dirty="0" err="1"/>
              <a:t>products</a:t>
            </a:r>
            <a:r>
              <a:rPr lang="de-DE" dirty="0"/>
              <a:t> in </a:t>
            </a:r>
            <a:r>
              <a:rPr lang="de-DE" dirty="0" err="1"/>
              <a:t>the</a:t>
            </a:r>
            <a:r>
              <a:rPr lang="de-DE" dirty="0"/>
              <a:t> ABB </a:t>
            </a:r>
            <a:r>
              <a:rPr lang="de-DE" dirty="0" err="1"/>
              <a:t>portfolio</a:t>
            </a:r>
            <a:r>
              <a:rPr lang="de-DE" dirty="0"/>
              <a:t> </a:t>
            </a:r>
            <a:r>
              <a:rPr lang="de-DE" dirty="0" err="1"/>
              <a:t>that</a:t>
            </a:r>
            <a:r>
              <a:rPr lang="de-DE" dirty="0"/>
              <a:t> </a:t>
            </a:r>
            <a:r>
              <a:rPr lang="de-DE" dirty="0" err="1"/>
              <a:t>you</a:t>
            </a:r>
            <a:r>
              <a:rPr lang="de-DE" dirty="0"/>
              <a:t> </a:t>
            </a:r>
            <a:r>
              <a:rPr lang="de-DE" dirty="0" err="1"/>
              <a:t>need</a:t>
            </a:r>
            <a:r>
              <a:rPr lang="de-DE" dirty="0"/>
              <a:t> </a:t>
            </a:r>
            <a:r>
              <a:rPr lang="de-DE" dirty="0" err="1"/>
              <a:t>to</a:t>
            </a:r>
            <a:r>
              <a:rPr lang="de-DE" dirty="0"/>
              <a:t> </a:t>
            </a:r>
            <a:r>
              <a:rPr lang="de-DE" dirty="0" err="1"/>
              <a:t>succeed</a:t>
            </a:r>
            <a:r>
              <a:rPr lang="de-DE" dirty="0"/>
              <a:t>.</a:t>
            </a:r>
          </a:p>
        </p:txBody>
      </p:sp>
      <p:sp>
        <p:nvSpPr>
          <p:cNvPr id="4" name="Slide Number Placeholder 3"/>
          <p:cNvSpPr>
            <a:spLocks noGrp="1"/>
          </p:cNvSpPr>
          <p:nvPr>
            <p:ph type="sldNum" sz="quarter" idx="10"/>
          </p:nvPr>
        </p:nvSpPr>
        <p:spPr/>
        <p:txBody>
          <a:bodyPr/>
          <a:lstStyle/>
          <a:p>
            <a:fld id="{3A94E69C-C28A-4BE6-BE89-71D8FB2035FD}" type="slidenum">
              <a:rPr lang="en-US" smtClean="0"/>
              <a:pPr/>
              <a:t>29</a:t>
            </a:fld>
            <a:endParaRPr lang="en-US" dirty="0"/>
          </a:p>
        </p:txBody>
      </p:sp>
    </p:spTree>
    <p:extLst>
      <p:ext uri="{BB962C8B-B14F-4D97-AF65-F5344CB8AC3E}">
        <p14:creationId xmlns:p14="http://schemas.microsoft.com/office/powerpoint/2010/main" val="36704168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err="1"/>
              <a:t>Those</a:t>
            </a:r>
            <a:r>
              <a:rPr lang="de-DE" dirty="0"/>
              <a:t> </a:t>
            </a:r>
            <a:r>
              <a:rPr lang="de-DE" dirty="0" err="1"/>
              <a:t>of</a:t>
            </a:r>
            <a:r>
              <a:rPr lang="de-DE" dirty="0"/>
              <a:t> </a:t>
            </a:r>
            <a:r>
              <a:rPr lang="de-DE" dirty="0" err="1"/>
              <a:t>you</a:t>
            </a:r>
            <a:r>
              <a:rPr lang="de-DE" dirty="0"/>
              <a:t> </a:t>
            </a:r>
            <a:r>
              <a:rPr lang="de-DE" dirty="0" err="1"/>
              <a:t>familiar</a:t>
            </a:r>
            <a:r>
              <a:rPr lang="de-DE" dirty="0"/>
              <a:t> </a:t>
            </a:r>
            <a:r>
              <a:rPr lang="de-DE" dirty="0" err="1"/>
              <a:t>with</a:t>
            </a:r>
            <a:r>
              <a:rPr lang="de-DE" dirty="0"/>
              <a:t> </a:t>
            </a:r>
            <a:r>
              <a:rPr lang="de-DE" dirty="0" err="1"/>
              <a:t>process</a:t>
            </a:r>
            <a:r>
              <a:rPr lang="de-DE" dirty="0"/>
              <a:t> </a:t>
            </a:r>
            <a:r>
              <a:rPr lang="de-DE" dirty="0" err="1"/>
              <a:t>flow</a:t>
            </a:r>
            <a:r>
              <a:rPr lang="de-DE" dirty="0"/>
              <a:t> </a:t>
            </a:r>
            <a:r>
              <a:rPr lang="de-DE" dirty="0" err="1"/>
              <a:t>diagrams</a:t>
            </a:r>
            <a:r>
              <a:rPr lang="de-DE" dirty="0"/>
              <a:t> will </a:t>
            </a:r>
            <a:r>
              <a:rPr lang="de-DE" dirty="0" err="1"/>
              <a:t>relate</a:t>
            </a:r>
            <a:r>
              <a:rPr lang="de-DE" dirty="0"/>
              <a:t> </a:t>
            </a:r>
            <a:r>
              <a:rPr lang="de-DE" dirty="0" err="1"/>
              <a:t>to</a:t>
            </a:r>
            <a:r>
              <a:rPr lang="de-DE" dirty="0"/>
              <a:t> </a:t>
            </a:r>
            <a:r>
              <a:rPr lang="de-DE" dirty="0" err="1"/>
              <a:t>this</a:t>
            </a:r>
            <a:r>
              <a:rPr lang="de-DE" dirty="0"/>
              <a:t> </a:t>
            </a:r>
            <a:r>
              <a:rPr lang="de-DE" dirty="0" err="1"/>
              <a:t>image</a:t>
            </a:r>
            <a:r>
              <a:rPr lang="de-DE" dirty="0"/>
              <a:t> </a:t>
            </a:r>
            <a:r>
              <a:rPr lang="de-DE" dirty="0" err="1"/>
              <a:t>immediately</a:t>
            </a:r>
            <a:r>
              <a:rPr lang="de-DE" dirty="0"/>
              <a:t>.  </a:t>
            </a:r>
            <a:r>
              <a:rPr lang="de-DE" dirty="0" err="1"/>
              <a:t>We</a:t>
            </a:r>
            <a:r>
              <a:rPr lang="de-DE" dirty="0"/>
              <a:t> </a:t>
            </a:r>
            <a:r>
              <a:rPr lang="de-DE" dirty="0" err="1"/>
              <a:t>have</a:t>
            </a:r>
            <a:r>
              <a:rPr lang="de-DE" dirty="0"/>
              <a:t> </a:t>
            </a:r>
            <a:r>
              <a:rPr lang="de-DE" dirty="0" err="1"/>
              <a:t>transformed</a:t>
            </a:r>
            <a:r>
              <a:rPr lang="de-DE" dirty="0"/>
              <a:t> </a:t>
            </a:r>
            <a:r>
              <a:rPr lang="de-DE" dirty="0" err="1"/>
              <a:t>the</a:t>
            </a:r>
            <a:r>
              <a:rPr lang="de-DE" dirty="0"/>
              <a:t> </a:t>
            </a:r>
            <a:r>
              <a:rPr lang="de-DE" dirty="0" err="1"/>
              <a:t>visualisation</a:t>
            </a:r>
            <a:r>
              <a:rPr lang="de-DE" dirty="0"/>
              <a:t> </a:t>
            </a:r>
            <a:r>
              <a:rPr lang="de-DE" dirty="0" err="1"/>
              <a:t>of</a:t>
            </a:r>
            <a:r>
              <a:rPr lang="de-DE" dirty="0"/>
              <a:t> </a:t>
            </a:r>
            <a:r>
              <a:rPr lang="de-DE" dirty="0" err="1"/>
              <a:t>the</a:t>
            </a:r>
            <a:r>
              <a:rPr lang="de-DE" dirty="0"/>
              <a:t> ASU in </a:t>
            </a:r>
            <a:r>
              <a:rPr lang="de-DE" dirty="0" err="1"/>
              <a:t>the</a:t>
            </a:r>
            <a:r>
              <a:rPr lang="de-DE" dirty="0"/>
              <a:t> </a:t>
            </a:r>
            <a:r>
              <a:rPr lang="de-DE" dirty="0" err="1"/>
              <a:t>previous</a:t>
            </a:r>
            <a:r>
              <a:rPr lang="de-DE" dirty="0"/>
              <a:t> </a:t>
            </a:r>
            <a:r>
              <a:rPr lang="de-DE" dirty="0" err="1"/>
              <a:t>slide</a:t>
            </a:r>
            <a:r>
              <a:rPr lang="de-DE" dirty="0"/>
              <a:t> </a:t>
            </a:r>
            <a:r>
              <a:rPr lang="de-DE" dirty="0" err="1"/>
              <a:t>into</a:t>
            </a:r>
            <a:r>
              <a:rPr lang="de-DE" dirty="0"/>
              <a:t> </a:t>
            </a:r>
            <a:r>
              <a:rPr lang="de-DE" dirty="0" err="1"/>
              <a:t>the</a:t>
            </a:r>
            <a:r>
              <a:rPr lang="de-DE" dirty="0"/>
              <a:t> </a:t>
            </a:r>
            <a:r>
              <a:rPr lang="de-DE" dirty="0" err="1"/>
              <a:t>main</a:t>
            </a:r>
            <a:r>
              <a:rPr lang="de-DE" dirty="0"/>
              <a:t> </a:t>
            </a:r>
            <a:r>
              <a:rPr lang="de-DE" dirty="0" err="1"/>
              <a:t>pieces</a:t>
            </a:r>
            <a:r>
              <a:rPr lang="de-DE" dirty="0"/>
              <a:t> </a:t>
            </a:r>
            <a:r>
              <a:rPr lang="de-DE" dirty="0" err="1"/>
              <a:t>of</a:t>
            </a:r>
            <a:r>
              <a:rPr lang="de-DE" dirty="0"/>
              <a:t> </a:t>
            </a:r>
            <a:r>
              <a:rPr lang="de-DE" dirty="0" err="1"/>
              <a:t>process</a:t>
            </a:r>
            <a:r>
              <a:rPr lang="de-DE" dirty="0"/>
              <a:t> </a:t>
            </a:r>
            <a:r>
              <a:rPr lang="de-DE" dirty="0" err="1"/>
              <a:t>equipment</a:t>
            </a:r>
            <a:r>
              <a:rPr lang="de-DE" dirty="0"/>
              <a:t> and </a:t>
            </a:r>
            <a:r>
              <a:rPr lang="de-DE" dirty="0" err="1"/>
              <a:t>product</a:t>
            </a:r>
            <a:r>
              <a:rPr lang="de-DE" dirty="0"/>
              <a:t> </a:t>
            </a:r>
            <a:r>
              <a:rPr lang="de-DE" dirty="0" err="1"/>
              <a:t>flows</a:t>
            </a:r>
            <a:r>
              <a:rPr lang="de-DE" dirty="0"/>
              <a:t>.  The </a:t>
            </a:r>
            <a:r>
              <a:rPr lang="de-DE" dirty="0" err="1"/>
              <a:t>typical</a:t>
            </a:r>
            <a:r>
              <a:rPr lang="de-DE" dirty="0"/>
              <a:t> </a:t>
            </a:r>
            <a:r>
              <a:rPr lang="de-DE" dirty="0" err="1"/>
              <a:t>measurement</a:t>
            </a:r>
            <a:r>
              <a:rPr lang="de-DE" dirty="0"/>
              <a:t> </a:t>
            </a:r>
            <a:r>
              <a:rPr lang="de-DE" dirty="0" err="1"/>
              <a:t>locations</a:t>
            </a:r>
            <a:r>
              <a:rPr lang="de-DE" dirty="0"/>
              <a:t> </a:t>
            </a:r>
            <a:r>
              <a:rPr lang="de-DE" dirty="0" err="1"/>
              <a:t>are</a:t>
            </a:r>
            <a:r>
              <a:rPr lang="de-DE" dirty="0"/>
              <a:t> </a:t>
            </a:r>
            <a:r>
              <a:rPr lang="de-DE" dirty="0" err="1"/>
              <a:t>marked</a:t>
            </a:r>
            <a:r>
              <a:rPr lang="de-DE" dirty="0"/>
              <a:t>.  At </a:t>
            </a:r>
            <a:r>
              <a:rPr lang="de-DE" dirty="0" err="1"/>
              <a:t>each</a:t>
            </a:r>
            <a:r>
              <a:rPr lang="de-DE" dirty="0"/>
              <a:t> </a:t>
            </a:r>
            <a:r>
              <a:rPr lang="de-DE" dirty="0" err="1"/>
              <a:t>point</a:t>
            </a:r>
            <a:r>
              <a:rPr lang="de-DE" dirty="0"/>
              <a:t> </a:t>
            </a:r>
            <a:r>
              <a:rPr lang="de-DE" dirty="0" err="1"/>
              <a:t>there</a:t>
            </a:r>
            <a:r>
              <a:rPr lang="de-DE" dirty="0"/>
              <a:t> will </a:t>
            </a:r>
            <a:r>
              <a:rPr lang="de-DE" dirty="0" err="1"/>
              <a:t>often</a:t>
            </a:r>
            <a:r>
              <a:rPr lang="de-DE" dirty="0"/>
              <a:t> </a:t>
            </a:r>
            <a:r>
              <a:rPr lang="de-DE" dirty="0" err="1"/>
              <a:t>be</a:t>
            </a:r>
            <a:r>
              <a:rPr lang="de-DE" dirty="0"/>
              <a:t> </a:t>
            </a:r>
            <a:r>
              <a:rPr lang="de-DE" dirty="0" err="1"/>
              <a:t>one</a:t>
            </a:r>
            <a:r>
              <a:rPr lang="de-DE" dirty="0"/>
              <a:t> </a:t>
            </a:r>
            <a:r>
              <a:rPr lang="de-DE" dirty="0" err="1"/>
              <a:t>or</a:t>
            </a:r>
            <a:r>
              <a:rPr lang="de-DE" dirty="0"/>
              <a:t> </a:t>
            </a:r>
            <a:r>
              <a:rPr lang="de-DE" dirty="0" err="1"/>
              <a:t>more</a:t>
            </a:r>
            <a:r>
              <a:rPr lang="de-DE" dirty="0"/>
              <a:t>  </a:t>
            </a:r>
            <a:r>
              <a:rPr lang="de-DE" dirty="0" err="1"/>
              <a:t>gases</a:t>
            </a:r>
            <a:r>
              <a:rPr lang="de-DE" dirty="0"/>
              <a:t> </a:t>
            </a:r>
            <a:r>
              <a:rPr lang="de-DE" dirty="0" err="1"/>
              <a:t>which</a:t>
            </a:r>
            <a:r>
              <a:rPr lang="de-DE" dirty="0"/>
              <a:t> </a:t>
            </a:r>
            <a:r>
              <a:rPr lang="de-DE" dirty="0" err="1"/>
              <a:t>require</a:t>
            </a:r>
            <a:r>
              <a:rPr lang="de-DE" dirty="0"/>
              <a:t> </a:t>
            </a:r>
            <a:r>
              <a:rPr lang="de-DE" dirty="0" err="1"/>
              <a:t>analysis</a:t>
            </a:r>
            <a:r>
              <a:rPr lang="de-DE" dirty="0"/>
              <a:t> </a:t>
            </a:r>
            <a:r>
              <a:rPr lang="de-DE" dirty="0" err="1"/>
              <a:t>for</a:t>
            </a:r>
            <a:r>
              <a:rPr lang="de-DE" dirty="0"/>
              <a:t> </a:t>
            </a:r>
            <a:r>
              <a:rPr lang="de-DE" dirty="0" err="1"/>
              <a:t>process</a:t>
            </a:r>
            <a:r>
              <a:rPr lang="de-DE" dirty="0"/>
              <a:t> </a:t>
            </a:r>
            <a:r>
              <a:rPr lang="de-DE" dirty="0" err="1"/>
              <a:t>control</a:t>
            </a:r>
            <a:r>
              <a:rPr lang="de-DE" dirty="0"/>
              <a:t> </a:t>
            </a:r>
            <a:r>
              <a:rPr lang="de-DE" dirty="0" err="1"/>
              <a:t>or</a:t>
            </a:r>
            <a:r>
              <a:rPr lang="de-DE" dirty="0"/>
              <a:t> </a:t>
            </a:r>
            <a:r>
              <a:rPr lang="de-DE" dirty="0" err="1"/>
              <a:t>quality</a:t>
            </a:r>
            <a:r>
              <a:rPr lang="de-DE" dirty="0"/>
              <a:t> </a:t>
            </a:r>
            <a:r>
              <a:rPr lang="de-DE" dirty="0" err="1"/>
              <a:t>assurance</a:t>
            </a:r>
            <a:r>
              <a:rPr lang="de-DE" dirty="0"/>
              <a:t> </a:t>
            </a:r>
            <a:r>
              <a:rPr lang="de-DE" dirty="0" err="1"/>
              <a:t>purposes</a:t>
            </a:r>
            <a:r>
              <a:rPr lang="de-DE" dirty="0"/>
              <a:t>.</a:t>
            </a:r>
          </a:p>
          <a:p>
            <a:endParaRPr lang="de-DE" dirty="0"/>
          </a:p>
          <a:p>
            <a:r>
              <a:rPr lang="de-DE" dirty="0" err="1"/>
              <a:t>Please</a:t>
            </a:r>
            <a:r>
              <a:rPr lang="de-DE" dirty="0"/>
              <a:t> </a:t>
            </a:r>
            <a:r>
              <a:rPr lang="de-DE" dirty="0" err="1"/>
              <a:t>note</a:t>
            </a:r>
            <a:r>
              <a:rPr lang="de-DE" dirty="0"/>
              <a:t> </a:t>
            </a:r>
            <a:r>
              <a:rPr lang="de-DE" dirty="0" err="1"/>
              <a:t>that</a:t>
            </a:r>
            <a:r>
              <a:rPr lang="de-DE" dirty="0"/>
              <a:t> </a:t>
            </a:r>
            <a:r>
              <a:rPr lang="de-DE" dirty="0" err="1"/>
              <a:t>this</a:t>
            </a:r>
            <a:r>
              <a:rPr lang="de-DE" dirty="0"/>
              <a:t> </a:t>
            </a:r>
            <a:r>
              <a:rPr lang="de-DE" dirty="0" err="1"/>
              <a:t>is</a:t>
            </a:r>
            <a:r>
              <a:rPr lang="de-DE" dirty="0"/>
              <a:t> a </a:t>
            </a:r>
            <a:r>
              <a:rPr lang="de-DE" dirty="0" err="1"/>
              <a:t>typical</a:t>
            </a:r>
            <a:r>
              <a:rPr lang="de-DE" dirty="0"/>
              <a:t> ASU </a:t>
            </a:r>
            <a:r>
              <a:rPr lang="de-DE" dirty="0" err="1"/>
              <a:t>configuration</a:t>
            </a:r>
            <a:r>
              <a:rPr lang="de-DE" dirty="0"/>
              <a:t>.  As </a:t>
            </a:r>
            <a:r>
              <a:rPr lang="de-DE" dirty="0" err="1"/>
              <a:t>noted</a:t>
            </a:r>
            <a:r>
              <a:rPr lang="de-DE" dirty="0"/>
              <a:t> </a:t>
            </a:r>
            <a:r>
              <a:rPr lang="de-DE" dirty="0" err="1"/>
              <a:t>previously</a:t>
            </a:r>
            <a:r>
              <a:rPr lang="de-DE" dirty="0"/>
              <a:t>, </a:t>
            </a:r>
            <a:r>
              <a:rPr lang="de-DE" dirty="0" err="1"/>
              <a:t>some</a:t>
            </a:r>
            <a:r>
              <a:rPr lang="de-DE" dirty="0"/>
              <a:t> ASUs </a:t>
            </a:r>
            <a:r>
              <a:rPr lang="de-DE" dirty="0" err="1"/>
              <a:t>add</a:t>
            </a:r>
            <a:r>
              <a:rPr lang="de-DE" dirty="0"/>
              <a:t> </a:t>
            </a:r>
            <a:r>
              <a:rPr lang="de-DE" dirty="0" err="1"/>
              <a:t>the</a:t>
            </a:r>
            <a:r>
              <a:rPr lang="de-DE" dirty="0"/>
              <a:t> </a:t>
            </a:r>
            <a:r>
              <a:rPr lang="de-DE" dirty="0" err="1"/>
              <a:t>complexity</a:t>
            </a:r>
            <a:r>
              <a:rPr lang="de-DE" dirty="0"/>
              <a:t> </a:t>
            </a:r>
            <a:r>
              <a:rPr lang="de-DE" dirty="0" err="1"/>
              <a:t>of</a:t>
            </a:r>
            <a:r>
              <a:rPr lang="de-DE" dirty="0"/>
              <a:t> rare </a:t>
            </a:r>
            <a:r>
              <a:rPr lang="de-DE" dirty="0" err="1"/>
              <a:t>gases</a:t>
            </a:r>
            <a:r>
              <a:rPr lang="de-DE" dirty="0"/>
              <a:t> </a:t>
            </a:r>
            <a:r>
              <a:rPr lang="de-DE" dirty="0" err="1"/>
              <a:t>production</a:t>
            </a:r>
            <a:r>
              <a:rPr lang="de-DE" dirty="0"/>
              <a:t>.  </a:t>
            </a:r>
            <a:r>
              <a:rPr lang="de-DE" dirty="0" err="1"/>
              <a:t>Some</a:t>
            </a:r>
            <a:r>
              <a:rPr lang="de-DE" dirty="0"/>
              <a:t> </a:t>
            </a:r>
            <a:r>
              <a:rPr lang="de-DE" dirty="0" err="1"/>
              <a:t>are</a:t>
            </a:r>
            <a:r>
              <a:rPr lang="de-DE" dirty="0"/>
              <a:t> simpler </a:t>
            </a:r>
            <a:r>
              <a:rPr lang="de-DE" dirty="0" err="1"/>
              <a:t>than</a:t>
            </a:r>
            <a:r>
              <a:rPr lang="de-DE" dirty="0"/>
              <a:t> </a:t>
            </a:r>
            <a:r>
              <a:rPr lang="de-DE" dirty="0" err="1"/>
              <a:t>the</a:t>
            </a:r>
            <a:r>
              <a:rPr lang="de-DE" dirty="0"/>
              <a:t> </a:t>
            </a:r>
            <a:r>
              <a:rPr lang="de-DE" dirty="0" err="1"/>
              <a:t>diagram</a:t>
            </a:r>
            <a:r>
              <a:rPr lang="de-DE" dirty="0"/>
              <a:t> </a:t>
            </a:r>
            <a:r>
              <a:rPr lang="de-DE" dirty="0" err="1"/>
              <a:t>shown</a:t>
            </a:r>
            <a:r>
              <a:rPr lang="de-DE" dirty="0"/>
              <a:t> </a:t>
            </a:r>
            <a:r>
              <a:rPr lang="de-DE" dirty="0" err="1"/>
              <a:t>here</a:t>
            </a:r>
            <a:r>
              <a:rPr lang="de-DE" dirty="0"/>
              <a:t> </a:t>
            </a:r>
            <a:r>
              <a:rPr lang="de-DE" dirty="0" err="1"/>
              <a:t>because</a:t>
            </a:r>
            <a:r>
              <a:rPr lang="de-DE" dirty="0"/>
              <a:t> </a:t>
            </a:r>
            <a:r>
              <a:rPr lang="de-DE" dirty="0" err="1"/>
              <a:t>they</a:t>
            </a:r>
            <a:r>
              <a:rPr lang="de-DE" dirty="0"/>
              <a:t> do not </a:t>
            </a:r>
            <a:r>
              <a:rPr lang="de-DE" dirty="0" err="1"/>
              <a:t>produce</a:t>
            </a:r>
            <a:r>
              <a:rPr lang="de-DE" dirty="0"/>
              <a:t> pure </a:t>
            </a:r>
            <a:r>
              <a:rPr lang="de-DE" dirty="0" err="1"/>
              <a:t>argon</a:t>
            </a:r>
            <a:r>
              <a:rPr lang="de-DE" dirty="0"/>
              <a:t>.  </a:t>
            </a:r>
            <a:r>
              <a:rPr lang="de-DE" dirty="0" err="1"/>
              <a:t>Others</a:t>
            </a:r>
            <a:r>
              <a:rPr lang="de-DE" dirty="0"/>
              <a:t> do not </a:t>
            </a:r>
            <a:r>
              <a:rPr lang="de-DE" dirty="0" err="1"/>
              <a:t>have</a:t>
            </a:r>
            <a:r>
              <a:rPr lang="de-DE" dirty="0"/>
              <a:t> a </a:t>
            </a:r>
            <a:r>
              <a:rPr lang="de-DE" dirty="0" err="1"/>
              <a:t>molecular</a:t>
            </a:r>
            <a:r>
              <a:rPr lang="de-DE" dirty="0"/>
              <a:t> </a:t>
            </a:r>
            <a:r>
              <a:rPr lang="de-DE" dirty="0" err="1"/>
              <a:t>sieve</a:t>
            </a:r>
            <a:r>
              <a:rPr lang="de-DE" dirty="0"/>
              <a:t> </a:t>
            </a:r>
            <a:r>
              <a:rPr lang="de-DE" dirty="0" err="1"/>
              <a:t>adsorber</a:t>
            </a:r>
            <a:r>
              <a:rPr lang="de-DE" dirty="0"/>
              <a:t> and </a:t>
            </a:r>
            <a:r>
              <a:rPr lang="de-DE" dirty="0" err="1"/>
              <a:t>use</a:t>
            </a:r>
            <a:r>
              <a:rPr lang="de-DE" dirty="0"/>
              <a:t> </a:t>
            </a:r>
            <a:r>
              <a:rPr lang="de-DE" dirty="0" err="1"/>
              <a:t>other</a:t>
            </a:r>
            <a:r>
              <a:rPr lang="de-DE" dirty="0"/>
              <a:t> </a:t>
            </a:r>
            <a:r>
              <a:rPr lang="de-DE" dirty="0" err="1"/>
              <a:t>technologies</a:t>
            </a:r>
            <a:r>
              <a:rPr lang="de-DE" dirty="0"/>
              <a:t> </a:t>
            </a:r>
            <a:r>
              <a:rPr lang="de-DE" dirty="0" err="1"/>
              <a:t>for</a:t>
            </a:r>
            <a:r>
              <a:rPr lang="de-DE" dirty="0"/>
              <a:t> </a:t>
            </a:r>
            <a:r>
              <a:rPr lang="de-DE" dirty="0" err="1"/>
              <a:t>removal</a:t>
            </a:r>
            <a:r>
              <a:rPr lang="de-DE" dirty="0"/>
              <a:t> </a:t>
            </a:r>
            <a:r>
              <a:rPr lang="de-DE" dirty="0" err="1"/>
              <a:t>of</a:t>
            </a:r>
            <a:r>
              <a:rPr lang="de-DE" dirty="0"/>
              <a:t> </a:t>
            </a:r>
            <a:r>
              <a:rPr lang="de-DE" dirty="0" err="1"/>
              <a:t>carbon</a:t>
            </a:r>
            <a:r>
              <a:rPr lang="de-DE" dirty="0"/>
              <a:t> </a:t>
            </a:r>
            <a:r>
              <a:rPr lang="de-DE" dirty="0" err="1"/>
              <a:t>dioxide</a:t>
            </a:r>
            <a:r>
              <a:rPr lang="de-DE" dirty="0"/>
              <a:t> and </a:t>
            </a:r>
            <a:r>
              <a:rPr lang="de-DE" dirty="0" err="1"/>
              <a:t>moisture</a:t>
            </a:r>
            <a:r>
              <a:rPr lang="de-DE" dirty="0"/>
              <a:t> </a:t>
            </a:r>
            <a:r>
              <a:rPr lang="de-DE" dirty="0" err="1"/>
              <a:t>from</a:t>
            </a:r>
            <a:r>
              <a:rPr lang="de-DE" dirty="0"/>
              <a:t> </a:t>
            </a:r>
            <a:r>
              <a:rPr lang="de-DE" dirty="0" err="1"/>
              <a:t>the</a:t>
            </a:r>
            <a:r>
              <a:rPr lang="de-DE" dirty="0"/>
              <a:t> </a:t>
            </a:r>
            <a:r>
              <a:rPr lang="de-DE" dirty="0" err="1"/>
              <a:t>air</a:t>
            </a:r>
            <a:r>
              <a:rPr lang="de-DE" dirty="0"/>
              <a:t>.  </a:t>
            </a:r>
            <a:r>
              <a:rPr lang="de-DE" dirty="0" err="1"/>
              <a:t>However</a:t>
            </a:r>
            <a:r>
              <a:rPr lang="de-DE" dirty="0"/>
              <a:t>, </a:t>
            </a:r>
            <a:r>
              <a:rPr lang="de-DE" dirty="0" err="1"/>
              <a:t>if</a:t>
            </a:r>
            <a:r>
              <a:rPr lang="de-DE" dirty="0"/>
              <a:t> </a:t>
            </a:r>
            <a:r>
              <a:rPr lang="de-DE" dirty="0" err="1"/>
              <a:t>we</a:t>
            </a:r>
            <a:r>
              <a:rPr lang="de-DE" dirty="0"/>
              <a:t> </a:t>
            </a:r>
            <a:r>
              <a:rPr lang="de-DE" dirty="0" err="1"/>
              <a:t>understand</a:t>
            </a:r>
            <a:r>
              <a:rPr lang="de-DE" dirty="0"/>
              <a:t> </a:t>
            </a:r>
            <a:r>
              <a:rPr lang="de-DE" dirty="0" err="1"/>
              <a:t>this</a:t>
            </a:r>
            <a:r>
              <a:rPr lang="de-DE" dirty="0"/>
              <a:t> </a:t>
            </a:r>
            <a:r>
              <a:rPr lang="de-DE" dirty="0" err="1"/>
              <a:t>generic</a:t>
            </a:r>
            <a:r>
              <a:rPr lang="de-DE" dirty="0"/>
              <a:t> ASU </a:t>
            </a:r>
            <a:r>
              <a:rPr lang="de-DE" dirty="0" err="1"/>
              <a:t>model</a:t>
            </a:r>
            <a:r>
              <a:rPr lang="de-DE" dirty="0"/>
              <a:t> </a:t>
            </a:r>
            <a:r>
              <a:rPr lang="de-DE" dirty="0" err="1"/>
              <a:t>we</a:t>
            </a:r>
            <a:r>
              <a:rPr lang="de-DE" dirty="0"/>
              <a:t> will also </a:t>
            </a:r>
            <a:r>
              <a:rPr lang="de-DE" dirty="0" err="1"/>
              <a:t>have</a:t>
            </a:r>
            <a:r>
              <a:rPr lang="de-DE" dirty="0"/>
              <a:t> a </a:t>
            </a:r>
            <a:r>
              <a:rPr lang="de-DE" dirty="0" err="1"/>
              <a:t>good</a:t>
            </a:r>
            <a:r>
              <a:rPr lang="de-DE" dirty="0"/>
              <a:t> </a:t>
            </a:r>
            <a:r>
              <a:rPr lang="de-DE" dirty="0" err="1"/>
              <a:t>understanding</a:t>
            </a:r>
            <a:r>
              <a:rPr lang="de-DE" dirty="0"/>
              <a:t> </a:t>
            </a:r>
            <a:r>
              <a:rPr lang="de-DE" dirty="0" err="1"/>
              <a:t>of</a:t>
            </a:r>
            <a:r>
              <a:rPr lang="de-DE" dirty="0"/>
              <a:t> </a:t>
            </a:r>
            <a:r>
              <a:rPr lang="de-DE" dirty="0" err="1"/>
              <a:t>the</a:t>
            </a:r>
            <a:r>
              <a:rPr lang="de-DE" dirty="0"/>
              <a:t> simpler </a:t>
            </a:r>
            <a:r>
              <a:rPr lang="de-DE" dirty="0" err="1"/>
              <a:t>cases</a:t>
            </a:r>
            <a:r>
              <a:rPr lang="de-DE" dirty="0"/>
              <a:t>.</a:t>
            </a:r>
          </a:p>
        </p:txBody>
      </p:sp>
      <p:sp>
        <p:nvSpPr>
          <p:cNvPr id="4" name="Slide Number Placeholder 3"/>
          <p:cNvSpPr>
            <a:spLocks noGrp="1"/>
          </p:cNvSpPr>
          <p:nvPr>
            <p:ph type="sldNum" sz="quarter" idx="10"/>
          </p:nvPr>
        </p:nvSpPr>
        <p:spPr/>
        <p:txBody>
          <a:bodyPr/>
          <a:lstStyle/>
          <a:p>
            <a:fld id="{3A94E69C-C28A-4BE6-BE89-71D8FB2035FD}" type="slidenum">
              <a:rPr lang="en-US" smtClean="0"/>
              <a:pPr/>
              <a:t>30</a:t>
            </a:fld>
            <a:endParaRPr lang="en-US" dirty="0"/>
          </a:p>
        </p:txBody>
      </p:sp>
    </p:spTree>
    <p:extLst>
      <p:ext uri="{BB962C8B-B14F-4D97-AF65-F5344CB8AC3E}">
        <p14:creationId xmlns:p14="http://schemas.microsoft.com/office/powerpoint/2010/main" val="1125060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Here </a:t>
            </a:r>
            <a:r>
              <a:rPr lang="de-DE" dirty="0" err="1"/>
              <a:t>are</a:t>
            </a:r>
            <a:r>
              <a:rPr lang="de-DE" dirty="0"/>
              <a:t> </a:t>
            </a:r>
            <a:r>
              <a:rPr lang="de-DE" dirty="0" err="1"/>
              <a:t>the</a:t>
            </a:r>
            <a:r>
              <a:rPr lang="de-DE" dirty="0"/>
              <a:t> </a:t>
            </a:r>
            <a:r>
              <a:rPr lang="de-DE" dirty="0" err="1"/>
              <a:t>first</a:t>
            </a:r>
            <a:r>
              <a:rPr lang="de-DE" dirty="0"/>
              <a:t> </a:t>
            </a:r>
            <a:r>
              <a:rPr lang="de-DE" dirty="0" err="1"/>
              <a:t>of</a:t>
            </a:r>
            <a:r>
              <a:rPr lang="de-DE" dirty="0"/>
              <a:t> </a:t>
            </a:r>
            <a:r>
              <a:rPr lang="de-DE" dirty="0" err="1"/>
              <a:t>those</a:t>
            </a:r>
            <a:r>
              <a:rPr lang="de-DE" dirty="0"/>
              <a:t> </a:t>
            </a:r>
            <a:r>
              <a:rPr lang="de-DE" dirty="0" err="1"/>
              <a:t>measurement</a:t>
            </a:r>
            <a:r>
              <a:rPr lang="de-DE" dirty="0"/>
              <a:t> </a:t>
            </a:r>
            <a:r>
              <a:rPr lang="de-DE" dirty="0" err="1"/>
              <a:t>points</a:t>
            </a:r>
            <a:r>
              <a:rPr lang="de-DE" dirty="0"/>
              <a:t>.  </a:t>
            </a:r>
            <a:r>
              <a:rPr lang="de-DE" dirty="0" err="1"/>
              <a:t>We</a:t>
            </a:r>
            <a:r>
              <a:rPr lang="de-DE" dirty="0"/>
              <a:t> </a:t>
            </a:r>
            <a:r>
              <a:rPr lang="de-DE" dirty="0" err="1"/>
              <a:t>have</a:t>
            </a:r>
            <a:r>
              <a:rPr lang="de-DE" dirty="0"/>
              <a:t> </a:t>
            </a:r>
            <a:r>
              <a:rPr lang="de-DE" dirty="0" err="1"/>
              <a:t>presented</a:t>
            </a:r>
            <a:r>
              <a:rPr lang="de-DE" dirty="0"/>
              <a:t> </a:t>
            </a:r>
            <a:r>
              <a:rPr lang="de-DE" dirty="0" err="1"/>
              <a:t>them</a:t>
            </a:r>
            <a:r>
              <a:rPr lang="de-DE" dirty="0"/>
              <a:t> in a </a:t>
            </a:r>
            <a:r>
              <a:rPr lang="de-DE" dirty="0" err="1"/>
              <a:t>table</a:t>
            </a:r>
            <a:r>
              <a:rPr lang="de-DE" dirty="0"/>
              <a:t> and </a:t>
            </a:r>
            <a:r>
              <a:rPr lang="de-DE" dirty="0" err="1"/>
              <a:t>the</a:t>
            </a:r>
            <a:r>
              <a:rPr lang="de-DE" dirty="0"/>
              <a:t> </a:t>
            </a:r>
            <a:r>
              <a:rPr lang="de-DE" dirty="0" err="1"/>
              <a:t>typical</a:t>
            </a:r>
            <a:r>
              <a:rPr lang="de-DE" dirty="0"/>
              <a:t> </a:t>
            </a:r>
            <a:r>
              <a:rPr lang="de-DE" dirty="0" err="1"/>
              <a:t>analytical</a:t>
            </a:r>
            <a:r>
              <a:rPr lang="de-DE" dirty="0"/>
              <a:t> </a:t>
            </a:r>
            <a:r>
              <a:rPr lang="de-DE" dirty="0" err="1"/>
              <a:t>concentration</a:t>
            </a:r>
            <a:r>
              <a:rPr lang="de-DE" dirty="0"/>
              <a:t> </a:t>
            </a:r>
            <a:r>
              <a:rPr lang="de-DE" dirty="0" err="1"/>
              <a:t>ranges</a:t>
            </a:r>
            <a:r>
              <a:rPr lang="de-DE" dirty="0"/>
              <a:t> and </a:t>
            </a:r>
            <a:r>
              <a:rPr lang="de-DE" dirty="0" err="1"/>
              <a:t>chemical</a:t>
            </a:r>
            <a:r>
              <a:rPr lang="de-DE" dirty="0"/>
              <a:t> </a:t>
            </a:r>
            <a:r>
              <a:rPr lang="de-DE" dirty="0" err="1"/>
              <a:t>components</a:t>
            </a:r>
            <a:r>
              <a:rPr lang="de-DE" dirty="0"/>
              <a:t> </a:t>
            </a:r>
            <a:r>
              <a:rPr lang="de-DE" dirty="0" err="1"/>
              <a:t>are</a:t>
            </a:r>
            <a:r>
              <a:rPr lang="de-DE" dirty="0"/>
              <a:t> </a:t>
            </a:r>
            <a:r>
              <a:rPr lang="de-DE" dirty="0" err="1"/>
              <a:t>identified</a:t>
            </a:r>
            <a:r>
              <a:rPr lang="de-DE" dirty="0"/>
              <a:t>.  Take a </a:t>
            </a:r>
            <a:r>
              <a:rPr lang="de-DE" dirty="0" err="1"/>
              <a:t>look</a:t>
            </a:r>
            <a:r>
              <a:rPr lang="de-DE" dirty="0"/>
              <a:t> at </a:t>
            </a:r>
            <a:r>
              <a:rPr lang="de-DE" dirty="0" err="1"/>
              <a:t>the</a:t>
            </a:r>
            <a:r>
              <a:rPr lang="de-DE" dirty="0"/>
              <a:t> </a:t>
            </a:r>
            <a:r>
              <a:rPr lang="de-DE" dirty="0" err="1"/>
              <a:t>terrific</a:t>
            </a:r>
            <a:r>
              <a:rPr lang="de-DE" dirty="0"/>
              <a:t> </a:t>
            </a:r>
            <a:r>
              <a:rPr lang="de-DE" dirty="0" err="1"/>
              <a:t>number</a:t>
            </a:r>
            <a:r>
              <a:rPr lang="de-DE" dirty="0"/>
              <a:t> </a:t>
            </a:r>
            <a:r>
              <a:rPr lang="de-DE" dirty="0" err="1"/>
              <a:t>of</a:t>
            </a:r>
            <a:r>
              <a:rPr lang="de-DE" dirty="0"/>
              <a:t> gas </a:t>
            </a:r>
            <a:r>
              <a:rPr lang="de-DE" dirty="0" err="1"/>
              <a:t>analysers</a:t>
            </a:r>
            <a:r>
              <a:rPr lang="de-DE" dirty="0"/>
              <a:t> </a:t>
            </a:r>
            <a:r>
              <a:rPr lang="de-DE" dirty="0" err="1"/>
              <a:t>from</a:t>
            </a:r>
            <a:r>
              <a:rPr lang="de-DE" dirty="0"/>
              <a:t> </a:t>
            </a:r>
            <a:r>
              <a:rPr lang="de-DE" dirty="0" err="1"/>
              <a:t>the</a:t>
            </a:r>
            <a:r>
              <a:rPr lang="de-DE" dirty="0"/>
              <a:t> ABB Analytical </a:t>
            </a:r>
            <a:r>
              <a:rPr lang="de-DE" dirty="0" err="1"/>
              <a:t>product</a:t>
            </a:r>
            <a:r>
              <a:rPr lang="de-DE" dirty="0"/>
              <a:t> </a:t>
            </a:r>
            <a:r>
              <a:rPr lang="de-DE" dirty="0" err="1"/>
              <a:t>range</a:t>
            </a:r>
            <a:r>
              <a:rPr lang="de-DE" dirty="0"/>
              <a:t> </a:t>
            </a:r>
            <a:r>
              <a:rPr lang="de-DE" dirty="0" err="1"/>
              <a:t>that</a:t>
            </a:r>
            <a:r>
              <a:rPr lang="de-DE" dirty="0"/>
              <a:t> </a:t>
            </a:r>
            <a:r>
              <a:rPr lang="de-DE" dirty="0" err="1"/>
              <a:t>can</a:t>
            </a:r>
            <a:r>
              <a:rPr lang="de-DE" dirty="0"/>
              <a:t> </a:t>
            </a:r>
            <a:r>
              <a:rPr lang="de-DE" dirty="0" err="1"/>
              <a:t>be</a:t>
            </a:r>
            <a:r>
              <a:rPr lang="de-DE" dirty="0"/>
              <a:t> </a:t>
            </a:r>
            <a:r>
              <a:rPr lang="de-DE" dirty="0" err="1"/>
              <a:t>sold</a:t>
            </a:r>
            <a:r>
              <a:rPr lang="de-DE" dirty="0"/>
              <a:t> </a:t>
            </a:r>
            <a:r>
              <a:rPr lang="de-DE" dirty="0" err="1"/>
              <a:t>here</a:t>
            </a:r>
            <a:r>
              <a:rPr lang="de-DE" dirty="0"/>
              <a:t>.  Imagine </a:t>
            </a:r>
            <a:r>
              <a:rPr lang="de-DE" dirty="0" err="1"/>
              <a:t>landing</a:t>
            </a:r>
            <a:r>
              <a:rPr lang="de-DE" dirty="0"/>
              <a:t> an </a:t>
            </a:r>
            <a:r>
              <a:rPr lang="de-DE" dirty="0" err="1"/>
              <a:t>order</a:t>
            </a:r>
            <a:r>
              <a:rPr lang="de-DE" dirty="0"/>
              <a:t> </a:t>
            </a:r>
            <a:r>
              <a:rPr lang="de-DE" dirty="0" err="1"/>
              <a:t>to</a:t>
            </a:r>
            <a:r>
              <a:rPr lang="de-DE" dirty="0"/>
              <a:t> </a:t>
            </a:r>
            <a:r>
              <a:rPr lang="de-DE" dirty="0" err="1"/>
              <a:t>supply</a:t>
            </a:r>
            <a:r>
              <a:rPr lang="de-DE" dirty="0"/>
              <a:t> </a:t>
            </a:r>
            <a:r>
              <a:rPr lang="de-DE" dirty="0" err="1"/>
              <a:t>that</a:t>
            </a:r>
            <a:r>
              <a:rPr lang="de-DE" dirty="0"/>
              <a:t> </a:t>
            </a:r>
            <a:r>
              <a:rPr lang="de-DE" dirty="0" err="1"/>
              <a:t>suite</a:t>
            </a:r>
            <a:r>
              <a:rPr lang="de-DE" dirty="0"/>
              <a:t> </a:t>
            </a:r>
            <a:r>
              <a:rPr lang="de-DE" dirty="0" err="1"/>
              <a:t>of</a:t>
            </a:r>
            <a:r>
              <a:rPr lang="de-DE" dirty="0"/>
              <a:t> </a:t>
            </a:r>
            <a:r>
              <a:rPr lang="de-DE" dirty="0" err="1"/>
              <a:t>instruments</a:t>
            </a:r>
            <a:r>
              <a:rPr lang="de-DE" dirty="0"/>
              <a:t> </a:t>
            </a:r>
            <a:r>
              <a:rPr lang="de-DE" dirty="0" err="1"/>
              <a:t>to</a:t>
            </a:r>
            <a:r>
              <a:rPr lang="de-DE" dirty="0"/>
              <a:t> a </a:t>
            </a:r>
            <a:r>
              <a:rPr lang="de-DE" dirty="0" err="1"/>
              <a:t>new</a:t>
            </a:r>
            <a:r>
              <a:rPr lang="de-DE" dirty="0"/>
              <a:t> ASU </a:t>
            </a:r>
            <a:r>
              <a:rPr lang="de-DE" dirty="0" err="1"/>
              <a:t>build</a:t>
            </a:r>
            <a:r>
              <a:rPr lang="de-DE" dirty="0"/>
              <a:t>.  </a:t>
            </a:r>
            <a:r>
              <a:rPr lang="de-DE" dirty="0" err="1"/>
              <a:t>Or</a:t>
            </a:r>
            <a:r>
              <a:rPr lang="de-DE" dirty="0"/>
              <a:t>, </a:t>
            </a:r>
            <a:r>
              <a:rPr lang="de-DE" dirty="0" err="1"/>
              <a:t>to</a:t>
            </a:r>
            <a:r>
              <a:rPr lang="de-DE" dirty="0"/>
              <a:t> </a:t>
            </a:r>
            <a:r>
              <a:rPr lang="de-DE" dirty="0" err="1"/>
              <a:t>supply</a:t>
            </a:r>
            <a:r>
              <a:rPr lang="de-DE" dirty="0"/>
              <a:t> a </a:t>
            </a:r>
            <a:r>
              <a:rPr lang="de-DE" dirty="0" err="1"/>
              <a:t>few</a:t>
            </a:r>
            <a:r>
              <a:rPr lang="de-DE" dirty="0"/>
              <a:t> gas </a:t>
            </a:r>
            <a:r>
              <a:rPr lang="de-DE" dirty="0" err="1"/>
              <a:t>analysers</a:t>
            </a:r>
            <a:r>
              <a:rPr lang="de-DE" dirty="0"/>
              <a:t> </a:t>
            </a:r>
            <a:r>
              <a:rPr lang="de-DE" dirty="0" err="1"/>
              <a:t>to</a:t>
            </a:r>
            <a:r>
              <a:rPr lang="de-DE" dirty="0"/>
              <a:t> a </a:t>
            </a:r>
            <a:r>
              <a:rPr lang="de-DE" dirty="0" err="1"/>
              <a:t>refurbishment</a:t>
            </a:r>
            <a:r>
              <a:rPr lang="de-DE" dirty="0"/>
              <a:t> </a:t>
            </a:r>
            <a:r>
              <a:rPr lang="de-DE" dirty="0" err="1"/>
              <a:t>project</a:t>
            </a:r>
            <a:r>
              <a:rPr lang="de-DE" dirty="0"/>
              <a:t> on an </a:t>
            </a:r>
            <a:r>
              <a:rPr lang="de-DE" dirty="0" err="1"/>
              <a:t>older</a:t>
            </a:r>
            <a:r>
              <a:rPr lang="de-DE" dirty="0"/>
              <a:t> plant.  </a:t>
            </a:r>
            <a:r>
              <a:rPr lang="de-DE" dirty="0" err="1"/>
              <a:t>Either</a:t>
            </a:r>
            <a:r>
              <a:rPr lang="de-DE" dirty="0"/>
              <a:t> </a:t>
            </a:r>
            <a:r>
              <a:rPr lang="de-DE" dirty="0" err="1"/>
              <a:t>of</a:t>
            </a:r>
            <a:r>
              <a:rPr lang="de-DE" dirty="0"/>
              <a:t> </a:t>
            </a:r>
            <a:r>
              <a:rPr lang="de-DE" dirty="0" err="1"/>
              <a:t>those</a:t>
            </a:r>
            <a:r>
              <a:rPr lang="de-DE" dirty="0"/>
              <a:t> </a:t>
            </a:r>
            <a:r>
              <a:rPr lang="de-DE" dirty="0" err="1"/>
              <a:t>would</a:t>
            </a:r>
            <a:r>
              <a:rPr lang="de-DE" dirty="0"/>
              <a:t> </a:t>
            </a:r>
            <a:r>
              <a:rPr lang="de-DE" dirty="0" err="1"/>
              <a:t>go</a:t>
            </a:r>
            <a:r>
              <a:rPr lang="de-DE" dirty="0"/>
              <a:t> </a:t>
            </a:r>
            <a:r>
              <a:rPr lang="de-DE" dirty="0" err="1"/>
              <a:t>some</a:t>
            </a:r>
            <a:r>
              <a:rPr lang="de-DE" dirty="0"/>
              <a:t> </a:t>
            </a:r>
            <a:r>
              <a:rPr lang="de-DE" dirty="0" err="1"/>
              <a:t>way</a:t>
            </a:r>
            <a:r>
              <a:rPr lang="de-DE" dirty="0"/>
              <a:t> </a:t>
            </a:r>
            <a:r>
              <a:rPr lang="de-DE" dirty="0" err="1"/>
              <a:t>to</a:t>
            </a:r>
            <a:r>
              <a:rPr lang="de-DE" dirty="0"/>
              <a:t> </a:t>
            </a:r>
            <a:r>
              <a:rPr lang="de-DE" dirty="0" err="1"/>
              <a:t>helping</a:t>
            </a:r>
            <a:r>
              <a:rPr lang="de-DE" dirty="0"/>
              <a:t> </a:t>
            </a:r>
            <a:r>
              <a:rPr lang="de-DE" dirty="0" err="1"/>
              <a:t>you</a:t>
            </a:r>
            <a:r>
              <a:rPr lang="de-DE" dirty="0"/>
              <a:t> </a:t>
            </a:r>
            <a:r>
              <a:rPr lang="de-DE" dirty="0" err="1"/>
              <a:t>meet</a:t>
            </a:r>
            <a:r>
              <a:rPr lang="de-DE" dirty="0"/>
              <a:t> </a:t>
            </a:r>
            <a:r>
              <a:rPr lang="de-DE" dirty="0" err="1"/>
              <a:t>your</a:t>
            </a:r>
            <a:r>
              <a:rPr lang="de-DE" dirty="0"/>
              <a:t> annual </a:t>
            </a:r>
            <a:r>
              <a:rPr lang="de-DE" dirty="0" err="1"/>
              <a:t>sales</a:t>
            </a:r>
            <a:r>
              <a:rPr lang="de-DE" dirty="0"/>
              <a:t> </a:t>
            </a:r>
            <a:r>
              <a:rPr lang="de-DE" dirty="0" err="1"/>
              <a:t>targets</a:t>
            </a:r>
            <a:r>
              <a:rPr lang="de-DE" dirty="0"/>
              <a:t>.</a:t>
            </a:r>
          </a:p>
        </p:txBody>
      </p:sp>
      <p:sp>
        <p:nvSpPr>
          <p:cNvPr id="4" name="Slide Number Placeholder 3"/>
          <p:cNvSpPr>
            <a:spLocks noGrp="1"/>
          </p:cNvSpPr>
          <p:nvPr>
            <p:ph type="sldNum" sz="quarter" idx="10"/>
          </p:nvPr>
        </p:nvSpPr>
        <p:spPr/>
        <p:txBody>
          <a:bodyPr/>
          <a:lstStyle/>
          <a:p>
            <a:fld id="{3A94E69C-C28A-4BE6-BE89-71D8FB2035FD}" type="slidenum">
              <a:rPr lang="en-US" smtClean="0"/>
              <a:pPr/>
              <a:t>31</a:t>
            </a:fld>
            <a:endParaRPr lang="en-US" dirty="0"/>
          </a:p>
        </p:txBody>
      </p:sp>
    </p:spTree>
    <p:extLst>
      <p:ext uri="{BB962C8B-B14F-4D97-AF65-F5344CB8AC3E}">
        <p14:creationId xmlns:p14="http://schemas.microsoft.com/office/powerpoint/2010/main" val="713311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nd, </a:t>
            </a:r>
            <a:r>
              <a:rPr lang="de-DE" dirty="0" err="1"/>
              <a:t>what</a:t>
            </a:r>
            <a:r>
              <a:rPr lang="de-DE" dirty="0"/>
              <a:t> </a:t>
            </a:r>
            <a:r>
              <a:rPr lang="de-DE" dirty="0" err="1"/>
              <a:t>about</a:t>
            </a:r>
            <a:r>
              <a:rPr lang="de-DE" dirty="0"/>
              <a:t> </a:t>
            </a:r>
            <a:r>
              <a:rPr lang="de-DE" dirty="0" err="1"/>
              <a:t>these</a:t>
            </a:r>
            <a:r>
              <a:rPr lang="de-DE" dirty="0"/>
              <a:t> additional </a:t>
            </a:r>
            <a:r>
              <a:rPr lang="de-DE" dirty="0" err="1"/>
              <a:t>process</a:t>
            </a:r>
            <a:r>
              <a:rPr lang="de-DE" dirty="0"/>
              <a:t> </a:t>
            </a:r>
            <a:r>
              <a:rPr lang="de-DE" dirty="0" err="1"/>
              <a:t>streams</a:t>
            </a:r>
            <a:r>
              <a:rPr lang="de-DE" dirty="0"/>
              <a:t> and </a:t>
            </a:r>
            <a:r>
              <a:rPr lang="de-DE" dirty="0" err="1"/>
              <a:t>measurement</a:t>
            </a:r>
            <a:r>
              <a:rPr lang="de-DE" dirty="0"/>
              <a:t> </a:t>
            </a:r>
            <a:r>
              <a:rPr lang="de-DE" dirty="0" err="1"/>
              <a:t>points</a:t>
            </a:r>
            <a:r>
              <a:rPr lang="de-DE" dirty="0"/>
              <a:t>.  Here </a:t>
            </a:r>
            <a:r>
              <a:rPr lang="de-DE" dirty="0" err="1"/>
              <a:t>is</a:t>
            </a:r>
            <a:r>
              <a:rPr lang="de-DE" dirty="0"/>
              <a:t> </a:t>
            </a:r>
            <a:r>
              <a:rPr lang="de-DE" dirty="0" err="1"/>
              <a:t>another</a:t>
            </a:r>
            <a:r>
              <a:rPr lang="de-DE" dirty="0"/>
              <a:t> </a:t>
            </a:r>
            <a:r>
              <a:rPr lang="de-DE" dirty="0" err="1"/>
              <a:t>list</a:t>
            </a:r>
            <a:r>
              <a:rPr lang="de-DE" dirty="0"/>
              <a:t> </a:t>
            </a:r>
            <a:r>
              <a:rPr lang="de-DE" dirty="0" err="1"/>
              <a:t>that</a:t>
            </a:r>
            <a:r>
              <a:rPr lang="de-DE" dirty="0"/>
              <a:t> </a:t>
            </a:r>
            <a:r>
              <a:rPr lang="de-DE" dirty="0" err="1"/>
              <a:t>shows</a:t>
            </a:r>
            <a:r>
              <a:rPr lang="de-DE" dirty="0"/>
              <a:t> </a:t>
            </a:r>
            <a:r>
              <a:rPr lang="de-DE" dirty="0" err="1"/>
              <a:t>the</a:t>
            </a:r>
            <a:r>
              <a:rPr lang="de-DE" dirty="0"/>
              <a:t> </a:t>
            </a:r>
            <a:r>
              <a:rPr lang="de-DE" dirty="0" err="1"/>
              <a:t>perfect</a:t>
            </a:r>
            <a:r>
              <a:rPr lang="de-DE" dirty="0"/>
              <a:t> </a:t>
            </a:r>
            <a:r>
              <a:rPr lang="de-DE" dirty="0" err="1"/>
              <a:t>match</a:t>
            </a:r>
            <a:r>
              <a:rPr lang="de-DE" dirty="0"/>
              <a:t> </a:t>
            </a:r>
            <a:r>
              <a:rPr lang="de-DE" dirty="0" err="1"/>
              <a:t>between</a:t>
            </a:r>
            <a:r>
              <a:rPr lang="de-DE" dirty="0"/>
              <a:t> ABB gas </a:t>
            </a:r>
            <a:r>
              <a:rPr lang="de-DE" dirty="0" err="1"/>
              <a:t>analyzers</a:t>
            </a:r>
            <a:r>
              <a:rPr lang="de-DE" dirty="0"/>
              <a:t> </a:t>
            </a:r>
            <a:r>
              <a:rPr lang="de-DE" dirty="0" err="1"/>
              <a:t>that</a:t>
            </a:r>
            <a:r>
              <a:rPr lang="de-DE" dirty="0"/>
              <a:t> </a:t>
            </a:r>
            <a:r>
              <a:rPr lang="de-DE" dirty="0" err="1"/>
              <a:t>you</a:t>
            </a:r>
            <a:r>
              <a:rPr lang="de-DE" dirty="0"/>
              <a:t> </a:t>
            </a:r>
            <a:r>
              <a:rPr lang="de-DE" dirty="0" err="1"/>
              <a:t>can</a:t>
            </a:r>
            <a:r>
              <a:rPr lang="de-DE" dirty="0"/>
              <a:t> </a:t>
            </a:r>
            <a:r>
              <a:rPr lang="de-DE" dirty="0" err="1"/>
              <a:t>sell</a:t>
            </a:r>
            <a:r>
              <a:rPr lang="de-DE" dirty="0"/>
              <a:t> and </a:t>
            </a:r>
            <a:r>
              <a:rPr lang="de-DE" dirty="0" err="1"/>
              <a:t>the</a:t>
            </a:r>
            <a:r>
              <a:rPr lang="de-DE" dirty="0"/>
              <a:t> </a:t>
            </a:r>
            <a:r>
              <a:rPr lang="de-DE" dirty="0" err="1"/>
              <a:t>requirements</a:t>
            </a:r>
            <a:r>
              <a:rPr lang="de-DE" dirty="0"/>
              <a:t> </a:t>
            </a:r>
            <a:r>
              <a:rPr lang="de-DE" dirty="0" err="1"/>
              <a:t>that</a:t>
            </a:r>
            <a:r>
              <a:rPr lang="de-DE" dirty="0"/>
              <a:t> </a:t>
            </a:r>
            <a:r>
              <a:rPr lang="de-DE" dirty="0" err="1"/>
              <a:t>exist</a:t>
            </a:r>
            <a:r>
              <a:rPr lang="de-DE" dirty="0"/>
              <a:t> on </a:t>
            </a:r>
            <a:r>
              <a:rPr lang="de-DE" dirty="0" err="1"/>
              <a:t>the</a:t>
            </a:r>
            <a:r>
              <a:rPr lang="de-DE" dirty="0"/>
              <a:t> ASU.</a:t>
            </a:r>
          </a:p>
        </p:txBody>
      </p:sp>
      <p:sp>
        <p:nvSpPr>
          <p:cNvPr id="4" name="Slide Number Placeholder 3"/>
          <p:cNvSpPr>
            <a:spLocks noGrp="1"/>
          </p:cNvSpPr>
          <p:nvPr>
            <p:ph type="sldNum" sz="quarter" idx="10"/>
          </p:nvPr>
        </p:nvSpPr>
        <p:spPr/>
        <p:txBody>
          <a:bodyPr/>
          <a:lstStyle/>
          <a:p>
            <a:fld id="{3A94E69C-C28A-4BE6-BE89-71D8FB2035FD}" type="slidenum">
              <a:rPr lang="en-US" smtClean="0"/>
              <a:pPr/>
              <a:t>32</a:t>
            </a:fld>
            <a:endParaRPr lang="en-US" dirty="0"/>
          </a:p>
        </p:txBody>
      </p:sp>
    </p:spTree>
    <p:extLst>
      <p:ext uri="{BB962C8B-B14F-4D97-AF65-F5344CB8AC3E}">
        <p14:creationId xmlns:p14="http://schemas.microsoft.com/office/powerpoint/2010/main" val="42870785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These pain points on a typical ASU are sensitive issues that the operator is likely to be concerned about.  They may sound like no-go areas for conversation that will put everybody out of their comfort zone, but they can work in your favour.  Plant managers and instrumentation engineers will be highly aware that these issues exist.  Try to engage in some conversation about one or two of these topics and listen to how they describe their current situation.  Try to determine their level of satisfaction with the gas </a:t>
            </a:r>
            <a:r>
              <a:rPr lang="en-GB" sz="1200" b="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analyzers</a:t>
            </a:r>
            <a:r>
              <a:rPr lang="en-GB" sz="1200" b="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they are using for these applications today.  Are they really 100% satisfied? What about ease of maintenance, up-time, calibration frequency, drift, accuracy, compatibility with the latest site process control and communications systems. Is there any room for improvement in any of these areas? Hopefully you build the case for a solution to their current situation from the ABB Analytical ran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Let’s run through them.</a:t>
            </a:r>
            <a:endParaRPr lang="en-GB" sz="1200" b="1"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pPr lvl="0"/>
            <a:endParaRPr lang="en-GB" sz="1200" b="1"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pPr lvl="0"/>
            <a:r>
              <a:rPr lang="en-GB" sz="1200" b="1"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Power consumption &amp; oxygen purity.  </a:t>
            </a:r>
            <a:r>
              <a:rPr lang="en-GB"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Electricity is the critical cost input.  Over-purification of the products such as oxygen results in consuming more power than is required, however, traces of argon exist in the oxygen.  So, if the ASU is configured for argon recovery (not all are) it is prudent to recover the argon as argon, so a high purity of oxygen is desirable to avoid argon wastage.  So – measurement of oxygen final product purity is essential for efficient operations.</a:t>
            </a:r>
            <a:endPar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pPr lvl="0"/>
            <a:r>
              <a:rPr lang="en-GB" sz="1200" b="1"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Oxygen slip</a:t>
            </a:r>
            <a:r>
              <a:rPr lang="en-GB"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The “waste-nitrogen” stream is essential to remove CO2 and Moisture from the moisture traps on the PPU (Pre-Purification Unit) or RHE (Reversing Heat Exchanger).  Waste nitrogen contains about 2% oxygen and is a very high flowrate stream which is vented to atmosphere.  So, a small percentage of additional oxygen in the waste nitrogen results in loss of valuable oxygen from the ASU.</a:t>
            </a:r>
            <a:endPar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pPr lvl="0"/>
            <a:r>
              <a:rPr lang="en-GB" sz="1200" b="1"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Argon slip</a:t>
            </a:r>
            <a:r>
              <a:rPr lang="en-GB"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Argon is a tremendously valuable by-product from the ASU.  Successful (or unsuccessful) recovery of argon can make or break the economics of some ASU operations.  Monitoring the argon concentration in the feed from the main ASU column to the argon purification column is the best way to control argon recovery.</a:t>
            </a:r>
            <a:endPar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r>
              <a:rPr lang="en-GB" sz="1200" b="1"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Nitrogen purity</a:t>
            </a:r>
            <a:r>
              <a:rPr lang="en-GB"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The fuel-cell type oxygen analysers that are often used for ppm oxygen measurement in the pure nitrogen stream are the most hated instrument in the instrumentation shack!  The cells require replacement (</a:t>
            </a:r>
            <a:r>
              <a:rPr lang="en-GB" sz="120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eg</a:t>
            </a:r>
            <a:r>
              <a:rPr lang="en-GB"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once per year) and they are quickly “poisoned” if they see a high level of oxygen.  Their response time in the upward direction is quite fast... but in the downward direction after a high oxygen “poisoning” it can take a long time (hours) for the reading to stabilise.  During this time, the ASU might have returned to stable operations and the product is actually on-spec... but the instrument says the product is off-spec resulting in waste.  Some operators pass hydrogen into the analyser to remove the excess oxygen and return the instrument to a stable condition more quickly.  But... any alternative instrument for ppm level oxygen in nitrogen will be welcomed.</a:t>
            </a:r>
            <a:endParaRPr lang="en-GB" sz="1200" kern="1200" dirty="0">
              <a:solidFill>
                <a:schemeClr val="tx1"/>
              </a:solidFill>
              <a:effectLst/>
              <a:latin typeface="ABBvoice" panose="020D0603020503020204" pitchFamily="34" charset="0"/>
            </a:endParaRPr>
          </a:p>
          <a:p>
            <a:r>
              <a:rPr lang="en-GB" sz="1200" b="1" kern="1200" dirty="0">
                <a:solidFill>
                  <a:schemeClr val="tx1"/>
                </a:solidFill>
                <a:effectLst/>
                <a:latin typeface="ABBvoice" panose="020D0603020503020204" pitchFamily="34" charset="0"/>
              </a:rPr>
              <a:t>Contaminants breakthrough. </a:t>
            </a:r>
            <a:r>
              <a:rPr lang="en-GB" sz="1200" b="0" kern="1200" dirty="0">
                <a:solidFill>
                  <a:schemeClr val="tx1"/>
                </a:solidFill>
                <a:effectLst/>
                <a:latin typeface="ABBvoice" panose="020D0603020503020204" pitchFamily="34" charset="0"/>
              </a:rPr>
              <a:t>The Molecular Sieve </a:t>
            </a:r>
            <a:r>
              <a:rPr lang="en-GB" sz="1200" b="0" kern="1200" dirty="0" err="1">
                <a:solidFill>
                  <a:schemeClr val="tx1"/>
                </a:solidFill>
                <a:effectLst/>
                <a:latin typeface="ABBvoice" panose="020D0603020503020204" pitchFamily="34" charset="0"/>
              </a:rPr>
              <a:t>Adsorber</a:t>
            </a:r>
            <a:r>
              <a:rPr lang="en-GB" sz="1200" b="0" kern="1200" dirty="0">
                <a:solidFill>
                  <a:schemeClr val="tx1"/>
                </a:solidFill>
                <a:effectLst/>
                <a:latin typeface="ABBvoice" panose="020D0603020503020204" pitchFamily="34" charset="0"/>
              </a:rPr>
              <a:t>, which is also known as the PPU is designed to remove moisture, carbon dioxide and hydrocarbons from the air. CO2 and moisture would solidify in the extremely cold cryogenic temperatures of the distillation column so they must be removed to avoid process blockages.  Hydrocarbons accumulate with the liquid oxygen and, as you can imagine that is not a safe mixture of chemicals.  In fact, the main reason for catastrophic ASU failures in the past decades has been hydrocarbon accumulation, resulting in a number of devastating ASU explosions.</a:t>
            </a:r>
          </a:p>
          <a:p>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33</a:t>
            </a:fld>
            <a:endParaRPr lang="en-US" dirty="0"/>
          </a:p>
        </p:txBody>
      </p:sp>
    </p:spTree>
    <p:extLst>
      <p:ext uri="{BB962C8B-B14F-4D97-AF65-F5344CB8AC3E}">
        <p14:creationId xmlns:p14="http://schemas.microsoft.com/office/powerpoint/2010/main" val="14584808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41</a:t>
            </a:fld>
            <a:endParaRPr lang="en-US" dirty="0"/>
          </a:p>
        </p:txBody>
      </p:sp>
    </p:spTree>
    <p:extLst>
      <p:ext uri="{BB962C8B-B14F-4D97-AF65-F5344CB8AC3E}">
        <p14:creationId xmlns:p14="http://schemas.microsoft.com/office/powerpoint/2010/main" val="17747547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indent="0" defTabSz="882030">
              <a:buNone/>
              <a:defRPr/>
            </a:pPr>
            <a:r>
              <a:rPr lang="en-US" dirty="0"/>
              <a:t>Here is a graphic representation of an SMR.  In the majority of steam methane reforming processes, methane from natural gas is heated with steam in the presence of a catalyst, to produce a mixture of carbon monoxide and hydrogen.  On refineries, an SMR can also be fed with other light hydrocarbons such as ethanol, propane or gasoline.  The reaction is endothermic meaning that heat must be supplied to the process for the reaction to proceed.  This heat is derived from the combustion of natural gas or another light hydrocarbon feedstock.</a:t>
            </a:r>
          </a:p>
          <a:p>
            <a:pPr marL="0" lvl="1" indent="0">
              <a:buNone/>
            </a:pPr>
            <a:endParaRPr lang="en-US" dirty="0"/>
          </a:p>
          <a:p>
            <a:pPr marL="0" lvl="1" indent="0">
              <a:buNone/>
            </a:pPr>
            <a:r>
              <a:rPr lang="en-US" dirty="0"/>
              <a:t>The next stage is the "water-gas shift reaction" where the carbon monoxide and steam are reacted using a catalyst to produce carbon dioxide and more hydrogen.  In a final process step called PSA, or "pressure-swing adsorption" carbon dioxide and other impurities are removed from the gas stream, leaving pure hydrogen.  Similar to the case with the ASU, the gases that are being processed in the SMR are ones for which ABB Analytical has a highly suitable range of gas analyzers.</a:t>
            </a:r>
          </a:p>
          <a:p>
            <a:pPr marL="0" lvl="1" indent="0">
              <a:buNone/>
            </a:pPr>
            <a:endParaRPr lang="en-US" dirty="0"/>
          </a:p>
          <a:p>
            <a:pPr marL="0" lvl="1" indent="0">
              <a:buNone/>
            </a:pPr>
            <a:r>
              <a:rPr lang="en-US" dirty="0"/>
              <a:t>It is increasingly the case that the carbon dioxide-rich off gas from the PSA unit is further purified and sold to applications in the food &amp; beverage industry for freezing &amp; chilling foods and putting bubbles into fizzy drinks.  In this additional CO2 processing stage, there are even more opportunities for gas analyzer sales.</a:t>
            </a:r>
            <a:endParaRPr lang="en-US" baseline="-25000" dirty="0"/>
          </a:p>
          <a:p>
            <a:pPr marL="0" lvl="1" indent="0">
              <a:buNone/>
            </a:pPr>
            <a:endParaRPr lang="en-US"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42</a:t>
            </a:fld>
            <a:endParaRPr lang="en-US" dirty="0"/>
          </a:p>
        </p:txBody>
      </p:sp>
    </p:spTree>
    <p:extLst>
      <p:ext uri="{BB962C8B-B14F-4D97-AF65-F5344CB8AC3E}">
        <p14:creationId xmlns:p14="http://schemas.microsoft.com/office/powerpoint/2010/main" val="21816811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43</a:t>
            </a:fld>
            <a:endParaRPr lang="en-US" dirty="0"/>
          </a:p>
        </p:txBody>
      </p:sp>
    </p:spTree>
    <p:extLst>
      <p:ext uri="{BB962C8B-B14F-4D97-AF65-F5344CB8AC3E}">
        <p14:creationId xmlns:p14="http://schemas.microsoft.com/office/powerpoint/2010/main" val="8301767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44</a:t>
            </a:fld>
            <a:endParaRPr lang="en-US" dirty="0"/>
          </a:p>
        </p:txBody>
      </p:sp>
    </p:spTree>
    <p:extLst>
      <p:ext uri="{BB962C8B-B14F-4D97-AF65-F5344CB8AC3E}">
        <p14:creationId xmlns:p14="http://schemas.microsoft.com/office/powerpoint/2010/main" val="28273931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050" b="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These pain points on a </a:t>
            </a:r>
            <a:r>
              <a:rPr lang="en-GB" sz="1050" b="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HyCO</a:t>
            </a:r>
            <a:r>
              <a:rPr lang="en-GB" sz="1050" b="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facility are some of the most potent sales tools that you have.  Plant operators and instrumentation technicians will have these issues at front of mind. If you can hook into these selling points you will demonstrate empathy with their situation, perhaps you can explore their level of satisfaction with the gas </a:t>
            </a:r>
            <a:r>
              <a:rPr lang="en-GB" sz="1050" b="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analyzers</a:t>
            </a:r>
            <a:r>
              <a:rPr lang="en-GB" sz="1050" b="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they are using for these applications and hopefully you build the case for an improved solution to their current situation from the ABB Analytical range.</a:t>
            </a:r>
          </a:p>
          <a:p>
            <a:pPr lvl="0"/>
            <a:endParaRPr lang="en-GB" sz="1050" b="1"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pPr lvl="0"/>
            <a:r>
              <a:rPr lang="en-GB" sz="1050" b="1"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Input gas quality</a:t>
            </a:r>
            <a:r>
              <a:rPr lang="en-GB" sz="105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The incoming natural gas or hydrocarbon feedstock must be free of chemicals that might poison the SMR catalyst.  Measurement to detect sulphur compounds and other known catalyst poisons is essential.  These measurements would initiate a plant-trip to protect the catalyst and are highly critical for process integrity.</a:t>
            </a:r>
            <a:endParaRPr lang="en-US" sz="105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pPr lvl="0"/>
            <a:r>
              <a:rPr lang="en-GB" sz="1050" b="1"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Reaction selectivity &amp; yield and catalyst condition</a:t>
            </a:r>
            <a:r>
              <a:rPr lang="en-GB" sz="105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The SMR relies on catalytic conversion of methane (or other hydrocarbons) to hydrogen and CO.  If the catalyst is damaged (it deteriorates naturally over time or can be poisoned rapidly by certain chemicals) the reaction will not take place properly.  So, it is essential to measure the products coming out of the reformer to check the reaction selectivity, conversion and yield.</a:t>
            </a:r>
            <a:endParaRPr lang="en-US" sz="105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pPr lvl="0"/>
            <a:r>
              <a:rPr lang="en-GB" sz="1050" b="1"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PSA breakthrough</a:t>
            </a:r>
            <a:r>
              <a:rPr lang="en-GB" sz="105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The purification stage after the reformer is done on a PSA (Pressure Swing </a:t>
            </a:r>
            <a:r>
              <a:rPr lang="en-GB" sz="105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Adsorpion</a:t>
            </a:r>
            <a:r>
              <a:rPr lang="en-GB" sz="105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unit.  This is a semi-batch cyclical process operation where the gases flow through an </a:t>
            </a:r>
            <a:r>
              <a:rPr lang="en-GB" sz="105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adsorber</a:t>
            </a:r>
            <a:r>
              <a:rPr lang="en-GB" sz="105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bed until that bed is near-fully saturated with a gas.  If/when the bed does actually become fully saturated with the gas (not intended) then it can no longer adsorb that gas and “break-through” occurs.  It is essential to monitor for breakthrough.  The causes can be incomplete regeneration of the </a:t>
            </a:r>
            <a:r>
              <a:rPr lang="en-GB" sz="105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adsorber</a:t>
            </a:r>
            <a:r>
              <a:rPr lang="en-GB" sz="105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bed in the regeneration phase, perhaps due to improper temperature or poor regeneration gas purity control or it can be indicative that the </a:t>
            </a:r>
            <a:r>
              <a:rPr lang="en-GB" sz="105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adsorber</a:t>
            </a:r>
            <a:r>
              <a:rPr lang="en-GB" sz="105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material is aged and needs replacing.</a:t>
            </a:r>
            <a:endParaRPr lang="en-US" sz="105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r>
              <a:rPr lang="en-GB" sz="1050" b="1"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Final product purity</a:t>
            </a:r>
            <a:r>
              <a:rPr lang="en-GB" sz="105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The syngas or hydrogen final product purity must also be monitored.  Excess CO2 would represent a non-conformance in either case.  And, if hydrogen is the target not syngas) then excess CO would also represent a non-conformance.</a:t>
            </a:r>
            <a:endParaRPr lang="en-US" sz="1050" dirty="0"/>
          </a:p>
        </p:txBody>
      </p:sp>
      <p:sp>
        <p:nvSpPr>
          <p:cNvPr id="4" name="Slide Number Placeholder 3"/>
          <p:cNvSpPr>
            <a:spLocks noGrp="1"/>
          </p:cNvSpPr>
          <p:nvPr>
            <p:ph type="sldNum" sz="quarter" idx="5"/>
          </p:nvPr>
        </p:nvSpPr>
        <p:spPr/>
        <p:txBody>
          <a:bodyPr/>
          <a:lstStyle/>
          <a:p>
            <a:fld id="{3A94E69C-C28A-4BE6-BE89-71D8FB2035FD}" type="slidenum">
              <a:rPr lang="en-US" smtClean="0"/>
              <a:pPr/>
              <a:t>45</a:t>
            </a:fld>
            <a:endParaRPr lang="en-US" dirty="0"/>
          </a:p>
        </p:txBody>
      </p:sp>
    </p:spTree>
    <p:extLst>
      <p:ext uri="{BB962C8B-B14F-4D97-AF65-F5344CB8AC3E}">
        <p14:creationId xmlns:p14="http://schemas.microsoft.com/office/powerpoint/2010/main" val="4137211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de-DE" dirty="0"/>
              <a:t>High </a:t>
            </a:r>
            <a:r>
              <a:rPr lang="de-DE" dirty="0" err="1"/>
              <a:t>level</a:t>
            </a:r>
            <a:r>
              <a:rPr lang="de-DE" dirty="0"/>
              <a:t> </a:t>
            </a:r>
            <a:r>
              <a:rPr lang="de-DE" dirty="0" err="1"/>
              <a:t>overview</a:t>
            </a:r>
            <a:endParaRPr lang="de-DE" dirty="0"/>
          </a:p>
          <a:p>
            <a:r>
              <a:rPr lang="de-DE" dirty="0"/>
              <a:t>9 </a:t>
            </a:r>
            <a:r>
              <a:rPr lang="de-DE" dirty="0" err="1"/>
              <a:t>core</a:t>
            </a:r>
            <a:r>
              <a:rPr lang="de-DE" baseline="0" dirty="0"/>
              <a:t> </a:t>
            </a:r>
            <a:r>
              <a:rPr lang="de-DE" dirty="0" err="1"/>
              <a:t>measuring</a:t>
            </a:r>
            <a:r>
              <a:rPr lang="de-DE" dirty="0"/>
              <a:t> </a:t>
            </a:r>
            <a:r>
              <a:rPr lang="de-DE" dirty="0" err="1"/>
              <a:t>technologies</a:t>
            </a:r>
            <a:r>
              <a:rPr lang="de-DE" dirty="0"/>
              <a:t> (e.g. IR, UV, TDLAS,</a:t>
            </a:r>
            <a:r>
              <a:rPr lang="de-DE" baseline="0" dirty="0"/>
              <a:t> </a:t>
            </a:r>
            <a:r>
              <a:rPr lang="de-DE" dirty="0"/>
              <a:t>PMD, </a:t>
            </a:r>
            <a:r>
              <a:rPr lang="de-DE" dirty="0" err="1"/>
              <a:t>Electrochemical</a:t>
            </a:r>
            <a:r>
              <a:rPr lang="de-DE" dirty="0"/>
              <a:t>,</a:t>
            </a:r>
            <a:r>
              <a:rPr lang="de-DE" baseline="0" dirty="0"/>
              <a:t> </a:t>
            </a:r>
            <a:r>
              <a:rPr lang="de-DE" dirty="0"/>
              <a:t>TCD, FID, </a:t>
            </a:r>
            <a:r>
              <a:rPr lang="de-DE" dirty="0" err="1"/>
              <a:t>Zirconia</a:t>
            </a:r>
            <a:r>
              <a:rPr lang="de-DE" dirty="0"/>
              <a:t>, FTIR)</a:t>
            </a:r>
            <a:r>
              <a:rPr lang="de-DE" baseline="0" dirty="0"/>
              <a:t> </a:t>
            </a:r>
            <a:r>
              <a:rPr lang="de-DE" dirty="0" err="1"/>
              <a:t>with</a:t>
            </a:r>
            <a:r>
              <a:rPr lang="de-DE" dirty="0"/>
              <a:t> total </a:t>
            </a:r>
            <a:r>
              <a:rPr lang="de-DE" dirty="0" err="1"/>
              <a:t>of</a:t>
            </a:r>
            <a:r>
              <a:rPr lang="de-DE" dirty="0"/>
              <a:t> 18 </a:t>
            </a:r>
            <a:r>
              <a:rPr lang="de-DE" dirty="0" err="1"/>
              <a:t>analyzer</a:t>
            </a:r>
            <a:r>
              <a:rPr lang="de-DE" dirty="0"/>
              <a:t> </a:t>
            </a:r>
            <a:r>
              <a:rPr lang="de-DE" dirty="0" err="1"/>
              <a:t>module</a:t>
            </a:r>
            <a:r>
              <a:rPr lang="de-DE" baseline="0" dirty="0"/>
              <a:t> </a:t>
            </a:r>
            <a:r>
              <a:rPr lang="de-DE" baseline="0" dirty="0" err="1"/>
              <a:t>variations</a:t>
            </a: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3 </a:t>
            </a:r>
            <a:r>
              <a:rPr lang="de-DE" dirty="0" err="1"/>
              <a:t>product</a:t>
            </a:r>
            <a:r>
              <a:rPr lang="de-DE" dirty="0"/>
              <a:t> </a:t>
            </a:r>
            <a:r>
              <a:rPr lang="de-DE" dirty="0" err="1"/>
              <a:t>lines</a:t>
            </a:r>
            <a:r>
              <a:rPr lang="de-DE" dirty="0"/>
              <a:t> (</a:t>
            </a:r>
            <a:r>
              <a:rPr lang="de-DE" dirty="0" err="1"/>
              <a:t>extractive</a:t>
            </a:r>
            <a:r>
              <a:rPr lang="de-DE" dirty="0"/>
              <a:t>) – AO2000 (high-end),</a:t>
            </a:r>
            <a:r>
              <a:rPr lang="de-DE" baseline="0" dirty="0"/>
              <a:t> EL3000 (</a:t>
            </a:r>
            <a:r>
              <a:rPr lang="de-DE" baseline="0" dirty="0" err="1"/>
              <a:t>entry</a:t>
            </a:r>
            <a:r>
              <a:rPr lang="de-DE" baseline="0" dirty="0"/>
              <a:t> </a:t>
            </a:r>
            <a:r>
              <a:rPr lang="de-DE" baseline="0" dirty="0" err="1"/>
              <a:t>level</a:t>
            </a:r>
            <a:r>
              <a:rPr lang="de-DE" baseline="0" dirty="0"/>
              <a:t>), EL3060 (</a:t>
            </a:r>
            <a:r>
              <a:rPr lang="de-DE" baseline="0" dirty="0" err="1"/>
              <a:t>hazardous</a:t>
            </a:r>
            <a:r>
              <a:rPr lang="de-DE" baseline="0" dirty="0"/>
              <a:t> </a:t>
            </a:r>
            <a:r>
              <a:rPr lang="de-DE" baseline="0" dirty="0" err="1"/>
              <a:t>areas</a:t>
            </a:r>
            <a:r>
              <a:rPr lang="de-DE" baseline="0" dirty="0"/>
              <a:t>)</a:t>
            </a:r>
          </a:p>
          <a:p>
            <a:r>
              <a:rPr lang="de-DE" dirty="0"/>
              <a:t>2 </a:t>
            </a:r>
            <a:r>
              <a:rPr lang="de-DE" dirty="0" err="1"/>
              <a:t>product</a:t>
            </a:r>
            <a:r>
              <a:rPr lang="de-DE" dirty="0"/>
              <a:t> </a:t>
            </a:r>
            <a:r>
              <a:rPr lang="de-DE" dirty="0" err="1"/>
              <a:t>lines</a:t>
            </a:r>
            <a:r>
              <a:rPr lang="de-DE" dirty="0"/>
              <a:t> (in-situ) – LS25 private </a:t>
            </a:r>
            <a:r>
              <a:rPr lang="de-DE" dirty="0" err="1"/>
              <a:t>labelled</a:t>
            </a:r>
            <a:r>
              <a:rPr lang="de-DE" dirty="0"/>
              <a:t>, LS4000 </a:t>
            </a:r>
            <a:r>
              <a:rPr lang="de-DE" dirty="0" err="1"/>
              <a:t>own</a:t>
            </a:r>
            <a:r>
              <a:rPr lang="de-DE" dirty="0"/>
              <a:t> </a:t>
            </a:r>
            <a:r>
              <a:rPr lang="de-DE" dirty="0" err="1"/>
              <a:t>product</a:t>
            </a:r>
            <a:r>
              <a:rPr lang="de-DE" dirty="0"/>
              <a:t>, AZ </a:t>
            </a:r>
            <a:r>
              <a:rPr lang="de-DE" dirty="0" err="1"/>
              <a:t>series</a:t>
            </a:r>
            <a:r>
              <a:rPr lang="de-DE" dirty="0"/>
              <a:t> </a:t>
            </a:r>
            <a:r>
              <a:rPr lang="de-DE" dirty="0" err="1"/>
              <a:t>for</a:t>
            </a:r>
            <a:r>
              <a:rPr lang="de-DE" dirty="0"/>
              <a:t> O2</a:t>
            </a:r>
            <a:r>
              <a:rPr lang="de-DE" baseline="0" dirty="0"/>
              <a:t> and </a:t>
            </a:r>
            <a:r>
              <a:rPr lang="de-DE" baseline="0" dirty="0" err="1"/>
              <a:t>Combustibles</a:t>
            </a:r>
            <a:r>
              <a:rPr lang="de-DE" baseline="0" dirty="0"/>
              <a:t> (</a:t>
            </a:r>
            <a:r>
              <a:rPr lang="de-DE" baseline="0" dirty="0" err="1"/>
              <a:t>manufactured</a:t>
            </a:r>
            <a:r>
              <a:rPr lang="de-DE" baseline="0" dirty="0"/>
              <a:t> in UK and US)</a:t>
            </a:r>
            <a:endParaRPr lang="de-DE" dirty="0"/>
          </a:p>
          <a:p>
            <a:r>
              <a:rPr lang="de-DE" dirty="0"/>
              <a:t>Range </a:t>
            </a:r>
            <a:r>
              <a:rPr lang="de-DE" dirty="0" err="1"/>
              <a:t>of</a:t>
            </a:r>
            <a:r>
              <a:rPr lang="de-DE" dirty="0"/>
              <a:t> sample </a:t>
            </a:r>
            <a:r>
              <a:rPr lang="de-DE" dirty="0" err="1"/>
              <a:t>handling</a:t>
            </a:r>
            <a:r>
              <a:rPr lang="de-DE" dirty="0"/>
              <a:t> </a:t>
            </a:r>
            <a:r>
              <a:rPr lang="de-DE" dirty="0" err="1"/>
              <a:t>components</a:t>
            </a:r>
            <a:r>
              <a:rPr lang="de-DE" dirty="0"/>
              <a:t> </a:t>
            </a:r>
            <a:r>
              <a:rPr lang="de-DE" dirty="0" err="1"/>
              <a:t>allows</a:t>
            </a:r>
            <a:r>
              <a:rPr lang="de-DE" dirty="0"/>
              <a:t> </a:t>
            </a:r>
            <a:r>
              <a:rPr lang="de-DE" dirty="0" err="1"/>
              <a:t>offering</a:t>
            </a:r>
            <a:r>
              <a:rPr lang="de-DE" dirty="0"/>
              <a:t> </a:t>
            </a:r>
            <a:r>
              <a:rPr lang="de-DE" dirty="0" err="1"/>
              <a:t>complete</a:t>
            </a:r>
            <a:r>
              <a:rPr lang="de-DE" dirty="0"/>
              <a:t> </a:t>
            </a:r>
            <a:r>
              <a:rPr lang="de-DE" dirty="0" err="1"/>
              <a:t>standard</a:t>
            </a:r>
            <a:r>
              <a:rPr lang="de-DE" dirty="0"/>
              <a:t> </a:t>
            </a:r>
            <a:r>
              <a:rPr lang="de-DE" dirty="0" err="1"/>
              <a:t>system</a:t>
            </a:r>
            <a:r>
              <a:rPr lang="de-DE" dirty="0"/>
              <a:t> </a:t>
            </a:r>
            <a:r>
              <a:rPr lang="de-DE" dirty="0" err="1"/>
              <a:t>solutions</a:t>
            </a:r>
            <a:endParaRPr lang="de-DE" dirty="0"/>
          </a:p>
          <a:p>
            <a:r>
              <a:rPr lang="de-DE" dirty="0"/>
              <a:t>ACF5000 – FTIR </a:t>
            </a:r>
            <a:r>
              <a:rPr lang="de-DE" dirty="0" err="1"/>
              <a:t>based</a:t>
            </a:r>
            <a:r>
              <a:rPr lang="de-DE" dirty="0"/>
              <a:t> CEMS, </a:t>
            </a:r>
            <a:r>
              <a:rPr lang="de-DE" dirty="0" err="1"/>
              <a:t>clear</a:t>
            </a:r>
            <a:r>
              <a:rPr lang="de-DE" dirty="0"/>
              <a:t> </a:t>
            </a:r>
            <a:r>
              <a:rPr lang="de-DE" dirty="0" err="1"/>
              <a:t>market</a:t>
            </a:r>
            <a:r>
              <a:rPr lang="de-DE" dirty="0"/>
              <a:t> </a:t>
            </a:r>
            <a:r>
              <a:rPr lang="de-DE" dirty="0" err="1"/>
              <a:t>leader</a:t>
            </a:r>
            <a:r>
              <a:rPr lang="de-DE" dirty="0"/>
              <a:t>, &gt;1700 </a:t>
            </a:r>
            <a:r>
              <a:rPr lang="de-DE" dirty="0" err="1"/>
              <a:t>systems</a:t>
            </a:r>
            <a:endParaRPr lang="de-DE" dirty="0"/>
          </a:p>
          <a:p>
            <a:r>
              <a:rPr lang="de-DE" dirty="0"/>
              <a:t>ACX – </a:t>
            </a:r>
            <a:r>
              <a:rPr lang="de-DE" dirty="0" err="1"/>
              <a:t>standard</a:t>
            </a:r>
            <a:r>
              <a:rPr lang="de-DE" dirty="0"/>
              <a:t> </a:t>
            </a:r>
            <a:r>
              <a:rPr lang="de-DE" dirty="0" err="1"/>
              <a:t>system</a:t>
            </a:r>
            <a:r>
              <a:rPr lang="de-DE" dirty="0"/>
              <a:t> </a:t>
            </a:r>
            <a:r>
              <a:rPr lang="de-DE" dirty="0" err="1"/>
              <a:t>for</a:t>
            </a:r>
            <a:r>
              <a:rPr lang="de-DE" dirty="0"/>
              <a:t> CEMS and </a:t>
            </a:r>
            <a:r>
              <a:rPr lang="de-DE" dirty="0" err="1"/>
              <a:t>process</a:t>
            </a:r>
            <a:r>
              <a:rPr lang="de-DE" dirty="0"/>
              <a:t> </a:t>
            </a:r>
            <a:r>
              <a:rPr lang="de-DE" dirty="0" err="1"/>
              <a:t>applications</a:t>
            </a:r>
            <a:r>
              <a:rPr lang="de-DE" dirty="0"/>
              <a:t>…</a:t>
            </a:r>
            <a:r>
              <a:rPr lang="de-DE" dirty="0" err="1"/>
              <a:t>Complete</a:t>
            </a:r>
            <a:r>
              <a:rPr lang="de-DE" dirty="0"/>
              <a:t>, </a:t>
            </a:r>
            <a:r>
              <a:rPr lang="de-DE" dirty="0" err="1"/>
              <a:t>Configurable</a:t>
            </a:r>
            <a:r>
              <a:rPr lang="de-DE" dirty="0"/>
              <a:t>, </a:t>
            </a:r>
            <a:r>
              <a:rPr lang="de-DE" dirty="0" err="1"/>
              <a:t>Consistent</a:t>
            </a:r>
            <a:r>
              <a:rPr lang="de-DE" dirty="0"/>
              <a:t>.</a:t>
            </a:r>
          </a:p>
          <a:p>
            <a:r>
              <a:rPr lang="de-DE" dirty="0"/>
              <a:t>Easy System –</a:t>
            </a:r>
            <a:r>
              <a:rPr lang="de-DE" baseline="0" dirty="0"/>
              <a:t> </a:t>
            </a:r>
            <a:r>
              <a:rPr lang="de-DE" baseline="0" dirty="0" err="1"/>
              <a:t>low</a:t>
            </a:r>
            <a:r>
              <a:rPr lang="de-DE" baseline="0" dirty="0"/>
              <a:t> </a:t>
            </a:r>
            <a:r>
              <a:rPr lang="de-DE" baseline="0" dirty="0" err="1"/>
              <a:t>cost</a:t>
            </a:r>
            <a:r>
              <a:rPr lang="de-DE" baseline="0" dirty="0"/>
              <a:t> „easy“ </a:t>
            </a:r>
            <a:r>
              <a:rPr lang="de-DE" baseline="0" dirty="0" err="1"/>
              <a:t>applications</a:t>
            </a:r>
            <a:r>
              <a:rPr lang="de-DE" baseline="0" dirty="0"/>
              <a:t>, </a:t>
            </a:r>
            <a:r>
              <a:rPr lang="de-DE" baseline="0" dirty="0" err="1"/>
              <a:t>plug</a:t>
            </a:r>
            <a:r>
              <a:rPr lang="de-DE" baseline="0" dirty="0"/>
              <a:t> &amp; </a:t>
            </a:r>
            <a:r>
              <a:rPr lang="de-DE" baseline="0" dirty="0" err="1"/>
              <a:t>play</a:t>
            </a:r>
            <a:r>
              <a:rPr lang="de-DE" baseline="0" dirty="0"/>
              <a:t>, </a:t>
            </a:r>
            <a:r>
              <a:rPr lang="de-DE" baseline="0" dirty="0" err="1"/>
              <a:t>building</a:t>
            </a:r>
            <a:r>
              <a:rPr lang="de-DE" baseline="0" dirty="0"/>
              <a:t> block </a:t>
            </a:r>
            <a:r>
              <a:rPr lang="de-DE" baseline="0" dirty="0" err="1"/>
              <a:t>concept</a:t>
            </a:r>
            <a:endParaRPr lang="de-DE" dirty="0"/>
          </a:p>
          <a:p>
            <a:r>
              <a:rPr lang="de-DE" dirty="0"/>
              <a:t>Asset </a:t>
            </a:r>
            <a:r>
              <a:rPr lang="de-DE" dirty="0" err="1"/>
              <a:t>management</a:t>
            </a:r>
            <a:r>
              <a:rPr lang="de-DE" dirty="0"/>
              <a:t> </a:t>
            </a:r>
            <a:r>
              <a:rPr lang="de-DE" dirty="0" err="1"/>
              <a:t>software</a:t>
            </a:r>
            <a:r>
              <a:rPr lang="de-DE" dirty="0"/>
              <a:t> and </a:t>
            </a:r>
            <a:r>
              <a:rPr lang="de-DE" dirty="0" err="1"/>
              <a:t>certified</a:t>
            </a:r>
            <a:r>
              <a:rPr lang="de-DE" dirty="0"/>
              <a:t> </a:t>
            </a:r>
            <a:r>
              <a:rPr lang="de-DE" dirty="0" err="1"/>
              <a:t>data</a:t>
            </a:r>
            <a:r>
              <a:rPr lang="de-DE" dirty="0"/>
              <a:t> </a:t>
            </a:r>
            <a:r>
              <a:rPr lang="de-DE" dirty="0" err="1"/>
              <a:t>acquisition</a:t>
            </a:r>
            <a:r>
              <a:rPr lang="de-DE" dirty="0"/>
              <a:t> </a:t>
            </a:r>
            <a:r>
              <a:rPr lang="de-DE" dirty="0" err="1"/>
              <a:t>for</a:t>
            </a:r>
            <a:r>
              <a:rPr lang="de-DE" dirty="0"/>
              <a:t> CEMS</a:t>
            </a:r>
          </a:p>
          <a:p>
            <a:endParaRPr lang="en-US"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5</a:t>
            </a:fld>
            <a:endParaRPr lang="en-US" dirty="0"/>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36471792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50</a:t>
            </a:fld>
            <a:endParaRPr lang="en-US" dirty="0"/>
          </a:p>
        </p:txBody>
      </p:sp>
    </p:spTree>
    <p:extLst>
      <p:ext uri="{BB962C8B-B14F-4D97-AF65-F5344CB8AC3E}">
        <p14:creationId xmlns:p14="http://schemas.microsoft.com/office/powerpoint/2010/main" val="14290967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51</a:t>
            </a:fld>
            <a:endParaRPr lang="en-US" dirty="0"/>
          </a:p>
        </p:txBody>
      </p:sp>
    </p:spTree>
    <p:extLst>
      <p:ext uri="{BB962C8B-B14F-4D97-AF65-F5344CB8AC3E}">
        <p14:creationId xmlns:p14="http://schemas.microsoft.com/office/powerpoint/2010/main" val="22832984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52</a:t>
            </a:fld>
            <a:endParaRPr lang="en-US" dirty="0"/>
          </a:p>
        </p:txBody>
      </p:sp>
    </p:spTree>
    <p:extLst>
      <p:ext uri="{BB962C8B-B14F-4D97-AF65-F5344CB8AC3E}">
        <p14:creationId xmlns:p14="http://schemas.microsoft.com/office/powerpoint/2010/main" val="36198570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53</a:t>
            </a:fld>
            <a:endParaRPr lang="en-US" dirty="0"/>
          </a:p>
        </p:txBody>
      </p:sp>
    </p:spTree>
    <p:extLst>
      <p:ext uri="{BB962C8B-B14F-4D97-AF65-F5344CB8AC3E}">
        <p14:creationId xmlns:p14="http://schemas.microsoft.com/office/powerpoint/2010/main" val="3661069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a:t>During the trip up riser, the cracking catalyst is “spent” by reactions which deposit coke onto the catalyst and greatly reduce its activity and selectivity. The “spent” catalyst is disengaged from the cracked hydrocarbon vapors and routed to a stripper where it is contacted with steam to remove hydrocarbon remaining in the catalyst pores. The “spent” catalyst then flows into a fluidized-bed regenerator where air (or in some cases air plus </a:t>
            </a:r>
            <a:r>
              <a:rPr lang="en-US" b="1" noProof="0" dirty="0"/>
              <a:t>oxygen</a:t>
            </a:r>
            <a:r>
              <a:rPr lang="en-US" noProof="0" dirty="0"/>
              <a:t>) is used to burn off the coke in order to restore catalyst activity and provide the necessary heat for the next reaction cycle, cracking being an endothermic reaction. The hot “regenerated” catalyst then flows to the base of the riser, repeating the cycle.</a:t>
            </a:r>
          </a:p>
        </p:txBody>
      </p:sp>
      <p:sp>
        <p:nvSpPr>
          <p:cNvPr id="4" name="Slide Number Placeholder 3"/>
          <p:cNvSpPr>
            <a:spLocks noGrp="1"/>
          </p:cNvSpPr>
          <p:nvPr>
            <p:ph type="sldNum" sz="quarter" idx="10"/>
          </p:nvPr>
        </p:nvSpPr>
        <p:spPr/>
        <p:txBody>
          <a:bodyPr/>
          <a:lstStyle/>
          <a:p>
            <a:fld id="{3A94E69C-C28A-4BE6-BE89-71D8FB2035FD}" type="slidenum">
              <a:rPr lang="en-US" smtClean="0"/>
              <a:pPr/>
              <a:t>54</a:t>
            </a:fld>
            <a:endParaRPr lang="en-US" dirty="0"/>
          </a:p>
        </p:txBody>
      </p:sp>
    </p:spTree>
    <p:extLst>
      <p:ext uri="{BB962C8B-B14F-4D97-AF65-F5344CB8AC3E}">
        <p14:creationId xmlns:p14="http://schemas.microsoft.com/office/powerpoint/2010/main" val="2243641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55</a:t>
            </a:fld>
            <a:endParaRPr lang="en-US" dirty="0"/>
          </a:p>
        </p:txBody>
      </p:sp>
    </p:spTree>
    <p:extLst>
      <p:ext uri="{BB962C8B-B14F-4D97-AF65-F5344CB8AC3E}">
        <p14:creationId xmlns:p14="http://schemas.microsoft.com/office/powerpoint/2010/main" val="13925539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56</a:t>
            </a:fld>
            <a:endParaRPr lang="en-US" dirty="0"/>
          </a:p>
        </p:txBody>
      </p:sp>
    </p:spTree>
    <p:extLst>
      <p:ext uri="{BB962C8B-B14F-4D97-AF65-F5344CB8AC3E}">
        <p14:creationId xmlns:p14="http://schemas.microsoft.com/office/powerpoint/2010/main" val="26013488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57</a:t>
            </a:fld>
            <a:endParaRPr lang="en-US" dirty="0"/>
          </a:p>
        </p:txBody>
      </p:sp>
    </p:spTree>
    <p:extLst>
      <p:ext uri="{BB962C8B-B14F-4D97-AF65-F5344CB8AC3E}">
        <p14:creationId xmlns:p14="http://schemas.microsoft.com/office/powerpoint/2010/main" val="10199798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58</a:t>
            </a:fld>
            <a:endParaRPr lang="en-US" dirty="0"/>
          </a:p>
        </p:txBody>
      </p:sp>
    </p:spTree>
    <p:extLst>
      <p:ext uri="{BB962C8B-B14F-4D97-AF65-F5344CB8AC3E}">
        <p14:creationId xmlns:p14="http://schemas.microsoft.com/office/powerpoint/2010/main" val="25718800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60</a:t>
            </a:fld>
            <a:endParaRPr lang="en-US" dirty="0"/>
          </a:p>
        </p:txBody>
      </p:sp>
    </p:spTree>
    <p:extLst>
      <p:ext uri="{BB962C8B-B14F-4D97-AF65-F5344CB8AC3E}">
        <p14:creationId xmlns:p14="http://schemas.microsoft.com/office/powerpoint/2010/main" val="25290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p:txBody>
      </p:sp>
      <p:sp>
        <p:nvSpPr>
          <p:cNvPr id="7" name="Slide Number Placeholder 3"/>
          <p:cNvSpPr>
            <a:spLocks noGrp="1"/>
          </p:cNvSpPr>
          <p:nvPr>
            <p:ph type="sldNum" sz="quarter" idx="5"/>
          </p:nvPr>
        </p:nvSpPr>
        <p:spPr>
          <a:xfrm>
            <a:off x="3895404" y="9169233"/>
            <a:ext cx="2980055" cy="48267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4E69C-C28A-4BE6-BE89-71D8FB2035FD}" type="slidenum">
              <a:rPr kumimoji="0" lang="en-US" sz="1200" b="0" i="0" u="none" strike="noStrike" kern="1200" cap="none" spc="0" normalizeH="0" baseline="0" noProof="0" smtClean="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35419556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61</a:t>
            </a:fld>
            <a:endParaRPr lang="en-US" dirty="0"/>
          </a:p>
        </p:txBody>
      </p:sp>
    </p:spTree>
    <p:extLst>
      <p:ext uri="{BB962C8B-B14F-4D97-AF65-F5344CB8AC3E}">
        <p14:creationId xmlns:p14="http://schemas.microsoft.com/office/powerpoint/2010/main" val="37692727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62</a:t>
            </a:fld>
            <a:endParaRPr lang="en-US" dirty="0"/>
          </a:p>
        </p:txBody>
      </p:sp>
    </p:spTree>
    <p:extLst>
      <p:ext uri="{BB962C8B-B14F-4D97-AF65-F5344CB8AC3E}">
        <p14:creationId xmlns:p14="http://schemas.microsoft.com/office/powerpoint/2010/main" val="234869605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64</a:t>
            </a:fld>
            <a:endParaRPr lang="en-US" dirty="0"/>
          </a:p>
        </p:txBody>
      </p:sp>
    </p:spTree>
    <p:extLst>
      <p:ext uri="{BB962C8B-B14F-4D97-AF65-F5344CB8AC3E}">
        <p14:creationId xmlns:p14="http://schemas.microsoft.com/office/powerpoint/2010/main" val="2863292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65</a:t>
            </a:fld>
            <a:endParaRPr lang="en-US" dirty="0"/>
          </a:p>
        </p:txBody>
      </p:sp>
    </p:spTree>
    <p:extLst>
      <p:ext uri="{BB962C8B-B14F-4D97-AF65-F5344CB8AC3E}">
        <p14:creationId xmlns:p14="http://schemas.microsoft.com/office/powerpoint/2010/main" val="40618218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67</a:t>
            </a:fld>
            <a:endParaRPr lang="en-US" dirty="0"/>
          </a:p>
        </p:txBody>
      </p:sp>
    </p:spTree>
    <p:extLst>
      <p:ext uri="{BB962C8B-B14F-4D97-AF65-F5344CB8AC3E}">
        <p14:creationId xmlns:p14="http://schemas.microsoft.com/office/powerpoint/2010/main" val="27547809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68</a:t>
            </a:fld>
            <a:endParaRPr lang="en-US" dirty="0"/>
          </a:p>
        </p:txBody>
      </p:sp>
    </p:spTree>
    <p:extLst>
      <p:ext uri="{BB962C8B-B14F-4D97-AF65-F5344CB8AC3E}">
        <p14:creationId xmlns:p14="http://schemas.microsoft.com/office/powerpoint/2010/main" val="14416132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69</a:t>
            </a:fld>
            <a:endParaRPr lang="en-US" dirty="0"/>
          </a:p>
        </p:txBody>
      </p:sp>
    </p:spTree>
    <p:extLst>
      <p:ext uri="{BB962C8B-B14F-4D97-AF65-F5344CB8AC3E}">
        <p14:creationId xmlns:p14="http://schemas.microsoft.com/office/powerpoint/2010/main" val="206197258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71</a:t>
            </a:fld>
            <a:endParaRPr lang="en-US" dirty="0"/>
          </a:p>
        </p:txBody>
      </p:sp>
    </p:spTree>
    <p:extLst>
      <p:ext uri="{BB962C8B-B14F-4D97-AF65-F5344CB8AC3E}">
        <p14:creationId xmlns:p14="http://schemas.microsoft.com/office/powerpoint/2010/main" val="14913059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73</a:t>
            </a:fld>
            <a:endParaRPr lang="en-US" dirty="0"/>
          </a:p>
        </p:txBody>
      </p:sp>
    </p:spTree>
    <p:extLst>
      <p:ext uri="{BB962C8B-B14F-4D97-AF65-F5344CB8AC3E}">
        <p14:creationId xmlns:p14="http://schemas.microsoft.com/office/powerpoint/2010/main" val="352297101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74</a:t>
            </a:fld>
            <a:endParaRPr lang="en-US" dirty="0"/>
          </a:p>
        </p:txBody>
      </p:sp>
    </p:spTree>
    <p:extLst>
      <p:ext uri="{BB962C8B-B14F-4D97-AF65-F5344CB8AC3E}">
        <p14:creationId xmlns:p14="http://schemas.microsoft.com/office/powerpoint/2010/main" val="41116736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4E69C-C28A-4BE6-BE89-71D8FB2035FD}" type="slidenum">
              <a:rPr kumimoji="0" lang="en-US" sz="1200" b="0" i="0" u="none" strike="noStrike" kern="1200" cap="none" spc="0" normalizeH="0" baseline="0" noProof="0" smtClean="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15663384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76</a:t>
            </a:fld>
            <a:endParaRPr lang="en-US" dirty="0"/>
          </a:p>
        </p:txBody>
      </p:sp>
    </p:spTree>
    <p:extLst>
      <p:ext uri="{BB962C8B-B14F-4D97-AF65-F5344CB8AC3E}">
        <p14:creationId xmlns:p14="http://schemas.microsoft.com/office/powerpoint/2010/main" val="27376060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050" dirty="0"/>
              <a:t>The complexity cylinder filling stations can be thought of as a hierarchy.</a:t>
            </a:r>
          </a:p>
          <a:p>
            <a:pPr lvl="0"/>
            <a:endParaRPr lang="en-US" sz="1050" dirty="0"/>
          </a:p>
          <a:p>
            <a:pPr lvl="0"/>
            <a:r>
              <a:rPr lang="en-US" sz="1050" b="1" dirty="0"/>
              <a:t>Global, regional or national hubs for specialty gases and electronic specialty gases</a:t>
            </a:r>
            <a:r>
              <a:rPr lang="en-US" sz="1050" dirty="0"/>
              <a:t>.</a:t>
            </a:r>
          </a:p>
          <a:p>
            <a:pPr lvl="0"/>
            <a:r>
              <a:rPr lang="en-US" sz="1050" b="1" dirty="0"/>
              <a:t>Regional or national hubs for industrial or medical gases.</a:t>
            </a:r>
          </a:p>
          <a:p>
            <a:pPr lvl="0"/>
            <a:r>
              <a:rPr lang="en-US" sz="1050" b="1" dirty="0"/>
              <a:t>Local production sites for industrial gases.</a:t>
            </a:r>
          </a:p>
          <a:p>
            <a:pPr lvl="0"/>
            <a:endParaRPr lang="en-US" sz="1050" dirty="0"/>
          </a:p>
          <a:p>
            <a:pPr lvl="0"/>
            <a:endParaRPr lang="en-US" sz="1050" dirty="0"/>
          </a:p>
          <a:p>
            <a:pPr lvl="0"/>
            <a:r>
              <a:rPr lang="en-US" sz="1050" dirty="0"/>
              <a:t>There are lots of smaller simpler sites.  This is because they produce low value products that do not have sufficient value to travel long distances.  Also, the barriers to entry for filling simple products are low, so many smaller competitors enter the market with local cylinder filling stations.  The QA / QC requirements will be basic but a few </a:t>
            </a:r>
            <a:r>
              <a:rPr lang="en-US" sz="1050" dirty="0" err="1"/>
              <a:t>analysers</a:t>
            </a:r>
            <a:r>
              <a:rPr lang="en-US" sz="1050" dirty="0"/>
              <a:t> are likely to be used for raw material quality assurance and to check simple gas mixture compositions in the percentage range, for example 20% CO2 in Argon.  </a:t>
            </a:r>
          </a:p>
          <a:p>
            <a:pPr lvl="0"/>
            <a:r>
              <a:rPr lang="en-US" sz="1050" dirty="0"/>
              <a:t>The middle layer of the pyramid is mid complexity sites.  There are fewer of them than the simplest sites and they make higher value products with a higher level of complexity that have a higher value and can profitably travel longer distances.  A broader range of instrumentation with some interesting analytical requirements will be common.  </a:t>
            </a:r>
          </a:p>
          <a:p>
            <a:pPr lvl="0"/>
            <a:r>
              <a:rPr lang="en-US" sz="1050" dirty="0"/>
              <a:t>At the peak of the pyramid are a small number of highly sophisticated sites.  These are the specialty gases mixtures labs and the electronic special gases facilities.  You might find as many instruments in the small number of these sites as all of the mid-scale facilities put together.  However the requirements are very specialized and the end-users are highly demanding.  The simple and mid complexity sites are more likely to specify standardized equipment or to have their gas analyzers specified by a central engineering team.  The complex sites are likely to engage in this process for themselves and treat each analytical requirement as unique. </a:t>
            </a:r>
          </a:p>
        </p:txBody>
      </p:sp>
      <p:sp>
        <p:nvSpPr>
          <p:cNvPr id="4" name="Slide Number Placeholder 3"/>
          <p:cNvSpPr>
            <a:spLocks noGrp="1"/>
          </p:cNvSpPr>
          <p:nvPr>
            <p:ph type="sldNum" sz="quarter" idx="5"/>
          </p:nvPr>
        </p:nvSpPr>
        <p:spPr/>
        <p:txBody>
          <a:bodyPr/>
          <a:lstStyle/>
          <a:p>
            <a:fld id="{3A94E69C-C28A-4BE6-BE89-71D8FB2035FD}" type="slidenum">
              <a:rPr lang="en-US" smtClean="0"/>
              <a:pPr/>
              <a:t>77</a:t>
            </a:fld>
            <a:endParaRPr lang="en-US" dirty="0"/>
          </a:p>
        </p:txBody>
      </p:sp>
    </p:spTree>
    <p:extLst>
      <p:ext uri="{BB962C8B-B14F-4D97-AF65-F5344CB8AC3E}">
        <p14:creationId xmlns:p14="http://schemas.microsoft.com/office/powerpoint/2010/main" val="1891655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78</a:t>
            </a:fld>
            <a:endParaRPr lang="en-US" dirty="0"/>
          </a:p>
        </p:txBody>
      </p:sp>
    </p:spTree>
    <p:extLst>
      <p:ext uri="{BB962C8B-B14F-4D97-AF65-F5344CB8AC3E}">
        <p14:creationId xmlns:p14="http://schemas.microsoft.com/office/powerpoint/2010/main" val="16674926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79</a:t>
            </a:fld>
            <a:endParaRPr lang="en-US" dirty="0"/>
          </a:p>
        </p:txBody>
      </p:sp>
    </p:spTree>
    <p:extLst>
      <p:ext uri="{BB962C8B-B14F-4D97-AF65-F5344CB8AC3E}">
        <p14:creationId xmlns:p14="http://schemas.microsoft.com/office/powerpoint/2010/main" val="2969731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80</a:t>
            </a:fld>
            <a:endParaRPr lang="en-US" dirty="0"/>
          </a:p>
        </p:txBody>
      </p:sp>
    </p:spTree>
    <p:extLst>
      <p:ext uri="{BB962C8B-B14F-4D97-AF65-F5344CB8AC3E}">
        <p14:creationId xmlns:p14="http://schemas.microsoft.com/office/powerpoint/2010/main" val="16777495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81</a:t>
            </a:fld>
            <a:endParaRPr lang="en-US" dirty="0"/>
          </a:p>
        </p:txBody>
      </p:sp>
    </p:spTree>
    <p:extLst>
      <p:ext uri="{BB962C8B-B14F-4D97-AF65-F5344CB8AC3E}">
        <p14:creationId xmlns:p14="http://schemas.microsoft.com/office/powerpoint/2010/main" val="2120254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82</a:t>
            </a:fld>
            <a:endParaRPr lang="en-US" dirty="0"/>
          </a:p>
        </p:txBody>
      </p:sp>
    </p:spTree>
    <p:extLst>
      <p:ext uri="{BB962C8B-B14F-4D97-AF65-F5344CB8AC3E}">
        <p14:creationId xmlns:p14="http://schemas.microsoft.com/office/powerpoint/2010/main" val="17268614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83</a:t>
            </a:fld>
            <a:endParaRPr lang="en-US" dirty="0"/>
          </a:p>
        </p:txBody>
      </p:sp>
    </p:spTree>
    <p:extLst>
      <p:ext uri="{BB962C8B-B14F-4D97-AF65-F5344CB8AC3E}">
        <p14:creationId xmlns:p14="http://schemas.microsoft.com/office/powerpoint/2010/main" val="11756890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85</a:t>
            </a:fld>
            <a:endParaRPr lang="en-US" dirty="0"/>
          </a:p>
        </p:txBody>
      </p:sp>
    </p:spTree>
    <p:extLst>
      <p:ext uri="{BB962C8B-B14F-4D97-AF65-F5344CB8AC3E}">
        <p14:creationId xmlns:p14="http://schemas.microsoft.com/office/powerpoint/2010/main" val="39721048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86</a:t>
            </a:fld>
            <a:endParaRPr lang="en-US" dirty="0"/>
          </a:p>
        </p:txBody>
      </p:sp>
    </p:spTree>
    <p:extLst>
      <p:ext uri="{BB962C8B-B14F-4D97-AF65-F5344CB8AC3E}">
        <p14:creationId xmlns:p14="http://schemas.microsoft.com/office/powerpoint/2010/main" val="23184258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And the heart of all of ABB‘s continuous gas analyzers are the sensor modules:</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Our flagship product the </a:t>
            </a:r>
            <a:r>
              <a:rPr lang="en-US" sz="120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Uras</a:t>
            </a: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is based on over 50 years of experience gained with non-dispersive infrared technology and measures up to four components simultaneously such as CO, NO, SO2 and CO2.</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The </a:t>
            </a:r>
            <a:r>
              <a:rPr lang="en-US" sz="120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Limas</a:t>
            </a: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is our workhorse using UV measuring technology that is not affected by either water or CO2 and measures both NO and NO2 simultaneously as well as SO2 if required.</a:t>
            </a:r>
          </a:p>
          <a:p>
            <a:pPr marL="171450" lvl="0" indent="-171450">
              <a:buFont typeface="Arial" panose="020B0604020202020204" pitchFamily="34" charset="0"/>
              <a:buChar char="•"/>
            </a:pPr>
            <a:r>
              <a:rPr lang="en-US" sz="120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Magnos</a:t>
            </a: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is a paramagnetic oxygen analyzer and incorporates ABB‘s revolutionary microwing technology and semi-automatic manufacturing for high precision and repeatable measurement.</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Electrochemical oxygen sensors are also available if you prefer to optimize the initial cost of purchase but be aware that these will need to be replaced on average every 12-24 months.</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Lastly the </a:t>
            </a:r>
            <a:r>
              <a:rPr lang="en-US" sz="120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Fidas</a:t>
            </a: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using the flame ionization principle for measurement of total hydrocarbons, is world-renowned and appreciated for its robustness and reliability.</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These sensor modules form the basis for the AO2000 series, which is an integrated system concept, and I will further explain this on the next slid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4E69C-C28A-4BE6-BE89-71D8FB2035FD}" type="slidenum">
              <a:rPr kumimoji="0" lang="en-US" sz="1200" b="0" i="0" u="none" strike="noStrike" kern="1200" cap="none" spc="0" normalizeH="0" baseline="0" noProof="0" smtClean="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295699499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Talking of cost of ownership, I would now like to dig deeper into this topic and show you how you can reduce your operating costs by as much as 60%...</a:t>
            </a:r>
          </a:p>
        </p:txBody>
      </p:sp>
      <p:sp>
        <p:nvSpPr>
          <p:cNvPr id="4" name="Slide Number Placeholder 3"/>
          <p:cNvSpPr>
            <a:spLocks noGrp="1"/>
          </p:cNvSpPr>
          <p:nvPr>
            <p:ph type="sldNum" sz="quarter" idx="10"/>
          </p:nvPr>
        </p:nvSpPr>
        <p:spPr/>
        <p:txBody>
          <a:bodyPr/>
          <a:lstStyle/>
          <a:p>
            <a:fld id="{3A94E69C-C28A-4BE6-BE89-71D8FB2035FD}" type="slidenum">
              <a:rPr lang="en-US" smtClean="0"/>
              <a:pPr/>
              <a:t>95</a:t>
            </a:fld>
            <a:endParaRPr lang="en-US" dirty="0"/>
          </a:p>
        </p:txBody>
      </p:sp>
    </p:spTree>
    <p:extLst>
      <p:ext uri="{BB962C8B-B14F-4D97-AF65-F5344CB8AC3E}">
        <p14:creationId xmlns:p14="http://schemas.microsoft.com/office/powerpoint/2010/main" val="144280349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alibration is necessary for all types of gas analyzers although some require more frequent calibration than others.</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The effort and costs can vary significantly based on the approach taken towards calibration.</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Add in the regulatory aspect and it may be necessary to validate the CEMS even more frequently, especially where the US EPA requirements are followed because here daily validation is mandatory.</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The cost of gas cylinders should not be underestimated and there are significant cost savings to be achieved with the right approach.</a:t>
            </a:r>
          </a:p>
        </p:txBody>
      </p:sp>
      <p:sp>
        <p:nvSpPr>
          <p:cNvPr id="4" name="Slide Number Placeholder 3"/>
          <p:cNvSpPr>
            <a:spLocks noGrp="1"/>
          </p:cNvSpPr>
          <p:nvPr>
            <p:ph type="sldNum" sz="quarter" idx="10"/>
          </p:nvPr>
        </p:nvSpPr>
        <p:spPr/>
        <p:txBody>
          <a:bodyPr/>
          <a:lstStyle/>
          <a:p>
            <a:fld id="{3A94E69C-C28A-4BE6-BE89-71D8FB2035FD}" type="slidenum">
              <a:rPr lang="en-US" smtClean="0"/>
              <a:pPr/>
              <a:t>96</a:t>
            </a:fld>
            <a:endParaRPr lang="en-US" dirty="0"/>
          </a:p>
        </p:txBody>
      </p:sp>
    </p:spTree>
    <p:extLst>
      <p:ext uri="{BB962C8B-B14F-4D97-AF65-F5344CB8AC3E}">
        <p14:creationId xmlns:p14="http://schemas.microsoft.com/office/powerpoint/2010/main" val="21392512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The most basic approach, which is very labor intensive and costly, is to perform manual calibration where the test gases are brought in and connected up to a valve in the system for introduction to the analyzers. The one benefit of this approach is that test gases can be shared between multiple systems.</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This process can be automated through the use of solenoid valves and programmable logic but this adds additional hardware and means the test gases can no longer be easily shared between multiple systems.</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The most cost effective approach is to automate the process using internal calibration cells for the span point and ambient air for the zero point, thereby eliminating manual work, unnecessary hardware and the high and ongoing cost of test gas cylinders.</a:t>
            </a:r>
          </a:p>
        </p:txBody>
      </p:sp>
      <p:sp>
        <p:nvSpPr>
          <p:cNvPr id="4" name="Slide Number Placeholder 3"/>
          <p:cNvSpPr>
            <a:spLocks noGrp="1"/>
          </p:cNvSpPr>
          <p:nvPr>
            <p:ph type="sldNum" sz="quarter" idx="10"/>
          </p:nvPr>
        </p:nvSpPr>
        <p:spPr/>
        <p:txBody>
          <a:bodyPr/>
          <a:lstStyle/>
          <a:p>
            <a:fld id="{3A94E69C-C28A-4BE6-BE89-71D8FB2035FD}" type="slidenum">
              <a:rPr lang="en-US" smtClean="0"/>
              <a:pPr/>
              <a:t>97</a:t>
            </a:fld>
            <a:endParaRPr lang="en-US" dirty="0"/>
          </a:p>
        </p:txBody>
      </p:sp>
    </p:spTree>
    <p:extLst>
      <p:ext uri="{BB962C8B-B14F-4D97-AF65-F5344CB8AC3E}">
        <p14:creationId xmlns:p14="http://schemas.microsoft.com/office/powerpoint/2010/main" val="30684910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Optionally available in the AO2000 series, EL3000 series and also the ACX system solution, internal gas-filled calibration cells have proven to be extremely popular with our customers.</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Glass windows are essentially welded to the gold-plated, metal housing using a proprietary sputter and soldering technique, thereby guaranteeing that the gas cannot escape.</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A real test gas with known concentration is connected through the tubes on either end and then sealed inside the cell and ABB has over 30 years of experience with this manufacturing process.</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Calibration cells are an acceptable alternative to flowing test gas for the vast majority of emission monitoring regulations including the European EN14181 and US EPA 40 CFR Part 60.</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Two cells were tested side-by-side by TÜV in Germany for over 10 years and they found that the stability was superior to many cylinder test gases with drift of less than 0.5% per year.</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The calibration cells are specifically mentioned in the AO2000 and EL3000 certifications according to EN15267.</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We’ll see later on that utilizing internal cells can reduce calibration costs by as much as 95%.</a:t>
            </a:r>
          </a:p>
          <a:p>
            <a:endParaRPr lang="de-DE" baseline="0" dirty="0"/>
          </a:p>
          <a:p>
            <a:endParaRPr lang="de-DE"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98</a:t>
            </a:fld>
            <a:endParaRPr lang="en-US" dirty="0"/>
          </a:p>
        </p:txBody>
      </p:sp>
    </p:spTree>
    <p:extLst>
      <p:ext uri="{BB962C8B-B14F-4D97-AF65-F5344CB8AC3E}">
        <p14:creationId xmlns:p14="http://schemas.microsoft.com/office/powerpoint/2010/main" val="94794215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To see how much you could save, please contact your local sales representative who can take you through a return on investment calculation based on your individual situation.</a:t>
            </a:r>
          </a:p>
        </p:txBody>
      </p:sp>
      <p:sp>
        <p:nvSpPr>
          <p:cNvPr id="4" name="Slide Number Placeholder 3"/>
          <p:cNvSpPr>
            <a:spLocks noGrp="1"/>
          </p:cNvSpPr>
          <p:nvPr>
            <p:ph type="sldNum" sz="quarter" idx="10"/>
          </p:nvPr>
        </p:nvSpPr>
        <p:spPr/>
        <p:txBody>
          <a:bodyPr/>
          <a:lstStyle/>
          <a:p>
            <a:fld id="{3A94E69C-C28A-4BE6-BE89-71D8FB2035FD}" type="slidenum">
              <a:rPr lang="en-US" smtClean="0"/>
              <a:pPr/>
              <a:t>99</a:t>
            </a:fld>
            <a:endParaRPr lang="en-US" dirty="0"/>
          </a:p>
        </p:txBody>
      </p:sp>
    </p:spTree>
    <p:extLst>
      <p:ext uri="{BB962C8B-B14F-4D97-AF65-F5344CB8AC3E}">
        <p14:creationId xmlns:p14="http://schemas.microsoft.com/office/powerpoint/2010/main" val="198434047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erm digital is often over-used and the common misconception is that there is little that is really useful behind it, but I‘d like to introduce you to some of the latest innovations by ABB that can be used today and provide real value in how you interact with and maintain your assets…</a:t>
            </a:r>
            <a:endParaRPr lang="de-DE"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100</a:t>
            </a:fld>
            <a:endParaRPr lang="en-US" dirty="0"/>
          </a:p>
        </p:txBody>
      </p:sp>
    </p:spTree>
    <p:extLst>
      <p:ext uri="{BB962C8B-B14F-4D97-AF65-F5344CB8AC3E}">
        <p14:creationId xmlns:p14="http://schemas.microsoft.com/office/powerpoint/2010/main" val="416644601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Let‘s start with a common scenario that we call communication ‘ping-pong’…</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Imagine you have an analyzer on your plant and it is showing an alarm and you need support to identify what the problem is.</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You call your supplier and the following example unfolds:</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Our analyzer is not working, can you help us?</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Of course, we‘d be glad to. Can you provide some additional information about the equipment?</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Sure, it‘s a </a:t>
            </a:r>
            <a:r>
              <a:rPr lang="en-US" sz="120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Uras</a:t>
            </a: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analyzer. What else do you want to know?</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Ok, please give me the serial number on the type plate.</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Hmm…that‘s difficult to find as the analyzer is installed in a rack. Is there another way?</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You can easily consume a lot of time just trying to obtain basic information about the device before you can even begin to start diagnosing what the problem is.</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01</a:t>
            </a:fld>
            <a:endParaRPr lang="en-US" dirty="0"/>
          </a:p>
        </p:txBody>
      </p:sp>
    </p:spTree>
    <p:extLst>
      <p:ext uri="{BB962C8B-B14F-4D97-AF65-F5344CB8AC3E}">
        <p14:creationId xmlns:p14="http://schemas.microsoft.com/office/powerpoint/2010/main" val="11869488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You are no doubt familiar with QR Codes as we see them everywhere these days but dynamically generated QR codes embedded on the display of the analyzer is something new.</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These QR codes are automatically generated by the device based on the current status of the analyzer and not only contain static information like the serial number, fabrication date and software version, but also dynamic or changing information such as current measured values, temperature, pressure, flow and drift values.</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You can simply take a photo of the QR code and send it to ABB, use any standard code reader or the ABB my Installed Base app and in a matter of seconds you can provide, in one communication, all the relevant information about the device to your ABB service department enabling them to immediately start advising you how to go about fixing the problem.</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02</a:t>
            </a:fld>
            <a:endParaRPr lang="en-US" dirty="0"/>
          </a:p>
        </p:txBody>
      </p:sp>
      <p:sp>
        <p:nvSpPr>
          <p:cNvPr id="7" name="Slide Image Placeholder 6"/>
          <p:cNvSpPr>
            <a:spLocks noGrp="1" noRot="1" noChangeAspect="1"/>
          </p:cNvSpPr>
          <p:nvPr>
            <p:ph type="sldImg"/>
          </p:nvPr>
        </p:nvSpPr>
        <p:spPr>
          <a:xfrm>
            <a:off x="384175" y="685800"/>
            <a:ext cx="6096000" cy="3429000"/>
          </a:xfrm>
        </p:spPr>
      </p:sp>
    </p:spTree>
    <p:extLst>
      <p:ext uri="{BB962C8B-B14F-4D97-AF65-F5344CB8AC3E}">
        <p14:creationId xmlns:p14="http://schemas.microsoft.com/office/powerpoint/2010/main" val="39068775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In summary, Dynamic QR Codes are simple to use and platform independent, provide case specific information which allows for individual support and, as you will see in the next few slides, also improved installed base management.</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Faster fault reporting allows us to diagnose the failure and suggest corrective actions much quicker, which results in a faster repair and ultimately increased availability.</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03</a:t>
            </a:fld>
            <a:endParaRPr lang="en-US" dirty="0"/>
          </a:p>
        </p:txBody>
      </p:sp>
    </p:spTree>
    <p:extLst>
      <p:ext uri="{BB962C8B-B14F-4D97-AF65-F5344CB8AC3E}">
        <p14:creationId xmlns:p14="http://schemas.microsoft.com/office/powerpoint/2010/main" val="358103260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r>
              <a:rPr lang="en-US" sz="120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myIB</a:t>
            </a: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is ABB‘s mobile installed base management application available in both the App Store and Google Play.</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It’s free to download and allows you to register your device using the Dynamic QR Codes or keying in the serial number, report a problem and even request for a service engineer to visit your site.</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04</a:t>
            </a:fld>
            <a:endParaRPr lang="en-US" dirty="0"/>
          </a:p>
        </p:txBody>
      </p:sp>
    </p:spTree>
    <p:extLst>
      <p:ext uri="{BB962C8B-B14F-4D97-AF65-F5344CB8AC3E}">
        <p14:creationId xmlns:p14="http://schemas.microsoft.com/office/powerpoint/2010/main" val="2366975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Up to four of these sensor modules can be combined with one central control unit measuring up to six components simultaneously.</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Both rack and wall mount configurations are available and the sensor modules can be installed up to 350 meters away from the central unit using a digital bus architecture.</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Completing the solution, even the ABB sample handling components can be integrated to the system via a single cable and data made available on the AO2000 display.</a:t>
            </a:r>
          </a:p>
        </p:txBody>
      </p:sp>
      <p:sp>
        <p:nvSpPr>
          <p:cNvPr id="7" name="Slide Number Placeholder 3"/>
          <p:cNvSpPr>
            <a:spLocks noGrp="1"/>
          </p:cNvSpPr>
          <p:nvPr>
            <p:ph type="sldNum" sz="quarter" idx="5"/>
          </p:nvPr>
        </p:nvSpPr>
        <p:spPr>
          <a:xfrm>
            <a:off x="3895404" y="9169233"/>
            <a:ext cx="2980055" cy="48267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4E69C-C28A-4BE6-BE89-71D8FB2035FD}" type="slidenum">
              <a:rPr kumimoji="0" lang="en-US" sz="1200" b="0" i="0" u="none" strike="noStrike" kern="1200" cap="none" spc="0" normalizeH="0" baseline="0" noProof="0" smtClean="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183005822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105</a:t>
            </a:fld>
            <a:endParaRPr lang="en-US" dirty="0"/>
          </a:p>
        </p:txBody>
      </p:sp>
    </p:spTree>
    <p:extLst>
      <p:ext uri="{BB962C8B-B14F-4D97-AF65-F5344CB8AC3E}">
        <p14:creationId xmlns:p14="http://schemas.microsoft.com/office/powerpoint/2010/main" val="3123213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sz="120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myABB</a:t>
            </a: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is an online portal that acts as your gateway to services from ABB.</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It’s available 24/7 and enables you to customize the view to only see what is relevant for you.</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Through </a:t>
            </a:r>
            <a:r>
              <a:rPr lang="en-US" sz="120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myABB</a:t>
            </a: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you can:</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View the lifecycle status of all your devices providing a complete overview of your installed base</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Download technical documentation such as analyzer data sheets, service reports, standard documentation and system drawings</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Get an overview of completed or planned service events and receive specific recommendations for your devices</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You can view spare parts information and pictures and in a future development also order parts online</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For the sake of time we will not show the video now but I encourage you to look and familiarize yourself with the portal.</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06</a:t>
            </a:fld>
            <a:endParaRPr lang="en-US" dirty="0"/>
          </a:p>
        </p:txBody>
      </p:sp>
      <p:sp>
        <p:nvSpPr>
          <p:cNvPr id="7" name="Slide Image Placeholder 6"/>
          <p:cNvSpPr>
            <a:spLocks noGrp="1" noRot="1" noChangeAspect="1"/>
          </p:cNvSpPr>
          <p:nvPr>
            <p:ph type="sldImg"/>
          </p:nvPr>
        </p:nvSpPr>
        <p:spPr>
          <a:xfrm>
            <a:off x="384175" y="685800"/>
            <a:ext cx="6096000" cy="3429000"/>
          </a:xfrm>
        </p:spPr>
      </p:sp>
    </p:spTree>
    <p:extLst>
      <p:ext uri="{BB962C8B-B14F-4D97-AF65-F5344CB8AC3E}">
        <p14:creationId xmlns:p14="http://schemas.microsoft.com/office/powerpoint/2010/main" val="30177973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Here is an example for one major cement producer showing:</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Summary of service events going back to 2014</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A map of all their sites with the possibility to click on each flag to view more information</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A place to search for information and register products</a:t>
            </a:r>
          </a:p>
          <a:p>
            <a:pPr marL="171450" lvl="0" indent="-171450">
              <a:buFont typeface="Arial" panose="020B0604020202020204" pitchFamily="34" charset="0"/>
              <a:buChar char="•"/>
            </a:pP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CLICK] A summary of previous service activities and the device these are related to</a:t>
            </a:r>
          </a:p>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It‘s a very powerful tool and the capabilities will continue to grow over time.</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07</a:t>
            </a:fld>
            <a:endParaRPr lang="en-US" dirty="0"/>
          </a:p>
        </p:txBody>
      </p:sp>
    </p:spTree>
    <p:extLst>
      <p:ext uri="{BB962C8B-B14F-4D97-AF65-F5344CB8AC3E}">
        <p14:creationId xmlns:p14="http://schemas.microsoft.com/office/powerpoint/2010/main" val="576919287"/>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Putting these together, Dynamic QR Codes combined with the </a:t>
            </a:r>
            <a:r>
              <a:rPr lang="en-US" sz="120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myIB</a:t>
            </a: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app and </a:t>
            </a:r>
            <a:r>
              <a:rPr lang="en-US" sz="1200" kern="1200" dirty="0" err="1">
                <a:solidFill>
                  <a:schemeClr val="tx1"/>
                </a:solidFill>
                <a:effectLst/>
                <a:latin typeface="ABBvoice" panose="020D0603020503020204" pitchFamily="34" charset="0"/>
                <a:ea typeface="ABBvoice" panose="020D0603020503020204" pitchFamily="34" charset="0"/>
                <a:cs typeface="ABBvoice" panose="020D0603020503020204" pitchFamily="34" charset="0"/>
              </a:rPr>
              <a:t>myABB</a:t>
            </a:r>
            <a:r>
              <a:rPr lang="en-US" sz="1200" kern="1200" dirty="0">
                <a:solidFill>
                  <a:schemeClr val="tx1"/>
                </a:solidFill>
                <a:effectLst/>
                <a:latin typeface="ABBvoice" panose="020D0603020503020204" pitchFamily="34" charset="0"/>
                <a:ea typeface="ABBvoice" panose="020D0603020503020204" pitchFamily="34" charset="0"/>
                <a:cs typeface="ABBvoice" panose="020D0603020503020204" pitchFamily="34" charset="0"/>
              </a:rPr>
              <a:t> customer portal offer you faster fault diagnosis, faster repair, higher availability and lower cost of ownership.</a:t>
            </a:r>
          </a:p>
        </p:txBody>
      </p:sp>
      <p:sp>
        <p:nvSpPr>
          <p:cNvPr id="4" name="Slide Number Placeholder 3"/>
          <p:cNvSpPr>
            <a:spLocks noGrp="1"/>
          </p:cNvSpPr>
          <p:nvPr>
            <p:ph type="sldNum" sz="quarter" idx="10"/>
          </p:nvPr>
        </p:nvSpPr>
        <p:spPr/>
        <p:txBody>
          <a:bodyPr/>
          <a:lstStyle/>
          <a:p>
            <a:fld id="{3A94E69C-C28A-4BE6-BE89-71D8FB2035FD}" type="slidenum">
              <a:rPr lang="en-US" smtClean="0"/>
              <a:pPr/>
              <a:t>108</a:t>
            </a:fld>
            <a:endParaRPr lang="en-US" dirty="0"/>
          </a:p>
        </p:txBody>
      </p:sp>
    </p:spTree>
    <p:extLst>
      <p:ext uri="{BB962C8B-B14F-4D97-AF65-F5344CB8AC3E}">
        <p14:creationId xmlns:p14="http://schemas.microsoft.com/office/powerpoint/2010/main" val="81608399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3A94E69C-C28A-4BE6-BE89-71D8FB2035FD}" type="slidenum">
              <a:rPr lang="en-US" smtClean="0"/>
              <a:pPr/>
              <a:t>109</a:t>
            </a:fld>
            <a:endParaRPr lang="en-US" dirty="0"/>
          </a:p>
        </p:txBody>
      </p:sp>
    </p:spTree>
    <p:extLst>
      <p:ext uri="{BB962C8B-B14F-4D97-AF65-F5344CB8AC3E}">
        <p14:creationId xmlns:p14="http://schemas.microsoft.com/office/powerpoint/2010/main" val="17243395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110</a:t>
            </a:fld>
            <a:endParaRPr lang="en-US" dirty="0"/>
          </a:p>
        </p:txBody>
      </p:sp>
    </p:spTree>
    <p:extLst>
      <p:ext uri="{BB962C8B-B14F-4D97-AF65-F5344CB8AC3E}">
        <p14:creationId xmlns:p14="http://schemas.microsoft.com/office/powerpoint/2010/main" val="157077001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111</a:t>
            </a:fld>
            <a:endParaRPr lang="en-US" dirty="0"/>
          </a:p>
        </p:txBody>
      </p:sp>
    </p:spTree>
    <p:extLst>
      <p:ext uri="{BB962C8B-B14F-4D97-AF65-F5344CB8AC3E}">
        <p14:creationId xmlns:p14="http://schemas.microsoft.com/office/powerpoint/2010/main" val="143977247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112</a:t>
            </a:fld>
            <a:endParaRPr lang="en-US" dirty="0"/>
          </a:p>
        </p:txBody>
      </p:sp>
    </p:spTree>
    <p:extLst>
      <p:ext uri="{BB962C8B-B14F-4D97-AF65-F5344CB8AC3E}">
        <p14:creationId xmlns:p14="http://schemas.microsoft.com/office/powerpoint/2010/main" val="159677550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113</a:t>
            </a:fld>
            <a:endParaRPr lang="en-US" dirty="0"/>
          </a:p>
        </p:txBody>
      </p:sp>
    </p:spTree>
    <p:extLst>
      <p:ext uri="{BB962C8B-B14F-4D97-AF65-F5344CB8AC3E}">
        <p14:creationId xmlns:p14="http://schemas.microsoft.com/office/powerpoint/2010/main" val="224437650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114</a:t>
            </a:fld>
            <a:endParaRPr lang="en-US" dirty="0"/>
          </a:p>
        </p:txBody>
      </p:sp>
    </p:spTree>
    <p:extLst>
      <p:ext uri="{BB962C8B-B14F-4D97-AF65-F5344CB8AC3E}">
        <p14:creationId xmlns:p14="http://schemas.microsoft.com/office/powerpoint/2010/main" val="27456519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94E69C-C28A-4BE6-BE89-71D8FB2035FD}" type="slidenum">
              <a:rPr lang="en-US" smtClean="0"/>
              <a:pPr/>
              <a:t>17</a:t>
            </a:fld>
            <a:endParaRPr lang="en-US" dirty="0"/>
          </a:p>
        </p:txBody>
      </p:sp>
    </p:spTree>
    <p:extLst>
      <p:ext uri="{BB962C8B-B14F-4D97-AF65-F5344CB8AC3E}">
        <p14:creationId xmlns:p14="http://schemas.microsoft.com/office/powerpoint/2010/main" val="221999735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115</a:t>
            </a:fld>
            <a:endParaRPr lang="en-US" dirty="0"/>
          </a:p>
        </p:txBody>
      </p:sp>
    </p:spTree>
    <p:extLst>
      <p:ext uri="{BB962C8B-B14F-4D97-AF65-F5344CB8AC3E}">
        <p14:creationId xmlns:p14="http://schemas.microsoft.com/office/powerpoint/2010/main" val="400802791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116</a:t>
            </a:fld>
            <a:endParaRPr lang="en-US" dirty="0"/>
          </a:p>
        </p:txBody>
      </p:sp>
    </p:spTree>
    <p:extLst>
      <p:ext uri="{BB962C8B-B14F-4D97-AF65-F5344CB8AC3E}">
        <p14:creationId xmlns:p14="http://schemas.microsoft.com/office/powerpoint/2010/main" val="26758686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117</a:t>
            </a:fld>
            <a:endParaRPr lang="en-US" dirty="0"/>
          </a:p>
        </p:txBody>
      </p:sp>
    </p:spTree>
    <p:extLst>
      <p:ext uri="{BB962C8B-B14F-4D97-AF65-F5344CB8AC3E}">
        <p14:creationId xmlns:p14="http://schemas.microsoft.com/office/powerpoint/2010/main" val="353122907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118</a:t>
            </a:fld>
            <a:endParaRPr lang="en-US" dirty="0"/>
          </a:p>
        </p:txBody>
      </p:sp>
    </p:spTree>
    <p:extLst>
      <p:ext uri="{BB962C8B-B14F-4D97-AF65-F5344CB8AC3E}">
        <p14:creationId xmlns:p14="http://schemas.microsoft.com/office/powerpoint/2010/main" val="3536977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27</a:t>
            </a:fld>
            <a:endParaRPr lang="en-US" dirty="0"/>
          </a:p>
        </p:txBody>
      </p:sp>
    </p:spTree>
    <p:extLst>
      <p:ext uri="{BB962C8B-B14F-4D97-AF65-F5344CB8AC3E}">
        <p14:creationId xmlns:p14="http://schemas.microsoft.com/office/powerpoint/2010/main" val="3497566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10"/>
          </p:nvPr>
        </p:nvSpPr>
        <p:spPr/>
        <p:txBody>
          <a:bodyPr/>
          <a:lstStyle/>
          <a:p>
            <a:fld id="{3A94E69C-C28A-4BE6-BE89-71D8FB2035FD}" type="slidenum">
              <a:rPr lang="en-US" smtClean="0"/>
              <a:pPr/>
              <a:t>28</a:t>
            </a:fld>
            <a:endParaRPr lang="en-US" dirty="0"/>
          </a:p>
        </p:txBody>
      </p:sp>
    </p:spTree>
    <p:extLst>
      <p:ext uri="{BB962C8B-B14F-4D97-AF65-F5344CB8AC3E}">
        <p14:creationId xmlns:p14="http://schemas.microsoft.com/office/powerpoint/2010/main" val="653995214"/>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3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5.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5.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5.png"/></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32.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6.jpe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8.jp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vmlDrawing" Target="../drawings/vmlDrawing1.vml"/><Relationship Id="rId5" Type="http://schemas.openxmlformats.org/officeDocument/2006/relationships/image" Target="../media/image40.emf"/><Relationship Id="rId4" Type="http://schemas.openxmlformats.org/officeDocument/2006/relationships/oleObject" Target="../embeddings/oleObject1.bin"/></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1.jp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0_4: Title Slide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72B866-06E8-49CD-BD1C-D3883B1F1732}"/>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contrast="-40000"/>
                    </a14:imgEffect>
                  </a14:imgLayer>
                </a14:imgProps>
              </a:ext>
              <a:ext uri="{28A0092B-C50C-407E-A947-70E740481C1C}">
                <a14:useLocalDpi xmlns:a14="http://schemas.microsoft.com/office/drawing/2010/main"/>
              </a:ext>
            </a:extLst>
          </a:blip>
          <a:srcRect l="-7955" r="7955"/>
          <a:stretch/>
        </p:blipFill>
        <p:spPr>
          <a:xfrm>
            <a:off x="0" y="0"/>
            <a:ext cx="12192000" cy="6858000"/>
          </a:xfrm>
          <a:prstGeom prst="rect">
            <a:avLst/>
          </a:prstGeom>
        </p:spPr>
      </p:pic>
      <p:sp>
        <p:nvSpPr>
          <p:cNvPr id="22"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7"/>
          <p:cNvSpPr>
            <a:spLocks noGrp="1"/>
          </p:cNvSpPr>
          <p:nvPr>
            <p:ph type="body" sz="quarter" idx="13" hasCustomPrompt="1"/>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hasCustomPrompt="1"/>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3227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1_4: Title Slide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7349383-2248-4B27-BF29-A20C0B7364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1997" cy="4610099"/>
          </a:xfrm>
          <a:prstGeom prst="rect">
            <a:avLst/>
          </a:prstGeom>
        </p:spPr>
      </p:pic>
      <p:sp>
        <p:nvSpPr>
          <p:cNvPr id="5" name="Picture Placeholder 4"/>
          <p:cNvSpPr>
            <a:spLocks noGrp="1"/>
          </p:cNvSpPr>
          <p:nvPr>
            <p:ph type="pic" sz="quarter" idx="15"/>
          </p:nvPr>
        </p:nvSpPr>
        <p:spPr bwMode="gray">
          <a:xfrm>
            <a:off x="2" y="0"/>
            <a:ext cx="12192000" cy="4610100"/>
          </a:xfrm>
          <a:solidFill>
            <a:schemeClr val="bg1">
              <a:alpha val="40000"/>
            </a:schemeClr>
          </a:solidFill>
        </p:spPr>
        <p:txBody>
          <a:bodyPr/>
          <a:lstStyle/>
          <a:p>
            <a:endParaRPr lang="en-US" dirty="0"/>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6324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9: Title (2) &amp;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7C4B2A68-D918-4286-96B0-6342B7A9B0CE}"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36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236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327" y="2317638"/>
            <a:ext cx="5605200" cy="295097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5" y="2317638"/>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 Placeholder 7"/>
          <p:cNvSpPr>
            <a:spLocks noGrp="1"/>
          </p:cNvSpPr>
          <p:nvPr>
            <p:ph type="body" sz="quarter" idx="29"/>
          </p:nvPr>
        </p:nvSpPr>
        <p:spPr bwMode="gray">
          <a:xfrm>
            <a:off x="332583" y="5453066"/>
            <a:ext cx="11520682"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95674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0: Title (2) &amp; Content (2)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972E678C-17C0-4756-8034-8236E2D4136B}"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4" y="2317638"/>
            <a:ext cx="560520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38"/>
            <a:ext cx="56052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Gleichschenkliges Dreieck 46"/>
          <p:cNvSpPr/>
          <p:nvPr userDrawn="1"/>
        </p:nvSpPr>
        <p:spPr bwMode="gray">
          <a:xfrm rot="5400000">
            <a:off x="4334900" y="4088006"/>
            <a:ext cx="3523271" cy="124946"/>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6" name="Subtitle 2"/>
          <p:cNvSpPr>
            <a:spLocks noGrp="1"/>
          </p:cNvSpPr>
          <p:nvPr>
            <p:ph type="subTitle" idx="13"/>
          </p:nvPr>
        </p:nvSpPr>
        <p:spPr bwMode="gray">
          <a:xfrm>
            <a:off x="332367" y="1085213"/>
            <a:ext cx="1152087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45020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1: Title (2) &amp; Content (2) &amp; Box / Arrow">
    <p:spTree>
      <p:nvGrpSpPr>
        <p:cNvPr id="1" name=""/>
        <p:cNvGrpSpPr/>
        <p:nvPr/>
      </p:nvGrpSpPr>
      <p:grpSpPr>
        <a:xfrm>
          <a:off x="0" y="0"/>
          <a:ext cx="0" cy="0"/>
          <a:chOff x="0" y="0"/>
          <a:chExt cx="0" cy="0"/>
        </a:xfrm>
      </p:grpSpPr>
      <p:sp>
        <p:nvSpPr>
          <p:cNvPr id="16" name="Gleichschenkliges Dreieck 46"/>
          <p:cNvSpPr/>
          <p:nvPr userDrawn="1"/>
        </p:nvSpPr>
        <p:spPr bwMode="gray">
          <a:xfrm rot="5400000">
            <a:off x="4656514" y="3766499"/>
            <a:ext cx="2879662" cy="124579"/>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46DACDBD-1DFF-49BA-A724-30E3F02C142A}"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5" y="2317751"/>
            <a:ext cx="5605200" cy="2950867"/>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751"/>
            <a:ext cx="56052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7"/>
          <p:cNvSpPr>
            <a:spLocks noGrp="1"/>
          </p:cNvSpPr>
          <p:nvPr>
            <p:ph type="body" sz="quarter" idx="29"/>
          </p:nvPr>
        </p:nvSpPr>
        <p:spPr bwMode="gray">
          <a:xfrm>
            <a:off x="332367" y="5453066"/>
            <a:ext cx="1152116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p:cNvSpPr>
            <a:spLocks noGrp="1"/>
          </p:cNvSpPr>
          <p:nvPr>
            <p:ph type="subTitle" idx="13"/>
          </p:nvPr>
        </p:nvSpPr>
        <p:spPr bwMode="gray">
          <a:xfrm>
            <a:off x="332367" y="1085213"/>
            <a:ext cx="1152116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386284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2: Title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C1783AD7-02E7-449A-B532-68934DEE5F31}"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0"/>
          </p:nvPr>
        </p:nvSpPr>
        <p:spPr bwMode="gray">
          <a:xfrm>
            <a:off x="6248045" y="1931195"/>
            <a:ext cx="56052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40"/>
            <a:ext cx="5605200"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82876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3: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6249107" y="3989616"/>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55831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4: Title (3) &amp; Content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5" y="2318321"/>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40"/>
            <a:ext cx="5605200" cy="35951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86C11801-1BEF-46D9-879F-590C601D8597}" type="datetime4">
              <a:rPr lang="en-US" smtClean="0"/>
              <a:t>September 8, 2019</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4432235"/>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42756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5: Title (3) &amp; Content (3) &amp; Box">
    <p:spTree>
      <p:nvGrpSpPr>
        <p:cNvPr id="1" name=""/>
        <p:cNvGrpSpPr/>
        <p:nvPr/>
      </p:nvGrpSpPr>
      <p:grpSpPr>
        <a:xfrm>
          <a:off x="0" y="0"/>
          <a:ext cx="0" cy="0"/>
          <a:chOff x="0" y="0"/>
          <a:chExt cx="0" cy="0"/>
        </a:xfrm>
      </p:grpSpPr>
      <p:sp>
        <p:nvSpPr>
          <p:cNvPr id="27" name="Text Placeholder 11"/>
          <p:cNvSpPr>
            <a:spLocks noGrp="1"/>
          </p:cNvSpPr>
          <p:nvPr>
            <p:ph type="body" sz="quarter" idx="22"/>
          </p:nvPr>
        </p:nvSpPr>
        <p:spPr bwMode="gray">
          <a:xfrm>
            <a:off x="332366" y="5452639"/>
            <a:ext cx="11520877"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3" y="2317641"/>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7"/>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3"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3" y="383124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75ACC3D8-F658-404B-AC58-DFDEB860C833}" type="datetime4">
              <a:rPr lang="en-US" smtClean="0"/>
              <a:t>September 8, 2019</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3"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3" y="4135561"/>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3" y="4214707"/>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9"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0299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6: Title &amp; Content (2)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7E78DB5F-64D9-442E-954C-935C935B4142}"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582" y="1931195"/>
            <a:ext cx="206420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2700027" y="1931195"/>
            <a:ext cx="91535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582" y="2317640"/>
            <a:ext cx="2064201"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983" y="2238495"/>
            <a:ext cx="2062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2548405"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12069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7E78DB5F-64D9-442E-954C-935C935B4142}"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5"/>
            <a:ext cx="4093766"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3" y="2317640"/>
            <a:ext cx="4093767"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10806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8: Title (3) &amp; Content (3)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409376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453" y="1931194"/>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453" y="4042705"/>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453" y="2317638"/>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5"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21D0314D-AAD8-43AE-987E-1CD311B19016}" type="datetime4">
              <a:rPr lang="en-US" smtClean="0"/>
              <a:t>September 8, 2019</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11" name="Straight Connector 9"/>
          <p:cNvCxnSpPr/>
          <p:nvPr userDrawn="1"/>
        </p:nvCxnSpPr>
        <p:spPr bwMode="gray">
          <a:xfrm>
            <a:off x="4725264"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4725264" y="4349421"/>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4724453" y="4428564"/>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1" name="Straight Connector 40"/>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4307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5_4: Title Slid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06D60B3-C047-4A59-ADAD-3D21399DE05B}"/>
              </a:ext>
            </a:extLst>
          </p:cNvPr>
          <p:cNvPicPr>
            <a:picLocks noChangeAspect="1"/>
          </p:cNvPicPr>
          <p:nvPr userDrawn="1"/>
        </p:nvPicPr>
        <p:blipFill>
          <a:blip r:embed="rId2"/>
          <a:stretch>
            <a:fillRect/>
          </a:stretch>
        </p:blipFill>
        <p:spPr>
          <a:xfrm>
            <a:off x="3535660" y="62066"/>
            <a:ext cx="5143500" cy="5143500"/>
          </a:xfrm>
          <a:prstGeom prst="rect">
            <a:avLst/>
          </a:prstGeom>
        </p:spPr>
      </p:pic>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048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9: Title (3) &amp; Content (3) &amp; Box 3">
    <p:spTree>
      <p:nvGrpSpPr>
        <p:cNvPr id="1" name=""/>
        <p:cNvGrpSpPr/>
        <p:nvPr/>
      </p:nvGrpSpPr>
      <p:grpSpPr>
        <a:xfrm>
          <a:off x="0" y="0"/>
          <a:ext cx="0" cy="0"/>
          <a:chOff x="0" y="0"/>
          <a:chExt cx="0" cy="0"/>
        </a:xfrm>
      </p:grpSpPr>
      <p:cxnSp>
        <p:nvCxnSpPr>
          <p:cNvPr id="42" name="Straight Connector 41"/>
          <p:cNvCxnSpPr/>
          <p:nvPr userDrawn="1"/>
        </p:nvCxnSpPr>
        <p:spPr bwMode="gray">
          <a:xfrm>
            <a:off x="457598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 Placeholder 11"/>
          <p:cNvSpPr>
            <a:spLocks noGrp="1"/>
          </p:cNvSpPr>
          <p:nvPr>
            <p:ph type="body" sz="quarter" idx="22"/>
          </p:nvPr>
        </p:nvSpPr>
        <p:spPr bwMode="gray">
          <a:xfrm>
            <a:off x="332366" y="5452639"/>
            <a:ext cx="11521161"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930" y="2317641"/>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4" cy="295097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2367" y="1931193"/>
            <a:ext cx="409466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930" y="1931193"/>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930" y="3831247"/>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8C3EC54A-C632-4B8A-8DD8-4163ADA26599}" type="datetime4">
              <a:rPr lang="en-US" smtClean="0"/>
              <a:t>September 8, 2019</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28" name="Content Placeholder 15"/>
          <p:cNvSpPr>
            <a:spLocks noGrp="1"/>
          </p:cNvSpPr>
          <p:nvPr>
            <p:ph sz="quarter" idx="21"/>
          </p:nvPr>
        </p:nvSpPr>
        <p:spPr bwMode="gray">
          <a:xfrm>
            <a:off x="4724930" y="4214707"/>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9"/>
          <p:cNvCxnSpPr/>
          <p:nvPr userDrawn="1"/>
        </p:nvCxnSpPr>
        <p:spPr bwMode="gray">
          <a:xfrm>
            <a:off x="4724930"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4727528" y="4136597"/>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5" name="Straight Connector 44"/>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4466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4094DB61-25C8-4EF5-ACA6-394B43063948}"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5"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5" name="Straight Connector 34"/>
          <p:cNvCxnSpPr/>
          <p:nvPr userDrawn="1"/>
        </p:nvCxnSpPr>
        <p:spPr bwMode="gray">
          <a:xfrm>
            <a:off x="4124130"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2"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01626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1: Title (3) &amp; Content (3) &amp; Box 2">
    <p:spTree>
      <p:nvGrpSpPr>
        <p:cNvPr id="1" name=""/>
        <p:cNvGrpSpPr/>
        <p:nvPr/>
      </p:nvGrpSpPr>
      <p:grpSpPr>
        <a:xfrm>
          <a:off x="0" y="0"/>
          <a:ext cx="0" cy="0"/>
          <a:chOff x="0" y="0"/>
          <a:chExt cx="0" cy="0"/>
        </a:xfrm>
      </p:grpSpPr>
      <p:sp>
        <p:nvSpPr>
          <p:cNvPr id="18" name="Text Placeholder 17"/>
          <p:cNvSpPr>
            <a:spLocks noGrp="1"/>
          </p:cNvSpPr>
          <p:nvPr>
            <p:ph type="body" sz="quarter" idx="28"/>
          </p:nvPr>
        </p:nvSpPr>
        <p:spPr bwMode="gray">
          <a:xfrm>
            <a:off x="333264" y="5452639"/>
            <a:ext cx="1152026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76B2BC20-ABC6-478C-8E1B-2165F3667B32}"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4" name="Straight Connector 33"/>
          <p:cNvCxnSpPr/>
          <p:nvPr userDrawn="1"/>
        </p:nvCxnSpPr>
        <p:spPr bwMode="gray">
          <a:xfrm>
            <a:off x="412413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06266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16903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F176D1A0-7D36-42FE-8B65-73ABE00A4B81}"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Gleichschenkliges Dreieck 46"/>
          <p:cNvSpPr/>
          <p:nvPr userDrawn="1"/>
        </p:nvSpPr>
        <p:spPr bwMode="gray">
          <a:xfrm rot="5400000">
            <a:off x="6301200" y="4088360"/>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9" name="Gleichschenkliges Dreieck 46"/>
          <p:cNvSpPr/>
          <p:nvPr userDrawn="1"/>
        </p:nvSpPr>
        <p:spPr bwMode="gray">
          <a:xfrm rot="5400000">
            <a:off x="2362815" y="4091269"/>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671849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3: Title (3) &amp; Content (3) &amp; Box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E78EC23C-A2EE-4E37-B3CA-EB5FB6E0A626}"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7"/>
          <p:cNvSpPr>
            <a:spLocks noGrp="1"/>
          </p:cNvSpPr>
          <p:nvPr>
            <p:ph type="body" sz="quarter" idx="28"/>
          </p:nvPr>
        </p:nvSpPr>
        <p:spPr bwMode="gray">
          <a:xfrm>
            <a:off x="332581" y="5452639"/>
            <a:ext cx="1152068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9" name="Gleichschenkliges Dreieck 46"/>
          <p:cNvSpPr/>
          <p:nvPr userDrawn="1"/>
        </p:nvSpPr>
        <p:spPr bwMode="gray">
          <a:xfrm rot="5400000">
            <a:off x="6622950" y="3766612"/>
            <a:ext cx="2879092"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Gleichschenkliges Dreieck 46"/>
          <p:cNvSpPr/>
          <p:nvPr userDrawn="1"/>
        </p:nvSpPr>
        <p:spPr bwMode="gray">
          <a:xfrm rot="5400000">
            <a:off x="2684564" y="3769521"/>
            <a:ext cx="2879093"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35922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4: Title (3) &amp; Content (6)">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2"/>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FB49FC10-E749-4C4C-8DA8-5C5C82B618BE}"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464858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5: Title (3) &amp; Content (6) &amp; Box">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A15E654D-F1FE-47BD-AEB4-A952F2E268AF}"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ext Placeholder 17"/>
          <p:cNvSpPr>
            <a:spLocks noGrp="1"/>
          </p:cNvSpPr>
          <p:nvPr>
            <p:ph type="body" sz="quarter" idx="31"/>
          </p:nvPr>
        </p:nvSpPr>
        <p:spPr bwMode="gray">
          <a:xfrm>
            <a:off x="333264" y="5452639"/>
            <a:ext cx="11520000"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9431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332367"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55"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3"/>
          </p:nvPr>
        </p:nvSpPr>
        <p:spPr bwMode="gray">
          <a:xfrm>
            <a:off x="9198313"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7035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479F5AED-CDE6-4CF9-A19E-ACD3A4FD6C29}"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1" name="Straight Connector 40"/>
          <p:cNvCxnSpPr/>
          <p:nvPr userDrawn="1"/>
        </p:nvCxnSpPr>
        <p:spPr bwMode="gray">
          <a:xfrm>
            <a:off x="3138908"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2" name="Straight Connector 41"/>
          <p:cNvCxnSpPr/>
          <p:nvPr userDrawn="1"/>
        </p:nvCxnSpPr>
        <p:spPr bwMode="gray">
          <a:xfrm>
            <a:off x="9047884"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6093396"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06803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17"/>
          <p:cNvSpPr>
            <a:spLocks noGrp="1"/>
          </p:cNvSpPr>
          <p:nvPr>
            <p:ph type="body" sz="quarter" idx="30"/>
          </p:nvPr>
        </p:nvSpPr>
        <p:spPr bwMode="gray">
          <a:xfrm>
            <a:off x="332366" y="5452639"/>
            <a:ext cx="11520897"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31"/>
          </p:nvPr>
        </p:nvSpPr>
        <p:spPr bwMode="gray"/>
        <p:txBody>
          <a:bodyPr/>
          <a:lstStyle/>
          <a:p>
            <a:fld id="{DF793CCD-C37B-40CA-9C03-8963978AEAF0}" type="datetime4">
              <a:rPr lang="en-US" smtClean="0"/>
              <a:t>September 8, 2019</a:t>
            </a:fld>
            <a:endParaRPr lang="en-US"/>
          </a:p>
        </p:txBody>
      </p:sp>
      <p:sp>
        <p:nvSpPr>
          <p:cNvPr id="8" name="Footer Placeholder 7"/>
          <p:cNvSpPr>
            <a:spLocks noGrp="1"/>
          </p:cNvSpPr>
          <p:nvPr>
            <p:ph type="ftr" sz="quarter" idx="32"/>
          </p:nvPr>
        </p:nvSpPr>
        <p:spPr bwMode="gray"/>
        <p:txBody>
          <a:bodyPr/>
          <a:lstStyle/>
          <a:p>
            <a:pPr lvl="8"/>
            <a:endParaRPr lang="en-US"/>
          </a:p>
        </p:txBody>
      </p:sp>
      <p:sp>
        <p:nvSpPr>
          <p:cNvPr id="10" name="Slide Number Placeholder 9"/>
          <p:cNvSpPr>
            <a:spLocks noGrp="1"/>
          </p:cNvSpPr>
          <p:nvPr>
            <p:ph type="sldNum" sz="quarter" idx="33"/>
          </p:nvPr>
        </p:nvSpPr>
        <p:spPr bwMode="gray"/>
        <p:txBody>
          <a:bodyPr/>
          <a:lstStyle/>
          <a:p>
            <a:r>
              <a:rPr lang="en-US"/>
              <a:t>Slide </a:t>
            </a:r>
            <a:fld id="{619F89D8-7AE3-494A-97F3-03D680869632}" type="slidenum">
              <a:rPr lang="en-US" smtClean="0"/>
              <a:pPr/>
              <a:t>‹#›</a:t>
            </a:fld>
            <a:endParaRPr lang="en-US"/>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2" name="Straight Connector 41"/>
          <p:cNvCxnSpPr/>
          <p:nvPr userDrawn="1"/>
        </p:nvCxnSpPr>
        <p:spPr bwMode="gray">
          <a:xfrm>
            <a:off x="3138908"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9047884"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4" name="Straight Connector 43"/>
          <p:cNvCxnSpPr/>
          <p:nvPr userDrawn="1"/>
        </p:nvCxnSpPr>
        <p:spPr bwMode="gray">
          <a:xfrm>
            <a:off x="6093396"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39610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4: Title Slide 4">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B2700944-6025-4F80-81BC-681F78B992C2}"/>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3741975" y="582345"/>
            <a:ext cx="5008674" cy="4289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3238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39: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50004" y="1931197"/>
            <a:ext cx="5603523"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5602537"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946688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40: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4259985"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3643200"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4118225"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8056756"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4" name="Content Placeholder 3"/>
          <p:cNvSpPr>
            <a:spLocks noGrp="1"/>
          </p:cNvSpPr>
          <p:nvPr>
            <p:ph sz="quarter" idx="22"/>
          </p:nvPr>
        </p:nvSpPr>
        <p:spPr bwMode="gray">
          <a:xfrm>
            <a:off x="8210327"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118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1: Content (8)">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527" y="3925094"/>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fld id="{32E27045-0511-42A6-9AC3-A3212EB42885}" type="datetime4">
              <a:rPr lang="en-US" smtClean="0"/>
              <a:t>September 8, 2019</a:t>
            </a:fld>
            <a:endParaRPr lang="en-US"/>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995358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42: Title (4) &amp; Content (4)">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333264"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333264" y="4432235"/>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5605200" cy="148487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fld id="{86C11801-1BEF-46D9-879F-590C601D8597}" type="datetime4">
              <a:rPr lang="en-US" smtClean="0"/>
              <a:t>September 8, 2019</a:t>
            </a:fld>
            <a:endParaRPr lang="en-US"/>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333264"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2317641"/>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Text Placeholder 11"/>
          <p:cNvSpPr>
            <a:spLocks noGrp="1"/>
          </p:cNvSpPr>
          <p:nvPr>
            <p:ph type="body" sz="quarter" idx="22"/>
          </p:nvPr>
        </p:nvSpPr>
        <p:spPr bwMode="gray">
          <a:xfrm>
            <a:off x="6248045" y="404397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4"/>
          <p:cNvCxnSpPr/>
          <p:nvPr userDrawn="1"/>
        </p:nvCxnSpPr>
        <p:spPr bwMode="gray">
          <a:xfrm>
            <a:off x="6248045" y="4351954"/>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Content Placeholder 15"/>
          <p:cNvSpPr>
            <a:spLocks noGrp="1"/>
          </p:cNvSpPr>
          <p:nvPr>
            <p:ph sz="quarter" idx="23"/>
          </p:nvPr>
        </p:nvSpPr>
        <p:spPr bwMode="gray">
          <a:xfrm>
            <a:off x="6248045" y="4430420"/>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107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3: Content (4)">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1931195"/>
            <a:ext cx="0" cy="398224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8" name="Straight Connector 17"/>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6234129"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4129"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fld id="{32E27045-0511-42A6-9AC3-A3212EB42885}" type="datetime4">
              <a:rPr lang="en-US" smtClean="0"/>
              <a:t>September 8, 2019</a:t>
            </a:fld>
            <a:endParaRPr lang="en-US"/>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08028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4: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33326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1"/>
          </p:nvPr>
        </p:nvSpPr>
        <p:spPr bwMode="gray">
          <a:xfrm>
            <a:off x="623234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234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24"/>
          </p:nvPr>
        </p:nvSpPr>
        <p:spPr bwMode="gray">
          <a:xfrm>
            <a:off x="332367" y="5452639"/>
            <a:ext cx="11521160"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Straight Connector 22"/>
          <p:cNvCxnSpPr/>
          <p:nvPr userDrawn="1"/>
        </p:nvCxnSpPr>
        <p:spPr bwMode="gray">
          <a:xfrm>
            <a:off x="333527" y="359990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 name="Date Placeholder 2"/>
          <p:cNvSpPr>
            <a:spLocks noGrp="1"/>
          </p:cNvSpPr>
          <p:nvPr>
            <p:ph type="dt" sz="half" idx="25"/>
          </p:nvPr>
        </p:nvSpPr>
        <p:spPr bwMode="gray"/>
        <p:txBody>
          <a:bodyPr/>
          <a:lstStyle/>
          <a:p>
            <a:fld id="{6E7D5807-0F83-4687-8EA8-403E998DE912}" type="datetime4">
              <a:rPr lang="en-US" smtClean="0"/>
              <a:t>September 8, 2019</a:t>
            </a:fld>
            <a:endParaRPr lang="en-US"/>
          </a:p>
        </p:txBody>
      </p:sp>
      <p:sp>
        <p:nvSpPr>
          <p:cNvPr id="4" name="Footer Placeholder 3"/>
          <p:cNvSpPr>
            <a:spLocks noGrp="1"/>
          </p:cNvSpPr>
          <p:nvPr>
            <p:ph type="ftr" sz="quarter" idx="26"/>
          </p:nvPr>
        </p:nvSpPr>
        <p:spPr bwMode="gray"/>
        <p:txBody>
          <a:bodyPr/>
          <a:lstStyle/>
          <a:p>
            <a:pPr lvl="8"/>
            <a:endParaRPr lang="en-US"/>
          </a:p>
        </p:txBody>
      </p:sp>
      <p:sp>
        <p:nvSpPr>
          <p:cNvPr id="5" name="Slide Number Placeholder 4"/>
          <p:cNvSpPr>
            <a:spLocks noGrp="1"/>
          </p:cNvSpPr>
          <p:nvPr>
            <p:ph type="sldNum" sz="quarter" idx="27"/>
          </p:nvPr>
        </p:nvSpPr>
        <p:spPr bwMode="gray"/>
        <p:txBody>
          <a:bodyPr/>
          <a:lstStyle/>
          <a:p>
            <a:r>
              <a:rPr lang="en-US"/>
              <a:t>Slide </a:t>
            </a:r>
            <a:fld id="{619F89D8-7AE3-494A-97F3-03D680869632}" type="slidenum">
              <a:rPr lang="en-US" smtClean="0"/>
              <a:pPr/>
              <a:t>‹#›</a:t>
            </a:fld>
            <a:endParaRPr lang="en-US"/>
          </a:p>
        </p:txBody>
      </p:sp>
      <p:cxnSp>
        <p:nvCxnSpPr>
          <p:cNvPr id="14" name="Straight Connector 13"/>
          <p:cNvCxnSpPr/>
          <p:nvPr userDrawn="1"/>
        </p:nvCxnSpPr>
        <p:spPr bwMode="gray">
          <a:xfrm>
            <a:off x="6095999" y="1931195"/>
            <a:ext cx="0" cy="333742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265724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5: Title (2) &amp;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993324"/>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1798" y="3921919"/>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582" y="1931196"/>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582" y="3993324"/>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fld id="{D7448BAD-718D-41D5-B039-249ED06F3A4A}" type="datetime4">
              <a:rPr lang="en-US" smtClean="0"/>
              <a:t>September 8, 2019</a:t>
            </a:fld>
            <a:endParaRPr lang="en-US"/>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5980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46: Title (3)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305949"/>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680702"/>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866" y="3235138"/>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p:cNvCxnSpPr/>
          <p:nvPr userDrawn="1"/>
        </p:nvCxnSpPr>
        <p:spPr bwMode="gray">
          <a:xfrm>
            <a:off x="2554866" y="4611082"/>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367" y="1931196"/>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367" y="3305949"/>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userDrawn="1">
            <p:ph sz="quarter" idx="25"/>
          </p:nvPr>
        </p:nvSpPr>
        <p:spPr bwMode="gray">
          <a:xfrm>
            <a:off x="332367" y="4680702"/>
            <a:ext cx="1917663"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fld id="{D7448BAD-718D-41D5-B039-249ED06F3A4A}" type="datetime4">
              <a:rPr lang="en-US" smtClean="0"/>
              <a:t>September 8, 2019</a:t>
            </a:fld>
            <a:endParaRPr lang="en-US"/>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0429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47: Title (3) &amp; Content (3)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305949"/>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680702"/>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2554464" y="461108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6"/>
          </p:nvPr>
        </p:nvSpPr>
        <p:spPr bwMode="gray"/>
        <p:txBody>
          <a:bodyPr/>
          <a:lstStyle/>
          <a:p>
            <a:fld id="{D7448BAD-718D-41D5-B039-249ED06F3A4A}" type="datetime4">
              <a:rPr lang="en-US" smtClean="0"/>
              <a:t>September 8, 2019</a:t>
            </a:fld>
            <a:endParaRPr lang="en-US"/>
          </a:p>
        </p:txBody>
      </p:sp>
      <p:sp>
        <p:nvSpPr>
          <p:cNvPr id="4" name="Footer Placeholder 3"/>
          <p:cNvSpPr>
            <a:spLocks noGrp="1"/>
          </p:cNvSpPr>
          <p:nvPr>
            <p:ph type="ftr" sz="quarter" idx="27"/>
          </p:nvPr>
        </p:nvSpPr>
        <p:spPr bwMode="gray"/>
        <p:txBody>
          <a:bodyPr/>
          <a:lstStyle/>
          <a:p>
            <a:pPr lvl="8"/>
            <a:endParaRPr lang="en-US"/>
          </a:p>
        </p:txBody>
      </p:sp>
      <p:sp>
        <p:nvSpPr>
          <p:cNvPr id="5" name="Slide Number Placeholder 4"/>
          <p:cNvSpPr>
            <a:spLocks noGrp="1"/>
          </p:cNvSpPr>
          <p:nvPr>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52608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de-DE"/>
          </a:p>
        </p:txBody>
      </p:sp>
      <p:sp>
        <p:nvSpPr>
          <p:cNvPr id="4" name="Date Placeholder 3"/>
          <p:cNvSpPr>
            <a:spLocks noGrp="1"/>
          </p:cNvSpPr>
          <p:nvPr>
            <p:ph type="dt" sz="half" idx="11"/>
          </p:nvPr>
        </p:nvSpPr>
        <p:spPr/>
        <p:txBody>
          <a:bodyPr/>
          <a:lstStyle/>
          <a:p>
            <a:fld id="{B2016A11-4950-4F3F-938B-45DEE5F72969}" type="datetime4">
              <a:rPr lang="en-US" smtClean="0"/>
              <a:pPr/>
              <a:t>September 8, 2019</a:t>
            </a:fld>
            <a:endParaRPr lang="en-US"/>
          </a:p>
        </p:txBody>
      </p:sp>
      <p:sp>
        <p:nvSpPr>
          <p:cNvPr id="5" name="Slide Number Placeholder 4"/>
          <p:cNvSpPr>
            <a:spLocks noGrp="1"/>
          </p:cNvSpPr>
          <p:nvPr>
            <p:ph type="sldNum" sz="quarter" idx="12"/>
          </p:nvPr>
        </p:nvSpPr>
        <p:spPr/>
        <p:txBody>
          <a:bodyPr/>
          <a:lstStyle/>
          <a:p>
            <a:r>
              <a:rPr lang="en-US"/>
              <a:t>Slide </a:t>
            </a:r>
            <a:fld id="{619F89D8-7AE3-494A-97F3-03D680869632}" type="slidenum">
              <a:rPr lang="en-US" smtClean="0"/>
              <a:pPr/>
              <a:t>‹#›</a:t>
            </a:fld>
            <a:endParaRPr lang="en-US"/>
          </a:p>
        </p:txBody>
      </p:sp>
      <p:sp>
        <p:nvSpPr>
          <p:cNvPr id="6" name="Content Placeholder 3"/>
          <p:cNvSpPr>
            <a:spLocks noGrp="1"/>
          </p:cNvSpPr>
          <p:nvPr>
            <p:ph sz="quarter" idx="20"/>
          </p:nvPr>
        </p:nvSpPr>
        <p:spPr bwMode="gray">
          <a:xfrm>
            <a:off x="2553273" y="1931196"/>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8" name="Content Placeholder 3"/>
          <p:cNvSpPr>
            <a:spLocks noGrp="1"/>
          </p:cNvSpPr>
          <p:nvPr>
            <p:ph sz="quarter" idx="21"/>
          </p:nvPr>
        </p:nvSpPr>
        <p:spPr bwMode="gray">
          <a:xfrm>
            <a:off x="2553273" y="3305949"/>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335386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4: Title Slide 4">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81F8186-B6A7-4816-8FB8-FD6EB66B5996}"/>
              </a:ext>
            </a:extLst>
          </p:cNvPr>
          <p:cNvGrpSpPr/>
          <p:nvPr userDrawn="1"/>
        </p:nvGrpSpPr>
        <p:grpSpPr>
          <a:xfrm>
            <a:off x="3971519" y="609633"/>
            <a:ext cx="4143780" cy="3990571"/>
            <a:chOff x="3971519" y="609633"/>
            <a:chExt cx="4143780" cy="3990571"/>
          </a:xfrm>
        </p:grpSpPr>
        <p:pic>
          <p:nvPicPr>
            <p:cNvPr id="16" name="Picture 15" descr="AO2060_3Drechts_hires">
              <a:extLst>
                <a:ext uri="{FF2B5EF4-FFF2-40B4-BE49-F238E27FC236}">
                  <a16:creationId xmlns:a16="http://schemas.microsoft.com/office/drawing/2014/main" id="{C8225D25-3572-4EA6-870D-BE58AE89C3D8}"/>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971519" y="1307085"/>
              <a:ext cx="2116313" cy="2808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6" descr="EL3060_3dr_O2">
              <a:extLst>
                <a:ext uri="{FF2B5EF4-FFF2-40B4-BE49-F238E27FC236}">
                  <a16:creationId xmlns:a16="http://schemas.microsoft.com/office/drawing/2014/main" id="{84702F7C-9236-4E01-8E2C-6B493972325A}"/>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029676" y="609633"/>
              <a:ext cx="3085623" cy="399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689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48: Title (3) &amp; Content (3) &amp; Box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464" y="301966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091669"/>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252143"/>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2554464" y="418014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3091669"/>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4252143"/>
            <a:ext cx="1916766" cy="101647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1"/>
          <p:cNvSpPr>
            <a:spLocks noGrp="1"/>
          </p:cNvSpPr>
          <p:nvPr>
            <p:ph type="body" sz="quarter" idx="26"/>
          </p:nvPr>
        </p:nvSpPr>
        <p:spPr bwMode="gray">
          <a:xfrm>
            <a:off x="332366"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7"/>
          </p:nvPr>
        </p:nvSpPr>
        <p:spPr bwMode="gray"/>
        <p:txBody>
          <a:bodyPr/>
          <a:lstStyle/>
          <a:p>
            <a:fld id="{AFC62351-A650-4DF6-986F-78B25B039145}" type="datetime4">
              <a:rPr lang="en-US" smtClean="0"/>
              <a:t>September 8, 2019</a:t>
            </a:fld>
            <a:endParaRPr lang="en-US"/>
          </a:p>
        </p:txBody>
      </p:sp>
      <p:sp>
        <p:nvSpPr>
          <p:cNvPr id="4" name="Footer Placeholder 3"/>
          <p:cNvSpPr>
            <a:spLocks noGrp="1"/>
          </p:cNvSpPr>
          <p:nvPr>
            <p:ph type="ftr" sz="quarter" idx="28"/>
          </p:nvPr>
        </p:nvSpPr>
        <p:spPr bwMode="gray"/>
        <p:txBody>
          <a:bodyPr/>
          <a:lstStyle/>
          <a:p>
            <a:pPr lvl="8"/>
            <a:endParaRPr lang="en-US"/>
          </a:p>
        </p:txBody>
      </p:sp>
      <p:sp>
        <p:nvSpPr>
          <p:cNvPr id="5" name="Slide Number Placeholder 4"/>
          <p:cNvSpPr>
            <a:spLocks noGrp="1"/>
          </p:cNvSpPr>
          <p:nvPr>
            <p:ph type="sldNum" sz="quarter" idx="29"/>
          </p:nvPr>
        </p:nvSpPr>
        <p:spPr bwMode="gray"/>
        <p:txBody>
          <a:bodyPr/>
          <a:lstStyle/>
          <a:p>
            <a:r>
              <a:rPr lang="en-US"/>
              <a:t>Slide </a:t>
            </a:r>
            <a:fld id="{619F89D8-7AE3-494A-97F3-03D680869632}" type="slidenum">
              <a:rPr lang="en-US" smtClean="0"/>
              <a:pPr/>
              <a:t>‹#›</a:t>
            </a:fld>
            <a:endParaRPr lang="en-US"/>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047956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9: Title (4) &amp; Content (4) &amp; Box / Number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818583" y="1931198"/>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21"/>
          </p:nvPr>
        </p:nvSpPr>
        <p:spPr bwMode="gray">
          <a:xfrm>
            <a:off x="2818583" y="2801554"/>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2"/>
          </p:nvPr>
        </p:nvSpPr>
        <p:spPr bwMode="gray">
          <a:xfrm>
            <a:off x="2818583" y="3671910"/>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6"/>
          </p:nvPr>
        </p:nvSpPr>
        <p:spPr bwMode="gray">
          <a:xfrm>
            <a:off x="332367"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3"/>
          <p:cNvSpPr>
            <a:spLocks noGrp="1"/>
          </p:cNvSpPr>
          <p:nvPr>
            <p:ph sz="quarter" idx="27"/>
          </p:nvPr>
        </p:nvSpPr>
        <p:spPr bwMode="gray">
          <a:xfrm>
            <a:off x="332582" y="1931198"/>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
          <p:cNvSpPr>
            <a:spLocks noGrp="1"/>
          </p:cNvSpPr>
          <p:nvPr>
            <p:ph sz="quarter" idx="28"/>
          </p:nvPr>
        </p:nvSpPr>
        <p:spPr bwMode="gray">
          <a:xfrm>
            <a:off x="332582" y="2801554"/>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9"/>
          </p:nvPr>
        </p:nvSpPr>
        <p:spPr bwMode="gray">
          <a:xfrm>
            <a:off x="332582" y="3671910"/>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30"/>
          </p:nvPr>
        </p:nvSpPr>
        <p:spPr bwMode="gray">
          <a:xfrm>
            <a:off x="2818583" y="4542265"/>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3"/>
          <p:cNvSpPr>
            <a:spLocks noGrp="1"/>
          </p:cNvSpPr>
          <p:nvPr>
            <p:ph sz="quarter" idx="31"/>
          </p:nvPr>
        </p:nvSpPr>
        <p:spPr bwMode="gray">
          <a:xfrm>
            <a:off x="332582" y="4542265"/>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9" name="Straight Connector 13"/>
          <p:cNvCxnSpPr/>
          <p:nvPr userDrawn="1"/>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14"/>
          <p:cNvCxnSpPr/>
          <p:nvPr userDrawn="1"/>
        </p:nvCxnSpPr>
        <p:spPr bwMode="gray">
          <a:xfrm>
            <a:off x="1779054" y="31645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13"/>
          <p:cNvCxnSpPr/>
          <p:nvPr userDrawn="1"/>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4"/>
          <p:cNvCxnSpPr/>
          <p:nvPr userDrawn="1"/>
        </p:nvCxnSpPr>
        <p:spPr bwMode="gray">
          <a:xfrm>
            <a:off x="1778487" y="4905862"/>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13"/>
          <p:cNvCxnSpPr/>
          <p:nvPr userDrawn="1"/>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14"/>
          <p:cNvCxnSpPr/>
          <p:nvPr userDrawn="1"/>
        </p:nvCxnSpPr>
        <p:spPr bwMode="gray">
          <a:xfrm>
            <a:off x="1779502" y="2293948"/>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3"/>
          <p:cNvCxnSpPr/>
          <p:nvPr userDrawn="1"/>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4"/>
          <p:cNvCxnSpPr/>
          <p:nvPr userDrawn="1"/>
        </p:nvCxnSpPr>
        <p:spPr bwMode="gray">
          <a:xfrm>
            <a:off x="1778487" y="4035224"/>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bwMode="gray">
          <a:xfrm>
            <a:off x="2072427"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2" name="Straight Connector 51"/>
          <p:cNvCxnSpPr/>
          <p:nvPr userDrawn="1"/>
        </p:nvCxnSpPr>
        <p:spPr bwMode="gray">
          <a:xfrm>
            <a:off x="2072427"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userDrawn="1"/>
        </p:nvCxnSpPr>
        <p:spPr bwMode="gray">
          <a:xfrm>
            <a:off x="2072427"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 name="Date Placeholder 3"/>
          <p:cNvSpPr>
            <a:spLocks noGrp="1"/>
          </p:cNvSpPr>
          <p:nvPr userDrawn="1">
            <p:ph type="dt" sz="half" idx="32"/>
          </p:nvPr>
        </p:nvSpPr>
        <p:spPr bwMode="gray"/>
        <p:txBody>
          <a:bodyPr/>
          <a:lstStyle/>
          <a:p>
            <a:fld id="{ED4418A7-E8E0-42C3-AC0C-9BF91949BA0B}" type="datetime4">
              <a:rPr lang="en-US" smtClean="0"/>
              <a:t>September 8, 2019</a:t>
            </a:fld>
            <a:endParaRPr lang="en-US"/>
          </a:p>
        </p:txBody>
      </p:sp>
      <p:sp>
        <p:nvSpPr>
          <p:cNvPr id="5" name="Footer Placeholder 4"/>
          <p:cNvSpPr>
            <a:spLocks noGrp="1"/>
          </p:cNvSpPr>
          <p:nvPr userDrawn="1">
            <p:ph type="ftr" sz="quarter" idx="33"/>
          </p:nvPr>
        </p:nvSpPr>
        <p:spPr bwMode="gray"/>
        <p:txBody>
          <a:bodyPr/>
          <a:lstStyle/>
          <a:p>
            <a:pPr lvl="8"/>
            <a:endParaRPr lang="en-US"/>
          </a:p>
        </p:txBody>
      </p:sp>
      <p:sp>
        <p:nvSpPr>
          <p:cNvPr id="6" name="Slide Number Placeholder 5"/>
          <p:cNvSpPr>
            <a:spLocks noGrp="1"/>
          </p:cNvSpPr>
          <p:nvPr userDrawn="1">
            <p:ph type="sldNum" sz="quarter" idx="34"/>
          </p:nvPr>
        </p:nvSpPr>
        <p:spPr bwMode="gray"/>
        <p:txBody>
          <a:bodyPr/>
          <a:lstStyle/>
          <a:p>
            <a:r>
              <a:rPr lang="en-US"/>
              <a:t>Slide </a:t>
            </a:r>
            <a:fld id="{619F89D8-7AE3-494A-97F3-03D680869632}" type="slidenum">
              <a:rPr lang="en-US" smtClean="0"/>
              <a:pPr/>
              <a:t>‹#›</a:t>
            </a:fld>
            <a:endParaRPr lang="en-US"/>
          </a:p>
        </p:txBody>
      </p:sp>
      <p:sp>
        <p:nvSpPr>
          <p:cNvPr id="34"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Content Placeholder 6"/>
          <p:cNvSpPr>
            <a:spLocks noGrp="1"/>
          </p:cNvSpPr>
          <p:nvPr>
            <p:ph sz="quarter" idx="35" hasCustomPrompt="1"/>
          </p:nvPr>
        </p:nvSpPr>
        <p:spPr>
          <a:xfrm>
            <a:off x="2218077" y="210006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1</a:t>
            </a:r>
            <a:endParaRPr lang="en-GB"/>
          </a:p>
        </p:txBody>
      </p:sp>
      <p:sp>
        <p:nvSpPr>
          <p:cNvPr id="54" name="Content Placeholder 6"/>
          <p:cNvSpPr>
            <a:spLocks noGrp="1"/>
          </p:cNvSpPr>
          <p:nvPr>
            <p:ph sz="quarter" idx="36" hasCustomPrompt="1"/>
          </p:nvPr>
        </p:nvSpPr>
        <p:spPr>
          <a:xfrm>
            <a:off x="2218077" y="29719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2</a:t>
            </a:r>
            <a:endParaRPr lang="en-GB"/>
          </a:p>
        </p:txBody>
      </p:sp>
      <p:sp>
        <p:nvSpPr>
          <p:cNvPr id="55" name="Content Placeholder 6"/>
          <p:cNvSpPr>
            <a:spLocks noGrp="1"/>
          </p:cNvSpPr>
          <p:nvPr>
            <p:ph sz="quarter" idx="37" hasCustomPrompt="1"/>
          </p:nvPr>
        </p:nvSpPr>
        <p:spPr>
          <a:xfrm>
            <a:off x="2218077" y="384341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3</a:t>
            </a:r>
            <a:endParaRPr lang="en-GB"/>
          </a:p>
        </p:txBody>
      </p:sp>
      <p:sp>
        <p:nvSpPr>
          <p:cNvPr id="56" name="Content Placeholder 6"/>
          <p:cNvSpPr>
            <a:spLocks noGrp="1"/>
          </p:cNvSpPr>
          <p:nvPr>
            <p:ph sz="quarter" idx="38" hasCustomPrompt="1"/>
          </p:nvPr>
        </p:nvSpPr>
        <p:spPr>
          <a:xfrm>
            <a:off x="2218077" y="4708172"/>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4</a:t>
            </a:r>
            <a:endParaRPr lang="en-GB"/>
          </a:p>
        </p:txBody>
      </p:sp>
      <p:sp>
        <p:nvSpPr>
          <p:cNvPr id="31" name="Content Placeholder 10"/>
          <p:cNvSpPr>
            <a:spLocks noGrp="1"/>
          </p:cNvSpPr>
          <p:nvPr>
            <p:ph sz="quarter" idx="39"/>
          </p:nvPr>
        </p:nvSpPr>
        <p:spPr>
          <a:xfrm>
            <a:off x="484982" y="4694665"/>
            <a:ext cx="1535879" cy="726353"/>
          </a:xfrm>
        </p:spPr>
        <p:txBody>
          <a:bodyPr/>
          <a:lstStyle/>
          <a:p>
            <a:endParaRPr lang="en-US"/>
          </a:p>
        </p:txBody>
      </p:sp>
    </p:spTree>
    <p:extLst>
      <p:ext uri="{BB962C8B-B14F-4D97-AF65-F5344CB8AC3E}">
        <p14:creationId xmlns:p14="http://schemas.microsoft.com/office/powerpoint/2010/main" val="2995344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de-DE"/>
          </a:p>
        </p:txBody>
      </p:sp>
      <p:sp>
        <p:nvSpPr>
          <p:cNvPr id="4" name="Date Placeholder 3"/>
          <p:cNvSpPr>
            <a:spLocks noGrp="1"/>
          </p:cNvSpPr>
          <p:nvPr>
            <p:ph type="dt" sz="half" idx="11"/>
          </p:nvPr>
        </p:nvSpPr>
        <p:spPr/>
        <p:txBody>
          <a:bodyPr/>
          <a:lstStyle/>
          <a:p>
            <a:fld id="{B2016A11-4950-4F3F-938B-45DEE5F72969}" type="datetime4">
              <a:rPr lang="en-US" smtClean="0"/>
              <a:pPr/>
              <a:t>September 8, 2019</a:t>
            </a:fld>
            <a:endParaRPr lang="en-US"/>
          </a:p>
        </p:txBody>
      </p:sp>
      <p:sp>
        <p:nvSpPr>
          <p:cNvPr id="5" name="Slide Number Placeholder 4"/>
          <p:cNvSpPr>
            <a:spLocks noGrp="1"/>
          </p:cNvSpPr>
          <p:nvPr>
            <p:ph type="sldNum" sz="quarter" idx="12"/>
          </p:nvPr>
        </p:nvSpPr>
        <p:spPr/>
        <p:txBody>
          <a:bodyPr/>
          <a:lstStyle/>
          <a:p>
            <a:r>
              <a:rPr lang="en-US"/>
              <a:t>Slide </a:t>
            </a:r>
            <a:fld id="{619F89D8-7AE3-494A-97F3-03D680869632}" type="slidenum">
              <a:rPr lang="en-US" smtClean="0"/>
              <a:pPr/>
              <a:t>‹#›</a:t>
            </a:fld>
            <a:endParaRPr lang="en-US"/>
          </a:p>
        </p:txBody>
      </p:sp>
      <p:sp>
        <p:nvSpPr>
          <p:cNvPr id="6" name="Content Placeholder 3"/>
          <p:cNvSpPr>
            <a:spLocks noGrp="1"/>
          </p:cNvSpPr>
          <p:nvPr>
            <p:ph sz="quarter" idx="20"/>
          </p:nvPr>
        </p:nvSpPr>
        <p:spPr bwMode="gray">
          <a:xfrm>
            <a:off x="2818583" y="1988348"/>
            <a:ext cx="9034681" cy="648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p:cNvSpPr>
            <a:spLocks noGrp="1"/>
          </p:cNvSpPr>
          <p:nvPr>
            <p:ph sz="quarter" idx="21"/>
          </p:nvPr>
        </p:nvSpPr>
        <p:spPr bwMode="gray">
          <a:xfrm>
            <a:off x="2818583" y="2792029"/>
            <a:ext cx="9034681" cy="648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quarter" idx="22"/>
          </p:nvPr>
        </p:nvSpPr>
        <p:spPr bwMode="gray">
          <a:xfrm>
            <a:off x="2818583" y="3595710"/>
            <a:ext cx="9034681" cy="648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quarter" idx="27"/>
          </p:nvPr>
        </p:nvSpPr>
        <p:spPr bwMode="gray">
          <a:xfrm>
            <a:off x="332582" y="1988348"/>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p:cNvSpPr>
            <a:spLocks noGrp="1"/>
          </p:cNvSpPr>
          <p:nvPr>
            <p:ph sz="quarter" idx="28"/>
          </p:nvPr>
        </p:nvSpPr>
        <p:spPr bwMode="gray">
          <a:xfrm>
            <a:off x="332582" y="2792029"/>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9"/>
          </p:nvPr>
        </p:nvSpPr>
        <p:spPr bwMode="gray">
          <a:xfrm>
            <a:off x="332582" y="3595710"/>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30"/>
          </p:nvPr>
        </p:nvSpPr>
        <p:spPr bwMode="gray">
          <a:xfrm>
            <a:off x="2818583" y="4408915"/>
            <a:ext cx="9034681" cy="648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31"/>
          </p:nvPr>
        </p:nvSpPr>
        <p:spPr bwMode="gray">
          <a:xfrm>
            <a:off x="332582" y="4408915"/>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1999567" y="2791461"/>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p:cNvCxnSpPr/>
          <p:nvPr userDrawn="1"/>
        </p:nvCxnSpPr>
        <p:spPr bwMode="gray">
          <a:xfrm>
            <a:off x="1779054" y="31264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3"/>
          <p:cNvCxnSpPr/>
          <p:nvPr userDrawn="1"/>
        </p:nvCxnSpPr>
        <p:spPr bwMode="gray">
          <a:xfrm>
            <a:off x="1999567" y="4408912"/>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4"/>
          <p:cNvCxnSpPr/>
          <p:nvPr userDrawn="1"/>
        </p:nvCxnSpPr>
        <p:spPr bwMode="gray">
          <a:xfrm>
            <a:off x="1778487" y="4743937"/>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3"/>
          <p:cNvCxnSpPr/>
          <p:nvPr userDrawn="1"/>
        </p:nvCxnSpPr>
        <p:spPr bwMode="gray">
          <a:xfrm>
            <a:off x="1999567" y="1987498"/>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4"/>
          <p:cNvCxnSpPr/>
          <p:nvPr userDrawn="1"/>
        </p:nvCxnSpPr>
        <p:spPr bwMode="gray">
          <a:xfrm>
            <a:off x="1779502" y="2322523"/>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3"/>
          <p:cNvCxnSpPr/>
          <p:nvPr userDrawn="1"/>
        </p:nvCxnSpPr>
        <p:spPr bwMode="gray">
          <a:xfrm>
            <a:off x="1999568" y="3595424"/>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14"/>
          <p:cNvCxnSpPr/>
          <p:nvPr userDrawn="1"/>
        </p:nvCxnSpPr>
        <p:spPr bwMode="gray">
          <a:xfrm>
            <a:off x="1778487" y="3930449"/>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bwMode="gray">
          <a:xfrm>
            <a:off x="2072427" y="272002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2072427" y="35237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2072427" y="433690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Content Placeholder 6"/>
          <p:cNvSpPr>
            <a:spLocks noGrp="1"/>
          </p:cNvSpPr>
          <p:nvPr>
            <p:ph sz="quarter" idx="35" hasCustomPrompt="1"/>
          </p:nvPr>
        </p:nvSpPr>
        <p:spPr>
          <a:xfrm>
            <a:off x="2218077" y="212863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1</a:t>
            </a:r>
            <a:endParaRPr lang="en-GB"/>
          </a:p>
        </p:txBody>
      </p:sp>
      <p:sp>
        <p:nvSpPr>
          <p:cNvPr id="26" name="Content Placeholder 6"/>
          <p:cNvSpPr>
            <a:spLocks noGrp="1"/>
          </p:cNvSpPr>
          <p:nvPr>
            <p:ph sz="quarter" idx="36" hasCustomPrompt="1"/>
          </p:nvPr>
        </p:nvSpPr>
        <p:spPr>
          <a:xfrm>
            <a:off x="2218077" y="29338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2</a:t>
            </a:r>
            <a:endParaRPr lang="en-GB"/>
          </a:p>
        </p:txBody>
      </p:sp>
      <p:sp>
        <p:nvSpPr>
          <p:cNvPr id="27" name="Content Placeholder 6"/>
          <p:cNvSpPr>
            <a:spLocks noGrp="1"/>
          </p:cNvSpPr>
          <p:nvPr>
            <p:ph sz="quarter" idx="37" hasCustomPrompt="1"/>
          </p:nvPr>
        </p:nvSpPr>
        <p:spPr>
          <a:xfrm>
            <a:off x="2218077" y="373864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3</a:t>
            </a:r>
            <a:endParaRPr lang="en-GB"/>
          </a:p>
        </p:txBody>
      </p:sp>
      <p:sp>
        <p:nvSpPr>
          <p:cNvPr id="28" name="Content Placeholder 6"/>
          <p:cNvSpPr>
            <a:spLocks noGrp="1"/>
          </p:cNvSpPr>
          <p:nvPr>
            <p:ph sz="quarter" idx="38" hasCustomPrompt="1"/>
          </p:nvPr>
        </p:nvSpPr>
        <p:spPr>
          <a:xfrm>
            <a:off x="2218077" y="4546247"/>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4</a:t>
            </a:r>
            <a:endParaRPr lang="en-GB"/>
          </a:p>
        </p:txBody>
      </p:sp>
      <p:sp>
        <p:nvSpPr>
          <p:cNvPr id="30" name="Content Placeholder 3"/>
          <p:cNvSpPr>
            <a:spLocks noGrp="1"/>
          </p:cNvSpPr>
          <p:nvPr>
            <p:ph sz="quarter" idx="40"/>
          </p:nvPr>
        </p:nvSpPr>
        <p:spPr bwMode="gray">
          <a:xfrm>
            <a:off x="2818368" y="5227851"/>
            <a:ext cx="9034681" cy="648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3"/>
          <p:cNvSpPr>
            <a:spLocks noGrp="1"/>
          </p:cNvSpPr>
          <p:nvPr>
            <p:ph sz="quarter" idx="41"/>
          </p:nvPr>
        </p:nvSpPr>
        <p:spPr bwMode="gray">
          <a:xfrm>
            <a:off x="332367" y="5227851"/>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2" name="Straight Connector 13"/>
          <p:cNvCxnSpPr/>
          <p:nvPr userDrawn="1"/>
        </p:nvCxnSpPr>
        <p:spPr bwMode="gray">
          <a:xfrm>
            <a:off x="1999352" y="5227848"/>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14"/>
          <p:cNvCxnSpPr/>
          <p:nvPr userDrawn="1"/>
        </p:nvCxnSpPr>
        <p:spPr bwMode="gray">
          <a:xfrm>
            <a:off x="1778272" y="5562873"/>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bwMode="gray">
          <a:xfrm>
            <a:off x="2072212" y="5155845"/>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6"/>
          <p:cNvSpPr>
            <a:spLocks noGrp="1"/>
          </p:cNvSpPr>
          <p:nvPr>
            <p:ph sz="quarter" idx="42" hasCustomPrompt="1"/>
          </p:nvPr>
        </p:nvSpPr>
        <p:spPr>
          <a:xfrm>
            <a:off x="2217862" y="5365183"/>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de-DE"/>
              <a:t>5</a:t>
            </a:r>
            <a:endParaRPr lang="en-GB"/>
          </a:p>
        </p:txBody>
      </p:sp>
      <p:sp>
        <p:nvSpPr>
          <p:cNvPr id="36"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09733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50: Matrix">
    <p:spTree>
      <p:nvGrpSpPr>
        <p:cNvPr id="1" name=""/>
        <p:cNvGrpSpPr/>
        <p:nvPr/>
      </p:nvGrpSpPr>
      <p:grpSpPr>
        <a:xfrm>
          <a:off x="0" y="0"/>
          <a:ext cx="0" cy="0"/>
          <a:chOff x="0" y="0"/>
          <a:chExt cx="0" cy="0"/>
        </a:xfrm>
      </p:grpSpPr>
      <p:sp>
        <p:nvSpPr>
          <p:cNvPr id="37" name="Text Placeholder 11"/>
          <p:cNvSpPr>
            <a:spLocks noGrp="1"/>
          </p:cNvSpPr>
          <p:nvPr>
            <p:ph type="body" sz="quarter" idx="26"/>
          </p:nvPr>
        </p:nvSpPr>
        <p:spPr bwMode="gray">
          <a:xfrm>
            <a:off x="2553272" y="1931194"/>
            <a:ext cx="289909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11"/>
          <p:cNvSpPr>
            <a:spLocks noGrp="1"/>
          </p:cNvSpPr>
          <p:nvPr>
            <p:ph type="body" sz="quarter" idx="27"/>
          </p:nvPr>
        </p:nvSpPr>
        <p:spPr bwMode="gray">
          <a:xfrm>
            <a:off x="575494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11"/>
          <p:cNvSpPr>
            <a:spLocks noGrp="1"/>
          </p:cNvSpPr>
          <p:nvPr>
            <p:ph type="body" sz="quarter" idx="28"/>
          </p:nvPr>
        </p:nvSpPr>
        <p:spPr bwMode="gray">
          <a:xfrm>
            <a:off x="895552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553272" y="2317748"/>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1"/>
          </p:nvPr>
        </p:nvSpPr>
        <p:spPr bwMode="gray">
          <a:xfrm>
            <a:off x="2553273" y="3573970"/>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p:cNvSpPr>
            <a:spLocks noGrp="1"/>
          </p:cNvSpPr>
          <p:nvPr>
            <p:ph sz="quarter" idx="22"/>
          </p:nvPr>
        </p:nvSpPr>
        <p:spPr bwMode="gray">
          <a:xfrm>
            <a:off x="2553273" y="4830194"/>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8" name="Straight Connector 27"/>
          <p:cNvCxnSpPr/>
          <p:nvPr userDrawn="1"/>
        </p:nvCxnSpPr>
        <p:spPr bwMode="gray">
          <a:xfrm>
            <a:off x="2553272"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2550359"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0" name="Straight Connector 29"/>
          <p:cNvCxnSpPr/>
          <p:nvPr userDrawn="1"/>
        </p:nvCxnSpPr>
        <p:spPr bwMode="gray">
          <a:xfrm>
            <a:off x="2550359"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1" name="Straight Connector 30"/>
          <p:cNvCxnSpPr/>
          <p:nvPr userDrawn="1"/>
        </p:nvCxnSpPr>
        <p:spPr bwMode="gray">
          <a:xfrm>
            <a:off x="5754400"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p:cNvCxnSpPr/>
          <p:nvPr userDrawn="1"/>
        </p:nvCxnSpPr>
        <p:spPr bwMode="gray">
          <a:xfrm>
            <a:off x="5752943"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3" name="Straight Connector 32"/>
          <p:cNvCxnSpPr/>
          <p:nvPr userDrawn="1"/>
        </p:nvCxnSpPr>
        <p:spPr bwMode="gray">
          <a:xfrm>
            <a:off x="5752943"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p:cNvCxnSpPr/>
          <p:nvPr userDrawn="1"/>
        </p:nvCxnSpPr>
        <p:spPr bwMode="gray">
          <a:xfrm>
            <a:off x="8955527"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955527"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955527"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Content Placeholder 3"/>
          <p:cNvSpPr>
            <a:spLocks noGrp="1"/>
          </p:cNvSpPr>
          <p:nvPr>
            <p:ph sz="quarter" idx="29"/>
          </p:nvPr>
        </p:nvSpPr>
        <p:spPr bwMode="gray">
          <a:xfrm>
            <a:off x="5757301"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Content Placeholder 3"/>
          <p:cNvSpPr>
            <a:spLocks noGrp="1"/>
          </p:cNvSpPr>
          <p:nvPr>
            <p:ph sz="quarter" idx="30"/>
          </p:nvPr>
        </p:nvSpPr>
        <p:spPr bwMode="gray">
          <a:xfrm>
            <a:off x="5757302"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Content Placeholder 3"/>
          <p:cNvSpPr>
            <a:spLocks noGrp="1"/>
          </p:cNvSpPr>
          <p:nvPr>
            <p:ph sz="quarter" idx="31"/>
          </p:nvPr>
        </p:nvSpPr>
        <p:spPr bwMode="gray">
          <a:xfrm>
            <a:off x="5757302"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Content Placeholder 3"/>
          <p:cNvSpPr>
            <a:spLocks noGrp="1"/>
          </p:cNvSpPr>
          <p:nvPr>
            <p:ph sz="quarter" idx="32"/>
          </p:nvPr>
        </p:nvSpPr>
        <p:spPr bwMode="gray">
          <a:xfrm>
            <a:off x="8955527"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Content Placeholder 3"/>
          <p:cNvSpPr>
            <a:spLocks noGrp="1"/>
          </p:cNvSpPr>
          <p:nvPr>
            <p:ph sz="quarter" idx="33"/>
          </p:nvPr>
        </p:nvSpPr>
        <p:spPr bwMode="gray">
          <a:xfrm>
            <a:off x="8955527"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Content Placeholder 3"/>
          <p:cNvSpPr>
            <a:spLocks noGrp="1"/>
          </p:cNvSpPr>
          <p:nvPr>
            <p:ph sz="quarter" idx="34"/>
          </p:nvPr>
        </p:nvSpPr>
        <p:spPr bwMode="gray">
          <a:xfrm>
            <a:off x="8955527"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35"/>
          </p:nvPr>
        </p:nvSpPr>
        <p:spPr bwMode="gray"/>
        <p:txBody>
          <a:bodyPr/>
          <a:lstStyle/>
          <a:p>
            <a:fld id="{61D1DE91-E2DE-4375-B4FF-ECFCEDDDCBE0}" type="datetime4">
              <a:rPr lang="en-US" smtClean="0"/>
              <a:t>September 8, 2019</a:t>
            </a:fld>
            <a:endParaRPr lang="en-US"/>
          </a:p>
        </p:txBody>
      </p:sp>
      <p:sp>
        <p:nvSpPr>
          <p:cNvPr id="4" name="Footer Placeholder 3"/>
          <p:cNvSpPr>
            <a:spLocks noGrp="1"/>
          </p:cNvSpPr>
          <p:nvPr>
            <p:ph type="ftr" sz="quarter" idx="36"/>
          </p:nvPr>
        </p:nvSpPr>
        <p:spPr bwMode="gray"/>
        <p:txBody>
          <a:bodyPr/>
          <a:lstStyle/>
          <a:p>
            <a:pPr lvl="8"/>
            <a:endParaRPr lang="en-US"/>
          </a:p>
        </p:txBody>
      </p:sp>
      <p:sp>
        <p:nvSpPr>
          <p:cNvPr id="5" name="Slide Number Placeholder 4"/>
          <p:cNvSpPr>
            <a:spLocks noGrp="1"/>
          </p:cNvSpPr>
          <p:nvPr>
            <p:ph type="sldNum" sz="quarter" idx="37"/>
          </p:nvPr>
        </p:nvSpPr>
        <p:spPr bwMode="gray"/>
        <p:txBody>
          <a:bodyPr/>
          <a:lstStyle/>
          <a:p>
            <a:r>
              <a:rPr lang="en-US"/>
              <a:t>Slide </a:t>
            </a:r>
            <a:fld id="{619F89D8-7AE3-494A-97F3-03D680869632}" type="slidenum">
              <a:rPr lang="en-US" smtClean="0"/>
              <a:pPr/>
              <a:t>‹#›</a:t>
            </a:fld>
            <a:endParaRPr lang="en-US"/>
          </a:p>
        </p:txBody>
      </p:sp>
      <p:sp>
        <p:nvSpPr>
          <p:cNvPr id="41"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555406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1: Process">
    <p:spTree>
      <p:nvGrpSpPr>
        <p:cNvPr id="1" name=""/>
        <p:cNvGrpSpPr/>
        <p:nvPr/>
      </p:nvGrpSpPr>
      <p:grpSpPr>
        <a:xfrm>
          <a:off x="0" y="0"/>
          <a:ext cx="0" cy="0"/>
          <a:chOff x="0" y="0"/>
          <a:chExt cx="0" cy="0"/>
        </a:xfrm>
      </p:grpSpPr>
      <p:sp>
        <p:nvSpPr>
          <p:cNvPr id="9" name="Text Placeholder 11"/>
          <p:cNvSpPr>
            <a:spLocks noGrp="1"/>
          </p:cNvSpPr>
          <p:nvPr>
            <p:ph type="body" sz="quarter" idx="16"/>
          </p:nvPr>
        </p:nvSpPr>
        <p:spPr bwMode="gray">
          <a:xfrm>
            <a:off x="333264" y="1931945"/>
            <a:ext cx="3643200" cy="360000"/>
          </a:xfrm>
          <a:prstGeom prst="homePlate">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00C3FEDD-2DA3-4289-9B1F-96211D1B5114}"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3"/>
          </p:nvPr>
        </p:nvSpPr>
        <p:spPr bwMode="gray">
          <a:xfrm>
            <a:off x="333264"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p:cNvCxnSpPr/>
          <p:nvPr userDrawn="1"/>
        </p:nvCxnSpPr>
        <p:spPr bwMode="gray">
          <a:xfrm>
            <a:off x="4124130"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8062662"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91172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52: Image">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bwMode="gray">
          <a:xfrm>
            <a:off x="2" y="0"/>
            <a:ext cx="12192000" cy="6858000"/>
          </a:xfrm>
          <a:custGeom>
            <a:avLst/>
            <a:gdLst>
              <a:gd name="connsiteX0" fmla="*/ 334746 w 12192000"/>
              <a:gd name="connsiteY0" fmla="*/ 530044 h 6858000"/>
              <a:gd name="connsiteX1" fmla="*/ 334746 w 12192000"/>
              <a:gd name="connsiteY1" fmla="*/ 558844 h 6858000"/>
              <a:gd name="connsiteX2" fmla="*/ 561546 w 12192000"/>
              <a:gd name="connsiteY2" fmla="*/ 558844 h 6858000"/>
              <a:gd name="connsiteX3" fmla="*/ 561546 w 12192000"/>
              <a:gd name="connsiteY3" fmla="*/ 53004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4746" y="530044"/>
                </a:moveTo>
                <a:lnTo>
                  <a:pt x="334746" y="558844"/>
                </a:lnTo>
                <a:lnTo>
                  <a:pt x="561546" y="558844"/>
                </a:lnTo>
                <a:lnTo>
                  <a:pt x="561546" y="530044"/>
                </a:lnTo>
                <a:close/>
                <a:moveTo>
                  <a:pt x="0" y="0"/>
                </a:moveTo>
                <a:lnTo>
                  <a:pt x="12192000" y="0"/>
                </a:lnTo>
                <a:lnTo>
                  <a:pt x="12192000" y="6858000"/>
                </a:lnTo>
                <a:lnTo>
                  <a:pt x="0" y="6858000"/>
                </a:lnTo>
                <a:close/>
              </a:path>
            </a:pathLst>
          </a:custGeom>
        </p:spPr>
        <p:txBody>
          <a:bodyPr wrap="square">
            <a:noAutofit/>
          </a:bodyPr>
          <a:lstStyle/>
          <a:p>
            <a:r>
              <a:rPr lang="en-US"/>
              <a:t>Click icon to add picture</a:t>
            </a:r>
          </a:p>
        </p:txBody>
      </p:sp>
      <p:sp>
        <p:nvSpPr>
          <p:cNvPr id="2" name="Title 1"/>
          <p:cNvSpPr>
            <a:spLocks noGrp="1"/>
          </p:cNvSpPr>
          <p:nvPr>
            <p:ph type="title"/>
          </p:nvPr>
        </p:nvSpPr>
        <p:spPr bwMode="gray">
          <a:xfrm>
            <a:off x="332366" y="622788"/>
            <a:ext cx="11520898" cy="396000"/>
          </a:xfrm>
        </p:spPr>
        <p:txBody>
          <a:bodyPr/>
          <a:lstStyle>
            <a:lvl1pPr>
              <a:defRPr sz="1800"/>
            </a:lvl1pPr>
          </a:lstStyle>
          <a:p>
            <a:r>
              <a:rPr lang="en-US"/>
              <a:t>Click to edit Master title style</a:t>
            </a:r>
          </a:p>
        </p:txBody>
      </p:sp>
      <p:sp>
        <p:nvSpPr>
          <p:cNvPr id="4" name="Date Placeholder 3"/>
          <p:cNvSpPr>
            <a:spLocks noGrp="1"/>
          </p:cNvSpPr>
          <p:nvPr>
            <p:ph type="dt" sz="half" idx="14"/>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A1F808C0-290B-4263-8A52-B569B4875133}" type="datetime4">
              <a:rPr lang="en-US" smtClean="0"/>
              <a:pPr/>
              <a:t>September 8, 2019</a:t>
            </a:fld>
            <a:endParaRPr lang="en-US"/>
          </a:p>
        </p:txBody>
      </p:sp>
      <p:sp>
        <p:nvSpPr>
          <p:cNvPr id="5" name="Footer Placeholder 4"/>
          <p:cNvSpPr>
            <a:spLocks noGrp="1"/>
          </p:cNvSpPr>
          <p:nvPr>
            <p:ph type="ftr" sz="quarter" idx="15"/>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6" name="Slide Number Placeholder 5"/>
          <p:cNvSpPr>
            <a:spLocks noGrp="1"/>
          </p:cNvSpPr>
          <p:nvPr>
            <p:ph type="sldNum" sz="quarter" idx="16"/>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sp>
        <p:nvSpPr>
          <p:cNvPr id="13" name="Rectangle 12"/>
          <p:cNvSpPr/>
          <p:nvPr userDrawn="1"/>
        </p:nvSpPr>
        <p:spPr bwMode="gray">
          <a:xfrm>
            <a:off x="242214" y="447781"/>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800" b="1">
                <a:solidFill>
                  <a:srgbClr val="FF0000"/>
                </a:solidFill>
              </a:rPr>
              <a:t>—</a:t>
            </a:r>
            <a:endParaRPr lang="en-US" sz="1800" b="1" err="1">
              <a:solidFill>
                <a:srgbClr val="FF0000"/>
              </a:solidFill>
            </a:endParaRPr>
          </a:p>
        </p:txBody>
      </p:sp>
    </p:spTree>
    <p:extLst>
      <p:ext uri="{BB962C8B-B14F-4D97-AF65-F5344CB8AC3E}">
        <p14:creationId xmlns:p14="http://schemas.microsoft.com/office/powerpoint/2010/main" val="475021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4"/>
          </p:nvPr>
        </p:nvSpPr>
        <p:spPr bwMode="gray"/>
        <p:txBody>
          <a:bodyPr/>
          <a:lstStyle/>
          <a:p>
            <a:fld id="{A1F808C0-290B-4263-8A52-B569B4875133}" type="datetime4">
              <a:rPr lang="en-US" smtClean="0"/>
              <a:t>September 8, 2019</a:t>
            </a:fld>
            <a:endParaRPr lang="en-US"/>
          </a:p>
        </p:txBody>
      </p:sp>
      <p:sp>
        <p:nvSpPr>
          <p:cNvPr id="5" name="Footer Placeholder 4"/>
          <p:cNvSpPr>
            <a:spLocks noGrp="1"/>
          </p:cNvSpPr>
          <p:nvPr>
            <p:ph type="ftr" sz="quarter" idx="15"/>
          </p:nvPr>
        </p:nvSpPr>
        <p:spPr bwMode="gray"/>
        <p:txBody>
          <a:bodyPr/>
          <a:lstStyle/>
          <a:p>
            <a:pPr lvl="8"/>
            <a:endParaRPr lang="en-US"/>
          </a:p>
        </p:txBody>
      </p:sp>
      <p:sp>
        <p:nvSpPr>
          <p:cNvPr id="6" name="Slide Number Placeholder 5"/>
          <p:cNvSpPr>
            <a:spLocks noGrp="1"/>
          </p:cNvSpPr>
          <p:nvPr>
            <p:ph type="sldNum" sz="quarter" idx="16"/>
          </p:nvPr>
        </p:nvSpPr>
        <p:spPr bwMode="gray"/>
        <p:txBody>
          <a:bodyPr/>
          <a:lstStyle/>
          <a:p>
            <a:r>
              <a:rPr lang="en-US"/>
              <a:t>Slide </a:t>
            </a:r>
            <a:fld id="{619F89D8-7AE3-494A-97F3-03D680869632}" type="slidenum">
              <a:rPr lang="en-US" smtClean="0"/>
              <a:pPr/>
              <a:t>‹#›</a:t>
            </a:fld>
            <a:endParaRPr lang="en-US"/>
          </a:p>
        </p:txBody>
      </p:sp>
      <p:sp>
        <p:nvSpPr>
          <p:cNvPr id="18"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893201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54: Final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70479A72-920A-415B-8469-E7772A79C549}"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pic>
        <p:nvPicPr>
          <p:cNvPr id="7" name="Picture 19"/>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447616" y="2793573"/>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4393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05_Title only">
    <p:spTree>
      <p:nvGrpSpPr>
        <p:cNvPr id="1" name=""/>
        <p:cNvGrpSpPr/>
        <p:nvPr/>
      </p:nvGrpSpPr>
      <p:grpSpPr>
        <a:xfrm>
          <a:off x="0" y="0"/>
          <a:ext cx="0" cy="0"/>
          <a:chOff x="0" y="0"/>
          <a:chExt cx="0" cy="0"/>
        </a:xfrm>
      </p:grpSpPr>
      <p:sp>
        <p:nvSpPr>
          <p:cNvPr id="7" name="Subtitle 2"/>
          <p:cNvSpPr>
            <a:spLocks noGrp="1"/>
          </p:cNvSpPr>
          <p:nvPr>
            <p:ph type="subTitle" idx="13"/>
          </p:nvPr>
        </p:nvSpPr>
        <p:spPr bwMode="gray">
          <a:xfrm>
            <a:off x="257879" y="1120928"/>
            <a:ext cx="11649905" cy="504000"/>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p>
        </p:txBody>
      </p:sp>
      <p:sp>
        <p:nvSpPr>
          <p:cNvPr id="8" name="Date Placeholder 7"/>
          <p:cNvSpPr>
            <a:spLocks noGrp="1"/>
          </p:cNvSpPr>
          <p:nvPr>
            <p:ph type="dt" sz="half" idx="14"/>
          </p:nvPr>
        </p:nvSpPr>
        <p:spPr bwMode="gray"/>
        <p:txBody>
          <a:bodyPr/>
          <a:lstStyle/>
          <a:p>
            <a:fld id="{604723B6-2C37-4C03-92C2-AA6C4A469955}" type="datetime4">
              <a:rPr lang="en-US" smtClean="0"/>
              <a:t>September 8, 2019</a:t>
            </a:fld>
            <a:endParaRPr lang="en-US" dirty="0"/>
          </a:p>
        </p:txBody>
      </p:sp>
      <p:sp>
        <p:nvSpPr>
          <p:cNvPr id="9" name="Footer Placeholder 8"/>
          <p:cNvSpPr>
            <a:spLocks noGrp="1"/>
          </p:cNvSpPr>
          <p:nvPr>
            <p:ph type="ftr" sz="quarter" idx="15"/>
          </p:nvPr>
        </p:nvSpPr>
        <p:spPr bwMode="gray"/>
        <p:txBody>
          <a:bodyPr/>
          <a:lstStyle/>
          <a:p>
            <a:endParaRPr lang="en-US" dirty="0"/>
          </a:p>
        </p:txBody>
      </p:sp>
      <p:sp>
        <p:nvSpPr>
          <p:cNvPr id="10" name="Slide Number Placeholder 9"/>
          <p:cNvSpPr>
            <a:spLocks noGrp="1"/>
          </p:cNvSpPr>
          <p:nvPr>
            <p:ph type="sldNum" sz="quarter" idx="16"/>
          </p:nvPr>
        </p:nvSpPr>
        <p:spPr bwMode="gray"/>
        <p:txBody>
          <a:bodyPr/>
          <a:lstStyle/>
          <a:p>
            <a:r>
              <a:rPr lang="en-US"/>
              <a:t>Slide </a:t>
            </a:r>
            <a:fld id="{619F89D8-7AE3-494A-97F3-03D680869632}" type="slidenum">
              <a:rPr lang="en-US" smtClean="0"/>
              <a:pPr/>
              <a:t>‹#›</a:t>
            </a:fld>
            <a:endParaRPr lang="en-US" dirty="0"/>
          </a:p>
        </p:txBody>
      </p:sp>
    </p:spTree>
    <p:extLst>
      <p:ext uri="{BB962C8B-B14F-4D97-AF65-F5344CB8AC3E}">
        <p14:creationId xmlns:p14="http://schemas.microsoft.com/office/powerpoint/2010/main" val="2991815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0_4: Title Slide 4">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72B866-06E8-49CD-BD1C-D3883B1F1732}"/>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contrast="-40000"/>
                    </a14:imgEffect>
                  </a14:imgLayer>
                </a14:imgProps>
              </a:ext>
            </a:extLst>
          </a:blip>
          <a:srcRect l="-7955" r="7955"/>
          <a:stretch/>
        </p:blipFill>
        <p:spPr>
          <a:xfrm>
            <a:off x="0" y="0"/>
            <a:ext cx="12192000" cy="6858000"/>
          </a:xfrm>
          <a:prstGeom prst="rect">
            <a:avLst/>
          </a:prstGeom>
        </p:spPr>
      </p:pic>
      <p:sp>
        <p:nvSpPr>
          <p:cNvPr id="22"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7"/>
          <p:cNvSpPr>
            <a:spLocks noGrp="1"/>
          </p:cNvSpPr>
          <p:nvPr>
            <p:ph type="body" sz="quarter" idx="13" hasCustomPrompt="1"/>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hasCustomPrompt="1"/>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217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_4: Title Slide 4">
    <p:spTree>
      <p:nvGrpSpPr>
        <p:cNvPr id="1" name=""/>
        <p:cNvGrpSpPr/>
        <p:nvPr/>
      </p:nvGrpSpPr>
      <p:grpSpPr>
        <a:xfrm>
          <a:off x="0" y="0"/>
          <a:ext cx="0" cy="0"/>
          <a:chOff x="0" y="0"/>
          <a:chExt cx="0" cy="0"/>
        </a:xfrm>
      </p:grpSpPr>
      <p:pic>
        <p:nvPicPr>
          <p:cNvPr id="19" name="Symbol zastępczy obrazu 25">
            <a:extLst>
              <a:ext uri="{FF2B5EF4-FFF2-40B4-BE49-F238E27FC236}">
                <a16:creationId xmlns:a16="http://schemas.microsoft.com/office/drawing/2014/main" id="{41D02323-2418-477D-8565-579B931971E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443"/>
          <a:stretch/>
        </p:blipFill>
        <p:spPr bwMode="gray">
          <a:xfrm>
            <a:off x="2668043" y="1836881"/>
            <a:ext cx="7236482" cy="2178776"/>
          </a:xfrm>
          <a:prstGeom prst="rect">
            <a:avLst/>
          </a:prstGeom>
        </p:spPr>
      </p:pic>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9826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2" y="0"/>
            <a:ext cx="12192000" cy="4610100"/>
          </a:xfrm>
          <a:prstGeom prst="rect">
            <a:avLst/>
          </a:prstGeom>
        </p:spPr>
      </p:pic>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57543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1: 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4460"/>
            <a:ext cx="12192000" cy="6841508"/>
          </a:xfrm>
          <a:prstGeom prst="rect">
            <a:avLst/>
          </a:prstGeom>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endParaRPr lang="en-US" dirty="0"/>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0" name="Picture 1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880733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16576" t="-735" r="-20001" b="-18645"/>
          <a:stretch/>
        </p:blipFill>
        <p:spPr>
          <a:xfrm>
            <a:off x="-10758" y="-10758"/>
            <a:ext cx="12199172" cy="6874137"/>
          </a:xfrm>
          <a:prstGeom prst="rect">
            <a:avLst/>
          </a:prstGeom>
          <a:solidFill>
            <a:schemeClr val="bg1"/>
          </a:solidFill>
        </p:spPr>
      </p:pic>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endParaRPr lang="en-US" dirty="0"/>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0" name="Picture 1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226219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4: Title Slide 4">
    <p:spTree>
      <p:nvGrpSpPr>
        <p:cNvPr id="1" name=""/>
        <p:cNvGrpSpPr/>
        <p:nvPr/>
      </p:nvGrpSpPr>
      <p:grpSpPr>
        <a:xfrm>
          <a:off x="0" y="0"/>
          <a:ext cx="0" cy="0"/>
          <a:chOff x="0" y="0"/>
          <a:chExt cx="0" cy="0"/>
        </a:xfrm>
      </p:grpSpPr>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userDrawn="1"/>
        </p:nvGrpSpPr>
        <p:grpSpPr bwMode="gray">
          <a:xfrm>
            <a:off x="0" y="1017096"/>
            <a:ext cx="12192000" cy="3245107"/>
            <a:chOff x="0" y="1501206"/>
            <a:chExt cx="12192000" cy="3245107"/>
          </a:xfrm>
        </p:grpSpPr>
        <p:grpSp>
          <p:nvGrpSpPr>
            <p:cNvPr id="16" name="Group 15"/>
            <p:cNvGrpSpPr/>
            <p:nvPr/>
          </p:nvGrpSpPr>
          <p:grpSpPr bwMode="gray">
            <a:xfrm>
              <a:off x="4094461" y="3948737"/>
              <a:ext cx="658572" cy="520653"/>
              <a:chOff x="3225781" y="3729116"/>
              <a:chExt cx="658572" cy="520653"/>
            </a:xfrm>
          </p:grpSpPr>
          <p:sp>
            <p:nvSpPr>
              <p:cNvPr id="121" name="Rounded Rectangle 8"/>
              <p:cNvSpPr/>
              <p:nvPr/>
            </p:nvSpPr>
            <p:spPr bwMode="gray">
              <a:xfrm>
                <a:off x="3480946" y="3922409"/>
                <a:ext cx="148242" cy="134066"/>
              </a:xfrm>
              <a:custGeom>
                <a:avLst/>
                <a:gdLst/>
                <a:ahLst/>
                <a:cxnLst/>
                <a:rect l="l" t="t" r="r" b="b"/>
                <a:pathLst>
                  <a:path w="190051" h="1277253">
                    <a:moveTo>
                      <a:pt x="0" y="0"/>
                    </a:moveTo>
                    <a:lnTo>
                      <a:pt x="190051" y="638626"/>
                    </a:lnTo>
                    <a:lnTo>
                      <a:pt x="0" y="1277253"/>
                    </a:lnTo>
                    <a:cubicBezTo>
                      <a:pt x="36524" y="1088309"/>
                      <a:pt x="56059" y="870446"/>
                      <a:pt x="56059" y="638627"/>
                    </a:cubicBezTo>
                    <a:cubicBezTo>
                      <a:pt x="56059" y="406808"/>
                      <a:pt x="36523" y="188944"/>
                      <a:pt x="0" y="0"/>
                    </a:cubicBezTo>
                    <a:close/>
                  </a:path>
                </a:pathLst>
              </a:cu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22" name="Rectangle 140"/>
              <p:cNvSpPr/>
              <p:nvPr/>
            </p:nvSpPr>
            <p:spPr bwMode="gray">
              <a:xfrm flipH="1">
                <a:off x="3225781" y="3729116"/>
                <a:ext cx="658572" cy="520653"/>
              </a:xfrm>
              <a:custGeom>
                <a:avLst/>
                <a:gdLst/>
                <a:ahLst/>
                <a:cxnLst/>
                <a:rect l="l" t="t" r="r" b="b"/>
                <a:pathLst>
                  <a:path w="908908" h="718564">
                    <a:moveTo>
                      <a:pt x="908908" y="485296"/>
                    </a:moveTo>
                    <a:lnTo>
                      <a:pt x="0" y="485296"/>
                    </a:lnTo>
                    <a:lnTo>
                      <a:pt x="0" y="586690"/>
                    </a:lnTo>
                    <a:lnTo>
                      <a:pt x="0" y="718564"/>
                    </a:lnTo>
                    <a:lnTo>
                      <a:pt x="188776" y="718564"/>
                    </a:lnTo>
                    <a:lnTo>
                      <a:pt x="188776" y="586690"/>
                    </a:lnTo>
                    <a:lnTo>
                      <a:pt x="720132" y="586690"/>
                    </a:lnTo>
                    <a:lnTo>
                      <a:pt x="720132" y="718564"/>
                    </a:lnTo>
                    <a:lnTo>
                      <a:pt x="908908" y="718564"/>
                    </a:lnTo>
                    <a:lnTo>
                      <a:pt x="908908" y="586690"/>
                    </a:lnTo>
                    <a:close/>
                    <a:moveTo>
                      <a:pt x="908908" y="0"/>
                    </a:moveTo>
                    <a:lnTo>
                      <a:pt x="720132" y="0"/>
                    </a:lnTo>
                    <a:lnTo>
                      <a:pt x="720132" y="131875"/>
                    </a:lnTo>
                    <a:lnTo>
                      <a:pt x="188776" y="131875"/>
                    </a:lnTo>
                    <a:lnTo>
                      <a:pt x="188776" y="0"/>
                    </a:lnTo>
                    <a:lnTo>
                      <a:pt x="0" y="0"/>
                    </a:lnTo>
                    <a:lnTo>
                      <a:pt x="0" y="131875"/>
                    </a:lnTo>
                    <a:lnTo>
                      <a:pt x="0" y="233268"/>
                    </a:lnTo>
                    <a:lnTo>
                      <a:pt x="908908" y="233268"/>
                    </a:lnTo>
                    <a:lnTo>
                      <a:pt x="908908" y="131875"/>
                    </a:lnTo>
                    <a:close/>
                  </a:path>
                </a:pathLst>
              </a:cu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cxnSp>
            <p:nvCxnSpPr>
              <p:cNvPr id="123" name="Straight Connector 122"/>
              <p:cNvCxnSpPr/>
              <p:nvPr/>
            </p:nvCxnSpPr>
            <p:spPr bwMode="gray">
              <a:xfrm flipH="1">
                <a:off x="3231494" y="3901287"/>
                <a:ext cx="2" cy="176311"/>
              </a:xfrm>
              <a:prstGeom prst="lin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24" name="Straight Connector 123"/>
              <p:cNvCxnSpPr/>
              <p:nvPr/>
            </p:nvCxnSpPr>
            <p:spPr bwMode="gray">
              <a:xfrm flipH="1">
                <a:off x="3878638" y="3901287"/>
                <a:ext cx="2" cy="176311"/>
              </a:xfrm>
              <a:prstGeom prst="lin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7" name="Group 16"/>
            <p:cNvGrpSpPr/>
            <p:nvPr/>
          </p:nvGrpSpPr>
          <p:grpSpPr bwMode="gray">
            <a:xfrm>
              <a:off x="5985405" y="4102224"/>
              <a:ext cx="214431" cy="644089"/>
              <a:chOff x="6609030" y="3847551"/>
              <a:chExt cx="214431" cy="644089"/>
            </a:xfrm>
          </p:grpSpPr>
          <p:grpSp>
            <p:nvGrpSpPr>
              <p:cNvPr id="117" name="Group 116"/>
              <p:cNvGrpSpPr/>
              <p:nvPr/>
            </p:nvGrpSpPr>
            <p:grpSpPr bwMode="gray">
              <a:xfrm>
                <a:off x="6609030" y="3847551"/>
                <a:ext cx="214431" cy="644089"/>
                <a:chOff x="6805288" y="-808316"/>
                <a:chExt cx="270648" cy="812949"/>
              </a:xfrm>
            </p:grpSpPr>
            <p:sp>
              <p:nvSpPr>
                <p:cNvPr id="119" name="Oval 68"/>
                <p:cNvSpPr/>
                <p:nvPr/>
              </p:nvSpPr>
              <p:spPr bwMode="gray">
                <a:xfrm>
                  <a:off x="6805288" y="-808316"/>
                  <a:ext cx="270648" cy="812949"/>
                </a:xfrm>
                <a:custGeom>
                  <a:avLst/>
                  <a:gdLst/>
                  <a:ahLst/>
                  <a:cxnLst/>
                  <a:rect l="l" t="t" r="r" b="b"/>
                  <a:pathLst>
                    <a:path w="108832" h="326900">
                      <a:moveTo>
                        <a:pt x="54416" y="0"/>
                      </a:moveTo>
                      <a:cubicBezTo>
                        <a:pt x="71779" y="0"/>
                        <a:pt x="85854" y="14075"/>
                        <a:pt x="85854" y="31438"/>
                      </a:cubicBezTo>
                      <a:lnTo>
                        <a:pt x="85854" y="229260"/>
                      </a:lnTo>
                      <a:cubicBezTo>
                        <a:pt x="100006" y="238369"/>
                        <a:pt x="108832" y="254396"/>
                        <a:pt x="108832" y="272484"/>
                      </a:cubicBezTo>
                      <a:cubicBezTo>
                        <a:pt x="108832" y="302537"/>
                        <a:pt x="84469" y="326900"/>
                        <a:pt x="54416" y="326900"/>
                      </a:cubicBezTo>
                      <a:cubicBezTo>
                        <a:pt x="24363" y="326900"/>
                        <a:pt x="0" y="302537"/>
                        <a:pt x="0" y="272484"/>
                      </a:cubicBezTo>
                      <a:cubicBezTo>
                        <a:pt x="0" y="254395"/>
                        <a:pt x="8826" y="238368"/>
                        <a:pt x="22979" y="229259"/>
                      </a:cubicBezTo>
                      <a:lnTo>
                        <a:pt x="22978" y="31438"/>
                      </a:lnTo>
                      <a:cubicBezTo>
                        <a:pt x="22978" y="14075"/>
                        <a:pt x="37053" y="0"/>
                        <a:pt x="54416" y="0"/>
                      </a:cubicBezTo>
                      <a:close/>
                    </a:path>
                  </a:pathLst>
                </a:cu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20" name="Rounded Rectangle 67"/>
                <p:cNvSpPr/>
                <p:nvPr/>
              </p:nvSpPr>
              <p:spPr bwMode="gray">
                <a:xfrm>
                  <a:off x="6846448" y="-765736"/>
                  <a:ext cx="188329" cy="729155"/>
                </a:xfrm>
                <a:custGeom>
                  <a:avLst/>
                  <a:gdLst/>
                  <a:ahLst/>
                  <a:cxnLst/>
                  <a:rect l="l" t="t" r="r" b="b"/>
                  <a:pathLst>
                    <a:path w="75730" h="293205">
                      <a:moveTo>
                        <a:pt x="37865" y="0"/>
                      </a:moveTo>
                      <a:cubicBezTo>
                        <a:pt x="45818" y="0"/>
                        <a:pt x="52265" y="6447"/>
                        <a:pt x="52265" y="14400"/>
                      </a:cubicBezTo>
                      <a:lnTo>
                        <a:pt x="52265" y="223440"/>
                      </a:lnTo>
                      <a:cubicBezTo>
                        <a:pt x="66588" y="226762"/>
                        <a:pt x="75730" y="239983"/>
                        <a:pt x="75730" y="255340"/>
                      </a:cubicBezTo>
                      <a:cubicBezTo>
                        <a:pt x="75730" y="276252"/>
                        <a:pt x="58777" y="293205"/>
                        <a:pt x="37865" y="293205"/>
                      </a:cubicBezTo>
                      <a:cubicBezTo>
                        <a:pt x="16953" y="293205"/>
                        <a:pt x="0" y="276252"/>
                        <a:pt x="0" y="255340"/>
                      </a:cubicBezTo>
                      <a:cubicBezTo>
                        <a:pt x="0" y="239983"/>
                        <a:pt x="9142" y="226762"/>
                        <a:pt x="23465" y="223440"/>
                      </a:cubicBezTo>
                      <a:lnTo>
                        <a:pt x="23465" y="14400"/>
                      </a:lnTo>
                      <a:cubicBezTo>
                        <a:pt x="23465" y="6447"/>
                        <a:pt x="29912" y="0"/>
                        <a:pt x="37865" y="0"/>
                      </a:cubicBezTo>
                      <a:close/>
                    </a:path>
                  </a:pathLst>
                </a:cu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cxnSp>
            <p:nvCxnSpPr>
              <p:cNvPr id="118" name="Straight Connector 117"/>
              <p:cNvCxnSpPr/>
              <p:nvPr/>
            </p:nvCxnSpPr>
            <p:spPr bwMode="gray">
              <a:xfrm>
                <a:off x="6691837" y="4004407"/>
                <a:ext cx="51435" cy="0"/>
              </a:xfrm>
              <a:prstGeom prst="lin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9" name="Group 18"/>
            <p:cNvGrpSpPr/>
            <p:nvPr/>
          </p:nvGrpSpPr>
          <p:grpSpPr bwMode="gray">
            <a:xfrm>
              <a:off x="7853424" y="2967283"/>
              <a:ext cx="3757897" cy="300436"/>
              <a:chOff x="8728775" y="3089997"/>
              <a:chExt cx="3757897" cy="300436"/>
            </a:xfrm>
          </p:grpSpPr>
          <p:sp>
            <p:nvSpPr>
              <p:cNvPr id="115" name="Freeform 114"/>
              <p:cNvSpPr/>
              <p:nvPr/>
            </p:nvSpPr>
            <p:spPr bwMode="gray">
              <a:xfrm>
                <a:off x="8728775" y="3089997"/>
                <a:ext cx="1890172" cy="300436"/>
              </a:xfrm>
              <a:custGeom>
                <a:avLst/>
                <a:gdLst>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19112 w 1011118"/>
                  <a:gd name="connsiteY37" fmla="*/ 166687 h 314325"/>
                  <a:gd name="connsiteX38" fmla="*/ 533400 w 1011118"/>
                  <a:gd name="connsiteY38" fmla="*/ 138112 h 314325"/>
                  <a:gd name="connsiteX39" fmla="*/ 552450 w 1011118"/>
                  <a:gd name="connsiteY39" fmla="*/ 104775 h 314325"/>
                  <a:gd name="connsiteX40" fmla="*/ 557212 w 1011118"/>
                  <a:gd name="connsiteY40" fmla="*/ 90487 h 314325"/>
                  <a:gd name="connsiteX41" fmla="*/ 571500 w 1011118"/>
                  <a:gd name="connsiteY41" fmla="*/ 80962 h 314325"/>
                  <a:gd name="connsiteX42" fmla="*/ 619125 w 1011118"/>
                  <a:gd name="connsiteY42" fmla="*/ 52387 h 314325"/>
                  <a:gd name="connsiteX43" fmla="*/ 628650 w 1011118"/>
                  <a:gd name="connsiteY43" fmla="*/ 309562 h 314325"/>
                  <a:gd name="connsiteX44" fmla="*/ 642937 w 1011118"/>
                  <a:gd name="connsiteY44" fmla="*/ 314325 h 314325"/>
                  <a:gd name="connsiteX45" fmla="*/ 652462 w 1011118"/>
                  <a:gd name="connsiteY45" fmla="*/ 295275 h 314325"/>
                  <a:gd name="connsiteX46" fmla="*/ 661987 w 1011118"/>
                  <a:gd name="connsiteY46" fmla="*/ 252412 h 314325"/>
                  <a:gd name="connsiteX47" fmla="*/ 690562 w 1011118"/>
                  <a:gd name="connsiteY47" fmla="*/ 204787 h 314325"/>
                  <a:gd name="connsiteX48" fmla="*/ 704850 w 1011118"/>
                  <a:gd name="connsiteY48" fmla="*/ 171450 h 314325"/>
                  <a:gd name="connsiteX49" fmla="*/ 714375 w 1011118"/>
                  <a:gd name="connsiteY49" fmla="*/ 133350 h 314325"/>
                  <a:gd name="connsiteX50" fmla="*/ 719137 w 1011118"/>
                  <a:gd name="connsiteY50" fmla="*/ 166687 h 314325"/>
                  <a:gd name="connsiteX51" fmla="*/ 723900 w 1011118"/>
                  <a:gd name="connsiteY51" fmla="*/ 180975 h 314325"/>
                  <a:gd name="connsiteX52" fmla="*/ 733425 w 1011118"/>
                  <a:gd name="connsiteY52" fmla="*/ 161925 h 314325"/>
                  <a:gd name="connsiteX53" fmla="*/ 757237 w 1011118"/>
                  <a:gd name="connsiteY53" fmla="*/ 133350 h 314325"/>
                  <a:gd name="connsiteX54" fmla="*/ 785812 w 1011118"/>
                  <a:gd name="connsiteY54" fmla="*/ 85725 h 314325"/>
                  <a:gd name="connsiteX55" fmla="*/ 795337 w 1011118"/>
                  <a:gd name="connsiteY55" fmla="*/ 114300 h 314325"/>
                  <a:gd name="connsiteX56" fmla="*/ 809625 w 1011118"/>
                  <a:gd name="connsiteY56" fmla="*/ 185737 h 314325"/>
                  <a:gd name="connsiteX57" fmla="*/ 823912 w 1011118"/>
                  <a:gd name="connsiteY57" fmla="*/ 180975 h 314325"/>
                  <a:gd name="connsiteX58" fmla="*/ 847725 w 1011118"/>
                  <a:gd name="connsiteY58" fmla="*/ 138112 h 314325"/>
                  <a:gd name="connsiteX59" fmla="*/ 871537 w 1011118"/>
                  <a:gd name="connsiteY59" fmla="*/ 76200 h 314325"/>
                  <a:gd name="connsiteX60" fmla="*/ 876300 w 1011118"/>
                  <a:gd name="connsiteY60" fmla="*/ 52387 h 314325"/>
                  <a:gd name="connsiteX61" fmla="*/ 890587 w 1011118"/>
                  <a:gd name="connsiteY61" fmla="*/ 38100 h 314325"/>
                  <a:gd name="connsiteX62" fmla="*/ 895350 w 1011118"/>
                  <a:gd name="connsiteY62" fmla="*/ 14287 h 314325"/>
                  <a:gd name="connsiteX63" fmla="*/ 900112 w 1011118"/>
                  <a:gd name="connsiteY63" fmla="*/ 0 h 314325"/>
                  <a:gd name="connsiteX64" fmla="*/ 904875 w 1011118"/>
                  <a:gd name="connsiteY64" fmla="*/ 14287 h 314325"/>
                  <a:gd name="connsiteX65" fmla="*/ 909637 w 1011118"/>
                  <a:gd name="connsiteY65" fmla="*/ 71437 h 314325"/>
                  <a:gd name="connsiteX66" fmla="*/ 919162 w 1011118"/>
                  <a:gd name="connsiteY66" fmla="*/ 100012 h 314325"/>
                  <a:gd name="connsiteX67" fmla="*/ 942975 w 1011118"/>
                  <a:gd name="connsiteY67" fmla="*/ 161925 h 314325"/>
                  <a:gd name="connsiteX68" fmla="*/ 947737 w 1011118"/>
                  <a:gd name="connsiteY68" fmla="*/ 180975 h 314325"/>
                  <a:gd name="connsiteX69" fmla="*/ 952500 w 1011118"/>
                  <a:gd name="connsiteY69" fmla="*/ 214312 h 314325"/>
                  <a:gd name="connsiteX70" fmla="*/ 971550 w 1011118"/>
                  <a:gd name="connsiteY70" fmla="*/ 242887 h 314325"/>
                  <a:gd name="connsiteX71" fmla="*/ 985837 w 1011118"/>
                  <a:gd name="connsiteY71" fmla="*/ 238125 h 314325"/>
                  <a:gd name="connsiteX72" fmla="*/ 990600 w 1011118"/>
                  <a:gd name="connsiteY72" fmla="*/ 223837 h 314325"/>
                  <a:gd name="connsiteX73" fmla="*/ 1004887 w 1011118"/>
                  <a:gd name="connsiteY73"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33400 w 1011118"/>
                  <a:gd name="connsiteY37" fmla="*/ 138112 h 314325"/>
                  <a:gd name="connsiteX38" fmla="*/ 552450 w 1011118"/>
                  <a:gd name="connsiteY38" fmla="*/ 104775 h 314325"/>
                  <a:gd name="connsiteX39" fmla="*/ 557212 w 1011118"/>
                  <a:gd name="connsiteY39" fmla="*/ 90487 h 314325"/>
                  <a:gd name="connsiteX40" fmla="*/ 571500 w 1011118"/>
                  <a:gd name="connsiteY40" fmla="*/ 80962 h 314325"/>
                  <a:gd name="connsiteX41" fmla="*/ 619125 w 1011118"/>
                  <a:gd name="connsiteY41" fmla="*/ 52387 h 314325"/>
                  <a:gd name="connsiteX42" fmla="*/ 628650 w 1011118"/>
                  <a:gd name="connsiteY42" fmla="*/ 309562 h 314325"/>
                  <a:gd name="connsiteX43" fmla="*/ 642937 w 1011118"/>
                  <a:gd name="connsiteY43" fmla="*/ 314325 h 314325"/>
                  <a:gd name="connsiteX44" fmla="*/ 652462 w 1011118"/>
                  <a:gd name="connsiteY44" fmla="*/ 295275 h 314325"/>
                  <a:gd name="connsiteX45" fmla="*/ 661987 w 1011118"/>
                  <a:gd name="connsiteY45" fmla="*/ 252412 h 314325"/>
                  <a:gd name="connsiteX46" fmla="*/ 690562 w 1011118"/>
                  <a:gd name="connsiteY46" fmla="*/ 204787 h 314325"/>
                  <a:gd name="connsiteX47" fmla="*/ 704850 w 1011118"/>
                  <a:gd name="connsiteY47" fmla="*/ 171450 h 314325"/>
                  <a:gd name="connsiteX48" fmla="*/ 714375 w 1011118"/>
                  <a:gd name="connsiteY48" fmla="*/ 133350 h 314325"/>
                  <a:gd name="connsiteX49" fmla="*/ 719137 w 1011118"/>
                  <a:gd name="connsiteY49" fmla="*/ 166687 h 314325"/>
                  <a:gd name="connsiteX50" fmla="*/ 723900 w 1011118"/>
                  <a:gd name="connsiteY50" fmla="*/ 180975 h 314325"/>
                  <a:gd name="connsiteX51" fmla="*/ 733425 w 1011118"/>
                  <a:gd name="connsiteY51" fmla="*/ 161925 h 314325"/>
                  <a:gd name="connsiteX52" fmla="*/ 757237 w 1011118"/>
                  <a:gd name="connsiteY52" fmla="*/ 133350 h 314325"/>
                  <a:gd name="connsiteX53" fmla="*/ 785812 w 1011118"/>
                  <a:gd name="connsiteY53" fmla="*/ 85725 h 314325"/>
                  <a:gd name="connsiteX54" fmla="*/ 795337 w 1011118"/>
                  <a:gd name="connsiteY54" fmla="*/ 114300 h 314325"/>
                  <a:gd name="connsiteX55" fmla="*/ 809625 w 1011118"/>
                  <a:gd name="connsiteY55" fmla="*/ 185737 h 314325"/>
                  <a:gd name="connsiteX56" fmla="*/ 823912 w 1011118"/>
                  <a:gd name="connsiteY56" fmla="*/ 180975 h 314325"/>
                  <a:gd name="connsiteX57" fmla="*/ 847725 w 1011118"/>
                  <a:gd name="connsiteY57" fmla="*/ 138112 h 314325"/>
                  <a:gd name="connsiteX58" fmla="*/ 871537 w 1011118"/>
                  <a:gd name="connsiteY58" fmla="*/ 76200 h 314325"/>
                  <a:gd name="connsiteX59" fmla="*/ 876300 w 1011118"/>
                  <a:gd name="connsiteY59" fmla="*/ 52387 h 314325"/>
                  <a:gd name="connsiteX60" fmla="*/ 890587 w 1011118"/>
                  <a:gd name="connsiteY60" fmla="*/ 38100 h 314325"/>
                  <a:gd name="connsiteX61" fmla="*/ 895350 w 1011118"/>
                  <a:gd name="connsiteY61" fmla="*/ 14287 h 314325"/>
                  <a:gd name="connsiteX62" fmla="*/ 900112 w 1011118"/>
                  <a:gd name="connsiteY62" fmla="*/ 0 h 314325"/>
                  <a:gd name="connsiteX63" fmla="*/ 904875 w 1011118"/>
                  <a:gd name="connsiteY63" fmla="*/ 14287 h 314325"/>
                  <a:gd name="connsiteX64" fmla="*/ 909637 w 1011118"/>
                  <a:gd name="connsiteY64" fmla="*/ 71437 h 314325"/>
                  <a:gd name="connsiteX65" fmla="*/ 919162 w 1011118"/>
                  <a:gd name="connsiteY65" fmla="*/ 100012 h 314325"/>
                  <a:gd name="connsiteX66" fmla="*/ 942975 w 1011118"/>
                  <a:gd name="connsiteY66" fmla="*/ 161925 h 314325"/>
                  <a:gd name="connsiteX67" fmla="*/ 947737 w 1011118"/>
                  <a:gd name="connsiteY67" fmla="*/ 180975 h 314325"/>
                  <a:gd name="connsiteX68" fmla="*/ 952500 w 1011118"/>
                  <a:gd name="connsiteY68" fmla="*/ 214312 h 314325"/>
                  <a:gd name="connsiteX69" fmla="*/ 971550 w 1011118"/>
                  <a:gd name="connsiteY69" fmla="*/ 242887 h 314325"/>
                  <a:gd name="connsiteX70" fmla="*/ 985837 w 1011118"/>
                  <a:gd name="connsiteY70" fmla="*/ 238125 h 314325"/>
                  <a:gd name="connsiteX71" fmla="*/ 990600 w 1011118"/>
                  <a:gd name="connsiteY71" fmla="*/ 223837 h 314325"/>
                  <a:gd name="connsiteX72" fmla="*/ 1004887 w 1011118"/>
                  <a:gd name="connsiteY72"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0537 w 1011118"/>
                  <a:gd name="connsiteY35" fmla="*/ 223837 h 314325"/>
                  <a:gd name="connsiteX36" fmla="*/ 533400 w 1011118"/>
                  <a:gd name="connsiteY36" fmla="*/ 138112 h 314325"/>
                  <a:gd name="connsiteX37" fmla="*/ 552450 w 1011118"/>
                  <a:gd name="connsiteY37" fmla="*/ 104775 h 314325"/>
                  <a:gd name="connsiteX38" fmla="*/ 557212 w 1011118"/>
                  <a:gd name="connsiteY38" fmla="*/ 90487 h 314325"/>
                  <a:gd name="connsiteX39" fmla="*/ 571500 w 1011118"/>
                  <a:gd name="connsiteY39" fmla="*/ 80962 h 314325"/>
                  <a:gd name="connsiteX40" fmla="*/ 619125 w 1011118"/>
                  <a:gd name="connsiteY40" fmla="*/ 52387 h 314325"/>
                  <a:gd name="connsiteX41" fmla="*/ 628650 w 1011118"/>
                  <a:gd name="connsiteY41" fmla="*/ 309562 h 314325"/>
                  <a:gd name="connsiteX42" fmla="*/ 642937 w 1011118"/>
                  <a:gd name="connsiteY42" fmla="*/ 314325 h 314325"/>
                  <a:gd name="connsiteX43" fmla="*/ 652462 w 1011118"/>
                  <a:gd name="connsiteY43" fmla="*/ 295275 h 314325"/>
                  <a:gd name="connsiteX44" fmla="*/ 661987 w 1011118"/>
                  <a:gd name="connsiteY44" fmla="*/ 252412 h 314325"/>
                  <a:gd name="connsiteX45" fmla="*/ 690562 w 1011118"/>
                  <a:gd name="connsiteY45" fmla="*/ 204787 h 314325"/>
                  <a:gd name="connsiteX46" fmla="*/ 704850 w 1011118"/>
                  <a:gd name="connsiteY46" fmla="*/ 171450 h 314325"/>
                  <a:gd name="connsiteX47" fmla="*/ 714375 w 1011118"/>
                  <a:gd name="connsiteY47" fmla="*/ 133350 h 314325"/>
                  <a:gd name="connsiteX48" fmla="*/ 719137 w 1011118"/>
                  <a:gd name="connsiteY48" fmla="*/ 166687 h 314325"/>
                  <a:gd name="connsiteX49" fmla="*/ 723900 w 1011118"/>
                  <a:gd name="connsiteY49" fmla="*/ 180975 h 314325"/>
                  <a:gd name="connsiteX50" fmla="*/ 733425 w 1011118"/>
                  <a:gd name="connsiteY50" fmla="*/ 161925 h 314325"/>
                  <a:gd name="connsiteX51" fmla="*/ 757237 w 1011118"/>
                  <a:gd name="connsiteY51" fmla="*/ 133350 h 314325"/>
                  <a:gd name="connsiteX52" fmla="*/ 785812 w 1011118"/>
                  <a:gd name="connsiteY52" fmla="*/ 85725 h 314325"/>
                  <a:gd name="connsiteX53" fmla="*/ 795337 w 1011118"/>
                  <a:gd name="connsiteY53" fmla="*/ 114300 h 314325"/>
                  <a:gd name="connsiteX54" fmla="*/ 809625 w 1011118"/>
                  <a:gd name="connsiteY54" fmla="*/ 185737 h 314325"/>
                  <a:gd name="connsiteX55" fmla="*/ 823912 w 1011118"/>
                  <a:gd name="connsiteY55" fmla="*/ 180975 h 314325"/>
                  <a:gd name="connsiteX56" fmla="*/ 847725 w 1011118"/>
                  <a:gd name="connsiteY56" fmla="*/ 138112 h 314325"/>
                  <a:gd name="connsiteX57" fmla="*/ 871537 w 1011118"/>
                  <a:gd name="connsiteY57" fmla="*/ 76200 h 314325"/>
                  <a:gd name="connsiteX58" fmla="*/ 876300 w 1011118"/>
                  <a:gd name="connsiteY58" fmla="*/ 52387 h 314325"/>
                  <a:gd name="connsiteX59" fmla="*/ 890587 w 1011118"/>
                  <a:gd name="connsiteY59" fmla="*/ 38100 h 314325"/>
                  <a:gd name="connsiteX60" fmla="*/ 895350 w 1011118"/>
                  <a:gd name="connsiteY60" fmla="*/ 14287 h 314325"/>
                  <a:gd name="connsiteX61" fmla="*/ 900112 w 1011118"/>
                  <a:gd name="connsiteY61" fmla="*/ 0 h 314325"/>
                  <a:gd name="connsiteX62" fmla="*/ 904875 w 1011118"/>
                  <a:gd name="connsiteY62" fmla="*/ 14287 h 314325"/>
                  <a:gd name="connsiteX63" fmla="*/ 909637 w 1011118"/>
                  <a:gd name="connsiteY63" fmla="*/ 71437 h 314325"/>
                  <a:gd name="connsiteX64" fmla="*/ 919162 w 1011118"/>
                  <a:gd name="connsiteY64" fmla="*/ 100012 h 314325"/>
                  <a:gd name="connsiteX65" fmla="*/ 942975 w 1011118"/>
                  <a:gd name="connsiteY65" fmla="*/ 161925 h 314325"/>
                  <a:gd name="connsiteX66" fmla="*/ 947737 w 1011118"/>
                  <a:gd name="connsiteY66" fmla="*/ 180975 h 314325"/>
                  <a:gd name="connsiteX67" fmla="*/ 952500 w 1011118"/>
                  <a:gd name="connsiteY67" fmla="*/ 214312 h 314325"/>
                  <a:gd name="connsiteX68" fmla="*/ 971550 w 1011118"/>
                  <a:gd name="connsiteY68" fmla="*/ 242887 h 314325"/>
                  <a:gd name="connsiteX69" fmla="*/ 985837 w 1011118"/>
                  <a:gd name="connsiteY69" fmla="*/ 238125 h 314325"/>
                  <a:gd name="connsiteX70" fmla="*/ 990600 w 1011118"/>
                  <a:gd name="connsiteY70" fmla="*/ 223837 h 314325"/>
                  <a:gd name="connsiteX71" fmla="*/ 1004887 w 1011118"/>
                  <a:gd name="connsiteY71"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23850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704850 w 1011118"/>
                  <a:gd name="connsiteY44" fmla="*/ 17145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30535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6250 w 1011118"/>
                  <a:gd name="connsiteY19" fmla="*/ 3663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990600"/>
                  <a:gd name="connsiteY0" fmla="*/ 266700 h 314325"/>
                  <a:gd name="connsiteX1" fmla="*/ 23812 w 990600"/>
                  <a:gd name="connsiteY1" fmla="*/ 242887 h 314325"/>
                  <a:gd name="connsiteX2" fmla="*/ 28575 w 990600"/>
                  <a:gd name="connsiteY2" fmla="*/ 228600 h 314325"/>
                  <a:gd name="connsiteX3" fmla="*/ 57150 w 990600"/>
                  <a:gd name="connsiteY3" fmla="*/ 180975 h 314325"/>
                  <a:gd name="connsiteX4" fmla="*/ 66675 w 990600"/>
                  <a:gd name="connsiteY4" fmla="*/ 166687 h 314325"/>
                  <a:gd name="connsiteX5" fmla="*/ 85725 w 990600"/>
                  <a:gd name="connsiteY5" fmla="*/ 114300 h 314325"/>
                  <a:gd name="connsiteX6" fmla="*/ 95250 w 990600"/>
                  <a:gd name="connsiteY6" fmla="*/ 100012 h 314325"/>
                  <a:gd name="connsiteX7" fmla="*/ 114300 w 990600"/>
                  <a:gd name="connsiteY7" fmla="*/ 57150 h 314325"/>
                  <a:gd name="connsiteX8" fmla="*/ 119062 w 990600"/>
                  <a:gd name="connsiteY8" fmla="*/ 42862 h 314325"/>
                  <a:gd name="connsiteX9" fmla="*/ 128587 w 990600"/>
                  <a:gd name="connsiteY9" fmla="*/ 4762 h 314325"/>
                  <a:gd name="connsiteX10" fmla="*/ 138112 w 990600"/>
                  <a:gd name="connsiteY10" fmla="*/ 100012 h 314325"/>
                  <a:gd name="connsiteX11" fmla="*/ 147637 w 990600"/>
                  <a:gd name="connsiteY11" fmla="*/ 152400 h 314325"/>
                  <a:gd name="connsiteX12" fmla="*/ 152400 w 990600"/>
                  <a:gd name="connsiteY12" fmla="*/ 228600 h 314325"/>
                  <a:gd name="connsiteX13" fmla="*/ 164889 w 990600"/>
                  <a:gd name="connsiteY13" fmla="*/ 268258 h 314325"/>
                  <a:gd name="connsiteX14" fmla="*/ 192770 w 990600"/>
                  <a:gd name="connsiteY14" fmla="*/ 255572 h 314325"/>
                  <a:gd name="connsiteX15" fmla="*/ 223081 w 990600"/>
                  <a:gd name="connsiteY15" fmla="*/ 201561 h 314325"/>
                  <a:gd name="connsiteX16" fmla="*/ 242887 w 990600"/>
                  <a:gd name="connsiteY16" fmla="*/ 171450 h 314325"/>
                  <a:gd name="connsiteX17" fmla="*/ 261937 w 990600"/>
                  <a:gd name="connsiteY17" fmla="*/ 142875 h 314325"/>
                  <a:gd name="connsiteX18" fmla="*/ 295275 w 990600"/>
                  <a:gd name="connsiteY18" fmla="*/ 71437 h 314325"/>
                  <a:gd name="connsiteX19" fmla="*/ 306250 w 990600"/>
                  <a:gd name="connsiteY19" fmla="*/ 36631 h 314325"/>
                  <a:gd name="connsiteX20" fmla="*/ 313221 w 990600"/>
                  <a:gd name="connsiteY20" fmla="*/ 88841 h 314325"/>
                  <a:gd name="connsiteX21" fmla="*/ 318331 w 990600"/>
                  <a:gd name="connsiteY21" fmla="*/ 147637 h 314325"/>
                  <a:gd name="connsiteX22" fmla="*/ 328612 w 990600"/>
                  <a:gd name="connsiteY22" fmla="*/ 171450 h 314325"/>
                  <a:gd name="connsiteX23" fmla="*/ 339998 w 990600"/>
                  <a:gd name="connsiteY23" fmla="*/ 261916 h 314325"/>
                  <a:gd name="connsiteX24" fmla="*/ 347662 w 990600"/>
                  <a:gd name="connsiteY24" fmla="*/ 247650 h 314325"/>
                  <a:gd name="connsiteX25" fmla="*/ 361256 w 990600"/>
                  <a:gd name="connsiteY25" fmla="*/ 231782 h 314325"/>
                  <a:gd name="connsiteX26" fmla="*/ 385762 w 990600"/>
                  <a:gd name="connsiteY26" fmla="*/ 180975 h 314325"/>
                  <a:gd name="connsiteX27" fmla="*/ 400050 w 990600"/>
                  <a:gd name="connsiteY27" fmla="*/ 171450 h 314325"/>
                  <a:gd name="connsiteX28" fmla="*/ 409575 w 990600"/>
                  <a:gd name="connsiteY28" fmla="*/ 157162 h 314325"/>
                  <a:gd name="connsiteX29" fmla="*/ 419100 w 990600"/>
                  <a:gd name="connsiteY29" fmla="*/ 180975 h 314325"/>
                  <a:gd name="connsiteX30" fmla="*/ 428625 w 990600"/>
                  <a:gd name="connsiteY30" fmla="*/ 209550 h 314325"/>
                  <a:gd name="connsiteX31" fmla="*/ 438906 w 990600"/>
                  <a:gd name="connsiteY31" fmla="*/ 252390 h 314325"/>
                  <a:gd name="connsiteX32" fmla="*/ 466725 w 990600"/>
                  <a:gd name="connsiteY32" fmla="*/ 233362 h 314325"/>
                  <a:gd name="connsiteX33" fmla="*/ 481012 w 990600"/>
                  <a:gd name="connsiteY33" fmla="*/ 233362 h 314325"/>
                  <a:gd name="connsiteX34" fmla="*/ 490537 w 990600"/>
                  <a:gd name="connsiteY34" fmla="*/ 223837 h 314325"/>
                  <a:gd name="connsiteX35" fmla="*/ 533400 w 990600"/>
                  <a:gd name="connsiteY35" fmla="*/ 138112 h 314325"/>
                  <a:gd name="connsiteX36" fmla="*/ 552450 w 990600"/>
                  <a:gd name="connsiteY36" fmla="*/ 104775 h 314325"/>
                  <a:gd name="connsiteX37" fmla="*/ 557212 w 990600"/>
                  <a:gd name="connsiteY37" fmla="*/ 90487 h 314325"/>
                  <a:gd name="connsiteX38" fmla="*/ 571500 w 990600"/>
                  <a:gd name="connsiteY38" fmla="*/ 80962 h 314325"/>
                  <a:gd name="connsiteX39" fmla="*/ 610294 w 990600"/>
                  <a:gd name="connsiteY39" fmla="*/ 49227 h 314325"/>
                  <a:gd name="connsiteX40" fmla="*/ 627328 w 990600"/>
                  <a:gd name="connsiteY40" fmla="*/ 51320 h 314325"/>
                  <a:gd name="connsiteX41" fmla="*/ 638585 w 990600"/>
                  <a:gd name="connsiteY41" fmla="*/ 295341 h 314325"/>
                  <a:gd name="connsiteX42" fmla="*/ 642937 w 990600"/>
                  <a:gd name="connsiteY42" fmla="*/ 314325 h 314325"/>
                  <a:gd name="connsiteX43" fmla="*/ 652462 w 990600"/>
                  <a:gd name="connsiteY43" fmla="*/ 295275 h 314325"/>
                  <a:gd name="connsiteX44" fmla="*/ 666402 w 990600"/>
                  <a:gd name="connsiteY44" fmla="*/ 257152 h 314325"/>
                  <a:gd name="connsiteX45" fmla="*/ 698227 w 990600"/>
                  <a:gd name="connsiteY45" fmla="*/ 168290 h 314325"/>
                  <a:gd name="connsiteX46" fmla="*/ 714375 w 990600"/>
                  <a:gd name="connsiteY46" fmla="*/ 133350 h 314325"/>
                  <a:gd name="connsiteX47" fmla="*/ 719137 w 990600"/>
                  <a:gd name="connsiteY47" fmla="*/ 166687 h 314325"/>
                  <a:gd name="connsiteX48" fmla="*/ 723900 w 990600"/>
                  <a:gd name="connsiteY48" fmla="*/ 180975 h 314325"/>
                  <a:gd name="connsiteX49" fmla="*/ 740048 w 990600"/>
                  <a:gd name="connsiteY49" fmla="*/ 155604 h 314325"/>
                  <a:gd name="connsiteX50" fmla="*/ 766068 w 990600"/>
                  <a:gd name="connsiteY50" fmla="*/ 131770 h 314325"/>
                  <a:gd name="connsiteX51" fmla="*/ 785812 w 990600"/>
                  <a:gd name="connsiteY51" fmla="*/ 85725 h 314325"/>
                  <a:gd name="connsiteX52" fmla="*/ 795337 w 990600"/>
                  <a:gd name="connsiteY52" fmla="*/ 114300 h 314325"/>
                  <a:gd name="connsiteX53" fmla="*/ 809625 w 990600"/>
                  <a:gd name="connsiteY53" fmla="*/ 185737 h 314325"/>
                  <a:gd name="connsiteX54" fmla="*/ 830535 w 990600"/>
                  <a:gd name="connsiteY54" fmla="*/ 180975 h 314325"/>
                  <a:gd name="connsiteX55" fmla="*/ 847725 w 990600"/>
                  <a:gd name="connsiteY55" fmla="*/ 138112 h 314325"/>
                  <a:gd name="connsiteX56" fmla="*/ 871537 w 990600"/>
                  <a:gd name="connsiteY56" fmla="*/ 76200 h 314325"/>
                  <a:gd name="connsiteX57" fmla="*/ 876300 w 990600"/>
                  <a:gd name="connsiteY57" fmla="*/ 52387 h 314325"/>
                  <a:gd name="connsiteX58" fmla="*/ 890587 w 990600"/>
                  <a:gd name="connsiteY58" fmla="*/ 38100 h 314325"/>
                  <a:gd name="connsiteX59" fmla="*/ 895350 w 990600"/>
                  <a:gd name="connsiteY59" fmla="*/ 14287 h 314325"/>
                  <a:gd name="connsiteX60" fmla="*/ 900112 w 990600"/>
                  <a:gd name="connsiteY60" fmla="*/ 0 h 314325"/>
                  <a:gd name="connsiteX61" fmla="*/ 904875 w 990600"/>
                  <a:gd name="connsiteY61" fmla="*/ 14287 h 314325"/>
                  <a:gd name="connsiteX62" fmla="*/ 909637 w 990600"/>
                  <a:gd name="connsiteY62" fmla="*/ 71437 h 314325"/>
                  <a:gd name="connsiteX63" fmla="*/ 919162 w 990600"/>
                  <a:gd name="connsiteY63" fmla="*/ 100012 h 314325"/>
                  <a:gd name="connsiteX64" fmla="*/ 942975 w 990600"/>
                  <a:gd name="connsiteY64" fmla="*/ 161925 h 314325"/>
                  <a:gd name="connsiteX65" fmla="*/ 947737 w 990600"/>
                  <a:gd name="connsiteY65" fmla="*/ 180975 h 314325"/>
                  <a:gd name="connsiteX66" fmla="*/ 952500 w 990600"/>
                  <a:gd name="connsiteY66" fmla="*/ 214312 h 314325"/>
                  <a:gd name="connsiteX67" fmla="*/ 971550 w 990600"/>
                  <a:gd name="connsiteY67" fmla="*/ 242887 h 314325"/>
                  <a:gd name="connsiteX68" fmla="*/ 985837 w 990600"/>
                  <a:gd name="connsiteY68" fmla="*/ 238125 h 314325"/>
                  <a:gd name="connsiteX69" fmla="*/ 990600 w 990600"/>
                  <a:gd name="connsiteY69" fmla="*/ 223837 h 314325"/>
                  <a:gd name="connsiteX0" fmla="*/ 0 w 1009366"/>
                  <a:gd name="connsiteY0" fmla="*/ 266700 h 314325"/>
                  <a:gd name="connsiteX1" fmla="*/ 23812 w 1009366"/>
                  <a:gd name="connsiteY1" fmla="*/ 242887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7957 w 1008814"/>
                  <a:gd name="connsiteY68" fmla="*/ 250306 h 314325"/>
                  <a:gd name="connsiteX69" fmla="*/ 1008814 w 1008814"/>
                  <a:gd name="connsiteY69" fmla="*/ 201715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417"/>
                  <a:gd name="connsiteY0" fmla="*/ 262750 h 314325"/>
                  <a:gd name="connsiteX1" fmla="*/ 10014 w 1010417"/>
                  <a:gd name="connsiteY1" fmla="*/ 273436 h 314325"/>
                  <a:gd name="connsiteX2" fmla="*/ 28023 w 1010417"/>
                  <a:gd name="connsiteY2" fmla="*/ 228600 h 314325"/>
                  <a:gd name="connsiteX3" fmla="*/ 56598 w 1010417"/>
                  <a:gd name="connsiteY3" fmla="*/ 180975 h 314325"/>
                  <a:gd name="connsiteX4" fmla="*/ 66123 w 1010417"/>
                  <a:gd name="connsiteY4" fmla="*/ 166687 h 314325"/>
                  <a:gd name="connsiteX5" fmla="*/ 85173 w 1010417"/>
                  <a:gd name="connsiteY5" fmla="*/ 114300 h 314325"/>
                  <a:gd name="connsiteX6" fmla="*/ 94698 w 1010417"/>
                  <a:gd name="connsiteY6" fmla="*/ 100012 h 314325"/>
                  <a:gd name="connsiteX7" fmla="*/ 113748 w 1010417"/>
                  <a:gd name="connsiteY7" fmla="*/ 57150 h 314325"/>
                  <a:gd name="connsiteX8" fmla="*/ 118510 w 1010417"/>
                  <a:gd name="connsiteY8" fmla="*/ 42862 h 314325"/>
                  <a:gd name="connsiteX9" fmla="*/ 128035 w 1010417"/>
                  <a:gd name="connsiteY9" fmla="*/ 4762 h 314325"/>
                  <a:gd name="connsiteX10" fmla="*/ 137560 w 1010417"/>
                  <a:gd name="connsiteY10" fmla="*/ 100012 h 314325"/>
                  <a:gd name="connsiteX11" fmla="*/ 147085 w 1010417"/>
                  <a:gd name="connsiteY11" fmla="*/ 152400 h 314325"/>
                  <a:gd name="connsiteX12" fmla="*/ 151848 w 1010417"/>
                  <a:gd name="connsiteY12" fmla="*/ 228600 h 314325"/>
                  <a:gd name="connsiteX13" fmla="*/ 164337 w 1010417"/>
                  <a:gd name="connsiteY13" fmla="*/ 268258 h 314325"/>
                  <a:gd name="connsiteX14" fmla="*/ 192218 w 1010417"/>
                  <a:gd name="connsiteY14" fmla="*/ 255572 h 314325"/>
                  <a:gd name="connsiteX15" fmla="*/ 222529 w 1010417"/>
                  <a:gd name="connsiteY15" fmla="*/ 201561 h 314325"/>
                  <a:gd name="connsiteX16" fmla="*/ 242335 w 1010417"/>
                  <a:gd name="connsiteY16" fmla="*/ 171450 h 314325"/>
                  <a:gd name="connsiteX17" fmla="*/ 261385 w 1010417"/>
                  <a:gd name="connsiteY17" fmla="*/ 142875 h 314325"/>
                  <a:gd name="connsiteX18" fmla="*/ 294723 w 1010417"/>
                  <a:gd name="connsiteY18" fmla="*/ 71437 h 314325"/>
                  <a:gd name="connsiteX19" fmla="*/ 305698 w 1010417"/>
                  <a:gd name="connsiteY19" fmla="*/ 36631 h 314325"/>
                  <a:gd name="connsiteX20" fmla="*/ 312669 w 1010417"/>
                  <a:gd name="connsiteY20" fmla="*/ 88841 h 314325"/>
                  <a:gd name="connsiteX21" fmla="*/ 317779 w 1010417"/>
                  <a:gd name="connsiteY21" fmla="*/ 147637 h 314325"/>
                  <a:gd name="connsiteX22" fmla="*/ 328060 w 1010417"/>
                  <a:gd name="connsiteY22" fmla="*/ 171450 h 314325"/>
                  <a:gd name="connsiteX23" fmla="*/ 339446 w 1010417"/>
                  <a:gd name="connsiteY23" fmla="*/ 261916 h 314325"/>
                  <a:gd name="connsiteX24" fmla="*/ 347110 w 1010417"/>
                  <a:gd name="connsiteY24" fmla="*/ 247650 h 314325"/>
                  <a:gd name="connsiteX25" fmla="*/ 360704 w 1010417"/>
                  <a:gd name="connsiteY25" fmla="*/ 231782 h 314325"/>
                  <a:gd name="connsiteX26" fmla="*/ 385210 w 1010417"/>
                  <a:gd name="connsiteY26" fmla="*/ 180975 h 314325"/>
                  <a:gd name="connsiteX27" fmla="*/ 399498 w 1010417"/>
                  <a:gd name="connsiteY27" fmla="*/ 171450 h 314325"/>
                  <a:gd name="connsiteX28" fmla="*/ 409023 w 1010417"/>
                  <a:gd name="connsiteY28" fmla="*/ 157162 h 314325"/>
                  <a:gd name="connsiteX29" fmla="*/ 418548 w 1010417"/>
                  <a:gd name="connsiteY29" fmla="*/ 180975 h 314325"/>
                  <a:gd name="connsiteX30" fmla="*/ 428073 w 1010417"/>
                  <a:gd name="connsiteY30" fmla="*/ 209550 h 314325"/>
                  <a:gd name="connsiteX31" fmla="*/ 438354 w 1010417"/>
                  <a:gd name="connsiteY31" fmla="*/ 252390 h 314325"/>
                  <a:gd name="connsiteX32" fmla="*/ 466173 w 1010417"/>
                  <a:gd name="connsiteY32" fmla="*/ 233362 h 314325"/>
                  <a:gd name="connsiteX33" fmla="*/ 480460 w 1010417"/>
                  <a:gd name="connsiteY33" fmla="*/ 233362 h 314325"/>
                  <a:gd name="connsiteX34" fmla="*/ 489985 w 1010417"/>
                  <a:gd name="connsiteY34" fmla="*/ 223837 h 314325"/>
                  <a:gd name="connsiteX35" fmla="*/ 532848 w 1010417"/>
                  <a:gd name="connsiteY35" fmla="*/ 138112 h 314325"/>
                  <a:gd name="connsiteX36" fmla="*/ 551898 w 1010417"/>
                  <a:gd name="connsiteY36" fmla="*/ 104775 h 314325"/>
                  <a:gd name="connsiteX37" fmla="*/ 556660 w 1010417"/>
                  <a:gd name="connsiteY37" fmla="*/ 90487 h 314325"/>
                  <a:gd name="connsiteX38" fmla="*/ 570948 w 1010417"/>
                  <a:gd name="connsiteY38" fmla="*/ 80962 h 314325"/>
                  <a:gd name="connsiteX39" fmla="*/ 609742 w 1010417"/>
                  <a:gd name="connsiteY39" fmla="*/ 49227 h 314325"/>
                  <a:gd name="connsiteX40" fmla="*/ 626776 w 1010417"/>
                  <a:gd name="connsiteY40" fmla="*/ 51320 h 314325"/>
                  <a:gd name="connsiteX41" fmla="*/ 638033 w 1010417"/>
                  <a:gd name="connsiteY41" fmla="*/ 295341 h 314325"/>
                  <a:gd name="connsiteX42" fmla="*/ 642385 w 1010417"/>
                  <a:gd name="connsiteY42" fmla="*/ 314325 h 314325"/>
                  <a:gd name="connsiteX43" fmla="*/ 651910 w 1010417"/>
                  <a:gd name="connsiteY43" fmla="*/ 295275 h 314325"/>
                  <a:gd name="connsiteX44" fmla="*/ 665850 w 1010417"/>
                  <a:gd name="connsiteY44" fmla="*/ 257152 h 314325"/>
                  <a:gd name="connsiteX45" fmla="*/ 697675 w 1010417"/>
                  <a:gd name="connsiteY45" fmla="*/ 168290 h 314325"/>
                  <a:gd name="connsiteX46" fmla="*/ 713823 w 1010417"/>
                  <a:gd name="connsiteY46" fmla="*/ 133350 h 314325"/>
                  <a:gd name="connsiteX47" fmla="*/ 718585 w 1010417"/>
                  <a:gd name="connsiteY47" fmla="*/ 166687 h 314325"/>
                  <a:gd name="connsiteX48" fmla="*/ 723348 w 1010417"/>
                  <a:gd name="connsiteY48" fmla="*/ 180975 h 314325"/>
                  <a:gd name="connsiteX49" fmla="*/ 739496 w 1010417"/>
                  <a:gd name="connsiteY49" fmla="*/ 155604 h 314325"/>
                  <a:gd name="connsiteX50" fmla="*/ 765516 w 1010417"/>
                  <a:gd name="connsiteY50" fmla="*/ 131770 h 314325"/>
                  <a:gd name="connsiteX51" fmla="*/ 785260 w 1010417"/>
                  <a:gd name="connsiteY51" fmla="*/ 85725 h 314325"/>
                  <a:gd name="connsiteX52" fmla="*/ 794785 w 1010417"/>
                  <a:gd name="connsiteY52" fmla="*/ 114300 h 314325"/>
                  <a:gd name="connsiteX53" fmla="*/ 809073 w 1010417"/>
                  <a:gd name="connsiteY53" fmla="*/ 185737 h 314325"/>
                  <a:gd name="connsiteX54" fmla="*/ 829983 w 1010417"/>
                  <a:gd name="connsiteY54" fmla="*/ 180975 h 314325"/>
                  <a:gd name="connsiteX55" fmla="*/ 847173 w 1010417"/>
                  <a:gd name="connsiteY55" fmla="*/ 138112 h 314325"/>
                  <a:gd name="connsiteX56" fmla="*/ 870985 w 1010417"/>
                  <a:gd name="connsiteY56" fmla="*/ 76200 h 314325"/>
                  <a:gd name="connsiteX57" fmla="*/ 875748 w 1010417"/>
                  <a:gd name="connsiteY57" fmla="*/ 52387 h 314325"/>
                  <a:gd name="connsiteX58" fmla="*/ 890035 w 1010417"/>
                  <a:gd name="connsiteY58" fmla="*/ 38100 h 314325"/>
                  <a:gd name="connsiteX59" fmla="*/ 894798 w 1010417"/>
                  <a:gd name="connsiteY59" fmla="*/ 14287 h 314325"/>
                  <a:gd name="connsiteX60" fmla="*/ 899560 w 1010417"/>
                  <a:gd name="connsiteY60" fmla="*/ 0 h 314325"/>
                  <a:gd name="connsiteX61" fmla="*/ 904323 w 1010417"/>
                  <a:gd name="connsiteY61" fmla="*/ 14287 h 314325"/>
                  <a:gd name="connsiteX62" fmla="*/ 909085 w 1010417"/>
                  <a:gd name="connsiteY62" fmla="*/ 71437 h 314325"/>
                  <a:gd name="connsiteX63" fmla="*/ 918610 w 1010417"/>
                  <a:gd name="connsiteY63" fmla="*/ 100012 h 314325"/>
                  <a:gd name="connsiteX64" fmla="*/ 942423 w 1010417"/>
                  <a:gd name="connsiteY64" fmla="*/ 161925 h 314325"/>
                  <a:gd name="connsiteX65" fmla="*/ 947185 w 1010417"/>
                  <a:gd name="connsiteY65" fmla="*/ 180975 h 314325"/>
                  <a:gd name="connsiteX66" fmla="*/ 951948 w 1010417"/>
                  <a:gd name="connsiteY66" fmla="*/ 214312 h 314325"/>
                  <a:gd name="connsiteX67" fmla="*/ 970998 w 1010417"/>
                  <a:gd name="connsiteY67" fmla="*/ 242887 h 314325"/>
                  <a:gd name="connsiteX68" fmla="*/ 987957 w 1010417"/>
                  <a:gd name="connsiteY68" fmla="*/ 250306 h 314325"/>
                  <a:gd name="connsiteX69" fmla="*/ 1010417 w 1010417"/>
                  <a:gd name="connsiteY69" fmla="*/ 262624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0121 w 1011486"/>
                  <a:gd name="connsiteY68" fmla="*/ 263299 h 314325"/>
                  <a:gd name="connsiteX69" fmla="*/ 1011486 w 1011486"/>
                  <a:gd name="connsiteY69" fmla="*/ 265059 h 314325"/>
                  <a:gd name="connsiteX0" fmla="*/ 0 w 1016295"/>
                  <a:gd name="connsiteY0" fmla="*/ 262750 h 314325"/>
                  <a:gd name="connsiteX1" fmla="*/ 10014 w 1016295"/>
                  <a:gd name="connsiteY1" fmla="*/ 273436 h 314325"/>
                  <a:gd name="connsiteX2" fmla="*/ 28023 w 1016295"/>
                  <a:gd name="connsiteY2" fmla="*/ 228600 h 314325"/>
                  <a:gd name="connsiteX3" fmla="*/ 56598 w 1016295"/>
                  <a:gd name="connsiteY3" fmla="*/ 180975 h 314325"/>
                  <a:gd name="connsiteX4" fmla="*/ 66123 w 1016295"/>
                  <a:gd name="connsiteY4" fmla="*/ 166687 h 314325"/>
                  <a:gd name="connsiteX5" fmla="*/ 85173 w 1016295"/>
                  <a:gd name="connsiteY5" fmla="*/ 114300 h 314325"/>
                  <a:gd name="connsiteX6" fmla="*/ 94698 w 1016295"/>
                  <a:gd name="connsiteY6" fmla="*/ 100012 h 314325"/>
                  <a:gd name="connsiteX7" fmla="*/ 113748 w 1016295"/>
                  <a:gd name="connsiteY7" fmla="*/ 57150 h 314325"/>
                  <a:gd name="connsiteX8" fmla="*/ 118510 w 1016295"/>
                  <a:gd name="connsiteY8" fmla="*/ 42862 h 314325"/>
                  <a:gd name="connsiteX9" fmla="*/ 128035 w 1016295"/>
                  <a:gd name="connsiteY9" fmla="*/ 4762 h 314325"/>
                  <a:gd name="connsiteX10" fmla="*/ 137560 w 1016295"/>
                  <a:gd name="connsiteY10" fmla="*/ 100012 h 314325"/>
                  <a:gd name="connsiteX11" fmla="*/ 147085 w 1016295"/>
                  <a:gd name="connsiteY11" fmla="*/ 152400 h 314325"/>
                  <a:gd name="connsiteX12" fmla="*/ 151848 w 1016295"/>
                  <a:gd name="connsiteY12" fmla="*/ 228600 h 314325"/>
                  <a:gd name="connsiteX13" fmla="*/ 164337 w 1016295"/>
                  <a:gd name="connsiteY13" fmla="*/ 268258 h 314325"/>
                  <a:gd name="connsiteX14" fmla="*/ 192218 w 1016295"/>
                  <a:gd name="connsiteY14" fmla="*/ 255572 h 314325"/>
                  <a:gd name="connsiteX15" fmla="*/ 222529 w 1016295"/>
                  <a:gd name="connsiteY15" fmla="*/ 201561 h 314325"/>
                  <a:gd name="connsiteX16" fmla="*/ 242335 w 1016295"/>
                  <a:gd name="connsiteY16" fmla="*/ 171450 h 314325"/>
                  <a:gd name="connsiteX17" fmla="*/ 261385 w 1016295"/>
                  <a:gd name="connsiteY17" fmla="*/ 142875 h 314325"/>
                  <a:gd name="connsiteX18" fmla="*/ 294723 w 1016295"/>
                  <a:gd name="connsiteY18" fmla="*/ 71437 h 314325"/>
                  <a:gd name="connsiteX19" fmla="*/ 305698 w 1016295"/>
                  <a:gd name="connsiteY19" fmla="*/ 36631 h 314325"/>
                  <a:gd name="connsiteX20" fmla="*/ 312669 w 1016295"/>
                  <a:gd name="connsiteY20" fmla="*/ 88841 h 314325"/>
                  <a:gd name="connsiteX21" fmla="*/ 317779 w 1016295"/>
                  <a:gd name="connsiteY21" fmla="*/ 147637 h 314325"/>
                  <a:gd name="connsiteX22" fmla="*/ 328060 w 1016295"/>
                  <a:gd name="connsiteY22" fmla="*/ 171450 h 314325"/>
                  <a:gd name="connsiteX23" fmla="*/ 339446 w 1016295"/>
                  <a:gd name="connsiteY23" fmla="*/ 261916 h 314325"/>
                  <a:gd name="connsiteX24" fmla="*/ 347110 w 1016295"/>
                  <a:gd name="connsiteY24" fmla="*/ 247650 h 314325"/>
                  <a:gd name="connsiteX25" fmla="*/ 360704 w 1016295"/>
                  <a:gd name="connsiteY25" fmla="*/ 231782 h 314325"/>
                  <a:gd name="connsiteX26" fmla="*/ 385210 w 1016295"/>
                  <a:gd name="connsiteY26" fmla="*/ 180975 h 314325"/>
                  <a:gd name="connsiteX27" fmla="*/ 399498 w 1016295"/>
                  <a:gd name="connsiteY27" fmla="*/ 171450 h 314325"/>
                  <a:gd name="connsiteX28" fmla="*/ 409023 w 1016295"/>
                  <a:gd name="connsiteY28" fmla="*/ 157162 h 314325"/>
                  <a:gd name="connsiteX29" fmla="*/ 418548 w 1016295"/>
                  <a:gd name="connsiteY29" fmla="*/ 180975 h 314325"/>
                  <a:gd name="connsiteX30" fmla="*/ 428073 w 1016295"/>
                  <a:gd name="connsiteY30" fmla="*/ 209550 h 314325"/>
                  <a:gd name="connsiteX31" fmla="*/ 438354 w 1016295"/>
                  <a:gd name="connsiteY31" fmla="*/ 252390 h 314325"/>
                  <a:gd name="connsiteX32" fmla="*/ 466173 w 1016295"/>
                  <a:gd name="connsiteY32" fmla="*/ 233362 h 314325"/>
                  <a:gd name="connsiteX33" fmla="*/ 480460 w 1016295"/>
                  <a:gd name="connsiteY33" fmla="*/ 233362 h 314325"/>
                  <a:gd name="connsiteX34" fmla="*/ 489985 w 1016295"/>
                  <a:gd name="connsiteY34" fmla="*/ 223837 h 314325"/>
                  <a:gd name="connsiteX35" fmla="*/ 532848 w 1016295"/>
                  <a:gd name="connsiteY35" fmla="*/ 138112 h 314325"/>
                  <a:gd name="connsiteX36" fmla="*/ 551898 w 1016295"/>
                  <a:gd name="connsiteY36" fmla="*/ 104775 h 314325"/>
                  <a:gd name="connsiteX37" fmla="*/ 556660 w 1016295"/>
                  <a:gd name="connsiteY37" fmla="*/ 90487 h 314325"/>
                  <a:gd name="connsiteX38" fmla="*/ 570948 w 1016295"/>
                  <a:gd name="connsiteY38" fmla="*/ 80962 h 314325"/>
                  <a:gd name="connsiteX39" fmla="*/ 609742 w 1016295"/>
                  <a:gd name="connsiteY39" fmla="*/ 49227 h 314325"/>
                  <a:gd name="connsiteX40" fmla="*/ 626776 w 1016295"/>
                  <a:gd name="connsiteY40" fmla="*/ 51320 h 314325"/>
                  <a:gd name="connsiteX41" fmla="*/ 638033 w 1016295"/>
                  <a:gd name="connsiteY41" fmla="*/ 295341 h 314325"/>
                  <a:gd name="connsiteX42" fmla="*/ 642385 w 1016295"/>
                  <a:gd name="connsiteY42" fmla="*/ 314325 h 314325"/>
                  <a:gd name="connsiteX43" fmla="*/ 651910 w 1016295"/>
                  <a:gd name="connsiteY43" fmla="*/ 295275 h 314325"/>
                  <a:gd name="connsiteX44" fmla="*/ 665850 w 1016295"/>
                  <a:gd name="connsiteY44" fmla="*/ 257152 h 314325"/>
                  <a:gd name="connsiteX45" fmla="*/ 697675 w 1016295"/>
                  <a:gd name="connsiteY45" fmla="*/ 168290 h 314325"/>
                  <a:gd name="connsiteX46" fmla="*/ 713823 w 1016295"/>
                  <a:gd name="connsiteY46" fmla="*/ 133350 h 314325"/>
                  <a:gd name="connsiteX47" fmla="*/ 718585 w 1016295"/>
                  <a:gd name="connsiteY47" fmla="*/ 166687 h 314325"/>
                  <a:gd name="connsiteX48" fmla="*/ 723348 w 1016295"/>
                  <a:gd name="connsiteY48" fmla="*/ 180975 h 314325"/>
                  <a:gd name="connsiteX49" fmla="*/ 739496 w 1016295"/>
                  <a:gd name="connsiteY49" fmla="*/ 155604 h 314325"/>
                  <a:gd name="connsiteX50" fmla="*/ 765516 w 1016295"/>
                  <a:gd name="connsiteY50" fmla="*/ 131770 h 314325"/>
                  <a:gd name="connsiteX51" fmla="*/ 785260 w 1016295"/>
                  <a:gd name="connsiteY51" fmla="*/ 85725 h 314325"/>
                  <a:gd name="connsiteX52" fmla="*/ 794785 w 1016295"/>
                  <a:gd name="connsiteY52" fmla="*/ 114300 h 314325"/>
                  <a:gd name="connsiteX53" fmla="*/ 809073 w 1016295"/>
                  <a:gd name="connsiteY53" fmla="*/ 185737 h 314325"/>
                  <a:gd name="connsiteX54" fmla="*/ 829983 w 1016295"/>
                  <a:gd name="connsiteY54" fmla="*/ 180975 h 314325"/>
                  <a:gd name="connsiteX55" fmla="*/ 847173 w 1016295"/>
                  <a:gd name="connsiteY55" fmla="*/ 138112 h 314325"/>
                  <a:gd name="connsiteX56" fmla="*/ 870985 w 1016295"/>
                  <a:gd name="connsiteY56" fmla="*/ 76200 h 314325"/>
                  <a:gd name="connsiteX57" fmla="*/ 875748 w 1016295"/>
                  <a:gd name="connsiteY57" fmla="*/ 52387 h 314325"/>
                  <a:gd name="connsiteX58" fmla="*/ 890035 w 1016295"/>
                  <a:gd name="connsiteY58" fmla="*/ 38100 h 314325"/>
                  <a:gd name="connsiteX59" fmla="*/ 894798 w 1016295"/>
                  <a:gd name="connsiteY59" fmla="*/ 14287 h 314325"/>
                  <a:gd name="connsiteX60" fmla="*/ 899560 w 1016295"/>
                  <a:gd name="connsiteY60" fmla="*/ 0 h 314325"/>
                  <a:gd name="connsiteX61" fmla="*/ 904323 w 1016295"/>
                  <a:gd name="connsiteY61" fmla="*/ 14287 h 314325"/>
                  <a:gd name="connsiteX62" fmla="*/ 909085 w 1016295"/>
                  <a:gd name="connsiteY62" fmla="*/ 71437 h 314325"/>
                  <a:gd name="connsiteX63" fmla="*/ 918610 w 1016295"/>
                  <a:gd name="connsiteY63" fmla="*/ 100012 h 314325"/>
                  <a:gd name="connsiteX64" fmla="*/ 942423 w 1016295"/>
                  <a:gd name="connsiteY64" fmla="*/ 161925 h 314325"/>
                  <a:gd name="connsiteX65" fmla="*/ 947185 w 1016295"/>
                  <a:gd name="connsiteY65" fmla="*/ 180975 h 314325"/>
                  <a:gd name="connsiteX66" fmla="*/ 951948 w 1016295"/>
                  <a:gd name="connsiteY66" fmla="*/ 214312 h 314325"/>
                  <a:gd name="connsiteX67" fmla="*/ 970998 w 1016295"/>
                  <a:gd name="connsiteY67" fmla="*/ 242887 h 314325"/>
                  <a:gd name="connsiteX68" fmla="*/ 980121 w 1016295"/>
                  <a:gd name="connsiteY68" fmla="*/ 263299 h 314325"/>
                  <a:gd name="connsiteX69" fmla="*/ 1016295 w 1016295"/>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2218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221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273 w 1028050"/>
                  <a:gd name="connsiteY68" fmla="*/ 263299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1342 w 1028050"/>
                  <a:gd name="connsiteY68" fmla="*/ 270608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808 w 1028050"/>
                  <a:gd name="connsiteY68" fmla="*/ 268171 h 314325"/>
                  <a:gd name="connsiteX69" fmla="*/ 1028050 w 1028050"/>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85790 w 1023241"/>
                  <a:gd name="connsiteY68" fmla="*/ 263450 h 314325"/>
                  <a:gd name="connsiteX69" fmla="*/ 990808 w 1023241"/>
                  <a:gd name="connsiteY69" fmla="*/ 268171 h 314325"/>
                  <a:gd name="connsiteX70" fmla="*/ 1023241 w 1023241"/>
                  <a:gd name="connsiteY70"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1342 w 1023241"/>
                  <a:gd name="connsiteY68" fmla="*/ 265734 h 314325"/>
                  <a:gd name="connsiteX69" fmla="*/ 1023241 w 1023241"/>
                  <a:gd name="connsiteY69" fmla="*/ 263841 h 314325"/>
                  <a:gd name="connsiteX0" fmla="*/ 0 w 1020035"/>
                  <a:gd name="connsiteY0" fmla="*/ 281023 h 314325"/>
                  <a:gd name="connsiteX1" fmla="*/ 31921 w 1020035"/>
                  <a:gd name="connsiteY1" fmla="*/ 274654 h 314325"/>
                  <a:gd name="connsiteX2" fmla="*/ 49395 w 1020035"/>
                  <a:gd name="connsiteY2" fmla="*/ 228600 h 314325"/>
                  <a:gd name="connsiteX3" fmla="*/ 66750 w 1020035"/>
                  <a:gd name="connsiteY3" fmla="*/ 180975 h 314325"/>
                  <a:gd name="connsiteX4" fmla="*/ 76275 w 1020035"/>
                  <a:gd name="connsiteY4" fmla="*/ 166687 h 314325"/>
                  <a:gd name="connsiteX5" fmla="*/ 95325 w 1020035"/>
                  <a:gd name="connsiteY5" fmla="*/ 114300 h 314325"/>
                  <a:gd name="connsiteX6" fmla="*/ 104850 w 1020035"/>
                  <a:gd name="connsiteY6" fmla="*/ 100012 h 314325"/>
                  <a:gd name="connsiteX7" fmla="*/ 123900 w 1020035"/>
                  <a:gd name="connsiteY7" fmla="*/ 57150 h 314325"/>
                  <a:gd name="connsiteX8" fmla="*/ 128662 w 1020035"/>
                  <a:gd name="connsiteY8" fmla="*/ 42862 h 314325"/>
                  <a:gd name="connsiteX9" fmla="*/ 138187 w 1020035"/>
                  <a:gd name="connsiteY9" fmla="*/ 4762 h 314325"/>
                  <a:gd name="connsiteX10" fmla="*/ 147712 w 1020035"/>
                  <a:gd name="connsiteY10" fmla="*/ 100012 h 314325"/>
                  <a:gd name="connsiteX11" fmla="*/ 157237 w 1020035"/>
                  <a:gd name="connsiteY11" fmla="*/ 152400 h 314325"/>
                  <a:gd name="connsiteX12" fmla="*/ 162000 w 1020035"/>
                  <a:gd name="connsiteY12" fmla="*/ 228600 h 314325"/>
                  <a:gd name="connsiteX13" fmla="*/ 174489 w 1020035"/>
                  <a:gd name="connsiteY13" fmla="*/ 268258 h 314325"/>
                  <a:gd name="connsiteX14" fmla="*/ 202370 w 1020035"/>
                  <a:gd name="connsiteY14" fmla="*/ 255572 h 314325"/>
                  <a:gd name="connsiteX15" fmla="*/ 232681 w 1020035"/>
                  <a:gd name="connsiteY15" fmla="*/ 201561 h 314325"/>
                  <a:gd name="connsiteX16" fmla="*/ 252487 w 1020035"/>
                  <a:gd name="connsiteY16" fmla="*/ 171450 h 314325"/>
                  <a:gd name="connsiteX17" fmla="*/ 271537 w 1020035"/>
                  <a:gd name="connsiteY17" fmla="*/ 142875 h 314325"/>
                  <a:gd name="connsiteX18" fmla="*/ 304875 w 1020035"/>
                  <a:gd name="connsiteY18" fmla="*/ 71437 h 314325"/>
                  <a:gd name="connsiteX19" fmla="*/ 315850 w 1020035"/>
                  <a:gd name="connsiteY19" fmla="*/ 36631 h 314325"/>
                  <a:gd name="connsiteX20" fmla="*/ 322821 w 1020035"/>
                  <a:gd name="connsiteY20" fmla="*/ 88841 h 314325"/>
                  <a:gd name="connsiteX21" fmla="*/ 327931 w 1020035"/>
                  <a:gd name="connsiteY21" fmla="*/ 147637 h 314325"/>
                  <a:gd name="connsiteX22" fmla="*/ 338212 w 1020035"/>
                  <a:gd name="connsiteY22" fmla="*/ 171450 h 314325"/>
                  <a:gd name="connsiteX23" fmla="*/ 349598 w 1020035"/>
                  <a:gd name="connsiteY23" fmla="*/ 261916 h 314325"/>
                  <a:gd name="connsiteX24" fmla="*/ 357262 w 1020035"/>
                  <a:gd name="connsiteY24" fmla="*/ 247650 h 314325"/>
                  <a:gd name="connsiteX25" fmla="*/ 370856 w 1020035"/>
                  <a:gd name="connsiteY25" fmla="*/ 231782 h 314325"/>
                  <a:gd name="connsiteX26" fmla="*/ 395362 w 1020035"/>
                  <a:gd name="connsiteY26" fmla="*/ 180975 h 314325"/>
                  <a:gd name="connsiteX27" fmla="*/ 409650 w 1020035"/>
                  <a:gd name="connsiteY27" fmla="*/ 171450 h 314325"/>
                  <a:gd name="connsiteX28" fmla="*/ 419175 w 1020035"/>
                  <a:gd name="connsiteY28" fmla="*/ 157162 h 314325"/>
                  <a:gd name="connsiteX29" fmla="*/ 428700 w 1020035"/>
                  <a:gd name="connsiteY29" fmla="*/ 180975 h 314325"/>
                  <a:gd name="connsiteX30" fmla="*/ 438225 w 1020035"/>
                  <a:gd name="connsiteY30" fmla="*/ 209550 h 314325"/>
                  <a:gd name="connsiteX31" fmla="*/ 448506 w 1020035"/>
                  <a:gd name="connsiteY31" fmla="*/ 252390 h 314325"/>
                  <a:gd name="connsiteX32" fmla="*/ 476325 w 1020035"/>
                  <a:gd name="connsiteY32" fmla="*/ 233362 h 314325"/>
                  <a:gd name="connsiteX33" fmla="*/ 490612 w 1020035"/>
                  <a:gd name="connsiteY33" fmla="*/ 233362 h 314325"/>
                  <a:gd name="connsiteX34" fmla="*/ 500137 w 1020035"/>
                  <a:gd name="connsiteY34" fmla="*/ 223837 h 314325"/>
                  <a:gd name="connsiteX35" fmla="*/ 543000 w 1020035"/>
                  <a:gd name="connsiteY35" fmla="*/ 138112 h 314325"/>
                  <a:gd name="connsiteX36" fmla="*/ 562050 w 1020035"/>
                  <a:gd name="connsiteY36" fmla="*/ 104775 h 314325"/>
                  <a:gd name="connsiteX37" fmla="*/ 566812 w 1020035"/>
                  <a:gd name="connsiteY37" fmla="*/ 90487 h 314325"/>
                  <a:gd name="connsiteX38" fmla="*/ 581100 w 1020035"/>
                  <a:gd name="connsiteY38" fmla="*/ 80962 h 314325"/>
                  <a:gd name="connsiteX39" fmla="*/ 619894 w 1020035"/>
                  <a:gd name="connsiteY39" fmla="*/ 49227 h 314325"/>
                  <a:gd name="connsiteX40" fmla="*/ 636928 w 1020035"/>
                  <a:gd name="connsiteY40" fmla="*/ 51320 h 314325"/>
                  <a:gd name="connsiteX41" fmla="*/ 648185 w 1020035"/>
                  <a:gd name="connsiteY41" fmla="*/ 295341 h 314325"/>
                  <a:gd name="connsiteX42" fmla="*/ 652537 w 1020035"/>
                  <a:gd name="connsiteY42" fmla="*/ 314325 h 314325"/>
                  <a:gd name="connsiteX43" fmla="*/ 662062 w 1020035"/>
                  <a:gd name="connsiteY43" fmla="*/ 295275 h 314325"/>
                  <a:gd name="connsiteX44" fmla="*/ 676002 w 1020035"/>
                  <a:gd name="connsiteY44" fmla="*/ 257152 h 314325"/>
                  <a:gd name="connsiteX45" fmla="*/ 707827 w 1020035"/>
                  <a:gd name="connsiteY45" fmla="*/ 168290 h 314325"/>
                  <a:gd name="connsiteX46" fmla="*/ 723975 w 1020035"/>
                  <a:gd name="connsiteY46" fmla="*/ 133350 h 314325"/>
                  <a:gd name="connsiteX47" fmla="*/ 728737 w 1020035"/>
                  <a:gd name="connsiteY47" fmla="*/ 166687 h 314325"/>
                  <a:gd name="connsiteX48" fmla="*/ 733500 w 1020035"/>
                  <a:gd name="connsiteY48" fmla="*/ 180975 h 314325"/>
                  <a:gd name="connsiteX49" fmla="*/ 749648 w 1020035"/>
                  <a:gd name="connsiteY49" fmla="*/ 155604 h 314325"/>
                  <a:gd name="connsiteX50" fmla="*/ 775668 w 1020035"/>
                  <a:gd name="connsiteY50" fmla="*/ 131770 h 314325"/>
                  <a:gd name="connsiteX51" fmla="*/ 795412 w 1020035"/>
                  <a:gd name="connsiteY51" fmla="*/ 85725 h 314325"/>
                  <a:gd name="connsiteX52" fmla="*/ 804937 w 1020035"/>
                  <a:gd name="connsiteY52" fmla="*/ 114300 h 314325"/>
                  <a:gd name="connsiteX53" fmla="*/ 819225 w 1020035"/>
                  <a:gd name="connsiteY53" fmla="*/ 185737 h 314325"/>
                  <a:gd name="connsiteX54" fmla="*/ 840135 w 1020035"/>
                  <a:gd name="connsiteY54" fmla="*/ 180975 h 314325"/>
                  <a:gd name="connsiteX55" fmla="*/ 857325 w 1020035"/>
                  <a:gd name="connsiteY55" fmla="*/ 138112 h 314325"/>
                  <a:gd name="connsiteX56" fmla="*/ 881137 w 1020035"/>
                  <a:gd name="connsiteY56" fmla="*/ 76200 h 314325"/>
                  <a:gd name="connsiteX57" fmla="*/ 885900 w 1020035"/>
                  <a:gd name="connsiteY57" fmla="*/ 52387 h 314325"/>
                  <a:gd name="connsiteX58" fmla="*/ 900187 w 1020035"/>
                  <a:gd name="connsiteY58" fmla="*/ 38100 h 314325"/>
                  <a:gd name="connsiteX59" fmla="*/ 904950 w 1020035"/>
                  <a:gd name="connsiteY59" fmla="*/ 14287 h 314325"/>
                  <a:gd name="connsiteX60" fmla="*/ 909712 w 1020035"/>
                  <a:gd name="connsiteY60" fmla="*/ 0 h 314325"/>
                  <a:gd name="connsiteX61" fmla="*/ 914475 w 1020035"/>
                  <a:gd name="connsiteY61" fmla="*/ 14287 h 314325"/>
                  <a:gd name="connsiteX62" fmla="*/ 919237 w 1020035"/>
                  <a:gd name="connsiteY62" fmla="*/ 71437 h 314325"/>
                  <a:gd name="connsiteX63" fmla="*/ 928762 w 1020035"/>
                  <a:gd name="connsiteY63" fmla="*/ 100012 h 314325"/>
                  <a:gd name="connsiteX64" fmla="*/ 952575 w 1020035"/>
                  <a:gd name="connsiteY64" fmla="*/ 161925 h 314325"/>
                  <a:gd name="connsiteX65" fmla="*/ 957337 w 1020035"/>
                  <a:gd name="connsiteY65" fmla="*/ 180975 h 314325"/>
                  <a:gd name="connsiteX66" fmla="*/ 962100 w 1020035"/>
                  <a:gd name="connsiteY66" fmla="*/ 214312 h 314325"/>
                  <a:gd name="connsiteX67" fmla="*/ 981150 w 1020035"/>
                  <a:gd name="connsiteY67" fmla="*/ 242887 h 314325"/>
                  <a:gd name="connsiteX68" fmla="*/ 991342 w 1020035"/>
                  <a:gd name="connsiteY68" fmla="*/ 265734 h 314325"/>
                  <a:gd name="connsiteX69" fmla="*/ 1020035 w 1020035"/>
                  <a:gd name="connsiteY69" fmla="*/ 263841 h 314325"/>
                  <a:gd name="connsiteX0" fmla="*/ 0 w 1025378"/>
                  <a:gd name="connsiteY0" fmla="*/ 281023 h 314325"/>
                  <a:gd name="connsiteX1" fmla="*/ 31921 w 1025378"/>
                  <a:gd name="connsiteY1" fmla="*/ 274654 h 314325"/>
                  <a:gd name="connsiteX2" fmla="*/ 49395 w 1025378"/>
                  <a:gd name="connsiteY2" fmla="*/ 228600 h 314325"/>
                  <a:gd name="connsiteX3" fmla="*/ 66750 w 1025378"/>
                  <a:gd name="connsiteY3" fmla="*/ 180975 h 314325"/>
                  <a:gd name="connsiteX4" fmla="*/ 76275 w 1025378"/>
                  <a:gd name="connsiteY4" fmla="*/ 166687 h 314325"/>
                  <a:gd name="connsiteX5" fmla="*/ 95325 w 1025378"/>
                  <a:gd name="connsiteY5" fmla="*/ 114300 h 314325"/>
                  <a:gd name="connsiteX6" fmla="*/ 104850 w 1025378"/>
                  <a:gd name="connsiteY6" fmla="*/ 100012 h 314325"/>
                  <a:gd name="connsiteX7" fmla="*/ 123900 w 1025378"/>
                  <a:gd name="connsiteY7" fmla="*/ 57150 h 314325"/>
                  <a:gd name="connsiteX8" fmla="*/ 128662 w 1025378"/>
                  <a:gd name="connsiteY8" fmla="*/ 42862 h 314325"/>
                  <a:gd name="connsiteX9" fmla="*/ 138187 w 1025378"/>
                  <a:gd name="connsiteY9" fmla="*/ 4762 h 314325"/>
                  <a:gd name="connsiteX10" fmla="*/ 147712 w 1025378"/>
                  <a:gd name="connsiteY10" fmla="*/ 100012 h 314325"/>
                  <a:gd name="connsiteX11" fmla="*/ 157237 w 1025378"/>
                  <a:gd name="connsiteY11" fmla="*/ 152400 h 314325"/>
                  <a:gd name="connsiteX12" fmla="*/ 162000 w 1025378"/>
                  <a:gd name="connsiteY12" fmla="*/ 228600 h 314325"/>
                  <a:gd name="connsiteX13" fmla="*/ 174489 w 1025378"/>
                  <a:gd name="connsiteY13" fmla="*/ 268258 h 314325"/>
                  <a:gd name="connsiteX14" fmla="*/ 202370 w 1025378"/>
                  <a:gd name="connsiteY14" fmla="*/ 255572 h 314325"/>
                  <a:gd name="connsiteX15" fmla="*/ 232681 w 1025378"/>
                  <a:gd name="connsiteY15" fmla="*/ 201561 h 314325"/>
                  <a:gd name="connsiteX16" fmla="*/ 252487 w 1025378"/>
                  <a:gd name="connsiteY16" fmla="*/ 171450 h 314325"/>
                  <a:gd name="connsiteX17" fmla="*/ 271537 w 1025378"/>
                  <a:gd name="connsiteY17" fmla="*/ 142875 h 314325"/>
                  <a:gd name="connsiteX18" fmla="*/ 304875 w 1025378"/>
                  <a:gd name="connsiteY18" fmla="*/ 71437 h 314325"/>
                  <a:gd name="connsiteX19" fmla="*/ 315850 w 1025378"/>
                  <a:gd name="connsiteY19" fmla="*/ 36631 h 314325"/>
                  <a:gd name="connsiteX20" fmla="*/ 322821 w 1025378"/>
                  <a:gd name="connsiteY20" fmla="*/ 88841 h 314325"/>
                  <a:gd name="connsiteX21" fmla="*/ 327931 w 1025378"/>
                  <a:gd name="connsiteY21" fmla="*/ 147637 h 314325"/>
                  <a:gd name="connsiteX22" fmla="*/ 338212 w 1025378"/>
                  <a:gd name="connsiteY22" fmla="*/ 171450 h 314325"/>
                  <a:gd name="connsiteX23" fmla="*/ 349598 w 1025378"/>
                  <a:gd name="connsiteY23" fmla="*/ 261916 h 314325"/>
                  <a:gd name="connsiteX24" fmla="*/ 357262 w 1025378"/>
                  <a:gd name="connsiteY24" fmla="*/ 247650 h 314325"/>
                  <a:gd name="connsiteX25" fmla="*/ 370856 w 1025378"/>
                  <a:gd name="connsiteY25" fmla="*/ 231782 h 314325"/>
                  <a:gd name="connsiteX26" fmla="*/ 395362 w 1025378"/>
                  <a:gd name="connsiteY26" fmla="*/ 180975 h 314325"/>
                  <a:gd name="connsiteX27" fmla="*/ 409650 w 1025378"/>
                  <a:gd name="connsiteY27" fmla="*/ 171450 h 314325"/>
                  <a:gd name="connsiteX28" fmla="*/ 419175 w 1025378"/>
                  <a:gd name="connsiteY28" fmla="*/ 157162 h 314325"/>
                  <a:gd name="connsiteX29" fmla="*/ 428700 w 1025378"/>
                  <a:gd name="connsiteY29" fmla="*/ 180975 h 314325"/>
                  <a:gd name="connsiteX30" fmla="*/ 438225 w 1025378"/>
                  <a:gd name="connsiteY30" fmla="*/ 209550 h 314325"/>
                  <a:gd name="connsiteX31" fmla="*/ 448506 w 1025378"/>
                  <a:gd name="connsiteY31" fmla="*/ 252390 h 314325"/>
                  <a:gd name="connsiteX32" fmla="*/ 476325 w 1025378"/>
                  <a:gd name="connsiteY32" fmla="*/ 233362 h 314325"/>
                  <a:gd name="connsiteX33" fmla="*/ 490612 w 1025378"/>
                  <a:gd name="connsiteY33" fmla="*/ 233362 h 314325"/>
                  <a:gd name="connsiteX34" fmla="*/ 500137 w 1025378"/>
                  <a:gd name="connsiteY34" fmla="*/ 223837 h 314325"/>
                  <a:gd name="connsiteX35" fmla="*/ 543000 w 1025378"/>
                  <a:gd name="connsiteY35" fmla="*/ 138112 h 314325"/>
                  <a:gd name="connsiteX36" fmla="*/ 562050 w 1025378"/>
                  <a:gd name="connsiteY36" fmla="*/ 104775 h 314325"/>
                  <a:gd name="connsiteX37" fmla="*/ 566812 w 1025378"/>
                  <a:gd name="connsiteY37" fmla="*/ 90487 h 314325"/>
                  <a:gd name="connsiteX38" fmla="*/ 581100 w 1025378"/>
                  <a:gd name="connsiteY38" fmla="*/ 80962 h 314325"/>
                  <a:gd name="connsiteX39" fmla="*/ 619894 w 1025378"/>
                  <a:gd name="connsiteY39" fmla="*/ 49227 h 314325"/>
                  <a:gd name="connsiteX40" fmla="*/ 636928 w 1025378"/>
                  <a:gd name="connsiteY40" fmla="*/ 51320 h 314325"/>
                  <a:gd name="connsiteX41" fmla="*/ 648185 w 1025378"/>
                  <a:gd name="connsiteY41" fmla="*/ 295341 h 314325"/>
                  <a:gd name="connsiteX42" fmla="*/ 652537 w 1025378"/>
                  <a:gd name="connsiteY42" fmla="*/ 314325 h 314325"/>
                  <a:gd name="connsiteX43" fmla="*/ 662062 w 1025378"/>
                  <a:gd name="connsiteY43" fmla="*/ 295275 h 314325"/>
                  <a:gd name="connsiteX44" fmla="*/ 676002 w 1025378"/>
                  <a:gd name="connsiteY44" fmla="*/ 257152 h 314325"/>
                  <a:gd name="connsiteX45" fmla="*/ 707827 w 1025378"/>
                  <a:gd name="connsiteY45" fmla="*/ 168290 h 314325"/>
                  <a:gd name="connsiteX46" fmla="*/ 723975 w 1025378"/>
                  <a:gd name="connsiteY46" fmla="*/ 133350 h 314325"/>
                  <a:gd name="connsiteX47" fmla="*/ 728737 w 1025378"/>
                  <a:gd name="connsiteY47" fmla="*/ 166687 h 314325"/>
                  <a:gd name="connsiteX48" fmla="*/ 733500 w 1025378"/>
                  <a:gd name="connsiteY48" fmla="*/ 180975 h 314325"/>
                  <a:gd name="connsiteX49" fmla="*/ 749648 w 1025378"/>
                  <a:gd name="connsiteY49" fmla="*/ 155604 h 314325"/>
                  <a:gd name="connsiteX50" fmla="*/ 775668 w 1025378"/>
                  <a:gd name="connsiteY50" fmla="*/ 131770 h 314325"/>
                  <a:gd name="connsiteX51" fmla="*/ 795412 w 1025378"/>
                  <a:gd name="connsiteY51" fmla="*/ 85725 h 314325"/>
                  <a:gd name="connsiteX52" fmla="*/ 804937 w 1025378"/>
                  <a:gd name="connsiteY52" fmla="*/ 114300 h 314325"/>
                  <a:gd name="connsiteX53" fmla="*/ 819225 w 1025378"/>
                  <a:gd name="connsiteY53" fmla="*/ 185737 h 314325"/>
                  <a:gd name="connsiteX54" fmla="*/ 840135 w 1025378"/>
                  <a:gd name="connsiteY54" fmla="*/ 180975 h 314325"/>
                  <a:gd name="connsiteX55" fmla="*/ 857325 w 1025378"/>
                  <a:gd name="connsiteY55" fmla="*/ 138112 h 314325"/>
                  <a:gd name="connsiteX56" fmla="*/ 881137 w 1025378"/>
                  <a:gd name="connsiteY56" fmla="*/ 76200 h 314325"/>
                  <a:gd name="connsiteX57" fmla="*/ 885900 w 1025378"/>
                  <a:gd name="connsiteY57" fmla="*/ 52387 h 314325"/>
                  <a:gd name="connsiteX58" fmla="*/ 900187 w 1025378"/>
                  <a:gd name="connsiteY58" fmla="*/ 38100 h 314325"/>
                  <a:gd name="connsiteX59" fmla="*/ 904950 w 1025378"/>
                  <a:gd name="connsiteY59" fmla="*/ 14287 h 314325"/>
                  <a:gd name="connsiteX60" fmla="*/ 909712 w 1025378"/>
                  <a:gd name="connsiteY60" fmla="*/ 0 h 314325"/>
                  <a:gd name="connsiteX61" fmla="*/ 914475 w 1025378"/>
                  <a:gd name="connsiteY61" fmla="*/ 14287 h 314325"/>
                  <a:gd name="connsiteX62" fmla="*/ 919237 w 1025378"/>
                  <a:gd name="connsiteY62" fmla="*/ 71437 h 314325"/>
                  <a:gd name="connsiteX63" fmla="*/ 928762 w 1025378"/>
                  <a:gd name="connsiteY63" fmla="*/ 100012 h 314325"/>
                  <a:gd name="connsiteX64" fmla="*/ 952575 w 1025378"/>
                  <a:gd name="connsiteY64" fmla="*/ 161925 h 314325"/>
                  <a:gd name="connsiteX65" fmla="*/ 957337 w 1025378"/>
                  <a:gd name="connsiteY65" fmla="*/ 180975 h 314325"/>
                  <a:gd name="connsiteX66" fmla="*/ 962100 w 1025378"/>
                  <a:gd name="connsiteY66" fmla="*/ 214312 h 314325"/>
                  <a:gd name="connsiteX67" fmla="*/ 981150 w 1025378"/>
                  <a:gd name="connsiteY67" fmla="*/ 242887 h 314325"/>
                  <a:gd name="connsiteX68" fmla="*/ 991342 w 1025378"/>
                  <a:gd name="connsiteY68" fmla="*/ 265734 h 314325"/>
                  <a:gd name="connsiteX69" fmla="*/ 1025378 w 1025378"/>
                  <a:gd name="connsiteY69" fmla="*/ 261405 h 314325"/>
                  <a:gd name="connsiteX0" fmla="*/ 0 w 1024844"/>
                  <a:gd name="connsiteY0" fmla="*/ 262751 h 314325"/>
                  <a:gd name="connsiteX1" fmla="*/ 31387 w 1024844"/>
                  <a:gd name="connsiteY1" fmla="*/ 274654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3524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3775"/>
                  <a:gd name="connsiteY0" fmla="*/ 260314 h 314325"/>
                  <a:gd name="connsiteX1" fmla="*/ 32989 w 1023775"/>
                  <a:gd name="connsiteY1" fmla="*/ 257600 h 314325"/>
                  <a:gd name="connsiteX2" fmla="*/ 47792 w 1023775"/>
                  <a:gd name="connsiteY2" fmla="*/ 228600 h 314325"/>
                  <a:gd name="connsiteX3" fmla="*/ 65147 w 1023775"/>
                  <a:gd name="connsiteY3" fmla="*/ 180975 h 314325"/>
                  <a:gd name="connsiteX4" fmla="*/ 74672 w 1023775"/>
                  <a:gd name="connsiteY4" fmla="*/ 166687 h 314325"/>
                  <a:gd name="connsiteX5" fmla="*/ 93722 w 1023775"/>
                  <a:gd name="connsiteY5" fmla="*/ 114300 h 314325"/>
                  <a:gd name="connsiteX6" fmla="*/ 103247 w 1023775"/>
                  <a:gd name="connsiteY6" fmla="*/ 100012 h 314325"/>
                  <a:gd name="connsiteX7" fmla="*/ 122297 w 1023775"/>
                  <a:gd name="connsiteY7" fmla="*/ 57150 h 314325"/>
                  <a:gd name="connsiteX8" fmla="*/ 127059 w 1023775"/>
                  <a:gd name="connsiteY8" fmla="*/ 42862 h 314325"/>
                  <a:gd name="connsiteX9" fmla="*/ 136584 w 1023775"/>
                  <a:gd name="connsiteY9" fmla="*/ 4762 h 314325"/>
                  <a:gd name="connsiteX10" fmla="*/ 146109 w 1023775"/>
                  <a:gd name="connsiteY10" fmla="*/ 100012 h 314325"/>
                  <a:gd name="connsiteX11" fmla="*/ 155634 w 1023775"/>
                  <a:gd name="connsiteY11" fmla="*/ 152400 h 314325"/>
                  <a:gd name="connsiteX12" fmla="*/ 160397 w 1023775"/>
                  <a:gd name="connsiteY12" fmla="*/ 228600 h 314325"/>
                  <a:gd name="connsiteX13" fmla="*/ 172886 w 1023775"/>
                  <a:gd name="connsiteY13" fmla="*/ 268258 h 314325"/>
                  <a:gd name="connsiteX14" fmla="*/ 200767 w 1023775"/>
                  <a:gd name="connsiteY14" fmla="*/ 255572 h 314325"/>
                  <a:gd name="connsiteX15" fmla="*/ 231078 w 1023775"/>
                  <a:gd name="connsiteY15" fmla="*/ 201561 h 314325"/>
                  <a:gd name="connsiteX16" fmla="*/ 250884 w 1023775"/>
                  <a:gd name="connsiteY16" fmla="*/ 171450 h 314325"/>
                  <a:gd name="connsiteX17" fmla="*/ 269934 w 1023775"/>
                  <a:gd name="connsiteY17" fmla="*/ 142875 h 314325"/>
                  <a:gd name="connsiteX18" fmla="*/ 303272 w 1023775"/>
                  <a:gd name="connsiteY18" fmla="*/ 71437 h 314325"/>
                  <a:gd name="connsiteX19" fmla="*/ 314247 w 1023775"/>
                  <a:gd name="connsiteY19" fmla="*/ 36631 h 314325"/>
                  <a:gd name="connsiteX20" fmla="*/ 321218 w 1023775"/>
                  <a:gd name="connsiteY20" fmla="*/ 88841 h 314325"/>
                  <a:gd name="connsiteX21" fmla="*/ 326328 w 1023775"/>
                  <a:gd name="connsiteY21" fmla="*/ 147637 h 314325"/>
                  <a:gd name="connsiteX22" fmla="*/ 336609 w 1023775"/>
                  <a:gd name="connsiteY22" fmla="*/ 171450 h 314325"/>
                  <a:gd name="connsiteX23" fmla="*/ 347995 w 1023775"/>
                  <a:gd name="connsiteY23" fmla="*/ 261916 h 314325"/>
                  <a:gd name="connsiteX24" fmla="*/ 355659 w 1023775"/>
                  <a:gd name="connsiteY24" fmla="*/ 247650 h 314325"/>
                  <a:gd name="connsiteX25" fmla="*/ 369253 w 1023775"/>
                  <a:gd name="connsiteY25" fmla="*/ 231782 h 314325"/>
                  <a:gd name="connsiteX26" fmla="*/ 393759 w 1023775"/>
                  <a:gd name="connsiteY26" fmla="*/ 180975 h 314325"/>
                  <a:gd name="connsiteX27" fmla="*/ 408047 w 1023775"/>
                  <a:gd name="connsiteY27" fmla="*/ 171450 h 314325"/>
                  <a:gd name="connsiteX28" fmla="*/ 417572 w 1023775"/>
                  <a:gd name="connsiteY28" fmla="*/ 157162 h 314325"/>
                  <a:gd name="connsiteX29" fmla="*/ 427097 w 1023775"/>
                  <a:gd name="connsiteY29" fmla="*/ 180975 h 314325"/>
                  <a:gd name="connsiteX30" fmla="*/ 436622 w 1023775"/>
                  <a:gd name="connsiteY30" fmla="*/ 209550 h 314325"/>
                  <a:gd name="connsiteX31" fmla="*/ 446903 w 1023775"/>
                  <a:gd name="connsiteY31" fmla="*/ 252390 h 314325"/>
                  <a:gd name="connsiteX32" fmla="*/ 474722 w 1023775"/>
                  <a:gd name="connsiteY32" fmla="*/ 233362 h 314325"/>
                  <a:gd name="connsiteX33" fmla="*/ 489009 w 1023775"/>
                  <a:gd name="connsiteY33" fmla="*/ 233362 h 314325"/>
                  <a:gd name="connsiteX34" fmla="*/ 498534 w 1023775"/>
                  <a:gd name="connsiteY34" fmla="*/ 223837 h 314325"/>
                  <a:gd name="connsiteX35" fmla="*/ 541397 w 1023775"/>
                  <a:gd name="connsiteY35" fmla="*/ 138112 h 314325"/>
                  <a:gd name="connsiteX36" fmla="*/ 560447 w 1023775"/>
                  <a:gd name="connsiteY36" fmla="*/ 104775 h 314325"/>
                  <a:gd name="connsiteX37" fmla="*/ 565209 w 1023775"/>
                  <a:gd name="connsiteY37" fmla="*/ 90487 h 314325"/>
                  <a:gd name="connsiteX38" fmla="*/ 579497 w 1023775"/>
                  <a:gd name="connsiteY38" fmla="*/ 80962 h 314325"/>
                  <a:gd name="connsiteX39" fmla="*/ 618291 w 1023775"/>
                  <a:gd name="connsiteY39" fmla="*/ 49227 h 314325"/>
                  <a:gd name="connsiteX40" fmla="*/ 635325 w 1023775"/>
                  <a:gd name="connsiteY40" fmla="*/ 51320 h 314325"/>
                  <a:gd name="connsiteX41" fmla="*/ 646582 w 1023775"/>
                  <a:gd name="connsiteY41" fmla="*/ 295341 h 314325"/>
                  <a:gd name="connsiteX42" fmla="*/ 650934 w 1023775"/>
                  <a:gd name="connsiteY42" fmla="*/ 314325 h 314325"/>
                  <a:gd name="connsiteX43" fmla="*/ 660459 w 1023775"/>
                  <a:gd name="connsiteY43" fmla="*/ 295275 h 314325"/>
                  <a:gd name="connsiteX44" fmla="*/ 674399 w 1023775"/>
                  <a:gd name="connsiteY44" fmla="*/ 257152 h 314325"/>
                  <a:gd name="connsiteX45" fmla="*/ 706224 w 1023775"/>
                  <a:gd name="connsiteY45" fmla="*/ 168290 h 314325"/>
                  <a:gd name="connsiteX46" fmla="*/ 722372 w 1023775"/>
                  <a:gd name="connsiteY46" fmla="*/ 133350 h 314325"/>
                  <a:gd name="connsiteX47" fmla="*/ 727134 w 1023775"/>
                  <a:gd name="connsiteY47" fmla="*/ 166687 h 314325"/>
                  <a:gd name="connsiteX48" fmla="*/ 731897 w 1023775"/>
                  <a:gd name="connsiteY48" fmla="*/ 180975 h 314325"/>
                  <a:gd name="connsiteX49" fmla="*/ 748045 w 1023775"/>
                  <a:gd name="connsiteY49" fmla="*/ 155604 h 314325"/>
                  <a:gd name="connsiteX50" fmla="*/ 774065 w 1023775"/>
                  <a:gd name="connsiteY50" fmla="*/ 131770 h 314325"/>
                  <a:gd name="connsiteX51" fmla="*/ 793809 w 1023775"/>
                  <a:gd name="connsiteY51" fmla="*/ 85725 h 314325"/>
                  <a:gd name="connsiteX52" fmla="*/ 803334 w 1023775"/>
                  <a:gd name="connsiteY52" fmla="*/ 114300 h 314325"/>
                  <a:gd name="connsiteX53" fmla="*/ 817622 w 1023775"/>
                  <a:gd name="connsiteY53" fmla="*/ 185737 h 314325"/>
                  <a:gd name="connsiteX54" fmla="*/ 838532 w 1023775"/>
                  <a:gd name="connsiteY54" fmla="*/ 180975 h 314325"/>
                  <a:gd name="connsiteX55" fmla="*/ 855722 w 1023775"/>
                  <a:gd name="connsiteY55" fmla="*/ 138112 h 314325"/>
                  <a:gd name="connsiteX56" fmla="*/ 879534 w 1023775"/>
                  <a:gd name="connsiteY56" fmla="*/ 76200 h 314325"/>
                  <a:gd name="connsiteX57" fmla="*/ 884297 w 1023775"/>
                  <a:gd name="connsiteY57" fmla="*/ 52387 h 314325"/>
                  <a:gd name="connsiteX58" fmla="*/ 898584 w 1023775"/>
                  <a:gd name="connsiteY58" fmla="*/ 38100 h 314325"/>
                  <a:gd name="connsiteX59" fmla="*/ 903347 w 1023775"/>
                  <a:gd name="connsiteY59" fmla="*/ 14287 h 314325"/>
                  <a:gd name="connsiteX60" fmla="*/ 908109 w 1023775"/>
                  <a:gd name="connsiteY60" fmla="*/ 0 h 314325"/>
                  <a:gd name="connsiteX61" fmla="*/ 912872 w 1023775"/>
                  <a:gd name="connsiteY61" fmla="*/ 14287 h 314325"/>
                  <a:gd name="connsiteX62" fmla="*/ 917634 w 1023775"/>
                  <a:gd name="connsiteY62" fmla="*/ 71437 h 314325"/>
                  <a:gd name="connsiteX63" fmla="*/ 927159 w 1023775"/>
                  <a:gd name="connsiteY63" fmla="*/ 100012 h 314325"/>
                  <a:gd name="connsiteX64" fmla="*/ 950972 w 1023775"/>
                  <a:gd name="connsiteY64" fmla="*/ 161925 h 314325"/>
                  <a:gd name="connsiteX65" fmla="*/ 955734 w 1023775"/>
                  <a:gd name="connsiteY65" fmla="*/ 180975 h 314325"/>
                  <a:gd name="connsiteX66" fmla="*/ 960497 w 1023775"/>
                  <a:gd name="connsiteY66" fmla="*/ 214312 h 314325"/>
                  <a:gd name="connsiteX67" fmla="*/ 979547 w 1023775"/>
                  <a:gd name="connsiteY67" fmla="*/ 242887 h 314325"/>
                  <a:gd name="connsiteX68" fmla="*/ 989739 w 1023775"/>
                  <a:gd name="connsiteY68" fmla="*/ 265734 h 314325"/>
                  <a:gd name="connsiteX69" fmla="*/ 1023775 w 1023775"/>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1637"/>
                  <a:gd name="connsiteY0" fmla="*/ 262750 h 314325"/>
                  <a:gd name="connsiteX1" fmla="*/ 33523 w 1021637"/>
                  <a:gd name="connsiteY1" fmla="*/ 257600 h 314325"/>
                  <a:gd name="connsiteX2" fmla="*/ 48326 w 1021637"/>
                  <a:gd name="connsiteY2" fmla="*/ 228600 h 314325"/>
                  <a:gd name="connsiteX3" fmla="*/ 65681 w 1021637"/>
                  <a:gd name="connsiteY3" fmla="*/ 180975 h 314325"/>
                  <a:gd name="connsiteX4" fmla="*/ 75206 w 1021637"/>
                  <a:gd name="connsiteY4" fmla="*/ 166687 h 314325"/>
                  <a:gd name="connsiteX5" fmla="*/ 94256 w 1021637"/>
                  <a:gd name="connsiteY5" fmla="*/ 114300 h 314325"/>
                  <a:gd name="connsiteX6" fmla="*/ 103781 w 1021637"/>
                  <a:gd name="connsiteY6" fmla="*/ 100012 h 314325"/>
                  <a:gd name="connsiteX7" fmla="*/ 122831 w 1021637"/>
                  <a:gd name="connsiteY7" fmla="*/ 57150 h 314325"/>
                  <a:gd name="connsiteX8" fmla="*/ 127593 w 1021637"/>
                  <a:gd name="connsiteY8" fmla="*/ 42862 h 314325"/>
                  <a:gd name="connsiteX9" fmla="*/ 137118 w 1021637"/>
                  <a:gd name="connsiteY9" fmla="*/ 4762 h 314325"/>
                  <a:gd name="connsiteX10" fmla="*/ 146643 w 1021637"/>
                  <a:gd name="connsiteY10" fmla="*/ 100012 h 314325"/>
                  <a:gd name="connsiteX11" fmla="*/ 156168 w 1021637"/>
                  <a:gd name="connsiteY11" fmla="*/ 152400 h 314325"/>
                  <a:gd name="connsiteX12" fmla="*/ 160931 w 1021637"/>
                  <a:gd name="connsiteY12" fmla="*/ 228600 h 314325"/>
                  <a:gd name="connsiteX13" fmla="*/ 173420 w 1021637"/>
                  <a:gd name="connsiteY13" fmla="*/ 268258 h 314325"/>
                  <a:gd name="connsiteX14" fmla="*/ 201301 w 1021637"/>
                  <a:gd name="connsiteY14" fmla="*/ 255572 h 314325"/>
                  <a:gd name="connsiteX15" fmla="*/ 231612 w 1021637"/>
                  <a:gd name="connsiteY15" fmla="*/ 201561 h 314325"/>
                  <a:gd name="connsiteX16" fmla="*/ 251418 w 1021637"/>
                  <a:gd name="connsiteY16" fmla="*/ 171450 h 314325"/>
                  <a:gd name="connsiteX17" fmla="*/ 270468 w 1021637"/>
                  <a:gd name="connsiteY17" fmla="*/ 142875 h 314325"/>
                  <a:gd name="connsiteX18" fmla="*/ 303806 w 1021637"/>
                  <a:gd name="connsiteY18" fmla="*/ 71437 h 314325"/>
                  <a:gd name="connsiteX19" fmla="*/ 314781 w 1021637"/>
                  <a:gd name="connsiteY19" fmla="*/ 36631 h 314325"/>
                  <a:gd name="connsiteX20" fmla="*/ 321752 w 1021637"/>
                  <a:gd name="connsiteY20" fmla="*/ 88841 h 314325"/>
                  <a:gd name="connsiteX21" fmla="*/ 326862 w 1021637"/>
                  <a:gd name="connsiteY21" fmla="*/ 147637 h 314325"/>
                  <a:gd name="connsiteX22" fmla="*/ 337143 w 1021637"/>
                  <a:gd name="connsiteY22" fmla="*/ 171450 h 314325"/>
                  <a:gd name="connsiteX23" fmla="*/ 348529 w 1021637"/>
                  <a:gd name="connsiteY23" fmla="*/ 261916 h 314325"/>
                  <a:gd name="connsiteX24" fmla="*/ 356193 w 1021637"/>
                  <a:gd name="connsiteY24" fmla="*/ 247650 h 314325"/>
                  <a:gd name="connsiteX25" fmla="*/ 369787 w 1021637"/>
                  <a:gd name="connsiteY25" fmla="*/ 231782 h 314325"/>
                  <a:gd name="connsiteX26" fmla="*/ 394293 w 1021637"/>
                  <a:gd name="connsiteY26" fmla="*/ 180975 h 314325"/>
                  <a:gd name="connsiteX27" fmla="*/ 408581 w 1021637"/>
                  <a:gd name="connsiteY27" fmla="*/ 171450 h 314325"/>
                  <a:gd name="connsiteX28" fmla="*/ 418106 w 1021637"/>
                  <a:gd name="connsiteY28" fmla="*/ 157162 h 314325"/>
                  <a:gd name="connsiteX29" fmla="*/ 427631 w 1021637"/>
                  <a:gd name="connsiteY29" fmla="*/ 180975 h 314325"/>
                  <a:gd name="connsiteX30" fmla="*/ 437156 w 1021637"/>
                  <a:gd name="connsiteY30" fmla="*/ 209550 h 314325"/>
                  <a:gd name="connsiteX31" fmla="*/ 447437 w 1021637"/>
                  <a:gd name="connsiteY31" fmla="*/ 252390 h 314325"/>
                  <a:gd name="connsiteX32" fmla="*/ 475256 w 1021637"/>
                  <a:gd name="connsiteY32" fmla="*/ 233362 h 314325"/>
                  <a:gd name="connsiteX33" fmla="*/ 489543 w 1021637"/>
                  <a:gd name="connsiteY33" fmla="*/ 233362 h 314325"/>
                  <a:gd name="connsiteX34" fmla="*/ 499068 w 1021637"/>
                  <a:gd name="connsiteY34" fmla="*/ 223837 h 314325"/>
                  <a:gd name="connsiteX35" fmla="*/ 541931 w 1021637"/>
                  <a:gd name="connsiteY35" fmla="*/ 138112 h 314325"/>
                  <a:gd name="connsiteX36" fmla="*/ 560981 w 1021637"/>
                  <a:gd name="connsiteY36" fmla="*/ 104775 h 314325"/>
                  <a:gd name="connsiteX37" fmla="*/ 565743 w 1021637"/>
                  <a:gd name="connsiteY37" fmla="*/ 90487 h 314325"/>
                  <a:gd name="connsiteX38" fmla="*/ 580031 w 1021637"/>
                  <a:gd name="connsiteY38" fmla="*/ 80962 h 314325"/>
                  <a:gd name="connsiteX39" fmla="*/ 618825 w 1021637"/>
                  <a:gd name="connsiteY39" fmla="*/ 49227 h 314325"/>
                  <a:gd name="connsiteX40" fmla="*/ 635859 w 1021637"/>
                  <a:gd name="connsiteY40" fmla="*/ 51320 h 314325"/>
                  <a:gd name="connsiteX41" fmla="*/ 647116 w 1021637"/>
                  <a:gd name="connsiteY41" fmla="*/ 295341 h 314325"/>
                  <a:gd name="connsiteX42" fmla="*/ 651468 w 1021637"/>
                  <a:gd name="connsiteY42" fmla="*/ 314325 h 314325"/>
                  <a:gd name="connsiteX43" fmla="*/ 660993 w 1021637"/>
                  <a:gd name="connsiteY43" fmla="*/ 295275 h 314325"/>
                  <a:gd name="connsiteX44" fmla="*/ 674933 w 1021637"/>
                  <a:gd name="connsiteY44" fmla="*/ 257152 h 314325"/>
                  <a:gd name="connsiteX45" fmla="*/ 706758 w 1021637"/>
                  <a:gd name="connsiteY45" fmla="*/ 168290 h 314325"/>
                  <a:gd name="connsiteX46" fmla="*/ 722906 w 1021637"/>
                  <a:gd name="connsiteY46" fmla="*/ 133350 h 314325"/>
                  <a:gd name="connsiteX47" fmla="*/ 727668 w 1021637"/>
                  <a:gd name="connsiteY47" fmla="*/ 166687 h 314325"/>
                  <a:gd name="connsiteX48" fmla="*/ 732431 w 1021637"/>
                  <a:gd name="connsiteY48" fmla="*/ 180975 h 314325"/>
                  <a:gd name="connsiteX49" fmla="*/ 748579 w 1021637"/>
                  <a:gd name="connsiteY49" fmla="*/ 155604 h 314325"/>
                  <a:gd name="connsiteX50" fmla="*/ 774599 w 1021637"/>
                  <a:gd name="connsiteY50" fmla="*/ 131770 h 314325"/>
                  <a:gd name="connsiteX51" fmla="*/ 794343 w 1021637"/>
                  <a:gd name="connsiteY51" fmla="*/ 85725 h 314325"/>
                  <a:gd name="connsiteX52" fmla="*/ 803868 w 1021637"/>
                  <a:gd name="connsiteY52" fmla="*/ 114300 h 314325"/>
                  <a:gd name="connsiteX53" fmla="*/ 818156 w 1021637"/>
                  <a:gd name="connsiteY53" fmla="*/ 185737 h 314325"/>
                  <a:gd name="connsiteX54" fmla="*/ 839066 w 1021637"/>
                  <a:gd name="connsiteY54" fmla="*/ 180975 h 314325"/>
                  <a:gd name="connsiteX55" fmla="*/ 856256 w 1021637"/>
                  <a:gd name="connsiteY55" fmla="*/ 138112 h 314325"/>
                  <a:gd name="connsiteX56" fmla="*/ 880068 w 1021637"/>
                  <a:gd name="connsiteY56" fmla="*/ 76200 h 314325"/>
                  <a:gd name="connsiteX57" fmla="*/ 884831 w 1021637"/>
                  <a:gd name="connsiteY57" fmla="*/ 52387 h 314325"/>
                  <a:gd name="connsiteX58" fmla="*/ 899118 w 1021637"/>
                  <a:gd name="connsiteY58" fmla="*/ 38100 h 314325"/>
                  <a:gd name="connsiteX59" fmla="*/ 903881 w 1021637"/>
                  <a:gd name="connsiteY59" fmla="*/ 14287 h 314325"/>
                  <a:gd name="connsiteX60" fmla="*/ 908643 w 1021637"/>
                  <a:gd name="connsiteY60" fmla="*/ 0 h 314325"/>
                  <a:gd name="connsiteX61" fmla="*/ 913406 w 1021637"/>
                  <a:gd name="connsiteY61" fmla="*/ 14287 h 314325"/>
                  <a:gd name="connsiteX62" fmla="*/ 918168 w 1021637"/>
                  <a:gd name="connsiteY62" fmla="*/ 71437 h 314325"/>
                  <a:gd name="connsiteX63" fmla="*/ 927693 w 1021637"/>
                  <a:gd name="connsiteY63" fmla="*/ 100012 h 314325"/>
                  <a:gd name="connsiteX64" fmla="*/ 951506 w 1021637"/>
                  <a:gd name="connsiteY64" fmla="*/ 161925 h 314325"/>
                  <a:gd name="connsiteX65" fmla="*/ 956268 w 1021637"/>
                  <a:gd name="connsiteY65" fmla="*/ 180975 h 314325"/>
                  <a:gd name="connsiteX66" fmla="*/ 961031 w 1021637"/>
                  <a:gd name="connsiteY66" fmla="*/ 214312 h 314325"/>
                  <a:gd name="connsiteX67" fmla="*/ 980081 w 1021637"/>
                  <a:gd name="connsiteY67" fmla="*/ 242887 h 314325"/>
                  <a:gd name="connsiteX68" fmla="*/ 990273 w 1021637"/>
                  <a:gd name="connsiteY68" fmla="*/ 265734 h 314325"/>
                  <a:gd name="connsiteX69" fmla="*/ 1021637 w 1021637"/>
                  <a:gd name="connsiteY69" fmla="*/ 261405 h 314325"/>
                  <a:gd name="connsiteX0" fmla="*/ 0 w 1023774"/>
                  <a:gd name="connsiteY0" fmla="*/ 262750 h 314325"/>
                  <a:gd name="connsiteX1" fmla="*/ 33523 w 1023774"/>
                  <a:gd name="connsiteY1" fmla="*/ 257600 h 314325"/>
                  <a:gd name="connsiteX2" fmla="*/ 48326 w 1023774"/>
                  <a:gd name="connsiteY2" fmla="*/ 228600 h 314325"/>
                  <a:gd name="connsiteX3" fmla="*/ 65681 w 1023774"/>
                  <a:gd name="connsiteY3" fmla="*/ 180975 h 314325"/>
                  <a:gd name="connsiteX4" fmla="*/ 75206 w 1023774"/>
                  <a:gd name="connsiteY4" fmla="*/ 166687 h 314325"/>
                  <a:gd name="connsiteX5" fmla="*/ 94256 w 1023774"/>
                  <a:gd name="connsiteY5" fmla="*/ 114300 h 314325"/>
                  <a:gd name="connsiteX6" fmla="*/ 103781 w 1023774"/>
                  <a:gd name="connsiteY6" fmla="*/ 100012 h 314325"/>
                  <a:gd name="connsiteX7" fmla="*/ 122831 w 1023774"/>
                  <a:gd name="connsiteY7" fmla="*/ 57150 h 314325"/>
                  <a:gd name="connsiteX8" fmla="*/ 127593 w 1023774"/>
                  <a:gd name="connsiteY8" fmla="*/ 42862 h 314325"/>
                  <a:gd name="connsiteX9" fmla="*/ 137118 w 1023774"/>
                  <a:gd name="connsiteY9" fmla="*/ 4762 h 314325"/>
                  <a:gd name="connsiteX10" fmla="*/ 146643 w 1023774"/>
                  <a:gd name="connsiteY10" fmla="*/ 100012 h 314325"/>
                  <a:gd name="connsiteX11" fmla="*/ 156168 w 1023774"/>
                  <a:gd name="connsiteY11" fmla="*/ 152400 h 314325"/>
                  <a:gd name="connsiteX12" fmla="*/ 160931 w 1023774"/>
                  <a:gd name="connsiteY12" fmla="*/ 228600 h 314325"/>
                  <a:gd name="connsiteX13" fmla="*/ 173420 w 1023774"/>
                  <a:gd name="connsiteY13" fmla="*/ 268258 h 314325"/>
                  <a:gd name="connsiteX14" fmla="*/ 201301 w 1023774"/>
                  <a:gd name="connsiteY14" fmla="*/ 255572 h 314325"/>
                  <a:gd name="connsiteX15" fmla="*/ 231612 w 1023774"/>
                  <a:gd name="connsiteY15" fmla="*/ 201561 h 314325"/>
                  <a:gd name="connsiteX16" fmla="*/ 251418 w 1023774"/>
                  <a:gd name="connsiteY16" fmla="*/ 171450 h 314325"/>
                  <a:gd name="connsiteX17" fmla="*/ 270468 w 1023774"/>
                  <a:gd name="connsiteY17" fmla="*/ 142875 h 314325"/>
                  <a:gd name="connsiteX18" fmla="*/ 303806 w 1023774"/>
                  <a:gd name="connsiteY18" fmla="*/ 71437 h 314325"/>
                  <a:gd name="connsiteX19" fmla="*/ 314781 w 1023774"/>
                  <a:gd name="connsiteY19" fmla="*/ 36631 h 314325"/>
                  <a:gd name="connsiteX20" fmla="*/ 321752 w 1023774"/>
                  <a:gd name="connsiteY20" fmla="*/ 88841 h 314325"/>
                  <a:gd name="connsiteX21" fmla="*/ 326862 w 1023774"/>
                  <a:gd name="connsiteY21" fmla="*/ 147637 h 314325"/>
                  <a:gd name="connsiteX22" fmla="*/ 337143 w 1023774"/>
                  <a:gd name="connsiteY22" fmla="*/ 171450 h 314325"/>
                  <a:gd name="connsiteX23" fmla="*/ 348529 w 1023774"/>
                  <a:gd name="connsiteY23" fmla="*/ 261916 h 314325"/>
                  <a:gd name="connsiteX24" fmla="*/ 356193 w 1023774"/>
                  <a:gd name="connsiteY24" fmla="*/ 247650 h 314325"/>
                  <a:gd name="connsiteX25" fmla="*/ 369787 w 1023774"/>
                  <a:gd name="connsiteY25" fmla="*/ 231782 h 314325"/>
                  <a:gd name="connsiteX26" fmla="*/ 394293 w 1023774"/>
                  <a:gd name="connsiteY26" fmla="*/ 180975 h 314325"/>
                  <a:gd name="connsiteX27" fmla="*/ 408581 w 1023774"/>
                  <a:gd name="connsiteY27" fmla="*/ 171450 h 314325"/>
                  <a:gd name="connsiteX28" fmla="*/ 418106 w 1023774"/>
                  <a:gd name="connsiteY28" fmla="*/ 157162 h 314325"/>
                  <a:gd name="connsiteX29" fmla="*/ 427631 w 1023774"/>
                  <a:gd name="connsiteY29" fmla="*/ 180975 h 314325"/>
                  <a:gd name="connsiteX30" fmla="*/ 437156 w 1023774"/>
                  <a:gd name="connsiteY30" fmla="*/ 209550 h 314325"/>
                  <a:gd name="connsiteX31" fmla="*/ 447437 w 1023774"/>
                  <a:gd name="connsiteY31" fmla="*/ 252390 h 314325"/>
                  <a:gd name="connsiteX32" fmla="*/ 475256 w 1023774"/>
                  <a:gd name="connsiteY32" fmla="*/ 233362 h 314325"/>
                  <a:gd name="connsiteX33" fmla="*/ 489543 w 1023774"/>
                  <a:gd name="connsiteY33" fmla="*/ 233362 h 314325"/>
                  <a:gd name="connsiteX34" fmla="*/ 499068 w 1023774"/>
                  <a:gd name="connsiteY34" fmla="*/ 223837 h 314325"/>
                  <a:gd name="connsiteX35" fmla="*/ 541931 w 1023774"/>
                  <a:gd name="connsiteY35" fmla="*/ 138112 h 314325"/>
                  <a:gd name="connsiteX36" fmla="*/ 560981 w 1023774"/>
                  <a:gd name="connsiteY36" fmla="*/ 104775 h 314325"/>
                  <a:gd name="connsiteX37" fmla="*/ 565743 w 1023774"/>
                  <a:gd name="connsiteY37" fmla="*/ 90487 h 314325"/>
                  <a:gd name="connsiteX38" fmla="*/ 580031 w 1023774"/>
                  <a:gd name="connsiteY38" fmla="*/ 80962 h 314325"/>
                  <a:gd name="connsiteX39" fmla="*/ 618825 w 1023774"/>
                  <a:gd name="connsiteY39" fmla="*/ 49227 h 314325"/>
                  <a:gd name="connsiteX40" fmla="*/ 635859 w 1023774"/>
                  <a:gd name="connsiteY40" fmla="*/ 51320 h 314325"/>
                  <a:gd name="connsiteX41" fmla="*/ 647116 w 1023774"/>
                  <a:gd name="connsiteY41" fmla="*/ 295341 h 314325"/>
                  <a:gd name="connsiteX42" fmla="*/ 651468 w 1023774"/>
                  <a:gd name="connsiteY42" fmla="*/ 314325 h 314325"/>
                  <a:gd name="connsiteX43" fmla="*/ 660993 w 1023774"/>
                  <a:gd name="connsiteY43" fmla="*/ 295275 h 314325"/>
                  <a:gd name="connsiteX44" fmla="*/ 674933 w 1023774"/>
                  <a:gd name="connsiteY44" fmla="*/ 257152 h 314325"/>
                  <a:gd name="connsiteX45" fmla="*/ 706758 w 1023774"/>
                  <a:gd name="connsiteY45" fmla="*/ 168290 h 314325"/>
                  <a:gd name="connsiteX46" fmla="*/ 722906 w 1023774"/>
                  <a:gd name="connsiteY46" fmla="*/ 133350 h 314325"/>
                  <a:gd name="connsiteX47" fmla="*/ 727668 w 1023774"/>
                  <a:gd name="connsiteY47" fmla="*/ 166687 h 314325"/>
                  <a:gd name="connsiteX48" fmla="*/ 732431 w 1023774"/>
                  <a:gd name="connsiteY48" fmla="*/ 180975 h 314325"/>
                  <a:gd name="connsiteX49" fmla="*/ 748579 w 1023774"/>
                  <a:gd name="connsiteY49" fmla="*/ 155604 h 314325"/>
                  <a:gd name="connsiteX50" fmla="*/ 774599 w 1023774"/>
                  <a:gd name="connsiteY50" fmla="*/ 131770 h 314325"/>
                  <a:gd name="connsiteX51" fmla="*/ 794343 w 1023774"/>
                  <a:gd name="connsiteY51" fmla="*/ 85725 h 314325"/>
                  <a:gd name="connsiteX52" fmla="*/ 803868 w 1023774"/>
                  <a:gd name="connsiteY52" fmla="*/ 114300 h 314325"/>
                  <a:gd name="connsiteX53" fmla="*/ 818156 w 1023774"/>
                  <a:gd name="connsiteY53" fmla="*/ 185737 h 314325"/>
                  <a:gd name="connsiteX54" fmla="*/ 839066 w 1023774"/>
                  <a:gd name="connsiteY54" fmla="*/ 180975 h 314325"/>
                  <a:gd name="connsiteX55" fmla="*/ 856256 w 1023774"/>
                  <a:gd name="connsiteY55" fmla="*/ 138112 h 314325"/>
                  <a:gd name="connsiteX56" fmla="*/ 880068 w 1023774"/>
                  <a:gd name="connsiteY56" fmla="*/ 76200 h 314325"/>
                  <a:gd name="connsiteX57" fmla="*/ 884831 w 1023774"/>
                  <a:gd name="connsiteY57" fmla="*/ 52387 h 314325"/>
                  <a:gd name="connsiteX58" fmla="*/ 899118 w 1023774"/>
                  <a:gd name="connsiteY58" fmla="*/ 38100 h 314325"/>
                  <a:gd name="connsiteX59" fmla="*/ 903881 w 1023774"/>
                  <a:gd name="connsiteY59" fmla="*/ 14287 h 314325"/>
                  <a:gd name="connsiteX60" fmla="*/ 908643 w 1023774"/>
                  <a:gd name="connsiteY60" fmla="*/ 0 h 314325"/>
                  <a:gd name="connsiteX61" fmla="*/ 913406 w 1023774"/>
                  <a:gd name="connsiteY61" fmla="*/ 14287 h 314325"/>
                  <a:gd name="connsiteX62" fmla="*/ 918168 w 1023774"/>
                  <a:gd name="connsiteY62" fmla="*/ 71437 h 314325"/>
                  <a:gd name="connsiteX63" fmla="*/ 927693 w 1023774"/>
                  <a:gd name="connsiteY63" fmla="*/ 100012 h 314325"/>
                  <a:gd name="connsiteX64" fmla="*/ 951506 w 1023774"/>
                  <a:gd name="connsiteY64" fmla="*/ 161925 h 314325"/>
                  <a:gd name="connsiteX65" fmla="*/ 956268 w 1023774"/>
                  <a:gd name="connsiteY65" fmla="*/ 180975 h 314325"/>
                  <a:gd name="connsiteX66" fmla="*/ 961031 w 1023774"/>
                  <a:gd name="connsiteY66" fmla="*/ 214312 h 314325"/>
                  <a:gd name="connsiteX67" fmla="*/ 980081 w 1023774"/>
                  <a:gd name="connsiteY67" fmla="*/ 242887 h 314325"/>
                  <a:gd name="connsiteX68" fmla="*/ 990273 w 1023774"/>
                  <a:gd name="connsiteY68" fmla="*/ 265734 h 314325"/>
                  <a:gd name="connsiteX69" fmla="*/ 1023774 w 1023774"/>
                  <a:gd name="connsiteY69" fmla="*/ 26140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23774" h="314325">
                    <a:moveTo>
                      <a:pt x="0" y="262750"/>
                    </a:moveTo>
                    <a:cubicBezTo>
                      <a:pt x="20885" y="261865"/>
                      <a:pt x="25469" y="263292"/>
                      <a:pt x="33523" y="257600"/>
                    </a:cubicBezTo>
                    <a:cubicBezTo>
                      <a:pt x="41577" y="251908"/>
                      <a:pt x="42966" y="241371"/>
                      <a:pt x="48326" y="228600"/>
                    </a:cubicBezTo>
                    <a:cubicBezTo>
                      <a:pt x="53686" y="215829"/>
                      <a:pt x="61201" y="191294"/>
                      <a:pt x="65681" y="180975"/>
                    </a:cubicBezTo>
                    <a:cubicBezTo>
                      <a:pt x="70161" y="170656"/>
                      <a:pt x="75206" y="166687"/>
                      <a:pt x="75206" y="166687"/>
                    </a:cubicBezTo>
                    <a:cubicBezTo>
                      <a:pt x="81379" y="141993"/>
                      <a:pt x="80199" y="142413"/>
                      <a:pt x="94256" y="114300"/>
                    </a:cubicBezTo>
                    <a:cubicBezTo>
                      <a:pt x="96816" y="109180"/>
                      <a:pt x="100941" y="104982"/>
                      <a:pt x="103781" y="100012"/>
                    </a:cubicBezTo>
                    <a:cubicBezTo>
                      <a:pt x="111652" y="86238"/>
                      <a:pt x="117265" y="71993"/>
                      <a:pt x="122831" y="57150"/>
                    </a:cubicBezTo>
                    <a:cubicBezTo>
                      <a:pt x="124594" y="52449"/>
                      <a:pt x="126272" y="47705"/>
                      <a:pt x="127593" y="42862"/>
                    </a:cubicBezTo>
                    <a:cubicBezTo>
                      <a:pt x="131037" y="30232"/>
                      <a:pt x="137118" y="4762"/>
                      <a:pt x="137118" y="4762"/>
                    </a:cubicBezTo>
                    <a:cubicBezTo>
                      <a:pt x="147761" y="57971"/>
                      <a:pt x="137808" y="2826"/>
                      <a:pt x="146643" y="100012"/>
                    </a:cubicBezTo>
                    <a:cubicBezTo>
                      <a:pt x="149080" y="126823"/>
                      <a:pt x="150580" y="130044"/>
                      <a:pt x="156168" y="152400"/>
                    </a:cubicBezTo>
                    <a:cubicBezTo>
                      <a:pt x="157756" y="177800"/>
                      <a:pt x="158056" y="209290"/>
                      <a:pt x="160931" y="228600"/>
                    </a:cubicBezTo>
                    <a:cubicBezTo>
                      <a:pt x="163806" y="247910"/>
                      <a:pt x="166692" y="263763"/>
                      <a:pt x="173420" y="268258"/>
                    </a:cubicBezTo>
                    <a:cubicBezTo>
                      <a:pt x="180148" y="272753"/>
                      <a:pt x="191602" y="266688"/>
                      <a:pt x="201301" y="255572"/>
                    </a:cubicBezTo>
                    <a:cubicBezTo>
                      <a:pt x="211000" y="244456"/>
                      <a:pt x="223259" y="215581"/>
                      <a:pt x="231612" y="201561"/>
                    </a:cubicBezTo>
                    <a:cubicBezTo>
                      <a:pt x="239965" y="187541"/>
                      <a:pt x="244942" y="181231"/>
                      <a:pt x="251418" y="171450"/>
                    </a:cubicBezTo>
                    <a:cubicBezTo>
                      <a:pt x="257894" y="161669"/>
                      <a:pt x="261737" y="159544"/>
                      <a:pt x="270468" y="142875"/>
                    </a:cubicBezTo>
                    <a:cubicBezTo>
                      <a:pt x="279199" y="126206"/>
                      <a:pt x="296421" y="89144"/>
                      <a:pt x="303806" y="71437"/>
                    </a:cubicBezTo>
                    <a:cubicBezTo>
                      <a:pt x="311191" y="53730"/>
                      <a:pt x="311790" y="33730"/>
                      <a:pt x="314781" y="36631"/>
                    </a:cubicBezTo>
                    <a:cubicBezTo>
                      <a:pt x="317772" y="39532"/>
                      <a:pt x="320164" y="84078"/>
                      <a:pt x="321752" y="88841"/>
                    </a:cubicBezTo>
                    <a:cubicBezTo>
                      <a:pt x="324164" y="108135"/>
                      <a:pt x="324297" y="133869"/>
                      <a:pt x="326862" y="147637"/>
                    </a:cubicBezTo>
                    <a:cubicBezTo>
                      <a:pt x="329427" y="161405"/>
                      <a:pt x="335556" y="163512"/>
                      <a:pt x="337143" y="171450"/>
                    </a:cubicBezTo>
                    <a:cubicBezTo>
                      <a:pt x="338731" y="200025"/>
                      <a:pt x="341588" y="234151"/>
                      <a:pt x="348529" y="261916"/>
                    </a:cubicBezTo>
                    <a:cubicBezTo>
                      <a:pt x="349917" y="267469"/>
                      <a:pt x="352650" y="252672"/>
                      <a:pt x="356193" y="247650"/>
                    </a:cubicBezTo>
                    <a:cubicBezTo>
                      <a:pt x="359736" y="242628"/>
                      <a:pt x="367710" y="236352"/>
                      <a:pt x="369787" y="231782"/>
                    </a:cubicBezTo>
                    <a:cubicBezTo>
                      <a:pt x="382365" y="204110"/>
                      <a:pt x="387827" y="191030"/>
                      <a:pt x="394293" y="180975"/>
                    </a:cubicBezTo>
                    <a:cubicBezTo>
                      <a:pt x="400759" y="170920"/>
                      <a:pt x="403818" y="174625"/>
                      <a:pt x="408581" y="171450"/>
                    </a:cubicBezTo>
                    <a:cubicBezTo>
                      <a:pt x="411756" y="166687"/>
                      <a:pt x="412986" y="154602"/>
                      <a:pt x="418106" y="157162"/>
                    </a:cubicBezTo>
                    <a:cubicBezTo>
                      <a:pt x="425753" y="160985"/>
                      <a:pt x="424709" y="172941"/>
                      <a:pt x="427631" y="180975"/>
                    </a:cubicBezTo>
                    <a:cubicBezTo>
                      <a:pt x="431062" y="190411"/>
                      <a:pt x="433855" y="197647"/>
                      <a:pt x="437156" y="209550"/>
                    </a:cubicBezTo>
                    <a:cubicBezTo>
                      <a:pt x="440457" y="221453"/>
                      <a:pt x="439998" y="241975"/>
                      <a:pt x="447437" y="252390"/>
                    </a:cubicBezTo>
                    <a:cubicBezTo>
                      <a:pt x="452397" y="259334"/>
                      <a:pt x="472700" y="235066"/>
                      <a:pt x="475256" y="233362"/>
                    </a:cubicBezTo>
                    <a:cubicBezTo>
                      <a:pt x="493561" y="205906"/>
                      <a:pt x="485574" y="234949"/>
                      <a:pt x="489543" y="233362"/>
                    </a:cubicBezTo>
                    <a:cubicBezTo>
                      <a:pt x="493512" y="231775"/>
                      <a:pt x="490337" y="239712"/>
                      <a:pt x="499068" y="223837"/>
                    </a:cubicBezTo>
                    <a:cubicBezTo>
                      <a:pt x="507799" y="207962"/>
                      <a:pt x="531612" y="157956"/>
                      <a:pt x="541931" y="138112"/>
                    </a:cubicBezTo>
                    <a:cubicBezTo>
                      <a:pt x="552850" y="105353"/>
                      <a:pt x="537914" y="145143"/>
                      <a:pt x="560981" y="104775"/>
                    </a:cubicBezTo>
                    <a:cubicBezTo>
                      <a:pt x="563472" y="100416"/>
                      <a:pt x="562607" y="94407"/>
                      <a:pt x="565743" y="90487"/>
                    </a:cubicBezTo>
                    <a:cubicBezTo>
                      <a:pt x="569319" y="86017"/>
                      <a:pt x="571184" y="87839"/>
                      <a:pt x="580031" y="80962"/>
                    </a:cubicBezTo>
                    <a:cubicBezTo>
                      <a:pt x="588878" y="74085"/>
                      <a:pt x="611728" y="55221"/>
                      <a:pt x="618825" y="49227"/>
                    </a:cubicBezTo>
                    <a:cubicBezTo>
                      <a:pt x="625922" y="43233"/>
                      <a:pt x="631144" y="10301"/>
                      <a:pt x="635859" y="51320"/>
                    </a:cubicBezTo>
                    <a:cubicBezTo>
                      <a:pt x="640574" y="92339"/>
                      <a:pt x="642307" y="250453"/>
                      <a:pt x="647116" y="295341"/>
                    </a:cubicBezTo>
                    <a:cubicBezTo>
                      <a:pt x="647461" y="300349"/>
                      <a:pt x="646706" y="312737"/>
                      <a:pt x="651468" y="314325"/>
                    </a:cubicBezTo>
                    <a:cubicBezTo>
                      <a:pt x="654643" y="307975"/>
                      <a:pt x="657082" y="304804"/>
                      <a:pt x="660993" y="295275"/>
                    </a:cubicBezTo>
                    <a:cubicBezTo>
                      <a:pt x="664904" y="285746"/>
                      <a:pt x="667306" y="278316"/>
                      <a:pt x="674933" y="257152"/>
                    </a:cubicBezTo>
                    <a:cubicBezTo>
                      <a:pt x="682561" y="235988"/>
                      <a:pt x="698763" y="188924"/>
                      <a:pt x="706758" y="168290"/>
                    </a:cubicBezTo>
                    <a:cubicBezTo>
                      <a:pt x="714753" y="147656"/>
                      <a:pt x="719421" y="133617"/>
                      <a:pt x="722906" y="133350"/>
                    </a:cubicBezTo>
                    <a:cubicBezTo>
                      <a:pt x="726391" y="133083"/>
                      <a:pt x="725467" y="155680"/>
                      <a:pt x="727668" y="166687"/>
                    </a:cubicBezTo>
                    <a:cubicBezTo>
                      <a:pt x="728653" y="171610"/>
                      <a:pt x="728946" y="182822"/>
                      <a:pt x="732431" y="180975"/>
                    </a:cubicBezTo>
                    <a:cubicBezTo>
                      <a:pt x="735916" y="179128"/>
                      <a:pt x="741551" y="163805"/>
                      <a:pt x="748579" y="155604"/>
                    </a:cubicBezTo>
                    <a:cubicBezTo>
                      <a:pt x="755607" y="147403"/>
                      <a:pt x="766972" y="143416"/>
                      <a:pt x="774599" y="131770"/>
                    </a:cubicBezTo>
                    <a:cubicBezTo>
                      <a:pt x="782226" y="120124"/>
                      <a:pt x="789465" y="88637"/>
                      <a:pt x="794343" y="85725"/>
                    </a:cubicBezTo>
                    <a:cubicBezTo>
                      <a:pt x="799221" y="82813"/>
                      <a:pt x="801542" y="104533"/>
                      <a:pt x="803868" y="114300"/>
                    </a:cubicBezTo>
                    <a:cubicBezTo>
                      <a:pt x="809493" y="137924"/>
                      <a:pt x="812290" y="174624"/>
                      <a:pt x="818156" y="185737"/>
                    </a:cubicBezTo>
                    <a:cubicBezTo>
                      <a:pt x="824022" y="196850"/>
                      <a:pt x="835146" y="184111"/>
                      <a:pt x="839066" y="180975"/>
                    </a:cubicBezTo>
                    <a:cubicBezTo>
                      <a:pt x="845489" y="175837"/>
                      <a:pt x="849422" y="155575"/>
                      <a:pt x="856256" y="138112"/>
                    </a:cubicBezTo>
                    <a:cubicBezTo>
                      <a:pt x="863090" y="120650"/>
                      <a:pt x="874336" y="97217"/>
                      <a:pt x="880068" y="76200"/>
                    </a:cubicBezTo>
                    <a:cubicBezTo>
                      <a:pt x="882198" y="68390"/>
                      <a:pt x="881211" y="59627"/>
                      <a:pt x="884831" y="52387"/>
                    </a:cubicBezTo>
                    <a:cubicBezTo>
                      <a:pt x="887843" y="46363"/>
                      <a:pt x="894356" y="42862"/>
                      <a:pt x="899118" y="38100"/>
                    </a:cubicBezTo>
                    <a:cubicBezTo>
                      <a:pt x="900706" y="30162"/>
                      <a:pt x="901918" y="22140"/>
                      <a:pt x="903881" y="14287"/>
                    </a:cubicBezTo>
                    <a:cubicBezTo>
                      <a:pt x="905099" y="9417"/>
                      <a:pt x="903623" y="0"/>
                      <a:pt x="908643" y="0"/>
                    </a:cubicBezTo>
                    <a:cubicBezTo>
                      <a:pt x="913663" y="0"/>
                      <a:pt x="911818" y="9525"/>
                      <a:pt x="913406" y="14287"/>
                    </a:cubicBezTo>
                    <a:cubicBezTo>
                      <a:pt x="914993" y="33337"/>
                      <a:pt x="915025" y="52581"/>
                      <a:pt x="918168" y="71437"/>
                    </a:cubicBezTo>
                    <a:cubicBezTo>
                      <a:pt x="919819" y="81341"/>
                      <a:pt x="924935" y="90358"/>
                      <a:pt x="927693" y="100012"/>
                    </a:cubicBezTo>
                    <a:cubicBezTo>
                      <a:pt x="942673" y="152442"/>
                      <a:pt x="928213" y="123104"/>
                      <a:pt x="951506" y="161925"/>
                    </a:cubicBezTo>
                    <a:cubicBezTo>
                      <a:pt x="953093" y="168275"/>
                      <a:pt x="955097" y="174535"/>
                      <a:pt x="956268" y="180975"/>
                    </a:cubicBezTo>
                    <a:cubicBezTo>
                      <a:pt x="958276" y="192019"/>
                      <a:pt x="957001" y="203835"/>
                      <a:pt x="961031" y="214312"/>
                    </a:cubicBezTo>
                    <a:cubicBezTo>
                      <a:pt x="965141" y="224997"/>
                      <a:pt x="975207" y="234317"/>
                      <a:pt x="980081" y="242887"/>
                    </a:cubicBezTo>
                    <a:cubicBezTo>
                      <a:pt x="984955" y="251457"/>
                      <a:pt x="983258" y="262242"/>
                      <a:pt x="990273" y="265734"/>
                    </a:cubicBezTo>
                    <a:cubicBezTo>
                      <a:pt x="996576" y="258872"/>
                      <a:pt x="1004240" y="263357"/>
                      <a:pt x="1023774" y="261405"/>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Freeform 115"/>
              <p:cNvSpPr/>
              <p:nvPr/>
            </p:nvSpPr>
            <p:spPr bwMode="gray">
              <a:xfrm>
                <a:off x="10596500" y="3089997"/>
                <a:ext cx="1890172" cy="300436"/>
              </a:xfrm>
              <a:custGeom>
                <a:avLst/>
                <a:gdLst>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19112 w 1011118"/>
                  <a:gd name="connsiteY37" fmla="*/ 166687 h 314325"/>
                  <a:gd name="connsiteX38" fmla="*/ 533400 w 1011118"/>
                  <a:gd name="connsiteY38" fmla="*/ 138112 h 314325"/>
                  <a:gd name="connsiteX39" fmla="*/ 552450 w 1011118"/>
                  <a:gd name="connsiteY39" fmla="*/ 104775 h 314325"/>
                  <a:gd name="connsiteX40" fmla="*/ 557212 w 1011118"/>
                  <a:gd name="connsiteY40" fmla="*/ 90487 h 314325"/>
                  <a:gd name="connsiteX41" fmla="*/ 571500 w 1011118"/>
                  <a:gd name="connsiteY41" fmla="*/ 80962 h 314325"/>
                  <a:gd name="connsiteX42" fmla="*/ 619125 w 1011118"/>
                  <a:gd name="connsiteY42" fmla="*/ 52387 h 314325"/>
                  <a:gd name="connsiteX43" fmla="*/ 628650 w 1011118"/>
                  <a:gd name="connsiteY43" fmla="*/ 309562 h 314325"/>
                  <a:gd name="connsiteX44" fmla="*/ 642937 w 1011118"/>
                  <a:gd name="connsiteY44" fmla="*/ 314325 h 314325"/>
                  <a:gd name="connsiteX45" fmla="*/ 652462 w 1011118"/>
                  <a:gd name="connsiteY45" fmla="*/ 295275 h 314325"/>
                  <a:gd name="connsiteX46" fmla="*/ 661987 w 1011118"/>
                  <a:gd name="connsiteY46" fmla="*/ 252412 h 314325"/>
                  <a:gd name="connsiteX47" fmla="*/ 690562 w 1011118"/>
                  <a:gd name="connsiteY47" fmla="*/ 204787 h 314325"/>
                  <a:gd name="connsiteX48" fmla="*/ 704850 w 1011118"/>
                  <a:gd name="connsiteY48" fmla="*/ 171450 h 314325"/>
                  <a:gd name="connsiteX49" fmla="*/ 714375 w 1011118"/>
                  <a:gd name="connsiteY49" fmla="*/ 133350 h 314325"/>
                  <a:gd name="connsiteX50" fmla="*/ 719137 w 1011118"/>
                  <a:gd name="connsiteY50" fmla="*/ 166687 h 314325"/>
                  <a:gd name="connsiteX51" fmla="*/ 723900 w 1011118"/>
                  <a:gd name="connsiteY51" fmla="*/ 180975 h 314325"/>
                  <a:gd name="connsiteX52" fmla="*/ 733425 w 1011118"/>
                  <a:gd name="connsiteY52" fmla="*/ 161925 h 314325"/>
                  <a:gd name="connsiteX53" fmla="*/ 757237 w 1011118"/>
                  <a:gd name="connsiteY53" fmla="*/ 133350 h 314325"/>
                  <a:gd name="connsiteX54" fmla="*/ 785812 w 1011118"/>
                  <a:gd name="connsiteY54" fmla="*/ 85725 h 314325"/>
                  <a:gd name="connsiteX55" fmla="*/ 795337 w 1011118"/>
                  <a:gd name="connsiteY55" fmla="*/ 114300 h 314325"/>
                  <a:gd name="connsiteX56" fmla="*/ 809625 w 1011118"/>
                  <a:gd name="connsiteY56" fmla="*/ 185737 h 314325"/>
                  <a:gd name="connsiteX57" fmla="*/ 823912 w 1011118"/>
                  <a:gd name="connsiteY57" fmla="*/ 180975 h 314325"/>
                  <a:gd name="connsiteX58" fmla="*/ 847725 w 1011118"/>
                  <a:gd name="connsiteY58" fmla="*/ 138112 h 314325"/>
                  <a:gd name="connsiteX59" fmla="*/ 871537 w 1011118"/>
                  <a:gd name="connsiteY59" fmla="*/ 76200 h 314325"/>
                  <a:gd name="connsiteX60" fmla="*/ 876300 w 1011118"/>
                  <a:gd name="connsiteY60" fmla="*/ 52387 h 314325"/>
                  <a:gd name="connsiteX61" fmla="*/ 890587 w 1011118"/>
                  <a:gd name="connsiteY61" fmla="*/ 38100 h 314325"/>
                  <a:gd name="connsiteX62" fmla="*/ 895350 w 1011118"/>
                  <a:gd name="connsiteY62" fmla="*/ 14287 h 314325"/>
                  <a:gd name="connsiteX63" fmla="*/ 900112 w 1011118"/>
                  <a:gd name="connsiteY63" fmla="*/ 0 h 314325"/>
                  <a:gd name="connsiteX64" fmla="*/ 904875 w 1011118"/>
                  <a:gd name="connsiteY64" fmla="*/ 14287 h 314325"/>
                  <a:gd name="connsiteX65" fmla="*/ 909637 w 1011118"/>
                  <a:gd name="connsiteY65" fmla="*/ 71437 h 314325"/>
                  <a:gd name="connsiteX66" fmla="*/ 919162 w 1011118"/>
                  <a:gd name="connsiteY66" fmla="*/ 100012 h 314325"/>
                  <a:gd name="connsiteX67" fmla="*/ 942975 w 1011118"/>
                  <a:gd name="connsiteY67" fmla="*/ 161925 h 314325"/>
                  <a:gd name="connsiteX68" fmla="*/ 947737 w 1011118"/>
                  <a:gd name="connsiteY68" fmla="*/ 180975 h 314325"/>
                  <a:gd name="connsiteX69" fmla="*/ 952500 w 1011118"/>
                  <a:gd name="connsiteY69" fmla="*/ 214312 h 314325"/>
                  <a:gd name="connsiteX70" fmla="*/ 971550 w 1011118"/>
                  <a:gd name="connsiteY70" fmla="*/ 242887 h 314325"/>
                  <a:gd name="connsiteX71" fmla="*/ 985837 w 1011118"/>
                  <a:gd name="connsiteY71" fmla="*/ 238125 h 314325"/>
                  <a:gd name="connsiteX72" fmla="*/ 990600 w 1011118"/>
                  <a:gd name="connsiteY72" fmla="*/ 223837 h 314325"/>
                  <a:gd name="connsiteX73" fmla="*/ 1004887 w 1011118"/>
                  <a:gd name="connsiteY73"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33400 w 1011118"/>
                  <a:gd name="connsiteY37" fmla="*/ 138112 h 314325"/>
                  <a:gd name="connsiteX38" fmla="*/ 552450 w 1011118"/>
                  <a:gd name="connsiteY38" fmla="*/ 104775 h 314325"/>
                  <a:gd name="connsiteX39" fmla="*/ 557212 w 1011118"/>
                  <a:gd name="connsiteY39" fmla="*/ 90487 h 314325"/>
                  <a:gd name="connsiteX40" fmla="*/ 571500 w 1011118"/>
                  <a:gd name="connsiteY40" fmla="*/ 80962 h 314325"/>
                  <a:gd name="connsiteX41" fmla="*/ 619125 w 1011118"/>
                  <a:gd name="connsiteY41" fmla="*/ 52387 h 314325"/>
                  <a:gd name="connsiteX42" fmla="*/ 628650 w 1011118"/>
                  <a:gd name="connsiteY42" fmla="*/ 309562 h 314325"/>
                  <a:gd name="connsiteX43" fmla="*/ 642937 w 1011118"/>
                  <a:gd name="connsiteY43" fmla="*/ 314325 h 314325"/>
                  <a:gd name="connsiteX44" fmla="*/ 652462 w 1011118"/>
                  <a:gd name="connsiteY44" fmla="*/ 295275 h 314325"/>
                  <a:gd name="connsiteX45" fmla="*/ 661987 w 1011118"/>
                  <a:gd name="connsiteY45" fmla="*/ 252412 h 314325"/>
                  <a:gd name="connsiteX46" fmla="*/ 690562 w 1011118"/>
                  <a:gd name="connsiteY46" fmla="*/ 204787 h 314325"/>
                  <a:gd name="connsiteX47" fmla="*/ 704850 w 1011118"/>
                  <a:gd name="connsiteY47" fmla="*/ 171450 h 314325"/>
                  <a:gd name="connsiteX48" fmla="*/ 714375 w 1011118"/>
                  <a:gd name="connsiteY48" fmla="*/ 133350 h 314325"/>
                  <a:gd name="connsiteX49" fmla="*/ 719137 w 1011118"/>
                  <a:gd name="connsiteY49" fmla="*/ 166687 h 314325"/>
                  <a:gd name="connsiteX50" fmla="*/ 723900 w 1011118"/>
                  <a:gd name="connsiteY50" fmla="*/ 180975 h 314325"/>
                  <a:gd name="connsiteX51" fmla="*/ 733425 w 1011118"/>
                  <a:gd name="connsiteY51" fmla="*/ 161925 h 314325"/>
                  <a:gd name="connsiteX52" fmla="*/ 757237 w 1011118"/>
                  <a:gd name="connsiteY52" fmla="*/ 133350 h 314325"/>
                  <a:gd name="connsiteX53" fmla="*/ 785812 w 1011118"/>
                  <a:gd name="connsiteY53" fmla="*/ 85725 h 314325"/>
                  <a:gd name="connsiteX54" fmla="*/ 795337 w 1011118"/>
                  <a:gd name="connsiteY54" fmla="*/ 114300 h 314325"/>
                  <a:gd name="connsiteX55" fmla="*/ 809625 w 1011118"/>
                  <a:gd name="connsiteY55" fmla="*/ 185737 h 314325"/>
                  <a:gd name="connsiteX56" fmla="*/ 823912 w 1011118"/>
                  <a:gd name="connsiteY56" fmla="*/ 180975 h 314325"/>
                  <a:gd name="connsiteX57" fmla="*/ 847725 w 1011118"/>
                  <a:gd name="connsiteY57" fmla="*/ 138112 h 314325"/>
                  <a:gd name="connsiteX58" fmla="*/ 871537 w 1011118"/>
                  <a:gd name="connsiteY58" fmla="*/ 76200 h 314325"/>
                  <a:gd name="connsiteX59" fmla="*/ 876300 w 1011118"/>
                  <a:gd name="connsiteY59" fmla="*/ 52387 h 314325"/>
                  <a:gd name="connsiteX60" fmla="*/ 890587 w 1011118"/>
                  <a:gd name="connsiteY60" fmla="*/ 38100 h 314325"/>
                  <a:gd name="connsiteX61" fmla="*/ 895350 w 1011118"/>
                  <a:gd name="connsiteY61" fmla="*/ 14287 h 314325"/>
                  <a:gd name="connsiteX62" fmla="*/ 900112 w 1011118"/>
                  <a:gd name="connsiteY62" fmla="*/ 0 h 314325"/>
                  <a:gd name="connsiteX63" fmla="*/ 904875 w 1011118"/>
                  <a:gd name="connsiteY63" fmla="*/ 14287 h 314325"/>
                  <a:gd name="connsiteX64" fmla="*/ 909637 w 1011118"/>
                  <a:gd name="connsiteY64" fmla="*/ 71437 h 314325"/>
                  <a:gd name="connsiteX65" fmla="*/ 919162 w 1011118"/>
                  <a:gd name="connsiteY65" fmla="*/ 100012 h 314325"/>
                  <a:gd name="connsiteX66" fmla="*/ 942975 w 1011118"/>
                  <a:gd name="connsiteY66" fmla="*/ 161925 h 314325"/>
                  <a:gd name="connsiteX67" fmla="*/ 947737 w 1011118"/>
                  <a:gd name="connsiteY67" fmla="*/ 180975 h 314325"/>
                  <a:gd name="connsiteX68" fmla="*/ 952500 w 1011118"/>
                  <a:gd name="connsiteY68" fmla="*/ 214312 h 314325"/>
                  <a:gd name="connsiteX69" fmla="*/ 971550 w 1011118"/>
                  <a:gd name="connsiteY69" fmla="*/ 242887 h 314325"/>
                  <a:gd name="connsiteX70" fmla="*/ 985837 w 1011118"/>
                  <a:gd name="connsiteY70" fmla="*/ 238125 h 314325"/>
                  <a:gd name="connsiteX71" fmla="*/ 990600 w 1011118"/>
                  <a:gd name="connsiteY71" fmla="*/ 223837 h 314325"/>
                  <a:gd name="connsiteX72" fmla="*/ 1004887 w 1011118"/>
                  <a:gd name="connsiteY72"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0537 w 1011118"/>
                  <a:gd name="connsiteY35" fmla="*/ 223837 h 314325"/>
                  <a:gd name="connsiteX36" fmla="*/ 533400 w 1011118"/>
                  <a:gd name="connsiteY36" fmla="*/ 138112 h 314325"/>
                  <a:gd name="connsiteX37" fmla="*/ 552450 w 1011118"/>
                  <a:gd name="connsiteY37" fmla="*/ 104775 h 314325"/>
                  <a:gd name="connsiteX38" fmla="*/ 557212 w 1011118"/>
                  <a:gd name="connsiteY38" fmla="*/ 90487 h 314325"/>
                  <a:gd name="connsiteX39" fmla="*/ 571500 w 1011118"/>
                  <a:gd name="connsiteY39" fmla="*/ 80962 h 314325"/>
                  <a:gd name="connsiteX40" fmla="*/ 619125 w 1011118"/>
                  <a:gd name="connsiteY40" fmla="*/ 52387 h 314325"/>
                  <a:gd name="connsiteX41" fmla="*/ 628650 w 1011118"/>
                  <a:gd name="connsiteY41" fmla="*/ 309562 h 314325"/>
                  <a:gd name="connsiteX42" fmla="*/ 642937 w 1011118"/>
                  <a:gd name="connsiteY42" fmla="*/ 314325 h 314325"/>
                  <a:gd name="connsiteX43" fmla="*/ 652462 w 1011118"/>
                  <a:gd name="connsiteY43" fmla="*/ 295275 h 314325"/>
                  <a:gd name="connsiteX44" fmla="*/ 661987 w 1011118"/>
                  <a:gd name="connsiteY44" fmla="*/ 252412 h 314325"/>
                  <a:gd name="connsiteX45" fmla="*/ 690562 w 1011118"/>
                  <a:gd name="connsiteY45" fmla="*/ 204787 h 314325"/>
                  <a:gd name="connsiteX46" fmla="*/ 704850 w 1011118"/>
                  <a:gd name="connsiteY46" fmla="*/ 171450 h 314325"/>
                  <a:gd name="connsiteX47" fmla="*/ 714375 w 1011118"/>
                  <a:gd name="connsiteY47" fmla="*/ 133350 h 314325"/>
                  <a:gd name="connsiteX48" fmla="*/ 719137 w 1011118"/>
                  <a:gd name="connsiteY48" fmla="*/ 166687 h 314325"/>
                  <a:gd name="connsiteX49" fmla="*/ 723900 w 1011118"/>
                  <a:gd name="connsiteY49" fmla="*/ 180975 h 314325"/>
                  <a:gd name="connsiteX50" fmla="*/ 733425 w 1011118"/>
                  <a:gd name="connsiteY50" fmla="*/ 161925 h 314325"/>
                  <a:gd name="connsiteX51" fmla="*/ 757237 w 1011118"/>
                  <a:gd name="connsiteY51" fmla="*/ 133350 h 314325"/>
                  <a:gd name="connsiteX52" fmla="*/ 785812 w 1011118"/>
                  <a:gd name="connsiteY52" fmla="*/ 85725 h 314325"/>
                  <a:gd name="connsiteX53" fmla="*/ 795337 w 1011118"/>
                  <a:gd name="connsiteY53" fmla="*/ 114300 h 314325"/>
                  <a:gd name="connsiteX54" fmla="*/ 809625 w 1011118"/>
                  <a:gd name="connsiteY54" fmla="*/ 185737 h 314325"/>
                  <a:gd name="connsiteX55" fmla="*/ 823912 w 1011118"/>
                  <a:gd name="connsiteY55" fmla="*/ 180975 h 314325"/>
                  <a:gd name="connsiteX56" fmla="*/ 847725 w 1011118"/>
                  <a:gd name="connsiteY56" fmla="*/ 138112 h 314325"/>
                  <a:gd name="connsiteX57" fmla="*/ 871537 w 1011118"/>
                  <a:gd name="connsiteY57" fmla="*/ 76200 h 314325"/>
                  <a:gd name="connsiteX58" fmla="*/ 876300 w 1011118"/>
                  <a:gd name="connsiteY58" fmla="*/ 52387 h 314325"/>
                  <a:gd name="connsiteX59" fmla="*/ 890587 w 1011118"/>
                  <a:gd name="connsiteY59" fmla="*/ 38100 h 314325"/>
                  <a:gd name="connsiteX60" fmla="*/ 895350 w 1011118"/>
                  <a:gd name="connsiteY60" fmla="*/ 14287 h 314325"/>
                  <a:gd name="connsiteX61" fmla="*/ 900112 w 1011118"/>
                  <a:gd name="connsiteY61" fmla="*/ 0 h 314325"/>
                  <a:gd name="connsiteX62" fmla="*/ 904875 w 1011118"/>
                  <a:gd name="connsiteY62" fmla="*/ 14287 h 314325"/>
                  <a:gd name="connsiteX63" fmla="*/ 909637 w 1011118"/>
                  <a:gd name="connsiteY63" fmla="*/ 71437 h 314325"/>
                  <a:gd name="connsiteX64" fmla="*/ 919162 w 1011118"/>
                  <a:gd name="connsiteY64" fmla="*/ 100012 h 314325"/>
                  <a:gd name="connsiteX65" fmla="*/ 942975 w 1011118"/>
                  <a:gd name="connsiteY65" fmla="*/ 161925 h 314325"/>
                  <a:gd name="connsiteX66" fmla="*/ 947737 w 1011118"/>
                  <a:gd name="connsiteY66" fmla="*/ 180975 h 314325"/>
                  <a:gd name="connsiteX67" fmla="*/ 952500 w 1011118"/>
                  <a:gd name="connsiteY67" fmla="*/ 214312 h 314325"/>
                  <a:gd name="connsiteX68" fmla="*/ 971550 w 1011118"/>
                  <a:gd name="connsiteY68" fmla="*/ 242887 h 314325"/>
                  <a:gd name="connsiteX69" fmla="*/ 985837 w 1011118"/>
                  <a:gd name="connsiteY69" fmla="*/ 238125 h 314325"/>
                  <a:gd name="connsiteX70" fmla="*/ 990600 w 1011118"/>
                  <a:gd name="connsiteY70" fmla="*/ 223837 h 314325"/>
                  <a:gd name="connsiteX71" fmla="*/ 1004887 w 1011118"/>
                  <a:gd name="connsiteY71"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23850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704850 w 1011118"/>
                  <a:gd name="connsiteY44" fmla="*/ 17145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30535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6250 w 1011118"/>
                  <a:gd name="connsiteY19" fmla="*/ 3663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990600"/>
                  <a:gd name="connsiteY0" fmla="*/ 266700 h 314325"/>
                  <a:gd name="connsiteX1" fmla="*/ 23812 w 990600"/>
                  <a:gd name="connsiteY1" fmla="*/ 242887 h 314325"/>
                  <a:gd name="connsiteX2" fmla="*/ 28575 w 990600"/>
                  <a:gd name="connsiteY2" fmla="*/ 228600 h 314325"/>
                  <a:gd name="connsiteX3" fmla="*/ 57150 w 990600"/>
                  <a:gd name="connsiteY3" fmla="*/ 180975 h 314325"/>
                  <a:gd name="connsiteX4" fmla="*/ 66675 w 990600"/>
                  <a:gd name="connsiteY4" fmla="*/ 166687 h 314325"/>
                  <a:gd name="connsiteX5" fmla="*/ 85725 w 990600"/>
                  <a:gd name="connsiteY5" fmla="*/ 114300 h 314325"/>
                  <a:gd name="connsiteX6" fmla="*/ 95250 w 990600"/>
                  <a:gd name="connsiteY6" fmla="*/ 100012 h 314325"/>
                  <a:gd name="connsiteX7" fmla="*/ 114300 w 990600"/>
                  <a:gd name="connsiteY7" fmla="*/ 57150 h 314325"/>
                  <a:gd name="connsiteX8" fmla="*/ 119062 w 990600"/>
                  <a:gd name="connsiteY8" fmla="*/ 42862 h 314325"/>
                  <a:gd name="connsiteX9" fmla="*/ 128587 w 990600"/>
                  <a:gd name="connsiteY9" fmla="*/ 4762 h 314325"/>
                  <a:gd name="connsiteX10" fmla="*/ 138112 w 990600"/>
                  <a:gd name="connsiteY10" fmla="*/ 100012 h 314325"/>
                  <a:gd name="connsiteX11" fmla="*/ 147637 w 990600"/>
                  <a:gd name="connsiteY11" fmla="*/ 152400 h 314325"/>
                  <a:gd name="connsiteX12" fmla="*/ 152400 w 990600"/>
                  <a:gd name="connsiteY12" fmla="*/ 228600 h 314325"/>
                  <a:gd name="connsiteX13" fmla="*/ 164889 w 990600"/>
                  <a:gd name="connsiteY13" fmla="*/ 268258 h 314325"/>
                  <a:gd name="connsiteX14" fmla="*/ 192770 w 990600"/>
                  <a:gd name="connsiteY14" fmla="*/ 255572 h 314325"/>
                  <a:gd name="connsiteX15" fmla="*/ 223081 w 990600"/>
                  <a:gd name="connsiteY15" fmla="*/ 201561 h 314325"/>
                  <a:gd name="connsiteX16" fmla="*/ 242887 w 990600"/>
                  <a:gd name="connsiteY16" fmla="*/ 171450 h 314325"/>
                  <a:gd name="connsiteX17" fmla="*/ 261937 w 990600"/>
                  <a:gd name="connsiteY17" fmla="*/ 142875 h 314325"/>
                  <a:gd name="connsiteX18" fmla="*/ 295275 w 990600"/>
                  <a:gd name="connsiteY18" fmla="*/ 71437 h 314325"/>
                  <a:gd name="connsiteX19" fmla="*/ 306250 w 990600"/>
                  <a:gd name="connsiteY19" fmla="*/ 36631 h 314325"/>
                  <a:gd name="connsiteX20" fmla="*/ 313221 w 990600"/>
                  <a:gd name="connsiteY20" fmla="*/ 88841 h 314325"/>
                  <a:gd name="connsiteX21" fmla="*/ 318331 w 990600"/>
                  <a:gd name="connsiteY21" fmla="*/ 147637 h 314325"/>
                  <a:gd name="connsiteX22" fmla="*/ 328612 w 990600"/>
                  <a:gd name="connsiteY22" fmla="*/ 171450 h 314325"/>
                  <a:gd name="connsiteX23" fmla="*/ 339998 w 990600"/>
                  <a:gd name="connsiteY23" fmla="*/ 261916 h 314325"/>
                  <a:gd name="connsiteX24" fmla="*/ 347662 w 990600"/>
                  <a:gd name="connsiteY24" fmla="*/ 247650 h 314325"/>
                  <a:gd name="connsiteX25" fmla="*/ 361256 w 990600"/>
                  <a:gd name="connsiteY25" fmla="*/ 231782 h 314325"/>
                  <a:gd name="connsiteX26" fmla="*/ 385762 w 990600"/>
                  <a:gd name="connsiteY26" fmla="*/ 180975 h 314325"/>
                  <a:gd name="connsiteX27" fmla="*/ 400050 w 990600"/>
                  <a:gd name="connsiteY27" fmla="*/ 171450 h 314325"/>
                  <a:gd name="connsiteX28" fmla="*/ 409575 w 990600"/>
                  <a:gd name="connsiteY28" fmla="*/ 157162 h 314325"/>
                  <a:gd name="connsiteX29" fmla="*/ 419100 w 990600"/>
                  <a:gd name="connsiteY29" fmla="*/ 180975 h 314325"/>
                  <a:gd name="connsiteX30" fmla="*/ 428625 w 990600"/>
                  <a:gd name="connsiteY30" fmla="*/ 209550 h 314325"/>
                  <a:gd name="connsiteX31" fmla="*/ 438906 w 990600"/>
                  <a:gd name="connsiteY31" fmla="*/ 252390 h 314325"/>
                  <a:gd name="connsiteX32" fmla="*/ 466725 w 990600"/>
                  <a:gd name="connsiteY32" fmla="*/ 233362 h 314325"/>
                  <a:gd name="connsiteX33" fmla="*/ 481012 w 990600"/>
                  <a:gd name="connsiteY33" fmla="*/ 233362 h 314325"/>
                  <a:gd name="connsiteX34" fmla="*/ 490537 w 990600"/>
                  <a:gd name="connsiteY34" fmla="*/ 223837 h 314325"/>
                  <a:gd name="connsiteX35" fmla="*/ 533400 w 990600"/>
                  <a:gd name="connsiteY35" fmla="*/ 138112 h 314325"/>
                  <a:gd name="connsiteX36" fmla="*/ 552450 w 990600"/>
                  <a:gd name="connsiteY36" fmla="*/ 104775 h 314325"/>
                  <a:gd name="connsiteX37" fmla="*/ 557212 w 990600"/>
                  <a:gd name="connsiteY37" fmla="*/ 90487 h 314325"/>
                  <a:gd name="connsiteX38" fmla="*/ 571500 w 990600"/>
                  <a:gd name="connsiteY38" fmla="*/ 80962 h 314325"/>
                  <a:gd name="connsiteX39" fmla="*/ 610294 w 990600"/>
                  <a:gd name="connsiteY39" fmla="*/ 49227 h 314325"/>
                  <a:gd name="connsiteX40" fmla="*/ 627328 w 990600"/>
                  <a:gd name="connsiteY40" fmla="*/ 51320 h 314325"/>
                  <a:gd name="connsiteX41" fmla="*/ 638585 w 990600"/>
                  <a:gd name="connsiteY41" fmla="*/ 295341 h 314325"/>
                  <a:gd name="connsiteX42" fmla="*/ 642937 w 990600"/>
                  <a:gd name="connsiteY42" fmla="*/ 314325 h 314325"/>
                  <a:gd name="connsiteX43" fmla="*/ 652462 w 990600"/>
                  <a:gd name="connsiteY43" fmla="*/ 295275 h 314325"/>
                  <a:gd name="connsiteX44" fmla="*/ 666402 w 990600"/>
                  <a:gd name="connsiteY44" fmla="*/ 257152 h 314325"/>
                  <a:gd name="connsiteX45" fmla="*/ 698227 w 990600"/>
                  <a:gd name="connsiteY45" fmla="*/ 168290 h 314325"/>
                  <a:gd name="connsiteX46" fmla="*/ 714375 w 990600"/>
                  <a:gd name="connsiteY46" fmla="*/ 133350 h 314325"/>
                  <a:gd name="connsiteX47" fmla="*/ 719137 w 990600"/>
                  <a:gd name="connsiteY47" fmla="*/ 166687 h 314325"/>
                  <a:gd name="connsiteX48" fmla="*/ 723900 w 990600"/>
                  <a:gd name="connsiteY48" fmla="*/ 180975 h 314325"/>
                  <a:gd name="connsiteX49" fmla="*/ 740048 w 990600"/>
                  <a:gd name="connsiteY49" fmla="*/ 155604 h 314325"/>
                  <a:gd name="connsiteX50" fmla="*/ 766068 w 990600"/>
                  <a:gd name="connsiteY50" fmla="*/ 131770 h 314325"/>
                  <a:gd name="connsiteX51" fmla="*/ 785812 w 990600"/>
                  <a:gd name="connsiteY51" fmla="*/ 85725 h 314325"/>
                  <a:gd name="connsiteX52" fmla="*/ 795337 w 990600"/>
                  <a:gd name="connsiteY52" fmla="*/ 114300 h 314325"/>
                  <a:gd name="connsiteX53" fmla="*/ 809625 w 990600"/>
                  <a:gd name="connsiteY53" fmla="*/ 185737 h 314325"/>
                  <a:gd name="connsiteX54" fmla="*/ 830535 w 990600"/>
                  <a:gd name="connsiteY54" fmla="*/ 180975 h 314325"/>
                  <a:gd name="connsiteX55" fmla="*/ 847725 w 990600"/>
                  <a:gd name="connsiteY55" fmla="*/ 138112 h 314325"/>
                  <a:gd name="connsiteX56" fmla="*/ 871537 w 990600"/>
                  <a:gd name="connsiteY56" fmla="*/ 76200 h 314325"/>
                  <a:gd name="connsiteX57" fmla="*/ 876300 w 990600"/>
                  <a:gd name="connsiteY57" fmla="*/ 52387 h 314325"/>
                  <a:gd name="connsiteX58" fmla="*/ 890587 w 990600"/>
                  <a:gd name="connsiteY58" fmla="*/ 38100 h 314325"/>
                  <a:gd name="connsiteX59" fmla="*/ 895350 w 990600"/>
                  <a:gd name="connsiteY59" fmla="*/ 14287 h 314325"/>
                  <a:gd name="connsiteX60" fmla="*/ 900112 w 990600"/>
                  <a:gd name="connsiteY60" fmla="*/ 0 h 314325"/>
                  <a:gd name="connsiteX61" fmla="*/ 904875 w 990600"/>
                  <a:gd name="connsiteY61" fmla="*/ 14287 h 314325"/>
                  <a:gd name="connsiteX62" fmla="*/ 909637 w 990600"/>
                  <a:gd name="connsiteY62" fmla="*/ 71437 h 314325"/>
                  <a:gd name="connsiteX63" fmla="*/ 919162 w 990600"/>
                  <a:gd name="connsiteY63" fmla="*/ 100012 h 314325"/>
                  <a:gd name="connsiteX64" fmla="*/ 942975 w 990600"/>
                  <a:gd name="connsiteY64" fmla="*/ 161925 h 314325"/>
                  <a:gd name="connsiteX65" fmla="*/ 947737 w 990600"/>
                  <a:gd name="connsiteY65" fmla="*/ 180975 h 314325"/>
                  <a:gd name="connsiteX66" fmla="*/ 952500 w 990600"/>
                  <a:gd name="connsiteY66" fmla="*/ 214312 h 314325"/>
                  <a:gd name="connsiteX67" fmla="*/ 971550 w 990600"/>
                  <a:gd name="connsiteY67" fmla="*/ 242887 h 314325"/>
                  <a:gd name="connsiteX68" fmla="*/ 985837 w 990600"/>
                  <a:gd name="connsiteY68" fmla="*/ 238125 h 314325"/>
                  <a:gd name="connsiteX69" fmla="*/ 990600 w 990600"/>
                  <a:gd name="connsiteY69" fmla="*/ 223837 h 314325"/>
                  <a:gd name="connsiteX0" fmla="*/ 0 w 1009366"/>
                  <a:gd name="connsiteY0" fmla="*/ 266700 h 314325"/>
                  <a:gd name="connsiteX1" fmla="*/ 23812 w 1009366"/>
                  <a:gd name="connsiteY1" fmla="*/ 242887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7957 w 1008814"/>
                  <a:gd name="connsiteY68" fmla="*/ 250306 h 314325"/>
                  <a:gd name="connsiteX69" fmla="*/ 1008814 w 1008814"/>
                  <a:gd name="connsiteY69" fmla="*/ 201715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417"/>
                  <a:gd name="connsiteY0" fmla="*/ 262750 h 314325"/>
                  <a:gd name="connsiteX1" fmla="*/ 10014 w 1010417"/>
                  <a:gd name="connsiteY1" fmla="*/ 273436 h 314325"/>
                  <a:gd name="connsiteX2" fmla="*/ 28023 w 1010417"/>
                  <a:gd name="connsiteY2" fmla="*/ 228600 h 314325"/>
                  <a:gd name="connsiteX3" fmla="*/ 56598 w 1010417"/>
                  <a:gd name="connsiteY3" fmla="*/ 180975 h 314325"/>
                  <a:gd name="connsiteX4" fmla="*/ 66123 w 1010417"/>
                  <a:gd name="connsiteY4" fmla="*/ 166687 h 314325"/>
                  <a:gd name="connsiteX5" fmla="*/ 85173 w 1010417"/>
                  <a:gd name="connsiteY5" fmla="*/ 114300 h 314325"/>
                  <a:gd name="connsiteX6" fmla="*/ 94698 w 1010417"/>
                  <a:gd name="connsiteY6" fmla="*/ 100012 h 314325"/>
                  <a:gd name="connsiteX7" fmla="*/ 113748 w 1010417"/>
                  <a:gd name="connsiteY7" fmla="*/ 57150 h 314325"/>
                  <a:gd name="connsiteX8" fmla="*/ 118510 w 1010417"/>
                  <a:gd name="connsiteY8" fmla="*/ 42862 h 314325"/>
                  <a:gd name="connsiteX9" fmla="*/ 128035 w 1010417"/>
                  <a:gd name="connsiteY9" fmla="*/ 4762 h 314325"/>
                  <a:gd name="connsiteX10" fmla="*/ 137560 w 1010417"/>
                  <a:gd name="connsiteY10" fmla="*/ 100012 h 314325"/>
                  <a:gd name="connsiteX11" fmla="*/ 147085 w 1010417"/>
                  <a:gd name="connsiteY11" fmla="*/ 152400 h 314325"/>
                  <a:gd name="connsiteX12" fmla="*/ 151848 w 1010417"/>
                  <a:gd name="connsiteY12" fmla="*/ 228600 h 314325"/>
                  <a:gd name="connsiteX13" fmla="*/ 164337 w 1010417"/>
                  <a:gd name="connsiteY13" fmla="*/ 268258 h 314325"/>
                  <a:gd name="connsiteX14" fmla="*/ 192218 w 1010417"/>
                  <a:gd name="connsiteY14" fmla="*/ 255572 h 314325"/>
                  <a:gd name="connsiteX15" fmla="*/ 222529 w 1010417"/>
                  <a:gd name="connsiteY15" fmla="*/ 201561 h 314325"/>
                  <a:gd name="connsiteX16" fmla="*/ 242335 w 1010417"/>
                  <a:gd name="connsiteY16" fmla="*/ 171450 h 314325"/>
                  <a:gd name="connsiteX17" fmla="*/ 261385 w 1010417"/>
                  <a:gd name="connsiteY17" fmla="*/ 142875 h 314325"/>
                  <a:gd name="connsiteX18" fmla="*/ 294723 w 1010417"/>
                  <a:gd name="connsiteY18" fmla="*/ 71437 h 314325"/>
                  <a:gd name="connsiteX19" fmla="*/ 305698 w 1010417"/>
                  <a:gd name="connsiteY19" fmla="*/ 36631 h 314325"/>
                  <a:gd name="connsiteX20" fmla="*/ 312669 w 1010417"/>
                  <a:gd name="connsiteY20" fmla="*/ 88841 h 314325"/>
                  <a:gd name="connsiteX21" fmla="*/ 317779 w 1010417"/>
                  <a:gd name="connsiteY21" fmla="*/ 147637 h 314325"/>
                  <a:gd name="connsiteX22" fmla="*/ 328060 w 1010417"/>
                  <a:gd name="connsiteY22" fmla="*/ 171450 h 314325"/>
                  <a:gd name="connsiteX23" fmla="*/ 339446 w 1010417"/>
                  <a:gd name="connsiteY23" fmla="*/ 261916 h 314325"/>
                  <a:gd name="connsiteX24" fmla="*/ 347110 w 1010417"/>
                  <a:gd name="connsiteY24" fmla="*/ 247650 h 314325"/>
                  <a:gd name="connsiteX25" fmla="*/ 360704 w 1010417"/>
                  <a:gd name="connsiteY25" fmla="*/ 231782 h 314325"/>
                  <a:gd name="connsiteX26" fmla="*/ 385210 w 1010417"/>
                  <a:gd name="connsiteY26" fmla="*/ 180975 h 314325"/>
                  <a:gd name="connsiteX27" fmla="*/ 399498 w 1010417"/>
                  <a:gd name="connsiteY27" fmla="*/ 171450 h 314325"/>
                  <a:gd name="connsiteX28" fmla="*/ 409023 w 1010417"/>
                  <a:gd name="connsiteY28" fmla="*/ 157162 h 314325"/>
                  <a:gd name="connsiteX29" fmla="*/ 418548 w 1010417"/>
                  <a:gd name="connsiteY29" fmla="*/ 180975 h 314325"/>
                  <a:gd name="connsiteX30" fmla="*/ 428073 w 1010417"/>
                  <a:gd name="connsiteY30" fmla="*/ 209550 h 314325"/>
                  <a:gd name="connsiteX31" fmla="*/ 438354 w 1010417"/>
                  <a:gd name="connsiteY31" fmla="*/ 252390 h 314325"/>
                  <a:gd name="connsiteX32" fmla="*/ 466173 w 1010417"/>
                  <a:gd name="connsiteY32" fmla="*/ 233362 h 314325"/>
                  <a:gd name="connsiteX33" fmla="*/ 480460 w 1010417"/>
                  <a:gd name="connsiteY33" fmla="*/ 233362 h 314325"/>
                  <a:gd name="connsiteX34" fmla="*/ 489985 w 1010417"/>
                  <a:gd name="connsiteY34" fmla="*/ 223837 h 314325"/>
                  <a:gd name="connsiteX35" fmla="*/ 532848 w 1010417"/>
                  <a:gd name="connsiteY35" fmla="*/ 138112 h 314325"/>
                  <a:gd name="connsiteX36" fmla="*/ 551898 w 1010417"/>
                  <a:gd name="connsiteY36" fmla="*/ 104775 h 314325"/>
                  <a:gd name="connsiteX37" fmla="*/ 556660 w 1010417"/>
                  <a:gd name="connsiteY37" fmla="*/ 90487 h 314325"/>
                  <a:gd name="connsiteX38" fmla="*/ 570948 w 1010417"/>
                  <a:gd name="connsiteY38" fmla="*/ 80962 h 314325"/>
                  <a:gd name="connsiteX39" fmla="*/ 609742 w 1010417"/>
                  <a:gd name="connsiteY39" fmla="*/ 49227 h 314325"/>
                  <a:gd name="connsiteX40" fmla="*/ 626776 w 1010417"/>
                  <a:gd name="connsiteY40" fmla="*/ 51320 h 314325"/>
                  <a:gd name="connsiteX41" fmla="*/ 638033 w 1010417"/>
                  <a:gd name="connsiteY41" fmla="*/ 295341 h 314325"/>
                  <a:gd name="connsiteX42" fmla="*/ 642385 w 1010417"/>
                  <a:gd name="connsiteY42" fmla="*/ 314325 h 314325"/>
                  <a:gd name="connsiteX43" fmla="*/ 651910 w 1010417"/>
                  <a:gd name="connsiteY43" fmla="*/ 295275 h 314325"/>
                  <a:gd name="connsiteX44" fmla="*/ 665850 w 1010417"/>
                  <a:gd name="connsiteY44" fmla="*/ 257152 h 314325"/>
                  <a:gd name="connsiteX45" fmla="*/ 697675 w 1010417"/>
                  <a:gd name="connsiteY45" fmla="*/ 168290 h 314325"/>
                  <a:gd name="connsiteX46" fmla="*/ 713823 w 1010417"/>
                  <a:gd name="connsiteY46" fmla="*/ 133350 h 314325"/>
                  <a:gd name="connsiteX47" fmla="*/ 718585 w 1010417"/>
                  <a:gd name="connsiteY47" fmla="*/ 166687 h 314325"/>
                  <a:gd name="connsiteX48" fmla="*/ 723348 w 1010417"/>
                  <a:gd name="connsiteY48" fmla="*/ 180975 h 314325"/>
                  <a:gd name="connsiteX49" fmla="*/ 739496 w 1010417"/>
                  <a:gd name="connsiteY49" fmla="*/ 155604 h 314325"/>
                  <a:gd name="connsiteX50" fmla="*/ 765516 w 1010417"/>
                  <a:gd name="connsiteY50" fmla="*/ 131770 h 314325"/>
                  <a:gd name="connsiteX51" fmla="*/ 785260 w 1010417"/>
                  <a:gd name="connsiteY51" fmla="*/ 85725 h 314325"/>
                  <a:gd name="connsiteX52" fmla="*/ 794785 w 1010417"/>
                  <a:gd name="connsiteY52" fmla="*/ 114300 h 314325"/>
                  <a:gd name="connsiteX53" fmla="*/ 809073 w 1010417"/>
                  <a:gd name="connsiteY53" fmla="*/ 185737 h 314325"/>
                  <a:gd name="connsiteX54" fmla="*/ 829983 w 1010417"/>
                  <a:gd name="connsiteY54" fmla="*/ 180975 h 314325"/>
                  <a:gd name="connsiteX55" fmla="*/ 847173 w 1010417"/>
                  <a:gd name="connsiteY55" fmla="*/ 138112 h 314325"/>
                  <a:gd name="connsiteX56" fmla="*/ 870985 w 1010417"/>
                  <a:gd name="connsiteY56" fmla="*/ 76200 h 314325"/>
                  <a:gd name="connsiteX57" fmla="*/ 875748 w 1010417"/>
                  <a:gd name="connsiteY57" fmla="*/ 52387 h 314325"/>
                  <a:gd name="connsiteX58" fmla="*/ 890035 w 1010417"/>
                  <a:gd name="connsiteY58" fmla="*/ 38100 h 314325"/>
                  <a:gd name="connsiteX59" fmla="*/ 894798 w 1010417"/>
                  <a:gd name="connsiteY59" fmla="*/ 14287 h 314325"/>
                  <a:gd name="connsiteX60" fmla="*/ 899560 w 1010417"/>
                  <a:gd name="connsiteY60" fmla="*/ 0 h 314325"/>
                  <a:gd name="connsiteX61" fmla="*/ 904323 w 1010417"/>
                  <a:gd name="connsiteY61" fmla="*/ 14287 h 314325"/>
                  <a:gd name="connsiteX62" fmla="*/ 909085 w 1010417"/>
                  <a:gd name="connsiteY62" fmla="*/ 71437 h 314325"/>
                  <a:gd name="connsiteX63" fmla="*/ 918610 w 1010417"/>
                  <a:gd name="connsiteY63" fmla="*/ 100012 h 314325"/>
                  <a:gd name="connsiteX64" fmla="*/ 942423 w 1010417"/>
                  <a:gd name="connsiteY64" fmla="*/ 161925 h 314325"/>
                  <a:gd name="connsiteX65" fmla="*/ 947185 w 1010417"/>
                  <a:gd name="connsiteY65" fmla="*/ 180975 h 314325"/>
                  <a:gd name="connsiteX66" fmla="*/ 951948 w 1010417"/>
                  <a:gd name="connsiteY66" fmla="*/ 214312 h 314325"/>
                  <a:gd name="connsiteX67" fmla="*/ 970998 w 1010417"/>
                  <a:gd name="connsiteY67" fmla="*/ 242887 h 314325"/>
                  <a:gd name="connsiteX68" fmla="*/ 987957 w 1010417"/>
                  <a:gd name="connsiteY68" fmla="*/ 250306 h 314325"/>
                  <a:gd name="connsiteX69" fmla="*/ 1010417 w 1010417"/>
                  <a:gd name="connsiteY69" fmla="*/ 262624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0121 w 1011486"/>
                  <a:gd name="connsiteY68" fmla="*/ 263299 h 314325"/>
                  <a:gd name="connsiteX69" fmla="*/ 1011486 w 1011486"/>
                  <a:gd name="connsiteY69" fmla="*/ 265059 h 314325"/>
                  <a:gd name="connsiteX0" fmla="*/ 0 w 1016295"/>
                  <a:gd name="connsiteY0" fmla="*/ 262750 h 314325"/>
                  <a:gd name="connsiteX1" fmla="*/ 10014 w 1016295"/>
                  <a:gd name="connsiteY1" fmla="*/ 273436 h 314325"/>
                  <a:gd name="connsiteX2" fmla="*/ 28023 w 1016295"/>
                  <a:gd name="connsiteY2" fmla="*/ 228600 h 314325"/>
                  <a:gd name="connsiteX3" fmla="*/ 56598 w 1016295"/>
                  <a:gd name="connsiteY3" fmla="*/ 180975 h 314325"/>
                  <a:gd name="connsiteX4" fmla="*/ 66123 w 1016295"/>
                  <a:gd name="connsiteY4" fmla="*/ 166687 h 314325"/>
                  <a:gd name="connsiteX5" fmla="*/ 85173 w 1016295"/>
                  <a:gd name="connsiteY5" fmla="*/ 114300 h 314325"/>
                  <a:gd name="connsiteX6" fmla="*/ 94698 w 1016295"/>
                  <a:gd name="connsiteY6" fmla="*/ 100012 h 314325"/>
                  <a:gd name="connsiteX7" fmla="*/ 113748 w 1016295"/>
                  <a:gd name="connsiteY7" fmla="*/ 57150 h 314325"/>
                  <a:gd name="connsiteX8" fmla="*/ 118510 w 1016295"/>
                  <a:gd name="connsiteY8" fmla="*/ 42862 h 314325"/>
                  <a:gd name="connsiteX9" fmla="*/ 128035 w 1016295"/>
                  <a:gd name="connsiteY9" fmla="*/ 4762 h 314325"/>
                  <a:gd name="connsiteX10" fmla="*/ 137560 w 1016295"/>
                  <a:gd name="connsiteY10" fmla="*/ 100012 h 314325"/>
                  <a:gd name="connsiteX11" fmla="*/ 147085 w 1016295"/>
                  <a:gd name="connsiteY11" fmla="*/ 152400 h 314325"/>
                  <a:gd name="connsiteX12" fmla="*/ 151848 w 1016295"/>
                  <a:gd name="connsiteY12" fmla="*/ 228600 h 314325"/>
                  <a:gd name="connsiteX13" fmla="*/ 164337 w 1016295"/>
                  <a:gd name="connsiteY13" fmla="*/ 268258 h 314325"/>
                  <a:gd name="connsiteX14" fmla="*/ 192218 w 1016295"/>
                  <a:gd name="connsiteY14" fmla="*/ 255572 h 314325"/>
                  <a:gd name="connsiteX15" fmla="*/ 222529 w 1016295"/>
                  <a:gd name="connsiteY15" fmla="*/ 201561 h 314325"/>
                  <a:gd name="connsiteX16" fmla="*/ 242335 w 1016295"/>
                  <a:gd name="connsiteY16" fmla="*/ 171450 h 314325"/>
                  <a:gd name="connsiteX17" fmla="*/ 261385 w 1016295"/>
                  <a:gd name="connsiteY17" fmla="*/ 142875 h 314325"/>
                  <a:gd name="connsiteX18" fmla="*/ 294723 w 1016295"/>
                  <a:gd name="connsiteY18" fmla="*/ 71437 h 314325"/>
                  <a:gd name="connsiteX19" fmla="*/ 305698 w 1016295"/>
                  <a:gd name="connsiteY19" fmla="*/ 36631 h 314325"/>
                  <a:gd name="connsiteX20" fmla="*/ 312669 w 1016295"/>
                  <a:gd name="connsiteY20" fmla="*/ 88841 h 314325"/>
                  <a:gd name="connsiteX21" fmla="*/ 317779 w 1016295"/>
                  <a:gd name="connsiteY21" fmla="*/ 147637 h 314325"/>
                  <a:gd name="connsiteX22" fmla="*/ 328060 w 1016295"/>
                  <a:gd name="connsiteY22" fmla="*/ 171450 h 314325"/>
                  <a:gd name="connsiteX23" fmla="*/ 339446 w 1016295"/>
                  <a:gd name="connsiteY23" fmla="*/ 261916 h 314325"/>
                  <a:gd name="connsiteX24" fmla="*/ 347110 w 1016295"/>
                  <a:gd name="connsiteY24" fmla="*/ 247650 h 314325"/>
                  <a:gd name="connsiteX25" fmla="*/ 360704 w 1016295"/>
                  <a:gd name="connsiteY25" fmla="*/ 231782 h 314325"/>
                  <a:gd name="connsiteX26" fmla="*/ 385210 w 1016295"/>
                  <a:gd name="connsiteY26" fmla="*/ 180975 h 314325"/>
                  <a:gd name="connsiteX27" fmla="*/ 399498 w 1016295"/>
                  <a:gd name="connsiteY27" fmla="*/ 171450 h 314325"/>
                  <a:gd name="connsiteX28" fmla="*/ 409023 w 1016295"/>
                  <a:gd name="connsiteY28" fmla="*/ 157162 h 314325"/>
                  <a:gd name="connsiteX29" fmla="*/ 418548 w 1016295"/>
                  <a:gd name="connsiteY29" fmla="*/ 180975 h 314325"/>
                  <a:gd name="connsiteX30" fmla="*/ 428073 w 1016295"/>
                  <a:gd name="connsiteY30" fmla="*/ 209550 h 314325"/>
                  <a:gd name="connsiteX31" fmla="*/ 438354 w 1016295"/>
                  <a:gd name="connsiteY31" fmla="*/ 252390 h 314325"/>
                  <a:gd name="connsiteX32" fmla="*/ 466173 w 1016295"/>
                  <a:gd name="connsiteY32" fmla="*/ 233362 h 314325"/>
                  <a:gd name="connsiteX33" fmla="*/ 480460 w 1016295"/>
                  <a:gd name="connsiteY33" fmla="*/ 233362 h 314325"/>
                  <a:gd name="connsiteX34" fmla="*/ 489985 w 1016295"/>
                  <a:gd name="connsiteY34" fmla="*/ 223837 h 314325"/>
                  <a:gd name="connsiteX35" fmla="*/ 532848 w 1016295"/>
                  <a:gd name="connsiteY35" fmla="*/ 138112 h 314325"/>
                  <a:gd name="connsiteX36" fmla="*/ 551898 w 1016295"/>
                  <a:gd name="connsiteY36" fmla="*/ 104775 h 314325"/>
                  <a:gd name="connsiteX37" fmla="*/ 556660 w 1016295"/>
                  <a:gd name="connsiteY37" fmla="*/ 90487 h 314325"/>
                  <a:gd name="connsiteX38" fmla="*/ 570948 w 1016295"/>
                  <a:gd name="connsiteY38" fmla="*/ 80962 h 314325"/>
                  <a:gd name="connsiteX39" fmla="*/ 609742 w 1016295"/>
                  <a:gd name="connsiteY39" fmla="*/ 49227 h 314325"/>
                  <a:gd name="connsiteX40" fmla="*/ 626776 w 1016295"/>
                  <a:gd name="connsiteY40" fmla="*/ 51320 h 314325"/>
                  <a:gd name="connsiteX41" fmla="*/ 638033 w 1016295"/>
                  <a:gd name="connsiteY41" fmla="*/ 295341 h 314325"/>
                  <a:gd name="connsiteX42" fmla="*/ 642385 w 1016295"/>
                  <a:gd name="connsiteY42" fmla="*/ 314325 h 314325"/>
                  <a:gd name="connsiteX43" fmla="*/ 651910 w 1016295"/>
                  <a:gd name="connsiteY43" fmla="*/ 295275 h 314325"/>
                  <a:gd name="connsiteX44" fmla="*/ 665850 w 1016295"/>
                  <a:gd name="connsiteY44" fmla="*/ 257152 h 314325"/>
                  <a:gd name="connsiteX45" fmla="*/ 697675 w 1016295"/>
                  <a:gd name="connsiteY45" fmla="*/ 168290 h 314325"/>
                  <a:gd name="connsiteX46" fmla="*/ 713823 w 1016295"/>
                  <a:gd name="connsiteY46" fmla="*/ 133350 h 314325"/>
                  <a:gd name="connsiteX47" fmla="*/ 718585 w 1016295"/>
                  <a:gd name="connsiteY47" fmla="*/ 166687 h 314325"/>
                  <a:gd name="connsiteX48" fmla="*/ 723348 w 1016295"/>
                  <a:gd name="connsiteY48" fmla="*/ 180975 h 314325"/>
                  <a:gd name="connsiteX49" fmla="*/ 739496 w 1016295"/>
                  <a:gd name="connsiteY49" fmla="*/ 155604 h 314325"/>
                  <a:gd name="connsiteX50" fmla="*/ 765516 w 1016295"/>
                  <a:gd name="connsiteY50" fmla="*/ 131770 h 314325"/>
                  <a:gd name="connsiteX51" fmla="*/ 785260 w 1016295"/>
                  <a:gd name="connsiteY51" fmla="*/ 85725 h 314325"/>
                  <a:gd name="connsiteX52" fmla="*/ 794785 w 1016295"/>
                  <a:gd name="connsiteY52" fmla="*/ 114300 h 314325"/>
                  <a:gd name="connsiteX53" fmla="*/ 809073 w 1016295"/>
                  <a:gd name="connsiteY53" fmla="*/ 185737 h 314325"/>
                  <a:gd name="connsiteX54" fmla="*/ 829983 w 1016295"/>
                  <a:gd name="connsiteY54" fmla="*/ 180975 h 314325"/>
                  <a:gd name="connsiteX55" fmla="*/ 847173 w 1016295"/>
                  <a:gd name="connsiteY55" fmla="*/ 138112 h 314325"/>
                  <a:gd name="connsiteX56" fmla="*/ 870985 w 1016295"/>
                  <a:gd name="connsiteY56" fmla="*/ 76200 h 314325"/>
                  <a:gd name="connsiteX57" fmla="*/ 875748 w 1016295"/>
                  <a:gd name="connsiteY57" fmla="*/ 52387 h 314325"/>
                  <a:gd name="connsiteX58" fmla="*/ 890035 w 1016295"/>
                  <a:gd name="connsiteY58" fmla="*/ 38100 h 314325"/>
                  <a:gd name="connsiteX59" fmla="*/ 894798 w 1016295"/>
                  <a:gd name="connsiteY59" fmla="*/ 14287 h 314325"/>
                  <a:gd name="connsiteX60" fmla="*/ 899560 w 1016295"/>
                  <a:gd name="connsiteY60" fmla="*/ 0 h 314325"/>
                  <a:gd name="connsiteX61" fmla="*/ 904323 w 1016295"/>
                  <a:gd name="connsiteY61" fmla="*/ 14287 h 314325"/>
                  <a:gd name="connsiteX62" fmla="*/ 909085 w 1016295"/>
                  <a:gd name="connsiteY62" fmla="*/ 71437 h 314325"/>
                  <a:gd name="connsiteX63" fmla="*/ 918610 w 1016295"/>
                  <a:gd name="connsiteY63" fmla="*/ 100012 h 314325"/>
                  <a:gd name="connsiteX64" fmla="*/ 942423 w 1016295"/>
                  <a:gd name="connsiteY64" fmla="*/ 161925 h 314325"/>
                  <a:gd name="connsiteX65" fmla="*/ 947185 w 1016295"/>
                  <a:gd name="connsiteY65" fmla="*/ 180975 h 314325"/>
                  <a:gd name="connsiteX66" fmla="*/ 951948 w 1016295"/>
                  <a:gd name="connsiteY66" fmla="*/ 214312 h 314325"/>
                  <a:gd name="connsiteX67" fmla="*/ 970998 w 1016295"/>
                  <a:gd name="connsiteY67" fmla="*/ 242887 h 314325"/>
                  <a:gd name="connsiteX68" fmla="*/ 980121 w 1016295"/>
                  <a:gd name="connsiteY68" fmla="*/ 263299 h 314325"/>
                  <a:gd name="connsiteX69" fmla="*/ 1016295 w 1016295"/>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2218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221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273 w 1028050"/>
                  <a:gd name="connsiteY68" fmla="*/ 263299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1342 w 1028050"/>
                  <a:gd name="connsiteY68" fmla="*/ 270608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808 w 1028050"/>
                  <a:gd name="connsiteY68" fmla="*/ 268171 h 314325"/>
                  <a:gd name="connsiteX69" fmla="*/ 1028050 w 1028050"/>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85790 w 1023241"/>
                  <a:gd name="connsiteY68" fmla="*/ 263450 h 314325"/>
                  <a:gd name="connsiteX69" fmla="*/ 990808 w 1023241"/>
                  <a:gd name="connsiteY69" fmla="*/ 268171 h 314325"/>
                  <a:gd name="connsiteX70" fmla="*/ 1023241 w 1023241"/>
                  <a:gd name="connsiteY70"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1342 w 1023241"/>
                  <a:gd name="connsiteY68" fmla="*/ 265734 h 314325"/>
                  <a:gd name="connsiteX69" fmla="*/ 1023241 w 1023241"/>
                  <a:gd name="connsiteY69" fmla="*/ 263841 h 314325"/>
                  <a:gd name="connsiteX0" fmla="*/ 0 w 1020035"/>
                  <a:gd name="connsiteY0" fmla="*/ 281023 h 314325"/>
                  <a:gd name="connsiteX1" fmla="*/ 31921 w 1020035"/>
                  <a:gd name="connsiteY1" fmla="*/ 274654 h 314325"/>
                  <a:gd name="connsiteX2" fmla="*/ 49395 w 1020035"/>
                  <a:gd name="connsiteY2" fmla="*/ 228600 h 314325"/>
                  <a:gd name="connsiteX3" fmla="*/ 66750 w 1020035"/>
                  <a:gd name="connsiteY3" fmla="*/ 180975 h 314325"/>
                  <a:gd name="connsiteX4" fmla="*/ 76275 w 1020035"/>
                  <a:gd name="connsiteY4" fmla="*/ 166687 h 314325"/>
                  <a:gd name="connsiteX5" fmla="*/ 95325 w 1020035"/>
                  <a:gd name="connsiteY5" fmla="*/ 114300 h 314325"/>
                  <a:gd name="connsiteX6" fmla="*/ 104850 w 1020035"/>
                  <a:gd name="connsiteY6" fmla="*/ 100012 h 314325"/>
                  <a:gd name="connsiteX7" fmla="*/ 123900 w 1020035"/>
                  <a:gd name="connsiteY7" fmla="*/ 57150 h 314325"/>
                  <a:gd name="connsiteX8" fmla="*/ 128662 w 1020035"/>
                  <a:gd name="connsiteY8" fmla="*/ 42862 h 314325"/>
                  <a:gd name="connsiteX9" fmla="*/ 138187 w 1020035"/>
                  <a:gd name="connsiteY9" fmla="*/ 4762 h 314325"/>
                  <a:gd name="connsiteX10" fmla="*/ 147712 w 1020035"/>
                  <a:gd name="connsiteY10" fmla="*/ 100012 h 314325"/>
                  <a:gd name="connsiteX11" fmla="*/ 157237 w 1020035"/>
                  <a:gd name="connsiteY11" fmla="*/ 152400 h 314325"/>
                  <a:gd name="connsiteX12" fmla="*/ 162000 w 1020035"/>
                  <a:gd name="connsiteY12" fmla="*/ 228600 h 314325"/>
                  <a:gd name="connsiteX13" fmla="*/ 174489 w 1020035"/>
                  <a:gd name="connsiteY13" fmla="*/ 268258 h 314325"/>
                  <a:gd name="connsiteX14" fmla="*/ 202370 w 1020035"/>
                  <a:gd name="connsiteY14" fmla="*/ 255572 h 314325"/>
                  <a:gd name="connsiteX15" fmla="*/ 232681 w 1020035"/>
                  <a:gd name="connsiteY15" fmla="*/ 201561 h 314325"/>
                  <a:gd name="connsiteX16" fmla="*/ 252487 w 1020035"/>
                  <a:gd name="connsiteY16" fmla="*/ 171450 h 314325"/>
                  <a:gd name="connsiteX17" fmla="*/ 271537 w 1020035"/>
                  <a:gd name="connsiteY17" fmla="*/ 142875 h 314325"/>
                  <a:gd name="connsiteX18" fmla="*/ 304875 w 1020035"/>
                  <a:gd name="connsiteY18" fmla="*/ 71437 h 314325"/>
                  <a:gd name="connsiteX19" fmla="*/ 315850 w 1020035"/>
                  <a:gd name="connsiteY19" fmla="*/ 36631 h 314325"/>
                  <a:gd name="connsiteX20" fmla="*/ 322821 w 1020035"/>
                  <a:gd name="connsiteY20" fmla="*/ 88841 h 314325"/>
                  <a:gd name="connsiteX21" fmla="*/ 327931 w 1020035"/>
                  <a:gd name="connsiteY21" fmla="*/ 147637 h 314325"/>
                  <a:gd name="connsiteX22" fmla="*/ 338212 w 1020035"/>
                  <a:gd name="connsiteY22" fmla="*/ 171450 h 314325"/>
                  <a:gd name="connsiteX23" fmla="*/ 349598 w 1020035"/>
                  <a:gd name="connsiteY23" fmla="*/ 261916 h 314325"/>
                  <a:gd name="connsiteX24" fmla="*/ 357262 w 1020035"/>
                  <a:gd name="connsiteY24" fmla="*/ 247650 h 314325"/>
                  <a:gd name="connsiteX25" fmla="*/ 370856 w 1020035"/>
                  <a:gd name="connsiteY25" fmla="*/ 231782 h 314325"/>
                  <a:gd name="connsiteX26" fmla="*/ 395362 w 1020035"/>
                  <a:gd name="connsiteY26" fmla="*/ 180975 h 314325"/>
                  <a:gd name="connsiteX27" fmla="*/ 409650 w 1020035"/>
                  <a:gd name="connsiteY27" fmla="*/ 171450 h 314325"/>
                  <a:gd name="connsiteX28" fmla="*/ 419175 w 1020035"/>
                  <a:gd name="connsiteY28" fmla="*/ 157162 h 314325"/>
                  <a:gd name="connsiteX29" fmla="*/ 428700 w 1020035"/>
                  <a:gd name="connsiteY29" fmla="*/ 180975 h 314325"/>
                  <a:gd name="connsiteX30" fmla="*/ 438225 w 1020035"/>
                  <a:gd name="connsiteY30" fmla="*/ 209550 h 314325"/>
                  <a:gd name="connsiteX31" fmla="*/ 448506 w 1020035"/>
                  <a:gd name="connsiteY31" fmla="*/ 252390 h 314325"/>
                  <a:gd name="connsiteX32" fmla="*/ 476325 w 1020035"/>
                  <a:gd name="connsiteY32" fmla="*/ 233362 h 314325"/>
                  <a:gd name="connsiteX33" fmla="*/ 490612 w 1020035"/>
                  <a:gd name="connsiteY33" fmla="*/ 233362 h 314325"/>
                  <a:gd name="connsiteX34" fmla="*/ 500137 w 1020035"/>
                  <a:gd name="connsiteY34" fmla="*/ 223837 h 314325"/>
                  <a:gd name="connsiteX35" fmla="*/ 543000 w 1020035"/>
                  <a:gd name="connsiteY35" fmla="*/ 138112 h 314325"/>
                  <a:gd name="connsiteX36" fmla="*/ 562050 w 1020035"/>
                  <a:gd name="connsiteY36" fmla="*/ 104775 h 314325"/>
                  <a:gd name="connsiteX37" fmla="*/ 566812 w 1020035"/>
                  <a:gd name="connsiteY37" fmla="*/ 90487 h 314325"/>
                  <a:gd name="connsiteX38" fmla="*/ 581100 w 1020035"/>
                  <a:gd name="connsiteY38" fmla="*/ 80962 h 314325"/>
                  <a:gd name="connsiteX39" fmla="*/ 619894 w 1020035"/>
                  <a:gd name="connsiteY39" fmla="*/ 49227 h 314325"/>
                  <a:gd name="connsiteX40" fmla="*/ 636928 w 1020035"/>
                  <a:gd name="connsiteY40" fmla="*/ 51320 h 314325"/>
                  <a:gd name="connsiteX41" fmla="*/ 648185 w 1020035"/>
                  <a:gd name="connsiteY41" fmla="*/ 295341 h 314325"/>
                  <a:gd name="connsiteX42" fmla="*/ 652537 w 1020035"/>
                  <a:gd name="connsiteY42" fmla="*/ 314325 h 314325"/>
                  <a:gd name="connsiteX43" fmla="*/ 662062 w 1020035"/>
                  <a:gd name="connsiteY43" fmla="*/ 295275 h 314325"/>
                  <a:gd name="connsiteX44" fmla="*/ 676002 w 1020035"/>
                  <a:gd name="connsiteY44" fmla="*/ 257152 h 314325"/>
                  <a:gd name="connsiteX45" fmla="*/ 707827 w 1020035"/>
                  <a:gd name="connsiteY45" fmla="*/ 168290 h 314325"/>
                  <a:gd name="connsiteX46" fmla="*/ 723975 w 1020035"/>
                  <a:gd name="connsiteY46" fmla="*/ 133350 h 314325"/>
                  <a:gd name="connsiteX47" fmla="*/ 728737 w 1020035"/>
                  <a:gd name="connsiteY47" fmla="*/ 166687 h 314325"/>
                  <a:gd name="connsiteX48" fmla="*/ 733500 w 1020035"/>
                  <a:gd name="connsiteY48" fmla="*/ 180975 h 314325"/>
                  <a:gd name="connsiteX49" fmla="*/ 749648 w 1020035"/>
                  <a:gd name="connsiteY49" fmla="*/ 155604 h 314325"/>
                  <a:gd name="connsiteX50" fmla="*/ 775668 w 1020035"/>
                  <a:gd name="connsiteY50" fmla="*/ 131770 h 314325"/>
                  <a:gd name="connsiteX51" fmla="*/ 795412 w 1020035"/>
                  <a:gd name="connsiteY51" fmla="*/ 85725 h 314325"/>
                  <a:gd name="connsiteX52" fmla="*/ 804937 w 1020035"/>
                  <a:gd name="connsiteY52" fmla="*/ 114300 h 314325"/>
                  <a:gd name="connsiteX53" fmla="*/ 819225 w 1020035"/>
                  <a:gd name="connsiteY53" fmla="*/ 185737 h 314325"/>
                  <a:gd name="connsiteX54" fmla="*/ 840135 w 1020035"/>
                  <a:gd name="connsiteY54" fmla="*/ 180975 h 314325"/>
                  <a:gd name="connsiteX55" fmla="*/ 857325 w 1020035"/>
                  <a:gd name="connsiteY55" fmla="*/ 138112 h 314325"/>
                  <a:gd name="connsiteX56" fmla="*/ 881137 w 1020035"/>
                  <a:gd name="connsiteY56" fmla="*/ 76200 h 314325"/>
                  <a:gd name="connsiteX57" fmla="*/ 885900 w 1020035"/>
                  <a:gd name="connsiteY57" fmla="*/ 52387 h 314325"/>
                  <a:gd name="connsiteX58" fmla="*/ 900187 w 1020035"/>
                  <a:gd name="connsiteY58" fmla="*/ 38100 h 314325"/>
                  <a:gd name="connsiteX59" fmla="*/ 904950 w 1020035"/>
                  <a:gd name="connsiteY59" fmla="*/ 14287 h 314325"/>
                  <a:gd name="connsiteX60" fmla="*/ 909712 w 1020035"/>
                  <a:gd name="connsiteY60" fmla="*/ 0 h 314325"/>
                  <a:gd name="connsiteX61" fmla="*/ 914475 w 1020035"/>
                  <a:gd name="connsiteY61" fmla="*/ 14287 h 314325"/>
                  <a:gd name="connsiteX62" fmla="*/ 919237 w 1020035"/>
                  <a:gd name="connsiteY62" fmla="*/ 71437 h 314325"/>
                  <a:gd name="connsiteX63" fmla="*/ 928762 w 1020035"/>
                  <a:gd name="connsiteY63" fmla="*/ 100012 h 314325"/>
                  <a:gd name="connsiteX64" fmla="*/ 952575 w 1020035"/>
                  <a:gd name="connsiteY64" fmla="*/ 161925 h 314325"/>
                  <a:gd name="connsiteX65" fmla="*/ 957337 w 1020035"/>
                  <a:gd name="connsiteY65" fmla="*/ 180975 h 314325"/>
                  <a:gd name="connsiteX66" fmla="*/ 962100 w 1020035"/>
                  <a:gd name="connsiteY66" fmla="*/ 214312 h 314325"/>
                  <a:gd name="connsiteX67" fmla="*/ 981150 w 1020035"/>
                  <a:gd name="connsiteY67" fmla="*/ 242887 h 314325"/>
                  <a:gd name="connsiteX68" fmla="*/ 991342 w 1020035"/>
                  <a:gd name="connsiteY68" fmla="*/ 265734 h 314325"/>
                  <a:gd name="connsiteX69" fmla="*/ 1020035 w 1020035"/>
                  <a:gd name="connsiteY69" fmla="*/ 263841 h 314325"/>
                  <a:gd name="connsiteX0" fmla="*/ 0 w 1025378"/>
                  <a:gd name="connsiteY0" fmla="*/ 281023 h 314325"/>
                  <a:gd name="connsiteX1" fmla="*/ 31921 w 1025378"/>
                  <a:gd name="connsiteY1" fmla="*/ 274654 h 314325"/>
                  <a:gd name="connsiteX2" fmla="*/ 49395 w 1025378"/>
                  <a:gd name="connsiteY2" fmla="*/ 228600 h 314325"/>
                  <a:gd name="connsiteX3" fmla="*/ 66750 w 1025378"/>
                  <a:gd name="connsiteY3" fmla="*/ 180975 h 314325"/>
                  <a:gd name="connsiteX4" fmla="*/ 76275 w 1025378"/>
                  <a:gd name="connsiteY4" fmla="*/ 166687 h 314325"/>
                  <a:gd name="connsiteX5" fmla="*/ 95325 w 1025378"/>
                  <a:gd name="connsiteY5" fmla="*/ 114300 h 314325"/>
                  <a:gd name="connsiteX6" fmla="*/ 104850 w 1025378"/>
                  <a:gd name="connsiteY6" fmla="*/ 100012 h 314325"/>
                  <a:gd name="connsiteX7" fmla="*/ 123900 w 1025378"/>
                  <a:gd name="connsiteY7" fmla="*/ 57150 h 314325"/>
                  <a:gd name="connsiteX8" fmla="*/ 128662 w 1025378"/>
                  <a:gd name="connsiteY8" fmla="*/ 42862 h 314325"/>
                  <a:gd name="connsiteX9" fmla="*/ 138187 w 1025378"/>
                  <a:gd name="connsiteY9" fmla="*/ 4762 h 314325"/>
                  <a:gd name="connsiteX10" fmla="*/ 147712 w 1025378"/>
                  <a:gd name="connsiteY10" fmla="*/ 100012 h 314325"/>
                  <a:gd name="connsiteX11" fmla="*/ 157237 w 1025378"/>
                  <a:gd name="connsiteY11" fmla="*/ 152400 h 314325"/>
                  <a:gd name="connsiteX12" fmla="*/ 162000 w 1025378"/>
                  <a:gd name="connsiteY12" fmla="*/ 228600 h 314325"/>
                  <a:gd name="connsiteX13" fmla="*/ 174489 w 1025378"/>
                  <a:gd name="connsiteY13" fmla="*/ 268258 h 314325"/>
                  <a:gd name="connsiteX14" fmla="*/ 202370 w 1025378"/>
                  <a:gd name="connsiteY14" fmla="*/ 255572 h 314325"/>
                  <a:gd name="connsiteX15" fmla="*/ 232681 w 1025378"/>
                  <a:gd name="connsiteY15" fmla="*/ 201561 h 314325"/>
                  <a:gd name="connsiteX16" fmla="*/ 252487 w 1025378"/>
                  <a:gd name="connsiteY16" fmla="*/ 171450 h 314325"/>
                  <a:gd name="connsiteX17" fmla="*/ 271537 w 1025378"/>
                  <a:gd name="connsiteY17" fmla="*/ 142875 h 314325"/>
                  <a:gd name="connsiteX18" fmla="*/ 304875 w 1025378"/>
                  <a:gd name="connsiteY18" fmla="*/ 71437 h 314325"/>
                  <a:gd name="connsiteX19" fmla="*/ 315850 w 1025378"/>
                  <a:gd name="connsiteY19" fmla="*/ 36631 h 314325"/>
                  <a:gd name="connsiteX20" fmla="*/ 322821 w 1025378"/>
                  <a:gd name="connsiteY20" fmla="*/ 88841 h 314325"/>
                  <a:gd name="connsiteX21" fmla="*/ 327931 w 1025378"/>
                  <a:gd name="connsiteY21" fmla="*/ 147637 h 314325"/>
                  <a:gd name="connsiteX22" fmla="*/ 338212 w 1025378"/>
                  <a:gd name="connsiteY22" fmla="*/ 171450 h 314325"/>
                  <a:gd name="connsiteX23" fmla="*/ 349598 w 1025378"/>
                  <a:gd name="connsiteY23" fmla="*/ 261916 h 314325"/>
                  <a:gd name="connsiteX24" fmla="*/ 357262 w 1025378"/>
                  <a:gd name="connsiteY24" fmla="*/ 247650 h 314325"/>
                  <a:gd name="connsiteX25" fmla="*/ 370856 w 1025378"/>
                  <a:gd name="connsiteY25" fmla="*/ 231782 h 314325"/>
                  <a:gd name="connsiteX26" fmla="*/ 395362 w 1025378"/>
                  <a:gd name="connsiteY26" fmla="*/ 180975 h 314325"/>
                  <a:gd name="connsiteX27" fmla="*/ 409650 w 1025378"/>
                  <a:gd name="connsiteY27" fmla="*/ 171450 h 314325"/>
                  <a:gd name="connsiteX28" fmla="*/ 419175 w 1025378"/>
                  <a:gd name="connsiteY28" fmla="*/ 157162 h 314325"/>
                  <a:gd name="connsiteX29" fmla="*/ 428700 w 1025378"/>
                  <a:gd name="connsiteY29" fmla="*/ 180975 h 314325"/>
                  <a:gd name="connsiteX30" fmla="*/ 438225 w 1025378"/>
                  <a:gd name="connsiteY30" fmla="*/ 209550 h 314325"/>
                  <a:gd name="connsiteX31" fmla="*/ 448506 w 1025378"/>
                  <a:gd name="connsiteY31" fmla="*/ 252390 h 314325"/>
                  <a:gd name="connsiteX32" fmla="*/ 476325 w 1025378"/>
                  <a:gd name="connsiteY32" fmla="*/ 233362 h 314325"/>
                  <a:gd name="connsiteX33" fmla="*/ 490612 w 1025378"/>
                  <a:gd name="connsiteY33" fmla="*/ 233362 h 314325"/>
                  <a:gd name="connsiteX34" fmla="*/ 500137 w 1025378"/>
                  <a:gd name="connsiteY34" fmla="*/ 223837 h 314325"/>
                  <a:gd name="connsiteX35" fmla="*/ 543000 w 1025378"/>
                  <a:gd name="connsiteY35" fmla="*/ 138112 h 314325"/>
                  <a:gd name="connsiteX36" fmla="*/ 562050 w 1025378"/>
                  <a:gd name="connsiteY36" fmla="*/ 104775 h 314325"/>
                  <a:gd name="connsiteX37" fmla="*/ 566812 w 1025378"/>
                  <a:gd name="connsiteY37" fmla="*/ 90487 h 314325"/>
                  <a:gd name="connsiteX38" fmla="*/ 581100 w 1025378"/>
                  <a:gd name="connsiteY38" fmla="*/ 80962 h 314325"/>
                  <a:gd name="connsiteX39" fmla="*/ 619894 w 1025378"/>
                  <a:gd name="connsiteY39" fmla="*/ 49227 h 314325"/>
                  <a:gd name="connsiteX40" fmla="*/ 636928 w 1025378"/>
                  <a:gd name="connsiteY40" fmla="*/ 51320 h 314325"/>
                  <a:gd name="connsiteX41" fmla="*/ 648185 w 1025378"/>
                  <a:gd name="connsiteY41" fmla="*/ 295341 h 314325"/>
                  <a:gd name="connsiteX42" fmla="*/ 652537 w 1025378"/>
                  <a:gd name="connsiteY42" fmla="*/ 314325 h 314325"/>
                  <a:gd name="connsiteX43" fmla="*/ 662062 w 1025378"/>
                  <a:gd name="connsiteY43" fmla="*/ 295275 h 314325"/>
                  <a:gd name="connsiteX44" fmla="*/ 676002 w 1025378"/>
                  <a:gd name="connsiteY44" fmla="*/ 257152 h 314325"/>
                  <a:gd name="connsiteX45" fmla="*/ 707827 w 1025378"/>
                  <a:gd name="connsiteY45" fmla="*/ 168290 h 314325"/>
                  <a:gd name="connsiteX46" fmla="*/ 723975 w 1025378"/>
                  <a:gd name="connsiteY46" fmla="*/ 133350 h 314325"/>
                  <a:gd name="connsiteX47" fmla="*/ 728737 w 1025378"/>
                  <a:gd name="connsiteY47" fmla="*/ 166687 h 314325"/>
                  <a:gd name="connsiteX48" fmla="*/ 733500 w 1025378"/>
                  <a:gd name="connsiteY48" fmla="*/ 180975 h 314325"/>
                  <a:gd name="connsiteX49" fmla="*/ 749648 w 1025378"/>
                  <a:gd name="connsiteY49" fmla="*/ 155604 h 314325"/>
                  <a:gd name="connsiteX50" fmla="*/ 775668 w 1025378"/>
                  <a:gd name="connsiteY50" fmla="*/ 131770 h 314325"/>
                  <a:gd name="connsiteX51" fmla="*/ 795412 w 1025378"/>
                  <a:gd name="connsiteY51" fmla="*/ 85725 h 314325"/>
                  <a:gd name="connsiteX52" fmla="*/ 804937 w 1025378"/>
                  <a:gd name="connsiteY52" fmla="*/ 114300 h 314325"/>
                  <a:gd name="connsiteX53" fmla="*/ 819225 w 1025378"/>
                  <a:gd name="connsiteY53" fmla="*/ 185737 h 314325"/>
                  <a:gd name="connsiteX54" fmla="*/ 840135 w 1025378"/>
                  <a:gd name="connsiteY54" fmla="*/ 180975 h 314325"/>
                  <a:gd name="connsiteX55" fmla="*/ 857325 w 1025378"/>
                  <a:gd name="connsiteY55" fmla="*/ 138112 h 314325"/>
                  <a:gd name="connsiteX56" fmla="*/ 881137 w 1025378"/>
                  <a:gd name="connsiteY56" fmla="*/ 76200 h 314325"/>
                  <a:gd name="connsiteX57" fmla="*/ 885900 w 1025378"/>
                  <a:gd name="connsiteY57" fmla="*/ 52387 h 314325"/>
                  <a:gd name="connsiteX58" fmla="*/ 900187 w 1025378"/>
                  <a:gd name="connsiteY58" fmla="*/ 38100 h 314325"/>
                  <a:gd name="connsiteX59" fmla="*/ 904950 w 1025378"/>
                  <a:gd name="connsiteY59" fmla="*/ 14287 h 314325"/>
                  <a:gd name="connsiteX60" fmla="*/ 909712 w 1025378"/>
                  <a:gd name="connsiteY60" fmla="*/ 0 h 314325"/>
                  <a:gd name="connsiteX61" fmla="*/ 914475 w 1025378"/>
                  <a:gd name="connsiteY61" fmla="*/ 14287 h 314325"/>
                  <a:gd name="connsiteX62" fmla="*/ 919237 w 1025378"/>
                  <a:gd name="connsiteY62" fmla="*/ 71437 h 314325"/>
                  <a:gd name="connsiteX63" fmla="*/ 928762 w 1025378"/>
                  <a:gd name="connsiteY63" fmla="*/ 100012 h 314325"/>
                  <a:gd name="connsiteX64" fmla="*/ 952575 w 1025378"/>
                  <a:gd name="connsiteY64" fmla="*/ 161925 h 314325"/>
                  <a:gd name="connsiteX65" fmla="*/ 957337 w 1025378"/>
                  <a:gd name="connsiteY65" fmla="*/ 180975 h 314325"/>
                  <a:gd name="connsiteX66" fmla="*/ 962100 w 1025378"/>
                  <a:gd name="connsiteY66" fmla="*/ 214312 h 314325"/>
                  <a:gd name="connsiteX67" fmla="*/ 981150 w 1025378"/>
                  <a:gd name="connsiteY67" fmla="*/ 242887 h 314325"/>
                  <a:gd name="connsiteX68" fmla="*/ 991342 w 1025378"/>
                  <a:gd name="connsiteY68" fmla="*/ 265734 h 314325"/>
                  <a:gd name="connsiteX69" fmla="*/ 1025378 w 1025378"/>
                  <a:gd name="connsiteY69" fmla="*/ 261405 h 314325"/>
                  <a:gd name="connsiteX0" fmla="*/ 0 w 1024844"/>
                  <a:gd name="connsiteY0" fmla="*/ 262751 h 314325"/>
                  <a:gd name="connsiteX1" fmla="*/ 31387 w 1024844"/>
                  <a:gd name="connsiteY1" fmla="*/ 274654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3524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3775"/>
                  <a:gd name="connsiteY0" fmla="*/ 260314 h 314325"/>
                  <a:gd name="connsiteX1" fmla="*/ 32989 w 1023775"/>
                  <a:gd name="connsiteY1" fmla="*/ 257600 h 314325"/>
                  <a:gd name="connsiteX2" fmla="*/ 47792 w 1023775"/>
                  <a:gd name="connsiteY2" fmla="*/ 228600 h 314325"/>
                  <a:gd name="connsiteX3" fmla="*/ 65147 w 1023775"/>
                  <a:gd name="connsiteY3" fmla="*/ 180975 h 314325"/>
                  <a:gd name="connsiteX4" fmla="*/ 74672 w 1023775"/>
                  <a:gd name="connsiteY4" fmla="*/ 166687 h 314325"/>
                  <a:gd name="connsiteX5" fmla="*/ 93722 w 1023775"/>
                  <a:gd name="connsiteY5" fmla="*/ 114300 h 314325"/>
                  <a:gd name="connsiteX6" fmla="*/ 103247 w 1023775"/>
                  <a:gd name="connsiteY6" fmla="*/ 100012 h 314325"/>
                  <a:gd name="connsiteX7" fmla="*/ 122297 w 1023775"/>
                  <a:gd name="connsiteY7" fmla="*/ 57150 h 314325"/>
                  <a:gd name="connsiteX8" fmla="*/ 127059 w 1023775"/>
                  <a:gd name="connsiteY8" fmla="*/ 42862 h 314325"/>
                  <a:gd name="connsiteX9" fmla="*/ 136584 w 1023775"/>
                  <a:gd name="connsiteY9" fmla="*/ 4762 h 314325"/>
                  <a:gd name="connsiteX10" fmla="*/ 146109 w 1023775"/>
                  <a:gd name="connsiteY10" fmla="*/ 100012 h 314325"/>
                  <a:gd name="connsiteX11" fmla="*/ 155634 w 1023775"/>
                  <a:gd name="connsiteY11" fmla="*/ 152400 h 314325"/>
                  <a:gd name="connsiteX12" fmla="*/ 160397 w 1023775"/>
                  <a:gd name="connsiteY12" fmla="*/ 228600 h 314325"/>
                  <a:gd name="connsiteX13" fmla="*/ 172886 w 1023775"/>
                  <a:gd name="connsiteY13" fmla="*/ 268258 h 314325"/>
                  <a:gd name="connsiteX14" fmla="*/ 200767 w 1023775"/>
                  <a:gd name="connsiteY14" fmla="*/ 255572 h 314325"/>
                  <a:gd name="connsiteX15" fmla="*/ 231078 w 1023775"/>
                  <a:gd name="connsiteY15" fmla="*/ 201561 h 314325"/>
                  <a:gd name="connsiteX16" fmla="*/ 250884 w 1023775"/>
                  <a:gd name="connsiteY16" fmla="*/ 171450 h 314325"/>
                  <a:gd name="connsiteX17" fmla="*/ 269934 w 1023775"/>
                  <a:gd name="connsiteY17" fmla="*/ 142875 h 314325"/>
                  <a:gd name="connsiteX18" fmla="*/ 303272 w 1023775"/>
                  <a:gd name="connsiteY18" fmla="*/ 71437 h 314325"/>
                  <a:gd name="connsiteX19" fmla="*/ 314247 w 1023775"/>
                  <a:gd name="connsiteY19" fmla="*/ 36631 h 314325"/>
                  <a:gd name="connsiteX20" fmla="*/ 321218 w 1023775"/>
                  <a:gd name="connsiteY20" fmla="*/ 88841 h 314325"/>
                  <a:gd name="connsiteX21" fmla="*/ 326328 w 1023775"/>
                  <a:gd name="connsiteY21" fmla="*/ 147637 h 314325"/>
                  <a:gd name="connsiteX22" fmla="*/ 336609 w 1023775"/>
                  <a:gd name="connsiteY22" fmla="*/ 171450 h 314325"/>
                  <a:gd name="connsiteX23" fmla="*/ 347995 w 1023775"/>
                  <a:gd name="connsiteY23" fmla="*/ 261916 h 314325"/>
                  <a:gd name="connsiteX24" fmla="*/ 355659 w 1023775"/>
                  <a:gd name="connsiteY24" fmla="*/ 247650 h 314325"/>
                  <a:gd name="connsiteX25" fmla="*/ 369253 w 1023775"/>
                  <a:gd name="connsiteY25" fmla="*/ 231782 h 314325"/>
                  <a:gd name="connsiteX26" fmla="*/ 393759 w 1023775"/>
                  <a:gd name="connsiteY26" fmla="*/ 180975 h 314325"/>
                  <a:gd name="connsiteX27" fmla="*/ 408047 w 1023775"/>
                  <a:gd name="connsiteY27" fmla="*/ 171450 h 314325"/>
                  <a:gd name="connsiteX28" fmla="*/ 417572 w 1023775"/>
                  <a:gd name="connsiteY28" fmla="*/ 157162 h 314325"/>
                  <a:gd name="connsiteX29" fmla="*/ 427097 w 1023775"/>
                  <a:gd name="connsiteY29" fmla="*/ 180975 h 314325"/>
                  <a:gd name="connsiteX30" fmla="*/ 436622 w 1023775"/>
                  <a:gd name="connsiteY30" fmla="*/ 209550 h 314325"/>
                  <a:gd name="connsiteX31" fmla="*/ 446903 w 1023775"/>
                  <a:gd name="connsiteY31" fmla="*/ 252390 h 314325"/>
                  <a:gd name="connsiteX32" fmla="*/ 474722 w 1023775"/>
                  <a:gd name="connsiteY32" fmla="*/ 233362 h 314325"/>
                  <a:gd name="connsiteX33" fmla="*/ 489009 w 1023775"/>
                  <a:gd name="connsiteY33" fmla="*/ 233362 h 314325"/>
                  <a:gd name="connsiteX34" fmla="*/ 498534 w 1023775"/>
                  <a:gd name="connsiteY34" fmla="*/ 223837 h 314325"/>
                  <a:gd name="connsiteX35" fmla="*/ 541397 w 1023775"/>
                  <a:gd name="connsiteY35" fmla="*/ 138112 h 314325"/>
                  <a:gd name="connsiteX36" fmla="*/ 560447 w 1023775"/>
                  <a:gd name="connsiteY36" fmla="*/ 104775 h 314325"/>
                  <a:gd name="connsiteX37" fmla="*/ 565209 w 1023775"/>
                  <a:gd name="connsiteY37" fmla="*/ 90487 h 314325"/>
                  <a:gd name="connsiteX38" fmla="*/ 579497 w 1023775"/>
                  <a:gd name="connsiteY38" fmla="*/ 80962 h 314325"/>
                  <a:gd name="connsiteX39" fmla="*/ 618291 w 1023775"/>
                  <a:gd name="connsiteY39" fmla="*/ 49227 h 314325"/>
                  <a:gd name="connsiteX40" fmla="*/ 635325 w 1023775"/>
                  <a:gd name="connsiteY40" fmla="*/ 51320 h 314325"/>
                  <a:gd name="connsiteX41" fmla="*/ 646582 w 1023775"/>
                  <a:gd name="connsiteY41" fmla="*/ 295341 h 314325"/>
                  <a:gd name="connsiteX42" fmla="*/ 650934 w 1023775"/>
                  <a:gd name="connsiteY42" fmla="*/ 314325 h 314325"/>
                  <a:gd name="connsiteX43" fmla="*/ 660459 w 1023775"/>
                  <a:gd name="connsiteY43" fmla="*/ 295275 h 314325"/>
                  <a:gd name="connsiteX44" fmla="*/ 674399 w 1023775"/>
                  <a:gd name="connsiteY44" fmla="*/ 257152 h 314325"/>
                  <a:gd name="connsiteX45" fmla="*/ 706224 w 1023775"/>
                  <a:gd name="connsiteY45" fmla="*/ 168290 h 314325"/>
                  <a:gd name="connsiteX46" fmla="*/ 722372 w 1023775"/>
                  <a:gd name="connsiteY46" fmla="*/ 133350 h 314325"/>
                  <a:gd name="connsiteX47" fmla="*/ 727134 w 1023775"/>
                  <a:gd name="connsiteY47" fmla="*/ 166687 h 314325"/>
                  <a:gd name="connsiteX48" fmla="*/ 731897 w 1023775"/>
                  <a:gd name="connsiteY48" fmla="*/ 180975 h 314325"/>
                  <a:gd name="connsiteX49" fmla="*/ 748045 w 1023775"/>
                  <a:gd name="connsiteY49" fmla="*/ 155604 h 314325"/>
                  <a:gd name="connsiteX50" fmla="*/ 774065 w 1023775"/>
                  <a:gd name="connsiteY50" fmla="*/ 131770 h 314325"/>
                  <a:gd name="connsiteX51" fmla="*/ 793809 w 1023775"/>
                  <a:gd name="connsiteY51" fmla="*/ 85725 h 314325"/>
                  <a:gd name="connsiteX52" fmla="*/ 803334 w 1023775"/>
                  <a:gd name="connsiteY52" fmla="*/ 114300 h 314325"/>
                  <a:gd name="connsiteX53" fmla="*/ 817622 w 1023775"/>
                  <a:gd name="connsiteY53" fmla="*/ 185737 h 314325"/>
                  <a:gd name="connsiteX54" fmla="*/ 838532 w 1023775"/>
                  <a:gd name="connsiteY54" fmla="*/ 180975 h 314325"/>
                  <a:gd name="connsiteX55" fmla="*/ 855722 w 1023775"/>
                  <a:gd name="connsiteY55" fmla="*/ 138112 h 314325"/>
                  <a:gd name="connsiteX56" fmla="*/ 879534 w 1023775"/>
                  <a:gd name="connsiteY56" fmla="*/ 76200 h 314325"/>
                  <a:gd name="connsiteX57" fmla="*/ 884297 w 1023775"/>
                  <a:gd name="connsiteY57" fmla="*/ 52387 h 314325"/>
                  <a:gd name="connsiteX58" fmla="*/ 898584 w 1023775"/>
                  <a:gd name="connsiteY58" fmla="*/ 38100 h 314325"/>
                  <a:gd name="connsiteX59" fmla="*/ 903347 w 1023775"/>
                  <a:gd name="connsiteY59" fmla="*/ 14287 h 314325"/>
                  <a:gd name="connsiteX60" fmla="*/ 908109 w 1023775"/>
                  <a:gd name="connsiteY60" fmla="*/ 0 h 314325"/>
                  <a:gd name="connsiteX61" fmla="*/ 912872 w 1023775"/>
                  <a:gd name="connsiteY61" fmla="*/ 14287 h 314325"/>
                  <a:gd name="connsiteX62" fmla="*/ 917634 w 1023775"/>
                  <a:gd name="connsiteY62" fmla="*/ 71437 h 314325"/>
                  <a:gd name="connsiteX63" fmla="*/ 927159 w 1023775"/>
                  <a:gd name="connsiteY63" fmla="*/ 100012 h 314325"/>
                  <a:gd name="connsiteX64" fmla="*/ 950972 w 1023775"/>
                  <a:gd name="connsiteY64" fmla="*/ 161925 h 314325"/>
                  <a:gd name="connsiteX65" fmla="*/ 955734 w 1023775"/>
                  <a:gd name="connsiteY65" fmla="*/ 180975 h 314325"/>
                  <a:gd name="connsiteX66" fmla="*/ 960497 w 1023775"/>
                  <a:gd name="connsiteY66" fmla="*/ 214312 h 314325"/>
                  <a:gd name="connsiteX67" fmla="*/ 979547 w 1023775"/>
                  <a:gd name="connsiteY67" fmla="*/ 242887 h 314325"/>
                  <a:gd name="connsiteX68" fmla="*/ 989739 w 1023775"/>
                  <a:gd name="connsiteY68" fmla="*/ 265734 h 314325"/>
                  <a:gd name="connsiteX69" fmla="*/ 1023775 w 1023775"/>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1637"/>
                  <a:gd name="connsiteY0" fmla="*/ 262750 h 314325"/>
                  <a:gd name="connsiteX1" fmla="*/ 33523 w 1021637"/>
                  <a:gd name="connsiteY1" fmla="*/ 257600 h 314325"/>
                  <a:gd name="connsiteX2" fmla="*/ 48326 w 1021637"/>
                  <a:gd name="connsiteY2" fmla="*/ 228600 h 314325"/>
                  <a:gd name="connsiteX3" fmla="*/ 65681 w 1021637"/>
                  <a:gd name="connsiteY3" fmla="*/ 180975 h 314325"/>
                  <a:gd name="connsiteX4" fmla="*/ 75206 w 1021637"/>
                  <a:gd name="connsiteY4" fmla="*/ 166687 h 314325"/>
                  <a:gd name="connsiteX5" fmla="*/ 94256 w 1021637"/>
                  <a:gd name="connsiteY5" fmla="*/ 114300 h 314325"/>
                  <a:gd name="connsiteX6" fmla="*/ 103781 w 1021637"/>
                  <a:gd name="connsiteY6" fmla="*/ 100012 h 314325"/>
                  <a:gd name="connsiteX7" fmla="*/ 122831 w 1021637"/>
                  <a:gd name="connsiteY7" fmla="*/ 57150 h 314325"/>
                  <a:gd name="connsiteX8" fmla="*/ 127593 w 1021637"/>
                  <a:gd name="connsiteY8" fmla="*/ 42862 h 314325"/>
                  <a:gd name="connsiteX9" fmla="*/ 137118 w 1021637"/>
                  <a:gd name="connsiteY9" fmla="*/ 4762 h 314325"/>
                  <a:gd name="connsiteX10" fmla="*/ 146643 w 1021637"/>
                  <a:gd name="connsiteY10" fmla="*/ 100012 h 314325"/>
                  <a:gd name="connsiteX11" fmla="*/ 156168 w 1021637"/>
                  <a:gd name="connsiteY11" fmla="*/ 152400 h 314325"/>
                  <a:gd name="connsiteX12" fmla="*/ 160931 w 1021637"/>
                  <a:gd name="connsiteY12" fmla="*/ 228600 h 314325"/>
                  <a:gd name="connsiteX13" fmla="*/ 173420 w 1021637"/>
                  <a:gd name="connsiteY13" fmla="*/ 268258 h 314325"/>
                  <a:gd name="connsiteX14" fmla="*/ 201301 w 1021637"/>
                  <a:gd name="connsiteY14" fmla="*/ 255572 h 314325"/>
                  <a:gd name="connsiteX15" fmla="*/ 231612 w 1021637"/>
                  <a:gd name="connsiteY15" fmla="*/ 201561 h 314325"/>
                  <a:gd name="connsiteX16" fmla="*/ 251418 w 1021637"/>
                  <a:gd name="connsiteY16" fmla="*/ 171450 h 314325"/>
                  <a:gd name="connsiteX17" fmla="*/ 270468 w 1021637"/>
                  <a:gd name="connsiteY17" fmla="*/ 142875 h 314325"/>
                  <a:gd name="connsiteX18" fmla="*/ 303806 w 1021637"/>
                  <a:gd name="connsiteY18" fmla="*/ 71437 h 314325"/>
                  <a:gd name="connsiteX19" fmla="*/ 314781 w 1021637"/>
                  <a:gd name="connsiteY19" fmla="*/ 36631 h 314325"/>
                  <a:gd name="connsiteX20" fmla="*/ 321752 w 1021637"/>
                  <a:gd name="connsiteY20" fmla="*/ 88841 h 314325"/>
                  <a:gd name="connsiteX21" fmla="*/ 326862 w 1021637"/>
                  <a:gd name="connsiteY21" fmla="*/ 147637 h 314325"/>
                  <a:gd name="connsiteX22" fmla="*/ 337143 w 1021637"/>
                  <a:gd name="connsiteY22" fmla="*/ 171450 h 314325"/>
                  <a:gd name="connsiteX23" fmla="*/ 348529 w 1021637"/>
                  <a:gd name="connsiteY23" fmla="*/ 261916 h 314325"/>
                  <a:gd name="connsiteX24" fmla="*/ 356193 w 1021637"/>
                  <a:gd name="connsiteY24" fmla="*/ 247650 h 314325"/>
                  <a:gd name="connsiteX25" fmla="*/ 369787 w 1021637"/>
                  <a:gd name="connsiteY25" fmla="*/ 231782 h 314325"/>
                  <a:gd name="connsiteX26" fmla="*/ 394293 w 1021637"/>
                  <a:gd name="connsiteY26" fmla="*/ 180975 h 314325"/>
                  <a:gd name="connsiteX27" fmla="*/ 408581 w 1021637"/>
                  <a:gd name="connsiteY27" fmla="*/ 171450 h 314325"/>
                  <a:gd name="connsiteX28" fmla="*/ 418106 w 1021637"/>
                  <a:gd name="connsiteY28" fmla="*/ 157162 h 314325"/>
                  <a:gd name="connsiteX29" fmla="*/ 427631 w 1021637"/>
                  <a:gd name="connsiteY29" fmla="*/ 180975 h 314325"/>
                  <a:gd name="connsiteX30" fmla="*/ 437156 w 1021637"/>
                  <a:gd name="connsiteY30" fmla="*/ 209550 h 314325"/>
                  <a:gd name="connsiteX31" fmla="*/ 447437 w 1021637"/>
                  <a:gd name="connsiteY31" fmla="*/ 252390 h 314325"/>
                  <a:gd name="connsiteX32" fmla="*/ 475256 w 1021637"/>
                  <a:gd name="connsiteY32" fmla="*/ 233362 h 314325"/>
                  <a:gd name="connsiteX33" fmla="*/ 489543 w 1021637"/>
                  <a:gd name="connsiteY33" fmla="*/ 233362 h 314325"/>
                  <a:gd name="connsiteX34" fmla="*/ 499068 w 1021637"/>
                  <a:gd name="connsiteY34" fmla="*/ 223837 h 314325"/>
                  <a:gd name="connsiteX35" fmla="*/ 541931 w 1021637"/>
                  <a:gd name="connsiteY35" fmla="*/ 138112 h 314325"/>
                  <a:gd name="connsiteX36" fmla="*/ 560981 w 1021637"/>
                  <a:gd name="connsiteY36" fmla="*/ 104775 h 314325"/>
                  <a:gd name="connsiteX37" fmla="*/ 565743 w 1021637"/>
                  <a:gd name="connsiteY37" fmla="*/ 90487 h 314325"/>
                  <a:gd name="connsiteX38" fmla="*/ 580031 w 1021637"/>
                  <a:gd name="connsiteY38" fmla="*/ 80962 h 314325"/>
                  <a:gd name="connsiteX39" fmla="*/ 618825 w 1021637"/>
                  <a:gd name="connsiteY39" fmla="*/ 49227 h 314325"/>
                  <a:gd name="connsiteX40" fmla="*/ 635859 w 1021637"/>
                  <a:gd name="connsiteY40" fmla="*/ 51320 h 314325"/>
                  <a:gd name="connsiteX41" fmla="*/ 647116 w 1021637"/>
                  <a:gd name="connsiteY41" fmla="*/ 295341 h 314325"/>
                  <a:gd name="connsiteX42" fmla="*/ 651468 w 1021637"/>
                  <a:gd name="connsiteY42" fmla="*/ 314325 h 314325"/>
                  <a:gd name="connsiteX43" fmla="*/ 660993 w 1021637"/>
                  <a:gd name="connsiteY43" fmla="*/ 295275 h 314325"/>
                  <a:gd name="connsiteX44" fmla="*/ 674933 w 1021637"/>
                  <a:gd name="connsiteY44" fmla="*/ 257152 h 314325"/>
                  <a:gd name="connsiteX45" fmla="*/ 706758 w 1021637"/>
                  <a:gd name="connsiteY45" fmla="*/ 168290 h 314325"/>
                  <a:gd name="connsiteX46" fmla="*/ 722906 w 1021637"/>
                  <a:gd name="connsiteY46" fmla="*/ 133350 h 314325"/>
                  <a:gd name="connsiteX47" fmla="*/ 727668 w 1021637"/>
                  <a:gd name="connsiteY47" fmla="*/ 166687 h 314325"/>
                  <a:gd name="connsiteX48" fmla="*/ 732431 w 1021637"/>
                  <a:gd name="connsiteY48" fmla="*/ 180975 h 314325"/>
                  <a:gd name="connsiteX49" fmla="*/ 748579 w 1021637"/>
                  <a:gd name="connsiteY49" fmla="*/ 155604 h 314325"/>
                  <a:gd name="connsiteX50" fmla="*/ 774599 w 1021637"/>
                  <a:gd name="connsiteY50" fmla="*/ 131770 h 314325"/>
                  <a:gd name="connsiteX51" fmla="*/ 794343 w 1021637"/>
                  <a:gd name="connsiteY51" fmla="*/ 85725 h 314325"/>
                  <a:gd name="connsiteX52" fmla="*/ 803868 w 1021637"/>
                  <a:gd name="connsiteY52" fmla="*/ 114300 h 314325"/>
                  <a:gd name="connsiteX53" fmla="*/ 818156 w 1021637"/>
                  <a:gd name="connsiteY53" fmla="*/ 185737 h 314325"/>
                  <a:gd name="connsiteX54" fmla="*/ 839066 w 1021637"/>
                  <a:gd name="connsiteY54" fmla="*/ 180975 h 314325"/>
                  <a:gd name="connsiteX55" fmla="*/ 856256 w 1021637"/>
                  <a:gd name="connsiteY55" fmla="*/ 138112 h 314325"/>
                  <a:gd name="connsiteX56" fmla="*/ 880068 w 1021637"/>
                  <a:gd name="connsiteY56" fmla="*/ 76200 h 314325"/>
                  <a:gd name="connsiteX57" fmla="*/ 884831 w 1021637"/>
                  <a:gd name="connsiteY57" fmla="*/ 52387 h 314325"/>
                  <a:gd name="connsiteX58" fmla="*/ 899118 w 1021637"/>
                  <a:gd name="connsiteY58" fmla="*/ 38100 h 314325"/>
                  <a:gd name="connsiteX59" fmla="*/ 903881 w 1021637"/>
                  <a:gd name="connsiteY59" fmla="*/ 14287 h 314325"/>
                  <a:gd name="connsiteX60" fmla="*/ 908643 w 1021637"/>
                  <a:gd name="connsiteY60" fmla="*/ 0 h 314325"/>
                  <a:gd name="connsiteX61" fmla="*/ 913406 w 1021637"/>
                  <a:gd name="connsiteY61" fmla="*/ 14287 h 314325"/>
                  <a:gd name="connsiteX62" fmla="*/ 918168 w 1021637"/>
                  <a:gd name="connsiteY62" fmla="*/ 71437 h 314325"/>
                  <a:gd name="connsiteX63" fmla="*/ 927693 w 1021637"/>
                  <a:gd name="connsiteY63" fmla="*/ 100012 h 314325"/>
                  <a:gd name="connsiteX64" fmla="*/ 951506 w 1021637"/>
                  <a:gd name="connsiteY64" fmla="*/ 161925 h 314325"/>
                  <a:gd name="connsiteX65" fmla="*/ 956268 w 1021637"/>
                  <a:gd name="connsiteY65" fmla="*/ 180975 h 314325"/>
                  <a:gd name="connsiteX66" fmla="*/ 961031 w 1021637"/>
                  <a:gd name="connsiteY66" fmla="*/ 214312 h 314325"/>
                  <a:gd name="connsiteX67" fmla="*/ 980081 w 1021637"/>
                  <a:gd name="connsiteY67" fmla="*/ 242887 h 314325"/>
                  <a:gd name="connsiteX68" fmla="*/ 990273 w 1021637"/>
                  <a:gd name="connsiteY68" fmla="*/ 265734 h 314325"/>
                  <a:gd name="connsiteX69" fmla="*/ 1021637 w 1021637"/>
                  <a:gd name="connsiteY69" fmla="*/ 261405 h 314325"/>
                  <a:gd name="connsiteX0" fmla="*/ 0 w 1023774"/>
                  <a:gd name="connsiteY0" fmla="*/ 262750 h 314325"/>
                  <a:gd name="connsiteX1" fmla="*/ 33523 w 1023774"/>
                  <a:gd name="connsiteY1" fmla="*/ 257600 h 314325"/>
                  <a:gd name="connsiteX2" fmla="*/ 48326 w 1023774"/>
                  <a:gd name="connsiteY2" fmla="*/ 228600 h 314325"/>
                  <a:gd name="connsiteX3" fmla="*/ 65681 w 1023774"/>
                  <a:gd name="connsiteY3" fmla="*/ 180975 h 314325"/>
                  <a:gd name="connsiteX4" fmla="*/ 75206 w 1023774"/>
                  <a:gd name="connsiteY4" fmla="*/ 166687 h 314325"/>
                  <a:gd name="connsiteX5" fmla="*/ 94256 w 1023774"/>
                  <a:gd name="connsiteY5" fmla="*/ 114300 h 314325"/>
                  <a:gd name="connsiteX6" fmla="*/ 103781 w 1023774"/>
                  <a:gd name="connsiteY6" fmla="*/ 100012 h 314325"/>
                  <a:gd name="connsiteX7" fmla="*/ 122831 w 1023774"/>
                  <a:gd name="connsiteY7" fmla="*/ 57150 h 314325"/>
                  <a:gd name="connsiteX8" fmla="*/ 127593 w 1023774"/>
                  <a:gd name="connsiteY8" fmla="*/ 42862 h 314325"/>
                  <a:gd name="connsiteX9" fmla="*/ 137118 w 1023774"/>
                  <a:gd name="connsiteY9" fmla="*/ 4762 h 314325"/>
                  <a:gd name="connsiteX10" fmla="*/ 146643 w 1023774"/>
                  <a:gd name="connsiteY10" fmla="*/ 100012 h 314325"/>
                  <a:gd name="connsiteX11" fmla="*/ 156168 w 1023774"/>
                  <a:gd name="connsiteY11" fmla="*/ 152400 h 314325"/>
                  <a:gd name="connsiteX12" fmla="*/ 160931 w 1023774"/>
                  <a:gd name="connsiteY12" fmla="*/ 228600 h 314325"/>
                  <a:gd name="connsiteX13" fmla="*/ 173420 w 1023774"/>
                  <a:gd name="connsiteY13" fmla="*/ 268258 h 314325"/>
                  <a:gd name="connsiteX14" fmla="*/ 201301 w 1023774"/>
                  <a:gd name="connsiteY14" fmla="*/ 255572 h 314325"/>
                  <a:gd name="connsiteX15" fmla="*/ 231612 w 1023774"/>
                  <a:gd name="connsiteY15" fmla="*/ 201561 h 314325"/>
                  <a:gd name="connsiteX16" fmla="*/ 251418 w 1023774"/>
                  <a:gd name="connsiteY16" fmla="*/ 171450 h 314325"/>
                  <a:gd name="connsiteX17" fmla="*/ 270468 w 1023774"/>
                  <a:gd name="connsiteY17" fmla="*/ 142875 h 314325"/>
                  <a:gd name="connsiteX18" fmla="*/ 303806 w 1023774"/>
                  <a:gd name="connsiteY18" fmla="*/ 71437 h 314325"/>
                  <a:gd name="connsiteX19" fmla="*/ 314781 w 1023774"/>
                  <a:gd name="connsiteY19" fmla="*/ 36631 h 314325"/>
                  <a:gd name="connsiteX20" fmla="*/ 321752 w 1023774"/>
                  <a:gd name="connsiteY20" fmla="*/ 88841 h 314325"/>
                  <a:gd name="connsiteX21" fmla="*/ 326862 w 1023774"/>
                  <a:gd name="connsiteY21" fmla="*/ 147637 h 314325"/>
                  <a:gd name="connsiteX22" fmla="*/ 337143 w 1023774"/>
                  <a:gd name="connsiteY22" fmla="*/ 171450 h 314325"/>
                  <a:gd name="connsiteX23" fmla="*/ 348529 w 1023774"/>
                  <a:gd name="connsiteY23" fmla="*/ 261916 h 314325"/>
                  <a:gd name="connsiteX24" fmla="*/ 356193 w 1023774"/>
                  <a:gd name="connsiteY24" fmla="*/ 247650 h 314325"/>
                  <a:gd name="connsiteX25" fmla="*/ 369787 w 1023774"/>
                  <a:gd name="connsiteY25" fmla="*/ 231782 h 314325"/>
                  <a:gd name="connsiteX26" fmla="*/ 394293 w 1023774"/>
                  <a:gd name="connsiteY26" fmla="*/ 180975 h 314325"/>
                  <a:gd name="connsiteX27" fmla="*/ 408581 w 1023774"/>
                  <a:gd name="connsiteY27" fmla="*/ 171450 h 314325"/>
                  <a:gd name="connsiteX28" fmla="*/ 418106 w 1023774"/>
                  <a:gd name="connsiteY28" fmla="*/ 157162 h 314325"/>
                  <a:gd name="connsiteX29" fmla="*/ 427631 w 1023774"/>
                  <a:gd name="connsiteY29" fmla="*/ 180975 h 314325"/>
                  <a:gd name="connsiteX30" fmla="*/ 437156 w 1023774"/>
                  <a:gd name="connsiteY30" fmla="*/ 209550 h 314325"/>
                  <a:gd name="connsiteX31" fmla="*/ 447437 w 1023774"/>
                  <a:gd name="connsiteY31" fmla="*/ 252390 h 314325"/>
                  <a:gd name="connsiteX32" fmla="*/ 475256 w 1023774"/>
                  <a:gd name="connsiteY32" fmla="*/ 233362 h 314325"/>
                  <a:gd name="connsiteX33" fmla="*/ 489543 w 1023774"/>
                  <a:gd name="connsiteY33" fmla="*/ 233362 h 314325"/>
                  <a:gd name="connsiteX34" fmla="*/ 499068 w 1023774"/>
                  <a:gd name="connsiteY34" fmla="*/ 223837 h 314325"/>
                  <a:gd name="connsiteX35" fmla="*/ 541931 w 1023774"/>
                  <a:gd name="connsiteY35" fmla="*/ 138112 h 314325"/>
                  <a:gd name="connsiteX36" fmla="*/ 560981 w 1023774"/>
                  <a:gd name="connsiteY36" fmla="*/ 104775 h 314325"/>
                  <a:gd name="connsiteX37" fmla="*/ 565743 w 1023774"/>
                  <a:gd name="connsiteY37" fmla="*/ 90487 h 314325"/>
                  <a:gd name="connsiteX38" fmla="*/ 580031 w 1023774"/>
                  <a:gd name="connsiteY38" fmla="*/ 80962 h 314325"/>
                  <a:gd name="connsiteX39" fmla="*/ 618825 w 1023774"/>
                  <a:gd name="connsiteY39" fmla="*/ 49227 h 314325"/>
                  <a:gd name="connsiteX40" fmla="*/ 635859 w 1023774"/>
                  <a:gd name="connsiteY40" fmla="*/ 51320 h 314325"/>
                  <a:gd name="connsiteX41" fmla="*/ 647116 w 1023774"/>
                  <a:gd name="connsiteY41" fmla="*/ 295341 h 314325"/>
                  <a:gd name="connsiteX42" fmla="*/ 651468 w 1023774"/>
                  <a:gd name="connsiteY42" fmla="*/ 314325 h 314325"/>
                  <a:gd name="connsiteX43" fmla="*/ 660993 w 1023774"/>
                  <a:gd name="connsiteY43" fmla="*/ 295275 h 314325"/>
                  <a:gd name="connsiteX44" fmla="*/ 674933 w 1023774"/>
                  <a:gd name="connsiteY44" fmla="*/ 257152 h 314325"/>
                  <a:gd name="connsiteX45" fmla="*/ 706758 w 1023774"/>
                  <a:gd name="connsiteY45" fmla="*/ 168290 h 314325"/>
                  <a:gd name="connsiteX46" fmla="*/ 722906 w 1023774"/>
                  <a:gd name="connsiteY46" fmla="*/ 133350 h 314325"/>
                  <a:gd name="connsiteX47" fmla="*/ 727668 w 1023774"/>
                  <a:gd name="connsiteY47" fmla="*/ 166687 h 314325"/>
                  <a:gd name="connsiteX48" fmla="*/ 732431 w 1023774"/>
                  <a:gd name="connsiteY48" fmla="*/ 180975 h 314325"/>
                  <a:gd name="connsiteX49" fmla="*/ 748579 w 1023774"/>
                  <a:gd name="connsiteY49" fmla="*/ 155604 h 314325"/>
                  <a:gd name="connsiteX50" fmla="*/ 774599 w 1023774"/>
                  <a:gd name="connsiteY50" fmla="*/ 131770 h 314325"/>
                  <a:gd name="connsiteX51" fmla="*/ 794343 w 1023774"/>
                  <a:gd name="connsiteY51" fmla="*/ 85725 h 314325"/>
                  <a:gd name="connsiteX52" fmla="*/ 803868 w 1023774"/>
                  <a:gd name="connsiteY52" fmla="*/ 114300 h 314325"/>
                  <a:gd name="connsiteX53" fmla="*/ 818156 w 1023774"/>
                  <a:gd name="connsiteY53" fmla="*/ 185737 h 314325"/>
                  <a:gd name="connsiteX54" fmla="*/ 839066 w 1023774"/>
                  <a:gd name="connsiteY54" fmla="*/ 180975 h 314325"/>
                  <a:gd name="connsiteX55" fmla="*/ 856256 w 1023774"/>
                  <a:gd name="connsiteY55" fmla="*/ 138112 h 314325"/>
                  <a:gd name="connsiteX56" fmla="*/ 880068 w 1023774"/>
                  <a:gd name="connsiteY56" fmla="*/ 76200 h 314325"/>
                  <a:gd name="connsiteX57" fmla="*/ 884831 w 1023774"/>
                  <a:gd name="connsiteY57" fmla="*/ 52387 h 314325"/>
                  <a:gd name="connsiteX58" fmla="*/ 899118 w 1023774"/>
                  <a:gd name="connsiteY58" fmla="*/ 38100 h 314325"/>
                  <a:gd name="connsiteX59" fmla="*/ 903881 w 1023774"/>
                  <a:gd name="connsiteY59" fmla="*/ 14287 h 314325"/>
                  <a:gd name="connsiteX60" fmla="*/ 908643 w 1023774"/>
                  <a:gd name="connsiteY60" fmla="*/ 0 h 314325"/>
                  <a:gd name="connsiteX61" fmla="*/ 913406 w 1023774"/>
                  <a:gd name="connsiteY61" fmla="*/ 14287 h 314325"/>
                  <a:gd name="connsiteX62" fmla="*/ 918168 w 1023774"/>
                  <a:gd name="connsiteY62" fmla="*/ 71437 h 314325"/>
                  <a:gd name="connsiteX63" fmla="*/ 927693 w 1023774"/>
                  <a:gd name="connsiteY63" fmla="*/ 100012 h 314325"/>
                  <a:gd name="connsiteX64" fmla="*/ 951506 w 1023774"/>
                  <a:gd name="connsiteY64" fmla="*/ 161925 h 314325"/>
                  <a:gd name="connsiteX65" fmla="*/ 956268 w 1023774"/>
                  <a:gd name="connsiteY65" fmla="*/ 180975 h 314325"/>
                  <a:gd name="connsiteX66" fmla="*/ 961031 w 1023774"/>
                  <a:gd name="connsiteY66" fmla="*/ 214312 h 314325"/>
                  <a:gd name="connsiteX67" fmla="*/ 980081 w 1023774"/>
                  <a:gd name="connsiteY67" fmla="*/ 242887 h 314325"/>
                  <a:gd name="connsiteX68" fmla="*/ 990273 w 1023774"/>
                  <a:gd name="connsiteY68" fmla="*/ 265734 h 314325"/>
                  <a:gd name="connsiteX69" fmla="*/ 1023774 w 1023774"/>
                  <a:gd name="connsiteY69" fmla="*/ 26140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23774" h="314325">
                    <a:moveTo>
                      <a:pt x="0" y="262750"/>
                    </a:moveTo>
                    <a:cubicBezTo>
                      <a:pt x="20885" y="261865"/>
                      <a:pt x="25469" y="263292"/>
                      <a:pt x="33523" y="257600"/>
                    </a:cubicBezTo>
                    <a:cubicBezTo>
                      <a:pt x="41577" y="251908"/>
                      <a:pt x="42966" y="241371"/>
                      <a:pt x="48326" y="228600"/>
                    </a:cubicBezTo>
                    <a:cubicBezTo>
                      <a:pt x="53686" y="215829"/>
                      <a:pt x="61201" y="191294"/>
                      <a:pt x="65681" y="180975"/>
                    </a:cubicBezTo>
                    <a:cubicBezTo>
                      <a:pt x="70161" y="170656"/>
                      <a:pt x="75206" y="166687"/>
                      <a:pt x="75206" y="166687"/>
                    </a:cubicBezTo>
                    <a:cubicBezTo>
                      <a:pt x="81379" y="141993"/>
                      <a:pt x="80199" y="142413"/>
                      <a:pt x="94256" y="114300"/>
                    </a:cubicBezTo>
                    <a:cubicBezTo>
                      <a:pt x="96816" y="109180"/>
                      <a:pt x="100941" y="104982"/>
                      <a:pt x="103781" y="100012"/>
                    </a:cubicBezTo>
                    <a:cubicBezTo>
                      <a:pt x="111652" y="86238"/>
                      <a:pt x="117265" y="71993"/>
                      <a:pt x="122831" y="57150"/>
                    </a:cubicBezTo>
                    <a:cubicBezTo>
                      <a:pt x="124594" y="52449"/>
                      <a:pt x="126272" y="47705"/>
                      <a:pt x="127593" y="42862"/>
                    </a:cubicBezTo>
                    <a:cubicBezTo>
                      <a:pt x="131037" y="30232"/>
                      <a:pt x="137118" y="4762"/>
                      <a:pt x="137118" y="4762"/>
                    </a:cubicBezTo>
                    <a:cubicBezTo>
                      <a:pt x="147761" y="57971"/>
                      <a:pt x="137808" y="2826"/>
                      <a:pt x="146643" y="100012"/>
                    </a:cubicBezTo>
                    <a:cubicBezTo>
                      <a:pt x="149080" y="126823"/>
                      <a:pt x="150580" y="130044"/>
                      <a:pt x="156168" y="152400"/>
                    </a:cubicBezTo>
                    <a:cubicBezTo>
                      <a:pt x="157756" y="177800"/>
                      <a:pt x="158056" y="209290"/>
                      <a:pt x="160931" y="228600"/>
                    </a:cubicBezTo>
                    <a:cubicBezTo>
                      <a:pt x="163806" y="247910"/>
                      <a:pt x="166692" y="263763"/>
                      <a:pt x="173420" y="268258"/>
                    </a:cubicBezTo>
                    <a:cubicBezTo>
                      <a:pt x="180148" y="272753"/>
                      <a:pt x="191602" y="266688"/>
                      <a:pt x="201301" y="255572"/>
                    </a:cubicBezTo>
                    <a:cubicBezTo>
                      <a:pt x="211000" y="244456"/>
                      <a:pt x="223259" y="215581"/>
                      <a:pt x="231612" y="201561"/>
                    </a:cubicBezTo>
                    <a:cubicBezTo>
                      <a:pt x="239965" y="187541"/>
                      <a:pt x="244942" y="181231"/>
                      <a:pt x="251418" y="171450"/>
                    </a:cubicBezTo>
                    <a:cubicBezTo>
                      <a:pt x="257894" y="161669"/>
                      <a:pt x="261737" y="159544"/>
                      <a:pt x="270468" y="142875"/>
                    </a:cubicBezTo>
                    <a:cubicBezTo>
                      <a:pt x="279199" y="126206"/>
                      <a:pt x="296421" y="89144"/>
                      <a:pt x="303806" y="71437"/>
                    </a:cubicBezTo>
                    <a:cubicBezTo>
                      <a:pt x="311191" y="53730"/>
                      <a:pt x="311790" y="33730"/>
                      <a:pt x="314781" y="36631"/>
                    </a:cubicBezTo>
                    <a:cubicBezTo>
                      <a:pt x="317772" y="39532"/>
                      <a:pt x="320164" y="84078"/>
                      <a:pt x="321752" y="88841"/>
                    </a:cubicBezTo>
                    <a:cubicBezTo>
                      <a:pt x="324164" y="108135"/>
                      <a:pt x="324297" y="133869"/>
                      <a:pt x="326862" y="147637"/>
                    </a:cubicBezTo>
                    <a:cubicBezTo>
                      <a:pt x="329427" y="161405"/>
                      <a:pt x="335556" y="163512"/>
                      <a:pt x="337143" y="171450"/>
                    </a:cubicBezTo>
                    <a:cubicBezTo>
                      <a:pt x="338731" y="200025"/>
                      <a:pt x="341588" y="234151"/>
                      <a:pt x="348529" y="261916"/>
                    </a:cubicBezTo>
                    <a:cubicBezTo>
                      <a:pt x="349917" y="267469"/>
                      <a:pt x="352650" y="252672"/>
                      <a:pt x="356193" y="247650"/>
                    </a:cubicBezTo>
                    <a:cubicBezTo>
                      <a:pt x="359736" y="242628"/>
                      <a:pt x="367710" y="236352"/>
                      <a:pt x="369787" y="231782"/>
                    </a:cubicBezTo>
                    <a:cubicBezTo>
                      <a:pt x="382365" y="204110"/>
                      <a:pt x="387827" y="191030"/>
                      <a:pt x="394293" y="180975"/>
                    </a:cubicBezTo>
                    <a:cubicBezTo>
                      <a:pt x="400759" y="170920"/>
                      <a:pt x="403818" y="174625"/>
                      <a:pt x="408581" y="171450"/>
                    </a:cubicBezTo>
                    <a:cubicBezTo>
                      <a:pt x="411756" y="166687"/>
                      <a:pt x="412986" y="154602"/>
                      <a:pt x="418106" y="157162"/>
                    </a:cubicBezTo>
                    <a:cubicBezTo>
                      <a:pt x="425753" y="160985"/>
                      <a:pt x="424709" y="172941"/>
                      <a:pt x="427631" y="180975"/>
                    </a:cubicBezTo>
                    <a:cubicBezTo>
                      <a:pt x="431062" y="190411"/>
                      <a:pt x="433855" y="197647"/>
                      <a:pt x="437156" y="209550"/>
                    </a:cubicBezTo>
                    <a:cubicBezTo>
                      <a:pt x="440457" y="221453"/>
                      <a:pt x="439998" y="241975"/>
                      <a:pt x="447437" y="252390"/>
                    </a:cubicBezTo>
                    <a:cubicBezTo>
                      <a:pt x="452397" y="259334"/>
                      <a:pt x="472700" y="235066"/>
                      <a:pt x="475256" y="233362"/>
                    </a:cubicBezTo>
                    <a:cubicBezTo>
                      <a:pt x="493561" y="205906"/>
                      <a:pt x="485574" y="234949"/>
                      <a:pt x="489543" y="233362"/>
                    </a:cubicBezTo>
                    <a:cubicBezTo>
                      <a:pt x="493512" y="231775"/>
                      <a:pt x="490337" y="239712"/>
                      <a:pt x="499068" y="223837"/>
                    </a:cubicBezTo>
                    <a:cubicBezTo>
                      <a:pt x="507799" y="207962"/>
                      <a:pt x="531612" y="157956"/>
                      <a:pt x="541931" y="138112"/>
                    </a:cubicBezTo>
                    <a:cubicBezTo>
                      <a:pt x="552850" y="105353"/>
                      <a:pt x="537914" y="145143"/>
                      <a:pt x="560981" y="104775"/>
                    </a:cubicBezTo>
                    <a:cubicBezTo>
                      <a:pt x="563472" y="100416"/>
                      <a:pt x="562607" y="94407"/>
                      <a:pt x="565743" y="90487"/>
                    </a:cubicBezTo>
                    <a:cubicBezTo>
                      <a:pt x="569319" y="86017"/>
                      <a:pt x="571184" y="87839"/>
                      <a:pt x="580031" y="80962"/>
                    </a:cubicBezTo>
                    <a:cubicBezTo>
                      <a:pt x="588878" y="74085"/>
                      <a:pt x="611728" y="55221"/>
                      <a:pt x="618825" y="49227"/>
                    </a:cubicBezTo>
                    <a:cubicBezTo>
                      <a:pt x="625922" y="43233"/>
                      <a:pt x="631144" y="10301"/>
                      <a:pt x="635859" y="51320"/>
                    </a:cubicBezTo>
                    <a:cubicBezTo>
                      <a:pt x="640574" y="92339"/>
                      <a:pt x="642307" y="250453"/>
                      <a:pt x="647116" y="295341"/>
                    </a:cubicBezTo>
                    <a:cubicBezTo>
                      <a:pt x="647461" y="300349"/>
                      <a:pt x="646706" y="312737"/>
                      <a:pt x="651468" y="314325"/>
                    </a:cubicBezTo>
                    <a:cubicBezTo>
                      <a:pt x="654643" y="307975"/>
                      <a:pt x="657082" y="304804"/>
                      <a:pt x="660993" y="295275"/>
                    </a:cubicBezTo>
                    <a:cubicBezTo>
                      <a:pt x="664904" y="285746"/>
                      <a:pt x="667306" y="278316"/>
                      <a:pt x="674933" y="257152"/>
                    </a:cubicBezTo>
                    <a:cubicBezTo>
                      <a:pt x="682561" y="235988"/>
                      <a:pt x="698763" y="188924"/>
                      <a:pt x="706758" y="168290"/>
                    </a:cubicBezTo>
                    <a:cubicBezTo>
                      <a:pt x="714753" y="147656"/>
                      <a:pt x="719421" y="133617"/>
                      <a:pt x="722906" y="133350"/>
                    </a:cubicBezTo>
                    <a:cubicBezTo>
                      <a:pt x="726391" y="133083"/>
                      <a:pt x="725467" y="155680"/>
                      <a:pt x="727668" y="166687"/>
                    </a:cubicBezTo>
                    <a:cubicBezTo>
                      <a:pt x="728653" y="171610"/>
                      <a:pt x="728946" y="182822"/>
                      <a:pt x="732431" y="180975"/>
                    </a:cubicBezTo>
                    <a:cubicBezTo>
                      <a:pt x="735916" y="179128"/>
                      <a:pt x="741551" y="163805"/>
                      <a:pt x="748579" y="155604"/>
                    </a:cubicBezTo>
                    <a:cubicBezTo>
                      <a:pt x="755607" y="147403"/>
                      <a:pt x="766972" y="143416"/>
                      <a:pt x="774599" y="131770"/>
                    </a:cubicBezTo>
                    <a:cubicBezTo>
                      <a:pt x="782226" y="120124"/>
                      <a:pt x="789465" y="88637"/>
                      <a:pt x="794343" y="85725"/>
                    </a:cubicBezTo>
                    <a:cubicBezTo>
                      <a:pt x="799221" y="82813"/>
                      <a:pt x="801542" y="104533"/>
                      <a:pt x="803868" y="114300"/>
                    </a:cubicBezTo>
                    <a:cubicBezTo>
                      <a:pt x="809493" y="137924"/>
                      <a:pt x="812290" y="174624"/>
                      <a:pt x="818156" y="185737"/>
                    </a:cubicBezTo>
                    <a:cubicBezTo>
                      <a:pt x="824022" y="196850"/>
                      <a:pt x="835146" y="184111"/>
                      <a:pt x="839066" y="180975"/>
                    </a:cubicBezTo>
                    <a:cubicBezTo>
                      <a:pt x="845489" y="175837"/>
                      <a:pt x="849422" y="155575"/>
                      <a:pt x="856256" y="138112"/>
                    </a:cubicBezTo>
                    <a:cubicBezTo>
                      <a:pt x="863090" y="120650"/>
                      <a:pt x="874336" y="97217"/>
                      <a:pt x="880068" y="76200"/>
                    </a:cubicBezTo>
                    <a:cubicBezTo>
                      <a:pt x="882198" y="68390"/>
                      <a:pt x="881211" y="59627"/>
                      <a:pt x="884831" y="52387"/>
                    </a:cubicBezTo>
                    <a:cubicBezTo>
                      <a:pt x="887843" y="46363"/>
                      <a:pt x="894356" y="42862"/>
                      <a:pt x="899118" y="38100"/>
                    </a:cubicBezTo>
                    <a:cubicBezTo>
                      <a:pt x="900706" y="30162"/>
                      <a:pt x="901918" y="22140"/>
                      <a:pt x="903881" y="14287"/>
                    </a:cubicBezTo>
                    <a:cubicBezTo>
                      <a:pt x="905099" y="9417"/>
                      <a:pt x="903623" y="0"/>
                      <a:pt x="908643" y="0"/>
                    </a:cubicBezTo>
                    <a:cubicBezTo>
                      <a:pt x="913663" y="0"/>
                      <a:pt x="911818" y="9525"/>
                      <a:pt x="913406" y="14287"/>
                    </a:cubicBezTo>
                    <a:cubicBezTo>
                      <a:pt x="914993" y="33337"/>
                      <a:pt x="915025" y="52581"/>
                      <a:pt x="918168" y="71437"/>
                    </a:cubicBezTo>
                    <a:cubicBezTo>
                      <a:pt x="919819" y="81341"/>
                      <a:pt x="924935" y="90358"/>
                      <a:pt x="927693" y="100012"/>
                    </a:cubicBezTo>
                    <a:cubicBezTo>
                      <a:pt x="942673" y="152442"/>
                      <a:pt x="928213" y="123104"/>
                      <a:pt x="951506" y="161925"/>
                    </a:cubicBezTo>
                    <a:cubicBezTo>
                      <a:pt x="953093" y="168275"/>
                      <a:pt x="955097" y="174535"/>
                      <a:pt x="956268" y="180975"/>
                    </a:cubicBezTo>
                    <a:cubicBezTo>
                      <a:pt x="958276" y="192019"/>
                      <a:pt x="957001" y="203835"/>
                      <a:pt x="961031" y="214312"/>
                    </a:cubicBezTo>
                    <a:cubicBezTo>
                      <a:pt x="965141" y="224997"/>
                      <a:pt x="975207" y="234317"/>
                      <a:pt x="980081" y="242887"/>
                    </a:cubicBezTo>
                    <a:cubicBezTo>
                      <a:pt x="984955" y="251457"/>
                      <a:pt x="983258" y="262242"/>
                      <a:pt x="990273" y="265734"/>
                    </a:cubicBezTo>
                    <a:cubicBezTo>
                      <a:pt x="996576" y="258872"/>
                      <a:pt x="1004240" y="263357"/>
                      <a:pt x="1023774" y="261405"/>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 name="Group 19"/>
            <p:cNvGrpSpPr/>
            <p:nvPr/>
          </p:nvGrpSpPr>
          <p:grpSpPr bwMode="gray">
            <a:xfrm>
              <a:off x="4140540" y="2967283"/>
              <a:ext cx="3757897" cy="300436"/>
              <a:chOff x="8728775" y="3089997"/>
              <a:chExt cx="3757897" cy="300436"/>
            </a:xfrm>
          </p:grpSpPr>
          <p:sp>
            <p:nvSpPr>
              <p:cNvPr id="113" name="Freeform 112"/>
              <p:cNvSpPr/>
              <p:nvPr/>
            </p:nvSpPr>
            <p:spPr bwMode="gray">
              <a:xfrm>
                <a:off x="8728775" y="3089997"/>
                <a:ext cx="1890172" cy="300436"/>
              </a:xfrm>
              <a:custGeom>
                <a:avLst/>
                <a:gdLst>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19112 w 1011118"/>
                  <a:gd name="connsiteY37" fmla="*/ 166687 h 314325"/>
                  <a:gd name="connsiteX38" fmla="*/ 533400 w 1011118"/>
                  <a:gd name="connsiteY38" fmla="*/ 138112 h 314325"/>
                  <a:gd name="connsiteX39" fmla="*/ 552450 w 1011118"/>
                  <a:gd name="connsiteY39" fmla="*/ 104775 h 314325"/>
                  <a:gd name="connsiteX40" fmla="*/ 557212 w 1011118"/>
                  <a:gd name="connsiteY40" fmla="*/ 90487 h 314325"/>
                  <a:gd name="connsiteX41" fmla="*/ 571500 w 1011118"/>
                  <a:gd name="connsiteY41" fmla="*/ 80962 h 314325"/>
                  <a:gd name="connsiteX42" fmla="*/ 619125 w 1011118"/>
                  <a:gd name="connsiteY42" fmla="*/ 52387 h 314325"/>
                  <a:gd name="connsiteX43" fmla="*/ 628650 w 1011118"/>
                  <a:gd name="connsiteY43" fmla="*/ 309562 h 314325"/>
                  <a:gd name="connsiteX44" fmla="*/ 642937 w 1011118"/>
                  <a:gd name="connsiteY44" fmla="*/ 314325 h 314325"/>
                  <a:gd name="connsiteX45" fmla="*/ 652462 w 1011118"/>
                  <a:gd name="connsiteY45" fmla="*/ 295275 h 314325"/>
                  <a:gd name="connsiteX46" fmla="*/ 661987 w 1011118"/>
                  <a:gd name="connsiteY46" fmla="*/ 252412 h 314325"/>
                  <a:gd name="connsiteX47" fmla="*/ 690562 w 1011118"/>
                  <a:gd name="connsiteY47" fmla="*/ 204787 h 314325"/>
                  <a:gd name="connsiteX48" fmla="*/ 704850 w 1011118"/>
                  <a:gd name="connsiteY48" fmla="*/ 171450 h 314325"/>
                  <a:gd name="connsiteX49" fmla="*/ 714375 w 1011118"/>
                  <a:gd name="connsiteY49" fmla="*/ 133350 h 314325"/>
                  <a:gd name="connsiteX50" fmla="*/ 719137 w 1011118"/>
                  <a:gd name="connsiteY50" fmla="*/ 166687 h 314325"/>
                  <a:gd name="connsiteX51" fmla="*/ 723900 w 1011118"/>
                  <a:gd name="connsiteY51" fmla="*/ 180975 h 314325"/>
                  <a:gd name="connsiteX52" fmla="*/ 733425 w 1011118"/>
                  <a:gd name="connsiteY52" fmla="*/ 161925 h 314325"/>
                  <a:gd name="connsiteX53" fmla="*/ 757237 w 1011118"/>
                  <a:gd name="connsiteY53" fmla="*/ 133350 h 314325"/>
                  <a:gd name="connsiteX54" fmla="*/ 785812 w 1011118"/>
                  <a:gd name="connsiteY54" fmla="*/ 85725 h 314325"/>
                  <a:gd name="connsiteX55" fmla="*/ 795337 w 1011118"/>
                  <a:gd name="connsiteY55" fmla="*/ 114300 h 314325"/>
                  <a:gd name="connsiteX56" fmla="*/ 809625 w 1011118"/>
                  <a:gd name="connsiteY56" fmla="*/ 185737 h 314325"/>
                  <a:gd name="connsiteX57" fmla="*/ 823912 w 1011118"/>
                  <a:gd name="connsiteY57" fmla="*/ 180975 h 314325"/>
                  <a:gd name="connsiteX58" fmla="*/ 847725 w 1011118"/>
                  <a:gd name="connsiteY58" fmla="*/ 138112 h 314325"/>
                  <a:gd name="connsiteX59" fmla="*/ 871537 w 1011118"/>
                  <a:gd name="connsiteY59" fmla="*/ 76200 h 314325"/>
                  <a:gd name="connsiteX60" fmla="*/ 876300 w 1011118"/>
                  <a:gd name="connsiteY60" fmla="*/ 52387 h 314325"/>
                  <a:gd name="connsiteX61" fmla="*/ 890587 w 1011118"/>
                  <a:gd name="connsiteY61" fmla="*/ 38100 h 314325"/>
                  <a:gd name="connsiteX62" fmla="*/ 895350 w 1011118"/>
                  <a:gd name="connsiteY62" fmla="*/ 14287 h 314325"/>
                  <a:gd name="connsiteX63" fmla="*/ 900112 w 1011118"/>
                  <a:gd name="connsiteY63" fmla="*/ 0 h 314325"/>
                  <a:gd name="connsiteX64" fmla="*/ 904875 w 1011118"/>
                  <a:gd name="connsiteY64" fmla="*/ 14287 h 314325"/>
                  <a:gd name="connsiteX65" fmla="*/ 909637 w 1011118"/>
                  <a:gd name="connsiteY65" fmla="*/ 71437 h 314325"/>
                  <a:gd name="connsiteX66" fmla="*/ 919162 w 1011118"/>
                  <a:gd name="connsiteY66" fmla="*/ 100012 h 314325"/>
                  <a:gd name="connsiteX67" fmla="*/ 942975 w 1011118"/>
                  <a:gd name="connsiteY67" fmla="*/ 161925 h 314325"/>
                  <a:gd name="connsiteX68" fmla="*/ 947737 w 1011118"/>
                  <a:gd name="connsiteY68" fmla="*/ 180975 h 314325"/>
                  <a:gd name="connsiteX69" fmla="*/ 952500 w 1011118"/>
                  <a:gd name="connsiteY69" fmla="*/ 214312 h 314325"/>
                  <a:gd name="connsiteX70" fmla="*/ 971550 w 1011118"/>
                  <a:gd name="connsiteY70" fmla="*/ 242887 h 314325"/>
                  <a:gd name="connsiteX71" fmla="*/ 985837 w 1011118"/>
                  <a:gd name="connsiteY71" fmla="*/ 238125 h 314325"/>
                  <a:gd name="connsiteX72" fmla="*/ 990600 w 1011118"/>
                  <a:gd name="connsiteY72" fmla="*/ 223837 h 314325"/>
                  <a:gd name="connsiteX73" fmla="*/ 1004887 w 1011118"/>
                  <a:gd name="connsiteY73"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33400 w 1011118"/>
                  <a:gd name="connsiteY37" fmla="*/ 138112 h 314325"/>
                  <a:gd name="connsiteX38" fmla="*/ 552450 w 1011118"/>
                  <a:gd name="connsiteY38" fmla="*/ 104775 h 314325"/>
                  <a:gd name="connsiteX39" fmla="*/ 557212 w 1011118"/>
                  <a:gd name="connsiteY39" fmla="*/ 90487 h 314325"/>
                  <a:gd name="connsiteX40" fmla="*/ 571500 w 1011118"/>
                  <a:gd name="connsiteY40" fmla="*/ 80962 h 314325"/>
                  <a:gd name="connsiteX41" fmla="*/ 619125 w 1011118"/>
                  <a:gd name="connsiteY41" fmla="*/ 52387 h 314325"/>
                  <a:gd name="connsiteX42" fmla="*/ 628650 w 1011118"/>
                  <a:gd name="connsiteY42" fmla="*/ 309562 h 314325"/>
                  <a:gd name="connsiteX43" fmla="*/ 642937 w 1011118"/>
                  <a:gd name="connsiteY43" fmla="*/ 314325 h 314325"/>
                  <a:gd name="connsiteX44" fmla="*/ 652462 w 1011118"/>
                  <a:gd name="connsiteY44" fmla="*/ 295275 h 314325"/>
                  <a:gd name="connsiteX45" fmla="*/ 661987 w 1011118"/>
                  <a:gd name="connsiteY45" fmla="*/ 252412 h 314325"/>
                  <a:gd name="connsiteX46" fmla="*/ 690562 w 1011118"/>
                  <a:gd name="connsiteY46" fmla="*/ 204787 h 314325"/>
                  <a:gd name="connsiteX47" fmla="*/ 704850 w 1011118"/>
                  <a:gd name="connsiteY47" fmla="*/ 171450 h 314325"/>
                  <a:gd name="connsiteX48" fmla="*/ 714375 w 1011118"/>
                  <a:gd name="connsiteY48" fmla="*/ 133350 h 314325"/>
                  <a:gd name="connsiteX49" fmla="*/ 719137 w 1011118"/>
                  <a:gd name="connsiteY49" fmla="*/ 166687 h 314325"/>
                  <a:gd name="connsiteX50" fmla="*/ 723900 w 1011118"/>
                  <a:gd name="connsiteY50" fmla="*/ 180975 h 314325"/>
                  <a:gd name="connsiteX51" fmla="*/ 733425 w 1011118"/>
                  <a:gd name="connsiteY51" fmla="*/ 161925 h 314325"/>
                  <a:gd name="connsiteX52" fmla="*/ 757237 w 1011118"/>
                  <a:gd name="connsiteY52" fmla="*/ 133350 h 314325"/>
                  <a:gd name="connsiteX53" fmla="*/ 785812 w 1011118"/>
                  <a:gd name="connsiteY53" fmla="*/ 85725 h 314325"/>
                  <a:gd name="connsiteX54" fmla="*/ 795337 w 1011118"/>
                  <a:gd name="connsiteY54" fmla="*/ 114300 h 314325"/>
                  <a:gd name="connsiteX55" fmla="*/ 809625 w 1011118"/>
                  <a:gd name="connsiteY55" fmla="*/ 185737 h 314325"/>
                  <a:gd name="connsiteX56" fmla="*/ 823912 w 1011118"/>
                  <a:gd name="connsiteY56" fmla="*/ 180975 h 314325"/>
                  <a:gd name="connsiteX57" fmla="*/ 847725 w 1011118"/>
                  <a:gd name="connsiteY57" fmla="*/ 138112 h 314325"/>
                  <a:gd name="connsiteX58" fmla="*/ 871537 w 1011118"/>
                  <a:gd name="connsiteY58" fmla="*/ 76200 h 314325"/>
                  <a:gd name="connsiteX59" fmla="*/ 876300 w 1011118"/>
                  <a:gd name="connsiteY59" fmla="*/ 52387 h 314325"/>
                  <a:gd name="connsiteX60" fmla="*/ 890587 w 1011118"/>
                  <a:gd name="connsiteY60" fmla="*/ 38100 h 314325"/>
                  <a:gd name="connsiteX61" fmla="*/ 895350 w 1011118"/>
                  <a:gd name="connsiteY61" fmla="*/ 14287 h 314325"/>
                  <a:gd name="connsiteX62" fmla="*/ 900112 w 1011118"/>
                  <a:gd name="connsiteY62" fmla="*/ 0 h 314325"/>
                  <a:gd name="connsiteX63" fmla="*/ 904875 w 1011118"/>
                  <a:gd name="connsiteY63" fmla="*/ 14287 h 314325"/>
                  <a:gd name="connsiteX64" fmla="*/ 909637 w 1011118"/>
                  <a:gd name="connsiteY64" fmla="*/ 71437 h 314325"/>
                  <a:gd name="connsiteX65" fmla="*/ 919162 w 1011118"/>
                  <a:gd name="connsiteY65" fmla="*/ 100012 h 314325"/>
                  <a:gd name="connsiteX66" fmla="*/ 942975 w 1011118"/>
                  <a:gd name="connsiteY66" fmla="*/ 161925 h 314325"/>
                  <a:gd name="connsiteX67" fmla="*/ 947737 w 1011118"/>
                  <a:gd name="connsiteY67" fmla="*/ 180975 h 314325"/>
                  <a:gd name="connsiteX68" fmla="*/ 952500 w 1011118"/>
                  <a:gd name="connsiteY68" fmla="*/ 214312 h 314325"/>
                  <a:gd name="connsiteX69" fmla="*/ 971550 w 1011118"/>
                  <a:gd name="connsiteY69" fmla="*/ 242887 h 314325"/>
                  <a:gd name="connsiteX70" fmla="*/ 985837 w 1011118"/>
                  <a:gd name="connsiteY70" fmla="*/ 238125 h 314325"/>
                  <a:gd name="connsiteX71" fmla="*/ 990600 w 1011118"/>
                  <a:gd name="connsiteY71" fmla="*/ 223837 h 314325"/>
                  <a:gd name="connsiteX72" fmla="*/ 1004887 w 1011118"/>
                  <a:gd name="connsiteY72"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0537 w 1011118"/>
                  <a:gd name="connsiteY35" fmla="*/ 223837 h 314325"/>
                  <a:gd name="connsiteX36" fmla="*/ 533400 w 1011118"/>
                  <a:gd name="connsiteY36" fmla="*/ 138112 h 314325"/>
                  <a:gd name="connsiteX37" fmla="*/ 552450 w 1011118"/>
                  <a:gd name="connsiteY37" fmla="*/ 104775 h 314325"/>
                  <a:gd name="connsiteX38" fmla="*/ 557212 w 1011118"/>
                  <a:gd name="connsiteY38" fmla="*/ 90487 h 314325"/>
                  <a:gd name="connsiteX39" fmla="*/ 571500 w 1011118"/>
                  <a:gd name="connsiteY39" fmla="*/ 80962 h 314325"/>
                  <a:gd name="connsiteX40" fmla="*/ 619125 w 1011118"/>
                  <a:gd name="connsiteY40" fmla="*/ 52387 h 314325"/>
                  <a:gd name="connsiteX41" fmla="*/ 628650 w 1011118"/>
                  <a:gd name="connsiteY41" fmla="*/ 309562 h 314325"/>
                  <a:gd name="connsiteX42" fmla="*/ 642937 w 1011118"/>
                  <a:gd name="connsiteY42" fmla="*/ 314325 h 314325"/>
                  <a:gd name="connsiteX43" fmla="*/ 652462 w 1011118"/>
                  <a:gd name="connsiteY43" fmla="*/ 295275 h 314325"/>
                  <a:gd name="connsiteX44" fmla="*/ 661987 w 1011118"/>
                  <a:gd name="connsiteY44" fmla="*/ 252412 h 314325"/>
                  <a:gd name="connsiteX45" fmla="*/ 690562 w 1011118"/>
                  <a:gd name="connsiteY45" fmla="*/ 204787 h 314325"/>
                  <a:gd name="connsiteX46" fmla="*/ 704850 w 1011118"/>
                  <a:gd name="connsiteY46" fmla="*/ 171450 h 314325"/>
                  <a:gd name="connsiteX47" fmla="*/ 714375 w 1011118"/>
                  <a:gd name="connsiteY47" fmla="*/ 133350 h 314325"/>
                  <a:gd name="connsiteX48" fmla="*/ 719137 w 1011118"/>
                  <a:gd name="connsiteY48" fmla="*/ 166687 h 314325"/>
                  <a:gd name="connsiteX49" fmla="*/ 723900 w 1011118"/>
                  <a:gd name="connsiteY49" fmla="*/ 180975 h 314325"/>
                  <a:gd name="connsiteX50" fmla="*/ 733425 w 1011118"/>
                  <a:gd name="connsiteY50" fmla="*/ 161925 h 314325"/>
                  <a:gd name="connsiteX51" fmla="*/ 757237 w 1011118"/>
                  <a:gd name="connsiteY51" fmla="*/ 133350 h 314325"/>
                  <a:gd name="connsiteX52" fmla="*/ 785812 w 1011118"/>
                  <a:gd name="connsiteY52" fmla="*/ 85725 h 314325"/>
                  <a:gd name="connsiteX53" fmla="*/ 795337 w 1011118"/>
                  <a:gd name="connsiteY53" fmla="*/ 114300 h 314325"/>
                  <a:gd name="connsiteX54" fmla="*/ 809625 w 1011118"/>
                  <a:gd name="connsiteY54" fmla="*/ 185737 h 314325"/>
                  <a:gd name="connsiteX55" fmla="*/ 823912 w 1011118"/>
                  <a:gd name="connsiteY55" fmla="*/ 180975 h 314325"/>
                  <a:gd name="connsiteX56" fmla="*/ 847725 w 1011118"/>
                  <a:gd name="connsiteY56" fmla="*/ 138112 h 314325"/>
                  <a:gd name="connsiteX57" fmla="*/ 871537 w 1011118"/>
                  <a:gd name="connsiteY57" fmla="*/ 76200 h 314325"/>
                  <a:gd name="connsiteX58" fmla="*/ 876300 w 1011118"/>
                  <a:gd name="connsiteY58" fmla="*/ 52387 h 314325"/>
                  <a:gd name="connsiteX59" fmla="*/ 890587 w 1011118"/>
                  <a:gd name="connsiteY59" fmla="*/ 38100 h 314325"/>
                  <a:gd name="connsiteX60" fmla="*/ 895350 w 1011118"/>
                  <a:gd name="connsiteY60" fmla="*/ 14287 h 314325"/>
                  <a:gd name="connsiteX61" fmla="*/ 900112 w 1011118"/>
                  <a:gd name="connsiteY61" fmla="*/ 0 h 314325"/>
                  <a:gd name="connsiteX62" fmla="*/ 904875 w 1011118"/>
                  <a:gd name="connsiteY62" fmla="*/ 14287 h 314325"/>
                  <a:gd name="connsiteX63" fmla="*/ 909637 w 1011118"/>
                  <a:gd name="connsiteY63" fmla="*/ 71437 h 314325"/>
                  <a:gd name="connsiteX64" fmla="*/ 919162 w 1011118"/>
                  <a:gd name="connsiteY64" fmla="*/ 100012 h 314325"/>
                  <a:gd name="connsiteX65" fmla="*/ 942975 w 1011118"/>
                  <a:gd name="connsiteY65" fmla="*/ 161925 h 314325"/>
                  <a:gd name="connsiteX66" fmla="*/ 947737 w 1011118"/>
                  <a:gd name="connsiteY66" fmla="*/ 180975 h 314325"/>
                  <a:gd name="connsiteX67" fmla="*/ 952500 w 1011118"/>
                  <a:gd name="connsiteY67" fmla="*/ 214312 h 314325"/>
                  <a:gd name="connsiteX68" fmla="*/ 971550 w 1011118"/>
                  <a:gd name="connsiteY68" fmla="*/ 242887 h 314325"/>
                  <a:gd name="connsiteX69" fmla="*/ 985837 w 1011118"/>
                  <a:gd name="connsiteY69" fmla="*/ 238125 h 314325"/>
                  <a:gd name="connsiteX70" fmla="*/ 990600 w 1011118"/>
                  <a:gd name="connsiteY70" fmla="*/ 223837 h 314325"/>
                  <a:gd name="connsiteX71" fmla="*/ 1004887 w 1011118"/>
                  <a:gd name="connsiteY71"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23850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704850 w 1011118"/>
                  <a:gd name="connsiteY44" fmla="*/ 17145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30535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6250 w 1011118"/>
                  <a:gd name="connsiteY19" fmla="*/ 3663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990600"/>
                  <a:gd name="connsiteY0" fmla="*/ 266700 h 314325"/>
                  <a:gd name="connsiteX1" fmla="*/ 23812 w 990600"/>
                  <a:gd name="connsiteY1" fmla="*/ 242887 h 314325"/>
                  <a:gd name="connsiteX2" fmla="*/ 28575 w 990600"/>
                  <a:gd name="connsiteY2" fmla="*/ 228600 h 314325"/>
                  <a:gd name="connsiteX3" fmla="*/ 57150 w 990600"/>
                  <a:gd name="connsiteY3" fmla="*/ 180975 h 314325"/>
                  <a:gd name="connsiteX4" fmla="*/ 66675 w 990600"/>
                  <a:gd name="connsiteY4" fmla="*/ 166687 h 314325"/>
                  <a:gd name="connsiteX5" fmla="*/ 85725 w 990600"/>
                  <a:gd name="connsiteY5" fmla="*/ 114300 h 314325"/>
                  <a:gd name="connsiteX6" fmla="*/ 95250 w 990600"/>
                  <a:gd name="connsiteY6" fmla="*/ 100012 h 314325"/>
                  <a:gd name="connsiteX7" fmla="*/ 114300 w 990600"/>
                  <a:gd name="connsiteY7" fmla="*/ 57150 h 314325"/>
                  <a:gd name="connsiteX8" fmla="*/ 119062 w 990600"/>
                  <a:gd name="connsiteY8" fmla="*/ 42862 h 314325"/>
                  <a:gd name="connsiteX9" fmla="*/ 128587 w 990600"/>
                  <a:gd name="connsiteY9" fmla="*/ 4762 h 314325"/>
                  <a:gd name="connsiteX10" fmla="*/ 138112 w 990600"/>
                  <a:gd name="connsiteY10" fmla="*/ 100012 h 314325"/>
                  <a:gd name="connsiteX11" fmla="*/ 147637 w 990600"/>
                  <a:gd name="connsiteY11" fmla="*/ 152400 h 314325"/>
                  <a:gd name="connsiteX12" fmla="*/ 152400 w 990600"/>
                  <a:gd name="connsiteY12" fmla="*/ 228600 h 314325"/>
                  <a:gd name="connsiteX13" fmla="*/ 164889 w 990600"/>
                  <a:gd name="connsiteY13" fmla="*/ 268258 h 314325"/>
                  <a:gd name="connsiteX14" fmla="*/ 192770 w 990600"/>
                  <a:gd name="connsiteY14" fmla="*/ 255572 h 314325"/>
                  <a:gd name="connsiteX15" fmla="*/ 223081 w 990600"/>
                  <a:gd name="connsiteY15" fmla="*/ 201561 h 314325"/>
                  <a:gd name="connsiteX16" fmla="*/ 242887 w 990600"/>
                  <a:gd name="connsiteY16" fmla="*/ 171450 h 314325"/>
                  <a:gd name="connsiteX17" fmla="*/ 261937 w 990600"/>
                  <a:gd name="connsiteY17" fmla="*/ 142875 h 314325"/>
                  <a:gd name="connsiteX18" fmla="*/ 295275 w 990600"/>
                  <a:gd name="connsiteY18" fmla="*/ 71437 h 314325"/>
                  <a:gd name="connsiteX19" fmla="*/ 306250 w 990600"/>
                  <a:gd name="connsiteY19" fmla="*/ 36631 h 314325"/>
                  <a:gd name="connsiteX20" fmla="*/ 313221 w 990600"/>
                  <a:gd name="connsiteY20" fmla="*/ 88841 h 314325"/>
                  <a:gd name="connsiteX21" fmla="*/ 318331 w 990600"/>
                  <a:gd name="connsiteY21" fmla="*/ 147637 h 314325"/>
                  <a:gd name="connsiteX22" fmla="*/ 328612 w 990600"/>
                  <a:gd name="connsiteY22" fmla="*/ 171450 h 314325"/>
                  <a:gd name="connsiteX23" fmla="*/ 339998 w 990600"/>
                  <a:gd name="connsiteY23" fmla="*/ 261916 h 314325"/>
                  <a:gd name="connsiteX24" fmla="*/ 347662 w 990600"/>
                  <a:gd name="connsiteY24" fmla="*/ 247650 h 314325"/>
                  <a:gd name="connsiteX25" fmla="*/ 361256 w 990600"/>
                  <a:gd name="connsiteY25" fmla="*/ 231782 h 314325"/>
                  <a:gd name="connsiteX26" fmla="*/ 385762 w 990600"/>
                  <a:gd name="connsiteY26" fmla="*/ 180975 h 314325"/>
                  <a:gd name="connsiteX27" fmla="*/ 400050 w 990600"/>
                  <a:gd name="connsiteY27" fmla="*/ 171450 h 314325"/>
                  <a:gd name="connsiteX28" fmla="*/ 409575 w 990600"/>
                  <a:gd name="connsiteY28" fmla="*/ 157162 h 314325"/>
                  <a:gd name="connsiteX29" fmla="*/ 419100 w 990600"/>
                  <a:gd name="connsiteY29" fmla="*/ 180975 h 314325"/>
                  <a:gd name="connsiteX30" fmla="*/ 428625 w 990600"/>
                  <a:gd name="connsiteY30" fmla="*/ 209550 h 314325"/>
                  <a:gd name="connsiteX31" fmla="*/ 438906 w 990600"/>
                  <a:gd name="connsiteY31" fmla="*/ 252390 h 314325"/>
                  <a:gd name="connsiteX32" fmla="*/ 466725 w 990600"/>
                  <a:gd name="connsiteY32" fmla="*/ 233362 h 314325"/>
                  <a:gd name="connsiteX33" fmla="*/ 481012 w 990600"/>
                  <a:gd name="connsiteY33" fmla="*/ 233362 h 314325"/>
                  <a:gd name="connsiteX34" fmla="*/ 490537 w 990600"/>
                  <a:gd name="connsiteY34" fmla="*/ 223837 h 314325"/>
                  <a:gd name="connsiteX35" fmla="*/ 533400 w 990600"/>
                  <a:gd name="connsiteY35" fmla="*/ 138112 h 314325"/>
                  <a:gd name="connsiteX36" fmla="*/ 552450 w 990600"/>
                  <a:gd name="connsiteY36" fmla="*/ 104775 h 314325"/>
                  <a:gd name="connsiteX37" fmla="*/ 557212 w 990600"/>
                  <a:gd name="connsiteY37" fmla="*/ 90487 h 314325"/>
                  <a:gd name="connsiteX38" fmla="*/ 571500 w 990600"/>
                  <a:gd name="connsiteY38" fmla="*/ 80962 h 314325"/>
                  <a:gd name="connsiteX39" fmla="*/ 610294 w 990600"/>
                  <a:gd name="connsiteY39" fmla="*/ 49227 h 314325"/>
                  <a:gd name="connsiteX40" fmla="*/ 627328 w 990600"/>
                  <a:gd name="connsiteY40" fmla="*/ 51320 h 314325"/>
                  <a:gd name="connsiteX41" fmla="*/ 638585 w 990600"/>
                  <a:gd name="connsiteY41" fmla="*/ 295341 h 314325"/>
                  <a:gd name="connsiteX42" fmla="*/ 642937 w 990600"/>
                  <a:gd name="connsiteY42" fmla="*/ 314325 h 314325"/>
                  <a:gd name="connsiteX43" fmla="*/ 652462 w 990600"/>
                  <a:gd name="connsiteY43" fmla="*/ 295275 h 314325"/>
                  <a:gd name="connsiteX44" fmla="*/ 666402 w 990600"/>
                  <a:gd name="connsiteY44" fmla="*/ 257152 h 314325"/>
                  <a:gd name="connsiteX45" fmla="*/ 698227 w 990600"/>
                  <a:gd name="connsiteY45" fmla="*/ 168290 h 314325"/>
                  <a:gd name="connsiteX46" fmla="*/ 714375 w 990600"/>
                  <a:gd name="connsiteY46" fmla="*/ 133350 h 314325"/>
                  <a:gd name="connsiteX47" fmla="*/ 719137 w 990600"/>
                  <a:gd name="connsiteY47" fmla="*/ 166687 h 314325"/>
                  <a:gd name="connsiteX48" fmla="*/ 723900 w 990600"/>
                  <a:gd name="connsiteY48" fmla="*/ 180975 h 314325"/>
                  <a:gd name="connsiteX49" fmla="*/ 740048 w 990600"/>
                  <a:gd name="connsiteY49" fmla="*/ 155604 h 314325"/>
                  <a:gd name="connsiteX50" fmla="*/ 766068 w 990600"/>
                  <a:gd name="connsiteY50" fmla="*/ 131770 h 314325"/>
                  <a:gd name="connsiteX51" fmla="*/ 785812 w 990600"/>
                  <a:gd name="connsiteY51" fmla="*/ 85725 h 314325"/>
                  <a:gd name="connsiteX52" fmla="*/ 795337 w 990600"/>
                  <a:gd name="connsiteY52" fmla="*/ 114300 h 314325"/>
                  <a:gd name="connsiteX53" fmla="*/ 809625 w 990600"/>
                  <a:gd name="connsiteY53" fmla="*/ 185737 h 314325"/>
                  <a:gd name="connsiteX54" fmla="*/ 830535 w 990600"/>
                  <a:gd name="connsiteY54" fmla="*/ 180975 h 314325"/>
                  <a:gd name="connsiteX55" fmla="*/ 847725 w 990600"/>
                  <a:gd name="connsiteY55" fmla="*/ 138112 h 314325"/>
                  <a:gd name="connsiteX56" fmla="*/ 871537 w 990600"/>
                  <a:gd name="connsiteY56" fmla="*/ 76200 h 314325"/>
                  <a:gd name="connsiteX57" fmla="*/ 876300 w 990600"/>
                  <a:gd name="connsiteY57" fmla="*/ 52387 h 314325"/>
                  <a:gd name="connsiteX58" fmla="*/ 890587 w 990600"/>
                  <a:gd name="connsiteY58" fmla="*/ 38100 h 314325"/>
                  <a:gd name="connsiteX59" fmla="*/ 895350 w 990600"/>
                  <a:gd name="connsiteY59" fmla="*/ 14287 h 314325"/>
                  <a:gd name="connsiteX60" fmla="*/ 900112 w 990600"/>
                  <a:gd name="connsiteY60" fmla="*/ 0 h 314325"/>
                  <a:gd name="connsiteX61" fmla="*/ 904875 w 990600"/>
                  <a:gd name="connsiteY61" fmla="*/ 14287 h 314325"/>
                  <a:gd name="connsiteX62" fmla="*/ 909637 w 990600"/>
                  <a:gd name="connsiteY62" fmla="*/ 71437 h 314325"/>
                  <a:gd name="connsiteX63" fmla="*/ 919162 w 990600"/>
                  <a:gd name="connsiteY63" fmla="*/ 100012 h 314325"/>
                  <a:gd name="connsiteX64" fmla="*/ 942975 w 990600"/>
                  <a:gd name="connsiteY64" fmla="*/ 161925 h 314325"/>
                  <a:gd name="connsiteX65" fmla="*/ 947737 w 990600"/>
                  <a:gd name="connsiteY65" fmla="*/ 180975 h 314325"/>
                  <a:gd name="connsiteX66" fmla="*/ 952500 w 990600"/>
                  <a:gd name="connsiteY66" fmla="*/ 214312 h 314325"/>
                  <a:gd name="connsiteX67" fmla="*/ 971550 w 990600"/>
                  <a:gd name="connsiteY67" fmla="*/ 242887 h 314325"/>
                  <a:gd name="connsiteX68" fmla="*/ 985837 w 990600"/>
                  <a:gd name="connsiteY68" fmla="*/ 238125 h 314325"/>
                  <a:gd name="connsiteX69" fmla="*/ 990600 w 990600"/>
                  <a:gd name="connsiteY69" fmla="*/ 223837 h 314325"/>
                  <a:gd name="connsiteX0" fmla="*/ 0 w 1009366"/>
                  <a:gd name="connsiteY0" fmla="*/ 266700 h 314325"/>
                  <a:gd name="connsiteX1" fmla="*/ 23812 w 1009366"/>
                  <a:gd name="connsiteY1" fmla="*/ 242887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7957 w 1008814"/>
                  <a:gd name="connsiteY68" fmla="*/ 250306 h 314325"/>
                  <a:gd name="connsiteX69" fmla="*/ 1008814 w 1008814"/>
                  <a:gd name="connsiteY69" fmla="*/ 201715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417"/>
                  <a:gd name="connsiteY0" fmla="*/ 262750 h 314325"/>
                  <a:gd name="connsiteX1" fmla="*/ 10014 w 1010417"/>
                  <a:gd name="connsiteY1" fmla="*/ 273436 h 314325"/>
                  <a:gd name="connsiteX2" fmla="*/ 28023 w 1010417"/>
                  <a:gd name="connsiteY2" fmla="*/ 228600 h 314325"/>
                  <a:gd name="connsiteX3" fmla="*/ 56598 w 1010417"/>
                  <a:gd name="connsiteY3" fmla="*/ 180975 h 314325"/>
                  <a:gd name="connsiteX4" fmla="*/ 66123 w 1010417"/>
                  <a:gd name="connsiteY4" fmla="*/ 166687 h 314325"/>
                  <a:gd name="connsiteX5" fmla="*/ 85173 w 1010417"/>
                  <a:gd name="connsiteY5" fmla="*/ 114300 h 314325"/>
                  <a:gd name="connsiteX6" fmla="*/ 94698 w 1010417"/>
                  <a:gd name="connsiteY6" fmla="*/ 100012 h 314325"/>
                  <a:gd name="connsiteX7" fmla="*/ 113748 w 1010417"/>
                  <a:gd name="connsiteY7" fmla="*/ 57150 h 314325"/>
                  <a:gd name="connsiteX8" fmla="*/ 118510 w 1010417"/>
                  <a:gd name="connsiteY8" fmla="*/ 42862 h 314325"/>
                  <a:gd name="connsiteX9" fmla="*/ 128035 w 1010417"/>
                  <a:gd name="connsiteY9" fmla="*/ 4762 h 314325"/>
                  <a:gd name="connsiteX10" fmla="*/ 137560 w 1010417"/>
                  <a:gd name="connsiteY10" fmla="*/ 100012 h 314325"/>
                  <a:gd name="connsiteX11" fmla="*/ 147085 w 1010417"/>
                  <a:gd name="connsiteY11" fmla="*/ 152400 h 314325"/>
                  <a:gd name="connsiteX12" fmla="*/ 151848 w 1010417"/>
                  <a:gd name="connsiteY12" fmla="*/ 228600 h 314325"/>
                  <a:gd name="connsiteX13" fmla="*/ 164337 w 1010417"/>
                  <a:gd name="connsiteY13" fmla="*/ 268258 h 314325"/>
                  <a:gd name="connsiteX14" fmla="*/ 192218 w 1010417"/>
                  <a:gd name="connsiteY14" fmla="*/ 255572 h 314325"/>
                  <a:gd name="connsiteX15" fmla="*/ 222529 w 1010417"/>
                  <a:gd name="connsiteY15" fmla="*/ 201561 h 314325"/>
                  <a:gd name="connsiteX16" fmla="*/ 242335 w 1010417"/>
                  <a:gd name="connsiteY16" fmla="*/ 171450 h 314325"/>
                  <a:gd name="connsiteX17" fmla="*/ 261385 w 1010417"/>
                  <a:gd name="connsiteY17" fmla="*/ 142875 h 314325"/>
                  <a:gd name="connsiteX18" fmla="*/ 294723 w 1010417"/>
                  <a:gd name="connsiteY18" fmla="*/ 71437 h 314325"/>
                  <a:gd name="connsiteX19" fmla="*/ 305698 w 1010417"/>
                  <a:gd name="connsiteY19" fmla="*/ 36631 h 314325"/>
                  <a:gd name="connsiteX20" fmla="*/ 312669 w 1010417"/>
                  <a:gd name="connsiteY20" fmla="*/ 88841 h 314325"/>
                  <a:gd name="connsiteX21" fmla="*/ 317779 w 1010417"/>
                  <a:gd name="connsiteY21" fmla="*/ 147637 h 314325"/>
                  <a:gd name="connsiteX22" fmla="*/ 328060 w 1010417"/>
                  <a:gd name="connsiteY22" fmla="*/ 171450 h 314325"/>
                  <a:gd name="connsiteX23" fmla="*/ 339446 w 1010417"/>
                  <a:gd name="connsiteY23" fmla="*/ 261916 h 314325"/>
                  <a:gd name="connsiteX24" fmla="*/ 347110 w 1010417"/>
                  <a:gd name="connsiteY24" fmla="*/ 247650 h 314325"/>
                  <a:gd name="connsiteX25" fmla="*/ 360704 w 1010417"/>
                  <a:gd name="connsiteY25" fmla="*/ 231782 h 314325"/>
                  <a:gd name="connsiteX26" fmla="*/ 385210 w 1010417"/>
                  <a:gd name="connsiteY26" fmla="*/ 180975 h 314325"/>
                  <a:gd name="connsiteX27" fmla="*/ 399498 w 1010417"/>
                  <a:gd name="connsiteY27" fmla="*/ 171450 h 314325"/>
                  <a:gd name="connsiteX28" fmla="*/ 409023 w 1010417"/>
                  <a:gd name="connsiteY28" fmla="*/ 157162 h 314325"/>
                  <a:gd name="connsiteX29" fmla="*/ 418548 w 1010417"/>
                  <a:gd name="connsiteY29" fmla="*/ 180975 h 314325"/>
                  <a:gd name="connsiteX30" fmla="*/ 428073 w 1010417"/>
                  <a:gd name="connsiteY30" fmla="*/ 209550 h 314325"/>
                  <a:gd name="connsiteX31" fmla="*/ 438354 w 1010417"/>
                  <a:gd name="connsiteY31" fmla="*/ 252390 h 314325"/>
                  <a:gd name="connsiteX32" fmla="*/ 466173 w 1010417"/>
                  <a:gd name="connsiteY32" fmla="*/ 233362 h 314325"/>
                  <a:gd name="connsiteX33" fmla="*/ 480460 w 1010417"/>
                  <a:gd name="connsiteY33" fmla="*/ 233362 h 314325"/>
                  <a:gd name="connsiteX34" fmla="*/ 489985 w 1010417"/>
                  <a:gd name="connsiteY34" fmla="*/ 223837 h 314325"/>
                  <a:gd name="connsiteX35" fmla="*/ 532848 w 1010417"/>
                  <a:gd name="connsiteY35" fmla="*/ 138112 h 314325"/>
                  <a:gd name="connsiteX36" fmla="*/ 551898 w 1010417"/>
                  <a:gd name="connsiteY36" fmla="*/ 104775 h 314325"/>
                  <a:gd name="connsiteX37" fmla="*/ 556660 w 1010417"/>
                  <a:gd name="connsiteY37" fmla="*/ 90487 h 314325"/>
                  <a:gd name="connsiteX38" fmla="*/ 570948 w 1010417"/>
                  <a:gd name="connsiteY38" fmla="*/ 80962 h 314325"/>
                  <a:gd name="connsiteX39" fmla="*/ 609742 w 1010417"/>
                  <a:gd name="connsiteY39" fmla="*/ 49227 h 314325"/>
                  <a:gd name="connsiteX40" fmla="*/ 626776 w 1010417"/>
                  <a:gd name="connsiteY40" fmla="*/ 51320 h 314325"/>
                  <a:gd name="connsiteX41" fmla="*/ 638033 w 1010417"/>
                  <a:gd name="connsiteY41" fmla="*/ 295341 h 314325"/>
                  <a:gd name="connsiteX42" fmla="*/ 642385 w 1010417"/>
                  <a:gd name="connsiteY42" fmla="*/ 314325 h 314325"/>
                  <a:gd name="connsiteX43" fmla="*/ 651910 w 1010417"/>
                  <a:gd name="connsiteY43" fmla="*/ 295275 h 314325"/>
                  <a:gd name="connsiteX44" fmla="*/ 665850 w 1010417"/>
                  <a:gd name="connsiteY44" fmla="*/ 257152 h 314325"/>
                  <a:gd name="connsiteX45" fmla="*/ 697675 w 1010417"/>
                  <a:gd name="connsiteY45" fmla="*/ 168290 h 314325"/>
                  <a:gd name="connsiteX46" fmla="*/ 713823 w 1010417"/>
                  <a:gd name="connsiteY46" fmla="*/ 133350 h 314325"/>
                  <a:gd name="connsiteX47" fmla="*/ 718585 w 1010417"/>
                  <a:gd name="connsiteY47" fmla="*/ 166687 h 314325"/>
                  <a:gd name="connsiteX48" fmla="*/ 723348 w 1010417"/>
                  <a:gd name="connsiteY48" fmla="*/ 180975 h 314325"/>
                  <a:gd name="connsiteX49" fmla="*/ 739496 w 1010417"/>
                  <a:gd name="connsiteY49" fmla="*/ 155604 h 314325"/>
                  <a:gd name="connsiteX50" fmla="*/ 765516 w 1010417"/>
                  <a:gd name="connsiteY50" fmla="*/ 131770 h 314325"/>
                  <a:gd name="connsiteX51" fmla="*/ 785260 w 1010417"/>
                  <a:gd name="connsiteY51" fmla="*/ 85725 h 314325"/>
                  <a:gd name="connsiteX52" fmla="*/ 794785 w 1010417"/>
                  <a:gd name="connsiteY52" fmla="*/ 114300 h 314325"/>
                  <a:gd name="connsiteX53" fmla="*/ 809073 w 1010417"/>
                  <a:gd name="connsiteY53" fmla="*/ 185737 h 314325"/>
                  <a:gd name="connsiteX54" fmla="*/ 829983 w 1010417"/>
                  <a:gd name="connsiteY54" fmla="*/ 180975 h 314325"/>
                  <a:gd name="connsiteX55" fmla="*/ 847173 w 1010417"/>
                  <a:gd name="connsiteY55" fmla="*/ 138112 h 314325"/>
                  <a:gd name="connsiteX56" fmla="*/ 870985 w 1010417"/>
                  <a:gd name="connsiteY56" fmla="*/ 76200 h 314325"/>
                  <a:gd name="connsiteX57" fmla="*/ 875748 w 1010417"/>
                  <a:gd name="connsiteY57" fmla="*/ 52387 h 314325"/>
                  <a:gd name="connsiteX58" fmla="*/ 890035 w 1010417"/>
                  <a:gd name="connsiteY58" fmla="*/ 38100 h 314325"/>
                  <a:gd name="connsiteX59" fmla="*/ 894798 w 1010417"/>
                  <a:gd name="connsiteY59" fmla="*/ 14287 h 314325"/>
                  <a:gd name="connsiteX60" fmla="*/ 899560 w 1010417"/>
                  <a:gd name="connsiteY60" fmla="*/ 0 h 314325"/>
                  <a:gd name="connsiteX61" fmla="*/ 904323 w 1010417"/>
                  <a:gd name="connsiteY61" fmla="*/ 14287 h 314325"/>
                  <a:gd name="connsiteX62" fmla="*/ 909085 w 1010417"/>
                  <a:gd name="connsiteY62" fmla="*/ 71437 h 314325"/>
                  <a:gd name="connsiteX63" fmla="*/ 918610 w 1010417"/>
                  <a:gd name="connsiteY63" fmla="*/ 100012 h 314325"/>
                  <a:gd name="connsiteX64" fmla="*/ 942423 w 1010417"/>
                  <a:gd name="connsiteY64" fmla="*/ 161925 h 314325"/>
                  <a:gd name="connsiteX65" fmla="*/ 947185 w 1010417"/>
                  <a:gd name="connsiteY65" fmla="*/ 180975 h 314325"/>
                  <a:gd name="connsiteX66" fmla="*/ 951948 w 1010417"/>
                  <a:gd name="connsiteY66" fmla="*/ 214312 h 314325"/>
                  <a:gd name="connsiteX67" fmla="*/ 970998 w 1010417"/>
                  <a:gd name="connsiteY67" fmla="*/ 242887 h 314325"/>
                  <a:gd name="connsiteX68" fmla="*/ 987957 w 1010417"/>
                  <a:gd name="connsiteY68" fmla="*/ 250306 h 314325"/>
                  <a:gd name="connsiteX69" fmla="*/ 1010417 w 1010417"/>
                  <a:gd name="connsiteY69" fmla="*/ 262624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0121 w 1011486"/>
                  <a:gd name="connsiteY68" fmla="*/ 263299 h 314325"/>
                  <a:gd name="connsiteX69" fmla="*/ 1011486 w 1011486"/>
                  <a:gd name="connsiteY69" fmla="*/ 265059 h 314325"/>
                  <a:gd name="connsiteX0" fmla="*/ 0 w 1016295"/>
                  <a:gd name="connsiteY0" fmla="*/ 262750 h 314325"/>
                  <a:gd name="connsiteX1" fmla="*/ 10014 w 1016295"/>
                  <a:gd name="connsiteY1" fmla="*/ 273436 h 314325"/>
                  <a:gd name="connsiteX2" fmla="*/ 28023 w 1016295"/>
                  <a:gd name="connsiteY2" fmla="*/ 228600 h 314325"/>
                  <a:gd name="connsiteX3" fmla="*/ 56598 w 1016295"/>
                  <a:gd name="connsiteY3" fmla="*/ 180975 h 314325"/>
                  <a:gd name="connsiteX4" fmla="*/ 66123 w 1016295"/>
                  <a:gd name="connsiteY4" fmla="*/ 166687 h 314325"/>
                  <a:gd name="connsiteX5" fmla="*/ 85173 w 1016295"/>
                  <a:gd name="connsiteY5" fmla="*/ 114300 h 314325"/>
                  <a:gd name="connsiteX6" fmla="*/ 94698 w 1016295"/>
                  <a:gd name="connsiteY6" fmla="*/ 100012 h 314325"/>
                  <a:gd name="connsiteX7" fmla="*/ 113748 w 1016295"/>
                  <a:gd name="connsiteY7" fmla="*/ 57150 h 314325"/>
                  <a:gd name="connsiteX8" fmla="*/ 118510 w 1016295"/>
                  <a:gd name="connsiteY8" fmla="*/ 42862 h 314325"/>
                  <a:gd name="connsiteX9" fmla="*/ 128035 w 1016295"/>
                  <a:gd name="connsiteY9" fmla="*/ 4762 h 314325"/>
                  <a:gd name="connsiteX10" fmla="*/ 137560 w 1016295"/>
                  <a:gd name="connsiteY10" fmla="*/ 100012 h 314325"/>
                  <a:gd name="connsiteX11" fmla="*/ 147085 w 1016295"/>
                  <a:gd name="connsiteY11" fmla="*/ 152400 h 314325"/>
                  <a:gd name="connsiteX12" fmla="*/ 151848 w 1016295"/>
                  <a:gd name="connsiteY12" fmla="*/ 228600 h 314325"/>
                  <a:gd name="connsiteX13" fmla="*/ 164337 w 1016295"/>
                  <a:gd name="connsiteY13" fmla="*/ 268258 h 314325"/>
                  <a:gd name="connsiteX14" fmla="*/ 192218 w 1016295"/>
                  <a:gd name="connsiteY14" fmla="*/ 255572 h 314325"/>
                  <a:gd name="connsiteX15" fmla="*/ 222529 w 1016295"/>
                  <a:gd name="connsiteY15" fmla="*/ 201561 h 314325"/>
                  <a:gd name="connsiteX16" fmla="*/ 242335 w 1016295"/>
                  <a:gd name="connsiteY16" fmla="*/ 171450 h 314325"/>
                  <a:gd name="connsiteX17" fmla="*/ 261385 w 1016295"/>
                  <a:gd name="connsiteY17" fmla="*/ 142875 h 314325"/>
                  <a:gd name="connsiteX18" fmla="*/ 294723 w 1016295"/>
                  <a:gd name="connsiteY18" fmla="*/ 71437 h 314325"/>
                  <a:gd name="connsiteX19" fmla="*/ 305698 w 1016295"/>
                  <a:gd name="connsiteY19" fmla="*/ 36631 h 314325"/>
                  <a:gd name="connsiteX20" fmla="*/ 312669 w 1016295"/>
                  <a:gd name="connsiteY20" fmla="*/ 88841 h 314325"/>
                  <a:gd name="connsiteX21" fmla="*/ 317779 w 1016295"/>
                  <a:gd name="connsiteY21" fmla="*/ 147637 h 314325"/>
                  <a:gd name="connsiteX22" fmla="*/ 328060 w 1016295"/>
                  <a:gd name="connsiteY22" fmla="*/ 171450 h 314325"/>
                  <a:gd name="connsiteX23" fmla="*/ 339446 w 1016295"/>
                  <a:gd name="connsiteY23" fmla="*/ 261916 h 314325"/>
                  <a:gd name="connsiteX24" fmla="*/ 347110 w 1016295"/>
                  <a:gd name="connsiteY24" fmla="*/ 247650 h 314325"/>
                  <a:gd name="connsiteX25" fmla="*/ 360704 w 1016295"/>
                  <a:gd name="connsiteY25" fmla="*/ 231782 h 314325"/>
                  <a:gd name="connsiteX26" fmla="*/ 385210 w 1016295"/>
                  <a:gd name="connsiteY26" fmla="*/ 180975 h 314325"/>
                  <a:gd name="connsiteX27" fmla="*/ 399498 w 1016295"/>
                  <a:gd name="connsiteY27" fmla="*/ 171450 h 314325"/>
                  <a:gd name="connsiteX28" fmla="*/ 409023 w 1016295"/>
                  <a:gd name="connsiteY28" fmla="*/ 157162 h 314325"/>
                  <a:gd name="connsiteX29" fmla="*/ 418548 w 1016295"/>
                  <a:gd name="connsiteY29" fmla="*/ 180975 h 314325"/>
                  <a:gd name="connsiteX30" fmla="*/ 428073 w 1016295"/>
                  <a:gd name="connsiteY30" fmla="*/ 209550 h 314325"/>
                  <a:gd name="connsiteX31" fmla="*/ 438354 w 1016295"/>
                  <a:gd name="connsiteY31" fmla="*/ 252390 h 314325"/>
                  <a:gd name="connsiteX32" fmla="*/ 466173 w 1016295"/>
                  <a:gd name="connsiteY32" fmla="*/ 233362 h 314325"/>
                  <a:gd name="connsiteX33" fmla="*/ 480460 w 1016295"/>
                  <a:gd name="connsiteY33" fmla="*/ 233362 h 314325"/>
                  <a:gd name="connsiteX34" fmla="*/ 489985 w 1016295"/>
                  <a:gd name="connsiteY34" fmla="*/ 223837 h 314325"/>
                  <a:gd name="connsiteX35" fmla="*/ 532848 w 1016295"/>
                  <a:gd name="connsiteY35" fmla="*/ 138112 h 314325"/>
                  <a:gd name="connsiteX36" fmla="*/ 551898 w 1016295"/>
                  <a:gd name="connsiteY36" fmla="*/ 104775 h 314325"/>
                  <a:gd name="connsiteX37" fmla="*/ 556660 w 1016295"/>
                  <a:gd name="connsiteY37" fmla="*/ 90487 h 314325"/>
                  <a:gd name="connsiteX38" fmla="*/ 570948 w 1016295"/>
                  <a:gd name="connsiteY38" fmla="*/ 80962 h 314325"/>
                  <a:gd name="connsiteX39" fmla="*/ 609742 w 1016295"/>
                  <a:gd name="connsiteY39" fmla="*/ 49227 h 314325"/>
                  <a:gd name="connsiteX40" fmla="*/ 626776 w 1016295"/>
                  <a:gd name="connsiteY40" fmla="*/ 51320 h 314325"/>
                  <a:gd name="connsiteX41" fmla="*/ 638033 w 1016295"/>
                  <a:gd name="connsiteY41" fmla="*/ 295341 h 314325"/>
                  <a:gd name="connsiteX42" fmla="*/ 642385 w 1016295"/>
                  <a:gd name="connsiteY42" fmla="*/ 314325 h 314325"/>
                  <a:gd name="connsiteX43" fmla="*/ 651910 w 1016295"/>
                  <a:gd name="connsiteY43" fmla="*/ 295275 h 314325"/>
                  <a:gd name="connsiteX44" fmla="*/ 665850 w 1016295"/>
                  <a:gd name="connsiteY44" fmla="*/ 257152 h 314325"/>
                  <a:gd name="connsiteX45" fmla="*/ 697675 w 1016295"/>
                  <a:gd name="connsiteY45" fmla="*/ 168290 h 314325"/>
                  <a:gd name="connsiteX46" fmla="*/ 713823 w 1016295"/>
                  <a:gd name="connsiteY46" fmla="*/ 133350 h 314325"/>
                  <a:gd name="connsiteX47" fmla="*/ 718585 w 1016295"/>
                  <a:gd name="connsiteY47" fmla="*/ 166687 h 314325"/>
                  <a:gd name="connsiteX48" fmla="*/ 723348 w 1016295"/>
                  <a:gd name="connsiteY48" fmla="*/ 180975 h 314325"/>
                  <a:gd name="connsiteX49" fmla="*/ 739496 w 1016295"/>
                  <a:gd name="connsiteY49" fmla="*/ 155604 h 314325"/>
                  <a:gd name="connsiteX50" fmla="*/ 765516 w 1016295"/>
                  <a:gd name="connsiteY50" fmla="*/ 131770 h 314325"/>
                  <a:gd name="connsiteX51" fmla="*/ 785260 w 1016295"/>
                  <a:gd name="connsiteY51" fmla="*/ 85725 h 314325"/>
                  <a:gd name="connsiteX52" fmla="*/ 794785 w 1016295"/>
                  <a:gd name="connsiteY52" fmla="*/ 114300 h 314325"/>
                  <a:gd name="connsiteX53" fmla="*/ 809073 w 1016295"/>
                  <a:gd name="connsiteY53" fmla="*/ 185737 h 314325"/>
                  <a:gd name="connsiteX54" fmla="*/ 829983 w 1016295"/>
                  <a:gd name="connsiteY54" fmla="*/ 180975 h 314325"/>
                  <a:gd name="connsiteX55" fmla="*/ 847173 w 1016295"/>
                  <a:gd name="connsiteY55" fmla="*/ 138112 h 314325"/>
                  <a:gd name="connsiteX56" fmla="*/ 870985 w 1016295"/>
                  <a:gd name="connsiteY56" fmla="*/ 76200 h 314325"/>
                  <a:gd name="connsiteX57" fmla="*/ 875748 w 1016295"/>
                  <a:gd name="connsiteY57" fmla="*/ 52387 h 314325"/>
                  <a:gd name="connsiteX58" fmla="*/ 890035 w 1016295"/>
                  <a:gd name="connsiteY58" fmla="*/ 38100 h 314325"/>
                  <a:gd name="connsiteX59" fmla="*/ 894798 w 1016295"/>
                  <a:gd name="connsiteY59" fmla="*/ 14287 h 314325"/>
                  <a:gd name="connsiteX60" fmla="*/ 899560 w 1016295"/>
                  <a:gd name="connsiteY60" fmla="*/ 0 h 314325"/>
                  <a:gd name="connsiteX61" fmla="*/ 904323 w 1016295"/>
                  <a:gd name="connsiteY61" fmla="*/ 14287 h 314325"/>
                  <a:gd name="connsiteX62" fmla="*/ 909085 w 1016295"/>
                  <a:gd name="connsiteY62" fmla="*/ 71437 h 314325"/>
                  <a:gd name="connsiteX63" fmla="*/ 918610 w 1016295"/>
                  <a:gd name="connsiteY63" fmla="*/ 100012 h 314325"/>
                  <a:gd name="connsiteX64" fmla="*/ 942423 w 1016295"/>
                  <a:gd name="connsiteY64" fmla="*/ 161925 h 314325"/>
                  <a:gd name="connsiteX65" fmla="*/ 947185 w 1016295"/>
                  <a:gd name="connsiteY65" fmla="*/ 180975 h 314325"/>
                  <a:gd name="connsiteX66" fmla="*/ 951948 w 1016295"/>
                  <a:gd name="connsiteY66" fmla="*/ 214312 h 314325"/>
                  <a:gd name="connsiteX67" fmla="*/ 970998 w 1016295"/>
                  <a:gd name="connsiteY67" fmla="*/ 242887 h 314325"/>
                  <a:gd name="connsiteX68" fmla="*/ 980121 w 1016295"/>
                  <a:gd name="connsiteY68" fmla="*/ 263299 h 314325"/>
                  <a:gd name="connsiteX69" fmla="*/ 1016295 w 1016295"/>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2218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221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273 w 1028050"/>
                  <a:gd name="connsiteY68" fmla="*/ 263299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1342 w 1028050"/>
                  <a:gd name="connsiteY68" fmla="*/ 270608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808 w 1028050"/>
                  <a:gd name="connsiteY68" fmla="*/ 268171 h 314325"/>
                  <a:gd name="connsiteX69" fmla="*/ 1028050 w 1028050"/>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85790 w 1023241"/>
                  <a:gd name="connsiteY68" fmla="*/ 263450 h 314325"/>
                  <a:gd name="connsiteX69" fmla="*/ 990808 w 1023241"/>
                  <a:gd name="connsiteY69" fmla="*/ 268171 h 314325"/>
                  <a:gd name="connsiteX70" fmla="*/ 1023241 w 1023241"/>
                  <a:gd name="connsiteY70"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1342 w 1023241"/>
                  <a:gd name="connsiteY68" fmla="*/ 265734 h 314325"/>
                  <a:gd name="connsiteX69" fmla="*/ 1023241 w 1023241"/>
                  <a:gd name="connsiteY69" fmla="*/ 263841 h 314325"/>
                  <a:gd name="connsiteX0" fmla="*/ 0 w 1020035"/>
                  <a:gd name="connsiteY0" fmla="*/ 281023 h 314325"/>
                  <a:gd name="connsiteX1" fmla="*/ 31921 w 1020035"/>
                  <a:gd name="connsiteY1" fmla="*/ 274654 h 314325"/>
                  <a:gd name="connsiteX2" fmla="*/ 49395 w 1020035"/>
                  <a:gd name="connsiteY2" fmla="*/ 228600 h 314325"/>
                  <a:gd name="connsiteX3" fmla="*/ 66750 w 1020035"/>
                  <a:gd name="connsiteY3" fmla="*/ 180975 h 314325"/>
                  <a:gd name="connsiteX4" fmla="*/ 76275 w 1020035"/>
                  <a:gd name="connsiteY4" fmla="*/ 166687 h 314325"/>
                  <a:gd name="connsiteX5" fmla="*/ 95325 w 1020035"/>
                  <a:gd name="connsiteY5" fmla="*/ 114300 h 314325"/>
                  <a:gd name="connsiteX6" fmla="*/ 104850 w 1020035"/>
                  <a:gd name="connsiteY6" fmla="*/ 100012 h 314325"/>
                  <a:gd name="connsiteX7" fmla="*/ 123900 w 1020035"/>
                  <a:gd name="connsiteY7" fmla="*/ 57150 h 314325"/>
                  <a:gd name="connsiteX8" fmla="*/ 128662 w 1020035"/>
                  <a:gd name="connsiteY8" fmla="*/ 42862 h 314325"/>
                  <a:gd name="connsiteX9" fmla="*/ 138187 w 1020035"/>
                  <a:gd name="connsiteY9" fmla="*/ 4762 h 314325"/>
                  <a:gd name="connsiteX10" fmla="*/ 147712 w 1020035"/>
                  <a:gd name="connsiteY10" fmla="*/ 100012 h 314325"/>
                  <a:gd name="connsiteX11" fmla="*/ 157237 w 1020035"/>
                  <a:gd name="connsiteY11" fmla="*/ 152400 h 314325"/>
                  <a:gd name="connsiteX12" fmla="*/ 162000 w 1020035"/>
                  <a:gd name="connsiteY12" fmla="*/ 228600 h 314325"/>
                  <a:gd name="connsiteX13" fmla="*/ 174489 w 1020035"/>
                  <a:gd name="connsiteY13" fmla="*/ 268258 h 314325"/>
                  <a:gd name="connsiteX14" fmla="*/ 202370 w 1020035"/>
                  <a:gd name="connsiteY14" fmla="*/ 255572 h 314325"/>
                  <a:gd name="connsiteX15" fmla="*/ 232681 w 1020035"/>
                  <a:gd name="connsiteY15" fmla="*/ 201561 h 314325"/>
                  <a:gd name="connsiteX16" fmla="*/ 252487 w 1020035"/>
                  <a:gd name="connsiteY16" fmla="*/ 171450 h 314325"/>
                  <a:gd name="connsiteX17" fmla="*/ 271537 w 1020035"/>
                  <a:gd name="connsiteY17" fmla="*/ 142875 h 314325"/>
                  <a:gd name="connsiteX18" fmla="*/ 304875 w 1020035"/>
                  <a:gd name="connsiteY18" fmla="*/ 71437 h 314325"/>
                  <a:gd name="connsiteX19" fmla="*/ 315850 w 1020035"/>
                  <a:gd name="connsiteY19" fmla="*/ 36631 h 314325"/>
                  <a:gd name="connsiteX20" fmla="*/ 322821 w 1020035"/>
                  <a:gd name="connsiteY20" fmla="*/ 88841 h 314325"/>
                  <a:gd name="connsiteX21" fmla="*/ 327931 w 1020035"/>
                  <a:gd name="connsiteY21" fmla="*/ 147637 h 314325"/>
                  <a:gd name="connsiteX22" fmla="*/ 338212 w 1020035"/>
                  <a:gd name="connsiteY22" fmla="*/ 171450 h 314325"/>
                  <a:gd name="connsiteX23" fmla="*/ 349598 w 1020035"/>
                  <a:gd name="connsiteY23" fmla="*/ 261916 h 314325"/>
                  <a:gd name="connsiteX24" fmla="*/ 357262 w 1020035"/>
                  <a:gd name="connsiteY24" fmla="*/ 247650 h 314325"/>
                  <a:gd name="connsiteX25" fmla="*/ 370856 w 1020035"/>
                  <a:gd name="connsiteY25" fmla="*/ 231782 h 314325"/>
                  <a:gd name="connsiteX26" fmla="*/ 395362 w 1020035"/>
                  <a:gd name="connsiteY26" fmla="*/ 180975 h 314325"/>
                  <a:gd name="connsiteX27" fmla="*/ 409650 w 1020035"/>
                  <a:gd name="connsiteY27" fmla="*/ 171450 h 314325"/>
                  <a:gd name="connsiteX28" fmla="*/ 419175 w 1020035"/>
                  <a:gd name="connsiteY28" fmla="*/ 157162 h 314325"/>
                  <a:gd name="connsiteX29" fmla="*/ 428700 w 1020035"/>
                  <a:gd name="connsiteY29" fmla="*/ 180975 h 314325"/>
                  <a:gd name="connsiteX30" fmla="*/ 438225 w 1020035"/>
                  <a:gd name="connsiteY30" fmla="*/ 209550 h 314325"/>
                  <a:gd name="connsiteX31" fmla="*/ 448506 w 1020035"/>
                  <a:gd name="connsiteY31" fmla="*/ 252390 h 314325"/>
                  <a:gd name="connsiteX32" fmla="*/ 476325 w 1020035"/>
                  <a:gd name="connsiteY32" fmla="*/ 233362 h 314325"/>
                  <a:gd name="connsiteX33" fmla="*/ 490612 w 1020035"/>
                  <a:gd name="connsiteY33" fmla="*/ 233362 h 314325"/>
                  <a:gd name="connsiteX34" fmla="*/ 500137 w 1020035"/>
                  <a:gd name="connsiteY34" fmla="*/ 223837 h 314325"/>
                  <a:gd name="connsiteX35" fmla="*/ 543000 w 1020035"/>
                  <a:gd name="connsiteY35" fmla="*/ 138112 h 314325"/>
                  <a:gd name="connsiteX36" fmla="*/ 562050 w 1020035"/>
                  <a:gd name="connsiteY36" fmla="*/ 104775 h 314325"/>
                  <a:gd name="connsiteX37" fmla="*/ 566812 w 1020035"/>
                  <a:gd name="connsiteY37" fmla="*/ 90487 h 314325"/>
                  <a:gd name="connsiteX38" fmla="*/ 581100 w 1020035"/>
                  <a:gd name="connsiteY38" fmla="*/ 80962 h 314325"/>
                  <a:gd name="connsiteX39" fmla="*/ 619894 w 1020035"/>
                  <a:gd name="connsiteY39" fmla="*/ 49227 h 314325"/>
                  <a:gd name="connsiteX40" fmla="*/ 636928 w 1020035"/>
                  <a:gd name="connsiteY40" fmla="*/ 51320 h 314325"/>
                  <a:gd name="connsiteX41" fmla="*/ 648185 w 1020035"/>
                  <a:gd name="connsiteY41" fmla="*/ 295341 h 314325"/>
                  <a:gd name="connsiteX42" fmla="*/ 652537 w 1020035"/>
                  <a:gd name="connsiteY42" fmla="*/ 314325 h 314325"/>
                  <a:gd name="connsiteX43" fmla="*/ 662062 w 1020035"/>
                  <a:gd name="connsiteY43" fmla="*/ 295275 h 314325"/>
                  <a:gd name="connsiteX44" fmla="*/ 676002 w 1020035"/>
                  <a:gd name="connsiteY44" fmla="*/ 257152 h 314325"/>
                  <a:gd name="connsiteX45" fmla="*/ 707827 w 1020035"/>
                  <a:gd name="connsiteY45" fmla="*/ 168290 h 314325"/>
                  <a:gd name="connsiteX46" fmla="*/ 723975 w 1020035"/>
                  <a:gd name="connsiteY46" fmla="*/ 133350 h 314325"/>
                  <a:gd name="connsiteX47" fmla="*/ 728737 w 1020035"/>
                  <a:gd name="connsiteY47" fmla="*/ 166687 h 314325"/>
                  <a:gd name="connsiteX48" fmla="*/ 733500 w 1020035"/>
                  <a:gd name="connsiteY48" fmla="*/ 180975 h 314325"/>
                  <a:gd name="connsiteX49" fmla="*/ 749648 w 1020035"/>
                  <a:gd name="connsiteY49" fmla="*/ 155604 h 314325"/>
                  <a:gd name="connsiteX50" fmla="*/ 775668 w 1020035"/>
                  <a:gd name="connsiteY50" fmla="*/ 131770 h 314325"/>
                  <a:gd name="connsiteX51" fmla="*/ 795412 w 1020035"/>
                  <a:gd name="connsiteY51" fmla="*/ 85725 h 314325"/>
                  <a:gd name="connsiteX52" fmla="*/ 804937 w 1020035"/>
                  <a:gd name="connsiteY52" fmla="*/ 114300 h 314325"/>
                  <a:gd name="connsiteX53" fmla="*/ 819225 w 1020035"/>
                  <a:gd name="connsiteY53" fmla="*/ 185737 h 314325"/>
                  <a:gd name="connsiteX54" fmla="*/ 840135 w 1020035"/>
                  <a:gd name="connsiteY54" fmla="*/ 180975 h 314325"/>
                  <a:gd name="connsiteX55" fmla="*/ 857325 w 1020035"/>
                  <a:gd name="connsiteY55" fmla="*/ 138112 h 314325"/>
                  <a:gd name="connsiteX56" fmla="*/ 881137 w 1020035"/>
                  <a:gd name="connsiteY56" fmla="*/ 76200 h 314325"/>
                  <a:gd name="connsiteX57" fmla="*/ 885900 w 1020035"/>
                  <a:gd name="connsiteY57" fmla="*/ 52387 h 314325"/>
                  <a:gd name="connsiteX58" fmla="*/ 900187 w 1020035"/>
                  <a:gd name="connsiteY58" fmla="*/ 38100 h 314325"/>
                  <a:gd name="connsiteX59" fmla="*/ 904950 w 1020035"/>
                  <a:gd name="connsiteY59" fmla="*/ 14287 h 314325"/>
                  <a:gd name="connsiteX60" fmla="*/ 909712 w 1020035"/>
                  <a:gd name="connsiteY60" fmla="*/ 0 h 314325"/>
                  <a:gd name="connsiteX61" fmla="*/ 914475 w 1020035"/>
                  <a:gd name="connsiteY61" fmla="*/ 14287 h 314325"/>
                  <a:gd name="connsiteX62" fmla="*/ 919237 w 1020035"/>
                  <a:gd name="connsiteY62" fmla="*/ 71437 h 314325"/>
                  <a:gd name="connsiteX63" fmla="*/ 928762 w 1020035"/>
                  <a:gd name="connsiteY63" fmla="*/ 100012 h 314325"/>
                  <a:gd name="connsiteX64" fmla="*/ 952575 w 1020035"/>
                  <a:gd name="connsiteY64" fmla="*/ 161925 h 314325"/>
                  <a:gd name="connsiteX65" fmla="*/ 957337 w 1020035"/>
                  <a:gd name="connsiteY65" fmla="*/ 180975 h 314325"/>
                  <a:gd name="connsiteX66" fmla="*/ 962100 w 1020035"/>
                  <a:gd name="connsiteY66" fmla="*/ 214312 h 314325"/>
                  <a:gd name="connsiteX67" fmla="*/ 981150 w 1020035"/>
                  <a:gd name="connsiteY67" fmla="*/ 242887 h 314325"/>
                  <a:gd name="connsiteX68" fmla="*/ 991342 w 1020035"/>
                  <a:gd name="connsiteY68" fmla="*/ 265734 h 314325"/>
                  <a:gd name="connsiteX69" fmla="*/ 1020035 w 1020035"/>
                  <a:gd name="connsiteY69" fmla="*/ 263841 h 314325"/>
                  <a:gd name="connsiteX0" fmla="*/ 0 w 1025378"/>
                  <a:gd name="connsiteY0" fmla="*/ 281023 h 314325"/>
                  <a:gd name="connsiteX1" fmla="*/ 31921 w 1025378"/>
                  <a:gd name="connsiteY1" fmla="*/ 274654 h 314325"/>
                  <a:gd name="connsiteX2" fmla="*/ 49395 w 1025378"/>
                  <a:gd name="connsiteY2" fmla="*/ 228600 h 314325"/>
                  <a:gd name="connsiteX3" fmla="*/ 66750 w 1025378"/>
                  <a:gd name="connsiteY3" fmla="*/ 180975 h 314325"/>
                  <a:gd name="connsiteX4" fmla="*/ 76275 w 1025378"/>
                  <a:gd name="connsiteY4" fmla="*/ 166687 h 314325"/>
                  <a:gd name="connsiteX5" fmla="*/ 95325 w 1025378"/>
                  <a:gd name="connsiteY5" fmla="*/ 114300 h 314325"/>
                  <a:gd name="connsiteX6" fmla="*/ 104850 w 1025378"/>
                  <a:gd name="connsiteY6" fmla="*/ 100012 h 314325"/>
                  <a:gd name="connsiteX7" fmla="*/ 123900 w 1025378"/>
                  <a:gd name="connsiteY7" fmla="*/ 57150 h 314325"/>
                  <a:gd name="connsiteX8" fmla="*/ 128662 w 1025378"/>
                  <a:gd name="connsiteY8" fmla="*/ 42862 h 314325"/>
                  <a:gd name="connsiteX9" fmla="*/ 138187 w 1025378"/>
                  <a:gd name="connsiteY9" fmla="*/ 4762 h 314325"/>
                  <a:gd name="connsiteX10" fmla="*/ 147712 w 1025378"/>
                  <a:gd name="connsiteY10" fmla="*/ 100012 h 314325"/>
                  <a:gd name="connsiteX11" fmla="*/ 157237 w 1025378"/>
                  <a:gd name="connsiteY11" fmla="*/ 152400 h 314325"/>
                  <a:gd name="connsiteX12" fmla="*/ 162000 w 1025378"/>
                  <a:gd name="connsiteY12" fmla="*/ 228600 h 314325"/>
                  <a:gd name="connsiteX13" fmla="*/ 174489 w 1025378"/>
                  <a:gd name="connsiteY13" fmla="*/ 268258 h 314325"/>
                  <a:gd name="connsiteX14" fmla="*/ 202370 w 1025378"/>
                  <a:gd name="connsiteY14" fmla="*/ 255572 h 314325"/>
                  <a:gd name="connsiteX15" fmla="*/ 232681 w 1025378"/>
                  <a:gd name="connsiteY15" fmla="*/ 201561 h 314325"/>
                  <a:gd name="connsiteX16" fmla="*/ 252487 w 1025378"/>
                  <a:gd name="connsiteY16" fmla="*/ 171450 h 314325"/>
                  <a:gd name="connsiteX17" fmla="*/ 271537 w 1025378"/>
                  <a:gd name="connsiteY17" fmla="*/ 142875 h 314325"/>
                  <a:gd name="connsiteX18" fmla="*/ 304875 w 1025378"/>
                  <a:gd name="connsiteY18" fmla="*/ 71437 h 314325"/>
                  <a:gd name="connsiteX19" fmla="*/ 315850 w 1025378"/>
                  <a:gd name="connsiteY19" fmla="*/ 36631 h 314325"/>
                  <a:gd name="connsiteX20" fmla="*/ 322821 w 1025378"/>
                  <a:gd name="connsiteY20" fmla="*/ 88841 h 314325"/>
                  <a:gd name="connsiteX21" fmla="*/ 327931 w 1025378"/>
                  <a:gd name="connsiteY21" fmla="*/ 147637 h 314325"/>
                  <a:gd name="connsiteX22" fmla="*/ 338212 w 1025378"/>
                  <a:gd name="connsiteY22" fmla="*/ 171450 h 314325"/>
                  <a:gd name="connsiteX23" fmla="*/ 349598 w 1025378"/>
                  <a:gd name="connsiteY23" fmla="*/ 261916 h 314325"/>
                  <a:gd name="connsiteX24" fmla="*/ 357262 w 1025378"/>
                  <a:gd name="connsiteY24" fmla="*/ 247650 h 314325"/>
                  <a:gd name="connsiteX25" fmla="*/ 370856 w 1025378"/>
                  <a:gd name="connsiteY25" fmla="*/ 231782 h 314325"/>
                  <a:gd name="connsiteX26" fmla="*/ 395362 w 1025378"/>
                  <a:gd name="connsiteY26" fmla="*/ 180975 h 314325"/>
                  <a:gd name="connsiteX27" fmla="*/ 409650 w 1025378"/>
                  <a:gd name="connsiteY27" fmla="*/ 171450 h 314325"/>
                  <a:gd name="connsiteX28" fmla="*/ 419175 w 1025378"/>
                  <a:gd name="connsiteY28" fmla="*/ 157162 h 314325"/>
                  <a:gd name="connsiteX29" fmla="*/ 428700 w 1025378"/>
                  <a:gd name="connsiteY29" fmla="*/ 180975 h 314325"/>
                  <a:gd name="connsiteX30" fmla="*/ 438225 w 1025378"/>
                  <a:gd name="connsiteY30" fmla="*/ 209550 h 314325"/>
                  <a:gd name="connsiteX31" fmla="*/ 448506 w 1025378"/>
                  <a:gd name="connsiteY31" fmla="*/ 252390 h 314325"/>
                  <a:gd name="connsiteX32" fmla="*/ 476325 w 1025378"/>
                  <a:gd name="connsiteY32" fmla="*/ 233362 h 314325"/>
                  <a:gd name="connsiteX33" fmla="*/ 490612 w 1025378"/>
                  <a:gd name="connsiteY33" fmla="*/ 233362 h 314325"/>
                  <a:gd name="connsiteX34" fmla="*/ 500137 w 1025378"/>
                  <a:gd name="connsiteY34" fmla="*/ 223837 h 314325"/>
                  <a:gd name="connsiteX35" fmla="*/ 543000 w 1025378"/>
                  <a:gd name="connsiteY35" fmla="*/ 138112 h 314325"/>
                  <a:gd name="connsiteX36" fmla="*/ 562050 w 1025378"/>
                  <a:gd name="connsiteY36" fmla="*/ 104775 h 314325"/>
                  <a:gd name="connsiteX37" fmla="*/ 566812 w 1025378"/>
                  <a:gd name="connsiteY37" fmla="*/ 90487 h 314325"/>
                  <a:gd name="connsiteX38" fmla="*/ 581100 w 1025378"/>
                  <a:gd name="connsiteY38" fmla="*/ 80962 h 314325"/>
                  <a:gd name="connsiteX39" fmla="*/ 619894 w 1025378"/>
                  <a:gd name="connsiteY39" fmla="*/ 49227 h 314325"/>
                  <a:gd name="connsiteX40" fmla="*/ 636928 w 1025378"/>
                  <a:gd name="connsiteY40" fmla="*/ 51320 h 314325"/>
                  <a:gd name="connsiteX41" fmla="*/ 648185 w 1025378"/>
                  <a:gd name="connsiteY41" fmla="*/ 295341 h 314325"/>
                  <a:gd name="connsiteX42" fmla="*/ 652537 w 1025378"/>
                  <a:gd name="connsiteY42" fmla="*/ 314325 h 314325"/>
                  <a:gd name="connsiteX43" fmla="*/ 662062 w 1025378"/>
                  <a:gd name="connsiteY43" fmla="*/ 295275 h 314325"/>
                  <a:gd name="connsiteX44" fmla="*/ 676002 w 1025378"/>
                  <a:gd name="connsiteY44" fmla="*/ 257152 h 314325"/>
                  <a:gd name="connsiteX45" fmla="*/ 707827 w 1025378"/>
                  <a:gd name="connsiteY45" fmla="*/ 168290 h 314325"/>
                  <a:gd name="connsiteX46" fmla="*/ 723975 w 1025378"/>
                  <a:gd name="connsiteY46" fmla="*/ 133350 h 314325"/>
                  <a:gd name="connsiteX47" fmla="*/ 728737 w 1025378"/>
                  <a:gd name="connsiteY47" fmla="*/ 166687 h 314325"/>
                  <a:gd name="connsiteX48" fmla="*/ 733500 w 1025378"/>
                  <a:gd name="connsiteY48" fmla="*/ 180975 h 314325"/>
                  <a:gd name="connsiteX49" fmla="*/ 749648 w 1025378"/>
                  <a:gd name="connsiteY49" fmla="*/ 155604 h 314325"/>
                  <a:gd name="connsiteX50" fmla="*/ 775668 w 1025378"/>
                  <a:gd name="connsiteY50" fmla="*/ 131770 h 314325"/>
                  <a:gd name="connsiteX51" fmla="*/ 795412 w 1025378"/>
                  <a:gd name="connsiteY51" fmla="*/ 85725 h 314325"/>
                  <a:gd name="connsiteX52" fmla="*/ 804937 w 1025378"/>
                  <a:gd name="connsiteY52" fmla="*/ 114300 h 314325"/>
                  <a:gd name="connsiteX53" fmla="*/ 819225 w 1025378"/>
                  <a:gd name="connsiteY53" fmla="*/ 185737 h 314325"/>
                  <a:gd name="connsiteX54" fmla="*/ 840135 w 1025378"/>
                  <a:gd name="connsiteY54" fmla="*/ 180975 h 314325"/>
                  <a:gd name="connsiteX55" fmla="*/ 857325 w 1025378"/>
                  <a:gd name="connsiteY55" fmla="*/ 138112 h 314325"/>
                  <a:gd name="connsiteX56" fmla="*/ 881137 w 1025378"/>
                  <a:gd name="connsiteY56" fmla="*/ 76200 h 314325"/>
                  <a:gd name="connsiteX57" fmla="*/ 885900 w 1025378"/>
                  <a:gd name="connsiteY57" fmla="*/ 52387 h 314325"/>
                  <a:gd name="connsiteX58" fmla="*/ 900187 w 1025378"/>
                  <a:gd name="connsiteY58" fmla="*/ 38100 h 314325"/>
                  <a:gd name="connsiteX59" fmla="*/ 904950 w 1025378"/>
                  <a:gd name="connsiteY59" fmla="*/ 14287 h 314325"/>
                  <a:gd name="connsiteX60" fmla="*/ 909712 w 1025378"/>
                  <a:gd name="connsiteY60" fmla="*/ 0 h 314325"/>
                  <a:gd name="connsiteX61" fmla="*/ 914475 w 1025378"/>
                  <a:gd name="connsiteY61" fmla="*/ 14287 h 314325"/>
                  <a:gd name="connsiteX62" fmla="*/ 919237 w 1025378"/>
                  <a:gd name="connsiteY62" fmla="*/ 71437 h 314325"/>
                  <a:gd name="connsiteX63" fmla="*/ 928762 w 1025378"/>
                  <a:gd name="connsiteY63" fmla="*/ 100012 h 314325"/>
                  <a:gd name="connsiteX64" fmla="*/ 952575 w 1025378"/>
                  <a:gd name="connsiteY64" fmla="*/ 161925 h 314325"/>
                  <a:gd name="connsiteX65" fmla="*/ 957337 w 1025378"/>
                  <a:gd name="connsiteY65" fmla="*/ 180975 h 314325"/>
                  <a:gd name="connsiteX66" fmla="*/ 962100 w 1025378"/>
                  <a:gd name="connsiteY66" fmla="*/ 214312 h 314325"/>
                  <a:gd name="connsiteX67" fmla="*/ 981150 w 1025378"/>
                  <a:gd name="connsiteY67" fmla="*/ 242887 h 314325"/>
                  <a:gd name="connsiteX68" fmla="*/ 991342 w 1025378"/>
                  <a:gd name="connsiteY68" fmla="*/ 265734 h 314325"/>
                  <a:gd name="connsiteX69" fmla="*/ 1025378 w 1025378"/>
                  <a:gd name="connsiteY69" fmla="*/ 261405 h 314325"/>
                  <a:gd name="connsiteX0" fmla="*/ 0 w 1024844"/>
                  <a:gd name="connsiteY0" fmla="*/ 262751 h 314325"/>
                  <a:gd name="connsiteX1" fmla="*/ 31387 w 1024844"/>
                  <a:gd name="connsiteY1" fmla="*/ 274654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3524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3775"/>
                  <a:gd name="connsiteY0" fmla="*/ 260314 h 314325"/>
                  <a:gd name="connsiteX1" fmla="*/ 32989 w 1023775"/>
                  <a:gd name="connsiteY1" fmla="*/ 257600 h 314325"/>
                  <a:gd name="connsiteX2" fmla="*/ 47792 w 1023775"/>
                  <a:gd name="connsiteY2" fmla="*/ 228600 h 314325"/>
                  <a:gd name="connsiteX3" fmla="*/ 65147 w 1023775"/>
                  <a:gd name="connsiteY3" fmla="*/ 180975 h 314325"/>
                  <a:gd name="connsiteX4" fmla="*/ 74672 w 1023775"/>
                  <a:gd name="connsiteY4" fmla="*/ 166687 h 314325"/>
                  <a:gd name="connsiteX5" fmla="*/ 93722 w 1023775"/>
                  <a:gd name="connsiteY5" fmla="*/ 114300 h 314325"/>
                  <a:gd name="connsiteX6" fmla="*/ 103247 w 1023775"/>
                  <a:gd name="connsiteY6" fmla="*/ 100012 h 314325"/>
                  <a:gd name="connsiteX7" fmla="*/ 122297 w 1023775"/>
                  <a:gd name="connsiteY7" fmla="*/ 57150 h 314325"/>
                  <a:gd name="connsiteX8" fmla="*/ 127059 w 1023775"/>
                  <a:gd name="connsiteY8" fmla="*/ 42862 h 314325"/>
                  <a:gd name="connsiteX9" fmla="*/ 136584 w 1023775"/>
                  <a:gd name="connsiteY9" fmla="*/ 4762 h 314325"/>
                  <a:gd name="connsiteX10" fmla="*/ 146109 w 1023775"/>
                  <a:gd name="connsiteY10" fmla="*/ 100012 h 314325"/>
                  <a:gd name="connsiteX11" fmla="*/ 155634 w 1023775"/>
                  <a:gd name="connsiteY11" fmla="*/ 152400 h 314325"/>
                  <a:gd name="connsiteX12" fmla="*/ 160397 w 1023775"/>
                  <a:gd name="connsiteY12" fmla="*/ 228600 h 314325"/>
                  <a:gd name="connsiteX13" fmla="*/ 172886 w 1023775"/>
                  <a:gd name="connsiteY13" fmla="*/ 268258 h 314325"/>
                  <a:gd name="connsiteX14" fmla="*/ 200767 w 1023775"/>
                  <a:gd name="connsiteY14" fmla="*/ 255572 h 314325"/>
                  <a:gd name="connsiteX15" fmla="*/ 231078 w 1023775"/>
                  <a:gd name="connsiteY15" fmla="*/ 201561 h 314325"/>
                  <a:gd name="connsiteX16" fmla="*/ 250884 w 1023775"/>
                  <a:gd name="connsiteY16" fmla="*/ 171450 h 314325"/>
                  <a:gd name="connsiteX17" fmla="*/ 269934 w 1023775"/>
                  <a:gd name="connsiteY17" fmla="*/ 142875 h 314325"/>
                  <a:gd name="connsiteX18" fmla="*/ 303272 w 1023775"/>
                  <a:gd name="connsiteY18" fmla="*/ 71437 h 314325"/>
                  <a:gd name="connsiteX19" fmla="*/ 314247 w 1023775"/>
                  <a:gd name="connsiteY19" fmla="*/ 36631 h 314325"/>
                  <a:gd name="connsiteX20" fmla="*/ 321218 w 1023775"/>
                  <a:gd name="connsiteY20" fmla="*/ 88841 h 314325"/>
                  <a:gd name="connsiteX21" fmla="*/ 326328 w 1023775"/>
                  <a:gd name="connsiteY21" fmla="*/ 147637 h 314325"/>
                  <a:gd name="connsiteX22" fmla="*/ 336609 w 1023775"/>
                  <a:gd name="connsiteY22" fmla="*/ 171450 h 314325"/>
                  <a:gd name="connsiteX23" fmla="*/ 347995 w 1023775"/>
                  <a:gd name="connsiteY23" fmla="*/ 261916 h 314325"/>
                  <a:gd name="connsiteX24" fmla="*/ 355659 w 1023775"/>
                  <a:gd name="connsiteY24" fmla="*/ 247650 h 314325"/>
                  <a:gd name="connsiteX25" fmla="*/ 369253 w 1023775"/>
                  <a:gd name="connsiteY25" fmla="*/ 231782 h 314325"/>
                  <a:gd name="connsiteX26" fmla="*/ 393759 w 1023775"/>
                  <a:gd name="connsiteY26" fmla="*/ 180975 h 314325"/>
                  <a:gd name="connsiteX27" fmla="*/ 408047 w 1023775"/>
                  <a:gd name="connsiteY27" fmla="*/ 171450 h 314325"/>
                  <a:gd name="connsiteX28" fmla="*/ 417572 w 1023775"/>
                  <a:gd name="connsiteY28" fmla="*/ 157162 h 314325"/>
                  <a:gd name="connsiteX29" fmla="*/ 427097 w 1023775"/>
                  <a:gd name="connsiteY29" fmla="*/ 180975 h 314325"/>
                  <a:gd name="connsiteX30" fmla="*/ 436622 w 1023775"/>
                  <a:gd name="connsiteY30" fmla="*/ 209550 h 314325"/>
                  <a:gd name="connsiteX31" fmla="*/ 446903 w 1023775"/>
                  <a:gd name="connsiteY31" fmla="*/ 252390 h 314325"/>
                  <a:gd name="connsiteX32" fmla="*/ 474722 w 1023775"/>
                  <a:gd name="connsiteY32" fmla="*/ 233362 h 314325"/>
                  <a:gd name="connsiteX33" fmla="*/ 489009 w 1023775"/>
                  <a:gd name="connsiteY33" fmla="*/ 233362 h 314325"/>
                  <a:gd name="connsiteX34" fmla="*/ 498534 w 1023775"/>
                  <a:gd name="connsiteY34" fmla="*/ 223837 h 314325"/>
                  <a:gd name="connsiteX35" fmla="*/ 541397 w 1023775"/>
                  <a:gd name="connsiteY35" fmla="*/ 138112 h 314325"/>
                  <a:gd name="connsiteX36" fmla="*/ 560447 w 1023775"/>
                  <a:gd name="connsiteY36" fmla="*/ 104775 h 314325"/>
                  <a:gd name="connsiteX37" fmla="*/ 565209 w 1023775"/>
                  <a:gd name="connsiteY37" fmla="*/ 90487 h 314325"/>
                  <a:gd name="connsiteX38" fmla="*/ 579497 w 1023775"/>
                  <a:gd name="connsiteY38" fmla="*/ 80962 h 314325"/>
                  <a:gd name="connsiteX39" fmla="*/ 618291 w 1023775"/>
                  <a:gd name="connsiteY39" fmla="*/ 49227 h 314325"/>
                  <a:gd name="connsiteX40" fmla="*/ 635325 w 1023775"/>
                  <a:gd name="connsiteY40" fmla="*/ 51320 h 314325"/>
                  <a:gd name="connsiteX41" fmla="*/ 646582 w 1023775"/>
                  <a:gd name="connsiteY41" fmla="*/ 295341 h 314325"/>
                  <a:gd name="connsiteX42" fmla="*/ 650934 w 1023775"/>
                  <a:gd name="connsiteY42" fmla="*/ 314325 h 314325"/>
                  <a:gd name="connsiteX43" fmla="*/ 660459 w 1023775"/>
                  <a:gd name="connsiteY43" fmla="*/ 295275 h 314325"/>
                  <a:gd name="connsiteX44" fmla="*/ 674399 w 1023775"/>
                  <a:gd name="connsiteY44" fmla="*/ 257152 h 314325"/>
                  <a:gd name="connsiteX45" fmla="*/ 706224 w 1023775"/>
                  <a:gd name="connsiteY45" fmla="*/ 168290 h 314325"/>
                  <a:gd name="connsiteX46" fmla="*/ 722372 w 1023775"/>
                  <a:gd name="connsiteY46" fmla="*/ 133350 h 314325"/>
                  <a:gd name="connsiteX47" fmla="*/ 727134 w 1023775"/>
                  <a:gd name="connsiteY47" fmla="*/ 166687 h 314325"/>
                  <a:gd name="connsiteX48" fmla="*/ 731897 w 1023775"/>
                  <a:gd name="connsiteY48" fmla="*/ 180975 h 314325"/>
                  <a:gd name="connsiteX49" fmla="*/ 748045 w 1023775"/>
                  <a:gd name="connsiteY49" fmla="*/ 155604 h 314325"/>
                  <a:gd name="connsiteX50" fmla="*/ 774065 w 1023775"/>
                  <a:gd name="connsiteY50" fmla="*/ 131770 h 314325"/>
                  <a:gd name="connsiteX51" fmla="*/ 793809 w 1023775"/>
                  <a:gd name="connsiteY51" fmla="*/ 85725 h 314325"/>
                  <a:gd name="connsiteX52" fmla="*/ 803334 w 1023775"/>
                  <a:gd name="connsiteY52" fmla="*/ 114300 h 314325"/>
                  <a:gd name="connsiteX53" fmla="*/ 817622 w 1023775"/>
                  <a:gd name="connsiteY53" fmla="*/ 185737 h 314325"/>
                  <a:gd name="connsiteX54" fmla="*/ 838532 w 1023775"/>
                  <a:gd name="connsiteY54" fmla="*/ 180975 h 314325"/>
                  <a:gd name="connsiteX55" fmla="*/ 855722 w 1023775"/>
                  <a:gd name="connsiteY55" fmla="*/ 138112 h 314325"/>
                  <a:gd name="connsiteX56" fmla="*/ 879534 w 1023775"/>
                  <a:gd name="connsiteY56" fmla="*/ 76200 h 314325"/>
                  <a:gd name="connsiteX57" fmla="*/ 884297 w 1023775"/>
                  <a:gd name="connsiteY57" fmla="*/ 52387 h 314325"/>
                  <a:gd name="connsiteX58" fmla="*/ 898584 w 1023775"/>
                  <a:gd name="connsiteY58" fmla="*/ 38100 h 314325"/>
                  <a:gd name="connsiteX59" fmla="*/ 903347 w 1023775"/>
                  <a:gd name="connsiteY59" fmla="*/ 14287 h 314325"/>
                  <a:gd name="connsiteX60" fmla="*/ 908109 w 1023775"/>
                  <a:gd name="connsiteY60" fmla="*/ 0 h 314325"/>
                  <a:gd name="connsiteX61" fmla="*/ 912872 w 1023775"/>
                  <a:gd name="connsiteY61" fmla="*/ 14287 h 314325"/>
                  <a:gd name="connsiteX62" fmla="*/ 917634 w 1023775"/>
                  <a:gd name="connsiteY62" fmla="*/ 71437 h 314325"/>
                  <a:gd name="connsiteX63" fmla="*/ 927159 w 1023775"/>
                  <a:gd name="connsiteY63" fmla="*/ 100012 h 314325"/>
                  <a:gd name="connsiteX64" fmla="*/ 950972 w 1023775"/>
                  <a:gd name="connsiteY64" fmla="*/ 161925 h 314325"/>
                  <a:gd name="connsiteX65" fmla="*/ 955734 w 1023775"/>
                  <a:gd name="connsiteY65" fmla="*/ 180975 h 314325"/>
                  <a:gd name="connsiteX66" fmla="*/ 960497 w 1023775"/>
                  <a:gd name="connsiteY66" fmla="*/ 214312 h 314325"/>
                  <a:gd name="connsiteX67" fmla="*/ 979547 w 1023775"/>
                  <a:gd name="connsiteY67" fmla="*/ 242887 h 314325"/>
                  <a:gd name="connsiteX68" fmla="*/ 989739 w 1023775"/>
                  <a:gd name="connsiteY68" fmla="*/ 265734 h 314325"/>
                  <a:gd name="connsiteX69" fmla="*/ 1023775 w 1023775"/>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1637"/>
                  <a:gd name="connsiteY0" fmla="*/ 262750 h 314325"/>
                  <a:gd name="connsiteX1" fmla="*/ 33523 w 1021637"/>
                  <a:gd name="connsiteY1" fmla="*/ 257600 h 314325"/>
                  <a:gd name="connsiteX2" fmla="*/ 48326 w 1021637"/>
                  <a:gd name="connsiteY2" fmla="*/ 228600 h 314325"/>
                  <a:gd name="connsiteX3" fmla="*/ 65681 w 1021637"/>
                  <a:gd name="connsiteY3" fmla="*/ 180975 h 314325"/>
                  <a:gd name="connsiteX4" fmla="*/ 75206 w 1021637"/>
                  <a:gd name="connsiteY4" fmla="*/ 166687 h 314325"/>
                  <a:gd name="connsiteX5" fmla="*/ 94256 w 1021637"/>
                  <a:gd name="connsiteY5" fmla="*/ 114300 h 314325"/>
                  <a:gd name="connsiteX6" fmla="*/ 103781 w 1021637"/>
                  <a:gd name="connsiteY6" fmla="*/ 100012 h 314325"/>
                  <a:gd name="connsiteX7" fmla="*/ 122831 w 1021637"/>
                  <a:gd name="connsiteY7" fmla="*/ 57150 h 314325"/>
                  <a:gd name="connsiteX8" fmla="*/ 127593 w 1021637"/>
                  <a:gd name="connsiteY8" fmla="*/ 42862 h 314325"/>
                  <a:gd name="connsiteX9" fmla="*/ 137118 w 1021637"/>
                  <a:gd name="connsiteY9" fmla="*/ 4762 h 314325"/>
                  <a:gd name="connsiteX10" fmla="*/ 146643 w 1021637"/>
                  <a:gd name="connsiteY10" fmla="*/ 100012 h 314325"/>
                  <a:gd name="connsiteX11" fmla="*/ 156168 w 1021637"/>
                  <a:gd name="connsiteY11" fmla="*/ 152400 h 314325"/>
                  <a:gd name="connsiteX12" fmla="*/ 160931 w 1021637"/>
                  <a:gd name="connsiteY12" fmla="*/ 228600 h 314325"/>
                  <a:gd name="connsiteX13" fmla="*/ 173420 w 1021637"/>
                  <a:gd name="connsiteY13" fmla="*/ 268258 h 314325"/>
                  <a:gd name="connsiteX14" fmla="*/ 201301 w 1021637"/>
                  <a:gd name="connsiteY14" fmla="*/ 255572 h 314325"/>
                  <a:gd name="connsiteX15" fmla="*/ 231612 w 1021637"/>
                  <a:gd name="connsiteY15" fmla="*/ 201561 h 314325"/>
                  <a:gd name="connsiteX16" fmla="*/ 251418 w 1021637"/>
                  <a:gd name="connsiteY16" fmla="*/ 171450 h 314325"/>
                  <a:gd name="connsiteX17" fmla="*/ 270468 w 1021637"/>
                  <a:gd name="connsiteY17" fmla="*/ 142875 h 314325"/>
                  <a:gd name="connsiteX18" fmla="*/ 303806 w 1021637"/>
                  <a:gd name="connsiteY18" fmla="*/ 71437 h 314325"/>
                  <a:gd name="connsiteX19" fmla="*/ 314781 w 1021637"/>
                  <a:gd name="connsiteY19" fmla="*/ 36631 h 314325"/>
                  <a:gd name="connsiteX20" fmla="*/ 321752 w 1021637"/>
                  <a:gd name="connsiteY20" fmla="*/ 88841 h 314325"/>
                  <a:gd name="connsiteX21" fmla="*/ 326862 w 1021637"/>
                  <a:gd name="connsiteY21" fmla="*/ 147637 h 314325"/>
                  <a:gd name="connsiteX22" fmla="*/ 337143 w 1021637"/>
                  <a:gd name="connsiteY22" fmla="*/ 171450 h 314325"/>
                  <a:gd name="connsiteX23" fmla="*/ 348529 w 1021637"/>
                  <a:gd name="connsiteY23" fmla="*/ 261916 h 314325"/>
                  <a:gd name="connsiteX24" fmla="*/ 356193 w 1021637"/>
                  <a:gd name="connsiteY24" fmla="*/ 247650 h 314325"/>
                  <a:gd name="connsiteX25" fmla="*/ 369787 w 1021637"/>
                  <a:gd name="connsiteY25" fmla="*/ 231782 h 314325"/>
                  <a:gd name="connsiteX26" fmla="*/ 394293 w 1021637"/>
                  <a:gd name="connsiteY26" fmla="*/ 180975 h 314325"/>
                  <a:gd name="connsiteX27" fmla="*/ 408581 w 1021637"/>
                  <a:gd name="connsiteY27" fmla="*/ 171450 h 314325"/>
                  <a:gd name="connsiteX28" fmla="*/ 418106 w 1021637"/>
                  <a:gd name="connsiteY28" fmla="*/ 157162 h 314325"/>
                  <a:gd name="connsiteX29" fmla="*/ 427631 w 1021637"/>
                  <a:gd name="connsiteY29" fmla="*/ 180975 h 314325"/>
                  <a:gd name="connsiteX30" fmla="*/ 437156 w 1021637"/>
                  <a:gd name="connsiteY30" fmla="*/ 209550 h 314325"/>
                  <a:gd name="connsiteX31" fmla="*/ 447437 w 1021637"/>
                  <a:gd name="connsiteY31" fmla="*/ 252390 h 314325"/>
                  <a:gd name="connsiteX32" fmla="*/ 475256 w 1021637"/>
                  <a:gd name="connsiteY32" fmla="*/ 233362 h 314325"/>
                  <a:gd name="connsiteX33" fmla="*/ 489543 w 1021637"/>
                  <a:gd name="connsiteY33" fmla="*/ 233362 h 314325"/>
                  <a:gd name="connsiteX34" fmla="*/ 499068 w 1021637"/>
                  <a:gd name="connsiteY34" fmla="*/ 223837 h 314325"/>
                  <a:gd name="connsiteX35" fmla="*/ 541931 w 1021637"/>
                  <a:gd name="connsiteY35" fmla="*/ 138112 h 314325"/>
                  <a:gd name="connsiteX36" fmla="*/ 560981 w 1021637"/>
                  <a:gd name="connsiteY36" fmla="*/ 104775 h 314325"/>
                  <a:gd name="connsiteX37" fmla="*/ 565743 w 1021637"/>
                  <a:gd name="connsiteY37" fmla="*/ 90487 h 314325"/>
                  <a:gd name="connsiteX38" fmla="*/ 580031 w 1021637"/>
                  <a:gd name="connsiteY38" fmla="*/ 80962 h 314325"/>
                  <a:gd name="connsiteX39" fmla="*/ 618825 w 1021637"/>
                  <a:gd name="connsiteY39" fmla="*/ 49227 h 314325"/>
                  <a:gd name="connsiteX40" fmla="*/ 635859 w 1021637"/>
                  <a:gd name="connsiteY40" fmla="*/ 51320 h 314325"/>
                  <a:gd name="connsiteX41" fmla="*/ 647116 w 1021637"/>
                  <a:gd name="connsiteY41" fmla="*/ 295341 h 314325"/>
                  <a:gd name="connsiteX42" fmla="*/ 651468 w 1021637"/>
                  <a:gd name="connsiteY42" fmla="*/ 314325 h 314325"/>
                  <a:gd name="connsiteX43" fmla="*/ 660993 w 1021637"/>
                  <a:gd name="connsiteY43" fmla="*/ 295275 h 314325"/>
                  <a:gd name="connsiteX44" fmla="*/ 674933 w 1021637"/>
                  <a:gd name="connsiteY44" fmla="*/ 257152 h 314325"/>
                  <a:gd name="connsiteX45" fmla="*/ 706758 w 1021637"/>
                  <a:gd name="connsiteY45" fmla="*/ 168290 h 314325"/>
                  <a:gd name="connsiteX46" fmla="*/ 722906 w 1021637"/>
                  <a:gd name="connsiteY46" fmla="*/ 133350 h 314325"/>
                  <a:gd name="connsiteX47" fmla="*/ 727668 w 1021637"/>
                  <a:gd name="connsiteY47" fmla="*/ 166687 h 314325"/>
                  <a:gd name="connsiteX48" fmla="*/ 732431 w 1021637"/>
                  <a:gd name="connsiteY48" fmla="*/ 180975 h 314325"/>
                  <a:gd name="connsiteX49" fmla="*/ 748579 w 1021637"/>
                  <a:gd name="connsiteY49" fmla="*/ 155604 h 314325"/>
                  <a:gd name="connsiteX50" fmla="*/ 774599 w 1021637"/>
                  <a:gd name="connsiteY50" fmla="*/ 131770 h 314325"/>
                  <a:gd name="connsiteX51" fmla="*/ 794343 w 1021637"/>
                  <a:gd name="connsiteY51" fmla="*/ 85725 h 314325"/>
                  <a:gd name="connsiteX52" fmla="*/ 803868 w 1021637"/>
                  <a:gd name="connsiteY52" fmla="*/ 114300 h 314325"/>
                  <a:gd name="connsiteX53" fmla="*/ 818156 w 1021637"/>
                  <a:gd name="connsiteY53" fmla="*/ 185737 h 314325"/>
                  <a:gd name="connsiteX54" fmla="*/ 839066 w 1021637"/>
                  <a:gd name="connsiteY54" fmla="*/ 180975 h 314325"/>
                  <a:gd name="connsiteX55" fmla="*/ 856256 w 1021637"/>
                  <a:gd name="connsiteY55" fmla="*/ 138112 h 314325"/>
                  <a:gd name="connsiteX56" fmla="*/ 880068 w 1021637"/>
                  <a:gd name="connsiteY56" fmla="*/ 76200 h 314325"/>
                  <a:gd name="connsiteX57" fmla="*/ 884831 w 1021637"/>
                  <a:gd name="connsiteY57" fmla="*/ 52387 h 314325"/>
                  <a:gd name="connsiteX58" fmla="*/ 899118 w 1021637"/>
                  <a:gd name="connsiteY58" fmla="*/ 38100 h 314325"/>
                  <a:gd name="connsiteX59" fmla="*/ 903881 w 1021637"/>
                  <a:gd name="connsiteY59" fmla="*/ 14287 h 314325"/>
                  <a:gd name="connsiteX60" fmla="*/ 908643 w 1021637"/>
                  <a:gd name="connsiteY60" fmla="*/ 0 h 314325"/>
                  <a:gd name="connsiteX61" fmla="*/ 913406 w 1021637"/>
                  <a:gd name="connsiteY61" fmla="*/ 14287 h 314325"/>
                  <a:gd name="connsiteX62" fmla="*/ 918168 w 1021637"/>
                  <a:gd name="connsiteY62" fmla="*/ 71437 h 314325"/>
                  <a:gd name="connsiteX63" fmla="*/ 927693 w 1021637"/>
                  <a:gd name="connsiteY63" fmla="*/ 100012 h 314325"/>
                  <a:gd name="connsiteX64" fmla="*/ 951506 w 1021637"/>
                  <a:gd name="connsiteY64" fmla="*/ 161925 h 314325"/>
                  <a:gd name="connsiteX65" fmla="*/ 956268 w 1021637"/>
                  <a:gd name="connsiteY65" fmla="*/ 180975 h 314325"/>
                  <a:gd name="connsiteX66" fmla="*/ 961031 w 1021637"/>
                  <a:gd name="connsiteY66" fmla="*/ 214312 h 314325"/>
                  <a:gd name="connsiteX67" fmla="*/ 980081 w 1021637"/>
                  <a:gd name="connsiteY67" fmla="*/ 242887 h 314325"/>
                  <a:gd name="connsiteX68" fmla="*/ 990273 w 1021637"/>
                  <a:gd name="connsiteY68" fmla="*/ 265734 h 314325"/>
                  <a:gd name="connsiteX69" fmla="*/ 1021637 w 1021637"/>
                  <a:gd name="connsiteY69" fmla="*/ 261405 h 314325"/>
                  <a:gd name="connsiteX0" fmla="*/ 0 w 1023774"/>
                  <a:gd name="connsiteY0" fmla="*/ 262750 h 314325"/>
                  <a:gd name="connsiteX1" fmla="*/ 33523 w 1023774"/>
                  <a:gd name="connsiteY1" fmla="*/ 257600 h 314325"/>
                  <a:gd name="connsiteX2" fmla="*/ 48326 w 1023774"/>
                  <a:gd name="connsiteY2" fmla="*/ 228600 h 314325"/>
                  <a:gd name="connsiteX3" fmla="*/ 65681 w 1023774"/>
                  <a:gd name="connsiteY3" fmla="*/ 180975 h 314325"/>
                  <a:gd name="connsiteX4" fmla="*/ 75206 w 1023774"/>
                  <a:gd name="connsiteY4" fmla="*/ 166687 h 314325"/>
                  <a:gd name="connsiteX5" fmla="*/ 94256 w 1023774"/>
                  <a:gd name="connsiteY5" fmla="*/ 114300 h 314325"/>
                  <a:gd name="connsiteX6" fmla="*/ 103781 w 1023774"/>
                  <a:gd name="connsiteY6" fmla="*/ 100012 h 314325"/>
                  <a:gd name="connsiteX7" fmla="*/ 122831 w 1023774"/>
                  <a:gd name="connsiteY7" fmla="*/ 57150 h 314325"/>
                  <a:gd name="connsiteX8" fmla="*/ 127593 w 1023774"/>
                  <a:gd name="connsiteY8" fmla="*/ 42862 h 314325"/>
                  <a:gd name="connsiteX9" fmla="*/ 137118 w 1023774"/>
                  <a:gd name="connsiteY9" fmla="*/ 4762 h 314325"/>
                  <a:gd name="connsiteX10" fmla="*/ 146643 w 1023774"/>
                  <a:gd name="connsiteY10" fmla="*/ 100012 h 314325"/>
                  <a:gd name="connsiteX11" fmla="*/ 156168 w 1023774"/>
                  <a:gd name="connsiteY11" fmla="*/ 152400 h 314325"/>
                  <a:gd name="connsiteX12" fmla="*/ 160931 w 1023774"/>
                  <a:gd name="connsiteY12" fmla="*/ 228600 h 314325"/>
                  <a:gd name="connsiteX13" fmla="*/ 173420 w 1023774"/>
                  <a:gd name="connsiteY13" fmla="*/ 268258 h 314325"/>
                  <a:gd name="connsiteX14" fmla="*/ 201301 w 1023774"/>
                  <a:gd name="connsiteY14" fmla="*/ 255572 h 314325"/>
                  <a:gd name="connsiteX15" fmla="*/ 231612 w 1023774"/>
                  <a:gd name="connsiteY15" fmla="*/ 201561 h 314325"/>
                  <a:gd name="connsiteX16" fmla="*/ 251418 w 1023774"/>
                  <a:gd name="connsiteY16" fmla="*/ 171450 h 314325"/>
                  <a:gd name="connsiteX17" fmla="*/ 270468 w 1023774"/>
                  <a:gd name="connsiteY17" fmla="*/ 142875 h 314325"/>
                  <a:gd name="connsiteX18" fmla="*/ 303806 w 1023774"/>
                  <a:gd name="connsiteY18" fmla="*/ 71437 h 314325"/>
                  <a:gd name="connsiteX19" fmla="*/ 314781 w 1023774"/>
                  <a:gd name="connsiteY19" fmla="*/ 36631 h 314325"/>
                  <a:gd name="connsiteX20" fmla="*/ 321752 w 1023774"/>
                  <a:gd name="connsiteY20" fmla="*/ 88841 h 314325"/>
                  <a:gd name="connsiteX21" fmla="*/ 326862 w 1023774"/>
                  <a:gd name="connsiteY21" fmla="*/ 147637 h 314325"/>
                  <a:gd name="connsiteX22" fmla="*/ 337143 w 1023774"/>
                  <a:gd name="connsiteY22" fmla="*/ 171450 h 314325"/>
                  <a:gd name="connsiteX23" fmla="*/ 348529 w 1023774"/>
                  <a:gd name="connsiteY23" fmla="*/ 261916 h 314325"/>
                  <a:gd name="connsiteX24" fmla="*/ 356193 w 1023774"/>
                  <a:gd name="connsiteY24" fmla="*/ 247650 h 314325"/>
                  <a:gd name="connsiteX25" fmla="*/ 369787 w 1023774"/>
                  <a:gd name="connsiteY25" fmla="*/ 231782 h 314325"/>
                  <a:gd name="connsiteX26" fmla="*/ 394293 w 1023774"/>
                  <a:gd name="connsiteY26" fmla="*/ 180975 h 314325"/>
                  <a:gd name="connsiteX27" fmla="*/ 408581 w 1023774"/>
                  <a:gd name="connsiteY27" fmla="*/ 171450 h 314325"/>
                  <a:gd name="connsiteX28" fmla="*/ 418106 w 1023774"/>
                  <a:gd name="connsiteY28" fmla="*/ 157162 h 314325"/>
                  <a:gd name="connsiteX29" fmla="*/ 427631 w 1023774"/>
                  <a:gd name="connsiteY29" fmla="*/ 180975 h 314325"/>
                  <a:gd name="connsiteX30" fmla="*/ 437156 w 1023774"/>
                  <a:gd name="connsiteY30" fmla="*/ 209550 h 314325"/>
                  <a:gd name="connsiteX31" fmla="*/ 447437 w 1023774"/>
                  <a:gd name="connsiteY31" fmla="*/ 252390 h 314325"/>
                  <a:gd name="connsiteX32" fmla="*/ 475256 w 1023774"/>
                  <a:gd name="connsiteY32" fmla="*/ 233362 h 314325"/>
                  <a:gd name="connsiteX33" fmla="*/ 489543 w 1023774"/>
                  <a:gd name="connsiteY33" fmla="*/ 233362 h 314325"/>
                  <a:gd name="connsiteX34" fmla="*/ 499068 w 1023774"/>
                  <a:gd name="connsiteY34" fmla="*/ 223837 h 314325"/>
                  <a:gd name="connsiteX35" fmla="*/ 541931 w 1023774"/>
                  <a:gd name="connsiteY35" fmla="*/ 138112 h 314325"/>
                  <a:gd name="connsiteX36" fmla="*/ 560981 w 1023774"/>
                  <a:gd name="connsiteY36" fmla="*/ 104775 h 314325"/>
                  <a:gd name="connsiteX37" fmla="*/ 565743 w 1023774"/>
                  <a:gd name="connsiteY37" fmla="*/ 90487 h 314325"/>
                  <a:gd name="connsiteX38" fmla="*/ 580031 w 1023774"/>
                  <a:gd name="connsiteY38" fmla="*/ 80962 h 314325"/>
                  <a:gd name="connsiteX39" fmla="*/ 618825 w 1023774"/>
                  <a:gd name="connsiteY39" fmla="*/ 49227 h 314325"/>
                  <a:gd name="connsiteX40" fmla="*/ 635859 w 1023774"/>
                  <a:gd name="connsiteY40" fmla="*/ 51320 h 314325"/>
                  <a:gd name="connsiteX41" fmla="*/ 647116 w 1023774"/>
                  <a:gd name="connsiteY41" fmla="*/ 295341 h 314325"/>
                  <a:gd name="connsiteX42" fmla="*/ 651468 w 1023774"/>
                  <a:gd name="connsiteY42" fmla="*/ 314325 h 314325"/>
                  <a:gd name="connsiteX43" fmla="*/ 660993 w 1023774"/>
                  <a:gd name="connsiteY43" fmla="*/ 295275 h 314325"/>
                  <a:gd name="connsiteX44" fmla="*/ 674933 w 1023774"/>
                  <a:gd name="connsiteY44" fmla="*/ 257152 h 314325"/>
                  <a:gd name="connsiteX45" fmla="*/ 706758 w 1023774"/>
                  <a:gd name="connsiteY45" fmla="*/ 168290 h 314325"/>
                  <a:gd name="connsiteX46" fmla="*/ 722906 w 1023774"/>
                  <a:gd name="connsiteY46" fmla="*/ 133350 h 314325"/>
                  <a:gd name="connsiteX47" fmla="*/ 727668 w 1023774"/>
                  <a:gd name="connsiteY47" fmla="*/ 166687 h 314325"/>
                  <a:gd name="connsiteX48" fmla="*/ 732431 w 1023774"/>
                  <a:gd name="connsiteY48" fmla="*/ 180975 h 314325"/>
                  <a:gd name="connsiteX49" fmla="*/ 748579 w 1023774"/>
                  <a:gd name="connsiteY49" fmla="*/ 155604 h 314325"/>
                  <a:gd name="connsiteX50" fmla="*/ 774599 w 1023774"/>
                  <a:gd name="connsiteY50" fmla="*/ 131770 h 314325"/>
                  <a:gd name="connsiteX51" fmla="*/ 794343 w 1023774"/>
                  <a:gd name="connsiteY51" fmla="*/ 85725 h 314325"/>
                  <a:gd name="connsiteX52" fmla="*/ 803868 w 1023774"/>
                  <a:gd name="connsiteY52" fmla="*/ 114300 h 314325"/>
                  <a:gd name="connsiteX53" fmla="*/ 818156 w 1023774"/>
                  <a:gd name="connsiteY53" fmla="*/ 185737 h 314325"/>
                  <a:gd name="connsiteX54" fmla="*/ 839066 w 1023774"/>
                  <a:gd name="connsiteY54" fmla="*/ 180975 h 314325"/>
                  <a:gd name="connsiteX55" fmla="*/ 856256 w 1023774"/>
                  <a:gd name="connsiteY55" fmla="*/ 138112 h 314325"/>
                  <a:gd name="connsiteX56" fmla="*/ 880068 w 1023774"/>
                  <a:gd name="connsiteY56" fmla="*/ 76200 h 314325"/>
                  <a:gd name="connsiteX57" fmla="*/ 884831 w 1023774"/>
                  <a:gd name="connsiteY57" fmla="*/ 52387 h 314325"/>
                  <a:gd name="connsiteX58" fmla="*/ 899118 w 1023774"/>
                  <a:gd name="connsiteY58" fmla="*/ 38100 h 314325"/>
                  <a:gd name="connsiteX59" fmla="*/ 903881 w 1023774"/>
                  <a:gd name="connsiteY59" fmla="*/ 14287 h 314325"/>
                  <a:gd name="connsiteX60" fmla="*/ 908643 w 1023774"/>
                  <a:gd name="connsiteY60" fmla="*/ 0 h 314325"/>
                  <a:gd name="connsiteX61" fmla="*/ 913406 w 1023774"/>
                  <a:gd name="connsiteY61" fmla="*/ 14287 h 314325"/>
                  <a:gd name="connsiteX62" fmla="*/ 918168 w 1023774"/>
                  <a:gd name="connsiteY62" fmla="*/ 71437 h 314325"/>
                  <a:gd name="connsiteX63" fmla="*/ 927693 w 1023774"/>
                  <a:gd name="connsiteY63" fmla="*/ 100012 h 314325"/>
                  <a:gd name="connsiteX64" fmla="*/ 951506 w 1023774"/>
                  <a:gd name="connsiteY64" fmla="*/ 161925 h 314325"/>
                  <a:gd name="connsiteX65" fmla="*/ 956268 w 1023774"/>
                  <a:gd name="connsiteY65" fmla="*/ 180975 h 314325"/>
                  <a:gd name="connsiteX66" fmla="*/ 961031 w 1023774"/>
                  <a:gd name="connsiteY66" fmla="*/ 214312 h 314325"/>
                  <a:gd name="connsiteX67" fmla="*/ 980081 w 1023774"/>
                  <a:gd name="connsiteY67" fmla="*/ 242887 h 314325"/>
                  <a:gd name="connsiteX68" fmla="*/ 990273 w 1023774"/>
                  <a:gd name="connsiteY68" fmla="*/ 265734 h 314325"/>
                  <a:gd name="connsiteX69" fmla="*/ 1023774 w 1023774"/>
                  <a:gd name="connsiteY69" fmla="*/ 26140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23774" h="314325">
                    <a:moveTo>
                      <a:pt x="0" y="262750"/>
                    </a:moveTo>
                    <a:cubicBezTo>
                      <a:pt x="20885" y="261865"/>
                      <a:pt x="25469" y="263292"/>
                      <a:pt x="33523" y="257600"/>
                    </a:cubicBezTo>
                    <a:cubicBezTo>
                      <a:pt x="41577" y="251908"/>
                      <a:pt x="42966" y="241371"/>
                      <a:pt x="48326" y="228600"/>
                    </a:cubicBezTo>
                    <a:cubicBezTo>
                      <a:pt x="53686" y="215829"/>
                      <a:pt x="61201" y="191294"/>
                      <a:pt x="65681" y="180975"/>
                    </a:cubicBezTo>
                    <a:cubicBezTo>
                      <a:pt x="70161" y="170656"/>
                      <a:pt x="75206" y="166687"/>
                      <a:pt x="75206" y="166687"/>
                    </a:cubicBezTo>
                    <a:cubicBezTo>
                      <a:pt x="81379" y="141993"/>
                      <a:pt x="80199" y="142413"/>
                      <a:pt x="94256" y="114300"/>
                    </a:cubicBezTo>
                    <a:cubicBezTo>
                      <a:pt x="96816" y="109180"/>
                      <a:pt x="100941" y="104982"/>
                      <a:pt x="103781" y="100012"/>
                    </a:cubicBezTo>
                    <a:cubicBezTo>
                      <a:pt x="111652" y="86238"/>
                      <a:pt x="117265" y="71993"/>
                      <a:pt x="122831" y="57150"/>
                    </a:cubicBezTo>
                    <a:cubicBezTo>
                      <a:pt x="124594" y="52449"/>
                      <a:pt x="126272" y="47705"/>
                      <a:pt x="127593" y="42862"/>
                    </a:cubicBezTo>
                    <a:cubicBezTo>
                      <a:pt x="131037" y="30232"/>
                      <a:pt x="137118" y="4762"/>
                      <a:pt x="137118" y="4762"/>
                    </a:cubicBezTo>
                    <a:cubicBezTo>
                      <a:pt x="147761" y="57971"/>
                      <a:pt x="137808" y="2826"/>
                      <a:pt x="146643" y="100012"/>
                    </a:cubicBezTo>
                    <a:cubicBezTo>
                      <a:pt x="149080" y="126823"/>
                      <a:pt x="150580" y="130044"/>
                      <a:pt x="156168" y="152400"/>
                    </a:cubicBezTo>
                    <a:cubicBezTo>
                      <a:pt x="157756" y="177800"/>
                      <a:pt x="158056" y="209290"/>
                      <a:pt x="160931" y="228600"/>
                    </a:cubicBezTo>
                    <a:cubicBezTo>
                      <a:pt x="163806" y="247910"/>
                      <a:pt x="166692" y="263763"/>
                      <a:pt x="173420" y="268258"/>
                    </a:cubicBezTo>
                    <a:cubicBezTo>
                      <a:pt x="180148" y="272753"/>
                      <a:pt x="191602" y="266688"/>
                      <a:pt x="201301" y="255572"/>
                    </a:cubicBezTo>
                    <a:cubicBezTo>
                      <a:pt x="211000" y="244456"/>
                      <a:pt x="223259" y="215581"/>
                      <a:pt x="231612" y="201561"/>
                    </a:cubicBezTo>
                    <a:cubicBezTo>
                      <a:pt x="239965" y="187541"/>
                      <a:pt x="244942" y="181231"/>
                      <a:pt x="251418" y="171450"/>
                    </a:cubicBezTo>
                    <a:cubicBezTo>
                      <a:pt x="257894" y="161669"/>
                      <a:pt x="261737" y="159544"/>
                      <a:pt x="270468" y="142875"/>
                    </a:cubicBezTo>
                    <a:cubicBezTo>
                      <a:pt x="279199" y="126206"/>
                      <a:pt x="296421" y="89144"/>
                      <a:pt x="303806" y="71437"/>
                    </a:cubicBezTo>
                    <a:cubicBezTo>
                      <a:pt x="311191" y="53730"/>
                      <a:pt x="311790" y="33730"/>
                      <a:pt x="314781" y="36631"/>
                    </a:cubicBezTo>
                    <a:cubicBezTo>
                      <a:pt x="317772" y="39532"/>
                      <a:pt x="320164" y="84078"/>
                      <a:pt x="321752" y="88841"/>
                    </a:cubicBezTo>
                    <a:cubicBezTo>
                      <a:pt x="324164" y="108135"/>
                      <a:pt x="324297" y="133869"/>
                      <a:pt x="326862" y="147637"/>
                    </a:cubicBezTo>
                    <a:cubicBezTo>
                      <a:pt x="329427" y="161405"/>
                      <a:pt x="335556" y="163512"/>
                      <a:pt x="337143" y="171450"/>
                    </a:cubicBezTo>
                    <a:cubicBezTo>
                      <a:pt x="338731" y="200025"/>
                      <a:pt x="341588" y="234151"/>
                      <a:pt x="348529" y="261916"/>
                    </a:cubicBezTo>
                    <a:cubicBezTo>
                      <a:pt x="349917" y="267469"/>
                      <a:pt x="352650" y="252672"/>
                      <a:pt x="356193" y="247650"/>
                    </a:cubicBezTo>
                    <a:cubicBezTo>
                      <a:pt x="359736" y="242628"/>
                      <a:pt x="367710" y="236352"/>
                      <a:pt x="369787" y="231782"/>
                    </a:cubicBezTo>
                    <a:cubicBezTo>
                      <a:pt x="382365" y="204110"/>
                      <a:pt x="387827" y="191030"/>
                      <a:pt x="394293" y="180975"/>
                    </a:cubicBezTo>
                    <a:cubicBezTo>
                      <a:pt x="400759" y="170920"/>
                      <a:pt x="403818" y="174625"/>
                      <a:pt x="408581" y="171450"/>
                    </a:cubicBezTo>
                    <a:cubicBezTo>
                      <a:pt x="411756" y="166687"/>
                      <a:pt x="412986" y="154602"/>
                      <a:pt x="418106" y="157162"/>
                    </a:cubicBezTo>
                    <a:cubicBezTo>
                      <a:pt x="425753" y="160985"/>
                      <a:pt x="424709" y="172941"/>
                      <a:pt x="427631" y="180975"/>
                    </a:cubicBezTo>
                    <a:cubicBezTo>
                      <a:pt x="431062" y="190411"/>
                      <a:pt x="433855" y="197647"/>
                      <a:pt x="437156" y="209550"/>
                    </a:cubicBezTo>
                    <a:cubicBezTo>
                      <a:pt x="440457" y="221453"/>
                      <a:pt x="439998" y="241975"/>
                      <a:pt x="447437" y="252390"/>
                    </a:cubicBezTo>
                    <a:cubicBezTo>
                      <a:pt x="452397" y="259334"/>
                      <a:pt x="472700" y="235066"/>
                      <a:pt x="475256" y="233362"/>
                    </a:cubicBezTo>
                    <a:cubicBezTo>
                      <a:pt x="493561" y="205906"/>
                      <a:pt x="485574" y="234949"/>
                      <a:pt x="489543" y="233362"/>
                    </a:cubicBezTo>
                    <a:cubicBezTo>
                      <a:pt x="493512" y="231775"/>
                      <a:pt x="490337" y="239712"/>
                      <a:pt x="499068" y="223837"/>
                    </a:cubicBezTo>
                    <a:cubicBezTo>
                      <a:pt x="507799" y="207962"/>
                      <a:pt x="531612" y="157956"/>
                      <a:pt x="541931" y="138112"/>
                    </a:cubicBezTo>
                    <a:cubicBezTo>
                      <a:pt x="552850" y="105353"/>
                      <a:pt x="537914" y="145143"/>
                      <a:pt x="560981" y="104775"/>
                    </a:cubicBezTo>
                    <a:cubicBezTo>
                      <a:pt x="563472" y="100416"/>
                      <a:pt x="562607" y="94407"/>
                      <a:pt x="565743" y="90487"/>
                    </a:cubicBezTo>
                    <a:cubicBezTo>
                      <a:pt x="569319" y="86017"/>
                      <a:pt x="571184" y="87839"/>
                      <a:pt x="580031" y="80962"/>
                    </a:cubicBezTo>
                    <a:cubicBezTo>
                      <a:pt x="588878" y="74085"/>
                      <a:pt x="611728" y="55221"/>
                      <a:pt x="618825" y="49227"/>
                    </a:cubicBezTo>
                    <a:cubicBezTo>
                      <a:pt x="625922" y="43233"/>
                      <a:pt x="631144" y="10301"/>
                      <a:pt x="635859" y="51320"/>
                    </a:cubicBezTo>
                    <a:cubicBezTo>
                      <a:pt x="640574" y="92339"/>
                      <a:pt x="642307" y="250453"/>
                      <a:pt x="647116" y="295341"/>
                    </a:cubicBezTo>
                    <a:cubicBezTo>
                      <a:pt x="647461" y="300349"/>
                      <a:pt x="646706" y="312737"/>
                      <a:pt x="651468" y="314325"/>
                    </a:cubicBezTo>
                    <a:cubicBezTo>
                      <a:pt x="654643" y="307975"/>
                      <a:pt x="657082" y="304804"/>
                      <a:pt x="660993" y="295275"/>
                    </a:cubicBezTo>
                    <a:cubicBezTo>
                      <a:pt x="664904" y="285746"/>
                      <a:pt x="667306" y="278316"/>
                      <a:pt x="674933" y="257152"/>
                    </a:cubicBezTo>
                    <a:cubicBezTo>
                      <a:pt x="682561" y="235988"/>
                      <a:pt x="698763" y="188924"/>
                      <a:pt x="706758" y="168290"/>
                    </a:cubicBezTo>
                    <a:cubicBezTo>
                      <a:pt x="714753" y="147656"/>
                      <a:pt x="719421" y="133617"/>
                      <a:pt x="722906" y="133350"/>
                    </a:cubicBezTo>
                    <a:cubicBezTo>
                      <a:pt x="726391" y="133083"/>
                      <a:pt x="725467" y="155680"/>
                      <a:pt x="727668" y="166687"/>
                    </a:cubicBezTo>
                    <a:cubicBezTo>
                      <a:pt x="728653" y="171610"/>
                      <a:pt x="728946" y="182822"/>
                      <a:pt x="732431" y="180975"/>
                    </a:cubicBezTo>
                    <a:cubicBezTo>
                      <a:pt x="735916" y="179128"/>
                      <a:pt x="741551" y="163805"/>
                      <a:pt x="748579" y="155604"/>
                    </a:cubicBezTo>
                    <a:cubicBezTo>
                      <a:pt x="755607" y="147403"/>
                      <a:pt x="766972" y="143416"/>
                      <a:pt x="774599" y="131770"/>
                    </a:cubicBezTo>
                    <a:cubicBezTo>
                      <a:pt x="782226" y="120124"/>
                      <a:pt x="789465" y="88637"/>
                      <a:pt x="794343" y="85725"/>
                    </a:cubicBezTo>
                    <a:cubicBezTo>
                      <a:pt x="799221" y="82813"/>
                      <a:pt x="801542" y="104533"/>
                      <a:pt x="803868" y="114300"/>
                    </a:cubicBezTo>
                    <a:cubicBezTo>
                      <a:pt x="809493" y="137924"/>
                      <a:pt x="812290" y="174624"/>
                      <a:pt x="818156" y="185737"/>
                    </a:cubicBezTo>
                    <a:cubicBezTo>
                      <a:pt x="824022" y="196850"/>
                      <a:pt x="835146" y="184111"/>
                      <a:pt x="839066" y="180975"/>
                    </a:cubicBezTo>
                    <a:cubicBezTo>
                      <a:pt x="845489" y="175837"/>
                      <a:pt x="849422" y="155575"/>
                      <a:pt x="856256" y="138112"/>
                    </a:cubicBezTo>
                    <a:cubicBezTo>
                      <a:pt x="863090" y="120650"/>
                      <a:pt x="874336" y="97217"/>
                      <a:pt x="880068" y="76200"/>
                    </a:cubicBezTo>
                    <a:cubicBezTo>
                      <a:pt x="882198" y="68390"/>
                      <a:pt x="881211" y="59627"/>
                      <a:pt x="884831" y="52387"/>
                    </a:cubicBezTo>
                    <a:cubicBezTo>
                      <a:pt x="887843" y="46363"/>
                      <a:pt x="894356" y="42862"/>
                      <a:pt x="899118" y="38100"/>
                    </a:cubicBezTo>
                    <a:cubicBezTo>
                      <a:pt x="900706" y="30162"/>
                      <a:pt x="901918" y="22140"/>
                      <a:pt x="903881" y="14287"/>
                    </a:cubicBezTo>
                    <a:cubicBezTo>
                      <a:pt x="905099" y="9417"/>
                      <a:pt x="903623" y="0"/>
                      <a:pt x="908643" y="0"/>
                    </a:cubicBezTo>
                    <a:cubicBezTo>
                      <a:pt x="913663" y="0"/>
                      <a:pt x="911818" y="9525"/>
                      <a:pt x="913406" y="14287"/>
                    </a:cubicBezTo>
                    <a:cubicBezTo>
                      <a:pt x="914993" y="33337"/>
                      <a:pt x="915025" y="52581"/>
                      <a:pt x="918168" y="71437"/>
                    </a:cubicBezTo>
                    <a:cubicBezTo>
                      <a:pt x="919819" y="81341"/>
                      <a:pt x="924935" y="90358"/>
                      <a:pt x="927693" y="100012"/>
                    </a:cubicBezTo>
                    <a:cubicBezTo>
                      <a:pt x="942673" y="152442"/>
                      <a:pt x="928213" y="123104"/>
                      <a:pt x="951506" y="161925"/>
                    </a:cubicBezTo>
                    <a:cubicBezTo>
                      <a:pt x="953093" y="168275"/>
                      <a:pt x="955097" y="174535"/>
                      <a:pt x="956268" y="180975"/>
                    </a:cubicBezTo>
                    <a:cubicBezTo>
                      <a:pt x="958276" y="192019"/>
                      <a:pt x="957001" y="203835"/>
                      <a:pt x="961031" y="214312"/>
                    </a:cubicBezTo>
                    <a:cubicBezTo>
                      <a:pt x="965141" y="224997"/>
                      <a:pt x="975207" y="234317"/>
                      <a:pt x="980081" y="242887"/>
                    </a:cubicBezTo>
                    <a:cubicBezTo>
                      <a:pt x="984955" y="251457"/>
                      <a:pt x="983258" y="262242"/>
                      <a:pt x="990273" y="265734"/>
                    </a:cubicBezTo>
                    <a:cubicBezTo>
                      <a:pt x="996576" y="258872"/>
                      <a:pt x="1004240" y="263357"/>
                      <a:pt x="1023774" y="261405"/>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Freeform 113"/>
              <p:cNvSpPr/>
              <p:nvPr/>
            </p:nvSpPr>
            <p:spPr bwMode="gray">
              <a:xfrm>
                <a:off x="10596500" y="3089997"/>
                <a:ext cx="1890172" cy="300436"/>
              </a:xfrm>
              <a:custGeom>
                <a:avLst/>
                <a:gdLst>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19112 w 1011118"/>
                  <a:gd name="connsiteY37" fmla="*/ 166687 h 314325"/>
                  <a:gd name="connsiteX38" fmla="*/ 533400 w 1011118"/>
                  <a:gd name="connsiteY38" fmla="*/ 138112 h 314325"/>
                  <a:gd name="connsiteX39" fmla="*/ 552450 w 1011118"/>
                  <a:gd name="connsiteY39" fmla="*/ 104775 h 314325"/>
                  <a:gd name="connsiteX40" fmla="*/ 557212 w 1011118"/>
                  <a:gd name="connsiteY40" fmla="*/ 90487 h 314325"/>
                  <a:gd name="connsiteX41" fmla="*/ 571500 w 1011118"/>
                  <a:gd name="connsiteY41" fmla="*/ 80962 h 314325"/>
                  <a:gd name="connsiteX42" fmla="*/ 619125 w 1011118"/>
                  <a:gd name="connsiteY42" fmla="*/ 52387 h 314325"/>
                  <a:gd name="connsiteX43" fmla="*/ 628650 w 1011118"/>
                  <a:gd name="connsiteY43" fmla="*/ 309562 h 314325"/>
                  <a:gd name="connsiteX44" fmla="*/ 642937 w 1011118"/>
                  <a:gd name="connsiteY44" fmla="*/ 314325 h 314325"/>
                  <a:gd name="connsiteX45" fmla="*/ 652462 w 1011118"/>
                  <a:gd name="connsiteY45" fmla="*/ 295275 h 314325"/>
                  <a:gd name="connsiteX46" fmla="*/ 661987 w 1011118"/>
                  <a:gd name="connsiteY46" fmla="*/ 252412 h 314325"/>
                  <a:gd name="connsiteX47" fmla="*/ 690562 w 1011118"/>
                  <a:gd name="connsiteY47" fmla="*/ 204787 h 314325"/>
                  <a:gd name="connsiteX48" fmla="*/ 704850 w 1011118"/>
                  <a:gd name="connsiteY48" fmla="*/ 171450 h 314325"/>
                  <a:gd name="connsiteX49" fmla="*/ 714375 w 1011118"/>
                  <a:gd name="connsiteY49" fmla="*/ 133350 h 314325"/>
                  <a:gd name="connsiteX50" fmla="*/ 719137 w 1011118"/>
                  <a:gd name="connsiteY50" fmla="*/ 166687 h 314325"/>
                  <a:gd name="connsiteX51" fmla="*/ 723900 w 1011118"/>
                  <a:gd name="connsiteY51" fmla="*/ 180975 h 314325"/>
                  <a:gd name="connsiteX52" fmla="*/ 733425 w 1011118"/>
                  <a:gd name="connsiteY52" fmla="*/ 161925 h 314325"/>
                  <a:gd name="connsiteX53" fmla="*/ 757237 w 1011118"/>
                  <a:gd name="connsiteY53" fmla="*/ 133350 h 314325"/>
                  <a:gd name="connsiteX54" fmla="*/ 785812 w 1011118"/>
                  <a:gd name="connsiteY54" fmla="*/ 85725 h 314325"/>
                  <a:gd name="connsiteX55" fmla="*/ 795337 w 1011118"/>
                  <a:gd name="connsiteY55" fmla="*/ 114300 h 314325"/>
                  <a:gd name="connsiteX56" fmla="*/ 809625 w 1011118"/>
                  <a:gd name="connsiteY56" fmla="*/ 185737 h 314325"/>
                  <a:gd name="connsiteX57" fmla="*/ 823912 w 1011118"/>
                  <a:gd name="connsiteY57" fmla="*/ 180975 h 314325"/>
                  <a:gd name="connsiteX58" fmla="*/ 847725 w 1011118"/>
                  <a:gd name="connsiteY58" fmla="*/ 138112 h 314325"/>
                  <a:gd name="connsiteX59" fmla="*/ 871537 w 1011118"/>
                  <a:gd name="connsiteY59" fmla="*/ 76200 h 314325"/>
                  <a:gd name="connsiteX60" fmla="*/ 876300 w 1011118"/>
                  <a:gd name="connsiteY60" fmla="*/ 52387 h 314325"/>
                  <a:gd name="connsiteX61" fmla="*/ 890587 w 1011118"/>
                  <a:gd name="connsiteY61" fmla="*/ 38100 h 314325"/>
                  <a:gd name="connsiteX62" fmla="*/ 895350 w 1011118"/>
                  <a:gd name="connsiteY62" fmla="*/ 14287 h 314325"/>
                  <a:gd name="connsiteX63" fmla="*/ 900112 w 1011118"/>
                  <a:gd name="connsiteY63" fmla="*/ 0 h 314325"/>
                  <a:gd name="connsiteX64" fmla="*/ 904875 w 1011118"/>
                  <a:gd name="connsiteY64" fmla="*/ 14287 h 314325"/>
                  <a:gd name="connsiteX65" fmla="*/ 909637 w 1011118"/>
                  <a:gd name="connsiteY65" fmla="*/ 71437 h 314325"/>
                  <a:gd name="connsiteX66" fmla="*/ 919162 w 1011118"/>
                  <a:gd name="connsiteY66" fmla="*/ 100012 h 314325"/>
                  <a:gd name="connsiteX67" fmla="*/ 942975 w 1011118"/>
                  <a:gd name="connsiteY67" fmla="*/ 161925 h 314325"/>
                  <a:gd name="connsiteX68" fmla="*/ 947737 w 1011118"/>
                  <a:gd name="connsiteY68" fmla="*/ 180975 h 314325"/>
                  <a:gd name="connsiteX69" fmla="*/ 952500 w 1011118"/>
                  <a:gd name="connsiteY69" fmla="*/ 214312 h 314325"/>
                  <a:gd name="connsiteX70" fmla="*/ 971550 w 1011118"/>
                  <a:gd name="connsiteY70" fmla="*/ 242887 h 314325"/>
                  <a:gd name="connsiteX71" fmla="*/ 985837 w 1011118"/>
                  <a:gd name="connsiteY71" fmla="*/ 238125 h 314325"/>
                  <a:gd name="connsiteX72" fmla="*/ 990600 w 1011118"/>
                  <a:gd name="connsiteY72" fmla="*/ 223837 h 314325"/>
                  <a:gd name="connsiteX73" fmla="*/ 1004887 w 1011118"/>
                  <a:gd name="connsiteY73"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33400 w 1011118"/>
                  <a:gd name="connsiteY37" fmla="*/ 138112 h 314325"/>
                  <a:gd name="connsiteX38" fmla="*/ 552450 w 1011118"/>
                  <a:gd name="connsiteY38" fmla="*/ 104775 h 314325"/>
                  <a:gd name="connsiteX39" fmla="*/ 557212 w 1011118"/>
                  <a:gd name="connsiteY39" fmla="*/ 90487 h 314325"/>
                  <a:gd name="connsiteX40" fmla="*/ 571500 w 1011118"/>
                  <a:gd name="connsiteY40" fmla="*/ 80962 h 314325"/>
                  <a:gd name="connsiteX41" fmla="*/ 619125 w 1011118"/>
                  <a:gd name="connsiteY41" fmla="*/ 52387 h 314325"/>
                  <a:gd name="connsiteX42" fmla="*/ 628650 w 1011118"/>
                  <a:gd name="connsiteY42" fmla="*/ 309562 h 314325"/>
                  <a:gd name="connsiteX43" fmla="*/ 642937 w 1011118"/>
                  <a:gd name="connsiteY43" fmla="*/ 314325 h 314325"/>
                  <a:gd name="connsiteX44" fmla="*/ 652462 w 1011118"/>
                  <a:gd name="connsiteY44" fmla="*/ 295275 h 314325"/>
                  <a:gd name="connsiteX45" fmla="*/ 661987 w 1011118"/>
                  <a:gd name="connsiteY45" fmla="*/ 252412 h 314325"/>
                  <a:gd name="connsiteX46" fmla="*/ 690562 w 1011118"/>
                  <a:gd name="connsiteY46" fmla="*/ 204787 h 314325"/>
                  <a:gd name="connsiteX47" fmla="*/ 704850 w 1011118"/>
                  <a:gd name="connsiteY47" fmla="*/ 171450 h 314325"/>
                  <a:gd name="connsiteX48" fmla="*/ 714375 w 1011118"/>
                  <a:gd name="connsiteY48" fmla="*/ 133350 h 314325"/>
                  <a:gd name="connsiteX49" fmla="*/ 719137 w 1011118"/>
                  <a:gd name="connsiteY49" fmla="*/ 166687 h 314325"/>
                  <a:gd name="connsiteX50" fmla="*/ 723900 w 1011118"/>
                  <a:gd name="connsiteY50" fmla="*/ 180975 h 314325"/>
                  <a:gd name="connsiteX51" fmla="*/ 733425 w 1011118"/>
                  <a:gd name="connsiteY51" fmla="*/ 161925 h 314325"/>
                  <a:gd name="connsiteX52" fmla="*/ 757237 w 1011118"/>
                  <a:gd name="connsiteY52" fmla="*/ 133350 h 314325"/>
                  <a:gd name="connsiteX53" fmla="*/ 785812 w 1011118"/>
                  <a:gd name="connsiteY53" fmla="*/ 85725 h 314325"/>
                  <a:gd name="connsiteX54" fmla="*/ 795337 w 1011118"/>
                  <a:gd name="connsiteY54" fmla="*/ 114300 h 314325"/>
                  <a:gd name="connsiteX55" fmla="*/ 809625 w 1011118"/>
                  <a:gd name="connsiteY55" fmla="*/ 185737 h 314325"/>
                  <a:gd name="connsiteX56" fmla="*/ 823912 w 1011118"/>
                  <a:gd name="connsiteY56" fmla="*/ 180975 h 314325"/>
                  <a:gd name="connsiteX57" fmla="*/ 847725 w 1011118"/>
                  <a:gd name="connsiteY57" fmla="*/ 138112 h 314325"/>
                  <a:gd name="connsiteX58" fmla="*/ 871537 w 1011118"/>
                  <a:gd name="connsiteY58" fmla="*/ 76200 h 314325"/>
                  <a:gd name="connsiteX59" fmla="*/ 876300 w 1011118"/>
                  <a:gd name="connsiteY59" fmla="*/ 52387 h 314325"/>
                  <a:gd name="connsiteX60" fmla="*/ 890587 w 1011118"/>
                  <a:gd name="connsiteY60" fmla="*/ 38100 h 314325"/>
                  <a:gd name="connsiteX61" fmla="*/ 895350 w 1011118"/>
                  <a:gd name="connsiteY61" fmla="*/ 14287 h 314325"/>
                  <a:gd name="connsiteX62" fmla="*/ 900112 w 1011118"/>
                  <a:gd name="connsiteY62" fmla="*/ 0 h 314325"/>
                  <a:gd name="connsiteX63" fmla="*/ 904875 w 1011118"/>
                  <a:gd name="connsiteY63" fmla="*/ 14287 h 314325"/>
                  <a:gd name="connsiteX64" fmla="*/ 909637 w 1011118"/>
                  <a:gd name="connsiteY64" fmla="*/ 71437 h 314325"/>
                  <a:gd name="connsiteX65" fmla="*/ 919162 w 1011118"/>
                  <a:gd name="connsiteY65" fmla="*/ 100012 h 314325"/>
                  <a:gd name="connsiteX66" fmla="*/ 942975 w 1011118"/>
                  <a:gd name="connsiteY66" fmla="*/ 161925 h 314325"/>
                  <a:gd name="connsiteX67" fmla="*/ 947737 w 1011118"/>
                  <a:gd name="connsiteY67" fmla="*/ 180975 h 314325"/>
                  <a:gd name="connsiteX68" fmla="*/ 952500 w 1011118"/>
                  <a:gd name="connsiteY68" fmla="*/ 214312 h 314325"/>
                  <a:gd name="connsiteX69" fmla="*/ 971550 w 1011118"/>
                  <a:gd name="connsiteY69" fmla="*/ 242887 h 314325"/>
                  <a:gd name="connsiteX70" fmla="*/ 985837 w 1011118"/>
                  <a:gd name="connsiteY70" fmla="*/ 238125 h 314325"/>
                  <a:gd name="connsiteX71" fmla="*/ 990600 w 1011118"/>
                  <a:gd name="connsiteY71" fmla="*/ 223837 h 314325"/>
                  <a:gd name="connsiteX72" fmla="*/ 1004887 w 1011118"/>
                  <a:gd name="connsiteY72"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0537 w 1011118"/>
                  <a:gd name="connsiteY35" fmla="*/ 223837 h 314325"/>
                  <a:gd name="connsiteX36" fmla="*/ 533400 w 1011118"/>
                  <a:gd name="connsiteY36" fmla="*/ 138112 h 314325"/>
                  <a:gd name="connsiteX37" fmla="*/ 552450 w 1011118"/>
                  <a:gd name="connsiteY37" fmla="*/ 104775 h 314325"/>
                  <a:gd name="connsiteX38" fmla="*/ 557212 w 1011118"/>
                  <a:gd name="connsiteY38" fmla="*/ 90487 h 314325"/>
                  <a:gd name="connsiteX39" fmla="*/ 571500 w 1011118"/>
                  <a:gd name="connsiteY39" fmla="*/ 80962 h 314325"/>
                  <a:gd name="connsiteX40" fmla="*/ 619125 w 1011118"/>
                  <a:gd name="connsiteY40" fmla="*/ 52387 h 314325"/>
                  <a:gd name="connsiteX41" fmla="*/ 628650 w 1011118"/>
                  <a:gd name="connsiteY41" fmla="*/ 309562 h 314325"/>
                  <a:gd name="connsiteX42" fmla="*/ 642937 w 1011118"/>
                  <a:gd name="connsiteY42" fmla="*/ 314325 h 314325"/>
                  <a:gd name="connsiteX43" fmla="*/ 652462 w 1011118"/>
                  <a:gd name="connsiteY43" fmla="*/ 295275 h 314325"/>
                  <a:gd name="connsiteX44" fmla="*/ 661987 w 1011118"/>
                  <a:gd name="connsiteY44" fmla="*/ 252412 h 314325"/>
                  <a:gd name="connsiteX45" fmla="*/ 690562 w 1011118"/>
                  <a:gd name="connsiteY45" fmla="*/ 204787 h 314325"/>
                  <a:gd name="connsiteX46" fmla="*/ 704850 w 1011118"/>
                  <a:gd name="connsiteY46" fmla="*/ 171450 h 314325"/>
                  <a:gd name="connsiteX47" fmla="*/ 714375 w 1011118"/>
                  <a:gd name="connsiteY47" fmla="*/ 133350 h 314325"/>
                  <a:gd name="connsiteX48" fmla="*/ 719137 w 1011118"/>
                  <a:gd name="connsiteY48" fmla="*/ 166687 h 314325"/>
                  <a:gd name="connsiteX49" fmla="*/ 723900 w 1011118"/>
                  <a:gd name="connsiteY49" fmla="*/ 180975 h 314325"/>
                  <a:gd name="connsiteX50" fmla="*/ 733425 w 1011118"/>
                  <a:gd name="connsiteY50" fmla="*/ 161925 h 314325"/>
                  <a:gd name="connsiteX51" fmla="*/ 757237 w 1011118"/>
                  <a:gd name="connsiteY51" fmla="*/ 133350 h 314325"/>
                  <a:gd name="connsiteX52" fmla="*/ 785812 w 1011118"/>
                  <a:gd name="connsiteY52" fmla="*/ 85725 h 314325"/>
                  <a:gd name="connsiteX53" fmla="*/ 795337 w 1011118"/>
                  <a:gd name="connsiteY53" fmla="*/ 114300 h 314325"/>
                  <a:gd name="connsiteX54" fmla="*/ 809625 w 1011118"/>
                  <a:gd name="connsiteY54" fmla="*/ 185737 h 314325"/>
                  <a:gd name="connsiteX55" fmla="*/ 823912 w 1011118"/>
                  <a:gd name="connsiteY55" fmla="*/ 180975 h 314325"/>
                  <a:gd name="connsiteX56" fmla="*/ 847725 w 1011118"/>
                  <a:gd name="connsiteY56" fmla="*/ 138112 h 314325"/>
                  <a:gd name="connsiteX57" fmla="*/ 871537 w 1011118"/>
                  <a:gd name="connsiteY57" fmla="*/ 76200 h 314325"/>
                  <a:gd name="connsiteX58" fmla="*/ 876300 w 1011118"/>
                  <a:gd name="connsiteY58" fmla="*/ 52387 h 314325"/>
                  <a:gd name="connsiteX59" fmla="*/ 890587 w 1011118"/>
                  <a:gd name="connsiteY59" fmla="*/ 38100 h 314325"/>
                  <a:gd name="connsiteX60" fmla="*/ 895350 w 1011118"/>
                  <a:gd name="connsiteY60" fmla="*/ 14287 h 314325"/>
                  <a:gd name="connsiteX61" fmla="*/ 900112 w 1011118"/>
                  <a:gd name="connsiteY61" fmla="*/ 0 h 314325"/>
                  <a:gd name="connsiteX62" fmla="*/ 904875 w 1011118"/>
                  <a:gd name="connsiteY62" fmla="*/ 14287 h 314325"/>
                  <a:gd name="connsiteX63" fmla="*/ 909637 w 1011118"/>
                  <a:gd name="connsiteY63" fmla="*/ 71437 h 314325"/>
                  <a:gd name="connsiteX64" fmla="*/ 919162 w 1011118"/>
                  <a:gd name="connsiteY64" fmla="*/ 100012 h 314325"/>
                  <a:gd name="connsiteX65" fmla="*/ 942975 w 1011118"/>
                  <a:gd name="connsiteY65" fmla="*/ 161925 h 314325"/>
                  <a:gd name="connsiteX66" fmla="*/ 947737 w 1011118"/>
                  <a:gd name="connsiteY66" fmla="*/ 180975 h 314325"/>
                  <a:gd name="connsiteX67" fmla="*/ 952500 w 1011118"/>
                  <a:gd name="connsiteY67" fmla="*/ 214312 h 314325"/>
                  <a:gd name="connsiteX68" fmla="*/ 971550 w 1011118"/>
                  <a:gd name="connsiteY68" fmla="*/ 242887 h 314325"/>
                  <a:gd name="connsiteX69" fmla="*/ 985837 w 1011118"/>
                  <a:gd name="connsiteY69" fmla="*/ 238125 h 314325"/>
                  <a:gd name="connsiteX70" fmla="*/ 990600 w 1011118"/>
                  <a:gd name="connsiteY70" fmla="*/ 223837 h 314325"/>
                  <a:gd name="connsiteX71" fmla="*/ 1004887 w 1011118"/>
                  <a:gd name="connsiteY71"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23850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704850 w 1011118"/>
                  <a:gd name="connsiteY44" fmla="*/ 17145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30535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6250 w 1011118"/>
                  <a:gd name="connsiteY19" fmla="*/ 3663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990600"/>
                  <a:gd name="connsiteY0" fmla="*/ 266700 h 314325"/>
                  <a:gd name="connsiteX1" fmla="*/ 23812 w 990600"/>
                  <a:gd name="connsiteY1" fmla="*/ 242887 h 314325"/>
                  <a:gd name="connsiteX2" fmla="*/ 28575 w 990600"/>
                  <a:gd name="connsiteY2" fmla="*/ 228600 h 314325"/>
                  <a:gd name="connsiteX3" fmla="*/ 57150 w 990600"/>
                  <a:gd name="connsiteY3" fmla="*/ 180975 h 314325"/>
                  <a:gd name="connsiteX4" fmla="*/ 66675 w 990600"/>
                  <a:gd name="connsiteY4" fmla="*/ 166687 h 314325"/>
                  <a:gd name="connsiteX5" fmla="*/ 85725 w 990600"/>
                  <a:gd name="connsiteY5" fmla="*/ 114300 h 314325"/>
                  <a:gd name="connsiteX6" fmla="*/ 95250 w 990600"/>
                  <a:gd name="connsiteY6" fmla="*/ 100012 h 314325"/>
                  <a:gd name="connsiteX7" fmla="*/ 114300 w 990600"/>
                  <a:gd name="connsiteY7" fmla="*/ 57150 h 314325"/>
                  <a:gd name="connsiteX8" fmla="*/ 119062 w 990600"/>
                  <a:gd name="connsiteY8" fmla="*/ 42862 h 314325"/>
                  <a:gd name="connsiteX9" fmla="*/ 128587 w 990600"/>
                  <a:gd name="connsiteY9" fmla="*/ 4762 h 314325"/>
                  <a:gd name="connsiteX10" fmla="*/ 138112 w 990600"/>
                  <a:gd name="connsiteY10" fmla="*/ 100012 h 314325"/>
                  <a:gd name="connsiteX11" fmla="*/ 147637 w 990600"/>
                  <a:gd name="connsiteY11" fmla="*/ 152400 h 314325"/>
                  <a:gd name="connsiteX12" fmla="*/ 152400 w 990600"/>
                  <a:gd name="connsiteY12" fmla="*/ 228600 h 314325"/>
                  <a:gd name="connsiteX13" fmla="*/ 164889 w 990600"/>
                  <a:gd name="connsiteY13" fmla="*/ 268258 h 314325"/>
                  <a:gd name="connsiteX14" fmla="*/ 192770 w 990600"/>
                  <a:gd name="connsiteY14" fmla="*/ 255572 h 314325"/>
                  <a:gd name="connsiteX15" fmla="*/ 223081 w 990600"/>
                  <a:gd name="connsiteY15" fmla="*/ 201561 h 314325"/>
                  <a:gd name="connsiteX16" fmla="*/ 242887 w 990600"/>
                  <a:gd name="connsiteY16" fmla="*/ 171450 h 314325"/>
                  <a:gd name="connsiteX17" fmla="*/ 261937 w 990600"/>
                  <a:gd name="connsiteY17" fmla="*/ 142875 h 314325"/>
                  <a:gd name="connsiteX18" fmla="*/ 295275 w 990600"/>
                  <a:gd name="connsiteY18" fmla="*/ 71437 h 314325"/>
                  <a:gd name="connsiteX19" fmla="*/ 306250 w 990600"/>
                  <a:gd name="connsiteY19" fmla="*/ 36631 h 314325"/>
                  <a:gd name="connsiteX20" fmla="*/ 313221 w 990600"/>
                  <a:gd name="connsiteY20" fmla="*/ 88841 h 314325"/>
                  <a:gd name="connsiteX21" fmla="*/ 318331 w 990600"/>
                  <a:gd name="connsiteY21" fmla="*/ 147637 h 314325"/>
                  <a:gd name="connsiteX22" fmla="*/ 328612 w 990600"/>
                  <a:gd name="connsiteY22" fmla="*/ 171450 h 314325"/>
                  <a:gd name="connsiteX23" fmla="*/ 339998 w 990600"/>
                  <a:gd name="connsiteY23" fmla="*/ 261916 h 314325"/>
                  <a:gd name="connsiteX24" fmla="*/ 347662 w 990600"/>
                  <a:gd name="connsiteY24" fmla="*/ 247650 h 314325"/>
                  <a:gd name="connsiteX25" fmla="*/ 361256 w 990600"/>
                  <a:gd name="connsiteY25" fmla="*/ 231782 h 314325"/>
                  <a:gd name="connsiteX26" fmla="*/ 385762 w 990600"/>
                  <a:gd name="connsiteY26" fmla="*/ 180975 h 314325"/>
                  <a:gd name="connsiteX27" fmla="*/ 400050 w 990600"/>
                  <a:gd name="connsiteY27" fmla="*/ 171450 h 314325"/>
                  <a:gd name="connsiteX28" fmla="*/ 409575 w 990600"/>
                  <a:gd name="connsiteY28" fmla="*/ 157162 h 314325"/>
                  <a:gd name="connsiteX29" fmla="*/ 419100 w 990600"/>
                  <a:gd name="connsiteY29" fmla="*/ 180975 h 314325"/>
                  <a:gd name="connsiteX30" fmla="*/ 428625 w 990600"/>
                  <a:gd name="connsiteY30" fmla="*/ 209550 h 314325"/>
                  <a:gd name="connsiteX31" fmla="*/ 438906 w 990600"/>
                  <a:gd name="connsiteY31" fmla="*/ 252390 h 314325"/>
                  <a:gd name="connsiteX32" fmla="*/ 466725 w 990600"/>
                  <a:gd name="connsiteY32" fmla="*/ 233362 h 314325"/>
                  <a:gd name="connsiteX33" fmla="*/ 481012 w 990600"/>
                  <a:gd name="connsiteY33" fmla="*/ 233362 h 314325"/>
                  <a:gd name="connsiteX34" fmla="*/ 490537 w 990600"/>
                  <a:gd name="connsiteY34" fmla="*/ 223837 h 314325"/>
                  <a:gd name="connsiteX35" fmla="*/ 533400 w 990600"/>
                  <a:gd name="connsiteY35" fmla="*/ 138112 h 314325"/>
                  <a:gd name="connsiteX36" fmla="*/ 552450 w 990600"/>
                  <a:gd name="connsiteY36" fmla="*/ 104775 h 314325"/>
                  <a:gd name="connsiteX37" fmla="*/ 557212 w 990600"/>
                  <a:gd name="connsiteY37" fmla="*/ 90487 h 314325"/>
                  <a:gd name="connsiteX38" fmla="*/ 571500 w 990600"/>
                  <a:gd name="connsiteY38" fmla="*/ 80962 h 314325"/>
                  <a:gd name="connsiteX39" fmla="*/ 610294 w 990600"/>
                  <a:gd name="connsiteY39" fmla="*/ 49227 h 314325"/>
                  <a:gd name="connsiteX40" fmla="*/ 627328 w 990600"/>
                  <a:gd name="connsiteY40" fmla="*/ 51320 h 314325"/>
                  <a:gd name="connsiteX41" fmla="*/ 638585 w 990600"/>
                  <a:gd name="connsiteY41" fmla="*/ 295341 h 314325"/>
                  <a:gd name="connsiteX42" fmla="*/ 642937 w 990600"/>
                  <a:gd name="connsiteY42" fmla="*/ 314325 h 314325"/>
                  <a:gd name="connsiteX43" fmla="*/ 652462 w 990600"/>
                  <a:gd name="connsiteY43" fmla="*/ 295275 h 314325"/>
                  <a:gd name="connsiteX44" fmla="*/ 666402 w 990600"/>
                  <a:gd name="connsiteY44" fmla="*/ 257152 h 314325"/>
                  <a:gd name="connsiteX45" fmla="*/ 698227 w 990600"/>
                  <a:gd name="connsiteY45" fmla="*/ 168290 h 314325"/>
                  <a:gd name="connsiteX46" fmla="*/ 714375 w 990600"/>
                  <a:gd name="connsiteY46" fmla="*/ 133350 h 314325"/>
                  <a:gd name="connsiteX47" fmla="*/ 719137 w 990600"/>
                  <a:gd name="connsiteY47" fmla="*/ 166687 h 314325"/>
                  <a:gd name="connsiteX48" fmla="*/ 723900 w 990600"/>
                  <a:gd name="connsiteY48" fmla="*/ 180975 h 314325"/>
                  <a:gd name="connsiteX49" fmla="*/ 740048 w 990600"/>
                  <a:gd name="connsiteY49" fmla="*/ 155604 h 314325"/>
                  <a:gd name="connsiteX50" fmla="*/ 766068 w 990600"/>
                  <a:gd name="connsiteY50" fmla="*/ 131770 h 314325"/>
                  <a:gd name="connsiteX51" fmla="*/ 785812 w 990600"/>
                  <a:gd name="connsiteY51" fmla="*/ 85725 h 314325"/>
                  <a:gd name="connsiteX52" fmla="*/ 795337 w 990600"/>
                  <a:gd name="connsiteY52" fmla="*/ 114300 h 314325"/>
                  <a:gd name="connsiteX53" fmla="*/ 809625 w 990600"/>
                  <a:gd name="connsiteY53" fmla="*/ 185737 h 314325"/>
                  <a:gd name="connsiteX54" fmla="*/ 830535 w 990600"/>
                  <a:gd name="connsiteY54" fmla="*/ 180975 h 314325"/>
                  <a:gd name="connsiteX55" fmla="*/ 847725 w 990600"/>
                  <a:gd name="connsiteY55" fmla="*/ 138112 h 314325"/>
                  <a:gd name="connsiteX56" fmla="*/ 871537 w 990600"/>
                  <a:gd name="connsiteY56" fmla="*/ 76200 h 314325"/>
                  <a:gd name="connsiteX57" fmla="*/ 876300 w 990600"/>
                  <a:gd name="connsiteY57" fmla="*/ 52387 h 314325"/>
                  <a:gd name="connsiteX58" fmla="*/ 890587 w 990600"/>
                  <a:gd name="connsiteY58" fmla="*/ 38100 h 314325"/>
                  <a:gd name="connsiteX59" fmla="*/ 895350 w 990600"/>
                  <a:gd name="connsiteY59" fmla="*/ 14287 h 314325"/>
                  <a:gd name="connsiteX60" fmla="*/ 900112 w 990600"/>
                  <a:gd name="connsiteY60" fmla="*/ 0 h 314325"/>
                  <a:gd name="connsiteX61" fmla="*/ 904875 w 990600"/>
                  <a:gd name="connsiteY61" fmla="*/ 14287 h 314325"/>
                  <a:gd name="connsiteX62" fmla="*/ 909637 w 990600"/>
                  <a:gd name="connsiteY62" fmla="*/ 71437 h 314325"/>
                  <a:gd name="connsiteX63" fmla="*/ 919162 w 990600"/>
                  <a:gd name="connsiteY63" fmla="*/ 100012 h 314325"/>
                  <a:gd name="connsiteX64" fmla="*/ 942975 w 990600"/>
                  <a:gd name="connsiteY64" fmla="*/ 161925 h 314325"/>
                  <a:gd name="connsiteX65" fmla="*/ 947737 w 990600"/>
                  <a:gd name="connsiteY65" fmla="*/ 180975 h 314325"/>
                  <a:gd name="connsiteX66" fmla="*/ 952500 w 990600"/>
                  <a:gd name="connsiteY66" fmla="*/ 214312 h 314325"/>
                  <a:gd name="connsiteX67" fmla="*/ 971550 w 990600"/>
                  <a:gd name="connsiteY67" fmla="*/ 242887 h 314325"/>
                  <a:gd name="connsiteX68" fmla="*/ 985837 w 990600"/>
                  <a:gd name="connsiteY68" fmla="*/ 238125 h 314325"/>
                  <a:gd name="connsiteX69" fmla="*/ 990600 w 990600"/>
                  <a:gd name="connsiteY69" fmla="*/ 223837 h 314325"/>
                  <a:gd name="connsiteX0" fmla="*/ 0 w 1009366"/>
                  <a:gd name="connsiteY0" fmla="*/ 266700 h 314325"/>
                  <a:gd name="connsiteX1" fmla="*/ 23812 w 1009366"/>
                  <a:gd name="connsiteY1" fmla="*/ 242887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7957 w 1008814"/>
                  <a:gd name="connsiteY68" fmla="*/ 250306 h 314325"/>
                  <a:gd name="connsiteX69" fmla="*/ 1008814 w 1008814"/>
                  <a:gd name="connsiteY69" fmla="*/ 201715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417"/>
                  <a:gd name="connsiteY0" fmla="*/ 262750 h 314325"/>
                  <a:gd name="connsiteX1" fmla="*/ 10014 w 1010417"/>
                  <a:gd name="connsiteY1" fmla="*/ 273436 h 314325"/>
                  <a:gd name="connsiteX2" fmla="*/ 28023 w 1010417"/>
                  <a:gd name="connsiteY2" fmla="*/ 228600 h 314325"/>
                  <a:gd name="connsiteX3" fmla="*/ 56598 w 1010417"/>
                  <a:gd name="connsiteY3" fmla="*/ 180975 h 314325"/>
                  <a:gd name="connsiteX4" fmla="*/ 66123 w 1010417"/>
                  <a:gd name="connsiteY4" fmla="*/ 166687 h 314325"/>
                  <a:gd name="connsiteX5" fmla="*/ 85173 w 1010417"/>
                  <a:gd name="connsiteY5" fmla="*/ 114300 h 314325"/>
                  <a:gd name="connsiteX6" fmla="*/ 94698 w 1010417"/>
                  <a:gd name="connsiteY6" fmla="*/ 100012 h 314325"/>
                  <a:gd name="connsiteX7" fmla="*/ 113748 w 1010417"/>
                  <a:gd name="connsiteY7" fmla="*/ 57150 h 314325"/>
                  <a:gd name="connsiteX8" fmla="*/ 118510 w 1010417"/>
                  <a:gd name="connsiteY8" fmla="*/ 42862 h 314325"/>
                  <a:gd name="connsiteX9" fmla="*/ 128035 w 1010417"/>
                  <a:gd name="connsiteY9" fmla="*/ 4762 h 314325"/>
                  <a:gd name="connsiteX10" fmla="*/ 137560 w 1010417"/>
                  <a:gd name="connsiteY10" fmla="*/ 100012 h 314325"/>
                  <a:gd name="connsiteX11" fmla="*/ 147085 w 1010417"/>
                  <a:gd name="connsiteY11" fmla="*/ 152400 h 314325"/>
                  <a:gd name="connsiteX12" fmla="*/ 151848 w 1010417"/>
                  <a:gd name="connsiteY12" fmla="*/ 228600 h 314325"/>
                  <a:gd name="connsiteX13" fmla="*/ 164337 w 1010417"/>
                  <a:gd name="connsiteY13" fmla="*/ 268258 h 314325"/>
                  <a:gd name="connsiteX14" fmla="*/ 192218 w 1010417"/>
                  <a:gd name="connsiteY14" fmla="*/ 255572 h 314325"/>
                  <a:gd name="connsiteX15" fmla="*/ 222529 w 1010417"/>
                  <a:gd name="connsiteY15" fmla="*/ 201561 h 314325"/>
                  <a:gd name="connsiteX16" fmla="*/ 242335 w 1010417"/>
                  <a:gd name="connsiteY16" fmla="*/ 171450 h 314325"/>
                  <a:gd name="connsiteX17" fmla="*/ 261385 w 1010417"/>
                  <a:gd name="connsiteY17" fmla="*/ 142875 h 314325"/>
                  <a:gd name="connsiteX18" fmla="*/ 294723 w 1010417"/>
                  <a:gd name="connsiteY18" fmla="*/ 71437 h 314325"/>
                  <a:gd name="connsiteX19" fmla="*/ 305698 w 1010417"/>
                  <a:gd name="connsiteY19" fmla="*/ 36631 h 314325"/>
                  <a:gd name="connsiteX20" fmla="*/ 312669 w 1010417"/>
                  <a:gd name="connsiteY20" fmla="*/ 88841 h 314325"/>
                  <a:gd name="connsiteX21" fmla="*/ 317779 w 1010417"/>
                  <a:gd name="connsiteY21" fmla="*/ 147637 h 314325"/>
                  <a:gd name="connsiteX22" fmla="*/ 328060 w 1010417"/>
                  <a:gd name="connsiteY22" fmla="*/ 171450 h 314325"/>
                  <a:gd name="connsiteX23" fmla="*/ 339446 w 1010417"/>
                  <a:gd name="connsiteY23" fmla="*/ 261916 h 314325"/>
                  <a:gd name="connsiteX24" fmla="*/ 347110 w 1010417"/>
                  <a:gd name="connsiteY24" fmla="*/ 247650 h 314325"/>
                  <a:gd name="connsiteX25" fmla="*/ 360704 w 1010417"/>
                  <a:gd name="connsiteY25" fmla="*/ 231782 h 314325"/>
                  <a:gd name="connsiteX26" fmla="*/ 385210 w 1010417"/>
                  <a:gd name="connsiteY26" fmla="*/ 180975 h 314325"/>
                  <a:gd name="connsiteX27" fmla="*/ 399498 w 1010417"/>
                  <a:gd name="connsiteY27" fmla="*/ 171450 h 314325"/>
                  <a:gd name="connsiteX28" fmla="*/ 409023 w 1010417"/>
                  <a:gd name="connsiteY28" fmla="*/ 157162 h 314325"/>
                  <a:gd name="connsiteX29" fmla="*/ 418548 w 1010417"/>
                  <a:gd name="connsiteY29" fmla="*/ 180975 h 314325"/>
                  <a:gd name="connsiteX30" fmla="*/ 428073 w 1010417"/>
                  <a:gd name="connsiteY30" fmla="*/ 209550 h 314325"/>
                  <a:gd name="connsiteX31" fmla="*/ 438354 w 1010417"/>
                  <a:gd name="connsiteY31" fmla="*/ 252390 h 314325"/>
                  <a:gd name="connsiteX32" fmla="*/ 466173 w 1010417"/>
                  <a:gd name="connsiteY32" fmla="*/ 233362 h 314325"/>
                  <a:gd name="connsiteX33" fmla="*/ 480460 w 1010417"/>
                  <a:gd name="connsiteY33" fmla="*/ 233362 h 314325"/>
                  <a:gd name="connsiteX34" fmla="*/ 489985 w 1010417"/>
                  <a:gd name="connsiteY34" fmla="*/ 223837 h 314325"/>
                  <a:gd name="connsiteX35" fmla="*/ 532848 w 1010417"/>
                  <a:gd name="connsiteY35" fmla="*/ 138112 h 314325"/>
                  <a:gd name="connsiteX36" fmla="*/ 551898 w 1010417"/>
                  <a:gd name="connsiteY36" fmla="*/ 104775 h 314325"/>
                  <a:gd name="connsiteX37" fmla="*/ 556660 w 1010417"/>
                  <a:gd name="connsiteY37" fmla="*/ 90487 h 314325"/>
                  <a:gd name="connsiteX38" fmla="*/ 570948 w 1010417"/>
                  <a:gd name="connsiteY38" fmla="*/ 80962 h 314325"/>
                  <a:gd name="connsiteX39" fmla="*/ 609742 w 1010417"/>
                  <a:gd name="connsiteY39" fmla="*/ 49227 h 314325"/>
                  <a:gd name="connsiteX40" fmla="*/ 626776 w 1010417"/>
                  <a:gd name="connsiteY40" fmla="*/ 51320 h 314325"/>
                  <a:gd name="connsiteX41" fmla="*/ 638033 w 1010417"/>
                  <a:gd name="connsiteY41" fmla="*/ 295341 h 314325"/>
                  <a:gd name="connsiteX42" fmla="*/ 642385 w 1010417"/>
                  <a:gd name="connsiteY42" fmla="*/ 314325 h 314325"/>
                  <a:gd name="connsiteX43" fmla="*/ 651910 w 1010417"/>
                  <a:gd name="connsiteY43" fmla="*/ 295275 h 314325"/>
                  <a:gd name="connsiteX44" fmla="*/ 665850 w 1010417"/>
                  <a:gd name="connsiteY44" fmla="*/ 257152 h 314325"/>
                  <a:gd name="connsiteX45" fmla="*/ 697675 w 1010417"/>
                  <a:gd name="connsiteY45" fmla="*/ 168290 h 314325"/>
                  <a:gd name="connsiteX46" fmla="*/ 713823 w 1010417"/>
                  <a:gd name="connsiteY46" fmla="*/ 133350 h 314325"/>
                  <a:gd name="connsiteX47" fmla="*/ 718585 w 1010417"/>
                  <a:gd name="connsiteY47" fmla="*/ 166687 h 314325"/>
                  <a:gd name="connsiteX48" fmla="*/ 723348 w 1010417"/>
                  <a:gd name="connsiteY48" fmla="*/ 180975 h 314325"/>
                  <a:gd name="connsiteX49" fmla="*/ 739496 w 1010417"/>
                  <a:gd name="connsiteY49" fmla="*/ 155604 h 314325"/>
                  <a:gd name="connsiteX50" fmla="*/ 765516 w 1010417"/>
                  <a:gd name="connsiteY50" fmla="*/ 131770 h 314325"/>
                  <a:gd name="connsiteX51" fmla="*/ 785260 w 1010417"/>
                  <a:gd name="connsiteY51" fmla="*/ 85725 h 314325"/>
                  <a:gd name="connsiteX52" fmla="*/ 794785 w 1010417"/>
                  <a:gd name="connsiteY52" fmla="*/ 114300 h 314325"/>
                  <a:gd name="connsiteX53" fmla="*/ 809073 w 1010417"/>
                  <a:gd name="connsiteY53" fmla="*/ 185737 h 314325"/>
                  <a:gd name="connsiteX54" fmla="*/ 829983 w 1010417"/>
                  <a:gd name="connsiteY54" fmla="*/ 180975 h 314325"/>
                  <a:gd name="connsiteX55" fmla="*/ 847173 w 1010417"/>
                  <a:gd name="connsiteY55" fmla="*/ 138112 h 314325"/>
                  <a:gd name="connsiteX56" fmla="*/ 870985 w 1010417"/>
                  <a:gd name="connsiteY56" fmla="*/ 76200 h 314325"/>
                  <a:gd name="connsiteX57" fmla="*/ 875748 w 1010417"/>
                  <a:gd name="connsiteY57" fmla="*/ 52387 h 314325"/>
                  <a:gd name="connsiteX58" fmla="*/ 890035 w 1010417"/>
                  <a:gd name="connsiteY58" fmla="*/ 38100 h 314325"/>
                  <a:gd name="connsiteX59" fmla="*/ 894798 w 1010417"/>
                  <a:gd name="connsiteY59" fmla="*/ 14287 h 314325"/>
                  <a:gd name="connsiteX60" fmla="*/ 899560 w 1010417"/>
                  <a:gd name="connsiteY60" fmla="*/ 0 h 314325"/>
                  <a:gd name="connsiteX61" fmla="*/ 904323 w 1010417"/>
                  <a:gd name="connsiteY61" fmla="*/ 14287 h 314325"/>
                  <a:gd name="connsiteX62" fmla="*/ 909085 w 1010417"/>
                  <a:gd name="connsiteY62" fmla="*/ 71437 h 314325"/>
                  <a:gd name="connsiteX63" fmla="*/ 918610 w 1010417"/>
                  <a:gd name="connsiteY63" fmla="*/ 100012 h 314325"/>
                  <a:gd name="connsiteX64" fmla="*/ 942423 w 1010417"/>
                  <a:gd name="connsiteY64" fmla="*/ 161925 h 314325"/>
                  <a:gd name="connsiteX65" fmla="*/ 947185 w 1010417"/>
                  <a:gd name="connsiteY65" fmla="*/ 180975 h 314325"/>
                  <a:gd name="connsiteX66" fmla="*/ 951948 w 1010417"/>
                  <a:gd name="connsiteY66" fmla="*/ 214312 h 314325"/>
                  <a:gd name="connsiteX67" fmla="*/ 970998 w 1010417"/>
                  <a:gd name="connsiteY67" fmla="*/ 242887 h 314325"/>
                  <a:gd name="connsiteX68" fmla="*/ 987957 w 1010417"/>
                  <a:gd name="connsiteY68" fmla="*/ 250306 h 314325"/>
                  <a:gd name="connsiteX69" fmla="*/ 1010417 w 1010417"/>
                  <a:gd name="connsiteY69" fmla="*/ 262624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0121 w 1011486"/>
                  <a:gd name="connsiteY68" fmla="*/ 263299 h 314325"/>
                  <a:gd name="connsiteX69" fmla="*/ 1011486 w 1011486"/>
                  <a:gd name="connsiteY69" fmla="*/ 265059 h 314325"/>
                  <a:gd name="connsiteX0" fmla="*/ 0 w 1016295"/>
                  <a:gd name="connsiteY0" fmla="*/ 262750 h 314325"/>
                  <a:gd name="connsiteX1" fmla="*/ 10014 w 1016295"/>
                  <a:gd name="connsiteY1" fmla="*/ 273436 h 314325"/>
                  <a:gd name="connsiteX2" fmla="*/ 28023 w 1016295"/>
                  <a:gd name="connsiteY2" fmla="*/ 228600 h 314325"/>
                  <a:gd name="connsiteX3" fmla="*/ 56598 w 1016295"/>
                  <a:gd name="connsiteY3" fmla="*/ 180975 h 314325"/>
                  <a:gd name="connsiteX4" fmla="*/ 66123 w 1016295"/>
                  <a:gd name="connsiteY4" fmla="*/ 166687 h 314325"/>
                  <a:gd name="connsiteX5" fmla="*/ 85173 w 1016295"/>
                  <a:gd name="connsiteY5" fmla="*/ 114300 h 314325"/>
                  <a:gd name="connsiteX6" fmla="*/ 94698 w 1016295"/>
                  <a:gd name="connsiteY6" fmla="*/ 100012 h 314325"/>
                  <a:gd name="connsiteX7" fmla="*/ 113748 w 1016295"/>
                  <a:gd name="connsiteY7" fmla="*/ 57150 h 314325"/>
                  <a:gd name="connsiteX8" fmla="*/ 118510 w 1016295"/>
                  <a:gd name="connsiteY8" fmla="*/ 42862 h 314325"/>
                  <a:gd name="connsiteX9" fmla="*/ 128035 w 1016295"/>
                  <a:gd name="connsiteY9" fmla="*/ 4762 h 314325"/>
                  <a:gd name="connsiteX10" fmla="*/ 137560 w 1016295"/>
                  <a:gd name="connsiteY10" fmla="*/ 100012 h 314325"/>
                  <a:gd name="connsiteX11" fmla="*/ 147085 w 1016295"/>
                  <a:gd name="connsiteY11" fmla="*/ 152400 h 314325"/>
                  <a:gd name="connsiteX12" fmla="*/ 151848 w 1016295"/>
                  <a:gd name="connsiteY12" fmla="*/ 228600 h 314325"/>
                  <a:gd name="connsiteX13" fmla="*/ 164337 w 1016295"/>
                  <a:gd name="connsiteY13" fmla="*/ 268258 h 314325"/>
                  <a:gd name="connsiteX14" fmla="*/ 192218 w 1016295"/>
                  <a:gd name="connsiteY14" fmla="*/ 255572 h 314325"/>
                  <a:gd name="connsiteX15" fmla="*/ 222529 w 1016295"/>
                  <a:gd name="connsiteY15" fmla="*/ 201561 h 314325"/>
                  <a:gd name="connsiteX16" fmla="*/ 242335 w 1016295"/>
                  <a:gd name="connsiteY16" fmla="*/ 171450 h 314325"/>
                  <a:gd name="connsiteX17" fmla="*/ 261385 w 1016295"/>
                  <a:gd name="connsiteY17" fmla="*/ 142875 h 314325"/>
                  <a:gd name="connsiteX18" fmla="*/ 294723 w 1016295"/>
                  <a:gd name="connsiteY18" fmla="*/ 71437 h 314325"/>
                  <a:gd name="connsiteX19" fmla="*/ 305698 w 1016295"/>
                  <a:gd name="connsiteY19" fmla="*/ 36631 h 314325"/>
                  <a:gd name="connsiteX20" fmla="*/ 312669 w 1016295"/>
                  <a:gd name="connsiteY20" fmla="*/ 88841 h 314325"/>
                  <a:gd name="connsiteX21" fmla="*/ 317779 w 1016295"/>
                  <a:gd name="connsiteY21" fmla="*/ 147637 h 314325"/>
                  <a:gd name="connsiteX22" fmla="*/ 328060 w 1016295"/>
                  <a:gd name="connsiteY22" fmla="*/ 171450 h 314325"/>
                  <a:gd name="connsiteX23" fmla="*/ 339446 w 1016295"/>
                  <a:gd name="connsiteY23" fmla="*/ 261916 h 314325"/>
                  <a:gd name="connsiteX24" fmla="*/ 347110 w 1016295"/>
                  <a:gd name="connsiteY24" fmla="*/ 247650 h 314325"/>
                  <a:gd name="connsiteX25" fmla="*/ 360704 w 1016295"/>
                  <a:gd name="connsiteY25" fmla="*/ 231782 h 314325"/>
                  <a:gd name="connsiteX26" fmla="*/ 385210 w 1016295"/>
                  <a:gd name="connsiteY26" fmla="*/ 180975 h 314325"/>
                  <a:gd name="connsiteX27" fmla="*/ 399498 w 1016295"/>
                  <a:gd name="connsiteY27" fmla="*/ 171450 h 314325"/>
                  <a:gd name="connsiteX28" fmla="*/ 409023 w 1016295"/>
                  <a:gd name="connsiteY28" fmla="*/ 157162 h 314325"/>
                  <a:gd name="connsiteX29" fmla="*/ 418548 w 1016295"/>
                  <a:gd name="connsiteY29" fmla="*/ 180975 h 314325"/>
                  <a:gd name="connsiteX30" fmla="*/ 428073 w 1016295"/>
                  <a:gd name="connsiteY30" fmla="*/ 209550 h 314325"/>
                  <a:gd name="connsiteX31" fmla="*/ 438354 w 1016295"/>
                  <a:gd name="connsiteY31" fmla="*/ 252390 h 314325"/>
                  <a:gd name="connsiteX32" fmla="*/ 466173 w 1016295"/>
                  <a:gd name="connsiteY32" fmla="*/ 233362 h 314325"/>
                  <a:gd name="connsiteX33" fmla="*/ 480460 w 1016295"/>
                  <a:gd name="connsiteY33" fmla="*/ 233362 h 314325"/>
                  <a:gd name="connsiteX34" fmla="*/ 489985 w 1016295"/>
                  <a:gd name="connsiteY34" fmla="*/ 223837 h 314325"/>
                  <a:gd name="connsiteX35" fmla="*/ 532848 w 1016295"/>
                  <a:gd name="connsiteY35" fmla="*/ 138112 h 314325"/>
                  <a:gd name="connsiteX36" fmla="*/ 551898 w 1016295"/>
                  <a:gd name="connsiteY36" fmla="*/ 104775 h 314325"/>
                  <a:gd name="connsiteX37" fmla="*/ 556660 w 1016295"/>
                  <a:gd name="connsiteY37" fmla="*/ 90487 h 314325"/>
                  <a:gd name="connsiteX38" fmla="*/ 570948 w 1016295"/>
                  <a:gd name="connsiteY38" fmla="*/ 80962 h 314325"/>
                  <a:gd name="connsiteX39" fmla="*/ 609742 w 1016295"/>
                  <a:gd name="connsiteY39" fmla="*/ 49227 h 314325"/>
                  <a:gd name="connsiteX40" fmla="*/ 626776 w 1016295"/>
                  <a:gd name="connsiteY40" fmla="*/ 51320 h 314325"/>
                  <a:gd name="connsiteX41" fmla="*/ 638033 w 1016295"/>
                  <a:gd name="connsiteY41" fmla="*/ 295341 h 314325"/>
                  <a:gd name="connsiteX42" fmla="*/ 642385 w 1016295"/>
                  <a:gd name="connsiteY42" fmla="*/ 314325 h 314325"/>
                  <a:gd name="connsiteX43" fmla="*/ 651910 w 1016295"/>
                  <a:gd name="connsiteY43" fmla="*/ 295275 h 314325"/>
                  <a:gd name="connsiteX44" fmla="*/ 665850 w 1016295"/>
                  <a:gd name="connsiteY44" fmla="*/ 257152 h 314325"/>
                  <a:gd name="connsiteX45" fmla="*/ 697675 w 1016295"/>
                  <a:gd name="connsiteY45" fmla="*/ 168290 h 314325"/>
                  <a:gd name="connsiteX46" fmla="*/ 713823 w 1016295"/>
                  <a:gd name="connsiteY46" fmla="*/ 133350 h 314325"/>
                  <a:gd name="connsiteX47" fmla="*/ 718585 w 1016295"/>
                  <a:gd name="connsiteY47" fmla="*/ 166687 h 314325"/>
                  <a:gd name="connsiteX48" fmla="*/ 723348 w 1016295"/>
                  <a:gd name="connsiteY48" fmla="*/ 180975 h 314325"/>
                  <a:gd name="connsiteX49" fmla="*/ 739496 w 1016295"/>
                  <a:gd name="connsiteY49" fmla="*/ 155604 h 314325"/>
                  <a:gd name="connsiteX50" fmla="*/ 765516 w 1016295"/>
                  <a:gd name="connsiteY50" fmla="*/ 131770 h 314325"/>
                  <a:gd name="connsiteX51" fmla="*/ 785260 w 1016295"/>
                  <a:gd name="connsiteY51" fmla="*/ 85725 h 314325"/>
                  <a:gd name="connsiteX52" fmla="*/ 794785 w 1016295"/>
                  <a:gd name="connsiteY52" fmla="*/ 114300 h 314325"/>
                  <a:gd name="connsiteX53" fmla="*/ 809073 w 1016295"/>
                  <a:gd name="connsiteY53" fmla="*/ 185737 h 314325"/>
                  <a:gd name="connsiteX54" fmla="*/ 829983 w 1016295"/>
                  <a:gd name="connsiteY54" fmla="*/ 180975 h 314325"/>
                  <a:gd name="connsiteX55" fmla="*/ 847173 w 1016295"/>
                  <a:gd name="connsiteY55" fmla="*/ 138112 h 314325"/>
                  <a:gd name="connsiteX56" fmla="*/ 870985 w 1016295"/>
                  <a:gd name="connsiteY56" fmla="*/ 76200 h 314325"/>
                  <a:gd name="connsiteX57" fmla="*/ 875748 w 1016295"/>
                  <a:gd name="connsiteY57" fmla="*/ 52387 h 314325"/>
                  <a:gd name="connsiteX58" fmla="*/ 890035 w 1016295"/>
                  <a:gd name="connsiteY58" fmla="*/ 38100 h 314325"/>
                  <a:gd name="connsiteX59" fmla="*/ 894798 w 1016295"/>
                  <a:gd name="connsiteY59" fmla="*/ 14287 h 314325"/>
                  <a:gd name="connsiteX60" fmla="*/ 899560 w 1016295"/>
                  <a:gd name="connsiteY60" fmla="*/ 0 h 314325"/>
                  <a:gd name="connsiteX61" fmla="*/ 904323 w 1016295"/>
                  <a:gd name="connsiteY61" fmla="*/ 14287 h 314325"/>
                  <a:gd name="connsiteX62" fmla="*/ 909085 w 1016295"/>
                  <a:gd name="connsiteY62" fmla="*/ 71437 h 314325"/>
                  <a:gd name="connsiteX63" fmla="*/ 918610 w 1016295"/>
                  <a:gd name="connsiteY63" fmla="*/ 100012 h 314325"/>
                  <a:gd name="connsiteX64" fmla="*/ 942423 w 1016295"/>
                  <a:gd name="connsiteY64" fmla="*/ 161925 h 314325"/>
                  <a:gd name="connsiteX65" fmla="*/ 947185 w 1016295"/>
                  <a:gd name="connsiteY65" fmla="*/ 180975 h 314325"/>
                  <a:gd name="connsiteX66" fmla="*/ 951948 w 1016295"/>
                  <a:gd name="connsiteY66" fmla="*/ 214312 h 314325"/>
                  <a:gd name="connsiteX67" fmla="*/ 970998 w 1016295"/>
                  <a:gd name="connsiteY67" fmla="*/ 242887 h 314325"/>
                  <a:gd name="connsiteX68" fmla="*/ 980121 w 1016295"/>
                  <a:gd name="connsiteY68" fmla="*/ 263299 h 314325"/>
                  <a:gd name="connsiteX69" fmla="*/ 1016295 w 1016295"/>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2218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221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273 w 1028050"/>
                  <a:gd name="connsiteY68" fmla="*/ 263299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1342 w 1028050"/>
                  <a:gd name="connsiteY68" fmla="*/ 270608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808 w 1028050"/>
                  <a:gd name="connsiteY68" fmla="*/ 268171 h 314325"/>
                  <a:gd name="connsiteX69" fmla="*/ 1028050 w 1028050"/>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85790 w 1023241"/>
                  <a:gd name="connsiteY68" fmla="*/ 263450 h 314325"/>
                  <a:gd name="connsiteX69" fmla="*/ 990808 w 1023241"/>
                  <a:gd name="connsiteY69" fmla="*/ 268171 h 314325"/>
                  <a:gd name="connsiteX70" fmla="*/ 1023241 w 1023241"/>
                  <a:gd name="connsiteY70"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1342 w 1023241"/>
                  <a:gd name="connsiteY68" fmla="*/ 265734 h 314325"/>
                  <a:gd name="connsiteX69" fmla="*/ 1023241 w 1023241"/>
                  <a:gd name="connsiteY69" fmla="*/ 263841 h 314325"/>
                  <a:gd name="connsiteX0" fmla="*/ 0 w 1020035"/>
                  <a:gd name="connsiteY0" fmla="*/ 281023 h 314325"/>
                  <a:gd name="connsiteX1" fmla="*/ 31921 w 1020035"/>
                  <a:gd name="connsiteY1" fmla="*/ 274654 h 314325"/>
                  <a:gd name="connsiteX2" fmla="*/ 49395 w 1020035"/>
                  <a:gd name="connsiteY2" fmla="*/ 228600 h 314325"/>
                  <a:gd name="connsiteX3" fmla="*/ 66750 w 1020035"/>
                  <a:gd name="connsiteY3" fmla="*/ 180975 h 314325"/>
                  <a:gd name="connsiteX4" fmla="*/ 76275 w 1020035"/>
                  <a:gd name="connsiteY4" fmla="*/ 166687 h 314325"/>
                  <a:gd name="connsiteX5" fmla="*/ 95325 w 1020035"/>
                  <a:gd name="connsiteY5" fmla="*/ 114300 h 314325"/>
                  <a:gd name="connsiteX6" fmla="*/ 104850 w 1020035"/>
                  <a:gd name="connsiteY6" fmla="*/ 100012 h 314325"/>
                  <a:gd name="connsiteX7" fmla="*/ 123900 w 1020035"/>
                  <a:gd name="connsiteY7" fmla="*/ 57150 h 314325"/>
                  <a:gd name="connsiteX8" fmla="*/ 128662 w 1020035"/>
                  <a:gd name="connsiteY8" fmla="*/ 42862 h 314325"/>
                  <a:gd name="connsiteX9" fmla="*/ 138187 w 1020035"/>
                  <a:gd name="connsiteY9" fmla="*/ 4762 h 314325"/>
                  <a:gd name="connsiteX10" fmla="*/ 147712 w 1020035"/>
                  <a:gd name="connsiteY10" fmla="*/ 100012 h 314325"/>
                  <a:gd name="connsiteX11" fmla="*/ 157237 w 1020035"/>
                  <a:gd name="connsiteY11" fmla="*/ 152400 h 314325"/>
                  <a:gd name="connsiteX12" fmla="*/ 162000 w 1020035"/>
                  <a:gd name="connsiteY12" fmla="*/ 228600 h 314325"/>
                  <a:gd name="connsiteX13" fmla="*/ 174489 w 1020035"/>
                  <a:gd name="connsiteY13" fmla="*/ 268258 h 314325"/>
                  <a:gd name="connsiteX14" fmla="*/ 202370 w 1020035"/>
                  <a:gd name="connsiteY14" fmla="*/ 255572 h 314325"/>
                  <a:gd name="connsiteX15" fmla="*/ 232681 w 1020035"/>
                  <a:gd name="connsiteY15" fmla="*/ 201561 h 314325"/>
                  <a:gd name="connsiteX16" fmla="*/ 252487 w 1020035"/>
                  <a:gd name="connsiteY16" fmla="*/ 171450 h 314325"/>
                  <a:gd name="connsiteX17" fmla="*/ 271537 w 1020035"/>
                  <a:gd name="connsiteY17" fmla="*/ 142875 h 314325"/>
                  <a:gd name="connsiteX18" fmla="*/ 304875 w 1020035"/>
                  <a:gd name="connsiteY18" fmla="*/ 71437 h 314325"/>
                  <a:gd name="connsiteX19" fmla="*/ 315850 w 1020035"/>
                  <a:gd name="connsiteY19" fmla="*/ 36631 h 314325"/>
                  <a:gd name="connsiteX20" fmla="*/ 322821 w 1020035"/>
                  <a:gd name="connsiteY20" fmla="*/ 88841 h 314325"/>
                  <a:gd name="connsiteX21" fmla="*/ 327931 w 1020035"/>
                  <a:gd name="connsiteY21" fmla="*/ 147637 h 314325"/>
                  <a:gd name="connsiteX22" fmla="*/ 338212 w 1020035"/>
                  <a:gd name="connsiteY22" fmla="*/ 171450 h 314325"/>
                  <a:gd name="connsiteX23" fmla="*/ 349598 w 1020035"/>
                  <a:gd name="connsiteY23" fmla="*/ 261916 h 314325"/>
                  <a:gd name="connsiteX24" fmla="*/ 357262 w 1020035"/>
                  <a:gd name="connsiteY24" fmla="*/ 247650 h 314325"/>
                  <a:gd name="connsiteX25" fmla="*/ 370856 w 1020035"/>
                  <a:gd name="connsiteY25" fmla="*/ 231782 h 314325"/>
                  <a:gd name="connsiteX26" fmla="*/ 395362 w 1020035"/>
                  <a:gd name="connsiteY26" fmla="*/ 180975 h 314325"/>
                  <a:gd name="connsiteX27" fmla="*/ 409650 w 1020035"/>
                  <a:gd name="connsiteY27" fmla="*/ 171450 h 314325"/>
                  <a:gd name="connsiteX28" fmla="*/ 419175 w 1020035"/>
                  <a:gd name="connsiteY28" fmla="*/ 157162 h 314325"/>
                  <a:gd name="connsiteX29" fmla="*/ 428700 w 1020035"/>
                  <a:gd name="connsiteY29" fmla="*/ 180975 h 314325"/>
                  <a:gd name="connsiteX30" fmla="*/ 438225 w 1020035"/>
                  <a:gd name="connsiteY30" fmla="*/ 209550 h 314325"/>
                  <a:gd name="connsiteX31" fmla="*/ 448506 w 1020035"/>
                  <a:gd name="connsiteY31" fmla="*/ 252390 h 314325"/>
                  <a:gd name="connsiteX32" fmla="*/ 476325 w 1020035"/>
                  <a:gd name="connsiteY32" fmla="*/ 233362 h 314325"/>
                  <a:gd name="connsiteX33" fmla="*/ 490612 w 1020035"/>
                  <a:gd name="connsiteY33" fmla="*/ 233362 h 314325"/>
                  <a:gd name="connsiteX34" fmla="*/ 500137 w 1020035"/>
                  <a:gd name="connsiteY34" fmla="*/ 223837 h 314325"/>
                  <a:gd name="connsiteX35" fmla="*/ 543000 w 1020035"/>
                  <a:gd name="connsiteY35" fmla="*/ 138112 h 314325"/>
                  <a:gd name="connsiteX36" fmla="*/ 562050 w 1020035"/>
                  <a:gd name="connsiteY36" fmla="*/ 104775 h 314325"/>
                  <a:gd name="connsiteX37" fmla="*/ 566812 w 1020035"/>
                  <a:gd name="connsiteY37" fmla="*/ 90487 h 314325"/>
                  <a:gd name="connsiteX38" fmla="*/ 581100 w 1020035"/>
                  <a:gd name="connsiteY38" fmla="*/ 80962 h 314325"/>
                  <a:gd name="connsiteX39" fmla="*/ 619894 w 1020035"/>
                  <a:gd name="connsiteY39" fmla="*/ 49227 h 314325"/>
                  <a:gd name="connsiteX40" fmla="*/ 636928 w 1020035"/>
                  <a:gd name="connsiteY40" fmla="*/ 51320 h 314325"/>
                  <a:gd name="connsiteX41" fmla="*/ 648185 w 1020035"/>
                  <a:gd name="connsiteY41" fmla="*/ 295341 h 314325"/>
                  <a:gd name="connsiteX42" fmla="*/ 652537 w 1020035"/>
                  <a:gd name="connsiteY42" fmla="*/ 314325 h 314325"/>
                  <a:gd name="connsiteX43" fmla="*/ 662062 w 1020035"/>
                  <a:gd name="connsiteY43" fmla="*/ 295275 h 314325"/>
                  <a:gd name="connsiteX44" fmla="*/ 676002 w 1020035"/>
                  <a:gd name="connsiteY44" fmla="*/ 257152 h 314325"/>
                  <a:gd name="connsiteX45" fmla="*/ 707827 w 1020035"/>
                  <a:gd name="connsiteY45" fmla="*/ 168290 h 314325"/>
                  <a:gd name="connsiteX46" fmla="*/ 723975 w 1020035"/>
                  <a:gd name="connsiteY46" fmla="*/ 133350 h 314325"/>
                  <a:gd name="connsiteX47" fmla="*/ 728737 w 1020035"/>
                  <a:gd name="connsiteY47" fmla="*/ 166687 h 314325"/>
                  <a:gd name="connsiteX48" fmla="*/ 733500 w 1020035"/>
                  <a:gd name="connsiteY48" fmla="*/ 180975 h 314325"/>
                  <a:gd name="connsiteX49" fmla="*/ 749648 w 1020035"/>
                  <a:gd name="connsiteY49" fmla="*/ 155604 h 314325"/>
                  <a:gd name="connsiteX50" fmla="*/ 775668 w 1020035"/>
                  <a:gd name="connsiteY50" fmla="*/ 131770 h 314325"/>
                  <a:gd name="connsiteX51" fmla="*/ 795412 w 1020035"/>
                  <a:gd name="connsiteY51" fmla="*/ 85725 h 314325"/>
                  <a:gd name="connsiteX52" fmla="*/ 804937 w 1020035"/>
                  <a:gd name="connsiteY52" fmla="*/ 114300 h 314325"/>
                  <a:gd name="connsiteX53" fmla="*/ 819225 w 1020035"/>
                  <a:gd name="connsiteY53" fmla="*/ 185737 h 314325"/>
                  <a:gd name="connsiteX54" fmla="*/ 840135 w 1020035"/>
                  <a:gd name="connsiteY54" fmla="*/ 180975 h 314325"/>
                  <a:gd name="connsiteX55" fmla="*/ 857325 w 1020035"/>
                  <a:gd name="connsiteY55" fmla="*/ 138112 h 314325"/>
                  <a:gd name="connsiteX56" fmla="*/ 881137 w 1020035"/>
                  <a:gd name="connsiteY56" fmla="*/ 76200 h 314325"/>
                  <a:gd name="connsiteX57" fmla="*/ 885900 w 1020035"/>
                  <a:gd name="connsiteY57" fmla="*/ 52387 h 314325"/>
                  <a:gd name="connsiteX58" fmla="*/ 900187 w 1020035"/>
                  <a:gd name="connsiteY58" fmla="*/ 38100 h 314325"/>
                  <a:gd name="connsiteX59" fmla="*/ 904950 w 1020035"/>
                  <a:gd name="connsiteY59" fmla="*/ 14287 h 314325"/>
                  <a:gd name="connsiteX60" fmla="*/ 909712 w 1020035"/>
                  <a:gd name="connsiteY60" fmla="*/ 0 h 314325"/>
                  <a:gd name="connsiteX61" fmla="*/ 914475 w 1020035"/>
                  <a:gd name="connsiteY61" fmla="*/ 14287 h 314325"/>
                  <a:gd name="connsiteX62" fmla="*/ 919237 w 1020035"/>
                  <a:gd name="connsiteY62" fmla="*/ 71437 h 314325"/>
                  <a:gd name="connsiteX63" fmla="*/ 928762 w 1020035"/>
                  <a:gd name="connsiteY63" fmla="*/ 100012 h 314325"/>
                  <a:gd name="connsiteX64" fmla="*/ 952575 w 1020035"/>
                  <a:gd name="connsiteY64" fmla="*/ 161925 h 314325"/>
                  <a:gd name="connsiteX65" fmla="*/ 957337 w 1020035"/>
                  <a:gd name="connsiteY65" fmla="*/ 180975 h 314325"/>
                  <a:gd name="connsiteX66" fmla="*/ 962100 w 1020035"/>
                  <a:gd name="connsiteY66" fmla="*/ 214312 h 314325"/>
                  <a:gd name="connsiteX67" fmla="*/ 981150 w 1020035"/>
                  <a:gd name="connsiteY67" fmla="*/ 242887 h 314325"/>
                  <a:gd name="connsiteX68" fmla="*/ 991342 w 1020035"/>
                  <a:gd name="connsiteY68" fmla="*/ 265734 h 314325"/>
                  <a:gd name="connsiteX69" fmla="*/ 1020035 w 1020035"/>
                  <a:gd name="connsiteY69" fmla="*/ 263841 h 314325"/>
                  <a:gd name="connsiteX0" fmla="*/ 0 w 1025378"/>
                  <a:gd name="connsiteY0" fmla="*/ 281023 h 314325"/>
                  <a:gd name="connsiteX1" fmla="*/ 31921 w 1025378"/>
                  <a:gd name="connsiteY1" fmla="*/ 274654 h 314325"/>
                  <a:gd name="connsiteX2" fmla="*/ 49395 w 1025378"/>
                  <a:gd name="connsiteY2" fmla="*/ 228600 h 314325"/>
                  <a:gd name="connsiteX3" fmla="*/ 66750 w 1025378"/>
                  <a:gd name="connsiteY3" fmla="*/ 180975 h 314325"/>
                  <a:gd name="connsiteX4" fmla="*/ 76275 w 1025378"/>
                  <a:gd name="connsiteY4" fmla="*/ 166687 h 314325"/>
                  <a:gd name="connsiteX5" fmla="*/ 95325 w 1025378"/>
                  <a:gd name="connsiteY5" fmla="*/ 114300 h 314325"/>
                  <a:gd name="connsiteX6" fmla="*/ 104850 w 1025378"/>
                  <a:gd name="connsiteY6" fmla="*/ 100012 h 314325"/>
                  <a:gd name="connsiteX7" fmla="*/ 123900 w 1025378"/>
                  <a:gd name="connsiteY7" fmla="*/ 57150 h 314325"/>
                  <a:gd name="connsiteX8" fmla="*/ 128662 w 1025378"/>
                  <a:gd name="connsiteY8" fmla="*/ 42862 h 314325"/>
                  <a:gd name="connsiteX9" fmla="*/ 138187 w 1025378"/>
                  <a:gd name="connsiteY9" fmla="*/ 4762 h 314325"/>
                  <a:gd name="connsiteX10" fmla="*/ 147712 w 1025378"/>
                  <a:gd name="connsiteY10" fmla="*/ 100012 h 314325"/>
                  <a:gd name="connsiteX11" fmla="*/ 157237 w 1025378"/>
                  <a:gd name="connsiteY11" fmla="*/ 152400 h 314325"/>
                  <a:gd name="connsiteX12" fmla="*/ 162000 w 1025378"/>
                  <a:gd name="connsiteY12" fmla="*/ 228600 h 314325"/>
                  <a:gd name="connsiteX13" fmla="*/ 174489 w 1025378"/>
                  <a:gd name="connsiteY13" fmla="*/ 268258 h 314325"/>
                  <a:gd name="connsiteX14" fmla="*/ 202370 w 1025378"/>
                  <a:gd name="connsiteY14" fmla="*/ 255572 h 314325"/>
                  <a:gd name="connsiteX15" fmla="*/ 232681 w 1025378"/>
                  <a:gd name="connsiteY15" fmla="*/ 201561 h 314325"/>
                  <a:gd name="connsiteX16" fmla="*/ 252487 w 1025378"/>
                  <a:gd name="connsiteY16" fmla="*/ 171450 h 314325"/>
                  <a:gd name="connsiteX17" fmla="*/ 271537 w 1025378"/>
                  <a:gd name="connsiteY17" fmla="*/ 142875 h 314325"/>
                  <a:gd name="connsiteX18" fmla="*/ 304875 w 1025378"/>
                  <a:gd name="connsiteY18" fmla="*/ 71437 h 314325"/>
                  <a:gd name="connsiteX19" fmla="*/ 315850 w 1025378"/>
                  <a:gd name="connsiteY19" fmla="*/ 36631 h 314325"/>
                  <a:gd name="connsiteX20" fmla="*/ 322821 w 1025378"/>
                  <a:gd name="connsiteY20" fmla="*/ 88841 h 314325"/>
                  <a:gd name="connsiteX21" fmla="*/ 327931 w 1025378"/>
                  <a:gd name="connsiteY21" fmla="*/ 147637 h 314325"/>
                  <a:gd name="connsiteX22" fmla="*/ 338212 w 1025378"/>
                  <a:gd name="connsiteY22" fmla="*/ 171450 h 314325"/>
                  <a:gd name="connsiteX23" fmla="*/ 349598 w 1025378"/>
                  <a:gd name="connsiteY23" fmla="*/ 261916 h 314325"/>
                  <a:gd name="connsiteX24" fmla="*/ 357262 w 1025378"/>
                  <a:gd name="connsiteY24" fmla="*/ 247650 h 314325"/>
                  <a:gd name="connsiteX25" fmla="*/ 370856 w 1025378"/>
                  <a:gd name="connsiteY25" fmla="*/ 231782 h 314325"/>
                  <a:gd name="connsiteX26" fmla="*/ 395362 w 1025378"/>
                  <a:gd name="connsiteY26" fmla="*/ 180975 h 314325"/>
                  <a:gd name="connsiteX27" fmla="*/ 409650 w 1025378"/>
                  <a:gd name="connsiteY27" fmla="*/ 171450 h 314325"/>
                  <a:gd name="connsiteX28" fmla="*/ 419175 w 1025378"/>
                  <a:gd name="connsiteY28" fmla="*/ 157162 h 314325"/>
                  <a:gd name="connsiteX29" fmla="*/ 428700 w 1025378"/>
                  <a:gd name="connsiteY29" fmla="*/ 180975 h 314325"/>
                  <a:gd name="connsiteX30" fmla="*/ 438225 w 1025378"/>
                  <a:gd name="connsiteY30" fmla="*/ 209550 h 314325"/>
                  <a:gd name="connsiteX31" fmla="*/ 448506 w 1025378"/>
                  <a:gd name="connsiteY31" fmla="*/ 252390 h 314325"/>
                  <a:gd name="connsiteX32" fmla="*/ 476325 w 1025378"/>
                  <a:gd name="connsiteY32" fmla="*/ 233362 h 314325"/>
                  <a:gd name="connsiteX33" fmla="*/ 490612 w 1025378"/>
                  <a:gd name="connsiteY33" fmla="*/ 233362 h 314325"/>
                  <a:gd name="connsiteX34" fmla="*/ 500137 w 1025378"/>
                  <a:gd name="connsiteY34" fmla="*/ 223837 h 314325"/>
                  <a:gd name="connsiteX35" fmla="*/ 543000 w 1025378"/>
                  <a:gd name="connsiteY35" fmla="*/ 138112 h 314325"/>
                  <a:gd name="connsiteX36" fmla="*/ 562050 w 1025378"/>
                  <a:gd name="connsiteY36" fmla="*/ 104775 h 314325"/>
                  <a:gd name="connsiteX37" fmla="*/ 566812 w 1025378"/>
                  <a:gd name="connsiteY37" fmla="*/ 90487 h 314325"/>
                  <a:gd name="connsiteX38" fmla="*/ 581100 w 1025378"/>
                  <a:gd name="connsiteY38" fmla="*/ 80962 h 314325"/>
                  <a:gd name="connsiteX39" fmla="*/ 619894 w 1025378"/>
                  <a:gd name="connsiteY39" fmla="*/ 49227 h 314325"/>
                  <a:gd name="connsiteX40" fmla="*/ 636928 w 1025378"/>
                  <a:gd name="connsiteY40" fmla="*/ 51320 h 314325"/>
                  <a:gd name="connsiteX41" fmla="*/ 648185 w 1025378"/>
                  <a:gd name="connsiteY41" fmla="*/ 295341 h 314325"/>
                  <a:gd name="connsiteX42" fmla="*/ 652537 w 1025378"/>
                  <a:gd name="connsiteY42" fmla="*/ 314325 h 314325"/>
                  <a:gd name="connsiteX43" fmla="*/ 662062 w 1025378"/>
                  <a:gd name="connsiteY43" fmla="*/ 295275 h 314325"/>
                  <a:gd name="connsiteX44" fmla="*/ 676002 w 1025378"/>
                  <a:gd name="connsiteY44" fmla="*/ 257152 h 314325"/>
                  <a:gd name="connsiteX45" fmla="*/ 707827 w 1025378"/>
                  <a:gd name="connsiteY45" fmla="*/ 168290 h 314325"/>
                  <a:gd name="connsiteX46" fmla="*/ 723975 w 1025378"/>
                  <a:gd name="connsiteY46" fmla="*/ 133350 h 314325"/>
                  <a:gd name="connsiteX47" fmla="*/ 728737 w 1025378"/>
                  <a:gd name="connsiteY47" fmla="*/ 166687 h 314325"/>
                  <a:gd name="connsiteX48" fmla="*/ 733500 w 1025378"/>
                  <a:gd name="connsiteY48" fmla="*/ 180975 h 314325"/>
                  <a:gd name="connsiteX49" fmla="*/ 749648 w 1025378"/>
                  <a:gd name="connsiteY49" fmla="*/ 155604 h 314325"/>
                  <a:gd name="connsiteX50" fmla="*/ 775668 w 1025378"/>
                  <a:gd name="connsiteY50" fmla="*/ 131770 h 314325"/>
                  <a:gd name="connsiteX51" fmla="*/ 795412 w 1025378"/>
                  <a:gd name="connsiteY51" fmla="*/ 85725 h 314325"/>
                  <a:gd name="connsiteX52" fmla="*/ 804937 w 1025378"/>
                  <a:gd name="connsiteY52" fmla="*/ 114300 h 314325"/>
                  <a:gd name="connsiteX53" fmla="*/ 819225 w 1025378"/>
                  <a:gd name="connsiteY53" fmla="*/ 185737 h 314325"/>
                  <a:gd name="connsiteX54" fmla="*/ 840135 w 1025378"/>
                  <a:gd name="connsiteY54" fmla="*/ 180975 h 314325"/>
                  <a:gd name="connsiteX55" fmla="*/ 857325 w 1025378"/>
                  <a:gd name="connsiteY55" fmla="*/ 138112 h 314325"/>
                  <a:gd name="connsiteX56" fmla="*/ 881137 w 1025378"/>
                  <a:gd name="connsiteY56" fmla="*/ 76200 h 314325"/>
                  <a:gd name="connsiteX57" fmla="*/ 885900 w 1025378"/>
                  <a:gd name="connsiteY57" fmla="*/ 52387 h 314325"/>
                  <a:gd name="connsiteX58" fmla="*/ 900187 w 1025378"/>
                  <a:gd name="connsiteY58" fmla="*/ 38100 h 314325"/>
                  <a:gd name="connsiteX59" fmla="*/ 904950 w 1025378"/>
                  <a:gd name="connsiteY59" fmla="*/ 14287 h 314325"/>
                  <a:gd name="connsiteX60" fmla="*/ 909712 w 1025378"/>
                  <a:gd name="connsiteY60" fmla="*/ 0 h 314325"/>
                  <a:gd name="connsiteX61" fmla="*/ 914475 w 1025378"/>
                  <a:gd name="connsiteY61" fmla="*/ 14287 h 314325"/>
                  <a:gd name="connsiteX62" fmla="*/ 919237 w 1025378"/>
                  <a:gd name="connsiteY62" fmla="*/ 71437 h 314325"/>
                  <a:gd name="connsiteX63" fmla="*/ 928762 w 1025378"/>
                  <a:gd name="connsiteY63" fmla="*/ 100012 h 314325"/>
                  <a:gd name="connsiteX64" fmla="*/ 952575 w 1025378"/>
                  <a:gd name="connsiteY64" fmla="*/ 161925 h 314325"/>
                  <a:gd name="connsiteX65" fmla="*/ 957337 w 1025378"/>
                  <a:gd name="connsiteY65" fmla="*/ 180975 h 314325"/>
                  <a:gd name="connsiteX66" fmla="*/ 962100 w 1025378"/>
                  <a:gd name="connsiteY66" fmla="*/ 214312 h 314325"/>
                  <a:gd name="connsiteX67" fmla="*/ 981150 w 1025378"/>
                  <a:gd name="connsiteY67" fmla="*/ 242887 h 314325"/>
                  <a:gd name="connsiteX68" fmla="*/ 991342 w 1025378"/>
                  <a:gd name="connsiteY68" fmla="*/ 265734 h 314325"/>
                  <a:gd name="connsiteX69" fmla="*/ 1025378 w 1025378"/>
                  <a:gd name="connsiteY69" fmla="*/ 261405 h 314325"/>
                  <a:gd name="connsiteX0" fmla="*/ 0 w 1024844"/>
                  <a:gd name="connsiteY0" fmla="*/ 262751 h 314325"/>
                  <a:gd name="connsiteX1" fmla="*/ 31387 w 1024844"/>
                  <a:gd name="connsiteY1" fmla="*/ 274654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3524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3775"/>
                  <a:gd name="connsiteY0" fmla="*/ 260314 h 314325"/>
                  <a:gd name="connsiteX1" fmla="*/ 32989 w 1023775"/>
                  <a:gd name="connsiteY1" fmla="*/ 257600 h 314325"/>
                  <a:gd name="connsiteX2" fmla="*/ 47792 w 1023775"/>
                  <a:gd name="connsiteY2" fmla="*/ 228600 h 314325"/>
                  <a:gd name="connsiteX3" fmla="*/ 65147 w 1023775"/>
                  <a:gd name="connsiteY3" fmla="*/ 180975 h 314325"/>
                  <a:gd name="connsiteX4" fmla="*/ 74672 w 1023775"/>
                  <a:gd name="connsiteY4" fmla="*/ 166687 h 314325"/>
                  <a:gd name="connsiteX5" fmla="*/ 93722 w 1023775"/>
                  <a:gd name="connsiteY5" fmla="*/ 114300 h 314325"/>
                  <a:gd name="connsiteX6" fmla="*/ 103247 w 1023775"/>
                  <a:gd name="connsiteY6" fmla="*/ 100012 h 314325"/>
                  <a:gd name="connsiteX7" fmla="*/ 122297 w 1023775"/>
                  <a:gd name="connsiteY7" fmla="*/ 57150 h 314325"/>
                  <a:gd name="connsiteX8" fmla="*/ 127059 w 1023775"/>
                  <a:gd name="connsiteY8" fmla="*/ 42862 h 314325"/>
                  <a:gd name="connsiteX9" fmla="*/ 136584 w 1023775"/>
                  <a:gd name="connsiteY9" fmla="*/ 4762 h 314325"/>
                  <a:gd name="connsiteX10" fmla="*/ 146109 w 1023775"/>
                  <a:gd name="connsiteY10" fmla="*/ 100012 h 314325"/>
                  <a:gd name="connsiteX11" fmla="*/ 155634 w 1023775"/>
                  <a:gd name="connsiteY11" fmla="*/ 152400 h 314325"/>
                  <a:gd name="connsiteX12" fmla="*/ 160397 w 1023775"/>
                  <a:gd name="connsiteY12" fmla="*/ 228600 h 314325"/>
                  <a:gd name="connsiteX13" fmla="*/ 172886 w 1023775"/>
                  <a:gd name="connsiteY13" fmla="*/ 268258 h 314325"/>
                  <a:gd name="connsiteX14" fmla="*/ 200767 w 1023775"/>
                  <a:gd name="connsiteY14" fmla="*/ 255572 h 314325"/>
                  <a:gd name="connsiteX15" fmla="*/ 231078 w 1023775"/>
                  <a:gd name="connsiteY15" fmla="*/ 201561 h 314325"/>
                  <a:gd name="connsiteX16" fmla="*/ 250884 w 1023775"/>
                  <a:gd name="connsiteY16" fmla="*/ 171450 h 314325"/>
                  <a:gd name="connsiteX17" fmla="*/ 269934 w 1023775"/>
                  <a:gd name="connsiteY17" fmla="*/ 142875 h 314325"/>
                  <a:gd name="connsiteX18" fmla="*/ 303272 w 1023775"/>
                  <a:gd name="connsiteY18" fmla="*/ 71437 h 314325"/>
                  <a:gd name="connsiteX19" fmla="*/ 314247 w 1023775"/>
                  <a:gd name="connsiteY19" fmla="*/ 36631 h 314325"/>
                  <a:gd name="connsiteX20" fmla="*/ 321218 w 1023775"/>
                  <a:gd name="connsiteY20" fmla="*/ 88841 h 314325"/>
                  <a:gd name="connsiteX21" fmla="*/ 326328 w 1023775"/>
                  <a:gd name="connsiteY21" fmla="*/ 147637 h 314325"/>
                  <a:gd name="connsiteX22" fmla="*/ 336609 w 1023775"/>
                  <a:gd name="connsiteY22" fmla="*/ 171450 h 314325"/>
                  <a:gd name="connsiteX23" fmla="*/ 347995 w 1023775"/>
                  <a:gd name="connsiteY23" fmla="*/ 261916 h 314325"/>
                  <a:gd name="connsiteX24" fmla="*/ 355659 w 1023775"/>
                  <a:gd name="connsiteY24" fmla="*/ 247650 h 314325"/>
                  <a:gd name="connsiteX25" fmla="*/ 369253 w 1023775"/>
                  <a:gd name="connsiteY25" fmla="*/ 231782 h 314325"/>
                  <a:gd name="connsiteX26" fmla="*/ 393759 w 1023775"/>
                  <a:gd name="connsiteY26" fmla="*/ 180975 h 314325"/>
                  <a:gd name="connsiteX27" fmla="*/ 408047 w 1023775"/>
                  <a:gd name="connsiteY27" fmla="*/ 171450 h 314325"/>
                  <a:gd name="connsiteX28" fmla="*/ 417572 w 1023775"/>
                  <a:gd name="connsiteY28" fmla="*/ 157162 h 314325"/>
                  <a:gd name="connsiteX29" fmla="*/ 427097 w 1023775"/>
                  <a:gd name="connsiteY29" fmla="*/ 180975 h 314325"/>
                  <a:gd name="connsiteX30" fmla="*/ 436622 w 1023775"/>
                  <a:gd name="connsiteY30" fmla="*/ 209550 h 314325"/>
                  <a:gd name="connsiteX31" fmla="*/ 446903 w 1023775"/>
                  <a:gd name="connsiteY31" fmla="*/ 252390 h 314325"/>
                  <a:gd name="connsiteX32" fmla="*/ 474722 w 1023775"/>
                  <a:gd name="connsiteY32" fmla="*/ 233362 h 314325"/>
                  <a:gd name="connsiteX33" fmla="*/ 489009 w 1023775"/>
                  <a:gd name="connsiteY33" fmla="*/ 233362 h 314325"/>
                  <a:gd name="connsiteX34" fmla="*/ 498534 w 1023775"/>
                  <a:gd name="connsiteY34" fmla="*/ 223837 h 314325"/>
                  <a:gd name="connsiteX35" fmla="*/ 541397 w 1023775"/>
                  <a:gd name="connsiteY35" fmla="*/ 138112 h 314325"/>
                  <a:gd name="connsiteX36" fmla="*/ 560447 w 1023775"/>
                  <a:gd name="connsiteY36" fmla="*/ 104775 h 314325"/>
                  <a:gd name="connsiteX37" fmla="*/ 565209 w 1023775"/>
                  <a:gd name="connsiteY37" fmla="*/ 90487 h 314325"/>
                  <a:gd name="connsiteX38" fmla="*/ 579497 w 1023775"/>
                  <a:gd name="connsiteY38" fmla="*/ 80962 h 314325"/>
                  <a:gd name="connsiteX39" fmla="*/ 618291 w 1023775"/>
                  <a:gd name="connsiteY39" fmla="*/ 49227 h 314325"/>
                  <a:gd name="connsiteX40" fmla="*/ 635325 w 1023775"/>
                  <a:gd name="connsiteY40" fmla="*/ 51320 h 314325"/>
                  <a:gd name="connsiteX41" fmla="*/ 646582 w 1023775"/>
                  <a:gd name="connsiteY41" fmla="*/ 295341 h 314325"/>
                  <a:gd name="connsiteX42" fmla="*/ 650934 w 1023775"/>
                  <a:gd name="connsiteY42" fmla="*/ 314325 h 314325"/>
                  <a:gd name="connsiteX43" fmla="*/ 660459 w 1023775"/>
                  <a:gd name="connsiteY43" fmla="*/ 295275 h 314325"/>
                  <a:gd name="connsiteX44" fmla="*/ 674399 w 1023775"/>
                  <a:gd name="connsiteY44" fmla="*/ 257152 h 314325"/>
                  <a:gd name="connsiteX45" fmla="*/ 706224 w 1023775"/>
                  <a:gd name="connsiteY45" fmla="*/ 168290 h 314325"/>
                  <a:gd name="connsiteX46" fmla="*/ 722372 w 1023775"/>
                  <a:gd name="connsiteY46" fmla="*/ 133350 h 314325"/>
                  <a:gd name="connsiteX47" fmla="*/ 727134 w 1023775"/>
                  <a:gd name="connsiteY47" fmla="*/ 166687 h 314325"/>
                  <a:gd name="connsiteX48" fmla="*/ 731897 w 1023775"/>
                  <a:gd name="connsiteY48" fmla="*/ 180975 h 314325"/>
                  <a:gd name="connsiteX49" fmla="*/ 748045 w 1023775"/>
                  <a:gd name="connsiteY49" fmla="*/ 155604 h 314325"/>
                  <a:gd name="connsiteX50" fmla="*/ 774065 w 1023775"/>
                  <a:gd name="connsiteY50" fmla="*/ 131770 h 314325"/>
                  <a:gd name="connsiteX51" fmla="*/ 793809 w 1023775"/>
                  <a:gd name="connsiteY51" fmla="*/ 85725 h 314325"/>
                  <a:gd name="connsiteX52" fmla="*/ 803334 w 1023775"/>
                  <a:gd name="connsiteY52" fmla="*/ 114300 h 314325"/>
                  <a:gd name="connsiteX53" fmla="*/ 817622 w 1023775"/>
                  <a:gd name="connsiteY53" fmla="*/ 185737 h 314325"/>
                  <a:gd name="connsiteX54" fmla="*/ 838532 w 1023775"/>
                  <a:gd name="connsiteY54" fmla="*/ 180975 h 314325"/>
                  <a:gd name="connsiteX55" fmla="*/ 855722 w 1023775"/>
                  <a:gd name="connsiteY55" fmla="*/ 138112 h 314325"/>
                  <a:gd name="connsiteX56" fmla="*/ 879534 w 1023775"/>
                  <a:gd name="connsiteY56" fmla="*/ 76200 h 314325"/>
                  <a:gd name="connsiteX57" fmla="*/ 884297 w 1023775"/>
                  <a:gd name="connsiteY57" fmla="*/ 52387 h 314325"/>
                  <a:gd name="connsiteX58" fmla="*/ 898584 w 1023775"/>
                  <a:gd name="connsiteY58" fmla="*/ 38100 h 314325"/>
                  <a:gd name="connsiteX59" fmla="*/ 903347 w 1023775"/>
                  <a:gd name="connsiteY59" fmla="*/ 14287 h 314325"/>
                  <a:gd name="connsiteX60" fmla="*/ 908109 w 1023775"/>
                  <a:gd name="connsiteY60" fmla="*/ 0 h 314325"/>
                  <a:gd name="connsiteX61" fmla="*/ 912872 w 1023775"/>
                  <a:gd name="connsiteY61" fmla="*/ 14287 h 314325"/>
                  <a:gd name="connsiteX62" fmla="*/ 917634 w 1023775"/>
                  <a:gd name="connsiteY62" fmla="*/ 71437 h 314325"/>
                  <a:gd name="connsiteX63" fmla="*/ 927159 w 1023775"/>
                  <a:gd name="connsiteY63" fmla="*/ 100012 h 314325"/>
                  <a:gd name="connsiteX64" fmla="*/ 950972 w 1023775"/>
                  <a:gd name="connsiteY64" fmla="*/ 161925 h 314325"/>
                  <a:gd name="connsiteX65" fmla="*/ 955734 w 1023775"/>
                  <a:gd name="connsiteY65" fmla="*/ 180975 h 314325"/>
                  <a:gd name="connsiteX66" fmla="*/ 960497 w 1023775"/>
                  <a:gd name="connsiteY66" fmla="*/ 214312 h 314325"/>
                  <a:gd name="connsiteX67" fmla="*/ 979547 w 1023775"/>
                  <a:gd name="connsiteY67" fmla="*/ 242887 h 314325"/>
                  <a:gd name="connsiteX68" fmla="*/ 989739 w 1023775"/>
                  <a:gd name="connsiteY68" fmla="*/ 265734 h 314325"/>
                  <a:gd name="connsiteX69" fmla="*/ 1023775 w 1023775"/>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1637"/>
                  <a:gd name="connsiteY0" fmla="*/ 262750 h 314325"/>
                  <a:gd name="connsiteX1" fmla="*/ 33523 w 1021637"/>
                  <a:gd name="connsiteY1" fmla="*/ 257600 h 314325"/>
                  <a:gd name="connsiteX2" fmla="*/ 48326 w 1021637"/>
                  <a:gd name="connsiteY2" fmla="*/ 228600 h 314325"/>
                  <a:gd name="connsiteX3" fmla="*/ 65681 w 1021637"/>
                  <a:gd name="connsiteY3" fmla="*/ 180975 h 314325"/>
                  <a:gd name="connsiteX4" fmla="*/ 75206 w 1021637"/>
                  <a:gd name="connsiteY4" fmla="*/ 166687 h 314325"/>
                  <a:gd name="connsiteX5" fmla="*/ 94256 w 1021637"/>
                  <a:gd name="connsiteY5" fmla="*/ 114300 h 314325"/>
                  <a:gd name="connsiteX6" fmla="*/ 103781 w 1021637"/>
                  <a:gd name="connsiteY6" fmla="*/ 100012 h 314325"/>
                  <a:gd name="connsiteX7" fmla="*/ 122831 w 1021637"/>
                  <a:gd name="connsiteY7" fmla="*/ 57150 h 314325"/>
                  <a:gd name="connsiteX8" fmla="*/ 127593 w 1021637"/>
                  <a:gd name="connsiteY8" fmla="*/ 42862 h 314325"/>
                  <a:gd name="connsiteX9" fmla="*/ 137118 w 1021637"/>
                  <a:gd name="connsiteY9" fmla="*/ 4762 h 314325"/>
                  <a:gd name="connsiteX10" fmla="*/ 146643 w 1021637"/>
                  <a:gd name="connsiteY10" fmla="*/ 100012 h 314325"/>
                  <a:gd name="connsiteX11" fmla="*/ 156168 w 1021637"/>
                  <a:gd name="connsiteY11" fmla="*/ 152400 h 314325"/>
                  <a:gd name="connsiteX12" fmla="*/ 160931 w 1021637"/>
                  <a:gd name="connsiteY12" fmla="*/ 228600 h 314325"/>
                  <a:gd name="connsiteX13" fmla="*/ 173420 w 1021637"/>
                  <a:gd name="connsiteY13" fmla="*/ 268258 h 314325"/>
                  <a:gd name="connsiteX14" fmla="*/ 201301 w 1021637"/>
                  <a:gd name="connsiteY14" fmla="*/ 255572 h 314325"/>
                  <a:gd name="connsiteX15" fmla="*/ 231612 w 1021637"/>
                  <a:gd name="connsiteY15" fmla="*/ 201561 h 314325"/>
                  <a:gd name="connsiteX16" fmla="*/ 251418 w 1021637"/>
                  <a:gd name="connsiteY16" fmla="*/ 171450 h 314325"/>
                  <a:gd name="connsiteX17" fmla="*/ 270468 w 1021637"/>
                  <a:gd name="connsiteY17" fmla="*/ 142875 h 314325"/>
                  <a:gd name="connsiteX18" fmla="*/ 303806 w 1021637"/>
                  <a:gd name="connsiteY18" fmla="*/ 71437 h 314325"/>
                  <a:gd name="connsiteX19" fmla="*/ 314781 w 1021637"/>
                  <a:gd name="connsiteY19" fmla="*/ 36631 h 314325"/>
                  <a:gd name="connsiteX20" fmla="*/ 321752 w 1021637"/>
                  <a:gd name="connsiteY20" fmla="*/ 88841 h 314325"/>
                  <a:gd name="connsiteX21" fmla="*/ 326862 w 1021637"/>
                  <a:gd name="connsiteY21" fmla="*/ 147637 h 314325"/>
                  <a:gd name="connsiteX22" fmla="*/ 337143 w 1021637"/>
                  <a:gd name="connsiteY22" fmla="*/ 171450 h 314325"/>
                  <a:gd name="connsiteX23" fmla="*/ 348529 w 1021637"/>
                  <a:gd name="connsiteY23" fmla="*/ 261916 h 314325"/>
                  <a:gd name="connsiteX24" fmla="*/ 356193 w 1021637"/>
                  <a:gd name="connsiteY24" fmla="*/ 247650 h 314325"/>
                  <a:gd name="connsiteX25" fmla="*/ 369787 w 1021637"/>
                  <a:gd name="connsiteY25" fmla="*/ 231782 h 314325"/>
                  <a:gd name="connsiteX26" fmla="*/ 394293 w 1021637"/>
                  <a:gd name="connsiteY26" fmla="*/ 180975 h 314325"/>
                  <a:gd name="connsiteX27" fmla="*/ 408581 w 1021637"/>
                  <a:gd name="connsiteY27" fmla="*/ 171450 h 314325"/>
                  <a:gd name="connsiteX28" fmla="*/ 418106 w 1021637"/>
                  <a:gd name="connsiteY28" fmla="*/ 157162 h 314325"/>
                  <a:gd name="connsiteX29" fmla="*/ 427631 w 1021637"/>
                  <a:gd name="connsiteY29" fmla="*/ 180975 h 314325"/>
                  <a:gd name="connsiteX30" fmla="*/ 437156 w 1021637"/>
                  <a:gd name="connsiteY30" fmla="*/ 209550 h 314325"/>
                  <a:gd name="connsiteX31" fmla="*/ 447437 w 1021637"/>
                  <a:gd name="connsiteY31" fmla="*/ 252390 h 314325"/>
                  <a:gd name="connsiteX32" fmla="*/ 475256 w 1021637"/>
                  <a:gd name="connsiteY32" fmla="*/ 233362 h 314325"/>
                  <a:gd name="connsiteX33" fmla="*/ 489543 w 1021637"/>
                  <a:gd name="connsiteY33" fmla="*/ 233362 h 314325"/>
                  <a:gd name="connsiteX34" fmla="*/ 499068 w 1021637"/>
                  <a:gd name="connsiteY34" fmla="*/ 223837 h 314325"/>
                  <a:gd name="connsiteX35" fmla="*/ 541931 w 1021637"/>
                  <a:gd name="connsiteY35" fmla="*/ 138112 h 314325"/>
                  <a:gd name="connsiteX36" fmla="*/ 560981 w 1021637"/>
                  <a:gd name="connsiteY36" fmla="*/ 104775 h 314325"/>
                  <a:gd name="connsiteX37" fmla="*/ 565743 w 1021637"/>
                  <a:gd name="connsiteY37" fmla="*/ 90487 h 314325"/>
                  <a:gd name="connsiteX38" fmla="*/ 580031 w 1021637"/>
                  <a:gd name="connsiteY38" fmla="*/ 80962 h 314325"/>
                  <a:gd name="connsiteX39" fmla="*/ 618825 w 1021637"/>
                  <a:gd name="connsiteY39" fmla="*/ 49227 h 314325"/>
                  <a:gd name="connsiteX40" fmla="*/ 635859 w 1021637"/>
                  <a:gd name="connsiteY40" fmla="*/ 51320 h 314325"/>
                  <a:gd name="connsiteX41" fmla="*/ 647116 w 1021637"/>
                  <a:gd name="connsiteY41" fmla="*/ 295341 h 314325"/>
                  <a:gd name="connsiteX42" fmla="*/ 651468 w 1021637"/>
                  <a:gd name="connsiteY42" fmla="*/ 314325 h 314325"/>
                  <a:gd name="connsiteX43" fmla="*/ 660993 w 1021637"/>
                  <a:gd name="connsiteY43" fmla="*/ 295275 h 314325"/>
                  <a:gd name="connsiteX44" fmla="*/ 674933 w 1021637"/>
                  <a:gd name="connsiteY44" fmla="*/ 257152 h 314325"/>
                  <a:gd name="connsiteX45" fmla="*/ 706758 w 1021637"/>
                  <a:gd name="connsiteY45" fmla="*/ 168290 h 314325"/>
                  <a:gd name="connsiteX46" fmla="*/ 722906 w 1021637"/>
                  <a:gd name="connsiteY46" fmla="*/ 133350 h 314325"/>
                  <a:gd name="connsiteX47" fmla="*/ 727668 w 1021637"/>
                  <a:gd name="connsiteY47" fmla="*/ 166687 h 314325"/>
                  <a:gd name="connsiteX48" fmla="*/ 732431 w 1021637"/>
                  <a:gd name="connsiteY48" fmla="*/ 180975 h 314325"/>
                  <a:gd name="connsiteX49" fmla="*/ 748579 w 1021637"/>
                  <a:gd name="connsiteY49" fmla="*/ 155604 h 314325"/>
                  <a:gd name="connsiteX50" fmla="*/ 774599 w 1021637"/>
                  <a:gd name="connsiteY50" fmla="*/ 131770 h 314325"/>
                  <a:gd name="connsiteX51" fmla="*/ 794343 w 1021637"/>
                  <a:gd name="connsiteY51" fmla="*/ 85725 h 314325"/>
                  <a:gd name="connsiteX52" fmla="*/ 803868 w 1021637"/>
                  <a:gd name="connsiteY52" fmla="*/ 114300 h 314325"/>
                  <a:gd name="connsiteX53" fmla="*/ 818156 w 1021637"/>
                  <a:gd name="connsiteY53" fmla="*/ 185737 h 314325"/>
                  <a:gd name="connsiteX54" fmla="*/ 839066 w 1021637"/>
                  <a:gd name="connsiteY54" fmla="*/ 180975 h 314325"/>
                  <a:gd name="connsiteX55" fmla="*/ 856256 w 1021637"/>
                  <a:gd name="connsiteY55" fmla="*/ 138112 h 314325"/>
                  <a:gd name="connsiteX56" fmla="*/ 880068 w 1021637"/>
                  <a:gd name="connsiteY56" fmla="*/ 76200 h 314325"/>
                  <a:gd name="connsiteX57" fmla="*/ 884831 w 1021637"/>
                  <a:gd name="connsiteY57" fmla="*/ 52387 h 314325"/>
                  <a:gd name="connsiteX58" fmla="*/ 899118 w 1021637"/>
                  <a:gd name="connsiteY58" fmla="*/ 38100 h 314325"/>
                  <a:gd name="connsiteX59" fmla="*/ 903881 w 1021637"/>
                  <a:gd name="connsiteY59" fmla="*/ 14287 h 314325"/>
                  <a:gd name="connsiteX60" fmla="*/ 908643 w 1021637"/>
                  <a:gd name="connsiteY60" fmla="*/ 0 h 314325"/>
                  <a:gd name="connsiteX61" fmla="*/ 913406 w 1021637"/>
                  <a:gd name="connsiteY61" fmla="*/ 14287 h 314325"/>
                  <a:gd name="connsiteX62" fmla="*/ 918168 w 1021637"/>
                  <a:gd name="connsiteY62" fmla="*/ 71437 h 314325"/>
                  <a:gd name="connsiteX63" fmla="*/ 927693 w 1021637"/>
                  <a:gd name="connsiteY63" fmla="*/ 100012 h 314325"/>
                  <a:gd name="connsiteX64" fmla="*/ 951506 w 1021637"/>
                  <a:gd name="connsiteY64" fmla="*/ 161925 h 314325"/>
                  <a:gd name="connsiteX65" fmla="*/ 956268 w 1021637"/>
                  <a:gd name="connsiteY65" fmla="*/ 180975 h 314325"/>
                  <a:gd name="connsiteX66" fmla="*/ 961031 w 1021637"/>
                  <a:gd name="connsiteY66" fmla="*/ 214312 h 314325"/>
                  <a:gd name="connsiteX67" fmla="*/ 980081 w 1021637"/>
                  <a:gd name="connsiteY67" fmla="*/ 242887 h 314325"/>
                  <a:gd name="connsiteX68" fmla="*/ 990273 w 1021637"/>
                  <a:gd name="connsiteY68" fmla="*/ 265734 h 314325"/>
                  <a:gd name="connsiteX69" fmla="*/ 1021637 w 1021637"/>
                  <a:gd name="connsiteY69" fmla="*/ 261405 h 314325"/>
                  <a:gd name="connsiteX0" fmla="*/ 0 w 1023774"/>
                  <a:gd name="connsiteY0" fmla="*/ 262750 h 314325"/>
                  <a:gd name="connsiteX1" fmla="*/ 33523 w 1023774"/>
                  <a:gd name="connsiteY1" fmla="*/ 257600 h 314325"/>
                  <a:gd name="connsiteX2" fmla="*/ 48326 w 1023774"/>
                  <a:gd name="connsiteY2" fmla="*/ 228600 h 314325"/>
                  <a:gd name="connsiteX3" fmla="*/ 65681 w 1023774"/>
                  <a:gd name="connsiteY3" fmla="*/ 180975 h 314325"/>
                  <a:gd name="connsiteX4" fmla="*/ 75206 w 1023774"/>
                  <a:gd name="connsiteY4" fmla="*/ 166687 h 314325"/>
                  <a:gd name="connsiteX5" fmla="*/ 94256 w 1023774"/>
                  <a:gd name="connsiteY5" fmla="*/ 114300 h 314325"/>
                  <a:gd name="connsiteX6" fmla="*/ 103781 w 1023774"/>
                  <a:gd name="connsiteY6" fmla="*/ 100012 h 314325"/>
                  <a:gd name="connsiteX7" fmla="*/ 122831 w 1023774"/>
                  <a:gd name="connsiteY7" fmla="*/ 57150 h 314325"/>
                  <a:gd name="connsiteX8" fmla="*/ 127593 w 1023774"/>
                  <a:gd name="connsiteY8" fmla="*/ 42862 h 314325"/>
                  <a:gd name="connsiteX9" fmla="*/ 137118 w 1023774"/>
                  <a:gd name="connsiteY9" fmla="*/ 4762 h 314325"/>
                  <a:gd name="connsiteX10" fmla="*/ 146643 w 1023774"/>
                  <a:gd name="connsiteY10" fmla="*/ 100012 h 314325"/>
                  <a:gd name="connsiteX11" fmla="*/ 156168 w 1023774"/>
                  <a:gd name="connsiteY11" fmla="*/ 152400 h 314325"/>
                  <a:gd name="connsiteX12" fmla="*/ 160931 w 1023774"/>
                  <a:gd name="connsiteY12" fmla="*/ 228600 h 314325"/>
                  <a:gd name="connsiteX13" fmla="*/ 173420 w 1023774"/>
                  <a:gd name="connsiteY13" fmla="*/ 268258 h 314325"/>
                  <a:gd name="connsiteX14" fmla="*/ 201301 w 1023774"/>
                  <a:gd name="connsiteY14" fmla="*/ 255572 h 314325"/>
                  <a:gd name="connsiteX15" fmla="*/ 231612 w 1023774"/>
                  <a:gd name="connsiteY15" fmla="*/ 201561 h 314325"/>
                  <a:gd name="connsiteX16" fmla="*/ 251418 w 1023774"/>
                  <a:gd name="connsiteY16" fmla="*/ 171450 h 314325"/>
                  <a:gd name="connsiteX17" fmla="*/ 270468 w 1023774"/>
                  <a:gd name="connsiteY17" fmla="*/ 142875 h 314325"/>
                  <a:gd name="connsiteX18" fmla="*/ 303806 w 1023774"/>
                  <a:gd name="connsiteY18" fmla="*/ 71437 h 314325"/>
                  <a:gd name="connsiteX19" fmla="*/ 314781 w 1023774"/>
                  <a:gd name="connsiteY19" fmla="*/ 36631 h 314325"/>
                  <a:gd name="connsiteX20" fmla="*/ 321752 w 1023774"/>
                  <a:gd name="connsiteY20" fmla="*/ 88841 h 314325"/>
                  <a:gd name="connsiteX21" fmla="*/ 326862 w 1023774"/>
                  <a:gd name="connsiteY21" fmla="*/ 147637 h 314325"/>
                  <a:gd name="connsiteX22" fmla="*/ 337143 w 1023774"/>
                  <a:gd name="connsiteY22" fmla="*/ 171450 h 314325"/>
                  <a:gd name="connsiteX23" fmla="*/ 348529 w 1023774"/>
                  <a:gd name="connsiteY23" fmla="*/ 261916 h 314325"/>
                  <a:gd name="connsiteX24" fmla="*/ 356193 w 1023774"/>
                  <a:gd name="connsiteY24" fmla="*/ 247650 h 314325"/>
                  <a:gd name="connsiteX25" fmla="*/ 369787 w 1023774"/>
                  <a:gd name="connsiteY25" fmla="*/ 231782 h 314325"/>
                  <a:gd name="connsiteX26" fmla="*/ 394293 w 1023774"/>
                  <a:gd name="connsiteY26" fmla="*/ 180975 h 314325"/>
                  <a:gd name="connsiteX27" fmla="*/ 408581 w 1023774"/>
                  <a:gd name="connsiteY27" fmla="*/ 171450 h 314325"/>
                  <a:gd name="connsiteX28" fmla="*/ 418106 w 1023774"/>
                  <a:gd name="connsiteY28" fmla="*/ 157162 h 314325"/>
                  <a:gd name="connsiteX29" fmla="*/ 427631 w 1023774"/>
                  <a:gd name="connsiteY29" fmla="*/ 180975 h 314325"/>
                  <a:gd name="connsiteX30" fmla="*/ 437156 w 1023774"/>
                  <a:gd name="connsiteY30" fmla="*/ 209550 h 314325"/>
                  <a:gd name="connsiteX31" fmla="*/ 447437 w 1023774"/>
                  <a:gd name="connsiteY31" fmla="*/ 252390 h 314325"/>
                  <a:gd name="connsiteX32" fmla="*/ 475256 w 1023774"/>
                  <a:gd name="connsiteY32" fmla="*/ 233362 h 314325"/>
                  <a:gd name="connsiteX33" fmla="*/ 489543 w 1023774"/>
                  <a:gd name="connsiteY33" fmla="*/ 233362 h 314325"/>
                  <a:gd name="connsiteX34" fmla="*/ 499068 w 1023774"/>
                  <a:gd name="connsiteY34" fmla="*/ 223837 h 314325"/>
                  <a:gd name="connsiteX35" fmla="*/ 541931 w 1023774"/>
                  <a:gd name="connsiteY35" fmla="*/ 138112 h 314325"/>
                  <a:gd name="connsiteX36" fmla="*/ 560981 w 1023774"/>
                  <a:gd name="connsiteY36" fmla="*/ 104775 h 314325"/>
                  <a:gd name="connsiteX37" fmla="*/ 565743 w 1023774"/>
                  <a:gd name="connsiteY37" fmla="*/ 90487 h 314325"/>
                  <a:gd name="connsiteX38" fmla="*/ 580031 w 1023774"/>
                  <a:gd name="connsiteY38" fmla="*/ 80962 h 314325"/>
                  <a:gd name="connsiteX39" fmla="*/ 618825 w 1023774"/>
                  <a:gd name="connsiteY39" fmla="*/ 49227 h 314325"/>
                  <a:gd name="connsiteX40" fmla="*/ 635859 w 1023774"/>
                  <a:gd name="connsiteY40" fmla="*/ 51320 h 314325"/>
                  <a:gd name="connsiteX41" fmla="*/ 647116 w 1023774"/>
                  <a:gd name="connsiteY41" fmla="*/ 295341 h 314325"/>
                  <a:gd name="connsiteX42" fmla="*/ 651468 w 1023774"/>
                  <a:gd name="connsiteY42" fmla="*/ 314325 h 314325"/>
                  <a:gd name="connsiteX43" fmla="*/ 660993 w 1023774"/>
                  <a:gd name="connsiteY43" fmla="*/ 295275 h 314325"/>
                  <a:gd name="connsiteX44" fmla="*/ 674933 w 1023774"/>
                  <a:gd name="connsiteY44" fmla="*/ 257152 h 314325"/>
                  <a:gd name="connsiteX45" fmla="*/ 706758 w 1023774"/>
                  <a:gd name="connsiteY45" fmla="*/ 168290 h 314325"/>
                  <a:gd name="connsiteX46" fmla="*/ 722906 w 1023774"/>
                  <a:gd name="connsiteY46" fmla="*/ 133350 h 314325"/>
                  <a:gd name="connsiteX47" fmla="*/ 727668 w 1023774"/>
                  <a:gd name="connsiteY47" fmla="*/ 166687 h 314325"/>
                  <a:gd name="connsiteX48" fmla="*/ 732431 w 1023774"/>
                  <a:gd name="connsiteY48" fmla="*/ 180975 h 314325"/>
                  <a:gd name="connsiteX49" fmla="*/ 748579 w 1023774"/>
                  <a:gd name="connsiteY49" fmla="*/ 155604 h 314325"/>
                  <a:gd name="connsiteX50" fmla="*/ 774599 w 1023774"/>
                  <a:gd name="connsiteY50" fmla="*/ 131770 h 314325"/>
                  <a:gd name="connsiteX51" fmla="*/ 794343 w 1023774"/>
                  <a:gd name="connsiteY51" fmla="*/ 85725 h 314325"/>
                  <a:gd name="connsiteX52" fmla="*/ 803868 w 1023774"/>
                  <a:gd name="connsiteY52" fmla="*/ 114300 h 314325"/>
                  <a:gd name="connsiteX53" fmla="*/ 818156 w 1023774"/>
                  <a:gd name="connsiteY53" fmla="*/ 185737 h 314325"/>
                  <a:gd name="connsiteX54" fmla="*/ 839066 w 1023774"/>
                  <a:gd name="connsiteY54" fmla="*/ 180975 h 314325"/>
                  <a:gd name="connsiteX55" fmla="*/ 856256 w 1023774"/>
                  <a:gd name="connsiteY55" fmla="*/ 138112 h 314325"/>
                  <a:gd name="connsiteX56" fmla="*/ 880068 w 1023774"/>
                  <a:gd name="connsiteY56" fmla="*/ 76200 h 314325"/>
                  <a:gd name="connsiteX57" fmla="*/ 884831 w 1023774"/>
                  <a:gd name="connsiteY57" fmla="*/ 52387 h 314325"/>
                  <a:gd name="connsiteX58" fmla="*/ 899118 w 1023774"/>
                  <a:gd name="connsiteY58" fmla="*/ 38100 h 314325"/>
                  <a:gd name="connsiteX59" fmla="*/ 903881 w 1023774"/>
                  <a:gd name="connsiteY59" fmla="*/ 14287 h 314325"/>
                  <a:gd name="connsiteX60" fmla="*/ 908643 w 1023774"/>
                  <a:gd name="connsiteY60" fmla="*/ 0 h 314325"/>
                  <a:gd name="connsiteX61" fmla="*/ 913406 w 1023774"/>
                  <a:gd name="connsiteY61" fmla="*/ 14287 h 314325"/>
                  <a:gd name="connsiteX62" fmla="*/ 918168 w 1023774"/>
                  <a:gd name="connsiteY62" fmla="*/ 71437 h 314325"/>
                  <a:gd name="connsiteX63" fmla="*/ 927693 w 1023774"/>
                  <a:gd name="connsiteY63" fmla="*/ 100012 h 314325"/>
                  <a:gd name="connsiteX64" fmla="*/ 951506 w 1023774"/>
                  <a:gd name="connsiteY64" fmla="*/ 161925 h 314325"/>
                  <a:gd name="connsiteX65" fmla="*/ 956268 w 1023774"/>
                  <a:gd name="connsiteY65" fmla="*/ 180975 h 314325"/>
                  <a:gd name="connsiteX66" fmla="*/ 961031 w 1023774"/>
                  <a:gd name="connsiteY66" fmla="*/ 214312 h 314325"/>
                  <a:gd name="connsiteX67" fmla="*/ 980081 w 1023774"/>
                  <a:gd name="connsiteY67" fmla="*/ 242887 h 314325"/>
                  <a:gd name="connsiteX68" fmla="*/ 990273 w 1023774"/>
                  <a:gd name="connsiteY68" fmla="*/ 265734 h 314325"/>
                  <a:gd name="connsiteX69" fmla="*/ 1023774 w 1023774"/>
                  <a:gd name="connsiteY69" fmla="*/ 26140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23774" h="314325">
                    <a:moveTo>
                      <a:pt x="0" y="262750"/>
                    </a:moveTo>
                    <a:cubicBezTo>
                      <a:pt x="20885" y="261865"/>
                      <a:pt x="25469" y="263292"/>
                      <a:pt x="33523" y="257600"/>
                    </a:cubicBezTo>
                    <a:cubicBezTo>
                      <a:pt x="41577" y="251908"/>
                      <a:pt x="42966" y="241371"/>
                      <a:pt x="48326" y="228600"/>
                    </a:cubicBezTo>
                    <a:cubicBezTo>
                      <a:pt x="53686" y="215829"/>
                      <a:pt x="61201" y="191294"/>
                      <a:pt x="65681" y="180975"/>
                    </a:cubicBezTo>
                    <a:cubicBezTo>
                      <a:pt x="70161" y="170656"/>
                      <a:pt x="75206" y="166687"/>
                      <a:pt x="75206" y="166687"/>
                    </a:cubicBezTo>
                    <a:cubicBezTo>
                      <a:pt x="81379" y="141993"/>
                      <a:pt x="80199" y="142413"/>
                      <a:pt x="94256" y="114300"/>
                    </a:cubicBezTo>
                    <a:cubicBezTo>
                      <a:pt x="96816" y="109180"/>
                      <a:pt x="100941" y="104982"/>
                      <a:pt x="103781" y="100012"/>
                    </a:cubicBezTo>
                    <a:cubicBezTo>
                      <a:pt x="111652" y="86238"/>
                      <a:pt x="117265" y="71993"/>
                      <a:pt x="122831" y="57150"/>
                    </a:cubicBezTo>
                    <a:cubicBezTo>
                      <a:pt x="124594" y="52449"/>
                      <a:pt x="126272" y="47705"/>
                      <a:pt x="127593" y="42862"/>
                    </a:cubicBezTo>
                    <a:cubicBezTo>
                      <a:pt x="131037" y="30232"/>
                      <a:pt x="137118" y="4762"/>
                      <a:pt x="137118" y="4762"/>
                    </a:cubicBezTo>
                    <a:cubicBezTo>
                      <a:pt x="147761" y="57971"/>
                      <a:pt x="137808" y="2826"/>
                      <a:pt x="146643" y="100012"/>
                    </a:cubicBezTo>
                    <a:cubicBezTo>
                      <a:pt x="149080" y="126823"/>
                      <a:pt x="150580" y="130044"/>
                      <a:pt x="156168" y="152400"/>
                    </a:cubicBezTo>
                    <a:cubicBezTo>
                      <a:pt x="157756" y="177800"/>
                      <a:pt x="158056" y="209290"/>
                      <a:pt x="160931" y="228600"/>
                    </a:cubicBezTo>
                    <a:cubicBezTo>
                      <a:pt x="163806" y="247910"/>
                      <a:pt x="166692" y="263763"/>
                      <a:pt x="173420" y="268258"/>
                    </a:cubicBezTo>
                    <a:cubicBezTo>
                      <a:pt x="180148" y="272753"/>
                      <a:pt x="191602" y="266688"/>
                      <a:pt x="201301" y="255572"/>
                    </a:cubicBezTo>
                    <a:cubicBezTo>
                      <a:pt x="211000" y="244456"/>
                      <a:pt x="223259" y="215581"/>
                      <a:pt x="231612" y="201561"/>
                    </a:cubicBezTo>
                    <a:cubicBezTo>
                      <a:pt x="239965" y="187541"/>
                      <a:pt x="244942" y="181231"/>
                      <a:pt x="251418" y="171450"/>
                    </a:cubicBezTo>
                    <a:cubicBezTo>
                      <a:pt x="257894" y="161669"/>
                      <a:pt x="261737" y="159544"/>
                      <a:pt x="270468" y="142875"/>
                    </a:cubicBezTo>
                    <a:cubicBezTo>
                      <a:pt x="279199" y="126206"/>
                      <a:pt x="296421" y="89144"/>
                      <a:pt x="303806" y="71437"/>
                    </a:cubicBezTo>
                    <a:cubicBezTo>
                      <a:pt x="311191" y="53730"/>
                      <a:pt x="311790" y="33730"/>
                      <a:pt x="314781" y="36631"/>
                    </a:cubicBezTo>
                    <a:cubicBezTo>
                      <a:pt x="317772" y="39532"/>
                      <a:pt x="320164" y="84078"/>
                      <a:pt x="321752" y="88841"/>
                    </a:cubicBezTo>
                    <a:cubicBezTo>
                      <a:pt x="324164" y="108135"/>
                      <a:pt x="324297" y="133869"/>
                      <a:pt x="326862" y="147637"/>
                    </a:cubicBezTo>
                    <a:cubicBezTo>
                      <a:pt x="329427" y="161405"/>
                      <a:pt x="335556" y="163512"/>
                      <a:pt x="337143" y="171450"/>
                    </a:cubicBezTo>
                    <a:cubicBezTo>
                      <a:pt x="338731" y="200025"/>
                      <a:pt x="341588" y="234151"/>
                      <a:pt x="348529" y="261916"/>
                    </a:cubicBezTo>
                    <a:cubicBezTo>
                      <a:pt x="349917" y="267469"/>
                      <a:pt x="352650" y="252672"/>
                      <a:pt x="356193" y="247650"/>
                    </a:cubicBezTo>
                    <a:cubicBezTo>
                      <a:pt x="359736" y="242628"/>
                      <a:pt x="367710" y="236352"/>
                      <a:pt x="369787" y="231782"/>
                    </a:cubicBezTo>
                    <a:cubicBezTo>
                      <a:pt x="382365" y="204110"/>
                      <a:pt x="387827" y="191030"/>
                      <a:pt x="394293" y="180975"/>
                    </a:cubicBezTo>
                    <a:cubicBezTo>
                      <a:pt x="400759" y="170920"/>
                      <a:pt x="403818" y="174625"/>
                      <a:pt x="408581" y="171450"/>
                    </a:cubicBezTo>
                    <a:cubicBezTo>
                      <a:pt x="411756" y="166687"/>
                      <a:pt x="412986" y="154602"/>
                      <a:pt x="418106" y="157162"/>
                    </a:cubicBezTo>
                    <a:cubicBezTo>
                      <a:pt x="425753" y="160985"/>
                      <a:pt x="424709" y="172941"/>
                      <a:pt x="427631" y="180975"/>
                    </a:cubicBezTo>
                    <a:cubicBezTo>
                      <a:pt x="431062" y="190411"/>
                      <a:pt x="433855" y="197647"/>
                      <a:pt x="437156" y="209550"/>
                    </a:cubicBezTo>
                    <a:cubicBezTo>
                      <a:pt x="440457" y="221453"/>
                      <a:pt x="439998" y="241975"/>
                      <a:pt x="447437" y="252390"/>
                    </a:cubicBezTo>
                    <a:cubicBezTo>
                      <a:pt x="452397" y="259334"/>
                      <a:pt x="472700" y="235066"/>
                      <a:pt x="475256" y="233362"/>
                    </a:cubicBezTo>
                    <a:cubicBezTo>
                      <a:pt x="493561" y="205906"/>
                      <a:pt x="485574" y="234949"/>
                      <a:pt x="489543" y="233362"/>
                    </a:cubicBezTo>
                    <a:cubicBezTo>
                      <a:pt x="493512" y="231775"/>
                      <a:pt x="490337" y="239712"/>
                      <a:pt x="499068" y="223837"/>
                    </a:cubicBezTo>
                    <a:cubicBezTo>
                      <a:pt x="507799" y="207962"/>
                      <a:pt x="531612" y="157956"/>
                      <a:pt x="541931" y="138112"/>
                    </a:cubicBezTo>
                    <a:cubicBezTo>
                      <a:pt x="552850" y="105353"/>
                      <a:pt x="537914" y="145143"/>
                      <a:pt x="560981" y="104775"/>
                    </a:cubicBezTo>
                    <a:cubicBezTo>
                      <a:pt x="563472" y="100416"/>
                      <a:pt x="562607" y="94407"/>
                      <a:pt x="565743" y="90487"/>
                    </a:cubicBezTo>
                    <a:cubicBezTo>
                      <a:pt x="569319" y="86017"/>
                      <a:pt x="571184" y="87839"/>
                      <a:pt x="580031" y="80962"/>
                    </a:cubicBezTo>
                    <a:cubicBezTo>
                      <a:pt x="588878" y="74085"/>
                      <a:pt x="611728" y="55221"/>
                      <a:pt x="618825" y="49227"/>
                    </a:cubicBezTo>
                    <a:cubicBezTo>
                      <a:pt x="625922" y="43233"/>
                      <a:pt x="631144" y="10301"/>
                      <a:pt x="635859" y="51320"/>
                    </a:cubicBezTo>
                    <a:cubicBezTo>
                      <a:pt x="640574" y="92339"/>
                      <a:pt x="642307" y="250453"/>
                      <a:pt x="647116" y="295341"/>
                    </a:cubicBezTo>
                    <a:cubicBezTo>
                      <a:pt x="647461" y="300349"/>
                      <a:pt x="646706" y="312737"/>
                      <a:pt x="651468" y="314325"/>
                    </a:cubicBezTo>
                    <a:cubicBezTo>
                      <a:pt x="654643" y="307975"/>
                      <a:pt x="657082" y="304804"/>
                      <a:pt x="660993" y="295275"/>
                    </a:cubicBezTo>
                    <a:cubicBezTo>
                      <a:pt x="664904" y="285746"/>
                      <a:pt x="667306" y="278316"/>
                      <a:pt x="674933" y="257152"/>
                    </a:cubicBezTo>
                    <a:cubicBezTo>
                      <a:pt x="682561" y="235988"/>
                      <a:pt x="698763" y="188924"/>
                      <a:pt x="706758" y="168290"/>
                    </a:cubicBezTo>
                    <a:cubicBezTo>
                      <a:pt x="714753" y="147656"/>
                      <a:pt x="719421" y="133617"/>
                      <a:pt x="722906" y="133350"/>
                    </a:cubicBezTo>
                    <a:cubicBezTo>
                      <a:pt x="726391" y="133083"/>
                      <a:pt x="725467" y="155680"/>
                      <a:pt x="727668" y="166687"/>
                    </a:cubicBezTo>
                    <a:cubicBezTo>
                      <a:pt x="728653" y="171610"/>
                      <a:pt x="728946" y="182822"/>
                      <a:pt x="732431" y="180975"/>
                    </a:cubicBezTo>
                    <a:cubicBezTo>
                      <a:pt x="735916" y="179128"/>
                      <a:pt x="741551" y="163805"/>
                      <a:pt x="748579" y="155604"/>
                    </a:cubicBezTo>
                    <a:cubicBezTo>
                      <a:pt x="755607" y="147403"/>
                      <a:pt x="766972" y="143416"/>
                      <a:pt x="774599" y="131770"/>
                    </a:cubicBezTo>
                    <a:cubicBezTo>
                      <a:pt x="782226" y="120124"/>
                      <a:pt x="789465" y="88637"/>
                      <a:pt x="794343" y="85725"/>
                    </a:cubicBezTo>
                    <a:cubicBezTo>
                      <a:pt x="799221" y="82813"/>
                      <a:pt x="801542" y="104533"/>
                      <a:pt x="803868" y="114300"/>
                    </a:cubicBezTo>
                    <a:cubicBezTo>
                      <a:pt x="809493" y="137924"/>
                      <a:pt x="812290" y="174624"/>
                      <a:pt x="818156" y="185737"/>
                    </a:cubicBezTo>
                    <a:cubicBezTo>
                      <a:pt x="824022" y="196850"/>
                      <a:pt x="835146" y="184111"/>
                      <a:pt x="839066" y="180975"/>
                    </a:cubicBezTo>
                    <a:cubicBezTo>
                      <a:pt x="845489" y="175837"/>
                      <a:pt x="849422" y="155575"/>
                      <a:pt x="856256" y="138112"/>
                    </a:cubicBezTo>
                    <a:cubicBezTo>
                      <a:pt x="863090" y="120650"/>
                      <a:pt x="874336" y="97217"/>
                      <a:pt x="880068" y="76200"/>
                    </a:cubicBezTo>
                    <a:cubicBezTo>
                      <a:pt x="882198" y="68390"/>
                      <a:pt x="881211" y="59627"/>
                      <a:pt x="884831" y="52387"/>
                    </a:cubicBezTo>
                    <a:cubicBezTo>
                      <a:pt x="887843" y="46363"/>
                      <a:pt x="894356" y="42862"/>
                      <a:pt x="899118" y="38100"/>
                    </a:cubicBezTo>
                    <a:cubicBezTo>
                      <a:pt x="900706" y="30162"/>
                      <a:pt x="901918" y="22140"/>
                      <a:pt x="903881" y="14287"/>
                    </a:cubicBezTo>
                    <a:cubicBezTo>
                      <a:pt x="905099" y="9417"/>
                      <a:pt x="903623" y="0"/>
                      <a:pt x="908643" y="0"/>
                    </a:cubicBezTo>
                    <a:cubicBezTo>
                      <a:pt x="913663" y="0"/>
                      <a:pt x="911818" y="9525"/>
                      <a:pt x="913406" y="14287"/>
                    </a:cubicBezTo>
                    <a:cubicBezTo>
                      <a:pt x="914993" y="33337"/>
                      <a:pt x="915025" y="52581"/>
                      <a:pt x="918168" y="71437"/>
                    </a:cubicBezTo>
                    <a:cubicBezTo>
                      <a:pt x="919819" y="81341"/>
                      <a:pt x="924935" y="90358"/>
                      <a:pt x="927693" y="100012"/>
                    </a:cubicBezTo>
                    <a:cubicBezTo>
                      <a:pt x="942673" y="152442"/>
                      <a:pt x="928213" y="123104"/>
                      <a:pt x="951506" y="161925"/>
                    </a:cubicBezTo>
                    <a:cubicBezTo>
                      <a:pt x="953093" y="168275"/>
                      <a:pt x="955097" y="174535"/>
                      <a:pt x="956268" y="180975"/>
                    </a:cubicBezTo>
                    <a:cubicBezTo>
                      <a:pt x="958276" y="192019"/>
                      <a:pt x="957001" y="203835"/>
                      <a:pt x="961031" y="214312"/>
                    </a:cubicBezTo>
                    <a:cubicBezTo>
                      <a:pt x="965141" y="224997"/>
                      <a:pt x="975207" y="234317"/>
                      <a:pt x="980081" y="242887"/>
                    </a:cubicBezTo>
                    <a:cubicBezTo>
                      <a:pt x="984955" y="251457"/>
                      <a:pt x="983258" y="262242"/>
                      <a:pt x="990273" y="265734"/>
                    </a:cubicBezTo>
                    <a:cubicBezTo>
                      <a:pt x="996576" y="258872"/>
                      <a:pt x="1004240" y="263357"/>
                      <a:pt x="1023774" y="261405"/>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Rectangle 20"/>
            <p:cNvSpPr/>
            <p:nvPr/>
          </p:nvSpPr>
          <p:spPr bwMode="gray">
            <a:xfrm>
              <a:off x="9742880" y="2835611"/>
              <a:ext cx="2449120" cy="506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 name="Rectangle 22"/>
            <p:cNvSpPr/>
            <p:nvPr/>
          </p:nvSpPr>
          <p:spPr bwMode="gray">
            <a:xfrm>
              <a:off x="0" y="2835611"/>
              <a:ext cx="8729520" cy="506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24" name="Straight Connector 23"/>
            <p:cNvCxnSpPr/>
            <p:nvPr/>
          </p:nvCxnSpPr>
          <p:spPr bwMode="gray">
            <a:xfrm flipH="1">
              <a:off x="4100174" y="4120908"/>
              <a:ext cx="2" cy="176311"/>
            </a:xfrm>
            <a:prstGeom prst="lin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p:nvCxnSpPr>
          <p:spPr bwMode="gray">
            <a:xfrm flipH="1">
              <a:off x="4747318" y="4120908"/>
              <a:ext cx="2" cy="176311"/>
            </a:xfrm>
            <a:prstGeom prst="lin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sp>
          <p:nvSpPr>
            <p:cNvPr id="26" name="Oval 160"/>
            <p:cNvSpPr/>
            <p:nvPr/>
          </p:nvSpPr>
          <p:spPr bwMode="gray">
            <a:xfrm>
              <a:off x="3140447" y="1919994"/>
              <a:ext cx="541810" cy="541808"/>
            </a:xfrm>
            <a:custGeom>
              <a:avLst/>
              <a:gdLst/>
              <a:ahLst/>
              <a:cxnLst/>
              <a:rect l="l" t="t" r="r" b="b"/>
              <a:pathLst>
                <a:path w="1057714" h="1057714">
                  <a:moveTo>
                    <a:pt x="528858" y="122586"/>
                  </a:moveTo>
                  <a:cubicBezTo>
                    <a:pt x="304480" y="122586"/>
                    <a:pt x="122586" y="304480"/>
                    <a:pt x="122586" y="528858"/>
                  </a:cubicBezTo>
                  <a:cubicBezTo>
                    <a:pt x="122586" y="753236"/>
                    <a:pt x="304480" y="935130"/>
                    <a:pt x="528858" y="935130"/>
                  </a:cubicBezTo>
                  <a:cubicBezTo>
                    <a:pt x="753236" y="935130"/>
                    <a:pt x="935130" y="753236"/>
                    <a:pt x="935130" y="528858"/>
                  </a:cubicBezTo>
                  <a:cubicBezTo>
                    <a:pt x="935130" y="304480"/>
                    <a:pt x="753236" y="122586"/>
                    <a:pt x="528858" y="122586"/>
                  </a:cubicBezTo>
                  <a:close/>
                  <a:moveTo>
                    <a:pt x="528857" y="0"/>
                  </a:moveTo>
                  <a:cubicBezTo>
                    <a:pt x="820937" y="0"/>
                    <a:pt x="1057714" y="236777"/>
                    <a:pt x="1057714" y="528857"/>
                  </a:cubicBezTo>
                  <a:cubicBezTo>
                    <a:pt x="1057714" y="820937"/>
                    <a:pt x="820937" y="1057714"/>
                    <a:pt x="528857" y="1057714"/>
                  </a:cubicBezTo>
                  <a:cubicBezTo>
                    <a:pt x="236777" y="1057714"/>
                    <a:pt x="0" y="820937"/>
                    <a:pt x="0" y="528857"/>
                  </a:cubicBezTo>
                  <a:cubicBezTo>
                    <a:pt x="0" y="236777"/>
                    <a:pt x="236777" y="0"/>
                    <a:pt x="528857" y="0"/>
                  </a:cubicBezTo>
                  <a:close/>
                </a:path>
              </a:pathLst>
            </a:cu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nvGrpSpPr>
            <p:cNvPr id="27" name="Group 26"/>
            <p:cNvGrpSpPr/>
            <p:nvPr/>
          </p:nvGrpSpPr>
          <p:grpSpPr bwMode="gray">
            <a:xfrm>
              <a:off x="3226528" y="2014587"/>
              <a:ext cx="369648" cy="352622"/>
              <a:chOff x="1097281" y="2814447"/>
              <a:chExt cx="721625" cy="688388"/>
            </a:xfrm>
          </p:grpSpPr>
          <p:sp>
            <p:nvSpPr>
              <p:cNvPr id="79" name="Oval 152"/>
              <p:cNvSpPr/>
              <p:nvPr/>
            </p:nvSpPr>
            <p:spPr bwMode="gray">
              <a:xfrm flipH="1">
                <a:off x="1667728" y="3104486"/>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0" name="Oval 152"/>
              <p:cNvSpPr/>
              <p:nvPr/>
            </p:nvSpPr>
            <p:spPr bwMode="gray">
              <a:xfrm flipH="1">
                <a:off x="1519137" y="3226665"/>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1" name="Oval 152"/>
              <p:cNvSpPr/>
              <p:nvPr/>
            </p:nvSpPr>
            <p:spPr bwMode="gray">
              <a:xfrm flipH="1">
                <a:off x="1659703" y="3229818"/>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2" name="Oval 152"/>
              <p:cNvSpPr/>
              <p:nvPr/>
            </p:nvSpPr>
            <p:spPr bwMode="gray">
              <a:xfrm flipH="1">
                <a:off x="1477318" y="3294090"/>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3" name="Oval 152"/>
              <p:cNvSpPr/>
              <p:nvPr/>
            </p:nvSpPr>
            <p:spPr bwMode="gray">
              <a:xfrm flipH="1">
                <a:off x="1235460" y="3226665"/>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4" name="Oval 152"/>
              <p:cNvSpPr/>
              <p:nvPr/>
            </p:nvSpPr>
            <p:spPr bwMode="gray">
              <a:xfrm flipH="1" flipV="1">
                <a:off x="1533646" y="3351108"/>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5" name="Oval 152"/>
              <p:cNvSpPr/>
              <p:nvPr/>
            </p:nvSpPr>
            <p:spPr bwMode="gray">
              <a:xfrm flipH="1" flipV="1">
                <a:off x="1388503" y="3332687"/>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6" name="Oval 152"/>
              <p:cNvSpPr/>
              <p:nvPr/>
            </p:nvSpPr>
            <p:spPr bwMode="gray">
              <a:xfrm flipH="1">
                <a:off x="1739516" y="3226665"/>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7" name="Oval 152"/>
              <p:cNvSpPr/>
              <p:nvPr/>
            </p:nvSpPr>
            <p:spPr bwMode="gray">
              <a:xfrm flipH="1">
                <a:off x="1700006" y="3178195"/>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8" name="Oval 152"/>
              <p:cNvSpPr/>
              <p:nvPr/>
            </p:nvSpPr>
            <p:spPr bwMode="gray">
              <a:xfrm flipH="1">
                <a:off x="1770358" y="3143816"/>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9" name="Oval 152"/>
              <p:cNvSpPr/>
              <p:nvPr/>
            </p:nvSpPr>
            <p:spPr bwMode="gray">
              <a:xfrm flipH="1">
                <a:off x="1158732" y="3307252"/>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0" name="Oval 152"/>
              <p:cNvSpPr/>
              <p:nvPr/>
            </p:nvSpPr>
            <p:spPr bwMode="gray">
              <a:xfrm flipH="1">
                <a:off x="1347341" y="3264289"/>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1" name="Oval 152"/>
              <p:cNvSpPr/>
              <p:nvPr/>
            </p:nvSpPr>
            <p:spPr bwMode="gray">
              <a:xfrm flipH="1">
                <a:off x="1305178" y="3303090"/>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2" name="Oval 152"/>
              <p:cNvSpPr/>
              <p:nvPr/>
            </p:nvSpPr>
            <p:spPr bwMode="gray">
              <a:xfrm flipH="1">
                <a:off x="1615137" y="3299514"/>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3" name="Oval 152"/>
              <p:cNvSpPr/>
              <p:nvPr/>
            </p:nvSpPr>
            <p:spPr bwMode="gray">
              <a:xfrm flipH="1">
                <a:off x="1739516" y="3031239"/>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4" name="Oval 152"/>
              <p:cNvSpPr/>
              <p:nvPr/>
            </p:nvSpPr>
            <p:spPr bwMode="gray">
              <a:xfrm flipH="1">
                <a:off x="1424503" y="3211818"/>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5" name="Oval 152"/>
              <p:cNvSpPr/>
              <p:nvPr/>
            </p:nvSpPr>
            <p:spPr bwMode="gray">
              <a:xfrm flipH="1">
                <a:off x="1519137" y="3138483"/>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6" name="Oval 152"/>
              <p:cNvSpPr/>
              <p:nvPr/>
            </p:nvSpPr>
            <p:spPr bwMode="gray">
              <a:xfrm flipH="1">
                <a:off x="1613500" y="3153765"/>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7" name="Oval 152"/>
              <p:cNvSpPr/>
              <p:nvPr/>
            </p:nvSpPr>
            <p:spPr bwMode="gray">
              <a:xfrm flipH="1" flipV="1">
                <a:off x="1305178" y="3181497"/>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8" name="Oval 152"/>
              <p:cNvSpPr/>
              <p:nvPr/>
            </p:nvSpPr>
            <p:spPr bwMode="gray">
              <a:xfrm flipH="1">
                <a:off x="1459104" y="3166765"/>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9" name="Oval 152"/>
              <p:cNvSpPr/>
              <p:nvPr/>
            </p:nvSpPr>
            <p:spPr bwMode="gray">
              <a:xfrm flipH="1">
                <a:off x="1586691" y="3102569"/>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0" name="Oval 152"/>
              <p:cNvSpPr/>
              <p:nvPr/>
            </p:nvSpPr>
            <p:spPr bwMode="gray">
              <a:xfrm flipH="1">
                <a:off x="1684676" y="3041190"/>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1" name="Oval 152"/>
              <p:cNvSpPr/>
              <p:nvPr/>
            </p:nvSpPr>
            <p:spPr bwMode="gray">
              <a:xfrm flipH="1">
                <a:off x="1745749" y="2958989"/>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2" name="Oval 152"/>
              <p:cNvSpPr/>
              <p:nvPr/>
            </p:nvSpPr>
            <p:spPr bwMode="gray">
              <a:xfrm flipH="1">
                <a:off x="1250954" y="3321090"/>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3" name="Oval 152"/>
              <p:cNvSpPr/>
              <p:nvPr/>
            </p:nvSpPr>
            <p:spPr bwMode="gray">
              <a:xfrm flipH="1">
                <a:off x="1119828" y="3264289"/>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4" name="Oval 152"/>
              <p:cNvSpPr/>
              <p:nvPr/>
            </p:nvSpPr>
            <p:spPr bwMode="gray">
              <a:xfrm flipH="1">
                <a:off x="1458446" y="3357215"/>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5" name="Oval 152"/>
              <p:cNvSpPr/>
              <p:nvPr/>
            </p:nvSpPr>
            <p:spPr bwMode="gray">
              <a:xfrm flipH="1" flipV="1">
                <a:off x="1659703" y="3373510"/>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6" name="Oval 152"/>
              <p:cNvSpPr/>
              <p:nvPr/>
            </p:nvSpPr>
            <p:spPr bwMode="gray">
              <a:xfrm flipH="1" flipV="1">
                <a:off x="1586691" y="3421660"/>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7" name="Oval 152"/>
              <p:cNvSpPr/>
              <p:nvPr/>
            </p:nvSpPr>
            <p:spPr bwMode="gray">
              <a:xfrm flipH="1">
                <a:off x="1718812" y="3319358"/>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8" name="Oval 152"/>
              <p:cNvSpPr/>
              <p:nvPr/>
            </p:nvSpPr>
            <p:spPr bwMode="gray">
              <a:xfrm flipH="1">
                <a:off x="1782906" y="3066569"/>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9" name="Oval 152"/>
              <p:cNvSpPr/>
              <p:nvPr/>
            </p:nvSpPr>
            <p:spPr bwMode="gray">
              <a:xfrm flipH="1">
                <a:off x="1595691" y="3229630"/>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10" name="Freeform 109"/>
              <p:cNvSpPr/>
              <p:nvPr/>
            </p:nvSpPr>
            <p:spPr bwMode="gray">
              <a:xfrm>
                <a:off x="1101430" y="2931739"/>
                <a:ext cx="268060" cy="207601"/>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Lst>
                <a:ahLst/>
                <a:cxnLst>
                  <a:cxn ang="0">
                    <a:pos x="connsiteX0" y="connsiteY0"/>
                  </a:cxn>
                  <a:cxn ang="0">
                    <a:pos x="connsiteX1" y="connsiteY1"/>
                  </a:cxn>
                  <a:cxn ang="0">
                    <a:pos x="connsiteX2" y="connsiteY2"/>
                  </a:cxn>
                  <a:cxn ang="0">
                    <a:pos x="connsiteX3" y="connsiteY3"/>
                  </a:cxn>
                </a:cxnLst>
                <a:rect l="l" t="t" r="r" b="b"/>
                <a:pathLst>
                  <a:path w="371072" h="264795">
                    <a:moveTo>
                      <a:pt x="0" y="264795"/>
                    </a:moveTo>
                    <a:cubicBezTo>
                      <a:pt x="40878" y="259636"/>
                      <a:pt x="203518" y="216217"/>
                      <a:pt x="264795" y="188595"/>
                    </a:cubicBezTo>
                    <a:cubicBezTo>
                      <a:pt x="326072" y="160973"/>
                      <a:pt x="359093" y="130492"/>
                      <a:pt x="367665" y="99060"/>
                    </a:cubicBezTo>
                    <a:cubicBezTo>
                      <a:pt x="376237" y="67628"/>
                      <a:pt x="371872" y="20637"/>
                      <a:pt x="316230" y="0"/>
                    </a:cubicBezTo>
                  </a:path>
                </a:pathLst>
              </a:cu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a:solidFill>
                    <a:schemeClr val="bg1"/>
                  </a:solidFill>
                  <a:latin typeface="Arial" pitchFamily="34" charset="0"/>
                  <a:cs typeface="Arial" pitchFamily="34" charset="0"/>
                </a:endParaRPr>
              </a:p>
            </p:txBody>
          </p:sp>
          <p:sp>
            <p:nvSpPr>
              <p:cNvPr id="111" name="Freeform 110"/>
              <p:cNvSpPr/>
              <p:nvPr/>
            </p:nvSpPr>
            <p:spPr bwMode="gray">
              <a:xfrm flipV="1">
                <a:off x="1174585" y="3379190"/>
                <a:ext cx="293519" cy="123645"/>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Lst>
                <a:ahLst/>
                <a:cxnLst>
                  <a:cxn ang="0">
                    <a:pos x="connsiteX0" y="connsiteY0"/>
                  </a:cxn>
                  <a:cxn ang="0">
                    <a:pos x="connsiteX1" y="connsiteY1"/>
                  </a:cxn>
                  <a:cxn ang="0">
                    <a:pos x="connsiteX2" y="connsiteY2"/>
                  </a:cxn>
                  <a:cxn ang="0">
                    <a:pos x="connsiteX3" y="connsiteY3"/>
                  </a:cxn>
                </a:cxnLst>
                <a:rect l="l" t="t" r="r" b="b"/>
                <a:pathLst>
                  <a:path w="371072" h="264795">
                    <a:moveTo>
                      <a:pt x="0" y="264795"/>
                    </a:moveTo>
                    <a:cubicBezTo>
                      <a:pt x="40878" y="259636"/>
                      <a:pt x="203518" y="216217"/>
                      <a:pt x="264795" y="188595"/>
                    </a:cubicBezTo>
                    <a:cubicBezTo>
                      <a:pt x="326072" y="160973"/>
                      <a:pt x="359093" y="130492"/>
                      <a:pt x="367665" y="99060"/>
                    </a:cubicBezTo>
                    <a:cubicBezTo>
                      <a:pt x="376237" y="67628"/>
                      <a:pt x="371872" y="20637"/>
                      <a:pt x="316230" y="0"/>
                    </a:cubicBezTo>
                  </a:path>
                </a:pathLst>
              </a:cu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a:solidFill>
                    <a:schemeClr val="bg1"/>
                  </a:solidFill>
                  <a:latin typeface="Arial" pitchFamily="34" charset="0"/>
                  <a:cs typeface="Arial" pitchFamily="34" charset="0"/>
                </a:endParaRPr>
              </a:p>
            </p:txBody>
          </p:sp>
          <p:sp>
            <p:nvSpPr>
              <p:cNvPr id="112" name="Freeform 111"/>
              <p:cNvSpPr/>
              <p:nvPr/>
            </p:nvSpPr>
            <p:spPr bwMode="gray">
              <a:xfrm>
                <a:off x="1097281" y="2814447"/>
                <a:ext cx="562422" cy="375317"/>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Lst>
                <a:ahLst/>
                <a:cxnLst>
                  <a:cxn ang="0">
                    <a:pos x="connsiteX0" y="connsiteY0"/>
                  </a:cxn>
                  <a:cxn ang="0">
                    <a:pos x="connsiteX1" y="connsiteY1"/>
                  </a:cxn>
                  <a:cxn ang="0">
                    <a:pos x="connsiteX2" y="connsiteY2"/>
                  </a:cxn>
                  <a:cxn ang="0">
                    <a:pos x="connsiteX3" y="connsiteY3"/>
                  </a:cxn>
                </a:cxnLst>
                <a:rect l="l" t="t" r="r" b="b"/>
                <a:pathLst>
                  <a:path w="371072" h="264795">
                    <a:moveTo>
                      <a:pt x="0" y="264795"/>
                    </a:moveTo>
                    <a:cubicBezTo>
                      <a:pt x="40878" y="259636"/>
                      <a:pt x="203518" y="216217"/>
                      <a:pt x="264795" y="188595"/>
                    </a:cubicBezTo>
                    <a:cubicBezTo>
                      <a:pt x="326072" y="160973"/>
                      <a:pt x="359093" y="130492"/>
                      <a:pt x="367665" y="99060"/>
                    </a:cubicBezTo>
                    <a:cubicBezTo>
                      <a:pt x="376237" y="67628"/>
                      <a:pt x="371872" y="20637"/>
                      <a:pt x="316230" y="0"/>
                    </a:cubicBezTo>
                  </a:path>
                </a:pathLst>
              </a:cu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a:solidFill>
                    <a:schemeClr val="bg1"/>
                  </a:solidFill>
                  <a:latin typeface="Arial" pitchFamily="34" charset="0"/>
                  <a:cs typeface="Arial" pitchFamily="34" charset="0"/>
                </a:endParaRPr>
              </a:p>
            </p:txBody>
          </p:sp>
        </p:grpSp>
        <p:grpSp>
          <p:nvGrpSpPr>
            <p:cNvPr id="28" name="Group 27"/>
            <p:cNvGrpSpPr/>
            <p:nvPr/>
          </p:nvGrpSpPr>
          <p:grpSpPr bwMode="gray">
            <a:xfrm rot="4500000" flipH="1">
              <a:off x="1070890" y="2800893"/>
              <a:ext cx="132028" cy="333223"/>
              <a:chOff x="4076305" y="1126002"/>
              <a:chExt cx="645604" cy="2232162"/>
            </a:xfrm>
            <a:solidFill>
              <a:schemeClr val="bg1"/>
            </a:solidFill>
          </p:grpSpPr>
          <p:sp>
            <p:nvSpPr>
              <p:cNvPr id="77" name="Rounded Rectangle 1909"/>
              <p:cNvSpPr/>
              <p:nvPr/>
            </p:nvSpPr>
            <p:spPr bwMode="gray">
              <a:xfrm rot="9900000">
                <a:off x="4076305" y="1550926"/>
                <a:ext cx="403705" cy="1807238"/>
              </a:xfrm>
              <a:custGeom>
                <a:avLst/>
                <a:gdLst>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619 w 320221"/>
                  <a:gd name="connsiteY7" fmla="*/ 927105 h 1428913"/>
                  <a:gd name="connsiteX8" fmla="*/ 265096 w 320221"/>
                  <a:gd name="connsiteY8" fmla="*/ 1062901 h 1428913"/>
                  <a:gd name="connsiteX9" fmla="*/ 0 w 320221"/>
                  <a:gd name="connsiteY9"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096 w 320221"/>
                  <a:gd name="connsiteY7" fmla="*/ 1062901 h 1428913"/>
                  <a:gd name="connsiteX8" fmla="*/ 0 w 320221"/>
                  <a:gd name="connsiteY8"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366012 h 1428913"/>
                  <a:gd name="connsiteX4" fmla="*/ 320221 w 320221"/>
                  <a:gd name="connsiteY4" fmla="*/ 0 h 1428913"/>
                  <a:gd name="connsiteX5" fmla="*/ 265619 w 320221"/>
                  <a:gd name="connsiteY5" fmla="*/ 282462 h 1428913"/>
                  <a:gd name="connsiteX6" fmla="*/ 265096 w 320221"/>
                  <a:gd name="connsiteY6" fmla="*/ 1062901 h 1428913"/>
                  <a:gd name="connsiteX7" fmla="*/ 0 w 320221"/>
                  <a:gd name="connsiteY7"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0221" h="1428913">
                    <a:moveTo>
                      <a:pt x="0" y="1428913"/>
                    </a:moveTo>
                    <a:cubicBezTo>
                      <a:pt x="46713" y="1348346"/>
                      <a:pt x="54603" y="1249642"/>
                      <a:pt x="54602" y="1146451"/>
                    </a:cubicBezTo>
                    <a:cubicBezTo>
                      <a:pt x="63789" y="969301"/>
                      <a:pt x="55474" y="596654"/>
                      <a:pt x="55125" y="366012"/>
                    </a:cubicBezTo>
                    <a:cubicBezTo>
                      <a:pt x="55125" y="181332"/>
                      <a:pt x="159958" y="23654"/>
                      <a:pt x="320221" y="0"/>
                    </a:cubicBezTo>
                    <a:cubicBezTo>
                      <a:pt x="273508" y="80567"/>
                      <a:pt x="265619" y="179271"/>
                      <a:pt x="265619" y="282462"/>
                    </a:cubicBezTo>
                    <a:cubicBezTo>
                      <a:pt x="265445" y="542608"/>
                      <a:pt x="265270" y="802755"/>
                      <a:pt x="265096" y="1062901"/>
                    </a:cubicBezTo>
                    <a:cubicBezTo>
                      <a:pt x="265096" y="1247581"/>
                      <a:pt x="160263" y="1405259"/>
                      <a:pt x="0" y="1428913"/>
                    </a:cubicBezTo>
                    <a:close/>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78" name="Rounded Rectangle 1909"/>
              <p:cNvSpPr/>
              <p:nvPr/>
            </p:nvSpPr>
            <p:spPr bwMode="gray">
              <a:xfrm rot="9900000">
                <a:off x="4449342" y="1126002"/>
                <a:ext cx="272567" cy="1216278"/>
              </a:xfrm>
              <a:custGeom>
                <a:avLst/>
                <a:gdLst>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619 w 320221"/>
                  <a:gd name="connsiteY7" fmla="*/ 927105 h 1428913"/>
                  <a:gd name="connsiteX8" fmla="*/ 265096 w 320221"/>
                  <a:gd name="connsiteY8" fmla="*/ 1062901 h 1428913"/>
                  <a:gd name="connsiteX9" fmla="*/ 0 w 320221"/>
                  <a:gd name="connsiteY9"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096 w 320221"/>
                  <a:gd name="connsiteY7" fmla="*/ 1062901 h 1428913"/>
                  <a:gd name="connsiteX8" fmla="*/ 0 w 320221"/>
                  <a:gd name="connsiteY8"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366012 h 1428913"/>
                  <a:gd name="connsiteX4" fmla="*/ 320221 w 320221"/>
                  <a:gd name="connsiteY4" fmla="*/ 0 h 1428913"/>
                  <a:gd name="connsiteX5" fmla="*/ 265619 w 320221"/>
                  <a:gd name="connsiteY5" fmla="*/ 282462 h 1428913"/>
                  <a:gd name="connsiteX6" fmla="*/ 265096 w 320221"/>
                  <a:gd name="connsiteY6" fmla="*/ 1062901 h 1428913"/>
                  <a:gd name="connsiteX7" fmla="*/ 0 w 320221"/>
                  <a:gd name="connsiteY7"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0221" h="1428913">
                    <a:moveTo>
                      <a:pt x="0" y="1428913"/>
                    </a:moveTo>
                    <a:cubicBezTo>
                      <a:pt x="46713" y="1348346"/>
                      <a:pt x="54603" y="1249642"/>
                      <a:pt x="54602" y="1146451"/>
                    </a:cubicBezTo>
                    <a:cubicBezTo>
                      <a:pt x="63789" y="969301"/>
                      <a:pt x="55474" y="596654"/>
                      <a:pt x="55125" y="366012"/>
                    </a:cubicBezTo>
                    <a:cubicBezTo>
                      <a:pt x="55125" y="181332"/>
                      <a:pt x="159958" y="23654"/>
                      <a:pt x="320221" y="0"/>
                    </a:cubicBezTo>
                    <a:cubicBezTo>
                      <a:pt x="273508" y="80567"/>
                      <a:pt x="265619" y="179271"/>
                      <a:pt x="265619" y="282462"/>
                    </a:cubicBezTo>
                    <a:cubicBezTo>
                      <a:pt x="265445" y="542608"/>
                      <a:pt x="265270" y="802755"/>
                      <a:pt x="265096" y="1062901"/>
                    </a:cubicBezTo>
                    <a:cubicBezTo>
                      <a:pt x="265096" y="1247581"/>
                      <a:pt x="160263" y="1405259"/>
                      <a:pt x="0" y="1428913"/>
                    </a:cubicBezTo>
                    <a:close/>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sp>
          <p:nvSpPr>
            <p:cNvPr id="29" name="Trapezoid 28"/>
            <p:cNvSpPr/>
            <p:nvPr/>
          </p:nvSpPr>
          <p:spPr bwMode="gray">
            <a:xfrm>
              <a:off x="646774" y="3086493"/>
              <a:ext cx="419995" cy="925404"/>
            </a:xfrm>
            <a:prstGeom prst="trapezoid">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30" name="Rounded Rectangle 1909"/>
            <p:cNvSpPr/>
            <p:nvPr/>
          </p:nvSpPr>
          <p:spPr bwMode="gray">
            <a:xfrm rot="10800000">
              <a:off x="809395" y="3143963"/>
              <a:ext cx="82559" cy="822342"/>
            </a:xfrm>
            <a:custGeom>
              <a:avLst/>
              <a:gdLst>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619 w 320221"/>
                <a:gd name="connsiteY7" fmla="*/ 927105 h 1428913"/>
                <a:gd name="connsiteX8" fmla="*/ 265096 w 320221"/>
                <a:gd name="connsiteY8" fmla="*/ 1062901 h 1428913"/>
                <a:gd name="connsiteX9" fmla="*/ 0 w 320221"/>
                <a:gd name="connsiteY9"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096 w 320221"/>
                <a:gd name="connsiteY7" fmla="*/ 1062901 h 1428913"/>
                <a:gd name="connsiteX8" fmla="*/ 0 w 320221"/>
                <a:gd name="connsiteY8"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366012 h 1428913"/>
                <a:gd name="connsiteX4" fmla="*/ 320221 w 320221"/>
                <a:gd name="connsiteY4" fmla="*/ 0 h 1428913"/>
                <a:gd name="connsiteX5" fmla="*/ 265619 w 320221"/>
                <a:gd name="connsiteY5" fmla="*/ 282462 h 1428913"/>
                <a:gd name="connsiteX6" fmla="*/ 265096 w 320221"/>
                <a:gd name="connsiteY6" fmla="*/ 1062901 h 1428913"/>
                <a:gd name="connsiteX7" fmla="*/ 0 w 320221"/>
                <a:gd name="connsiteY7"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0221" h="1428913">
                  <a:moveTo>
                    <a:pt x="0" y="1428913"/>
                  </a:moveTo>
                  <a:cubicBezTo>
                    <a:pt x="46713" y="1348346"/>
                    <a:pt x="54603" y="1249642"/>
                    <a:pt x="54602" y="1146451"/>
                  </a:cubicBezTo>
                  <a:cubicBezTo>
                    <a:pt x="63789" y="969301"/>
                    <a:pt x="55474" y="596654"/>
                    <a:pt x="55125" y="366012"/>
                  </a:cubicBezTo>
                  <a:cubicBezTo>
                    <a:pt x="55125" y="181332"/>
                    <a:pt x="159958" y="23654"/>
                    <a:pt x="320221" y="0"/>
                  </a:cubicBezTo>
                  <a:cubicBezTo>
                    <a:pt x="273508" y="80567"/>
                    <a:pt x="265619" y="179271"/>
                    <a:pt x="265619" y="282462"/>
                  </a:cubicBezTo>
                  <a:cubicBezTo>
                    <a:pt x="265445" y="542608"/>
                    <a:pt x="265270" y="802755"/>
                    <a:pt x="265096" y="1062901"/>
                  </a:cubicBezTo>
                  <a:cubicBezTo>
                    <a:pt x="265096" y="1247581"/>
                    <a:pt x="160263" y="1405259"/>
                    <a:pt x="0" y="1428913"/>
                  </a:cubicBezTo>
                  <a:close/>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31" name="Snip Same Side Corner Rectangle 53"/>
            <p:cNvSpPr/>
            <p:nvPr/>
          </p:nvSpPr>
          <p:spPr bwMode="gray">
            <a:xfrm rot="13500000" flipH="1">
              <a:off x="627861" y="3372596"/>
              <a:ext cx="277749" cy="553632"/>
            </a:xfrm>
            <a:custGeom>
              <a:avLst/>
              <a:gdLst/>
              <a:ahLst/>
              <a:cxnLst/>
              <a:rect l="l" t="t" r="r" b="b"/>
              <a:pathLst>
                <a:path w="436368" h="869804">
                  <a:moveTo>
                    <a:pt x="58229" y="811577"/>
                  </a:moveTo>
                  <a:cubicBezTo>
                    <a:pt x="146570" y="899918"/>
                    <a:pt x="289800" y="899918"/>
                    <a:pt x="378141" y="811577"/>
                  </a:cubicBezTo>
                  <a:cubicBezTo>
                    <a:pt x="466482" y="723236"/>
                    <a:pt x="466482" y="580006"/>
                    <a:pt x="378141" y="491665"/>
                  </a:cubicBezTo>
                  <a:cubicBezTo>
                    <a:pt x="289800" y="403324"/>
                    <a:pt x="146570" y="403324"/>
                    <a:pt x="58229" y="491665"/>
                  </a:cubicBezTo>
                  <a:cubicBezTo>
                    <a:pt x="-30112" y="580006"/>
                    <a:pt x="-30112" y="723236"/>
                    <a:pt x="58229" y="811577"/>
                  </a:cubicBezTo>
                  <a:close/>
                  <a:moveTo>
                    <a:pt x="0" y="869804"/>
                  </a:moveTo>
                  <a:cubicBezTo>
                    <a:pt x="-120499" y="749305"/>
                    <a:pt x="-120499" y="553935"/>
                    <a:pt x="0" y="433436"/>
                  </a:cubicBezTo>
                  <a:cubicBezTo>
                    <a:pt x="40846" y="392590"/>
                    <a:pt x="90294" y="365590"/>
                    <a:pt x="142803" y="353584"/>
                  </a:cubicBezTo>
                  <a:lnTo>
                    <a:pt x="142803" y="13739"/>
                  </a:lnTo>
                  <a:lnTo>
                    <a:pt x="156542" y="0"/>
                  </a:lnTo>
                  <a:lnTo>
                    <a:pt x="219743" y="0"/>
                  </a:lnTo>
                  <a:lnTo>
                    <a:pt x="233482" y="13739"/>
                  </a:lnTo>
                  <a:lnTo>
                    <a:pt x="233482" y="344527"/>
                  </a:lnTo>
                  <a:cubicBezTo>
                    <a:pt x="307311" y="347093"/>
                    <a:pt x="380024" y="377091"/>
                    <a:pt x="436368" y="433436"/>
                  </a:cubicBezTo>
                  <a:cubicBezTo>
                    <a:pt x="556868" y="553935"/>
                    <a:pt x="556868" y="749305"/>
                    <a:pt x="436368" y="869804"/>
                  </a:cubicBezTo>
                  <a:cubicBezTo>
                    <a:pt x="315869" y="990304"/>
                    <a:pt x="120500" y="990304"/>
                    <a:pt x="0" y="869804"/>
                  </a:cubicBezTo>
                  <a:close/>
                </a:path>
              </a:pathLst>
            </a:custGeom>
            <a:solidFill>
              <a:schemeClr val="bg1"/>
            </a:solidFill>
            <a:ln w="19050" cap="sq">
              <a:solidFill>
                <a:schemeClr val="accent1"/>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cxnSp>
          <p:nvCxnSpPr>
            <p:cNvPr id="32" name="Straight Connector 31"/>
            <p:cNvCxnSpPr/>
            <p:nvPr/>
          </p:nvCxnSpPr>
          <p:spPr bwMode="gray">
            <a:xfrm>
              <a:off x="9985248" y="3087876"/>
              <a:ext cx="188131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57" idx="0"/>
            </p:cNvCxnSpPr>
            <p:nvPr/>
          </p:nvCxnSpPr>
          <p:spPr bwMode="gray">
            <a:xfrm>
              <a:off x="2080199" y="3151076"/>
              <a:ext cx="0" cy="286915"/>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34" name="Arc 33"/>
            <p:cNvSpPr/>
            <p:nvPr/>
          </p:nvSpPr>
          <p:spPr bwMode="gray">
            <a:xfrm rot="10800000">
              <a:off x="1887526" y="3341676"/>
              <a:ext cx="192630" cy="192630"/>
            </a:xfrm>
            <a:prstGeom prst="arc">
              <a:avLst>
                <a:gd name="adj1" fmla="val 10696712"/>
                <a:gd name="adj2" fmla="val 16234636"/>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5" name="Straight Connector 34"/>
            <p:cNvCxnSpPr/>
            <p:nvPr/>
          </p:nvCxnSpPr>
          <p:spPr bwMode="gray">
            <a:xfrm flipH="1">
              <a:off x="1200274" y="3534307"/>
              <a:ext cx="783567" cy="0"/>
            </a:xfrm>
            <a:prstGeom prst="line">
              <a:avLst/>
            </a:prstGeom>
            <a:noFill/>
            <a:ln w="19050" cap="rnd">
              <a:solidFill>
                <a:schemeClr val="tx2"/>
              </a:solidFill>
              <a:headEnd type="none"/>
              <a:tailEnd type="oval"/>
            </a:ln>
          </p:spPr>
          <p:style>
            <a:lnRef idx="2">
              <a:schemeClr val="accent1">
                <a:shade val="50000"/>
              </a:schemeClr>
            </a:lnRef>
            <a:fillRef idx="1">
              <a:schemeClr val="accent1"/>
            </a:fillRef>
            <a:effectRef idx="0">
              <a:schemeClr val="accent1"/>
            </a:effectRef>
            <a:fontRef idx="minor">
              <a:schemeClr val="lt1"/>
            </a:fontRef>
          </p:style>
        </p:cxnSp>
        <p:sp>
          <p:nvSpPr>
            <p:cNvPr id="36" name="Arc 35"/>
            <p:cNvSpPr/>
            <p:nvPr/>
          </p:nvSpPr>
          <p:spPr bwMode="gray">
            <a:xfrm>
              <a:off x="5544768" y="3283338"/>
              <a:ext cx="192630" cy="192630"/>
            </a:xfrm>
            <a:prstGeom prst="arc">
              <a:avLst>
                <a:gd name="adj1" fmla="val 10696712"/>
                <a:gd name="adj2" fmla="val 16427644"/>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Arc 36"/>
            <p:cNvSpPr/>
            <p:nvPr/>
          </p:nvSpPr>
          <p:spPr bwMode="gray">
            <a:xfrm rot="10800000">
              <a:off x="5352138" y="4015593"/>
              <a:ext cx="192630" cy="192630"/>
            </a:xfrm>
            <a:prstGeom prst="arc">
              <a:avLst>
                <a:gd name="adj1" fmla="val 10696712"/>
                <a:gd name="adj2" fmla="val 16234636"/>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8" name="Straight Connector 37"/>
            <p:cNvCxnSpPr/>
            <p:nvPr/>
          </p:nvCxnSpPr>
          <p:spPr bwMode="gray">
            <a:xfrm flipH="1">
              <a:off x="5655945" y="3283338"/>
              <a:ext cx="2856728" cy="0"/>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38"/>
            <p:cNvCxnSpPr>
              <a:stCxn id="36" idx="0"/>
              <a:endCxn id="37" idx="0"/>
            </p:cNvCxnSpPr>
            <p:nvPr/>
          </p:nvCxnSpPr>
          <p:spPr bwMode="gray">
            <a:xfrm flipH="1">
              <a:off x="5544725" y="3382546"/>
              <a:ext cx="86" cy="726469"/>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a:stCxn id="37" idx="2"/>
            </p:cNvCxnSpPr>
            <p:nvPr/>
          </p:nvCxnSpPr>
          <p:spPr bwMode="gray">
            <a:xfrm flipH="1">
              <a:off x="4898290" y="4208218"/>
              <a:ext cx="549193" cy="5"/>
            </a:xfrm>
            <a:prstGeom prst="line">
              <a:avLst/>
            </a:prstGeom>
            <a:noFill/>
            <a:ln w="19050" cap="rnd">
              <a:solidFill>
                <a:schemeClr val="tx2"/>
              </a:solidFill>
              <a:headEnd type="none"/>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bwMode="gray">
            <a:xfrm flipH="1">
              <a:off x="7115518" y="3399344"/>
              <a:ext cx="1397154" cy="0"/>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bwMode="gray">
            <a:xfrm>
              <a:off x="7019203" y="3495659"/>
              <a:ext cx="0" cy="813766"/>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bwMode="gray">
            <a:xfrm flipH="1">
              <a:off x="6281220" y="4405735"/>
              <a:ext cx="645154" cy="6"/>
            </a:xfrm>
            <a:prstGeom prst="line">
              <a:avLst/>
            </a:prstGeom>
            <a:noFill/>
            <a:ln w="19050" cap="rnd">
              <a:solidFill>
                <a:schemeClr val="tx2"/>
              </a:solidFill>
              <a:headEnd type="none"/>
              <a:tailEnd type="oval"/>
            </a:ln>
          </p:spPr>
          <p:style>
            <a:lnRef idx="2">
              <a:schemeClr val="accent1">
                <a:shade val="50000"/>
              </a:schemeClr>
            </a:lnRef>
            <a:fillRef idx="1">
              <a:schemeClr val="accent1"/>
            </a:fillRef>
            <a:effectRef idx="0">
              <a:schemeClr val="accent1"/>
            </a:effectRef>
            <a:fontRef idx="minor">
              <a:schemeClr val="lt1"/>
            </a:fontRef>
          </p:style>
        </p:cxnSp>
        <p:sp>
          <p:nvSpPr>
            <p:cNvPr id="44" name="Arc 43"/>
            <p:cNvSpPr/>
            <p:nvPr/>
          </p:nvSpPr>
          <p:spPr bwMode="gray">
            <a:xfrm>
              <a:off x="7019203" y="3399344"/>
              <a:ext cx="192630" cy="192630"/>
            </a:xfrm>
            <a:prstGeom prst="arc">
              <a:avLst>
                <a:gd name="adj1" fmla="val 10696712"/>
                <a:gd name="adj2" fmla="val 16427644"/>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Arc 44"/>
            <p:cNvSpPr/>
            <p:nvPr/>
          </p:nvSpPr>
          <p:spPr bwMode="gray">
            <a:xfrm rot="10800000">
              <a:off x="6827219" y="4213110"/>
              <a:ext cx="192630" cy="192630"/>
            </a:xfrm>
            <a:prstGeom prst="arc">
              <a:avLst>
                <a:gd name="adj1" fmla="val 10696712"/>
                <a:gd name="adj2" fmla="val 16234636"/>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6" name="Straight Connector 45"/>
            <p:cNvCxnSpPr/>
            <p:nvPr/>
          </p:nvCxnSpPr>
          <p:spPr bwMode="gray">
            <a:xfrm flipH="1" flipV="1">
              <a:off x="5022900" y="2935527"/>
              <a:ext cx="3489772" cy="212"/>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47" name="Arc 46"/>
            <p:cNvSpPr/>
            <p:nvPr/>
          </p:nvSpPr>
          <p:spPr bwMode="gray">
            <a:xfrm flipV="1">
              <a:off x="4925293" y="2743108"/>
              <a:ext cx="192630" cy="192630"/>
            </a:xfrm>
            <a:prstGeom prst="arc">
              <a:avLst>
                <a:gd name="adj1" fmla="val 10696712"/>
                <a:gd name="adj2" fmla="val 16427644"/>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8" name="Straight Connector 47"/>
            <p:cNvCxnSpPr>
              <a:endCxn id="49" idx="0"/>
            </p:cNvCxnSpPr>
            <p:nvPr/>
          </p:nvCxnSpPr>
          <p:spPr bwMode="gray">
            <a:xfrm flipH="1" flipV="1">
              <a:off x="4925250" y="2294832"/>
              <a:ext cx="44" cy="544592"/>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49" name="Arc 48"/>
            <p:cNvSpPr/>
            <p:nvPr/>
          </p:nvSpPr>
          <p:spPr bwMode="gray">
            <a:xfrm rot="10800000" flipV="1">
              <a:off x="4732663" y="2195624"/>
              <a:ext cx="192630" cy="192630"/>
            </a:xfrm>
            <a:prstGeom prst="arc">
              <a:avLst>
                <a:gd name="adj1" fmla="val 10696712"/>
                <a:gd name="adj2" fmla="val 16234636"/>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0" name="Straight Connector 49"/>
            <p:cNvCxnSpPr/>
            <p:nvPr/>
          </p:nvCxnSpPr>
          <p:spPr bwMode="gray">
            <a:xfrm flipH="1" flipV="1">
              <a:off x="3814372" y="2195624"/>
              <a:ext cx="1019685" cy="0"/>
            </a:xfrm>
            <a:prstGeom prst="line">
              <a:avLst/>
            </a:prstGeom>
            <a:noFill/>
            <a:ln w="19050" cap="rnd">
              <a:solidFill>
                <a:schemeClr val="tx2"/>
              </a:solidFill>
              <a:headEnd type="none"/>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a:endCxn id="52" idx="2"/>
            </p:cNvCxnSpPr>
            <p:nvPr/>
          </p:nvCxnSpPr>
          <p:spPr bwMode="gray">
            <a:xfrm flipH="1" flipV="1">
              <a:off x="6811271" y="2776231"/>
              <a:ext cx="1701401" cy="212"/>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52" name="Arc 51"/>
            <p:cNvSpPr/>
            <p:nvPr/>
          </p:nvSpPr>
          <p:spPr bwMode="gray">
            <a:xfrm flipV="1">
              <a:off x="6708583" y="2583812"/>
              <a:ext cx="192630" cy="192630"/>
            </a:xfrm>
            <a:prstGeom prst="arc">
              <a:avLst>
                <a:gd name="adj1" fmla="val 10696712"/>
                <a:gd name="adj2" fmla="val 16427644"/>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3" name="Straight Connector 52"/>
            <p:cNvCxnSpPr>
              <a:stCxn id="52" idx="0"/>
            </p:cNvCxnSpPr>
            <p:nvPr/>
          </p:nvCxnSpPr>
          <p:spPr bwMode="gray">
            <a:xfrm flipV="1">
              <a:off x="6708626" y="1851226"/>
              <a:ext cx="0" cy="826008"/>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54" name="Arc 53"/>
            <p:cNvSpPr/>
            <p:nvPr/>
          </p:nvSpPr>
          <p:spPr bwMode="gray">
            <a:xfrm rot="10800000" flipV="1">
              <a:off x="6515953" y="1754911"/>
              <a:ext cx="192630" cy="192630"/>
            </a:xfrm>
            <a:prstGeom prst="arc">
              <a:avLst>
                <a:gd name="adj1" fmla="val 10696712"/>
                <a:gd name="adj2" fmla="val 16234636"/>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5" name="Straight Connector 54"/>
            <p:cNvCxnSpPr/>
            <p:nvPr/>
          </p:nvCxnSpPr>
          <p:spPr bwMode="gray">
            <a:xfrm flipH="1" flipV="1">
              <a:off x="6130290" y="1754911"/>
              <a:ext cx="487060" cy="1"/>
            </a:xfrm>
            <a:prstGeom prst="line">
              <a:avLst/>
            </a:prstGeom>
            <a:noFill/>
            <a:ln w="19050" cap="rnd">
              <a:solidFill>
                <a:schemeClr val="tx2"/>
              </a:solidFill>
              <a:headEnd type="none"/>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p:nvCxnSpPr>
          <p:spPr bwMode="gray">
            <a:xfrm flipH="1">
              <a:off x="2176471" y="3051535"/>
              <a:ext cx="6359061" cy="0"/>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57" name="Arc 56"/>
            <p:cNvSpPr/>
            <p:nvPr/>
          </p:nvSpPr>
          <p:spPr bwMode="gray">
            <a:xfrm>
              <a:off x="2080156" y="3051868"/>
              <a:ext cx="192630" cy="192630"/>
            </a:xfrm>
            <a:prstGeom prst="arc">
              <a:avLst>
                <a:gd name="adj1" fmla="val 10696712"/>
                <a:gd name="adj2" fmla="val 16059771"/>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Oval 1"/>
            <p:cNvSpPr/>
            <p:nvPr/>
          </p:nvSpPr>
          <p:spPr bwMode="gray">
            <a:xfrm>
              <a:off x="2741902" y="3401936"/>
              <a:ext cx="392026" cy="392026"/>
            </a:xfrm>
            <a:custGeom>
              <a:avLst/>
              <a:gdLst/>
              <a:ahLst/>
              <a:cxnLst/>
              <a:rect l="l" t="t" r="r" b="b"/>
              <a:pathLst>
                <a:path w="250686" h="250687">
                  <a:moveTo>
                    <a:pt x="125343" y="0"/>
                  </a:moveTo>
                  <a:cubicBezTo>
                    <a:pt x="194568" y="0"/>
                    <a:pt x="250686" y="56119"/>
                    <a:pt x="250686" y="125344"/>
                  </a:cubicBezTo>
                  <a:cubicBezTo>
                    <a:pt x="250686" y="194569"/>
                    <a:pt x="194568" y="250687"/>
                    <a:pt x="125343" y="250687"/>
                  </a:cubicBezTo>
                  <a:cubicBezTo>
                    <a:pt x="56118" y="250687"/>
                    <a:pt x="0" y="194569"/>
                    <a:pt x="0" y="125344"/>
                  </a:cubicBezTo>
                  <a:cubicBezTo>
                    <a:pt x="0" y="56119"/>
                    <a:pt x="56118" y="0"/>
                    <a:pt x="125343" y="0"/>
                  </a:cubicBezTo>
                  <a:close/>
                </a:path>
              </a:pathLst>
            </a:custGeom>
            <a:solidFill>
              <a:srgbClr val="FFFFFF">
                <a:alpha val="74902"/>
              </a:srgbClr>
            </a:solidFill>
            <a:ln w="19050" cap="sq">
              <a:noFill/>
              <a:miter lim="800000"/>
              <a:headEnd/>
              <a:tailEnd/>
            </a:ln>
            <a:effec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buFont typeface="Wingdings" charset="0"/>
                <a:buNone/>
              </a:pPr>
              <a:r>
                <a:rPr lang="de-DE" sz="1400" dirty="0" err="1">
                  <a:solidFill>
                    <a:schemeClr val="accent1"/>
                  </a:solidFill>
                </a:rPr>
                <a:t>Hg</a:t>
              </a:r>
              <a:endParaRPr lang="de-DE" sz="1400" dirty="0">
                <a:solidFill>
                  <a:schemeClr val="accent1"/>
                </a:solidFill>
              </a:endParaRPr>
            </a:p>
          </p:txBody>
        </p:sp>
        <p:sp>
          <p:nvSpPr>
            <p:cNvPr id="59" name="Snip Same Side Corner Rectangle 53"/>
            <p:cNvSpPr/>
            <p:nvPr/>
          </p:nvSpPr>
          <p:spPr bwMode="gray">
            <a:xfrm rot="13500000" flipH="1">
              <a:off x="2614845" y="3356808"/>
              <a:ext cx="378114" cy="753688"/>
            </a:xfrm>
            <a:custGeom>
              <a:avLst/>
              <a:gdLst/>
              <a:ahLst/>
              <a:cxnLst/>
              <a:rect l="l" t="t" r="r" b="b"/>
              <a:pathLst>
                <a:path w="436368" h="869804">
                  <a:moveTo>
                    <a:pt x="58229" y="811577"/>
                  </a:moveTo>
                  <a:cubicBezTo>
                    <a:pt x="146570" y="899918"/>
                    <a:pt x="289800" y="899918"/>
                    <a:pt x="378141" y="811577"/>
                  </a:cubicBezTo>
                  <a:cubicBezTo>
                    <a:pt x="466482" y="723236"/>
                    <a:pt x="466482" y="580006"/>
                    <a:pt x="378141" y="491665"/>
                  </a:cubicBezTo>
                  <a:cubicBezTo>
                    <a:pt x="289800" y="403324"/>
                    <a:pt x="146570" y="403324"/>
                    <a:pt x="58229" y="491665"/>
                  </a:cubicBezTo>
                  <a:cubicBezTo>
                    <a:pt x="-30112" y="580006"/>
                    <a:pt x="-30112" y="723236"/>
                    <a:pt x="58229" y="811577"/>
                  </a:cubicBezTo>
                  <a:close/>
                  <a:moveTo>
                    <a:pt x="0" y="869804"/>
                  </a:moveTo>
                  <a:cubicBezTo>
                    <a:pt x="-120499" y="749305"/>
                    <a:pt x="-120499" y="553935"/>
                    <a:pt x="0" y="433436"/>
                  </a:cubicBezTo>
                  <a:cubicBezTo>
                    <a:pt x="40846" y="392590"/>
                    <a:pt x="90294" y="365590"/>
                    <a:pt x="142803" y="353584"/>
                  </a:cubicBezTo>
                  <a:lnTo>
                    <a:pt x="142803" y="13739"/>
                  </a:lnTo>
                  <a:lnTo>
                    <a:pt x="156542" y="0"/>
                  </a:lnTo>
                  <a:lnTo>
                    <a:pt x="219743" y="0"/>
                  </a:lnTo>
                  <a:lnTo>
                    <a:pt x="233482" y="13739"/>
                  </a:lnTo>
                  <a:lnTo>
                    <a:pt x="233482" y="344527"/>
                  </a:lnTo>
                  <a:cubicBezTo>
                    <a:pt x="307311" y="347093"/>
                    <a:pt x="380024" y="377091"/>
                    <a:pt x="436368" y="433436"/>
                  </a:cubicBezTo>
                  <a:cubicBezTo>
                    <a:pt x="556868" y="553935"/>
                    <a:pt x="556868" y="749305"/>
                    <a:pt x="436368" y="869804"/>
                  </a:cubicBezTo>
                  <a:cubicBezTo>
                    <a:pt x="315869" y="990304"/>
                    <a:pt x="120500" y="990304"/>
                    <a:pt x="0" y="869804"/>
                  </a:cubicBezTo>
                  <a:close/>
                </a:path>
              </a:pathLst>
            </a:custGeom>
            <a:solidFill>
              <a:schemeClr val="bg1"/>
            </a:solidFill>
            <a:ln w="19050" cap="sq">
              <a:solidFill>
                <a:schemeClr val="accent1"/>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cxnSp>
          <p:nvCxnSpPr>
            <p:cNvPr id="60" name="Straight Connector 59"/>
            <p:cNvCxnSpPr/>
            <p:nvPr/>
          </p:nvCxnSpPr>
          <p:spPr bwMode="gray">
            <a:xfrm flipH="1">
              <a:off x="4828978" y="3167331"/>
              <a:ext cx="3683694" cy="0"/>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Connector 60"/>
            <p:cNvCxnSpPr>
              <a:endCxn id="63" idx="0"/>
            </p:cNvCxnSpPr>
            <p:nvPr/>
          </p:nvCxnSpPr>
          <p:spPr bwMode="gray">
            <a:xfrm>
              <a:off x="4720242" y="3267719"/>
              <a:ext cx="0" cy="240142"/>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62" name="Straight Connector 61"/>
            <p:cNvCxnSpPr/>
            <p:nvPr/>
          </p:nvCxnSpPr>
          <p:spPr bwMode="gray">
            <a:xfrm flipH="1">
              <a:off x="3361248" y="3607070"/>
              <a:ext cx="1261752" cy="0"/>
            </a:xfrm>
            <a:prstGeom prst="line">
              <a:avLst/>
            </a:prstGeom>
            <a:noFill/>
            <a:ln w="19050" cap="rnd">
              <a:solidFill>
                <a:schemeClr val="tx2"/>
              </a:solidFill>
              <a:headEnd type="none"/>
              <a:tailEnd type="oval"/>
            </a:ln>
          </p:spPr>
          <p:style>
            <a:lnRef idx="2">
              <a:schemeClr val="accent1">
                <a:shade val="50000"/>
              </a:schemeClr>
            </a:lnRef>
            <a:fillRef idx="1">
              <a:schemeClr val="accent1"/>
            </a:fillRef>
            <a:effectRef idx="0">
              <a:schemeClr val="accent1"/>
            </a:effectRef>
            <a:fontRef idx="minor">
              <a:schemeClr val="lt1"/>
            </a:fontRef>
          </p:style>
        </p:cxnSp>
        <p:sp>
          <p:nvSpPr>
            <p:cNvPr id="63" name="Arc 62"/>
            <p:cNvSpPr/>
            <p:nvPr/>
          </p:nvSpPr>
          <p:spPr bwMode="gray">
            <a:xfrm rot="10800000">
              <a:off x="4527655" y="3414439"/>
              <a:ext cx="192630" cy="192630"/>
            </a:xfrm>
            <a:prstGeom prst="arc">
              <a:avLst>
                <a:gd name="adj1" fmla="val 10696712"/>
                <a:gd name="adj2" fmla="val 16234636"/>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Arc 63"/>
            <p:cNvSpPr/>
            <p:nvPr/>
          </p:nvSpPr>
          <p:spPr bwMode="gray">
            <a:xfrm>
              <a:off x="4720242" y="3167331"/>
              <a:ext cx="192630" cy="192630"/>
            </a:xfrm>
            <a:prstGeom prst="arc">
              <a:avLst>
                <a:gd name="adj1" fmla="val 10696712"/>
                <a:gd name="adj2" fmla="val 16427644"/>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Rectangle 5"/>
            <p:cNvSpPr/>
            <p:nvPr/>
          </p:nvSpPr>
          <p:spPr bwMode="gray">
            <a:xfrm>
              <a:off x="8728964" y="2841565"/>
              <a:ext cx="1087068" cy="492194"/>
            </a:xfrm>
            <a:custGeom>
              <a:avLst/>
              <a:gdLst>
                <a:gd name="connsiteX0" fmla="*/ 0 w 3725280"/>
                <a:gd name="connsiteY0" fmla="*/ 0 h 1900054"/>
                <a:gd name="connsiteX1" fmla="*/ 3725280 w 3725280"/>
                <a:gd name="connsiteY1" fmla="*/ 0 h 1900054"/>
                <a:gd name="connsiteX2" fmla="*/ 3725280 w 3725280"/>
                <a:gd name="connsiteY2" fmla="*/ 1900054 h 1900054"/>
                <a:gd name="connsiteX3" fmla="*/ 0 w 3725280"/>
                <a:gd name="connsiteY3" fmla="*/ 1900054 h 1900054"/>
                <a:gd name="connsiteX4" fmla="*/ 0 w 3725280"/>
                <a:gd name="connsiteY4" fmla="*/ 0 h 1900054"/>
                <a:gd name="connsiteX0" fmla="*/ 3725280 w 3816720"/>
                <a:gd name="connsiteY0" fmla="*/ 0 h 1900054"/>
                <a:gd name="connsiteX1" fmla="*/ 3725280 w 3816720"/>
                <a:gd name="connsiteY1" fmla="*/ 1900054 h 1900054"/>
                <a:gd name="connsiteX2" fmla="*/ 0 w 3816720"/>
                <a:gd name="connsiteY2" fmla="*/ 1900054 h 1900054"/>
                <a:gd name="connsiteX3" fmla="*/ 0 w 3816720"/>
                <a:gd name="connsiteY3" fmla="*/ 0 h 1900054"/>
                <a:gd name="connsiteX4" fmla="*/ 3816720 w 3816720"/>
                <a:gd name="connsiteY4" fmla="*/ 91440 h 1900054"/>
                <a:gd name="connsiteX0" fmla="*/ 3725280 w 3725280"/>
                <a:gd name="connsiteY0" fmla="*/ 0 h 1900054"/>
                <a:gd name="connsiteX1" fmla="*/ 3725280 w 3725280"/>
                <a:gd name="connsiteY1" fmla="*/ 1900054 h 1900054"/>
                <a:gd name="connsiteX2" fmla="*/ 0 w 3725280"/>
                <a:gd name="connsiteY2" fmla="*/ 1900054 h 1900054"/>
                <a:gd name="connsiteX3" fmla="*/ 0 w 3725280"/>
                <a:gd name="connsiteY3" fmla="*/ 0 h 1900054"/>
                <a:gd name="connsiteX0" fmla="*/ 3725280 w 3725280"/>
                <a:gd name="connsiteY0" fmla="*/ 1900054 h 1900054"/>
                <a:gd name="connsiteX1" fmla="*/ 0 w 3725280"/>
                <a:gd name="connsiteY1" fmla="*/ 1900054 h 1900054"/>
                <a:gd name="connsiteX2" fmla="*/ 0 w 3725280"/>
                <a:gd name="connsiteY2" fmla="*/ 0 h 1900054"/>
              </a:gdLst>
              <a:ahLst/>
              <a:cxnLst>
                <a:cxn ang="0">
                  <a:pos x="connsiteX0" y="connsiteY0"/>
                </a:cxn>
                <a:cxn ang="0">
                  <a:pos x="connsiteX1" y="connsiteY1"/>
                </a:cxn>
                <a:cxn ang="0">
                  <a:pos x="connsiteX2" y="connsiteY2"/>
                </a:cxn>
              </a:cxnLst>
              <a:rect l="l" t="t" r="r" b="b"/>
              <a:pathLst>
                <a:path w="3725280" h="1900054">
                  <a:moveTo>
                    <a:pt x="3725280" y="1900054"/>
                  </a:moveTo>
                  <a:lnTo>
                    <a:pt x="0" y="1900054"/>
                  </a:lnTo>
                  <a:lnTo>
                    <a:pt x="0" y="0"/>
                  </a:lnTo>
                </a:path>
              </a:pathLst>
            </a:custGeom>
            <a:noFill/>
            <a:ln w="12700">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66" name="Rectangle 65"/>
            <p:cNvSpPr/>
            <p:nvPr/>
          </p:nvSpPr>
          <p:spPr bwMode="gray">
            <a:xfrm>
              <a:off x="8512672" y="2660805"/>
              <a:ext cx="67298" cy="848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67" name="Group 66"/>
            <p:cNvGrpSpPr/>
            <p:nvPr/>
          </p:nvGrpSpPr>
          <p:grpSpPr bwMode="gray">
            <a:xfrm>
              <a:off x="8360016" y="2672380"/>
              <a:ext cx="1795779" cy="1207156"/>
              <a:chOff x="6420519" y="3201880"/>
              <a:chExt cx="357117" cy="250729"/>
            </a:xfrm>
            <a:noFill/>
          </p:grpSpPr>
          <p:sp>
            <p:nvSpPr>
              <p:cNvPr id="73" name="Rounded Rectangle 24"/>
              <p:cNvSpPr/>
              <p:nvPr/>
            </p:nvSpPr>
            <p:spPr bwMode="gray">
              <a:xfrm>
                <a:off x="6420519" y="3378176"/>
                <a:ext cx="357117" cy="74433"/>
              </a:xfrm>
              <a:custGeom>
                <a:avLst/>
                <a:gdLst>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6079 w 2987325"/>
                  <a:gd name="connsiteY9" fmla="*/ 446664 h 532759"/>
                  <a:gd name="connsiteX10" fmla="*/ 2987325 w 2987325"/>
                  <a:gd name="connsiteY10" fmla="*/ 452837 h 532759"/>
                  <a:gd name="connsiteX11" fmla="*/ 2987324 w 2987325"/>
                  <a:gd name="connsiteY11" fmla="*/ 452837 h 532759"/>
                  <a:gd name="connsiteX12" fmla="*/ 2907402 w 2987325"/>
                  <a:gd name="connsiteY12" fmla="*/ 532759 h 532759"/>
                  <a:gd name="connsiteX13" fmla="*/ 79922 w 2987325"/>
                  <a:gd name="connsiteY13" fmla="*/ 532758 h 532759"/>
                  <a:gd name="connsiteX14" fmla="*/ 0 w 2987325"/>
                  <a:gd name="connsiteY14" fmla="*/ 452837 h 532759"/>
                  <a:gd name="connsiteX15" fmla="*/ 1247 w 2987325"/>
                  <a:gd name="connsiteY15" fmla="*/ 446664 h 532759"/>
                  <a:gd name="connsiteX16" fmla="*/ 249936 w 2987325"/>
                  <a:gd name="connsiteY16" fmla="*/ 367416 h 532759"/>
                  <a:gd name="connsiteX17" fmla="*/ 0 w 2987325"/>
                  <a:gd name="connsiteY17" fmla="*/ 369634 h 532759"/>
                  <a:gd name="connsiteX18" fmla="*/ 325705 w 2987325"/>
                  <a:gd name="connsiteY18" fmla="*/ 43929 h 532759"/>
                  <a:gd name="connsiteX19" fmla="*/ 415602 w 2987325"/>
                  <a:gd name="connsiteY19"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6079 w 2987325"/>
                  <a:gd name="connsiteY9" fmla="*/ 446664 h 532759"/>
                  <a:gd name="connsiteX10" fmla="*/ 2987325 w 2987325"/>
                  <a:gd name="connsiteY10" fmla="*/ 452837 h 532759"/>
                  <a:gd name="connsiteX11" fmla="*/ 2987324 w 2987325"/>
                  <a:gd name="connsiteY11" fmla="*/ 452837 h 532759"/>
                  <a:gd name="connsiteX12" fmla="*/ 2907402 w 2987325"/>
                  <a:gd name="connsiteY12" fmla="*/ 532759 h 532759"/>
                  <a:gd name="connsiteX13" fmla="*/ 79922 w 2987325"/>
                  <a:gd name="connsiteY13" fmla="*/ 532758 h 532759"/>
                  <a:gd name="connsiteX14" fmla="*/ 0 w 2987325"/>
                  <a:gd name="connsiteY14" fmla="*/ 452837 h 532759"/>
                  <a:gd name="connsiteX15" fmla="*/ 1247 w 2987325"/>
                  <a:gd name="connsiteY15" fmla="*/ 446664 h 532759"/>
                  <a:gd name="connsiteX16" fmla="*/ 0 w 2987325"/>
                  <a:gd name="connsiteY16" fmla="*/ 369634 h 532759"/>
                  <a:gd name="connsiteX17" fmla="*/ 325705 w 2987325"/>
                  <a:gd name="connsiteY17" fmla="*/ 43929 h 532759"/>
                  <a:gd name="connsiteX18" fmla="*/ 415602 w 2987325"/>
                  <a:gd name="connsiteY18" fmla="*/ 0 h 532759"/>
                  <a:gd name="connsiteX0" fmla="*/ 0 w 3062292"/>
                  <a:gd name="connsiteY0" fmla="*/ 452836 h 532759"/>
                  <a:gd name="connsiteX1" fmla="*/ 0 w 3062292"/>
                  <a:gd name="connsiteY1" fmla="*/ 452837 h 532759"/>
                  <a:gd name="connsiteX2" fmla="*/ 0 w 3062292"/>
                  <a:gd name="connsiteY2" fmla="*/ 452837 h 532759"/>
                  <a:gd name="connsiteX3" fmla="*/ 0 w 3062292"/>
                  <a:gd name="connsiteY3" fmla="*/ 452836 h 532759"/>
                  <a:gd name="connsiteX4" fmla="*/ 415602 w 3062292"/>
                  <a:gd name="connsiteY4" fmla="*/ 0 h 532759"/>
                  <a:gd name="connsiteX5" fmla="*/ 2571722 w 3062292"/>
                  <a:gd name="connsiteY5" fmla="*/ 0 h 532759"/>
                  <a:gd name="connsiteX6" fmla="*/ 2661619 w 3062292"/>
                  <a:gd name="connsiteY6" fmla="*/ 43929 h 532759"/>
                  <a:gd name="connsiteX7" fmla="*/ 2987324 w 3062292"/>
                  <a:gd name="connsiteY7" fmla="*/ 369634 h 532759"/>
                  <a:gd name="connsiteX8" fmla="*/ 2987324 w 3062292"/>
                  <a:gd name="connsiteY8" fmla="*/ 446664 h 532759"/>
                  <a:gd name="connsiteX9" fmla="*/ 3062279 w 3062292"/>
                  <a:gd name="connsiteY9" fmla="*/ 423804 h 532759"/>
                  <a:gd name="connsiteX10" fmla="*/ 2987325 w 3062292"/>
                  <a:gd name="connsiteY10" fmla="*/ 452837 h 532759"/>
                  <a:gd name="connsiteX11" fmla="*/ 2987324 w 3062292"/>
                  <a:gd name="connsiteY11" fmla="*/ 452837 h 532759"/>
                  <a:gd name="connsiteX12" fmla="*/ 2907402 w 3062292"/>
                  <a:gd name="connsiteY12" fmla="*/ 532759 h 532759"/>
                  <a:gd name="connsiteX13" fmla="*/ 79922 w 3062292"/>
                  <a:gd name="connsiteY13" fmla="*/ 532758 h 532759"/>
                  <a:gd name="connsiteX14" fmla="*/ 0 w 3062292"/>
                  <a:gd name="connsiteY14" fmla="*/ 452837 h 532759"/>
                  <a:gd name="connsiteX15" fmla="*/ 1247 w 3062292"/>
                  <a:gd name="connsiteY15" fmla="*/ 446664 h 532759"/>
                  <a:gd name="connsiteX16" fmla="*/ 0 w 3062292"/>
                  <a:gd name="connsiteY16" fmla="*/ 369634 h 532759"/>
                  <a:gd name="connsiteX17" fmla="*/ 325705 w 3062292"/>
                  <a:gd name="connsiteY17" fmla="*/ 43929 h 532759"/>
                  <a:gd name="connsiteX18" fmla="*/ 415602 w 3062292"/>
                  <a:gd name="connsiteY18"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7325 w 2987325"/>
                  <a:gd name="connsiteY9" fmla="*/ 452837 h 532759"/>
                  <a:gd name="connsiteX10" fmla="*/ 2987324 w 2987325"/>
                  <a:gd name="connsiteY10" fmla="*/ 452837 h 532759"/>
                  <a:gd name="connsiteX11" fmla="*/ 2907402 w 2987325"/>
                  <a:gd name="connsiteY11" fmla="*/ 532759 h 532759"/>
                  <a:gd name="connsiteX12" fmla="*/ 79922 w 2987325"/>
                  <a:gd name="connsiteY12" fmla="*/ 532758 h 532759"/>
                  <a:gd name="connsiteX13" fmla="*/ 0 w 2987325"/>
                  <a:gd name="connsiteY13" fmla="*/ 452837 h 532759"/>
                  <a:gd name="connsiteX14" fmla="*/ 1247 w 2987325"/>
                  <a:gd name="connsiteY14" fmla="*/ 446664 h 532759"/>
                  <a:gd name="connsiteX15" fmla="*/ 0 w 2987325"/>
                  <a:gd name="connsiteY15" fmla="*/ 369634 h 532759"/>
                  <a:gd name="connsiteX16" fmla="*/ 325705 w 2987325"/>
                  <a:gd name="connsiteY16" fmla="*/ 43929 h 532759"/>
                  <a:gd name="connsiteX17" fmla="*/ 415602 w 2987325"/>
                  <a:gd name="connsiteY17"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71144 w 3071144"/>
                  <a:gd name="connsiteY8" fmla="*/ 416184 h 532759"/>
                  <a:gd name="connsiteX9" fmla="*/ 2987325 w 3071144"/>
                  <a:gd name="connsiteY9" fmla="*/ 452837 h 532759"/>
                  <a:gd name="connsiteX10" fmla="*/ 2987324 w 3071144"/>
                  <a:gd name="connsiteY10" fmla="*/ 452837 h 532759"/>
                  <a:gd name="connsiteX11" fmla="*/ 2907402 w 3071144"/>
                  <a:gd name="connsiteY11" fmla="*/ 532759 h 532759"/>
                  <a:gd name="connsiteX12" fmla="*/ 79922 w 3071144"/>
                  <a:gd name="connsiteY12" fmla="*/ 532758 h 532759"/>
                  <a:gd name="connsiteX13" fmla="*/ 0 w 3071144"/>
                  <a:gd name="connsiteY13" fmla="*/ 452837 h 532759"/>
                  <a:gd name="connsiteX14" fmla="*/ 1247 w 3071144"/>
                  <a:gd name="connsiteY14" fmla="*/ 446664 h 532759"/>
                  <a:gd name="connsiteX15" fmla="*/ 0 w 3071144"/>
                  <a:gd name="connsiteY15" fmla="*/ 369634 h 532759"/>
                  <a:gd name="connsiteX16" fmla="*/ 325705 w 3071144"/>
                  <a:gd name="connsiteY16" fmla="*/ 43929 h 532759"/>
                  <a:gd name="connsiteX17" fmla="*/ 415602 w 3071144"/>
                  <a:gd name="connsiteY17"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50046 w 3071144"/>
                  <a:gd name="connsiteY8" fmla="*/ 399674 h 532759"/>
                  <a:gd name="connsiteX9" fmla="*/ 3071144 w 3071144"/>
                  <a:gd name="connsiteY9" fmla="*/ 416184 h 532759"/>
                  <a:gd name="connsiteX10" fmla="*/ 2987325 w 3071144"/>
                  <a:gd name="connsiteY10" fmla="*/ 452837 h 532759"/>
                  <a:gd name="connsiteX11" fmla="*/ 2987324 w 3071144"/>
                  <a:gd name="connsiteY11" fmla="*/ 452837 h 532759"/>
                  <a:gd name="connsiteX12" fmla="*/ 2907402 w 3071144"/>
                  <a:gd name="connsiteY12" fmla="*/ 532759 h 532759"/>
                  <a:gd name="connsiteX13" fmla="*/ 79922 w 3071144"/>
                  <a:gd name="connsiteY13" fmla="*/ 532758 h 532759"/>
                  <a:gd name="connsiteX14" fmla="*/ 0 w 3071144"/>
                  <a:gd name="connsiteY14" fmla="*/ 452837 h 532759"/>
                  <a:gd name="connsiteX15" fmla="*/ 1247 w 3071144"/>
                  <a:gd name="connsiteY15" fmla="*/ 446664 h 532759"/>
                  <a:gd name="connsiteX16" fmla="*/ 0 w 3071144"/>
                  <a:gd name="connsiteY16" fmla="*/ 369634 h 532759"/>
                  <a:gd name="connsiteX17" fmla="*/ 325705 w 3071144"/>
                  <a:gd name="connsiteY17" fmla="*/ 43929 h 532759"/>
                  <a:gd name="connsiteX18" fmla="*/ 415602 w 3071144"/>
                  <a:gd name="connsiteY18"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71144 w 3071144"/>
                  <a:gd name="connsiteY8" fmla="*/ 416184 h 532759"/>
                  <a:gd name="connsiteX9" fmla="*/ 2987325 w 3071144"/>
                  <a:gd name="connsiteY9" fmla="*/ 452837 h 532759"/>
                  <a:gd name="connsiteX10" fmla="*/ 2987324 w 3071144"/>
                  <a:gd name="connsiteY10" fmla="*/ 452837 h 532759"/>
                  <a:gd name="connsiteX11" fmla="*/ 2907402 w 3071144"/>
                  <a:gd name="connsiteY11" fmla="*/ 532759 h 532759"/>
                  <a:gd name="connsiteX12" fmla="*/ 79922 w 3071144"/>
                  <a:gd name="connsiteY12" fmla="*/ 532758 h 532759"/>
                  <a:gd name="connsiteX13" fmla="*/ 0 w 3071144"/>
                  <a:gd name="connsiteY13" fmla="*/ 452837 h 532759"/>
                  <a:gd name="connsiteX14" fmla="*/ 1247 w 3071144"/>
                  <a:gd name="connsiteY14" fmla="*/ 446664 h 532759"/>
                  <a:gd name="connsiteX15" fmla="*/ 0 w 3071144"/>
                  <a:gd name="connsiteY15" fmla="*/ 369634 h 532759"/>
                  <a:gd name="connsiteX16" fmla="*/ 325705 w 3071144"/>
                  <a:gd name="connsiteY16" fmla="*/ 43929 h 532759"/>
                  <a:gd name="connsiteX17" fmla="*/ 415602 w 3071144"/>
                  <a:gd name="connsiteY17"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5 w 2987325"/>
                  <a:gd name="connsiteY8" fmla="*/ 452837 h 532759"/>
                  <a:gd name="connsiteX9" fmla="*/ 2987324 w 2987325"/>
                  <a:gd name="connsiteY9" fmla="*/ 452837 h 532759"/>
                  <a:gd name="connsiteX10" fmla="*/ 2907402 w 2987325"/>
                  <a:gd name="connsiteY10" fmla="*/ 532759 h 532759"/>
                  <a:gd name="connsiteX11" fmla="*/ 79922 w 2987325"/>
                  <a:gd name="connsiteY11" fmla="*/ 532758 h 532759"/>
                  <a:gd name="connsiteX12" fmla="*/ 0 w 2987325"/>
                  <a:gd name="connsiteY12" fmla="*/ 452837 h 532759"/>
                  <a:gd name="connsiteX13" fmla="*/ 1247 w 2987325"/>
                  <a:gd name="connsiteY13" fmla="*/ 446664 h 532759"/>
                  <a:gd name="connsiteX14" fmla="*/ 0 w 2987325"/>
                  <a:gd name="connsiteY14" fmla="*/ 369634 h 532759"/>
                  <a:gd name="connsiteX15" fmla="*/ 325705 w 2987325"/>
                  <a:gd name="connsiteY15" fmla="*/ 43929 h 532759"/>
                  <a:gd name="connsiteX16" fmla="*/ 415602 w 2987325"/>
                  <a:gd name="connsiteY16" fmla="*/ 0 h 532759"/>
                  <a:gd name="connsiteX0" fmla="*/ 52095 w 3039420"/>
                  <a:gd name="connsiteY0" fmla="*/ 452836 h 532759"/>
                  <a:gd name="connsiteX1" fmla="*/ 52095 w 3039420"/>
                  <a:gd name="connsiteY1" fmla="*/ 452837 h 532759"/>
                  <a:gd name="connsiteX2" fmla="*/ 52095 w 3039420"/>
                  <a:gd name="connsiteY2" fmla="*/ 452837 h 532759"/>
                  <a:gd name="connsiteX3" fmla="*/ 52095 w 3039420"/>
                  <a:gd name="connsiteY3" fmla="*/ 452836 h 532759"/>
                  <a:gd name="connsiteX4" fmla="*/ 467697 w 3039420"/>
                  <a:gd name="connsiteY4" fmla="*/ 0 h 532759"/>
                  <a:gd name="connsiteX5" fmla="*/ 2623817 w 3039420"/>
                  <a:gd name="connsiteY5" fmla="*/ 0 h 532759"/>
                  <a:gd name="connsiteX6" fmla="*/ 2713714 w 3039420"/>
                  <a:gd name="connsiteY6" fmla="*/ 43929 h 532759"/>
                  <a:gd name="connsiteX7" fmla="*/ 3039419 w 3039420"/>
                  <a:gd name="connsiteY7" fmla="*/ 369634 h 532759"/>
                  <a:gd name="connsiteX8" fmla="*/ 3039420 w 3039420"/>
                  <a:gd name="connsiteY8" fmla="*/ 452837 h 532759"/>
                  <a:gd name="connsiteX9" fmla="*/ 3039419 w 3039420"/>
                  <a:gd name="connsiteY9" fmla="*/ 452837 h 532759"/>
                  <a:gd name="connsiteX10" fmla="*/ 2959497 w 3039420"/>
                  <a:gd name="connsiteY10" fmla="*/ 532759 h 532759"/>
                  <a:gd name="connsiteX11" fmla="*/ 132017 w 3039420"/>
                  <a:gd name="connsiteY11" fmla="*/ 532758 h 532759"/>
                  <a:gd name="connsiteX12" fmla="*/ 52095 w 3039420"/>
                  <a:gd name="connsiteY12" fmla="*/ 452837 h 532759"/>
                  <a:gd name="connsiteX13" fmla="*/ 2 w 3039420"/>
                  <a:gd name="connsiteY13" fmla="*/ 414279 h 532759"/>
                  <a:gd name="connsiteX14" fmla="*/ 52095 w 3039420"/>
                  <a:gd name="connsiteY14" fmla="*/ 369634 h 532759"/>
                  <a:gd name="connsiteX15" fmla="*/ 377800 w 3039420"/>
                  <a:gd name="connsiteY15" fmla="*/ 43929 h 532759"/>
                  <a:gd name="connsiteX16" fmla="*/ 467697 w 3039420"/>
                  <a:gd name="connsiteY16"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5 w 2987325"/>
                  <a:gd name="connsiteY8" fmla="*/ 452837 h 532759"/>
                  <a:gd name="connsiteX9" fmla="*/ 2987324 w 2987325"/>
                  <a:gd name="connsiteY9" fmla="*/ 452837 h 532759"/>
                  <a:gd name="connsiteX10" fmla="*/ 2907402 w 2987325"/>
                  <a:gd name="connsiteY10" fmla="*/ 532759 h 532759"/>
                  <a:gd name="connsiteX11" fmla="*/ 79922 w 2987325"/>
                  <a:gd name="connsiteY11" fmla="*/ 532758 h 532759"/>
                  <a:gd name="connsiteX12" fmla="*/ 0 w 2987325"/>
                  <a:gd name="connsiteY12" fmla="*/ 452837 h 532759"/>
                  <a:gd name="connsiteX13" fmla="*/ 0 w 2987325"/>
                  <a:gd name="connsiteY13" fmla="*/ 369634 h 532759"/>
                  <a:gd name="connsiteX14" fmla="*/ 325705 w 2987325"/>
                  <a:gd name="connsiteY14" fmla="*/ 43929 h 532759"/>
                  <a:gd name="connsiteX15" fmla="*/ 415602 w 2987325"/>
                  <a:gd name="connsiteY15" fmla="*/ 0 h 53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7325" h="532759">
                    <a:moveTo>
                      <a:pt x="0" y="452836"/>
                    </a:moveTo>
                    <a:lnTo>
                      <a:pt x="0" y="452837"/>
                    </a:lnTo>
                    <a:lnTo>
                      <a:pt x="0" y="452837"/>
                    </a:lnTo>
                    <a:lnTo>
                      <a:pt x="0" y="452836"/>
                    </a:lnTo>
                    <a:close/>
                    <a:moveTo>
                      <a:pt x="415602" y="0"/>
                    </a:moveTo>
                    <a:lnTo>
                      <a:pt x="2571722" y="0"/>
                    </a:lnTo>
                    <a:cubicBezTo>
                      <a:pt x="2608397" y="0"/>
                      <a:pt x="2641174" y="16692"/>
                      <a:pt x="2661619" y="43929"/>
                    </a:cubicBezTo>
                    <a:lnTo>
                      <a:pt x="2987324" y="369634"/>
                    </a:lnTo>
                    <a:cubicBezTo>
                      <a:pt x="2987324" y="397368"/>
                      <a:pt x="2987325" y="425103"/>
                      <a:pt x="2987325" y="452837"/>
                    </a:cubicBezTo>
                    <a:lnTo>
                      <a:pt x="2987324" y="452837"/>
                    </a:lnTo>
                    <a:cubicBezTo>
                      <a:pt x="2987324" y="496977"/>
                      <a:pt x="2951542" y="532759"/>
                      <a:pt x="2907402" y="532759"/>
                    </a:cubicBezTo>
                    <a:lnTo>
                      <a:pt x="79922" y="532758"/>
                    </a:lnTo>
                    <a:cubicBezTo>
                      <a:pt x="35782" y="532758"/>
                      <a:pt x="1" y="496977"/>
                      <a:pt x="0" y="452837"/>
                    </a:cubicBezTo>
                    <a:lnTo>
                      <a:pt x="0" y="369634"/>
                    </a:lnTo>
                    <a:lnTo>
                      <a:pt x="325705" y="43929"/>
                    </a:lnTo>
                    <a:cubicBezTo>
                      <a:pt x="346150" y="16692"/>
                      <a:pt x="378927" y="0"/>
                      <a:pt x="415602" y="0"/>
                    </a:cubicBezTo>
                    <a:close/>
                  </a:path>
                </a:pathLst>
              </a:custGeom>
              <a:grpFill/>
              <a:ln w="19050">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de-DE" dirty="0"/>
              </a:p>
            </p:txBody>
          </p:sp>
          <p:sp>
            <p:nvSpPr>
              <p:cNvPr id="74" name="Rounded Rectangle 73"/>
              <p:cNvSpPr/>
              <p:nvPr/>
            </p:nvSpPr>
            <p:spPr bwMode="gray">
              <a:xfrm>
                <a:off x="6464260" y="3201880"/>
                <a:ext cx="269634" cy="170853"/>
              </a:xfrm>
              <a:prstGeom prst="roundRect">
                <a:avLst>
                  <a:gd name="adj" fmla="val 6562"/>
                </a:avLst>
              </a:prstGeom>
              <a:grpFill/>
              <a:ln w="19050">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de-DE" dirty="0"/>
              </a:p>
            </p:txBody>
          </p:sp>
          <p:sp>
            <p:nvSpPr>
              <p:cNvPr id="75" name="Rounded Rectangle 74"/>
              <p:cNvSpPr/>
              <p:nvPr/>
            </p:nvSpPr>
            <p:spPr bwMode="gray">
              <a:xfrm>
                <a:off x="6475373" y="3218276"/>
                <a:ext cx="247408" cy="139718"/>
              </a:xfrm>
              <a:prstGeom prst="roundRect">
                <a:avLst>
                  <a:gd name="adj" fmla="val 3574"/>
                </a:avLst>
              </a:prstGeom>
              <a:grpFill/>
              <a:ln w="19050">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numCol="1" anchor="ctr" anchorCtr="0" compatLnSpc="1">
                <a:prstTxWarp prst="textNoShape">
                  <a:avLst/>
                </a:prstTxWarp>
              </a:bodyPr>
              <a:lstStyle/>
              <a:p>
                <a:pPr algn="ctr"/>
                <a:endParaRPr lang="de-DE" sz="1600" b="1" dirty="0">
                  <a:solidFill>
                    <a:schemeClr val="accent5"/>
                  </a:solidFill>
                </a:endParaRPr>
              </a:p>
            </p:txBody>
          </p:sp>
          <p:sp>
            <p:nvSpPr>
              <p:cNvPr id="76" name="Rounded Rectangle 24"/>
              <p:cNvSpPr/>
              <p:nvPr/>
            </p:nvSpPr>
            <p:spPr bwMode="gray">
              <a:xfrm flipH="1">
                <a:off x="6541718" y="3414663"/>
                <a:ext cx="114718" cy="19999"/>
              </a:xfrm>
              <a:custGeom>
                <a:avLst/>
                <a:gdLst/>
                <a:ahLst/>
                <a:cxnLst/>
                <a:rect l="l" t="t" r="r" b="b"/>
                <a:pathLst>
                  <a:path w="1583620" h="236220">
                    <a:moveTo>
                      <a:pt x="768950" y="181801"/>
                    </a:moveTo>
                    <a:lnTo>
                      <a:pt x="24017" y="181801"/>
                    </a:lnTo>
                    <a:lnTo>
                      <a:pt x="0" y="236220"/>
                    </a:lnTo>
                    <a:lnTo>
                      <a:pt x="768950" y="236220"/>
                    </a:lnTo>
                    <a:close/>
                    <a:moveTo>
                      <a:pt x="1559604" y="181801"/>
                    </a:moveTo>
                    <a:lnTo>
                      <a:pt x="814669" y="181801"/>
                    </a:lnTo>
                    <a:lnTo>
                      <a:pt x="814669" y="236220"/>
                    </a:lnTo>
                    <a:lnTo>
                      <a:pt x="1583620" y="236220"/>
                    </a:lnTo>
                    <a:close/>
                    <a:moveTo>
                      <a:pt x="1479370" y="0"/>
                    </a:moveTo>
                    <a:lnTo>
                      <a:pt x="104252" y="0"/>
                    </a:lnTo>
                    <a:lnTo>
                      <a:pt x="44195" y="136082"/>
                    </a:lnTo>
                    <a:lnTo>
                      <a:pt x="1539427" y="136082"/>
                    </a:lnTo>
                    <a:close/>
                  </a:path>
                </a:pathLst>
              </a:custGeom>
              <a:grpFill/>
              <a:ln w="19050">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de-DE" dirty="0"/>
              </a:p>
            </p:txBody>
          </p:sp>
        </p:grpSp>
        <p:grpSp>
          <p:nvGrpSpPr>
            <p:cNvPr id="68" name="Group 67"/>
            <p:cNvGrpSpPr/>
            <p:nvPr/>
          </p:nvGrpSpPr>
          <p:grpSpPr bwMode="gray">
            <a:xfrm>
              <a:off x="5474631" y="1501206"/>
              <a:ext cx="496875" cy="611620"/>
              <a:chOff x="5474631" y="1334925"/>
              <a:chExt cx="496875" cy="611620"/>
            </a:xfrm>
          </p:grpSpPr>
          <p:sp>
            <p:nvSpPr>
              <p:cNvPr id="69" name="Rectangle 58"/>
              <p:cNvSpPr/>
              <p:nvPr/>
            </p:nvSpPr>
            <p:spPr bwMode="gray">
              <a:xfrm>
                <a:off x="5474631" y="1334925"/>
                <a:ext cx="496875" cy="611620"/>
              </a:xfrm>
              <a:custGeom>
                <a:avLst/>
                <a:gdLst/>
                <a:ahLst/>
                <a:cxnLst/>
                <a:rect l="l" t="t" r="r" b="b"/>
                <a:pathLst>
                  <a:path w="1039550" h="1279618">
                    <a:moveTo>
                      <a:pt x="519776" y="117506"/>
                    </a:moveTo>
                    <a:cubicBezTo>
                      <a:pt x="295398" y="117506"/>
                      <a:pt x="113504" y="299400"/>
                      <a:pt x="113504" y="523778"/>
                    </a:cubicBezTo>
                    <a:cubicBezTo>
                      <a:pt x="113504" y="748156"/>
                      <a:pt x="295398" y="930050"/>
                      <a:pt x="519776" y="930050"/>
                    </a:cubicBezTo>
                    <a:cubicBezTo>
                      <a:pt x="744154" y="930050"/>
                      <a:pt x="926048" y="748156"/>
                      <a:pt x="926048" y="523778"/>
                    </a:cubicBezTo>
                    <a:cubicBezTo>
                      <a:pt x="926048" y="299400"/>
                      <a:pt x="744154" y="117506"/>
                      <a:pt x="519776" y="117506"/>
                    </a:cubicBezTo>
                    <a:close/>
                    <a:moveTo>
                      <a:pt x="519775" y="0"/>
                    </a:moveTo>
                    <a:cubicBezTo>
                      <a:pt x="806841" y="0"/>
                      <a:pt x="1039550" y="232709"/>
                      <a:pt x="1039550" y="519775"/>
                    </a:cubicBezTo>
                    <a:cubicBezTo>
                      <a:pt x="1039550" y="758568"/>
                      <a:pt x="878519" y="959756"/>
                      <a:pt x="656696" y="1011906"/>
                    </a:cubicBezTo>
                    <a:lnTo>
                      <a:pt x="656696" y="1279618"/>
                    </a:lnTo>
                    <a:lnTo>
                      <a:pt x="382843" y="1279618"/>
                    </a:lnTo>
                    <a:lnTo>
                      <a:pt x="382843" y="1011906"/>
                    </a:lnTo>
                    <a:cubicBezTo>
                      <a:pt x="161025" y="959745"/>
                      <a:pt x="0" y="758568"/>
                      <a:pt x="0" y="519775"/>
                    </a:cubicBezTo>
                    <a:cubicBezTo>
                      <a:pt x="0" y="232709"/>
                      <a:pt x="232709" y="0"/>
                      <a:pt x="519775" y="0"/>
                    </a:cubicBezTo>
                    <a:close/>
                  </a:path>
                </a:pathLst>
              </a:cu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nvGrpSpPr>
              <p:cNvPr id="70" name="Group 69"/>
              <p:cNvGrpSpPr/>
              <p:nvPr/>
            </p:nvGrpSpPr>
            <p:grpSpPr bwMode="gray">
              <a:xfrm rot="18900000">
                <a:off x="5541264" y="1547510"/>
                <a:ext cx="374203" cy="86225"/>
                <a:chOff x="8090824" y="3147113"/>
                <a:chExt cx="850693" cy="180399"/>
              </a:xfrm>
            </p:grpSpPr>
            <p:sp>
              <p:nvSpPr>
                <p:cNvPr id="71" name="Isosceles Triangle 70"/>
                <p:cNvSpPr>
                  <a:spLocks noChangeAspect="1"/>
                </p:cNvSpPr>
                <p:nvPr/>
              </p:nvSpPr>
              <p:spPr bwMode="gray">
                <a:xfrm rot="16200000">
                  <a:off x="8213722" y="3024215"/>
                  <a:ext cx="180399" cy="426195"/>
                </a:xfrm>
                <a:prstGeom prst="triangl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72" name="Isosceles Triangle 71"/>
                <p:cNvSpPr>
                  <a:spLocks noChangeAspect="1"/>
                </p:cNvSpPr>
                <p:nvPr/>
              </p:nvSpPr>
              <p:spPr bwMode="gray">
                <a:xfrm rot="5400000" flipH="1">
                  <a:off x="8638220" y="3024215"/>
                  <a:ext cx="180399" cy="426195"/>
                </a:xfrm>
                <a:prstGeom prst="triangle">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grpSp>
    </p:spTree>
    <p:extLst>
      <p:ext uri="{BB962C8B-B14F-4D97-AF65-F5344CB8AC3E}">
        <p14:creationId xmlns:p14="http://schemas.microsoft.com/office/powerpoint/2010/main" val="384856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9_4: Title Slide 4">
    <p:spTree>
      <p:nvGrpSpPr>
        <p:cNvPr id="1" name=""/>
        <p:cNvGrpSpPr/>
        <p:nvPr/>
      </p:nvGrpSpPr>
      <p:grpSpPr>
        <a:xfrm>
          <a:off x="0" y="0"/>
          <a:ext cx="0" cy="0"/>
          <a:chOff x="0" y="0"/>
          <a:chExt cx="0" cy="0"/>
        </a:xfrm>
      </p:grpSpPr>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52F9E392-8E35-4605-BD71-04EC9B0D145E}"/>
              </a:ext>
            </a:extLst>
          </p:cNvPr>
          <p:cNvGrpSpPr/>
          <p:nvPr userDrawn="1"/>
        </p:nvGrpSpPr>
        <p:grpSpPr>
          <a:xfrm>
            <a:off x="-1" y="0"/>
            <a:ext cx="12192001" cy="4608794"/>
            <a:chOff x="332368" y="1931988"/>
            <a:chExt cx="11524670" cy="3980297"/>
          </a:xfrm>
        </p:grpSpPr>
        <p:pic>
          <p:nvPicPr>
            <p:cNvPr id="16" name="Picture 23" descr="Cement_probe">
              <a:extLst>
                <a:ext uri="{FF2B5EF4-FFF2-40B4-BE49-F238E27FC236}">
                  <a16:creationId xmlns:a16="http://schemas.microsoft.com/office/drawing/2014/main" id="{27FFC5CD-04BC-4894-ADB6-82A03365691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336550" y="1931988"/>
              <a:ext cx="11520488" cy="3980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36D7BBAF-87B8-4AA2-BBE1-88CF278F95CE}"/>
                </a:ext>
              </a:extLst>
            </p:cNvPr>
            <p:cNvSpPr/>
            <p:nvPr/>
          </p:nvSpPr>
          <p:spPr bwMode="gray">
            <a:xfrm>
              <a:off x="332368" y="1931988"/>
              <a:ext cx="11524670" cy="3980297"/>
            </a:xfrm>
            <a:prstGeom prst="rect">
              <a:avLst/>
            </a:prstGeom>
            <a:gradFill flip="none" rotWithShape="1">
              <a:gsLst>
                <a:gs pos="0">
                  <a:schemeClr val="accent1">
                    <a:lumMod val="5000"/>
                    <a:lumOff val="95000"/>
                    <a:alpha val="93000"/>
                  </a:schemeClr>
                </a:gs>
                <a:gs pos="43000">
                  <a:schemeClr val="bg1">
                    <a:alpha val="30000"/>
                  </a:schemeClr>
                </a:gs>
                <a:gs pos="100000">
                  <a:schemeClr val="bg1">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grpSp>
    </p:spTree>
    <p:extLst>
      <p:ext uri="{BB962C8B-B14F-4D97-AF65-F5344CB8AC3E}">
        <p14:creationId xmlns:p14="http://schemas.microsoft.com/office/powerpoint/2010/main" val="3759146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8_4: Title Slide 4">
    <p:spTree>
      <p:nvGrpSpPr>
        <p:cNvPr id="1" name=""/>
        <p:cNvGrpSpPr/>
        <p:nvPr/>
      </p:nvGrpSpPr>
      <p:grpSpPr>
        <a:xfrm>
          <a:off x="0" y="0"/>
          <a:ext cx="0" cy="0"/>
          <a:chOff x="0" y="0"/>
          <a:chExt cx="0" cy="0"/>
        </a:xfrm>
      </p:grpSpPr>
      <p:pic>
        <p:nvPicPr>
          <p:cNvPr id="9" name="Picture Placeholder 6">
            <a:extLst>
              <a:ext uri="{FF2B5EF4-FFF2-40B4-BE49-F238E27FC236}">
                <a16:creationId xmlns:a16="http://schemas.microsoft.com/office/drawing/2014/main" id="{86CAFDF7-9EB7-415D-88CF-56F6F2E01C3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05" t="-1" b="505"/>
          <a:stretch/>
        </p:blipFill>
        <p:spPr bwMode="gray">
          <a:xfrm>
            <a:off x="0" y="0"/>
            <a:ext cx="12192000" cy="4610100"/>
          </a:xfrm>
          <a:prstGeom prst="rect">
            <a:avLst/>
          </a:prstGeom>
        </p:spPr>
      </p:pic>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0677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1: Title Slide">
    <p:spTree>
      <p:nvGrpSpPr>
        <p:cNvPr id="1" name=""/>
        <p:cNvGrpSpPr/>
        <p:nvPr/>
      </p:nvGrpSpPr>
      <p:grpSpPr>
        <a:xfrm>
          <a:off x="0" y="0"/>
          <a:ext cx="0" cy="0"/>
          <a:chOff x="0" y="0"/>
          <a:chExt cx="0" cy="0"/>
        </a:xfrm>
      </p:grpSpPr>
      <p:pic>
        <p:nvPicPr>
          <p:cNvPr id="9" name="Picture 3">
            <a:extLst>
              <a:ext uri="{FF2B5EF4-FFF2-40B4-BE49-F238E27FC236}">
                <a16:creationId xmlns:a16="http://schemas.microsoft.com/office/drawing/2014/main" id="{8B49CD9E-E3B9-4445-BFE0-0B08297CCAA9}"/>
              </a:ext>
            </a:extLst>
          </p:cNvPr>
          <p:cNvPicPr>
            <a:picLocks noChangeAspect="1"/>
          </p:cNvPicPr>
          <p:nvPr userDrawn="1"/>
        </p:nvPicPr>
        <p:blipFill rotWithShape="1">
          <a:blip r:embed="rId3"/>
          <a:srcRect t="19759" b="-32133"/>
          <a:stretch/>
        </p:blipFill>
        <p:spPr>
          <a:xfrm>
            <a:off x="0" y="-13669"/>
            <a:ext cx="12192000" cy="6871669"/>
          </a:xfrm>
          <a:prstGeom prst="rect">
            <a:avLst/>
          </a:prstGeom>
          <a:solidFill>
            <a:schemeClr val="bg1"/>
          </a:solidFill>
        </p:spPr>
      </p:pic>
      <p:sp>
        <p:nvSpPr>
          <p:cNvPr id="4" name="Rectangle 3">
            <a:extLst>
              <a:ext uri="{FF2B5EF4-FFF2-40B4-BE49-F238E27FC236}">
                <a16:creationId xmlns:a16="http://schemas.microsoft.com/office/drawing/2014/main" id="{D9EAA67E-304F-4152-B919-9FE38CB2797E}"/>
              </a:ext>
            </a:extLst>
          </p:cNvPr>
          <p:cNvSpPr/>
          <p:nvPr userDrawn="1"/>
        </p:nvSpPr>
        <p:spPr bwMode="gray">
          <a:xfrm>
            <a:off x="0" y="-13669"/>
            <a:ext cx="12192000" cy="6871669"/>
          </a:xfrm>
          <a:prstGeom prst="rect">
            <a:avLst/>
          </a:prstGeom>
          <a:gradFill>
            <a:gsLst>
              <a:gs pos="0">
                <a:schemeClr val="accent1">
                  <a:lumMod val="5000"/>
                  <a:lumOff val="95000"/>
                  <a:alpha val="0"/>
                </a:schemeClr>
              </a:gs>
              <a:gs pos="88000">
                <a:srgbClr val="FFFFFF"/>
              </a:gs>
              <a:gs pos="63000">
                <a:schemeClr val="bg1">
                  <a:alpha val="6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endParaRPr lang="en-US" dirty="0"/>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0" name="Picture 19"/>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28035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5_4: Title Slid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06D60B3-C047-4A59-ADAD-3D21399DE05B}"/>
              </a:ext>
            </a:extLst>
          </p:cNvPr>
          <p:cNvPicPr>
            <a:picLocks noChangeAspect="1"/>
          </p:cNvPicPr>
          <p:nvPr userDrawn="1"/>
        </p:nvPicPr>
        <p:blipFill>
          <a:blip r:embed="rId2"/>
          <a:stretch>
            <a:fillRect/>
          </a:stretch>
        </p:blipFill>
        <p:spPr>
          <a:xfrm>
            <a:off x="3535660" y="62066"/>
            <a:ext cx="5143500" cy="5143500"/>
          </a:xfrm>
          <a:prstGeom prst="rect">
            <a:avLst/>
          </a:prstGeom>
        </p:spPr>
      </p:pic>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4604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4_4: Title Slide 4">
    <p:spTree>
      <p:nvGrpSpPr>
        <p:cNvPr id="1" name=""/>
        <p:cNvGrpSpPr/>
        <p:nvPr/>
      </p:nvGrpSpPr>
      <p:grpSpPr>
        <a:xfrm>
          <a:off x="0" y="0"/>
          <a:ext cx="0" cy="0"/>
          <a:chOff x="0" y="0"/>
          <a:chExt cx="0" cy="0"/>
        </a:xfrm>
      </p:grpSpPr>
      <p:pic>
        <p:nvPicPr>
          <p:cNvPr id="8" name="Picture 3">
            <a:extLst>
              <a:ext uri="{FF2B5EF4-FFF2-40B4-BE49-F238E27FC236}">
                <a16:creationId xmlns:a16="http://schemas.microsoft.com/office/drawing/2014/main" id="{B2700944-6025-4F80-81BC-681F78B992C2}"/>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3741975" y="582345"/>
            <a:ext cx="5008674" cy="4289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3659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4: Title Slide 4">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81F8186-B6A7-4816-8FB8-FD6EB66B5996}"/>
              </a:ext>
            </a:extLst>
          </p:cNvPr>
          <p:cNvGrpSpPr/>
          <p:nvPr userDrawn="1"/>
        </p:nvGrpSpPr>
        <p:grpSpPr>
          <a:xfrm>
            <a:off x="3971519" y="609633"/>
            <a:ext cx="4143780" cy="3990571"/>
            <a:chOff x="3971519" y="609633"/>
            <a:chExt cx="4143780" cy="3990571"/>
          </a:xfrm>
        </p:grpSpPr>
        <p:pic>
          <p:nvPicPr>
            <p:cNvPr id="16" name="Picture 15" descr="AO2060_3Drechts_hires">
              <a:extLst>
                <a:ext uri="{FF2B5EF4-FFF2-40B4-BE49-F238E27FC236}">
                  <a16:creationId xmlns:a16="http://schemas.microsoft.com/office/drawing/2014/main" id="{C8225D25-3572-4EA6-870D-BE58AE89C3D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71519" y="1307085"/>
              <a:ext cx="2116313" cy="2808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6" descr="EL3060_3dr_O2">
              <a:extLst>
                <a:ext uri="{FF2B5EF4-FFF2-40B4-BE49-F238E27FC236}">
                  <a16:creationId xmlns:a16="http://schemas.microsoft.com/office/drawing/2014/main" id="{84702F7C-9236-4E01-8E2C-6B493972325A}"/>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029676" y="609633"/>
              <a:ext cx="3085623" cy="399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4325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6_4: Title Slide 4">
    <p:spTree>
      <p:nvGrpSpPr>
        <p:cNvPr id="1" name=""/>
        <p:cNvGrpSpPr/>
        <p:nvPr/>
      </p:nvGrpSpPr>
      <p:grpSpPr>
        <a:xfrm>
          <a:off x="0" y="0"/>
          <a:ext cx="0" cy="0"/>
          <a:chOff x="0" y="0"/>
          <a:chExt cx="0" cy="0"/>
        </a:xfrm>
      </p:grpSpPr>
      <p:pic>
        <p:nvPicPr>
          <p:cNvPr id="9" name="Picture 5" descr="npo00004c">
            <a:extLst>
              <a:ext uri="{FF2B5EF4-FFF2-40B4-BE49-F238E27FC236}">
                <a16:creationId xmlns:a16="http://schemas.microsoft.com/office/drawing/2014/main" id="{A18003EE-1BAF-4295-9CFF-AB1782FA771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7173501" y="781455"/>
            <a:ext cx="1653644" cy="4109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5" descr="npo00004c">
            <a:extLst>
              <a:ext uri="{FF2B5EF4-FFF2-40B4-BE49-F238E27FC236}">
                <a16:creationId xmlns:a16="http://schemas.microsoft.com/office/drawing/2014/main" id="{D282C685-75BB-4395-816D-5905CB02F7DE}"/>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5277551" y="781455"/>
            <a:ext cx="1653644" cy="4109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6" name="Group 15">
            <a:extLst>
              <a:ext uri="{FF2B5EF4-FFF2-40B4-BE49-F238E27FC236}">
                <a16:creationId xmlns:a16="http://schemas.microsoft.com/office/drawing/2014/main" id="{0EFE1461-1153-4086-A9CB-3A6A74D94FFD}"/>
              </a:ext>
            </a:extLst>
          </p:cNvPr>
          <p:cNvGrpSpPr/>
          <p:nvPr userDrawn="1"/>
        </p:nvGrpSpPr>
        <p:grpSpPr bwMode="gray">
          <a:xfrm>
            <a:off x="3637994" y="626619"/>
            <a:ext cx="1671595" cy="4384288"/>
            <a:chOff x="2378003" y="-4483680"/>
            <a:chExt cx="1671595" cy="4384288"/>
          </a:xfrm>
        </p:grpSpPr>
        <p:pic>
          <p:nvPicPr>
            <p:cNvPr id="17" name="Picture 16">
              <a:extLst>
                <a:ext uri="{FF2B5EF4-FFF2-40B4-BE49-F238E27FC236}">
                  <a16:creationId xmlns:a16="http://schemas.microsoft.com/office/drawing/2014/main" id="{6E00E2C5-BE7D-4C63-A5E0-EF3BA2F1CF14}"/>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2378003" y="-4483680"/>
              <a:ext cx="1566109" cy="4384288"/>
            </a:xfrm>
            <a:prstGeom prst="rect">
              <a:avLst/>
            </a:prstGeom>
          </p:spPr>
        </p:pic>
        <p:pic>
          <p:nvPicPr>
            <p:cNvPr id="20" name="Picture 19">
              <a:extLst>
                <a:ext uri="{FF2B5EF4-FFF2-40B4-BE49-F238E27FC236}">
                  <a16:creationId xmlns:a16="http://schemas.microsoft.com/office/drawing/2014/main" id="{AF2F4402-B009-4A66-9C70-E83A17E7AB8D}"/>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2378003" y="-4483680"/>
              <a:ext cx="1671595" cy="4136208"/>
            </a:xfrm>
            <a:prstGeom prst="rect">
              <a:avLst/>
            </a:prstGeom>
          </p:spPr>
        </p:pic>
      </p:grpSp>
      <p:pic>
        <p:nvPicPr>
          <p:cNvPr id="21" name="Picture 5" descr="npo000021">
            <a:extLst>
              <a:ext uri="{FF2B5EF4-FFF2-40B4-BE49-F238E27FC236}">
                <a16:creationId xmlns:a16="http://schemas.microsoft.com/office/drawing/2014/main" id="{94BBDD77-E288-40C9-AEC7-E276CE1C7D3D}"/>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gray">
          <a:xfrm>
            <a:off x="7173501" y="781455"/>
            <a:ext cx="1653644" cy="4063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62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3_4: Title Slide 4">
    <p:spTree>
      <p:nvGrpSpPr>
        <p:cNvPr id="1" name=""/>
        <p:cNvGrpSpPr/>
        <p:nvPr/>
      </p:nvGrpSpPr>
      <p:grpSpPr>
        <a:xfrm>
          <a:off x="0" y="0"/>
          <a:ext cx="0" cy="0"/>
          <a:chOff x="0" y="0"/>
          <a:chExt cx="0" cy="0"/>
        </a:xfrm>
      </p:grpSpPr>
      <p:pic>
        <p:nvPicPr>
          <p:cNvPr id="19" name="Symbol zastępczy obrazu 25">
            <a:extLst>
              <a:ext uri="{FF2B5EF4-FFF2-40B4-BE49-F238E27FC236}">
                <a16:creationId xmlns:a16="http://schemas.microsoft.com/office/drawing/2014/main" id="{41D02323-2418-477D-8565-579B931971E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1443"/>
          <a:stretch/>
        </p:blipFill>
        <p:spPr bwMode="gray">
          <a:xfrm>
            <a:off x="2668043" y="1836881"/>
            <a:ext cx="7236482" cy="2178776"/>
          </a:xfrm>
          <a:prstGeom prst="rect">
            <a:avLst/>
          </a:prstGeom>
        </p:spPr>
      </p:pic>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2341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6_4: Title Slide 4">
    <p:spTree>
      <p:nvGrpSpPr>
        <p:cNvPr id="1" name=""/>
        <p:cNvGrpSpPr/>
        <p:nvPr/>
      </p:nvGrpSpPr>
      <p:grpSpPr>
        <a:xfrm>
          <a:off x="0" y="0"/>
          <a:ext cx="0" cy="0"/>
          <a:chOff x="0" y="0"/>
          <a:chExt cx="0" cy="0"/>
        </a:xfrm>
      </p:grpSpPr>
      <p:pic>
        <p:nvPicPr>
          <p:cNvPr id="9" name="Picture 5" descr="npo00004c">
            <a:extLst>
              <a:ext uri="{FF2B5EF4-FFF2-40B4-BE49-F238E27FC236}">
                <a16:creationId xmlns:a16="http://schemas.microsoft.com/office/drawing/2014/main" id="{A18003EE-1BAF-4295-9CFF-AB1782FA7719}"/>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7173501" y="781455"/>
            <a:ext cx="1653644" cy="4109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5" descr="npo00004c">
            <a:extLst>
              <a:ext uri="{FF2B5EF4-FFF2-40B4-BE49-F238E27FC236}">
                <a16:creationId xmlns:a16="http://schemas.microsoft.com/office/drawing/2014/main" id="{D282C685-75BB-4395-816D-5905CB02F7DE}"/>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5277551" y="781455"/>
            <a:ext cx="1653644" cy="4109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6" name="Group 15">
            <a:extLst>
              <a:ext uri="{FF2B5EF4-FFF2-40B4-BE49-F238E27FC236}">
                <a16:creationId xmlns:a16="http://schemas.microsoft.com/office/drawing/2014/main" id="{0EFE1461-1153-4086-A9CB-3A6A74D94FFD}"/>
              </a:ext>
            </a:extLst>
          </p:cNvPr>
          <p:cNvGrpSpPr/>
          <p:nvPr userDrawn="1"/>
        </p:nvGrpSpPr>
        <p:grpSpPr bwMode="gray">
          <a:xfrm>
            <a:off x="3637994" y="626619"/>
            <a:ext cx="1671595" cy="4384288"/>
            <a:chOff x="2378003" y="-4483680"/>
            <a:chExt cx="1671595" cy="4384288"/>
          </a:xfrm>
        </p:grpSpPr>
        <p:pic>
          <p:nvPicPr>
            <p:cNvPr id="17" name="Picture 16">
              <a:extLst>
                <a:ext uri="{FF2B5EF4-FFF2-40B4-BE49-F238E27FC236}">
                  <a16:creationId xmlns:a16="http://schemas.microsoft.com/office/drawing/2014/main" id="{6E00E2C5-BE7D-4C63-A5E0-EF3BA2F1CF14}"/>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2378003" y="-4483680"/>
              <a:ext cx="1566109" cy="4384288"/>
            </a:xfrm>
            <a:prstGeom prst="rect">
              <a:avLst/>
            </a:prstGeom>
          </p:spPr>
        </p:pic>
        <p:pic>
          <p:nvPicPr>
            <p:cNvPr id="20" name="Picture 19">
              <a:extLst>
                <a:ext uri="{FF2B5EF4-FFF2-40B4-BE49-F238E27FC236}">
                  <a16:creationId xmlns:a16="http://schemas.microsoft.com/office/drawing/2014/main" id="{AF2F4402-B009-4A66-9C70-E83A17E7AB8D}"/>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2378003" y="-4483680"/>
              <a:ext cx="1671595" cy="4136208"/>
            </a:xfrm>
            <a:prstGeom prst="rect">
              <a:avLst/>
            </a:prstGeom>
          </p:spPr>
        </p:pic>
      </p:grpSp>
      <p:pic>
        <p:nvPicPr>
          <p:cNvPr id="21" name="Picture 5" descr="npo000021">
            <a:extLst>
              <a:ext uri="{FF2B5EF4-FFF2-40B4-BE49-F238E27FC236}">
                <a16:creationId xmlns:a16="http://schemas.microsoft.com/office/drawing/2014/main" id="{94BBDD77-E288-40C9-AEC7-E276CE1C7D3D}"/>
              </a:ext>
            </a:extLst>
          </p:cNvPr>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gray">
          <a:xfrm>
            <a:off x="7173501" y="781455"/>
            <a:ext cx="1653644" cy="4063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547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7_4: Title Slide 4">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A5488BB5-DA31-4136-8F16-EC776430CCA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3569737" y="487367"/>
            <a:ext cx="3717605" cy="4511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14">
            <a:extLst>
              <a:ext uri="{FF2B5EF4-FFF2-40B4-BE49-F238E27FC236}">
                <a16:creationId xmlns:a16="http://schemas.microsoft.com/office/drawing/2014/main" id="{9EFD2AD0-F620-43E5-91E5-F81950CE3EE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7084143" y="853440"/>
            <a:ext cx="1651939" cy="4123732"/>
          </a:xfrm>
          <a:prstGeom prst="rect">
            <a:avLst/>
          </a:prstGeom>
        </p:spPr>
      </p:pic>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2388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2_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2" y="0"/>
            <a:ext cx="12192000" cy="4610100"/>
          </a:xfrm>
        </p:spPr>
        <p:txBody>
          <a:bodyPr/>
          <a:lstStyle/>
          <a:p>
            <a:r>
              <a:rPr lang="en-US"/>
              <a:t>Click icon to add picture</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314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5: Divi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0"/>
            <a:ext cx="12198845" cy="6858000"/>
          </a:xfrm>
          <a:prstGeom prst="rect">
            <a:avLst/>
          </a:prstGeom>
        </p:spPr>
      </p:pic>
      <p:sp>
        <p:nvSpPr>
          <p:cNvPr id="10" name="Rectangle 9">
            <a:extLst>
              <a:ext uri="{FF2B5EF4-FFF2-40B4-BE49-F238E27FC236}">
                <a16:creationId xmlns:a16="http://schemas.microsoft.com/office/drawing/2014/main" id="{F54DE7E8-58C9-4B5A-B686-53E1B76B68C9}"/>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1"/>
                </a:solidFill>
              </a:rPr>
              <a:t>—</a:t>
            </a:r>
            <a:endParaRPr lang="en-US" sz="3200" b="1" dirty="0" err="1">
              <a:solidFill>
                <a:schemeClr val="bg1"/>
              </a:solidFill>
            </a:endParaRPr>
          </a:p>
        </p:txBody>
      </p:sp>
      <p:sp>
        <p:nvSpPr>
          <p:cNvPr id="9" name="Title 1">
            <a:extLst>
              <a:ext uri="{FF2B5EF4-FFF2-40B4-BE49-F238E27FC236}">
                <a16:creationId xmlns:a16="http://schemas.microsoft.com/office/drawing/2014/main" id="{26BA06A1-F808-4CBA-9D28-8D357F795D4C}"/>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F7CD425E-9028-4049-A9A0-DC6F9DF08061}"/>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283923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884551-BCA1-4427-92BF-DB5CAA0DDF08}"/>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sp>
        <p:nvSpPr>
          <p:cNvPr id="5" name="Title 1">
            <a:extLst>
              <a:ext uri="{FF2B5EF4-FFF2-40B4-BE49-F238E27FC236}">
                <a16:creationId xmlns:a16="http://schemas.microsoft.com/office/drawing/2014/main" id="{FAC380CA-95DB-45F2-99D5-3A1E2DF54CD3}"/>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tx1"/>
                </a:solidFill>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EE182003-2699-4135-A685-461A4D33947D}"/>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61907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332367" y="1931197"/>
            <a:ext cx="11520897" cy="3980439"/>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8"/>
          </p:nvPr>
        </p:nvSpPr>
        <p:spPr bwMode="gray"/>
        <p:txBody>
          <a:bodyPr/>
          <a:lstStyle/>
          <a:p>
            <a:fld id="{F7AFF65D-AAB4-46ED-A858-A6BA48891152}" type="datetime4">
              <a:rPr lang="en-US" smtClean="0"/>
              <a:t>September 8, 2019</a:t>
            </a:fld>
            <a:endParaRPr lang="en-US" dirty="0"/>
          </a:p>
        </p:txBody>
      </p:sp>
      <p:sp>
        <p:nvSpPr>
          <p:cNvPr id="5" name="Footer Placeholder 4"/>
          <p:cNvSpPr>
            <a:spLocks noGrp="1"/>
          </p:cNvSpPr>
          <p:nvPr>
            <p:ph type="ftr" sz="quarter" idx="19"/>
          </p:nvPr>
        </p:nvSpPr>
        <p:spPr bwMode="gray"/>
        <p:txBody>
          <a:bodyPr/>
          <a:lstStyle/>
          <a:p>
            <a:pPr lvl="8"/>
            <a:endParaRPr lang="en-US" dirty="0"/>
          </a:p>
        </p:txBody>
      </p:sp>
      <p:sp>
        <p:nvSpPr>
          <p:cNvPr id="6" name="Slide Number Placeholder 5"/>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7" name="Title 6"/>
          <p:cNvSpPr>
            <a:spLocks noGrp="1"/>
          </p:cNvSpPr>
          <p:nvPr>
            <p:ph type="title"/>
          </p:nvPr>
        </p:nvSpPr>
        <p:spPr bwMode="gray"/>
        <p:txBody>
          <a:bodyPr/>
          <a:lstStyle/>
          <a:p>
            <a:r>
              <a:rPr lang="en-US"/>
              <a:t>Click to edit Master title style</a:t>
            </a:r>
            <a:endParaRPr lang="en-US" dirty="0"/>
          </a:p>
        </p:txBody>
      </p:sp>
    </p:spTree>
    <p:extLst>
      <p:ext uri="{BB962C8B-B14F-4D97-AF65-F5344CB8AC3E}">
        <p14:creationId xmlns:p14="http://schemas.microsoft.com/office/powerpoint/2010/main" val="379643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7"/>
            <a:ext cx="11520000" cy="3982245"/>
          </a:xfrm>
        </p:spPr>
        <p:txBody>
          <a:bodyPr/>
          <a:lstStyle>
            <a:lvl1pPr>
              <a:defRPr sz="1800" b="1">
                <a:solidFill>
                  <a:schemeClr val="tx2"/>
                </a:solidFill>
              </a:defRPr>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September 8, 2019</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custDataLst>
      <p:tags r:id="rId1"/>
    </p:custDataLst>
    <p:extLst>
      <p:ext uri="{BB962C8B-B14F-4D97-AF65-F5344CB8AC3E}">
        <p14:creationId xmlns:p14="http://schemas.microsoft.com/office/powerpoint/2010/main" val="175659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0: Content &amp; Box">
    <p:spTree>
      <p:nvGrpSpPr>
        <p:cNvPr id="1" name=""/>
        <p:cNvGrpSpPr/>
        <p:nvPr/>
      </p:nvGrpSpPr>
      <p:grpSpPr>
        <a:xfrm>
          <a:off x="0" y="0"/>
          <a:ext cx="0" cy="0"/>
          <a:chOff x="0" y="0"/>
          <a:chExt cx="0" cy="0"/>
        </a:xfrm>
      </p:grpSpPr>
      <p:sp>
        <p:nvSpPr>
          <p:cNvPr id="9" name="Content Placeholder 8"/>
          <p:cNvSpPr>
            <a:spLocks noGrp="1"/>
          </p:cNvSpPr>
          <p:nvPr>
            <p:ph sz="quarter" idx="21" hasCustomPrompt="1"/>
          </p:nvPr>
        </p:nvSpPr>
        <p:spPr bwMode="gray">
          <a:xfrm>
            <a:off x="332367" y="1931195"/>
            <a:ext cx="11520000" cy="3430994"/>
          </a:xfrm>
        </p:spPr>
        <p:txBody>
          <a:bodyPr/>
          <a:lstStyle>
            <a:lvl1pPr>
              <a:defRPr lang="en-US" sz="1800" b="1" kern="1200" dirty="0" smtClean="0">
                <a:solidFill>
                  <a:schemeClr val="tx2"/>
                </a:solidFill>
                <a:latin typeface="+mn-lt"/>
                <a:ea typeface="+mn-ea"/>
                <a:cs typeface="+mn-cs"/>
              </a:defRPr>
            </a:lvl1pPr>
            <a:lvl2pPr marL="180018" indent="-180018">
              <a:defRPr lang="en-US" sz="1600" kern="1200" dirty="0" smtClean="0">
                <a:solidFill>
                  <a:schemeClr val="tx1"/>
                </a:solidFill>
                <a:latin typeface="+mn-lt"/>
                <a:ea typeface="+mn-ea"/>
                <a:cs typeface="+mn-cs"/>
              </a:defRPr>
            </a:lvl2pPr>
            <a:lvl3pPr>
              <a:defRPr/>
            </a:lvl3pPr>
            <a:lvl4pPr>
              <a:defRPr/>
            </a:lvl4pPr>
            <a:lvl5pPr>
              <a:defRPr/>
            </a:lvl5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September 8, 2019</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anchor="ctr"/>
          <a:lstStyle>
            <a:lvl1pPr marL="0" indent="0" algn="ctr">
              <a:spcBef>
                <a:spcPts val="0"/>
              </a:spcBef>
              <a:buFont typeface="Arial" panose="020B0604020202020204" pitchFamily="34" charset="0"/>
              <a:buNone/>
              <a:defRPr sz="1800" b="1">
                <a:solidFill>
                  <a:schemeClr val="bg1"/>
                </a:solidFill>
              </a:defRPr>
            </a:lvl1pPr>
            <a:lvl2pPr marL="0" indent="0" algn="ctr">
              <a:spcBef>
                <a:spcPts val="0"/>
              </a:spcBef>
              <a:buNone/>
              <a:defRPr sz="1800" b="1">
                <a:solidFill>
                  <a:schemeClr val="bg1"/>
                </a:solidFill>
              </a:defRPr>
            </a:lvl2pPr>
            <a:lvl3pPr marL="0" indent="0" algn="ctr">
              <a:spcBef>
                <a:spcPts val="0"/>
              </a:spcBef>
              <a:buNone/>
              <a:defRPr sz="1800" b="1">
                <a:solidFill>
                  <a:schemeClr val="bg1"/>
                </a:solidFill>
              </a:defRPr>
            </a:lvl3pPr>
            <a:lvl4pPr marL="0" indent="0" algn="ctr">
              <a:spcBef>
                <a:spcPts val="0"/>
              </a:spcBef>
              <a:buNone/>
              <a:defRPr sz="1800" b="1">
                <a:solidFill>
                  <a:schemeClr val="bg1"/>
                </a:solidFill>
              </a:defRPr>
            </a:lvl4pPr>
            <a:lvl5pPr marL="0" indent="0" algn="ctr">
              <a:spcBef>
                <a:spcPts val="0"/>
              </a:spcBef>
              <a:buNone/>
              <a:defRPr sz="18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1261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17488BFE-015E-452C-932B-DB979AC8F28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6" name="Subtitle 2"/>
          <p:cNvSpPr>
            <a:spLocks noGrp="1"/>
          </p:cNvSpPr>
          <p:nvPr>
            <p:ph type="subTitle" idx="13"/>
          </p:nvPr>
        </p:nvSpPr>
        <p:spPr bwMode="gray">
          <a:xfrm>
            <a:off x="334139"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7"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15"/>
          <p:cNvSpPr>
            <a:spLocks noGrp="1"/>
          </p:cNvSpPr>
          <p:nvPr>
            <p:ph sz="quarter" idx="19"/>
          </p:nvPr>
        </p:nvSpPr>
        <p:spPr bwMode="gray">
          <a:xfrm>
            <a:off x="332367" y="2317637"/>
            <a:ext cx="11520000" cy="3594212"/>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333749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7_4: Title Slide 4">
    <p:spTree>
      <p:nvGrpSpPr>
        <p:cNvPr id="1" name=""/>
        <p:cNvGrpSpPr/>
        <p:nvPr/>
      </p:nvGrpSpPr>
      <p:grpSpPr>
        <a:xfrm>
          <a:off x="0" y="0"/>
          <a:ext cx="0" cy="0"/>
          <a:chOff x="0" y="0"/>
          <a:chExt cx="0" cy="0"/>
        </a:xfrm>
      </p:grpSpPr>
      <p:pic>
        <p:nvPicPr>
          <p:cNvPr id="9" name="Picture 2">
            <a:extLst>
              <a:ext uri="{FF2B5EF4-FFF2-40B4-BE49-F238E27FC236}">
                <a16:creationId xmlns:a16="http://schemas.microsoft.com/office/drawing/2014/main" id="{A5488BB5-DA31-4136-8F16-EC776430CCA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gray">
          <a:xfrm>
            <a:off x="3569737" y="487367"/>
            <a:ext cx="3717605" cy="4511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14">
            <a:extLst>
              <a:ext uri="{FF2B5EF4-FFF2-40B4-BE49-F238E27FC236}">
                <a16:creationId xmlns:a16="http://schemas.microsoft.com/office/drawing/2014/main" id="{9EFD2AD0-F620-43E5-91E5-F81950CE3EE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7084143" y="853440"/>
            <a:ext cx="1651939" cy="4123732"/>
          </a:xfrm>
          <a:prstGeom prst="rect">
            <a:avLst/>
          </a:prstGeom>
        </p:spPr>
      </p:pic>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4527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10: Content &amp; Box">
    <p:spTree>
      <p:nvGrpSpPr>
        <p:cNvPr id="1" name=""/>
        <p:cNvGrpSpPr/>
        <p:nvPr/>
      </p:nvGrpSpPr>
      <p:grpSpPr>
        <a:xfrm>
          <a:off x="0" y="0"/>
          <a:ext cx="0" cy="0"/>
          <a:chOff x="0" y="0"/>
          <a:chExt cx="0" cy="0"/>
        </a:xfrm>
      </p:grpSpPr>
      <p:sp>
        <p:nvSpPr>
          <p:cNvPr id="3" name="Title 2"/>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September 8, 2019</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dirty="0"/>
              <a:t>Click to edit Master text styles</a:t>
            </a:r>
          </a:p>
          <a:p>
            <a:pPr marL="0" lvl="1" indent="0" algn="ctr">
              <a:spcBef>
                <a:spcPts val="0"/>
              </a:spcBef>
              <a:buNone/>
            </a:pPr>
            <a:r>
              <a:rPr lang="en-US" dirty="0"/>
              <a:t>Second level</a:t>
            </a:r>
          </a:p>
          <a:p>
            <a:pPr marL="0" lvl="2" indent="0" algn="ctr">
              <a:spcBef>
                <a:spcPts val="0"/>
              </a:spcBef>
              <a:buNone/>
            </a:pPr>
            <a:r>
              <a:rPr lang="en-US" dirty="0"/>
              <a:t>Third level</a:t>
            </a:r>
          </a:p>
          <a:p>
            <a:pPr marL="0" lvl="3" indent="0" algn="ctr">
              <a:spcBef>
                <a:spcPts val="0"/>
              </a:spcBef>
              <a:buNone/>
            </a:pPr>
            <a:r>
              <a:rPr lang="en-US" dirty="0"/>
              <a:t>Fourth level</a:t>
            </a:r>
          </a:p>
          <a:p>
            <a:pPr marL="0" lvl="4" indent="0" algn="ctr">
              <a:spcBef>
                <a:spcPts val="0"/>
              </a:spcBef>
              <a:buNone/>
            </a:pPr>
            <a:r>
              <a:rPr lang="en-US" dirty="0"/>
              <a:t>Fifth level</a:t>
            </a:r>
          </a:p>
        </p:txBody>
      </p:sp>
      <p:sp>
        <p:nvSpPr>
          <p:cNvPr id="12"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5"/>
          <p:cNvSpPr>
            <a:spLocks noGrp="1"/>
          </p:cNvSpPr>
          <p:nvPr>
            <p:ph sz="quarter" idx="30"/>
          </p:nvPr>
        </p:nvSpPr>
        <p:spPr bwMode="gray">
          <a:xfrm>
            <a:off x="332367" y="2317638"/>
            <a:ext cx="11520000" cy="300683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4" name="Straight Connector 1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16224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2: Title (5)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D8D4DCBA-4C7A-4489-854D-9CAAB7BC53A0}"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9" name="Straight Connector 8"/>
          <p:cNvCxnSpPr/>
          <p:nvPr userDrawn="1"/>
        </p:nvCxnSpPr>
        <p:spPr bwMode="gray">
          <a:xfrm>
            <a:off x="42716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0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6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1"/>
          <p:cNvSpPr>
            <a:spLocks noGrp="1"/>
          </p:cNvSpPr>
          <p:nvPr>
            <p:ph type="body" sz="quarter" idx="18"/>
          </p:nvPr>
        </p:nvSpPr>
        <p:spPr bwMode="gray">
          <a:xfrm>
            <a:off x="82100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6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0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6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1"/>
          <p:cNvSpPr>
            <a:spLocks noGrp="1"/>
          </p:cNvSpPr>
          <p:nvPr>
            <p:ph type="body" sz="quarter" idx="21"/>
          </p:nvPr>
        </p:nvSpPr>
        <p:spPr bwMode="gray">
          <a:xfrm>
            <a:off x="82100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3"/>
          <p:cNvSpPr>
            <a:spLocks noGrp="1"/>
          </p:cNvSpPr>
          <p:nvPr>
            <p:ph sz="quarter" idx="23"/>
          </p:nvPr>
        </p:nvSpPr>
        <p:spPr bwMode="gray">
          <a:xfrm>
            <a:off x="333263" y="1931195"/>
            <a:ext cx="3643200" cy="180926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3"/>
          <p:cNvSpPr>
            <a:spLocks noGrp="1"/>
          </p:cNvSpPr>
          <p:nvPr>
            <p:ph sz="quarter" idx="24"/>
          </p:nvPr>
        </p:nvSpPr>
        <p:spPr bwMode="gray">
          <a:xfrm>
            <a:off x="4271664" y="2317641"/>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3"/>
          <p:cNvSpPr>
            <a:spLocks noGrp="1"/>
          </p:cNvSpPr>
          <p:nvPr>
            <p:ph sz="quarter" idx="25"/>
          </p:nvPr>
        </p:nvSpPr>
        <p:spPr bwMode="gray">
          <a:xfrm>
            <a:off x="8210064" y="2317641"/>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3"/>
          <p:cNvSpPr>
            <a:spLocks noGrp="1"/>
          </p:cNvSpPr>
          <p:nvPr>
            <p:ph sz="quarter" idx="26"/>
          </p:nvPr>
        </p:nvSpPr>
        <p:spPr bwMode="gray">
          <a:xfrm>
            <a:off x="333263" y="4489826"/>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p:cNvSpPr>
            <a:spLocks noGrp="1"/>
          </p:cNvSpPr>
          <p:nvPr>
            <p:ph sz="quarter" idx="27"/>
          </p:nvPr>
        </p:nvSpPr>
        <p:spPr bwMode="gray">
          <a:xfrm>
            <a:off x="4271664" y="4489826"/>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3"/>
          <p:cNvSpPr>
            <a:spLocks noGrp="1"/>
          </p:cNvSpPr>
          <p:nvPr>
            <p:ph sz="quarter" idx="28"/>
          </p:nvPr>
        </p:nvSpPr>
        <p:spPr bwMode="gray">
          <a:xfrm>
            <a:off x="8210064" y="4489826"/>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916159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3: Title (6)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D8D4DCBA-4C7A-4489-854D-9CAAB7BC53A0}"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1"/>
          <p:cNvSpPr>
            <a:spLocks noGrp="1"/>
          </p:cNvSpPr>
          <p:nvPr>
            <p:ph type="body" sz="quarter" idx="18"/>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795"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327"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796"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1"/>
          <p:cNvSpPr>
            <a:spLocks noGrp="1"/>
          </p:cNvSpPr>
          <p:nvPr>
            <p:ph type="body" sz="quarter" idx="21"/>
          </p:nvPr>
        </p:nvSpPr>
        <p:spPr bwMode="gray">
          <a:xfrm>
            <a:off x="8210327"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3"/>
          <p:cNvSpPr>
            <a:spLocks noGrp="1"/>
          </p:cNvSpPr>
          <p:nvPr>
            <p:ph sz="quarter" idx="23"/>
          </p:nvPr>
        </p:nvSpPr>
        <p:spPr bwMode="gray">
          <a:xfrm>
            <a:off x="333264" y="2317641"/>
            <a:ext cx="3643200" cy="1422821"/>
          </a:xfrm>
        </p:spPr>
        <p:txBody>
          <a:bodyPr lIns="0" tIns="0" rIns="0" bIns="0"/>
          <a:lstStyle>
            <a:lvl1pPr>
              <a:defRPr sz="1400"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3"/>
          <p:cNvSpPr>
            <a:spLocks noGrp="1"/>
          </p:cNvSpPr>
          <p:nvPr>
            <p:ph sz="quarter" idx="24"/>
          </p:nvPr>
        </p:nvSpPr>
        <p:spPr bwMode="gray">
          <a:xfrm>
            <a:off x="4271795" y="2317641"/>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3"/>
          <p:cNvSpPr>
            <a:spLocks noGrp="1"/>
          </p:cNvSpPr>
          <p:nvPr>
            <p:ph sz="quarter" idx="25"/>
          </p:nvPr>
        </p:nvSpPr>
        <p:spPr bwMode="gray">
          <a:xfrm>
            <a:off x="8210327" y="2317641"/>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3"/>
          <p:cNvSpPr>
            <a:spLocks noGrp="1"/>
          </p:cNvSpPr>
          <p:nvPr>
            <p:ph sz="quarter" idx="26"/>
          </p:nvPr>
        </p:nvSpPr>
        <p:spPr bwMode="gray">
          <a:xfrm>
            <a:off x="333264" y="4489826"/>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p:cNvSpPr>
            <a:spLocks noGrp="1"/>
          </p:cNvSpPr>
          <p:nvPr>
            <p:ph sz="quarter" idx="27"/>
          </p:nvPr>
        </p:nvSpPr>
        <p:spPr bwMode="gray">
          <a:xfrm>
            <a:off x="4271796" y="4489826"/>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3"/>
          <p:cNvSpPr>
            <a:spLocks noGrp="1"/>
          </p:cNvSpPr>
          <p:nvPr>
            <p:ph sz="quarter" idx="28"/>
          </p:nvPr>
        </p:nvSpPr>
        <p:spPr bwMode="gray">
          <a:xfrm>
            <a:off x="8210327" y="4489826"/>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351296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4: Title &amp; Content (8)">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C55A9BD9-4AB1-4514-A40D-3F4348B2CF77}"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1492"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2"/>
          <p:cNvSpPr>
            <a:spLocks noGrp="1"/>
          </p:cNvSpPr>
          <p:nvPr>
            <p:ph sz="quarter" idx="25"/>
          </p:nvPr>
        </p:nvSpPr>
        <p:spPr bwMode="gray">
          <a:xfrm>
            <a:off x="333264" y="2317637"/>
            <a:ext cx="1739026" cy="17100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32"/>
          <p:cNvSpPr>
            <a:spLocks noGrp="1"/>
          </p:cNvSpPr>
          <p:nvPr>
            <p:ph sz="quarter" idx="26"/>
          </p:nvPr>
        </p:nvSpPr>
        <p:spPr bwMode="gray">
          <a:xfrm>
            <a:off x="333264" y="4202644"/>
            <a:ext cx="1739026" cy="17100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32"/>
          <p:cNvSpPr>
            <a:spLocks noGrp="1"/>
          </p:cNvSpPr>
          <p:nvPr>
            <p:ph sz="quarter" idx="27"/>
          </p:nvPr>
        </p:nvSpPr>
        <p:spPr bwMode="gray">
          <a:xfrm>
            <a:off x="6163300" y="2317637"/>
            <a:ext cx="1739026" cy="17100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2"/>
          <p:cNvSpPr>
            <a:spLocks noGrp="1"/>
          </p:cNvSpPr>
          <p:nvPr>
            <p:ph sz="quarter" idx="28"/>
          </p:nvPr>
        </p:nvSpPr>
        <p:spPr bwMode="gray">
          <a:xfrm>
            <a:off x="6163300" y="4202644"/>
            <a:ext cx="1739026" cy="17100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3"/>
          <p:cNvSpPr>
            <a:spLocks noGrp="1"/>
          </p:cNvSpPr>
          <p:nvPr>
            <p:ph sz="quarter" idx="18"/>
          </p:nvPr>
        </p:nvSpPr>
        <p:spPr bwMode="gray">
          <a:xfrm>
            <a:off x="2259472" y="2317637"/>
            <a:ext cx="3757689" cy="17100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3"/>
          <p:cNvSpPr>
            <a:spLocks noGrp="1"/>
          </p:cNvSpPr>
          <p:nvPr>
            <p:ph sz="quarter" idx="19"/>
          </p:nvPr>
        </p:nvSpPr>
        <p:spPr bwMode="gray">
          <a:xfrm>
            <a:off x="2259472" y="4202644"/>
            <a:ext cx="3757689" cy="1710000"/>
          </a:xfrm>
        </p:spPr>
        <p:txBody>
          <a:bodyPr lIns="0" tIns="0" rIns="0" bIns="0"/>
          <a:lstStyle>
            <a:lvl1pPr rtl="0">
              <a:defRPr b="1"/>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0"/>
          </p:nvPr>
        </p:nvSpPr>
        <p:spPr bwMode="gray">
          <a:xfrm>
            <a:off x="8093952" y="2317637"/>
            <a:ext cx="3759312" cy="17100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1"/>
          </p:nvPr>
        </p:nvSpPr>
        <p:spPr bwMode="gray">
          <a:xfrm>
            <a:off x="8093952" y="4202644"/>
            <a:ext cx="3759312" cy="1710000"/>
          </a:xfrm>
        </p:spPr>
        <p:txBody>
          <a:bodyPr lIns="0" tIns="0" rIns="0" bIns="0"/>
          <a:lstStyle>
            <a:lvl1pPr rtl="0">
              <a:defRPr b="1"/>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4" name="Straight Connector 2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userDrawn="1"/>
        </p:nvCxnSpPr>
        <p:spPr bwMode="gray">
          <a:xfrm>
            <a:off x="332368" y="4115141"/>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78157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5: Title &amp; Content (8) &amp; Box">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EAB57985-67D2-4C2C-8135-28A8C8C9566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2"/>
          <p:cNvSpPr>
            <a:spLocks noGrp="1"/>
          </p:cNvSpPr>
          <p:nvPr>
            <p:ph sz="quarter" idx="25"/>
          </p:nvPr>
        </p:nvSpPr>
        <p:spPr bwMode="gray">
          <a:xfrm>
            <a:off x="332367" y="2317637"/>
            <a:ext cx="1739026" cy="14364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32"/>
          <p:cNvSpPr>
            <a:spLocks noGrp="1"/>
          </p:cNvSpPr>
          <p:nvPr>
            <p:ph sz="quarter" idx="26"/>
          </p:nvPr>
        </p:nvSpPr>
        <p:spPr bwMode="gray">
          <a:xfrm>
            <a:off x="332367" y="3925788"/>
            <a:ext cx="1739026" cy="14364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32"/>
          <p:cNvSpPr>
            <a:spLocks noGrp="1"/>
          </p:cNvSpPr>
          <p:nvPr>
            <p:ph sz="quarter" idx="27"/>
          </p:nvPr>
        </p:nvSpPr>
        <p:spPr bwMode="gray">
          <a:xfrm>
            <a:off x="6163300" y="2317636"/>
            <a:ext cx="1739026" cy="14364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2"/>
          <p:cNvSpPr>
            <a:spLocks noGrp="1"/>
          </p:cNvSpPr>
          <p:nvPr>
            <p:ph sz="quarter" idx="28"/>
          </p:nvPr>
        </p:nvSpPr>
        <p:spPr bwMode="gray">
          <a:xfrm>
            <a:off x="6163300" y="3925788"/>
            <a:ext cx="1739026" cy="14364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3"/>
          <p:cNvSpPr>
            <a:spLocks noGrp="1"/>
          </p:cNvSpPr>
          <p:nvPr>
            <p:ph sz="quarter" idx="18"/>
          </p:nvPr>
        </p:nvSpPr>
        <p:spPr bwMode="gray">
          <a:xfrm>
            <a:off x="2260482" y="2317636"/>
            <a:ext cx="3757436" cy="14364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3"/>
          <p:cNvSpPr>
            <a:spLocks noGrp="1"/>
          </p:cNvSpPr>
          <p:nvPr>
            <p:ph sz="quarter" idx="19"/>
          </p:nvPr>
        </p:nvSpPr>
        <p:spPr bwMode="gray">
          <a:xfrm>
            <a:off x="2260482" y="3925788"/>
            <a:ext cx="3757436" cy="1436400"/>
          </a:xfrm>
        </p:spPr>
        <p:txBody>
          <a:bodyPr lIns="0" tIns="0" rIns="0" bIns="0"/>
          <a:lstStyle>
            <a:lvl1pPr rtl="0">
              <a:defRPr b="1"/>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0"/>
          </p:nvPr>
        </p:nvSpPr>
        <p:spPr bwMode="gray">
          <a:xfrm>
            <a:off x="8093953" y="2317636"/>
            <a:ext cx="3759312" cy="14364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1"/>
          </p:nvPr>
        </p:nvSpPr>
        <p:spPr bwMode="gray">
          <a:xfrm>
            <a:off x="8093953" y="3925788"/>
            <a:ext cx="3759312" cy="1436400"/>
          </a:xfrm>
        </p:spPr>
        <p:txBody>
          <a:bodyPr lIns="0" tIns="0" rIns="0" bIns="0"/>
          <a:lstStyle>
            <a:lvl1pPr rtl="0">
              <a:defRPr b="1"/>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p:cNvSpPr>
            <a:spLocks noGrp="1"/>
          </p:cNvSpPr>
          <p:nvPr>
            <p:ph type="body" sz="quarter" idx="29"/>
          </p:nvPr>
        </p:nvSpPr>
        <p:spPr bwMode="gray">
          <a:xfrm>
            <a:off x="333264" y="5453066"/>
            <a:ext cx="11520000" cy="460375"/>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332368" y="3839912"/>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55863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030430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_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616036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377649" y="1931194"/>
            <a:ext cx="5475878"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7" y="1931194"/>
            <a:ext cx="5464536"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6" name="Chevron 5"/>
          <p:cNvSpPr/>
          <p:nvPr userDrawn="1"/>
        </p:nvSpPr>
        <p:spPr bwMode="gray">
          <a:xfrm>
            <a:off x="5519103" y="1931194"/>
            <a:ext cx="580746" cy="3980918"/>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Tree>
    <p:extLst>
      <p:ext uri="{BB962C8B-B14F-4D97-AF65-F5344CB8AC3E}">
        <p14:creationId xmlns:p14="http://schemas.microsoft.com/office/powerpoint/2010/main" val="7831870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7: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430994"/>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7" y="1931194"/>
            <a:ext cx="5603434" cy="3430994"/>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4"/>
            <a:ext cx="0" cy="343099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a:spLocks noGrp="1"/>
          </p:cNvSpPr>
          <p:nvPr>
            <p:ph type="body" sz="quarter" idx="29"/>
          </p:nvPr>
        </p:nvSpPr>
        <p:spPr bwMode="gray">
          <a:xfrm>
            <a:off x="332368" y="5453066"/>
            <a:ext cx="11520896" cy="460375"/>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dirty="0"/>
              <a:t>Click to edit Master text styles</a:t>
            </a:r>
          </a:p>
          <a:p>
            <a:pPr marL="0" lvl="1" indent="0" algn="ctr">
              <a:spcBef>
                <a:spcPts val="0"/>
              </a:spcBef>
              <a:buNone/>
            </a:pPr>
            <a:r>
              <a:rPr lang="en-US" dirty="0"/>
              <a:t>Second level</a:t>
            </a:r>
          </a:p>
          <a:p>
            <a:pPr marL="0" lvl="2" indent="0" algn="ctr">
              <a:spcBef>
                <a:spcPts val="0"/>
              </a:spcBef>
              <a:buNone/>
            </a:pPr>
            <a:r>
              <a:rPr lang="en-US" dirty="0"/>
              <a:t>Third level</a:t>
            </a:r>
          </a:p>
          <a:p>
            <a:pPr marL="0" lvl="3" indent="0" algn="ctr">
              <a:spcBef>
                <a:spcPts val="0"/>
              </a:spcBef>
              <a:buNone/>
            </a:pPr>
            <a:r>
              <a:rPr lang="en-US" dirty="0"/>
              <a:t>Fourth level</a:t>
            </a:r>
          </a:p>
          <a:p>
            <a:pPr marL="0" lvl="4" indent="0" algn="ctr">
              <a:spcBef>
                <a:spcPts val="0"/>
              </a:spcBef>
              <a:buNone/>
            </a:pPr>
            <a:r>
              <a:rPr lang="en-US" dirty="0"/>
              <a:t>Fifth level</a:t>
            </a:r>
          </a:p>
        </p:txBody>
      </p:sp>
    </p:spTree>
    <p:extLst>
      <p:ext uri="{BB962C8B-B14F-4D97-AF65-F5344CB8AC3E}">
        <p14:creationId xmlns:p14="http://schemas.microsoft.com/office/powerpoint/2010/main" val="2593049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8: Title (2)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43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gray">
          <a:xfrm>
            <a:off x="33343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0"/>
          </p:nvPr>
        </p:nvSpPr>
        <p:spPr bwMode="gray">
          <a:xfrm>
            <a:off x="6249107" y="2317638"/>
            <a:ext cx="5604420" cy="359447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7" y="2317638"/>
            <a:ext cx="5603434" cy="3594474"/>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951136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2" y="0"/>
            <a:ext cx="12192000" cy="4610100"/>
          </a:xfrm>
        </p:spPr>
        <p:txBody>
          <a:bodyPr/>
          <a:lstStyle/>
          <a:p>
            <a:r>
              <a:rPr lang="en-US"/>
              <a:t>Click icon to add picture</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3530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9: Title (2) &amp;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C4B2A68-D918-4286-96B0-6342B7A9B0CE}"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236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gray">
          <a:xfrm>
            <a:off x="33236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0"/>
          </p:nvPr>
        </p:nvSpPr>
        <p:spPr bwMode="gray">
          <a:xfrm>
            <a:off x="6248327" y="2317638"/>
            <a:ext cx="5605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5" y="2317638"/>
            <a:ext cx="5605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4" name="Straight Connector 13"/>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 Placeholder 7"/>
          <p:cNvSpPr>
            <a:spLocks noGrp="1"/>
          </p:cNvSpPr>
          <p:nvPr>
            <p:ph type="body" sz="quarter" idx="29"/>
          </p:nvPr>
        </p:nvSpPr>
        <p:spPr bwMode="gray">
          <a:xfrm>
            <a:off x="332583" y="5453066"/>
            <a:ext cx="11520682" cy="460375"/>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303183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0: Title (2) &amp; Content (2)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972E678C-17C0-4756-8034-8236E2D4136B}"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0"/>
          </p:nvPr>
        </p:nvSpPr>
        <p:spPr bwMode="gray">
          <a:xfrm>
            <a:off x="6248044" y="2317638"/>
            <a:ext cx="5605200" cy="359447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4" y="2317638"/>
            <a:ext cx="5605200" cy="359447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Gleichschenkliges Dreieck 46"/>
          <p:cNvSpPr/>
          <p:nvPr userDrawn="1"/>
        </p:nvSpPr>
        <p:spPr bwMode="gray">
          <a:xfrm rot="5400000">
            <a:off x="4334900" y="4088006"/>
            <a:ext cx="3523271" cy="124946"/>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16" name="Subtitle 2"/>
          <p:cNvSpPr>
            <a:spLocks noGrp="1"/>
          </p:cNvSpPr>
          <p:nvPr>
            <p:ph type="subTitle" idx="13"/>
          </p:nvPr>
        </p:nvSpPr>
        <p:spPr bwMode="gray">
          <a:xfrm>
            <a:off x="332367" y="1085213"/>
            <a:ext cx="1152087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801300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1: Title (2) &amp; Content (2) &amp; Box / Arrow">
    <p:spTree>
      <p:nvGrpSpPr>
        <p:cNvPr id="1" name=""/>
        <p:cNvGrpSpPr/>
        <p:nvPr/>
      </p:nvGrpSpPr>
      <p:grpSpPr>
        <a:xfrm>
          <a:off x="0" y="0"/>
          <a:ext cx="0" cy="0"/>
          <a:chOff x="0" y="0"/>
          <a:chExt cx="0" cy="0"/>
        </a:xfrm>
      </p:grpSpPr>
      <p:sp>
        <p:nvSpPr>
          <p:cNvPr id="16" name="Gleichschenkliges Dreieck 46"/>
          <p:cNvSpPr/>
          <p:nvPr userDrawn="1"/>
        </p:nvSpPr>
        <p:spPr bwMode="gray">
          <a:xfrm rot="5400000">
            <a:off x="4656514" y="3766499"/>
            <a:ext cx="2879662" cy="124579"/>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6DACDBD-1DFF-49BA-A724-30E3F02C142A}"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gray">
          <a:xfrm>
            <a:off x="33326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0"/>
          </p:nvPr>
        </p:nvSpPr>
        <p:spPr bwMode="gray">
          <a:xfrm>
            <a:off x="6248045" y="2317751"/>
            <a:ext cx="5605200" cy="295086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4" y="2317751"/>
            <a:ext cx="5605200" cy="295086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7"/>
          <p:cNvSpPr>
            <a:spLocks noGrp="1"/>
          </p:cNvSpPr>
          <p:nvPr>
            <p:ph type="body" sz="quarter" idx="29"/>
          </p:nvPr>
        </p:nvSpPr>
        <p:spPr bwMode="gray">
          <a:xfrm>
            <a:off x="332367" y="5453066"/>
            <a:ext cx="11521160" cy="460375"/>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18" name="Subtitle 2"/>
          <p:cNvSpPr>
            <a:spLocks noGrp="1"/>
          </p:cNvSpPr>
          <p:nvPr>
            <p:ph type="subTitle" idx="13"/>
          </p:nvPr>
        </p:nvSpPr>
        <p:spPr bwMode="gray">
          <a:xfrm>
            <a:off x="332367" y="1085213"/>
            <a:ext cx="1152116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650185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2: Title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C1783AD7-02E7-449A-B532-68934DEE5F31}"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0"/>
          </p:nvPr>
        </p:nvSpPr>
        <p:spPr bwMode="gray">
          <a:xfrm>
            <a:off x="6248045" y="1931195"/>
            <a:ext cx="5605200"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4" y="2317640"/>
            <a:ext cx="5605200" cy="3594475"/>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4" name="Straight Connector 23"/>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950615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3: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192249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6249107" y="3989616"/>
            <a:ext cx="5604420" cy="192249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3026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24: Title (3) &amp; Content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p:cNvSpPr>
            <a:spLocks noGrp="1"/>
          </p:cNvSpPr>
          <p:nvPr>
            <p:ph type="body" sz="quarter" idx="18"/>
          </p:nvPr>
        </p:nvSpPr>
        <p:spPr bwMode="gray">
          <a:xfrm>
            <a:off x="6248045"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15"/>
          <p:cNvSpPr>
            <a:spLocks noGrp="1"/>
          </p:cNvSpPr>
          <p:nvPr>
            <p:ph sz="quarter" idx="20"/>
          </p:nvPr>
        </p:nvSpPr>
        <p:spPr bwMode="gray">
          <a:xfrm>
            <a:off x="6248045" y="2318321"/>
            <a:ext cx="5605200" cy="1484195"/>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5"/>
          <p:cNvSpPr>
            <a:spLocks noGrp="1"/>
          </p:cNvSpPr>
          <p:nvPr>
            <p:ph sz="quarter" idx="19"/>
          </p:nvPr>
        </p:nvSpPr>
        <p:spPr bwMode="gray">
          <a:xfrm>
            <a:off x="333264" y="2317640"/>
            <a:ext cx="5605200" cy="3595121"/>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6C11801-1BEF-46D9-879F-590C601D8597}"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4432235"/>
            <a:ext cx="5605200" cy="148105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endParaRPr lang="en-US" dirty="0"/>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3083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5: Title (3) &amp; Content (3) &amp; Box">
    <p:spTree>
      <p:nvGrpSpPr>
        <p:cNvPr id="1" name=""/>
        <p:cNvGrpSpPr/>
        <p:nvPr/>
      </p:nvGrpSpPr>
      <p:grpSpPr>
        <a:xfrm>
          <a:off x="0" y="0"/>
          <a:ext cx="0" cy="0"/>
          <a:chOff x="0" y="0"/>
          <a:chExt cx="0" cy="0"/>
        </a:xfrm>
      </p:grpSpPr>
      <p:sp>
        <p:nvSpPr>
          <p:cNvPr id="27" name="Text Placeholder 11"/>
          <p:cNvSpPr>
            <a:spLocks noGrp="1"/>
          </p:cNvSpPr>
          <p:nvPr>
            <p:ph type="body" sz="quarter" idx="22"/>
          </p:nvPr>
        </p:nvSpPr>
        <p:spPr bwMode="gray">
          <a:xfrm>
            <a:off x="332366" y="5452639"/>
            <a:ext cx="11520877"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25" name="Content Placeholder 15"/>
          <p:cNvSpPr>
            <a:spLocks noGrp="1"/>
          </p:cNvSpPr>
          <p:nvPr>
            <p:ph sz="quarter" idx="20"/>
          </p:nvPr>
        </p:nvSpPr>
        <p:spPr bwMode="gray">
          <a:xfrm>
            <a:off x="6248043" y="2317641"/>
            <a:ext cx="5605200" cy="1053911"/>
          </a:xfrm>
        </p:spPr>
        <p:txBody>
          <a:bodyPr lIns="0" tIns="0" rIns="0" bIns="0"/>
          <a:lstStyle>
            <a:lvl1pPr>
              <a:defRPr sz="14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5"/>
          <p:cNvSpPr>
            <a:spLocks noGrp="1"/>
          </p:cNvSpPr>
          <p:nvPr>
            <p:ph sz="quarter" idx="19"/>
          </p:nvPr>
        </p:nvSpPr>
        <p:spPr bwMode="gray">
          <a:xfrm>
            <a:off x="333264" y="2317637"/>
            <a:ext cx="5605200" cy="2950978"/>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lang="en-US" sz="1600" kern="1200" dirty="0">
                <a:solidFill>
                  <a:schemeClr val="tx1"/>
                </a:solidFill>
                <a:latin typeface="+mn-lt"/>
                <a:ea typeface="+mn-ea"/>
                <a:cs typeface="+mn-cs"/>
              </a:defRPr>
            </a:lvl2pPr>
            <a:lvl3pPr marL="0" indent="0">
              <a:spcBef>
                <a:spcPts val="0"/>
              </a:spcBef>
              <a:buNone/>
              <a:defRPr lang="en-US" sz="1600" b="1" kern="1200" dirty="0">
                <a:solidFill>
                  <a:schemeClr val="tx2"/>
                </a:solidFill>
                <a:latin typeface="+mn-lt"/>
                <a:ea typeface="+mn-ea"/>
                <a:cs typeface="+mn-cs"/>
              </a:defRPr>
            </a:lvl3pPr>
            <a:lvl4pPr marL="285750" indent="-285750">
              <a:spcBef>
                <a:spcPts val="0"/>
              </a:spcBef>
              <a:buNone/>
              <a:defRPr sz="1600" b="1">
                <a:solidFill>
                  <a:schemeClr val="tx2"/>
                </a:solidFill>
              </a:defRPr>
            </a:lvl4pPr>
            <a:lvl5pPr marL="0" indent="0">
              <a:spcBef>
                <a:spcPts val="0"/>
              </a:spcBef>
              <a:buNone/>
              <a:defRPr lang="en-US" sz="1600" b="1" kern="1200" dirty="0">
                <a:solidFill>
                  <a:schemeClr val="tx2"/>
                </a:solidFill>
                <a:latin typeface="+mn-lt"/>
                <a:ea typeface="+mn-ea"/>
                <a:cs typeface="+mn-cs"/>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marL="0" lvl="2" indent="0" algn="l" defTabSz="914491" rtl="0" eaLnBrk="1" latinLnBrk="0" hangingPunct="1">
              <a:spcBef>
                <a:spcPts val="0"/>
              </a:spcBef>
              <a:buFont typeface="Arial" panose="020B0604020202020204" pitchFamily="34" charset="0"/>
              <a:buNone/>
            </a:pPr>
            <a:r>
              <a:rPr lang="en-US" dirty="0"/>
              <a:t>Second level</a:t>
            </a:r>
          </a:p>
          <a:p>
            <a:pPr marL="0" lvl="2" indent="0" algn="l" defTabSz="914491" rtl="0" eaLnBrk="1" latinLnBrk="0" hangingPunct="1">
              <a:spcBef>
                <a:spcPts val="0"/>
              </a:spcBef>
              <a:buFont typeface="Arial" panose="020B0604020202020204" pitchFamily="34" charset="0"/>
              <a:buNone/>
            </a:pPr>
            <a:r>
              <a:rPr lang="en-US" dirty="0"/>
              <a:t>Third level</a:t>
            </a:r>
          </a:p>
          <a:p>
            <a:pPr marL="0" lvl="4" indent="0" algn="l" defTabSz="914491" rtl="0" eaLnBrk="1" latinLnBrk="0" hangingPunct="1">
              <a:spcBef>
                <a:spcPts val="0"/>
              </a:spcBef>
              <a:buFont typeface="Arial" panose="020B0604020202020204" pitchFamily="34" charset="0"/>
              <a:buNone/>
            </a:pPr>
            <a:r>
              <a:rPr lang="en-US" dirty="0"/>
              <a:t>Fourth level</a:t>
            </a:r>
          </a:p>
          <a:p>
            <a:pPr lvl="4"/>
            <a:r>
              <a:rPr lang="en-US" dirty="0"/>
              <a:t>Fifth level</a:t>
            </a:r>
          </a:p>
        </p:txBody>
      </p:sp>
      <p:sp>
        <p:nvSpPr>
          <p:cNvPr id="22" name="Text Placeholder 11"/>
          <p:cNvSpPr>
            <a:spLocks noGrp="1"/>
          </p:cNvSpPr>
          <p:nvPr>
            <p:ph type="body" sz="quarter" idx="17"/>
          </p:nvPr>
        </p:nvSpPr>
        <p:spPr bwMode="gray">
          <a:xfrm>
            <a:off x="6248043"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p:cNvSpPr>
            <a:spLocks noGrp="1"/>
          </p:cNvSpPr>
          <p:nvPr>
            <p:ph type="body" sz="quarter" idx="18"/>
          </p:nvPr>
        </p:nvSpPr>
        <p:spPr bwMode="gray">
          <a:xfrm>
            <a:off x="6248043" y="383124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75ACC3D8-F658-404B-AC58-DFDEB860C833}"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3"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3" y="4135561"/>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3" y="4214707"/>
            <a:ext cx="5605200" cy="1053911"/>
          </a:xfrm>
        </p:spPr>
        <p:txBody>
          <a:bodyPr lIns="0" tIns="0" rIns="0" bIns="0"/>
          <a:lstStyle>
            <a:lvl1pPr>
              <a:defRPr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endParaRPr lang="en-US" dirty="0"/>
          </a:p>
        </p:txBody>
      </p:sp>
      <p:sp>
        <p:nvSpPr>
          <p:cNvPr id="19"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7" name="Straight Connector 36"/>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84002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6: Title &amp; Content (2)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2582" y="1931195"/>
            <a:ext cx="206420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0"/>
          </p:nvPr>
        </p:nvSpPr>
        <p:spPr bwMode="gray">
          <a:xfrm>
            <a:off x="2700027" y="1931195"/>
            <a:ext cx="9153500" cy="3980918"/>
          </a:xfrm>
        </p:spPr>
        <p:txBody>
          <a:bodyPr lIns="0" tIns="0" rIns="0" bIns="0"/>
          <a:lstStyle>
            <a:lvl1pPr>
              <a:defRPr lang="en-US" sz="1800" b="1" kern="1200" dirty="0">
                <a:solidFill>
                  <a:schemeClr val="tx2"/>
                </a:solidFill>
                <a:latin typeface="+mn-lt"/>
                <a:ea typeface="+mn-ea"/>
                <a:cs typeface="+mn-cs"/>
              </a:defRPr>
            </a:lvl1pPr>
            <a:lvl2pPr>
              <a:defRPr sz="1600"/>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582" y="2317640"/>
            <a:ext cx="2064201" cy="3594475"/>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6" name="Straight Connector 15"/>
          <p:cNvCxnSpPr/>
          <p:nvPr userDrawn="1"/>
        </p:nvCxnSpPr>
        <p:spPr bwMode="gray">
          <a:xfrm>
            <a:off x="333983" y="2238495"/>
            <a:ext cx="2062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2548405"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742614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5"/>
            <a:ext cx="4093766"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lang="en-US" sz="1800" b="1" kern="1200" dirty="0">
                <a:solidFill>
                  <a:schemeClr val="tx2"/>
                </a:solidFill>
                <a:latin typeface="+mn-lt"/>
                <a:ea typeface="+mn-ea"/>
                <a:cs typeface="+mn-cs"/>
              </a:defRPr>
            </a:lvl1pPr>
            <a:lvl2pPr>
              <a:defRPr sz="1600"/>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3" y="2317640"/>
            <a:ext cx="4093767" cy="3594475"/>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6" name="Straight Connector 15"/>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15138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3" y="1933576"/>
            <a:ext cx="4093767" cy="3978540"/>
          </a:xfrm>
        </p:spPr>
        <p:txBody>
          <a:bodyPr lIns="0" tIns="0" rIns="0" bIns="0"/>
          <a:lstStyle>
            <a:lvl1pPr>
              <a:defRPr lang="en-US" sz="1800" b="1" kern="1200" dirty="0">
                <a:solidFill>
                  <a:schemeClr val="tx2"/>
                </a:solidFill>
                <a:latin typeface="+mn-lt"/>
                <a:ea typeface="+mn-ea"/>
                <a:cs typeface="+mn-cs"/>
              </a:defRPr>
            </a:lvl1pPr>
            <a:lvl2pPr>
              <a:defRPr sz="1600"/>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4575980" y="1933576"/>
            <a:ext cx="0" cy="397853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981969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5: Divi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0"/>
            <a:ext cx="12198845" cy="6858000"/>
          </a:xfrm>
          <a:prstGeom prst="rect">
            <a:avLst/>
          </a:prstGeom>
        </p:spPr>
      </p:pic>
      <p:sp>
        <p:nvSpPr>
          <p:cNvPr id="10" name="Rectangle 9">
            <a:extLst>
              <a:ext uri="{FF2B5EF4-FFF2-40B4-BE49-F238E27FC236}">
                <a16:creationId xmlns:a16="http://schemas.microsoft.com/office/drawing/2014/main" id="{F54DE7E8-58C9-4B5A-B686-53E1B76B68C9}"/>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1"/>
                </a:solidFill>
              </a:rPr>
              <a:t>—</a:t>
            </a:r>
            <a:endParaRPr lang="en-US" sz="3200" b="1" dirty="0" err="1">
              <a:solidFill>
                <a:schemeClr val="bg1"/>
              </a:solidFill>
            </a:endParaRPr>
          </a:p>
        </p:txBody>
      </p:sp>
      <p:sp>
        <p:nvSpPr>
          <p:cNvPr id="9" name="Title 1">
            <a:extLst>
              <a:ext uri="{FF2B5EF4-FFF2-40B4-BE49-F238E27FC236}">
                <a16:creationId xmlns:a16="http://schemas.microsoft.com/office/drawing/2014/main" id="{26BA06A1-F808-4CBA-9D28-8D357F795D4C}"/>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F7CD425E-9028-4049-A9A0-DC6F9DF08061}"/>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83033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8: Title (3) &amp; Content (3)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4093767" cy="252000"/>
          </a:xfrm>
        </p:spPr>
        <p:txBody>
          <a:bodyPr lIns="0" tIns="0" rIns="0" anchor="t"/>
          <a:lstStyle>
            <a:lvl1pPr marL="0" indent="0">
              <a:spcBef>
                <a:spcPts val="0"/>
              </a:spcBef>
              <a:buFont typeface="Arial" panose="020B0604020202020204" pitchFamily="34" charset="0"/>
              <a:buNone/>
              <a:defRPr sz="18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1"/>
          <p:cNvSpPr>
            <a:spLocks noGrp="1"/>
          </p:cNvSpPr>
          <p:nvPr>
            <p:ph type="body" sz="quarter" idx="17"/>
          </p:nvPr>
        </p:nvSpPr>
        <p:spPr bwMode="gray">
          <a:xfrm>
            <a:off x="4724453" y="1931194"/>
            <a:ext cx="7128811"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p:cNvSpPr>
            <a:spLocks noGrp="1"/>
          </p:cNvSpPr>
          <p:nvPr>
            <p:ph type="body" sz="quarter" idx="18"/>
          </p:nvPr>
        </p:nvSpPr>
        <p:spPr bwMode="gray">
          <a:xfrm>
            <a:off x="4724453" y="4042705"/>
            <a:ext cx="7128811"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15"/>
          <p:cNvSpPr>
            <a:spLocks noGrp="1"/>
          </p:cNvSpPr>
          <p:nvPr>
            <p:ph sz="quarter" idx="20"/>
          </p:nvPr>
        </p:nvSpPr>
        <p:spPr bwMode="gray">
          <a:xfrm>
            <a:off x="4724453" y="2317638"/>
            <a:ext cx="7128811" cy="148354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5"/>
          <p:cNvSpPr>
            <a:spLocks noGrp="1"/>
          </p:cNvSpPr>
          <p:nvPr>
            <p:ph sz="quarter" idx="19"/>
          </p:nvPr>
        </p:nvSpPr>
        <p:spPr bwMode="gray">
          <a:xfrm>
            <a:off x="333264" y="2317638"/>
            <a:ext cx="4094665" cy="3594474"/>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21D0314D-AAD8-43AE-987E-1CD311B19016}"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11" name="Straight Connector 9"/>
          <p:cNvCxnSpPr/>
          <p:nvPr userDrawn="1"/>
        </p:nvCxnSpPr>
        <p:spPr bwMode="gray">
          <a:xfrm>
            <a:off x="4725264"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4725264" y="4349421"/>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4724453" y="4428564"/>
            <a:ext cx="7128811" cy="148354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endParaRPr lang="en-US" dirty="0"/>
          </a:p>
        </p:txBody>
      </p:sp>
      <p:sp>
        <p:nvSpPr>
          <p:cNvPr id="20"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7" name="Straight Connector 36"/>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1" name="Straight Connector 40"/>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37651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9: Title (3) &amp; Content (3) &amp; Box 3">
    <p:spTree>
      <p:nvGrpSpPr>
        <p:cNvPr id="1" name=""/>
        <p:cNvGrpSpPr/>
        <p:nvPr/>
      </p:nvGrpSpPr>
      <p:grpSpPr>
        <a:xfrm>
          <a:off x="0" y="0"/>
          <a:ext cx="0" cy="0"/>
          <a:chOff x="0" y="0"/>
          <a:chExt cx="0" cy="0"/>
        </a:xfrm>
      </p:grpSpPr>
      <p:cxnSp>
        <p:nvCxnSpPr>
          <p:cNvPr id="42" name="Straight Connector 41"/>
          <p:cNvCxnSpPr/>
          <p:nvPr userDrawn="1"/>
        </p:nvCxnSpPr>
        <p:spPr bwMode="gray">
          <a:xfrm>
            <a:off x="457598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 Placeholder 11"/>
          <p:cNvSpPr>
            <a:spLocks noGrp="1"/>
          </p:cNvSpPr>
          <p:nvPr>
            <p:ph type="body" sz="quarter" idx="22"/>
          </p:nvPr>
        </p:nvSpPr>
        <p:spPr bwMode="gray">
          <a:xfrm>
            <a:off x="332366" y="5452639"/>
            <a:ext cx="11521161"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25" name="Content Placeholder 15"/>
          <p:cNvSpPr>
            <a:spLocks noGrp="1"/>
          </p:cNvSpPr>
          <p:nvPr>
            <p:ph sz="quarter" idx="20"/>
          </p:nvPr>
        </p:nvSpPr>
        <p:spPr bwMode="gray">
          <a:xfrm>
            <a:off x="4724930" y="2317641"/>
            <a:ext cx="7128597" cy="1053911"/>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5"/>
          <p:cNvSpPr>
            <a:spLocks noGrp="1"/>
          </p:cNvSpPr>
          <p:nvPr>
            <p:ph sz="quarter" idx="19"/>
          </p:nvPr>
        </p:nvSpPr>
        <p:spPr bwMode="gray">
          <a:xfrm>
            <a:off x="333264" y="2317638"/>
            <a:ext cx="4094664" cy="2950979"/>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6"/>
          </p:nvPr>
        </p:nvSpPr>
        <p:spPr bwMode="gray">
          <a:xfrm>
            <a:off x="332367" y="1931193"/>
            <a:ext cx="4094664"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1"/>
          <p:cNvSpPr>
            <a:spLocks noGrp="1"/>
          </p:cNvSpPr>
          <p:nvPr>
            <p:ph type="body" sz="quarter" idx="17"/>
          </p:nvPr>
        </p:nvSpPr>
        <p:spPr bwMode="gray">
          <a:xfrm>
            <a:off x="4724930" y="1931193"/>
            <a:ext cx="7129297"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p:cNvSpPr>
            <a:spLocks noGrp="1"/>
          </p:cNvSpPr>
          <p:nvPr>
            <p:ph type="body" sz="quarter" idx="18"/>
          </p:nvPr>
        </p:nvSpPr>
        <p:spPr bwMode="gray">
          <a:xfrm>
            <a:off x="4724930" y="3831247"/>
            <a:ext cx="7129297"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C3EC54A-C632-4B8A-8DD8-4163ADA26599}"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28" name="Content Placeholder 15"/>
          <p:cNvSpPr>
            <a:spLocks noGrp="1"/>
          </p:cNvSpPr>
          <p:nvPr>
            <p:ph sz="quarter" idx="21"/>
          </p:nvPr>
        </p:nvSpPr>
        <p:spPr bwMode="gray">
          <a:xfrm>
            <a:off x="4724930" y="4214707"/>
            <a:ext cx="7128597" cy="1053911"/>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9" name="Straight Connector 9"/>
          <p:cNvCxnSpPr/>
          <p:nvPr userDrawn="1"/>
        </p:nvCxnSpPr>
        <p:spPr bwMode="gray">
          <a:xfrm>
            <a:off x="4724930"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4727528" y="4136597"/>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en-US" dirty="0"/>
          </a:p>
        </p:txBody>
      </p:sp>
      <p:sp>
        <p:nvSpPr>
          <p:cNvPr id="20"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45" name="Straight Connector 44"/>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959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094DB61-25C8-4EF5-ACA6-394B43063948}"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184"/>
            <a:ext cx="3643200" cy="3594931"/>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5"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7184"/>
            <a:ext cx="3643200" cy="3594931"/>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184"/>
            <a:ext cx="3643200" cy="3594931"/>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5" name="Straight Connector 34"/>
          <p:cNvCxnSpPr/>
          <p:nvPr userDrawn="1"/>
        </p:nvCxnSpPr>
        <p:spPr bwMode="gray">
          <a:xfrm>
            <a:off x="4124130"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2"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089474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094DB61-25C8-4EF5-ACA6-394B43063948}"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2"/>
            <a:ext cx="3643200" cy="488157"/>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0" lvl="0" indent="0" algn="l" defTabSz="914491" rtl="0" eaLnBrk="1" latinLnBrk="0" hangingPunct="1">
              <a:spcBef>
                <a:spcPts val="0"/>
              </a:spcBef>
              <a:buFont typeface="Arial" panose="020B0604020202020204" pitchFamily="34" charset="0"/>
              <a:buNone/>
            </a:pPr>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gray">
          <a:xfrm>
            <a:off x="333264" y="25432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667000"/>
            <a:ext cx="3643200" cy="3245115"/>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4271795" y="1931193"/>
            <a:ext cx="3643200" cy="488156"/>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0" lvl="0" indent="0" algn="l" defTabSz="914491" rtl="0" eaLnBrk="1" latinLnBrk="0" hangingPunct="1">
              <a:spcBef>
                <a:spcPts val="0"/>
              </a:spcBef>
              <a:buFont typeface="Arial" panose="020B0604020202020204" pitchFamily="34" charset="0"/>
              <a:buNone/>
            </a:pPr>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5" y="25432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667000"/>
            <a:ext cx="3643200" cy="3245115"/>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8210327" y="1931193"/>
            <a:ext cx="3643200" cy="488156"/>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0" lvl="0" indent="0" algn="l" defTabSz="914491" rtl="0" eaLnBrk="1" latinLnBrk="0" hangingPunct="1">
              <a:spcBef>
                <a:spcPts val="0"/>
              </a:spcBef>
              <a:buFont typeface="Arial" panose="020B0604020202020204" pitchFamily="34" charset="0"/>
              <a:buNone/>
            </a:pPr>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5432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667000"/>
            <a:ext cx="3643200" cy="3245115"/>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5" name="Straight Connector 34"/>
          <p:cNvCxnSpPr/>
          <p:nvPr userDrawn="1"/>
        </p:nvCxnSpPr>
        <p:spPr bwMode="gray">
          <a:xfrm>
            <a:off x="4124130" y="2667000"/>
            <a:ext cx="0" cy="3248027"/>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2" y="2667000"/>
            <a:ext cx="0" cy="3248027"/>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049939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1: Title (3) &amp; Content (3) &amp; Box 2">
    <p:spTree>
      <p:nvGrpSpPr>
        <p:cNvPr id="1" name=""/>
        <p:cNvGrpSpPr/>
        <p:nvPr/>
      </p:nvGrpSpPr>
      <p:grpSpPr>
        <a:xfrm>
          <a:off x="0" y="0"/>
          <a:ext cx="0" cy="0"/>
          <a:chOff x="0" y="0"/>
          <a:chExt cx="0" cy="0"/>
        </a:xfrm>
      </p:grpSpPr>
      <p:sp>
        <p:nvSpPr>
          <p:cNvPr id="18" name="Text Placeholder 17"/>
          <p:cNvSpPr>
            <a:spLocks noGrp="1"/>
          </p:cNvSpPr>
          <p:nvPr>
            <p:ph type="body" sz="quarter" idx="28"/>
          </p:nvPr>
        </p:nvSpPr>
        <p:spPr bwMode="gray">
          <a:xfrm>
            <a:off x="333264" y="5452639"/>
            <a:ext cx="11520263"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6B2BC20-ABC6-478C-8E1B-2165F3667B3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4" name="Straight Connector 33"/>
          <p:cNvCxnSpPr/>
          <p:nvPr userDrawn="1"/>
        </p:nvCxnSpPr>
        <p:spPr bwMode="gray">
          <a:xfrm>
            <a:off x="412413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06266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08807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176D1A0-7D36-42FE-8B65-73ABE00A4B81}"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gray">
          <a:xfrm>
            <a:off x="333264"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359379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6"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8318"/>
            <a:ext cx="3643200" cy="359379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8318"/>
            <a:ext cx="3643200" cy="359379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667007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176D1A0-7D36-42FE-8B65-73ABE00A4B81}"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3"/>
          </p:nvPr>
        </p:nvSpPr>
        <p:spPr bwMode="gray">
          <a:xfrm>
            <a:off x="333264" y="3666859"/>
            <a:ext cx="3643200" cy="2244572"/>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5"/>
          </p:nvPr>
        </p:nvSpPr>
        <p:spPr bwMode="gray">
          <a:xfrm>
            <a:off x="4271796" y="3667539"/>
            <a:ext cx="3643200" cy="2244572"/>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p:cNvSpPr>
            <a:spLocks noGrp="1"/>
          </p:cNvSpPr>
          <p:nvPr>
            <p:ph sz="quarter" idx="27"/>
          </p:nvPr>
        </p:nvSpPr>
        <p:spPr bwMode="gray">
          <a:xfrm>
            <a:off x="8210327" y="3667539"/>
            <a:ext cx="3643200" cy="2244572"/>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7" name="Content Placeholder 3"/>
          <p:cNvSpPr>
            <a:spLocks noGrp="1"/>
          </p:cNvSpPr>
          <p:nvPr>
            <p:ph sz="quarter" idx="28"/>
          </p:nvPr>
        </p:nvSpPr>
        <p:spPr bwMode="gray">
          <a:xfrm>
            <a:off x="332367" y="1936207"/>
            <a:ext cx="3643200" cy="1612063"/>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3"/>
          <p:cNvSpPr>
            <a:spLocks noGrp="1"/>
          </p:cNvSpPr>
          <p:nvPr>
            <p:ph sz="quarter" idx="29"/>
          </p:nvPr>
        </p:nvSpPr>
        <p:spPr bwMode="gray">
          <a:xfrm>
            <a:off x="4270899" y="1936887"/>
            <a:ext cx="3643200" cy="1612063"/>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30"/>
          </p:nvPr>
        </p:nvSpPr>
        <p:spPr bwMode="gray">
          <a:xfrm>
            <a:off x="8209430" y="1936887"/>
            <a:ext cx="3643200" cy="1612063"/>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2069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33: Title (3) &amp; Content (3) &amp; Box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E78EC23C-A2EE-4E37-B3CA-EB5FB6E0A626}"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17"/>
          <p:cNvSpPr>
            <a:spLocks noGrp="1"/>
          </p:cNvSpPr>
          <p:nvPr>
            <p:ph type="body" sz="quarter" idx="28"/>
          </p:nvPr>
        </p:nvSpPr>
        <p:spPr bwMode="gray">
          <a:xfrm>
            <a:off x="332581" y="5452639"/>
            <a:ext cx="11520683"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9" name="Gleichschenkliges Dreieck 46"/>
          <p:cNvSpPr/>
          <p:nvPr userDrawn="1"/>
        </p:nvSpPr>
        <p:spPr bwMode="gray">
          <a:xfrm rot="5400000">
            <a:off x="6622950" y="3766612"/>
            <a:ext cx="2879092"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24" name="Gleichschenkliges Dreieck 46"/>
          <p:cNvSpPr/>
          <p:nvPr userDrawn="1"/>
        </p:nvSpPr>
        <p:spPr bwMode="gray">
          <a:xfrm rot="5400000">
            <a:off x="2684564" y="3769521"/>
            <a:ext cx="2879093"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3481677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34: Title (3) &amp; Content (6)">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2"/>
            <a:ext cx="3643200" cy="1692493"/>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lvl1pPr>
              <a:defRPr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3"/>
          </p:nvPr>
        </p:nvSpPr>
        <p:spPr bwMode="gray">
          <a:xfrm>
            <a:off x="333264" y="4239659"/>
            <a:ext cx="3643200" cy="1673783"/>
          </a:xfrm>
        </p:spPr>
        <p:txBody>
          <a:bodyPr lIns="0" tIns="0" rIns="0" bIns="0"/>
          <a:lstStyle>
            <a:lvl1pPr>
              <a:defRPr lang="en-US" sz="1800" b="1" kern="1200" dirty="0">
                <a:solidFill>
                  <a:schemeClr val="tx2"/>
                </a:solidFill>
                <a:latin typeface="+mn-lt"/>
                <a:ea typeface="+mn-ea"/>
                <a:cs typeface="+mn-cs"/>
              </a:defRPr>
            </a:lvl1pPr>
            <a:lvl2pPr>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5"/>
          </p:nvPr>
        </p:nvSpPr>
        <p:spPr bwMode="gray">
          <a:xfrm>
            <a:off x="4271796" y="4239659"/>
            <a:ext cx="3643200" cy="1673783"/>
          </a:xfrm>
        </p:spPr>
        <p:txBody>
          <a:bodyPr lIns="0" tIns="0" rIns="0" bIns="0"/>
          <a:lstStyle>
            <a:lvl1pPr>
              <a:defRPr lang="en-US" sz="1800" b="1" kern="1200" dirty="0">
                <a:solidFill>
                  <a:schemeClr val="tx2"/>
                </a:solidFill>
                <a:latin typeface="+mn-lt"/>
                <a:ea typeface="+mn-ea"/>
                <a:cs typeface="+mn-cs"/>
              </a:defRPr>
            </a:lvl1pPr>
            <a:lvl2pPr>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p:cNvSpPr>
            <a:spLocks noGrp="1"/>
          </p:cNvSpPr>
          <p:nvPr>
            <p:ph sz="quarter" idx="27"/>
          </p:nvPr>
        </p:nvSpPr>
        <p:spPr bwMode="gray">
          <a:xfrm>
            <a:off x="8210327" y="4239659"/>
            <a:ext cx="3643200" cy="1673783"/>
          </a:xfrm>
        </p:spPr>
        <p:txBody>
          <a:bodyPr lIns="0" tIns="0" rIns="0" bIns="0"/>
          <a:lstStyle>
            <a:lvl1pPr>
              <a:defRPr lang="en-US" sz="1800" b="1" kern="1200" dirty="0">
                <a:solidFill>
                  <a:schemeClr val="tx2"/>
                </a:solidFill>
                <a:latin typeface="+mn-lt"/>
                <a:ea typeface="+mn-ea"/>
                <a:cs typeface="+mn-cs"/>
              </a:defRPr>
            </a:lvl1pPr>
            <a:lvl2pPr>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B49FC10-E749-4C4C-8DA8-5C5C82B618BE}"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lang="en-US" sz="1600" kern="1200" dirty="0">
                <a:solidFill>
                  <a:schemeClr val="tx1"/>
                </a:solidFill>
                <a:latin typeface="+mn-lt"/>
                <a:ea typeface="+mn-ea"/>
                <a:cs typeface="+mn-cs"/>
              </a:defRPr>
            </a:lvl2pPr>
            <a:lvl3pPr marL="0" indent="0">
              <a:spcBef>
                <a:spcPts val="0"/>
              </a:spcBef>
              <a:buNone/>
              <a:defRPr lang="en-US" sz="1600" b="1" kern="1200" dirty="0">
                <a:solidFill>
                  <a:schemeClr val="tx2"/>
                </a:solidFill>
                <a:latin typeface="+mn-lt"/>
                <a:ea typeface="+mn-ea"/>
                <a:cs typeface="+mn-cs"/>
              </a:defRPr>
            </a:lvl3pPr>
            <a:lvl4pPr marL="285750" indent="-285750">
              <a:spcBef>
                <a:spcPts val="0"/>
              </a:spcBef>
              <a:buNone/>
              <a:defRPr sz="1600" b="1">
                <a:solidFill>
                  <a:schemeClr val="tx2"/>
                </a:solidFill>
              </a:defRPr>
            </a:lvl4pPr>
            <a:lvl5pPr marL="0" indent="0">
              <a:spcBef>
                <a:spcPts val="0"/>
              </a:spcBef>
              <a:buNone/>
              <a:defRPr lang="en-US" sz="1600" b="1" kern="1200" dirty="0">
                <a:solidFill>
                  <a:schemeClr val="tx2"/>
                </a:solidFill>
                <a:latin typeface="+mn-lt"/>
                <a:ea typeface="+mn-ea"/>
                <a:cs typeface="+mn-cs"/>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0" lvl="2" indent="0" algn="l" defTabSz="914491" rtl="0" eaLnBrk="1" latinLnBrk="0" hangingPunct="1">
              <a:spcBef>
                <a:spcPts val="0"/>
              </a:spcBef>
              <a:buFont typeface="Arial" panose="020B0604020202020204" pitchFamily="34" charset="0"/>
              <a:buNone/>
            </a:pPr>
            <a:r>
              <a:rPr lang="en-US" dirty="0"/>
              <a:t>Second level</a:t>
            </a:r>
          </a:p>
          <a:p>
            <a:pPr lvl="2"/>
            <a:r>
              <a:rPr lang="en-US" dirty="0"/>
              <a:t>Third level</a:t>
            </a:r>
          </a:p>
          <a:p>
            <a:pPr marL="0" lvl="4" indent="0" algn="l" defTabSz="914491" rtl="0" eaLnBrk="1" latinLnBrk="0" hangingPunct="1">
              <a:spcBef>
                <a:spcPts val="0"/>
              </a:spcBef>
              <a:buFont typeface="Arial" panose="020B0604020202020204" pitchFamily="34" charset="0"/>
              <a:buNone/>
            </a:pPr>
            <a:r>
              <a:rPr lang="en-US" dirty="0"/>
              <a:t>Fourth level</a:t>
            </a:r>
          </a:p>
          <a:p>
            <a:pPr lvl="4"/>
            <a:r>
              <a:rPr lang="en-US" dirty="0"/>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693206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35: Title (3) &amp; Content (6) &amp; Box">
    <p:spTree>
      <p:nvGrpSpPr>
        <p:cNvPr id="1" name=""/>
        <p:cNvGrpSpPr/>
        <p:nvPr/>
      </p:nvGrpSpPr>
      <p:grpSpPr>
        <a:xfrm>
          <a:off x="0" y="0"/>
          <a:ext cx="0" cy="0"/>
          <a:chOff x="0" y="0"/>
          <a:chExt cx="0" cy="0"/>
        </a:xfrm>
      </p:grpSpPr>
      <p:sp>
        <p:nvSpPr>
          <p:cNvPr id="28" name="Content Placeholder 3"/>
          <p:cNvSpPr>
            <a:spLocks noGrp="1"/>
          </p:cNvSpPr>
          <p:nvPr>
            <p:ph sz="quarter" idx="28" hasCustomPrompt="1"/>
          </p:nvPr>
        </p:nvSpPr>
        <p:spPr bwMode="gray">
          <a:xfrm>
            <a:off x="333264" y="2317751"/>
            <a:ext cx="3643200" cy="1692493"/>
          </a:xfrm>
        </p:spPr>
        <p:txBody>
          <a:bodyPr lIns="0" tIns="0" rIns="0" bIns="0"/>
          <a:lstStyle>
            <a:lvl1pPr>
              <a:defRPr sz="1600" b="1"/>
            </a:lvl1pPr>
            <a:lvl2pPr>
              <a:defRPr sz="1600"/>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3"/>
          </p:nvPr>
        </p:nvSpPr>
        <p:spPr bwMode="gray">
          <a:xfrm>
            <a:off x="333264" y="4239659"/>
            <a:ext cx="3643200" cy="1028959"/>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5"/>
          </p:nvPr>
        </p:nvSpPr>
        <p:spPr bwMode="gray">
          <a:xfrm>
            <a:off x="4271796" y="4239659"/>
            <a:ext cx="3643200" cy="1028959"/>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p:cNvSpPr>
            <a:spLocks noGrp="1"/>
          </p:cNvSpPr>
          <p:nvPr>
            <p:ph sz="quarter" idx="27"/>
          </p:nvPr>
        </p:nvSpPr>
        <p:spPr bwMode="gray">
          <a:xfrm>
            <a:off x="8210327" y="4239659"/>
            <a:ext cx="3643200" cy="1028959"/>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A15E654D-F1FE-47BD-AEB4-A952F2E268AF}"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1"/>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1"/>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1"/>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ext Placeholder 17"/>
          <p:cNvSpPr>
            <a:spLocks noGrp="1"/>
          </p:cNvSpPr>
          <p:nvPr>
            <p:ph type="body" sz="quarter" idx="31"/>
          </p:nvPr>
        </p:nvSpPr>
        <p:spPr bwMode="gray">
          <a:xfrm>
            <a:off x="333264" y="5452639"/>
            <a:ext cx="11520000"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24"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371182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884551-BCA1-4427-92BF-DB5CAA0DDF08}"/>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sp>
        <p:nvSpPr>
          <p:cNvPr id="5" name="Title 1">
            <a:extLst>
              <a:ext uri="{FF2B5EF4-FFF2-40B4-BE49-F238E27FC236}">
                <a16:creationId xmlns:a16="http://schemas.microsoft.com/office/drawing/2014/main" id="{FAC380CA-95DB-45F2-99D5-3A1E2DF54CD3}"/>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tx1"/>
                </a:solidFill>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EE182003-2699-4135-A685-461A4D33947D}"/>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87046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332367" y="3989616"/>
            <a:ext cx="2655682" cy="192249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55" y="1931194"/>
            <a:ext cx="2655214" cy="1922496"/>
          </a:xfrm>
        </p:spPr>
        <p:txBody>
          <a:bodyPr lIns="0" tIns="0" rIns="0" bIns="0"/>
          <a:lstStyle>
            <a:lvl1pPr>
              <a:defRPr lang="en-US" sz="1800" b="1" kern="1200" dirty="0">
                <a:solidFill>
                  <a:schemeClr val="tx2"/>
                </a:solidFill>
                <a:latin typeface="+mn-lt"/>
                <a:ea typeface="+mn-ea"/>
                <a:cs typeface="+mn-cs"/>
              </a:defRPr>
            </a:lvl1pPr>
            <a:lvl2pPr>
              <a:defRPr sz="1600"/>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3989616"/>
            <a:ext cx="2655682" cy="192249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3"/>
          </p:nvPr>
        </p:nvSpPr>
        <p:spPr bwMode="gray">
          <a:xfrm>
            <a:off x="9198313" y="1931194"/>
            <a:ext cx="2655214" cy="192249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4194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338137" y="4608121"/>
            <a:ext cx="2655682" cy="1288854"/>
          </a:xfrm>
        </p:spPr>
        <p:txBody>
          <a:bodyPr lIns="0" tIns="0" rIns="0" bIns="0"/>
          <a:lstStyle>
            <a:lvl1pPr>
              <a:defRPr sz="1400" b="1">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43113" y="1931195"/>
            <a:ext cx="2655214" cy="1302804"/>
          </a:xfrm>
        </p:spPr>
        <p:txBody>
          <a:bodyPr lIns="0" tIns="0" rIns="0" bIns="0"/>
          <a:lstStyle>
            <a:lvl1pPr>
              <a:defRPr sz="1400" b="1">
                <a:solidFill>
                  <a:schemeClr val="tx2"/>
                </a:solidFill>
              </a:defRPr>
            </a:lvl1pPr>
            <a:lvl2pPr>
              <a:defRPr sz="14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lang="en-US" sz="1800" b="1" kern="1200" dirty="0">
                <a:solidFill>
                  <a:schemeClr val="tx2"/>
                </a:solidFill>
                <a:latin typeface="+mn-lt"/>
                <a:ea typeface="+mn-ea"/>
                <a:cs typeface="+mn-cs"/>
              </a:defRPr>
            </a:lvl1pPr>
            <a:lvl2pPr>
              <a:defRPr sz="1600"/>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4608120"/>
            <a:ext cx="2655682" cy="1303991"/>
          </a:xfrm>
        </p:spPr>
        <p:txBody>
          <a:bodyPr lIns="0" tIns="0" rIns="0" bIns="0"/>
          <a:lstStyle>
            <a:lvl1pPr>
              <a:defRPr lang="en-US" sz="1400" b="1" kern="1200" dirty="0">
                <a:solidFill>
                  <a:schemeClr val="tx2"/>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3"/>
          </p:nvPr>
        </p:nvSpPr>
        <p:spPr bwMode="gray">
          <a:xfrm>
            <a:off x="9198313" y="1931194"/>
            <a:ext cx="2655214" cy="1302805"/>
          </a:xfrm>
        </p:spPr>
        <p:txBody>
          <a:bodyPr lIns="0" tIns="0" rIns="0" bIns="0"/>
          <a:lstStyle>
            <a:lvl1pPr>
              <a:defRPr lang="en-US" sz="1400" b="1" kern="1200" dirty="0">
                <a:solidFill>
                  <a:schemeClr val="tx2"/>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3"/>
          <p:cNvSpPr>
            <a:spLocks noGrp="1"/>
          </p:cNvSpPr>
          <p:nvPr>
            <p:ph sz="quarter" idx="24"/>
          </p:nvPr>
        </p:nvSpPr>
        <p:spPr bwMode="gray">
          <a:xfrm>
            <a:off x="338137" y="3271451"/>
            <a:ext cx="2655214" cy="1289792"/>
          </a:xfrm>
        </p:spPr>
        <p:txBody>
          <a:bodyPr lIns="0" tIns="0" rIns="0" bIns="0"/>
          <a:lstStyle>
            <a:lvl1pPr>
              <a:defRPr lang="en-US" sz="1400" b="1" kern="1200" dirty="0">
                <a:solidFill>
                  <a:schemeClr val="tx2"/>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3"/>
          <p:cNvSpPr>
            <a:spLocks noGrp="1"/>
          </p:cNvSpPr>
          <p:nvPr>
            <p:ph sz="quarter" idx="25"/>
          </p:nvPr>
        </p:nvSpPr>
        <p:spPr bwMode="gray">
          <a:xfrm>
            <a:off x="9197845" y="3275702"/>
            <a:ext cx="2655214" cy="1302805"/>
          </a:xfrm>
        </p:spPr>
        <p:txBody>
          <a:bodyPr lIns="0" tIns="0" rIns="0" bIns="0"/>
          <a:lstStyle>
            <a:lvl1pPr>
              <a:defRPr lang="en-US" sz="1400" b="1" kern="1200" dirty="0">
                <a:solidFill>
                  <a:schemeClr val="tx2"/>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92563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79F5AED-CDE6-4CF9-A19E-ACD3A4FD6C29}"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3"/>
          </p:nvPr>
        </p:nvSpPr>
        <p:spPr bwMode="gray">
          <a:xfrm>
            <a:off x="333264" y="2317638"/>
            <a:ext cx="2656800" cy="3594474"/>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5"/>
          </p:nvPr>
        </p:nvSpPr>
        <p:spPr bwMode="gray">
          <a:xfrm>
            <a:off x="3287752" y="2317638"/>
            <a:ext cx="2656800" cy="359447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p:cNvSpPr>
            <a:spLocks noGrp="1"/>
          </p:cNvSpPr>
          <p:nvPr>
            <p:ph sz="quarter" idx="27"/>
          </p:nvPr>
        </p:nvSpPr>
        <p:spPr bwMode="gray">
          <a:xfrm>
            <a:off x="6242240" y="2317638"/>
            <a:ext cx="2656800" cy="359447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p:cNvCxnSpPr/>
          <p:nvPr userDrawn="1"/>
        </p:nvCxnSpPr>
        <p:spPr bwMode="gray">
          <a:xfrm>
            <a:off x="333264"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p:cNvSpPr>
            <a:spLocks noGrp="1"/>
          </p:cNvSpPr>
          <p:nvPr>
            <p:ph sz="quarter" idx="29"/>
          </p:nvPr>
        </p:nvSpPr>
        <p:spPr bwMode="gray">
          <a:xfrm>
            <a:off x="9196727" y="2317638"/>
            <a:ext cx="2656800" cy="359447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41" name="Straight Connector 40"/>
          <p:cNvCxnSpPr/>
          <p:nvPr userDrawn="1"/>
        </p:nvCxnSpPr>
        <p:spPr bwMode="gray">
          <a:xfrm>
            <a:off x="3138908"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2" name="Straight Connector 41"/>
          <p:cNvCxnSpPr/>
          <p:nvPr userDrawn="1"/>
        </p:nvCxnSpPr>
        <p:spPr bwMode="gray">
          <a:xfrm>
            <a:off x="9047884"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6093396"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53480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3"/>
          </p:nvPr>
        </p:nvSpPr>
        <p:spPr bwMode="gray">
          <a:xfrm>
            <a:off x="333264" y="2317752"/>
            <a:ext cx="2656800" cy="295086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5"/>
          </p:nvPr>
        </p:nvSpPr>
        <p:spPr bwMode="gray">
          <a:xfrm>
            <a:off x="3287752" y="2317752"/>
            <a:ext cx="2656800" cy="295086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p:cNvSpPr>
            <a:spLocks noGrp="1"/>
          </p:cNvSpPr>
          <p:nvPr>
            <p:ph sz="quarter" idx="27"/>
          </p:nvPr>
        </p:nvSpPr>
        <p:spPr bwMode="gray">
          <a:xfrm>
            <a:off x="6242240" y="2317752"/>
            <a:ext cx="2656800" cy="295086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p:cNvCxnSpPr/>
          <p:nvPr userDrawn="1"/>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p:cNvSpPr>
            <a:spLocks noGrp="1"/>
          </p:cNvSpPr>
          <p:nvPr>
            <p:ph sz="quarter" idx="29"/>
          </p:nvPr>
        </p:nvSpPr>
        <p:spPr bwMode="gray">
          <a:xfrm>
            <a:off x="9196727" y="2317752"/>
            <a:ext cx="2656800" cy="295086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17"/>
          <p:cNvSpPr>
            <a:spLocks noGrp="1"/>
          </p:cNvSpPr>
          <p:nvPr>
            <p:ph type="body" sz="quarter" idx="30"/>
          </p:nvPr>
        </p:nvSpPr>
        <p:spPr bwMode="gray">
          <a:xfrm>
            <a:off x="332366" y="5452639"/>
            <a:ext cx="11520897"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7" name="Date Placeholder 6"/>
          <p:cNvSpPr>
            <a:spLocks noGrp="1"/>
          </p:cNvSpPr>
          <p:nvPr>
            <p:ph type="dt" sz="half" idx="31"/>
          </p:nvPr>
        </p:nvSpPr>
        <p:spPr bwMode="gray"/>
        <p:txBody>
          <a:bodyPr/>
          <a:lstStyle/>
          <a:p>
            <a:fld id="{DF793CCD-C37B-40CA-9C03-8963978AEAF0}" type="datetime4">
              <a:rPr lang="en-US" smtClean="0"/>
              <a:t>September 8, 2019</a:t>
            </a:fld>
            <a:endParaRPr lang="en-US" dirty="0"/>
          </a:p>
        </p:txBody>
      </p:sp>
      <p:sp>
        <p:nvSpPr>
          <p:cNvPr id="8" name="Footer Placeholder 7"/>
          <p:cNvSpPr>
            <a:spLocks noGrp="1"/>
          </p:cNvSpPr>
          <p:nvPr>
            <p:ph type="ftr" sz="quarter" idx="32"/>
          </p:nvPr>
        </p:nvSpPr>
        <p:spPr bwMode="gray"/>
        <p:txBody>
          <a:bodyPr/>
          <a:lstStyle/>
          <a:p>
            <a:pPr lvl="8"/>
            <a:endParaRPr lang="en-US" dirty="0"/>
          </a:p>
        </p:txBody>
      </p:sp>
      <p:sp>
        <p:nvSpPr>
          <p:cNvPr id="10" name="Slide Number Placeholder 9"/>
          <p:cNvSpPr>
            <a:spLocks noGrp="1"/>
          </p:cNvSpPr>
          <p:nvPr>
            <p:ph type="sldNum" sz="quarter" idx="33"/>
          </p:nvPr>
        </p:nvSpPr>
        <p:spPr bwMode="gray"/>
        <p:txBody>
          <a:bodyPr/>
          <a:lstStyle/>
          <a:p>
            <a:r>
              <a:rPr lang="en-US" dirty="0"/>
              <a:t>Slide </a:t>
            </a:r>
            <a:fld id="{619F89D8-7AE3-494A-97F3-03D680869632}" type="slidenum">
              <a:rPr lang="en-US" smtClean="0"/>
              <a:pPr/>
              <a:t>‹#›</a:t>
            </a:fld>
            <a:endParaRPr lang="en-US" dirty="0"/>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42" name="Straight Connector 41"/>
          <p:cNvCxnSpPr/>
          <p:nvPr userDrawn="1"/>
        </p:nvCxnSpPr>
        <p:spPr bwMode="gray">
          <a:xfrm>
            <a:off x="3138908"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9047884"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4" name="Straight Connector 43"/>
          <p:cNvCxnSpPr/>
          <p:nvPr userDrawn="1"/>
        </p:nvCxnSpPr>
        <p:spPr bwMode="gray">
          <a:xfrm>
            <a:off x="6093396"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20142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79F5AED-CDE6-4CF9-A19E-ACD3A4FD6C29}"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2141738"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3"/>
          </p:nvPr>
        </p:nvSpPr>
        <p:spPr bwMode="gray">
          <a:xfrm>
            <a:off x="333264" y="2317638"/>
            <a:ext cx="2141738" cy="15336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p:cNvCxnSpPr/>
          <p:nvPr userDrawn="1"/>
        </p:nvCxnSpPr>
        <p:spPr bwMode="gray">
          <a:xfrm>
            <a:off x="333264" y="2238495"/>
            <a:ext cx="2141738"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5" name="Content Placeholder 3"/>
          <p:cNvSpPr>
            <a:spLocks noGrp="1"/>
          </p:cNvSpPr>
          <p:nvPr>
            <p:ph sz="quarter" idx="30"/>
          </p:nvPr>
        </p:nvSpPr>
        <p:spPr bwMode="gray">
          <a:xfrm>
            <a:off x="321609" y="3983916"/>
            <a:ext cx="2141738" cy="1928196"/>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11"/>
          <p:cNvSpPr>
            <a:spLocks noGrp="1"/>
          </p:cNvSpPr>
          <p:nvPr>
            <p:ph type="body" sz="quarter" idx="31"/>
          </p:nvPr>
        </p:nvSpPr>
        <p:spPr bwMode="gray">
          <a:xfrm>
            <a:off x="2663750" y="1933245"/>
            <a:ext cx="2141738"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3"/>
          <p:cNvSpPr>
            <a:spLocks noGrp="1"/>
          </p:cNvSpPr>
          <p:nvPr>
            <p:ph sz="quarter" idx="32"/>
          </p:nvPr>
        </p:nvSpPr>
        <p:spPr bwMode="gray">
          <a:xfrm>
            <a:off x="2663750" y="2319690"/>
            <a:ext cx="2141738" cy="15336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 name="Straight Connector 29"/>
          <p:cNvCxnSpPr/>
          <p:nvPr userDrawn="1"/>
        </p:nvCxnSpPr>
        <p:spPr bwMode="gray">
          <a:xfrm>
            <a:off x="2663750" y="2240547"/>
            <a:ext cx="2141738"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3" name="Content Placeholder 3"/>
          <p:cNvSpPr>
            <a:spLocks noGrp="1"/>
          </p:cNvSpPr>
          <p:nvPr>
            <p:ph sz="quarter" idx="33"/>
          </p:nvPr>
        </p:nvSpPr>
        <p:spPr bwMode="gray">
          <a:xfrm>
            <a:off x="2652095" y="3985968"/>
            <a:ext cx="2141738" cy="1928196"/>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11"/>
          <p:cNvSpPr>
            <a:spLocks noGrp="1"/>
          </p:cNvSpPr>
          <p:nvPr>
            <p:ph type="body" sz="quarter" idx="34"/>
          </p:nvPr>
        </p:nvSpPr>
        <p:spPr bwMode="gray">
          <a:xfrm>
            <a:off x="5005040" y="1935297"/>
            <a:ext cx="2141738"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Content Placeholder 3"/>
          <p:cNvSpPr>
            <a:spLocks noGrp="1"/>
          </p:cNvSpPr>
          <p:nvPr>
            <p:ph sz="quarter" idx="35"/>
          </p:nvPr>
        </p:nvSpPr>
        <p:spPr bwMode="gray">
          <a:xfrm>
            <a:off x="5005040" y="2321742"/>
            <a:ext cx="2141738" cy="153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6" name="Straight Connector 35"/>
          <p:cNvCxnSpPr/>
          <p:nvPr userDrawn="1"/>
        </p:nvCxnSpPr>
        <p:spPr bwMode="gray">
          <a:xfrm>
            <a:off x="5005040" y="2242599"/>
            <a:ext cx="2141738"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8" name="Content Placeholder 3"/>
          <p:cNvSpPr>
            <a:spLocks noGrp="1"/>
          </p:cNvSpPr>
          <p:nvPr>
            <p:ph sz="quarter" idx="36"/>
          </p:nvPr>
        </p:nvSpPr>
        <p:spPr bwMode="gray">
          <a:xfrm>
            <a:off x="4993385" y="3988020"/>
            <a:ext cx="2141738" cy="1928196"/>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11"/>
          <p:cNvSpPr>
            <a:spLocks noGrp="1"/>
          </p:cNvSpPr>
          <p:nvPr>
            <p:ph type="body" sz="quarter" idx="37"/>
          </p:nvPr>
        </p:nvSpPr>
        <p:spPr bwMode="gray">
          <a:xfrm>
            <a:off x="7349651" y="1931191"/>
            <a:ext cx="2141738"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0" name="Content Placeholder 3"/>
          <p:cNvSpPr>
            <a:spLocks noGrp="1"/>
          </p:cNvSpPr>
          <p:nvPr>
            <p:ph sz="quarter" idx="38"/>
          </p:nvPr>
        </p:nvSpPr>
        <p:spPr bwMode="gray">
          <a:xfrm>
            <a:off x="7349651" y="2317636"/>
            <a:ext cx="2141738" cy="153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4" name="Straight Connector 43"/>
          <p:cNvCxnSpPr/>
          <p:nvPr userDrawn="1"/>
        </p:nvCxnSpPr>
        <p:spPr bwMode="gray">
          <a:xfrm>
            <a:off x="7349651" y="2238493"/>
            <a:ext cx="2141738"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6" name="Content Placeholder 3"/>
          <p:cNvSpPr>
            <a:spLocks noGrp="1"/>
          </p:cNvSpPr>
          <p:nvPr>
            <p:ph sz="quarter" idx="39"/>
          </p:nvPr>
        </p:nvSpPr>
        <p:spPr bwMode="gray">
          <a:xfrm>
            <a:off x="7348754" y="3983914"/>
            <a:ext cx="2141738" cy="1928196"/>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Text Placeholder 11"/>
          <p:cNvSpPr>
            <a:spLocks noGrp="1"/>
          </p:cNvSpPr>
          <p:nvPr>
            <p:ph type="body" sz="quarter" idx="40"/>
          </p:nvPr>
        </p:nvSpPr>
        <p:spPr bwMode="gray">
          <a:xfrm>
            <a:off x="9695654" y="1935299"/>
            <a:ext cx="2141738"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8" name="Content Placeholder 3"/>
          <p:cNvSpPr>
            <a:spLocks noGrp="1"/>
          </p:cNvSpPr>
          <p:nvPr>
            <p:ph sz="quarter" idx="41"/>
          </p:nvPr>
        </p:nvSpPr>
        <p:spPr bwMode="gray">
          <a:xfrm>
            <a:off x="9695654" y="2321744"/>
            <a:ext cx="2141738" cy="153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9" name="Straight Connector 48"/>
          <p:cNvCxnSpPr/>
          <p:nvPr userDrawn="1"/>
        </p:nvCxnSpPr>
        <p:spPr bwMode="gray">
          <a:xfrm>
            <a:off x="9695654" y="2242601"/>
            <a:ext cx="2141738"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51" name="Content Placeholder 3"/>
          <p:cNvSpPr>
            <a:spLocks noGrp="1"/>
          </p:cNvSpPr>
          <p:nvPr>
            <p:ph sz="quarter" idx="42"/>
          </p:nvPr>
        </p:nvSpPr>
        <p:spPr bwMode="gray">
          <a:xfrm>
            <a:off x="9683999" y="3988022"/>
            <a:ext cx="2141738" cy="1928196"/>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7059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39: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50004" y="1931197"/>
            <a:ext cx="5603523" cy="1853869"/>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4" y="1931197"/>
            <a:ext cx="5602537" cy="1853869"/>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76996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40: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4259985" y="1931197"/>
            <a:ext cx="3643200" cy="1853869"/>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4" y="1931197"/>
            <a:ext cx="3643200" cy="1853869"/>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4118225"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8056756"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4" name="Content Placeholder 3"/>
          <p:cNvSpPr>
            <a:spLocks noGrp="1"/>
          </p:cNvSpPr>
          <p:nvPr>
            <p:ph sz="quarter" idx="22"/>
          </p:nvPr>
        </p:nvSpPr>
        <p:spPr bwMode="gray">
          <a:xfrm>
            <a:off x="8210327" y="1931197"/>
            <a:ext cx="3643200" cy="1853869"/>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68286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41: Content (8)">
    <p:spTree>
      <p:nvGrpSpPr>
        <p:cNvPr id="1" name=""/>
        <p:cNvGrpSpPr/>
        <p:nvPr/>
      </p:nvGrpSpPr>
      <p:grpSpPr>
        <a:xfrm>
          <a:off x="0" y="0"/>
          <a:ext cx="0" cy="0"/>
          <a:chOff x="0" y="0"/>
          <a:chExt cx="0" cy="0"/>
        </a:xfrm>
      </p:grpSpPr>
      <p:cxnSp>
        <p:nvCxnSpPr>
          <p:cNvPr id="18" name="Straight Connector 17"/>
          <p:cNvCxnSpPr/>
          <p:nvPr userDrawn="1"/>
        </p:nvCxnSpPr>
        <p:spPr bwMode="gray">
          <a:xfrm>
            <a:off x="333527" y="3925094"/>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24"/>
          </p:nvPr>
        </p:nvSpPr>
        <p:spPr bwMode="gray"/>
        <p:txBody>
          <a:bodyPr/>
          <a:lstStyle/>
          <a:p>
            <a:fld id="{32E27045-0511-42A6-9AC3-A3212EB42885}" type="datetime4">
              <a:rPr lang="en-US" smtClean="0"/>
              <a:t>September 8, 2019</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bwMode="gray"/>
        <p:txBody>
          <a:bodyPr/>
          <a:lstStyle/>
          <a:p>
            <a:r>
              <a:rPr lang="en-US"/>
              <a:t>Click to edit Master title style</a:t>
            </a:r>
          </a:p>
        </p:txBody>
      </p:sp>
      <p:sp>
        <p:nvSpPr>
          <p:cNvPr id="16" name="Content Placeholder 3">
            <a:extLst>
              <a:ext uri="{FF2B5EF4-FFF2-40B4-BE49-F238E27FC236}">
                <a16:creationId xmlns:a16="http://schemas.microsoft.com/office/drawing/2014/main" id="{FF3D1E36-76EF-46A9-971E-282A52F56660}"/>
              </a:ext>
            </a:extLst>
          </p:cNvPr>
          <p:cNvSpPr>
            <a:spLocks noGrp="1"/>
          </p:cNvSpPr>
          <p:nvPr>
            <p:ph sz="quarter" idx="31"/>
          </p:nvPr>
        </p:nvSpPr>
        <p:spPr bwMode="gray">
          <a:xfrm>
            <a:off x="332367" y="1927096"/>
            <a:ext cx="2656800" cy="1897200"/>
          </a:xfrm>
        </p:spPr>
        <p:txBody>
          <a:bodyPr lIns="0" tIns="0" rIns="0" bIns="0" anchor="ctr"/>
          <a:lstStyle>
            <a:lvl1pPr algn="ctr">
              <a:defRPr b="1"/>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0983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41: Content (8)">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2098"/>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24"/>
          </p:nvPr>
        </p:nvSpPr>
        <p:spPr bwMode="gray"/>
        <p:txBody>
          <a:bodyPr/>
          <a:lstStyle/>
          <a:p>
            <a:fld id="{32E27045-0511-42A6-9AC3-A3212EB42885}" type="datetime4">
              <a:rPr lang="en-US" smtClean="0"/>
              <a:t>September 8, 2019</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946082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42: Title (4) &amp; Content (4)">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1"/>
          <p:cNvSpPr>
            <a:spLocks noGrp="1"/>
          </p:cNvSpPr>
          <p:nvPr>
            <p:ph type="body" sz="quarter" idx="17"/>
          </p:nvPr>
        </p:nvSpPr>
        <p:spPr bwMode="gray">
          <a:xfrm>
            <a:off x="333264" y="4045107"/>
            <a:ext cx="5605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p:cNvSpPr>
            <a:spLocks noGrp="1"/>
          </p:cNvSpPr>
          <p:nvPr>
            <p:ph type="body" sz="quarter" idx="18"/>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15"/>
          <p:cNvSpPr>
            <a:spLocks noGrp="1"/>
          </p:cNvSpPr>
          <p:nvPr>
            <p:ph sz="quarter" idx="20"/>
          </p:nvPr>
        </p:nvSpPr>
        <p:spPr bwMode="gray">
          <a:xfrm>
            <a:off x="333264" y="4432235"/>
            <a:ext cx="5605200" cy="1484195"/>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5"/>
          <p:cNvSpPr>
            <a:spLocks noGrp="1"/>
          </p:cNvSpPr>
          <p:nvPr>
            <p:ph sz="quarter" idx="19"/>
          </p:nvPr>
        </p:nvSpPr>
        <p:spPr bwMode="gray">
          <a:xfrm>
            <a:off x="333264" y="2317638"/>
            <a:ext cx="5605200" cy="1484876"/>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6C11801-1BEF-46D9-879F-590C601D8597}"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333264"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2317641"/>
            <a:ext cx="5605200" cy="148105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bwMode="gray"/>
        <p:txBody>
          <a:bodyPr/>
          <a:lstStyle/>
          <a:p>
            <a:r>
              <a:rPr lang="en-US"/>
              <a:t>Click to edit Master title style</a:t>
            </a:r>
            <a:endParaRPr lang="en-US" dirty="0"/>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Text Placeholder 11"/>
          <p:cNvSpPr>
            <a:spLocks noGrp="1"/>
          </p:cNvSpPr>
          <p:nvPr>
            <p:ph type="body" sz="quarter" idx="22"/>
          </p:nvPr>
        </p:nvSpPr>
        <p:spPr bwMode="gray">
          <a:xfrm>
            <a:off x="6248045" y="4043972"/>
            <a:ext cx="5605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9" name="Straight Connector 14"/>
          <p:cNvCxnSpPr/>
          <p:nvPr userDrawn="1"/>
        </p:nvCxnSpPr>
        <p:spPr bwMode="gray">
          <a:xfrm>
            <a:off x="6248045" y="4351954"/>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Content Placeholder 15"/>
          <p:cNvSpPr>
            <a:spLocks noGrp="1"/>
          </p:cNvSpPr>
          <p:nvPr>
            <p:ph sz="quarter" idx="23"/>
          </p:nvPr>
        </p:nvSpPr>
        <p:spPr bwMode="gray">
          <a:xfrm>
            <a:off x="6248045" y="4430420"/>
            <a:ext cx="5605200" cy="148105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9394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gray">
          <a:xfrm>
            <a:off x="2" y="0"/>
            <a:ext cx="12192000" cy="4610100"/>
          </a:xfrm>
          <a:prstGeom prst="rect">
            <a:avLst/>
          </a:prstGeom>
        </p:spPr>
      </p:pic>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84244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332367" y="1931197"/>
            <a:ext cx="11520897" cy="3980439"/>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8"/>
          </p:nvPr>
        </p:nvSpPr>
        <p:spPr bwMode="gray"/>
        <p:txBody>
          <a:bodyPr/>
          <a:lstStyle/>
          <a:p>
            <a:fld id="{F7AFF65D-AAB4-46ED-A858-A6BA48891152}" type="datetime4">
              <a:rPr lang="en-US" smtClean="0"/>
              <a:t>September 8, 2019</a:t>
            </a:fld>
            <a:endParaRPr lang="en-US" dirty="0"/>
          </a:p>
        </p:txBody>
      </p:sp>
      <p:sp>
        <p:nvSpPr>
          <p:cNvPr id="5" name="Footer Placeholder 4"/>
          <p:cNvSpPr>
            <a:spLocks noGrp="1"/>
          </p:cNvSpPr>
          <p:nvPr>
            <p:ph type="ftr" sz="quarter" idx="19"/>
          </p:nvPr>
        </p:nvSpPr>
        <p:spPr bwMode="gray"/>
        <p:txBody>
          <a:bodyPr/>
          <a:lstStyle/>
          <a:p>
            <a:pPr lvl="8"/>
            <a:endParaRPr lang="en-US" dirty="0"/>
          </a:p>
        </p:txBody>
      </p:sp>
      <p:sp>
        <p:nvSpPr>
          <p:cNvPr id="6" name="Slide Number Placeholder 5"/>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7" name="Title 6"/>
          <p:cNvSpPr>
            <a:spLocks noGrp="1"/>
          </p:cNvSpPr>
          <p:nvPr>
            <p:ph type="title"/>
          </p:nvPr>
        </p:nvSpPr>
        <p:spPr bwMode="gray"/>
        <p:txBody>
          <a:bodyPr/>
          <a:lstStyle/>
          <a:p>
            <a:r>
              <a:rPr lang="en-US"/>
              <a:t>Click to edit Master title style</a:t>
            </a:r>
            <a:endParaRPr lang="en-US" dirty="0"/>
          </a:p>
        </p:txBody>
      </p:sp>
    </p:spTree>
    <p:extLst>
      <p:ext uri="{BB962C8B-B14F-4D97-AF65-F5344CB8AC3E}">
        <p14:creationId xmlns:p14="http://schemas.microsoft.com/office/powerpoint/2010/main" val="3984770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43: Content (4)">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1195"/>
            <a:ext cx="5619398" cy="1853868"/>
          </a:xfrm>
        </p:spPr>
        <p:txBody>
          <a:bodyPr lIns="0" tIns="0" rIns="0" bIns="0" anchor="ctr"/>
          <a:lstStyle>
            <a:lvl1pPr algn="ctr">
              <a:defRPr b="1"/>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4" name="Straight Connector 13"/>
          <p:cNvCxnSpPr/>
          <p:nvPr userDrawn="1"/>
        </p:nvCxnSpPr>
        <p:spPr bwMode="gray">
          <a:xfrm>
            <a:off x="6095999" y="1931195"/>
            <a:ext cx="0" cy="398224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8" name="Straight Connector 17"/>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6234129" y="1931195"/>
            <a:ext cx="5619398" cy="1853868"/>
          </a:xfrm>
        </p:spPr>
        <p:txBody>
          <a:bodyPr lIns="0" tIns="0" rIns="0" bIns="0" anchor="ctr"/>
          <a:lstStyle>
            <a:lvl1pPr algn="ctr">
              <a:defRPr b="1"/>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2"/>
          </p:nvPr>
        </p:nvSpPr>
        <p:spPr bwMode="gray">
          <a:xfrm>
            <a:off x="333264" y="4059571"/>
            <a:ext cx="5619398" cy="1853868"/>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3"/>
          <p:cNvSpPr>
            <a:spLocks noGrp="1"/>
          </p:cNvSpPr>
          <p:nvPr>
            <p:ph sz="quarter" idx="23"/>
          </p:nvPr>
        </p:nvSpPr>
        <p:spPr bwMode="gray">
          <a:xfrm>
            <a:off x="6234129" y="4059571"/>
            <a:ext cx="5619398" cy="1853868"/>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24"/>
          </p:nvPr>
        </p:nvSpPr>
        <p:spPr bwMode="gray"/>
        <p:txBody>
          <a:bodyPr/>
          <a:lstStyle/>
          <a:p>
            <a:fld id="{32E27045-0511-42A6-9AC3-A3212EB42885}" type="datetime4">
              <a:rPr lang="en-US" smtClean="0"/>
              <a:t>September 8, 2019</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6" name="Title 5"/>
          <p:cNvSpPr>
            <a:spLocks noGrp="1"/>
          </p:cNvSpPr>
          <p:nvPr>
            <p:ph type="title"/>
          </p:nvPr>
        </p:nvSpPr>
        <p:spPr bwMode="gray"/>
        <p:txBody>
          <a:bodyPr/>
          <a:lstStyle/>
          <a:p>
            <a:r>
              <a:rPr lang="en-US"/>
              <a:t>Click to edit Master title style</a:t>
            </a:r>
            <a:endParaRPr lang="en-US" dirty="0"/>
          </a:p>
        </p:txBody>
      </p:sp>
    </p:spTree>
    <p:extLst>
      <p:ext uri="{BB962C8B-B14F-4D97-AF65-F5344CB8AC3E}">
        <p14:creationId xmlns:p14="http://schemas.microsoft.com/office/powerpoint/2010/main" val="3890977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4: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333264" y="1931198"/>
            <a:ext cx="5621183" cy="1530893"/>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1"/>
          </p:nvPr>
        </p:nvSpPr>
        <p:spPr bwMode="gray">
          <a:xfrm>
            <a:off x="6232344" y="1931198"/>
            <a:ext cx="5621183" cy="1530893"/>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2"/>
          </p:nvPr>
        </p:nvSpPr>
        <p:spPr bwMode="gray">
          <a:xfrm>
            <a:off x="333264" y="3737725"/>
            <a:ext cx="5621183" cy="1530893"/>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3"/>
          <p:cNvSpPr>
            <a:spLocks noGrp="1"/>
          </p:cNvSpPr>
          <p:nvPr>
            <p:ph sz="quarter" idx="23"/>
          </p:nvPr>
        </p:nvSpPr>
        <p:spPr bwMode="gray">
          <a:xfrm>
            <a:off x="6232344" y="3737725"/>
            <a:ext cx="5621183" cy="1530893"/>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1"/>
          <p:cNvSpPr>
            <a:spLocks noGrp="1"/>
          </p:cNvSpPr>
          <p:nvPr>
            <p:ph type="body" sz="quarter" idx="24"/>
          </p:nvPr>
        </p:nvSpPr>
        <p:spPr bwMode="gray">
          <a:xfrm>
            <a:off x="332367" y="5452639"/>
            <a:ext cx="11521160"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cxnSp>
        <p:nvCxnSpPr>
          <p:cNvPr id="23" name="Straight Connector 22"/>
          <p:cNvCxnSpPr/>
          <p:nvPr userDrawn="1"/>
        </p:nvCxnSpPr>
        <p:spPr bwMode="gray">
          <a:xfrm>
            <a:off x="333527" y="359990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 name="Date Placeholder 2"/>
          <p:cNvSpPr>
            <a:spLocks noGrp="1"/>
          </p:cNvSpPr>
          <p:nvPr>
            <p:ph type="dt" sz="half" idx="25"/>
          </p:nvPr>
        </p:nvSpPr>
        <p:spPr bwMode="gray"/>
        <p:txBody>
          <a:bodyPr/>
          <a:lstStyle/>
          <a:p>
            <a:fld id="{6E7D5807-0F83-4687-8EA8-403E998DE912}" type="datetime4">
              <a:rPr lang="en-US" smtClean="0"/>
              <a:t>September 8, 2019</a:t>
            </a:fld>
            <a:endParaRPr lang="en-US" dirty="0"/>
          </a:p>
        </p:txBody>
      </p:sp>
      <p:sp>
        <p:nvSpPr>
          <p:cNvPr id="4" name="Footer Placeholder 3"/>
          <p:cNvSpPr>
            <a:spLocks noGrp="1"/>
          </p:cNvSpPr>
          <p:nvPr>
            <p:ph type="ftr" sz="quarter" idx="26"/>
          </p:nvPr>
        </p:nvSpPr>
        <p:spPr bwMode="gray"/>
        <p:txBody>
          <a:bodyPr/>
          <a:lstStyle/>
          <a:p>
            <a:pPr lvl="8"/>
            <a:endParaRPr lang="en-US" dirty="0"/>
          </a:p>
        </p:txBody>
      </p:sp>
      <p:sp>
        <p:nvSpPr>
          <p:cNvPr id="5" name="Slide Number Placeholder 4"/>
          <p:cNvSpPr>
            <a:spLocks noGrp="1"/>
          </p:cNvSpPr>
          <p:nvPr>
            <p:ph type="sldNum" sz="quarter" idx="27"/>
          </p:nvPr>
        </p:nvSpPr>
        <p:spPr bwMode="gray"/>
        <p:txBody>
          <a:bodyPr/>
          <a:lstStyle/>
          <a:p>
            <a:r>
              <a:rPr lang="en-US" dirty="0"/>
              <a:t>Slide </a:t>
            </a:r>
            <a:fld id="{619F89D8-7AE3-494A-97F3-03D680869632}" type="slidenum">
              <a:rPr lang="en-US" smtClean="0"/>
              <a:pPr/>
              <a:t>‹#›</a:t>
            </a:fld>
            <a:endParaRPr lang="en-US" dirty="0"/>
          </a:p>
        </p:txBody>
      </p:sp>
      <p:cxnSp>
        <p:nvCxnSpPr>
          <p:cNvPr id="14" name="Straight Connector 13"/>
          <p:cNvCxnSpPr/>
          <p:nvPr userDrawn="1"/>
        </p:nvCxnSpPr>
        <p:spPr bwMode="gray">
          <a:xfrm>
            <a:off x="6095999" y="1931195"/>
            <a:ext cx="0" cy="333742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696123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5: Title (2) &amp;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5361993" cy="1919320"/>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3"/>
          <p:cNvSpPr>
            <a:spLocks noGrp="1"/>
          </p:cNvSpPr>
          <p:nvPr>
            <p:ph sz="quarter" idx="21"/>
          </p:nvPr>
        </p:nvSpPr>
        <p:spPr bwMode="gray">
          <a:xfrm>
            <a:off x="2553273" y="3993324"/>
            <a:ext cx="5361993" cy="1919320"/>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gray">
          <a:xfrm>
            <a:off x="2551798" y="3921919"/>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582" y="1931196"/>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Content Placeholder 3"/>
          <p:cNvSpPr>
            <a:spLocks noGrp="1"/>
          </p:cNvSpPr>
          <p:nvPr userDrawn="1">
            <p:ph sz="quarter" idx="24"/>
          </p:nvPr>
        </p:nvSpPr>
        <p:spPr bwMode="gray">
          <a:xfrm>
            <a:off x="332582" y="3993324"/>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userDrawn="1">
            <p:ph type="dt" sz="half" idx="26"/>
          </p:nvPr>
        </p:nvSpPr>
        <p:spPr bwMode="gray"/>
        <p:txBody>
          <a:bodyPr/>
          <a:lstStyle/>
          <a:p>
            <a:fld id="{D7448BAD-718D-41D5-B039-249ED06F3A4A}" type="datetime4">
              <a:rPr lang="en-US" smtClean="0"/>
              <a:t>September 8, 2019</a:t>
            </a:fld>
            <a:endParaRPr lang="en-US" dirty="0"/>
          </a:p>
        </p:txBody>
      </p:sp>
      <p:sp>
        <p:nvSpPr>
          <p:cNvPr id="4" name="Footer Placeholder 3"/>
          <p:cNvSpPr>
            <a:spLocks noGrp="1"/>
          </p:cNvSpPr>
          <p:nvPr userDrawn="1">
            <p:ph type="ftr" sz="quarter" idx="27"/>
          </p:nvPr>
        </p:nvSpPr>
        <p:spPr bwMode="gray"/>
        <p:txBody>
          <a:bodyPr/>
          <a:lstStyle/>
          <a:p>
            <a:pPr lvl="8"/>
            <a:endParaRPr lang="en-US" dirty="0"/>
          </a:p>
        </p:txBody>
      </p:sp>
      <p:sp>
        <p:nvSpPr>
          <p:cNvPr id="5" name="Slide Number Placeholder 4"/>
          <p:cNvSpPr>
            <a:spLocks noGrp="1"/>
          </p:cNvSpPr>
          <p:nvPr userDrawn="1">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userDrawn="1">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7919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46: Title (3)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5361993" cy="1231942"/>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3"/>
          <p:cNvSpPr>
            <a:spLocks noGrp="1"/>
          </p:cNvSpPr>
          <p:nvPr>
            <p:ph sz="quarter" idx="21"/>
          </p:nvPr>
        </p:nvSpPr>
        <p:spPr bwMode="gray">
          <a:xfrm>
            <a:off x="2553273" y="3305949"/>
            <a:ext cx="5361993" cy="123194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2"/>
          </p:nvPr>
        </p:nvSpPr>
        <p:spPr bwMode="gray">
          <a:xfrm>
            <a:off x="2553273" y="4680702"/>
            <a:ext cx="5361993" cy="123194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gray">
          <a:xfrm>
            <a:off x="2554866" y="3235138"/>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p:cNvCxnSpPr/>
          <p:nvPr userDrawn="1"/>
        </p:nvCxnSpPr>
        <p:spPr bwMode="gray">
          <a:xfrm>
            <a:off x="2554866" y="4611082"/>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367" y="1931196"/>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userDrawn="1">
            <p:ph sz="quarter" idx="24"/>
          </p:nvPr>
        </p:nvSpPr>
        <p:spPr bwMode="gray">
          <a:xfrm>
            <a:off x="332367" y="3305949"/>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userDrawn="1">
            <p:ph sz="quarter" idx="25"/>
          </p:nvPr>
        </p:nvSpPr>
        <p:spPr bwMode="gray">
          <a:xfrm>
            <a:off x="332367" y="4680702"/>
            <a:ext cx="1917663"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userDrawn="1">
            <p:ph type="dt" sz="half" idx="26"/>
          </p:nvPr>
        </p:nvSpPr>
        <p:spPr bwMode="gray"/>
        <p:txBody>
          <a:bodyPr/>
          <a:lstStyle/>
          <a:p>
            <a:fld id="{D7448BAD-718D-41D5-B039-249ED06F3A4A}" type="datetime4">
              <a:rPr lang="en-US" smtClean="0"/>
              <a:t>September 8, 2019</a:t>
            </a:fld>
            <a:endParaRPr lang="en-US" dirty="0"/>
          </a:p>
        </p:txBody>
      </p:sp>
      <p:sp>
        <p:nvSpPr>
          <p:cNvPr id="4" name="Footer Placeholder 3"/>
          <p:cNvSpPr>
            <a:spLocks noGrp="1"/>
          </p:cNvSpPr>
          <p:nvPr userDrawn="1">
            <p:ph type="ftr" sz="quarter" idx="27"/>
          </p:nvPr>
        </p:nvSpPr>
        <p:spPr bwMode="gray"/>
        <p:txBody>
          <a:bodyPr/>
          <a:lstStyle/>
          <a:p>
            <a:pPr lvl="8"/>
            <a:endParaRPr lang="en-US" dirty="0"/>
          </a:p>
        </p:txBody>
      </p:sp>
      <p:sp>
        <p:nvSpPr>
          <p:cNvPr id="5" name="Slide Number Placeholder 4"/>
          <p:cNvSpPr>
            <a:spLocks noGrp="1"/>
          </p:cNvSpPr>
          <p:nvPr userDrawn="1">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091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47: Title (3) &amp; Content (3)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9299991" cy="1231942"/>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305949"/>
            <a:ext cx="9299991" cy="123194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2"/>
          </p:nvPr>
        </p:nvSpPr>
        <p:spPr bwMode="gray">
          <a:xfrm>
            <a:off x="2553273" y="4680702"/>
            <a:ext cx="9299991" cy="123194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20" name="Straight Connector 19"/>
          <p:cNvCxnSpPr/>
          <p:nvPr userDrawn="1"/>
        </p:nvCxnSpPr>
        <p:spPr bwMode="gray">
          <a:xfrm>
            <a:off x="2554464" y="461108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6"/>
          </p:nvPr>
        </p:nvSpPr>
        <p:spPr bwMode="gray"/>
        <p:txBody>
          <a:bodyPr/>
          <a:lstStyle/>
          <a:p>
            <a:fld id="{D7448BAD-718D-41D5-B039-249ED06F3A4A}" type="datetime4">
              <a:rPr lang="en-US" smtClean="0"/>
              <a:t>September 8, 2019</a:t>
            </a:fld>
            <a:endParaRPr lang="en-US" dirty="0"/>
          </a:p>
        </p:txBody>
      </p:sp>
      <p:sp>
        <p:nvSpPr>
          <p:cNvPr id="4" name="Footer Placeholder 3"/>
          <p:cNvSpPr>
            <a:spLocks noGrp="1"/>
          </p:cNvSpPr>
          <p:nvPr>
            <p:ph type="ftr" sz="quarter" idx="27"/>
          </p:nvPr>
        </p:nvSpPr>
        <p:spPr bwMode="gray"/>
        <p:txBody>
          <a:bodyPr/>
          <a:lstStyle/>
          <a:p>
            <a:pPr lvl="8"/>
            <a:endParaRPr lang="en-US" dirty="0"/>
          </a:p>
        </p:txBody>
      </p:sp>
      <p:sp>
        <p:nvSpPr>
          <p:cNvPr id="5" name="Slide Number Placeholder 4"/>
          <p:cNvSpPr>
            <a:spLocks noGrp="1"/>
          </p:cNvSpPr>
          <p:nvPr>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240370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de-DE" dirty="0"/>
          </a:p>
        </p:txBody>
      </p:sp>
      <p:sp>
        <p:nvSpPr>
          <p:cNvPr id="4" name="Date Placeholder 3"/>
          <p:cNvSpPr>
            <a:spLocks noGrp="1"/>
          </p:cNvSpPr>
          <p:nvPr>
            <p:ph type="dt" sz="half" idx="11"/>
          </p:nvPr>
        </p:nvSpPr>
        <p:spPr/>
        <p:txBody>
          <a:bodyPr/>
          <a:lstStyle/>
          <a:p>
            <a:fld id="{B2016A11-4950-4F3F-938B-45DEE5F72969}" type="datetime4">
              <a:rPr lang="en-US" smtClean="0"/>
              <a:pPr/>
              <a:t>September 8, 2019</a:t>
            </a:fld>
            <a:endParaRPr lang="en-US" dirty="0"/>
          </a:p>
        </p:txBody>
      </p:sp>
      <p:sp>
        <p:nvSpPr>
          <p:cNvPr id="5" name="Slide Number Placeholder 4"/>
          <p:cNvSpPr>
            <a:spLocks noGrp="1"/>
          </p:cNvSpPr>
          <p:nvPr>
            <p:ph type="sldNum" sz="quarter" idx="12"/>
          </p:nvPr>
        </p:nvSpPr>
        <p:spPr/>
        <p:txBody>
          <a:bodyPr/>
          <a:lstStyle/>
          <a:p>
            <a:r>
              <a:rPr lang="en-US"/>
              <a:t>Slide </a:t>
            </a:r>
            <a:fld id="{619F89D8-7AE3-494A-97F3-03D680869632}" type="slidenum">
              <a:rPr lang="en-US" smtClean="0"/>
              <a:pPr/>
              <a:t>‹#›</a:t>
            </a:fld>
            <a:endParaRPr lang="en-US" dirty="0"/>
          </a:p>
        </p:txBody>
      </p:sp>
      <p:sp>
        <p:nvSpPr>
          <p:cNvPr id="6" name="Content Placeholder 3"/>
          <p:cNvSpPr>
            <a:spLocks noGrp="1"/>
          </p:cNvSpPr>
          <p:nvPr>
            <p:ph sz="quarter" idx="20"/>
          </p:nvPr>
        </p:nvSpPr>
        <p:spPr bwMode="gray">
          <a:xfrm>
            <a:off x="2553273" y="1931196"/>
            <a:ext cx="9299991" cy="123194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8" name="Content Placeholder 3"/>
          <p:cNvSpPr>
            <a:spLocks noGrp="1"/>
          </p:cNvSpPr>
          <p:nvPr>
            <p:ph sz="quarter" idx="21"/>
          </p:nvPr>
        </p:nvSpPr>
        <p:spPr bwMode="gray">
          <a:xfrm>
            <a:off x="2553273" y="3305949"/>
            <a:ext cx="9299991" cy="123194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52361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48: Title (3) &amp; Content (3) &amp; Box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9299991" cy="101647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gray">
          <a:xfrm>
            <a:off x="2554464" y="301966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091669"/>
            <a:ext cx="9299991" cy="101647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2"/>
          </p:nvPr>
        </p:nvSpPr>
        <p:spPr bwMode="gray">
          <a:xfrm>
            <a:off x="2553273" y="4252143"/>
            <a:ext cx="9299991" cy="101647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20" name="Straight Connector 19"/>
          <p:cNvCxnSpPr/>
          <p:nvPr userDrawn="1"/>
        </p:nvCxnSpPr>
        <p:spPr bwMode="gray">
          <a:xfrm>
            <a:off x="2554464" y="418014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4"/>
          </p:nvPr>
        </p:nvSpPr>
        <p:spPr bwMode="gray">
          <a:xfrm>
            <a:off x="333264" y="3091669"/>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25"/>
          </p:nvPr>
        </p:nvSpPr>
        <p:spPr bwMode="gray">
          <a:xfrm>
            <a:off x="333264" y="4252143"/>
            <a:ext cx="1916766" cy="101647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11"/>
          <p:cNvSpPr>
            <a:spLocks noGrp="1"/>
          </p:cNvSpPr>
          <p:nvPr>
            <p:ph type="body" sz="quarter" idx="26"/>
          </p:nvPr>
        </p:nvSpPr>
        <p:spPr bwMode="gray">
          <a:xfrm>
            <a:off x="332366" y="5452639"/>
            <a:ext cx="11520898"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3" name="Date Placeholder 2"/>
          <p:cNvSpPr>
            <a:spLocks noGrp="1"/>
          </p:cNvSpPr>
          <p:nvPr>
            <p:ph type="dt" sz="half" idx="27"/>
          </p:nvPr>
        </p:nvSpPr>
        <p:spPr bwMode="gray"/>
        <p:txBody>
          <a:bodyPr/>
          <a:lstStyle/>
          <a:p>
            <a:fld id="{AFC62351-A650-4DF6-986F-78B25B039145}" type="datetime4">
              <a:rPr lang="en-US" smtClean="0"/>
              <a:t>September 8, 2019</a:t>
            </a:fld>
            <a:endParaRPr lang="en-US" dirty="0"/>
          </a:p>
        </p:txBody>
      </p:sp>
      <p:sp>
        <p:nvSpPr>
          <p:cNvPr id="4" name="Footer Placeholder 3"/>
          <p:cNvSpPr>
            <a:spLocks noGrp="1"/>
          </p:cNvSpPr>
          <p:nvPr>
            <p:ph type="ftr" sz="quarter" idx="28"/>
          </p:nvPr>
        </p:nvSpPr>
        <p:spPr bwMode="gray"/>
        <p:txBody>
          <a:bodyPr/>
          <a:lstStyle/>
          <a:p>
            <a:pPr lvl="8"/>
            <a:endParaRPr lang="en-US" dirty="0"/>
          </a:p>
        </p:txBody>
      </p:sp>
      <p:sp>
        <p:nvSpPr>
          <p:cNvPr id="5" name="Slide Number Placeholder 4"/>
          <p:cNvSpPr>
            <a:spLocks noGrp="1"/>
          </p:cNvSpPr>
          <p:nvPr>
            <p:ph type="sldNum" sz="quarter" idx="29"/>
          </p:nvPr>
        </p:nvSpPr>
        <p:spPr bwMode="gray"/>
        <p:txBody>
          <a:bodyPr/>
          <a:lstStyle/>
          <a:p>
            <a:r>
              <a:rPr lang="en-US" dirty="0"/>
              <a:t>Slide </a:t>
            </a:r>
            <a:fld id="{619F89D8-7AE3-494A-97F3-03D680869632}" type="slidenum">
              <a:rPr lang="en-US" smtClean="0"/>
              <a:pPr/>
              <a:t>‹#›</a:t>
            </a:fld>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99256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49: Title (4) &amp; Content (4) &amp; Box / Number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2818583" y="1931198"/>
            <a:ext cx="9034681" cy="726353"/>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21"/>
          </p:nvPr>
        </p:nvSpPr>
        <p:spPr bwMode="gray">
          <a:xfrm>
            <a:off x="2818583" y="2801554"/>
            <a:ext cx="9034681" cy="726353"/>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
          <p:cNvSpPr>
            <a:spLocks noGrp="1"/>
          </p:cNvSpPr>
          <p:nvPr>
            <p:ph sz="quarter" idx="22"/>
          </p:nvPr>
        </p:nvSpPr>
        <p:spPr bwMode="gray">
          <a:xfrm>
            <a:off x="2818583" y="3671910"/>
            <a:ext cx="9034681" cy="726353"/>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6"/>
          </p:nvPr>
        </p:nvSpPr>
        <p:spPr bwMode="gray">
          <a:xfrm>
            <a:off x="332367" y="5452639"/>
            <a:ext cx="11520898"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33" name="Content Placeholder 3"/>
          <p:cNvSpPr>
            <a:spLocks noGrp="1"/>
          </p:cNvSpPr>
          <p:nvPr>
            <p:ph sz="quarter" idx="27"/>
          </p:nvPr>
        </p:nvSpPr>
        <p:spPr bwMode="gray">
          <a:xfrm>
            <a:off x="332582" y="1931198"/>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Content Placeholder 3"/>
          <p:cNvSpPr>
            <a:spLocks noGrp="1"/>
          </p:cNvSpPr>
          <p:nvPr>
            <p:ph sz="quarter" idx="28"/>
          </p:nvPr>
        </p:nvSpPr>
        <p:spPr bwMode="gray">
          <a:xfrm>
            <a:off x="332582" y="2801554"/>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9"/>
          </p:nvPr>
        </p:nvSpPr>
        <p:spPr bwMode="gray">
          <a:xfrm>
            <a:off x="332582" y="3671910"/>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30"/>
          </p:nvPr>
        </p:nvSpPr>
        <p:spPr bwMode="gray">
          <a:xfrm>
            <a:off x="2818583" y="4542265"/>
            <a:ext cx="9034681" cy="726353"/>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8" name="Content Placeholder 3"/>
          <p:cNvSpPr>
            <a:spLocks noGrp="1"/>
          </p:cNvSpPr>
          <p:nvPr>
            <p:ph sz="quarter" idx="31"/>
          </p:nvPr>
        </p:nvSpPr>
        <p:spPr bwMode="gray">
          <a:xfrm>
            <a:off x="332582" y="4542265"/>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9" name="Straight Connector 13"/>
          <p:cNvCxnSpPr/>
          <p:nvPr userDrawn="1"/>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14"/>
          <p:cNvCxnSpPr/>
          <p:nvPr userDrawn="1"/>
        </p:nvCxnSpPr>
        <p:spPr bwMode="gray">
          <a:xfrm>
            <a:off x="1779054" y="31645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13"/>
          <p:cNvCxnSpPr/>
          <p:nvPr userDrawn="1"/>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4"/>
          <p:cNvCxnSpPr/>
          <p:nvPr userDrawn="1"/>
        </p:nvCxnSpPr>
        <p:spPr bwMode="gray">
          <a:xfrm>
            <a:off x="1778487" y="4905862"/>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13"/>
          <p:cNvCxnSpPr/>
          <p:nvPr userDrawn="1"/>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14"/>
          <p:cNvCxnSpPr/>
          <p:nvPr userDrawn="1"/>
        </p:nvCxnSpPr>
        <p:spPr bwMode="gray">
          <a:xfrm>
            <a:off x="1779502" y="2293948"/>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3"/>
          <p:cNvCxnSpPr/>
          <p:nvPr userDrawn="1"/>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4"/>
          <p:cNvCxnSpPr/>
          <p:nvPr userDrawn="1"/>
        </p:nvCxnSpPr>
        <p:spPr bwMode="gray">
          <a:xfrm>
            <a:off x="1778487" y="4035224"/>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bwMode="gray">
          <a:xfrm>
            <a:off x="2072427"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2" name="Straight Connector 51"/>
          <p:cNvCxnSpPr/>
          <p:nvPr userDrawn="1"/>
        </p:nvCxnSpPr>
        <p:spPr bwMode="gray">
          <a:xfrm>
            <a:off x="2072427"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userDrawn="1"/>
        </p:nvCxnSpPr>
        <p:spPr bwMode="gray">
          <a:xfrm>
            <a:off x="2072427"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 name="Date Placeholder 3"/>
          <p:cNvSpPr>
            <a:spLocks noGrp="1"/>
          </p:cNvSpPr>
          <p:nvPr userDrawn="1">
            <p:ph type="dt" sz="half" idx="32"/>
          </p:nvPr>
        </p:nvSpPr>
        <p:spPr bwMode="gray"/>
        <p:txBody>
          <a:bodyPr/>
          <a:lstStyle/>
          <a:p>
            <a:fld id="{ED4418A7-E8E0-42C3-AC0C-9BF91949BA0B}" type="datetime4">
              <a:rPr lang="en-US" smtClean="0"/>
              <a:t>September 8, 2019</a:t>
            </a:fld>
            <a:endParaRPr lang="en-US" dirty="0"/>
          </a:p>
        </p:txBody>
      </p:sp>
      <p:sp>
        <p:nvSpPr>
          <p:cNvPr id="5" name="Footer Placeholder 4"/>
          <p:cNvSpPr>
            <a:spLocks noGrp="1"/>
          </p:cNvSpPr>
          <p:nvPr userDrawn="1">
            <p:ph type="ftr" sz="quarter" idx="33"/>
          </p:nvPr>
        </p:nvSpPr>
        <p:spPr bwMode="gray"/>
        <p:txBody>
          <a:bodyPr/>
          <a:lstStyle/>
          <a:p>
            <a:pPr lvl="8"/>
            <a:endParaRPr lang="en-US" dirty="0"/>
          </a:p>
        </p:txBody>
      </p:sp>
      <p:sp>
        <p:nvSpPr>
          <p:cNvPr id="6" name="Slide Number Placeholder 5"/>
          <p:cNvSpPr>
            <a:spLocks noGrp="1"/>
          </p:cNvSpPr>
          <p:nvPr userDrawn="1">
            <p:ph type="sldNum" sz="quarter" idx="34"/>
          </p:nvPr>
        </p:nvSpPr>
        <p:spPr bwMode="gray"/>
        <p:txBody>
          <a:bodyPr/>
          <a:lstStyle/>
          <a:p>
            <a:r>
              <a:rPr lang="en-US" dirty="0"/>
              <a:t>Slide </a:t>
            </a:r>
            <a:fld id="{619F89D8-7AE3-494A-97F3-03D680869632}" type="slidenum">
              <a:rPr lang="en-US" smtClean="0"/>
              <a:pPr/>
              <a:t>‹#›</a:t>
            </a:fld>
            <a:endParaRPr lang="en-US" dirty="0"/>
          </a:p>
        </p:txBody>
      </p:sp>
      <p:sp>
        <p:nvSpPr>
          <p:cNvPr id="34"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7" name="Content Placeholder 6"/>
          <p:cNvSpPr>
            <a:spLocks noGrp="1"/>
          </p:cNvSpPr>
          <p:nvPr>
            <p:ph sz="quarter" idx="35" hasCustomPrompt="1"/>
          </p:nvPr>
        </p:nvSpPr>
        <p:spPr>
          <a:xfrm>
            <a:off x="2218077" y="210006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1</a:t>
            </a:r>
            <a:endParaRPr lang="en-GB" dirty="0"/>
          </a:p>
        </p:txBody>
      </p:sp>
      <p:sp>
        <p:nvSpPr>
          <p:cNvPr id="54" name="Content Placeholder 6"/>
          <p:cNvSpPr>
            <a:spLocks noGrp="1"/>
          </p:cNvSpPr>
          <p:nvPr>
            <p:ph sz="quarter" idx="36" hasCustomPrompt="1"/>
          </p:nvPr>
        </p:nvSpPr>
        <p:spPr>
          <a:xfrm>
            <a:off x="2218077" y="29719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2</a:t>
            </a:r>
            <a:endParaRPr lang="en-GB" dirty="0"/>
          </a:p>
        </p:txBody>
      </p:sp>
      <p:sp>
        <p:nvSpPr>
          <p:cNvPr id="55" name="Content Placeholder 6"/>
          <p:cNvSpPr>
            <a:spLocks noGrp="1"/>
          </p:cNvSpPr>
          <p:nvPr>
            <p:ph sz="quarter" idx="37" hasCustomPrompt="1"/>
          </p:nvPr>
        </p:nvSpPr>
        <p:spPr>
          <a:xfrm>
            <a:off x="2218077" y="384341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3</a:t>
            </a:r>
            <a:endParaRPr lang="en-GB" dirty="0"/>
          </a:p>
        </p:txBody>
      </p:sp>
      <p:sp>
        <p:nvSpPr>
          <p:cNvPr id="56" name="Content Placeholder 6"/>
          <p:cNvSpPr>
            <a:spLocks noGrp="1"/>
          </p:cNvSpPr>
          <p:nvPr>
            <p:ph sz="quarter" idx="38" hasCustomPrompt="1"/>
          </p:nvPr>
        </p:nvSpPr>
        <p:spPr>
          <a:xfrm>
            <a:off x="2218077" y="4708172"/>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4</a:t>
            </a:r>
            <a:endParaRPr lang="en-GB" dirty="0"/>
          </a:p>
        </p:txBody>
      </p:sp>
      <p:sp>
        <p:nvSpPr>
          <p:cNvPr id="31" name="Content Placeholder 10"/>
          <p:cNvSpPr>
            <a:spLocks noGrp="1"/>
          </p:cNvSpPr>
          <p:nvPr>
            <p:ph sz="quarter" idx="39"/>
          </p:nvPr>
        </p:nvSpPr>
        <p:spPr>
          <a:xfrm>
            <a:off x="484982" y="4694665"/>
            <a:ext cx="1535879" cy="726353"/>
          </a:xfrm>
        </p:spPr>
        <p:txBody>
          <a:bodyPr/>
          <a:lstStyle/>
          <a:p>
            <a:pPr lvl="0"/>
            <a:r>
              <a:rPr lang="en-US"/>
              <a:t>Click to edit Master text styles</a:t>
            </a:r>
          </a:p>
        </p:txBody>
      </p:sp>
    </p:spTree>
    <p:extLst>
      <p:ext uri="{BB962C8B-B14F-4D97-AF65-F5344CB8AC3E}">
        <p14:creationId xmlns:p14="http://schemas.microsoft.com/office/powerpoint/2010/main" val="4155455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de-DE" dirty="0"/>
          </a:p>
        </p:txBody>
      </p:sp>
      <p:sp>
        <p:nvSpPr>
          <p:cNvPr id="4" name="Date Placeholder 3"/>
          <p:cNvSpPr>
            <a:spLocks noGrp="1"/>
          </p:cNvSpPr>
          <p:nvPr>
            <p:ph type="dt" sz="half" idx="11"/>
          </p:nvPr>
        </p:nvSpPr>
        <p:spPr/>
        <p:txBody>
          <a:bodyPr/>
          <a:lstStyle/>
          <a:p>
            <a:fld id="{B2016A11-4950-4F3F-938B-45DEE5F72969}" type="datetime4">
              <a:rPr lang="en-US" smtClean="0"/>
              <a:pPr/>
              <a:t>September 8, 2019</a:t>
            </a:fld>
            <a:endParaRPr lang="en-US" dirty="0"/>
          </a:p>
        </p:txBody>
      </p:sp>
      <p:sp>
        <p:nvSpPr>
          <p:cNvPr id="5" name="Slide Number Placeholder 4"/>
          <p:cNvSpPr>
            <a:spLocks noGrp="1"/>
          </p:cNvSpPr>
          <p:nvPr>
            <p:ph type="sldNum" sz="quarter" idx="12"/>
          </p:nvPr>
        </p:nvSpPr>
        <p:spPr/>
        <p:txBody>
          <a:bodyPr/>
          <a:lstStyle/>
          <a:p>
            <a:r>
              <a:rPr lang="en-US"/>
              <a:t>Slide </a:t>
            </a:r>
            <a:fld id="{619F89D8-7AE3-494A-97F3-03D680869632}" type="slidenum">
              <a:rPr lang="en-US" smtClean="0"/>
              <a:pPr/>
              <a:t>‹#›</a:t>
            </a:fld>
            <a:endParaRPr lang="en-US" dirty="0"/>
          </a:p>
        </p:txBody>
      </p:sp>
      <p:sp>
        <p:nvSpPr>
          <p:cNvPr id="6" name="Content Placeholder 3"/>
          <p:cNvSpPr>
            <a:spLocks noGrp="1"/>
          </p:cNvSpPr>
          <p:nvPr>
            <p:ph sz="quarter" idx="20"/>
          </p:nvPr>
        </p:nvSpPr>
        <p:spPr bwMode="gray">
          <a:xfrm>
            <a:off x="2818583" y="1988348"/>
            <a:ext cx="9034681" cy="648000"/>
          </a:xfrm>
        </p:spPr>
        <p:txBody>
          <a:bodyPr lIns="0" tIns="0" rIns="0" bIns="0"/>
          <a:lstStyle>
            <a:lvl1pPr>
              <a:defRPr b="1"/>
            </a:lvl1pPr>
            <a:lvl2pPr marL="180018" indent="-180018">
              <a:defRPr lang="en-US" sz="14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p:cNvSpPr>
            <a:spLocks noGrp="1"/>
          </p:cNvSpPr>
          <p:nvPr>
            <p:ph sz="quarter" idx="21"/>
          </p:nvPr>
        </p:nvSpPr>
        <p:spPr bwMode="gray">
          <a:xfrm>
            <a:off x="2818583" y="2792029"/>
            <a:ext cx="9034681" cy="6480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3"/>
          <p:cNvSpPr>
            <a:spLocks noGrp="1"/>
          </p:cNvSpPr>
          <p:nvPr>
            <p:ph sz="quarter" idx="22"/>
          </p:nvPr>
        </p:nvSpPr>
        <p:spPr bwMode="gray">
          <a:xfrm>
            <a:off x="2818583" y="3595710"/>
            <a:ext cx="9034681" cy="6480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quarter" idx="27"/>
          </p:nvPr>
        </p:nvSpPr>
        <p:spPr bwMode="gray">
          <a:xfrm>
            <a:off x="332582" y="1988348"/>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p:cNvSpPr>
            <a:spLocks noGrp="1"/>
          </p:cNvSpPr>
          <p:nvPr>
            <p:ph sz="quarter" idx="28"/>
          </p:nvPr>
        </p:nvSpPr>
        <p:spPr bwMode="gray">
          <a:xfrm>
            <a:off x="332582" y="2792029"/>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9"/>
          </p:nvPr>
        </p:nvSpPr>
        <p:spPr bwMode="gray">
          <a:xfrm>
            <a:off x="332582" y="3595710"/>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30"/>
          </p:nvPr>
        </p:nvSpPr>
        <p:spPr bwMode="gray">
          <a:xfrm>
            <a:off x="2818583" y="4408915"/>
            <a:ext cx="9034681" cy="6480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
          <p:cNvSpPr>
            <a:spLocks noGrp="1"/>
          </p:cNvSpPr>
          <p:nvPr>
            <p:ph sz="quarter" idx="31"/>
          </p:nvPr>
        </p:nvSpPr>
        <p:spPr bwMode="gray">
          <a:xfrm>
            <a:off x="332582" y="4408915"/>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bwMode="gray">
          <a:xfrm>
            <a:off x="1999567" y="2791461"/>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p:cNvCxnSpPr/>
          <p:nvPr userDrawn="1"/>
        </p:nvCxnSpPr>
        <p:spPr bwMode="gray">
          <a:xfrm>
            <a:off x="1779054" y="31264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3"/>
          <p:cNvCxnSpPr/>
          <p:nvPr userDrawn="1"/>
        </p:nvCxnSpPr>
        <p:spPr bwMode="gray">
          <a:xfrm>
            <a:off x="1999567" y="4408912"/>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4"/>
          <p:cNvCxnSpPr/>
          <p:nvPr userDrawn="1"/>
        </p:nvCxnSpPr>
        <p:spPr bwMode="gray">
          <a:xfrm>
            <a:off x="1778487" y="4743937"/>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3"/>
          <p:cNvCxnSpPr/>
          <p:nvPr userDrawn="1"/>
        </p:nvCxnSpPr>
        <p:spPr bwMode="gray">
          <a:xfrm>
            <a:off x="1999567" y="1987498"/>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4"/>
          <p:cNvCxnSpPr/>
          <p:nvPr userDrawn="1"/>
        </p:nvCxnSpPr>
        <p:spPr bwMode="gray">
          <a:xfrm>
            <a:off x="1779502" y="2322523"/>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3"/>
          <p:cNvCxnSpPr/>
          <p:nvPr userDrawn="1"/>
        </p:nvCxnSpPr>
        <p:spPr bwMode="gray">
          <a:xfrm>
            <a:off x="1999568" y="3595424"/>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14"/>
          <p:cNvCxnSpPr/>
          <p:nvPr userDrawn="1"/>
        </p:nvCxnSpPr>
        <p:spPr bwMode="gray">
          <a:xfrm>
            <a:off x="1778487" y="3930449"/>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bwMode="gray">
          <a:xfrm>
            <a:off x="2072427" y="272002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2072427" y="35237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2072427" y="433690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Content Placeholder 6"/>
          <p:cNvSpPr>
            <a:spLocks noGrp="1"/>
          </p:cNvSpPr>
          <p:nvPr>
            <p:ph sz="quarter" idx="35" hasCustomPrompt="1"/>
          </p:nvPr>
        </p:nvSpPr>
        <p:spPr>
          <a:xfrm>
            <a:off x="2218077" y="212863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1</a:t>
            </a:r>
            <a:endParaRPr lang="en-GB" dirty="0"/>
          </a:p>
        </p:txBody>
      </p:sp>
      <p:sp>
        <p:nvSpPr>
          <p:cNvPr id="26" name="Content Placeholder 6"/>
          <p:cNvSpPr>
            <a:spLocks noGrp="1"/>
          </p:cNvSpPr>
          <p:nvPr>
            <p:ph sz="quarter" idx="36" hasCustomPrompt="1"/>
          </p:nvPr>
        </p:nvSpPr>
        <p:spPr>
          <a:xfrm>
            <a:off x="2218077" y="29338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2</a:t>
            </a:r>
            <a:endParaRPr lang="en-GB" dirty="0"/>
          </a:p>
        </p:txBody>
      </p:sp>
      <p:sp>
        <p:nvSpPr>
          <p:cNvPr id="27" name="Content Placeholder 6"/>
          <p:cNvSpPr>
            <a:spLocks noGrp="1"/>
          </p:cNvSpPr>
          <p:nvPr>
            <p:ph sz="quarter" idx="37" hasCustomPrompt="1"/>
          </p:nvPr>
        </p:nvSpPr>
        <p:spPr>
          <a:xfrm>
            <a:off x="2218077" y="373864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3</a:t>
            </a:r>
            <a:endParaRPr lang="en-GB" dirty="0"/>
          </a:p>
        </p:txBody>
      </p:sp>
      <p:sp>
        <p:nvSpPr>
          <p:cNvPr id="28" name="Content Placeholder 6"/>
          <p:cNvSpPr>
            <a:spLocks noGrp="1"/>
          </p:cNvSpPr>
          <p:nvPr>
            <p:ph sz="quarter" idx="38" hasCustomPrompt="1"/>
          </p:nvPr>
        </p:nvSpPr>
        <p:spPr>
          <a:xfrm>
            <a:off x="2218077" y="4546247"/>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4</a:t>
            </a:r>
            <a:endParaRPr lang="en-GB" dirty="0"/>
          </a:p>
        </p:txBody>
      </p:sp>
      <p:sp>
        <p:nvSpPr>
          <p:cNvPr id="30" name="Content Placeholder 3"/>
          <p:cNvSpPr>
            <a:spLocks noGrp="1"/>
          </p:cNvSpPr>
          <p:nvPr>
            <p:ph sz="quarter" idx="40"/>
          </p:nvPr>
        </p:nvSpPr>
        <p:spPr bwMode="gray">
          <a:xfrm>
            <a:off x="2818368" y="5227851"/>
            <a:ext cx="9034681" cy="6480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3"/>
          <p:cNvSpPr>
            <a:spLocks noGrp="1"/>
          </p:cNvSpPr>
          <p:nvPr>
            <p:ph sz="quarter" idx="41"/>
          </p:nvPr>
        </p:nvSpPr>
        <p:spPr bwMode="gray">
          <a:xfrm>
            <a:off x="332367" y="5227851"/>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2" name="Straight Connector 13"/>
          <p:cNvCxnSpPr/>
          <p:nvPr userDrawn="1"/>
        </p:nvCxnSpPr>
        <p:spPr bwMode="gray">
          <a:xfrm>
            <a:off x="1999352" y="5227848"/>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14"/>
          <p:cNvCxnSpPr/>
          <p:nvPr userDrawn="1"/>
        </p:nvCxnSpPr>
        <p:spPr bwMode="gray">
          <a:xfrm>
            <a:off x="1778272" y="5562873"/>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bwMode="gray">
          <a:xfrm>
            <a:off x="2072212" y="5155845"/>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6"/>
          <p:cNvSpPr>
            <a:spLocks noGrp="1"/>
          </p:cNvSpPr>
          <p:nvPr>
            <p:ph sz="quarter" idx="42" hasCustomPrompt="1"/>
          </p:nvPr>
        </p:nvSpPr>
        <p:spPr>
          <a:xfrm>
            <a:off x="2217862" y="5365183"/>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de-DE" dirty="0"/>
              <a:t>5</a:t>
            </a:r>
            <a:endParaRPr lang="en-GB" dirty="0"/>
          </a:p>
        </p:txBody>
      </p:sp>
      <p:sp>
        <p:nvSpPr>
          <p:cNvPr id="36"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729389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de-DE" dirty="0"/>
          </a:p>
        </p:txBody>
      </p:sp>
      <p:sp>
        <p:nvSpPr>
          <p:cNvPr id="4" name="Date Placeholder 3"/>
          <p:cNvSpPr>
            <a:spLocks noGrp="1"/>
          </p:cNvSpPr>
          <p:nvPr>
            <p:ph type="dt" sz="half" idx="11"/>
          </p:nvPr>
        </p:nvSpPr>
        <p:spPr/>
        <p:txBody>
          <a:bodyPr/>
          <a:lstStyle/>
          <a:p>
            <a:fld id="{B2016A11-4950-4F3F-938B-45DEE5F72969}" type="datetime4">
              <a:rPr lang="en-US" smtClean="0"/>
              <a:pPr/>
              <a:t>September 8, 2019</a:t>
            </a:fld>
            <a:endParaRPr lang="en-US" dirty="0"/>
          </a:p>
        </p:txBody>
      </p:sp>
      <p:sp>
        <p:nvSpPr>
          <p:cNvPr id="5" name="Slide Number Placeholder 4"/>
          <p:cNvSpPr>
            <a:spLocks noGrp="1"/>
          </p:cNvSpPr>
          <p:nvPr>
            <p:ph type="sldNum" sz="quarter" idx="12"/>
          </p:nvPr>
        </p:nvSpPr>
        <p:spPr/>
        <p:txBody>
          <a:bodyPr/>
          <a:lstStyle/>
          <a:p>
            <a:r>
              <a:rPr lang="en-US"/>
              <a:t>Slide </a:t>
            </a:r>
            <a:fld id="{619F89D8-7AE3-494A-97F3-03D680869632}" type="slidenum">
              <a:rPr lang="en-US" smtClean="0"/>
              <a:pPr/>
              <a:t>‹#›</a:t>
            </a:fld>
            <a:endParaRPr lang="en-US" dirty="0"/>
          </a:p>
        </p:txBody>
      </p:sp>
      <p:sp>
        <p:nvSpPr>
          <p:cNvPr id="6" name="Content Placeholder 3"/>
          <p:cNvSpPr>
            <a:spLocks noGrp="1"/>
          </p:cNvSpPr>
          <p:nvPr>
            <p:ph sz="quarter" idx="20"/>
          </p:nvPr>
        </p:nvSpPr>
        <p:spPr bwMode="gray">
          <a:xfrm>
            <a:off x="2818583" y="1988348"/>
            <a:ext cx="9034681" cy="6480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p:cNvSpPr>
            <a:spLocks noGrp="1"/>
          </p:cNvSpPr>
          <p:nvPr>
            <p:ph sz="quarter" idx="21"/>
          </p:nvPr>
        </p:nvSpPr>
        <p:spPr bwMode="gray">
          <a:xfrm>
            <a:off x="2818583" y="2792029"/>
            <a:ext cx="9034681" cy="6480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3"/>
          <p:cNvSpPr>
            <a:spLocks noGrp="1"/>
          </p:cNvSpPr>
          <p:nvPr>
            <p:ph sz="quarter" idx="22"/>
          </p:nvPr>
        </p:nvSpPr>
        <p:spPr bwMode="gray">
          <a:xfrm>
            <a:off x="2818583" y="3595710"/>
            <a:ext cx="9034681" cy="1042776"/>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quarter" idx="27"/>
          </p:nvPr>
        </p:nvSpPr>
        <p:spPr bwMode="gray">
          <a:xfrm>
            <a:off x="332582" y="1988348"/>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p:cNvSpPr>
            <a:spLocks noGrp="1"/>
          </p:cNvSpPr>
          <p:nvPr>
            <p:ph sz="quarter" idx="28"/>
          </p:nvPr>
        </p:nvSpPr>
        <p:spPr bwMode="gray">
          <a:xfrm>
            <a:off x="332582" y="2792029"/>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9"/>
          </p:nvPr>
        </p:nvSpPr>
        <p:spPr bwMode="gray">
          <a:xfrm>
            <a:off x="332582" y="3595710"/>
            <a:ext cx="1535879" cy="1042775"/>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30"/>
          </p:nvPr>
        </p:nvSpPr>
        <p:spPr bwMode="gray">
          <a:xfrm>
            <a:off x="2818583" y="4774674"/>
            <a:ext cx="9034681" cy="1021512"/>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
          <p:cNvSpPr>
            <a:spLocks noGrp="1"/>
          </p:cNvSpPr>
          <p:nvPr>
            <p:ph sz="quarter" idx="31"/>
          </p:nvPr>
        </p:nvSpPr>
        <p:spPr bwMode="gray">
          <a:xfrm>
            <a:off x="332582" y="4774673"/>
            <a:ext cx="1535879" cy="102151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4" name="Straight Connector 13"/>
          <p:cNvCxnSpPr/>
          <p:nvPr userDrawn="1"/>
        </p:nvCxnSpPr>
        <p:spPr bwMode="gray">
          <a:xfrm>
            <a:off x="1999567" y="2791461"/>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p:cNvCxnSpPr/>
          <p:nvPr userDrawn="1"/>
        </p:nvCxnSpPr>
        <p:spPr bwMode="gray">
          <a:xfrm>
            <a:off x="1779054" y="31264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3"/>
          <p:cNvCxnSpPr/>
          <p:nvPr userDrawn="1"/>
        </p:nvCxnSpPr>
        <p:spPr bwMode="gray">
          <a:xfrm flipH="1">
            <a:off x="1999405" y="4774671"/>
            <a:ext cx="162" cy="1021515"/>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4"/>
          <p:cNvCxnSpPr/>
          <p:nvPr userDrawn="1"/>
        </p:nvCxnSpPr>
        <p:spPr bwMode="gray">
          <a:xfrm>
            <a:off x="1778487" y="5263700"/>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3"/>
          <p:cNvCxnSpPr/>
          <p:nvPr userDrawn="1"/>
        </p:nvCxnSpPr>
        <p:spPr bwMode="gray">
          <a:xfrm>
            <a:off x="1999567" y="1987498"/>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4"/>
          <p:cNvCxnSpPr/>
          <p:nvPr userDrawn="1"/>
        </p:nvCxnSpPr>
        <p:spPr bwMode="gray">
          <a:xfrm>
            <a:off x="1779502" y="2322523"/>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3"/>
          <p:cNvCxnSpPr/>
          <p:nvPr userDrawn="1"/>
        </p:nvCxnSpPr>
        <p:spPr bwMode="gray">
          <a:xfrm>
            <a:off x="1999569" y="3595424"/>
            <a:ext cx="851" cy="1042536"/>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14"/>
          <p:cNvCxnSpPr/>
          <p:nvPr userDrawn="1"/>
        </p:nvCxnSpPr>
        <p:spPr bwMode="gray">
          <a:xfrm>
            <a:off x="1778487" y="4132575"/>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5" name="Content Placeholder 6"/>
          <p:cNvSpPr>
            <a:spLocks noGrp="1"/>
          </p:cNvSpPr>
          <p:nvPr>
            <p:ph sz="quarter" idx="35" hasCustomPrompt="1"/>
          </p:nvPr>
        </p:nvSpPr>
        <p:spPr>
          <a:xfrm>
            <a:off x="2218077" y="212863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1</a:t>
            </a:r>
            <a:endParaRPr lang="en-GB" dirty="0"/>
          </a:p>
        </p:txBody>
      </p:sp>
      <p:sp>
        <p:nvSpPr>
          <p:cNvPr id="26" name="Content Placeholder 6"/>
          <p:cNvSpPr>
            <a:spLocks noGrp="1"/>
          </p:cNvSpPr>
          <p:nvPr>
            <p:ph sz="quarter" idx="36" hasCustomPrompt="1"/>
          </p:nvPr>
        </p:nvSpPr>
        <p:spPr>
          <a:xfrm>
            <a:off x="2218077" y="29338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2</a:t>
            </a:r>
            <a:endParaRPr lang="en-GB" dirty="0"/>
          </a:p>
        </p:txBody>
      </p:sp>
      <p:sp>
        <p:nvSpPr>
          <p:cNvPr id="27" name="Content Placeholder 6"/>
          <p:cNvSpPr>
            <a:spLocks noGrp="1"/>
          </p:cNvSpPr>
          <p:nvPr>
            <p:ph sz="quarter" idx="37" hasCustomPrompt="1"/>
          </p:nvPr>
        </p:nvSpPr>
        <p:spPr>
          <a:xfrm>
            <a:off x="2218077" y="3931147"/>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3</a:t>
            </a:r>
            <a:endParaRPr lang="en-GB" dirty="0"/>
          </a:p>
        </p:txBody>
      </p:sp>
      <p:sp>
        <p:nvSpPr>
          <p:cNvPr id="28" name="Content Placeholder 6"/>
          <p:cNvSpPr>
            <a:spLocks noGrp="1"/>
          </p:cNvSpPr>
          <p:nvPr>
            <p:ph sz="quarter" idx="38" hasCustomPrompt="1"/>
          </p:nvPr>
        </p:nvSpPr>
        <p:spPr>
          <a:xfrm>
            <a:off x="2218077" y="5066007"/>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4</a:t>
            </a:r>
            <a:endParaRPr lang="en-GB" dirty="0"/>
          </a:p>
        </p:txBody>
      </p:sp>
      <p:sp>
        <p:nvSpPr>
          <p:cNvPr id="36"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400160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7"/>
            <a:ext cx="11520000" cy="3982245"/>
          </a:xfrm>
        </p:spPr>
        <p:txBody>
          <a:bodyPr/>
          <a:lstStyle>
            <a:lvl1pPr>
              <a:defRPr sz="1800" b="1">
                <a:solidFill>
                  <a:schemeClr val="tx2"/>
                </a:solidFill>
              </a:defRPr>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September 8, 2019</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custDataLst>
      <p:tags r:id="rId1"/>
    </p:custDataLst>
    <p:extLst>
      <p:ext uri="{BB962C8B-B14F-4D97-AF65-F5344CB8AC3E}">
        <p14:creationId xmlns:p14="http://schemas.microsoft.com/office/powerpoint/2010/main" val="1988424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50: Matrix">
    <p:spTree>
      <p:nvGrpSpPr>
        <p:cNvPr id="1" name=""/>
        <p:cNvGrpSpPr/>
        <p:nvPr/>
      </p:nvGrpSpPr>
      <p:grpSpPr>
        <a:xfrm>
          <a:off x="0" y="0"/>
          <a:ext cx="0" cy="0"/>
          <a:chOff x="0" y="0"/>
          <a:chExt cx="0" cy="0"/>
        </a:xfrm>
      </p:grpSpPr>
      <p:sp>
        <p:nvSpPr>
          <p:cNvPr id="37" name="Text Placeholder 11"/>
          <p:cNvSpPr>
            <a:spLocks noGrp="1"/>
          </p:cNvSpPr>
          <p:nvPr>
            <p:ph type="body" sz="quarter" idx="26"/>
          </p:nvPr>
        </p:nvSpPr>
        <p:spPr bwMode="gray">
          <a:xfrm>
            <a:off x="2553272" y="1931194"/>
            <a:ext cx="2899094" cy="252000"/>
          </a:xfrm>
        </p:spPr>
        <p:txBody>
          <a:bodyPr lIns="0" tIns="0" rIns="0" anchor="t"/>
          <a:lstStyle>
            <a:lvl1pPr marL="0" indent="0">
              <a:spcBef>
                <a:spcPts val="0"/>
              </a:spcBef>
              <a:buFont typeface="Arial" panose="020B0604020202020204" pitchFamily="34" charset="0"/>
              <a:buNone/>
              <a:defRPr lang="en-US" sz="16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Text Placeholder 11"/>
          <p:cNvSpPr>
            <a:spLocks noGrp="1"/>
          </p:cNvSpPr>
          <p:nvPr>
            <p:ph type="body" sz="quarter" idx="27"/>
          </p:nvPr>
        </p:nvSpPr>
        <p:spPr bwMode="gray">
          <a:xfrm>
            <a:off x="5754947" y="1931194"/>
            <a:ext cx="2898000" cy="252000"/>
          </a:xfrm>
        </p:spPr>
        <p:txBody>
          <a:bodyPr lIns="0" tIns="0" rIns="0" anchor="t"/>
          <a:lstStyle>
            <a:lvl1pPr marL="0" indent="0">
              <a:spcBef>
                <a:spcPts val="0"/>
              </a:spcBef>
              <a:buFont typeface="Arial" panose="020B0604020202020204" pitchFamily="34" charset="0"/>
              <a:buNone/>
              <a:defRPr lang="en-US" sz="16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11"/>
          <p:cNvSpPr>
            <a:spLocks noGrp="1"/>
          </p:cNvSpPr>
          <p:nvPr>
            <p:ph type="body" sz="quarter" idx="28"/>
          </p:nvPr>
        </p:nvSpPr>
        <p:spPr bwMode="gray">
          <a:xfrm>
            <a:off x="8955527" y="1931194"/>
            <a:ext cx="2898000" cy="252000"/>
          </a:xfrm>
        </p:spPr>
        <p:txBody>
          <a:bodyPr lIns="0" tIns="0" rIns="0" anchor="t"/>
          <a:lstStyle>
            <a:lvl1pPr marL="0" indent="0">
              <a:spcBef>
                <a:spcPts val="0"/>
              </a:spcBef>
              <a:buFont typeface="Arial" panose="020B0604020202020204" pitchFamily="34" charset="0"/>
              <a:buNone/>
              <a:defRPr lang="en-US" sz="16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2553272" y="2317748"/>
            <a:ext cx="2903803"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
          <p:cNvSpPr>
            <a:spLocks noGrp="1"/>
          </p:cNvSpPr>
          <p:nvPr>
            <p:ph sz="quarter" idx="21"/>
          </p:nvPr>
        </p:nvSpPr>
        <p:spPr bwMode="gray">
          <a:xfrm>
            <a:off x="2553273" y="3573970"/>
            <a:ext cx="2903803"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3"/>
          <p:cNvSpPr>
            <a:spLocks noGrp="1"/>
          </p:cNvSpPr>
          <p:nvPr>
            <p:ph sz="quarter" idx="22"/>
          </p:nvPr>
        </p:nvSpPr>
        <p:spPr bwMode="gray">
          <a:xfrm>
            <a:off x="2553273" y="4830194"/>
            <a:ext cx="2903803"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8" name="Straight Connector 27"/>
          <p:cNvCxnSpPr/>
          <p:nvPr userDrawn="1"/>
        </p:nvCxnSpPr>
        <p:spPr bwMode="gray">
          <a:xfrm>
            <a:off x="2553272"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2550359"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0" name="Straight Connector 29"/>
          <p:cNvCxnSpPr/>
          <p:nvPr userDrawn="1"/>
        </p:nvCxnSpPr>
        <p:spPr bwMode="gray">
          <a:xfrm>
            <a:off x="2550359"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1" name="Straight Connector 30"/>
          <p:cNvCxnSpPr/>
          <p:nvPr userDrawn="1"/>
        </p:nvCxnSpPr>
        <p:spPr bwMode="gray">
          <a:xfrm>
            <a:off x="5754400"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p:cNvCxnSpPr/>
          <p:nvPr userDrawn="1"/>
        </p:nvCxnSpPr>
        <p:spPr bwMode="gray">
          <a:xfrm>
            <a:off x="5752943"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3" name="Straight Connector 32"/>
          <p:cNvCxnSpPr/>
          <p:nvPr userDrawn="1"/>
        </p:nvCxnSpPr>
        <p:spPr bwMode="gray">
          <a:xfrm>
            <a:off x="5752943"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p:cNvCxnSpPr/>
          <p:nvPr userDrawn="1"/>
        </p:nvCxnSpPr>
        <p:spPr bwMode="gray">
          <a:xfrm>
            <a:off x="8955527"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955527"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955527"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Content Placeholder 3"/>
          <p:cNvSpPr>
            <a:spLocks noGrp="1"/>
          </p:cNvSpPr>
          <p:nvPr>
            <p:ph sz="quarter" idx="29"/>
          </p:nvPr>
        </p:nvSpPr>
        <p:spPr bwMode="gray">
          <a:xfrm>
            <a:off x="5757301" y="2317748"/>
            <a:ext cx="2898000"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 name="Content Placeholder 3"/>
          <p:cNvSpPr>
            <a:spLocks noGrp="1"/>
          </p:cNvSpPr>
          <p:nvPr>
            <p:ph sz="quarter" idx="30"/>
          </p:nvPr>
        </p:nvSpPr>
        <p:spPr bwMode="gray">
          <a:xfrm>
            <a:off x="5757302" y="3573970"/>
            <a:ext cx="2898000"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Content Placeholder 3"/>
          <p:cNvSpPr>
            <a:spLocks noGrp="1"/>
          </p:cNvSpPr>
          <p:nvPr>
            <p:ph sz="quarter" idx="31"/>
          </p:nvPr>
        </p:nvSpPr>
        <p:spPr bwMode="gray">
          <a:xfrm>
            <a:off x="5757302" y="4830194"/>
            <a:ext cx="2898000"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6" name="Content Placeholder 3"/>
          <p:cNvSpPr>
            <a:spLocks noGrp="1"/>
          </p:cNvSpPr>
          <p:nvPr>
            <p:ph sz="quarter" idx="32"/>
          </p:nvPr>
        </p:nvSpPr>
        <p:spPr bwMode="gray">
          <a:xfrm>
            <a:off x="8955527" y="2317748"/>
            <a:ext cx="2898000"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Content Placeholder 3"/>
          <p:cNvSpPr>
            <a:spLocks noGrp="1"/>
          </p:cNvSpPr>
          <p:nvPr>
            <p:ph sz="quarter" idx="33"/>
          </p:nvPr>
        </p:nvSpPr>
        <p:spPr bwMode="gray">
          <a:xfrm>
            <a:off x="8955527" y="3573970"/>
            <a:ext cx="2898000"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8" name="Content Placeholder 3"/>
          <p:cNvSpPr>
            <a:spLocks noGrp="1"/>
          </p:cNvSpPr>
          <p:nvPr>
            <p:ph sz="quarter" idx="34"/>
          </p:nvPr>
        </p:nvSpPr>
        <p:spPr bwMode="gray">
          <a:xfrm>
            <a:off x="8955527" y="4830194"/>
            <a:ext cx="2898000"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35"/>
          </p:nvPr>
        </p:nvSpPr>
        <p:spPr bwMode="gray"/>
        <p:txBody>
          <a:bodyPr/>
          <a:lstStyle/>
          <a:p>
            <a:fld id="{61D1DE91-E2DE-4375-B4FF-ECFCEDDDCBE0}" type="datetime4">
              <a:rPr lang="en-US" smtClean="0"/>
              <a:t>September 8, 2019</a:t>
            </a:fld>
            <a:endParaRPr lang="en-US" dirty="0"/>
          </a:p>
        </p:txBody>
      </p:sp>
      <p:sp>
        <p:nvSpPr>
          <p:cNvPr id="4" name="Footer Placeholder 3"/>
          <p:cNvSpPr>
            <a:spLocks noGrp="1"/>
          </p:cNvSpPr>
          <p:nvPr>
            <p:ph type="ftr" sz="quarter" idx="36"/>
          </p:nvPr>
        </p:nvSpPr>
        <p:spPr bwMode="gray"/>
        <p:txBody>
          <a:bodyPr/>
          <a:lstStyle/>
          <a:p>
            <a:pPr lvl="8"/>
            <a:endParaRPr lang="en-US" dirty="0"/>
          </a:p>
        </p:txBody>
      </p:sp>
      <p:sp>
        <p:nvSpPr>
          <p:cNvPr id="5" name="Slide Number Placeholder 4"/>
          <p:cNvSpPr>
            <a:spLocks noGrp="1"/>
          </p:cNvSpPr>
          <p:nvPr>
            <p:ph type="sldNum" sz="quarter" idx="37"/>
          </p:nvPr>
        </p:nvSpPr>
        <p:spPr bwMode="gray"/>
        <p:txBody>
          <a:bodyPr/>
          <a:lstStyle/>
          <a:p>
            <a:r>
              <a:rPr lang="en-US" dirty="0"/>
              <a:t>Slide </a:t>
            </a:r>
            <a:fld id="{619F89D8-7AE3-494A-97F3-03D680869632}" type="slidenum">
              <a:rPr lang="en-US" smtClean="0"/>
              <a:pPr/>
              <a:t>‹#›</a:t>
            </a:fld>
            <a:endParaRPr lang="en-US" dirty="0"/>
          </a:p>
        </p:txBody>
      </p:sp>
      <p:sp>
        <p:nvSpPr>
          <p:cNvPr id="41"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716522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51: Process">
    <p:spTree>
      <p:nvGrpSpPr>
        <p:cNvPr id="1" name=""/>
        <p:cNvGrpSpPr/>
        <p:nvPr/>
      </p:nvGrpSpPr>
      <p:grpSpPr>
        <a:xfrm>
          <a:off x="0" y="0"/>
          <a:ext cx="0" cy="0"/>
          <a:chOff x="0" y="0"/>
          <a:chExt cx="0" cy="0"/>
        </a:xfrm>
      </p:grpSpPr>
      <p:sp>
        <p:nvSpPr>
          <p:cNvPr id="9" name="Text Placeholder 11"/>
          <p:cNvSpPr>
            <a:spLocks noGrp="1"/>
          </p:cNvSpPr>
          <p:nvPr>
            <p:ph type="body" sz="quarter" idx="16" hasCustomPrompt="1"/>
          </p:nvPr>
        </p:nvSpPr>
        <p:spPr bwMode="gray">
          <a:xfrm>
            <a:off x="333264" y="1931945"/>
            <a:ext cx="3643200" cy="360000"/>
          </a:xfrm>
          <a:prstGeom prst="homePlate">
            <a:avLst/>
          </a:prstGeom>
          <a:solidFill>
            <a:schemeClr val="accent4"/>
          </a:solidFill>
        </p:spPr>
        <p:txBody>
          <a:bodyPr lIns="28800" tIns="0" rIns="28800" anchor="ctr"/>
          <a:lstStyle>
            <a:lvl1pPr marL="0" indent="0" algn="ctr" defTabSz="914491" rtl="0" eaLnBrk="1" latinLnBrk="0" hangingPunct="1">
              <a:spcBef>
                <a:spcPts val="0"/>
              </a:spcBef>
              <a:buFont typeface="Arial" panose="020B0604020202020204" pitchFamily="34" charset="0"/>
              <a:buNone/>
              <a:defRPr lang="en-US" sz="1600" b="1" kern="1200" dirty="0">
                <a:solidFill>
                  <a:schemeClr val="tx1"/>
                </a:solidFill>
                <a:latin typeface="+mn-lt"/>
                <a:ea typeface="+mn-ea"/>
                <a:cs typeface="+mn-cs"/>
              </a:defRPr>
            </a:lvl1pPr>
            <a:lvl2pPr marL="0" indent="0" algn="ctr" defTabSz="914491" rtl="0" eaLnBrk="1" latinLnBrk="0" hangingPunct="1">
              <a:spcBef>
                <a:spcPts val="0"/>
              </a:spcBef>
              <a:buNone/>
              <a:defRPr lang="en-US" sz="2000" b="1" kern="1200" dirty="0">
                <a:solidFill>
                  <a:schemeClr val="tx2"/>
                </a:solidFill>
                <a:latin typeface="+mn-lt"/>
                <a:ea typeface="+mn-ea"/>
                <a:cs typeface="+mn-cs"/>
              </a:defRPr>
            </a:lvl2pPr>
            <a:lvl3pPr marL="0" indent="0" algn="ctr" defTabSz="914491" rtl="0" eaLnBrk="1" latinLnBrk="0" hangingPunct="1">
              <a:spcBef>
                <a:spcPts val="0"/>
              </a:spcBef>
              <a:buNone/>
              <a:defRPr lang="en-US" sz="1800" b="1" kern="1200" dirty="0">
                <a:solidFill>
                  <a:schemeClr val="tx2"/>
                </a:solidFill>
                <a:latin typeface="+mn-lt"/>
                <a:ea typeface="+mn-ea"/>
                <a:cs typeface="+mn-cs"/>
              </a:defRPr>
            </a:lvl3pPr>
            <a:lvl4pPr marL="0" indent="0" algn="ctr" defTabSz="914491" rtl="0" eaLnBrk="1" latinLnBrk="0" hangingPunct="1">
              <a:spcBef>
                <a:spcPts val="0"/>
              </a:spcBef>
              <a:buNone/>
              <a:defRPr lang="en-US" sz="1800" b="1" kern="1200" dirty="0">
                <a:solidFill>
                  <a:schemeClr val="tx2"/>
                </a:solidFill>
                <a:latin typeface="+mn-lt"/>
                <a:ea typeface="+mn-ea"/>
                <a:cs typeface="+mn-cs"/>
              </a:defRPr>
            </a:lvl4pPr>
            <a:lvl5pPr marL="0" indent="0" algn="ctr" defTabSz="914491" rtl="0" eaLnBrk="1" latinLnBrk="0" hangingPunct="1">
              <a:spcBef>
                <a:spcPts val="0"/>
              </a:spcBef>
              <a:buNone/>
              <a:defRPr lang="en-US" sz="1800" b="1" kern="1200" dirty="0">
                <a:solidFill>
                  <a:schemeClr val="tx2"/>
                </a:solidFill>
                <a:latin typeface="+mn-lt"/>
                <a:ea typeface="+mn-ea"/>
                <a:cs typeface="+mn-cs"/>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tx2"/>
                </a:solidFill>
              </a:defRPr>
            </a:lvl9pPr>
          </a:lstStyle>
          <a:p>
            <a:pPr lvl="1"/>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hasCustomPrompt="1"/>
          </p:nvPr>
        </p:nvSpPr>
        <p:spPr bwMode="gray">
          <a:xfrm>
            <a:off x="4271796"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lgn="ctr">
              <a:spcBef>
                <a:spcPts val="0"/>
              </a:spcBef>
              <a:buNone/>
              <a:defRPr sz="2000" b="1">
                <a:solidFill>
                  <a:schemeClr val="tx2"/>
                </a:solidFill>
              </a:defRPr>
            </a:lvl2pPr>
            <a:lvl3pPr marL="0" indent="0" algn="ctr">
              <a:spcBef>
                <a:spcPts val="0"/>
              </a:spcBef>
              <a:buNone/>
              <a:defRPr sz="1800" b="1">
                <a:solidFill>
                  <a:schemeClr val="tx2"/>
                </a:solidFill>
              </a:defRPr>
            </a:lvl3pPr>
            <a:lvl4pPr marL="0" indent="0" algn="ctr">
              <a:spcBef>
                <a:spcPts val="0"/>
              </a:spcBef>
              <a:buNone/>
              <a:defRPr sz="1800" b="1">
                <a:solidFill>
                  <a:schemeClr val="tx2"/>
                </a:solidFill>
              </a:defRPr>
            </a:lvl4pPr>
            <a:lvl5pPr marL="0" indent="0" algn="ctr">
              <a:spcBef>
                <a:spcPts val="0"/>
              </a:spcBef>
              <a:buNone/>
              <a:defRPr sz="1800" b="1">
                <a:solidFill>
                  <a:schemeClr val="tx2"/>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1"/>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hasCustomPrompt="1"/>
          </p:nvPr>
        </p:nvSpPr>
        <p:spPr bwMode="gray">
          <a:xfrm>
            <a:off x="8210327"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lgn="ctr">
              <a:spcBef>
                <a:spcPts val="0"/>
              </a:spcBef>
              <a:buNone/>
              <a:defRPr sz="2000" b="1">
                <a:solidFill>
                  <a:schemeClr val="tx2"/>
                </a:solidFill>
              </a:defRPr>
            </a:lvl2pPr>
            <a:lvl3pPr marL="0" indent="0" algn="ctr">
              <a:spcBef>
                <a:spcPts val="0"/>
              </a:spcBef>
              <a:buNone/>
              <a:defRPr sz="1800" b="1">
                <a:solidFill>
                  <a:schemeClr val="tx2"/>
                </a:solidFill>
              </a:defRPr>
            </a:lvl3pPr>
            <a:lvl4pPr marL="0" indent="0" algn="ctr">
              <a:spcBef>
                <a:spcPts val="0"/>
              </a:spcBef>
              <a:buNone/>
              <a:defRPr sz="1800" b="1">
                <a:solidFill>
                  <a:schemeClr val="tx2"/>
                </a:solidFill>
              </a:defRPr>
            </a:lvl4pPr>
            <a:lvl5pPr marL="0" indent="0" algn="ctr">
              <a:spcBef>
                <a:spcPts val="0"/>
              </a:spcBef>
              <a:buNone/>
              <a:defRPr sz="1800" b="1">
                <a:solidFill>
                  <a:schemeClr val="tx2"/>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1"/>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00C3FEDD-2DA3-4289-9B1F-96211D1B5114}"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3"/>
          </p:nvPr>
        </p:nvSpPr>
        <p:spPr bwMode="gray">
          <a:xfrm>
            <a:off x="333264" y="2402146"/>
            <a:ext cx="3643200" cy="3511294"/>
          </a:xfrm>
        </p:spPr>
        <p:txBody>
          <a:bodyPr lIns="0" tIns="0" rIns="0" bIns="0"/>
          <a:lstStyle>
            <a:lvl1pPr>
              <a:defRPr lang="en-US" sz="1600" b="1" kern="1200" dirty="0">
                <a:solidFill>
                  <a:schemeClr val="tx1"/>
                </a:solidFill>
                <a:latin typeface="+mn-lt"/>
                <a:ea typeface="+mn-ea"/>
                <a:cs typeface="+mn-cs"/>
              </a:defRPr>
            </a:lvl1pPr>
            <a:lvl2pPr>
              <a:defRPr sz="1600"/>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5"/>
          </p:nvPr>
        </p:nvSpPr>
        <p:spPr bwMode="gray">
          <a:xfrm>
            <a:off x="4271796" y="2402146"/>
            <a:ext cx="3643200" cy="351129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p:cNvSpPr>
            <a:spLocks noGrp="1"/>
          </p:cNvSpPr>
          <p:nvPr>
            <p:ph sz="quarter" idx="27"/>
          </p:nvPr>
        </p:nvSpPr>
        <p:spPr bwMode="gray">
          <a:xfrm>
            <a:off x="8210327" y="2402146"/>
            <a:ext cx="3643200" cy="351129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27" name="Straight Connector 26"/>
          <p:cNvCxnSpPr/>
          <p:nvPr userDrawn="1"/>
        </p:nvCxnSpPr>
        <p:spPr bwMode="gray">
          <a:xfrm>
            <a:off x="4124130"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8062662"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Tree>
    <p:custDataLst>
      <p:tags r:id="rId1"/>
    </p:custDataLst>
    <p:extLst>
      <p:ext uri="{BB962C8B-B14F-4D97-AF65-F5344CB8AC3E}">
        <p14:creationId xmlns:p14="http://schemas.microsoft.com/office/powerpoint/2010/main" val="5251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52: Image">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bwMode="gray">
          <a:xfrm>
            <a:off x="2" y="0"/>
            <a:ext cx="12192000" cy="6858000"/>
          </a:xfrm>
          <a:custGeom>
            <a:avLst/>
            <a:gdLst>
              <a:gd name="connsiteX0" fmla="*/ 334746 w 12192000"/>
              <a:gd name="connsiteY0" fmla="*/ 530044 h 6858000"/>
              <a:gd name="connsiteX1" fmla="*/ 334746 w 12192000"/>
              <a:gd name="connsiteY1" fmla="*/ 558844 h 6858000"/>
              <a:gd name="connsiteX2" fmla="*/ 561546 w 12192000"/>
              <a:gd name="connsiteY2" fmla="*/ 558844 h 6858000"/>
              <a:gd name="connsiteX3" fmla="*/ 561546 w 12192000"/>
              <a:gd name="connsiteY3" fmla="*/ 53004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4746" y="530044"/>
                </a:moveTo>
                <a:lnTo>
                  <a:pt x="334746" y="558844"/>
                </a:lnTo>
                <a:lnTo>
                  <a:pt x="561546" y="558844"/>
                </a:lnTo>
                <a:lnTo>
                  <a:pt x="561546" y="530044"/>
                </a:lnTo>
                <a:close/>
                <a:moveTo>
                  <a:pt x="0" y="0"/>
                </a:moveTo>
                <a:lnTo>
                  <a:pt x="12192000" y="0"/>
                </a:lnTo>
                <a:lnTo>
                  <a:pt x="12192000" y="6858000"/>
                </a:lnTo>
                <a:lnTo>
                  <a:pt x="0" y="6858000"/>
                </a:lnTo>
                <a:close/>
              </a:path>
            </a:pathLst>
          </a:custGeom>
        </p:spPr>
        <p:txBody>
          <a:bodyPr wrap="square">
            <a:noAutofit/>
          </a:bodyPr>
          <a:lstStyle/>
          <a:p>
            <a:r>
              <a:rPr lang="en-US"/>
              <a:t>Click icon to add picture</a:t>
            </a:r>
            <a:endParaRPr lang="en-US" dirty="0"/>
          </a:p>
        </p:txBody>
      </p:sp>
      <p:sp>
        <p:nvSpPr>
          <p:cNvPr id="2" name="Title 1"/>
          <p:cNvSpPr>
            <a:spLocks noGrp="1"/>
          </p:cNvSpPr>
          <p:nvPr>
            <p:ph type="title"/>
          </p:nvPr>
        </p:nvSpPr>
        <p:spPr bwMode="gray">
          <a:xfrm>
            <a:off x="332366" y="622788"/>
            <a:ext cx="11520898" cy="396000"/>
          </a:xfrm>
        </p:spPr>
        <p:txBody>
          <a:bodyPr/>
          <a:lstStyle>
            <a:lvl1pPr>
              <a:defRPr sz="1800"/>
            </a:lvl1p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A1F808C0-290B-4263-8A52-B569B4875133}" type="datetime4">
              <a:rPr lang="en-US" smtClean="0"/>
              <a:pPr/>
              <a:t>September 8, 2019</a:t>
            </a:fld>
            <a:endParaRPr lang="en-US" dirty="0"/>
          </a:p>
        </p:txBody>
      </p:sp>
      <p:sp>
        <p:nvSpPr>
          <p:cNvPr id="5" name="Footer Placeholder 4"/>
          <p:cNvSpPr>
            <a:spLocks noGrp="1"/>
          </p:cNvSpPr>
          <p:nvPr>
            <p:ph type="ftr" sz="quarter" idx="15"/>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6"/>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Slide </a:t>
            </a:r>
            <a:fld id="{619F89D8-7AE3-494A-97F3-03D680869632}" type="slidenum">
              <a:rPr lang="en-US" smtClean="0"/>
              <a:pPr/>
              <a:t>‹#›</a:t>
            </a:fld>
            <a:endParaRPr lang="en-US" dirty="0"/>
          </a:p>
        </p:txBody>
      </p:sp>
      <p:sp>
        <p:nvSpPr>
          <p:cNvPr id="13" name="Rectangle 12"/>
          <p:cNvSpPr/>
          <p:nvPr userDrawn="1"/>
        </p:nvSpPr>
        <p:spPr bwMode="gray">
          <a:xfrm>
            <a:off x="242214" y="447781"/>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800" b="1" dirty="0">
                <a:solidFill>
                  <a:srgbClr val="FF0000"/>
                </a:solidFill>
              </a:rPr>
              <a:t>—</a:t>
            </a:r>
            <a:endParaRPr lang="en-US" sz="1800" b="1" dirty="0" err="1">
              <a:solidFill>
                <a:srgbClr val="FF0000"/>
              </a:solidFill>
            </a:endParaRPr>
          </a:p>
        </p:txBody>
      </p:sp>
    </p:spTree>
    <p:extLst>
      <p:ext uri="{BB962C8B-B14F-4D97-AF65-F5344CB8AC3E}">
        <p14:creationId xmlns:p14="http://schemas.microsoft.com/office/powerpoint/2010/main" val="3614043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p>
            <a:fld id="{A1F808C0-290B-4263-8A52-B569B4875133}" type="datetime4">
              <a:rPr lang="en-US" smtClean="0"/>
              <a:t>September 8, 2019</a:t>
            </a:fld>
            <a:endParaRPr lang="en-US" dirty="0"/>
          </a:p>
        </p:txBody>
      </p:sp>
      <p:sp>
        <p:nvSpPr>
          <p:cNvPr id="5" name="Footer Placeholder 4"/>
          <p:cNvSpPr>
            <a:spLocks noGrp="1"/>
          </p:cNvSpPr>
          <p:nvPr>
            <p:ph type="ftr" sz="quarter" idx="15"/>
          </p:nvPr>
        </p:nvSpPr>
        <p:spPr bwMode="gray"/>
        <p:txBody>
          <a:bodyPr/>
          <a:lstStyle/>
          <a:p>
            <a:pPr lvl="8"/>
            <a:endParaRPr lang="en-US" dirty="0"/>
          </a:p>
        </p:txBody>
      </p:sp>
      <p:sp>
        <p:nvSpPr>
          <p:cNvPr id="6" name="Slide Number Placeholder 5"/>
          <p:cNvSpPr>
            <a:spLocks noGrp="1"/>
          </p:cNvSpPr>
          <p:nvPr>
            <p:ph type="sldNum" sz="quarter" idx="16"/>
          </p:nvPr>
        </p:nvSpPr>
        <p:spPr bwMode="gray"/>
        <p:txBody>
          <a:bodyPr/>
          <a:lstStyle/>
          <a:p>
            <a:r>
              <a:rPr lang="en-US" dirty="0"/>
              <a:t>Slide </a:t>
            </a:r>
            <a:fld id="{619F89D8-7AE3-494A-97F3-03D680869632}" type="slidenum">
              <a:rPr lang="en-US" smtClean="0"/>
              <a:pPr/>
              <a:t>‹#›</a:t>
            </a:fld>
            <a:endParaRPr lang="en-US" dirty="0"/>
          </a:p>
        </p:txBody>
      </p:sp>
      <p:sp>
        <p:nvSpPr>
          <p:cNvPr id="18"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custDataLst>
      <p:tags r:id="rId1"/>
    </p:custDataLst>
    <p:extLst>
      <p:ext uri="{BB962C8B-B14F-4D97-AF65-F5344CB8AC3E}">
        <p14:creationId xmlns:p14="http://schemas.microsoft.com/office/powerpoint/2010/main" val="3190381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54: Final Slide">
    <p:spTree>
      <p:nvGrpSpPr>
        <p:cNvPr id="1" name=""/>
        <p:cNvGrpSpPr/>
        <p:nvPr/>
      </p:nvGrpSpPr>
      <p:grpSpPr>
        <a:xfrm>
          <a:off x="0" y="0"/>
          <a:ext cx="0" cy="0"/>
          <a:chOff x="0" y="0"/>
          <a:chExt cx="0" cy="0"/>
        </a:xfrm>
      </p:grpSpPr>
      <p:pic>
        <p:nvPicPr>
          <p:cNvPr id="7" name="Picture 1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447616" y="2793573"/>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4008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7" r="7"/>
          <a:stretch/>
        </p:blipFill>
        <p:spPr bwMode="gray">
          <a:xfrm>
            <a:off x="2"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endParaRPr lang="en-US" dirty="0"/>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0" name="Picture 1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917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2"/>
          <a:srcRect t="21637" b="21637"/>
          <a:stretch/>
        </p:blipFill>
        <p:spPr bwMode="gray">
          <a:xfrm>
            <a:off x="2" y="0"/>
            <a:ext cx="12192000" cy="4610100"/>
          </a:xfrm>
          <a:prstGeom prst="rect">
            <a:avLst/>
          </a:prstGeom>
        </p:spPr>
      </p:pic>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3059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2" y="0"/>
            <a:ext cx="12192000" cy="4610100"/>
          </a:xfrm>
        </p:spPr>
        <p:txBody>
          <a:bodyPr/>
          <a:lstStyle/>
          <a:p>
            <a:r>
              <a:rPr lang="en-US"/>
              <a:t>Click icon to add picture</a:t>
            </a:r>
          </a:p>
        </p:txBody>
      </p:sp>
      <p:sp>
        <p:nvSpPr>
          <p:cNvPr id="22"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1347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5: Divi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srcRect b="6897"/>
          <a:stretch/>
        </p:blipFill>
        <p:spPr bwMode="gray">
          <a:xfrm>
            <a:off x="1" y="0"/>
            <a:ext cx="12198845" cy="6858000"/>
          </a:xfrm>
          <a:prstGeom prst="rect">
            <a:avLst/>
          </a:prstGeom>
        </p:spPr>
      </p:pic>
      <p:sp>
        <p:nvSpPr>
          <p:cNvPr id="10" name="Rectangle 9">
            <a:extLst>
              <a:ext uri="{FF2B5EF4-FFF2-40B4-BE49-F238E27FC236}">
                <a16:creationId xmlns:a16="http://schemas.microsoft.com/office/drawing/2014/main" id="{F54DE7E8-58C9-4B5A-B686-53E1B76B68C9}"/>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1"/>
                </a:solidFill>
              </a:rPr>
              <a:t>—</a:t>
            </a:r>
            <a:endParaRPr lang="en-US" sz="3200" b="1" dirty="0" err="1">
              <a:solidFill>
                <a:schemeClr val="bg1"/>
              </a:solidFill>
            </a:endParaRPr>
          </a:p>
        </p:txBody>
      </p:sp>
      <p:sp>
        <p:nvSpPr>
          <p:cNvPr id="9" name="Title 1">
            <a:extLst>
              <a:ext uri="{FF2B5EF4-FFF2-40B4-BE49-F238E27FC236}">
                <a16:creationId xmlns:a16="http://schemas.microsoft.com/office/drawing/2014/main" id="{26BA06A1-F808-4CBA-9D28-8D357F795D4C}"/>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endParaRPr lang="en-US" dirty="0"/>
          </a:p>
        </p:txBody>
      </p:sp>
      <p:sp>
        <p:nvSpPr>
          <p:cNvPr id="11" name="Subtitle 2">
            <a:extLst>
              <a:ext uri="{FF2B5EF4-FFF2-40B4-BE49-F238E27FC236}">
                <a16:creationId xmlns:a16="http://schemas.microsoft.com/office/drawing/2014/main" id="{F7CD425E-9028-4049-A9A0-DC6F9DF08061}"/>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927930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6: Divider 2">
    <p:spTree>
      <p:nvGrpSpPr>
        <p:cNvPr id="1" name=""/>
        <p:cNvGrpSpPr/>
        <p:nvPr/>
      </p:nvGrpSpPr>
      <p:grpSpPr>
        <a:xfrm>
          <a:off x="0" y="0"/>
          <a:ext cx="0" cy="0"/>
          <a:chOff x="0" y="0"/>
          <a:chExt cx="0" cy="0"/>
        </a:xfrm>
      </p:grpSpPr>
      <p:sp>
        <p:nvSpPr>
          <p:cNvPr id="9" name="Rectangle 8"/>
          <p:cNvSpPr/>
          <p:nvPr userDrawn="1"/>
        </p:nvSpPr>
        <p:spPr bwMode="gray">
          <a:xfrm>
            <a:off x="2" y="0"/>
            <a:ext cx="12192000" cy="6858000"/>
          </a:xfrm>
          <a:prstGeom prst="rect">
            <a:avLst/>
          </a:prstGeom>
          <a:solidFill>
            <a:srgbClr val="FF000F"/>
          </a:solidFill>
          <a:ln w="25400" cap="flat" cmpd="sng" algn="ctr">
            <a:noFill/>
            <a:prstDash val="solid"/>
          </a:ln>
          <a:effectLst/>
        </p:spPr>
        <p:txBody>
          <a:bodyPr lIns="72009" tIns="72009" rIns="72009" bIns="72009" rtlCol="0" anchor="ctr"/>
          <a:lstStyle/>
          <a:p>
            <a:pPr marL="0" marR="0" lvl="0" indent="0" algn="ctr" defTabSz="91449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
        <p:nvSpPr>
          <p:cNvPr id="11" name="Rectangle 10">
            <a:extLst>
              <a:ext uri="{FF2B5EF4-FFF2-40B4-BE49-F238E27FC236}">
                <a16:creationId xmlns:a16="http://schemas.microsoft.com/office/drawing/2014/main" id="{94A90620-6E53-42BB-807B-70CAD0710CDD}"/>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1"/>
                </a:solidFill>
              </a:rPr>
              <a:t>—</a:t>
            </a:r>
            <a:endParaRPr lang="en-US" sz="3200" b="1" dirty="0" err="1">
              <a:solidFill>
                <a:schemeClr val="bg1"/>
              </a:solidFill>
            </a:endParaRPr>
          </a:p>
        </p:txBody>
      </p:sp>
      <p:sp>
        <p:nvSpPr>
          <p:cNvPr id="8" name="Title 1">
            <a:extLst>
              <a:ext uri="{FF2B5EF4-FFF2-40B4-BE49-F238E27FC236}">
                <a16:creationId xmlns:a16="http://schemas.microsoft.com/office/drawing/2014/main" id="{6B34BC21-AFED-46B1-8268-92A7B5BBDEE1}"/>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endParaRPr lang="en-US" dirty="0"/>
          </a:p>
        </p:txBody>
      </p:sp>
      <p:sp>
        <p:nvSpPr>
          <p:cNvPr id="10" name="Subtitle 2">
            <a:extLst>
              <a:ext uri="{FF2B5EF4-FFF2-40B4-BE49-F238E27FC236}">
                <a16:creationId xmlns:a16="http://schemas.microsoft.com/office/drawing/2014/main" id="{0C1FE702-2A26-4886-8C77-E6510DB1849C}"/>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487261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0: Content &amp; Box">
    <p:spTree>
      <p:nvGrpSpPr>
        <p:cNvPr id="1" name=""/>
        <p:cNvGrpSpPr/>
        <p:nvPr/>
      </p:nvGrpSpPr>
      <p:grpSpPr>
        <a:xfrm>
          <a:off x="0" y="0"/>
          <a:ext cx="0" cy="0"/>
          <a:chOff x="0" y="0"/>
          <a:chExt cx="0" cy="0"/>
        </a:xfrm>
      </p:grpSpPr>
      <p:sp>
        <p:nvSpPr>
          <p:cNvPr id="9" name="Content Placeholder 8"/>
          <p:cNvSpPr>
            <a:spLocks noGrp="1"/>
          </p:cNvSpPr>
          <p:nvPr>
            <p:ph sz="quarter" idx="21" hasCustomPrompt="1"/>
          </p:nvPr>
        </p:nvSpPr>
        <p:spPr bwMode="gray">
          <a:xfrm>
            <a:off x="332367" y="1931195"/>
            <a:ext cx="11520000" cy="3430994"/>
          </a:xfrm>
        </p:spPr>
        <p:txBody>
          <a:bodyPr/>
          <a:lstStyle>
            <a:lvl1pPr>
              <a:defRPr lang="en-US" sz="1800" b="1" kern="1200" dirty="0" smtClean="0">
                <a:solidFill>
                  <a:schemeClr val="tx2"/>
                </a:solidFill>
                <a:latin typeface="+mn-lt"/>
                <a:ea typeface="+mn-ea"/>
                <a:cs typeface="+mn-cs"/>
              </a:defRPr>
            </a:lvl1pPr>
            <a:lvl2pPr marL="180018" indent="-180018">
              <a:defRPr lang="en-US" sz="1600" kern="1200" dirty="0" smtClean="0">
                <a:solidFill>
                  <a:schemeClr val="tx1"/>
                </a:solidFill>
                <a:latin typeface="+mn-lt"/>
                <a:ea typeface="+mn-ea"/>
                <a:cs typeface="+mn-cs"/>
              </a:defRPr>
            </a:lvl2pPr>
            <a:lvl3pPr>
              <a:defRPr/>
            </a:lvl3pPr>
            <a:lvl4pPr>
              <a:defRPr/>
            </a:lvl4pPr>
            <a:lvl5pPr>
              <a:defRPr/>
            </a:lvl5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September 8, 2019</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anchor="ctr"/>
          <a:lstStyle>
            <a:lvl1pPr marL="0" indent="0" algn="ctr">
              <a:spcBef>
                <a:spcPts val="0"/>
              </a:spcBef>
              <a:buFont typeface="Arial" panose="020B0604020202020204" pitchFamily="34" charset="0"/>
              <a:buNone/>
              <a:defRPr sz="1800" b="1">
                <a:solidFill>
                  <a:schemeClr val="bg1"/>
                </a:solidFill>
              </a:defRPr>
            </a:lvl1pPr>
            <a:lvl2pPr marL="0" indent="0" algn="ctr">
              <a:spcBef>
                <a:spcPts val="0"/>
              </a:spcBef>
              <a:buNone/>
              <a:defRPr sz="1800" b="1">
                <a:solidFill>
                  <a:schemeClr val="bg1"/>
                </a:solidFill>
              </a:defRPr>
            </a:lvl2pPr>
            <a:lvl3pPr marL="0" indent="0" algn="ctr">
              <a:spcBef>
                <a:spcPts val="0"/>
              </a:spcBef>
              <a:buNone/>
              <a:defRPr sz="1800" b="1">
                <a:solidFill>
                  <a:schemeClr val="bg1"/>
                </a:solidFill>
              </a:defRPr>
            </a:lvl3pPr>
            <a:lvl4pPr marL="0" indent="0" algn="ctr">
              <a:spcBef>
                <a:spcPts val="0"/>
              </a:spcBef>
              <a:buNone/>
              <a:defRPr sz="1800" b="1">
                <a:solidFill>
                  <a:schemeClr val="bg1"/>
                </a:solidFill>
              </a:defRPr>
            </a:lvl4pPr>
            <a:lvl5pPr marL="0" indent="0" algn="ctr">
              <a:spcBef>
                <a:spcPts val="0"/>
              </a:spcBef>
              <a:buNone/>
              <a:defRPr sz="18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02066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884551-BCA1-4427-92BF-DB5CAA0DDF08}"/>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sp>
        <p:nvSpPr>
          <p:cNvPr id="5" name="Title 1">
            <a:extLst>
              <a:ext uri="{FF2B5EF4-FFF2-40B4-BE49-F238E27FC236}">
                <a16:creationId xmlns:a16="http://schemas.microsoft.com/office/drawing/2014/main" id="{FAC380CA-95DB-45F2-99D5-3A1E2DF54CD3}"/>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tx1"/>
                </a:solidFill>
              </a:defRPr>
            </a:lvl1pPr>
          </a:lstStyle>
          <a:p>
            <a:r>
              <a:rPr lang="en-US"/>
              <a:t>Click to edit Master title style</a:t>
            </a:r>
            <a:endParaRPr lang="en-US" dirty="0"/>
          </a:p>
        </p:txBody>
      </p:sp>
      <p:sp>
        <p:nvSpPr>
          <p:cNvPr id="6" name="Subtitle 2">
            <a:extLst>
              <a:ext uri="{FF2B5EF4-FFF2-40B4-BE49-F238E27FC236}">
                <a16:creationId xmlns:a16="http://schemas.microsoft.com/office/drawing/2014/main" id="{EE182003-2699-4135-A685-461A4D33947D}"/>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582413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332367" y="1931197"/>
            <a:ext cx="11520897" cy="3980439"/>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18"/>
          </p:nvPr>
        </p:nvSpPr>
        <p:spPr bwMode="gray"/>
        <p:txBody>
          <a:bodyPr/>
          <a:lstStyle/>
          <a:p>
            <a:fld id="{F7AFF65D-AAB4-46ED-A858-A6BA48891152}" type="datetime4">
              <a:rPr lang="en-US" smtClean="0"/>
              <a:t>September 8, 2019</a:t>
            </a:fld>
            <a:endParaRPr lang="en-US" dirty="0"/>
          </a:p>
        </p:txBody>
      </p:sp>
      <p:sp>
        <p:nvSpPr>
          <p:cNvPr id="5" name="Footer Placeholder 4"/>
          <p:cNvSpPr>
            <a:spLocks noGrp="1"/>
          </p:cNvSpPr>
          <p:nvPr>
            <p:ph type="ftr" sz="quarter" idx="19"/>
          </p:nvPr>
        </p:nvSpPr>
        <p:spPr bwMode="gray"/>
        <p:txBody>
          <a:bodyPr/>
          <a:lstStyle/>
          <a:p>
            <a:pPr lvl="8"/>
            <a:endParaRPr lang="en-US" dirty="0"/>
          </a:p>
        </p:txBody>
      </p:sp>
      <p:sp>
        <p:nvSpPr>
          <p:cNvPr id="6" name="Slide Number Placeholder 5"/>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7" name="Title 6"/>
          <p:cNvSpPr>
            <a:spLocks noGrp="1"/>
          </p:cNvSpPr>
          <p:nvPr>
            <p:ph type="title"/>
          </p:nvPr>
        </p:nvSpPr>
        <p:spPr bwMode="gray"/>
        <p:txBody>
          <a:bodyPr/>
          <a:lstStyle/>
          <a:p>
            <a:r>
              <a:rPr lang="en-US"/>
              <a:t>Click to edit Master title style</a:t>
            </a:r>
            <a:endParaRPr lang="en-US" dirty="0"/>
          </a:p>
        </p:txBody>
      </p:sp>
    </p:spTree>
    <p:extLst>
      <p:ext uri="{BB962C8B-B14F-4D97-AF65-F5344CB8AC3E}">
        <p14:creationId xmlns:p14="http://schemas.microsoft.com/office/powerpoint/2010/main" val="360953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7"/>
            <a:ext cx="11520000" cy="3982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September 8, 2019</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374307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0: Content &amp; Box">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5"/>
            <a:ext cx="11520000" cy="343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September 8, 2019</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9573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17488BFE-015E-452C-932B-DB979AC8F28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6" name="Subtitle 2"/>
          <p:cNvSpPr>
            <a:spLocks noGrp="1"/>
          </p:cNvSpPr>
          <p:nvPr>
            <p:ph type="subTitle" idx="13"/>
          </p:nvPr>
        </p:nvSpPr>
        <p:spPr bwMode="gray">
          <a:xfrm>
            <a:off x="334139"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7"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15"/>
          <p:cNvSpPr>
            <a:spLocks noGrp="1"/>
          </p:cNvSpPr>
          <p:nvPr>
            <p:ph sz="quarter" idx="19"/>
          </p:nvPr>
        </p:nvSpPr>
        <p:spPr bwMode="gray">
          <a:xfrm>
            <a:off x="332367" y="2317637"/>
            <a:ext cx="11520000" cy="359421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57774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2: Title (5)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D8D4DCBA-4C7A-4489-854D-9CAAB7BC53A0}"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9" name="Straight Connector 8"/>
          <p:cNvCxnSpPr/>
          <p:nvPr userDrawn="1"/>
        </p:nvCxnSpPr>
        <p:spPr bwMode="gray">
          <a:xfrm>
            <a:off x="42716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0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6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1"/>
          <p:cNvSpPr>
            <a:spLocks noGrp="1"/>
          </p:cNvSpPr>
          <p:nvPr>
            <p:ph type="body" sz="quarter" idx="18"/>
          </p:nvPr>
        </p:nvSpPr>
        <p:spPr bwMode="gray">
          <a:xfrm>
            <a:off x="82100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6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0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6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p:cNvSpPr>
            <a:spLocks noGrp="1"/>
          </p:cNvSpPr>
          <p:nvPr>
            <p:ph type="body" sz="quarter" idx="21"/>
          </p:nvPr>
        </p:nvSpPr>
        <p:spPr bwMode="gray">
          <a:xfrm>
            <a:off x="82100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3"/>
          <p:cNvSpPr>
            <a:spLocks noGrp="1"/>
          </p:cNvSpPr>
          <p:nvPr>
            <p:ph sz="quarter" idx="23"/>
          </p:nvPr>
        </p:nvSpPr>
        <p:spPr bwMode="gray">
          <a:xfrm>
            <a:off x="333263" y="1931195"/>
            <a:ext cx="3643200" cy="180926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3"/>
          <p:cNvSpPr>
            <a:spLocks noGrp="1"/>
          </p:cNvSpPr>
          <p:nvPr>
            <p:ph sz="quarter" idx="24"/>
          </p:nvPr>
        </p:nvSpPr>
        <p:spPr bwMode="gray">
          <a:xfrm>
            <a:off x="42716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Content Placeholder 3"/>
          <p:cNvSpPr>
            <a:spLocks noGrp="1"/>
          </p:cNvSpPr>
          <p:nvPr>
            <p:ph sz="quarter" idx="25"/>
          </p:nvPr>
        </p:nvSpPr>
        <p:spPr bwMode="gray">
          <a:xfrm>
            <a:off x="82100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3"/>
          <p:cNvSpPr>
            <a:spLocks noGrp="1"/>
          </p:cNvSpPr>
          <p:nvPr>
            <p:ph sz="quarter" idx="26"/>
          </p:nvPr>
        </p:nvSpPr>
        <p:spPr bwMode="gray">
          <a:xfrm>
            <a:off x="333263"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7"/>
          </p:nvPr>
        </p:nvSpPr>
        <p:spPr bwMode="gray">
          <a:xfrm>
            <a:off x="42716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3"/>
          <p:cNvSpPr>
            <a:spLocks noGrp="1"/>
          </p:cNvSpPr>
          <p:nvPr>
            <p:ph sz="quarter" idx="28"/>
          </p:nvPr>
        </p:nvSpPr>
        <p:spPr bwMode="gray">
          <a:xfrm>
            <a:off x="82100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79903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3: Title (6)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D8D4DCBA-4C7A-4489-854D-9CAAB7BC53A0}"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11"/>
          <p:cNvSpPr>
            <a:spLocks noGrp="1"/>
          </p:cNvSpPr>
          <p:nvPr>
            <p:ph type="body" sz="quarter" idx="18"/>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795"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327"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796"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1"/>
          <p:cNvSpPr>
            <a:spLocks noGrp="1"/>
          </p:cNvSpPr>
          <p:nvPr>
            <p:ph type="body" sz="quarter" idx="21"/>
          </p:nvPr>
        </p:nvSpPr>
        <p:spPr bwMode="gray">
          <a:xfrm>
            <a:off x="8210327"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3"/>
          <p:cNvSpPr>
            <a:spLocks noGrp="1"/>
          </p:cNvSpPr>
          <p:nvPr>
            <p:ph sz="quarter" idx="23"/>
          </p:nvPr>
        </p:nvSpPr>
        <p:spPr bwMode="gray">
          <a:xfrm>
            <a:off x="3332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3"/>
          <p:cNvSpPr>
            <a:spLocks noGrp="1"/>
          </p:cNvSpPr>
          <p:nvPr>
            <p:ph sz="quarter" idx="24"/>
          </p:nvPr>
        </p:nvSpPr>
        <p:spPr bwMode="gray">
          <a:xfrm>
            <a:off x="4271795"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Content Placeholder 3"/>
          <p:cNvSpPr>
            <a:spLocks noGrp="1"/>
          </p:cNvSpPr>
          <p:nvPr>
            <p:ph sz="quarter" idx="25"/>
          </p:nvPr>
        </p:nvSpPr>
        <p:spPr bwMode="gray">
          <a:xfrm>
            <a:off x="8210327"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Content Placeholder 3"/>
          <p:cNvSpPr>
            <a:spLocks noGrp="1"/>
          </p:cNvSpPr>
          <p:nvPr>
            <p:ph sz="quarter" idx="26"/>
          </p:nvPr>
        </p:nvSpPr>
        <p:spPr bwMode="gray">
          <a:xfrm>
            <a:off x="3332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7"/>
          </p:nvPr>
        </p:nvSpPr>
        <p:spPr bwMode="gray">
          <a:xfrm>
            <a:off x="4271796"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3"/>
          <p:cNvSpPr>
            <a:spLocks noGrp="1"/>
          </p:cNvSpPr>
          <p:nvPr>
            <p:ph sz="quarter" idx="28"/>
          </p:nvPr>
        </p:nvSpPr>
        <p:spPr bwMode="gray">
          <a:xfrm>
            <a:off x="8210327"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2"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24182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4: Title &amp; Content (8)">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C55A9BD9-4AB1-4514-A40D-3F4348B2CF77}"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1492"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2"/>
          <p:cNvSpPr>
            <a:spLocks noGrp="1"/>
          </p:cNvSpPr>
          <p:nvPr>
            <p:ph sz="quarter" idx="25"/>
          </p:nvPr>
        </p:nvSpPr>
        <p:spPr bwMode="gray">
          <a:xfrm>
            <a:off x="333264"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2"/>
          <p:cNvSpPr>
            <a:spLocks noGrp="1"/>
          </p:cNvSpPr>
          <p:nvPr>
            <p:ph sz="quarter" idx="26"/>
          </p:nvPr>
        </p:nvSpPr>
        <p:spPr bwMode="gray">
          <a:xfrm>
            <a:off x="333264"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2"/>
          <p:cNvSpPr>
            <a:spLocks noGrp="1"/>
          </p:cNvSpPr>
          <p:nvPr>
            <p:ph sz="quarter" idx="27"/>
          </p:nvPr>
        </p:nvSpPr>
        <p:spPr bwMode="gray">
          <a:xfrm>
            <a:off x="6163300"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2"/>
          <p:cNvSpPr>
            <a:spLocks noGrp="1"/>
          </p:cNvSpPr>
          <p:nvPr>
            <p:ph sz="quarter" idx="28"/>
          </p:nvPr>
        </p:nvSpPr>
        <p:spPr bwMode="gray">
          <a:xfrm>
            <a:off x="6163300"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18"/>
          </p:nvPr>
        </p:nvSpPr>
        <p:spPr bwMode="gray">
          <a:xfrm>
            <a:off x="2259472" y="2317637"/>
            <a:ext cx="3757689"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19"/>
          </p:nvPr>
        </p:nvSpPr>
        <p:spPr bwMode="gray">
          <a:xfrm>
            <a:off x="2259472" y="4202644"/>
            <a:ext cx="3757689"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0"/>
          </p:nvPr>
        </p:nvSpPr>
        <p:spPr bwMode="gray">
          <a:xfrm>
            <a:off x="8093952" y="2317637"/>
            <a:ext cx="3759312"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1"/>
          </p:nvPr>
        </p:nvSpPr>
        <p:spPr bwMode="gray">
          <a:xfrm>
            <a:off x="8093952" y="4202644"/>
            <a:ext cx="3759312"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4" name="Straight Connector 2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userDrawn="1"/>
        </p:nvCxnSpPr>
        <p:spPr bwMode="gray">
          <a:xfrm>
            <a:off x="332368" y="4115141"/>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047288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5: Title &amp; Content (8) &amp; Box">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EAB57985-67D2-4C2C-8135-28A8C8C9566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2"/>
          <p:cNvSpPr>
            <a:spLocks noGrp="1"/>
          </p:cNvSpPr>
          <p:nvPr>
            <p:ph sz="quarter" idx="25"/>
          </p:nvPr>
        </p:nvSpPr>
        <p:spPr bwMode="gray">
          <a:xfrm>
            <a:off x="332367" y="2317637"/>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2"/>
          <p:cNvSpPr>
            <a:spLocks noGrp="1"/>
          </p:cNvSpPr>
          <p:nvPr>
            <p:ph sz="quarter" idx="26"/>
          </p:nvPr>
        </p:nvSpPr>
        <p:spPr bwMode="gray">
          <a:xfrm>
            <a:off x="332367"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32"/>
          <p:cNvSpPr>
            <a:spLocks noGrp="1"/>
          </p:cNvSpPr>
          <p:nvPr>
            <p:ph sz="quarter" idx="27"/>
          </p:nvPr>
        </p:nvSpPr>
        <p:spPr bwMode="gray">
          <a:xfrm>
            <a:off x="6163300" y="2317636"/>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2"/>
          <p:cNvSpPr>
            <a:spLocks noGrp="1"/>
          </p:cNvSpPr>
          <p:nvPr>
            <p:ph sz="quarter" idx="28"/>
          </p:nvPr>
        </p:nvSpPr>
        <p:spPr bwMode="gray">
          <a:xfrm>
            <a:off x="6163300"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18"/>
          </p:nvPr>
        </p:nvSpPr>
        <p:spPr bwMode="gray">
          <a:xfrm>
            <a:off x="2260482" y="2317636"/>
            <a:ext cx="3757436"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19"/>
          </p:nvPr>
        </p:nvSpPr>
        <p:spPr bwMode="gray">
          <a:xfrm>
            <a:off x="2260482" y="3925788"/>
            <a:ext cx="3757436"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0"/>
          </p:nvPr>
        </p:nvSpPr>
        <p:spPr bwMode="gray">
          <a:xfrm>
            <a:off x="8093953" y="2317636"/>
            <a:ext cx="3759312"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1"/>
          </p:nvPr>
        </p:nvSpPr>
        <p:spPr bwMode="gray">
          <a:xfrm>
            <a:off x="8093953" y="3925788"/>
            <a:ext cx="3759312"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Text Placeholder 7"/>
          <p:cNvSpPr>
            <a:spLocks noGrp="1"/>
          </p:cNvSpPr>
          <p:nvPr>
            <p:ph type="body" sz="quarter" idx="29"/>
          </p:nvPr>
        </p:nvSpPr>
        <p:spPr bwMode="gray">
          <a:xfrm>
            <a:off x="333264"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332368" y="3839912"/>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63352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888531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17488BFE-015E-452C-932B-DB979AC8F28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6" name="Subtitle 2"/>
          <p:cNvSpPr>
            <a:spLocks noGrp="1"/>
          </p:cNvSpPr>
          <p:nvPr>
            <p:ph type="subTitle" idx="13"/>
          </p:nvPr>
        </p:nvSpPr>
        <p:spPr bwMode="gray">
          <a:xfrm>
            <a:off x="334139"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7"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15"/>
          <p:cNvSpPr>
            <a:spLocks noGrp="1"/>
          </p:cNvSpPr>
          <p:nvPr>
            <p:ph sz="quarter" idx="19"/>
          </p:nvPr>
        </p:nvSpPr>
        <p:spPr bwMode="gray">
          <a:xfrm>
            <a:off x="332367" y="2317637"/>
            <a:ext cx="11520000" cy="3594212"/>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9" name="Straight Connector 8"/>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2616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7: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43099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7" y="1931194"/>
            <a:ext cx="5603434" cy="34309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4"/>
            <a:ext cx="0" cy="343099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a:spLocks noGrp="1"/>
          </p:cNvSpPr>
          <p:nvPr>
            <p:ph type="body" sz="quarter" idx="29"/>
          </p:nvPr>
        </p:nvSpPr>
        <p:spPr bwMode="gray">
          <a:xfrm>
            <a:off x="332368" y="5453066"/>
            <a:ext cx="11520896"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3494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8: Title (2)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43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bwMode="gray">
          <a:xfrm>
            <a:off x="33343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6249107" y="2317638"/>
            <a:ext cx="560442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7" y="2317638"/>
            <a:ext cx="5603434"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56002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9: Title (2) &amp;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C4B2A68-D918-4286-96B0-6342B7A9B0CE}"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236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bwMode="gray">
          <a:xfrm>
            <a:off x="33236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6248327" y="2317638"/>
            <a:ext cx="5605200" cy="295097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5" y="2317638"/>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 Placeholder 7"/>
          <p:cNvSpPr>
            <a:spLocks noGrp="1"/>
          </p:cNvSpPr>
          <p:nvPr>
            <p:ph type="body" sz="quarter" idx="29"/>
          </p:nvPr>
        </p:nvSpPr>
        <p:spPr bwMode="gray">
          <a:xfrm>
            <a:off x="332583" y="5453066"/>
            <a:ext cx="11520682"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332448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0: Title (2) &amp; Content (2)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972E678C-17C0-4756-8034-8236E2D4136B}"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6248044" y="2317638"/>
            <a:ext cx="560520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2317638"/>
            <a:ext cx="56052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Gleichschenkliges Dreieck 46"/>
          <p:cNvSpPr/>
          <p:nvPr userDrawn="1"/>
        </p:nvSpPr>
        <p:spPr bwMode="gray">
          <a:xfrm rot="5400000">
            <a:off x="4334900" y="4088006"/>
            <a:ext cx="3523271" cy="124946"/>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16" name="Subtitle 2"/>
          <p:cNvSpPr>
            <a:spLocks noGrp="1"/>
          </p:cNvSpPr>
          <p:nvPr>
            <p:ph type="subTitle" idx="13"/>
          </p:nvPr>
        </p:nvSpPr>
        <p:spPr bwMode="gray">
          <a:xfrm>
            <a:off x="332367" y="1085213"/>
            <a:ext cx="1152087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946670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1: Title (2) &amp; Content (2) &amp; Box / Arrow">
    <p:spTree>
      <p:nvGrpSpPr>
        <p:cNvPr id="1" name=""/>
        <p:cNvGrpSpPr/>
        <p:nvPr/>
      </p:nvGrpSpPr>
      <p:grpSpPr>
        <a:xfrm>
          <a:off x="0" y="0"/>
          <a:ext cx="0" cy="0"/>
          <a:chOff x="0" y="0"/>
          <a:chExt cx="0" cy="0"/>
        </a:xfrm>
      </p:grpSpPr>
      <p:sp>
        <p:nvSpPr>
          <p:cNvPr id="16" name="Gleichschenkliges Dreieck 46"/>
          <p:cNvSpPr/>
          <p:nvPr userDrawn="1"/>
        </p:nvSpPr>
        <p:spPr bwMode="gray">
          <a:xfrm rot="5400000">
            <a:off x="4656514" y="3766499"/>
            <a:ext cx="2879662" cy="124579"/>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6DACDBD-1DFF-49BA-A724-30E3F02C142A}"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bwMode="gray">
          <a:xfrm>
            <a:off x="33326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6248045" y="2317751"/>
            <a:ext cx="5605200" cy="2950867"/>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2317751"/>
            <a:ext cx="56052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7"/>
          <p:cNvSpPr>
            <a:spLocks noGrp="1"/>
          </p:cNvSpPr>
          <p:nvPr>
            <p:ph type="body" sz="quarter" idx="29"/>
          </p:nvPr>
        </p:nvSpPr>
        <p:spPr bwMode="gray">
          <a:xfrm>
            <a:off x="332367" y="5453066"/>
            <a:ext cx="1152116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Subtitle 2"/>
          <p:cNvSpPr>
            <a:spLocks noGrp="1"/>
          </p:cNvSpPr>
          <p:nvPr>
            <p:ph type="subTitle" idx="13"/>
          </p:nvPr>
        </p:nvSpPr>
        <p:spPr bwMode="gray">
          <a:xfrm>
            <a:off x="332367" y="1085213"/>
            <a:ext cx="1152116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167512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22: Title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C1783AD7-02E7-449A-B532-68934DEE5F31}"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0"/>
          </p:nvPr>
        </p:nvSpPr>
        <p:spPr bwMode="gray">
          <a:xfrm>
            <a:off x="6248045" y="1931195"/>
            <a:ext cx="56052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2317640"/>
            <a:ext cx="5605200"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4" name="Straight Connector 23"/>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51849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3: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6249107" y="3989616"/>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501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4: Title (3) &amp; Content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6248045"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6248045" y="2318321"/>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40"/>
            <a:ext cx="5605200" cy="35951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6C11801-1BEF-46D9-879F-590C601D8597}"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4432235"/>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73459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5: Title (3) &amp; Content (3) &amp; Box">
    <p:spTree>
      <p:nvGrpSpPr>
        <p:cNvPr id="1" name=""/>
        <p:cNvGrpSpPr/>
        <p:nvPr/>
      </p:nvGrpSpPr>
      <p:grpSpPr>
        <a:xfrm>
          <a:off x="0" y="0"/>
          <a:ext cx="0" cy="0"/>
          <a:chOff x="0" y="0"/>
          <a:chExt cx="0" cy="0"/>
        </a:xfrm>
      </p:grpSpPr>
      <p:sp>
        <p:nvSpPr>
          <p:cNvPr id="27" name="Text Placeholder 11"/>
          <p:cNvSpPr>
            <a:spLocks noGrp="1"/>
          </p:cNvSpPr>
          <p:nvPr>
            <p:ph type="body" sz="quarter" idx="22"/>
          </p:nvPr>
        </p:nvSpPr>
        <p:spPr bwMode="gray">
          <a:xfrm>
            <a:off x="332366" y="5452639"/>
            <a:ext cx="11520877"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6248043" y="2317641"/>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37"/>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6248043"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6248043" y="383124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75ACC3D8-F658-404B-AC58-DFDEB860C833}"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3"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3" y="4135561"/>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3" y="4214707"/>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
        <p:nvSpPr>
          <p:cNvPr id="19"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7" name="Straight Connector 36"/>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5787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6: Title &amp; Content (2)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2582" y="1931195"/>
            <a:ext cx="206420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2700027" y="1931195"/>
            <a:ext cx="91535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582" y="2317640"/>
            <a:ext cx="2064201"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p:cNvCxnSpPr/>
          <p:nvPr userDrawn="1"/>
        </p:nvCxnSpPr>
        <p:spPr bwMode="gray">
          <a:xfrm>
            <a:off x="333983" y="2238495"/>
            <a:ext cx="2062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2548405"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93921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10: Content &amp; Box">
    <p:spTree>
      <p:nvGrpSpPr>
        <p:cNvPr id="1" name=""/>
        <p:cNvGrpSpPr/>
        <p:nvPr/>
      </p:nvGrpSpPr>
      <p:grpSpPr>
        <a:xfrm>
          <a:off x="0" y="0"/>
          <a:ext cx="0" cy="0"/>
          <a:chOff x="0" y="0"/>
          <a:chExt cx="0" cy="0"/>
        </a:xfrm>
      </p:grpSpPr>
      <p:sp>
        <p:nvSpPr>
          <p:cNvPr id="3" name="Title 2"/>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4" name="Date Placeholder 3"/>
          <p:cNvSpPr>
            <a:spLocks noGrp="1"/>
          </p:cNvSpPr>
          <p:nvPr>
            <p:ph type="dt" sz="half" idx="18"/>
          </p:nvPr>
        </p:nvSpPr>
        <p:spPr bwMode="gray"/>
        <p:txBody>
          <a:bodyPr/>
          <a:lstStyle/>
          <a:p>
            <a:fld id="{FFAB2352-921F-4DD8-A99A-A1474F6943FF}" type="datetime4">
              <a:rPr lang="en-US" smtClean="0"/>
              <a:t>September 8, 2019</a:t>
            </a:fld>
            <a:endParaRPr lang="en-US" dirty="0"/>
          </a:p>
        </p:txBody>
      </p:sp>
      <p:sp>
        <p:nvSpPr>
          <p:cNvPr id="6" name="Footer Placeholder 5"/>
          <p:cNvSpPr>
            <a:spLocks noGrp="1"/>
          </p:cNvSpPr>
          <p:nvPr>
            <p:ph type="ftr" sz="quarter" idx="19"/>
          </p:nvPr>
        </p:nvSpPr>
        <p:spPr bwMode="gray"/>
        <p:txBody>
          <a:bodyPr/>
          <a:lstStyle/>
          <a:p>
            <a:pPr lvl="8"/>
            <a:endParaRPr lang="en-US" dirty="0"/>
          </a:p>
        </p:txBody>
      </p:sp>
      <p:sp>
        <p:nvSpPr>
          <p:cNvPr id="11" name="Slide Number Placeholder 10"/>
          <p:cNvSpPr>
            <a:spLocks noGrp="1"/>
          </p:cNvSpPr>
          <p:nvPr>
            <p:ph type="sldNum" sz="quarter" idx="20"/>
          </p:nvPr>
        </p:nvSpPr>
        <p:spPr bwMode="gray"/>
        <p:txBody>
          <a:bodyPr/>
          <a:lstStyle/>
          <a:p>
            <a:r>
              <a:rPr lang="en-US" dirty="0"/>
              <a:t>Slide </a:t>
            </a:r>
            <a:fld id="{619F89D8-7AE3-494A-97F3-03D680869632}" type="slidenum">
              <a:rPr lang="en-US" smtClean="0"/>
              <a:pPr/>
              <a:t>‹#›</a:t>
            </a:fld>
            <a:endParaRPr lang="en-US" dirty="0"/>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dirty="0"/>
              <a:t>Click to edit Master text styles</a:t>
            </a:r>
          </a:p>
          <a:p>
            <a:pPr marL="0" lvl="1" indent="0" algn="ctr">
              <a:spcBef>
                <a:spcPts val="0"/>
              </a:spcBef>
              <a:buNone/>
            </a:pPr>
            <a:r>
              <a:rPr lang="en-US" dirty="0"/>
              <a:t>Second level</a:t>
            </a:r>
          </a:p>
          <a:p>
            <a:pPr marL="0" lvl="2" indent="0" algn="ctr">
              <a:spcBef>
                <a:spcPts val="0"/>
              </a:spcBef>
              <a:buNone/>
            </a:pPr>
            <a:r>
              <a:rPr lang="en-US" dirty="0"/>
              <a:t>Third level</a:t>
            </a:r>
          </a:p>
          <a:p>
            <a:pPr marL="0" lvl="3" indent="0" algn="ctr">
              <a:spcBef>
                <a:spcPts val="0"/>
              </a:spcBef>
              <a:buNone/>
            </a:pPr>
            <a:r>
              <a:rPr lang="en-US" dirty="0"/>
              <a:t>Fourth level</a:t>
            </a:r>
          </a:p>
          <a:p>
            <a:pPr marL="0" lvl="4" indent="0" algn="ctr">
              <a:spcBef>
                <a:spcPts val="0"/>
              </a:spcBef>
              <a:buNone/>
            </a:pPr>
            <a:r>
              <a:rPr lang="en-US" dirty="0"/>
              <a:t>Fifth level</a:t>
            </a:r>
          </a:p>
        </p:txBody>
      </p:sp>
      <p:sp>
        <p:nvSpPr>
          <p:cNvPr id="12"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5"/>
          <p:cNvSpPr>
            <a:spLocks noGrp="1"/>
          </p:cNvSpPr>
          <p:nvPr>
            <p:ph sz="quarter" idx="30"/>
          </p:nvPr>
        </p:nvSpPr>
        <p:spPr bwMode="gray">
          <a:xfrm>
            <a:off x="332367" y="2317638"/>
            <a:ext cx="11520000" cy="300683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4" name="Straight Connector 1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1498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5"/>
            <a:ext cx="4093766"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3" y="2317640"/>
            <a:ext cx="4093767"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052351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8: Title (3) &amp; Content (3)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409376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4724453" y="1931194"/>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4724453" y="4042705"/>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4724453" y="2317638"/>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38"/>
            <a:ext cx="4094665"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21D0314D-AAD8-43AE-987E-1CD311B19016}"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11" name="Straight Connector 9"/>
          <p:cNvCxnSpPr/>
          <p:nvPr userDrawn="1"/>
        </p:nvCxnSpPr>
        <p:spPr bwMode="gray">
          <a:xfrm>
            <a:off x="4725264"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4725264" y="4349421"/>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4724453" y="4428564"/>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
        <p:nvSpPr>
          <p:cNvPr id="20"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7" name="Straight Connector 36"/>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1" name="Straight Connector 40"/>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910151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9: Title (3) &amp; Content (3) &amp; Box 3">
    <p:spTree>
      <p:nvGrpSpPr>
        <p:cNvPr id="1" name=""/>
        <p:cNvGrpSpPr/>
        <p:nvPr/>
      </p:nvGrpSpPr>
      <p:grpSpPr>
        <a:xfrm>
          <a:off x="0" y="0"/>
          <a:ext cx="0" cy="0"/>
          <a:chOff x="0" y="0"/>
          <a:chExt cx="0" cy="0"/>
        </a:xfrm>
      </p:grpSpPr>
      <p:cxnSp>
        <p:nvCxnSpPr>
          <p:cNvPr id="42" name="Straight Connector 41"/>
          <p:cNvCxnSpPr/>
          <p:nvPr userDrawn="1"/>
        </p:nvCxnSpPr>
        <p:spPr bwMode="gray">
          <a:xfrm>
            <a:off x="457598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 Placeholder 11"/>
          <p:cNvSpPr>
            <a:spLocks noGrp="1"/>
          </p:cNvSpPr>
          <p:nvPr>
            <p:ph type="body" sz="quarter" idx="22"/>
          </p:nvPr>
        </p:nvSpPr>
        <p:spPr bwMode="gray">
          <a:xfrm>
            <a:off x="332366" y="5452639"/>
            <a:ext cx="11521161"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4724930" y="2317641"/>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38"/>
            <a:ext cx="4094664" cy="295097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6"/>
          </p:nvPr>
        </p:nvSpPr>
        <p:spPr bwMode="gray">
          <a:xfrm>
            <a:off x="332367" y="1931193"/>
            <a:ext cx="409466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4724930" y="1931193"/>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4724930" y="3831247"/>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C3EC54A-C632-4B8A-8DD8-4163ADA26599}"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28" name="Content Placeholder 15"/>
          <p:cNvSpPr>
            <a:spLocks noGrp="1"/>
          </p:cNvSpPr>
          <p:nvPr>
            <p:ph sz="quarter" idx="21"/>
          </p:nvPr>
        </p:nvSpPr>
        <p:spPr bwMode="gray">
          <a:xfrm>
            <a:off x="4724930" y="4214707"/>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9" name="Straight Connector 9"/>
          <p:cNvCxnSpPr/>
          <p:nvPr userDrawn="1"/>
        </p:nvCxnSpPr>
        <p:spPr bwMode="gray">
          <a:xfrm>
            <a:off x="4724930"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4727528" y="4136597"/>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en-US" dirty="0"/>
          </a:p>
        </p:txBody>
      </p:sp>
      <p:sp>
        <p:nvSpPr>
          <p:cNvPr id="20"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45" name="Straight Connector 44"/>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13437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094DB61-25C8-4EF5-ACA6-394B43063948}"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userDrawn="1"/>
        </p:nvCxnSpPr>
        <p:spPr bwMode="gray">
          <a:xfrm>
            <a:off x="4271795"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5" name="Straight Connector 34"/>
          <p:cNvCxnSpPr/>
          <p:nvPr userDrawn="1"/>
        </p:nvCxnSpPr>
        <p:spPr bwMode="gray">
          <a:xfrm>
            <a:off x="4124130"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2"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0276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31: Title (3) &amp; Content (3) &amp; Box 2">
    <p:spTree>
      <p:nvGrpSpPr>
        <p:cNvPr id="1" name=""/>
        <p:cNvGrpSpPr/>
        <p:nvPr/>
      </p:nvGrpSpPr>
      <p:grpSpPr>
        <a:xfrm>
          <a:off x="0" y="0"/>
          <a:ext cx="0" cy="0"/>
          <a:chOff x="0" y="0"/>
          <a:chExt cx="0" cy="0"/>
        </a:xfrm>
      </p:grpSpPr>
      <p:sp>
        <p:nvSpPr>
          <p:cNvPr id="18" name="Text Placeholder 17"/>
          <p:cNvSpPr>
            <a:spLocks noGrp="1"/>
          </p:cNvSpPr>
          <p:nvPr>
            <p:ph type="body" sz="quarter" idx="28"/>
          </p:nvPr>
        </p:nvSpPr>
        <p:spPr bwMode="gray">
          <a:xfrm>
            <a:off x="333264" y="5452639"/>
            <a:ext cx="1152026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6B2BC20-ABC6-478C-8E1B-2165F3667B3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4" name="Straight Connector 33"/>
          <p:cNvCxnSpPr/>
          <p:nvPr userDrawn="1"/>
        </p:nvCxnSpPr>
        <p:spPr bwMode="gray">
          <a:xfrm>
            <a:off x="412413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06266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88895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176D1A0-7D36-42FE-8B65-73ABE00A4B81}"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bwMode="gray">
          <a:xfrm>
            <a:off x="333264"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userDrawn="1"/>
        </p:nvCxnSpPr>
        <p:spPr bwMode="gray">
          <a:xfrm>
            <a:off x="4271796"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userDrawn="1"/>
        </p:nvCxnSpPr>
        <p:spPr bwMode="gray">
          <a:xfrm>
            <a:off x="8210327"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Gleichschenkliges Dreieck 46"/>
          <p:cNvSpPr/>
          <p:nvPr userDrawn="1"/>
        </p:nvSpPr>
        <p:spPr bwMode="gray">
          <a:xfrm rot="5400000">
            <a:off x="6301200" y="4088360"/>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19" name="Gleichschenkliges Dreieck 46"/>
          <p:cNvSpPr/>
          <p:nvPr userDrawn="1"/>
        </p:nvSpPr>
        <p:spPr bwMode="gray">
          <a:xfrm rot="5400000">
            <a:off x="2362815" y="4091269"/>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655688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3: Title (3) &amp; Content (3) &amp; Box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E78EC23C-A2EE-4E37-B3CA-EB5FB6E0A626}"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17"/>
          <p:cNvSpPr>
            <a:spLocks noGrp="1"/>
          </p:cNvSpPr>
          <p:nvPr>
            <p:ph type="body" sz="quarter" idx="28"/>
          </p:nvPr>
        </p:nvSpPr>
        <p:spPr bwMode="gray">
          <a:xfrm>
            <a:off x="332581" y="5452639"/>
            <a:ext cx="1152068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9" name="Gleichschenkliges Dreieck 46"/>
          <p:cNvSpPr/>
          <p:nvPr userDrawn="1"/>
        </p:nvSpPr>
        <p:spPr bwMode="gray">
          <a:xfrm rot="5400000">
            <a:off x="6622950" y="3766612"/>
            <a:ext cx="2879092"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24" name="Gleichschenkliges Dreieck 46"/>
          <p:cNvSpPr/>
          <p:nvPr userDrawn="1"/>
        </p:nvSpPr>
        <p:spPr bwMode="gray">
          <a:xfrm rot="5400000">
            <a:off x="2684564" y="3769521"/>
            <a:ext cx="2879093"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36373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4: Title (3) &amp; Content (6)">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2"/>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3"/>
          </p:nvPr>
        </p:nvSpPr>
        <p:spPr bwMode="gray">
          <a:xfrm>
            <a:off x="333264"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4271796"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8210327"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B49FC10-E749-4C4C-8DA8-5C5C82B618BE}"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378746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5: Title (3) &amp; Content (6) &amp; Box">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3"/>
          </p:nvPr>
        </p:nvSpPr>
        <p:spPr bwMode="gray">
          <a:xfrm>
            <a:off x="333264"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4271796"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8210327"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A15E654D-F1FE-47BD-AEB4-A952F2E268AF}"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ext Placeholder 17"/>
          <p:cNvSpPr>
            <a:spLocks noGrp="1"/>
          </p:cNvSpPr>
          <p:nvPr>
            <p:ph type="body" sz="quarter" idx="31"/>
          </p:nvPr>
        </p:nvSpPr>
        <p:spPr bwMode="gray">
          <a:xfrm>
            <a:off x="333264" y="5452639"/>
            <a:ext cx="11520000"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427431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332367"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2355"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3"/>
          </p:nvPr>
        </p:nvSpPr>
        <p:spPr bwMode="gray">
          <a:xfrm>
            <a:off x="9198313"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342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2: Title (5)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D8D4DCBA-4C7A-4489-854D-9CAAB7BC53A0}"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9" name="Straight Connector 8"/>
          <p:cNvCxnSpPr/>
          <p:nvPr userDrawn="1"/>
        </p:nvCxnSpPr>
        <p:spPr bwMode="gray">
          <a:xfrm>
            <a:off x="42716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0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6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1"/>
          <p:cNvSpPr>
            <a:spLocks noGrp="1"/>
          </p:cNvSpPr>
          <p:nvPr>
            <p:ph type="body" sz="quarter" idx="18"/>
          </p:nvPr>
        </p:nvSpPr>
        <p:spPr bwMode="gray">
          <a:xfrm>
            <a:off x="82100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6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0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6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1"/>
          <p:cNvSpPr>
            <a:spLocks noGrp="1"/>
          </p:cNvSpPr>
          <p:nvPr>
            <p:ph type="body" sz="quarter" idx="21"/>
          </p:nvPr>
        </p:nvSpPr>
        <p:spPr bwMode="gray">
          <a:xfrm>
            <a:off x="82100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3"/>
          <p:cNvSpPr>
            <a:spLocks noGrp="1"/>
          </p:cNvSpPr>
          <p:nvPr>
            <p:ph sz="quarter" idx="23"/>
          </p:nvPr>
        </p:nvSpPr>
        <p:spPr bwMode="gray">
          <a:xfrm>
            <a:off x="333263" y="1931195"/>
            <a:ext cx="3643200" cy="180926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3"/>
          <p:cNvSpPr>
            <a:spLocks noGrp="1"/>
          </p:cNvSpPr>
          <p:nvPr>
            <p:ph sz="quarter" idx="24"/>
          </p:nvPr>
        </p:nvSpPr>
        <p:spPr bwMode="gray">
          <a:xfrm>
            <a:off x="4271664" y="2317641"/>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3"/>
          <p:cNvSpPr>
            <a:spLocks noGrp="1"/>
          </p:cNvSpPr>
          <p:nvPr>
            <p:ph sz="quarter" idx="25"/>
          </p:nvPr>
        </p:nvSpPr>
        <p:spPr bwMode="gray">
          <a:xfrm>
            <a:off x="8210064" y="2317641"/>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3"/>
          <p:cNvSpPr>
            <a:spLocks noGrp="1"/>
          </p:cNvSpPr>
          <p:nvPr>
            <p:ph sz="quarter" idx="26"/>
          </p:nvPr>
        </p:nvSpPr>
        <p:spPr bwMode="gray">
          <a:xfrm>
            <a:off x="333263" y="4489826"/>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p:cNvSpPr>
            <a:spLocks noGrp="1"/>
          </p:cNvSpPr>
          <p:nvPr>
            <p:ph sz="quarter" idx="27"/>
          </p:nvPr>
        </p:nvSpPr>
        <p:spPr bwMode="gray">
          <a:xfrm>
            <a:off x="4271664" y="4489826"/>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3"/>
          <p:cNvSpPr>
            <a:spLocks noGrp="1"/>
          </p:cNvSpPr>
          <p:nvPr>
            <p:ph sz="quarter" idx="28"/>
          </p:nvPr>
        </p:nvSpPr>
        <p:spPr bwMode="gray">
          <a:xfrm>
            <a:off x="8210064" y="4489826"/>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415930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79F5AED-CDE6-4CF9-A19E-ACD3A4FD6C29}"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3"/>
          </p:nvPr>
        </p:nvSpPr>
        <p:spPr bwMode="gray">
          <a:xfrm>
            <a:off x="333264"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3287752"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6242240"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Straight Connector 17"/>
          <p:cNvCxnSpPr/>
          <p:nvPr userDrawn="1"/>
        </p:nvCxnSpPr>
        <p:spPr bwMode="gray">
          <a:xfrm>
            <a:off x="333264"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9"/>
          </p:nvPr>
        </p:nvSpPr>
        <p:spPr bwMode="gray">
          <a:xfrm>
            <a:off x="9196727"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41" name="Straight Connector 40"/>
          <p:cNvCxnSpPr/>
          <p:nvPr userDrawn="1"/>
        </p:nvCxnSpPr>
        <p:spPr bwMode="gray">
          <a:xfrm>
            <a:off x="3138908"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2" name="Straight Connector 41"/>
          <p:cNvCxnSpPr/>
          <p:nvPr userDrawn="1"/>
        </p:nvCxnSpPr>
        <p:spPr bwMode="gray">
          <a:xfrm>
            <a:off x="9047884"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6093396"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36311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3"/>
          </p:nvPr>
        </p:nvSpPr>
        <p:spPr bwMode="gray">
          <a:xfrm>
            <a:off x="333264"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3287752"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6242240"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Straight Connector 17"/>
          <p:cNvCxnSpPr/>
          <p:nvPr userDrawn="1"/>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3"/>
          <p:cNvSpPr>
            <a:spLocks noGrp="1"/>
          </p:cNvSpPr>
          <p:nvPr>
            <p:ph sz="quarter" idx="29"/>
          </p:nvPr>
        </p:nvSpPr>
        <p:spPr bwMode="gray">
          <a:xfrm>
            <a:off x="9196727"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4" name="Text Placeholder 17"/>
          <p:cNvSpPr>
            <a:spLocks noGrp="1"/>
          </p:cNvSpPr>
          <p:nvPr>
            <p:ph type="body" sz="quarter" idx="30"/>
          </p:nvPr>
        </p:nvSpPr>
        <p:spPr bwMode="gray">
          <a:xfrm>
            <a:off x="332366" y="5452639"/>
            <a:ext cx="11520897"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31"/>
          </p:nvPr>
        </p:nvSpPr>
        <p:spPr bwMode="gray"/>
        <p:txBody>
          <a:bodyPr/>
          <a:lstStyle/>
          <a:p>
            <a:fld id="{DF793CCD-C37B-40CA-9C03-8963978AEAF0}" type="datetime4">
              <a:rPr lang="en-US" smtClean="0"/>
              <a:t>September 8, 2019</a:t>
            </a:fld>
            <a:endParaRPr lang="en-US" dirty="0"/>
          </a:p>
        </p:txBody>
      </p:sp>
      <p:sp>
        <p:nvSpPr>
          <p:cNvPr id="8" name="Footer Placeholder 7"/>
          <p:cNvSpPr>
            <a:spLocks noGrp="1"/>
          </p:cNvSpPr>
          <p:nvPr>
            <p:ph type="ftr" sz="quarter" idx="32"/>
          </p:nvPr>
        </p:nvSpPr>
        <p:spPr bwMode="gray"/>
        <p:txBody>
          <a:bodyPr/>
          <a:lstStyle/>
          <a:p>
            <a:pPr lvl="8"/>
            <a:endParaRPr lang="en-US" dirty="0"/>
          </a:p>
        </p:txBody>
      </p:sp>
      <p:sp>
        <p:nvSpPr>
          <p:cNvPr id="10" name="Slide Number Placeholder 9"/>
          <p:cNvSpPr>
            <a:spLocks noGrp="1"/>
          </p:cNvSpPr>
          <p:nvPr>
            <p:ph type="sldNum" sz="quarter" idx="33"/>
          </p:nvPr>
        </p:nvSpPr>
        <p:spPr bwMode="gray"/>
        <p:txBody>
          <a:bodyPr/>
          <a:lstStyle/>
          <a:p>
            <a:r>
              <a:rPr lang="en-US" dirty="0"/>
              <a:t>Slide </a:t>
            </a:r>
            <a:fld id="{619F89D8-7AE3-494A-97F3-03D680869632}" type="slidenum">
              <a:rPr lang="en-US" smtClean="0"/>
              <a:pPr/>
              <a:t>‹#›</a:t>
            </a:fld>
            <a:endParaRPr lang="en-US" dirty="0"/>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42" name="Straight Connector 41"/>
          <p:cNvCxnSpPr/>
          <p:nvPr userDrawn="1"/>
        </p:nvCxnSpPr>
        <p:spPr bwMode="gray">
          <a:xfrm>
            <a:off x="3138908"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9047884"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4" name="Straight Connector 43"/>
          <p:cNvCxnSpPr/>
          <p:nvPr userDrawn="1"/>
        </p:nvCxnSpPr>
        <p:spPr bwMode="gray">
          <a:xfrm>
            <a:off x="6093396"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799687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9: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50004" y="1931197"/>
            <a:ext cx="5603523"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1931197"/>
            <a:ext cx="5602537"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44980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40: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4259985"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19"/>
          </p:nvPr>
        </p:nvSpPr>
        <p:spPr bwMode="gray">
          <a:xfrm>
            <a:off x="333264" y="1931197"/>
            <a:ext cx="3643200"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4118225"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8056756"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4" name="Content Placeholder 3"/>
          <p:cNvSpPr>
            <a:spLocks noGrp="1"/>
          </p:cNvSpPr>
          <p:nvPr>
            <p:ph sz="quarter" idx="22"/>
          </p:nvPr>
        </p:nvSpPr>
        <p:spPr bwMode="gray">
          <a:xfrm>
            <a:off x="8210327"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2916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1: Content (8)">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8" name="Straight Connector 17"/>
          <p:cNvCxnSpPr/>
          <p:nvPr userDrawn="1"/>
        </p:nvCxnSpPr>
        <p:spPr bwMode="gray">
          <a:xfrm>
            <a:off x="333527" y="3925094"/>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4"/>
          </p:nvPr>
        </p:nvSpPr>
        <p:spPr bwMode="gray"/>
        <p:txBody>
          <a:bodyPr/>
          <a:lstStyle/>
          <a:p>
            <a:fld id="{32E27045-0511-42A6-9AC3-A3212EB42885}" type="datetime4">
              <a:rPr lang="en-US" smtClean="0"/>
              <a:t>September 8, 2019</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176352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42: Title (4) &amp; Content (4)">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17"/>
          </p:nvPr>
        </p:nvSpPr>
        <p:spPr bwMode="gray">
          <a:xfrm>
            <a:off x="333264"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11"/>
          <p:cNvSpPr>
            <a:spLocks noGrp="1"/>
          </p:cNvSpPr>
          <p:nvPr>
            <p:ph type="body" sz="quarter" idx="18"/>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5" name="Content Placeholder 15"/>
          <p:cNvSpPr>
            <a:spLocks noGrp="1"/>
          </p:cNvSpPr>
          <p:nvPr>
            <p:ph sz="quarter" idx="20"/>
          </p:nvPr>
        </p:nvSpPr>
        <p:spPr bwMode="gray">
          <a:xfrm>
            <a:off x="333264" y="4432235"/>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15"/>
          <p:cNvSpPr>
            <a:spLocks noGrp="1"/>
          </p:cNvSpPr>
          <p:nvPr>
            <p:ph sz="quarter" idx="19"/>
          </p:nvPr>
        </p:nvSpPr>
        <p:spPr bwMode="gray">
          <a:xfrm>
            <a:off x="333264" y="2317638"/>
            <a:ext cx="5605200" cy="148487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6C11801-1BEF-46D9-879F-590C601D8597}"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333264"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2317641"/>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bwMode="gray"/>
        <p:txBody>
          <a:bodyPr/>
          <a:lstStyle/>
          <a:p>
            <a:r>
              <a:rPr lang="en-US"/>
              <a:t>Click to edit Master title style</a:t>
            </a:r>
            <a:endParaRPr lang="en-US" dirty="0"/>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Text Placeholder 11"/>
          <p:cNvSpPr>
            <a:spLocks noGrp="1"/>
          </p:cNvSpPr>
          <p:nvPr>
            <p:ph type="body" sz="quarter" idx="22"/>
          </p:nvPr>
        </p:nvSpPr>
        <p:spPr bwMode="gray">
          <a:xfrm>
            <a:off x="6248045" y="404397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9" name="Straight Connector 14"/>
          <p:cNvCxnSpPr/>
          <p:nvPr userDrawn="1"/>
        </p:nvCxnSpPr>
        <p:spPr bwMode="gray">
          <a:xfrm>
            <a:off x="6248045" y="4351954"/>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Content Placeholder 15"/>
          <p:cNvSpPr>
            <a:spLocks noGrp="1"/>
          </p:cNvSpPr>
          <p:nvPr>
            <p:ph sz="quarter" idx="23"/>
          </p:nvPr>
        </p:nvSpPr>
        <p:spPr bwMode="gray">
          <a:xfrm>
            <a:off x="6248045" y="4430420"/>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02125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43: Content (4)">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bwMode="gray">
          <a:xfrm>
            <a:off x="6095999" y="1931195"/>
            <a:ext cx="0" cy="398224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8" name="Straight Connector 17"/>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6234129"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2"/>
          </p:nvPr>
        </p:nvSpPr>
        <p:spPr bwMode="gray">
          <a:xfrm>
            <a:off x="333264"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3"/>
          <p:cNvSpPr>
            <a:spLocks noGrp="1"/>
          </p:cNvSpPr>
          <p:nvPr>
            <p:ph sz="quarter" idx="23"/>
          </p:nvPr>
        </p:nvSpPr>
        <p:spPr bwMode="gray">
          <a:xfrm>
            <a:off x="6234129"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4"/>
          </p:nvPr>
        </p:nvSpPr>
        <p:spPr bwMode="gray"/>
        <p:txBody>
          <a:bodyPr/>
          <a:lstStyle/>
          <a:p>
            <a:fld id="{32E27045-0511-42A6-9AC3-A3212EB42885}" type="datetime4">
              <a:rPr lang="en-US" smtClean="0"/>
              <a:t>September 8, 2019</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6" name="Title 5"/>
          <p:cNvSpPr>
            <a:spLocks noGrp="1"/>
          </p:cNvSpPr>
          <p:nvPr>
            <p:ph type="title"/>
          </p:nvPr>
        </p:nvSpPr>
        <p:spPr bwMode="gray"/>
        <p:txBody>
          <a:bodyPr/>
          <a:lstStyle/>
          <a:p>
            <a:r>
              <a:rPr lang="en-US"/>
              <a:t>Click to edit Master title style</a:t>
            </a:r>
            <a:endParaRPr lang="en-US" dirty="0"/>
          </a:p>
        </p:txBody>
      </p:sp>
    </p:spTree>
    <p:extLst>
      <p:ext uri="{BB962C8B-B14F-4D97-AF65-F5344CB8AC3E}">
        <p14:creationId xmlns:p14="http://schemas.microsoft.com/office/powerpoint/2010/main" val="587697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44: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33326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1"/>
          </p:nvPr>
        </p:nvSpPr>
        <p:spPr bwMode="gray">
          <a:xfrm>
            <a:off x="623234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3"/>
          <p:cNvSpPr>
            <a:spLocks noGrp="1"/>
          </p:cNvSpPr>
          <p:nvPr>
            <p:ph sz="quarter" idx="22"/>
          </p:nvPr>
        </p:nvSpPr>
        <p:spPr bwMode="gray">
          <a:xfrm>
            <a:off x="33326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3"/>
          <p:cNvSpPr>
            <a:spLocks noGrp="1"/>
          </p:cNvSpPr>
          <p:nvPr>
            <p:ph sz="quarter" idx="23"/>
          </p:nvPr>
        </p:nvSpPr>
        <p:spPr bwMode="gray">
          <a:xfrm>
            <a:off x="623234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11"/>
          <p:cNvSpPr>
            <a:spLocks noGrp="1"/>
          </p:cNvSpPr>
          <p:nvPr>
            <p:ph type="body" sz="quarter" idx="24"/>
          </p:nvPr>
        </p:nvSpPr>
        <p:spPr bwMode="gray">
          <a:xfrm>
            <a:off x="332367" y="5452639"/>
            <a:ext cx="11521160"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3" name="Straight Connector 22"/>
          <p:cNvCxnSpPr/>
          <p:nvPr userDrawn="1"/>
        </p:nvCxnSpPr>
        <p:spPr bwMode="gray">
          <a:xfrm>
            <a:off x="333527" y="359990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 name="Date Placeholder 2"/>
          <p:cNvSpPr>
            <a:spLocks noGrp="1"/>
          </p:cNvSpPr>
          <p:nvPr>
            <p:ph type="dt" sz="half" idx="25"/>
          </p:nvPr>
        </p:nvSpPr>
        <p:spPr bwMode="gray"/>
        <p:txBody>
          <a:bodyPr/>
          <a:lstStyle/>
          <a:p>
            <a:fld id="{6E7D5807-0F83-4687-8EA8-403E998DE912}" type="datetime4">
              <a:rPr lang="en-US" smtClean="0"/>
              <a:t>September 8, 2019</a:t>
            </a:fld>
            <a:endParaRPr lang="en-US" dirty="0"/>
          </a:p>
        </p:txBody>
      </p:sp>
      <p:sp>
        <p:nvSpPr>
          <p:cNvPr id="4" name="Footer Placeholder 3"/>
          <p:cNvSpPr>
            <a:spLocks noGrp="1"/>
          </p:cNvSpPr>
          <p:nvPr>
            <p:ph type="ftr" sz="quarter" idx="26"/>
          </p:nvPr>
        </p:nvSpPr>
        <p:spPr bwMode="gray"/>
        <p:txBody>
          <a:bodyPr/>
          <a:lstStyle/>
          <a:p>
            <a:pPr lvl="8"/>
            <a:endParaRPr lang="en-US" dirty="0"/>
          </a:p>
        </p:txBody>
      </p:sp>
      <p:sp>
        <p:nvSpPr>
          <p:cNvPr id="5" name="Slide Number Placeholder 4"/>
          <p:cNvSpPr>
            <a:spLocks noGrp="1"/>
          </p:cNvSpPr>
          <p:nvPr>
            <p:ph type="sldNum" sz="quarter" idx="27"/>
          </p:nvPr>
        </p:nvSpPr>
        <p:spPr bwMode="gray"/>
        <p:txBody>
          <a:bodyPr/>
          <a:lstStyle/>
          <a:p>
            <a:r>
              <a:rPr lang="en-US" dirty="0"/>
              <a:t>Slide </a:t>
            </a:r>
            <a:fld id="{619F89D8-7AE3-494A-97F3-03D680869632}" type="slidenum">
              <a:rPr lang="en-US" smtClean="0"/>
              <a:pPr/>
              <a:t>‹#›</a:t>
            </a:fld>
            <a:endParaRPr lang="en-US" dirty="0"/>
          </a:p>
        </p:txBody>
      </p:sp>
      <p:cxnSp>
        <p:nvCxnSpPr>
          <p:cNvPr id="14" name="Straight Connector 13"/>
          <p:cNvCxnSpPr/>
          <p:nvPr userDrawn="1"/>
        </p:nvCxnSpPr>
        <p:spPr bwMode="gray">
          <a:xfrm>
            <a:off x="6095999" y="1931195"/>
            <a:ext cx="0" cy="333742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937426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45: Title (2) &amp;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21"/>
          </p:nvPr>
        </p:nvSpPr>
        <p:spPr bwMode="gray">
          <a:xfrm>
            <a:off x="2553273" y="3993324"/>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userDrawn="1"/>
        </p:nvCxnSpPr>
        <p:spPr bwMode="gray">
          <a:xfrm>
            <a:off x="2551798" y="3921919"/>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582" y="1931196"/>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userDrawn="1">
            <p:ph sz="quarter" idx="24"/>
          </p:nvPr>
        </p:nvSpPr>
        <p:spPr bwMode="gray">
          <a:xfrm>
            <a:off x="332582" y="3993324"/>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userDrawn="1">
            <p:ph type="dt" sz="half" idx="26"/>
          </p:nvPr>
        </p:nvSpPr>
        <p:spPr bwMode="gray"/>
        <p:txBody>
          <a:bodyPr/>
          <a:lstStyle/>
          <a:p>
            <a:fld id="{D7448BAD-718D-41D5-B039-249ED06F3A4A}" type="datetime4">
              <a:rPr lang="en-US" smtClean="0"/>
              <a:t>September 8, 2019</a:t>
            </a:fld>
            <a:endParaRPr lang="en-US" dirty="0"/>
          </a:p>
        </p:txBody>
      </p:sp>
      <p:sp>
        <p:nvSpPr>
          <p:cNvPr id="4" name="Footer Placeholder 3"/>
          <p:cNvSpPr>
            <a:spLocks noGrp="1"/>
          </p:cNvSpPr>
          <p:nvPr userDrawn="1">
            <p:ph type="ftr" sz="quarter" idx="27"/>
          </p:nvPr>
        </p:nvSpPr>
        <p:spPr bwMode="gray"/>
        <p:txBody>
          <a:bodyPr/>
          <a:lstStyle/>
          <a:p>
            <a:pPr lvl="8"/>
            <a:endParaRPr lang="en-US" dirty="0"/>
          </a:p>
        </p:txBody>
      </p:sp>
      <p:sp>
        <p:nvSpPr>
          <p:cNvPr id="5" name="Slide Number Placeholder 4"/>
          <p:cNvSpPr>
            <a:spLocks noGrp="1"/>
          </p:cNvSpPr>
          <p:nvPr userDrawn="1">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userDrawn="1">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1036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46: Title (3)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21"/>
          </p:nvPr>
        </p:nvSpPr>
        <p:spPr bwMode="gray">
          <a:xfrm>
            <a:off x="2553273" y="3305949"/>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2"/>
          </p:nvPr>
        </p:nvSpPr>
        <p:spPr bwMode="gray">
          <a:xfrm>
            <a:off x="2553273" y="4680702"/>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userDrawn="1"/>
        </p:nvCxnSpPr>
        <p:spPr bwMode="gray">
          <a:xfrm>
            <a:off x="2554866" y="3235138"/>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p:cNvCxnSpPr/>
          <p:nvPr userDrawn="1"/>
        </p:nvCxnSpPr>
        <p:spPr bwMode="gray">
          <a:xfrm>
            <a:off x="2554866" y="4611082"/>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367" y="1931196"/>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userDrawn="1">
            <p:ph sz="quarter" idx="24"/>
          </p:nvPr>
        </p:nvSpPr>
        <p:spPr bwMode="gray">
          <a:xfrm>
            <a:off x="332367" y="3305949"/>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userDrawn="1">
            <p:ph sz="quarter" idx="25"/>
          </p:nvPr>
        </p:nvSpPr>
        <p:spPr bwMode="gray">
          <a:xfrm>
            <a:off x="332367" y="4680702"/>
            <a:ext cx="1917663"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userDrawn="1">
            <p:ph type="dt" sz="half" idx="26"/>
          </p:nvPr>
        </p:nvSpPr>
        <p:spPr bwMode="gray"/>
        <p:txBody>
          <a:bodyPr/>
          <a:lstStyle/>
          <a:p>
            <a:fld id="{D7448BAD-718D-41D5-B039-249ED06F3A4A}" type="datetime4">
              <a:rPr lang="en-US" smtClean="0"/>
              <a:t>September 8, 2019</a:t>
            </a:fld>
            <a:endParaRPr lang="en-US" dirty="0"/>
          </a:p>
        </p:txBody>
      </p:sp>
      <p:sp>
        <p:nvSpPr>
          <p:cNvPr id="4" name="Footer Placeholder 3"/>
          <p:cNvSpPr>
            <a:spLocks noGrp="1"/>
          </p:cNvSpPr>
          <p:nvPr userDrawn="1">
            <p:ph type="ftr" sz="quarter" idx="27"/>
          </p:nvPr>
        </p:nvSpPr>
        <p:spPr bwMode="gray"/>
        <p:txBody>
          <a:bodyPr/>
          <a:lstStyle/>
          <a:p>
            <a:pPr lvl="8"/>
            <a:endParaRPr lang="en-US" dirty="0"/>
          </a:p>
        </p:txBody>
      </p:sp>
      <p:sp>
        <p:nvSpPr>
          <p:cNvPr id="5" name="Slide Number Placeholder 4"/>
          <p:cNvSpPr>
            <a:spLocks noGrp="1"/>
          </p:cNvSpPr>
          <p:nvPr userDrawn="1">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1691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3: Title (6)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D8D4DCBA-4C7A-4489-854D-9CAAB7BC53A0}"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1"/>
          <p:cNvSpPr>
            <a:spLocks noGrp="1"/>
          </p:cNvSpPr>
          <p:nvPr>
            <p:ph type="body" sz="quarter" idx="18"/>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795"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327"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796"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1"/>
          <p:cNvSpPr>
            <a:spLocks noGrp="1"/>
          </p:cNvSpPr>
          <p:nvPr>
            <p:ph type="body" sz="quarter" idx="21"/>
          </p:nvPr>
        </p:nvSpPr>
        <p:spPr bwMode="gray">
          <a:xfrm>
            <a:off x="8210327"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3"/>
          <p:cNvSpPr>
            <a:spLocks noGrp="1"/>
          </p:cNvSpPr>
          <p:nvPr>
            <p:ph sz="quarter" idx="23"/>
          </p:nvPr>
        </p:nvSpPr>
        <p:spPr bwMode="gray">
          <a:xfrm>
            <a:off x="333264" y="2317641"/>
            <a:ext cx="3643200" cy="1422821"/>
          </a:xfrm>
        </p:spPr>
        <p:txBody>
          <a:bodyPr lIns="0" tIns="0" rIns="0" bIns="0"/>
          <a:lstStyle>
            <a:lvl1pPr>
              <a:defRPr sz="1400"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3"/>
          <p:cNvSpPr>
            <a:spLocks noGrp="1"/>
          </p:cNvSpPr>
          <p:nvPr>
            <p:ph sz="quarter" idx="24"/>
          </p:nvPr>
        </p:nvSpPr>
        <p:spPr bwMode="gray">
          <a:xfrm>
            <a:off x="4271795" y="2317641"/>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3"/>
          <p:cNvSpPr>
            <a:spLocks noGrp="1"/>
          </p:cNvSpPr>
          <p:nvPr>
            <p:ph sz="quarter" idx="25"/>
          </p:nvPr>
        </p:nvSpPr>
        <p:spPr bwMode="gray">
          <a:xfrm>
            <a:off x="8210327" y="2317641"/>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3"/>
          <p:cNvSpPr>
            <a:spLocks noGrp="1"/>
          </p:cNvSpPr>
          <p:nvPr>
            <p:ph sz="quarter" idx="26"/>
          </p:nvPr>
        </p:nvSpPr>
        <p:spPr bwMode="gray">
          <a:xfrm>
            <a:off x="333264" y="4489826"/>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p:cNvSpPr>
            <a:spLocks noGrp="1"/>
          </p:cNvSpPr>
          <p:nvPr>
            <p:ph sz="quarter" idx="27"/>
          </p:nvPr>
        </p:nvSpPr>
        <p:spPr bwMode="gray">
          <a:xfrm>
            <a:off x="4271796" y="4489826"/>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3"/>
          <p:cNvSpPr>
            <a:spLocks noGrp="1"/>
          </p:cNvSpPr>
          <p:nvPr>
            <p:ph sz="quarter" idx="28"/>
          </p:nvPr>
        </p:nvSpPr>
        <p:spPr bwMode="gray">
          <a:xfrm>
            <a:off x="8210327" y="4489826"/>
            <a:ext cx="3643200" cy="1422821"/>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custDataLst>
      <p:tags r:id="rId1"/>
    </p:custDataLst>
    <p:extLst>
      <p:ext uri="{BB962C8B-B14F-4D97-AF65-F5344CB8AC3E}">
        <p14:creationId xmlns:p14="http://schemas.microsoft.com/office/powerpoint/2010/main" val="208995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47: Title (3) &amp; Content (3)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305949"/>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2"/>
          </p:nvPr>
        </p:nvSpPr>
        <p:spPr bwMode="gray">
          <a:xfrm>
            <a:off x="2553273" y="4680702"/>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p:nvPr userDrawn="1"/>
        </p:nvCxnSpPr>
        <p:spPr bwMode="gray">
          <a:xfrm>
            <a:off x="2554464" y="461108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6"/>
          </p:nvPr>
        </p:nvSpPr>
        <p:spPr bwMode="gray"/>
        <p:txBody>
          <a:bodyPr/>
          <a:lstStyle/>
          <a:p>
            <a:fld id="{D7448BAD-718D-41D5-B039-249ED06F3A4A}" type="datetime4">
              <a:rPr lang="en-US" smtClean="0"/>
              <a:t>September 8, 2019</a:t>
            </a:fld>
            <a:endParaRPr lang="en-US" dirty="0"/>
          </a:p>
        </p:txBody>
      </p:sp>
      <p:sp>
        <p:nvSpPr>
          <p:cNvPr id="4" name="Footer Placeholder 3"/>
          <p:cNvSpPr>
            <a:spLocks noGrp="1"/>
          </p:cNvSpPr>
          <p:nvPr>
            <p:ph type="ftr" sz="quarter" idx="27"/>
          </p:nvPr>
        </p:nvSpPr>
        <p:spPr bwMode="gray"/>
        <p:txBody>
          <a:bodyPr/>
          <a:lstStyle/>
          <a:p>
            <a:pPr lvl="8"/>
            <a:endParaRPr lang="en-US" dirty="0"/>
          </a:p>
        </p:txBody>
      </p:sp>
      <p:sp>
        <p:nvSpPr>
          <p:cNvPr id="5" name="Slide Number Placeholder 4"/>
          <p:cNvSpPr>
            <a:spLocks noGrp="1"/>
          </p:cNvSpPr>
          <p:nvPr>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740147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48: Title (3) &amp; Content (3) &amp; Box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userDrawn="1"/>
        </p:nvCxnSpPr>
        <p:spPr bwMode="gray">
          <a:xfrm>
            <a:off x="2554464" y="301966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091669"/>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3"/>
          <p:cNvSpPr>
            <a:spLocks noGrp="1"/>
          </p:cNvSpPr>
          <p:nvPr>
            <p:ph sz="quarter" idx="22"/>
          </p:nvPr>
        </p:nvSpPr>
        <p:spPr bwMode="gray">
          <a:xfrm>
            <a:off x="2553273" y="4252143"/>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p:cNvCxnSpPr/>
          <p:nvPr userDrawn="1"/>
        </p:nvCxnSpPr>
        <p:spPr bwMode="gray">
          <a:xfrm>
            <a:off x="2554464" y="418014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4"/>
          </p:nvPr>
        </p:nvSpPr>
        <p:spPr bwMode="gray">
          <a:xfrm>
            <a:off x="333264" y="3091669"/>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25"/>
          </p:nvPr>
        </p:nvSpPr>
        <p:spPr bwMode="gray">
          <a:xfrm>
            <a:off x="333264" y="4252143"/>
            <a:ext cx="1916766" cy="101647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11"/>
          <p:cNvSpPr>
            <a:spLocks noGrp="1"/>
          </p:cNvSpPr>
          <p:nvPr>
            <p:ph type="body" sz="quarter" idx="26"/>
          </p:nvPr>
        </p:nvSpPr>
        <p:spPr bwMode="gray">
          <a:xfrm>
            <a:off x="332366"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7"/>
          </p:nvPr>
        </p:nvSpPr>
        <p:spPr bwMode="gray"/>
        <p:txBody>
          <a:bodyPr/>
          <a:lstStyle/>
          <a:p>
            <a:fld id="{AFC62351-A650-4DF6-986F-78B25B039145}" type="datetime4">
              <a:rPr lang="en-US" smtClean="0"/>
              <a:t>September 8, 2019</a:t>
            </a:fld>
            <a:endParaRPr lang="en-US" dirty="0"/>
          </a:p>
        </p:txBody>
      </p:sp>
      <p:sp>
        <p:nvSpPr>
          <p:cNvPr id="4" name="Footer Placeholder 3"/>
          <p:cNvSpPr>
            <a:spLocks noGrp="1"/>
          </p:cNvSpPr>
          <p:nvPr>
            <p:ph type="ftr" sz="quarter" idx="28"/>
          </p:nvPr>
        </p:nvSpPr>
        <p:spPr bwMode="gray"/>
        <p:txBody>
          <a:bodyPr/>
          <a:lstStyle/>
          <a:p>
            <a:pPr lvl="8"/>
            <a:endParaRPr lang="en-US" dirty="0"/>
          </a:p>
        </p:txBody>
      </p:sp>
      <p:sp>
        <p:nvSpPr>
          <p:cNvPr id="5" name="Slide Number Placeholder 4"/>
          <p:cNvSpPr>
            <a:spLocks noGrp="1"/>
          </p:cNvSpPr>
          <p:nvPr>
            <p:ph type="sldNum" sz="quarter" idx="29"/>
          </p:nvPr>
        </p:nvSpPr>
        <p:spPr bwMode="gray"/>
        <p:txBody>
          <a:bodyPr/>
          <a:lstStyle/>
          <a:p>
            <a:r>
              <a:rPr lang="en-US" dirty="0"/>
              <a:t>Slide </a:t>
            </a:r>
            <a:fld id="{619F89D8-7AE3-494A-97F3-03D680869632}" type="slidenum">
              <a:rPr lang="en-US" smtClean="0"/>
              <a:pPr/>
              <a:t>‹#›</a:t>
            </a:fld>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819791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49: Title (4) &amp; Content (4) &amp; Box / Number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2818583" y="1931198"/>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21"/>
          </p:nvPr>
        </p:nvSpPr>
        <p:spPr bwMode="gray">
          <a:xfrm>
            <a:off x="2818583" y="2801554"/>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22"/>
          </p:nvPr>
        </p:nvSpPr>
        <p:spPr bwMode="gray">
          <a:xfrm>
            <a:off x="2818583" y="3671910"/>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6"/>
          </p:nvPr>
        </p:nvSpPr>
        <p:spPr bwMode="gray">
          <a:xfrm>
            <a:off x="332367"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Content Placeholder 3"/>
          <p:cNvSpPr>
            <a:spLocks noGrp="1"/>
          </p:cNvSpPr>
          <p:nvPr>
            <p:ph sz="quarter" idx="27"/>
          </p:nvPr>
        </p:nvSpPr>
        <p:spPr bwMode="gray">
          <a:xfrm>
            <a:off x="332582" y="1931198"/>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Content Placeholder 3"/>
          <p:cNvSpPr>
            <a:spLocks noGrp="1"/>
          </p:cNvSpPr>
          <p:nvPr>
            <p:ph sz="quarter" idx="28"/>
          </p:nvPr>
        </p:nvSpPr>
        <p:spPr bwMode="gray">
          <a:xfrm>
            <a:off x="332582" y="2801554"/>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9"/>
          </p:nvPr>
        </p:nvSpPr>
        <p:spPr bwMode="gray">
          <a:xfrm>
            <a:off x="332582" y="3671910"/>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30"/>
          </p:nvPr>
        </p:nvSpPr>
        <p:spPr bwMode="gray">
          <a:xfrm>
            <a:off x="2818583" y="4542265"/>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Content Placeholder 3"/>
          <p:cNvSpPr>
            <a:spLocks noGrp="1"/>
          </p:cNvSpPr>
          <p:nvPr>
            <p:ph sz="quarter" idx="31"/>
          </p:nvPr>
        </p:nvSpPr>
        <p:spPr bwMode="gray">
          <a:xfrm>
            <a:off x="332582" y="4542265"/>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9" name="Straight Connector 13"/>
          <p:cNvCxnSpPr/>
          <p:nvPr userDrawn="1"/>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14"/>
          <p:cNvCxnSpPr/>
          <p:nvPr userDrawn="1"/>
        </p:nvCxnSpPr>
        <p:spPr bwMode="gray">
          <a:xfrm>
            <a:off x="1779054" y="31645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13"/>
          <p:cNvCxnSpPr/>
          <p:nvPr userDrawn="1"/>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4"/>
          <p:cNvCxnSpPr/>
          <p:nvPr userDrawn="1"/>
        </p:nvCxnSpPr>
        <p:spPr bwMode="gray">
          <a:xfrm>
            <a:off x="1778487" y="4905862"/>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13"/>
          <p:cNvCxnSpPr/>
          <p:nvPr userDrawn="1"/>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14"/>
          <p:cNvCxnSpPr/>
          <p:nvPr userDrawn="1"/>
        </p:nvCxnSpPr>
        <p:spPr bwMode="gray">
          <a:xfrm>
            <a:off x="1779502" y="2293948"/>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3"/>
          <p:cNvCxnSpPr/>
          <p:nvPr userDrawn="1"/>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4"/>
          <p:cNvCxnSpPr/>
          <p:nvPr userDrawn="1"/>
        </p:nvCxnSpPr>
        <p:spPr bwMode="gray">
          <a:xfrm>
            <a:off x="1778487" y="4035224"/>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bwMode="gray">
          <a:xfrm>
            <a:off x="2072427"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2" name="Straight Connector 51"/>
          <p:cNvCxnSpPr/>
          <p:nvPr userDrawn="1"/>
        </p:nvCxnSpPr>
        <p:spPr bwMode="gray">
          <a:xfrm>
            <a:off x="2072427"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userDrawn="1"/>
        </p:nvCxnSpPr>
        <p:spPr bwMode="gray">
          <a:xfrm>
            <a:off x="2072427"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 name="Date Placeholder 3"/>
          <p:cNvSpPr>
            <a:spLocks noGrp="1"/>
          </p:cNvSpPr>
          <p:nvPr userDrawn="1">
            <p:ph type="dt" sz="half" idx="32"/>
          </p:nvPr>
        </p:nvSpPr>
        <p:spPr bwMode="gray"/>
        <p:txBody>
          <a:bodyPr/>
          <a:lstStyle/>
          <a:p>
            <a:fld id="{ED4418A7-E8E0-42C3-AC0C-9BF91949BA0B}" type="datetime4">
              <a:rPr lang="en-US" smtClean="0"/>
              <a:t>September 8, 2019</a:t>
            </a:fld>
            <a:endParaRPr lang="en-US" dirty="0"/>
          </a:p>
        </p:txBody>
      </p:sp>
      <p:sp>
        <p:nvSpPr>
          <p:cNvPr id="5" name="Footer Placeholder 4"/>
          <p:cNvSpPr>
            <a:spLocks noGrp="1"/>
          </p:cNvSpPr>
          <p:nvPr userDrawn="1">
            <p:ph type="ftr" sz="quarter" idx="33"/>
          </p:nvPr>
        </p:nvSpPr>
        <p:spPr bwMode="gray"/>
        <p:txBody>
          <a:bodyPr/>
          <a:lstStyle/>
          <a:p>
            <a:pPr lvl="8"/>
            <a:endParaRPr lang="en-US" dirty="0"/>
          </a:p>
        </p:txBody>
      </p:sp>
      <p:sp>
        <p:nvSpPr>
          <p:cNvPr id="6" name="Slide Number Placeholder 5"/>
          <p:cNvSpPr>
            <a:spLocks noGrp="1"/>
          </p:cNvSpPr>
          <p:nvPr userDrawn="1">
            <p:ph type="sldNum" sz="quarter" idx="34"/>
          </p:nvPr>
        </p:nvSpPr>
        <p:spPr bwMode="gray"/>
        <p:txBody>
          <a:bodyPr/>
          <a:lstStyle/>
          <a:p>
            <a:r>
              <a:rPr lang="en-US" dirty="0"/>
              <a:t>Slide </a:t>
            </a:r>
            <a:fld id="{619F89D8-7AE3-494A-97F3-03D680869632}" type="slidenum">
              <a:rPr lang="en-US" smtClean="0"/>
              <a:pPr/>
              <a:t>‹#›</a:t>
            </a:fld>
            <a:endParaRPr lang="en-US" dirty="0"/>
          </a:p>
        </p:txBody>
      </p:sp>
      <p:sp>
        <p:nvSpPr>
          <p:cNvPr id="34"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7" name="Content Placeholder 6"/>
          <p:cNvSpPr>
            <a:spLocks noGrp="1"/>
          </p:cNvSpPr>
          <p:nvPr>
            <p:ph sz="quarter" idx="35" hasCustomPrompt="1"/>
          </p:nvPr>
        </p:nvSpPr>
        <p:spPr>
          <a:xfrm>
            <a:off x="2218077" y="210006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1</a:t>
            </a:r>
            <a:endParaRPr lang="en-GB" dirty="0"/>
          </a:p>
        </p:txBody>
      </p:sp>
      <p:sp>
        <p:nvSpPr>
          <p:cNvPr id="54" name="Content Placeholder 6"/>
          <p:cNvSpPr>
            <a:spLocks noGrp="1"/>
          </p:cNvSpPr>
          <p:nvPr>
            <p:ph sz="quarter" idx="36" hasCustomPrompt="1"/>
          </p:nvPr>
        </p:nvSpPr>
        <p:spPr>
          <a:xfrm>
            <a:off x="2218077" y="29719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2</a:t>
            </a:r>
            <a:endParaRPr lang="en-GB" dirty="0"/>
          </a:p>
        </p:txBody>
      </p:sp>
      <p:sp>
        <p:nvSpPr>
          <p:cNvPr id="55" name="Content Placeholder 6"/>
          <p:cNvSpPr>
            <a:spLocks noGrp="1"/>
          </p:cNvSpPr>
          <p:nvPr>
            <p:ph sz="quarter" idx="37" hasCustomPrompt="1"/>
          </p:nvPr>
        </p:nvSpPr>
        <p:spPr>
          <a:xfrm>
            <a:off x="2218077" y="384341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3</a:t>
            </a:r>
            <a:endParaRPr lang="en-GB" dirty="0"/>
          </a:p>
        </p:txBody>
      </p:sp>
      <p:sp>
        <p:nvSpPr>
          <p:cNvPr id="56" name="Content Placeholder 6"/>
          <p:cNvSpPr>
            <a:spLocks noGrp="1"/>
          </p:cNvSpPr>
          <p:nvPr>
            <p:ph sz="quarter" idx="38" hasCustomPrompt="1"/>
          </p:nvPr>
        </p:nvSpPr>
        <p:spPr>
          <a:xfrm>
            <a:off x="2218077" y="4708172"/>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4</a:t>
            </a:r>
            <a:endParaRPr lang="en-GB" dirty="0"/>
          </a:p>
        </p:txBody>
      </p:sp>
    </p:spTree>
    <p:extLst>
      <p:ext uri="{BB962C8B-B14F-4D97-AF65-F5344CB8AC3E}">
        <p14:creationId xmlns:p14="http://schemas.microsoft.com/office/powerpoint/2010/main" val="70355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0: Matrix">
    <p:spTree>
      <p:nvGrpSpPr>
        <p:cNvPr id="1" name=""/>
        <p:cNvGrpSpPr/>
        <p:nvPr/>
      </p:nvGrpSpPr>
      <p:grpSpPr>
        <a:xfrm>
          <a:off x="0" y="0"/>
          <a:ext cx="0" cy="0"/>
          <a:chOff x="0" y="0"/>
          <a:chExt cx="0" cy="0"/>
        </a:xfrm>
      </p:grpSpPr>
      <p:sp>
        <p:nvSpPr>
          <p:cNvPr id="37" name="Text Placeholder 11"/>
          <p:cNvSpPr>
            <a:spLocks noGrp="1"/>
          </p:cNvSpPr>
          <p:nvPr>
            <p:ph type="body" sz="quarter" idx="26"/>
          </p:nvPr>
        </p:nvSpPr>
        <p:spPr bwMode="gray">
          <a:xfrm>
            <a:off x="2553272" y="1931194"/>
            <a:ext cx="289909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Text Placeholder 11"/>
          <p:cNvSpPr>
            <a:spLocks noGrp="1"/>
          </p:cNvSpPr>
          <p:nvPr>
            <p:ph type="body" sz="quarter" idx="27"/>
          </p:nvPr>
        </p:nvSpPr>
        <p:spPr bwMode="gray">
          <a:xfrm>
            <a:off x="575494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9" name="Text Placeholder 11"/>
          <p:cNvSpPr>
            <a:spLocks noGrp="1"/>
          </p:cNvSpPr>
          <p:nvPr>
            <p:ph type="body" sz="quarter" idx="28"/>
          </p:nvPr>
        </p:nvSpPr>
        <p:spPr bwMode="gray">
          <a:xfrm>
            <a:off x="895552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2553272" y="2317748"/>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21"/>
          </p:nvPr>
        </p:nvSpPr>
        <p:spPr bwMode="gray">
          <a:xfrm>
            <a:off x="2553273" y="3573970"/>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
          <p:cNvSpPr>
            <a:spLocks noGrp="1"/>
          </p:cNvSpPr>
          <p:nvPr>
            <p:ph sz="quarter" idx="22"/>
          </p:nvPr>
        </p:nvSpPr>
        <p:spPr bwMode="gray">
          <a:xfrm>
            <a:off x="2553273" y="4830194"/>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8" name="Straight Connector 27"/>
          <p:cNvCxnSpPr/>
          <p:nvPr userDrawn="1"/>
        </p:nvCxnSpPr>
        <p:spPr bwMode="gray">
          <a:xfrm>
            <a:off x="2553272"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2550359"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0" name="Straight Connector 29"/>
          <p:cNvCxnSpPr/>
          <p:nvPr userDrawn="1"/>
        </p:nvCxnSpPr>
        <p:spPr bwMode="gray">
          <a:xfrm>
            <a:off x="2550359"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1" name="Straight Connector 30"/>
          <p:cNvCxnSpPr/>
          <p:nvPr userDrawn="1"/>
        </p:nvCxnSpPr>
        <p:spPr bwMode="gray">
          <a:xfrm>
            <a:off x="5754400"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p:cNvCxnSpPr/>
          <p:nvPr userDrawn="1"/>
        </p:nvCxnSpPr>
        <p:spPr bwMode="gray">
          <a:xfrm>
            <a:off x="5752943"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3" name="Straight Connector 32"/>
          <p:cNvCxnSpPr/>
          <p:nvPr userDrawn="1"/>
        </p:nvCxnSpPr>
        <p:spPr bwMode="gray">
          <a:xfrm>
            <a:off x="5752943"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p:cNvCxnSpPr/>
          <p:nvPr userDrawn="1"/>
        </p:nvCxnSpPr>
        <p:spPr bwMode="gray">
          <a:xfrm>
            <a:off x="8955527"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955527"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955527"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Content Placeholder 3"/>
          <p:cNvSpPr>
            <a:spLocks noGrp="1"/>
          </p:cNvSpPr>
          <p:nvPr>
            <p:ph sz="quarter" idx="29"/>
          </p:nvPr>
        </p:nvSpPr>
        <p:spPr bwMode="gray">
          <a:xfrm>
            <a:off x="5757301"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Content Placeholder 3"/>
          <p:cNvSpPr>
            <a:spLocks noGrp="1"/>
          </p:cNvSpPr>
          <p:nvPr>
            <p:ph sz="quarter" idx="30"/>
          </p:nvPr>
        </p:nvSpPr>
        <p:spPr bwMode="gray">
          <a:xfrm>
            <a:off x="5757302"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5" name="Content Placeholder 3"/>
          <p:cNvSpPr>
            <a:spLocks noGrp="1"/>
          </p:cNvSpPr>
          <p:nvPr>
            <p:ph sz="quarter" idx="31"/>
          </p:nvPr>
        </p:nvSpPr>
        <p:spPr bwMode="gray">
          <a:xfrm>
            <a:off x="5757302"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6" name="Content Placeholder 3"/>
          <p:cNvSpPr>
            <a:spLocks noGrp="1"/>
          </p:cNvSpPr>
          <p:nvPr>
            <p:ph sz="quarter" idx="32"/>
          </p:nvPr>
        </p:nvSpPr>
        <p:spPr bwMode="gray">
          <a:xfrm>
            <a:off x="8955527"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7" name="Content Placeholder 3"/>
          <p:cNvSpPr>
            <a:spLocks noGrp="1"/>
          </p:cNvSpPr>
          <p:nvPr>
            <p:ph sz="quarter" idx="33"/>
          </p:nvPr>
        </p:nvSpPr>
        <p:spPr bwMode="gray">
          <a:xfrm>
            <a:off x="8955527"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8" name="Content Placeholder 3"/>
          <p:cNvSpPr>
            <a:spLocks noGrp="1"/>
          </p:cNvSpPr>
          <p:nvPr>
            <p:ph sz="quarter" idx="34"/>
          </p:nvPr>
        </p:nvSpPr>
        <p:spPr bwMode="gray">
          <a:xfrm>
            <a:off x="8955527"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35"/>
          </p:nvPr>
        </p:nvSpPr>
        <p:spPr bwMode="gray"/>
        <p:txBody>
          <a:bodyPr/>
          <a:lstStyle/>
          <a:p>
            <a:fld id="{61D1DE91-E2DE-4375-B4FF-ECFCEDDDCBE0}" type="datetime4">
              <a:rPr lang="en-US" smtClean="0"/>
              <a:t>September 8, 2019</a:t>
            </a:fld>
            <a:endParaRPr lang="en-US" dirty="0"/>
          </a:p>
        </p:txBody>
      </p:sp>
      <p:sp>
        <p:nvSpPr>
          <p:cNvPr id="4" name="Footer Placeholder 3"/>
          <p:cNvSpPr>
            <a:spLocks noGrp="1"/>
          </p:cNvSpPr>
          <p:nvPr>
            <p:ph type="ftr" sz="quarter" idx="36"/>
          </p:nvPr>
        </p:nvSpPr>
        <p:spPr bwMode="gray"/>
        <p:txBody>
          <a:bodyPr/>
          <a:lstStyle/>
          <a:p>
            <a:pPr lvl="8"/>
            <a:endParaRPr lang="en-US" dirty="0"/>
          </a:p>
        </p:txBody>
      </p:sp>
      <p:sp>
        <p:nvSpPr>
          <p:cNvPr id="5" name="Slide Number Placeholder 4"/>
          <p:cNvSpPr>
            <a:spLocks noGrp="1"/>
          </p:cNvSpPr>
          <p:nvPr>
            <p:ph type="sldNum" sz="quarter" idx="37"/>
          </p:nvPr>
        </p:nvSpPr>
        <p:spPr bwMode="gray"/>
        <p:txBody>
          <a:bodyPr/>
          <a:lstStyle/>
          <a:p>
            <a:r>
              <a:rPr lang="en-US" dirty="0"/>
              <a:t>Slide </a:t>
            </a:r>
            <a:fld id="{619F89D8-7AE3-494A-97F3-03D680869632}" type="slidenum">
              <a:rPr lang="en-US" smtClean="0"/>
              <a:pPr/>
              <a:t>‹#›</a:t>
            </a:fld>
            <a:endParaRPr lang="en-US" dirty="0"/>
          </a:p>
        </p:txBody>
      </p:sp>
      <p:sp>
        <p:nvSpPr>
          <p:cNvPr id="41"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190619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51: Process">
    <p:spTree>
      <p:nvGrpSpPr>
        <p:cNvPr id="1" name=""/>
        <p:cNvGrpSpPr/>
        <p:nvPr/>
      </p:nvGrpSpPr>
      <p:grpSpPr>
        <a:xfrm>
          <a:off x="0" y="0"/>
          <a:ext cx="0" cy="0"/>
          <a:chOff x="0" y="0"/>
          <a:chExt cx="0" cy="0"/>
        </a:xfrm>
      </p:grpSpPr>
      <p:sp>
        <p:nvSpPr>
          <p:cNvPr id="9" name="Text Placeholder 11"/>
          <p:cNvSpPr>
            <a:spLocks noGrp="1"/>
          </p:cNvSpPr>
          <p:nvPr>
            <p:ph type="body" sz="quarter" idx="16"/>
          </p:nvPr>
        </p:nvSpPr>
        <p:spPr bwMode="gray">
          <a:xfrm>
            <a:off x="333264" y="1931945"/>
            <a:ext cx="3643200" cy="360000"/>
          </a:xfrm>
          <a:prstGeom prst="homePlate">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1"/>
          <p:cNvSpPr>
            <a:spLocks noGrp="1"/>
          </p:cNvSpPr>
          <p:nvPr>
            <p:ph type="body" sz="quarter" idx="24"/>
          </p:nvPr>
        </p:nvSpPr>
        <p:spPr bwMode="gray">
          <a:xfrm>
            <a:off x="4271796"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11"/>
          <p:cNvSpPr>
            <a:spLocks noGrp="1"/>
          </p:cNvSpPr>
          <p:nvPr>
            <p:ph type="body" sz="quarter" idx="26"/>
          </p:nvPr>
        </p:nvSpPr>
        <p:spPr bwMode="gray">
          <a:xfrm>
            <a:off x="8210327"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00C3FEDD-2DA3-4289-9B1F-96211D1B5114}"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3"/>
          </p:nvPr>
        </p:nvSpPr>
        <p:spPr bwMode="gray">
          <a:xfrm>
            <a:off x="333264"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25"/>
          </p:nvPr>
        </p:nvSpPr>
        <p:spPr bwMode="gray">
          <a:xfrm>
            <a:off x="4271796"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Content Placeholder 3"/>
          <p:cNvSpPr>
            <a:spLocks noGrp="1"/>
          </p:cNvSpPr>
          <p:nvPr>
            <p:ph sz="quarter" idx="27"/>
          </p:nvPr>
        </p:nvSpPr>
        <p:spPr bwMode="gray">
          <a:xfrm>
            <a:off x="8210327"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7" name="Straight Connector 26"/>
          <p:cNvCxnSpPr/>
          <p:nvPr userDrawn="1"/>
        </p:nvCxnSpPr>
        <p:spPr bwMode="gray">
          <a:xfrm>
            <a:off x="4124130"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8062662"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780828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52: Image">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bwMode="gray">
          <a:xfrm>
            <a:off x="2" y="0"/>
            <a:ext cx="12192000" cy="6858000"/>
          </a:xfrm>
          <a:custGeom>
            <a:avLst/>
            <a:gdLst>
              <a:gd name="connsiteX0" fmla="*/ 334746 w 12192000"/>
              <a:gd name="connsiteY0" fmla="*/ 530044 h 6858000"/>
              <a:gd name="connsiteX1" fmla="*/ 334746 w 12192000"/>
              <a:gd name="connsiteY1" fmla="*/ 558844 h 6858000"/>
              <a:gd name="connsiteX2" fmla="*/ 561546 w 12192000"/>
              <a:gd name="connsiteY2" fmla="*/ 558844 h 6858000"/>
              <a:gd name="connsiteX3" fmla="*/ 561546 w 12192000"/>
              <a:gd name="connsiteY3" fmla="*/ 53004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4746" y="530044"/>
                </a:moveTo>
                <a:lnTo>
                  <a:pt x="334746" y="558844"/>
                </a:lnTo>
                <a:lnTo>
                  <a:pt x="561546" y="558844"/>
                </a:lnTo>
                <a:lnTo>
                  <a:pt x="561546" y="530044"/>
                </a:lnTo>
                <a:close/>
                <a:moveTo>
                  <a:pt x="0" y="0"/>
                </a:moveTo>
                <a:lnTo>
                  <a:pt x="12192000" y="0"/>
                </a:lnTo>
                <a:lnTo>
                  <a:pt x="12192000" y="6858000"/>
                </a:lnTo>
                <a:lnTo>
                  <a:pt x="0" y="6858000"/>
                </a:lnTo>
                <a:close/>
              </a:path>
            </a:pathLst>
          </a:custGeom>
        </p:spPr>
        <p:txBody>
          <a:bodyPr wrap="square">
            <a:noAutofit/>
          </a:bodyPr>
          <a:lstStyle/>
          <a:p>
            <a:r>
              <a:rPr lang="en-US"/>
              <a:t>Click icon to add picture</a:t>
            </a:r>
            <a:endParaRPr lang="en-US" dirty="0"/>
          </a:p>
        </p:txBody>
      </p:sp>
      <p:sp>
        <p:nvSpPr>
          <p:cNvPr id="2" name="Title 1"/>
          <p:cNvSpPr>
            <a:spLocks noGrp="1"/>
          </p:cNvSpPr>
          <p:nvPr>
            <p:ph type="title"/>
          </p:nvPr>
        </p:nvSpPr>
        <p:spPr bwMode="gray">
          <a:xfrm>
            <a:off x="332366" y="622788"/>
            <a:ext cx="11520898" cy="396000"/>
          </a:xfrm>
        </p:spPr>
        <p:txBody>
          <a:bodyPr/>
          <a:lstStyle>
            <a:lvl1pPr>
              <a:defRPr sz="1800"/>
            </a:lvl1p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A1F808C0-290B-4263-8A52-B569B4875133}" type="datetime4">
              <a:rPr lang="en-US" smtClean="0"/>
              <a:pPr/>
              <a:t>September 8, 2019</a:t>
            </a:fld>
            <a:endParaRPr lang="en-US" dirty="0"/>
          </a:p>
        </p:txBody>
      </p:sp>
      <p:sp>
        <p:nvSpPr>
          <p:cNvPr id="5" name="Footer Placeholder 4"/>
          <p:cNvSpPr>
            <a:spLocks noGrp="1"/>
          </p:cNvSpPr>
          <p:nvPr>
            <p:ph type="ftr" sz="quarter" idx="15"/>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6"/>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Slide </a:t>
            </a:r>
            <a:fld id="{619F89D8-7AE3-494A-97F3-03D680869632}" type="slidenum">
              <a:rPr lang="en-US" smtClean="0"/>
              <a:pPr/>
              <a:t>‹#›</a:t>
            </a:fld>
            <a:endParaRPr lang="en-US" dirty="0"/>
          </a:p>
        </p:txBody>
      </p:sp>
      <p:sp>
        <p:nvSpPr>
          <p:cNvPr id="13" name="Rectangle 12"/>
          <p:cNvSpPr/>
          <p:nvPr userDrawn="1"/>
        </p:nvSpPr>
        <p:spPr bwMode="gray">
          <a:xfrm>
            <a:off x="242214" y="447781"/>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800" b="1" dirty="0">
                <a:solidFill>
                  <a:srgbClr val="FF0000"/>
                </a:solidFill>
              </a:rPr>
              <a:t>—</a:t>
            </a:r>
            <a:endParaRPr lang="en-US" sz="1800" b="1" dirty="0" err="1">
              <a:solidFill>
                <a:srgbClr val="FF0000"/>
              </a:solidFill>
            </a:endParaRPr>
          </a:p>
        </p:txBody>
      </p:sp>
    </p:spTree>
    <p:extLst>
      <p:ext uri="{BB962C8B-B14F-4D97-AF65-F5344CB8AC3E}">
        <p14:creationId xmlns:p14="http://schemas.microsoft.com/office/powerpoint/2010/main" val="2571246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p>
            <a:fld id="{A1F808C0-290B-4263-8A52-B569B4875133}" type="datetime4">
              <a:rPr lang="en-US" smtClean="0"/>
              <a:t>September 8, 2019</a:t>
            </a:fld>
            <a:endParaRPr lang="en-US" dirty="0"/>
          </a:p>
        </p:txBody>
      </p:sp>
      <p:sp>
        <p:nvSpPr>
          <p:cNvPr id="5" name="Footer Placeholder 4"/>
          <p:cNvSpPr>
            <a:spLocks noGrp="1"/>
          </p:cNvSpPr>
          <p:nvPr>
            <p:ph type="ftr" sz="quarter" idx="15"/>
          </p:nvPr>
        </p:nvSpPr>
        <p:spPr bwMode="gray"/>
        <p:txBody>
          <a:bodyPr/>
          <a:lstStyle/>
          <a:p>
            <a:pPr lvl="8"/>
            <a:endParaRPr lang="en-US" dirty="0"/>
          </a:p>
        </p:txBody>
      </p:sp>
      <p:sp>
        <p:nvSpPr>
          <p:cNvPr id="6" name="Slide Number Placeholder 5"/>
          <p:cNvSpPr>
            <a:spLocks noGrp="1"/>
          </p:cNvSpPr>
          <p:nvPr>
            <p:ph type="sldNum" sz="quarter" idx="16"/>
          </p:nvPr>
        </p:nvSpPr>
        <p:spPr bwMode="gray"/>
        <p:txBody>
          <a:bodyPr/>
          <a:lstStyle/>
          <a:p>
            <a:r>
              <a:rPr lang="en-US" dirty="0"/>
              <a:t>Slide </a:t>
            </a:r>
            <a:fld id="{619F89D8-7AE3-494A-97F3-03D680869632}" type="slidenum">
              <a:rPr lang="en-US" smtClean="0"/>
              <a:pPr/>
              <a:t>‹#›</a:t>
            </a:fld>
            <a:endParaRPr lang="en-US" dirty="0"/>
          </a:p>
        </p:txBody>
      </p:sp>
      <p:sp>
        <p:nvSpPr>
          <p:cNvPr id="18"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057794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54: Final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70479A72-920A-415B-8469-E7772A79C549}"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Slide </a:t>
            </a:r>
            <a:fld id="{619F89D8-7AE3-494A-97F3-03D680869632}" type="slidenum">
              <a:rPr lang="en-US" smtClean="0"/>
              <a:pPr/>
              <a:t>‹#›</a:t>
            </a:fld>
            <a:endParaRPr lang="en-US" dirty="0"/>
          </a:p>
        </p:txBody>
      </p:sp>
      <p:pic>
        <p:nvPicPr>
          <p:cNvPr id="7" name="Picture 1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47616" y="2793573"/>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055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04_Simple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ext Placeholder 4"/>
          <p:cNvSpPr>
            <a:spLocks noGrp="1"/>
          </p:cNvSpPr>
          <p:nvPr>
            <p:ph type="body" sz="quarter" idx="17"/>
          </p:nvPr>
        </p:nvSpPr>
        <p:spPr bwMode="gray">
          <a:xfrm>
            <a:off x="277056" y="1816571"/>
            <a:ext cx="11630729" cy="409686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ubtitle 2"/>
          <p:cNvSpPr>
            <a:spLocks noGrp="1"/>
          </p:cNvSpPr>
          <p:nvPr>
            <p:ph type="subTitle" idx="13"/>
          </p:nvPr>
        </p:nvSpPr>
        <p:spPr bwMode="gray">
          <a:xfrm>
            <a:off x="279436" y="1120928"/>
            <a:ext cx="11628348" cy="504000"/>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
        <p:nvSpPr>
          <p:cNvPr id="8" name="Date Placeholder 7"/>
          <p:cNvSpPr>
            <a:spLocks noGrp="1"/>
          </p:cNvSpPr>
          <p:nvPr>
            <p:ph type="dt" sz="half" idx="14"/>
          </p:nvPr>
        </p:nvSpPr>
        <p:spPr bwMode="gray"/>
        <p:txBody>
          <a:bodyPr/>
          <a:lstStyle/>
          <a:p>
            <a:fld id="{F0F7C878-2F48-47C1-A60E-F6C764D931DE}" type="datetime4">
              <a:rPr lang="en-US" smtClean="0">
                <a:solidFill>
                  <a:srgbClr val="A0A0A0"/>
                </a:solidFill>
              </a:rPr>
              <a:pPr/>
              <a:t>September 8, 2019</a:t>
            </a:fld>
            <a:endParaRPr lang="en-US" dirty="0">
              <a:solidFill>
                <a:srgbClr val="A0A0A0"/>
              </a:solidFill>
            </a:endParaRPr>
          </a:p>
        </p:txBody>
      </p:sp>
      <p:sp>
        <p:nvSpPr>
          <p:cNvPr id="9" name="Footer Placeholder 8"/>
          <p:cNvSpPr>
            <a:spLocks noGrp="1"/>
          </p:cNvSpPr>
          <p:nvPr>
            <p:ph type="ftr" sz="quarter" idx="15"/>
          </p:nvPr>
        </p:nvSpPr>
        <p:spPr bwMode="gray"/>
        <p:txBody>
          <a:bodyPr/>
          <a:lstStyle>
            <a:lvl1pPr>
              <a:defRPr>
                <a:solidFill>
                  <a:schemeClr val="accent4"/>
                </a:solidFill>
              </a:defRPr>
            </a:lvl1pPr>
          </a:lstStyle>
          <a:p>
            <a:endParaRPr lang="en-US" dirty="0">
              <a:solidFill>
                <a:srgbClr val="A0A0A0"/>
              </a:solidFill>
            </a:endParaRPr>
          </a:p>
        </p:txBody>
      </p:sp>
      <p:sp>
        <p:nvSpPr>
          <p:cNvPr id="10" name="Slide Number Placeholder 9"/>
          <p:cNvSpPr>
            <a:spLocks noGrp="1"/>
          </p:cNvSpPr>
          <p:nvPr>
            <p:ph type="sldNum" sz="quarter" idx="16"/>
          </p:nvPr>
        </p:nvSpPr>
        <p:spPr bwMode="gray"/>
        <p:txBody>
          <a:bodyPr/>
          <a:lstStyle/>
          <a:p>
            <a:r>
              <a:rPr lang="en-US">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
        <p:nvSpPr>
          <p:cNvPr id="11" name="Title 1"/>
          <p:cNvSpPr>
            <a:spLocks noGrp="1"/>
          </p:cNvSpPr>
          <p:nvPr>
            <p:ph type="title"/>
          </p:nvPr>
        </p:nvSpPr>
        <p:spPr>
          <a:xfrm>
            <a:off x="279436" y="622790"/>
            <a:ext cx="11628348" cy="410899"/>
          </a:xfrm>
        </p:spPr>
        <p:txBody>
          <a:bodyPr/>
          <a:lstStyle/>
          <a:p>
            <a:r>
              <a:rPr lang="en-US" dirty="0"/>
              <a:t>Click to edit Master title style</a:t>
            </a:r>
          </a:p>
        </p:txBody>
      </p:sp>
    </p:spTree>
    <p:extLst>
      <p:ext uri="{BB962C8B-B14F-4D97-AF65-F5344CB8AC3E}">
        <p14:creationId xmlns:p14="http://schemas.microsoft.com/office/powerpoint/2010/main" val="96408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2_1: 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b="10737"/>
          <a:stretch/>
        </p:blipFill>
        <p:spPr>
          <a:xfrm>
            <a:off x="0" y="4460"/>
            <a:ext cx="12192000" cy="6841508"/>
          </a:xfrm>
          <a:prstGeom prst="rect">
            <a:avLst/>
          </a:prstGeom>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endParaRPr lang="en-US" dirty="0"/>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0" name="Picture 1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021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4: Title &amp; Content (8)">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C55A9BD9-4AB1-4514-A40D-3F4348B2CF77}"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1492"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2"/>
          <p:cNvSpPr>
            <a:spLocks noGrp="1"/>
          </p:cNvSpPr>
          <p:nvPr>
            <p:ph sz="quarter" idx="25"/>
          </p:nvPr>
        </p:nvSpPr>
        <p:spPr bwMode="gray">
          <a:xfrm>
            <a:off x="333264" y="2317637"/>
            <a:ext cx="1739026" cy="17100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32"/>
          <p:cNvSpPr>
            <a:spLocks noGrp="1"/>
          </p:cNvSpPr>
          <p:nvPr>
            <p:ph sz="quarter" idx="26"/>
          </p:nvPr>
        </p:nvSpPr>
        <p:spPr bwMode="gray">
          <a:xfrm>
            <a:off x="333264" y="4202644"/>
            <a:ext cx="1739026" cy="17100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32"/>
          <p:cNvSpPr>
            <a:spLocks noGrp="1"/>
          </p:cNvSpPr>
          <p:nvPr>
            <p:ph sz="quarter" idx="27"/>
          </p:nvPr>
        </p:nvSpPr>
        <p:spPr bwMode="gray">
          <a:xfrm>
            <a:off x="6163300" y="2317637"/>
            <a:ext cx="1739026" cy="17100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2"/>
          <p:cNvSpPr>
            <a:spLocks noGrp="1"/>
          </p:cNvSpPr>
          <p:nvPr>
            <p:ph sz="quarter" idx="28"/>
          </p:nvPr>
        </p:nvSpPr>
        <p:spPr bwMode="gray">
          <a:xfrm>
            <a:off x="6163300" y="4202644"/>
            <a:ext cx="1739026" cy="17100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3"/>
          <p:cNvSpPr>
            <a:spLocks noGrp="1"/>
          </p:cNvSpPr>
          <p:nvPr>
            <p:ph sz="quarter" idx="18"/>
          </p:nvPr>
        </p:nvSpPr>
        <p:spPr bwMode="gray">
          <a:xfrm>
            <a:off x="2259472" y="2317637"/>
            <a:ext cx="3757689" cy="17100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3"/>
          <p:cNvSpPr>
            <a:spLocks noGrp="1"/>
          </p:cNvSpPr>
          <p:nvPr>
            <p:ph sz="quarter" idx="19"/>
          </p:nvPr>
        </p:nvSpPr>
        <p:spPr bwMode="gray">
          <a:xfrm>
            <a:off x="2259472" y="4202644"/>
            <a:ext cx="3757689" cy="1710000"/>
          </a:xfrm>
        </p:spPr>
        <p:txBody>
          <a:bodyPr lIns="0" tIns="0" rIns="0" bIns="0"/>
          <a:lstStyle>
            <a:lvl1pPr rtl="0">
              <a:defRPr b="1"/>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0"/>
          </p:nvPr>
        </p:nvSpPr>
        <p:spPr bwMode="gray">
          <a:xfrm>
            <a:off x="8093952" y="2317637"/>
            <a:ext cx="3759312" cy="17100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1"/>
          </p:nvPr>
        </p:nvSpPr>
        <p:spPr bwMode="gray">
          <a:xfrm>
            <a:off x="8093952" y="4202644"/>
            <a:ext cx="3759312" cy="1710000"/>
          </a:xfrm>
        </p:spPr>
        <p:txBody>
          <a:bodyPr lIns="0" tIns="0" rIns="0" bIns="0"/>
          <a:lstStyle>
            <a:lvl1pPr rtl="0">
              <a:defRPr b="1"/>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4" name="Straight Connector 2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userDrawn="1"/>
        </p:nvCxnSpPr>
        <p:spPr bwMode="gray">
          <a:xfrm>
            <a:off x="332368" y="4115141"/>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custDataLst>
      <p:tags r:id="rId1"/>
    </p:custDataLst>
    <p:extLst>
      <p:ext uri="{BB962C8B-B14F-4D97-AF65-F5344CB8AC3E}">
        <p14:creationId xmlns:p14="http://schemas.microsoft.com/office/powerpoint/2010/main" val="1254928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de-DE" dirty="0"/>
          </a:p>
        </p:txBody>
      </p:sp>
      <p:sp>
        <p:nvSpPr>
          <p:cNvPr id="4" name="Date Placeholder 3"/>
          <p:cNvSpPr>
            <a:spLocks noGrp="1"/>
          </p:cNvSpPr>
          <p:nvPr>
            <p:ph type="dt" sz="half" idx="11"/>
          </p:nvPr>
        </p:nvSpPr>
        <p:spPr/>
        <p:txBody>
          <a:bodyPr/>
          <a:lstStyle/>
          <a:p>
            <a:fld id="{B2016A11-4950-4F3F-938B-45DEE5F72969}" type="datetime4">
              <a:rPr lang="en-US" smtClean="0"/>
              <a:pPr/>
              <a:t>September 8, 2019</a:t>
            </a:fld>
            <a:endParaRPr lang="en-US" dirty="0"/>
          </a:p>
        </p:txBody>
      </p:sp>
      <p:sp>
        <p:nvSpPr>
          <p:cNvPr id="5" name="Slide Number Placeholder 4"/>
          <p:cNvSpPr>
            <a:spLocks noGrp="1"/>
          </p:cNvSpPr>
          <p:nvPr>
            <p:ph type="sldNum" sz="quarter" idx="12"/>
          </p:nvPr>
        </p:nvSpPr>
        <p:spPr/>
        <p:txBody>
          <a:bodyPr/>
          <a:lstStyle/>
          <a:p>
            <a:r>
              <a:rPr lang="en-US"/>
              <a:t>Slide </a:t>
            </a:r>
            <a:fld id="{619F89D8-7AE3-494A-97F3-03D680869632}" type="slidenum">
              <a:rPr lang="en-US" smtClean="0"/>
              <a:pPr/>
              <a:t>‹#›</a:t>
            </a:fld>
            <a:endParaRPr lang="en-US" dirty="0"/>
          </a:p>
        </p:txBody>
      </p:sp>
      <p:sp>
        <p:nvSpPr>
          <p:cNvPr id="6" name="Content Placeholder 3"/>
          <p:cNvSpPr>
            <a:spLocks noGrp="1"/>
          </p:cNvSpPr>
          <p:nvPr>
            <p:ph sz="quarter" idx="20"/>
          </p:nvPr>
        </p:nvSpPr>
        <p:spPr bwMode="gray">
          <a:xfrm>
            <a:off x="2818583" y="1988348"/>
            <a:ext cx="9034681" cy="648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3"/>
          <p:cNvSpPr>
            <a:spLocks noGrp="1"/>
          </p:cNvSpPr>
          <p:nvPr>
            <p:ph sz="quarter" idx="21"/>
          </p:nvPr>
        </p:nvSpPr>
        <p:spPr bwMode="gray">
          <a:xfrm>
            <a:off x="2818583" y="2792029"/>
            <a:ext cx="9034681" cy="648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quarter" idx="22"/>
          </p:nvPr>
        </p:nvSpPr>
        <p:spPr bwMode="gray">
          <a:xfrm>
            <a:off x="2818583" y="3595710"/>
            <a:ext cx="9034681" cy="648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3"/>
          <p:cNvSpPr>
            <a:spLocks noGrp="1"/>
          </p:cNvSpPr>
          <p:nvPr>
            <p:ph sz="quarter" idx="27"/>
          </p:nvPr>
        </p:nvSpPr>
        <p:spPr bwMode="gray">
          <a:xfrm>
            <a:off x="332582" y="1988348"/>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p:cNvSpPr>
            <a:spLocks noGrp="1"/>
          </p:cNvSpPr>
          <p:nvPr>
            <p:ph sz="quarter" idx="28"/>
          </p:nvPr>
        </p:nvSpPr>
        <p:spPr bwMode="gray">
          <a:xfrm>
            <a:off x="332582" y="2792029"/>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9"/>
          </p:nvPr>
        </p:nvSpPr>
        <p:spPr bwMode="gray">
          <a:xfrm>
            <a:off x="332582" y="3595710"/>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30"/>
          </p:nvPr>
        </p:nvSpPr>
        <p:spPr bwMode="gray">
          <a:xfrm>
            <a:off x="2818583" y="4408915"/>
            <a:ext cx="9034681" cy="648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p:cNvSpPr>
            <a:spLocks noGrp="1"/>
          </p:cNvSpPr>
          <p:nvPr>
            <p:ph sz="quarter" idx="31"/>
          </p:nvPr>
        </p:nvSpPr>
        <p:spPr bwMode="gray">
          <a:xfrm>
            <a:off x="332582" y="4408915"/>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bwMode="gray">
          <a:xfrm>
            <a:off x="1999567" y="2791461"/>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p:cNvCxnSpPr/>
          <p:nvPr userDrawn="1"/>
        </p:nvCxnSpPr>
        <p:spPr bwMode="gray">
          <a:xfrm>
            <a:off x="1779054" y="31264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3"/>
          <p:cNvCxnSpPr/>
          <p:nvPr userDrawn="1"/>
        </p:nvCxnSpPr>
        <p:spPr bwMode="gray">
          <a:xfrm>
            <a:off x="1999567" y="4408912"/>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4"/>
          <p:cNvCxnSpPr/>
          <p:nvPr userDrawn="1"/>
        </p:nvCxnSpPr>
        <p:spPr bwMode="gray">
          <a:xfrm>
            <a:off x="1778487" y="4743937"/>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3"/>
          <p:cNvCxnSpPr/>
          <p:nvPr userDrawn="1"/>
        </p:nvCxnSpPr>
        <p:spPr bwMode="gray">
          <a:xfrm>
            <a:off x="1999567" y="1987498"/>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4"/>
          <p:cNvCxnSpPr/>
          <p:nvPr userDrawn="1"/>
        </p:nvCxnSpPr>
        <p:spPr bwMode="gray">
          <a:xfrm>
            <a:off x="1779502" y="2322523"/>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3"/>
          <p:cNvCxnSpPr/>
          <p:nvPr userDrawn="1"/>
        </p:nvCxnSpPr>
        <p:spPr bwMode="gray">
          <a:xfrm>
            <a:off x="1999568" y="3595424"/>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14"/>
          <p:cNvCxnSpPr/>
          <p:nvPr userDrawn="1"/>
        </p:nvCxnSpPr>
        <p:spPr bwMode="gray">
          <a:xfrm>
            <a:off x="1778487" y="3930449"/>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bwMode="gray">
          <a:xfrm>
            <a:off x="2072427" y="272002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2072427" y="35237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2072427" y="433690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Content Placeholder 6"/>
          <p:cNvSpPr>
            <a:spLocks noGrp="1"/>
          </p:cNvSpPr>
          <p:nvPr>
            <p:ph sz="quarter" idx="35" hasCustomPrompt="1"/>
          </p:nvPr>
        </p:nvSpPr>
        <p:spPr>
          <a:xfrm>
            <a:off x="2218077" y="212863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1</a:t>
            </a:r>
            <a:endParaRPr lang="en-GB" dirty="0"/>
          </a:p>
        </p:txBody>
      </p:sp>
      <p:sp>
        <p:nvSpPr>
          <p:cNvPr id="26" name="Content Placeholder 6"/>
          <p:cNvSpPr>
            <a:spLocks noGrp="1"/>
          </p:cNvSpPr>
          <p:nvPr>
            <p:ph sz="quarter" idx="36" hasCustomPrompt="1"/>
          </p:nvPr>
        </p:nvSpPr>
        <p:spPr>
          <a:xfrm>
            <a:off x="2218077" y="29338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2</a:t>
            </a:r>
            <a:endParaRPr lang="en-GB" dirty="0"/>
          </a:p>
        </p:txBody>
      </p:sp>
      <p:sp>
        <p:nvSpPr>
          <p:cNvPr id="27" name="Content Placeholder 6"/>
          <p:cNvSpPr>
            <a:spLocks noGrp="1"/>
          </p:cNvSpPr>
          <p:nvPr>
            <p:ph sz="quarter" idx="37" hasCustomPrompt="1"/>
          </p:nvPr>
        </p:nvSpPr>
        <p:spPr>
          <a:xfrm>
            <a:off x="2218077" y="373864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3</a:t>
            </a:r>
            <a:endParaRPr lang="en-GB" dirty="0"/>
          </a:p>
        </p:txBody>
      </p:sp>
      <p:sp>
        <p:nvSpPr>
          <p:cNvPr id="28" name="Content Placeholder 6"/>
          <p:cNvSpPr>
            <a:spLocks noGrp="1"/>
          </p:cNvSpPr>
          <p:nvPr>
            <p:ph sz="quarter" idx="38" hasCustomPrompt="1"/>
          </p:nvPr>
        </p:nvSpPr>
        <p:spPr>
          <a:xfrm>
            <a:off x="2218077" y="4546247"/>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4</a:t>
            </a:r>
            <a:endParaRPr lang="en-GB" dirty="0"/>
          </a:p>
        </p:txBody>
      </p:sp>
      <p:sp>
        <p:nvSpPr>
          <p:cNvPr id="30" name="Content Placeholder 3"/>
          <p:cNvSpPr>
            <a:spLocks noGrp="1"/>
          </p:cNvSpPr>
          <p:nvPr>
            <p:ph sz="quarter" idx="40"/>
          </p:nvPr>
        </p:nvSpPr>
        <p:spPr bwMode="gray">
          <a:xfrm>
            <a:off x="2818368" y="5227851"/>
            <a:ext cx="9034681" cy="648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1" name="Content Placeholder 3"/>
          <p:cNvSpPr>
            <a:spLocks noGrp="1"/>
          </p:cNvSpPr>
          <p:nvPr>
            <p:ph sz="quarter" idx="41"/>
          </p:nvPr>
        </p:nvSpPr>
        <p:spPr bwMode="gray">
          <a:xfrm>
            <a:off x="332367" y="5227851"/>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2" name="Straight Connector 13"/>
          <p:cNvCxnSpPr/>
          <p:nvPr userDrawn="1"/>
        </p:nvCxnSpPr>
        <p:spPr bwMode="gray">
          <a:xfrm>
            <a:off x="1999352" y="5227848"/>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14"/>
          <p:cNvCxnSpPr/>
          <p:nvPr userDrawn="1"/>
        </p:nvCxnSpPr>
        <p:spPr bwMode="gray">
          <a:xfrm>
            <a:off x="1778272" y="5562873"/>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bwMode="gray">
          <a:xfrm>
            <a:off x="2072212" y="5155845"/>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6"/>
          <p:cNvSpPr>
            <a:spLocks noGrp="1"/>
          </p:cNvSpPr>
          <p:nvPr>
            <p:ph sz="quarter" idx="42" hasCustomPrompt="1"/>
          </p:nvPr>
        </p:nvSpPr>
        <p:spPr>
          <a:xfrm>
            <a:off x="2217862" y="5365183"/>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de-DE" dirty="0"/>
              <a:t>5</a:t>
            </a:r>
            <a:endParaRPr lang="en-GB" dirty="0"/>
          </a:p>
        </p:txBody>
      </p:sp>
      <p:sp>
        <p:nvSpPr>
          <p:cNvPr id="36"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364127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05_Title only">
    <p:spTree>
      <p:nvGrpSpPr>
        <p:cNvPr id="1" name=""/>
        <p:cNvGrpSpPr/>
        <p:nvPr/>
      </p:nvGrpSpPr>
      <p:grpSpPr>
        <a:xfrm>
          <a:off x="0" y="0"/>
          <a:ext cx="0" cy="0"/>
          <a:chOff x="0" y="0"/>
          <a:chExt cx="0" cy="0"/>
        </a:xfrm>
      </p:grpSpPr>
      <p:sp>
        <p:nvSpPr>
          <p:cNvPr id="7" name="Subtitle 2"/>
          <p:cNvSpPr>
            <a:spLocks noGrp="1"/>
          </p:cNvSpPr>
          <p:nvPr>
            <p:ph type="subTitle" idx="13"/>
          </p:nvPr>
        </p:nvSpPr>
        <p:spPr bwMode="gray">
          <a:xfrm>
            <a:off x="279436" y="1120928"/>
            <a:ext cx="11628348" cy="504000"/>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
        <p:nvSpPr>
          <p:cNvPr id="2" name="Title 1"/>
          <p:cNvSpPr>
            <a:spLocks noGrp="1"/>
          </p:cNvSpPr>
          <p:nvPr>
            <p:ph type="title"/>
          </p:nvPr>
        </p:nvSpPr>
        <p:spPr bwMode="gray"/>
        <p:txBody>
          <a:bodyPr/>
          <a:lstStyle/>
          <a:p>
            <a:r>
              <a:rPr lang="en-US"/>
              <a:t>Click to edit Master title style</a:t>
            </a:r>
          </a:p>
        </p:txBody>
      </p:sp>
      <p:sp>
        <p:nvSpPr>
          <p:cNvPr id="8" name="Date Placeholder 7"/>
          <p:cNvSpPr>
            <a:spLocks noGrp="1"/>
          </p:cNvSpPr>
          <p:nvPr>
            <p:ph type="dt" sz="half" idx="14"/>
          </p:nvPr>
        </p:nvSpPr>
        <p:spPr bwMode="gray"/>
        <p:txBody>
          <a:bodyPr/>
          <a:lstStyle/>
          <a:p>
            <a:fld id="{604723B6-2C37-4C03-92C2-AA6C4A469955}" type="datetime4">
              <a:rPr lang="en-US" smtClean="0">
                <a:solidFill>
                  <a:srgbClr val="A0A0A0"/>
                </a:solidFill>
              </a:rPr>
              <a:pPr/>
              <a:t>September 8, 2019</a:t>
            </a:fld>
            <a:endParaRPr lang="en-US" dirty="0">
              <a:solidFill>
                <a:srgbClr val="A0A0A0"/>
              </a:solidFill>
            </a:endParaRPr>
          </a:p>
        </p:txBody>
      </p:sp>
      <p:sp>
        <p:nvSpPr>
          <p:cNvPr id="9" name="Footer Placeholder 8"/>
          <p:cNvSpPr>
            <a:spLocks noGrp="1"/>
          </p:cNvSpPr>
          <p:nvPr>
            <p:ph type="ftr" sz="quarter" idx="15"/>
          </p:nvPr>
        </p:nvSpPr>
        <p:spPr bwMode="gray"/>
        <p:txBody>
          <a:bodyPr/>
          <a:lstStyle>
            <a:lvl1pPr>
              <a:defRPr>
                <a:solidFill>
                  <a:schemeClr val="accent4"/>
                </a:solidFill>
              </a:defRPr>
            </a:lvl1pPr>
          </a:lstStyle>
          <a:p>
            <a:endParaRPr lang="en-US" dirty="0">
              <a:solidFill>
                <a:srgbClr val="A0A0A0"/>
              </a:solidFill>
            </a:endParaRPr>
          </a:p>
        </p:txBody>
      </p:sp>
      <p:sp>
        <p:nvSpPr>
          <p:cNvPr id="10" name="Slide Number Placeholder 9"/>
          <p:cNvSpPr>
            <a:spLocks noGrp="1"/>
          </p:cNvSpPr>
          <p:nvPr>
            <p:ph type="sldNum" sz="quarter" idx="16"/>
          </p:nvPr>
        </p:nvSpPr>
        <p:spPr bwMode="gray"/>
        <p:txBody>
          <a:bodyPr/>
          <a:lstStyle/>
          <a:p>
            <a:r>
              <a:rPr lang="en-US">
                <a:solidFill>
                  <a:srgbClr val="A0A0A0"/>
                </a:solidFill>
              </a:rPr>
              <a:t>Slide </a:t>
            </a:r>
            <a:fld id="{619F89D8-7AE3-494A-97F3-03D680869632}" type="slidenum">
              <a:rPr lang="en-US" smtClean="0">
                <a:solidFill>
                  <a:srgbClr val="A0A0A0"/>
                </a:solidFill>
              </a:rPr>
              <a:pPr/>
              <a:t>‹#›</a:t>
            </a:fld>
            <a:endParaRPr lang="en-US" dirty="0">
              <a:solidFill>
                <a:srgbClr val="A0A0A0"/>
              </a:solidFill>
            </a:endParaRPr>
          </a:p>
        </p:txBody>
      </p:sp>
    </p:spTree>
    <p:extLst>
      <p:ext uri="{BB962C8B-B14F-4D97-AF65-F5344CB8AC3E}">
        <p14:creationId xmlns:p14="http://schemas.microsoft.com/office/powerpoint/2010/main" val="1551110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5: Title &amp; Content (8) &amp; Box">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EAB57985-67D2-4C2C-8135-28A8C8C9566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2"/>
          <p:cNvSpPr>
            <a:spLocks noGrp="1"/>
          </p:cNvSpPr>
          <p:nvPr>
            <p:ph sz="quarter" idx="25"/>
          </p:nvPr>
        </p:nvSpPr>
        <p:spPr bwMode="gray">
          <a:xfrm>
            <a:off x="332367" y="2317637"/>
            <a:ext cx="1739026" cy="14364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32"/>
          <p:cNvSpPr>
            <a:spLocks noGrp="1"/>
          </p:cNvSpPr>
          <p:nvPr>
            <p:ph sz="quarter" idx="26"/>
          </p:nvPr>
        </p:nvSpPr>
        <p:spPr bwMode="gray">
          <a:xfrm>
            <a:off x="332367" y="3925788"/>
            <a:ext cx="1739026" cy="14364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32"/>
          <p:cNvSpPr>
            <a:spLocks noGrp="1"/>
          </p:cNvSpPr>
          <p:nvPr>
            <p:ph sz="quarter" idx="27"/>
          </p:nvPr>
        </p:nvSpPr>
        <p:spPr bwMode="gray">
          <a:xfrm>
            <a:off x="6163300" y="2317636"/>
            <a:ext cx="1739026" cy="14364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2"/>
          <p:cNvSpPr>
            <a:spLocks noGrp="1"/>
          </p:cNvSpPr>
          <p:nvPr>
            <p:ph sz="quarter" idx="28"/>
          </p:nvPr>
        </p:nvSpPr>
        <p:spPr bwMode="gray">
          <a:xfrm>
            <a:off x="6163300" y="3925788"/>
            <a:ext cx="1739026" cy="14364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3"/>
          <p:cNvSpPr>
            <a:spLocks noGrp="1"/>
          </p:cNvSpPr>
          <p:nvPr>
            <p:ph sz="quarter" idx="18"/>
          </p:nvPr>
        </p:nvSpPr>
        <p:spPr bwMode="gray">
          <a:xfrm>
            <a:off x="2260482" y="2317636"/>
            <a:ext cx="3757436" cy="14364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3"/>
          <p:cNvSpPr>
            <a:spLocks noGrp="1"/>
          </p:cNvSpPr>
          <p:nvPr>
            <p:ph sz="quarter" idx="19"/>
          </p:nvPr>
        </p:nvSpPr>
        <p:spPr bwMode="gray">
          <a:xfrm>
            <a:off x="2260482" y="3925788"/>
            <a:ext cx="3757436" cy="1436400"/>
          </a:xfrm>
        </p:spPr>
        <p:txBody>
          <a:bodyPr lIns="0" tIns="0" rIns="0" bIns="0"/>
          <a:lstStyle>
            <a:lvl1pPr rtl="0">
              <a:defRPr b="1"/>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0"/>
          </p:nvPr>
        </p:nvSpPr>
        <p:spPr bwMode="gray">
          <a:xfrm>
            <a:off x="8093953" y="2317636"/>
            <a:ext cx="3759312" cy="14364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1"/>
          </p:nvPr>
        </p:nvSpPr>
        <p:spPr bwMode="gray">
          <a:xfrm>
            <a:off x="8093953" y="3925788"/>
            <a:ext cx="3759312" cy="1436400"/>
          </a:xfrm>
        </p:spPr>
        <p:txBody>
          <a:bodyPr lIns="0" tIns="0" rIns="0" bIns="0"/>
          <a:lstStyle>
            <a:lvl1pPr rtl="0">
              <a:defRPr b="1"/>
            </a:lvl1pPr>
            <a:lvl2pPr rtl="0">
              <a:defRPr/>
            </a:lvl2pPr>
            <a:lvl3pPr rtl="0">
              <a:defRPr/>
            </a:lvl3pPr>
            <a:lvl4pPr rtl="0">
              <a:defRPr/>
            </a:lvl4pPr>
            <a:lvl5pPr rtl="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 Placeholder 7"/>
          <p:cNvSpPr>
            <a:spLocks noGrp="1"/>
          </p:cNvSpPr>
          <p:nvPr>
            <p:ph type="body" sz="quarter" idx="29"/>
          </p:nvPr>
        </p:nvSpPr>
        <p:spPr bwMode="gray">
          <a:xfrm>
            <a:off x="333264" y="5453066"/>
            <a:ext cx="11520000" cy="460375"/>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332368" y="3839912"/>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custDataLst>
      <p:tags r:id="rId1"/>
    </p:custDataLst>
    <p:extLst>
      <p:ext uri="{BB962C8B-B14F-4D97-AF65-F5344CB8AC3E}">
        <p14:creationId xmlns:p14="http://schemas.microsoft.com/office/powerpoint/2010/main" val="72332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69035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1: Title Slid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4460"/>
            <a:ext cx="12192000" cy="6841508"/>
          </a:xfrm>
          <a:prstGeom prst="rect">
            <a:avLst/>
          </a:prstGeom>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endParaRPr lang="en-US" dirty="0"/>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0" name="Picture 1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774689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430747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2" name="Content Placeholder 3"/>
          <p:cNvSpPr>
            <a:spLocks noGrp="1"/>
          </p:cNvSpPr>
          <p:nvPr>
            <p:ph sz="quarter" idx="19"/>
          </p:nvPr>
        </p:nvSpPr>
        <p:spPr bwMode="gray">
          <a:xfrm>
            <a:off x="332367" y="1931194"/>
            <a:ext cx="5603434"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9" name="Content Placeholder 3">
            <a:extLst>
              <a:ext uri="{FF2B5EF4-FFF2-40B4-BE49-F238E27FC236}">
                <a16:creationId xmlns:a16="http://schemas.microsoft.com/office/drawing/2014/main" id="{DCF6C023-5400-4841-AF14-FD2156638EE1}"/>
              </a:ext>
            </a:extLst>
          </p:cNvPr>
          <p:cNvSpPr>
            <a:spLocks noGrp="1"/>
          </p:cNvSpPr>
          <p:nvPr>
            <p:ph sz="quarter" idx="27"/>
          </p:nvPr>
        </p:nvSpPr>
        <p:spPr bwMode="gray">
          <a:xfrm>
            <a:off x="6242240" y="1932098"/>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3">
            <a:extLst>
              <a:ext uri="{FF2B5EF4-FFF2-40B4-BE49-F238E27FC236}">
                <a16:creationId xmlns:a16="http://schemas.microsoft.com/office/drawing/2014/main" id="{E167538E-88F7-453F-8B98-EDFB85F1E45A}"/>
              </a:ext>
            </a:extLst>
          </p:cNvPr>
          <p:cNvSpPr>
            <a:spLocks noGrp="1"/>
          </p:cNvSpPr>
          <p:nvPr>
            <p:ph sz="quarter" idx="28"/>
          </p:nvPr>
        </p:nvSpPr>
        <p:spPr bwMode="gray">
          <a:xfrm>
            <a:off x="9196727" y="1932849"/>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
            <a:extLst>
              <a:ext uri="{FF2B5EF4-FFF2-40B4-BE49-F238E27FC236}">
                <a16:creationId xmlns:a16="http://schemas.microsoft.com/office/drawing/2014/main" id="{7B85C0DE-6358-4353-B21E-03DCE2820755}"/>
              </a:ext>
            </a:extLst>
          </p:cNvPr>
          <p:cNvSpPr>
            <a:spLocks noGrp="1"/>
          </p:cNvSpPr>
          <p:nvPr>
            <p:ph sz="quarter" idx="29"/>
          </p:nvPr>
        </p:nvSpPr>
        <p:spPr bwMode="gray">
          <a:xfrm>
            <a:off x="6242240" y="4016596"/>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3">
            <a:extLst>
              <a:ext uri="{FF2B5EF4-FFF2-40B4-BE49-F238E27FC236}">
                <a16:creationId xmlns:a16="http://schemas.microsoft.com/office/drawing/2014/main" id="{9AAF4CE2-FDB7-4C2B-A209-6959EF6FE92C}"/>
              </a:ext>
            </a:extLst>
          </p:cNvPr>
          <p:cNvSpPr>
            <a:spLocks noGrp="1"/>
          </p:cNvSpPr>
          <p:nvPr>
            <p:ph sz="quarter" idx="30"/>
          </p:nvPr>
        </p:nvSpPr>
        <p:spPr bwMode="gray">
          <a:xfrm>
            <a:off x="9196727" y="4017347"/>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24381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377649" y="1931194"/>
            <a:ext cx="5475878"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7" y="1931194"/>
            <a:ext cx="5464536"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6" name="Chevron 5"/>
          <p:cNvSpPr/>
          <p:nvPr userDrawn="1"/>
        </p:nvSpPr>
        <p:spPr bwMode="gray">
          <a:xfrm>
            <a:off x="5519103" y="1931194"/>
            <a:ext cx="580746" cy="3980918"/>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Tree>
    <p:extLst>
      <p:ext uri="{BB962C8B-B14F-4D97-AF65-F5344CB8AC3E}">
        <p14:creationId xmlns:p14="http://schemas.microsoft.com/office/powerpoint/2010/main" val="332551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4597070" y="1931194"/>
            <a:ext cx="7256457"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793630" y="1931194"/>
            <a:ext cx="3053752"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6" name="Chevron 5"/>
          <p:cNvSpPr/>
          <p:nvPr userDrawn="1"/>
        </p:nvSpPr>
        <p:spPr bwMode="gray">
          <a:xfrm>
            <a:off x="3931853" y="1931194"/>
            <a:ext cx="580746" cy="3980918"/>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Tree>
    <p:extLst>
      <p:ext uri="{BB962C8B-B14F-4D97-AF65-F5344CB8AC3E}">
        <p14:creationId xmlns:p14="http://schemas.microsoft.com/office/powerpoint/2010/main" val="2719668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7: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3430994"/>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7" y="1931194"/>
            <a:ext cx="5603434" cy="3430994"/>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4"/>
            <a:ext cx="0" cy="343099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a:spLocks noGrp="1"/>
          </p:cNvSpPr>
          <p:nvPr>
            <p:ph type="body" sz="quarter" idx="29"/>
          </p:nvPr>
        </p:nvSpPr>
        <p:spPr bwMode="gray">
          <a:xfrm>
            <a:off x="332368" y="5453066"/>
            <a:ext cx="11520896" cy="460375"/>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dirty="0"/>
              <a:t>Click to edit Master text styles</a:t>
            </a:r>
          </a:p>
          <a:p>
            <a:pPr marL="0" lvl="1" indent="0" algn="ctr">
              <a:spcBef>
                <a:spcPts val="0"/>
              </a:spcBef>
              <a:buNone/>
            </a:pPr>
            <a:r>
              <a:rPr lang="en-US" dirty="0"/>
              <a:t>Second level</a:t>
            </a:r>
          </a:p>
          <a:p>
            <a:pPr marL="0" lvl="2" indent="0" algn="ctr">
              <a:spcBef>
                <a:spcPts val="0"/>
              </a:spcBef>
              <a:buNone/>
            </a:pPr>
            <a:r>
              <a:rPr lang="en-US" dirty="0"/>
              <a:t>Third level</a:t>
            </a:r>
          </a:p>
          <a:p>
            <a:pPr marL="0" lvl="3" indent="0" algn="ctr">
              <a:spcBef>
                <a:spcPts val="0"/>
              </a:spcBef>
              <a:buNone/>
            </a:pPr>
            <a:r>
              <a:rPr lang="en-US" dirty="0"/>
              <a:t>Fourth level</a:t>
            </a:r>
          </a:p>
          <a:p>
            <a:pPr marL="0" lvl="4" indent="0" algn="ctr">
              <a:spcBef>
                <a:spcPts val="0"/>
              </a:spcBef>
              <a:buNone/>
            </a:pPr>
            <a:r>
              <a:rPr lang="en-US" dirty="0"/>
              <a:t>Fifth level</a:t>
            </a:r>
          </a:p>
        </p:txBody>
      </p:sp>
    </p:spTree>
    <p:extLst>
      <p:ext uri="{BB962C8B-B14F-4D97-AF65-F5344CB8AC3E}">
        <p14:creationId xmlns:p14="http://schemas.microsoft.com/office/powerpoint/2010/main" val="402373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8: Title (2)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43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gray">
          <a:xfrm>
            <a:off x="33343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0"/>
          </p:nvPr>
        </p:nvSpPr>
        <p:spPr bwMode="gray">
          <a:xfrm>
            <a:off x="6249107" y="2317638"/>
            <a:ext cx="5604420" cy="359447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7" y="2317638"/>
            <a:ext cx="5603434" cy="3594474"/>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8536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9: Title (2) &amp;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C4B2A68-D918-4286-96B0-6342B7A9B0CE}"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236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gray">
          <a:xfrm>
            <a:off x="33236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0"/>
          </p:nvPr>
        </p:nvSpPr>
        <p:spPr bwMode="gray">
          <a:xfrm>
            <a:off x="6248327" y="2317638"/>
            <a:ext cx="5605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5" y="2317638"/>
            <a:ext cx="5605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4" name="Straight Connector 13"/>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 Placeholder 7"/>
          <p:cNvSpPr>
            <a:spLocks noGrp="1"/>
          </p:cNvSpPr>
          <p:nvPr>
            <p:ph type="body" sz="quarter" idx="29"/>
          </p:nvPr>
        </p:nvSpPr>
        <p:spPr bwMode="gray">
          <a:xfrm>
            <a:off x="332583" y="5453066"/>
            <a:ext cx="11520682" cy="460375"/>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755171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0: Title (2) &amp; Content (2)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972E678C-17C0-4756-8034-8236E2D4136B}"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0"/>
          </p:nvPr>
        </p:nvSpPr>
        <p:spPr bwMode="gray">
          <a:xfrm>
            <a:off x="6248044" y="2317638"/>
            <a:ext cx="5605200" cy="359447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4" y="2317638"/>
            <a:ext cx="5605200" cy="359447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Gleichschenkliges Dreieck 46"/>
          <p:cNvSpPr/>
          <p:nvPr userDrawn="1"/>
        </p:nvSpPr>
        <p:spPr bwMode="gray">
          <a:xfrm rot="5400000">
            <a:off x="4334900" y="4088006"/>
            <a:ext cx="3523271" cy="124946"/>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16" name="Subtitle 2"/>
          <p:cNvSpPr>
            <a:spLocks noGrp="1"/>
          </p:cNvSpPr>
          <p:nvPr>
            <p:ph type="subTitle" idx="13"/>
          </p:nvPr>
        </p:nvSpPr>
        <p:spPr bwMode="gray">
          <a:xfrm>
            <a:off x="332367" y="1085213"/>
            <a:ext cx="1152087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5601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1: Title (2) &amp; Content (2) &amp; Box / Arrow">
    <p:spTree>
      <p:nvGrpSpPr>
        <p:cNvPr id="1" name=""/>
        <p:cNvGrpSpPr/>
        <p:nvPr/>
      </p:nvGrpSpPr>
      <p:grpSpPr>
        <a:xfrm>
          <a:off x="0" y="0"/>
          <a:ext cx="0" cy="0"/>
          <a:chOff x="0" y="0"/>
          <a:chExt cx="0" cy="0"/>
        </a:xfrm>
      </p:grpSpPr>
      <p:sp>
        <p:nvSpPr>
          <p:cNvPr id="16" name="Gleichschenkliges Dreieck 46"/>
          <p:cNvSpPr/>
          <p:nvPr userDrawn="1"/>
        </p:nvSpPr>
        <p:spPr bwMode="gray">
          <a:xfrm rot="5400000">
            <a:off x="4656514" y="3766499"/>
            <a:ext cx="2879662" cy="124579"/>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6DACDBD-1DFF-49BA-A724-30E3F02C142A}"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gray">
          <a:xfrm>
            <a:off x="33326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0"/>
          </p:nvPr>
        </p:nvSpPr>
        <p:spPr bwMode="gray">
          <a:xfrm>
            <a:off x="6248045" y="2317751"/>
            <a:ext cx="5605200" cy="295086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4" y="2317751"/>
            <a:ext cx="5605200" cy="295086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7"/>
          <p:cNvSpPr>
            <a:spLocks noGrp="1"/>
          </p:cNvSpPr>
          <p:nvPr>
            <p:ph type="body" sz="quarter" idx="29"/>
          </p:nvPr>
        </p:nvSpPr>
        <p:spPr bwMode="gray">
          <a:xfrm>
            <a:off x="332367" y="5453066"/>
            <a:ext cx="11521160" cy="460375"/>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18" name="Subtitle 2"/>
          <p:cNvSpPr>
            <a:spLocks noGrp="1"/>
          </p:cNvSpPr>
          <p:nvPr>
            <p:ph type="subTitle" idx="13"/>
          </p:nvPr>
        </p:nvSpPr>
        <p:spPr bwMode="gray">
          <a:xfrm>
            <a:off x="332367" y="1085213"/>
            <a:ext cx="1152116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45658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2: Title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C1783AD7-02E7-449A-B532-68934DEE5F31}"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0"/>
          </p:nvPr>
        </p:nvSpPr>
        <p:spPr bwMode="gray">
          <a:xfrm>
            <a:off x="6248045" y="1931195"/>
            <a:ext cx="5605200"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4" y="2317640"/>
            <a:ext cx="5605200" cy="3594475"/>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4" name="Straight Connector 23"/>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1486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l="-16576" t="-735" r="-20001" b="-18645"/>
          <a:stretch/>
        </p:blipFill>
        <p:spPr>
          <a:xfrm>
            <a:off x="-10758" y="-10758"/>
            <a:ext cx="12199172" cy="6874137"/>
          </a:xfrm>
          <a:prstGeom prst="rect">
            <a:avLst/>
          </a:prstGeom>
          <a:solidFill>
            <a:schemeClr val="bg1"/>
          </a:solidFill>
        </p:spPr>
      </p:pic>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endParaRPr lang="en-US" dirty="0"/>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0" name="Picture 19"/>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0226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3: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49107" y="1931194"/>
            <a:ext cx="5604420" cy="192249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6249107" y="3989616"/>
            <a:ext cx="5604420" cy="192249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52660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4: Title (3) &amp; Content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p:cNvSpPr>
            <a:spLocks noGrp="1"/>
          </p:cNvSpPr>
          <p:nvPr>
            <p:ph type="body" sz="quarter" idx="18"/>
          </p:nvPr>
        </p:nvSpPr>
        <p:spPr bwMode="gray">
          <a:xfrm>
            <a:off x="6248045"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15"/>
          <p:cNvSpPr>
            <a:spLocks noGrp="1"/>
          </p:cNvSpPr>
          <p:nvPr>
            <p:ph sz="quarter" idx="20"/>
          </p:nvPr>
        </p:nvSpPr>
        <p:spPr bwMode="gray">
          <a:xfrm>
            <a:off x="6248045" y="2318321"/>
            <a:ext cx="5605200" cy="1484195"/>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5"/>
          <p:cNvSpPr>
            <a:spLocks noGrp="1"/>
          </p:cNvSpPr>
          <p:nvPr>
            <p:ph sz="quarter" idx="19"/>
          </p:nvPr>
        </p:nvSpPr>
        <p:spPr bwMode="gray">
          <a:xfrm>
            <a:off x="333264" y="2317640"/>
            <a:ext cx="5605200" cy="3595121"/>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6C11801-1BEF-46D9-879F-590C601D8597}"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4432235"/>
            <a:ext cx="5605200" cy="148105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endParaRPr lang="en-US" dirty="0"/>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0395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5: Title (3) &amp; Content (3) &amp; Box">
    <p:spTree>
      <p:nvGrpSpPr>
        <p:cNvPr id="1" name=""/>
        <p:cNvGrpSpPr/>
        <p:nvPr/>
      </p:nvGrpSpPr>
      <p:grpSpPr>
        <a:xfrm>
          <a:off x="0" y="0"/>
          <a:ext cx="0" cy="0"/>
          <a:chOff x="0" y="0"/>
          <a:chExt cx="0" cy="0"/>
        </a:xfrm>
      </p:grpSpPr>
      <p:sp>
        <p:nvSpPr>
          <p:cNvPr id="27" name="Text Placeholder 11"/>
          <p:cNvSpPr>
            <a:spLocks noGrp="1"/>
          </p:cNvSpPr>
          <p:nvPr>
            <p:ph type="body" sz="quarter" idx="22"/>
          </p:nvPr>
        </p:nvSpPr>
        <p:spPr bwMode="gray">
          <a:xfrm>
            <a:off x="332366" y="5452639"/>
            <a:ext cx="11520877"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25" name="Content Placeholder 15"/>
          <p:cNvSpPr>
            <a:spLocks noGrp="1"/>
          </p:cNvSpPr>
          <p:nvPr>
            <p:ph sz="quarter" idx="20"/>
          </p:nvPr>
        </p:nvSpPr>
        <p:spPr bwMode="gray">
          <a:xfrm>
            <a:off x="6248043" y="2317641"/>
            <a:ext cx="5605200" cy="1053911"/>
          </a:xfrm>
        </p:spPr>
        <p:txBody>
          <a:bodyPr lIns="0" tIns="0" rIns="0" bIns="0"/>
          <a:lstStyle>
            <a:lvl1pPr>
              <a:defRPr sz="14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5"/>
          <p:cNvSpPr>
            <a:spLocks noGrp="1"/>
          </p:cNvSpPr>
          <p:nvPr>
            <p:ph sz="quarter" idx="19"/>
          </p:nvPr>
        </p:nvSpPr>
        <p:spPr bwMode="gray">
          <a:xfrm>
            <a:off x="333264" y="2317637"/>
            <a:ext cx="5605200" cy="2950978"/>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lang="en-US" sz="1600" kern="1200" dirty="0">
                <a:solidFill>
                  <a:schemeClr val="tx1"/>
                </a:solidFill>
                <a:latin typeface="+mn-lt"/>
                <a:ea typeface="+mn-ea"/>
                <a:cs typeface="+mn-cs"/>
              </a:defRPr>
            </a:lvl2pPr>
            <a:lvl3pPr marL="0" indent="0">
              <a:spcBef>
                <a:spcPts val="0"/>
              </a:spcBef>
              <a:buNone/>
              <a:defRPr lang="en-US" sz="1600" b="1" kern="1200" dirty="0">
                <a:solidFill>
                  <a:schemeClr val="tx2"/>
                </a:solidFill>
                <a:latin typeface="+mn-lt"/>
                <a:ea typeface="+mn-ea"/>
                <a:cs typeface="+mn-cs"/>
              </a:defRPr>
            </a:lvl3pPr>
            <a:lvl4pPr marL="285750" indent="-285750">
              <a:spcBef>
                <a:spcPts val="0"/>
              </a:spcBef>
              <a:buNone/>
              <a:defRPr sz="1600" b="1">
                <a:solidFill>
                  <a:schemeClr val="tx2"/>
                </a:solidFill>
              </a:defRPr>
            </a:lvl4pPr>
            <a:lvl5pPr marL="0" indent="0">
              <a:spcBef>
                <a:spcPts val="0"/>
              </a:spcBef>
              <a:buNone/>
              <a:defRPr lang="en-US" sz="1600" b="1" kern="1200" dirty="0">
                <a:solidFill>
                  <a:schemeClr val="tx2"/>
                </a:solidFill>
                <a:latin typeface="+mn-lt"/>
                <a:ea typeface="+mn-ea"/>
                <a:cs typeface="+mn-cs"/>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marL="0" lvl="2" indent="0" algn="l" defTabSz="914491" rtl="0" eaLnBrk="1" latinLnBrk="0" hangingPunct="1">
              <a:spcBef>
                <a:spcPts val="0"/>
              </a:spcBef>
              <a:buFont typeface="Arial" panose="020B0604020202020204" pitchFamily="34" charset="0"/>
              <a:buNone/>
            </a:pPr>
            <a:r>
              <a:rPr lang="en-US" dirty="0"/>
              <a:t>Second level</a:t>
            </a:r>
          </a:p>
          <a:p>
            <a:pPr marL="0" lvl="2" indent="0" algn="l" defTabSz="914491" rtl="0" eaLnBrk="1" latinLnBrk="0" hangingPunct="1">
              <a:spcBef>
                <a:spcPts val="0"/>
              </a:spcBef>
              <a:buFont typeface="Arial" panose="020B0604020202020204" pitchFamily="34" charset="0"/>
              <a:buNone/>
            </a:pPr>
            <a:r>
              <a:rPr lang="en-US" dirty="0"/>
              <a:t>Third level</a:t>
            </a:r>
          </a:p>
          <a:p>
            <a:pPr marL="0" lvl="4" indent="0" algn="l" defTabSz="914491" rtl="0" eaLnBrk="1" latinLnBrk="0" hangingPunct="1">
              <a:spcBef>
                <a:spcPts val="0"/>
              </a:spcBef>
              <a:buFont typeface="Arial" panose="020B0604020202020204" pitchFamily="34" charset="0"/>
              <a:buNone/>
            </a:pPr>
            <a:r>
              <a:rPr lang="en-US" dirty="0"/>
              <a:t>Fourth level</a:t>
            </a:r>
          </a:p>
          <a:p>
            <a:pPr lvl="4"/>
            <a:r>
              <a:rPr lang="en-US" dirty="0"/>
              <a:t>Fifth level</a:t>
            </a:r>
          </a:p>
        </p:txBody>
      </p:sp>
      <p:sp>
        <p:nvSpPr>
          <p:cNvPr id="22" name="Text Placeholder 11"/>
          <p:cNvSpPr>
            <a:spLocks noGrp="1"/>
          </p:cNvSpPr>
          <p:nvPr>
            <p:ph type="body" sz="quarter" idx="17"/>
          </p:nvPr>
        </p:nvSpPr>
        <p:spPr bwMode="gray">
          <a:xfrm>
            <a:off x="6248043"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p:cNvSpPr>
            <a:spLocks noGrp="1"/>
          </p:cNvSpPr>
          <p:nvPr>
            <p:ph type="body" sz="quarter" idx="18"/>
          </p:nvPr>
        </p:nvSpPr>
        <p:spPr bwMode="gray">
          <a:xfrm>
            <a:off x="6248043" y="383124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75ACC3D8-F658-404B-AC58-DFDEB860C833}"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3"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3" y="4135561"/>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3" y="4214707"/>
            <a:ext cx="5605200" cy="1053911"/>
          </a:xfrm>
        </p:spPr>
        <p:txBody>
          <a:bodyPr lIns="0" tIns="0" rIns="0" bIns="0"/>
          <a:lstStyle>
            <a:lvl1pPr>
              <a:defRPr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endParaRPr lang="en-US" dirty="0"/>
          </a:p>
        </p:txBody>
      </p:sp>
      <p:sp>
        <p:nvSpPr>
          <p:cNvPr id="19"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7" name="Straight Connector 36"/>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73904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6: Title &amp; Content (2)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2582" y="1931195"/>
            <a:ext cx="206420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0"/>
          </p:nvPr>
        </p:nvSpPr>
        <p:spPr bwMode="gray">
          <a:xfrm>
            <a:off x="2700027" y="1931195"/>
            <a:ext cx="9153500" cy="3980918"/>
          </a:xfrm>
        </p:spPr>
        <p:txBody>
          <a:bodyPr lIns="0" tIns="0" rIns="0" bIns="0"/>
          <a:lstStyle>
            <a:lvl1pPr>
              <a:defRPr lang="en-US" sz="1800" b="1" kern="1200" dirty="0">
                <a:solidFill>
                  <a:schemeClr val="tx2"/>
                </a:solidFill>
                <a:latin typeface="+mn-lt"/>
                <a:ea typeface="+mn-ea"/>
                <a:cs typeface="+mn-cs"/>
              </a:defRPr>
            </a:lvl1pPr>
            <a:lvl2pPr>
              <a:defRPr sz="1600"/>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582" y="2317640"/>
            <a:ext cx="2064201" cy="3594475"/>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6" name="Straight Connector 15"/>
          <p:cNvCxnSpPr/>
          <p:nvPr userDrawn="1"/>
        </p:nvCxnSpPr>
        <p:spPr bwMode="gray">
          <a:xfrm>
            <a:off x="333983" y="2238495"/>
            <a:ext cx="2062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2548405"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custDataLst>
      <p:tags r:id="rId1"/>
    </p:custDataLst>
    <p:extLst>
      <p:ext uri="{BB962C8B-B14F-4D97-AF65-F5344CB8AC3E}">
        <p14:creationId xmlns:p14="http://schemas.microsoft.com/office/powerpoint/2010/main" val="35788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7" name="Text Placeholder 11"/>
          <p:cNvSpPr>
            <a:spLocks noGrp="1"/>
          </p:cNvSpPr>
          <p:nvPr>
            <p:ph type="body" sz="quarter" idx="16"/>
          </p:nvPr>
        </p:nvSpPr>
        <p:spPr bwMode="gray">
          <a:xfrm>
            <a:off x="333264" y="1931195"/>
            <a:ext cx="4093766"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lang="en-US" sz="1800" b="1" kern="1200" dirty="0">
                <a:solidFill>
                  <a:schemeClr val="tx2"/>
                </a:solidFill>
                <a:latin typeface="+mn-lt"/>
                <a:ea typeface="+mn-ea"/>
                <a:cs typeface="+mn-cs"/>
              </a:defRPr>
            </a:lvl1pPr>
            <a:lvl2pPr>
              <a:defRPr sz="1600"/>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3" y="2317640"/>
            <a:ext cx="4093767" cy="3594475"/>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6" name="Straight Connector 15"/>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888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E78DB5F-64D9-442E-954C-935C935B414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3" y="1933576"/>
            <a:ext cx="4093767" cy="3978540"/>
          </a:xfrm>
        </p:spPr>
        <p:txBody>
          <a:bodyPr lIns="0" tIns="0" rIns="0" bIns="0"/>
          <a:lstStyle>
            <a:lvl1pPr>
              <a:defRPr lang="en-US" sz="1800" b="1" kern="1200" dirty="0">
                <a:solidFill>
                  <a:schemeClr val="tx2"/>
                </a:solidFill>
                <a:latin typeface="+mn-lt"/>
                <a:ea typeface="+mn-ea"/>
                <a:cs typeface="+mn-cs"/>
              </a:defRPr>
            </a:lvl1pPr>
            <a:lvl2pPr>
              <a:defRPr sz="1600"/>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6" name="Straight Connector 25"/>
          <p:cNvCxnSpPr/>
          <p:nvPr userDrawn="1"/>
        </p:nvCxnSpPr>
        <p:spPr bwMode="gray">
          <a:xfrm>
            <a:off x="4575980" y="1933576"/>
            <a:ext cx="0" cy="397853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06420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8: Title (3) &amp; Content (3)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4093767" cy="252000"/>
          </a:xfrm>
        </p:spPr>
        <p:txBody>
          <a:bodyPr lIns="0" tIns="0" rIns="0" anchor="t"/>
          <a:lstStyle>
            <a:lvl1pPr marL="0" indent="0">
              <a:spcBef>
                <a:spcPts val="0"/>
              </a:spcBef>
              <a:buFont typeface="Arial" panose="020B0604020202020204" pitchFamily="34" charset="0"/>
              <a:buNone/>
              <a:defRPr sz="18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1"/>
          <p:cNvSpPr>
            <a:spLocks noGrp="1"/>
          </p:cNvSpPr>
          <p:nvPr>
            <p:ph type="body" sz="quarter" idx="17"/>
          </p:nvPr>
        </p:nvSpPr>
        <p:spPr bwMode="gray">
          <a:xfrm>
            <a:off x="4724453" y="1931194"/>
            <a:ext cx="7128811"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p:cNvSpPr>
            <a:spLocks noGrp="1"/>
          </p:cNvSpPr>
          <p:nvPr>
            <p:ph type="body" sz="quarter" idx="18"/>
          </p:nvPr>
        </p:nvSpPr>
        <p:spPr bwMode="gray">
          <a:xfrm>
            <a:off x="4724453" y="4042705"/>
            <a:ext cx="7128811"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15"/>
          <p:cNvSpPr>
            <a:spLocks noGrp="1"/>
          </p:cNvSpPr>
          <p:nvPr>
            <p:ph sz="quarter" idx="20"/>
          </p:nvPr>
        </p:nvSpPr>
        <p:spPr bwMode="gray">
          <a:xfrm>
            <a:off x="4724453" y="2317638"/>
            <a:ext cx="7128811" cy="148354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5"/>
          <p:cNvSpPr>
            <a:spLocks noGrp="1"/>
          </p:cNvSpPr>
          <p:nvPr>
            <p:ph sz="quarter" idx="19"/>
          </p:nvPr>
        </p:nvSpPr>
        <p:spPr bwMode="gray">
          <a:xfrm>
            <a:off x="333264" y="2317638"/>
            <a:ext cx="4094665" cy="3594474"/>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21D0314D-AAD8-43AE-987E-1CD311B19016}"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11" name="Straight Connector 9"/>
          <p:cNvCxnSpPr/>
          <p:nvPr userDrawn="1"/>
        </p:nvCxnSpPr>
        <p:spPr bwMode="gray">
          <a:xfrm>
            <a:off x="4725264"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4725264" y="4349421"/>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4724453" y="4428564"/>
            <a:ext cx="7128811" cy="148354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endParaRPr lang="en-US" dirty="0"/>
          </a:p>
        </p:txBody>
      </p:sp>
      <p:sp>
        <p:nvSpPr>
          <p:cNvPr id="20"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7" name="Straight Connector 36"/>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1" name="Straight Connector 40"/>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8366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9: Title (3) &amp; Content (3) &amp; Box 3">
    <p:spTree>
      <p:nvGrpSpPr>
        <p:cNvPr id="1" name=""/>
        <p:cNvGrpSpPr/>
        <p:nvPr/>
      </p:nvGrpSpPr>
      <p:grpSpPr>
        <a:xfrm>
          <a:off x="0" y="0"/>
          <a:ext cx="0" cy="0"/>
          <a:chOff x="0" y="0"/>
          <a:chExt cx="0" cy="0"/>
        </a:xfrm>
      </p:grpSpPr>
      <p:cxnSp>
        <p:nvCxnSpPr>
          <p:cNvPr id="42" name="Straight Connector 41"/>
          <p:cNvCxnSpPr/>
          <p:nvPr userDrawn="1"/>
        </p:nvCxnSpPr>
        <p:spPr bwMode="gray">
          <a:xfrm>
            <a:off x="457598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 Placeholder 11"/>
          <p:cNvSpPr>
            <a:spLocks noGrp="1"/>
          </p:cNvSpPr>
          <p:nvPr>
            <p:ph type="body" sz="quarter" idx="22"/>
          </p:nvPr>
        </p:nvSpPr>
        <p:spPr bwMode="gray">
          <a:xfrm>
            <a:off x="332366" y="5452639"/>
            <a:ext cx="11521161"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25" name="Content Placeholder 15"/>
          <p:cNvSpPr>
            <a:spLocks noGrp="1"/>
          </p:cNvSpPr>
          <p:nvPr>
            <p:ph sz="quarter" idx="20"/>
          </p:nvPr>
        </p:nvSpPr>
        <p:spPr bwMode="gray">
          <a:xfrm>
            <a:off x="4724930" y="2317641"/>
            <a:ext cx="7128597" cy="1053911"/>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5"/>
          <p:cNvSpPr>
            <a:spLocks noGrp="1"/>
          </p:cNvSpPr>
          <p:nvPr>
            <p:ph sz="quarter" idx="19"/>
          </p:nvPr>
        </p:nvSpPr>
        <p:spPr bwMode="gray">
          <a:xfrm>
            <a:off x="333264" y="2317638"/>
            <a:ext cx="4094664" cy="2950979"/>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6"/>
          </p:nvPr>
        </p:nvSpPr>
        <p:spPr bwMode="gray">
          <a:xfrm>
            <a:off x="332367" y="1931193"/>
            <a:ext cx="4094664"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1"/>
          <p:cNvSpPr>
            <a:spLocks noGrp="1"/>
          </p:cNvSpPr>
          <p:nvPr>
            <p:ph type="body" sz="quarter" idx="17"/>
          </p:nvPr>
        </p:nvSpPr>
        <p:spPr bwMode="gray">
          <a:xfrm>
            <a:off x="4724930" y="1931193"/>
            <a:ext cx="7129297"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p:cNvSpPr>
            <a:spLocks noGrp="1"/>
          </p:cNvSpPr>
          <p:nvPr>
            <p:ph type="body" sz="quarter" idx="18"/>
          </p:nvPr>
        </p:nvSpPr>
        <p:spPr bwMode="gray">
          <a:xfrm>
            <a:off x="4724930" y="3831247"/>
            <a:ext cx="7129297"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C3EC54A-C632-4B8A-8DD8-4163ADA26599}"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28" name="Content Placeholder 15"/>
          <p:cNvSpPr>
            <a:spLocks noGrp="1"/>
          </p:cNvSpPr>
          <p:nvPr>
            <p:ph sz="quarter" idx="21"/>
          </p:nvPr>
        </p:nvSpPr>
        <p:spPr bwMode="gray">
          <a:xfrm>
            <a:off x="4724930" y="4214707"/>
            <a:ext cx="7128597" cy="1053911"/>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9" name="Straight Connector 9"/>
          <p:cNvCxnSpPr/>
          <p:nvPr userDrawn="1"/>
        </p:nvCxnSpPr>
        <p:spPr bwMode="gray">
          <a:xfrm>
            <a:off x="4724930"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4727528" y="4136597"/>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 name="Title 5"/>
          <p:cNvSpPr>
            <a:spLocks noGrp="1"/>
          </p:cNvSpPr>
          <p:nvPr>
            <p:ph type="title"/>
          </p:nvPr>
        </p:nvSpPr>
        <p:spPr/>
        <p:txBody>
          <a:bodyPr/>
          <a:lstStyle/>
          <a:p>
            <a:r>
              <a:rPr lang="en-US"/>
              <a:t>Click to edit Master title style</a:t>
            </a:r>
            <a:endParaRPr lang="en-US" dirty="0"/>
          </a:p>
        </p:txBody>
      </p:sp>
      <p:sp>
        <p:nvSpPr>
          <p:cNvPr id="20"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45" name="Straight Connector 44"/>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0063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094DB61-25C8-4EF5-ACA6-394B43063948}"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184"/>
            <a:ext cx="3643200" cy="3594931"/>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5"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7184"/>
            <a:ext cx="3643200" cy="3594931"/>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184"/>
            <a:ext cx="3643200" cy="3594931"/>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5" name="Straight Connector 34"/>
          <p:cNvCxnSpPr/>
          <p:nvPr userDrawn="1"/>
        </p:nvCxnSpPr>
        <p:spPr bwMode="gray">
          <a:xfrm>
            <a:off x="4124130"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2"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97065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094DB61-25C8-4EF5-ACA6-394B43063948}"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2"/>
            <a:ext cx="3643200" cy="488157"/>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0" lvl="0" indent="0" algn="l" defTabSz="914491" rtl="0" eaLnBrk="1" latinLnBrk="0" hangingPunct="1">
              <a:spcBef>
                <a:spcPts val="0"/>
              </a:spcBef>
              <a:buFont typeface="Arial" panose="020B0604020202020204" pitchFamily="34" charset="0"/>
              <a:buNone/>
            </a:pPr>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gray">
          <a:xfrm>
            <a:off x="333264" y="25432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667000"/>
            <a:ext cx="3643200" cy="3245115"/>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4271795" y="1931193"/>
            <a:ext cx="3643200" cy="488156"/>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0" lvl="0" indent="0" algn="l" defTabSz="914491" rtl="0" eaLnBrk="1" latinLnBrk="0" hangingPunct="1">
              <a:spcBef>
                <a:spcPts val="0"/>
              </a:spcBef>
              <a:buFont typeface="Arial" panose="020B0604020202020204" pitchFamily="34" charset="0"/>
              <a:buNone/>
            </a:pPr>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5" y="25432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667000"/>
            <a:ext cx="3643200" cy="3245115"/>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8210327" y="1931193"/>
            <a:ext cx="3643200" cy="488156"/>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0" lvl="0" indent="0" algn="l" defTabSz="914491" rtl="0" eaLnBrk="1" latinLnBrk="0" hangingPunct="1">
              <a:spcBef>
                <a:spcPts val="0"/>
              </a:spcBef>
              <a:buFont typeface="Arial" panose="020B0604020202020204" pitchFamily="34" charset="0"/>
              <a:buNone/>
            </a:pPr>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5432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667000"/>
            <a:ext cx="3643200" cy="3245115"/>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5" name="Straight Connector 34"/>
          <p:cNvCxnSpPr/>
          <p:nvPr userDrawn="1"/>
        </p:nvCxnSpPr>
        <p:spPr bwMode="gray">
          <a:xfrm>
            <a:off x="4124130" y="2667000"/>
            <a:ext cx="0" cy="3248027"/>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2" y="2667000"/>
            <a:ext cx="0" cy="3248027"/>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916158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4: Title Slide 4">
    <p:spTree>
      <p:nvGrpSpPr>
        <p:cNvPr id="1" name=""/>
        <p:cNvGrpSpPr/>
        <p:nvPr/>
      </p:nvGrpSpPr>
      <p:grpSpPr>
        <a:xfrm>
          <a:off x="0" y="0"/>
          <a:ext cx="0" cy="0"/>
          <a:chOff x="0" y="0"/>
          <a:chExt cx="0" cy="0"/>
        </a:xfrm>
      </p:grpSpPr>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userDrawn="1"/>
        </p:nvGrpSpPr>
        <p:grpSpPr bwMode="gray">
          <a:xfrm>
            <a:off x="0" y="1017096"/>
            <a:ext cx="12192000" cy="3245107"/>
            <a:chOff x="0" y="1501206"/>
            <a:chExt cx="12192000" cy="3245107"/>
          </a:xfrm>
        </p:grpSpPr>
        <p:grpSp>
          <p:nvGrpSpPr>
            <p:cNvPr id="16" name="Group 15"/>
            <p:cNvGrpSpPr/>
            <p:nvPr/>
          </p:nvGrpSpPr>
          <p:grpSpPr bwMode="gray">
            <a:xfrm>
              <a:off x="4094461" y="3948737"/>
              <a:ext cx="658572" cy="520653"/>
              <a:chOff x="3225781" y="3729116"/>
              <a:chExt cx="658572" cy="520653"/>
            </a:xfrm>
          </p:grpSpPr>
          <p:sp>
            <p:nvSpPr>
              <p:cNvPr id="121" name="Rounded Rectangle 8"/>
              <p:cNvSpPr/>
              <p:nvPr/>
            </p:nvSpPr>
            <p:spPr bwMode="gray">
              <a:xfrm>
                <a:off x="3480946" y="3922409"/>
                <a:ext cx="148242" cy="134066"/>
              </a:xfrm>
              <a:custGeom>
                <a:avLst/>
                <a:gdLst/>
                <a:ahLst/>
                <a:cxnLst/>
                <a:rect l="l" t="t" r="r" b="b"/>
                <a:pathLst>
                  <a:path w="190051" h="1277253">
                    <a:moveTo>
                      <a:pt x="0" y="0"/>
                    </a:moveTo>
                    <a:lnTo>
                      <a:pt x="190051" y="638626"/>
                    </a:lnTo>
                    <a:lnTo>
                      <a:pt x="0" y="1277253"/>
                    </a:lnTo>
                    <a:cubicBezTo>
                      <a:pt x="36524" y="1088309"/>
                      <a:pt x="56059" y="870446"/>
                      <a:pt x="56059" y="638627"/>
                    </a:cubicBezTo>
                    <a:cubicBezTo>
                      <a:pt x="56059" y="406808"/>
                      <a:pt x="36523" y="188944"/>
                      <a:pt x="0" y="0"/>
                    </a:cubicBezTo>
                    <a:close/>
                  </a:path>
                </a:pathLst>
              </a:cu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22" name="Rectangle 140"/>
              <p:cNvSpPr/>
              <p:nvPr/>
            </p:nvSpPr>
            <p:spPr bwMode="gray">
              <a:xfrm flipH="1">
                <a:off x="3225781" y="3729116"/>
                <a:ext cx="658572" cy="520653"/>
              </a:xfrm>
              <a:custGeom>
                <a:avLst/>
                <a:gdLst/>
                <a:ahLst/>
                <a:cxnLst/>
                <a:rect l="l" t="t" r="r" b="b"/>
                <a:pathLst>
                  <a:path w="908908" h="718564">
                    <a:moveTo>
                      <a:pt x="908908" y="485296"/>
                    </a:moveTo>
                    <a:lnTo>
                      <a:pt x="0" y="485296"/>
                    </a:lnTo>
                    <a:lnTo>
                      <a:pt x="0" y="586690"/>
                    </a:lnTo>
                    <a:lnTo>
                      <a:pt x="0" y="718564"/>
                    </a:lnTo>
                    <a:lnTo>
                      <a:pt x="188776" y="718564"/>
                    </a:lnTo>
                    <a:lnTo>
                      <a:pt x="188776" y="586690"/>
                    </a:lnTo>
                    <a:lnTo>
                      <a:pt x="720132" y="586690"/>
                    </a:lnTo>
                    <a:lnTo>
                      <a:pt x="720132" y="718564"/>
                    </a:lnTo>
                    <a:lnTo>
                      <a:pt x="908908" y="718564"/>
                    </a:lnTo>
                    <a:lnTo>
                      <a:pt x="908908" y="586690"/>
                    </a:lnTo>
                    <a:close/>
                    <a:moveTo>
                      <a:pt x="908908" y="0"/>
                    </a:moveTo>
                    <a:lnTo>
                      <a:pt x="720132" y="0"/>
                    </a:lnTo>
                    <a:lnTo>
                      <a:pt x="720132" y="131875"/>
                    </a:lnTo>
                    <a:lnTo>
                      <a:pt x="188776" y="131875"/>
                    </a:lnTo>
                    <a:lnTo>
                      <a:pt x="188776" y="0"/>
                    </a:lnTo>
                    <a:lnTo>
                      <a:pt x="0" y="0"/>
                    </a:lnTo>
                    <a:lnTo>
                      <a:pt x="0" y="131875"/>
                    </a:lnTo>
                    <a:lnTo>
                      <a:pt x="0" y="233268"/>
                    </a:lnTo>
                    <a:lnTo>
                      <a:pt x="908908" y="233268"/>
                    </a:lnTo>
                    <a:lnTo>
                      <a:pt x="908908" y="131875"/>
                    </a:lnTo>
                    <a:close/>
                  </a:path>
                </a:pathLst>
              </a:cu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cxnSp>
            <p:nvCxnSpPr>
              <p:cNvPr id="123" name="Straight Connector 122"/>
              <p:cNvCxnSpPr/>
              <p:nvPr/>
            </p:nvCxnSpPr>
            <p:spPr bwMode="gray">
              <a:xfrm flipH="1">
                <a:off x="3231494" y="3901287"/>
                <a:ext cx="2" cy="176311"/>
              </a:xfrm>
              <a:prstGeom prst="lin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24" name="Straight Connector 123"/>
              <p:cNvCxnSpPr/>
              <p:nvPr/>
            </p:nvCxnSpPr>
            <p:spPr bwMode="gray">
              <a:xfrm flipH="1">
                <a:off x="3878638" y="3901287"/>
                <a:ext cx="2" cy="176311"/>
              </a:xfrm>
              <a:prstGeom prst="lin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7" name="Group 16"/>
            <p:cNvGrpSpPr/>
            <p:nvPr/>
          </p:nvGrpSpPr>
          <p:grpSpPr bwMode="gray">
            <a:xfrm>
              <a:off x="5985405" y="4102224"/>
              <a:ext cx="214431" cy="644089"/>
              <a:chOff x="6609030" y="3847551"/>
              <a:chExt cx="214431" cy="644089"/>
            </a:xfrm>
          </p:grpSpPr>
          <p:grpSp>
            <p:nvGrpSpPr>
              <p:cNvPr id="117" name="Group 116"/>
              <p:cNvGrpSpPr/>
              <p:nvPr/>
            </p:nvGrpSpPr>
            <p:grpSpPr bwMode="gray">
              <a:xfrm>
                <a:off x="6609030" y="3847551"/>
                <a:ext cx="214431" cy="644089"/>
                <a:chOff x="6805288" y="-808316"/>
                <a:chExt cx="270648" cy="812949"/>
              </a:xfrm>
            </p:grpSpPr>
            <p:sp>
              <p:nvSpPr>
                <p:cNvPr id="119" name="Oval 68"/>
                <p:cNvSpPr/>
                <p:nvPr/>
              </p:nvSpPr>
              <p:spPr bwMode="gray">
                <a:xfrm>
                  <a:off x="6805288" y="-808316"/>
                  <a:ext cx="270648" cy="812949"/>
                </a:xfrm>
                <a:custGeom>
                  <a:avLst/>
                  <a:gdLst/>
                  <a:ahLst/>
                  <a:cxnLst/>
                  <a:rect l="l" t="t" r="r" b="b"/>
                  <a:pathLst>
                    <a:path w="108832" h="326900">
                      <a:moveTo>
                        <a:pt x="54416" y="0"/>
                      </a:moveTo>
                      <a:cubicBezTo>
                        <a:pt x="71779" y="0"/>
                        <a:pt x="85854" y="14075"/>
                        <a:pt x="85854" y="31438"/>
                      </a:cubicBezTo>
                      <a:lnTo>
                        <a:pt x="85854" y="229260"/>
                      </a:lnTo>
                      <a:cubicBezTo>
                        <a:pt x="100006" y="238369"/>
                        <a:pt x="108832" y="254396"/>
                        <a:pt x="108832" y="272484"/>
                      </a:cubicBezTo>
                      <a:cubicBezTo>
                        <a:pt x="108832" y="302537"/>
                        <a:pt x="84469" y="326900"/>
                        <a:pt x="54416" y="326900"/>
                      </a:cubicBezTo>
                      <a:cubicBezTo>
                        <a:pt x="24363" y="326900"/>
                        <a:pt x="0" y="302537"/>
                        <a:pt x="0" y="272484"/>
                      </a:cubicBezTo>
                      <a:cubicBezTo>
                        <a:pt x="0" y="254395"/>
                        <a:pt x="8826" y="238368"/>
                        <a:pt x="22979" y="229259"/>
                      </a:cubicBezTo>
                      <a:lnTo>
                        <a:pt x="22978" y="31438"/>
                      </a:lnTo>
                      <a:cubicBezTo>
                        <a:pt x="22978" y="14075"/>
                        <a:pt x="37053" y="0"/>
                        <a:pt x="54416" y="0"/>
                      </a:cubicBezTo>
                      <a:close/>
                    </a:path>
                  </a:pathLst>
                </a:cu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20" name="Rounded Rectangle 67"/>
                <p:cNvSpPr/>
                <p:nvPr/>
              </p:nvSpPr>
              <p:spPr bwMode="gray">
                <a:xfrm>
                  <a:off x="6846448" y="-765736"/>
                  <a:ext cx="188329" cy="729155"/>
                </a:xfrm>
                <a:custGeom>
                  <a:avLst/>
                  <a:gdLst/>
                  <a:ahLst/>
                  <a:cxnLst/>
                  <a:rect l="l" t="t" r="r" b="b"/>
                  <a:pathLst>
                    <a:path w="75730" h="293205">
                      <a:moveTo>
                        <a:pt x="37865" y="0"/>
                      </a:moveTo>
                      <a:cubicBezTo>
                        <a:pt x="45818" y="0"/>
                        <a:pt x="52265" y="6447"/>
                        <a:pt x="52265" y="14400"/>
                      </a:cubicBezTo>
                      <a:lnTo>
                        <a:pt x="52265" y="223440"/>
                      </a:lnTo>
                      <a:cubicBezTo>
                        <a:pt x="66588" y="226762"/>
                        <a:pt x="75730" y="239983"/>
                        <a:pt x="75730" y="255340"/>
                      </a:cubicBezTo>
                      <a:cubicBezTo>
                        <a:pt x="75730" y="276252"/>
                        <a:pt x="58777" y="293205"/>
                        <a:pt x="37865" y="293205"/>
                      </a:cubicBezTo>
                      <a:cubicBezTo>
                        <a:pt x="16953" y="293205"/>
                        <a:pt x="0" y="276252"/>
                        <a:pt x="0" y="255340"/>
                      </a:cubicBezTo>
                      <a:cubicBezTo>
                        <a:pt x="0" y="239983"/>
                        <a:pt x="9142" y="226762"/>
                        <a:pt x="23465" y="223440"/>
                      </a:cubicBezTo>
                      <a:lnTo>
                        <a:pt x="23465" y="14400"/>
                      </a:lnTo>
                      <a:cubicBezTo>
                        <a:pt x="23465" y="6447"/>
                        <a:pt x="29912" y="0"/>
                        <a:pt x="37865" y="0"/>
                      </a:cubicBezTo>
                      <a:close/>
                    </a:path>
                  </a:pathLst>
                </a:cu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cxnSp>
            <p:nvCxnSpPr>
              <p:cNvPr id="118" name="Straight Connector 117"/>
              <p:cNvCxnSpPr/>
              <p:nvPr/>
            </p:nvCxnSpPr>
            <p:spPr bwMode="gray">
              <a:xfrm>
                <a:off x="6691837" y="4004407"/>
                <a:ext cx="51435" cy="0"/>
              </a:xfrm>
              <a:prstGeom prst="lin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9" name="Group 18"/>
            <p:cNvGrpSpPr/>
            <p:nvPr/>
          </p:nvGrpSpPr>
          <p:grpSpPr bwMode="gray">
            <a:xfrm>
              <a:off x="7853424" y="2967283"/>
              <a:ext cx="3757897" cy="300436"/>
              <a:chOff x="8728775" y="3089997"/>
              <a:chExt cx="3757897" cy="300436"/>
            </a:xfrm>
          </p:grpSpPr>
          <p:sp>
            <p:nvSpPr>
              <p:cNvPr id="115" name="Freeform 114"/>
              <p:cNvSpPr/>
              <p:nvPr/>
            </p:nvSpPr>
            <p:spPr bwMode="gray">
              <a:xfrm>
                <a:off x="8728775" y="3089997"/>
                <a:ext cx="1890172" cy="300436"/>
              </a:xfrm>
              <a:custGeom>
                <a:avLst/>
                <a:gdLst>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19112 w 1011118"/>
                  <a:gd name="connsiteY37" fmla="*/ 166687 h 314325"/>
                  <a:gd name="connsiteX38" fmla="*/ 533400 w 1011118"/>
                  <a:gd name="connsiteY38" fmla="*/ 138112 h 314325"/>
                  <a:gd name="connsiteX39" fmla="*/ 552450 w 1011118"/>
                  <a:gd name="connsiteY39" fmla="*/ 104775 h 314325"/>
                  <a:gd name="connsiteX40" fmla="*/ 557212 w 1011118"/>
                  <a:gd name="connsiteY40" fmla="*/ 90487 h 314325"/>
                  <a:gd name="connsiteX41" fmla="*/ 571500 w 1011118"/>
                  <a:gd name="connsiteY41" fmla="*/ 80962 h 314325"/>
                  <a:gd name="connsiteX42" fmla="*/ 619125 w 1011118"/>
                  <a:gd name="connsiteY42" fmla="*/ 52387 h 314325"/>
                  <a:gd name="connsiteX43" fmla="*/ 628650 w 1011118"/>
                  <a:gd name="connsiteY43" fmla="*/ 309562 h 314325"/>
                  <a:gd name="connsiteX44" fmla="*/ 642937 w 1011118"/>
                  <a:gd name="connsiteY44" fmla="*/ 314325 h 314325"/>
                  <a:gd name="connsiteX45" fmla="*/ 652462 w 1011118"/>
                  <a:gd name="connsiteY45" fmla="*/ 295275 h 314325"/>
                  <a:gd name="connsiteX46" fmla="*/ 661987 w 1011118"/>
                  <a:gd name="connsiteY46" fmla="*/ 252412 h 314325"/>
                  <a:gd name="connsiteX47" fmla="*/ 690562 w 1011118"/>
                  <a:gd name="connsiteY47" fmla="*/ 204787 h 314325"/>
                  <a:gd name="connsiteX48" fmla="*/ 704850 w 1011118"/>
                  <a:gd name="connsiteY48" fmla="*/ 171450 h 314325"/>
                  <a:gd name="connsiteX49" fmla="*/ 714375 w 1011118"/>
                  <a:gd name="connsiteY49" fmla="*/ 133350 h 314325"/>
                  <a:gd name="connsiteX50" fmla="*/ 719137 w 1011118"/>
                  <a:gd name="connsiteY50" fmla="*/ 166687 h 314325"/>
                  <a:gd name="connsiteX51" fmla="*/ 723900 w 1011118"/>
                  <a:gd name="connsiteY51" fmla="*/ 180975 h 314325"/>
                  <a:gd name="connsiteX52" fmla="*/ 733425 w 1011118"/>
                  <a:gd name="connsiteY52" fmla="*/ 161925 h 314325"/>
                  <a:gd name="connsiteX53" fmla="*/ 757237 w 1011118"/>
                  <a:gd name="connsiteY53" fmla="*/ 133350 h 314325"/>
                  <a:gd name="connsiteX54" fmla="*/ 785812 w 1011118"/>
                  <a:gd name="connsiteY54" fmla="*/ 85725 h 314325"/>
                  <a:gd name="connsiteX55" fmla="*/ 795337 w 1011118"/>
                  <a:gd name="connsiteY55" fmla="*/ 114300 h 314325"/>
                  <a:gd name="connsiteX56" fmla="*/ 809625 w 1011118"/>
                  <a:gd name="connsiteY56" fmla="*/ 185737 h 314325"/>
                  <a:gd name="connsiteX57" fmla="*/ 823912 w 1011118"/>
                  <a:gd name="connsiteY57" fmla="*/ 180975 h 314325"/>
                  <a:gd name="connsiteX58" fmla="*/ 847725 w 1011118"/>
                  <a:gd name="connsiteY58" fmla="*/ 138112 h 314325"/>
                  <a:gd name="connsiteX59" fmla="*/ 871537 w 1011118"/>
                  <a:gd name="connsiteY59" fmla="*/ 76200 h 314325"/>
                  <a:gd name="connsiteX60" fmla="*/ 876300 w 1011118"/>
                  <a:gd name="connsiteY60" fmla="*/ 52387 h 314325"/>
                  <a:gd name="connsiteX61" fmla="*/ 890587 w 1011118"/>
                  <a:gd name="connsiteY61" fmla="*/ 38100 h 314325"/>
                  <a:gd name="connsiteX62" fmla="*/ 895350 w 1011118"/>
                  <a:gd name="connsiteY62" fmla="*/ 14287 h 314325"/>
                  <a:gd name="connsiteX63" fmla="*/ 900112 w 1011118"/>
                  <a:gd name="connsiteY63" fmla="*/ 0 h 314325"/>
                  <a:gd name="connsiteX64" fmla="*/ 904875 w 1011118"/>
                  <a:gd name="connsiteY64" fmla="*/ 14287 h 314325"/>
                  <a:gd name="connsiteX65" fmla="*/ 909637 w 1011118"/>
                  <a:gd name="connsiteY65" fmla="*/ 71437 h 314325"/>
                  <a:gd name="connsiteX66" fmla="*/ 919162 w 1011118"/>
                  <a:gd name="connsiteY66" fmla="*/ 100012 h 314325"/>
                  <a:gd name="connsiteX67" fmla="*/ 942975 w 1011118"/>
                  <a:gd name="connsiteY67" fmla="*/ 161925 h 314325"/>
                  <a:gd name="connsiteX68" fmla="*/ 947737 w 1011118"/>
                  <a:gd name="connsiteY68" fmla="*/ 180975 h 314325"/>
                  <a:gd name="connsiteX69" fmla="*/ 952500 w 1011118"/>
                  <a:gd name="connsiteY69" fmla="*/ 214312 h 314325"/>
                  <a:gd name="connsiteX70" fmla="*/ 971550 w 1011118"/>
                  <a:gd name="connsiteY70" fmla="*/ 242887 h 314325"/>
                  <a:gd name="connsiteX71" fmla="*/ 985837 w 1011118"/>
                  <a:gd name="connsiteY71" fmla="*/ 238125 h 314325"/>
                  <a:gd name="connsiteX72" fmla="*/ 990600 w 1011118"/>
                  <a:gd name="connsiteY72" fmla="*/ 223837 h 314325"/>
                  <a:gd name="connsiteX73" fmla="*/ 1004887 w 1011118"/>
                  <a:gd name="connsiteY73"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33400 w 1011118"/>
                  <a:gd name="connsiteY37" fmla="*/ 138112 h 314325"/>
                  <a:gd name="connsiteX38" fmla="*/ 552450 w 1011118"/>
                  <a:gd name="connsiteY38" fmla="*/ 104775 h 314325"/>
                  <a:gd name="connsiteX39" fmla="*/ 557212 w 1011118"/>
                  <a:gd name="connsiteY39" fmla="*/ 90487 h 314325"/>
                  <a:gd name="connsiteX40" fmla="*/ 571500 w 1011118"/>
                  <a:gd name="connsiteY40" fmla="*/ 80962 h 314325"/>
                  <a:gd name="connsiteX41" fmla="*/ 619125 w 1011118"/>
                  <a:gd name="connsiteY41" fmla="*/ 52387 h 314325"/>
                  <a:gd name="connsiteX42" fmla="*/ 628650 w 1011118"/>
                  <a:gd name="connsiteY42" fmla="*/ 309562 h 314325"/>
                  <a:gd name="connsiteX43" fmla="*/ 642937 w 1011118"/>
                  <a:gd name="connsiteY43" fmla="*/ 314325 h 314325"/>
                  <a:gd name="connsiteX44" fmla="*/ 652462 w 1011118"/>
                  <a:gd name="connsiteY44" fmla="*/ 295275 h 314325"/>
                  <a:gd name="connsiteX45" fmla="*/ 661987 w 1011118"/>
                  <a:gd name="connsiteY45" fmla="*/ 252412 h 314325"/>
                  <a:gd name="connsiteX46" fmla="*/ 690562 w 1011118"/>
                  <a:gd name="connsiteY46" fmla="*/ 204787 h 314325"/>
                  <a:gd name="connsiteX47" fmla="*/ 704850 w 1011118"/>
                  <a:gd name="connsiteY47" fmla="*/ 171450 h 314325"/>
                  <a:gd name="connsiteX48" fmla="*/ 714375 w 1011118"/>
                  <a:gd name="connsiteY48" fmla="*/ 133350 h 314325"/>
                  <a:gd name="connsiteX49" fmla="*/ 719137 w 1011118"/>
                  <a:gd name="connsiteY49" fmla="*/ 166687 h 314325"/>
                  <a:gd name="connsiteX50" fmla="*/ 723900 w 1011118"/>
                  <a:gd name="connsiteY50" fmla="*/ 180975 h 314325"/>
                  <a:gd name="connsiteX51" fmla="*/ 733425 w 1011118"/>
                  <a:gd name="connsiteY51" fmla="*/ 161925 h 314325"/>
                  <a:gd name="connsiteX52" fmla="*/ 757237 w 1011118"/>
                  <a:gd name="connsiteY52" fmla="*/ 133350 h 314325"/>
                  <a:gd name="connsiteX53" fmla="*/ 785812 w 1011118"/>
                  <a:gd name="connsiteY53" fmla="*/ 85725 h 314325"/>
                  <a:gd name="connsiteX54" fmla="*/ 795337 w 1011118"/>
                  <a:gd name="connsiteY54" fmla="*/ 114300 h 314325"/>
                  <a:gd name="connsiteX55" fmla="*/ 809625 w 1011118"/>
                  <a:gd name="connsiteY55" fmla="*/ 185737 h 314325"/>
                  <a:gd name="connsiteX56" fmla="*/ 823912 w 1011118"/>
                  <a:gd name="connsiteY56" fmla="*/ 180975 h 314325"/>
                  <a:gd name="connsiteX57" fmla="*/ 847725 w 1011118"/>
                  <a:gd name="connsiteY57" fmla="*/ 138112 h 314325"/>
                  <a:gd name="connsiteX58" fmla="*/ 871537 w 1011118"/>
                  <a:gd name="connsiteY58" fmla="*/ 76200 h 314325"/>
                  <a:gd name="connsiteX59" fmla="*/ 876300 w 1011118"/>
                  <a:gd name="connsiteY59" fmla="*/ 52387 h 314325"/>
                  <a:gd name="connsiteX60" fmla="*/ 890587 w 1011118"/>
                  <a:gd name="connsiteY60" fmla="*/ 38100 h 314325"/>
                  <a:gd name="connsiteX61" fmla="*/ 895350 w 1011118"/>
                  <a:gd name="connsiteY61" fmla="*/ 14287 h 314325"/>
                  <a:gd name="connsiteX62" fmla="*/ 900112 w 1011118"/>
                  <a:gd name="connsiteY62" fmla="*/ 0 h 314325"/>
                  <a:gd name="connsiteX63" fmla="*/ 904875 w 1011118"/>
                  <a:gd name="connsiteY63" fmla="*/ 14287 h 314325"/>
                  <a:gd name="connsiteX64" fmla="*/ 909637 w 1011118"/>
                  <a:gd name="connsiteY64" fmla="*/ 71437 h 314325"/>
                  <a:gd name="connsiteX65" fmla="*/ 919162 w 1011118"/>
                  <a:gd name="connsiteY65" fmla="*/ 100012 h 314325"/>
                  <a:gd name="connsiteX66" fmla="*/ 942975 w 1011118"/>
                  <a:gd name="connsiteY66" fmla="*/ 161925 h 314325"/>
                  <a:gd name="connsiteX67" fmla="*/ 947737 w 1011118"/>
                  <a:gd name="connsiteY67" fmla="*/ 180975 h 314325"/>
                  <a:gd name="connsiteX68" fmla="*/ 952500 w 1011118"/>
                  <a:gd name="connsiteY68" fmla="*/ 214312 h 314325"/>
                  <a:gd name="connsiteX69" fmla="*/ 971550 w 1011118"/>
                  <a:gd name="connsiteY69" fmla="*/ 242887 h 314325"/>
                  <a:gd name="connsiteX70" fmla="*/ 985837 w 1011118"/>
                  <a:gd name="connsiteY70" fmla="*/ 238125 h 314325"/>
                  <a:gd name="connsiteX71" fmla="*/ 990600 w 1011118"/>
                  <a:gd name="connsiteY71" fmla="*/ 223837 h 314325"/>
                  <a:gd name="connsiteX72" fmla="*/ 1004887 w 1011118"/>
                  <a:gd name="connsiteY72"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0537 w 1011118"/>
                  <a:gd name="connsiteY35" fmla="*/ 223837 h 314325"/>
                  <a:gd name="connsiteX36" fmla="*/ 533400 w 1011118"/>
                  <a:gd name="connsiteY36" fmla="*/ 138112 h 314325"/>
                  <a:gd name="connsiteX37" fmla="*/ 552450 w 1011118"/>
                  <a:gd name="connsiteY37" fmla="*/ 104775 h 314325"/>
                  <a:gd name="connsiteX38" fmla="*/ 557212 w 1011118"/>
                  <a:gd name="connsiteY38" fmla="*/ 90487 h 314325"/>
                  <a:gd name="connsiteX39" fmla="*/ 571500 w 1011118"/>
                  <a:gd name="connsiteY39" fmla="*/ 80962 h 314325"/>
                  <a:gd name="connsiteX40" fmla="*/ 619125 w 1011118"/>
                  <a:gd name="connsiteY40" fmla="*/ 52387 h 314325"/>
                  <a:gd name="connsiteX41" fmla="*/ 628650 w 1011118"/>
                  <a:gd name="connsiteY41" fmla="*/ 309562 h 314325"/>
                  <a:gd name="connsiteX42" fmla="*/ 642937 w 1011118"/>
                  <a:gd name="connsiteY42" fmla="*/ 314325 h 314325"/>
                  <a:gd name="connsiteX43" fmla="*/ 652462 w 1011118"/>
                  <a:gd name="connsiteY43" fmla="*/ 295275 h 314325"/>
                  <a:gd name="connsiteX44" fmla="*/ 661987 w 1011118"/>
                  <a:gd name="connsiteY44" fmla="*/ 252412 h 314325"/>
                  <a:gd name="connsiteX45" fmla="*/ 690562 w 1011118"/>
                  <a:gd name="connsiteY45" fmla="*/ 204787 h 314325"/>
                  <a:gd name="connsiteX46" fmla="*/ 704850 w 1011118"/>
                  <a:gd name="connsiteY46" fmla="*/ 171450 h 314325"/>
                  <a:gd name="connsiteX47" fmla="*/ 714375 w 1011118"/>
                  <a:gd name="connsiteY47" fmla="*/ 133350 h 314325"/>
                  <a:gd name="connsiteX48" fmla="*/ 719137 w 1011118"/>
                  <a:gd name="connsiteY48" fmla="*/ 166687 h 314325"/>
                  <a:gd name="connsiteX49" fmla="*/ 723900 w 1011118"/>
                  <a:gd name="connsiteY49" fmla="*/ 180975 h 314325"/>
                  <a:gd name="connsiteX50" fmla="*/ 733425 w 1011118"/>
                  <a:gd name="connsiteY50" fmla="*/ 161925 h 314325"/>
                  <a:gd name="connsiteX51" fmla="*/ 757237 w 1011118"/>
                  <a:gd name="connsiteY51" fmla="*/ 133350 h 314325"/>
                  <a:gd name="connsiteX52" fmla="*/ 785812 w 1011118"/>
                  <a:gd name="connsiteY52" fmla="*/ 85725 h 314325"/>
                  <a:gd name="connsiteX53" fmla="*/ 795337 w 1011118"/>
                  <a:gd name="connsiteY53" fmla="*/ 114300 h 314325"/>
                  <a:gd name="connsiteX54" fmla="*/ 809625 w 1011118"/>
                  <a:gd name="connsiteY54" fmla="*/ 185737 h 314325"/>
                  <a:gd name="connsiteX55" fmla="*/ 823912 w 1011118"/>
                  <a:gd name="connsiteY55" fmla="*/ 180975 h 314325"/>
                  <a:gd name="connsiteX56" fmla="*/ 847725 w 1011118"/>
                  <a:gd name="connsiteY56" fmla="*/ 138112 h 314325"/>
                  <a:gd name="connsiteX57" fmla="*/ 871537 w 1011118"/>
                  <a:gd name="connsiteY57" fmla="*/ 76200 h 314325"/>
                  <a:gd name="connsiteX58" fmla="*/ 876300 w 1011118"/>
                  <a:gd name="connsiteY58" fmla="*/ 52387 h 314325"/>
                  <a:gd name="connsiteX59" fmla="*/ 890587 w 1011118"/>
                  <a:gd name="connsiteY59" fmla="*/ 38100 h 314325"/>
                  <a:gd name="connsiteX60" fmla="*/ 895350 w 1011118"/>
                  <a:gd name="connsiteY60" fmla="*/ 14287 h 314325"/>
                  <a:gd name="connsiteX61" fmla="*/ 900112 w 1011118"/>
                  <a:gd name="connsiteY61" fmla="*/ 0 h 314325"/>
                  <a:gd name="connsiteX62" fmla="*/ 904875 w 1011118"/>
                  <a:gd name="connsiteY62" fmla="*/ 14287 h 314325"/>
                  <a:gd name="connsiteX63" fmla="*/ 909637 w 1011118"/>
                  <a:gd name="connsiteY63" fmla="*/ 71437 h 314325"/>
                  <a:gd name="connsiteX64" fmla="*/ 919162 w 1011118"/>
                  <a:gd name="connsiteY64" fmla="*/ 100012 h 314325"/>
                  <a:gd name="connsiteX65" fmla="*/ 942975 w 1011118"/>
                  <a:gd name="connsiteY65" fmla="*/ 161925 h 314325"/>
                  <a:gd name="connsiteX66" fmla="*/ 947737 w 1011118"/>
                  <a:gd name="connsiteY66" fmla="*/ 180975 h 314325"/>
                  <a:gd name="connsiteX67" fmla="*/ 952500 w 1011118"/>
                  <a:gd name="connsiteY67" fmla="*/ 214312 h 314325"/>
                  <a:gd name="connsiteX68" fmla="*/ 971550 w 1011118"/>
                  <a:gd name="connsiteY68" fmla="*/ 242887 h 314325"/>
                  <a:gd name="connsiteX69" fmla="*/ 985837 w 1011118"/>
                  <a:gd name="connsiteY69" fmla="*/ 238125 h 314325"/>
                  <a:gd name="connsiteX70" fmla="*/ 990600 w 1011118"/>
                  <a:gd name="connsiteY70" fmla="*/ 223837 h 314325"/>
                  <a:gd name="connsiteX71" fmla="*/ 1004887 w 1011118"/>
                  <a:gd name="connsiteY71"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23850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704850 w 1011118"/>
                  <a:gd name="connsiteY44" fmla="*/ 17145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30535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6250 w 1011118"/>
                  <a:gd name="connsiteY19" fmla="*/ 3663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990600"/>
                  <a:gd name="connsiteY0" fmla="*/ 266700 h 314325"/>
                  <a:gd name="connsiteX1" fmla="*/ 23812 w 990600"/>
                  <a:gd name="connsiteY1" fmla="*/ 242887 h 314325"/>
                  <a:gd name="connsiteX2" fmla="*/ 28575 w 990600"/>
                  <a:gd name="connsiteY2" fmla="*/ 228600 h 314325"/>
                  <a:gd name="connsiteX3" fmla="*/ 57150 w 990600"/>
                  <a:gd name="connsiteY3" fmla="*/ 180975 h 314325"/>
                  <a:gd name="connsiteX4" fmla="*/ 66675 w 990600"/>
                  <a:gd name="connsiteY4" fmla="*/ 166687 h 314325"/>
                  <a:gd name="connsiteX5" fmla="*/ 85725 w 990600"/>
                  <a:gd name="connsiteY5" fmla="*/ 114300 h 314325"/>
                  <a:gd name="connsiteX6" fmla="*/ 95250 w 990600"/>
                  <a:gd name="connsiteY6" fmla="*/ 100012 h 314325"/>
                  <a:gd name="connsiteX7" fmla="*/ 114300 w 990600"/>
                  <a:gd name="connsiteY7" fmla="*/ 57150 h 314325"/>
                  <a:gd name="connsiteX8" fmla="*/ 119062 w 990600"/>
                  <a:gd name="connsiteY8" fmla="*/ 42862 h 314325"/>
                  <a:gd name="connsiteX9" fmla="*/ 128587 w 990600"/>
                  <a:gd name="connsiteY9" fmla="*/ 4762 h 314325"/>
                  <a:gd name="connsiteX10" fmla="*/ 138112 w 990600"/>
                  <a:gd name="connsiteY10" fmla="*/ 100012 h 314325"/>
                  <a:gd name="connsiteX11" fmla="*/ 147637 w 990600"/>
                  <a:gd name="connsiteY11" fmla="*/ 152400 h 314325"/>
                  <a:gd name="connsiteX12" fmla="*/ 152400 w 990600"/>
                  <a:gd name="connsiteY12" fmla="*/ 228600 h 314325"/>
                  <a:gd name="connsiteX13" fmla="*/ 164889 w 990600"/>
                  <a:gd name="connsiteY13" fmla="*/ 268258 h 314325"/>
                  <a:gd name="connsiteX14" fmla="*/ 192770 w 990600"/>
                  <a:gd name="connsiteY14" fmla="*/ 255572 h 314325"/>
                  <a:gd name="connsiteX15" fmla="*/ 223081 w 990600"/>
                  <a:gd name="connsiteY15" fmla="*/ 201561 h 314325"/>
                  <a:gd name="connsiteX16" fmla="*/ 242887 w 990600"/>
                  <a:gd name="connsiteY16" fmla="*/ 171450 h 314325"/>
                  <a:gd name="connsiteX17" fmla="*/ 261937 w 990600"/>
                  <a:gd name="connsiteY17" fmla="*/ 142875 h 314325"/>
                  <a:gd name="connsiteX18" fmla="*/ 295275 w 990600"/>
                  <a:gd name="connsiteY18" fmla="*/ 71437 h 314325"/>
                  <a:gd name="connsiteX19" fmla="*/ 306250 w 990600"/>
                  <a:gd name="connsiteY19" fmla="*/ 36631 h 314325"/>
                  <a:gd name="connsiteX20" fmla="*/ 313221 w 990600"/>
                  <a:gd name="connsiteY20" fmla="*/ 88841 h 314325"/>
                  <a:gd name="connsiteX21" fmla="*/ 318331 w 990600"/>
                  <a:gd name="connsiteY21" fmla="*/ 147637 h 314325"/>
                  <a:gd name="connsiteX22" fmla="*/ 328612 w 990600"/>
                  <a:gd name="connsiteY22" fmla="*/ 171450 h 314325"/>
                  <a:gd name="connsiteX23" fmla="*/ 339998 w 990600"/>
                  <a:gd name="connsiteY23" fmla="*/ 261916 h 314325"/>
                  <a:gd name="connsiteX24" fmla="*/ 347662 w 990600"/>
                  <a:gd name="connsiteY24" fmla="*/ 247650 h 314325"/>
                  <a:gd name="connsiteX25" fmla="*/ 361256 w 990600"/>
                  <a:gd name="connsiteY25" fmla="*/ 231782 h 314325"/>
                  <a:gd name="connsiteX26" fmla="*/ 385762 w 990600"/>
                  <a:gd name="connsiteY26" fmla="*/ 180975 h 314325"/>
                  <a:gd name="connsiteX27" fmla="*/ 400050 w 990600"/>
                  <a:gd name="connsiteY27" fmla="*/ 171450 h 314325"/>
                  <a:gd name="connsiteX28" fmla="*/ 409575 w 990600"/>
                  <a:gd name="connsiteY28" fmla="*/ 157162 h 314325"/>
                  <a:gd name="connsiteX29" fmla="*/ 419100 w 990600"/>
                  <a:gd name="connsiteY29" fmla="*/ 180975 h 314325"/>
                  <a:gd name="connsiteX30" fmla="*/ 428625 w 990600"/>
                  <a:gd name="connsiteY30" fmla="*/ 209550 h 314325"/>
                  <a:gd name="connsiteX31" fmla="*/ 438906 w 990600"/>
                  <a:gd name="connsiteY31" fmla="*/ 252390 h 314325"/>
                  <a:gd name="connsiteX32" fmla="*/ 466725 w 990600"/>
                  <a:gd name="connsiteY32" fmla="*/ 233362 h 314325"/>
                  <a:gd name="connsiteX33" fmla="*/ 481012 w 990600"/>
                  <a:gd name="connsiteY33" fmla="*/ 233362 h 314325"/>
                  <a:gd name="connsiteX34" fmla="*/ 490537 w 990600"/>
                  <a:gd name="connsiteY34" fmla="*/ 223837 h 314325"/>
                  <a:gd name="connsiteX35" fmla="*/ 533400 w 990600"/>
                  <a:gd name="connsiteY35" fmla="*/ 138112 h 314325"/>
                  <a:gd name="connsiteX36" fmla="*/ 552450 w 990600"/>
                  <a:gd name="connsiteY36" fmla="*/ 104775 h 314325"/>
                  <a:gd name="connsiteX37" fmla="*/ 557212 w 990600"/>
                  <a:gd name="connsiteY37" fmla="*/ 90487 h 314325"/>
                  <a:gd name="connsiteX38" fmla="*/ 571500 w 990600"/>
                  <a:gd name="connsiteY38" fmla="*/ 80962 h 314325"/>
                  <a:gd name="connsiteX39" fmla="*/ 610294 w 990600"/>
                  <a:gd name="connsiteY39" fmla="*/ 49227 h 314325"/>
                  <a:gd name="connsiteX40" fmla="*/ 627328 w 990600"/>
                  <a:gd name="connsiteY40" fmla="*/ 51320 h 314325"/>
                  <a:gd name="connsiteX41" fmla="*/ 638585 w 990600"/>
                  <a:gd name="connsiteY41" fmla="*/ 295341 h 314325"/>
                  <a:gd name="connsiteX42" fmla="*/ 642937 w 990600"/>
                  <a:gd name="connsiteY42" fmla="*/ 314325 h 314325"/>
                  <a:gd name="connsiteX43" fmla="*/ 652462 w 990600"/>
                  <a:gd name="connsiteY43" fmla="*/ 295275 h 314325"/>
                  <a:gd name="connsiteX44" fmla="*/ 666402 w 990600"/>
                  <a:gd name="connsiteY44" fmla="*/ 257152 h 314325"/>
                  <a:gd name="connsiteX45" fmla="*/ 698227 w 990600"/>
                  <a:gd name="connsiteY45" fmla="*/ 168290 h 314325"/>
                  <a:gd name="connsiteX46" fmla="*/ 714375 w 990600"/>
                  <a:gd name="connsiteY46" fmla="*/ 133350 h 314325"/>
                  <a:gd name="connsiteX47" fmla="*/ 719137 w 990600"/>
                  <a:gd name="connsiteY47" fmla="*/ 166687 h 314325"/>
                  <a:gd name="connsiteX48" fmla="*/ 723900 w 990600"/>
                  <a:gd name="connsiteY48" fmla="*/ 180975 h 314325"/>
                  <a:gd name="connsiteX49" fmla="*/ 740048 w 990600"/>
                  <a:gd name="connsiteY49" fmla="*/ 155604 h 314325"/>
                  <a:gd name="connsiteX50" fmla="*/ 766068 w 990600"/>
                  <a:gd name="connsiteY50" fmla="*/ 131770 h 314325"/>
                  <a:gd name="connsiteX51" fmla="*/ 785812 w 990600"/>
                  <a:gd name="connsiteY51" fmla="*/ 85725 h 314325"/>
                  <a:gd name="connsiteX52" fmla="*/ 795337 w 990600"/>
                  <a:gd name="connsiteY52" fmla="*/ 114300 h 314325"/>
                  <a:gd name="connsiteX53" fmla="*/ 809625 w 990600"/>
                  <a:gd name="connsiteY53" fmla="*/ 185737 h 314325"/>
                  <a:gd name="connsiteX54" fmla="*/ 830535 w 990600"/>
                  <a:gd name="connsiteY54" fmla="*/ 180975 h 314325"/>
                  <a:gd name="connsiteX55" fmla="*/ 847725 w 990600"/>
                  <a:gd name="connsiteY55" fmla="*/ 138112 h 314325"/>
                  <a:gd name="connsiteX56" fmla="*/ 871537 w 990600"/>
                  <a:gd name="connsiteY56" fmla="*/ 76200 h 314325"/>
                  <a:gd name="connsiteX57" fmla="*/ 876300 w 990600"/>
                  <a:gd name="connsiteY57" fmla="*/ 52387 h 314325"/>
                  <a:gd name="connsiteX58" fmla="*/ 890587 w 990600"/>
                  <a:gd name="connsiteY58" fmla="*/ 38100 h 314325"/>
                  <a:gd name="connsiteX59" fmla="*/ 895350 w 990600"/>
                  <a:gd name="connsiteY59" fmla="*/ 14287 h 314325"/>
                  <a:gd name="connsiteX60" fmla="*/ 900112 w 990600"/>
                  <a:gd name="connsiteY60" fmla="*/ 0 h 314325"/>
                  <a:gd name="connsiteX61" fmla="*/ 904875 w 990600"/>
                  <a:gd name="connsiteY61" fmla="*/ 14287 h 314325"/>
                  <a:gd name="connsiteX62" fmla="*/ 909637 w 990600"/>
                  <a:gd name="connsiteY62" fmla="*/ 71437 h 314325"/>
                  <a:gd name="connsiteX63" fmla="*/ 919162 w 990600"/>
                  <a:gd name="connsiteY63" fmla="*/ 100012 h 314325"/>
                  <a:gd name="connsiteX64" fmla="*/ 942975 w 990600"/>
                  <a:gd name="connsiteY64" fmla="*/ 161925 h 314325"/>
                  <a:gd name="connsiteX65" fmla="*/ 947737 w 990600"/>
                  <a:gd name="connsiteY65" fmla="*/ 180975 h 314325"/>
                  <a:gd name="connsiteX66" fmla="*/ 952500 w 990600"/>
                  <a:gd name="connsiteY66" fmla="*/ 214312 h 314325"/>
                  <a:gd name="connsiteX67" fmla="*/ 971550 w 990600"/>
                  <a:gd name="connsiteY67" fmla="*/ 242887 h 314325"/>
                  <a:gd name="connsiteX68" fmla="*/ 985837 w 990600"/>
                  <a:gd name="connsiteY68" fmla="*/ 238125 h 314325"/>
                  <a:gd name="connsiteX69" fmla="*/ 990600 w 990600"/>
                  <a:gd name="connsiteY69" fmla="*/ 223837 h 314325"/>
                  <a:gd name="connsiteX0" fmla="*/ 0 w 1009366"/>
                  <a:gd name="connsiteY0" fmla="*/ 266700 h 314325"/>
                  <a:gd name="connsiteX1" fmla="*/ 23812 w 1009366"/>
                  <a:gd name="connsiteY1" fmla="*/ 242887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7957 w 1008814"/>
                  <a:gd name="connsiteY68" fmla="*/ 250306 h 314325"/>
                  <a:gd name="connsiteX69" fmla="*/ 1008814 w 1008814"/>
                  <a:gd name="connsiteY69" fmla="*/ 201715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417"/>
                  <a:gd name="connsiteY0" fmla="*/ 262750 h 314325"/>
                  <a:gd name="connsiteX1" fmla="*/ 10014 w 1010417"/>
                  <a:gd name="connsiteY1" fmla="*/ 273436 h 314325"/>
                  <a:gd name="connsiteX2" fmla="*/ 28023 w 1010417"/>
                  <a:gd name="connsiteY2" fmla="*/ 228600 h 314325"/>
                  <a:gd name="connsiteX3" fmla="*/ 56598 w 1010417"/>
                  <a:gd name="connsiteY3" fmla="*/ 180975 h 314325"/>
                  <a:gd name="connsiteX4" fmla="*/ 66123 w 1010417"/>
                  <a:gd name="connsiteY4" fmla="*/ 166687 h 314325"/>
                  <a:gd name="connsiteX5" fmla="*/ 85173 w 1010417"/>
                  <a:gd name="connsiteY5" fmla="*/ 114300 h 314325"/>
                  <a:gd name="connsiteX6" fmla="*/ 94698 w 1010417"/>
                  <a:gd name="connsiteY6" fmla="*/ 100012 h 314325"/>
                  <a:gd name="connsiteX7" fmla="*/ 113748 w 1010417"/>
                  <a:gd name="connsiteY7" fmla="*/ 57150 h 314325"/>
                  <a:gd name="connsiteX8" fmla="*/ 118510 w 1010417"/>
                  <a:gd name="connsiteY8" fmla="*/ 42862 h 314325"/>
                  <a:gd name="connsiteX9" fmla="*/ 128035 w 1010417"/>
                  <a:gd name="connsiteY9" fmla="*/ 4762 h 314325"/>
                  <a:gd name="connsiteX10" fmla="*/ 137560 w 1010417"/>
                  <a:gd name="connsiteY10" fmla="*/ 100012 h 314325"/>
                  <a:gd name="connsiteX11" fmla="*/ 147085 w 1010417"/>
                  <a:gd name="connsiteY11" fmla="*/ 152400 h 314325"/>
                  <a:gd name="connsiteX12" fmla="*/ 151848 w 1010417"/>
                  <a:gd name="connsiteY12" fmla="*/ 228600 h 314325"/>
                  <a:gd name="connsiteX13" fmla="*/ 164337 w 1010417"/>
                  <a:gd name="connsiteY13" fmla="*/ 268258 h 314325"/>
                  <a:gd name="connsiteX14" fmla="*/ 192218 w 1010417"/>
                  <a:gd name="connsiteY14" fmla="*/ 255572 h 314325"/>
                  <a:gd name="connsiteX15" fmla="*/ 222529 w 1010417"/>
                  <a:gd name="connsiteY15" fmla="*/ 201561 h 314325"/>
                  <a:gd name="connsiteX16" fmla="*/ 242335 w 1010417"/>
                  <a:gd name="connsiteY16" fmla="*/ 171450 h 314325"/>
                  <a:gd name="connsiteX17" fmla="*/ 261385 w 1010417"/>
                  <a:gd name="connsiteY17" fmla="*/ 142875 h 314325"/>
                  <a:gd name="connsiteX18" fmla="*/ 294723 w 1010417"/>
                  <a:gd name="connsiteY18" fmla="*/ 71437 h 314325"/>
                  <a:gd name="connsiteX19" fmla="*/ 305698 w 1010417"/>
                  <a:gd name="connsiteY19" fmla="*/ 36631 h 314325"/>
                  <a:gd name="connsiteX20" fmla="*/ 312669 w 1010417"/>
                  <a:gd name="connsiteY20" fmla="*/ 88841 h 314325"/>
                  <a:gd name="connsiteX21" fmla="*/ 317779 w 1010417"/>
                  <a:gd name="connsiteY21" fmla="*/ 147637 h 314325"/>
                  <a:gd name="connsiteX22" fmla="*/ 328060 w 1010417"/>
                  <a:gd name="connsiteY22" fmla="*/ 171450 h 314325"/>
                  <a:gd name="connsiteX23" fmla="*/ 339446 w 1010417"/>
                  <a:gd name="connsiteY23" fmla="*/ 261916 h 314325"/>
                  <a:gd name="connsiteX24" fmla="*/ 347110 w 1010417"/>
                  <a:gd name="connsiteY24" fmla="*/ 247650 h 314325"/>
                  <a:gd name="connsiteX25" fmla="*/ 360704 w 1010417"/>
                  <a:gd name="connsiteY25" fmla="*/ 231782 h 314325"/>
                  <a:gd name="connsiteX26" fmla="*/ 385210 w 1010417"/>
                  <a:gd name="connsiteY26" fmla="*/ 180975 h 314325"/>
                  <a:gd name="connsiteX27" fmla="*/ 399498 w 1010417"/>
                  <a:gd name="connsiteY27" fmla="*/ 171450 h 314325"/>
                  <a:gd name="connsiteX28" fmla="*/ 409023 w 1010417"/>
                  <a:gd name="connsiteY28" fmla="*/ 157162 h 314325"/>
                  <a:gd name="connsiteX29" fmla="*/ 418548 w 1010417"/>
                  <a:gd name="connsiteY29" fmla="*/ 180975 h 314325"/>
                  <a:gd name="connsiteX30" fmla="*/ 428073 w 1010417"/>
                  <a:gd name="connsiteY30" fmla="*/ 209550 h 314325"/>
                  <a:gd name="connsiteX31" fmla="*/ 438354 w 1010417"/>
                  <a:gd name="connsiteY31" fmla="*/ 252390 h 314325"/>
                  <a:gd name="connsiteX32" fmla="*/ 466173 w 1010417"/>
                  <a:gd name="connsiteY32" fmla="*/ 233362 h 314325"/>
                  <a:gd name="connsiteX33" fmla="*/ 480460 w 1010417"/>
                  <a:gd name="connsiteY33" fmla="*/ 233362 h 314325"/>
                  <a:gd name="connsiteX34" fmla="*/ 489985 w 1010417"/>
                  <a:gd name="connsiteY34" fmla="*/ 223837 h 314325"/>
                  <a:gd name="connsiteX35" fmla="*/ 532848 w 1010417"/>
                  <a:gd name="connsiteY35" fmla="*/ 138112 h 314325"/>
                  <a:gd name="connsiteX36" fmla="*/ 551898 w 1010417"/>
                  <a:gd name="connsiteY36" fmla="*/ 104775 h 314325"/>
                  <a:gd name="connsiteX37" fmla="*/ 556660 w 1010417"/>
                  <a:gd name="connsiteY37" fmla="*/ 90487 h 314325"/>
                  <a:gd name="connsiteX38" fmla="*/ 570948 w 1010417"/>
                  <a:gd name="connsiteY38" fmla="*/ 80962 h 314325"/>
                  <a:gd name="connsiteX39" fmla="*/ 609742 w 1010417"/>
                  <a:gd name="connsiteY39" fmla="*/ 49227 h 314325"/>
                  <a:gd name="connsiteX40" fmla="*/ 626776 w 1010417"/>
                  <a:gd name="connsiteY40" fmla="*/ 51320 h 314325"/>
                  <a:gd name="connsiteX41" fmla="*/ 638033 w 1010417"/>
                  <a:gd name="connsiteY41" fmla="*/ 295341 h 314325"/>
                  <a:gd name="connsiteX42" fmla="*/ 642385 w 1010417"/>
                  <a:gd name="connsiteY42" fmla="*/ 314325 h 314325"/>
                  <a:gd name="connsiteX43" fmla="*/ 651910 w 1010417"/>
                  <a:gd name="connsiteY43" fmla="*/ 295275 h 314325"/>
                  <a:gd name="connsiteX44" fmla="*/ 665850 w 1010417"/>
                  <a:gd name="connsiteY44" fmla="*/ 257152 h 314325"/>
                  <a:gd name="connsiteX45" fmla="*/ 697675 w 1010417"/>
                  <a:gd name="connsiteY45" fmla="*/ 168290 h 314325"/>
                  <a:gd name="connsiteX46" fmla="*/ 713823 w 1010417"/>
                  <a:gd name="connsiteY46" fmla="*/ 133350 h 314325"/>
                  <a:gd name="connsiteX47" fmla="*/ 718585 w 1010417"/>
                  <a:gd name="connsiteY47" fmla="*/ 166687 h 314325"/>
                  <a:gd name="connsiteX48" fmla="*/ 723348 w 1010417"/>
                  <a:gd name="connsiteY48" fmla="*/ 180975 h 314325"/>
                  <a:gd name="connsiteX49" fmla="*/ 739496 w 1010417"/>
                  <a:gd name="connsiteY49" fmla="*/ 155604 h 314325"/>
                  <a:gd name="connsiteX50" fmla="*/ 765516 w 1010417"/>
                  <a:gd name="connsiteY50" fmla="*/ 131770 h 314325"/>
                  <a:gd name="connsiteX51" fmla="*/ 785260 w 1010417"/>
                  <a:gd name="connsiteY51" fmla="*/ 85725 h 314325"/>
                  <a:gd name="connsiteX52" fmla="*/ 794785 w 1010417"/>
                  <a:gd name="connsiteY52" fmla="*/ 114300 h 314325"/>
                  <a:gd name="connsiteX53" fmla="*/ 809073 w 1010417"/>
                  <a:gd name="connsiteY53" fmla="*/ 185737 h 314325"/>
                  <a:gd name="connsiteX54" fmla="*/ 829983 w 1010417"/>
                  <a:gd name="connsiteY54" fmla="*/ 180975 h 314325"/>
                  <a:gd name="connsiteX55" fmla="*/ 847173 w 1010417"/>
                  <a:gd name="connsiteY55" fmla="*/ 138112 h 314325"/>
                  <a:gd name="connsiteX56" fmla="*/ 870985 w 1010417"/>
                  <a:gd name="connsiteY56" fmla="*/ 76200 h 314325"/>
                  <a:gd name="connsiteX57" fmla="*/ 875748 w 1010417"/>
                  <a:gd name="connsiteY57" fmla="*/ 52387 h 314325"/>
                  <a:gd name="connsiteX58" fmla="*/ 890035 w 1010417"/>
                  <a:gd name="connsiteY58" fmla="*/ 38100 h 314325"/>
                  <a:gd name="connsiteX59" fmla="*/ 894798 w 1010417"/>
                  <a:gd name="connsiteY59" fmla="*/ 14287 h 314325"/>
                  <a:gd name="connsiteX60" fmla="*/ 899560 w 1010417"/>
                  <a:gd name="connsiteY60" fmla="*/ 0 h 314325"/>
                  <a:gd name="connsiteX61" fmla="*/ 904323 w 1010417"/>
                  <a:gd name="connsiteY61" fmla="*/ 14287 h 314325"/>
                  <a:gd name="connsiteX62" fmla="*/ 909085 w 1010417"/>
                  <a:gd name="connsiteY62" fmla="*/ 71437 h 314325"/>
                  <a:gd name="connsiteX63" fmla="*/ 918610 w 1010417"/>
                  <a:gd name="connsiteY63" fmla="*/ 100012 h 314325"/>
                  <a:gd name="connsiteX64" fmla="*/ 942423 w 1010417"/>
                  <a:gd name="connsiteY64" fmla="*/ 161925 h 314325"/>
                  <a:gd name="connsiteX65" fmla="*/ 947185 w 1010417"/>
                  <a:gd name="connsiteY65" fmla="*/ 180975 h 314325"/>
                  <a:gd name="connsiteX66" fmla="*/ 951948 w 1010417"/>
                  <a:gd name="connsiteY66" fmla="*/ 214312 h 314325"/>
                  <a:gd name="connsiteX67" fmla="*/ 970998 w 1010417"/>
                  <a:gd name="connsiteY67" fmla="*/ 242887 h 314325"/>
                  <a:gd name="connsiteX68" fmla="*/ 987957 w 1010417"/>
                  <a:gd name="connsiteY68" fmla="*/ 250306 h 314325"/>
                  <a:gd name="connsiteX69" fmla="*/ 1010417 w 1010417"/>
                  <a:gd name="connsiteY69" fmla="*/ 262624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0121 w 1011486"/>
                  <a:gd name="connsiteY68" fmla="*/ 263299 h 314325"/>
                  <a:gd name="connsiteX69" fmla="*/ 1011486 w 1011486"/>
                  <a:gd name="connsiteY69" fmla="*/ 265059 h 314325"/>
                  <a:gd name="connsiteX0" fmla="*/ 0 w 1016295"/>
                  <a:gd name="connsiteY0" fmla="*/ 262750 h 314325"/>
                  <a:gd name="connsiteX1" fmla="*/ 10014 w 1016295"/>
                  <a:gd name="connsiteY1" fmla="*/ 273436 h 314325"/>
                  <a:gd name="connsiteX2" fmla="*/ 28023 w 1016295"/>
                  <a:gd name="connsiteY2" fmla="*/ 228600 h 314325"/>
                  <a:gd name="connsiteX3" fmla="*/ 56598 w 1016295"/>
                  <a:gd name="connsiteY3" fmla="*/ 180975 h 314325"/>
                  <a:gd name="connsiteX4" fmla="*/ 66123 w 1016295"/>
                  <a:gd name="connsiteY4" fmla="*/ 166687 h 314325"/>
                  <a:gd name="connsiteX5" fmla="*/ 85173 w 1016295"/>
                  <a:gd name="connsiteY5" fmla="*/ 114300 h 314325"/>
                  <a:gd name="connsiteX6" fmla="*/ 94698 w 1016295"/>
                  <a:gd name="connsiteY6" fmla="*/ 100012 h 314325"/>
                  <a:gd name="connsiteX7" fmla="*/ 113748 w 1016295"/>
                  <a:gd name="connsiteY7" fmla="*/ 57150 h 314325"/>
                  <a:gd name="connsiteX8" fmla="*/ 118510 w 1016295"/>
                  <a:gd name="connsiteY8" fmla="*/ 42862 h 314325"/>
                  <a:gd name="connsiteX9" fmla="*/ 128035 w 1016295"/>
                  <a:gd name="connsiteY9" fmla="*/ 4762 h 314325"/>
                  <a:gd name="connsiteX10" fmla="*/ 137560 w 1016295"/>
                  <a:gd name="connsiteY10" fmla="*/ 100012 h 314325"/>
                  <a:gd name="connsiteX11" fmla="*/ 147085 w 1016295"/>
                  <a:gd name="connsiteY11" fmla="*/ 152400 h 314325"/>
                  <a:gd name="connsiteX12" fmla="*/ 151848 w 1016295"/>
                  <a:gd name="connsiteY12" fmla="*/ 228600 h 314325"/>
                  <a:gd name="connsiteX13" fmla="*/ 164337 w 1016295"/>
                  <a:gd name="connsiteY13" fmla="*/ 268258 h 314325"/>
                  <a:gd name="connsiteX14" fmla="*/ 192218 w 1016295"/>
                  <a:gd name="connsiteY14" fmla="*/ 255572 h 314325"/>
                  <a:gd name="connsiteX15" fmla="*/ 222529 w 1016295"/>
                  <a:gd name="connsiteY15" fmla="*/ 201561 h 314325"/>
                  <a:gd name="connsiteX16" fmla="*/ 242335 w 1016295"/>
                  <a:gd name="connsiteY16" fmla="*/ 171450 h 314325"/>
                  <a:gd name="connsiteX17" fmla="*/ 261385 w 1016295"/>
                  <a:gd name="connsiteY17" fmla="*/ 142875 h 314325"/>
                  <a:gd name="connsiteX18" fmla="*/ 294723 w 1016295"/>
                  <a:gd name="connsiteY18" fmla="*/ 71437 h 314325"/>
                  <a:gd name="connsiteX19" fmla="*/ 305698 w 1016295"/>
                  <a:gd name="connsiteY19" fmla="*/ 36631 h 314325"/>
                  <a:gd name="connsiteX20" fmla="*/ 312669 w 1016295"/>
                  <a:gd name="connsiteY20" fmla="*/ 88841 h 314325"/>
                  <a:gd name="connsiteX21" fmla="*/ 317779 w 1016295"/>
                  <a:gd name="connsiteY21" fmla="*/ 147637 h 314325"/>
                  <a:gd name="connsiteX22" fmla="*/ 328060 w 1016295"/>
                  <a:gd name="connsiteY22" fmla="*/ 171450 h 314325"/>
                  <a:gd name="connsiteX23" fmla="*/ 339446 w 1016295"/>
                  <a:gd name="connsiteY23" fmla="*/ 261916 h 314325"/>
                  <a:gd name="connsiteX24" fmla="*/ 347110 w 1016295"/>
                  <a:gd name="connsiteY24" fmla="*/ 247650 h 314325"/>
                  <a:gd name="connsiteX25" fmla="*/ 360704 w 1016295"/>
                  <a:gd name="connsiteY25" fmla="*/ 231782 h 314325"/>
                  <a:gd name="connsiteX26" fmla="*/ 385210 w 1016295"/>
                  <a:gd name="connsiteY26" fmla="*/ 180975 h 314325"/>
                  <a:gd name="connsiteX27" fmla="*/ 399498 w 1016295"/>
                  <a:gd name="connsiteY27" fmla="*/ 171450 h 314325"/>
                  <a:gd name="connsiteX28" fmla="*/ 409023 w 1016295"/>
                  <a:gd name="connsiteY28" fmla="*/ 157162 h 314325"/>
                  <a:gd name="connsiteX29" fmla="*/ 418548 w 1016295"/>
                  <a:gd name="connsiteY29" fmla="*/ 180975 h 314325"/>
                  <a:gd name="connsiteX30" fmla="*/ 428073 w 1016295"/>
                  <a:gd name="connsiteY30" fmla="*/ 209550 h 314325"/>
                  <a:gd name="connsiteX31" fmla="*/ 438354 w 1016295"/>
                  <a:gd name="connsiteY31" fmla="*/ 252390 h 314325"/>
                  <a:gd name="connsiteX32" fmla="*/ 466173 w 1016295"/>
                  <a:gd name="connsiteY32" fmla="*/ 233362 h 314325"/>
                  <a:gd name="connsiteX33" fmla="*/ 480460 w 1016295"/>
                  <a:gd name="connsiteY33" fmla="*/ 233362 h 314325"/>
                  <a:gd name="connsiteX34" fmla="*/ 489985 w 1016295"/>
                  <a:gd name="connsiteY34" fmla="*/ 223837 h 314325"/>
                  <a:gd name="connsiteX35" fmla="*/ 532848 w 1016295"/>
                  <a:gd name="connsiteY35" fmla="*/ 138112 h 314325"/>
                  <a:gd name="connsiteX36" fmla="*/ 551898 w 1016295"/>
                  <a:gd name="connsiteY36" fmla="*/ 104775 h 314325"/>
                  <a:gd name="connsiteX37" fmla="*/ 556660 w 1016295"/>
                  <a:gd name="connsiteY37" fmla="*/ 90487 h 314325"/>
                  <a:gd name="connsiteX38" fmla="*/ 570948 w 1016295"/>
                  <a:gd name="connsiteY38" fmla="*/ 80962 h 314325"/>
                  <a:gd name="connsiteX39" fmla="*/ 609742 w 1016295"/>
                  <a:gd name="connsiteY39" fmla="*/ 49227 h 314325"/>
                  <a:gd name="connsiteX40" fmla="*/ 626776 w 1016295"/>
                  <a:gd name="connsiteY40" fmla="*/ 51320 h 314325"/>
                  <a:gd name="connsiteX41" fmla="*/ 638033 w 1016295"/>
                  <a:gd name="connsiteY41" fmla="*/ 295341 h 314325"/>
                  <a:gd name="connsiteX42" fmla="*/ 642385 w 1016295"/>
                  <a:gd name="connsiteY42" fmla="*/ 314325 h 314325"/>
                  <a:gd name="connsiteX43" fmla="*/ 651910 w 1016295"/>
                  <a:gd name="connsiteY43" fmla="*/ 295275 h 314325"/>
                  <a:gd name="connsiteX44" fmla="*/ 665850 w 1016295"/>
                  <a:gd name="connsiteY44" fmla="*/ 257152 h 314325"/>
                  <a:gd name="connsiteX45" fmla="*/ 697675 w 1016295"/>
                  <a:gd name="connsiteY45" fmla="*/ 168290 h 314325"/>
                  <a:gd name="connsiteX46" fmla="*/ 713823 w 1016295"/>
                  <a:gd name="connsiteY46" fmla="*/ 133350 h 314325"/>
                  <a:gd name="connsiteX47" fmla="*/ 718585 w 1016295"/>
                  <a:gd name="connsiteY47" fmla="*/ 166687 h 314325"/>
                  <a:gd name="connsiteX48" fmla="*/ 723348 w 1016295"/>
                  <a:gd name="connsiteY48" fmla="*/ 180975 h 314325"/>
                  <a:gd name="connsiteX49" fmla="*/ 739496 w 1016295"/>
                  <a:gd name="connsiteY49" fmla="*/ 155604 h 314325"/>
                  <a:gd name="connsiteX50" fmla="*/ 765516 w 1016295"/>
                  <a:gd name="connsiteY50" fmla="*/ 131770 h 314325"/>
                  <a:gd name="connsiteX51" fmla="*/ 785260 w 1016295"/>
                  <a:gd name="connsiteY51" fmla="*/ 85725 h 314325"/>
                  <a:gd name="connsiteX52" fmla="*/ 794785 w 1016295"/>
                  <a:gd name="connsiteY52" fmla="*/ 114300 h 314325"/>
                  <a:gd name="connsiteX53" fmla="*/ 809073 w 1016295"/>
                  <a:gd name="connsiteY53" fmla="*/ 185737 h 314325"/>
                  <a:gd name="connsiteX54" fmla="*/ 829983 w 1016295"/>
                  <a:gd name="connsiteY54" fmla="*/ 180975 h 314325"/>
                  <a:gd name="connsiteX55" fmla="*/ 847173 w 1016295"/>
                  <a:gd name="connsiteY55" fmla="*/ 138112 h 314325"/>
                  <a:gd name="connsiteX56" fmla="*/ 870985 w 1016295"/>
                  <a:gd name="connsiteY56" fmla="*/ 76200 h 314325"/>
                  <a:gd name="connsiteX57" fmla="*/ 875748 w 1016295"/>
                  <a:gd name="connsiteY57" fmla="*/ 52387 h 314325"/>
                  <a:gd name="connsiteX58" fmla="*/ 890035 w 1016295"/>
                  <a:gd name="connsiteY58" fmla="*/ 38100 h 314325"/>
                  <a:gd name="connsiteX59" fmla="*/ 894798 w 1016295"/>
                  <a:gd name="connsiteY59" fmla="*/ 14287 h 314325"/>
                  <a:gd name="connsiteX60" fmla="*/ 899560 w 1016295"/>
                  <a:gd name="connsiteY60" fmla="*/ 0 h 314325"/>
                  <a:gd name="connsiteX61" fmla="*/ 904323 w 1016295"/>
                  <a:gd name="connsiteY61" fmla="*/ 14287 h 314325"/>
                  <a:gd name="connsiteX62" fmla="*/ 909085 w 1016295"/>
                  <a:gd name="connsiteY62" fmla="*/ 71437 h 314325"/>
                  <a:gd name="connsiteX63" fmla="*/ 918610 w 1016295"/>
                  <a:gd name="connsiteY63" fmla="*/ 100012 h 314325"/>
                  <a:gd name="connsiteX64" fmla="*/ 942423 w 1016295"/>
                  <a:gd name="connsiteY64" fmla="*/ 161925 h 314325"/>
                  <a:gd name="connsiteX65" fmla="*/ 947185 w 1016295"/>
                  <a:gd name="connsiteY65" fmla="*/ 180975 h 314325"/>
                  <a:gd name="connsiteX66" fmla="*/ 951948 w 1016295"/>
                  <a:gd name="connsiteY66" fmla="*/ 214312 h 314325"/>
                  <a:gd name="connsiteX67" fmla="*/ 970998 w 1016295"/>
                  <a:gd name="connsiteY67" fmla="*/ 242887 h 314325"/>
                  <a:gd name="connsiteX68" fmla="*/ 980121 w 1016295"/>
                  <a:gd name="connsiteY68" fmla="*/ 263299 h 314325"/>
                  <a:gd name="connsiteX69" fmla="*/ 1016295 w 1016295"/>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2218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221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273 w 1028050"/>
                  <a:gd name="connsiteY68" fmla="*/ 263299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1342 w 1028050"/>
                  <a:gd name="connsiteY68" fmla="*/ 270608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808 w 1028050"/>
                  <a:gd name="connsiteY68" fmla="*/ 268171 h 314325"/>
                  <a:gd name="connsiteX69" fmla="*/ 1028050 w 1028050"/>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85790 w 1023241"/>
                  <a:gd name="connsiteY68" fmla="*/ 263450 h 314325"/>
                  <a:gd name="connsiteX69" fmla="*/ 990808 w 1023241"/>
                  <a:gd name="connsiteY69" fmla="*/ 268171 h 314325"/>
                  <a:gd name="connsiteX70" fmla="*/ 1023241 w 1023241"/>
                  <a:gd name="connsiteY70"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1342 w 1023241"/>
                  <a:gd name="connsiteY68" fmla="*/ 265734 h 314325"/>
                  <a:gd name="connsiteX69" fmla="*/ 1023241 w 1023241"/>
                  <a:gd name="connsiteY69" fmla="*/ 263841 h 314325"/>
                  <a:gd name="connsiteX0" fmla="*/ 0 w 1020035"/>
                  <a:gd name="connsiteY0" fmla="*/ 281023 h 314325"/>
                  <a:gd name="connsiteX1" fmla="*/ 31921 w 1020035"/>
                  <a:gd name="connsiteY1" fmla="*/ 274654 h 314325"/>
                  <a:gd name="connsiteX2" fmla="*/ 49395 w 1020035"/>
                  <a:gd name="connsiteY2" fmla="*/ 228600 h 314325"/>
                  <a:gd name="connsiteX3" fmla="*/ 66750 w 1020035"/>
                  <a:gd name="connsiteY3" fmla="*/ 180975 h 314325"/>
                  <a:gd name="connsiteX4" fmla="*/ 76275 w 1020035"/>
                  <a:gd name="connsiteY4" fmla="*/ 166687 h 314325"/>
                  <a:gd name="connsiteX5" fmla="*/ 95325 w 1020035"/>
                  <a:gd name="connsiteY5" fmla="*/ 114300 h 314325"/>
                  <a:gd name="connsiteX6" fmla="*/ 104850 w 1020035"/>
                  <a:gd name="connsiteY6" fmla="*/ 100012 h 314325"/>
                  <a:gd name="connsiteX7" fmla="*/ 123900 w 1020035"/>
                  <a:gd name="connsiteY7" fmla="*/ 57150 h 314325"/>
                  <a:gd name="connsiteX8" fmla="*/ 128662 w 1020035"/>
                  <a:gd name="connsiteY8" fmla="*/ 42862 h 314325"/>
                  <a:gd name="connsiteX9" fmla="*/ 138187 w 1020035"/>
                  <a:gd name="connsiteY9" fmla="*/ 4762 h 314325"/>
                  <a:gd name="connsiteX10" fmla="*/ 147712 w 1020035"/>
                  <a:gd name="connsiteY10" fmla="*/ 100012 h 314325"/>
                  <a:gd name="connsiteX11" fmla="*/ 157237 w 1020035"/>
                  <a:gd name="connsiteY11" fmla="*/ 152400 h 314325"/>
                  <a:gd name="connsiteX12" fmla="*/ 162000 w 1020035"/>
                  <a:gd name="connsiteY12" fmla="*/ 228600 h 314325"/>
                  <a:gd name="connsiteX13" fmla="*/ 174489 w 1020035"/>
                  <a:gd name="connsiteY13" fmla="*/ 268258 h 314325"/>
                  <a:gd name="connsiteX14" fmla="*/ 202370 w 1020035"/>
                  <a:gd name="connsiteY14" fmla="*/ 255572 h 314325"/>
                  <a:gd name="connsiteX15" fmla="*/ 232681 w 1020035"/>
                  <a:gd name="connsiteY15" fmla="*/ 201561 h 314325"/>
                  <a:gd name="connsiteX16" fmla="*/ 252487 w 1020035"/>
                  <a:gd name="connsiteY16" fmla="*/ 171450 h 314325"/>
                  <a:gd name="connsiteX17" fmla="*/ 271537 w 1020035"/>
                  <a:gd name="connsiteY17" fmla="*/ 142875 h 314325"/>
                  <a:gd name="connsiteX18" fmla="*/ 304875 w 1020035"/>
                  <a:gd name="connsiteY18" fmla="*/ 71437 h 314325"/>
                  <a:gd name="connsiteX19" fmla="*/ 315850 w 1020035"/>
                  <a:gd name="connsiteY19" fmla="*/ 36631 h 314325"/>
                  <a:gd name="connsiteX20" fmla="*/ 322821 w 1020035"/>
                  <a:gd name="connsiteY20" fmla="*/ 88841 h 314325"/>
                  <a:gd name="connsiteX21" fmla="*/ 327931 w 1020035"/>
                  <a:gd name="connsiteY21" fmla="*/ 147637 h 314325"/>
                  <a:gd name="connsiteX22" fmla="*/ 338212 w 1020035"/>
                  <a:gd name="connsiteY22" fmla="*/ 171450 h 314325"/>
                  <a:gd name="connsiteX23" fmla="*/ 349598 w 1020035"/>
                  <a:gd name="connsiteY23" fmla="*/ 261916 h 314325"/>
                  <a:gd name="connsiteX24" fmla="*/ 357262 w 1020035"/>
                  <a:gd name="connsiteY24" fmla="*/ 247650 h 314325"/>
                  <a:gd name="connsiteX25" fmla="*/ 370856 w 1020035"/>
                  <a:gd name="connsiteY25" fmla="*/ 231782 h 314325"/>
                  <a:gd name="connsiteX26" fmla="*/ 395362 w 1020035"/>
                  <a:gd name="connsiteY26" fmla="*/ 180975 h 314325"/>
                  <a:gd name="connsiteX27" fmla="*/ 409650 w 1020035"/>
                  <a:gd name="connsiteY27" fmla="*/ 171450 h 314325"/>
                  <a:gd name="connsiteX28" fmla="*/ 419175 w 1020035"/>
                  <a:gd name="connsiteY28" fmla="*/ 157162 h 314325"/>
                  <a:gd name="connsiteX29" fmla="*/ 428700 w 1020035"/>
                  <a:gd name="connsiteY29" fmla="*/ 180975 h 314325"/>
                  <a:gd name="connsiteX30" fmla="*/ 438225 w 1020035"/>
                  <a:gd name="connsiteY30" fmla="*/ 209550 h 314325"/>
                  <a:gd name="connsiteX31" fmla="*/ 448506 w 1020035"/>
                  <a:gd name="connsiteY31" fmla="*/ 252390 h 314325"/>
                  <a:gd name="connsiteX32" fmla="*/ 476325 w 1020035"/>
                  <a:gd name="connsiteY32" fmla="*/ 233362 h 314325"/>
                  <a:gd name="connsiteX33" fmla="*/ 490612 w 1020035"/>
                  <a:gd name="connsiteY33" fmla="*/ 233362 h 314325"/>
                  <a:gd name="connsiteX34" fmla="*/ 500137 w 1020035"/>
                  <a:gd name="connsiteY34" fmla="*/ 223837 h 314325"/>
                  <a:gd name="connsiteX35" fmla="*/ 543000 w 1020035"/>
                  <a:gd name="connsiteY35" fmla="*/ 138112 h 314325"/>
                  <a:gd name="connsiteX36" fmla="*/ 562050 w 1020035"/>
                  <a:gd name="connsiteY36" fmla="*/ 104775 h 314325"/>
                  <a:gd name="connsiteX37" fmla="*/ 566812 w 1020035"/>
                  <a:gd name="connsiteY37" fmla="*/ 90487 h 314325"/>
                  <a:gd name="connsiteX38" fmla="*/ 581100 w 1020035"/>
                  <a:gd name="connsiteY38" fmla="*/ 80962 h 314325"/>
                  <a:gd name="connsiteX39" fmla="*/ 619894 w 1020035"/>
                  <a:gd name="connsiteY39" fmla="*/ 49227 h 314325"/>
                  <a:gd name="connsiteX40" fmla="*/ 636928 w 1020035"/>
                  <a:gd name="connsiteY40" fmla="*/ 51320 h 314325"/>
                  <a:gd name="connsiteX41" fmla="*/ 648185 w 1020035"/>
                  <a:gd name="connsiteY41" fmla="*/ 295341 h 314325"/>
                  <a:gd name="connsiteX42" fmla="*/ 652537 w 1020035"/>
                  <a:gd name="connsiteY42" fmla="*/ 314325 h 314325"/>
                  <a:gd name="connsiteX43" fmla="*/ 662062 w 1020035"/>
                  <a:gd name="connsiteY43" fmla="*/ 295275 h 314325"/>
                  <a:gd name="connsiteX44" fmla="*/ 676002 w 1020035"/>
                  <a:gd name="connsiteY44" fmla="*/ 257152 h 314325"/>
                  <a:gd name="connsiteX45" fmla="*/ 707827 w 1020035"/>
                  <a:gd name="connsiteY45" fmla="*/ 168290 h 314325"/>
                  <a:gd name="connsiteX46" fmla="*/ 723975 w 1020035"/>
                  <a:gd name="connsiteY46" fmla="*/ 133350 h 314325"/>
                  <a:gd name="connsiteX47" fmla="*/ 728737 w 1020035"/>
                  <a:gd name="connsiteY47" fmla="*/ 166687 h 314325"/>
                  <a:gd name="connsiteX48" fmla="*/ 733500 w 1020035"/>
                  <a:gd name="connsiteY48" fmla="*/ 180975 h 314325"/>
                  <a:gd name="connsiteX49" fmla="*/ 749648 w 1020035"/>
                  <a:gd name="connsiteY49" fmla="*/ 155604 h 314325"/>
                  <a:gd name="connsiteX50" fmla="*/ 775668 w 1020035"/>
                  <a:gd name="connsiteY50" fmla="*/ 131770 h 314325"/>
                  <a:gd name="connsiteX51" fmla="*/ 795412 w 1020035"/>
                  <a:gd name="connsiteY51" fmla="*/ 85725 h 314325"/>
                  <a:gd name="connsiteX52" fmla="*/ 804937 w 1020035"/>
                  <a:gd name="connsiteY52" fmla="*/ 114300 h 314325"/>
                  <a:gd name="connsiteX53" fmla="*/ 819225 w 1020035"/>
                  <a:gd name="connsiteY53" fmla="*/ 185737 h 314325"/>
                  <a:gd name="connsiteX54" fmla="*/ 840135 w 1020035"/>
                  <a:gd name="connsiteY54" fmla="*/ 180975 h 314325"/>
                  <a:gd name="connsiteX55" fmla="*/ 857325 w 1020035"/>
                  <a:gd name="connsiteY55" fmla="*/ 138112 h 314325"/>
                  <a:gd name="connsiteX56" fmla="*/ 881137 w 1020035"/>
                  <a:gd name="connsiteY56" fmla="*/ 76200 h 314325"/>
                  <a:gd name="connsiteX57" fmla="*/ 885900 w 1020035"/>
                  <a:gd name="connsiteY57" fmla="*/ 52387 h 314325"/>
                  <a:gd name="connsiteX58" fmla="*/ 900187 w 1020035"/>
                  <a:gd name="connsiteY58" fmla="*/ 38100 h 314325"/>
                  <a:gd name="connsiteX59" fmla="*/ 904950 w 1020035"/>
                  <a:gd name="connsiteY59" fmla="*/ 14287 h 314325"/>
                  <a:gd name="connsiteX60" fmla="*/ 909712 w 1020035"/>
                  <a:gd name="connsiteY60" fmla="*/ 0 h 314325"/>
                  <a:gd name="connsiteX61" fmla="*/ 914475 w 1020035"/>
                  <a:gd name="connsiteY61" fmla="*/ 14287 h 314325"/>
                  <a:gd name="connsiteX62" fmla="*/ 919237 w 1020035"/>
                  <a:gd name="connsiteY62" fmla="*/ 71437 h 314325"/>
                  <a:gd name="connsiteX63" fmla="*/ 928762 w 1020035"/>
                  <a:gd name="connsiteY63" fmla="*/ 100012 h 314325"/>
                  <a:gd name="connsiteX64" fmla="*/ 952575 w 1020035"/>
                  <a:gd name="connsiteY64" fmla="*/ 161925 h 314325"/>
                  <a:gd name="connsiteX65" fmla="*/ 957337 w 1020035"/>
                  <a:gd name="connsiteY65" fmla="*/ 180975 h 314325"/>
                  <a:gd name="connsiteX66" fmla="*/ 962100 w 1020035"/>
                  <a:gd name="connsiteY66" fmla="*/ 214312 h 314325"/>
                  <a:gd name="connsiteX67" fmla="*/ 981150 w 1020035"/>
                  <a:gd name="connsiteY67" fmla="*/ 242887 h 314325"/>
                  <a:gd name="connsiteX68" fmla="*/ 991342 w 1020035"/>
                  <a:gd name="connsiteY68" fmla="*/ 265734 h 314325"/>
                  <a:gd name="connsiteX69" fmla="*/ 1020035 w 1020035"/>
                  <a:gd name="connsiteY69" fmla="*/ 263841 h 314325"/>
                  <a:gd name="connsiteX0" fmla="*/ 0 w 1025378"/>
                  <a:gd name="connsiteY0" fmla="*/ 281023 h 314325"/>
                  <a:gd name="connsiteX1" fmla="*/ 31921 w 1025378"/>
                  <a:gd name="connsiteY1" fmla="*/ 274654 h 314325"/>
                  <a:gd name="connsiteX2" fmla="*/ 49395 w 1025378"/>
                  <a:gd name="connsiteY2" fmla="*/ 228600 h 314325"/>
                  <a:gd name="connsiteX3" fmla="*/ 66750 w 1025378"/>
                  <a:gd name="connsiteY3" fmla="*/ 180975 h 314325"/>
                  <a:gd name="connsiteX4" fmla="*/ 76275 w 1025378"/>
                  <a:gd name="connsiteY4" fmla="*/ 166687 h 314325"/>
                  <a:gd name="connsiteX5" fmla="*/ 95325 w 1025378"/>
                  <a:gd name="connsiteY5" fmla="*/ 114300 h 314325"/>
                  <a:gd name="connsiteX6" fmla="*/ 104850 w 1025378"/>
                  <a:gd name="connsiteY6" fmla="*/ 100012 h 314325"/>
                  <a:gd name="connsiteX7" fmla="*/ 123900 w 1025378"/>
                  <a:gd name="connsiteY7" fmla="*/ 57150 h 314325"/>
                  <a:gd name="connsiteX8" fmla="*/ 128662 w 1025378"/>
                  <a:gd name="connsiteY8" fmla="*/ 42862 h 314325"/>
                  <a:gd name="connsiteX9" fmla="*/ 138187 w 1025378"/>
                  <a:gd name="connsiteY9" fmla="*/ 4762 h 314325"/>
                  <a:gd name="connsiteX10" fmla="*/ 147712 w 1025378"/>
                  <a:gd name="connsiteY10" fmla="*/ 100012 h 314325"/>
                  <a:gd name="connsiteX11" fmla="*/ 157237 w 1025378"/>
                  <a:gd name="connsiteY11" fmla="*/ 152400 h 314325"/>
                  <a:gd name="connsiteX12" fmla="*/ 162000 w 1025378"/>
                  <a:gd name="connsiteY12" fmla="*/ 228600 h 314325"/>
                  <a:gd name="connsiteX13" fmla="*/ 174489 w 1025378"/>
                  <a:gd name="connsiteY13" fmla="*/ 268258 h 314325"/>
                  <a:gd name="connsiteX14" fmla="*/ 202370 w 1025378"/>
                  <a:gd name="connsiteY14" fmla="*/ 255572 h 314325"/>
                  <a:gd name="connsiteX15" fmla="*/ 232681 w 1025378"/>
                  <a:gd name="connsiteY15" fmla="*/ 201561 h 314325"/>
                  <a:gd name="connsiteX16" fmla="*/ 252487 w 1025378"/>
                  <a:gd name="connsiteY16" fmla="*/ 171450 h 314325"/>
                  <a:gd name="connsiteX17" fmla="*/ 271537 w 1025378"/>
                  <a:gd name="connsiteY17" fmla="*/ 142875 h 314325"/>
                  <a:gd name="connsiteX18" fmla="*/ 304875 w 1025378"/>
                  <a:gd name="connsiteY18" fmla="*/ 71437 h 314325"/>
                  <a:gd name="connsiteX19" fmla="*/ 315850 w 1025378"/>
                  <a:gd name="connsiteY19" fmla="*/ 36631 h 314325"/>
                  <a:gd name="connsiteX20" fmla="*/ 322821 w 1025378"/>
                  <a:gd name="connsiteY20" fmla="*/ 88841 h 314325"/>
                  <a:gd name="connsiteX21" fmla="*/ 327931 w 1025378"/>
                  <a:gd name="connsiteY21" fmla="*/ 147637 h 314325"/>
                  <a:gd name="connsiteX22" fmla="*/ 338212 w 1025378"/>
                  <a:gd name="connsiteY22" fmla="*/ 171450 h 314325"/>
                  <a:gd name="connsiteX23" fmla="*/ 349598 w 1025378"/>
                  <a:gd name="connsiteY23" fmla="*/ 261916 h 314325"/>
                  <a:gd name="connsiteX24" fmla="*/ 357262 w 1025378"/>
                  <a:gd name="connsiteY24" fmla="*/ 247650 h 314325"/>
                  <a:gd name="connsiteX25" fmla="*/ 370856 w 1025378"/>
                  <a:gd name="connsiteY25" fmla="*/ 231782 h 314325"/>
                  <a:gd name="connsiteX26" fmla="*/ 395362 w 1025378"/>
                  <a:gd name="connsiteY26" fmla="*/ 180975 h 314325"/>
                  <a:gd name="connsiteX27" fmla="*/ 409650 w 1025378"/>
                  <a:gd name="connsiteY27" fmla="*/ 171450 h 314325"/>
                  <a:gd name="connsiteX28" fmla="*/ 419175 w 1025378"/>
                  <a:gd name="connsiteY28" fmla="*/ 157162 h 314325"/>
                  <a:gd name="connsiteX29" fmla="*/ 428700 w 1025378"/>
                  <a:gd name="connsiteY29" fmla="*/ 180975 h 314325"/>
                  <a:gd name="connsiteX30" fmla="*/ 438225 w 1025378"/>
                  <a:gd name="connsiteY30" fmla="*/ 209550 h 314325"/>
                  <a:gd name="connsiteX31" fmla="*/ 448506 w 1025378"/>
                  <a:gd name="connsiteY31" fmla="*/ 252390 h 314325"/>
                  <a:gd name="connsiteX32" fmla="*/ 476325 w 1025378"/>
                  <a:gd name="connsiteY32" fmla="*/ 233362 h 314325"/>
                  <a:gd name="connsiteX33" fmla="*/ 490612 w 1025378"/>
                  <a:gd name="connsiteY33" fmla="*/ 233362 h 314325"/>
                  <a:gd name="connsiteX34" fmla="*/ 500137 w 1025378"/>
                  <a:gd name="connsiteY34" fmla="*/ 223837 h 314325"/>
                  <a:gd name="connsiteX35" fmla="*/ 543000 w 1025378"/>
                  <a:gd name="connsiteY35" fmla="*/ 138112 h 314325"/>
                  <a:gd name="connsiteX36" fmla="*/ 562050 w 1025378"/>
                  <a:gd name="connsiteY36" fmla="*/ 104775 h 314325"/>
                  <a:gd name="connsiteX37" fmla="*/ 566812 w 1025378"/>
                  <a:gd name="connsiteY37" fmla="*/ 90487 h 314325"/>
                  <a:gd name="connsiteX38" fmla="*/ 581100 w 1025378"/>
                  <a:gd name="connsiteY38" fmla="*/ 80962 h 314325"/>
                  <a:gd name="connsiteX39" fmla="*/ 619894 w 1025378"/>
                  <a:gd name="connsiteY39" fmla="*/ 49227 h 314325"/>
                  <a:gd name="connsiteX40" fmla="*/ 636928 w 1025378"/>
                  <a:gd name="connsiteY40" fmla="*/ 51320 h 314325"/>
                  <a:gd name="connsiteX41" fmla="*/ 648185 w 1025378"/>
                  <a:gd name="connsiteY41" fmla="*/ 295341 h 314325"/>
                  <a:gd name="connsiteX42" fmla="*/ 652537 w 1025378"/>
                  <a:gd name="connsiteY42" fmla="*/ 314325 h 314325"/>
                  <a:gd name="connsiteX43" fmla="*/ 662062 w 1025378"/>
                  <a:gd name="connsiteY43" fmla="*/ 295275 h 314325"/>
                  <a:gd name="connsiteX44" fmla="*/ 676002 w 1025378"/>
                  <a:gd name="connsiteY44" fmla="*/ 257152 h 314325"/>
                  <a:gd name="connsiteX45" fmla="*/ 707827 w 1025378"/>
                  <a:gd name="connsiteY45" fmla="*/ 168290 h 314325"/>
                  <a:gd name="connsiteX46" fmla="*/ 723975 w 1025378"/>
                  <a:gd name="connsiteY46" fmla="*/ 133350 h 314325"/>
                  <a:gd name="connsiteX47" fmla="*/ 728737 w 1025378"/>
                  <a:gd name="connsiteY47" fmla="*/ 166687 h 314325"/>
                  <a:gd name="connsiteX48" fmla="*/ 733500 w 1025378"/>
                  <a:gd name="connsiteY48" fmla="*/ 180975 h 314325"/>
                  <a:gd name="connsiteX49" fmla="*/ 749648 w 1025378"/>
                  <a:gd name="connsiteY49" fmla="*/ 155604 h 314325"/>
                  <a:gd name="connsiteX50" fmla="*/ 775668 w 1025378"/>
                  <a:gd name="connsiteY50" fmla="*/ 131770 h 314325"/>
                  <a:gd name="connsiteX51" fmla="*/ 795412 w 1025378"/>
                  <a:gd name="connsiteY51" fmla="*/ 85725 h 314325"/>
                  <a:gd name="connsiteX52" fmla="*/ 804937 w 1025378"/>
                  <a:gd name="connsiteY52" fmla="*/ 114300 h 314325"/>
                  <a:gd name="connsiteX53" fmla="*/ 819225 w 1025378"/>
                  <a:gd name="connsiteY53" fmla="*/ 185737 h 314325"/>
                  <a:gd name="connsiteX54" fmla="*/ 840135 w 1025378"/>
                  <a:gd name="connsiteY54" fmla="*/ 180975 h 314325"/>
                  <a:gd name="connsiteX55" fmla="*/ 857325 w 1025378"/>
                  <a:gd name="connsiteY55" fmla="*/ 138112 h 314325"/>
                  <a:gd name="connsiteX56" fmla="*/ 881137 w 1025378"/>
                  <a:gd name="connsiteY56" fmla="*/ 76200 h 314325"/>
                  <a:gd name="connsiteX57" fmla="*/ 885900 w 1025378"/>
                  <a:gd name="connsiteY57" fmla="*/ 52387 h 314325"/>
                  <a:gd name="connsiteX58" fmla="*/ 900187 w 1025378"/>
                  <a:gd name="connsiteY58" fmla="*/ 38100 h 314325"/>
                  <a:gd name="connsiteX59" fmla="*/ 904950 w 1025378"/>
                  <a:gd name="connsiteY59" fmla="*/ 14287 h 314325"/>
                  <a:gd name="connsiteX60" fmla="*/ 909712 w 1025378"/>
                  <a:gd name="connsiteY60" fmla="*/ 0 h 314325"/>
                  <a:gd name="connsiteX61" fmla="*/ 914475 w 1025378"/>
                  <a:gd name="connsiteY61" fmla="*/ 14287 h 314325"/>
                  <a:gd name="connsiteX62" fmla="*/ 919237 w 1025378"/>
                  <a:gd name="connsiteY62" fmla="*/ 71437 h 314325"/>
                  <a:gd name="connsiteX63" fmla="*/ 928762 w 1025378"/>
                  <a:gd name="connsiteY63" fmla="*/ 100012 h 314325"/>
                  <a:gd name="connsiteX64" fmla="*/ 952575 w 1025378"/>
                  <a:gd name="connsiteY64" fmla="*/ 161925 h 314325"/>
                  <a:gd name="connsiteX65" fmla="*/ 957337 w 1025378"/>
                  <a:gd name="connsiteY65" fmla="*/ 180975 h 314325"/>
                  <a:gd name="connsiteX66" fmla="*/ 962100 w 1025378"/>
                  <a:gd name="connsiteY66" fmla="*/ 214312 h 314325"/>
                  <a:gd name="connsiteX67" fmla="*/ 981150 w 1025378"/>
                  <a:gd name="connsiteY67" fmla="*/ 242887 h 314325"/>
                  <a:gd name="connsiteX68" fmla="*/ 991342 w 1025378"/>
                  <a:gd name="connsiteY68" fmla="*/ 265734 h 314325"/>
                  <a:gd name="connsiteX69" fmla="*/ 1025378 w 1025378"/>
                  <a:gd name="connsiteY69" fmla="*/ 261405 h 314325"/>
                  <a:gd name="connsiteX0" fmla="*/ 0 w 1024844"/>
                  <a:gd name="connsiteY0" fmla="*/ 262751 h 314325"/>
                  <a:gd name="connsiteX1" fmla="*/ 31387 w 1024844"/>
                  <a:gd name="connsiteY1" fmla="*/ 274654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3524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3775"/>
                  <a:gd name="connsiteY0" fmla="*/ 260314 h 314325"/>
                  <a:gd name="connsiteX1" fmla="*/ 32989 w 1023775"/>
                  <a:gd name="connsiteY1" fmla="*/ 257600 h 314325"/>
                  <a:gd name="connsiteX2" fmla="*/ 47792 w 1023775"/>
                  <a:gd name="connsiteY2" fmla="*/ 228600 h 314325"/>
                  <a:gd name="connsiteX3" fmla="*/ 65147 w 1023775"/>
                  <a:gd name="connsiteY3" fmla="*/ 180975 h 314325"/>
                  <a:gd name="connsiteX4" fmla="*/ 74672 w 1023775"/>
                  <a:gd name="connsiteY4" fmla="*/ 166687 h 314325"/>
                  <a:gd name="connsiteX5" fmla="*/ 93722 w 1023775"/>
                  <a:gd name="connsiteY5" fmla="*/ 114300 h 314325"/>
                  <a:gd name="connsiteX6" fmla="*/ 103247 w 1023775"/>
                  <a:gd name="connsiteY6" fmla="*/ 100012 h 314325"/>
                  <a:gd name="connsiteX7" fmla="*/ 122297 w 1023775"/>
                  <a:gd name="connsiteY7" fmla="*/ 57150 h 314325"/>
                  <a:gd name="connsiteX8" fmla="*/ 127059 w 1023775"/>
                  <a:gd name="connsiteY8" fmla="*/ 42862 h 314325"/>
                  <a:gd name="connsiteX9" fmla="*/ 136584 w 1023775"/>
                  <a:gd name="connsiteY9" fmla="*/ 4762 h 314325"/>
                  <a:gd name="connsiteX10" fmla="*/ 146109 w 1023775"/>
                  <a:gd name="connsiteY10" fmla="*/ 100012 h 314325"/>
                  <a:gd name="connsiteX11" fmla="*/ 155634 w 1023775"/>
                  <a:gd name="connsiteY11" fmla="*/ 152400 h 314325"/>
                  <a:gd name="connsiteX12" fmla="*/ 160397 w 1023775"/>
                  <a:gd name="connsiteY12" fmla="*/ 228600 h 314325"/>
                  <a:gd name="connsiteX13" fmla="*/ 172886 w 1023775"/>
                  <a:gd name="connsiteY13" fmla="*/ 268258 h 314325"/>
                  <a:gd name="connsiteX14" fmla="*/ 200767 w 1023775"/>
                  <a:gd name="connsiteY14" fmla="*/ 255572 h 314325"/>
                  <a:gd name="connsiteX15" fmla="*/ 231078 w 1023775"/>
                  <a:gd name="connsiteY15" fmla="*/ 201561 h 314325"/>
                  <a:gd name="connsiteX16" fmla="*/ 250884 w 1023775"/>
                  <a:gd name="connsiteY16" fmla="*/ 171450 h 314325"/>
                  <a:gd name="connsiteX17" fmla="*/ 269934 w 1023775"/>
                  <a:gd name="connsiteY17" fmla="*/ 142875 h 314325"/>
                  <a:gd name="connsiteX18" fmla="*/ 303272 w 1023775"/>
                  <a:gd name="connsiteY18" fmla="*/ 71437 h 314325"/>
                  <a:gd name="connsiteX19" fmla="*/ 314247 w 1023775"/>
                  <a:gd name="connsiteY19" fmla="*/ 36631 h 314325"/>
                  <a:gd name="connsiteX20" fmla="*/ 321218 w 1023775"/>
                  <a:gd name="connsiteY20" fmla="*/ 88841 h 314325"/>
                  <a:gd name="connsiteX21" fmla="*/ 326328 w 1023775"/>
                  <a:gd name="connsiteY21" fmla="*/ 147637 h 314325"/>
                  <a:gd name="connsiteX22" fmla="*/ 336609 w 1023775"/>
                  <a:gd name="connsiteY22" fmla="*/ 171450 h 314325"/>
                  <a:gd name="connsiteX23" fmla="*/ 347995 w 1023775"/>
                  <a:gd name="connsiteY23" fmla="*/ 261916 h 314325"/>
                  <a:gd name="connsiteX24" fmla="*/ 355659 w 1023775"/>
                  <a:gd name="connsiteY24" fmla="*/ 247650 h 314325"/>
                  <a:gd name="connsiteX25" fmla="*/ 369253 w 1023775"/>
                  <a:gd name="connsiteY25" fmla="*/ 231782 h 314325"/>
                  <a:gd name="connsiteX26" fmla="*/ 393759 w 1023775"/>
                  <a:gd name="connsiteY26" fmla="*/ 180975 h 314325"/>
                  <a:gd name="connsiteX27" fmla="*/ 408047 w 1023775"/>
                  <a:gd name="connsiteY27" fmla="*/ 171450 h 314325"/>
                  <a:gd name="connsiteX28" fmla="*/ 417572 w 1023775"/>
                  <a:gd name="connsiteY28" fmla="*/ 157162 h 314325"/>
                  <a:gd name="connsiteX29" fmla="*/ 427097 w 1023775"/>
                  <a:gd name="connsiteY29" fmla="*/ 180975 h 314325"/>
                  <a:gd name="connsiteX30" fmla="*/ 436622 w 1023775"/>
                  <a:gd name="connsiteY30" fmla="*/ 209550 h 314325"/>
                  <a:gd name="connsiteX31" fmla="*/ 446903 w 1023775"/>
                  <a:gd name="connsiteY31" fmla="*/ 252390 h 314325"/>
                  <a:gd name="connsiteX32" fmla="*/ 474722 w 1023775"/>
                  <a:gd name="connsiteY32" fmla="*/ 233362 h 314325"/>
                  <a:gd name="connsiteX33" fmla="*/ 489009 w 1023775"/>
                  <a:gd name="connsiteY33" fmla="*/ 233362 h 314325"/>
                  <a:gd name="connsiteX34" fmla="*/ 498534 w 1023775"/>
                  <a:gd name="connsiteY34" fmla="*/ 223837 h 314325"/>
                  <a:gd name="connsiteX35" fmla="*/ 541397 w 1023775"/>
                  <a:gd name="connsiteY35" fmla="*/ 138112 h 314325"/>
                  <a:gd name="connsiteX36" fmla="*/ 560447 w 1023775"/>
                  <a:gd name="connsiteY36" fmla="*/ 104775 h 314325"/>
                  <a:gd name="connsiteX37" fmla="*/ 565209 w 1023775"/>
                  <a:gd name="connsiteY37" fmla="*/ 90487 h 314325"/>
                  <a:gd name="connsiteX38" fmla="*/ 579497 w 1023775"/>
                  <a:gd name="connsiteY38" fmla="*/ 80962 h 314325"/>
                  <a:gd name="connsiteX39" fmla="*/ 618291 w 1023775"/>
                  <a:gd name="connsiteY39" fmla="*/ 49227 h 314325"/>
                  <a:gd name="connsiteX40" fmla="*/ 635325 w 1023775"/>
                  <a:gd name="connsiteY40" fmla="*/ 51320 h 314325"/>
                  <a:gd name="connsiteX41" fmla="*/ 646582 w 1023775"/>
                  <a:gd name="connsiteY41" fmla="*/ 295341 h 314325"/>
                  <a:gd name="connsiteX42" fmla="*/ 650934 w 1023775"/>
                  <a:gd name="connsiteY42" fmla="*/ 314325 h 314325"/>
                  <a:gd name="connsiteX43" fmla="*/ 660459 w 1023775"/>
                  <a:gd name="connsiteY43" fmla="*/ 295275 h 314325"/>
                  <a:gd name="connsiteX44" fmla="*/ 674399 w 1023775"/>
                  <a:gd name="connsiteY44" fmla="*/ 257152 h 314325"/>
                  <a:gd name="connsiteX45" fmla="*/ 706224 w 1023775"/>
                  <a:gd name="connsiteY45" fmla="*/ 168290 h 314325"/>
                  <a:gd name="connsiteX46" fmla="*/ 722372 w 1023775"/>
                  <a:gd name="connsiteY46" fmla="*/ 133350 h 314325"/>
                  <a:gd name="connsiteX47" fmla="*/ 727134 w 1023775"/>
                  <a:gd name="connsiteY47" fmla="*/ 166687 h 314325"/>
                  <a:gd name="connsiteX48" fmla="*/ 731897 w 1023775"/>
                  <a:gd name="connsiteY48" fmla="*/ 180975 h 314325"/>
                  <a:gd name="connsiteX49" fmla="*/ 748045 w 1023775"/>
                  <a:gd name="connsiteY49" fmla="*/ 155604 h 314325"/>
                  <a:gd name="connsiteX50" fmla="*/ 774065 w 1023775"/>
                  <a:gd name="connsiteY50" fmla="*/ 131770 h 314325"/>
                  <a:gd name="connsiteX51" fmla="*/ 793809 w 1023775"/>
                  <a:gd name="connsiteY51" fmla="*/ 85725 h 314325"/>
                  <a:gd name="connsiteX52" fmla="*/ 803334 w 1023775"/>
                  <a:gd name="connsiteY52" fmla="*/ 114300 h 314325"/>
                  <a:gd name="connsiteX53" fmla="*/ 817622 w 1023775"/>
                  <a:gd name="connsiteY53" fmla="*/ 185737 h 314325"/>
                  <a:gd name="connsiteX54" fmla="*/ 838532 w 1023775"/>
                  <a:gd name="connsiteY54" fmla="*/ 180975 h 314325"/>
                  <a:gd name="connsiteX55" fmla="*/ 855722 w 1023775"/>
                  <a:gd name="connsiteY55" fmla="*/ 138112 h 314325"/>
                  <a:gd name="connsiteX56" fmla="*/ 879534 w 1023775"/>
                  <a:gd name="connsiteY56" fmla="*/ 76200 h 314325"/>
                  <a:gd name="connsiteX57" fmla="*/ 884297 w 1023775"/>
                  <a:gd name="connsiteY57" fmla="*/ 52387 h 314325"/>
                  <a:gd name="connsiteX58" fmla="*/ 898584 w 1023775"/>
                  <a:gd name="connsiteY58" fmla="*/ 38100 h 314325"/>
                  <a:gd name="connsiteX59" fmla="*/ 903347 w 1023775"/>
                  <a:gd name="connsiteY59" fmla="*/ 14287 h 314325"/>
                  <a:gd name="connsiteX60" fmla="*/ 908109 w 1023775"/>
                  <a:gd name="connsiteY60" fmla="*/ 0 h 314325"/>
                  <a:gd name="connsiteX61" fmla="*/ 912872 w 1023775"/>
                  <a:gd name="connsiteY61" fmla="*/ 14287 h 314325"/>
                  <a:gd name="connsiteX62" fmla="*/ 917634 w 1023775"/>
                  <a:gd name="connsiteY62" fmla="*/ 71437 h 314325"/>
                  <a:gd name="connsiteX63" fmla="*/ 927159 w 1023775"/>
                  <a:gd name="connsiteY63" fmla="*/ 100012 h 314325"/>
                  <a:gd name="connsiteX64" fmla="*/ 950972 w 1023775"/>
                  <a:gd name="connsiteY64" fmla="*/ 161925 h 314325"/>
                  <a:gd name="connsiteX65" fmla="*/ 955734 w 1023775"/>
                  <a:gd name="connsiteY65" fmla="*/ 180975 h 314325"/>
                  <a:gd name="connsiteX66" fmla="*/ 960497 w 1023775"/>
                  <a:gd name="connsiteY66" fmla="*/ 214312 h 314325"/>
                  <a:gd name="connsiteX67" fmla="*/ 979547 w 1023775"/>
                  <a:gd name="connsiteY67" fmla="*/ 242887 h 314325"/>
                  <a:gd name="connsiteX68" fmla="*/ 989739 w 1023775"/>
                  <a:gd name="connsiteY68" fmla="*/ 265734 h 314325"/>
                  <a:gd name="connsiteX69" fmla="*/ 1023775 w 1023775"/>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1637"/>
                  <a:gd name="connsiteY0" fmla="*/ 262750 h 314325"/>
                  <a:gd name="connsiteX1" fmla="*/ 33523 w 1021637"/>
                  <a:gd name="connsiteY1" fmla="*/ 257600 h 314325"/>
                  <a:gd name="connsiteX2" fmla="*/ 48326 w 1021637"/>
                  <a:gd name="connsiteY2" fmla="*/ 228600 h 314325"/>
                  <a:gd name="connsiteX3" fmla="*/ 65681 w 1021637"/>
                  <a:gd name="connsiteY3" fmla="*/ 180975 h 314325"/>
                  <a:gd name="connsiteX4" fmla="*/ 75206 w 1021637"/>
                  <a:gd name="connsiteY4" fmla="*/ 166687 h 314325"/>
                  <a:gd name="connsiteX5" fmla="*/ 94256 w 1021637"/>
                  <a:gd name="connsiteY5" fmla="*/ 114300 h 314325"/>
                  <a:gd name="connsiteX6" fmla="*/ 103781 w 1021637"/>
                  <a:gd name="connsiteY6" fmla="*/ 100012 h 314325"/>
                  <a:gd name="connsiteX7" fmla="*/ 122831 w 1021637"/>
                  <a:gd name="connsiteY7" fmla="*/ 57150 h 314325"/>
                  <a:gd name="connsiteX8" fmla="*/ 127593 w 1021637"/>
                  <a:gd name="connsiteY8" fmla="*/ 42862 h 314325"/>
                  <a:gd name="connsiteX9" fmla="*/ 137118 w 1021637"/>
                  <a:gd name="connsiteY9" fmla="*/ 4762 h 314325"/>
                  <a:gd name="connsiteX10" fmla="*/ 146643 w 1021637"/>
                  <a:gd name="connsiteY10" fmla="*/ 100012 h 314325"/>
                  <a:gd name="connsiteX11" fmla="*/ 156168 w 1021637"/>
                  <a:gd name="connsiteY11" fmla="*/ 152400 h 314325"/>
                  <a:gd name="connsiteX12" fmla="*/ 160931 w 1021637"/>
                  <a:gd name="connsiteY12" fmla="*/ 228600 h 314325"/>
                  <a:gd name="connsiteX13" fmla="*/ 173420 w 1021637"/>
                  <a:gd name="connsiteY13" fmla="*/ 268258 h 314325"/>
                  <a:gd name="connsiteX14" fmla="*/ 201301 w 1021637"/>
                  <a:gd name="connsiteY14" fmla="*/ 255572 h 314325"/>
                  <a:gd name="connsiteX15" fmla="*/ 231612 w 1021637"/>
                  <a:gd name="connsiteY15" fmla="*/ 201561 h 314325"/>
                  <a:gd name="connsiteX16" fmla="*/ 251418 w 1021637"/>
                  <a:gd name="connsiteY16" fmla="*/ 171450 h 314325"/>
                  <a:gd name="connsiteX17" fmla="*/ 270468 w 1021637"/>
                  <a:gd name="connsiteY17" fmla="*/ 142875 h 314325"/>
                  <a:gd name="connsiteX18" fmla="*/ 303806 w 1021637"/>
                  <a:gd name="connsiteY18" fmla="*/ 71437 h 314325"/>
                  <a:gd name="connsiteX19" fmla="*/ 314781 w 1021637"/>
                  <a:gd name="connsiteY19" fmla="*/ 36631 h 314325"/>
                  <a:gd name="connsiteX20" fmla="*/ 321752 w 1021637"/>
                  <a:gd name="connsiteY20" fmla="*/ 88841 h 314325"/>
                  <a:gd name="connsiteX21" fmla="*/ 326862 w 1021637"/>
                  <a:gd name="connsiteY21" fmla="*/ 147637 h 314325"/>
                  <a:gd name="connsiteX22" fmla="*/ 337143 w 1021637"/>
                  <a:gd name="connsiteY22" fmla="*/ 171450 h 314325"/>
                  <a:gd name="connsiteX23" fmla="*/ 348529 w 1021637"/>
                  <a:gd name="connsiteY23" fmla="*/ 261916 h 314325"/>
                  <a:gd name="connsiteX24" fmla="*/ 356193 w 1021637"/>
                  <a:gd name="connsiteY24" fmla="*/ 247650 h 314325"/>
                  <a:gd name="connsiteX25" fmla="*/ 369787 w 1021637"/>
                  <a:gd name="connsiteY25" fmla="*/ 231782 h 314325"/>
                  <a:gd name="connsiteX26" fmla="*/ 394293 w 1021637"/>
                  <a:gd name="connsiteY26" fmla="*/ 180975 h 314325"/>
                  <a:gd name="connsiteX27" fmla="*/ 408581 w 1021637"/>
                  <a:gd name="connsiteY27" fmla="*/ 171450 h 314325"/>
                  <a:gd name="connsiteX28" fmla="*/ 418106 w 1021637"/>
                  <a:gd name="connsiteY28" fmla="*/ 157162 h 314325"/>
                  <a:gd name="connsiteX29" fmla="*/ 427631 w 1021637"/>
                  <a:gd name="connsiteY29" fmla="*/ 180975 h 314325"/>
                  <a:gd name="connsiteX30" fmla="*/ 437156 w 1021637"/>
                  <a:gd name="connsiteY30" fmla="*/ 209550 h 314325"/>
                  <a:gd name="connsiteX31" fmla="*/ 447437 w 1021637"/>
                  <a:gd name="connsiteY31" fmla="*/ 252390 h 314325"/>
                  <a:gd name="connsiteX32" fmla="*/ 475256 w 1021637"/>
                  <a:gd name="connsiteY32" fmla="*/ 233362 h 314325"/>
                  <a:gd name="connsiteX33" fmla="*/ 489543 w 1021637"/>
                  <a:gd name="connsiteY33" fmla="*/ 233362 h 314325"/>
                  <a:gd name="connsiteX34" fmla="*/ 499068 w 1021637"/>
                  <a:gd name="connsiteY34" fmla="*/ 223837 h 314325"/>
                  <a:gd name="connsiteX35" fmla="*/ 541931 w 1021637"/>
                  <a:gd name="connsiteY35" fmla="*/ 138112 h 314325"/>
                  <a:gd name="connsiteX36" fmla="*/ 560981 w 1021637"/>
                  <a:gd name="connsiteY36" fmla="*/ 104775 h 314325"/>
                  <a:gd name="connsiteX37" fmla="*/ 565743 w 1021637"/>
                  <a:gd name="connsiteY37" fmla="*/ 90487 h 314325"/>
                  <a:gd name="connsiteX38" fmla="*/ 580031 w 1021637"/>
                  <a:gd name="connsiteY38" fmla="*/ 80962 h 314325"/>
                  <a:gd name="connsiteX39" fmla="*/ 618825 w 1021637"/>
                  <a:gd name="connsiteY39" fmla="*/ 49227 h 314325"/>
                  <a:gd name="connsiteX40" fmla="*/ 635859 w 1021637"/>
                  <a:gd name="connsiteY40" fmla="*/ 51320 h 314325"/>
                  <a:gd name="connsiteX41" fmla="*/ 647116 w 1021637"/>
                  <a:gd name="connsiteY41" fmla="*/ 295341 h 314325"/>
                  <a:gd name="connsiteX42" fmla="*/ 651468 w 1021637"/>
                  <a:gd name="connsiteY42" fmla="*/ 314325 h 314325"/>
                  <a:gd name="connsiteX43" fmla="*/ 660993 w 1021637"/>
                  <a:gd name="connsiteY43" fmla="*/ 295275 h 314325"/>
                  <a:gd name="connsiteX44" fmla="*/ 674933 w 1021637"/>
                  <a:gd name="connsiteY44" fmla="*/ 257152 h 314325"/>
                  <a:gd name="connsiteX45" fmla="*/ 706758 w 1021637"/>
                  <a:gd name="connsiteY45" fmla="*/ 168290 h 314325"/>
                  <a:gd name="connsiteX46" fmla="*/ 722906 w 1021637"/>
                  <a:gd name="connsiteY46" fmla="*/ 133350 h 314325"/>
                  <a:gd name="connsiteX47" fmla="*/ 727668 w 1021637"/>
                  <a:gd name="connsiteY47" fmla="*/ 166687 h 314325"/>
                  <a:gd name="connsiteX48" fmla="*/ 732431 w 1021637"/>
                  <a:gd name="connsiteY48" fmla="*/ 180975 h 314325"/>
                  <a:gd name="connsiteX49" fmla="*/ 748579 w 1021637"/>
                  <a:gd name="connsiteY49" fmla="*/ 155604 h 314325"/>
                  <a:gd name="connsiteX50" fmla="*/ 774599 w 1021637"/>
                  <a:gd name="connsiteY50" fmla="*/ 131770 h 314325"/>
                  <a:gd name="connsiteX51" fmla="*/ 794343 w 1021637"/>
                  <a:gd name="connsiteY51" fmla="*/ 85725 h 314325"/>
                  <a:gd name="connsiteX52" fmla="*/ 803868 w 1021637"/>
                  <a:gd name="connsiteY52" fmla="*/ 114300 h 314325"/>
                  <a:gd name="connsiteX53" fmla="*/ 818156 w 1021637"/>
                  <a:gd name="connsiteY53" fmla="*/ 185737 h 314325"/>
                  <a:gd name="connsiteX54" fmla="*/ 839066 w 1021637"/>
                  <a:gd name="connsiteY54" fmla="*/ 180975 h 314325"/>
                  <a:gd name="connsiteX55" fmla="*/ 856256 w 1021637"/>
                  <a:gd name="connsiteY55" fmla="*/ 138112 h 314325"/>
                  <a:gd name="connsiteX56" fmla="*/ 880068 w 1021637"/>
                  <a:gd name="connsiteY56" fmla="*/ 76200 h 314325"/>
                  <a:gd name="connsiteX57" fmla="*/ 884831 w 1021637"/>
                  <a:gd name="connsiteY57" fmla="*/ 52387 h 314325"/>
                  <a:gd name="connsiteX58" fmla="*/ 899118 w 1021637"/>
                  <a:gd name="connsiteY58" fmla="*/ 38100 h 314325"/>
                  <a:gd name="connsiteX59" fmla="*/ 903881 w 1021637"/>
                  <a:gd name="connsiteY59" fmla="*/ 14287 h 314325"/>
                  <a:gd name="connsiteX60" fmla="*/ 908643 w 1021637"/>
                  <a:gd name="connsiteY60" fmla="*/ 0 h 314325"/>
                  <a:gd name="connsiteX61" fmla="*/ 913406 w 1021637"/>
                  <a:gd name="connsiteY61" fmla="*/ 14287 h 314325"/>
                  <a:gd name="connsiteX62" fmla="*/ 918168 w 1021637"/>
                  <a:gd name="connsiteY62" fmla="*/ 71437 h 314325"/>
                  <a:gd name="connsiteX63" fmla="*/ 927693 w 1021637"/>
                  <a:gd name="connsiteY63" fmla="*/ 100012 h 314325"/>
                  <a:gd name="connsiteX64" fmla="*/ 951506 w 1021637"/>
                  <a:gd name="connsiteY64" fmla="*/ 161925 h 314325"/>
                  <a:gd name="connsiteX65" fmla="*/ 956268 w 1021637"/>
                  <a:gd name="connsiteY65" fmla="*/ 180975 h 314325"/>
                  <a:gd name="connsiteX66" fmla="*/ 961031 w 1021637"/>
                  <a:gd name="connsiteY66" fmla="*/ 214312 h 314325"/>
                  <a:gd name="connsiteX67" fmla="*/ 980081 w 1021637"/>
                  <a:gd name="connsiteY67" fmla="*/ 242887 h 314325"/>
                  <a:gd name="connsiteX68" fmla="*/ 990273 w 1021637"/>
                  <a:gd name="connsiteY68" fmla="*/ 265734 h 314325"/>
                  <a:gd name="connsiteX69" fmla="*/ 1021637 w 1021637"/>
                  <a:gd name="connsiteY69" fmla="*/ 261405 h 314325"/>
                  <a:gd name="connsiteX0" fmla="*/ 0 w 1023774"/>
                  <a:gd name="connsiteY0" fmla="*/ 262750 h 314325"/>
                  <a:gd name="connsiteX1" fmla="*/ 33523 w 1023774"/>
                  <a:gd name="connsiteY1" fmla="*/ 257600 h 314325"/>
                  <a:gd name="connsiteX2" fmla="*/ 48326 w 1023774"/>
                  <a:gd name="connsiteY2" fmla="*/ 228600 h 314325"/>
                  <a:gd name="connsiteX3" fmla="*/ 65681 w 1023774"/>
                  <a:gd name="connsiteY3" fmla="*/ 180975 h 314325"/>
                  <a:gd name="connsiteX4" fmla="*/ 75206 w 1023774"/>
                  <a:gd name="connsiteY4" fmla="*/ 166687 h 314325"/>
                  <a:gd name="connsiteX5" fmla="*/ 94256 w 1023774"/>
                  <a:gd name="connsiteY5" fmla="*/ 114300 h 314325"/>
                  <a:gd name="connsiteX6" fmla="*/ 103781 w 1023774"/>
                  <a:gd name="connsiteY6" fmla="*/ 100012 h 314325"/>
                  <a:gd name="connsiteX7" fmla="*/ 122831 w 1023774"/>
                  <a:gd name="connsiteY7" fmla="*/ 57150 h 314325"/>
                  <a:gd name="connsiteX8" fmla="*/ 127593 w 1023774"/>
                  <a:gd name="connsiteY8" fmla="*/ 42862 h 314325"/>
                  <a:gd name="connsiteX9" fmla="*/ 137118 w 1023774"/>
                  <a:gd name="connsiteY9" fmla="*/ 4762 h 314325"/>
                  <a:gd name="connsiteX10" fmla="*/ 146643 w 1023774"/>
                  <a:gd name="connsiteY10" fmla="*/ 100012 h 314325"/>
                  <a:gd name="connsiteX11" fmla="*/ 156168 w 1023774"/>
                  <a:gd name="connsiteY11" fmla="*/ 152400 h 314325"/>
                  <a:gd name="connsiteX12" fmla="*/ 160931 w 1023774"/>
                  <a:gd name="connsiteY12" fmla="*/ 228600 h 314325"/>
                  <a:gd name="connsiteX13" fmla="*/ 173420 w 1023774"/>
                  <a:gd name="connsiteY13" fmla="*/ 268258 h 314325"/>
                  <a:gd name="connsiteX14" fmla="*/ 201301 w 1023774"/>
                  <a:gd name="connsiteY14" fmla="*/ 255572 h 314325"/>
                  <a:gd name="connsiteX15" fmla="*/ 231612 w 1023774"/>
                  <a:gd name="connsiteY15" fmla="*/ 201561 h 314325"/>
                  <a:gd name="connsiteX16" fmla="*/ 251418 w 1023774"/>
                  <a:gd name="connsiteY16" fmla="*/ 171450 h 314325"/>
                  <a:gd name="connsiteX17" fmla="*/ 270468 w 1023774"/>
                  <a:gd name="connsiteY17" fmla="*/ 142875 h 314325"/>
                  <a:gd name="connsiteX18" fmla="*/ 303806 w 1023774"/>
                  <a:gd name="connsiteY18" fmla="*/ 71437 h 314325"/>
                  <a:gd name="connsiteX19" fmla="*/ 314781 w 1023774"/>
                  <a:gd name="connsiteY19" fmla="*/ 36631 h 314325"/>
                  <a:gd name="connsiteX20" fmla="*/ 321752 w 1023774"/>
                  <a:gd name="connsiteY20" fmla="*/ 88841 h 314325"/>
                  <a:gd name="connsiteX21" fmla="*/ 326862 w 1023774"/>
                  <a:gd name="connsiteY21" fmla="*/ 147637 h 314325"/>
                  <a:gd name="connsiteX22" fmla="*/ 337143 w 1023774"/>
                  <a:gd name="connsiteY22" fmla="*/ 171450 h 314325"/>
                  <a:gd name="connsiteX23" fmla="*/ 348529 w 1023774"/>
                  <a:gd name="connsiteY23" fmla="*/ 261916 h 314325"/>
                  <a:gd name="connsiteX24" fmla="*/ 356193 w 1023774"/>
                  <a:gd name="connsiteY24" fmla="*/ 247650 h 314325"/>
                  <a:gd name="connsiteX25" fmla="*/ 369787 w 1023774"/>
                  <a:gd name="connsiteY25" fmla="*/ 231782 h 314325"/>
                  <a:gd name="connsiteX26" fmla="*/ 394293 w 1023774"/>
                  <a:gd name="connsiteY26" fmla="*/ 180975 h 314325"/>
                  <a:gd name="connsiteX27" fmla="*/ 408581 w 1023774"/>
                  <a:gd name="connsiteY27" fmla="*/ 171450 h 314325"/>
                  <a:gd name="connsiteX28" fmla="*/ 418106 w 1023774"/>
                  <a:gd name="connsiteY28" fmla="*/ 157162 h 314325"/>
                  <a:gd name="connsiteX29" fmla="*/ 427631 w 1023774"/>
                  <a:gd name="connsiteY29" fmla="*/ 180975 h 314325"/>
                  <a:gd name="connsiteX30" fmla="*/ 437156 w 1023774"/>
                  <a:gd name="connsiteY30" fmla="*/ 209550 h 314325"/>
                  <a:gd name="connsiteX31" fmla="*/ 447437 w 1023774"/>
                  <a:gd name="connsiteY31" fmla="*/ 252390 h 314325"/>
                  <a:gd name="connsiteX32" fmla="*/ 475256 w 1023774"/>
                  <a:gd name="connsiteY32" fmla="*/ 233362 h 314325"/>
                  <a:gd name="connsiteX33" fmla="*/ 489543 w 1023774"/>
                  <a:gd name="connsiteY33" fmla="*/ 233362 h 314325"/>
                  <a:gd name="connsiteX34" fmla="*/ 499068 w 1023774"/>
                  <a:gd name="connsiteY34" fmla="*/ 223837 h 314325"/>
                  <a:gd name="connsiteX35" fmla="*/ 541931 w 1023774"/>
                  <a:gd name="connsiteY35" fmla="*/ 138112 h 314325"/>
                  <a:gd name="connsiteX36" fmla="*/ 560981 w 1023774"/>
                  <a:gd name="connsiteY36" fmla="*/ 104775 h 314325"/>
                  <a:gd name="connsiteX37" fmla="*/ 565743 w 1023774"/>
                  <a:gd name="connsiteY37" fmla="*/ 90487 h 314325"/>
                  <a:gd name="connsiteX38" fmla="*/ 580031 w 1023774"/>
                  <a:gd name="connsiteY38" fmla="*/ 80962 h 314325"/>
                  <a:gd name="connsiteX39" fmla="*/ 618825 w 1023774"/>
                  <a:gd name="connsiteY39" fmla="*/ 49227 h 314325"/>
                  <a:gd name="connsiteX40" fmla="*/ 635859 w 1023774"/>
                  <a:gd name="connsiteY40" fmla="*/ 51320 h 314325"/>
                  <a:gd name="connsiteX41" fmla="*/ 647116 w 1023774"/>
                  <a:gd name="connsiteY41" fmla="*/ 295341 h 314325"/>
                  <a:gd name="connsiteX42" fmla="*/ 651468 w 1023774"/>
                  <a:gd name="connsiteY42" fmla="*/ 314325 h 314325"/>
                  <a:gd name="connsiteX43" fmla="*/ 660993 w 1023774"/>
                  <a:gd name="connsiteY43" fmla="*/ 295275 h 314325"/>
                  <a:gd name="connsiteX44" fmla="*/ 674933 w 1023774"/>
                  <a:gd name="connsiteY44" fmla="*/ 257152 h 314325"/>
                  <a:gd name="connsiteX45" fmla="*/ 706758 w 1023774"/>
                  <a:gd name="connsiteY45" fmla="*/ 168290 h 314325"/>
                  <a:gd name="connsiteX46" fmla="*/ 722906 w 1023774"/>
                  <a:gd name="connsiteY46" fmla="*/ 133350 h 314325"/>
                  <a:gd name="connsiteX47" fmla="*/ 727668 w 1023774"/>
                  <a:gd name="connsiteY47" fmla="*/ 166687 h 314325"/>
                  <a:gd name="connsiteX48" fmla="*/ 732431 w 1023774"/>
                  <a:gd name="connsiteY48" fmla="*/ 180975 h 314325"/>
                  <a:gd name="connsiteX49" fmla="*/ 748579 w 1023774"/>
                  <a:gd name="connsiteY49" fmla="*/ 155604 h 314325"/>
                  <a:gd name="connsiteX50" fmla="*/ 774599 w 1023774"/>
                  <a:gd name="connsiteY50" fmla="*/ 131770 h 314325"/>
                  <a:gd name="connsiteX51" fmla="*/ 794343 w 1023774"/>
                  <a:gd name="connsiteY51" fmla="*/ 85725 h 314325"/>
                  <a:gd name="connsiteX52" fmla="*/ 803868 w 1023774"/>
                  <a:gd name="connsiteY52" fmla="*/ 114300 h 314325"/>
                  <a:gd name="connsiteX53" fmla="*/ 818156 w 1023774"/>
                  <a:gd name="connsiteY53" fmla="*/ 185737 h 314325"/>
                  <a:gd name="connsiteX54" fmla="*/ 839066 w 1023774"/>
                  <a:gd name="connsiteY54" fmla="*/ 180975 h 314325"/>
                  <a:gd name="connsiteX55" fmla="*/ 856256 w 1023774"/>
                  <a:gd name="connsiteY55" fmla="*/ 138112 h 314325"/>
                  <a:gd name="connsiteX56" fmla="*/ 880068 w 1023774"/>
                  <a:gd name="connsiteY56" fmla="*/ 76200 h 314325"/>
                  <a:gd name="connsiteX57" fmla="*/ 884831 w 1023774"/>
                  <a:gd name="connsiteY57" fmla="*/ 52387 h 314325"/>
                  <a:gd name="connsiteX58" fmla="*/ 899118 w 1023774"/>
                  <a:gd name="connsiteY58" fmla="*/ 38100 h 314325"/>
                  <a:gd name="connsiteX59" fmla="*/ 903881 w 1023774"/>
                  <a:gd name="connsiteY59" fmla="*/ 14287 h 314325"/>
                  <a:gd name="connsiteX60" fmla="*/ 908643 w 1023774"/>
                  <a:gd name="connsiteY60" fmla="*/ 0 h 314325"/>
                  <a:gd name="connsiteX61" fmla="*/ 913406 w 1023774"/>
                  <a:gd name="connsiteY61" fmla="*/ 14287 h 314325"/>
                  <a:gd name="connsiteX62" fmla="*/ 918168 w 1023774"/>
                  <a:gd name="connsiteY62" fmla="*/ 71437 h 314325"/>
                  <a:gd name="connsiteX63" fmla="*/ 927693 w 1023774"/>
                  <a:gd name="connsiteY63" fmla="*/ 100012 h 314325"/>
                  <a:gd name="connsiteX64" fmla="*/ 951506 w 1023774"/>
                  <a:gd name="connsiteY64" fmla="*/ 161925 h 314325"/>
                  <a:gd name="connsiteX65" fmla="*/ 956268 w 1023774"/>
                  <a:gd name="connsiteY65" fmla="*/ 180975 h 314325"/>
                  <a:gd name="connsiteX66" fmla="*/ 961031 w 1023774"/>
                  <a:gd name="connsiteY66" fmla="*/ 214312 h 314325"/>
                  <a:gd name="connsiteX67" fmla="*/ 980081 w 1023774"/>
                  <a:gd name="connsiteY67" fmla="*/ 242887 h 314325"/>
                  <a:gd name="connsiteX68" fmla="*/ 990273 w 1023774"/>
                  <a:gd name="connsiteY68" fmla="*/ 265734 h 314325"/>
                  <a:gd name="connsiteX69" fmla="*/ 1023774 w 1023774"/>
                  <a:gd name="connsiteY69" fmla="*/ 26140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23774" h="314325">
                    <a:moveTo>
                      <a:pt x="0" y="262750"/>
                    </a:moveTo>
                    <a:cubicBezTo>
                      <a:pt x="20885" y="261865"/>
                      <a:pt x="25469" y="263292"/>
                      <a:pt x="33523" y="257600"/>
                    </a:cubicBezTo>
                    <a:cubicBezTo>
                      <a:pt x="41577" y="251908"/>
                      <a:pt x="42966" y="241371"/>
                      <a:pt x="48326" y="228600"/>
                    </a:cubicBezTo>
                    <a:cubicBezTo>
                      <a:pt x="53686" y="215829"/>
                      <a:pt x="61201" y="191294"/>
                      <a:pt x="65681" y="180975"/>
                    </a:cubicBezTo>
                    <a:cubicBezTo>
                      <a:pt x="70161" y="170656"/>
                      <a:pt x="75206" y="166687"/>
                      <a:pt x="75206" y="166687"/>
                    </a:cubicBezTo>
                    <a:cubicBezTo>
                      <a:pt x="81379" y="141993"/>
                      <a:pt x="80199" y="142413"/>
                      <a:pt x="94256" y="114300"/>
                    </a:cubicBezTo>
                    <a:cubicBezTo>
                      <a:pt x="96816" y="109180"/>
                      <a:pt x="100941" y="104982"/>
                      <a:pt x="103781" y="100012"/>
                    </a:cubicBezTo>
                    <a:cubicBezTo>
                      <a:pt x="111652" y="86238"/>
                      <a:pt x="117265" y="71993"/>
                      <a:pt x="122831" y="57150"/>
                    </a:cubicBezTo>
                    <a:cubicBezTo>
                      <a:pt x="124594" y="52449"/>
                      <a:pt x="126272" y="47705"/>
                      <a:pt x="127593" y="42862"/>
                    </a:cubicBezTo>
                    <a:cubicBezTo>
                      <a:pt x="131037" y="30232"/>
                      <a:pt x="137118" y="4762"/>
                      <a:pt x="137118" y="4762"/>
                    </a:cubicBezTo>
                    <a:cubicBezTo>
                      <a:pt x="147761" y="57971"/>
                      <a:pt x="137808" y="2826"/>
                      <a:pt x="146643" y="100012"/>
                    </a:cubicBezTo>
                    <a:cubicBezTo>
                      <a:pt x="149080" y="126823"/>
                      <a:pt x="150580" y="130044"/>
                      <a:pt x="156168" y="152400"/>
                    </a:cubicBezTo>
                    <a:cubicBezTo>
                      <a:pt x="157756" y="177800"/>
                      <a:pt x="158056" y="209290"/>
                      <a:pt x="160931" y="228600"/>
                    </a:cubicBezTo>
                    <a:cubicBezTo>
                      <a:pt x="163806" y="247910"/>
                      <a:pt x="166692" y="263763"/>
                      <a:pt x="173420" y="268258"/>
                    </a:cubicBezTo>
                    <a:cubicBezTo>
                      <a:pt x="180148" y="272753"/>
                      <a:pt x="191602" y="266688"/>
                      <a:pt x="201301" y="255572"/>
                    </a:cubicBezTo>
                    <a:cubicBezTo>
                      <a:pt x="211000" y="244456"/>
                      <a:pt x="223259" y="215581"/>
                      <a:pt x="231612" y="201561"/>
                    </a:cubicBezTo>
                    <a:cubicBezTo>
                      <a:pt x="239965" y="187541"/>
                      <a:pt x="244942" y="181231"/>
                      <a:pt x="251418" y="171450"/>
                    </a:cubicBezTo>
                    <a:cubicBezTo>
                      <a:pt x="257894" y="161669"/>
                      <a:pt x="261737" y="159544"/>
                      <a:pt x="270468" y="142875"/>
                    </a:cubicBezTo>
                    <a:cubicBezTo>
                      <a:pt x="279199" y="126206"/>
                      <a:pt x="296421" y="89144"/>
                      <a:pt x="303806" y="71437"/>
                    </a:cubicBezTo>
                    <a:cubicBezTo>
                      <a:pt x="311191" y="53730"/>
                      <a:pt x="311790" y="33730"/>
                      <a:pt x="314781" y="36631"/>
                    </a:cubicBezTo>
                    <a:cubicBezTo>
                      <a:pt x="317772" y="39532"/>
                      <a:pt x="320164" y="84078"/>
                      <a:pt x="321752" y="88841"/>
                    </a:cubicBezTo>
                    <a:cubicBezTo>
                      <a:pt x="324164" y="108135"/>
                      <a:pt x="324297" y="133869"/>
                      <a:pt x="326862" y="147637"/>
                    </a:cubicBezTo>
                    <a:cubicBezTo>
                      <a:pt x="329427" y="161405"/>
                      <a:pt x="335556" y="163512"/>
                      <a:pt x="337143" y="171450"/>
                    </a:cubicBezTo>
                    <a:cubicBezTo>
                      <a:pt x="338731" y="200025"/>
                      <a:pt x="341588" y="234151"/>
                      <a:pt x="348529" y="261916"/>
                    </a:cubicBezTo>
                    <a:cubicBezTo>
                      <a:pt x="349917" y="267469"/>
                      <a:pt x="352650" y="252672"/>
                      <a:pt x="356193" y="247650"/>
                    </a:cubicBezTo>
                    <a:cubicBezTo>
                      <a:pt x="359736" y="242628"/>
                      <a:pt x="367710" y="236352"/>
                      <a:pt x="369787" y="231782"/>
                    </a:cubicBezTo>
                    <a:cubicBezTo>
                      <a:pt x="382365" y="204110"/>
                      <a:pt x="387827" y="191030"/>
                      <a:pt x="394293" y="180975"/>
                    </a:cubicBezTo>
                    <a:cubicBezTo>
                      <a:pt x="400759" y="170920"/>
                      <a:pt x="403818" y="174625"/>
                      <a:pt x="408581" y="171450"/>
                    </a:cubicBezTo>
                    <a:cubicBezTo>
                      <a:pt x="411756" y="166687"/>
                      <a:pt x="412986" y="154602"/>
                      <a:pt x="418106" y="157162"/>
                    </a:cubicBezTo>
                    <a:cubicBezTo>
                      <a:pt x="425753" y="160985"/>
                      <a:pt x="424709" y="172941"/>
                      <a:pt x="427631" y="180975"/>
                    </a:cubicBezTo>
                    <a:cubicBezTo>
                      <a:pt x="431062" y="190411"/>
                      <a:pt x="433855" y="197647"/>
                      <a:pt x="437156" y="209550"/>
                    </a:cubicBezTo>
                    <a:cubicBezTo>
                      <a:pt x="440457" y="221453"/>
                      <a:pt x="439998" y="241975"/>
                      <a:pt x="447437" y="252390"/>
                    </a:cubicBezTo>
                    <a:cubicBezTo>
                      <a:pt x="452397" y="259334"/>
                      <a:pt x="472700" y="235066"/>
                      <a:pt x="475256" y="233362"/>
                    </a:cubicBezTo>
                    <a:cubicBezTo>
                      <a:pt x="493561" y="205906"/>
                      <a:pt x="485574" y="234949"/>
                      <a:pt x="489543" y="233362"/>
                    </a:cubicBezTo>
                    <a:cubicBezTo>
                      <a:pt x="493512" y="231775"/>
                      <a:pt x="490337" y="239712"/>
                      <a:pt x="499068" y="223837"/>
                    </a:cubicBezTo>
                    <a:cubicBezTo>
                      <a:pt x="507799" y="207962"/>
                      <a:pt x="531612" y="157956"/>
                      <a:pt x="541931" y="138112"/>
                    </a:cubicBezTo>
                    <a:cubicBezTo>
                      <a:pt x="552850" y="105353"/>
                      <a:pt x="537914" y="145143"/>
                      <a:pt x="560981" y="104775"/>
                    </a:cubicBezTo>
                    <a:cubicBezTo>
                      <a:pt x="563472" y="100416"/>
                      <a:pt x="562607" y="94407"/>
                      <a:pt x="565743" y="90487"/>
                    </a:cubicBezTo>
                    <a:cubicBezTo>
                      <a:pt x="569319" y="86017"/>
                      <a:pt x="571184" y="87839"/>
                      <a:pt x="580031" y="80962"/>
                    </a:cubicBezTo>
                    <a:cubicBezTo>
                      <a:pt x="588878" y="74085"/>
                      <a:pt x="611728" y="55221"/>
                      <a:pt x="618825" y="49227"/>
                    </a:cubicBezTo>
                    <a:cubicBezTo>
                      <a:pt x="625922" y="43233"/>
                      <a:pt x="631144" y="10301"/>
                      <a:pt x="635859" y="51320"/>
                    </a:cubicBezTo>
                    <a:cubicBezTo>
                      <a:pt x="640574" y="92339"/>
                      <a:pt x="642307" y="250453"/>
                      <a:pt x="647116" y="295341"/>
                    </a:cubicBezTo>
                    <a:cubicBezTo>
                      <a:pt x="647461" y="300349"/>
                      <a:pt x="646706" y="312737"/>
                      <a:pt x="651468" y="314325"/>
                    </a:cubicBezTo>
                    <a:cubicBezTo>
                      <a:pt x="654643" y="307975"/>
                      <a:pt x="657082" y="304804"/>
                      <a:pt x="660993" y="295275"/>
                    </a:cubicBezTo>
                    <a:cubicBezTo>
                      <a:pt x="664904" y="285746"/>
                      <a:pt x="667306" y="278316"/>
                      <a:pt x="674933" y="257152"/>
                    </a:cubicBezTo>
                    <a:cubicBezTo>
                      <a:pt x="682561" y="235988"/>
                      <a:pt x="698763" y="188924"/>
                      <a:pt x="706758" y="168290"/>
                    </a:cubicBezTo>
                    <a:cubicBezTo>
                      <a:pt x="714753" y="147656"/>
                      <a:pt x="719421" y="133617"/>
                      <a:pt x="722906" y="133350"/>
                    </a:cubicBezTo>
                    <a:cubicBezTo>
                      <a:pt x="726391" y="133083"/>
                      <a:pt x="725467" y="155680"/>
                      <a:pt x="727668" y="166687"/>
                    </a:cubicBezTo>
                    <a:cubicBezTo>
                      <a:pt x="728653" y="171610"/>
                      <a:pt x="728946" y="182822"/>
                      <a:pt x="732431" y="180975"/>
                    </a:cubicBezTo>
                    <a:cubicBezTo>
                      <a:pt x="735916" y="179128"/>
                      <a:pt x="741551" y="163805"/>
                      <a:pt x="748579" y="155604"/>
                    </a:cubicBezTo>
                    <a:cubicBezTo>
                      <a:pt x="755607" y="147403"/>
                      <a:pt x="766972" y="143416"/>
                      <a:pt x="774599" y="131770"/>
                    </a:cubicBezTo>
                    <a:cubicBezTo>
                      <a:pt x="782226" y="120124"/>
                      <a:pt x="789465" y="88637"/>
                      <a:pt x="794343" y="85725"/>
                    </a:cubicBezTo>
                    <a:cubicBezTo>
                      <a:pt x="799221" y="82813"/>
                      <a:pt x="801542" y="104533"/>
                      <a:pt x="803868" y="114300"/>
                    </a:cubicBezTo>
                    <a:cubicBezTo>
                      <a:pt x="809493" y="137924"/>
                      <a:pt x="812290" y="174624"/>
                      <a:pt x="818156" y="185737"/>
                    </a:cubicBezTo>
                    <a:cubicBezTo>
                      <a:pt x="824022" y="196850"/>
                      <a:pt x="835146" y="184111"/>
                      <a:pt x="839066" y="180975"/>
                    </a:cubicBezTo>
                    <a:cubicBezTo>
                      <a:pt x="845489" y="175837"/>
                      <a:pt x="849422" y="155575"/>
                      <a:pt x="856256" y="138112"/>
                    </a:cubicBezTo>
                    <a:cubicBezTo>
                      <a:pt x="863090" y="120650"/>
                      <a:pt x="874336" y="97217"/>
                      <a:pt x="880068" y="76200"/>
                    </a:cubicBezTo>
                    <a:cubicBezTo>
                      <a:pt x="882198" y="68390"/>
                      <a:pt x="881211" y="59627"/>
                      <a:pt x="884831" y="52387"/>
                    </a:cubicBezTo>
                    <a:cubicBezTo>
                      <a:pt x="887843" y="46363"/>
                      <a:pt x="894356" y="42862"/>
                      <a:pt x="899118" y="38100"/>
                    </a:cubicBezTo>
                    <a:cubicBezTo>
                      <a:pt x="900706" y="30162"/>
                      <a:pt x="901918" y="22140"/>
                      <a:pt x="903881" y="14287"/>
                    </a:cubicBezTo>
                    <a:cubicBezTo>
                      <a:pt x="905099" y="9417"/>
                      <a:pt x="903623" y="0"/>
                      <a:pt x="908643" y="0"/>
                    </a:cubicBezTo>
                    <a:cubicBezTo>
                      <a:pt x="913663" y="0"/>
                      <a:pt x="911818" y="9525"/>
                      <a:pt x="913406" y="14287"/>
                    </a:cubicBezTo>
                    <a:cubicBezTo>
                      <a:pt x="914993" y="33337"/>
                      <a:pt x="915025" y="52581"/>
                      <a:pt x="918168" y="71437"/>
                    </a:cubicBezTo>
                    <a:cubicBezTo>
                      <a:pt x="919819" y="81341"/>
                      <a:pt x="924935" y="90358"/>
                      <a:pt x="927693" y="100012"/>
                    </a:cubicBezTo>
                    <a:cubicBezTo>
                      <a:pt x="942673" y="152442"/>
                      <a:pt x="928213" y="123104"/>
                      <a:pt x="951506" y="161925"/>
                    </a:cubicBezTo>
                    <a:cubicBezTo>
                      <a:pt x="953093" y="168275"/>
                      <a:pt x="955097" y="174535"/>
                      <a:pt x="956268" y="180975"/>
                    </a:cubicBezTo>
                    <a:cubicBezTo>
                      <a:pt x="958276" y="192019"/>
                      <a:pt x="957001" y="203835"/>
                      <a:pt x="961031" y="214312"/>
                    </a:cubicBezTo>
                    <a:cubicBezTo>
                      <a:pt x="965141" y="224997"/>
                      <a:pt x="975207" y="234317"/>
                      <a:pt x="980081" y="242887"/>
                    </a:cubicBezTo>
                    <a:cubicBezTo>
                      <a:pt x="984955" y="251457"/>
                      <a:pt x="983258" y="262242"/>
                      <a:pt x="990273" y="265734"/>
                    </a:cubicBezTo>
                    <a:cubicBezTo>
                      <a:pt x="996576" y="258872"/>
                      <a:pt x="1004240" y="263357"/>
                      <a:pt x="1023774" y="261405"/>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Freeform 115"/>
              <p:cNvSpPr/>
              <p:nvPr/>
            </p:nvSpPr>
            <p:spPr bwMode="gray">
              <a:xfrm>
                <a:off x="10596500" y="3089997"/>
                <a:ext cx="1890172" cy="300436"/>
              </a:xfrm>
              <a:custGeom>
                <a:avLst/>
                <a:gdLst>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19112 w 1011118"/>
                  <a:gd name="connsiteY37" fmla="*/ 166687 h 314325"/>
                  <a:gd name="connsiteX38" fmla="*/ 533400 w 1011118"/>
                  <a:gd name="connsiteY38" fmla="*/ 138112 h 314325"/>
                  <a:gd name="connsiteX39" fmla="*/ 552450 w 1011118"/>
                  <a:gd name="connsiteY39" fmla="*/ 104775 h 314325"/>
                  <a:gd name="connsiteX40" fmla="*/ 557212 w 1011118"/>
                  <a:gd name="connsiteY40" fmla="*/ 90487 h 314325"/>
                  <a:gd name="connsiteX41" fmla="*/ 571500 w 1011118"/>
                  <a:gd name="connsiteY41" fmla="*/ 80962 h 314325"/>
                  <a:gd name="connsiteX42" fmla="*/ 619125 w 1011118"/>
                  <a:gd name="connsiteY42" fmla="*/ 52387 h 314325"/>
                  <a:gd name="connsiteX43" fmla="*/ 628650 w 1011118"/>
                  <a:gd name="connsiteY43" fmla="*/ 309562 h 314325"/>
                  <a:gd name="connsiteX44" fmla="*/ 642937 w 1011118"/>
                  <a:gd name="connsiteY44" fmla="*/ 314325 h 314325"/>
                  <a:gd name="connsiteX45" fmla="*/ 652462 w 1011118"/>
                  <a:gd name="connsiteY45" fmla="*/ 295275 h 314325"/>
                  <a:gd name="connsiteX46" fmla="*/ 661987 w 1011118"/>
                  <a:gd name="connsiteY46" fmla="*/ 252412 h 314325"/>
                  <a:gd name="connsiteX47" fmla="*/ 690562 w 1011118"/>
                  <a:gd name="connsiteY47" fmla="*/ 204787 h 314325"/>
                  <a:gd name="connsiteX48" fmla="*/ 704850 w 1011118"/>
                  <a:gd name="connsiteY48" fmla="*/ 171450 h 314325"/>
                  <a:gd name="connsiteX49" fmla="*/ 714375 w 1011118"/>
                  <a:gd name="connsiteY49" fmla="*/ 133350 h 314325"/>
                  <a:gd name="connsiteX50" fmla="*/ 719137 w 1011118"/>
                  <a:gd name="connsiteY50" fmla="*/ 166687 h 314325"/>
                  <a:gd name="connsiteX51" fmla="*/ 723900 w 1011118"/>
                  <a:gd name="connsiteY51" fmla="*/ 180975 h 314325"/>
                  <a:gd name="connsiteX52" fmla="*/ 733425 w 1011118"/>
                  <a:gd name="connsiteY52" fmla="*/ 161925 h 314325"/>
                  <a:gd name="connsiteX53" fmla="*/ 757237 w 1011118"/>
                  <a:gd name="connsiteY53" fmla="*/ 133350 h 314325"/>
                  <a:gd name="connsiteX54" fmla="*/ 785812 w 1011118"/>
                  <a:gd name="connsiteY54" fmla="*/ 85725 h 314325"/>
                  <a:gd name="connsiteX55" fmla="*/ 795337 w 1011118"/>
                  <a:gd name="connsiteY55" fmla="*/ 114300 h 314325"/>
                  <a:gd name="connsiteX56" fmla="*/ 809625 w 1011118"/>
                  <a:gd name="connsiteY56" fmla="*/ 185737 h 314325"/>
                  <a:gd name="connsiteX57" fmla="*/ 823912 w 1011118"/>
                  <a:gd name="connsiteY57" fmla="*/ 180975 h 314325"/>
                  <a:gd name="connsiteX58" fmla="*/ 847725 w 1011118"/>
                  <a:gd name="connsiteY58" fmla="*/ 138112 h 314325"/>
                  <a:gd name="connsiteX59" fmla="*/ 871537 w 1011118"/>
                  <a:gd name="connsiteY59" fmla="*/ 76200 h 314325"/>
                  <a:gd name="connsiteX60" fmla="*/ 876300 w 1011118"/>
                  <a:gd name="connsiteY60" fmla="*/ 52387 h 314325"/>
                  <a:gd name="connsiteX61" fmla="*/ 890587 w 1011118"/>
                  <a:gd name="connsiteY61" fmla="*/ 38100 h 314325"/>
                  <a:gd name="connsiteX62" fmla="*/ 895350 w 1011118"/>
                  <a:gd name="connsiteY62" fmla="*/ 14287 h 314325"/>
                  <a:gd name="connsiteX63" fmla="*/ 900112 w 1011118"/>
                  <a:gd name="connsiteY63" fmla="*/ 0 h 314325"/>
                  <a:gd name="connsiteX64" fmla="*/ 904875 w 1011118"/>
                  <a:gd name="connsiteY64" fmla="*/ 14287 h 314325"/>
                  <a:gd name="connsiteX65" fmla="*/ 909637 w 1011118"/>
                  <a:gd name="connsiteY65" fmla="*/ 71437 h 314325"/>
                  <a:gd name="connsiteX66" fmla="*/ 919162 w 1011118"/>
                  <a:gd name="connsiteY66" fmla="*/ 100012 h 314325"/>
                  <a:gd name="connsiteX67" fmla="*/ 942975 w 1011118"/>
                  <a:gd name="connsiteY67" fmla="*/ 161925 h 314325"/>
                  <a:gd name="connsiteX68" fmla="*/ 947737 w 1011118"/>
                  <a:gd name="connsiteY68" fmla="*/ 180975 h 314325"/>
                  <a:gd name="connsiteX69" fmla="*/ 952500 w 1011118"/>
                  <a:gd name="connsiteY69" fmla="*/ 214312 h 314325"/>
                  <a:gd name="connsiteX70" fmla="*/ 971550 w 1011118"/>
                  <a:gd name="connsiteY70" fmla="*/ 242887 h 314325"/>
                  <a:gd name="connsiteX71" fmla="*/ 985837 w 1011118"/>
                  <a:gd name="connsiteY71" fmla="*/ 238125 h 314325"/>
                  <a:gd name="connsiteX72" fmla="*/ 990600 w 1011118"/>
                  <a:gd name="connsiteY72" fmla="*/ 223837 h 314325"/>
                  <a:gd name="connsiteX73" fmla="*/ 1004887 w 1011118"/>
                  <a:gd name="connsiteY73"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33400 w 1011118"/>
                  <a:gd name="connsiteY37" fmla="*/ 138112 h 314325"/>
                  <a:gd name="connsiteX38" fmla="*/ 552450 w 1011118"/>
                  <a:gd name="connsiteY38" fmla="*/ 104775 h 314325"/>
                  <a:gd name="connsiteX39" fmla="*/ 557212 w 1011118"/>
                  <a:gd name="connsiteY39" fmla="*/ 90487 h 314325"/>
                  <a:gd name="connsiteX40" fmla="*/ 571500 w 1011118"/>
                  <a:gd name="connsiteY40" fmla="*/ 80962 h 314325"/>
                  <a:gd name="connsiteX41" fmla="*/ 619125 w 1011118"/>
                  <a:gd name="connsiteY41" fmla="*/ 52387 h 314325"/>
                  <a:gd name="connsiteX42" fmla="*/ 628650 w 1011118"/>
                  <a:gd name="connsiteY42" fmla="*/ 309562 h 314325"/>
                  <a:gd name="connsiteX43" fmla="*/ 642937 w 1011118"/>
                  <a:gd name="connsiteY43" fmla="*/ 314325 h 314325"/>
                  <a:gd name="connsiteX44" fmla="*/ 652462 w 1011118"/>
                  <a:gd name="connsiteY44" fmla="*/ 295275 h 314325"/>
                  <a:gd name="connsiteX45" fmla="*/ 661987 w 1011118"/>
                  <a:gd name="connsiteY45" fmla="*/ 252412 h 314325"/>
                  <a:gd name="connsiteX46" fmla="*/ 690562 w 1011118"/>
                  <a:gd name="connsiteY46" fmla="*/ 204787 h 314325"/>
                  <a:gd name="connsiteX47" fmla="*/ 704850 w 1011118"/>
                  <a:gd name="connsiteY47" fmla="*/ 171450 h 314325"/>
                  <a:gd name="connsiteX48" fmla="*/ 714375 w 1011118"/>
                  <a:gd name="connsiteY48" fmla="*/ 133350 h 314325"/>
                  <a:gd name="connsiteX49" fmla="*/ 719137 w 1011118"/>
                  <a:gd name="connsiteY49" fmla="*/ 166687 h 314325"/>
                  <a:gd name="connsiteX50" fmla="*/ 723900 w 1011118"/>
                  <a:gd name="connsiteY50" fmla="*/ 180975 h 314325"/>
                  <a:gd name="connsiteX51" fmla="*/ 733425 w 1011118"/>
                  <a:gd name="connsiteY51" fmla="*/ 161925 h 314325"/>
                  <a:gd name="connsiteX52" fmla="*/ 757237 w 1011118"/>
                  <a:gd name="connsiteY52" fmla="*/ 133350 h 314325"/>
                  <a:gd name="connsiteX53" fmla="*/ 785812 w 1011118"/>
                  <a:gd name="connsiteY53" fmla="*/ 85725 h 314325"/>
                  <a:gd name="connsiteX54" fmla="*/ 795337 w 1011118"/>
                  <a:gd name="connsiteY54" fmla="*/ 114300 h 314325"/>
                  <a:gd name="connsiteX55" fmla="*/ 809625 w 1011118"/>
                  <a:gd name="connsiteY55" fmla="*/ 185737 h 314325"/>
                  <a:gd name="connsiteX56" fmla="*/ 823912 w 1011118"/>
                  <a:gd name="connsiteY56" fmla="*/ 180975 h 314325"/>
                  <a:gd name="connsiteX57" fmla="*/ 847725 w 1011118"/>
                  <a:gd name="connsiteY57" fmla="*/ 138112 h 314325"/>
                  <a:gd name="connsiteX58" fmla="*/ 871537 w 1011118"/>
                  <a:gd name="connsiteY58" fmla="*/ 76200 h 314325"/>
                  <a:gd name="connsiteX59" fmla="*/ 876300 w 1011118"/>
                  <a:gd name="connsiteY59" fmla="*/ 52387 h 314325"/>
                  <a:gd name="connsiteX60" fmla="*/ 890587 w 1011118"/>
                  <a:gd name="connsiteY60" fmla="*/ 38100 h 314325"/>
                  <a:gd name="connsiteX61" fmla="*/ 895350 w 1011118"/>
                  <a:gd name="connsiteY61" fmla="*/ 14287 h 314325"/>
                  <a:gd name="connsiteX62" fmla="*/ 900112 w 1011118"/>
                  <a:gd name="connsiteY62" fmla="*/ 0 h 314325"/>
                  <a:gd name="connsiteX63" fmla="*/ 904875 w 1011118"/>
                  <a:gd name="connsiteY63" fmla="*/ 14287 h 314325"/>
                  <a:gd name="connsiteX64" fmla="*/ 909637 w 1011118"/>
                  <a:gd name="connsiteY64" fmla="*/ 71437 h 314325"/>
                  <a:gd name="connsiteX65" fmla="*/ 919162 w 1011118"/>
                  <a:gd name="connsiteY65" fmla="*/ 100012 h 314325"/>
                  <a:gd name="connsiteX66" fmla="*/ 942975 w 1011118"/>
                  <a:gd name="connsiteY66" fmla="*/ 161925 h 314325"/>
                  <a:gd name="connsiteX67" fmla="*/ 947737 w 1011118"/>
                  <a:gd name="connsiteY67" fmla="*/ 180975 h 314325"/>
                  <a:gd name="connsiteX68" fmla="*/ 952500 w 1011118"/>
                  <a:gd name="connsiteY68" fmla="*/ 214312 h 314325"/>
                  <a:gd name="connsiteX69" fmla="*/ 971550 w 1011118"/>
                  <a:gd name="connsiteY69" fmla="*/ 242887 h 314325"/>
                  <a:gd name="connsiteX70" fmla="*/ 985837 w 1011118"/>
                  <a:gd name="connsiteY70" fmla="*/ 238125 h 314325"/>
                  <a:gd name="connsiteX71" fmla="*/ 990600 w 1011118"/>
                  <a:gd name="connsiteY71" fmla="*/ 223837 h 314325"/>
                  <a:gd name="connsiteX72" fmla="*/ 1004887 w 1011118"/>
                  <a:gd name="connsiteY72"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0537 w 1011118"/>
                  <a:gd name="connsiteY35" fmla="*/ 223837 h 314325"/>
                  <a:gd name="connsiteX36" fmla="*/ 533400 w 1011118"/>
                  <a:gd name="connsiteY36" fmla="*/ 138112 h 314325"/>
                  <a:gd name="connsiteX37" fmla="*/ 552450 w 1011118"/>
                  <a:gd name="connsiteY37" fmla="*/ 104775 h 314325"/>
                  <a:gd name="connsiteX38" fmla="*/ 557212 w 1011118"/>
                  <a:gd name="connsiteY38" fmla="*/ 90487 h 314325"/>
                  <a:gd name="connsiteX39" fmla="*/ 571500 w 1011118"/>
                  <a:gd name="connsiteY39" fmla="*/ 80962 h 314325"/>
                  <a:gd name="connsiteX40" fmla="*/ 619125 w 1011118"/>
                  <a:gd name="connsiteY40" fmla="*/ 52387 h 314325"/>
                  <a:gd name="connsiteX41" fmla="*/ 628650 w 1011118"/>
                  <a:gd name="connsiteY41" fmla="*/ 309562 h 314325"/>
                  <a:gd name="connsiteX42" fmla="*/ 642937 w 1011118"/>
                  <a:gd name="connsiteY42" fmla="*/ 314325 h 314325"/>
                  <a:gd name="connsiteX43" fmla="*/ 652462 w 1011118"/>
                  <a:gd name="connsiteY43" fmla="*/ 295275 h 314325"/>
                  <a:gd name="connsiteX44" fmla="*/ 661987 w 1011118"/>
                  <a:gd name="connsiteY44" fmla="*/ 252412 h 314325"/>
                  <a:gd name="connsiteX45" fmla="*/ 690562 w 1011118"/>
                  <a:gd name="connsiteY45" fmla="*/ 204787 h 314325"/>
                  <a:gd name="connsiteX46" fmla="*/ 704850 w 1011118"/>
                  <a:gd name="connsiteY46" fmla="*/ 171450 h 314325"/>
                  <a:gd name="connsiteX47" fmla="*/ 714375 w 1011118"/>
                  <a:gd name="connsiteY47" fmla="*/ 133350 h 314325"/>
                  <a:gd name="connsiteX48" fmla="*/ 719137 w 1011118"/>
                  <a:gd name="connsiteY48" fmla="*/ 166687 h 314325"/>
                  <a:gd name="connsiteX49" fmla="*/ 723900 w 1011118"/>
                  <a:gd name="connsiteY49" fmla="*/ 180975 h 314325"/>
                  <a:gd name="connsiteX50" fmla="*/ 733425 w 1011118"/>
                  <a:gd name="connsiteY50" fmla="*/ 161925 h 314325"/>
                  <a:gd name="connsiteX51" fmla="*/ 757237 w 1011118"/>
                  <a:gd name="connsiteY51" fmla="*/ 133350 h 314325"/>
                  <a:gd name="connsiteX52" fmla="*/ 785812 w 1011118"/>
                  <a:gd name="connsiteY52" fmla="*/ 85725 h 314325"/>
                  <a:gd name="connsiteX53" fmla="*/ 795337 w 1011118"/>
                  <a:gd name="connsiteY53" fmla="*/ 114300 h 314325"/>
                  <a:gd name="connsiteX54" fmla="*/ 809625 w 1011118"/>
                  <a:gd name="connsiteY54" fmla="*/ 185737 h 314325"/>
                  <a:gd name="connsiteX55" fmla="*/ 823912 w 1011118"/>
                  <a:gd name="connsiteY55" fmla="*/ 180975 h 314325"/>
                  <a:gd name="connsiteX56" fmla="*/ 847725 w 1011118"/>
                  <a:gd name="connsiteY56" fmla="*/ 138112 h 314325"/>
                  <a:gd name="connsiteX57" fmla="*/ 871537 w 1011118"/>
                  <a:gd name="connsiteY57" fmla="*/ 76200 h 314325"/>
                  <a:gd name="connsiteX58" fmla="*/ 876300 w 1011118"/>
                  <a:gd name="connsiteY58" fmla="*/ 52387 h 314325"/>
                  <a:gd name="connsiteX59" fmla="*/ 890587 w 1011118"/>
                  <a:gd name="connsiteY59" fmla="*/ 38100 h 314325"/>
                  <a:gd name="connsiteX60" fmla="*/ 895350 w 1011118"/>
                  <a:gd name="connsiteY60" fmla="*/ 14287 h 314325"/>
                  <a:gd name="connsiteX61" fmla="*/ 900112 w 1011118"/>
                  <a:gd name="connsiteY61" fmla="*/ 0 h 314325"/>
                  <a:gd name="connsiteX62" fmla="*/ 904875 w 1011118"/>
                  <a:gd name="connsiteY62" fmla="*/ 14287 h 314325"/>
                  <a:gd name="connsiteX63" fmla="*/ 909637 w 1011118"/>
                  <a:gd name="connsiteY63" fmla="*/ 71437 h 314325"/>
                  <a:gd name="connsiteX64" fmla="*/ 919162 w 1011118"/>
                  <a:gd name="connsiteY64" fmla="*/ 100012 h 314325"/>
                  <a:gd name="connsiteX65" fmla="*/ 942975 w 1011118"/>
                  <a:gd name="connsiteY65" fmla="*/ 161925 h 314325"/>
                  <a:gd name="connsiteX66" fmla="*/ 947737 w 1011118"/>
                  <a:gd name="connsiteY66" fmla="*/ 180975 h 314325"/>
                  <a:gd name="connsiteX67" fmla="*/ 952500 w 1011118"/>
                  <a:gd name="connsiteY67" fmla="*/ 214312 h 314325"/>
                  <a:gd name="connsiteX68" fmla="*/ 971550 w 1011118"/>
                  <a:gd name="connsiteY68" fmla="*/ 242887 h 314325"/>
                  <a:gd name="connsiteX69" fmla="*/ 985837 w 1011118"/>
                  <a:gd name="connsiteY69" fmla="*/ 238125 h 314325"/>
                  <a:gd name="connsiteX70" fmla="*/ 990600 w 1011118"/>
                  <a:gd name="connsiteY70" fmla="*/ 223837 h 314325"/>
                  <a:gd name="connsiteX71" fmla="*/ 1004887 w 1011118"/>
                  <a:gd name="connsiteY71"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23850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704850 w 1011118"/>
                  <a:gd name="connsiteY44" fmla="*/ 17145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30535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6250 w 1011118"/>
                  <a:gd name="connsiteY19" fmla="*/ 3663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990600"/>
                  <a:gd name="connsiteY0" fmla="*/ 266700 h 314325"/>
                  <a:gd name="connsiteX1" fmla="*/ 23812 w 990600"/>
                  <a:gd name="connsiteY1" fmla="*/ 242887 h 314325"/>
                  <a:gd name="connsiteX2" fmla="*/ 28575 w 990600"/>
                  <a:gd name="connsiteY2" fmla="*/ 228600 h 314325"/>
                  <a:gd name="connsiteX3" fmla="*/ 57150 w 990600"/>
                  <a:gd name="connsiteY3" fmla="*/ 180975 h 314325"/>
                  <a:gd name="connsiteX4" fmla="*/ 66675 w 990600"/>
                  <a:gd name="connsiteY4" fmla="*/ 166687 h 314325"/>
                  <a:gd name="connsiteX5" fmla="*/ 85725 w 990600"/>
                  <a:gd name="connsiteY5" fmla="*/ 114300 h 314325"/>
                  <a:gd name="connsiteX6" fmla="*/ 95250 w 990600"/>
                  <a:gd name="connsiteY6" fmla="*/ 100012 h 314325"/>
                  <a:gd name="connsiteX7" fmla="*/ 114300 w 990600"/>
                  <a:gd name="connsiteY7" fmla="*/ 57150 h 314325"/>
                  <a:gd name="connsiteX8" fmla="*/ 119062 w 990600"/>
                  <a:gd name="connsiteY8" fmla="*/ 42862 h 314325"/>
                  <a:gd name="connsiteX9" fmla="*/ 128587 w 990600"/>
                  <a:gd name="connsiteY9" fmla="*/ 4762 h 314325"/>
                  <a:gd name="connsiteX10" fmla="*/ 138112 w 990600"/>
                  <a:gd name="connsiteY10" fmla="*/ 100012 h 314325"/>
                  <a:gd name="connsiteX11" fmla="*/ 147637 w 990600"/>
                  <a:gd name="connsiteY11" fmla="*/ 152400 h 314325"/>
                  <a:gd name="connsiteX12" fmla="*/ 152400 w 990600"/>
                  <a:gd name="connsiteY12" fmla="*/ 228600 h 314325"/>
                  <a:gd name="connsiteX13" fmla="*/ 164889 w 990600"/>
                  <a:gd name="connsiteY13" fmla="*/ 268258 h 314325"/>
                  <a:gd name="connsiteX14" fmla="*/ 192770 w 990600"/>
                  <a:gd name="connsiteY14" fmla="*/ 255572 h 314325"/>
                  <a:gd name="connsiteX15" fmla="*/ 223081 w 990600"/>
                  <a:gd name="connsiteY15" fmla="*/ 201561 h 314325"/>
                  <a:gd name="connsiteX16" fmla="*/ 242887 w 990600"/>
                  <a:gd name="connsiteY16" fmla="*/ 171450 h 314325"/>
                  <a:gd name="connsiteX17" fmla="*/ 261937 w 990600"/>
                  <a:gd name="connsiteY17" fmla="*/ 142875 h 314325"/>
                  <a:gd name="connsiteX18" fmla="*/ 295275 w 990600"/>
                  <a:gd name="connsiteY18" fmla="*/ 71437 h 314325"/>
                  <a:gd name="connsiteX19" fmla="*/ 306250 w 990600"/>
                  <a:gd name="connsiteY19" fmla="*/ 36631 h 314325"/>
                  <a:gd name="connsiteX20" fmla="*/ 313221 w 990600"/>
                  <a:gd name="connsiteY20" fmla="*/ 88841 h 314325"/>
                  <a:gd name="connsiteX21" fmla="*/ 318331 w 990600"/>
                  <a:gd name="connsiteY21" fmla="*/ 147637 h 314325"/>
                  <a:gd name="connsiteX22" fmla="*/ 328612 w 990600"/>
                  <a:gd name="connsiteY22" fmla="*/ 171450 h 314325"/>
                  <a:gd name="connsiteX23" fmla="*/ 339998 w 990600"/>
                  <a:gd name="connsiteY23" fmla="*/ 261916 h 314325"/>
                  <a:gd name="connsiteX24" fmla="*/ 347662 w 990600"/>
                  <a:gd name="connsiteY24" fmla="*/ 247650 h 314325"/>
                  <a:gd name="connsiteX25" fmla="*/ 361256 w 990600"/>
                  <a:gd name="connsiteY25" fmla="*/ 231782 h 314325"/>
                  <a:gd name="connsiteX26" fmla="*/ 385762 w 990600"/>
                  <a:gd name="connsiteY26" fmla="*/ 180975 h 314325"/>
                  <a:gd name="connsiteX27" fmla="*/ 400050 w 990600"/>
                  <a:gd name="connsiteY27" fmla="*/ 171450 h 314325"/>
                  <a:gd name="connsiteX28" fmla="*/ 409575 w 990600"/>
                  <a:gd name="connsiteY28" fmla="*/ 157162 h 314325"/>
                  <a:gd name="connsiteX29" fmla="*/ 419100 w 990600"/>
                  <a:gd name="connsiteY29" fmla="*/ 180975 h 314325"/>
                  <a:gd name="connsiteX30" fmla="*/ 428625 w 990600"/>
                  <a:gd name="connsiteY30" fmla="*/ 209550 h 314325"/>
                  <a:gd name="connsiteX31" fmla="*/ 438906 w 990600"/>
                  <a:gd name="connsiteY31" fmla="*/ 252390 h 314325"/>
                  <a:gd name="connsiteX32" fmla="*/ 466725 w 990600"/>
                  <a:gd name="connsiteY32" fmla="*/ 233362 h 314325"/>
                  <a:gd name="connsiteX33" fmla="*/ 481012 w 990600"/>
                  <a:gd name="connsiteY33" fmla="*/ 233362 h 314325"/>
                  <a:gd name="connsiteX34" fmla="*/ 490537 w 990600"/>
                  <a:gd name="connsiteY34" fmla="*/ 223837 h 314325"/>
                  <a:gd name="connsiteX35" fmla="*/ 533400 w 990600"/>
                  <a:gd name="connsiteY35" fmla="*/ 138112 h 314325"/>
                  <a:gd name="connsiteX36" fmla="*/ 552450 w 990600"/>
                  <a:gd name="connsiteY36" fmla="*/ 104775 h 314325"/>
                  <a:gd name="connsiteX37" fmla="*/ 557212 w 990600"/>
                  <a:gd name="connsiteY37" fmla="*/ 90487 h 314325"/>
                  <a:gd name="connsiteX38" fmla="*/ 571500 w 990600"/>
                  <a:gd name="connsiteY38" fmla="*/ 80962 h 314325"/>
                  <a:gd name="connsiteX39" fmla="*/ 610294 w 990600"/>
                  <a:gd name="connsiteY39" fmla="*/ 49227 h 314325"/>
                  <a:gd name="connsiteX40" fmla="*/ 627328 w 990600"/>
                  <a:gd name="connsiteY40" fmla="*/ 51320 h 314325"/>
                  <a:gd name="connsiteX41" fmla="*/ 638585 w 990600"/>
                  <a:gd name="connsiteY41" fmla="*/ 295341 h 314325"/>
                  <a:gd name="connsiteX42" fmla="*/ 642937 w 990600"/>
                  <a:gd name="connsiteY42" fmla="*/ 314325 h 314325"/>
                  <a:gd name="connsiteX43" fmla="*/ 652462 w 990600"/>
                  <a:gd name="connsiteY43" fmla="*/ 295275 h 314325"/>
                  <a:gd name="connsiteX44" fmla="*/ 666402 w 990600"/>
                  <a:gd name="connsiteY44" fmla="*/ 257152 h 314325"/>
                  <a:gd name="connsiteX45" fmla="*/ 698227 w 990600"/>
                  <a:gd name="connsiteY45" fmla="*/ 168290 h 314325"/>
                  <a:gd name="connsiteX46" fmla="*/ 714375 w 990600"/>
                  <a:gd name="connsiteY46" fmla="*/ 133350 h 314325"/>
                  <a:gd name="connsiteX47" fmla="*/ 719137 w 990600"/>
                  <a:gd name="connsiteY47" fmla="*/ 166687 h 314325"/>
                  <a:gd name="connsiteX48" fmla="*/ 723900 w 990600"/>
                  <a:gd name="connsiteY48" fmla="*/ 180975 h 314325"/>
                  <a:gd name="connsiteX49" fmla="*/ 740048 w 990600"/>
                  <a:gd name="connsiteY49" fmla="*/ 155604 h 314325"/>
                  <a:gd name="connsiteX50" fmla="*/ 766068 w 990600"/>
                  <a:gd name="connsiteY50" fmla="*/ 131770 h 314325"/>
                  <a:gd name="connsiteX51" fmla="*/ 785812 w 990600"/>
                  <a:gd name="connsiteY51" fmla="*/ 85725 h 314325"/>
                  <a:gd name="connsiteX52" fmla="*/ 795337 w 990600"/>
                  <a:gd name="connsiteY52" fmla="*/ 114300 h 314325"/>
                  <a:gd name="connsiteX53" fmla="*/ 809625 w 990600"/>
                  <a:gd name="connsiteY53" fmla="*/ 185737 h 314325"/>
                  <a:gd name="connsiteX54" fmla="*/ 830535 w 990600"/>
                  <a:gd name="connsiteY54" fmla="*/ 180975 h 314325"/>
                  <a:gd name="connsiteX55" fmla="*/ 847725 w 990600"/>
                  <a:gd name="connsiteY55" fmla="*/ 138112 h 314325"/>
                  <a:gd name="connsiteX56" fmla="*/ 871537 w 990600"/>
                  <a:gd name="connsiteY56" fmla="*/ 76200 h 314325"/>
                  <a:gd name="connsiteX57" fmla="*/ 876300 w 990600"/>
                  <a:gd name="connsiteY57" fmla="*/ 52387 h 314325"/>
                  <a:gd name="connsiteX58" fmla="*/ 890587 w 990600"/>
                  <a:gd name="connsiteY58" fmla="*/ 38100 h 314325"/>
                  <a:gd name="connsiteX59" fmla="*/ 895350 w 990600"/>
                  <a:gd name="connsiteY59" fmla="*/ 14287 h 314325"/>
                  <a:gd name="connsiteX60" fmla="*/ 900112 w 990600"/>
                  <a:gd name="connsiteY60" fmla="*/ 0 h 314325"/>
                  <a:gd name="connsiteX61" fmla="*/ 904875 w 990600"/>
                  <a:gd name="connsiteY61" fmla="*/ 14287 h 314325"/>
                  <a:gd name="connsiteX62" fmla="*/ 909637 w 990600"/>
                  <a:gd name="connsiteY62" fmla="*/ 71437 h 314325"/>
                  <a:gd name="connsiteX63" fmla="*/ 919162 w 990600"/>
                  <a:gd name="connsiteY63" fmla="*/ 100012 h 314325"/>
                  <a:gd name="connsiteX64" fmla="*/ 942975 w 990600"/>
                  <a:gd name="connsiteY64" fmla="*/ 161925 h 314325"/>
                  <a:gd name="connsiteX65" fmla="*/ 947737 w 990600"/>
                  <a:gd name="connsiteY65" fmla="*/ 180975 h 314325"/>
                  <a:gd name="connsiteX66" fmla="*/ 952500 w 990600"/>
                  <a:gd name="connsiteY66" fmla="*/ 214312 h 314325"/>
                  <a:gd name="connsiteX67" fmla="*/ 971550 w 990600"/>
                  <a:gd name="connsiteY67" fmla="*/ 242887 h 314325"/>
                  <a:gd name="connsiteX68" fmla="*/ 985837 w 990600"/>
                  <a:gd name="connsiteY68" fmla="*/ 238125 h 314325"/>
                  <a:gd name="connsiteX69" fmla="*/ 990600 w 990600"/>
                  <a:gd name="connsiteY69" fmla="*/ 223837 h 314325"/>
                  <a:gd name="connsiteX0" fmla="*/ 0 w 1009366"/>
                  <a:gd name="connsiteY0" fmla="*/ 266700 h 314325"/>
                  <a:gd name="connsiteX1" fmla="*/ 23812 w 1009366"/>
                  <a:gd name="connsiteY1" fmla="*/ 242887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7957 w 1008814"/>
                  <a:gd name="connsiteY68" fmla="*/ 250306 h 314325"/>
                  <a:gd name="connsiteX69" fmla="*/ 1008814 w 1008814"/>
                  <a:gd name="connsiteY69" fmla="*/ 201715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417"/>
                  <a:gd name="connsiteY0" fmla="*/ 262750 h 314325"/>
                  <a:gd name="connsiteX1" fmla="*/ 10014 w 1010417"/>
                  <a:gd name="connsiteY1" fmla="*/ 273436 h 314325"/>
                  <a:gd name="connsiteX2" fmla="*/ 28023 w 1010417"/>
                  <a:gd name="connsiteY2" fmla="*/ 228600 h 314325"/>
                  <a:gd name="connsiteX3" fmla="*/ 56598 w 1010417"/>
                  <a:gd name="connsiteY3" fmla="*/ 180975 h 314325"/>
                  <a:gd name="connsiteX4" fmla="*/ 66123 w 1010417"/>
                  <a:gd name="connsiteY4" fmla="*/ 166687 h 314325"/>
                  <a:gd name="connsiteX5" fmla="*/ 85173 w 1010417"/>
                  <a:gd name="connsiteY5" fmla="*/ 114300 h 314325"/>
                  <a:gd name="connsiteX6" fmla="*/ 94698 w 1010417"/>
                  <a:gd name="connsiteY6" fmla="*/ 100012 h 314325"/>
                  <a:gd name="connsiteX7" fmla="*/ 113748 w 1010417"/>
                  <a:gd name="connsiteY7" fmla="*/ 57150 h 314325"/>
                  <a:gd name="connsiteX8" fmla="*/ 118510 w 1010417"/>
                  <a:gd name="connsiteY8" fmla="*/ 42862 h 314325"/>
                  <a:gd name="connsiteX9" fmla="*/ 128035 w 1010417"/>
                  <a:gd name="connsiteY9" fmla="*/ 4762 h 314325"/>
                  <a:gd name="connsiteX10" fmla="*/ 137560 w 1010417"/>
                  <a:gd name="connsiteY10" fmla="*/ 100012 h 314325"/>
                  <a:gd name="connsiteX11" fmla="*/ 147085 w 1010417"/>
                  <a:gd name="connsiteY11" fmla="*/ 152400 h 314325"/>
                  <a:gd name="connsiteX12" fmla="*/ 151848 w 1010417"/>
                  <a:gd name="connsiteY12" fmla="*/ 228600 h 314325"/>
                  <a:gd name="connsiteX13" fmla="*/ 164337 w 1010417"/>
                  <a:gd name="connsiteY13" fmla="*/ 268258 h 314325"/>
                  <a:gd name="connsiteX14" fmla="*/ 192218 w 1010417"/>
                  <a:gd name="connsiteY14" fmla="*/ 255572 h 314325"/>
                  <a:gd name="connsiteX15" fmla="*/ 222529 w 1010417"/>
                  <a:gd name="connsiteY15" fmla="*/ 201561 h 314325"/>
                  <a:gd name="connsiteX16" fmla="*/ 242335 w 1010417"/>
                  <a:gd name="connsiteY16" fmla="*/ 171450 h 314325"/>
                  <a:gd name="connsiteX17" fmla="*/ 261385 w 1010417"/>
                  <a:gd name="connsiteY17" fmla="*/ 142875 h 314325"/>
                  <a:gd name="connsiteX18" fmla="*/ 294723 w 1010417"/>
                  <a:gd name="connsiteY18" fmla="*/ 71437 h 314325"/>
                  <a:gd name="connsiteX19" fmla="*/ 305698 w 1010417"/>
                  <a:gd name="connsiteY19" fmla="*/ 36631 h 314325"/>
                  <a:gd name="connsiteX20" fmla="*/ 312669 w 1010417"/>
                  <a:gd name="connsiteY20" fmla="*/ 88841 h 314325"/>
                  <a:gd name="connsiteX21" fmla="*/ 317779 w 1010417"/>
                  <a:gd name="connsiteY21" fmla="*/ 147637 h 314325"/>
                  <a:gd name="connsiteX22" fmla="*/ 328060 w 1010417"/>
                  <a:gd name="connsiteY22" fmla="*/ 171450 h 314325"/>
                  <a:gd name="connsiteX23" fmla="*/ 339446 w 1010417"/>
                  <a:gd name="connsiteY23" fmla="*/ 261916 h 314325"/>
                  <a:gd name="connsiteX24" fmla="*/ 347110 w 1010417"/>
                  <a:gd name="connsiteY24" fmla="*/ 247650 h 314325"/>
                  <a:gd name="connsiteX25" fmla="*/ 360704 w 1010417"/>
                  <a:gd name="connsiteY25" fmla="*/ 231782 h 314325"/>
                  <a:gd name="connsiteX26" fmla="*/ 385210 w 1010417"/>
                  <a:gd name="connsiteY26" fmla="*/ 180975 h 314325"/>
                  <a:gd name="connsiteX27" fmla="*/ 399498 w 1010417"/>
                  <a:gd name="connsiteY27" fmla="*/ 171450 h 314325"/>
                  <a:gd name="connsiteX28" fmla="*/ 409023 w 1010417"/>
                  <a:gd name="connsiteY28" fmla="*/ 157162 h 314325"/>
                  <a:gd name="connsiteX29" fmla="*/ 418548 w 1010417"/>
                  <a:gd name="connsiteY29" fmla="*/ 180975 h 314325"/>
                  <a:gd name="connsiteX30" fmla="*/ 428073 w 1010417"/>
                  <a:gd name="connsiteY30" fmla="*/ 209550 h 314325"/>
                  <a:gd name="connsiteX31" fmla="*/ 438354 w 1010417"/>
                  <a:gd name="connsiteY31" fmla="*/ 252390 h 314325"/>
                  <a:gd name="connsiteX32" fmla="*/ 466173 w 1010417"/>
                  <a:gd name="connsiteY32" fmla="*/ 233362 h 314325"/>
                  <a:gd name="connsiteX33" fmla="*/ 480460 w 1010417"/>
                  <a:gd name="connsiteY33" fmla="*/ 233362 h 314325"/>
                  <a:gd name="connsiteX34" fmla="*/ 489985 w 1010417"/>
                  <a:gd name="connsiteY34" fmla="*/ 223837 h 314325"/>
                  <a:gd name="connsiteX35" fmla="*/ 532848 w 1010417"/>
                  <a:gd name="connsiteY35" fmla="*/ 138112 h 314325"/>
                  <a:gd name="connsiteX36" fmla="*/ 551898 w 1010417"/>
                  <a:gd name="connsiteY36" fmla="*/ 104775 h 314325"/>
                  <a:gd name="connsiteX37" fmla="*/ 556660 w 1010417"/>
                  <a:gd name="connsiteY37" fmla="*/ 90487 h 314325"/>
                  <a:gd name="connsiteX38" fmla="*/ 570948 w 1010417"/>
                  <a:gd name="connsiteY38" fmla="*/ 80962 h 314325"/>
                  <a:gd name="connsiteX39" fmla="*/ 609742 w 1010417"/>
                  <a:gd name="connsiteY39" fmla="*/ 49227 h 314325"/>
                  <a:gd name="connsiteX40" fmla="*/ 626776 w 1010417"/>
                  <a:gd name="connsiteY40" fmla="*/ 51320 h 314325"/>
                  <a:gd name="connsiteX41" fmla="*/ 638033 w 1010417"/>
                  <a:gd name="connsiteY41" fmla="*/ 295341 h 314325"/>
                  <a:gd name="connsiteX42" fmla="*/ 642385 w 1010417"/>
                  <a:gd name="connsiteY42" fmla="*/ 314325 h 314325"/>
                  <a:gd name="connsiteX43" fmla="*/ 651910 w 1010417"/>
                  <a:gd name="connsiteY43" fmla="*/ 295275 h 314325"/>
                  <a:gd name="connsiteX44" fmla="*/ 665850 w 1010417"/>
                  <a:gd name="connsiteY44" fmla="*/ 257152 h 314325"/>
                  <a:gd name="connsiteX45" fmla="*/ 697675 w 1010417"/>
                  <a:gd name="connsiteY45" fmla="*/ 168290 h 314325"/>
                  <a:gd name="connsiteX46" fmla="*/ 713823 w 1010417"/>
                  <a:gd name="connsiteY46" fmla="*/ 133350 h 314325"/>
                  <a:gd name="connsiteX47" fmla="*/ 718585 w 1010417"/>
                  <a:gd name="connsiteY47" fmla="*/ 166687 h 314325"/>
                  <a:gd name="connsiteX48" fmla="*/ 723348 w 1010417"/>
                  <a:gd name="connsiteY48" fmla="*/ 180975 h 314325"/>
                  <a:gd name="connsiteX49" fmla="*/ 739496 w 1010417"/>
                  <a:gd name="connsiteY49" fmla="*/ 155604 h 314325"/>
                  <a:gd name="connsiteX50" fmla="*/ 765516 w 1010417"/>
                  <a:gd name="connsiteY50" fmla="*/ 131770 h 314325"/>
                  <a:gd name="connsiteX51" fmla="*/ 785260 w 1010417"/>
                  <a:gd name="connsiteY51" fmla="*/ 85725 h 314325"/>
                  <a:gd name="connsiteX52" fmla="*/ 794785 w 1010417"/>
                  <a:gd name="connsiteY52" fmla="*/ 114300 h 314325"/>
                  <a:gd name="connsiteX53" fmla="*/ 809073 w 1010417"/>
                  <a:gd name="connsiteY53" fmla="*/ 185737 h 314325"/>
                  <a:gd name="connsiteX54" fmla="*/ 829983 w 1010417"/>
                  <a:gd name="connsiteY54" fmla="*/ 180975 h 314325"/>
                  <a:gd name="connsiteX55" fmla="*/ 847173 w 1010417"/>
                  <a:gd name="connsiteY55" fmla="*/ 138112 h 314325"/>
                  <a:gd name="connsiteX56" fmla="*/ 870985 w 1010417"/>
                  <a:gd name="connsiteY56" fmla="*/ 76200 h 314325"/>
                  <a:gd name="connsiteX57" fmla="*/ 875748 w 1010417"/>
                  <a:gd name="connsiteY57" fmla="*/ 52387 h 314325"/>
                  <a:gd name="connsiteX58" fmla="*/ 890035 w 1010417"/>
                  <a:gd name="connsiteY58" fmla="*/ 38100 h 314325"/>
                  <a:gd name="connsiteX59" fmla="*/ 894798 w 1010417"/>
                  <a:gd name="connsiteY59" fmla="*/ 14287 h 314325"/>
                  <a:gd name="connsiteX60" fmla="*/ 899560 w 1010417"/>
                  <a:gd name="connsiteY60" fmla="*/ 0 h 314325"/>
                  <a:gd name="connsiteX61" fmla="*/ 904323 w 1010417"/>
                  <a:gd name="connsiteY61" fmla="*/ 14287 h 314325"/>
                  <a:gd name="connsiteX62" fmla="*/ 909085 w 1010417"/>
                  <a:gd name="connsiteY62" fmla="*/ 71437 h 314325"/>
                  <a:gd name="connsiteX63" fmla="*/ 918610 w 1010417"/>
                  <a:gd name="connsiteY63" fmla="*/ 100012 h 314325"/>
                  <a:gd name="connsiteX64" fmla="*/ 942423 w 1010417"/>
                  <a:gd name="connsiteY64" fmla="*/ 161925 h 314325"/>
                  <a:gd name="connsiteX65" fmla="*/ 947185 w 1010417"/>
                  <a:gd name="connsiteY65" fmla="*/ 180975 h 314325"/>
                  <a:gd name="connsiteX66" fmla="*/ 951948 w 1010417"/>
                  <a:gd name="connsiteY66" fmla="*/ 214312 h 314325"/>
                  <a:gd name="connsiteX67" fmla="*/ 970998 w 1010417"/>
                  <a:gd name="connsiteY67" fmla="*/ 242887 h 314325"/>
                  <a:gd name="connsiteX68" fmla="*/ 987957 w 1010417"/>
                  <a:gd name="connsiteY68" fmla="*/ 250306 h 314325"/>
                  <a:gd name="connsiteX69" fmla="*/ 1010417 w 1010417"/>
                  <a:gd name="connsiteY69" fmla="*/ 262624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0121 w 1011486"/>
                  <a:gd name="connsiteY68" fmla="*/ 263299 h 314325"/>
                  <a:gd name="connsiteX69" fmla="*/ 1011486 w 1011486"/>
                  <a:gd name="connsiteY69" fmla="*/ 265059 h 314325"/>
                  <a:gd name="connsiteX0" fmla="*/ 0 w 1016295"/>
                  <a:gd name="connsiteY0" fmla="*/ 262750 h 314325"/>
                  <a:gd name="connsiteX1" fmla="*/ 10014 w 1016295"/>
                  <a:gd name="connsiteY1" fmla="*/ 273436 h 314325"/>
                  <a:gd name="connsiteX2" fmla="*/ 28023 w 1016295"/>
                  <a:gd name="connsiteY2" fmla="*/ 228600 h 314325"/>
                  <a:gd name="connsiteX3" fmla="*/ 56598 w 1016295"/>
                  <a:gd name="connsiteY3" fmla="*/ 180975 h 314325"/>
                  <a:gd name="connsiteX4" fmla="*/ 66123 w 1016295"/>
                  <a:gd name="connsiteY4" fmla="*/ 166687 h 314325"/>
                  <a:gd name="connsiteX5" fmla="*/ 85173 w 1016295"/>
                  <a:gd name="connsiteY5" fmla="*/ 114300 h 314325"/>
                  <a:gd name="connsiteX6" fmla="*/ 94698 w 1016295"/>
                  <a:gd name="connsiteY6" fmla="*/ 100012 h 314325"/>
                  <a:gd name="connsiteX7" fmla="*/ 113748 w 1016295"/>
                  <a:gd name="connsiteY7" fmla="*/ 57150 h 314325"/>
                  <a:gd name="connsiteX8" fmla="*/ 118510 w 1016295"/>
                  <a:gd name="connsiteY8" fmla="*/ 42862 h 314325"/>
                  <a:gd name="connsiteX9" fmla="*/ 128035 w 1016295"/>
                  <a:gd name="connsiteY9" fmla="*/ 4762 h 314325"/>
                  <a:gd name="connsiteX10" fmla="*/ 137560 w 1016295"/>
                  <a:gd name="connsiteY10" fmla="*/ 100012 h 314325"/>
                  <a:gd name="connsiteX11" fmla="*/ 147085 w 1016295"/>
                  <a:gd name="connsiteY11" fmla="*/ 152400 h 314325"/>
                  <a:gd name="connsiteX12" fmla="*/ 151848 w 1016295"/>
                  <a:gd name="connsiteY12" fmla="*/ 228600 h 314325"/>
                  <a:gd name="connsiteX13" fmla="*/ 164337 w 1016295"/>
                  <a:gd name="connsiteY13" fmla="*/ 268258 h 314325"/>
                  <a:gd name="connsiteX14" fmla="*/ 192218 w 1016295"/>
                  <a:gd name="connsiteY14" fmla="*/ 255572 h 314325"/>
                  <a:gd name="connsiteX15" fmla="*/ 222529 w 1016295"/>
                  <a:gd name="connsiteY15" fmla="*/ 201561 h 314325"/>
                  <a:gd name="connsiteX16" fmla="*/ 242335 w 1016295"/>
                  <a:gd name="connsiteY16" fmla="*/ 171450 h 314325"/>
                  <a:gd name="connsiteX17" fmla="*/ 261385 w 1016295"/>
                  <a:gd name="connsiteY17" fmla="*/ 142875 h 314325"/>
                  <a:gd name="connsiteX18" fmla="*/ 294723 w 1016295"/>
                  <a:gd name="connsiteY18" fmla="*/ 71437 h 314325"/>
                  <a:gd name="connsiteX19" fmla="*/ 305698 w 1016295"/>
                  <a:gd name="connsiteY19" fmla="*/ 36631 h 314325"/>
                  <a:gd name="connsiteX20" fmla="*/ 312669 w 1016295"/>
                  <a:gd name="connsiteY20" fmla="*/ 88841 h 314325"/>
                  <a:gd name="connsiteX21" fmla="*/ 317779 w 1016295"/>
                  <a:gd name="connsiteY21" fmla="*/ 147637 h 314325"/>
                  <a:gd name="connsiteX22" fmla="*/ 328060 w 1016295"/>
                  <a:gd name="connsiteY22" fmla="*/ 171450 h 314325"/>
                  <a:gd name="connsiteX23" fmla="*/ 339446 w 1016295"/>
                  <a:gd name="connsiteY23" fmla="*/ 261916 h 314325"/>
                  <a:gd name="connsiteX24" fmla="*/ 347110 w 1016295"/>
                  <a:gd name="connsiteY24" fmla="*/ 247650 h 314325"/>
                  <a:gd name="connsiteX25" fmla="*/ 360704 w 1016295"/>
                  <a:gd name="connsiteY25" fmla="*/ 231782 h 314325"/>
                  <a:gd name="connsiteX26" fmla="*/ 385210 w 1016295"/>
                  <a:gd name="connsiteY26" fmla="*/ 180975 h 314325"/>
                  <a:gd name="connsiteX27" fmla="*/ 399498 w 1016295"/>
                  <a:gd name="connsiteY27" fmla="*/ 171450 h 314325"/>
                  <a:gd name="connsiteX28" fmla="*/ 409023 w 1016295"/>
                  <a:gd name="connsiteY28" fmla="*/ 157162 h 314325"/>
                  <a:gd name="connsiteX29" fmla="*/ 418548 w 1016295"/>
                  <a:gd name="connsiteY29" fmla="*/ 180975 h 314325"/>
                  <a:gd name="connsiteX30" fmla="*/ 428073 w 1016295"/>
                  <a:gd name="connsiteY30" fmla="*/ 209550 h 314325"/>
                  <a:gd name="connsiteX31" fmla="*/ 438354 w 1016295"/>
                  <a:gd name="connsiteY31" fmla="*/ 252390 h 314325"/>
                  <a:gd name="connsiteX32" fmla="*/ 466173 w 1016295"/>
                  <a:gd name="connsiteY32" fmla="*/ 233362 h 314325"/>
                  <a:gd name="connsiteX33" fmla="*/ 480460 w 1016295"/>
                  <a:gd name="connsiteY33" fmla="*/ 233362 h 314325"/>
                  <a:gd name="connsiteX34" fmla="*/ 489985 w 1016295"/>
                  <a:gd name="connsiteY34" fmla="*/ 223837 h 314325"/>
                  <a:gd name="connsiteX35" fmla="*/ 532848 w 1016295"/>
                  <a:gd name="connsiteY35" fmla="*/ 138112 h 314325"/>
                  <a:gd name="connsiteX36" fmla="*/ 551898 w 1016295"/>
                  <a:gd name="connsiteY36" fmla="*/ 104775 h 314325"/>
                  <a:gd name="connsiteX37" fmla="*/ 556660 w 1016295"/>
                  <a:gd name="connsiteY37" fmla="*/ 90487 h 314325"/>
                  <a:gd name="connsiteX38" fmla="*/ 570948 w 1016295"/>
                  <a:gd name="connsiteY38" fmla="*/ 80962 h 314325"/>
                  <a:gd name="connsiteX39" fmla="*/ 609742 w 1016295"/>
                  <a:gd name="connsiteY39" fmla="*/ 49227 h 314325"/>
                  <a:gd name="connsiteX40" fmla="*/ 626776 w 1016295"/>
                  <a:gd name="connsiteY40" fmla="*/ 51320 h 314325"/>
                  <a:gd name="connsiteX41" fmla="*/ 638033 w 1016295"/>
                  <a:gd name="connsiteY41" fmla="*/ 295341 h 314325"/>
                  <a:gd name="connsiteX42" fmla="*/ 642385 w 1016295"/>
                  <a:gd name="connsiteY42" fmla="*/ 314325 h 314325"/>
                  <a:gd name="connsiteX43" fmla="*/ 651910 w 1016295"/>
                  <a:gd name="connsiteY43" fmla="*/ 295275 h 314325"/>
                  <a:gd name="connsiteX44" fmla="*/ 665850 w 1016295"/>
                  <a:gd name="connsiteY44" fmla="*/ 257152 h 314325"/>
                  <a:gd name="connsiteX45" fmla="*/ 697675 w 1016295"/>
                  <a:gd name="connsiteY45" fmla="*/ 168290 h 314325"/>
                  <a:gd name="connsiteX46" fmla="*/ 713823 w 1016295"/>
                  <a:gd name="connsiteY46" fmla="*/ 133350 h 314325"/>
                  <a:gd name="connsiteX47" fmla="*/ 718585 w 1016295"/>
                  <a:gd name="connsiteY47" fmla="*/ 166687 h 314325"/>
                  <a:gd name="connsiteX48" fmla="*/ 723348 w 1016295"/>
                  <a:gd name="connsiteY48" fmla="*/ 180975 h 314325"/>
                  <a:gd name="connsiteX49" fmla="*/ 739496 w 1016295"/>
                  <a:gd name="connsiteY49" fmla="*/ 155604 h 314325"/>
                  <a:gd name="connsiteX50" fmla="*/ 765516 w 1016295"/>
                  <a:gd name="connsiteY50" fmla="*/ 131770 h 314325"/>
                  <a:gd name="connsiteX51" fmla="*/ 785260 w 1016295"/>
                  <a:gd name="connsiteY51" fmla="*/ 85725 h 314325"/>
                  <a:gd name="connsiteX52" fmla="*/ 794785 w 1016295"/>
                  <a:gd name="connsiteY52" fmla="*/ 114300 h 314325"/>
                  <a:gd name="connsiteX53" fmla="*/ 809073 w 1016295"/>
                  <a:gd name="connsiteY53" fmla="*/ 185737 h 314325"/>
                  <a:gd name="connsiteX54" fmla="*/ 829983 w 1016295"/>
                  <a:gd name="connsiteY54" fmla="*/ 180975 h 314325"/>
                  <a:gd name="connsiteX55" fmla="*/ 847173 w 1016295"/>
                  <a:gd name="connsiteY55" fmla="*/ 138112 h 314325"/>
                  <a:gd name="connsiteX56" fmla="*/ 870985 w 1016295"/>
                  <a:gd name="connsiteY56" fmla="*/ 76200 h 314325"/>
                  <a:gd name="connsiteX57" fmla="*/ 875748 w 1016295"/>
                  <a:gd name="connsiteY57" fmla="*/ 52387 h 314325"/>
                  <a:gd name="connsiteX58" fmla="*/ 890035 w 1016295"/>
                  <a:gd name="connsiteY58" fmla="*/ 38100 h 314325"/>
                  <a:gd name="connsiteX59" fmla="*/ 894798 w 1016295"/>
                  <a:gd name="connsiteY59" fmla="*/ 14287 h 314325"/>
                  <a:gd name="connsiteX60" fmla="*/ 899560 w 1016295"/>
                  <a:gd name="connsiteY60" fmla="*/ 0 h 314325"/>
                  <a:gd name="connsiteX61" fmla="*/ 904323 w 1016295"/>
                  <a:gd name="connsiteY61" fmla="*/ 14287 h 314325"/>
                  <a:gd name="connsiteX62" fmla="*/ 909085 w 1016295"/>
                  <a:gd name="connsiteY62" fmla="*/ 71437 h 314325"/>
                  <a:gd name="connsiteX63" fmla="*/ 918610 w 1016295"/>
                  <a:gd name="connsiteY63" fmla="*/ 100012 h 314325"/>
                  <a:gd name="connsiteX64" fmla="*/ 942423 w 1016295"/>
                  <a:gd name="connsiteY64" fmla="*/ 161925 h 314325"/>
                  <a:gd name="connsiteX65" fmla="*/ 947185 w 1016295"/>
                  <a:gd name="connsiteY65" fmla="*/ 180975 h 314325"/>
                  <a:gd name="connsiteX66" fmla="*/ 951948 w 1016295"/>
                  <a:gd name="connsiteY66" fmla="*/ 214312 h 314325"/>
                  <a:gd name="connsiteX67" fmla="*/ 970998 w 1016295"/>
                  <a:gd name="connsiteY67" fmla="*/ 242887 h 314325"/>
                  <a:gd name="connsiteX68" fmla="*/ 980121 w 1016295"/>
                  <a:gd name="connsiteY68" fmla="*/ 263299 h 314325"/>
                  <a:gd name="connsiteX69" fmla="*/ 1016295 w 1016295"/>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2218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221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273 w 1028050"/>
                  <a:gd name="connsiteY68" fmla="*/ 263299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1342 w 1028050"/>
                  <a:gd name="connsiteY68" fmla="*/ 270608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808 w 1028050"/>
                  <a:gd name="connsiteY68" fmla="*/ 268171 h 314325"/>
                  <a:gd name="connsiteX69" fmla="*/ 1028050 w 1028050"/>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85790 w 1023241"/>
                  <a:gd name="connsiteY68" fmla="*/ 263450 h 314325"/>
                  <a:gd name="connsiteX69" fmla="*/ 990808 w 1023241"/>
                  <a:gd name="connsiteY69" fmla="*/ 268171 h 314325"/>
                  <a:gd name="connsiteX70" fmla="*/ 1023241 w 1023241"/>
                  <a:gd name="connsiteY70"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1342 w 1023241"/>
                  <a:gd name="connsiteY68" fmla="*/ 265734 h 314325"/>
                  <a:gd name="connsiteX69" fmla="*/ 1023241 w 1023241"/>
                  <a:gd name="connsiteY69" fmla="*/ 263841 h 314325"/>
                  <a:gd name="connsiteX0" fmla="*/ 0 w 1020035"/>
                  <a:gd name="connsiteY0" fmla="*/ 281023 h 314325"/>
                  <a:gd name="connsiteX1" fmla="*/ 31921 w 1020035"/>
                  <a:gd name="connsiteY1" fmla="*/ 274654 h 314325"/>
                  <a:gd name="connsiteX2" fmla="*/ 49395 w 1020035"/>
                  <a:gd name="connsiteY2" fmla="*/ 228600 h 314325"/>
                  <a:gd name="connsiteX3" fmla="*/ 66750 w 1020035"/>
                  <a:gd name="connsiteY3" fmla="*/ 180975 h 314325"/>
                  <a:gd name="connsiteX4" fmla="*/ 76275 w 1020035"/>
                  <a:gd name="connsiteY4" fmla="*/ 166687 h 314325"/>
                  <a:gd name="connsiteX5" fmla="*/ 95325 w 1020035"/>
                  <a:gd name="connsiteY5" fmla="*/ 114300 h 314325"/>
                  <a:gd name="connsiteX6" fmla="*/ 104850 w 1020035"/>
                  <a:gd name="connsiteY6" fmla="*/ 100012 h 314325"/>
                  <a:gd name="connsiteX7" fmla="*/ 123900 w 1020035"/>
                  <a:gd name="connsiteY7" fmla="*/ 57150 h 314325"/>
                  <a:gd name="connsiteX8" fmla="*/ 128662 w 1020035"/>
                  <a:gd name="connsiteY8" fmla="*/ 42862 h 314325"/>
                  <a:gd name="connsiteX9" fmla="*/ 138187 w 1020035"/>
                  <a:gd name="connsiteY9" fmla="*/ 4762 h 314325"/>
                  <a:gd name="connsiteX10" fmla="*/ 147712 w 1020035"/>
                  <a:gd name="connsiteY10" fmla="*/ 100012 h 314325"/>
                  <a:gd name="connsiteX11" fmla="*/ 157237 w 1020035"/>
                  <a:gd name="connsiteY11" fmla="*/ 152400 h 314325"/>
                  <a:gd name="connsiteX12" fmla="*/ 162000 w 1020035"/>
                  <a:gd name="connsiteY12" fmla="*/ 228600 h 314325"/>
                  <a:gd name="connsiteX13" fmla="*/ 174489 w 1020035"/>
                  <a:gd name="connsiteY13" fmla="*/ 268258 h 314325"/>
                  <a:gd name="connsiteX14" fmla="*/ 202370 w 1020035"/>
                  <a:gd name="connsiteY14" fmla="*/ 255572 h 314325"/>
                  <a:gd name="connsiteX15" fmla="*/ 232681 w 1020035"/>
                  <a:gd name="connsiteY15" fmla="*/ 201561 h 314325"/>
                  <a:gd name="connsiteX16" fmla="*/ 252487 w 1020035"/>
                  <a:gd name="connsiteY16" fmla="*/ 171450 h 314325"/>
                  <a:gd name="connsiteX17" fmla="*/ 271537 w 1020035"/>
                  <a:gd name="connsiteY17" fmla="*/ 142875 h 314325"/>
                  <a:gd name="connsiteX18" fmla="*/ 304875 w 1020035"/>
                  <a:gd name="connsiteY18" fmla="*/ 71437 h 314325"/>
                  <a:gd name="connsiteX19" fmla="*/ 315850 w 1020035"/>
                  <a:gd name="connsiteY19" fmla="*/ 36631 h 314325"/>
                  <a:gd name="connsiteX20" fmla="*/ 322821 w 1020035"/>
                  <a:gd name="connsiteY20" fmla="*/ 88841 h 314325"/>
                  <a:gd name="connsiteX21" fmla="*/ 327931 w 1020035"/>
                  <a:gd name="connsiteY21" fmla="*/ 147637 h 314325"/>
                  <a:gd name="connsiteX22" fmla="*/ 338212 w 1020035"/>
                  <a:gd name="connsiteY22" fmla="*/ 171450 h 314325"/>
                  <a:gd name="connsiteX23" fmla="*/ 349598 w 1020035"/>
                  <a:gd name="connsiteY23" fmla="*/ 261916 h 314325"/>
                  <a:gd name="connsiteX24" fmla="*/ 357262 w 1020035"/>
                  <a:gd name="connsiteY24" fmla="*/ 247650 h 314325"/>
                  <a:gd name="connsiteX25" fmla="*/ 370856 w 1020035"/>
                  <a:gd name="connsiteY25" fmla="*/ 231782 h 314325"/>
                  <a:gd name="connsiteX26" fmla="*/ 395362 w 1020035"/>
                  <a:gd name="connsiteY26" fmla="*/ 180975 h 314325"/>
                  <a:gd name="connsiteX27" fmla="*/ 409650 w 1020035"/>
                  <a:gd name="connsiteY27" fmla="*/ 171450 h 314325"/>
                  <a:gd name="connsiteX28" fmla="*/ 419175 w 1020035"/>
                  <a:gd name="connsiteY28" fmla="*/ 157162 h 314325"/>
                  <a:gd name="connsiteX29" fmla="*/ 428700 w 1020035"/>
                  <a:gd name="connsiteY29" fmla="*/ 180975 h 314325"/>
                  <a:gd name="connsiteX30" fmla="*/ 438225 w 1020035"/>
                  <a:gd name="connsiteY30" fmla="*/ 209550 h 314325"/>
                  <a:gd name="connsiteX31" fmla="*/ 448506 w 1020035"/>
                  <a:gd name="connsiteY31" fmla="*/ 252390 h 314325"/>
                  <a:gd name="connsiteX32" fmla="*/ 476325 w 1020035"/>
                  <a:gd name="connsiteY32" fmla="*/ 233362 h 314325"/>
                  <a:gd name="connsiteX33" fmla="*/ 490612 w 1020035"/>
                  <a:gd name="connsiteY33" fmla="*/ 233362 h 314325"/>
                  <a:gd name="connsiteX34" fmla="*/ 500137 w 1020035"/>
                  <a:gd name="connsiteY34" fmla="*/ 223837 h 314325"/>
                  <a:gd name="connsiteX35" fmla="*/ 543000 w 1020035"/>
                  <a:gd name="connsiteY35" fmla="*/ 138112 h 314325"/>
                  <a:gd name="connsiteX36" fmla="*/ 562050 w 1020035"/>
                  <a:gd name="connsiteY36" fmla="*/ 104775 h 314325"/>
                  <a:gd name="connsiteX37" fmla="*/ 566812 w 1020035"/>
                  <a:gd name="connsiteY37" fmla="*/ 90487 h 314325"/>
                  <a:gd name="connsiteX38" fmla="*/ 581100 w 1020035"/>
                  <a:gd name="connsiteY38" fmla="*/ 80962 h 314325"/>
                  <a:gd name="connsiteX39" fmla="*/ 619894 w 1020035"/>
                  <a:gd name="connsiteY39" fmla="*/ 49227 h 314325"/>
                  <a:gd name="connsiteX40" fmla="*/ 636928 w 1020035"/>
                  <a:gd name="connsiteY40" fmla="*/ 51320 h 314325"/>
                  <a:gd name="connsiteX41" fmla="*/ 648185 w 1020035"/>
                  <a:gd name="connsiteY41" fmla="*/ 295341 h 314325"/>
                  <a:gd name="connsiteX42" fmla="*/ 652537 w 1020035"/>
                  <a:gd name="connsiteY42" fmla="*/ 314325 h 314325"/>
                  <a:gd name="connsiteX43" fmla="*/ 662062 w 1020035"/>
                  <a:gd name="connsiteY43" fmla="*/ 295275 h 314325"/>
                  <a:gd name="connsiteX44" fmla="*/ 676002 w 1020035"/>
                  <a:gd name="connsiteY44" fmla="*/ 257152 h 314325"/>
                  <a:gd name="connsiteX45" fmla="*/ 707827 w 1020035"/>
                  <a:gd name="connsiteY45" fmla="*/ 168290 h 314325"/>
                  <a:gd name="connsiteX46" fmla="*/ 723975 w 1020035"/>
                  <a:gd name="connsiteY46" fmla="*/ 133350 h 314325"/>
                  <a:gd name="connsiteX47" fmla="*/ 728737 w 1020035"/>
                  <a:gd name="connsiteY47" fmla="*/ 166687 h 314325"/>
                  <a:gd name="connsiteX48" fmla="*/ 733500 w 1020035"/>
                  <a:gd name="connsiteY48" fmla="*/ 180975 h 314325"/>
                  <a:gd name="connsiteX49" fmla="*/ 749648 w 1020035"/>
                  <a:gd name="connsiteY49" fmla="*/ 155604 h 314325"/>
                  <a:gd name="connsiteX50" fmla="*/ 775668 w 1020035"/>
                  <a:gd name="connsiteY50" fmla="*/ 131770 h 314325"/>
                  <a:gd name="connsiteX51" fmla="*/ 795412 w 1020035"/>
                  <a:gd name="connsiteY51" fmla="*/ 85725 h 314325"/>
                  <a:gd name="connsiteX52" fmla="*/ 804937 w 1020035"/>
                  <a:gd name="connsiteY52" fmla="*/ 114300 h 314325"/>
                  <a:gd name="connsiteX53" fmla="*/ 819225 w 1020035"/>
                  <a:gd name="connsiteY53" fmla="*/ 185737 h 314325"/>
                  <a:gd name="connsiteX54" fmla="*/ 840135 w 1020035"/>
                  <a:gd name="connsiteY54" fmla="*/ 180975 h 314325"/>
                  <a:gd name="connsiteX55" fmla="*/ 857325 w 1020035"/>
                  <a:gd name="connsiteY55" fmla="*/ 138112 h 314325"/>
                  <a:gd name="connsiteX56" fmla="*/ 881137 w 1020035"/>
                  <a:gd name="connsiteY56" fmla="*/ 76200 h 314325"/>
                  <a:gd name="connsiteX57" fmla="*/ 885900 w 1020035"/>
                  <a:gd name="connsiteY57" fmla="*/ 52387 h 314325"/>
                  <a:gd name="connsiteX58" fmla="*/ 900187 w 1020035"/>
                  <a:gd name="connsiteY58" fmla="*/ 38100 h 314325"/>
                  <a:gd name="connsiteX59" fmla="*/ 904950 w 1020035"/>
                  <a:gd name="connsiteY59" fmla="*/ 14287 h 314325"/>
                  <a:gd name="connsiteX60" fmla="*/ 909712 w 1020035"/>
                  <a:gd name="connsiteY60" fmla="*/ 0 h 314325"/>
                  <a:gd name="connsiteX61" fmla="*/ 914475 w 1020035"/>
                  <a:gd name="connsiteY61" fmla="*/ 14287 h 314325"/>
                  <a:gd name="connsiteX62" fmla="*/ 919237 w 1020035"/>
                  <a:gd name="connsiteY62" fmla="*/ 71437 h 314325"/>
                  <a:gd name="connsiteX63" fmla="*/ 928762 w 1020035"/>
                  <a:gd name="connsiteY63" fmla="*/ 100012 h 314325"/>
                  <a:gd name="connsiteX64" fmla="*/ 952575 w 1020035"/>
                  <a:gd name="connsiteY64" fmla="*/ 161925 h 314325"/>
                  <a:gd name="connsiteX65" fmla="*/ 957337 w 1020035"/>
                  <a:gd name="connsiteY65" fmla="*/ 180975 h 314325"/>
                  <a:gd name="connsiteX66" fmla="*/ 962100 w 1020035"/>
                  <a:gd name="connsiteY66" fmla="*/ 214312 h 314325"/>
                  <a:gd name="connsiteX67" fmla="*/ 981150 w 1020035"/>
                  <a:gd name="connsiteY67" fmla="*/ 242887 h 314325"/>
                  <a:gd name="connsiteX68" fmla="*/ 991342 w 1020035"/>
                  <a:gd name="connsiteY68" fmla="*/ 265734 h 314325"/>
                  <a:gd name="connsiteX69" fmla="*/ 1020035 w 1020035"/>
                  <a:gd name="connsiteY69" fmla="*/ 263841 h 314325"/>
                  <a:gd name="connsiteX0" fmla="*/ 0 w 1025378"/>
                  <a:gd name="connsiteY0" fmla="*/ 281023 h 314325"/>
                  <a:gd name="connsiteX1" fmla="*/ 31921 w 1025378"/>
                  <a:gd name="connsiteY1" fmla="*/ 274654 h 314325"/>
                  <a:gd name="connsiteX2" fmla="*/ 49395 w 1025378"/>
                  <a:gd name="connsiteY2" fmla="*/ 228600 h 314325"/>
                  <a:gd name="connsiteX3" fmla="*/ 66750 w 1025378"/>
                  <a:gd name="connsiteY3" fmla="*/ 180975 h 314325"/>
                  <a:gd name="connsiteX4" fmla="*/ 76275 w 1025378"/>
                  <a:gd name="connsiteY4" fmla="*/ 166687 h 314325"/>
                  <a:gd name="connsiteX5" fmla="*/ 95325 w 1025378"/>
                  <a:gd name="connsiteY5" fmla="*/ 114300 h 314325"/>
                  <a:gd name="connsiteX6" fmla="*/ 104850 w 1025378"/>
                  <a:gd name="connsiteY6" fmla="*/ 100012 h 314325"/>
                  <a:gd name="connsiteX7" fmla="*/ 123900 w 1025378"/>
                  <a:gd name="connsiteY7" fmla="*/ 57150 h 314325"/>
                  <a:gd name="connsiteX8" fmla="*/ 128662 w 1025378"/>
                  <a:gd name="connsiteY8" fmla="*/ 42862 h 314325"/>
                  <a:gd name="connsiteX9" fmla="*/ 138187 w 1025378"/>
                  <a:gd name="connsiteY9" fmla="*/ 4762 h 314325"/>
                  <a:gd name="connsiteX10" fmla="*/ 147712 w 1025378"/>
                  <a:gd name="connsiteY10" fmla="*/ 100012 h 314325"/>
                  <a:gd name="connsiteX11" fmla="*/ 157237 w 1025378"/>
                  <a:gd name="connsiteY11" fmla="*/ 152400 h 314325"/>
                  <a:gd name="connsiteX12" fmla="*/ 162000 w 1025378"/>
                  <a:gd name="connsiteY12" fmla="*/ 228600 h 314325"/>
                  <a:gd name="connsiteX13" fmla="*/ 174489 w 1025378"/>
                  <a:gd name="connsiteY13" fmla="*/ 268258 h 314325"/>
                  <a:gd name="connsiteX14" fmla="*/ 202370 w 1025378"/>
                  <a:gd name="connsiteY14" fmla="*/ 255572 h 314325"/>
                  <a:gd name="connsiteX15" fmla="*/ 232681 w 1025378"/>
                  <a:gd name="connsiteY15" fmla="*/ 201561 h 314325"/>
                  <a:gd name="connsiteX16" fmla="*/ 252487 w 1025378"/>
                  <a:gd name="connsiteY16" fmla="*/ 171450 h 314325"/>
                  <a:gd name="connsiteX17" fmla="*/ 271537 w 1025378"/>
                  <a:gd name="connsiteY17" fmla="*/ 142875 h 314325"/>
                  <a:gd name="connsiteX18" fmla="*/ 304875 w 1025378"/>
                  <a:gd name="connsiteY18" fmla="*/ 71437 h 314325"/>
                  <a:gd name="connsiteX19" fmla="*/ 315850 w 1025378"/>
                  <a:gd name="connsiteY19" fmla="*/ 36631 h 314325"/>
                  <a:gd name="connsiteX20" fmla="*/ 322821 w 1025378"/>
                  <a:gd name="connsiteY20" fmla="*/ 88841 h 314325"/>
                  <a:gd name="connsiteX21" fmla="*/ 327931 w 1025378"/>
                  <a:gd name="connsiteY21" fmla="*/ 147637 h 314325"/>
                  <a:gd name="connsiteX22" fmla="*/ 338212 w 1025378"/>
                  <a:gd name="connsiteY22" fmla="*/ 171450 h 314325"/>
                  <a:gd name="connsiteX23" fmla="*/ 349598 w 1025378"/>
                  <a:gd name="connsiteY23" fmla="*/ 261916 h 314325"/>
                  <a:gd name="connsiteX24" fmla="*/ 357262 w 1025378"/>
                  <a:gd name="connsiteY24" fmla="*/ 247650 h 314325"/>
                  <a:gd name="connsiteX25" fmla="*/ 370856 w 1025378"/>
                  <a:gd name="connsiteY25" fmla="*/ 231782 h 314325"/>
                  <a:gd name="connsiteX26" fmla="*/ 395362 w 1025378"/>
                  <a:gd name="connsiteY26" fmla="*/ 180975 h 314325"/>
                  <a:gd name="connsiteX27" fmla="*/ 409650 w 1025378"/>
                  <a:gd name="connsiteY27" fmla="*/ 171450 h 314325"/>
                  <a:gd name="connsiteX28" fmla="*/ 419175 w 1025378"/>
                  <a:gd name="connsiteY28" fmla="*/ 157162 h 314325"/>
                  <a:gd name="connsiteX29" fmla="*/ 428700 w 1025378"/>
                  <a:gd name="connsiteY29" fmla="*/ 180975 h 314325"/>
                  <a:gd name="connsiteX30" fmla="*/ 438225 w 1025378"/>
                  <a:gd name="connsiteY30" fmla="*/ 209550 h 314325"/>
                  <a:gd name="connsiteX31" fmla="*/ 448506 w 1025378"/>
                  <a:gd name="connsiteY31" fmla="*/ 252390 h 314325"/>
                  <a:gd name="connsiteX32" fmla="*/ 476325 w 1025378"/>
                  <a:gd name="connsiteY32" fmla="*/ 233362 h 314325"/>
                  <a:gd name="connsiteX33" fmla="*/ 490612 w 1025378"/>
                  <a:gd name="connsiteY33" fmla="*/ 233362 h 314325"/>
                  <a:gd name="connsiteX34" fmla="*/ 500137 w 1025378"/>
                  <a:gd name="connsiteY34" fmla="*/ 223837 h 314325"/>
                  <a:gd name="connsiteX35" fmla="*/ 543000 w 1025378"/>
                  <a:gd name="connsiteY35" fmla="*/ 138112 h 314325"/>
                  <a:gd name="connsiteX36" fmla="*/ 562050 w 1025378"/>
                  <a:gd name="connsiteY36" fmla="*/ 104775 h 314325"/>
                  <a:gd name="connsiteX37" fmla="*/ 566812 w 1025378"/>
                  <a:gd name="connsiteY37" fmla="*/ 90487 h 314325"/>
                  <a:gd name="connsiteX38" fmla="*/ 581100 w 1025378"/>
                  <a:gd name="connsiteY38" fmla="*/ 80962 h 314325"/>
                  <a:gd name="connsiteX39" fmla="*/ 619894 w 1025378"/>
                  <a:gd name="connsiteY39" fmla="*/ 49227 h 314325"/>
                  <a:gd name="connsiteX40" fmla="*/ 636928 w 1025378"/>
                  <a:gd name="connsiteY40" fmla="*/ 51320 h 314325"/>
                  <a:gd name="connsiteX41" fmla="*/ 648185 w 1025378"/>
                  <a:gd name="connsiteY41" fmla="*/ 295341 h 314325"/>
                  <a:gd name="connsiteX42" fmla="*/ 652537 w 1025378"/>
                  <a:gd name="connsiteY42" fmla="*/ 314325 h 314325"/>
                  <a:gd name="connsiteX43" fmla="*/ 662062 w 1025378"/>
                  <a:gd name="connsiteY43" fmla="*/ 295275 h 314325"/>
                  <a:gd name="connsiteX44" fmla="*/ 676002 w 1025378"/>
                  <a:gd name="connsiteY44" fmla="*/ 257152 h 314325"/>
                  <a:gd name="connsiteX45" fmla="*/ 707827 w 1025378"/>
                  <a:gd name="connsiteY45" fmla="*/ 168290 h 314325"/>
                  <a:gd name="connsiteX46" fmla="*/ 723975 w 1025378"/>
                  <a:gd name="connsiteY46" fmla="*/ 133350 h 314325"/>
                  <a:gd name="connsiteX47" fmla="*/ 728737 w 1025378"/>
                  <a:gd name="connsiteY47" fmla="*/ 166687 h 314325"/>
                  <a:gd name="connsiteX48" fmla="*/ 733500 w 1025378"/>
                  <a:gd name="connsiteY48" fmla="*/ 180975 h 314325"/>
                  <a:gd name="connsiteX49" fmla="*/ 749648 w 1025378"/>
                  <a:gd name="connsiteY49" fmla="*/ 155604 h 314325"/>
                  <a:gd name="connsiteX50" fmla="*/ 775668 w 1025378"/>
                  <a:gd name="connsiteY50" fmla="*/ 131770 h 314325"/>
                  <a:gd name="connsiteX51" fmla="*/ 795412 w 1025378"/>
                  <a:gd name="connsiteY51" fmla="*/ 85725 h 314325"/>
                  <a:gd name="connsiteX52" fmla="*/ 804937 w 1025378"/>
                  <a:gd name="connsiteY52" fmla="*/ 114300 h 314325"/>
                  <a:gd name="connsiteX53" fmla="*/ 819225 w 1025378"/>
                  <a:gd name="connsiteY53" fmla="*/ 185737 h 314325"/>
                  <a:gd name="connsiteX54" fmla="*/ 840135 w 1025378"/>
                  <a:gd name="connsiteY54" fmla="*/ 180975 h 314325"/>
                  <a:gd name="connsiteX55" fmla="*/ 857325 w 1025378"/>
                  <a:gd name="connsiteY55" fmla="*/ 138112 h 314325"/>
                  <a:gd name="connsiteX56" fmla="*/ 881137 w 1025378"/>
                  <a:gd name="connsiteY56" fmla="*/ 76200 h 314325"/>
                  <a:gd name="connsiteX57" fmla="*/ 885900 w 1025378"/>
                  <a:gd name="connsiteY57" fmla="*/ 52387 h 314325"/>
                  <a:gd name="connsiteX58" fmla="*/ 900187 w 1025378"/>
                  <a:gd name="connsiteY58" fmla="*/ 38100 h 314325"/>
                  <a:gd name="connsiteX59" fmla="*/ 904950 w 1025378"/>
                  <a:gd name="connsiteY59" fmla="*/ 14287 h 314325"/>
                  <a:gd name="connsiteX60" fmla="*/ 909712 w 1025378"/>
                  <a:gd name="connsiteY60" fmla="*/ 0 h 314325"/>
                  <a:gd name="connsiteX61" fmla="*/ 914475 w 1025378"/>
                  <a:gd name="connsiteY61" fmla="*/ 14287 h 314325"/>
                  <a:gd name="connsiteX62" fmla="*/ 919237 w 1025378"/>
                  <a:gd name="connsiteY62" fmla="*/ 71437 h 314325"/>
                  <a:gd name="connsiteX63" fmla="*/ 928762 w 1025378"/>
                  <a:gd name="connsiteY63" fmla="*/ 100012 h 314325"/>
                  <a:gd name="connsiteX64" fmla="*/ 952575 w 1025378"/>
                  <a:gd name="connsiteY64" fmla="*/ 161925 h 314325"/>
                  <a:gd name="connsiteX65" fmla="*/ 957337 w 1025378"/>
                  <a:gd name="connsiteY65" fmla="*/ 180975 h 314325"/>
                  <a:gd name="connsiteX66" fmla="*/ 962100 w 1025378"/>
                  <a:gd name="connsiteY66" fmla="*/ 214312 h 314325"/>
                  <a:gd name="connsiteX67" fmla="*/ 981150 w 1025378"/>
                  <a:gd name="connsiteY67" fmla="*/ 242887 h 314325"/>
                  <a:gd name="connsiteX68" fmla="*/ 991342 w 1025378"/>
                  <a:gd name="connsiteY68" fmla="*/ 265734 h 314325"/>
                  <a:gd name="connsiteX69" fmla="*/ 1025378 w 1025378"/>
                  <a:gd name="connsiteY69" fmla="*/ 261405 h 314325"/>
                  <a:gd name="connsiteX0" fmla="*/ 0 w 1024844"/>
                  <a:gd name="connsiteY0" fmla="*/ 262751 h 314325"/>
                  <a:gd name="connsiteX1" fmla="*/ 31387 w 1024844"/>
                  <a:gd name="connsiteY1" fmla="*/ 274654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3524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3775"/>
                  <a:gd name="connsiteY0" fmla="*/ 260314 h 314325"/>
                  <a:gd name="connsiteX1" fmla="*/ 32989 w 1023775"/>
                  <a:gd name="connsiteY1" fmla="*/ 257600 h 314325"/>
                  <a:gd name="connsiteX2" fmla="*/ 47792 w 1023775"/>
                  <a:gd name="connsiteY2" fmla="*/ 228600 h 314325"/>
                  <a:gd name="connsiteX3" fmla="*/ 65147 w 1023775"/>
                  <a:gd name="connsiteY3" fmla="*/ 180975 h 314325"/>
                  <a:gd name="connsiteX4" fmla="*/ 74672 w 1023775"/>
                  <a:gd name="connsiteY4" fmla="*/ 166687 h 314325"/>
                  <a:gd name="connsiteX5" fmla="*/ 93722 w 1023775"/>
                  <a:gd name="connsiteY5" fmla="*/ 114300 h 314325"/>
                  <a:gd name="connsiteX6" fmla="*/ 103247 w 1023775"/>
                  <a:gd name="connsiteY6" fmla="*/ 100012 h 314325"/>
                  <a:gd name="connsiteX7" fmla="*/ 122297 w 1023775"/>
                  <a:gd name="connsiteY7" fmla="*/ 57150 h 314325"/>
                  <a:gd name="connsiteX8" fmla="*/ 127059 w 1023775"/>
                  <a:gd name="connsiteY8" fmla="*/ 42862 h 314325"/>
                  <a:gd name="connsiteX9" fmla="*/ 136584 w 1023775"/>
                  <a:gd name="connsiteY9" fmla="*/ 4762 h 314325"/>
                  <a:gd name="connsiteX10" fmla="*/ 146109 w 1023775"/>
                  <a:gd name="connsiteY10" fmla="*/ 100012 h 314325"/>
                  <a:gd name="connsiteX11" fmla="*/ 155634 w 1023775"/>
                  <a:gd name="connsiteY11" fmla="*/ 152400 h 314325"/>
                  <a:gd name="connsiteX12" fmla="*/ 160397 w 1023775"/>
                  <a:gd name="connsiteY12" fmla="*/ 228600 h 314325"/>
                  <a:gd name="connsiteX13" fmla="*/ 172886 w 1023775"/>
                  <a:gd name="connsiteY13" fmla="*/ 268258 h 314325"/>
                  <a:gd name="connsiteX14" fmla="*/ 200767 w 1023775"/>
                  <a:gd name="connsiteY14" fmla="*/ 255572 h 314325"/>
                  <a:gd name="connsiteX15" fmla="*/ 231078 w 1023775"/>
                  <a:gd name="connsiteY15" fmla="*/ 201561 h 314325"/>
                  <a:gd name="connsiteX16" fmla="*/ 250884 w 1023775"/>
                  <a:gd name="connsiteY16" fmla="*/ 171450 h 314325"/>
                  <a:gd name="connsiteX17" fmla="*/ 269934 w 1023775"/>
                  <a:gd name="connsiteY17" fmla="*/ 142875 h 314325"/>
                  <a:gd name="connsiteX18" fmla="*/ 303272 w 1023775"/>
                  <a:gd name="connsiteY18" fmla="*/ 71437 h 314325"/>
                  <a:gd name="connsiteX19" fmla="*/ 314247 w 1023775"/>
                  <a:gd name="connsiteY19" fmla="*/ 36631 h 314325"/>
                  <a:gd name="connsiteX20" fmla="*/ 321218 w 1023775"/>
                  <a:gd name="connsiteY20" fmla="*/ 88841 h 314325"/>
                  <a:gd name="connsiteX21" fmla="*/ 326328 w 1023775"/>
                  <a:gd name="connsiteY21" fmla="*/ 147637 h 314325"/>
                  <a:gd name="connsiteX22" fmla="*/ 336609 w 1023775"/>
                  <a:gd name="connsiteY22" fmla="*/ 171450 h 314325"/>
                  <a:gd name="connsiteX23" fmla="*/ 347995 w 1023775"/>
                  <a:gd name="connsiteY23" fmla="*/ 261916 h 314325"/>
                  <a:gd name="connsiteX24" fmla="*/ 355659 w 1023775"/>
                  <a:gd name="connsiteY24" fmla="*/ 247650 h 314325"/>
                  <a:gd name="connsiteX25" fmla="*/ 369253 w 1023775"/>
                  <a:gd name="connsiteY25" fmla="*/ 231782 h 314325"/>
                  <a:gd name="connsiteX26" fmla="*/ 393759 w 1023775"/>
                  <a:gd name="connsiteY26" fmla="*/ 180975 h 314325"/>
                  <a:gd name="connsiteX27" fmla="*/ 408047 w 1023775"/>
                  <a:gd name="connsiteY27" fmla="*/ 171450 h 314325"/>
                  <a:gd name="connsiteX28" fmla="*/ 417572 w 1023775"/>
                  <a:gd name="connsiteY28" fmla="*/ 157162 h 314325"/>
                  <a:gd name="connsiteX29" fmla="*/ 427097 w 1023775"/>
                  <a:gd name="connsiteY29" fmla="*/ 180975 h 314325"/>
                  <a:gd name="connsiteX30" fmla="*/ 436622 w 1023775"/>
                  <a:gd name="connsiteY30" fmla="*/ 209550 h 314325"/>
                  <a:gd name="connsiteX31" fmla="*/ 446903 w 1023775"/>
                  <a:gd name="connsiteY31" fmla="*/ 252390 h 314325"/>
                  <a:gd name="connsiteX32" fmla="*/ 474722 w 1023775"/>
                  <a:gd name="connsiteY32" fmla="*/ 233362 h 314325"/>
                  <a:gd name="connsiteX33" fmla="*/ 489009 w 1023775"/>
                  <a:gd name="connsiteY33" fmla="*/ 233362 h 314325"/>
                  <a:gd name="connsiteX34" fmla="*/ 498534 w 1023775"/>
                  <a:gd name="connsiteY34" fmla="*/ 223837 h 314325"/>
                  <a:gd name="connsiteX35" fmla="*/ 541397 w 1023775"/>
                  <a:gd name="connsiteY35" fmla="*/ 138112 h 314325"/>
                  <a:gd name="connsiteX36" fmla="*/ 560447 w 1023775"/>
                  <a:gd name="connsiteY36" fmla="*/ 104775 h 314325"/>
                  <a:gd name="connsiteX37" fmla="*/ 565209 w 1023775"/>
                  <a:gd name="connsiteY37" fmla="*/ 90487 h 314325"/>
                  <a:gd name="connsiteX38" fmla="*/ 579497 w 1023775"/>
                  <a:gd name="connsiteY38" fmla="*/ 80962 h 314325"/>
                  <a:gd name="connsiteX39" fmla="*/ 618291 w 1023775"/>
                  <a:gd name="connsiteY39" fmla="*/ 49227 h 314325"/>
                  <a:gd name="connsiteX40" fmla="*/ 635325 w 1023775"/>
                  <a:gd name="connsiteY40" fmla="*/ 51320 h 314325"/>
                  <a:gd name="connsiteX41" fmla="*/ 646582 w 1023775"/>
                  <a:gd name="connsiteY41" fmla="*/ 295341 h 314325"/>
                  <a:gd name="connsiteX42" fmla="*/ 650934 w 1023775"/>
                  <a:gd name="connsiteY42" fmla="*/ 314325 h 314325"/>
                  <a:gd name="connsiteX43" fmla="*/ 660459 w 1023775"/>
                  <a:gd name="connsiteY43" fmla="*/ 295275 h 314325"/>
                  <a:gd name="connsiteX44" fmla="*/ 674399 w 1023775"/>
                  <a:gd name="connsiteY44" fmla="*/ 257152 h 314325"/>
                  <a:gd name="connsiteX45" fmla="*/ 706224 w 1023775"/>
                  <a:gd name="connsiteY45" fmla="*/ 168290 h 314325"/>
                  <a:gd name="connsiteX46" fmla="*/ 722372 w 1023775"/>
                  <a:gd name="connsiteY46" fmla="*/ 133350 h 314325"/>
                  <a:gd name="connsiteX47" fmla="*/ 727134 w 1023775"/>
                  <a:gd name="connsiteY47" fmla="*/ 166687 h 314325"/>
                  <a:gd name="connsiteX48" fmla="*/ 731897 w 1023775"/>
                  <a:gd name="connsiteY48" fmla="*/ 180975 h 314325"/>
                  <a:gd name="connsiteX49" fmla="*/ 748045 w 1023775"/>
                  <a:gd name="connsiteY49" fmla="*/ 155604 h 314325"/>
                  <a:gd name="connsiteX50" fmla="*/ 774065 w 1023775"/>
                  <a:gd name="connsiteY50" fmla="*/ 131770 h 314325"/>
                  <a:gd name="connsiteX51" fmla="*/ 793809 w 1023775"/>
                  <a:gd name="connsiteY51" fmla="*/ 85725 h 314325"/>
                  <a:gd name="connsiteX52" fmla="*/ 803334 w 1023775"/>
                  <a:gd name="connsiteY52" fmla="*/ 114300 h 314325"/>
                  <a:gd name="connsiteX53" fmla="*/ 817622 w 1023775"/>
                  <a:gd name="connsiteY53" fmla="*/ 185737 h 314325"/>
                  <a:gd name="connsiteX54" fmla="*/ 838532 w 1023775"/>
                  <a:gd name="connsiteY54" fmla="*/ 180975 h 314325"/>
                  <a:gd name="connsiteX55" fmla="*/ 855722 w 1023775"/>
                  <a:gd name="connsiteY55" fmla="*/ 138112 h 314325"/>
                  <a:gd name="connsiteX56" fmla="*/ 879534 w 1023775"/>
                  <a:gd name="connsiteY56" fmla="*/ 76200 h 314325"/>
                  <a:gd name="connsiteX57" fmla="*/ 884297 w 1023775"/>
                  <a:gd name="connsiteY57" fmla="*/ 52387 h 314325"/>
                  <a:gd name="connsiteX58" fmla="*/ 898584 w 1023775"/>
                  <a:gd name="connsiteY58" fmla="*/ 38100 h 314325"/>
                  <a:gd name="connsiteX59" fmla="*/ 903347 w 1023775"/>
                  <a:gd name="connsiteY59" fmla="*/ 14287 h 314325"/>
                  <a:gd name="connsiteX60" fmla="*/ 908109 w 1023775"/>
                  <a:gd name="connsiteY60" fmla="*/ 0 h 314325"/>
                  <a:gd name="connsiteX61" fmla="*/ 912872 w 1023775"/>
                  <a:gd name="connsiteY61" fmla="*/ 14287 h 314325"/>
                  <a:gd name="connsiteX62" fmla="*/ 917634 w 1023775"/>
                  <a:gd name="connsiteY62" fmla="*/ 71437 h 314325"/>
                  <a:gd name="connsiteX63" fmla="*/ 927159 w 1023775"/>
                  <a:gd name="connsiteY63" fmla="*/ 100012 h 314325"/>
                  <a:gd name="connsiteX64" fmla="*/ 950972 w 1023775"/>
                  <a:gd name="connsiteY64" fmla="*/ 161925 h 314325"/>
                  <a:gd name="connsiteX65" fmla="*/ 955734 w 1023775"/>
                  <a:gd name="connsiteY65" fmla="*/ 180975 h 314325"/>
                  <a:gd name="connsiteX66" fmla="*/ 960497 w 1023775"/>
                  <a:gd name="connsiteY66" fmla="*/ 214312 h 314325"/>
                  <a:gd name="connsiteX67" fmla="*/ 979547 w 1023775"/>
                  <a:gd name="connsiteY67" fmla="*/ 242887 h 314325"/>
                  <a:gd name="connsiteX68" fmla="*/ 989739 w 1023775"/>
                  <a:gd name="connsiteY68" fmla="*/ 265734 h 314325"/>
                  <a:gd name="connsiteX69" fmla="*/ 1023775 w 1023775"/>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1637"/>
                  <a:gd name="connsiteY0" fmla="*/ 262750 h 314325"/>
                  <a:gd name="connsiteX1" fmla="*/ 33523 w 1021637"/>
                  <a:gd name="connsiteY1" fmla="*/ 257600 h 314325"/>
                  <a:gd name="connsiteX2" fmla="*/ 48326 w 1021637"/>
                  <a:gd name="connsiteY2" fmla="*/ 228600 h 314325"/>
                  <a:gd name="connsiteX3" fmla="*/ 65681 w 1021637"/>
                  <a:gd name="connsiteY3" fmla="*/ 180975 h 314325"/>
                  <a:gd name="connsiteX4" fmla="*/ 75206 w 1021637"/>
                  <a:gd name="connsiteY4" fmla="*/ 166687 h 314325"/>
                  <a:gd name="connsiteX5" fmla="*/ 94256 w 1021637"/>
                  <a:gd name="connsiteY5" fmla="*/ 114300 h 314325"/>
                  <a:gd name="connsiteX6" fmla="*/ 103781 w 1021637"/>
                  <a:gd name="connsiteY6" fmla="*/ 100012 h 314325"/>
                  <a:gd name="connsiteX7" fmla="*/ 122831 w 1021637"/>
                  <a:gd name="connsiteY7" fmla="*/ 57150 h 314325"/>
                  <a:gd name="connsiteX8" fmla="*/ 127593 w 1021637"/>
                  <a:gd name="connsiteY8" fmla="*/ 42862 h 314325"/>
                  <a:gd name="connsiteX9" fmla="*/ 137118 w 1021637"/>
                  <a:gd name="connsiteY9" fmla="*/ 4762 h 314325"/>
                  <a:gd name="connsiteX10" fmla="*/ 146643 w 1021637"/>
                  <a:gd name="connsiteY10" fmla="*/ 100012 h 314325"/>
                  <a:gd name="connsiteX11" fmla="*/ 156168 w 1021637"/>
                  <a:gd name="connsiteY11" fmla="*/ 152400 h 314325"/>
                  <a:gd name="connsiteX12" fmla="*/ 160931 w 1021637"/>
                  <a:gd name="connsiteY12" fmla="*/ 228600 h 314325"/>
                  <a:gd name="connsiteX13" fmla="*/ 173420 w 1021637"/>
                  <a:gd name="connsiteY13" fmla="*/ 268258 h 314325"/>
                  <a:gd name="connsiteX14" fmla="*/ 201301 w 1021637"/>
                  <a:gd name="connsiteY14" fmla="*/ 255572 h 314325"/>
                  <a:gd name="connsiteX15" fmla="*/ 231612 w 1021637"/>
                  <a:gd name="connsiteY15" fmla="*/ 201561 h 314325"/>
                  <a:gd name="connsiteX16" fmla="*/ 251418 w 1021637"/>
                  <a:gd name="connsiteY16" fmla="*/ 171450 h 314325"/>
                  <a:gd name="connsiteX17" fmla="*/ 270468 w 1021637"/>
                  <a:gd name="connsiteY17" fmla="*/ 142875 h 314325"/>
                  <a:gd name="connsiteX18" fmla="*/ 303806 w 1021637"/>
                  <a:gd name="connsiteY18" fmla="*/ 71437 h 314325"/>
                  <a:gd name="connsiteX19" fmla="*/ 314781 w 1021637"/>
                  <a:gd name="connsiteY19" fmla="*/ 36631 h 314325"/>
                  <a:gd name="connsiteX20" fmla="*/ 321752 w 1021637"/>
                  <a:gd name="connsiteY20" fmla="*/ 88841 h 314325"/>
                  <a:gd name="connsiteX21" fmla="*/ 326862 w 1021637"/>
                  <a:gd name="connsiteY21" fmla="*/ 147637 h 314325"/>
                  <a:gd name="connsiteX22" fmla="*/ 337143 w 1021637"/>
                  <a:gd name="connsiteY22" fmla="*/ 171450 h 314325"/>
                  <a:gd name="connsiteX23" fmla="*/ 348529 w 1021637"/>
                  <a:gd name="connsiteY23" fmla="*/ 261916 h 314325"/>
                  <a:gd name="connsiteX24" fmla="*/ 356193 w 1021637"/>
                  <a:gd name="connsiteY24" fmla="*/ 247650 h 314325"/>
                  <a:gd name="connsiteX25" fmla="*/ 369787 w 1021637"/>
                  <a:gd name="connsiteY25" fmla="*/ 231782 h 314325"/>
                  <a:gd name="connsiteX26" fmla="*/ 394293 w 1021637"/>
                  <a:gd name="connsiteY26" fmla="*/ 180975 h 314325"/>
                  <a:gd name="connsiteX27" fmla="*/ 408581 w 1021637"/>
                  <a:gd name="connsiteY27" fmla="*/ 171450 h 314325"/>
                  <a:gd name="connsiteX28" fmla="*/ 418106 w 1021637"/>
                  <a:gd name="connsiteY28" fmla="*/ 157162 h 314325"/>
                  <a:gd name="connsiteX29" fmla="*/ 427631 w 1021637"/>
                  <a:gd name="connsiteY29" fmla="*/ 180975 h 314325"/>
                  <a:gd name="connsiteX30" fmla="*/ 437156 w 1021637"/>
                  <a:gd name="connsiteY30" fmla="*/ 209550 h 314325"/>
                  <a:gd name="connsiteX31" fmla="*/ 447437 w 1021637"/>
                  <a:gd name="connsiteY31" fmla="*/ 252390 h 314325"/>
                  <a:gd name="connsiteX32" fmla="*/ 475256 w 1021637"/>
                  <a:gd name="connsiteY32" fmla="*/ 233362 h 314325"/>
                  <a:gd name="connsiteX33" fmla="*/ 489543 w 1021637"/>
                  <a:gd name="connsiteY33" fmla="*/ 233362 h 314325"/>
                  <a:gd name="connsiteX34" fmla="*/ 499068 w 1021637"/>
                  <a:gd name="connsiteY34" fmla="*/ 223837 h 314325"/>
                  <a:gd name="connsiteX35" fmla="*/ 541931 w 1021637"/>
                  <a:gd name="connsiteY35" fmla="*/ 138112 h 314325"/>
                  <a:gd name="connsiteX36" fmla="*/ 560981 w 1021637"/>
                  <a:gd name="connsiteY36" fmla="*/ 104775 h 314325"/>
                  <a:gd name="connsiteX37" fmla="*/ 565743 w 1021637"/>
                  <a:gd name="connsiteY37" fmla="*/ 90487 h 314325"/>
                  <a:gd name="connsiteX38" fmla="*/ 580031 w 1021637"/>
                  <a:gd name="connsiteY38" fmla="*/ 80962 h 314325"/>
                  <a:gd name="connsiteX39" fmla="*/ 618825 w 1021637"/>
                  <a:gd name="connsiteY39" fmla="*/ 49227 h 314325"/>
                  <a:gd name="connsiteX40" fmla="*/ 635859 w 1021637"/>
                  <a:gd name="connsiteY40" fmla="*/ 51320 h 314325"/>
                  <a:gd name="connsiteX41" fmla="*/ 647116 w 1021637"/>
                  <a:gd name="connsiteY41" fmla="*/ 295341 h 314325"/>
                  <a:gd name="connsiteX42" fmla="*/ 651468 w 1021637"/>
                  <a:gd name="connsiteY42" fmla="*/ 314325 h 314325"/>
                  <a:gd name="connsiteX43" fmla="*/ 660993 w 1021637"/>
                  <a:gd name="connsiteY43" fmla="*/ 295275 h 314325"/>
                  <a:gd name="connsiteX44" fmla="*/ 674933 w 1021637"/>
                  <a:gd name="connsiteY44" fmla="*/ 257152 h 314325"/>
                  <a:gd name="connsiteX45" fmla="*/ 706758 w 1021637"/>
                  <a:gd name="connsiteY45" fmla="*/ 168290 h 314325"/>
                  <a:gd name="connsiteX46" fmla="*/ 722906 w 1021637"/>
                  <a:gd name="connsiteY46" fmla="*/ 133350 h 314325"/>
                  <a:gd name="connsiteX47" fmla="*/ 727668 w 1021637"/>
                  <a:gd name="connsiteY47" fmla="*/ 166687 h 314325"/>
                  <a:gd name="connsiteX48" fmla="*/ 732431 w 1021637"/>
                  <a:gd name="connsiteY48" fmla="*/ 180975 h 314325"/>
                  <a:gd name="connsiteX49" fmla="*/ 748579 w 1021637"/>
                  <a:gd name="connsiteY49" fmla="*/ 155604 h 314325"/>
                  <a:gd name="connsiteX50" fmla="*/ 774599 w 1021637"/>
                  <a:gd name="connsiteY50" fmla="*/ 131770 h 314325"/>
                  <a:gd name="connsiteX51" fmla="*/ 794343 w 1021637"/>
                  <a:gd name="connsiteY51" fmla="*/ 85725 h 314325"/>
                  <a:gd name="connsiteX52" fmla="*/ 803868 w 1021637"/>
                  <a:gd name="connsiteY52" fmla="*/ 114300 h 314325"/>
                  <a:gd name="connsiteX53" fmla="*/ 818156 w 1021637"/>
                  <a:gd name="connsiteY53" fmla="*/ 185737 h 314325"/>
                  <a:gd name="connsiteX54" fmla="*/ 839066 w 1021637"/>
                  <a:gd name="connsiteY54" fmla="*/ 180975 h 314325"/>
                  <a:gd name="connsiteX55" fmla="*/ 856256 w 1021637"/>
                  <a:gd name="connsiteY55" fmla="*/ 138112 h 314325"/>
                  <a:gd name="connsiteX56" fmla="*/ 880068 w 1021637"/>
                  <a:gd name="connsiteY56" fmla="*/ 76200 h 314325"/>
                  <a:gd name="connsiteX57" fmla="*/ 884831 w 1021637"/>
                  <a:gd name="connsiteY57" fmla="*/ 52387 h 314325"/>
                  <a:gd name="connsiteX58" fmla="*/ 899118 w 1021637"/>
                  <a:gd name="connsiteY58" fmla="*/ 38100 h 314325"/>
                  <a:gd name="connsiteX59" fmla="*/ 903881 w 1021637"/>
                  <a:gd name="connsiteY59" fmla="*/ 14287 h 314325"/>
                  <a:gd name="connsiteX60" fmla="*/ 908643 w 1021637"/>
                  <a:gd name="connsiteY60" fmla="*/ 0 h 314325"/>
                  <a:gd name="connsiteX61" fmla="*/ 913406 w 1021637"/>
                  <a:gd name="connsiteY61" fmla="*/ 14287 h 314325"/>
                  <a:gd name="connsiteX62" fmla="*/ 918168 w 1021637"/>
                  <a:gd name="connsiteY62" fmla="*/ 71437 h 314325"/>
                  <a:gd name="connsiteX63" fmla="*/ 927693 w 1021637"/>
                  <a:gd name="connsiteY63" fmla="*/ 100012 h 314325"/>
                  <a:gd name="connsiteX64" fmla="*/ 951506 w 1021637"/>
                  <a:gd name="connsiteY64" fmla="*/ 161925 h 314325"/>
                  <a:gd name="connsiteX65" fmla="*/ 956268 w 1021637"/>
                  <a:gd name="connsiteY65" fmla="*/ 180975 h 314325"/>
                  <a:gd name="connsiteX66" fmla="*/ 961031 w 1021637"/>
                  <a:gd name="connsiteY66" fmla="*/ 214312 h 314325"/>
                  <a:gd name="connsiteX67" fmla="*/ 980081 w 1021637"/>
                  <a:gd name="connsiteY67" fmla="*/ 242887 h 314325"/>
                  <a:gd name="connsiteX68" fmla="*/ 990273 w 1021637"/>
                  <a:gd name="connsiteY68" fmla="*/ 265734 h 314325"/>
                  <a:gd name="connsiteX69" fmla="*/ 1021637 w 1021637"/>
                  <a:gd name="connsiteY69" fmla="*/ 261405 h 314325"/>
                  <a:gd name="connsiteX0" fmla="*/ 0 w 1023774"/>
                  <a:gd name="connsiteY0" fmla="*/ 262750 h 314325"/>
                  <a:gd name="connsiteX1" fmla="*/ 33523 w 1023774"/>
                  <a:gd name="connsiteY1" fmla="*/ 257600 h 314325"/>
                  <a:gd name="connsiteX2" fmla="*/ 48326 w 1023774"/>
                  <a:gd name="connsiteY2" fmla="*/ 228600 h 314325"/>
                  <a:gd name="connsiteX3" fmla="*/ 65681 w 1023774"/>
                  <a:gd name="connsiteY3" fmla="*/ 180975 h 314325"/>
                  <a:gd name="connsiteX4" fmla="*/ 75206 w 1023774"/>
                  <a:gd name="connsiteY4" fmla="*/ 166687 h 314325"/>
                  <a:gd name="connsiteX5" fmla="*/ 94256 w 1023774"/>
                  <a:gd name="connsiteY5" fmla="*/ 114300 h 314325"/>
                  <a:gd name="connsiteX6" fmla="*/ 103781 w 1023774"/>
                  <a:gd name="connsiteY6" fmla="*/ 100012 h 314325"/>
                  <a:gd name="connsiteX7" fmla="*/ 122831 w 1023774"/>
                  <a:gd name="connsiteY7" fmla="*/ 57150 h 314325"/>
                  <a:gd name="connsiteX8" fmla="*/ 127593 w 1023774"/>
                  <a:gd name="connsiteY8" fmla="*/ 42862 h 314325"/>
                  <a:gd name="connsiteX9" fmla="*/ 137118 w 1023774"/>
                  <a:gd name="connsiteY9" fmla="*/ 4762 h 314325"/>
                  <a:gd name="connsiteX10" fmla="*/ 146643 w 1023774"/>
                  <a:gd name="connsiteY10" fmla="*/ 100012 h 314325"/>
                  <a:gd name="connsiteX11" fmla="*/ 156168 w 1023774"/>
                  <a:gd name="connsiteY11" fmla="*/ 152400 h 314325"/>
                  <a:gd name="connsiteX12" fmla="*/ 160931 w 1023774"/>
                  <a:gd name="connsiteY12" fmla="*/ 228600 h 314325"/>
                  <a:gd name="connsiteX13" fmla="*/ 173420 w 1023774"/>
                  <a:gd name="connsiteY13" fmla="*/ 268258 h 314325"/>
                  <a:gd name="connsiteX14" fmla="*/ 201301 w 1023774"/>
                  <a:gd name="connsiteY14" fmla="*/ 255572 h 314325"/>
                  <a:gd name="connsiteX15" fmla="*/ 231612 w 1023774"/>
                  <a:gd name="connsiteY15" fmla="*/ 201561 h 314325"/>
                  <a:gd name="connsiteX16" fmla="*/ 251418 w 1023774"/>
                  <a:gd name="connsiteY16" fmla="*/ 171450 h 314325"/>
                  <a:gd name="connsiteX17" fmla="*/ 270468 w 1023774"/>
                  <a:gd name="connsiteY17" fmla="*/ 142875 h 314325"/>
                  <a:gd name="connsiteX18" fmla="*/ 303806 w 1023774"/>
                  <a:gd name="connsiteY18" fmla="*/ 71437 h 314325"/>
                  <a:gd name="connsiteX19" fmla="*/ 314781 w 1023774"/>
                  <a:gd name="connsiteY19" fmla="*/ 36631 h 314325"/>
                  <a:gd name="connsiteX20" fmla="*/ 321752 w 1023774"/>
                  <a:gd name="connsiteY20" fmla="*/ 88841 h 314325"/>
                  <a:gd name="connsiteX21" fmla="*/ 326862 w 1023774"/>
                  <a:gd name="connsiteY21" fmla="*/ 147637 h 314325"/>
                  <a:gd name="connsiteX22" fmla="*/ 337143 w 1023774"/>
                  <a:gd name="connsiteY22" fmla="*/ 171450 h 314325"/>
                  <a:gd name="connsiteX23" fmla="*/ 348529 w 1023774"/>
                  <a:gd name="connsiteY23" fmla="*/ 261916 h 314325"/>
                  <a:gd name="connsiteX24" fmla="*/ 356193 w 1023774"/>
                  <a:gd name="connsiteY24" fmla="*/ 247650 h 314325"/>
                  <a:gd name="connsiteX25" fmla="*/ 369787 w 1023774"/>
                  <a:gd name="connsiteY25" fmla="*/ 231782 h 314325"/>
                  <a:gd name="connsiteX26" fmla="*/ 394293 w 1023774"/>
                  <a:gd name="connsiteY26" fmla="*/ 180975 h 314325"/>
                  <a:gd name="connsiteX27" fmla="*/ 408581 w 1023774"/>
                  <a:gd name="connsiteY27" fmla="*/ 171450 h 314325"/>
                  <a:gd name="connsiteX28" fmla="*/ 418106 w 1023774"/>
                  <a:gd name="connsiteY28" fmla="*/ 157162 h 314325"/>
                  <a:gd name="connsiteX29" fmla="*/ 427631 w 1023774"/>
                  <a:gd name="connsiteY29" fmla="*/ 180975 h 314325"/>
                  <a:gd name="connsiteX30" fmla="*/ 437156 w 1023774"/>
                  <a:gd name="connsiteY30" fmla="*/ 209550 h 314325"/>
                  <a:gd name="connsiteX31" fmla="*/ 447437 w 1023774"/>
                  <a:gd name="connsiteY31" fmla="*/ 252390 h 314325"/>
                  <a:gd name="connsiteX32" fmla="*/ 475256 w 1023774"/>
                  <a:gd name="connsiteY32" fmla="*/ 233362 h 314325"/>
                  <a:gd name="connsiteX33" fmla="*/ 489543 w 1023774"/>
                  <a:gd name="connsiteY33" fmla="*/ 233362 h 314325"/>
                  <a:gd name="connsiteX34" fmla="*/ 499068 w 1023774"/>
                  <a:gd name="connsiteY34" fmla="*/ 223837 h 314325"/>
                  <a:gd name="connsiteX35" fmla="*/ 541931 w 1023774"/>
                  <a:gd name="connsiteY35" fmla="*/ 138112 h 314325"/>
                  <a:gd name="connsiteX36" fmla="*/ 560981 w 1023774"/>
                  <a:gd name="connsiteY36" fmla="*/ 104775 h 314325"/>
                  <a:gd name="connsiteX37" fmla="*/ 565743 w 1023774"/>
                  <a:gd name="connsiteY37" fmla="*/ 90487 h 314325"/>
                  <a:gd name="connsiteX38" fmla="*/ 580031 w 1023774"/>
                  <a:gd name="connsiteY38" fmla="*/ 80962 h 314325"/>
                  <a:gd name="connsiteX39" fmla="*/ 618825 w 1023774"/>
                  <a:gd name="connsiteY39" fmla="*/ 49227 h 314325"/>
                  <a:gd name="connsiteX40" fmla="*/ 635859 w 1023774"/>
                  <a:gd name="connsiteY40" fmla="*/ 51320 h 314325"/>
                  <a:gd name="connsiteX41" fmla="*/ 647116 w 1023774"/>
                  <a:gd name="connsiteY41" fmla="*/ 295341 h 314325"/>
                  <a:gd name="connsiteX42" fmla="*/ 651468 w 1023774"/>
                  <a:gd name="connsiteY42" fmla="*/ 314325 h 314325"/>
                  <a:gd name="connsiteX43" fmla="*/ 660993 w 1023774"/>
                  <a:gd name="connsiteY43" fmla="*/ 295275 h 314325"/>
                  <a:gd name="connsiteX44" fmla="*/ 674933 w 1023774"/>
                  <a:gd name="connsiteY44" fmla="*/ 257152 h 314325"/>
                  <a:gd name="connsiteX45" fmla="*/ 706758 w 1023774"/>
                  <a:gd name="connsiteY45" fmla="*/ 168290 h 314325"/>
                  <a:gd name="connsiteX46" fmla="*/ 722906 w 1023774"/>
                  <a:gd name="connsiteY46" fmla="*/ 133350 h 314325"/>
                  <a:gd name="connsiteX47" fmla="*/ 727668 w 1023774"/>
                  <a:gd name="connsiteY47" fmla="*/ 166687 h 314325"/>
                  <a:gd name="connsiteX48" fmla="*/ 732431 w 1023774"/>
                  <a:gd name="connsiteY48" fmla="*/ 180975 h 314325"/>
                  <a:gd name="connsiteX49" fmla="*/ 748579 w 1023774"/>
                  <a:gd name="connsiteY49" fmla="*/ 155604 h 314325"/>
                  <a:gd name="connsiteX50" fmla="*/ 774599 w 1023774"/>
                  <a:gd name="connsiteY50" fmla="*/ 131770 h 314325"/>
                  <a:gd name="connsiteX51" fmla="*/ 794343 w 1023774"/>
                  <a:gd name="connsiteY51" fmla="*/ 85725 h 314325"/>
                  <a:gd name="connsiteX52" fmla="*/ 803868 w 1023774"/>
                  <a:gd name="connsiteY52" fmla="*/ 114300 h 314325"/>
                  <a:gd name="connsiteX53" fmla="*/ 818156 w 1023774"/>
                  <a:gd name="connsiteY53" fmla="*/ 185737 h 314325"/>
                  <a:gd name="connsiteX54" fmla="*/ 839066 w 1023774"/>
                  <a:gd name="connsiteY54" fmla="*/ 180975 h 314325"/>
                  <a:gd name="connsiteX55" fmla="*/ 856256 w 1023774"/>
                  <a:gd name="connsiteY55" fmla="*/ 138112 h 314325"/>
                  <a:gd name="connsiteX56" fmla="*/ 880068 w 1023774"/>
                  <a:gd name="connsiteY56" fmla="*/ 76200 h 314325"/>
                  <a:gd name="connsiteX57" fmla="*/ 884831 w 1023774"/>
                  <a:gd name="connsiteY57" fmla="*/ 52387 h 314325"/>
                  <a:gd name="connsiteX58" fmla="*/ 899118 w 1023774"/>
                  <a:gd name="connsiteY58" fmla="*/ 38100 h 314325"/>
                  <a:gd name="connsiteX59" fmla="*/ 903881 w 1023774"/>
                  <a:gd name="connsiteY59" fmla="*/ 14287 h 314325"/>
                  <a:gd name="connsiteX60" fmla="*/ 908643 w 1023774"/>
                  <a:gd name="connsiteY60" fmla="*/ 0 h 314325"/>
                  <a:gd name="connsiteX61" fmla="*/ 913406 w 1023774"/>
                  <a:gd name="connsiteY61" fmla="*/ 14287 h 314325"/>
                  <a:gd name="connsiteX62" fmla="*/ 918168 w 1023774"/>
                  <a:gd name="connsiteY62" fmla="*/ 71437 h 314325"/>
                  <a:gd name="connsiteX63" fmla="*/ 927693 w 1023774"/>
                  <a:gd name="connsiteY63" fmla="*/ 100012 h 314325"/>
                  <a:gd name="connsiteX64" fmla="*/ 951506 w 1023774"/>
                  <a:gd name="connsiteY64" fmla="*/ 161925 h 314325"/>
                  <a:gd name="connsiteX65" fmla="*/ 956268 w 1023774"/>
                  <a:gd name="connsiteY65" fmla="*/ 180975 h 314325"/>
                  <a:gd name="connsiteX66" fmla="*/ 961031 w 1023774"/>
                  <a:gd name="connsiteY66" fmla="*/ 214312 h 314325"/>
                  <a:gd name="connsiteX67" fmla="*/ 980081 w 1023774"/>
                  <a:gd name="connsiteY67" fmla="*/ 242887 h 314325"/>
                  <a:gd name="connsiteX68" fmla="*/ 990273 w 1023774"/>
                  <a:gd name="connsiteY68" fmla="*/ 265734 h 314325"/>
                  <a:gd name="connsiteX69" fmla="*/ 1023774 w 1023774"/>
                  <a:gd name="connsiteY69" fmla="*/ 26140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23774" h="314325">
                    <a:moveTo>
                      <a:pt x="0" y="262750"/>
                    </a:moveTo>
                    <a:cubicBezTo>
                      <a:pt x="20885" y="261865"/>
                      <a:pt x="25469" y="263292"/>
                      <a:pt x="33523" y="257600"/>
                    </a:cubicBezTo>
                    <a:cubicBezTo>
                      <a:pt x="41577" y="251908"/>
                      <a:pt x="42966" y="241371"/>
                      <a:pt x="48326" y="228600"/>
                    </a:cubicBezTo>
                    <a:cubicBezTo>
                      <a:pt x="53686" y="215829"/>
                      <a:pt x="61201" y="191294"/>
                      <a:pt x="65681" y="180975"/>
                    </a:cubicBezTo>
                    <a:cubicBezTo>
                      <a:pt x="70161" y="170656"/>
                      <a:pt x="75206" y="166687"/>
                      <a:pt x="75206" y="166687"/>
                    </a:cubicBezTo>
                    <a:cubicBezTo>
                      <a:pt x="81379" y="141993"/>
                      <a:pt x="80199" y="142413"/>
                      <a:pt x="94256" y="114300"/>
                    </a:cubicBezTo>
                    <a:cubicBezTo>
                      <a:pt x="96816" y="109180"/>
                      <a:pt x="100941" y="104982"/>
                      <a:pt x="103781" y="100012"/>
                    </a:cubicBezTo>
                    <a:cubicBezTo>
                      <a:pt x="111652" y="86238"/>
                      <a:pt x="117265" y="71993"/>
                      <a:pt x="122831" y="57150"/>
                    </a:cubicBezTo>
                    <a:cubicBezTo>
                      <a:pt x="124594" y="52449"/>
                      <a:pt x="126272" y="47705"/>
                      <a:pt x="127593" y="42862"/>
                    </a:cubicBezTo>
                    <a:cubicBezTo>
                      <a:pt x="131037" y="30232"/>
                      <a:pt x="137118" y="4762"/>
                      <a:pt x="137118" y="4762"/>
                    </a:cubicBezTo>
                    <a:cubicBezTo>
                      <a:pt x="147761" y="57971"/>
                      <a:pt x="137808" y="2826"/>
                      <a:pt x="146643" y="100012"/>
                    </a:cubicBezTo>
                    <a:cubicBezTo>
                      <a:pt x="149080" y="126823"/>
                      <a:pt x="150580" y="130044"/>
                      <a:pt x="156168" y="152400"/>
                    </a:cubicBezTo>
                    <a:cubicBezTo>
                      <a:pt x="157756" y="177800"/>
                      <a:pt x="158056" y="209290"/>
                      <a:pt x="160931" y="228600"/>
                    </a:cubicBezTo>
                    <a:cubicBezTo>
                      <a:pt x="163806" y="247910"/>
                      <a:pt x="166692" y="263763"/>
                      <a:pt x="173420" y="268258"/>
                    </a:cubicBezTo>
                    <a:cubicBezTo>
                      <a:pt x="180148" y="272753"/>
                      <a:pt x="191602" y="266688"/>
                      <a:pt x="201301" y="255572"/>
                    </a:cubicBezTo>
                    <a:cubicBezTo>
                      <a:pt x="211000" y="244456"/>
                      <a:pt x="223259" y="215581"/>
                      <a:pt x="231612" y="201561"/>
                    </a:cubicBezTo>
                    <a:cubicBezTo>
                      <a:pt x="239965" y="187541"/>
                      <a:pt x="244942" y="181231"/>
                      <a:pt x="251418" y="171450"/>
                    </a:cubicBezTo>
                    <a:cubicBezTo>
                      <a:pt x="257894" y="161669"/>
                      <a:pt x="261737" y="159544"/>
                      <a:pt x="270468" y="142875"/>
                    </a:cubicBezTo>
                    <a:cubicBezTo>
                      <a:pt x="279199" y="126206"/>
                      <a:pt x="296421" y="89144"/>
                      <a:pt x="303806" y="71437"/>
                    </a:cubicBezTo>
                    <a:cubicBezTo>
                      <a:pt x="311191" y="53730"/>
                      <a:pt x="311790" y="33730"/>
                      <a:pt x="314781" y="36631"/>
                    </a:cubicBezTo>
                    <a:cubicBezTo>
                      <a:pt x="317772" y="39532"/>
                      <a:pt x="320164" y="84078"/>
                      <a:pt x="321752" y="88841"/>
                    </a:cubicBezTo>
                    <a:cubicBezTo>
                      <a:pt x="324164" y="108135"/>
                      <a:pt x="324297" y="133869"/>
                      <a:pt x="326862" y="147637"/>
                    </a:cubicBezTo>
                    <a:cubicBezTo>
                      <a:pt x="329427" y="161405"/>
                      <a:pt x="335556" y="163512"/>
                      <a:pt x="337143" y="171450"/>
                    </a:cubicBezTo>
                    <a:cubicBezTo>
                      <a:pt x="338731" y="200025"/>
                      <a:pt x="341588" y="234151"/>
                      <a:pt x="348529" y="261916"/>
                    </a:cubicBezTo>
                    <a:cubicBezTo>
                      <a:pt x="349917" y="267469"/>
                      <a:pt x="352650" y="252672"/>
                      <a:pt x="356193" y="247650"/>
                    </a:cubicBezTo>
                    <a:cubicBezTo>
                      <a:pt x="359736" y="242628"/>
                      <a:pt x="367710" y="236352"/>
                      <a:pt x="369787" y="231782"/>
                    </a:cubicBezTo>
                    <a:cubicBezTo>
                      <a:pt x="382365" y="204110"/>
                      <a:pt x="387827" y="191030"/>
                      <a:pt x="394293" y="180975"/>
                    </a:cubicBezTo>
                    <a:cubicBezTo>
                      <a:pt x="400759" y="170920"/>
                      <a:pt x="403818" y="174625"/>
                      <a:pt x="408581" y="171450"/>
                    </a:cubicBezTo>
                    <a:cubicBezTo>
                      <a:pt x="411756" y="166687"/>
                      <a:pt x="412986" y="154602"/>
                      <a:pt x="418106" y="157162"/>
                    </a:cubicBezTo>
                    <a:cubicBezTo>
                      <a:pt x="425753" y="160985"/>
                      <a:pt x="424709" y="172941"/>
                      <a:pt x="427631" y="180975"/>
                    </a:cubicBezTo>
                    <a:cubicBezTo>
                      <a:pt x="431062" y="190411"/>
                      <a:pt x="433855" y="197647"/>
                      <a:pt x="437156" y="209550"/>
                    </a:cubicBezTo>
                    <a:cubicBezTo>
                      <a:pt x="440457" y="221453"/>
                      <a:pt x="439998" y="241975"/>
                      <a:pt x="447437" y="252390"/>
                    </a:cubicBezTo>
                    <a:cubicBezTo>
                      <a:pt x="452397" y="259334"/>
                      <a:pt x="472700" y="235066"/>
                      <a:pt x="475256" y="233362"/>
                    </a:cubicBezTo>
                    <a:cubicBezTo>
                      <a:pt x="493561" y="205906"/>
                      <a:pt x="485574" y="234949"/>
                      <a:pt x="489543" y="233362"/>
                    </a:cubicBezTo>
                    <a:cubicBezTo>
                      <a:pt x="493512" y="231775"/>
                      <a:pt x="490337" y="239712"/>
                      <a:pt x="499068" y="223837"/>
                    </a:cubicBezTo>
                    <a:cubicBezTo>
                      <a:pt x="507799" y="207962"/>
                      <a:pt x="531612" y="157956"/>
                      <a:pt x="541931" y="138112"/>
                    </a:cubicBezTo>
                    <a:cubicBezTo>
                      <a:pt x="552850" y="105353"/>
                      <a:pt x="537914" y="145143"/>
                      <a:pt x="560981" y="104775"/>
                    </a:cubicBezTo>
                    <a:cubicBezTo>
                      <a:pt x="563472" y="100416"/>
                      <a:pt x="562607" y="94407"/>
                      <a:pt x="565743" y="90487"/>
                    </a:cubicBezTo>
                    <a:cubicBezTo>
                      <a:pt x="569319" y="86017"/>
                      <a:pt x="571184" y="87839"/>
                      <a:pt x="580031" y="80962"/>
                    </a:cubicBezTo>
                    <a:cubicBezTo>
                      <a:pt x="588878" y="74085"/>
                      <a:pt x="611728" y="55221"/>
                      <a:pt x="618825" y="49227"/>
                    </a:cubicBezTo>
                    <a:cubicBezTo>
                      <a:pt x="625922" y="43233"/>
                      <a:pt x="631144" y="10301"/>
                      <a:pt x="635859" y="51320"/>
                    </a:cubicBezTo>
                    <a:cubicBezTo>
                      <a:pt x="640574" y="92339"/>
                      <a:pt x="642307" y="250453"/>
                      <a:pt x="647116" y="295341"/>
                    </a:cubicBezTo>
                    <a:cubicBezTo>
                      <a:pt x="647461" y="300349"/>
                      <a:pt x="646706" y="312737"/>
                      <a:pt x="651468" y="314325"/>
                    </a:cubicBezTo>
                    <a:cubicBezTo>
                      <a:pt x="654643" y="307975"/>
                      <a:pt x="657082" y="304804"/>
                      <a:pt x="660993" y="295275"/>
                    </a:cubicBezTo>
                    <a:cubicBezTo>
                      <a:pt x="664904" y="285746"/>
                      <a:pt x="667306" y="278316"/>
                      <a:pt x="674933" y="257152"/>
                    </a:cubicBezTo>
                    <a:cubicBezTo>
                      <a:pt x="682561" y="235988"/>
                      <a:pt x="698763" y="188924"/>
                      <a:pt x="706758" y="168290"/>
                    </a:cubicBezTo>
                    <a:cubicBezTo>
                      <a:pt x="714753" y="147656"/>
                      <a:pt x="719421" y="133617"/>
                      <a:pt x="722906" y="133350"/>
                    </a:cubicBezTo>
                    <a:cubicBezTo>
                      <a:pt x="726391" y="133083"/>
                      <a:pt x="725467" y="155680"/>
                      <a:pt x="727668" y="166687"/>
                    </a:cubicBezTo>
                    <a:cubicBezTo>
                      <a:pt x="728653" y="171610"/>
                      <a:pt x="728946" y="182822"/>
                      <a:pt x="732431" y="180975"/>
                    </a:cubicBezTo>
                    <a:cubicBezTo>
                      <a:pt x="735916" y="179128"/>
                      <a:pt x="741551" y="163805"/>
                      <a:pt x="748579" y="155604"/>
                    </a:cubicBezTo>
                    <a:cubicBezTo>
                      <a:pt x="755607" y="147403"/>
                      <a:pt x="766972" y="143416"/>
                      <a:pt x="774599" y="131770"/>
                    </a:cubicBezTo>
                    <a:cubicBezTo>
                      <a:pt x="782226" y="120124"/>
                      <a:pt x="789465" y="88637"/>
                      <a:pt x="794343" y="85725"/>
                    </a:cubicBezTo>
                    <a:cubicBezTo>
                      <a:pt x="799221" y="82813"/>
                      <a:pt x="801542" y="104533"/>
                      <a:pt x="803868" y="114300"/>
                    </a:cubicBezTo>
                    <a:cubicBezTo>
                      <a:pt x="809493" y="137924"/>
                      <a:pt x="812290" y="174624"/>
                      <a:pt x="818156" y="185737"/>
                    </a:cubicBezTo>
                    <a:cubicBezTo>
                      <a:pt x="824022" y="196850"/>
                      <a:pt x="835146" y="184111"/>
                      <a:pt x="839066" y="180975"/>
                    </a:cubicBezTo>
                    <a:cubicBezTo>
                      <a:pt x="845489" y="175837"/>
                      <a:pt x="849422" y="155575"/>
                      <a:pt x="856256" y="138112"/>
                    </a:cubicBezTo>
                    <a:cubicBezTo>
                      <a:pt x="863090" y="120650"/>
                      <a:pt x="874336" y="97217"/>
                      <a:pt x="880068" y="76200"/>
                    </a:cubicBezTo>
                    <a:cubicBezTo>
                      <a:pt x="882198" y="68390"/>
                      <a:pt x="881211" y="59627"/>
                      <a:pt x="884831" y="52387"/>
                    </a:cubicBezTo>
                    <a:cubicBezTo>
                      <a:pt x="887843" y="46363"/>
                      <a:pt x="894356" y="42862"/>
                      <a:pt x="899118" y="38100"/>
                    </a:cubicBezTo>
                    <a:cubicBezTo>
                      <a:pt x="900706" y="30162"/>
                      <a:pt x="901918" y="22140"/>
                      <a:pt x="903881" y="14287"/>
                    </a:cubicBezTo>
                    <a:cubicBezTo>
                      <a:pt x="905099" y="9417"/>
                      <a:pt x="903623" y="0"/>
                      <a:pt x="908643" y="0"/>
                    </a:cubicBezTo>
                    <a:cubicBezTo>
                      <a:pt x="913663" y="0"/>
                      <a:pt x="911818" y="9525"/>
                      <a:pt x="913406" y="14287"/>
                    </a:cubicBezTo>
                    <a:cubicBezTo>
                      <a:pt x="914993" y="33337"/>
                      <a:pt x="915025" y="52581"/>
                      <a:pt x="918168" y="71437"/>
                    </a:cubicBezTo>
                    <a:cubicBezTo>
                      <a:pt x="919819" y="81341"/>
                      <a:pt x="924935" y="90358"/>
                      <a:pt x="927693" y="100012"/>
                    </a:cubicBezTo>
                    <a:cubicBezTo>
                      <a:pt x="942673" y="152442"/>
                      <a:pt x="928213" y="123104"/>
                      <a:pt x="951506" y="161925"/>
                    </a:cubicBezTo>
                    <a:cubicBezTo>
                      <a:pt x="953093" y="168275"/>
                      <a:pt x="955097" y="174535"/>
                      <a:pt x="956268" y="180975"/>
                    </a:cubicBezTo>
                    <a:cubicBezTo>
                      <a:pt x="958276" y="192019"/>
                      <a:pt x="957001" y="203835"/>
                      <a:pt x="961031" y="214312"/>
                    </a:cubicBezTo>
                    <a:cubicBezTo>
                      <a:pt x="965141" y="224997"/>
                      <a:pt x="975207" y="234317"/>
                      <a:pt x="980081" y="242887"/>
                    </a:cubicBezTo>
                    <a:cubicBezTo>
                      <a:pt x="984955" y="251457"/>
                      <a:pt x="983258" y="262242"/>
                      <a:pt x="990273" y="265734"/>
                    </a:cubicBezTo>
                    <a:cubicBezTo>
                      <a:pt x="996576" y="258872"/>
                      <a:pt x="1004240" y="263357"/>
                      <a:pt x="1023774" y="261405"/>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0" name="Group 19"/>
            <p:cNvGrpSpPr/>
            <p:nvPr/>
          </p:nvGrpSpPr>
          <p:grpSpPr bwMode="gray">
            <a:xfrm>
              <a:off x="4140540" y="2967283"/>
              <a:ext cx="3757897" cy="300436"/>
              <a:chOff x="8728775" y="3089997"/>
              <a:chExt cx="3757897" cy="300436"/>
            </a:xfrm>
          </p:grpSpPr>
          <p:sp>
            <p:nvSpPr>
              <p:cNvPr id="113" name="Freeform 112"/>
              <p:cNvSpPr/>
              <p:nvPr/>
            </p:nvSpPr>
            <p:spPr bwMode="gray">
              <a:xfrm>
                <a:off x="8728775" y="3089997"/>
                <a:ext cx="1890172" cy="300436"/>
              </a:xfrm>
              <a:custGeom>
                <a:avLst/>
                <a:gdLst>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19112 w 1011118"/>
                  <a:gd name="connsiteY37" fmla="*/ 166687 h 314325"/>
                  <a:gd name="connsiteX38" fmla="*/ 533400 w 1011118"/>
                  <a:gd name="connsiteY38" fmla="*/ 138112 h 314325"/>
                  <a:gd name="connsiteX39" fmla="*/ 552450 w 1011118"/>
                  <a:gd name="connsiteY39" fmla="*/ 104775 h 314325"/>
                  <a:gd name="connsiteX40" fmla="*/ 557212 w 1011118"/>
                  <a:gd name="connsiteY40" fmla="*/ 90487 h 314325"/>
                  <a:gd name="connsiteX41" fmla="*/ 571500 w 1011118"/>
                  <a:gd name="connsiteY41" fmla="*/ 80962 h 314325"/>
                  <a:gd name="connsiteX42" fmla="*/ 619125 w 1011118"/>
                  <a:gd name="connsiteY42" fmla="*/ 52387 h 314325"/>
                  <a:gd name="connsiteX43" fmla="*/ 628650 w 1011118"/>
                  <a:gd name="connsiteY43" fmla="*/ 309562 h 314325"/>
                  <a:gd name="connsiteX44" fmla="*/ 642937 w 1011118"/>
                  <a:gd name="connsiteY44" fmla="*/ 314325 h 314325"/>
                  <a:gd name="connsiteX45" fmla="*/ 652462 w 1011118"/>
                  <a:gd name="connsiteY45" fmla="*/ 295275 h 314325"/>
                  <a:gd name="connsiteX46" fmla="*/ 661987 w 1011118"/>
                  <a:gd name="connsiteY46" fmla="*/ 252412 h 314325"/>
                  <a:gd name="connsiteX47" fmla="*/ 690562 w 1011118"/>
                  <a:gd name="connsiteY47" fmla="*/ 204787 h 314325"/>
                  <a:gd name="connsiteX48" fmla="*/ 704850 w 1011118"/>
                  <a:gd name="connsiteY48" fmla="*/ 171450 h 314325"/>
                  <a:gd name="connsiteX49" fmla="*/ 714375 w 1011118"/>
                  <a:gd name="connsiteY49" fmla="*/ 133350 h 314325"/>
                  <a:gd name="connsiteX50" fmla="*/ 719137 w 1011118"/>
                  <a:gd name="connsiteY50" fmla="*/ 166687 h 314325"/>
                  <a:gd name="connsiteX51" fmla="*/ 723900 w 1011118"/>
                  <a:gd name="connsiteY51" fmla="*/ 180975 h 314325"/>
                  <a:gd name="connsiteX52" fmla="*/ 733425 w 1011118"/>
                  <a:gd name="connsiteY52" fmla="*/ 161925 h 314325"/>
                  <a:gd name="connsiteX53" fmla="*/ 757237 w 1011118"/>
                  <a:gd name="connsiteY53" fmla="*/ 133350 h 314325"/>
                  <a:gd name="connsiteX54" fmla="*/ 785812 w 1011118"/>
                  <a:gd name="connsiteY54" fmla="*/ 85725 h 314325"/>
                  <a:gd name="connsiteX55" fmla="*/ 795337 w 1011118"/>
                  <a:gd name="connsiteY55" fmla="*/ 114300 h 314325"/>
                  <a:gd name="connsiteX56" fmla="*/ 809625 w 1011118"/>
                  <a:gd name="connsiteY56" fmla="*/ 185737 h 314325"/>
                  <a:gd name="connsiteX57" fmla="*/ 823912 w 1011118"/>
                  <a:gd name="connsiteY57" fmla="*/ 180975 h 314325"/>
                  <a:gd name="connsiteX58" fmla="*/ 847725 w 1011118"/>
                  <a:gd name="connsiteY58" fmla="*/ 138112 h 314325"/>
                  <a:gd name="connsiteX59" fmla="*/ 871537 w 1011118"/>
                  <a:gd name="connsiteY59" fmla="*/ 76200 h 314325"/>
                  <a:gd name="connsiteX60" fmla="*/ 876300 w 1011118"/>
                  <a:gd name="connsiteY60" fmla="*/ 52387 h 314325"/>
                  <a:gd name="connsiteX61" fmla="*/ 890587 w 1011118"/>
                  <a:gd name="connsiteY61" fmla="*/ 38100 h 314325"/>
                  <a:gd name="connsiteX62" fmla="*/ 895350 w 1011118"/>
                  <a:gd name="connsiteY62" fmla="*/ 14287 h 314325"/>
                  <a:gd name="connsiteX63" fmla="*/ 900112 w 1011118"/>
                  <a:gd name="connsiteY63" fmla="*/ 0 h 314325"/>
                  <a:gd name="connsiteX64" fmla="*/ 904875 w 1011118"/>
                  <a:gd name="connsiteY64" fmla="*/ 14287 h 314325"/>
                  <a:gd name="connsiteX65" fmla="*/ 909637 w 1011118"/>
                  <a:gd name="connsiteY65" fmla="*/ 71437 h 314325"/>
                  <a:gd name="connsiteX66" fmla="*/ 919162 w 1011118"/>
                  <a:gd name="connsiteY66" fmla="*/ 100012 h 314325"/>
                  <a:gd name="connsiteX67" fmla="*/ 942975 w 1011118"/>
                  <a:gd name="connsiteY67" fmla="*/ 161925 h 314325"/>
                  <a:gd name="connsiteX68" fmla="*/ 947737 w 1011118"/>
                  <a:gd name="connsiteY68" fmla="*/ 180975 h 314325"/>
                  <a:gd name="connsiteX69" fmla="*/ 952500 w 1011118"/>
                  <a:gd name="connsiteY69" fmla="*/ 214312 h 314325"/>
                  <a:gd name="connsiteX70" fmla="*/ 971550 w 1011118"/>
                  <a:gd name="connsiteY70" fmla="*/ 242887 h 314325"/>
                  <a:gd name="connsiteX71" fmla="*/ 985837 w 1011118"/>
                  <a:gd name="connsiteY71" fmla="*/ 238125 h 314325"/>
                  <a:gd name="connsiteX72" fmla="*/ 990600 w 1011118"/>
                  <a:gd name="connsiteY72" fmla="*/ 223837 h 314325"/>
                  <a:gd name="connsiteX73" fmla="*/ 1004887 w 1011118"/>
                  <a:gd name="connsiteY73"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33400 w 1011118"/>
                  <a:gd name="connsiteY37" fmla="*/ 138112 h 314325"/>
                  <a:gd name="connsiteX38" fmla="*/ 552450 w 1011118"/>
                  <a:gd name="connsiteY38" fmla="*/ 104775 h 314325"/>
                  <a:gd name="connsiteX39" fmla="*/ 557212 w 1011118"/>
                  <a:gd name="connsiteY39" fmla="*/ 90487 h 314325"/>
                  <a:gd name="connsiteX40" fmla="*/ 571500 w 1011118"/>
                  <a:gd name="connsiteY40" fmla="*/ 80962 h 314325"/>
                  <a:gd name="connsiteX41" fmla="*/ 619125 w 1011118"/>
                  <a:gd name="connsiteY41" fmla="*/ 52387 h 314325"/>
                  <a:gd name="connsiteX42" fmla="*/ 628650 w 1011118"/>
                  <a:gd name="connsiteY42" fmla="*/ 309562 h 314325"/>
                  <a:gd name="connsiteX43" fmla="*/ 642937 w 1011118"/>
                  <a:gd name="connsiteY43" fmla="*/ 314325 h 314325"/>
                  <a:gd name="connsiteX44" fmla="*/ 652462 w 1011118"/>
                  <a:gd name="connsiteY44" fmla="*/ 295275 h 314325"/>
                  <a:gd name="connsiteX45" fmla="*/ 661987 w 1011118"/>
                  <a:gd name="connsiteY45" fmla="*/ 252412 h 314325"/>
                  <a:gd name="connsiteX46" fmla="*/ 690562 w 1011118"/>
                  <a:gd name="connsiteY46" fmla="*/ 204787 h 314325"/>
                  <a:gd name="connsiteX47" fmla="*/ 704850 w 1011118"/>
                  <a:gd name="connsiteY47" fmla="*/ 171450 h 314325"/>
                  <a:gd name="connsiteX48" fmla="*/ 714375 w 1011118"/>
                  <a:gd name="connsiteY48" fmla="*/ 133350 h 314325"/>
                  <a:gd name="connsiteX49" fmla="*/ 719137 w 1011118"/>
                  <a:gd name="connsiteY49" fmla="*/ 166687 h 314325"/>
                  <a:gd name="connsiteX50" fmla="*/ 723900 w 1011118"/>
                  <a:gd name="connsiteY50" fmla="*/ 180975 h 314325"/>
                  <a:gd name="connsiteX51" fmla="*/ 733425 w 1011118"/>
                  <a:gd name="connsiteY51" fmla="*/ 161925 h 314325"/>
                  <a:gd name="connsiteX52" fmla="*/ 757237 w 1011118"/>
                  <a:gd name="connsiteY52" fmla="*/ 133350 h 314325"/>
                  <a:gd name="connsiteX53" fmla="*/ 785812 w 1011118"/>
                  <a:gd name="connsiteY53" fmla="*/ 85725 h 314325"/>
                  <a:gd name="connsiteX54" fmla="*/ 795337 w 1011118"/>
                  <a:gd name="connsiteY54" fmla="*/ 114300 h 314325"/>
                  <a:gd name="connsiteX55" fmla="*/ 809625 w 1011118"/>
                  <a:gd name="connsiteY55" fmla="*/ 185737 h 314325"/>
                  <a:gd name="connsiteX56" fmla="*/ 823912 w 1011118"/>
                  <a:gd name="connsiteY56" fmla="*/ 180975 h 314325"/>
                  <a:gd name="connsiteX57" fmla="*/ 847725 w 1011118"/>
                  <a:gd name="connsiteY57" fmla="*/ 138112 h 314325"/>
                  <a:gd name="connsiteX58" fmla="*/ 871537 w 1011118"/>
                  <a:gd name="connsiteY58" fmla="*/ 76200 h 314325"/>
                  <a:gd name="connsiteX59" fmla="*/ 876300 w 1011118"/>
                  <a:gd name="connsiteY59" fmla="*/ 52387 h 314325"/>
                  <a:gd name="connsiteX60" fmla="*/ 890587 w 1011118"/>
                  <a:gd name="connsiteY60" fmla="*/ 38100 h 314325"/>
                  <a:gd name="connsiteX61" fmla="*/ 895350 w 1011118"/>
                  <a:gd name="connsiteY61" fmla="*/ 14287 h 314325"/>
                  <a:gd name="connsiteX62" fmla="*/ 900112 w 1011118"/>
                  <a:gd name="connsiteY62" fmla="*/ 0 h 314325"/>
                  <a:gd name="connsiteX63" fmla="*/ 904875 w 1011118"/>
                  <a:gd name="connsiteY63" fmla="*/ 14287 h 314325"/>
                  <a:gd name="connsiteX64" fmla="*/ 909637 w 1011118"/>
                  <a:gd name="connsiteY64" fmla="*/ 71437 h 314325"/>
                  <a:gd name="connsiteX65" fmla="*/ 919162 w 1011118"/>
                  <a:gd name="connsiteY65" fmla="*/ 100012 h 314325"/>
                  <a:gd name="connsiteX66" fmla="*/ 942975 w 1011118"/>
                  <a:gd name="connsiteY66" fmla="*/ 161925 h 314325"/>
                  <a:gd name="connsiteX67" fmla="*/ 947737 w 1011118"/>
                  <a:gd name="connsiteY67" fmla="*/ 180975 h 314325"/>
                  <a:gd name="connsiteX68" fmla="*/ 952500 w 1011118"/>
                  <a:gd name="connsiteY68" fmla="*/ 214312 h 314325"/>
                  <a:gd name="connsiteX69" fmla="*/ 971550 w 1011118"/>
                  <a:gd name="connsiteY69" fmla="*/ 242887 h 314325"/>
                  <a:gd name="connsiteX70" fmla="*/ 985837 w 1011118"/>
                  <a:gd name="connsiteY70" fmla="*/ 238125 h 314325"/>
                  <a:gd name="connsiteX71" fmla="*/ 990600 w 1011118"/>
                  <a:gd name="connsiteY71" fmla="*/ 223837 h 314325"/>
                  <a:gd name="connsiteX72" fmla="*/ 1004887 w 1011118"/>
                  <a:gd name="connsiteY72"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0537 w 1011118"/>
                  <a:gd name="connsiteY35" fmla="*/ 223837 h 314325"/>
                  <a:gd name="connsiteX36" fmla="*/ 533400 w 1011118"/>
                  <a:gd name="connsiteY36" fmla="*/ 138112 h 314325"/>
                  <a:gd name="connsiteX37" fmla="*/ 552450 w 1011118"/>
                  <a:gd name="connsiteY37" fmla="*/ 104775 h 314325"/>
                  <a:gd name="connsiteX38" fmla="*/ 557212 w 1011118"/>
                  <a:gd name="connsiteY38" fmla="*/ 90487 h 314325"/>
                  <a:gd name="connsiteX39" fmla="*/ 571500 w 1011118"/>
                  <a:gd name="connsiteY39" fmla="*/ 80962 h 314325"/>
                  <a:gd name="connsiteX40" fmla="*/ 619125 w 1011118"/>
                  <a:gd name="connsiteY40" fmla="*/ 52387 h 314325"/>
                  <a:gd name="connsiteX41" fmla="*/ 628650 w 1011118"/>
                  <a:gd name="connsiteY41" fmla="*/ 309562 h 314325"/>
                  <a:gd name="connsiteX42" fmla="*/ 642937 w 1011118"/>
                  <a:gd name="connsiteY42" fmla="*/ 314325 h 314325"/>
                  <a:gd name="connsiteX43" fmla="*/ 652462 w 1011118"/>
                  <a:gd name="connsiteY43" fmla="*/ 295275 h 314325"/>
                  <a:gd name="connsiteX44" fmla="*/ 661987 w 1011118"/>
                  <a:gd name="connsiteY44" fmla="*/ 252412 h 314325"/>
                  <a:gd name="connsiteX45" fmla="*/ 690562 w 1011118"/>
                  <a:gd name="connsiteY45" fmla="*/ 204787 h 314325"/>
                  <a:gd name="connsiteX46" fmla="*/ 704850 w 1011118"/>
                  <a:gd name="connsiteY46" fmla="*/ 171450 h 314325"/>
                  <a:gd name="connsiteX47" fmla="*/ 714375 w 1011118"/>
                  <a:gd name="connsiteY47" fmla="*/ 133350 h 314325"/>
                  <a:gd name="connsiteX48" fmla="*/ 719137 w 1011118"/>
                  <a:gd name="connsiteY48" fmla="*/ 166687 h 314325"/>
                  <a:gd name="connsiteX49" fmla="*/ 723900 w 1011118"/>
                  <a:gd name="connsiteY49" fmla="*/ 180975 h 314325"/>
                  <a:gd name="connsiteX50" fmla="*/ 733425 w 1011118"/>
                  <a:gd name="connsiteY50" fmla="*/ 161925 h 314325"/>
                  <a:gd name="connsiteX51" fmla="*/ 757237 w 1011118"/>
                  <a:gd name="connsiteY51" fmla="*/ 133350 h 314325"/>
                  <a:gd name="connsiteX52" fmla="*/ 785812 w 1011118"/>
                  <a:gd name="connsiteY52" fmla="*/ 85725 h 314325"/>
                  <a:gd name="connsiteX53" fmla="*/ 795337 w 1011118"/>
                  <a:gd name="connsiteY53" fmla="*/ 114300 h 314325"/>
                  <a:gd name="connsiteX54" fmla="*/ 809625 w 1011118"/>
                  <a:gd name="connsiteY54" fmla="*/ 185737 h 314325"/>
                  <a:gd name="connsiteX55" fmla="*/ 823912 w 1011118"/>
                  <a:gd name="connsiteY55" fmla="*/ 180975 h 314325"/>
                  <a:gd name="connsiteX56" fmla="*/ 847725 w 1011118"/>
                  <a:gd name="connsiteY56" fmla="*/ 138112 h 314325"/>
                  <a:gd name="connsiteX57" fmla="*/ 871537 w 1011118"/>
                  <a:gd name="connsiteY57" fmla="*/ 76200 h 314325"/>
                  <a:gd name="connsiteX58" fmla="*/ 876300 w 1011118"/>
                  <a:gd name="connsiteY58" fmla="*/ 52387 h 314325"/>
                  <a:gd name="connsiteX59" fmla="*/ 890587 w 1011118"/>
                  <a:gd name="connsiteY59" fmla="*/ 38100 h 314325"/>
                  <a:gd name="connsiteX60" fmla="*/ 895350 w 1011118"/>
                  <a:gd name="connsiteY60" fmla="*/ 14287 h 314325"/>
                  <a:gd name="connsiteX61" fmla="*/ 900112 w 1011118"/>
                  <a:gd name="connsiteY61" fmla="*/ 0 h 314325"/>
                  <a:gd name="connsiteX62" fmla="*/ 904875 w 1011118"/>
                  <a:gd name="connsiteY62" fmla="*/ 14287 h 314325"/>
                  <a:gd name="connsiteX63" fmla="*/ 909637 w 1011118"/>
                  <a:gd name="connsiteY63" fmla="*/ 71437 h 314325"/>
                  <a:gd name="connsiteX64" fmla="*/ 919162 w 1011118"/>
                  <a:gd name="connsiteY64" fmla="*/ 100012 h 314325"/>
                  <a:gd name="connsiteX65" fmla="*/ 942975 w 1011118"/>
                  <a:gd name="connsiteY65" fmla="*/ 161925 h 314325"/>
                  <a:gd name="connsiteX66" fmla="*/ 947737 w 1011118"/>
                  <a:gd name="connsiteY66" fmla="*/ 180975 h 314325"/>
                  <a:gd name="connsiteX67" fmla="*/ 952500 w 1011118"/>
                  <a:gd name="connsiteY67" fmla="*/ 214312 h 314325"/>
                  <a:gd name="connsiteX68" fmla="*/ 971550 w 1011118"/>
                  <a:gd name="connsiteY68" fmla="*/ 242887 h 314325"/>
                  <a:gd name="connsiteX69" fmla="*/ 985837 w 1011118"/>
                  <a:gd name="connsiteY69" fmla="*/ 238125 h 314325"/>
                  <a:gd name="connsiteX70" fmla="*/ 990600 w 1011118"/>
                  <a:gd name="connsiteY70" fmla="*/ 223837 h 314325"/>
                  <a:gd name="connsiteX71" fmla="*/ 1004887 w 1011118"/>
                  <a:gd name="connsiteY71"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23850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704850 w 1011118"/>
                  <a:gd name="connsiteY44" fmla="*/ 17145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30535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6250 w 1011118"/>
                  <a:gd name="connsiteY19" fmla="*/ 3663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990600"/>
                  <a:gd name="connsiteY0" fmla="*/ 266700 h 314325"/>
                  <a:gd name="connsiteX1" fmla="*/ 23812 w 990600"/>
                  <a:gd name="connsiteY1" fmla="*/ 242887 h 314325"/>
                  <a:gd name="connsiteX2" fmla="*/ 28575 w 990600"/>
                  <a:gd name="connsiteY2" fmla="*/ 228600 h 314325"/>
                  <a:gd name="connsiteX3" fmla="*/ 57150 w 990600"/>
                  <a:gd name="connsiteY3" fmla="*/ 180975 h 314325"/>
                  <a:gd name="connsiteX4" fmla="*/ 66675 w 990600"/>
                  <a:gd name="connsiteY4" fmla="*/ 166687 h 314325"/>
                  <a:gd name="connsiteX5" fmla="*/ 85725 w 990600"/>
                  <a:gd name="connsiteY5" fmla="*/ 114300 h 314325"/>
                  <a:gd name="connsiteX6" fmla="*/ 95250 w 990600"/>
                  <a:gd name="connsiteY6" fmla="*/ 100012 h 314325"/>
                  <a:gd name="connsiteX7" fmla="*/ 114300 w 990600"/>
                  <a:gd name="connsiteY7" fmla="*/ 57150 h 314325"/>
                  <a:gd name="connsiteX8" fmla="*/ 119062 w 990600"/>
                  <a:gd name="connsiteY8" fmla="*/ 42862 h 314325"/>
                  <a:gd name="connsiteX9" fmla="*/ 128587 w 990600"/>
                  <a:gd name="connsiteY9" fmla="*/ 4762 h 314325"/>
                  <a:gd name="connsiteX10" fmla="*/ 138112 w 990600"/>
                  <a:gd name="connsiteY10" fmla="*/ 100012 h 314325"/>
                  <a:gd name="connsiteX11" fmla="*/ 147637 w 990600"/>
                  <a:gd name="connsiteY11" fmla="*/ 152400 h 314325"/>
                  <a:gd name="connsiteX12" fmla="*/ 152400 w 990600"/>
                  <a:gd name="connsiteY12" fmla="*/ 228600 h 314325"/>
                  <a:gd name="connsiteX13" fmla="*/ 164889 w 990600"/>
                  <a:gd name="connsiteY13" fmla="*/ 268258 h 314325"/>
                  <a:gd name="connsiteX14" fmla="*/ 192770 w 990600"/>
                  <a:gd name="connsiteY14" fmla="*/ 255572 h 314325"/>
                  <a:gd name="connsiteX15" fmla="*/ 223081 w 990600"/>
                  <a:gd name="connsiteY15" fmla="*/ 201561 h 314325"/>
                  <a:gd name="connsiteX16" fmla="*/ 242887 w 990600"/>
                  <a:gd name="connsiteY16" fmla="*/ 171450 h 314325"/>
                  <a:gd name="connsiteX17" fmla="*/ 261937 w 990600"/>
                  <a:gd name="connsiteY17" fmla="*/ 142875 h 314325"/>
                  <a:gd name="connsiteX18" fmla="*/ 295275 w 990600"/>
                  <a:gd name="connsiteY18" fmla="*/ 71437 h 314325"/>
                  <a:gd name="connsiteX19" fmla="*/ 306250 w 990600"/>
                  <a:gd name="connsiteY19" fmla="*/ 36631 h 314325"/>
                  <a:gd name="connsiteX20" fmla="*/ 313221 w 990600"/>
                  <a:gd name="connsiteY20" fmla="*/ 88841 h 314325"/>
                  <a:gd name="connsiteX21" fmla="*/ 318331 w 990600"/>
                  <a:gd name="connsiteY21" fmla="*/ 147637 h 314325"/>
                  <a:gd name="connsiteX22" fmla="*/ 328612 w 990600"/>
                  <a:gd name="connsiteY22" fmla="*/ 171450 h 314325"/>
                  <a:gd name="connsiteX23" fmla="*/ 339998 w 990600"/>
                  <a:gd name="connsiteY23" fmla="*/ 261916 h 314325"/>
                  <a:gd name="connsiteX24" fmla="*/ 347662 w 990600"/>
                  <a:gd name="connsiteY24" fmla="*/ 247650 h 314325"/>
                  <a:gd name="connsiteX25" fmla="*/ 361256 w 990600"/>
                  <a:gd name="connsiteY25" fmla="*/ 231782 h 314325"/>
                  <a:gd name="connsiteX26" fmla="*/ 385762 w 990600"/>
                  <a:gd name="connsiteY26" fmla="*/ 180975 h 314325"/>
                  <a:gd name="connsiteX27" fmla="*/ 400050 w 990600"/>
                  <a:gd name="connsiteY27" fmla="*/ 171450 h 314325"/>
                  <a:gd name="connsiteX28" fmla="*/ 409575 w 990600"/>
                  <a:gd name="connsiteY28" fmla="*/ 157162 h 314325"/>
                  <a:gd name="connsiteX29" fmla="*/ 419100 w 990600"/>
                  <a:gd name="connsiteY29" fmla="*/ 180975 h 314325"/>
                  <a:gd name="connsiteX30" fmla="*/ 428625 w 990600"/>
                  <a:gd name="connsiteY30" fmla="*/ 209550 h 314325"/>
                  <a:gd name="connsiteX31" fmla="*/ 438906 w 990600"/>
                  <a:gd name="connsiteY31" fmla="*/ 252390 h 314325"/>
                  <a:gd name="connsiteX32" fmla="*/ 466725 w 990600"/>
                  <a:gd name="connsiteY32" fmla="*/ 233362 h 314325"/>
                  <a:gd name="connsiteX33" fmla="*/ 481012 w 990600"/>
                  <a:gd name="connsiteY33" fmla="*/ 233362 h 314325"/>
                  <a:gd name="connsiteX34" fmla="*/ 490537 w 990600"/>
                  <a:gd name="connsiteY34" fmla="*/ 223837 h 314325"/>
                  <a:gd name="connsiteX35" fmla="*/ 533400 w 990600"/>
                  <a:gd name="connsiteY35" fmla="*/ 138112 h 314325"/>
                  <a:gd name="connsiteX36" fmla="*/ 552450 w 990600"/>
                  <a:gd name="connsiteY36" fmla="*/ 104775 h 314325"/>
                  <a:gd name="connsiteX37" fmla="*/ 557212 w 990600"/>
                  <a:gd name="connsiteY37" fmla="*/ 90487 h 314325"/>
                  <a:gd name="connsiteX38" fmla="*/ 571500 w 990600"/>
                  <a:gd name="connsiteY38" fmla="*/ 80962 h 314325"/>
                  <a:gd name="connsiteX39" fmla="*/ 610294 w 990600"/>
                  <a:gd name="connsiteY39" fmla="*/ 49227 h 314325"/>
                  <a:gd name="connsiteX40" fmla="*/ 627328 w 990600"/>
                  <a:gd name="connsiteY40" fmla="*/ 51320 h 314325"/>
                  <a:gd name="connsiteX41" fmla="*/ 638585 w 990600"/>
                  <a:gd name="connsiteY41" fmla="*/ 295341 h 314325"/>
                  <a:gd name="connsiteX42" fmla="*/ 642937 w 990600"/>
                  <a:gd name="connsiteY42" fmla="*/ 314325 h 314325"/>
                  <a:gd name="connsiteX43" fmla="*/ 652462 w 990600"/>
                  <a:gd name="connsiteY43" fmla="*/ 295275 h 314325"/>
                  <a:gd name="connsiteX44" fmla="*/ 666402 w 990600"/>
                  <a:gd name="connsiteY44" fmla="*/ 257152 h 314325"/>
                  <a:gd name="connsiteX45" fmla="*/ 698227 w 990600"/>
                  <a:gd name="connsiteY45" fmla="*/ 168290 h 314325"/>
                  <a:gd name="connsiteX46" fmla="*/ 714375 w 990600"/>
                  <a:gd name="connsiteY46" fmla="*/ 133350 h 314325"/>
                  <a:gd name="connsiteX47" fmla="*/ 719137 w 990600"/>
                  <a:gd name="connsiteY47" fmla="*/ 166687 h 314325"/>
                  <a:gd name="connsiteX48" fmla="*/ 723900 w 990600"/>
                  <a:gd name="connsiteY48" fmla="*/ 180975 h 314325"/>
                  <a:gd name="connsiteX49" fmla="*/ 740048 w 990600"/>
                  <a:gd name="connsiteY49" fmla="*/ 155604 h 314325"/>
                  <a:gd name="connsiteX50" fmla="*/ 766068 w 990600"/>
                  <a:gd name="connsiteY50" fmla="*/ 131770 h 314325"/>
                  <a:gd name="connsiteX51" fmla="*/ 785812 w 990600"/>
                  <a:gd name="connsiteY51" fmla="*/ 85725 h 314325"/>
                  <a:gd name="connsiteX52" fmla="*/ 795337 w 990600"/>
                  <a:gd name="connsiteY52" fmla="*/ 114300 h 314325"/>
                  <a:gd name="connsiteX53" fmla="*/ 809625 w 990600"/>
                  <a:gd name="connsiteY53" fmla="*/ 185737 h 314325"/>
                  <a:gd name="connsiteX54" fmla="*/ 830535 w 990600"/>
                  <a:gd name="connsiteY54" fmla="*/ 180975 h 314325"/>
                  <a:gd name="connsiteX55" fmla="*/ 847725 w 990600"/>
                  <a:gd name="connsiteY55" fmla="*/ 138112 h 314325"/>
                  <a:gd name="connsiteX56" fmla="*/ 871537 w 990600"/>
                  <a:gd name="connsiteY56" fmla="*/ 76200 h 314325"/>
                  <a:gd name="connsiteX57" fmla="*/ 876300 w 990600"/>
                  <a:gd name="connsiteY57" fmla="*/ 52387 h 314325"/>
                  <a:gd name="connsiteX58" fmla="*/ 890587 w 990600"/>
                  <a:gd name="connsiteY58" fmla="*/ 38100 h 314325"/>
                  <a:gd name="connsiteX59" fmla="*/ 895350 w 990600"/>
                  <a:gd name="connsiteY59" fmla="*/ 14287 h 314325"/>
                  <a:gd name="connsiteX60" fmla="*/ 900112 w 990600"/>
                  <a:gd name="connsiteY60" fmla="*/ 0 h 314325"/>
                  <a:gd name="connsiteX61" fmla="*/ 904875 w 990600"/>
                  <a:gd name="connsiteY61" fmla="*/ 14287 h 314325"/>
                  <a:gd name="connsiteX62" fmla="*/ 909637 w 990600"/>
                  <a:gd name="connsiteY62" fmla="*/ 71437 h 314325"/>
                  <a:gd name="connsiteX63" fmla="*/ 919162 w 990600"/>
                  <a:gd name="connsiteY63" fmla="*/ 100012 h 314325"/>
                  <a:gd name="connsiteX64" fmla="*/ 942975 w 990600"/>
                  <a:gd name="connsiteY64" fmla="*/ 161925 h 314325"/>
                  <a:gd name="connsiteX65" fmla="*/ 947737 w 990600"/>
                  <a:gd name="connsiteY65" fmla="*/ 180975 h 314325"/>
                  <a:gd name="connsiteX66" fmla="*/ 952500 w 990600"/>
                  <a:gd name="connsiteY66" fmla="*/ 214312 h 314325"/>
                  <a:gd name="connsiteX67" fmla="*/ 971550 w 990600"/>
                  <a:gd name="connsiteY67" fmla="*/ 242887 h 314325"/>
                  <a:gd name="connsiteX68" fmla="*/ 985837 w 990600"/>
                  <a:gd name="connsiteY68" fmla="*/ 238125 h 314325"/>
                  <a:gd name="connsiteX69" fmla="*/ 990600 w 990600"/>
                  <a:gd name="connsiteY69" fmla="*/ 223837 h 314325"/>
                  <a:gd name="connsiteX0" fmla="*/ 0 w 1009366"/>
                  <a:gd name="connsiteY0" fmla="*/ 266700 h 314325"/>
                  <a:gd name="connsiteX1" fmla="*/ 23812 w 1009366"/>
                  <a:gd name="connsiteY1" fmla="*/ 242887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7957 w 1008814"/>
                  <a:gd name="connsiteY68" fmla="*/ 250306 h 314325"/>
                  <a:gd name="connsiteX69" fmla="*/ 1008814 w 1008814"/>
                  <a:gd name="connsiteY69" fmla="*/ 201715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417"/>
                  <a:gd name="connsiteY0" fmla="*/ 262750 h 314325"/>
                  <a:gd name="connsiteX1" fmla="*/ 10014 w 1010417"/>
                  <a:gd name="connsiteY1" fmla="*/ 273436 h 314325"/>
                  <a:gd name="connsiteX2" fmla="*/ 28023 w 1010417"/>
                  <a:gd name="connsiteY2" fmla="*/ 228600 h 314325"/>
                  <a:gd name="connsiteX3" fmla="*/ 56598 w 1010417"/>
                  <a:gd name="connsiteY3" fmla="*/ 180975 h 314325"/>
                  <a:gd name="connsiteX4" fmla="*/ 66123 w 1010417"/>
                  <a:gd name="connsiteY4" fmla="*/ 166687 h 314325"/>
                  <a:gd name="connsiteX5" fmla="*/ 85173 w 1010417"/>
                  <a:gd name="connsiteY5" fmla="*/ 114300 h 314325"/>
                  <a:gd name="connsiteX6" fmla="*/ 94698 w 1010417"/>
                  <a:gd name="connsiteY6" fmla="*/ 100012 h 314325"/>
                  <a:gd name="connsiteX7" fmla="*/ 113748 w 1010417"/>
                  <a:gd name="connsiteY7" fmla="*/ 57150 h 314325"/>
                  <a:gd name="connsiteX8" fmla="*/ 118510 w 1010417"/>
                  <a:gd name="connsiteY8" fmla="*/ 42862 h 314325"/>
                  <a:gd name="connsiteX9" fmla="*/ 128035 w 1010417"/>
                  <a:gd name="connsiteY9" fmla="*/ 4762 h 314325"/>
                  <a:gd name="connsiteX10" fmla="*/ 137560 w 1010417"/>
                  <a:gd name="connsiteY10" fmla="*/ 100012 h 314325"/>
                  <a:gd name="connsiteX11" fmla="*/ 147085 w 1010417"/>
                  <a:gd name="connsiteY11" fmla="*/ 152400 h 314325"/>
                  <a:gd name="connsiteX12" fmla="*/ 151848 w 1010417"/>
                  <a:gd name="connsiteY12" fmla="*/ 228600 h 314325"/>
                  <a:gd name="connsiteX13" fmla="*/ 164337 w 1010417"/>
                  <a:gd name="connsiteY13" fmla="*/ 268258 h 314325"/>
                  <a:gd name="connsiteX14" fmla="*/ 192218 w 1010417"/>
                  <a:gd name="connsiteY14" fmla="*/ 255572 h 314325"/>
                  <a:gd name="connsiteX15" fmla="*/ 222529 w 1010417"/>
                  <a:gd name="connsiteY15" fmla="*/ 201561 h 314325"/>
                  <a:gd name="connsiteX16" fmla="*/ 242335 w 1010417"/>
                  <a:gd name="connsiteY16" fmla="*/ 171450 h 314325"/>
                  <a:gd name="connsiteX17" fmla="*/ 261385 w 1010417"/>
                  <a:gd name="connsiteY17" fmla="*/ 142875 h 314325"/>
                  <a:gd name="connsiteX18" fmla="*/ 294723 w 1010417"/>
                  <a:gd name="connsiteY18" fmla="*/ 71437 h 314325"/>
                  <a:gd name="connsiteX19" fmla="*/ 305698 w 1010417"/>
                  <a:gd name="connsiteY19" fmla="*/ 36631 h 314325"/>
                  <a:gd name="connsiteX20" fmla="*/ 312669 w 1010417"/>
                  <a:gd name="connsiteY20" fmla="*/ 88841 h 314325"/>
                  <a:gd name="connsiteX21" fmla="*/ 317779 w 1010417"/>
                  <a:gd name="connsiteY21" fmla="*/ 147637 h 314325"/>
                  <a:gd name="connsiteX22" fmla="*/ 328060 w 1010417"/>
                  <a:gd name="connsiteY22" fmla="*/ 171450 h 314325"/>
                  <a:gd name="connsiteX23" fmla="*/ 339446 w 1010417"/>
                  <a:gd name="connsiteY23" fmla="*/ 261916 h 314325"/>
                  <a:gd name="connsiteX24" fmla="*/ 347110 w 1010417"/>
                  <a:gd name="connsiteY24" fmla="*/ 247650 h 314325"/>
                  <a:gd name="connsiteX25" fmla="*/ 360704 w 1010417"/>
                  <a:gd name="connsiteY25" fmla="*/ 231782 h 314325"/>
                  <a:gd name="connsiteX26" fmla="*/ 385210 w 1010417"/>
                  <a:gd name="connsiteY26" fmla="*/ 180975 h 314325"/>
                  <a:gd name="connsiteX27" fmla="*/ 399498 w 1010417"/>
                  <a:gd name="connsiteY27" fmla="*/ 171450 h 314325"/>
                  <a:gd name="connsiteX28" fmla="*/ 409023 w 1010417"/>
                  <a:gd name="connsiteY28" fmla="*/ 157162 h 314325"/>
                  <a:gd name="connsiteX29" fmla="*/ 418548 w 1010417"/>
                  <a:gd name="connsiteY29" fmla="*/ 180975 h 314325"/>
                  <a:gd name="connsiteX30" fmla="*/ 428073 w 1010417"/>
                  <a:gd name="connsiteY30" fmla="*/ 209550 h 314325"/>
                  <a:gd name="connsiteX31" fmla="*/ 438354 w 1010417"/>
                  <a:gd name="connsiteY31" fmla="*/ 252390 h 314325"/>
                  <a:gd name="connsiteX32" fmla="*/ 466173 w 1010417"/>
                  <a:gd name="connsiteY32" fmla="*/ 233362 h 314325"/>
                  <a:gd name="connsiteX33" fmla="*/ 480460 w 1010417"/>
                  <a:gd name="connsiteY33" fmla="*/ 233362 h 314325"/>
                  <a:gd name="connsiteX34" fmla="*/ 489985 w 1010417"/>
                  <a:gd name="connsiteY34" fmla="*/ 223837 h 314325"/>
                  <a:gd name="connsiteX35" fmla="*/ 532848 w 1010417"/>
                  <a:gd name="connsiteY35" fmla="*/ 138112 h 314325"/>
                  <a:gd name="connsiteX36" fmla="*/ 551898 w 1010417"/>
                  <a:gd name="connsiteY36" fmla="*/ 104775 h 314325"/>
                  <a:gd name="connsiteX37" fmla="*/ 556660 w 1010417"/>
                  <a:gd name="connsiteY37" fmla="*/ 90487 h 314325"/>
                  <a:gd name="connsiteX38" fmla="*/ 570948 w 1010417"/>
                  <a:gd name="connsiteY38" fmla="*/ 80962 h 314325"/>
                  <a:gd name="connsiteX39" fmla="*/ 609742 w 1010417"/>
                  <a:gd name="connsiteY39" fmla="*/ 49227 h 314325"/>
                  <a:gd name="connsiteX40" fmla="*/ 626776 w 1010417"/>
                  <a:gd name="connsiteY40" fmla="*/ 51320 h 314325"/>
                  <a:gd name="connsiteX41" fmla="*/ 638033 w 1010417"/>
                  <a:gd name="connsiteY41" fmla="*/ 295341 h 314325"/>
                  <a:gd name="connsiteX42" fmla="*/ 642385 w 1010417"/>
                  <a:gd name="connsiteY42" fmla="*/ 314325 h 314325"/>
                  <a:gd name="connsiteX43" fmla="*/ 651910 w 1010417"/>
                  <a:gd name="connsiteY43" fmla="*/ 295275 h 314325"/>
                  <a:gd name="connsiteX44" fmla="*/ 665850 w 1010417"/>
                  <a:gd name="connsiteY44" fmla="*/ 257152 h 314325"/>
                  <a:gd name="connsiteX45" fmla="*/ 697675 w 1010417"/>
                  <a:gd name="connsiteY45" fmla="*/ 168290 h 314325"/>
                  <a:gd name="connsiteX46" fmla="*/ 713823 w 1010417"/>
                  <a:gd name="connsiteY46" fmla="*/ 133350 h 314325"/>
                  <a:gd name="connsiteX47" fmla="*/ 718585 w 1010417"/>
                  <a:gd name="connsiteY47" fmla="*/ 166687 h 314325"/>
                  <a:gd name="connsiteX48" fmla="*/ 723348 w 1010417"/>
                  <a:gd name="connsiteY48" fmla="*/ 180975 h 314325"/>
                  <a:gd name="connsiteX49" fmla="*/ 739496 w 1010417"/>
                  <a:gd name="connsiteY49" fmla="*/ 155604 h 314325"/>
                  <a:gd name="connsiteX50" fmla="*/ 765516 w 1010417"/>
                  <a:gd name="connsiteY50" fmla="*/ 131770 h 314325"/>
                  <a:gd name="connsiteX51" fmla="*/ 785260 w 1010417"/>
                  <a:gd name="connsiteY51" fmla="*/ 85725 h 314325"/>
                  <a:gd name="connsiteX52" fmla="*/ 794785 w 1010417"/>
                  <a:gd name="connsiteY52" fmla="*/ 114300 h 314325"/>
                  <a:gd name="connsiteX53" fmla="*/ 809073 w 1010417"/>
                  <a:gd name="connsiteY53" fmla="*/ 185737 h 314325"/>
                  <a:gd name="connsiteX54" fmla="*/ 829983 w 1010417"/>
                  <a:gd name="connsiteY54" fmla="*/ 180975 h 314325"/>
                  <a:gd name="connsiteX55" fmla="*/ 847173 w 1010417"/>
                  <a:gd name="connsiteY55" fmla="*/ 138112 h 314325"/>
                  <a:gd name="connsiteX56" fmla="*/ 870985 w 1010417"/>
                  <a:gd name="connsiteY56" fmla="*/ 76200 h 314325"/>
                  <a:gd name="connsiteX57" fmla="*/ 875748 w 1010417"/>
                  <a:gd name="connsiteY57" fmla="*/ 52387 h 314325"/>
                  <a:gd name="connsiteX58" fmla="*/ 890035 w 1010417"/>
                  <a:gd name="connsiteY58" fmla="*/ 38100 h 314325"/>
                  <a:gd name="connsiteX59" fmla="*/ 894798 w 1010417"/>
                  <a:gd name="connsiteY59" fmla="*/ 14287 h 314325"/>
                  <a:gd name="connsiteX60" fmla="*/ 899560 w 1010417"/>
                  <a:gd name="connsiteY60" fmla="*/ 0 h 314325"/>
                  <a:gd name="connsiteX61" fmla="*/ 904323 w 1010417"/>
                  <a:gd name="connsiteY61" fmla="*/ 14287 h 314325"/>
                  <a:gd name="connsiteX62" fmla="*/ 909085 w 1010417"/>
                  <a:gd name="connsiteY62" fmla="*/ 71437 h 314325"/>
                  <a:gd name="connsiteX63" fmla="*/ 918610 w 1010417"/>
                  <a:gd name="connsiteY63" fmla="*/ 100012 h 314325"/>
                  <a:gd name="connsiteX64" fmla="*/ 942423 w 1010417"/>
                  <a:gd name="connsiteY64" fmla="*/ 161925 h 314325"/>
                  <a:gd name="connsiteX65" fmla="*/ 947185 w 1010417"/>
                  <a:gd name="connsiteY65" fmla="*/ 180975 h 314325"/>
                  <a:gd name="connsiteX66" fmla="*/ 951948 w 1010417"/>
                  <a:gd name="connsiteY66" fmla="*/ 214312 h 314325"/>
                  <a:gd name="connsiteX67" fmla="*/ 970998 w 1010417"/>
                  <a:gd name="connsiteY67" fmla="*/ 242887 h 314325"/>
                  <a:gd name="connsiteX68" fmla="*/ 987957 w 1010417"/>
                  <a:gd name="connsiteY68" fmla="*/ 250306 h 314325"/>
                  <a:gd name="connsiteX69" fmla="*/ 1010417 w 1010417"/>
                  <a:gd name="connsiteY69" fmla="*/ 262624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0121 w 1011486"/>
                  <a:gd name="connsiteY68" fmla="*/ 263299 h 314325"/>
                  <a:gd name="connsiteX69" fmla="*/ 1011486 w 1011486"/>
                  <a:gd name="connsiteY69" fmla="*/ 265059 h 314325"/>
                  <a:gd name="connsiteX0" fmla="*/ 0 w 1016295"/>
                  <a:gd name="connsiteY0" fmla="*/ 262750 h 314325"/>
                  <a:gd name="connsiteX1" fmla="*/ 10014 w 1016295"/>
                  <a:gd name="connsiteY1" fmla="*/ 273436 h 314325"/>
                  <a:gd name="connsiteX2" fmla="*/ 28023 w 1016295"/>
                  <a:gd name="connsiteY2" fmla="*/ 228600 h 314325"/>
                  <a:gd name="connsiteX3" fmla="*/ 56598 w 1016295"/>
                  <a:gd name="connsiteY3" fmla="*/ 180975 h 314325"/>
                  <a:gd name="connsiteX4" fmla="*/ 66123 w 1016295"/>
                  <a:gd name="connsiteY4" fmla="*/ 166687 h 314325"/>
                  <a:gd name="connsiteX5" fmla="*/ 85173 w 1016295"/>
                  <a:gd name="connsiteY5" fmla="*/ 114300 h 314325"/>
                  <a:gd name="connsiteX6" fmla="*/ 94698 w 1016295"/>
                  <a:gd name="connsiteY6" fmla="*/ 100012 h 314325"/>
                  <a:gd name="connsiteX7" fmla="*/ 113748 w 1016295"/>
                  <a:gd name="connsiteY7" fmla="*/ 57150 h 314325"/>
                  <a:gd name="connsiteX8" fmla="*/ 118510 w 1016295"/>
                  <a:gd name="connsiteY8" fmla="*/ 42862 h 314325"/>
                  <a:gd name="connsiteX9" fmla="*/ 128035 w 1016295"/>
                  <a:gd name="connsiteY9" fmla="*/ 4762 h 314325"/>
                  <a:gd name="connsiteX10" fmla="*/ 137560 w 1016295"/>
                  <a:gd name="connsiteY10" fmla="*/ 100012 h 314325"/>
                  <a:gd name="connsiteX11" fmla="*/ 147085 w 1016295"/>
                  <a:gd name="connsiteY11" fmla="*/ 152400 h 314325"/>
                  <a:gd name="connsiteX12" fmla="*/ 151848 w 1016295"/>
                  <a:gd name="connsiteY12" fmla="*/ 228600 h 314325"/>
                  <a:gd name="connsiteX13" fmla="*/ 164337 w 1016295"/>
                  <a:gd name="connsiteY13" fmla="*/ 268258 h 314325"/>
                  <a:gd name="connsiteX14" fmla="*/ 192218 w 1016295"/>
                  <a:gd name="connsiteY14" fmla="*/ 255572 h 314325"/>
                  <a:gd name="connsiteX15" fmla="*/ 222529 w 1016295"/>
                  <a:gd name="connsiteY15" fmla="*/ 201561 h 314325"/>
                  <a:gd name="connsiteX16" fmla="*/ 242335 w 1016295"/>
                  <a:gd name="connsiteY16" fmla="*/ 171450 h 314325"/>
                  <a:gd name="connsiteX17" fmla="*/ 261385 w 1016295"/>
                  <a:gd name="connsiteY17" fmla="*/ 142875 h 314325"/>
                  <a:gd name="connsiteX18" fmla="*/ 294723 w 1016295"/>
                  <a:gd name="connsiteY18" fmla="*/ 71437 h 314325"/>
                  <a:gd name="connsiteX19" fmla="*/ 305698 w 1016295"/>
                  <a:gd name="connsiteY19" fmla="*/ 36631 h 314325"/>
                  <a:gd name="connsiteX20" fmla="*/ 312669 w 1016295"/>
                  <a:gd name="connsiteY20" fmla="*/ 88841 h 314325"/>
                  <a:gd name="connsiteX21" fmla="*/ 317779 w 1016295"/>
                  <a:gd name="connsiteY21" fmla="*/ 147637 h 314325"/>
                  <a:gd name="connsiteX22" fmla="*/ 328060 w 1016295"/>
                  <a:gd name="connsiteY22" fmla="*/ 171450 h 314325"/>
                  <a:gd name="connsiteX23" fmla="*/ 339446 w 1016295"/>
                  <a:gd name="connsiteY23" fmla="*/ 261916 h 314325"/>
                  <a:gd name="connsiteX24" fmla="*/ 347110 w 1016295"/>
                  <a:gd name="connsiteY24" fmla="*/ 247650 h 314325"/>
                  <a:gd name="connsiteX25" fmla="*/ 360704 w 1016295"/>
                  <a:gd name="connsiteY25" fmla="*/ 231782 h 314325"/>
                  <a:gd name="connsiteX26" fmla="*/ 385210 w 1016295"/>
                  <a:gd name="connsiteY26" fmla="*/ 180975 h 314325"/>
                  <a:gd name="connsiteX27" fmla="*/ 399498 w 1016295"/>
                  <a:gd name="connsiteY27" fmla="*/ 171450 h 314325"/>
                  <a:gd name="connsiteX28" fmla="*/ 409023 w 1016295"/>
                  <a:gd name="connsiteY28" fmla="*/ 157162 h 314325"/>
                  <a:gd name="connsiteX29" fmla="*/ 418548 w 1016295"/>
                  <a:gd name="connsiteY29" fmla="*/ 180975 h 314325"/>
                  <a:gd name="connsiteX30" fmla="*/ 428073 w 1016295"/>
                  <a:gd name="connsiteY30" fmla="*/ 209550 h 314325"/>
                  <a:gd name="connsiteX31" fmla="*/ 438354 w 1016295"/>
                  <a:gd name="connsiteY31" fmla="*/ 252390 h 314325"/>
                  <a:gd name="connsiteX32" fmla="*/ 466173 w 1016295"/>
                  <a:gd name="connsiteY32" fmla="*/ 233362 h 314325"/>
                  <a:gd name="connsiteX33" fmla="*/ 480460 w 1016295"/>
                  <a:gd name="connsiteY33" fmla="*/ 233362 h 314325"/>
                  <a:gd name="connsiteX34" fmla="*/ 489985 w 1016295"/>
                  <a:gd name="connsiteY34" fmla="*/ 223837 h 314325"/>
                  <a:gd name="connsiteX35" fmla="*/ 532848 w 1016295"/>
                  <a:gd name="connsiteY35" fmla="*/ 138112 h 314325"/>
                  <a:gd name="connsiteX36" fmla="*/ 551898 w 1016295"/>
                  <a:gd name="connsiteY36" fmla="*/ 104775 h 314325"/>
                  <a:gd name="connsiteX37" fmla="*/ 556660 w 1016295"/>
                  <a:gd name="connsiteY37" fmla="*/ 90487 h 314325"/>
                  <a:gd name="connsiteX38" fmla="*/ 570948 w 1016295"/>
                  <a:gd name="connsiteY38" fmla="*/ 80962 h 314325"/>
                  <a:gd name="connsiteX39" fmla="*/ 609742 w 1016295"/>
                  <a:gd name="connsiteY39" fmla="*/ 49227 h 314325"/>
                  <a:gd name="connsiteX40" fmla="*/ 626776 w 1016295"/>
                  <a:gd name="connsiteY40" fmla="*/ 51320 h 314325"/>
                  <a:gd name="connsiteX41" fmla="*/ 638033 w 1016295"/>
                  <a:gd name="connsiteY41" fmla="*/ 295341 h 314325"/>
                  <a:gd name="connsiteX42" fmla="*/ 642385 w 1016295"/>
                  <a:gd name="connsiteY42" fmla="*/ 314325 h 314325"/>
                  <a:gd name="connsiteX43" fmla="*/ 651910 w 1016295"/>
                  <a:gd name="connsiteY43" fmla="*/ 295275 h 314325"/>
                  <a:gd name="connsiteX44" fmla="*/ 665850 w 1016295"/>
                  <a:gd name="connsiteY44" fmla="*/ 257152 h 314325"/>
                  <a:gd name="connsiteX45" fmla="*/ 697675 w 1016295"/>
                  <a:gd name="connsiteY45" fmla="*/ 168290 h 314325"/>
                  <a:gd name="connsiteX46" fmla="*/ 713823 w 1016295"/>
                  <a:gd name="connsiteY46" fmla="*/ 133350 h 314325"/>
                  <a:gd name="connsiteX47" fmla="*/ 718585 w 1016295"/>
                  <a:gd name="connsiteY47" fmla="*/ 166687 h 314325"/>
                  <a:gd name="connsiteX48" fmla="*/ 723348 w 1016295"/>
                  <a:gd name="connsiteY48" fmla="*/ 180975 h 314325"/>
                  <a:gd name="connsiteX49" fmla="*/ 739496 w 1016295"/>
                  <a:gd name="connsiteY49" fmla="*/ 155604 h 314325"/>
                  <a:gd name="connsiteX50" fmla="*/ 765516 w 1016295"/>
                  <a:gd name="connsiteY50" fmla="*/ 131770 h 314325"/>
                  <a:gd name="connsiteX51" fmla="*/ 785260 w 1016295"/>
                  <a:gd name="connsiteY51" fmla="*/ 85725 h 314325"/>
                  <a:gd name="connsiteX52" fmla="*/ 794785 w 1016295"/>
                  <a:gd name="connsiteY52" fmla="*/ 114300 h 314325"/>
                  <a:gd name="connsiteX53" fmla="*/ 809073 w 1016295"/>
                  <a:gd name="connsiteY53" fmla="*/ 185737 h 314325"/>
                  <a:gd name="connsiteX54" fmla="*/ 829983 w 1016295"/>
                  <a:gd name="connsiteY54" fmla="*/ 180975 h 314325"/>
                  <a:gd name="connsiteX55" fmla="*/ 847173 w 1016295"/>
                  <a:gd name="connsiteY55" fmla="*/ 138112 h 314325"/>
                  <a:gd name="connsiteX56" fmla="*/ 870985 w 1016295"/>
                  <a:gd name="connsiteY56" fmla="*/ 76200 h 314325"/>
                  <a:gd name="connsiteX57" fmla="*/ 875748 w 1016295"/>
                  <a:gd name="connsiteY57" fmla="*/ 52387 h 314325"/>
                  <a:gd name="connsiteX58" fmla="*/ 890035 w 1016295"/>
                  <a:gd name="connsiteY58" fmla="*/ 38100 h 314325"/>
                  <a:gd name="connsiteX59" fmla="*/ 894798 w 1016295"/>
                  <a:gd name="connsiteY59" fmla="*/ 14287 h 314325"/>
                  <a:gd name="connsiteX60" fmla="*/ 899560 w 1016295"/>
                  <a:gd name="connsiteY60" fmla="*/ 0 h 314325"/>
                  <a:gd name="connsiteX61" fmla="*/ 904323 w 1016295"/>
                  <a:gd name="connsiteY61" fmla="*/ 14287 h 314325"/>
                  <a:gd name="connsiteX62" fmla="*/ 909085 w 1016295"/>
                  <a:gd name="connsiteY62" fmla="*/ 71437 h 314325"/>
                  <a:gd name="connsiteX63" fmla="*/ 918610 w 1016295"/>
                  <a:gd name="connsiteY63" fmla="*/ 100012 h 314325"/>
                  <a:gd name="connsiteX64" fmla="*/ 942423 w 1016295"/>
                  <a:gd name="connsiteY64" fmla="*/ 161925 h 314325"/>
                  <a:gd name="connsiteX65" fmla="*/ 947185 w 1016295"/>
                  <a:gd name="connsiteY65" fmla="*/ 180975 h 314325"/>
                  <a:gd name="connsiteX66" fmla="*/ 951948 w 1016295"/>
                  <a:gd name="connsiteY66" fmla="*/ 214312 h 314325"/>
                  <a:gd name="connsiteX67" fmla="*/ 970998 w 1016295"/>
                  <a:gd name="connsiteY67" fmla="*/ 242887 h 314325"/>
                  <a:gd name="connsiteX68" fmla="*/ 980121 w 1016295"/>
                  <a:gd name="connsiteY68" fmla="*/ 263299 h 314325"/>
                  <a:gd name="connsiteX69" fmla="*/ 1016295 w 1016295"/>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2218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221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273 w 1028050"/>
                  <a:gd name="connsiteY68" fmla="*/ 263299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1342 w 1028050"/>
                  <a:gd name="connsiteY68" fmla="*/ 270608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808 w 1028050"/>
                  <a:gd name="connsiteY68" fmla="*/ 268171 h 314325"/>
                  <a:gd name="connsiteX69" fmla="*/ 1028050 w 1028050"/>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85790 w 1023241"/>
                  <a:gd name="connsiteY68" fmla="*/ 263450 h 314325"/>
                  <a:gd name="connsiteX69" fmla="*/ 990808 w 1023241"/>
                  <a:gd name="connsiteY69" fmla="*/ 268171 h 314325"/>
                  <a:gd name="connsiteX70" fmla="*/ 1023241 w 1023241"/>
                  <a:gd name="connsiteY70"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1342 w 1023241"/>
                  <a:gd name="connsiteY68" fmla="*/ 265734 h 314325"/>
                  <a:gd name="connsiteX69" fmla="*/ 1023241 w 1023241"/>
                  <a:gd name="connsiteY69" fmla="*/ 263841 h 314325"/>
                  <a:gd name="connsiteX0" fmla="*/ 0 w 1020035"/>
                  <a:gd name="connsiteY0" fmla="*/ 281023 h 314325"/>
                  <a:gd name="connsiteX1" fmla="*/ 31921 w 1020035"/>
                  <a:gd name="connsiteY1" fmla="*/ 274654 h 314325"/>
                  <a:gd name="connsiteX2" fmla="*/ 49395 w 1020035"/>
                  <a:gd name="connsiteY2" fmla="*/ 228600 h 314325"/>
                  <a:gd name="connsiteX3" fmla="*/ 66750 w 1020035"/>
                  <a:gd name="connsiteY3" fmla="*/ 180975 h 314325"/>
                  <a:gd name="connsiteX4" fmla="*/ 76275 w 1020035"/>
                  <a:gd name="connsiteY4" fmla="*/ 166687 h 314325"/>
                  <a:gd name="connsiteX5" fmla="*/ 95325 w 1020035"/>
                  <a:gd name="connsiteY5" fmla="*/ 114300 h 314325"/>
                  <a:gd name="connsiteX6" fmla="*/ 104850 w 1020035"/>
                  <a:gd name="connsiteY6" fmla="*/ 100012 h 314325"/>
                  <a:gd name="connsiteX7" fmla="*/ 123900 w 1020035"/>
                  <a:gd name="connsiteY7" fmla="*/ 57150 h 314325"/>
                  <a:gd name="connsiteX8" fmla="*/ 128662 w 1020035"/>
                  <a:gd name="connsiteY8" fmla="*/ 42862 h 314325"/>
                  <a:gd name="connsiteX9" fmla="*/ 138187 w 1020035"/>
                  <a:gd name="connsiteY9" fmla="*/ 4762 h 314325"/>
                  <a:gd name="connsiteX10" fmla="*/ 147712 w 1020035"/>
                  <a:gd name="connsiteY10" fmla="*/ 100012 h 314325"/>
                  <a:gd name="connsiteX11" fmla="*/ 157237 w 1020035"/>
                  <a:gd name="connsiteY11" fmla="*/ 152400 h 314325"/>
                  <a:gd name="connsiteX12" fmla="*/ 162000 w 1020035"/>
                  <a:gd name="connsiteY12" fmla="*/ 228600 h 314325"/>
                  <a:gd name="connsiteX13" fmla="*/ 174489 w 1020035"/>
                  <a:gd name="connsiteY13" fmla="*/ 268258 h 314325"/>
                  <a:gd name="connsiteX14" fmla="*/ 202370 w 1020035"/>
                  <a:gd name="connsiteY14" fmla="*/ 255572 h 314325"/>
                  <a:gd name="connsiteX15" fmla="*/ 232681 w 1020035"/>
                  <a:gd name="connsiteY15" fmla="*/ 201561 h 314325"/>
                  <a:gd name="connsiteX16" fmla="*/ 252487 w 1020035"/>
                  <a:gd name="connsiteY16" fmla="*/ 171450 h 314325"/>
                  <a:gd name="connsiteX17" fmla="*/ 271537 w 1020035"/>
                  <a:gd name="connsiteY17" fmla="*/ 142875 h 314325"/>
                  <a:gd name="connsiteX18" fmla="*/ 304875 w 1020035"/>
                  <a:gd name="connsiteY18" fmla="*/ 71437 h 314325"/>
                  <a:gd name="connsiteX19" fmla="*/ 315850 w 1020035"/>
                  <a:gd name="connsiteY19" fmla="*/ 36631 h 314325"/>
                  <a:gd name="connsiteX20" fmla="*/ 322821 w 1020035"/>
                  <a:gd name="connsiteY20" fmla="*/ 88841 h 314325"/>
                  <a:gd name="connsiteX21" fmla="*/ 327931 w 1020035"/>
                  <a:gd name="connsiteY21" fmla="*/ 147637 h 314325"/>
                  <a:gd name="connsiteX22" fmla="*/ 338212 w 1020035"/>
                  <a:gd name="connsiteY22" fmla="*/ 171450 h 314325"/>
                  <a:gd name="connsiteX23" fmla="*/ 349598 w 1020035"/>
                  <a:gd name="connsiteY23" fmla="*/ 261916 h 314325"/>
                  <a:gd name="connsiteX24" fmla="*/ 357262 w 1020035"/>
                  <a:gd name="connsiteY24" fmla="*/ 247650 h 314325"/>
                  <a:gd name="connsiteX25" fmla="*/ 370856 w 1020035"/>
                  <a:gd name="connsiteY25" fmla="*/ 231782 h 314325"/>
                  <a:gd name="connsiteX26" fmla="*/ 395362 w 1020035"/>
                  <a:gd name="connsiteY26" fmla="*/ 180975 h 314325"/>
                  <a:gd name="connsiteX27" fmla="*/ 409650 w 1020035"/>
                  <a:gd name="connsiteY27" fmla="*/ 171450 h 314325"/>
                  <a:gd name="connsiteX28" fmla="*/ 419175 w 1020035"/>
                  <a:gd name="connsiteY28" fmla="*/ 157162 h 314325"/>
                  <a:gd name="connsiteX29" fmla="*/ 428700 w 1020035"/>
                  <a:gd name="connsiteY29" fmla="*/ 180975 h 314325"/>
                  <a:gd name="connsiteX30" fmla="*/ 438225 w 1020035"/>
                  <a:gd name="connsiteY30" fmla="*/ 209550 h 314325"/>
                  <a:gd name="connsiteX31" fmla="*/ 448506 w 1020035"/>
                  <a:gd name="connsiteY31" fmla="*/ 252390 h 314325"/>
                  <a:gd name="connsiteX32" fmla="*/ 476325 w 1020035"/>
                  <a:gd name="connsiteY32" fmla="*/ 233362 h 314325"/>
                  <a:gd name="connsiteX33" fmla="*/ 490612 w 1020035"/>
                  <a:gd name="connsiteY33" fmla="*/ 233362 h 314325"/>
                  <a:gd name="connsiteX34" fmla="*/ 500137 w 1020035"/>
                  <a:gd name="connsiteY34" fmla="*/ 223837 h 314325"/>
                  <a:gd name="connsiteX35" fmla="*/ 543000 w 1020035"/>
                  <a:gd name="connsiteY35" fmla="*/ 138112 h 314325"/>
                  <a:gd name="connsiteX36" fmla="*/ 562050 w 1020035"/>
                  <a:gd name="connsiteY36" fmla="*/ 104775 h 314325"/>
                  <a:gd name="connsiteX37" fmla="*/ 566812 w 1020035"/>
                  <a:gd name="connsiteY37" fmla="*/ 90487 h 314325"/>
                  <a:gd name="connsiteX38" fmla="*/ 581100 w 1020035"/>
                  <a:gd name="connsiteY38" fmla="*/ 80962 h 314325"/>
                  <a:gd name="connsiteX39" fmla="*/ 619894 w 1020035"/>
                  <a:gd name="connsiteY39" fmla="*/ 49227 h 314325"/>
                  <a:gd name="connsiteX40" fmla="*/ 636928 w 1020035"/>
                  <a:gd name="connsiteY40" fmla="*/ 51320 h 314325"/>
                  <a:gd name="connsiteX41" fmla="*/ 648185 w 1020035"/>
                  <a:gd name="connsiteY41" fmla="*/ 295341 h 314325"/>
                  <a:gd name="connsiteX42" fmla="*/ 652537 w 1020035"/>
                  <a:gd name="connsiteY42" fmla="*/ 314325 h 314325"/>
                  <a:gd name="connsiteX43" fmla="*/ 662062 w 1020035"/>
                  <a:gd name="connsiteY43" fmla="*/ 295275 h 314325"/>
                  <a:gd name="connsiteX44" fmla="*/ 676002 w 1020035"/>
                  <a:gd name="connsiteY44" fmla="*/ 257152 h 314325"/>
                  <a:gd name="connsiteX45" fmla="*/ 707827 w 1020035"/>
                  <a:gd name="connsiteY45" fmla="*/ 168290 h 314325"/>
                  <a:gd name="connsiteX46" fmla="*/ 723975 w 1020035"/>
                  <a:gd name="connsiteY46" fmla="*/ 133350 h 314325"/>
                  <a:gd name="connsiteX47" fmla="*/ 728737 w 1020035"/>
                  <a:gd name="connsiteY47" fmla="*/ 166687 h 314325"/>
                  <a:gd name="connsiteX48" fmla="*/ 733500 w 1020035"/>
                  <a:gd name="connsiteY48" fmla="*/ 180975 h 314325"/>
                  <a:gd name="connsiteX49" fmla="*/ 749648 w 1020035"/>
                  <a:gd name="connsiteY49" fmla="*/ 155604 h 314325"/>
                  <a:gd name="connsiteX50" fmla="*/ 775668 w 1020035"/>
                  <a:gd name="connsiteY50" fmla="*/ 131770 h 314325"/>
                  <a:gd name="connsiteX51" fmla="*/ 795412 w 1020035"/>
                  <a:gd name="connsiteY51" fmla="*/ 85725 h 314325"/>
                  <a:gd name="connsiteX52" fmla="*/ 804937 w 1020035"/>
                  <a:gd name="connsiteY52" fmla="*/ 114300 h 314325"/>
                  <a:gd name="connsiteX53" fmla="*/ 819225 w 1020035"/>
                  <a:gd name="connsiteY53" fmla="*/ 185737 h 314325"/>
                  <a:gd name="connsiteX54" fmla="*/ 840135 w 1020035"/>
                  <a:gd name="connsiteY54" fmla="*/ 180975 h 314325"/>
                  <a:gd name="connsiteX55" fmla="*/ 857325 w 1020035"/>
                  <a:gd name="connsiteY55" fmla="*/ 138112 h 314325"/>
                  <a:gd name="connsiteX56" fmla="*/ 881137 w 1020035"/>
                  <a:gd name="connsiteY56" fmla="*/ 76200 h 314325"/>
                  <a:gd name="connsiteX57" fmla="*/ 885900 w 1020035"/>
                  <a:gd name="connsiteY57" fmla="*/ 52387 h 314325"/>
                  <a:gd name="connsiteX58" fmla="*/ 900187 w 1020035"/>
                  <a:gd name="connsiteY58" fmla="*/ 38100 h 314325"/>
                  <a:gd name="connsiteX59" fmla="*/ 904950 w 1020035"/>
                  <a:gd name="connsiteY59" fmla="*/ 14287 h 314325"/>
                  <a:gd name="connsiteX60" fmla="*/ 909712 w 1020035"/>
                  <a:gd name="connsiteY60" fmla="*/ 0 h 314325"/>
                  <a:gd name="connsiteX61" fmla="*/ 914475 w 1020035"/>
                  <a:gd name="connsiteY61" fmla="*/ 14287 h 314325"/>
                  <a:gd name="connsiteX62" fmla="*/ 919237 w 1020035"/>
                  <a:gd name="connsiteY62" fmla="*/ 71437 h 314325"/>
                  <a:gd name="connsiteX63" fmla="*/ 928762 w 1020035"/>
                  <a:gd name="connsiteY63" fmla="*/ 100012 h 314325"/>
                  <a:gd name="connsiteX64" fmla="*/ 952575 w 1020035"/>
                  <a:gd name="connsiteY64" fmla="*/ 161925 h 314325"/>
                  <a:gd name="connsiteX65" fmla="*/ 957337 w 1020035"/>
                  <a:gd name="connsiteY65" fmla="*/ 180975 h 314325"/>
                  <a:gd name="connsiteX66" fmla="*/ 962100 w 1020035"/>
                  <a:gd name="connsiteY66" fmla="*/ 214312 h 314325"/>
                  <a:gd name="connsiteX67" fmla="*/ 981150 w 1020035"/>
                  <a:gd name="connsiteY67" fmla="*/ 242887 h 314325"/>
                  <a:gd name="connsiteX68" fmla="*/ 991342 w 1020035"/>
                  <a:gd name="connsiteY68" fmla="*/ 265734 h 314325"/>
                  <a:gd name="connsiteX69" fmla="*/ 1020035 w 1020035"/>
                  <a:gd name="connsiteY69" fmla="*/ 263841 h 314325"/>
                  <a:gd name="connsiteX0" fmla="*/ 0 w 1025378"/>
                  <a:gd name="connsiteY0" fmla="*/ 281023 h 314325"/>
                  <a:gd name="connsiteX1" fmla="*/ 31921 w 1025378"/>
                  <a:gd name="connsiteY1" fmla="*/ 274654 h 314325"/>
                  <a:gd name="connsiteX2" fmla="*/ 49395 w 1025378"/>
                  <a:gd name="connsiteY2" fmla="*/ 228600 h 314325"/>
                  <a:gd name="connsiteX3" fmla="*/ 66750 w 1025378"/>
                  <a:gd name="connsiteY3" fmla="*/ 180975 h 314325"/>
                  <a:gd name="connsiteX4" fmla="*/ 76275 w 1025378"/>
                  <a:gd name="connsiteY4" fmla="*/ 166687 h 314325"/>
                  <a:gd name="connsiteX5" fmla="*/ 95325 w 1025378"/>
                  <a:gd name="connsiteY5" fmla="*/ 114300 h 314325"/>
                  <a:gd name="connsiteX6" fmla="*/ 104850 w 1025378"/>
                  <a:gd name="connsiteY6" fmla="*/ 100012 h 314325"/>
                  <a:gd name="connsiteX7" fmla="*/ 123900 w 1025378"/>
                  <a:gd name="connsiteY7" fmla="*/ 57150 h 314325"/>
                  <a:gd name="connsiteX8" fmla="*/ 128662 w 1025378"/>
                  <a:gd name="connsiteY8" fmla="*/ 42862 h 314325"/>
                  <a:gd name="connsiteX9" fmla="*/ 138187 w 1025378"/>
                  <a:gd name="connsiteY9" fmla="*/ 4762 h 314325"/>
                  <a:gd name="connsiteX10" fmla="*/ 147712 w 1025378"/>
                  <a:gd name="connsiteY10" fmla="*/ 100012 h 314325"/>
                  <a:gd name="connsiteX11" fmla="*/ 157237 w 1025378"/>
                  <a:gd name="connsiteY11" fmla="*/ 152400 h 314325"/>
                  <a:gd name="connsiteX12" fmla="*/ 162000 w 1025378"/>
                  <a:gd name="connsiteY12" fmla="*/ 228600 h 314325"/>
                  <a:gd name="connsiteX13" fmla="*/ 174489 w 1025378"/>
                  <a:gd name="connsiteY13" fmla="*/ 268258 h 314325"/>
                  <a:gd name="connsiteX14" fmla="*/ 202370 w 1025378"/>
                  <a:gd name="connsiteY14" fmla="*/ 255572 h 314325"/>
                  <a:gd name="connsiteX15" fmla="*/ 232681 w 1025378"/>
                  <a:gd name="connsiteY15" fmla="*/ 201561 h 314325"/>
                  <a:gd name="connsiteX16" fmla="*/ 252487 w 1025378"/>
                  <a:gd name="connsiteY16" fmla="*/ 171450 h 314325"/>
                  <a:gd name="connsiteX17" fmla="*/ 271537 w 1025378"/>
                  <a:gd name="connsiteY17" fmla="*/ 142875 h 314325"/>
                  <a:gd name="connsiteX18" fmla="*/ 304875 w 1025378"/>
                  <a:gd name="connsiteY18" fmla="*/ 71437 h 314325"/>
                  <a:gd name="connsiteX19" fmla="*/ 315850 w 1025378"/>
                  <a:gd name="connsiteY19" fmla="*/ 36631 h 314325"/>
                  <a:gd name="connsiteX20" fmla="*/ 322821 w 1025378"/>
                  <a:gd name="connsiteY20" fmla="*/ 88841 h 314325"/>
                  <a:gd name="connsiteX21" fmla="*/ 327931 w 1025378"/>
                  <a:gd name="connsiteY21" fmla="*/ 147637 h 314325"/>
                  <a:gd name="connsiteX22" fmla="*/ 338212 w 1025378"/>
                  <a:gd name="connsiteY22" fmla="*/ 171450 h 314325"/>
                  <a:gd name="connsiteX23" fmla="*/ 349598 w 1025378"/>
                  <a:gd name="connsiteY23" fmla="*/ 261916 h 314325"/>
                  <a:gd name="connsiteX24" fmla="*/ 357262 w 1025378"/>
                  <a:gd name="connsiteY24" fmla="*/ 247650 h 314325"/>
                  <a:gd name="connsiteX25" fmla="*/ 370856 w 1025378"/>
                  <a:gd name="connsiteY25" fmla="*/ 231782 h 314325"/>
                  <a:gd name="connsiteX26" fmla="*/ 395362 w 1025378"/>
                  <a:gd name="connsiteY26" fmla="*/ 180975 h 314325"/>
                  <a:gd name="connsiteX27" fmla="*/ 409650 w 1025378"/>
                  <a:gd name="connsiteY27" fmla="*/ 171450 h 314325"/>
                  <a:gd name="connsiteX28" fmla="*/ 419175 w 1025378"/>
                  <a:gd name="connsiteY28" fmla="*/ 157162 h 314325"/>
                  <a:gd name="connsiteX29" fmla="*/ 428700 w 1025378"/>
                  <a:gd name="connsiteY29" fmla="*/ 180975 h 314325"/>
                  <a:gd name="connsiteX30" fmla="*/ 438225 w 1025378"/>
                  <a:gd name="connsiteY30" fmla="*/ 209550 h 314325"/>
                  <a:gd name="connsiteX31" fmla="*/ 448506 w 1025378"/>
                  <a:gd name="connsiteY31" fmla="*/ 252390 h 314325"/>
                  <a:gd name="connsiteX32" fmla="*/ 476325 w 1025378"/>
                  <a:gd name="connsiteY32" fmla="*/ 233362 h 314325"/>
                  <a:gd name="connsiteX33" fmla="*/ 490612 w 1025378"/>
                  <a:gd name="connsiteY33" fmla="*/ 233362 h 314325"/>
                  <a:gd name="connsiteX34" fmla="*/ 500137 w 1025378"/>
                  <a:gd name="connsiteY34" fmla="*/ 223837 h 314325"/>
                  <a:gd name="connsiteX35" fmla="*/ 543000 w 1025378"/>
                  <a:gd name="connsiteY35" fmla="*/ 138112 h 314325"/>
                  <a:gd name="connsiteX36" fmla="*/ 562050 w 1025378"/>
                  <a:gd name="connsiteY36" fmla="*/ 104775 h 314325"/>
                  <a:gd name="connsiteX37" fmla="*/ 566812 w 1025378"/>
                  <a:gd name="connsiteY37" fmla="*/ 90487 h 314325"/>
                  <a:gd name="connsiteX38" fmla="*/ 581100 w 1025378"/>
                  <a:gd name="connsiteY38" fmla="*/ 80962 h 314325"/>
                  <a:gd name="connsiteX39" fmla="*/ 619894 w 1025378"/>
                  <a:gd name="connsiteY39" fmla="*/ 49227 h 314325"/>
                  <a:gd name="connsiteX40" fmla="*/ 636928 w 1025378"/>
                  <a:gd name="connsiteY40" fmla="*/ 51320 h 314325"/>
                  <a:gd name="connsiteX41" fmla="*/ 648185 w 1025378"/>
                  <a:gd name="connsiteY41" fmla="*/ 295341 h 314325"/>
                  <a:gd name="connsiteX42" fmla="*/ 652537 w 1025378"/>
                  <a:gd name="connsiteY42" fmla="*/ 314325 h 314325"/>
                  <a:gd name="connsiteX43" fmla="*/ 662062 w 1025378"/>
                  <a:gd name="connsiteY43" fmla="*/ 295275 h 314325"/>
                  <a:gd name="connsiteX44" fmla="*/ 676002 w 1025378"/>
                  <a:gd name="connsiteY44" fmla="*/ 257152 h 314325"/>
                  <a:gd name="connsiteX45" fmla="*/ 707827 w 1025378"/>
                  <a:gd name="connsiteY45" fmla="*/ 168290 h 314325"/>
                  <a:gd name="connsiteX46" fmla="*/ 723975 w 1025378"/>
                  <a:gd name="connsiteY46" fmla="*/ 133350 h 314325"/>
                  <a:gd name="connsiteX47" fmla="*/ 728737 w 1025378"/>
                  <a:gd name="connsiteY47" fmla="*/ 166687 h 314325"/>
                  <a:gd name="connsiteX48" fmla="*/ 733500 w 1025378"/>
                  <a:gd name="connsiteY48" fmla="*/ 180975 h 314325"/>
                  <a:gd name="connsiteX49" fmla="*/ 749648 w 1025378"/>
                  <a:gd name="connsiteY49" fmla="*/ 155604 h 314325"/>
                  <a:gd name="connsiteX50" fmla="*/ 775668 w 1025378"/>
                  <a:gd name="connsiteY50" fmla="*/ 131770 h 314325"/>
                  <a:gd name="connsiteX51" fmla="*/ 795412 w 1025378"/>
                  <a:gd name="connsiteY51" fmla="*/ 85725 h 314325"/>
                  <a:gd name="connsiteX52" fmla="*/ 804937 w 1025378"/>
                  <a:gd name="connsiteY52" fmla="*/ 114300 h 314325"/>
                  <a:gd name="connsiteX53" fmla="*/ 819225 w 1025378"/>
                  <a:gd name="connsiteY53" fmla="*/ 185737 h 314325"/>
                  <a:gd name="connsiteX54" fmla="*/ 840135 w 1025378"/>
                  <a:gd name="connsiteY54" fmla="*/ 180975 h 314325"/>
                  <a:gd name="connsiteX55" fmla="*/ 857325 w 1025378"/>
                  <a:gd name="connsiteY55" fmla="*/ 138112 h 314325"/>
                  <a:gd name="connsiteX56" fmla="*/ 881137 w 1025378"/>
                  <a:gd name="connsiteY56" fmla="*/ 76200 h 314325"/>
                  <a:gd name="connsiteX57" fmla="*/ 885900 w 1025378"/>
                  <a:gd name="connsiteY57" fmla="*/ 52387 h 314325"/>
                  <a:gd name="connsiteX58" fmla="*/ 900187 w 1025378"/>
                  <a:gd name="connsiteY58" fmla="*/ 38100 h 314325"/>
                  <a:gd name="connsiteX59" fmla="*/ 904950 w 1025378"/>
                  <a:gd name="connsiteY59" fmla="*/ 14287 h 314325"/>
                  <a:gd name="connsiteX60" fmla="*/ 909712 w 1025378"/>
                  <a:gd name="connsiteY60" fmla="*/ 0 h 314325"/>
                  <a:gd name="connsiteX61" fmla="*/ 914475 w 1025378"/>
                  <a:gd name="connsiteY61" fmla="*/ 14287 h 314325"/>
                  <a:gd name="connsiteX62" fmla="*/ 919237 w 1025378"/>
                  <a:gd name="connsiteY62" fmla="*/ 71437 h 314325"/>
                  <a:gd name="connsiteX63" fmla="*/ 928762 w 1025378"/>
                  <a:gd name="connsiteY63" fmla="*/ 100012 h 314325"/>
                  <a:gd name="connsiteX64" fmla="*/ 952575 w 1025378"/>
                  <a:gd name="connsiteY64" fmla="*/ 161925 h 314325"/>
                  <a:gd name="connsiteX65" fmla="*/ 957337 w 1025378"/>
                  <a:gd name="connsiteY65" fmla="*/ 180975 h 314325"/>
                  <a:gd name="connsiteX66" fmla="*/ 962100 w 1025378"/>
                  <a:gd name="connsiteY66" fmla="*/ 214312 h 314325"/>
                  <a:gd name="connsiteX67" fmla="*/ 981150 w 1025378"/>
                  <a:gd name="connsiteY67" fmla="*/ 242887 h 314325"/>
                  <a:gd name="connsiteX68" fmla="*/ 991342 w 1025378"/>
                  <a:gd name="connsiteY68" fmla="*/ 265734 h 314325"/>
                  <a:gd name="connsiteX69" fmla="*/ 1025378 w 1025378"/>
                  <a:gd name="connsiteY69" fmla="*/ 261405 h 314325"/>
                  <a:gd name="connsiteX0" fmla="*/ 0 w 1024844"/>
                  <a:gd name="connsiteY0" fmla="*/ 262751 h 314325"/>
                  <a:gd name="connsiteX1" fmla="*/ 31387 w 1024844"/>
                  <a:gd name="connsiteY1" fmla="*/ 274654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3524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3775"/>
                  <a:gd name="connsiteY0" fmla="*/ 260314 h 314325"/>
                  <a:gd name="connsiteX1" fmla="*/ 32989 w 1023775"/>
                  <a:gd name="connsiteY1" fmla="*/ 257600 h 314325"/>
                  <a:gd name="connsiteX2" fmla="*/ 47792 w 1023775"/>
                  <a:gd name="connsiteY2" fmla="*/ 228600 h 314325"/>
                  <a:gd name="connsiteX3" fmla="*/ 65147 w 1023775"/>
                  <a:gd name="connsiteY3" fmla="*/ 180975 h 314325"/>
                  <a:gd name="connsiteX4" fmla="*/ 74672 w 1023775"/>
                  <a:gd name="connsiteY4" fmla="*/ 166687 h 314325"/>
                  <a:gd name="connsiteX5" fmla="*/ 93722 w 1023775"/>
                  <a:gd name="connsiteY5" fmla="*/ 114300 h 314325"/>
                  <a:gd name="connsiteX6" fmla="*/ 103247 w 1023775"/>
                  <a:gd name="connsiteY6" fmla="*/ 100012 h 314325"/>
                  <a:gd name="connsiteX7" fmla="*/ 122297 w 1023775"/>
                  <a:gd name="connsiteY7" fmla="*/ 57150 h 314325"/>
                  <a:gd name="connsiteX8" fmla="*/ 127059 w 1023775"/>
                  <a:gd name="connsiteY8" fmla="*/ 42862 h 314325"/>
                  <a:gd name="connsiteX9" fmla="*/ 136584 w 1023775"/>
                  <a:gd name="connsiteY9" fmla="*/ 4762 h 314325"/>
                  <a:gd name="connsiteX10" fmla="*/ 146109 w 1023775"/>
                  <a:gd name="connsiteY10" fmla="*/ 100012 h 314325"/>
                  <a:gd name="connsiteX11" fmla="*/ 155634 w 1023775"/>
                  <a:gd name="connsiteY11" fmla="*/ 152400 h 314325"/>
                  <a:gd name="connsiteX12" fmla="*/ 160397 w 1023775"/>
                  <a:gd name="connsiteY12" fmla="*/ 228600 h 314325"/>
                  <a:gd name="connsiteX13" fmla="*/ 172886 w 1023775"/>
                  <a:gd name="connsiteY13" fmla="*/ 268258 h 314325"/>
                  <a:gd name="connsiteX14" fmla="*/ 200767 w 1023775"/>
                  <a:gd name="connsiteY14" fmla="*/ 255572 h 314325"/>
                  <a:gd name="connsiteX15" fmla="*/ 231078 w 1023775"/>
                  <a:gd name="connsiteY15" fmla="*/ 201561 h 314325"/>
                  <a:gd name="connsiteX16" fmla="*/ 250884 w 1023775"/>
                  <a:gd name="connsiteY16" fmla="*/ 171450 h 314325"/>
                  <a:gd name="connsiteX17" fmla="*/ 269934 w 1023775"/>
                  <a:gd name="connsiteY17" fmla="*/ 142875 h 314325"/>
                  <a:gd name="connsiteX18" fmla="*/ 303272 w 1023775"/>
                  <a:gd name="connsiteY18" fmla="*/ 71437 h 314325"/>
                  <a:gd name="connsiteX19" fmla="*/ 314247 w 1023775"/>
                  <a:gd name="connsiteY19" fmla="*/ 36631 h 314325"/>
                  <a:gd name="connsiteX20" fmla="*/ 321218 w 1023775"/>
                  <a:gd name="connsiteY20" fmla="*/ 88841 h 314325"/>
                  <a:gd name="connsiteX21" fmla="*/ 326328 w 1023775"/>
                  <a:gd name="connsiteY21" fmla="*/ 147637 h 314325"/>
                  <a:gd name="connsiteX22" fmla="*/ 336609 w 1023775"/>
                  <a:gd name="connsiteY22" fmla="*/ 171450 h 314325"/>
                  <a:gd name="connsiteX23" fmla="*/ 347995 w 1023775"/>
                  <a:gd name="connsiteY23" fmla="*/ 261916 h 314325"/>
                  <a:gd name="connsiteX24" fmla="*/ 355659 w 1023775"/>
                  <a:gd name="connsiteY24" fmla="*/ 247650 h 314325"/>
                  <a:gd name="connsiteX25" fmla="*/ 369253 w 1023775"/>
                  <a:gd name="connsiteY25" fmla="*/ 231782 h 314325"/>
                  <a:gd name="connsiteX26" fmla="*/ 393759 w 1023775"/>
                  <a:gd name="connsiteY26" fmla="*/ 180975 h 314325"/>
                  <a:gd name="connsiteX27" fmla="*/ 408047 w 1023775"/>
                  <a:gd name="connsiteY27" fmla="*/ 171450 h 314325"/>
                  <a:gd name="connsiteX28" fmla="*/ 417572 w 1023775"/>
                  <a:gd name="connsiteY28" fmla="*/ 157162 h 314325"/>
                  <a:gd name="connsiteX29" fmla="*/ 427097 w 1023775"/>
                  <a:gd name="connsiteY29" fmla="*/ 180975 h 314325"/>
                  <a:gd name="connsiteX30" fmla="*/ 436622 w 1023775"/>
                  <a:gd name="connsiteY30" fmla="*/ 209550 h 314325"/>
                  <a:gd name="connsiteX31" fmla="*/ 446903 w 1023775"/>
                  <a:gd name="connsiteY31" fmla="*/ 252390 h 314325"/>
                  <a:gd name="connsiteX32" fmla="*/ 474722 w 1023775"/>
                  <a:gd name="connsiteY32" fmla="*/ 233362 h 314325"/>
                  <a:gd name="connsiteX33" fmla="*/ 489009 w 1023775"/>
                  <a:gd name="connsiteY33" fmla="*/ 233362 h 314325"/>
                  <a:gd name="connsiteX34" fmla="*/ 498534 w 1023775"/>
                  <a:gd name="connsiteY34" fmla="*/ 223837 h 314325"/>
                  <a:gd name="connsiteX35" fmla="*/ 541397 w 1023775"/>
                  <a:gd name="connsiteY35" fmla="*/ 138112 h 314325"/>
                  <a:gd name="connsiteX36" fmla="*/ 560447 w 1023775"/>
                  <a:gd name="connsiteY36" fmla="*/ 104775 h 314325"/>
                  <a:gd name="connsiteX37" fmla="*/ 565209 w 1023775"/>
                  <a:gd name="connsiteY37" fmla="*/ 90487 h 314325"/>
                  <a:gd name="connsiteX38" fmla="*/ 579497 w 1023775"/>
                  <a:gd name="connsiteY38" fmla="*/ 80962 h 314325"/>
                  <a:gd name="connsiteX39" fmla="*/ 618291 w 1023775"/>
                  <a:gd name="connsiteY39" fmla="*/ 49227 h 314325"/>
                  <a:gd name="connsiteX40" fmla="*/ 635325 w 1023775"/>
                  <a:gd name="connsiteY40" fmla="*/ 51320 h 314325"/>
                  <a:gd name="connsiteX41" fmla="*/ 646582 w 1023775"/>
                  <a:gd name="connsiteY41" fmla="*/ 295341 h 314325"/>
                  <a:gd name="connsiteX42" fmla="*/ 650934 w 1023775"/>
                  <a:gd name="connsiteY42" fmla="*/ 314325 h 314325"/>
                  <a:gd name="connsiteX43" fmla="*/ 660459 w 1023775"/>
                  <a:gd name="connsiteY43" fmla="*/ 295275 h 314325"/>
                  <a:gd name="connsiteX44" fmla="*/ 674399 w 1023775"/>
                  <a:gd name="connsiteY44" fmla="*/ 257152 h 314325"/>
                  <a:gd name="connsiteX45" fmla="*/ 706224 w 1023775"/>
                  <a:gd name="connsiteY45" fmla="*/ 168290 h 314325"/>
                  <a:gd name="connsiteX46" fmla="*/ 722372 w 1023775"/>
                  <a:gd name="connsiteY46" fmla="*/ 133350 h 314325"/>
                  <a:gd name="connsiteX47" fmla="*/ 727134 w 1023775"/>
                  <a:gd name="connsiteY47" fmla="*/ 166687 h 314325"/>
                  <a:gd name="connsiteX48" fmla="*/ 731897 w 1023775"/>
                  <a:gd name="connsiteY48" fmla="*/ 180975 h 314325"/>
                  <a:gd name="connsiteX49" fmla="*/ 748045 w 1023775"/>
                  <a:gd name="connsiteY49" fmla="*/ 155604 h 314325"/>
                  <a:gd name="connsiteX50" fmla="*/ 774065 w 1023775"/>
                  <a:gd name="connsiteY50" fmla="*/ 131770 h 314325"/>
                  <a:gd name="connsiteX51" fmla="*/ 793809 w 1023775"/>
                  <a:gd name="connsiteY51" fmla="*/ 85725 h 314325"/>
                  <a:gd name="connsiteX52" fmla="*/ 803334 w 1023775"/>
                  <a:gd name="connsiteY52" fmla="*/ 114300 h 314325"/>
                  <a:gd name="connsiteX53" fmla="*/ 817622 w 1023775"/>
                  <a:gd name="connsiteY53" fmla="*/ 185737 h 314325"/>
                  <a:gd name="connsiteX54" fmla="*/ 838532 w 1023775"/>
                  <a:gd name="connsiteY54" fmla="*/ 180975 h 314325"/>
                  <a:gd name="connsiteX55" fmla="*/ 855722 w 1023775"/>
                  <a:gd name="connsiteY55" fmla="*/ 138112 h 314325"/>
                  <a:gd name="connsiteX56" fmla="*/ 879534 w 1023775"/>
                  <a:gd name="connsiteY56" fmla="*/ 76200 h 314325"/>
                  <a:gd name="connsiteX57" fmla="*/ 884297 w 1023775"/>
                  <a:gd name="connsiteY57" fmla="*/ 52387 h 314325"/>
                  <a:gd name="connsiteX58" fmla="*/ 898584 w 1023775"/>
                  <a:gd name="connsiteY58" fmla="*/ 38100 h 314325"/>
                  <a:gd name="connsiteX59" fmla="*/ 903347 w 1023775"/>
                  <a:gd name="connsiteY59" fmla="*/ 14287 h 314325"/>
                  <a:gd name="connsiteX60" fmla="*/ 908109 w 1023775"/>
                  <a:gd name="connsiteY60" fmla="*/ 0 h 314325"/>
                  <a:gd name="connsiteX61" fmla="*/ 912872 w 1023775"/>
                  <a:gd name="connsiteY61" fmla="*/ 14287 h 314325"/>
                  <a:gd name="connsiteX62" fmla="*/ 917634 w 1023775"/>
                  <a:gd name="connsiteY62" fmla="*/ 71437 h 314325"/>
                  <a:gd name="connsiteX63" fmla="*/ 927159 w 1023775"/>
                  <a:gd name="connsiteY63" fmla="*/ 100012 h 314325"/>
                  <a:gd name="connsiteX64" fmla="*/ 950972 w 1023775"/>
                  <a:gd name="connsiteY64" fmla="*/ 161925 h 314325"/>
                  <a:gd name="connsiteX65" fmla="*/ 955734 w 1023775"/>
                  <a:gd name="connsiteY65" fmla="*/ 180975 h 314325"/>
                  <a:gd name="connsiteX66" fmla="*/ 960497 w 1023775"/>
                  <a:gd name="connsiteY66" fmla="*/ 214312 h 314325"/>
                  <a:gd name="connsiteX67" fmla="*/ 979547 w 1023775"/>
                  <a:gd name="connsiteY67" fmla="*/ 242887 h 314325"/>
                  <a:gd name="connsiteX68" fmla="*/ 989739 w 1023775"/>
                  <a:gd name="connsiteY68" fmla="*/ 265734 h 314325"/>
                  <a:gd name="connsiteX69" fmla="*/ 1023775 w 1023775"/>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1637"/>
                  <a:gd name="connsiteY0" fmla="*/ 262750 h 314325"/>
                  <a:gd name="connsiteX1" fmla="*/ 33523 w 1021637"/>
                  <a:gd name="connsiteY1" fmla="*/ 257600 h 314325"/>
                  <a:gd name="connsiteX2" fmla="*/ 48326 w 1021637"/>
                  <a:gd name="connsiteY2" fmla="*/ 228600 h 314325"/>
                  <a:gd name="connsiteX3" fmla="*/ 65681 w 1021637"/>
                  <a:gd name="connsiteY3" fmla="*/ 180975 h 314325"/>
                  <a:gd name="connsiteX4" fmla="*/ 75206 w 1021637"/>
                  <a:gd name="connsiteY4" fmla="*/ 166687 h 314325"/>
                  <a:gd name="connsiteX5" fmla="*/ 94256 w 1021637"/>
                  <a:gd name="connsiteY5" fmla="*/ 114300 h 314325"/>
                  <a:gd name="connsiteX6" fmla="*/ 103781 w 1021637"/>
                  <a:gd name="connsiteY6" fmla="*/ 100012 h 314325"/>
                  <a:gd name="connsiteX7" fmla="*/ 122831 w 1021637"/>
                  <a:gd name="connsiteY7" fmla="*/ 57150 h 314325"/>
                  <a:gd name="connsiteX8" fmla="*/ 127593 w 1021637"/>
                  <a:gd name="connsiteY8" fmla="*/ 42862 h 314325"/>
                  <a:gd name="connsiteX9" fmla="*/ 137118 w 1021637"/>
                  <a:gd name="connsiteY9" fmla="*/ 4762 h 314325"/>
                  <a:gd name="connsiteX10" fmla="*/ 146643 w 1021637"/>
                  <a:gd name="connsiteY10" fmla="*/ 100012 h 314325"/>
                  <a:gd name="connsiteX11" fmla="*/ 156168 w 1021637"/>
                  <a:gd name="connsiteY11" fmla="*/ 152400 h 314325"/>
                  <a:gd name="connsiteX12" fmla="*/ 160931 w 1021637"/>
                  <a:gd name="connsiteY12" fmla="*/ 228600 h 314325"/>
                  <a:gd name="connsiteX13" fmla="*/ 173420 w 1021637"/>
                  <a:gd name="connsiteY13" fmla="*/ 268258 h 314325"/>
                  <a:gd name="connsiteX14" fmla="*/ 201301 w 1021637"/>
                  <a:gd name="connsiteY14" fmla="*/ 255572 h 314325"/>
                  <a:gd name="connsiteX15" fmla="*/ 231612 w 1021637"/>
                  <a:gd name="connsiteY15" fmla="*/ 201561 h 314325"/>
                  <a:gd name="connsiteX16" fmla="*/ 251418 w 1021637"/>
                  <a:gd name="connsiteY16" fmla="*/ 171450 h 314325"/>
                  <a:gd name="connsiteX17" fmla="*/ 270468 w 1021637"/>
                  <a:gd name="connsiteY17" fmla="*/ 142875 h 314325"/>
                  <a:gd name="connsiteX18" fmla="*/ 303806 w 1021637"/>
                  <a:gd name="connsiteY18" fmla="*/ 71437 h 314325"/>
                  <a:gd name="connsiteX19" fmla="*/ 314781 w 1021637"/>
                  <a:gd name="connsiteY19" fmla="*/ 36631 h 314325"/>
                  <a:gd name="connsiteX20" fmla="*/ 321752 w 1021637"/>
                  <a:gd name="connsiteY20" fmla="*/ 88841 h 314325"/>
                  <a:gd name="connsiteX21" fmla="*/ 326862 w 1021637"/>
                  <a:gd name="connsiteY21" fmla="*/ 147637 h 314325"/>
                  <a:gd name="connsiteX22" fmla="*/ 337143 w 1021637"/>
                  <a:gd name="connsiteY22" fmla="*/ 171450 h 314325"/>
                  <a:gd name="connsiteX23" fmla="*/ 348529 w 1021637"/>
                  <a:gd name="connsiteY23" fmla="*/ 261916 h 314325"/>
                  <a:gd name="connsiteX24" fmla="*/ 356193 w 1021637"/>
                  <a:gd name="connsiteY24" fmla="*/ 247650 h 314325"/>
                  <a:gd name="connsiteX25" fmla="*/ 369787 w 1021637"/>
                  <a:gd name="connsiteY25" fmla="*/ 231782 h 314325"/>
                  <a:gd name="connsiteX26" fmla="*/ 394293 w 1021637"/>
                  <a:gd name="connsiteY26" fmla="*/ 180975 h 314325"/>
                  <a:gd name="connsiteX27" fmla="*/ 408581 w 1021637"/>
                  <a:gd name="connsiteY27" fmla="*/ 171450 h 314325"/>
                  <a:gd name="connsiteX28" fmla="*/ 418106 w 1021637"/>
                  <a:gd name="connsiteY28" fmla="*/ 157162 h 314325"/>
                  <a:gd name="connsiteX29" fmla="*/ 427631 w 1021637"/>
                  <a:gd name="connsiteY29" fmla="*/ 180975 h 314325"/>
                  <a:gd name="connsiteX30" fmla="*/ 437156 w 1021637"/>
                  <a:gd name="connsiteY30" fmla="*/ 209550 h 314325"/>
                  <a:gd name="connsiteX31" fmla="*/ 447437 w 1021637"/>
                  <a:gd name="connsiteY31" fmla="*/ 252390 h 314325"/>
                  <a:gd name="connsiteX32" fmla="*/ 475256 w 1021637"/>
                  <a:gd name="connsiteY32" fmla="*/ 233362 h 314325"/>
                  <a:gd name="connsiteX33" fmla="*/ 489543 w 1021637"/>
                  <a:gd name="connsiteY33" fmla="*/ 233362 h 314325"/>
                  <a:gd name="connsiteX34" fmla="*/ 499068 w 1021637"/>
                  <a:gd name="connsiteY34" fmla="*/ 223837 h 314325"/>
                  <a:gd name="connsiteX35" fmla="*/ 541931 w 1021637"/>
                  <a:gd name="connsiteY35" fmla="*/ 138112 h 314325"/>
                  <a:gd name="connsiteX36" fmla="*/ 560981 w 1021637"/>
                  <a:gd name="connsiteY36" fmla="*/ 104775 h 314325"/>
                  <a:gd name="connsiteX37" fmla="*/ 565743 w 1021637"/>
                  <a:gd name="connsiteY37" fmla="*/ 90487 h 314325"/>
                  <a:gd name="connsiteX38" fmla="*/ 580031 w 1021637"/>
                  <a:gd name="connsiteY38" fmla="*/ 80962 h 314325"/>
                  <a:gd name="connsiteX39" fmla="*/ 618825 w 1021637"/>
                  <a:gd name="connsiteY39" fmla="*/ 49227 h 314325"/>
                  <a:gd name="connsiteX40" fmla="*/ 635859 w 1021637"/>
                  <a:gd name="connsiteY40" fmla="*/ 51320 h 314325"/>
                  <a:gd name="connsiteX41" fmla="*/ 647116 w 1021637"/>
                  <a:gd name="connsiteY41" fmla="*/ 295341 h 314325"/>
                  <a:gd name="connsiteX42" fmla="*/ 651468 w 1021637"/>
                  <a:gd name="connsiteY42" fmla="*/ 314325 h 314325"/>
                  <a:gd name="connsiteX43" fmla="*/ 660993 w 1021637"/>
                  <a:gd name="connsiteY43" fmla="*/ 295275 h 314325"/>
                  <a:gd name="connsiteX44" fmla="*/ 674933 w 1021637"/>
                  <a:gd name="connsiteY44" fmla="*/ 257152 h 314325"/>
                  <a:gd name="connsiteX45" fmla="*/ 706758 w 1021637"/>
                  <a:gd name="connsiteY45" fmla="*/ 168290 h 314325"/>
                  <a:gd name="connsiteX46" fmla="*/ 722906 w 1021637"/>
                  <a:gd name="connsiteY46" fmla="*/ 133350 h 314325"/>
                  <a:gd name="connsiteX47" fmla="*/ 727668 w 1021637"/>
                  <a:gd name="connsiteY47" fmla="*/ 166687 h 314325"/>
                  <a:gd name="connsiteX48" fmla="*/ 732431 w 1021637"/>
                  <a:gd name="connsiteY48" fmla="*/ 180975 h 314325"/>
                  <a:gd name="connsiteX49" fmla="*/ 748579 w 1021637"/>
                  <a:gd name="connsiteY49" fmla="*/ 155604 h 314325"/>
                  <a:gd name="connsiteX50" fmla="*/ 774599 w 1021637"/>
                  <a:gd name="connsiteY50" fmla="*/ 131770 h 314325"/>
                  <a:gd name="connsiteX51" fmla="*/ 794343 w 1021637"/>
                  <a:gd name="connsiteY51" fmla="*/ 85725 h 314325"/>
                  <a:gd name="connsiteX52" fmla="*/ 803868 w 1021637"/>
                  <a:gd name="connsiteY52" fmla="*/ 114300 h 314325"/>
                  <a:gd name="connsiteX53" fmla="*/ 818156 w 1021637"/>
                  <a:gd name="connsiteY53" fmla="*/ 185737 h 314325"/>
                  <a:gd name="connsiteX54" fmla="*/ 839066 w 1021637"/>
                  <a:gd name="connsiteY54" fmla="*/ 180975 h 314325"/>
                  <a:gd name="connsiteX55" fmla="*/ 856256 w 1021637"/>
                  <a:gd name="connsiteY55" fmla="*/ 138112 h 314325"/>
                  <a:gd name="connsiteX56" fmla="*/ 880068 w 1021637"/>
                  <a:gd name="connsiteY56" fmla="*/ 76200 h 314325"/>
                  <a:gd name="connsiteX57" fmla="*/ 884831 w 1021637"/>
                  <a:gd name="connsiteY57" fmla="*/ 52387 h 314325"/>
                  <a:gd name="connsiteX58" fmla="*/ 899118 w 1021637"/>
                  <a:gd name="connsiteY58" fmla="*/ 38100 h 314325"/>
                  <a:gd name="connsiteX59" fmla="*/ 903881 w 1021637"/>
                  <a:gd name="connsiteY59" fmla="*/ 14287 h 314325"/>
                  <a:gd name="connsiteX60" fmla="*/ 908643 w 1021637"/>
                  <a:gd name="connsiteY60" fmla="*/ 0 h 314325"/>
                  <a:gd name="connsiteX61" fmla="*/ 913406 w 1021637"/>
                  <a:gd name="connsiteY61" fmla="*/ 14287 h 314325"/>
                  <a:gd name="connsiteX62" fmla="*/ 918168 w 1021637"/>
                  <a:gd name="connsiteY62" fmla="*/ 71437 h 314325"/>
                  <a:gd name="connsiteX63" fmla="*/ 927693 w 1021637"/>
                  <a:gd name="connsiteY63" fmla="*/ 100012 h 314325"/>
                  <a:gd name="connsiteX64" fmla="*/ 951506 w 1021637"/>
                  <a:gd name="connsiteY64" fmla="*/ 161925 h 314325"/>
                  <a:gd name="connsiteX65" fmla="*/ 956268 w 1021637"/>
                  <a:gd name="connsiteY65" fmla="*/ 180975 h 314325"/>
                  <a:gd name="connsiteX66" fmla="*/ 961031 w 1021637"/>
                  <a:gd name="connsiteY66" fmla="*/ 214312 h 314325"/>
                  <a:gd name="connsiteX67" fmla="*/ 980081 w 1021637"/>
                  <a:gd name="connsiteY67" fmla="*/ 242887 h 314325"/>
                  <a:gd name="connsiteX68" fmla="*/ 990273 w 1021637"/>
                  <a:gd name="connsiteY68" fmla="*/ 265734 h 314325"/>
                  <a:gd name="connsiteX69" fmla="*/ 1021637 w 1021637"/>
                  <a:gd name="connsiteY69" fmla="*/ 261405 h 314325"/>
                  <a:gd name="connsiteX0" fmla="*/ 0 w 1023774"/>
                  <a:gd name="connsiteY0" fmla="*/ 262750 h 314325"/>
                  <a:gd name="connsiteX1" fmla="*/ 33523 w 1023774"/>
                  <a:gd name="connsiteY1" fmla="*/ 257600 h 314325"/>
                  <a:gd name="connsiteX2" fmla="*/ 48326 w 1023774"/>
                  <a:gd name="connsiteY2" fmla="*/ 228600 h 314325"/>
                  <a:gd name="connsiteX3" fmla="*/ 65681 w 1023774"/>
                  <a:gd name="connsiteY3" fmla="*/ 180975 h 314325"/>
                  <a:gd name="connsiteX4" fmla="*/ 75206 w 1023774"/>
                  <a:gd name="connsiteY4" fmla="*/ 166687 h 314325"/>
                  <a:gd name="connsiteX5" fmla="*/ 94256 w 1023774"/>
                  <a:gd name="connsiteY5" fmla="*/ 114300 h 314325"/>
                  <a:gd name="connsiteX6" fmla="*/ 103781 w 1023774"/>
                  <a:gd name="connsiteY6" fmla="*/ 100012 h 314325"/>
                  <a:gd name="connsiteX7" fmla="*/ 122831 w 1023774"/>
                  <a:gd name="connsiteY7" fmla="*/ 57150 h 314325"/>
                  <a:gd name="connsiteX8" fmla="*/ 127593 w 1023774"/>
                  <a:gd name="connsiteY8" fmla="*/ 42862 h 314325"/>
                  <a:gd name="connsiteX9" fmla="*/ 137118 w 1023774"/>
                  <a:gd name="connsiteY9" fmla="*/ 4762 h 314325"/>
                  <a:gd name="connsiteX10" fmla="*/ 146643 w 1023774"/>
                  <a:gd name="connsiteY10" fmla="*/ 100012 h 314325"/>
                  <a:gd name="connsiteX11" fmla="*/ 156168 w 1023774"/>
                  <a:gd name="connsiteY11" fmla="*/ 152400 h 314325"/>
                  <a:gd name="connsiteX12" fmla="*/ 160931 w 1023774"/>
                  <a:gd name="connsiteY12" fmla="*/ 228600 h 314325"/>
                  <a:gd name="connsiteX13" fmla="*/ 173420 w 1023774"/>
                  <a:gd name="connsiteY13" fmla="*/ 268258 h 314325"/>
                  <a:gd name="connsiteX14" fmla="*/ 201301 w 1023774"/>
                  <a:gd name="connsiteY14" fmla="*/ 255572 h 314325"/>
                  <a:gd name="connsiteX15" fmla="*/ 231612 w 1023774"/>
                  <a:gd name="connsiteY15" fmla="*/ 201561 h 314325"/>
                  <a:gd name="connsiteX16" fmla="*/ 251418 w 1023774"/>
                  <a:gd name="connsiteY16" fmla="*/ 171450 h 314325"/>
                  <a:gd name="connsiteX17" fmla="*/ 270468 w 1023774"/>
                  <a:gd name="connsiteY17" fmla="*/ 142875 h 314325"/>
                  <a:gd name="connsiteX18" fmla="*/ 303806 w 1023774"/>
                  <a:gd name="connsiteY18" fmla="*/ 71437 h 314325"/>
                  <a:gd name="connsiteX19" fmla="*/ 314781 w 1023774"/>
                  <a:gd name="connsiteY19" fmla="*/ 36631 h 314325"/>
                  <a:gd name="connsiteX20" fmla="*/ 321752 w 1023774"/>
                  <a:gd name="connsiteY20" fmla="*/ 88841 h 314325"/>
                  <a:gd name="connsiteX21" fmla="*/ 326862 w 1023774"/>
                  <a:gd name="connsiteY21" fmla="*/ 147637 h 314325"/>
                  <a:gd name="connsiteX22" fmla="*/ 337143 w 1023774"/>
                  <a:gd name="connsiteY22" fmla="*/ 171450 h 314325"/>
                  <a:gd name="connsiteX23" fmla="*/ 348529 w 1023774"/>
                  <a:gd name="connsiteY23" fmla="*/ 261916 h 314325"/>
                  <a:gd name="connsiteX24" fmla="*/ 356193 w 1023774"/>
                  <a:gd name="connsiteY24" fmla="*/ 247650 h 314325"/>
                  <a:gd name="connsiteX25" fmla="*/ 369787 w 1023774"/>
                  <a:gd name="connsiteY25" fmla="*/ 231782 h 314325"/>
                  <a:gd name="connsiteX26" fmla="*/ 394293 w 1023774"/>
                  <a:gd name="connsiteY26" fmla="*/ 180975 h 314325"/>
                  <a:gd name="connsiteX27" fmla="*/ 408581 w 1023774"/>
                  <a:gd name="connsiteY27" fmla="*/ 171450 h 314325"/>
                  <a:gd name="connsiteX28" fmla="*/ 418106 w 1023774"/>
                  <a:gd name="connsiteY28" fmla="*/ 157162 h 314325"/>
                  <a:gd name="connsiteX29" fmla="*/ 427631 w 1023774"/>
                  <a:gd name="connsiteY29" fmla="*/ 180975 h 314325"/>
                  <a:gd name="connsiteX30" fmla="*/ 437156 w 1023774"/>
                  <a:gd name="connsiteY30" fmla="*/ 209550 h 314325"/>
                  <a:gd name="connsiteX31" fmla="*/ 447437 w 1023774"/>
                  <a:gd name="connsiteY31" fmla="*/ 252390 h 314325"/>
                  <a:gd name="connsiteX32" fmla="*/ 475256 w 1023774"/>
                  <a:gd name="connsiteY32" fmla="*/ 233362 h 314325"/>
                  <a:gd name="connsiteX33" fmla="*/ 489543 w 1023774"/>
                  <a:gd name="connsiteY33" fmla="*/ 233362 h 314325"/>
                  <a:gd name="connsiteX34" fmla="*/ 499068 w 1023774"/>
                  <a:gd name="connsiteY34" fmla="*/ 223837 h 314325"/>
                  <a:gd name="connsiteX35" fmla="*/ 541931 w 1023774"/>
                  <a:gd name="connsiteY35" fmla="*/ 138112 h 314325"/>
                  <a:gd name="connsiteX36" fmla="*/ 560981 w 1023774"/>
                  <a:gd name="connsiteY36" fmla="*/ 104775 h 314325"/>
                  <a:gd name="connsiteX37" fmla="*/ 565743 w 1023774"/>
                  <a:gd name="connsiteY37" fmla="*/ 90487 h 314325"/>
                  <a:gd name="connsiteX38" fmla="*/ 580031 w 1023774"/>
                  <a:gd name="connsiteY38" fmla="*/ 80962 h 314325"/>
                  <a:gd name="connsiteX39" fmla="*/ 618825 w 1023774"/>
                  <a:gd name="connsiteY39" fmla="*/ 49227 h 314325"/>
                  <a:gd name="connsiteX40" fmla="*/ 635859 w 1023774"/>
                  <a:gd name="connsiteY40" fmla="*/ 51320 h 314325"/>
                  <a:gd name="connsiteX41" fmla="*/ 647116 w 1023774"/>
                  <a:gd name="connsiteY41" fmla="*/ 295341 h 314325"/>
                  <a:gd name="connsiteX42" fmla="*/ 651468 w 1023774"/>
                  <a:gd name="connsiteY42" fmla="*/ 314325 h 314325"/>
                  <a:gd name="connsiteX43" fmla="*/ 660993 w 1023774"/>
                  <a:gd name="connsiteY43" fmla="*/ 295275 h 314325"/>
                  <a:gd name="connsiteX44" fmla="*/ 674933 w 1023774"/>
                  <a:gd name="connsiteY44" fmla="*/ 257152 h 314325"/>
                  <a:gd name="connsiteX45" fmla="*/ 706758 w 1023774"/>
                  <a:gd name="connsiteY45" fmla="*/ 168290 h 314325"/>
                  <a:gd name="connsiteX46" fmla="*/ 722906 w 1023774"/>
                  <a:gd name="connsiteY46" fmla="*/ 133350 h 314325"/>
                  <a:gd name="connsiteX47" fmla="*/ 727668 w 1023774"/>
                  <a:gd name="connsiteY47" fmla="*/ 166687 h 314325"/>
                  <a:gd name="connsiteX48" fmla="*/ 732431 w 1023774"/>
                  <a:gd name="connsiteY48" fmla="*/ 180975 h 314325"/>
                  <a:gd name="connsiteX49" fmla="*/ 748579 w 1023774"/>
                  <a:gd name="connsiteY49" fmla="*/ 155604 h 314325"/>
                  <a:gd name="connsiteX50" fmla="*/ 774599 w 1023774"/>
                  <a:gd name="connsiteY50" fmla="*/ 131770 h 314325"/>
                  <a:gd name="connsiteX51" fmla="*/ 794343 w 1023774"/>
                  <a:gd name="connsiteY51" fmla="*/ 85725 h 314325"/>
                  <a:gd name="connsiteX52" fmla="*/ 803868 w 1023774"/>
                  <a:gd name="connsiteY52" fmla="*/ 114300 h 314325"/>
                  <a:gd name="connsiteX53" fmla="*/ 818156 w 1023774"/>
                  <a:gd name="connsiteY53" fmla="*/ 185737 h 314325"/>
                  <a:gd name="connsiteX54" fmla="*/ 839066 w 1023774"/>
                  <a:gd name="connsiteY54" fmla="*/ 180975 h 314325"/>
                  <a:gd name="connsiteX55" fmla="*/ 856256 w 1023774"/>
                  <a:gd name="connsiteY55" fmla="*/ 138112 h 314325"/>
                  <a:gd name="connsiteX56" fmla="*/ 880068 w 1023774"/>
                  <a:gd name="connsiteY56" fmla="*/ 76200 h 314325"/>
                  <a:gd name="connsiteX57" fmla="*/ 884831 w 1023774"/>
                  <a:gd name="connsiteY57" fmla="*/ 52387 h 314325"/>
                  <a:gd name="connsiteX58" fmla="*/ 899118 w 1023774"/>
                  <a:gd name="connsiteY58" fmla="*/ 38100 h 314325"/>
                  <a:gd name="connsiteX59" fmla="*/ 903881 w 1023774"/>
                  <a:gd name="connsiteY59" fmla="*/ 14287 h 314325"/>
                  <a:gd name="connsiteX60" fmla="*/ 908643 w 1023774"/>
                  <a:gd name="connsiteY60" fmla="*/ 0 h 314325"/>
                  <a:gd name="connsiteX61" fmla="*/ 913406 w 1023774"/>
                  <a:gd name="connsiteY61" fmla="*/ 14287 h 314325"/>
                  <a:gd name="connsiteX62" fmla="*/ 918168 w 1023774"/>
                  <a:gd name="connsiteY62" fmla="*/ 71437 h 314325"/>
                  <a:gd name="connsiteX63" fmla="*/ 927693 w 1023774"/>
                  <a:gd name="connsiteY63" fmla="*/ 100012 h 314325"/>
                  <a:gd name="connsiteX64" fmla="*/ 951506 w 1023774"/>
                  <a:gd name="connsiteY64" fmla="*/ 161925 h 314325"/>
                  <a:gd name="connsiteX65" fmla="*/ 956268 w 1023774"/>
                  <a:gd name="connsiteY65" fmla="*/ 180975 h 314325"/>
                  <a:gd name="connsiteX66" fmla="*/ 961031 w 1023774"/>
                  <a:gd name="connsiteY66" fmla="*/ 214312 h 314325"/>
                  <a:gd name="connsiteX67" fmla="*/ 980081 w 1023774"/>
                  <a:gd name="connsiteY67" fmla="*/ 242887 h 314325"/>
                  <a:gd name="connsiteX68" fmla="*/ 990273 w 1023774"/>
                  <a:gd name="connsiteY68" fmla="*/ 265734 h 314325"/>
                  <a:gd name="connsiteX69" fmla="*/ 1023774 w 1023774"/>
                  <a:gd name="connsiteY69" fmla="*/ 26140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23774" h="314325">
                    <a:moveTo>
                      <a:pt x="0" y="262750"/>
                    </a:moveTo>
                    <a:cubicBezTo>
                      <a:pt x="20885" y="261865"/>
                      <a:pt x="25469" y="263292"/>
                      <a:pt x="33523" y="257600"/>
                    </a:cubicBezTo>
                    <a:cubicBezTo>
                      <a:pt x="41577" y="251908"/>
                      <a:pt x="42966" y="241371"/>
                      <a:pt x="48326" y="228600"/>
                    </a:cubicBezTo>
                    <a:cubicBezTo>
                      <a:pt x="53686" y="215829"/>
                      <a:pt x="61201" y="191294"/>
                      <a:pt x="65681" y="180975"/>
                    </a:cubicBezTo>
                    <a:cubicBezTo>
                      <a:pt x="70161" y="170656"/>
                      <a:pt x="75206" y="166687"/>
                      <a:pt x="75206" y="166687"/>
                    </a:cubicBezTo>
                    <a:cubicBezTo>
                      <a:pt x="81379" y="141993"/>
                      <a:pt x="80199" y="142413"/>
                      <a:pt x="94256" y="114300"/>
                    </a:cubicBezTo>
                    <a:cubicBezTo>
                      <a:pt x="96816" y="109180"/>
                      <a:pt x="100941" y="104982"/>
                      <a:pt x="103781" y="100012"/>
                    </a:cubicBezTo>
                    <a:cubicBezTo>
                      <a:pt x="111652" y="86238"/>
                      <a:pt x="117265" y="71993"/>
                      <a:pt x="122831" y="57150"/>
                    </a:cubicBezTo>
                    <a:cubicBezTo>
                      <a:pt x="124594" y="52449"/>
                      <a:pt x="126272" y="47705"/>
                      <a:pt x="127593" y="42862"/>
                    </a:cubicBezTo>
                    <a:cubicBezTo>
                      <a:pt x="131037" y="30232"/>
                      <a:pt x="137118" y="4762"/>
                      <a:pt x="137118" y="4762"/>
                    </a:cubicBezTo>
                    <a:cubicBezTo>
                      <a:pt x="147761" y="57971"/>
                      <a:pt x="137808" y="2826"/>
                      <a:pt x="146643" y="100012"/>
                    </a:cubicBezTo>
                    <a:cubicBezTo>
                      <a:pt x="149080" y="126823"/>
                      <a:pt x="150580" y="130044"/>
                      <a:pt x="156168" y="152400"/>
                    </a:cubicBezTo>
                    <a:cubicBezTo>
                      <a:pt x="157756" y="177800"/>
                      <a:pt x="158056" y="209290"/>
                      <a:pt x="160931" y="228600"/>
                    </a:cubicBezTo>
                    <a:cubicBezTo>
                      <a:pt x="163806" y="247910"/>
                      <a:pt x="166692" y="263763"/>
                      <a:pt x="173420" y="268258"/>
                    </a:cubicBezTo>
                    <a:cubicBezTo>
                      <a:pt x="180148" y="272753"/>
                      <a:pt x="191602" y="266688"/>
                      <a:pt x="201301" y="255572"/>
                    </a:cubicBezTo>
                    <a:cubicBezTo>
                      <a:pt x="211000" y="244456"/>
                      <a:pt x="223259" y="215581"/>
                      <a:pt x="231612" y="201561"/>
                    </a:cubicBezTo>
                    <a:cubicBezTo>
                      <a:pt x="239965" y="187541"/>
                      <a:pt x="244942" y="181231"/>
                      <a:pt x="251418" y="171450"/>
                    </a:cubicBezTo>
                    <a:cubicBezTo>
                      <a:pt x="257894" y="161669"/>
                      <a:pt x="261737" y="159544"/>
                      <a:pt x="270468" y="142875"/>
                    </a:cubicBezTo>
                    <a:cubicBezTo>
                      <a:pt x="279199" y="126206"/>
                      <a:pt x="296421" y="89144"/>
                      <a:pt x="303806" y="71437"/>
                    </a:cubicBezTo>
                    <a:cubicBezTo>
                      <a:pt x="311191" y="53730"/>
                      <a:pt x="311790" y="33730"/>
                      <a:pt x="314781" y="36631"/>
                    </a:cubicBezTo>
                    <a:cubicBezTo>
                      <a:pt x="317772" y="39532"/>
                      <a:pt x="320164" y="84078"/>
                      <a:pt x="321752" y="88841"/>
                    </a:cubicBezTo>
                    <a:cubicBezTo>
                      <a:pt x="324164" y="108135"/>
                      <a:pt x="324297" y="133869"/>
                      <a:pt x="326862" y="147637"/>
                    </a:cubicBezTo>
                    <a:cubicBezTo>
                      <a:pt x="329427" y="161405"/>
                      <a:pt x="335556" y="163512"/>
                      <a:pt x="337143" y="171450"/>
                    </a:cubicBezTo>
                    <a:cubicBezTo>
                      <a:pt x="338731" y="200025"/>
                      <a:pt x="341588" y="234151"/>
                      <a:pt x="348529" y="261916"/>
                    </a:cubicBezTo>
                    <a:cubicBezTo>
                      <a:pt x="349917" y="267469"/>
                      <a:pt x="352650" y="252672"/>
                      <a:pt x="356193" y="247650"/>
                    </a:cubicBezTo>
                    <a:cubicBezTo>
                      <a:pt x="359736" y="242628"/>
                      <a:pt x="367710" y="236352"/>
                      <a:pt x="369787" y="231782"/>
                    </a:cubicBezTo>
                    <a:cubicBezTo>
                      <a:pt x="382365" y="204110"/>
                      <a:pt x="387827" y="191030"/>
                      <a:pt x="394293" y="180975"/>
                    </a:cubicBezTo>
                    <a:cubicBezTo>
                      <a:pt x="400759" y="170920"/>
                      <a:pt x="403818" y="174625"/>
                      <a:pt x="408581" y="171450"/>
                    </a:cubicBezTo>
                    <a:cubicBezTo>
                      <a:pt x="411756" y="166687"/>
                      <a:pt x="412986" y="154602"/>
                      <a:pt x="418106" y="157162"/>
                    </a:cubicBezTo>
                    <a:cubicBezTo>
                      <a:pt x="425753" y="160985"/>
                      <a:pt x="424709" y="172941"/>
                      <a:pt x="427631" y="180975"/>
                    </a:cubicBezTo>
                    <a:cubicBezTo>
                      <a:pt x="431062" y="190411"/>
                      <a:pt x="433855" y="197647"/>
                      <a:pt x="437156" y="209550"/>
                    </a:cubicBezTo>
                    <a:cubicBezTo>
                      <a:pt x="440457" y="221453"/>
                      <a:pt x="439998" y="241975"/>
                      <a:pt x="447437" y="252390"/>
                    </a:cubicBezTo>
                    <a:cubicBezTo>
                      <a:pt x="452397" y="259334"/>
                      <a:pt x="472700" y="235066"/>
                      <a:pt x="475256" y="233362"/>
                    </a:cubicBezTo>
                    <a:cubicBezTo>
                      <a:pt x="493561" y="205906"/>
                      <a:pt x="485574" y="234949"/>
                      <a:pt x="489543" y="233362"/>
                    </a:cubicBezTo>
                    <a:cubicBezTo>
                      <a:pt x="493512" y="231775"/>
                      <a:pt x="490337" y="239712"/>
                      <a:pt x="499068" y="223837"/>
                    </a:cubicBezTo>
                    <a:cubicBezTo>
                      <a:pt x="507799" y="207962"/>
                      <a:pt x="531612" y="157956"/>
                      <a:pt x="541931" y="138112"/>
                    </a:cubicBezTo>
                    <a:cubicBezTo>
                      <a:pt x="552850" y="105353"/>
                      <a:pt x="537914" y="145143"/>
                      <a:pt x="560981" y="104775"/>
                    </a:cubicBezTo>
                    <a:cubicBezTo>
                      <a:pt x="563472" y="100416"/>
                      <a:pt x="562607" y="94407"/>
                      <a:pt x="565743" y="90487"/>
                    </a:cubicBezTo>
                    <a:cubicBezTo>
                      <a:pt x="569319" y="86017"/>
                      <a:pt x="571184" y="87839"/>
                      <a:pt x="580031" y="80962"/>
                    </a:cubicBezTo>
                    <a:cubicBezTo>
                      <a:pt x="588878" y="74085"/>
                      <a:pt x="611728" y="55221"/>
                      <a:pt x="618825" y="49227"/>
                    </a:cubicBezTo>
                    <a:cubicBezTo>
                      <a:pt x="625922" y="43233"/>
                      <a:pt x="631144" y="10301"/>
                      <a:pt x="635859" y="51320"/>
                    </a:cubicBezTo>
                    <a:cubicBezTo>
                      <a:pt x="640574" y="92339"/>
                      <a:pt x="642307" y="250453"/>
                      <a:pt x="647116" y="295341"/>
                    </a:cubicBezTo>
                    <a:cubicBezTo>
                      <a:pt x="647461" y="300349"/>
                      <a:pt x="646706" y="312737"/>
                      <a:pt x="651468" y="314325"/>
                    </a:cubicBezTo>
                    <a:cubicBezTo>
                      <a:pt x="654643" y="307975"/>
                      <a:pt x="657082" y="304804"/>
                      <a:pt x="660993" y="295275"/>
                    </a:cubicBezTo>
                    <a:cubicBezTo>
                      <a:pt x="664904" y="285746"/>
                      <a:pt x="667306" y="278316"/>
                      <a:pt x="674933" y="257152"/>
                    </a:cubicBezTo>
                    <a:cubicBezTo>
                      <a:pt x="682561" y="235988"/>
                      <a:pt x="698763" y="188924"/>
                      <a:pt x="706758" y="168290"/>
                    </a:cubicBezTo>
                    <a:cubicBezTo>
                      <a:pt x="714753" y="147656"/>
                      <a:pt x="719421" y="133617"/>
                      <a:pt x="722906" y="133350"/>
                    </a:cubicBezTo>
                    <a:cubicBezTo>
                      <a:pt x="726391" y="133083"/>
                      <a:pt x="725467" y="155680"/>
                      <a:pt x="727668" y="166687"/>
                    </a:cubicBezTo>
                    <a:cubicBezTo>
                      <a:pt x="728653" y="171610"/>
                      <a:pt x="728946" y="182822"/>
                      <a:pt x="732431" y="180975"/>
                    </a:cubicBezTo>
                    <a:cubicBezTo>
                      <a:pt x="735916" y="179128"/>
                      <a:pt x="741551" y="163805"/>
                      <a:pt x="748579" y="155604"/>
                    </a:cubicBezTo>
                    <a:cubicBezTo>
                      <a:pt x="755607" y="147403"/>
                      <a:pt x="766972" y="143416"/>
                      <a:pt x="774599" y="131770"/>
                    </a:cubicBezTo>
                    <a:cubicBezTo>
                      <a:pt x="782226" y="120124"/>
                      <a:pt x="789465" y="88637"/>
                      <a:pt x="794343" y="85725"/>
                    </a:cubicBezTo>
                    <a:cubicBezTo>
                      <a:pt x="799221" y="82813"/>
                      <a:pt x="801542" y="104533"/>
                      <a:pt x="803868" y="114300"/>
                    </a:cubicBezTo>
                    <a:cubicBezTo>
                      <a:pt x="809493" y="137924"/>
                      <a:pt x="812290" y="174624"/>
                      <a:pt x="818156" y="185737"/>
                    </a:cubicBezTo>
                    <a:cubicBezTo>
                      <a:pt x="824022" y="196850"/>
                      <a:pt x="835146" y="184111"/>
                      <a:pt x="839066" y="180975"/>
                    </a:cubicBezTo>
                    <a:cubicBezTo>
                      <a:pt x="845489" y="175837"/>
                      <a:pt x="849422" y="155575"/>
                      <a:pt x="856256" y="138112"/>
                    </a:cubicBezTo>
                    <a:cubicBezTo>
                      <a:pt x="863090" y="120650"/>
                      <a:pt x="874336" y="97217"/>
                      <a:pt x="880068" y="76200"/>
                    </a:cubicBezTo>
                    <a:cubicBezTo>
                      <a:pt x="882198" y="68390"/>
                      <a:pt x="881211" y="59627"/>
                      <a:pt x="884831" y="52387"/>
                    </a:cubicBezTo>
                    <a:cubicBezTo>
                      <a:pt x="887843" y="46363"/>
                      <a:pt x="894356" y="42862"/>
                      <a:pt x="899118" y="38100"/>
                    </a:cubicBezTo>
                    <a:cubicBezTo>
                      <a:pt x="900706" y="30162"/>
                      <a:pt x="901918" y="22140"/>
                      <a:pt x="903881" y="14287"/>
                    </a:cubicBezTo>
                    <a:cubicBezTo>
                      <a:pt x="905099" y="9417"/>
                      <a:pt x="903623" y="0"/>
                      <a:pt x="908643" y="0"/>
                    </a:cubicBezTo>
                    <a:cubicBezTo>
                      <a:pt x="913663" y="0"/>
                      <a:pt x="911818" y="9525"/>
                      <a:pt x="913406" y="14287"/>
                    </a:cubicBezTo>
                    <a:cubicBezTo>
                      <a:pt x="914993" y="33337"/>
                      <a:pt x="915025" y="52581"/>
                      <a:pt x="918168" y="71437"/>
                    </a:cubicBezTo>
                    <a:cubicBezTo>
                      <a:pt x="919819" y="81341"/>
                      <a:pt x="924935" y="90358"/>
                      <a:pt x="927693" y="100012"/>
                    </a:cubicBezTo>
                    <a:cubicBezTo>
                      <a:pt x="942673" y="152442"/>
                      <a:pt x="928213" y="123104"/>
                      <a:pt x="951506" y="161925"/>
                    </a:cubicBezTo>
                    <a:cubicBezTo>
                      <a:pt x="953093" y="168275"/>
                      <a:pt x="955097" y="174535"/>
                      <a:pt x="956268" y="180975"/>
                    </a:cubicBezTo>
                    <a:cubicBezTo>
                      <a:pt x="958276" y="192019"/>
                      <a:pt x="957001" y="203835"/>
                      <a:pt x="961031" y="214312"/>
                    </a:cubicBezTo>
                    <a:cubicBezTo>
                      <a:pt x="965141" y="224997"/>
                      <a:pt x="975207" y="234317"/>
                      <a:pt x="980081" y="242887"/>
                    </a:cubicBezTo>
                    <a:cubicBezTo>
                      <a:pt x="984955" y="251457"/>
                      <a:pt x="983258" y="262242"/>
                      <a:pt x="990273" y="265734"/>
                    </a:cubicBezTo>
                    <a:cubicBezTo>
                      <a:pt x="996576" y="258872"/>
                      <a:pt x="1004240" y="263357"/>
                      <a:pt x="1023774" y="261405"/>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Freeform 113"/>
              <p:cNvSpPr/>
              <p:nvPr/>
            </p:nvSpPr>
            <p:spPr bwMode="gray">
              <a:xfrm>
                <a:off x="10596500" y="3089997"/>
                <a:ext cx="1890172" cy="300436"/>
              </a:xfrm>
              <a:custGeom>
                <a:avLst/>
                <a:gdLst>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19112 w 1011118"/>
                  <a:gd name="connsiteY37" fmla="*/ 166687 h 314325"/>
                  <a:gd name="connsiteX38" fmla="*/ 533400 w 1011118"/>
                  <a:gd name="connsiteY38" fmla="*/ 138112 h 314325"/>
                  <a:gd name="connsiteX39" fmla="*/ 552450 w 1011118"/>
                  <a:gd name="connsiteY39" fmla="*/ 104775 h 314325"/>
                  <a:gd name="connsiteX40" fmla="*/ 557212 w 1011118"/>
                  <a:gd name="connsiteY40" fmla="*/ 90487 h 314325"/>
                  <a:gd name="connsiteX41" fmla="*/ 571500 w 1011118"/>
                  <a:gd name="connsiteY41" fmla="*/ 80962 h 314325"/>
                  <a:gd name="connsiteX42" fmla="*/ 619125 w 1011118"/>
                  <a:gd name="connsiteY42" fmla="*/ 52387 h 314325"/>
                  <a:gd name="connsiteX43" fmla="*/ 628650 w 1011118"/>
                  <a:gd name="connsiteY43" fmla="*/ 309562 h 314325"/>
                  <a:gd name="connsiteX44" fmla="*/ 642937 w 1011118"/>
                  <a:gd name="connsiteY44" fmla="*/ 314325 h 314325"/>
                  <a:gd name="connsiteX45" fmla="*/ 652462 w 1011118"/>
                  <a:gd name="connsiteY45" fmla="*/ 295275 h 314325"/>
                  <a:gd name="connsiteX46" fmla="*/ 661987 w 1011118"/>
                  <a:gd name="connsiteY46" fmla="*/ 252412 h 314325"/>
                  <a:gd name="connsiteX47" fmla="*/ 690562 w 1011118"/>
                  <a:gd name="connsiteY47" fmla="*/ 204787 h 314325"/>
                  <a:gd name="connsiteX48" fmla="*/ 704850 w 1011118"/>
                  <a:gd name="connsiteY48" fmla="*/ 171450 h 314325"/>
                  <a:gd name="connsiteX49" fmla="*/ 714375 w 1011118"/>
                  <a:gd name="connsiteY49" fmla="*/ 133350 h 314325"/>
                  <a:gd name="connsiteX50" fmla="*/ 719137 w 1011118"/>
                  <a:gd name="connsiteY50" fmla="*/ 166687 h 314325"/>
                  <a:gd name="connsiteX51" fmla="*/ 723900 w 1011118"/>
                  <a:gd name="connsiteY51" fmla="*/ 180975 h 314325"/>
                  <a:gd name="connsiteX52" fmla="*/ 733425 w 1011118"/>
                  <a:gd name="connsiteY52" fmla="*/ 161925 h 314325"/>
                  <a:gd name="connsiteX53" fmla="*/ 757237 w 1011118"/>
                  <a:gd name="connsiteY53" fmla="*/ 133350 h 314325"/>
                  <a:gd name="connsiteX54" fmla="*/ 785812 w 1011118"/>
                  <a:gd name="connsiteY54" fmla="*/ 85725 h 314325"/>
                  <a:gd name="connsiteX55" fmla="*/ 795337 w 1011118"/>
                  <a:gd name="connsiteY55" fmla="*/ 114300 h 314325"/>
                  <a:gd name="connsiteX56" fmla="*/ 809625 w 1011118"/>
                  <a:gd name="connsiteY56" fmla="*/ 185737 h 314325"/>
                  <a:gd name="connsiteX57" fmla="*/ 823912 w 1011118"/>
                  <a:gd name="connsiteY57" fmla="*/ 180975 h 314325"/>
                  <a:gd name="connsiteX58" fmla="*/ 847725 w 1011118"/>
                  <a:gd name="connsiteY58" fmla="*/ 138112 h 314325"/>
                  <a:gd name="connsiteX59" fmla="*/ 871537 w 1011118"/>
                  <a:gd name="connsiteY59" fmla="*/ 76200 h 314325"/>
                  <a:gd name="connsiteX60" fmla="*/ 876300 w 1011118"/>
                  <a:gd name="connsiteY60" fmla="*/ 52387 h 314325"/>
                  <a:gd name="connsiteX61" fmla="*/ 890587 w 1011118"/>
                  <a:gd name="connsiteY61" fmla="*/ 38100 h 314325"/>
                  <a:gd name="connsiteX62" fmla="*/ 895350 w 1011118"/>
                  <a:gd name="connsiteY62" fmla="*/ 14287 h 314325"/>
                  <a:gd name="connsiteX63" fmla="*/ 900112 w 1011118"/>
                  <a:gd name="connsiteY63" fmla="*/ 0 h 314325"/>
                  <a:gd name="connsiteX64" fmla="*/ 904875 w 1011118"/>
                  <a:gd name="connsiteY64" fmla="*/ 14287 h 314325"/>
                  <a:gd name="connsiteX65" fmla="*/ 909637 w 1011118"/>
                  <a:gd name="connsiteY65" fmla="*/ 71437 h 314325"/>
                  <a:gd name="connsiteX66" fmla="*/ 919162 w 1011118"/>
                  <a:gd name="connsiteY66" fmla="*/ 100012 h 314325"/>
                  <a:gd name="connsiteX67" fmla="*/ 942975 w 1011118"/>
                  <a:gd name="connsiteY67" fmla="*/ 161925 h 314325"/>
                  <a:gd name="connsiteX68" fmla="*/ 947737 w 1011118"/>
                  <a:gd name="connsiteY68" fmla="*/ 180975 h 314325"/>
                  <a:gd name="connsiteX69" fmla="*/ 952500 w 1011118"/>
                  <a:gd name="connsiteY69" fmla="*/ 214312 h 314325"/>
                  <a:gd name="connsiteX70" fmla="*/ 971550 w 1011118"/>
                  <a:gd name="connsiteY70" fmla="*/ 242887 h 314325"/>
                  <a:gd name="connsiteX71" fmla="*/ 985837 w 1011118"/>
                  <a:gd name="connsiteY71" fmla="*/ 238125 h 314325"/>
                  <a:gd name="connsiteX72" fmla="*/ 990600 w 1011118"/>
                  <a:gd name="connsiteY72" fmla="*/ 223837 h 314325"/>
                  <a:gd name="connsiteX73" fmla="*/ 1004887 w 1011118"/>
                  <a:gd name="connsiteY73"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5300 w 1011118"/>
                  <a:gd name="connsiteY35" fmla="*/ 238125 h 314325"/>
                  <a:gd name="connsiteX36" fmla="*/ 490537 w 1011118"/>
                  <a:gd name="connsiteY36" fmla="*/ 223837 h 314325"/>
                  <a:gd name="connsiteX37" fmla="*/ 533400 w 1011118"/>
                  <a:gd name="connsiteY37" fmla="*/ 138112 h 314325"/>
                  <a:gd name="connsiteX38" fmla="*/ 552450 w 1011118"/>
                  <a:gd name="connsiteY38" fmla="*/ 104775 h 314325"/>
                  <a:gd name="connsiteX39" fmla="*/ 557212 w 1011118"/>
                  <a:gd name="connsiteY39" fmla="*/ 90487 h 314325"/>
                  <a:gd name="connsiteX40" fmla="*/ 571500 w 1011118"/>
                  <a:gd name="connsiteY40" fmla="*/ 80962 h 314325"/>
                  <a:gd name="connsiteX41" fmla="*/ 619125 w 1011118"/>
                  <a:gd name="connsiteY41" fmla="*/ 52387 h 314325"/>
                  <a:gd name="connsiteX42" fmla="*/ 628650 w 1011118"/>
                  <a:gd name="connsiteY42" fmla="*/ 309562 h 314325"/>
                  <a:gd name="connsiteX43" fmla="*/ 642937 w 1011118"/>
                  <a:gd name="connsiteY43" fmla="*/ 314325 h 314325"/>
                  <a:gd name="connsiteX44" fmla="*/ 652462 w 1011118"/>
                  <a:gd name="connsiteY44" fmla="*/ 295275 h 314325"/>
                  <a:gd name="connsiteX45" fmla="*/ 661987 w 1011118"/>
                  <a:gd name="connsiteY45" fmla="*/ 252412 h 314325"/>
                  <a:gd name="connsiteX46" fmla="*/ 690562 w 1011118"/>
                  <a:gd name="connsiteY46" fmla="*/ 204787 h 314325"/>
                  <a:gd name="connsiteX47" fmla="*/ 704850 w 1011118"/>
                  <a:gd name="connsiteY47" fmla="*/ 171450 h 314325"/>
                  <a:gd name="connsiteX48" fmla="*/ 714375 w 1011118"/>
                  <a:gd name="connsiteY48" fmla="*/ 133350 h 314325"/>
                  <a:gd name="connsiteX49" fmla="*/ 719137 w 1011118"/>
                  <a:gd name="connsiteY49" fmla="*/ 166687 h 314325"/>
                  <a:gd name="connsiteX50" fmla="*/ 723900 w 1011118"/>
                  <a:gd name="connsiteY50" fmla="*/ 180975 h 314325"/>
                  <a:gd name="connsiteX51" fmla="*/ 733425 w 1011118"/>
                  <a:gd name="connsiteY51" fmla="*/ 161925 h 314325"/>
                  <a:gd name="connsiteX52" fmla="*/ 757237 w 1011118"/>
                  <a:gd name="connsiteY52" fmla="*/ 133350 h 314325"/>
                  <a:gd name="connsiteX53" fmla="*/ 785812 w 1011118"/>
                  <a:gd name="connsiteY53" fmla="*/ 85725 h 314325"/>
                  <a:gd name="connsiteX54" fmla="*/ 795337 w 1011118"/>
                  <a:gd name="connsiteY54" fmla="*/ 114300 h 314325"/>
                  <a:gd name="connsiteX55" fmla="*/ 809625 w 1011118"/>
                  <a:gd name="connsiteY55" fmla="*/ 185737 h 314325"/>
                  <a:gd name="connsiteX56" fmla="*/ 823912 w 1011118"/>
                  <a:gd name="connsiteY56" fmla="*/ 180975 h 314325"/>
                  <a:gd name="connsiteX57" fmla="*/ 847725 w 1011118"/>
                  <a:gd name="connsiteY57" fmla="*/ 138112 h 314325"/>
                  <a:gd name="connsiteX58" fmla="*/ 871537 w 1011118"/>
                  <a:gd name="connsiteY58" fmla="*/ 76200 h 314325"/>
                  <a:gd name="connsiteX59" fmla="*/ 876300 w 1011118"/>
                  <a:gd name="connsiteY59" fmla="*/ 52387 h 314325"/>
                  <a:gd name="connsiteX60" fmla="*/ 890587 w 1011118"/>
                  <a:gd name="connsiteY60" fmla="*/ 38100 h 314325"/>
                  <a:gd name="connsiteX61" fmla="*/ 895350 w 1011118"/>
                  <a:gd name="connsiteY61" fmla="*/ 14287 h 314325"/>
                  <a:gd name="connsiteX62" fmla="*/ 900112 w 1011118"/>
                  <a:gd name="connsiteY62" fmla="*/ 0 h 314325"/>
                  <a:gd name="connsiteX63" fmla="*/ 904875 w 1011118"/>
                  <a:gd name="connsiteY63" fmla="*/ 14287 h 314325"/>
                  <a:gd name="connsiteX64" fmla="*/ 909637 w 1011118"/>
                  <a:gd name="connsiteY64" fmla="*/ 71437 h 314325"/>
                  <a:gd name="connsiteX65" fmla="*/ 919162 w 1011118"/>
                  <a:gd name="connsiteY65" fmla="*/ 100012 h 314325"/>
                  <a:gd name="connsiteX66" fmla="*/ 942975 w 1011118"/>
                  <a:gd name="connsiteY66" fmla="*/ 161925 h 314325"/>
                  <a:gd name="connsiteX67" fmla="*/ 947737 w 1011118"/>
                  <a:gd name="connsiteY67" fmla="*/ 180975 h 314325"/>
                  <a:gd name="connsiteX68" fmla="*/ 952500 w 1011118"/>
                  <a:gd name="connsiteY68" fmla="*/ 214312 h 314325"/>
                  <a:gd name="connsiteX69" fmla="*/ 971550 w 1011118"/>
                  <a:gd name="connsiteY69" fmla="*/ 242887 h 314325"/>
                  <a:gd name="connsiteX70" fmla="*/ 985837 w 1011118"/>
                  <a:gd name="connsiteY70" fmla="*/ 238125 h 314325"/>
                  <a:gd name="connsiteX71" fmla="*/ 990600 w 1011118"/>
                  <a:gd name="connsiteY71" fmla="*/ 223837 h 314325"/>
                  <a:gd name="connsiteX72" fmla="*/ 1004887 w 1011118"/>
                  <a:gd name="connsiteY72"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76225 w 1011118"/>
                  <a:gd name="connsiteY18" fmla="*/ 100012 h 314325"/>
                  <a:gd name="connsiteX19" fmla="*/ 295275 w 1011118"/>
                  <a:gd name="connsiteY19" fmla="*/ 71437 h 314325"/>
                  <a:gd name="connsiteX20" fmla="*/ 309562 w 1011118"/>
                  <a:gd name="connsiteY20" fmla="*/ 61912 h 314325"/>
                  <a:gd name="connsiteX21" fmla="*/ 314325 w 1011118"/>
                  <a:gd name="connsiteY21" fmla="*/ 76200 h 314325"/>
                  <a:gd name="connsiteX22" fmla="*/ 323850 w 1011118"/>
                  <a:gd name="connsiteY22" fmla="*/ 147637 h 314325"/>
                  <a:gd name="connsiteX23" fmla="*/ 328612 w 1011118"/>
                  <a:gd name="connsiteY23" fmla="*/ 171450 h 314325"/>
                  <a:gd name="connsiteX24" fmla="*/ 333375 w 1011118"/>
                  <a:gd name="connsiteY24" fmla="*/ 257175 h 314325"/>
                  <a:gd name="connsiteX25" fmla="*/ 347662 w 1011118"/>
                  <a:gd name="connsiteY25" fmla="*/ 247650 h 314325"/>
                  <a:gd name="connsiteX26" fmla="*/ 352425 w 1011118"/>
                  <a:gd name="connsiteY26" fmla="*/ 233362 h 314325"/>
                  <a:gd name="connsiteX27" fmla="*/ 385762 w 1011118"/>
                  <a:gd name="connsiteY27" fmla="*/ 180975 h 314325"/>
                  <a:gd name="connsiteX28" fmla="*/ 400050 w 1011118"/>
                  <a:gd name="connsiteY28" fmla="*/ 171450 h 314325"/>
                  <a:gd name="connsiteX29" fmla="*/ 409575 w 1011118"/>
                  <a:gd name="connsiteY29" fmla="*/ 157162 h 314325"/>
                  <a:gd name="connsiteX30" fmla="*/ 419100 w 1011118"/>
                  <a:gd name="connsiteY30" fmla="*/ 180975 h 314325"/>
                  <a:gd name="connsiteX31" fmla="*/ 428625 w 1011118"/>
                  <a:gd name="connsiteY31" fmla="*/ 209550 h 314325"/>
                  <a:gd name="connsiteX32" fmla="*/ 433387 w 1011118"/>
                  <a:gd name="connsiteY32" fmla="*/ 247650 h 314325"/>
                  <a:gd name="connsiteX33" fmla="*/ 466725 w 1011118"/>
                  <a:gd name="connsiteY33" fmla="*/ 233362 h 314325"/>
                  <a:gd name="connsiteX34" fmla="*/ 481012 w 1011118"/>
                  <a:gd name="connsiteY34" fmla="*/ 233362 h 314325"/>
                  <a:gd name="connsiteX35" fmla="*/ 490537 w 1011118"/>
                  <a:gd name="connsiteY35" fmla="*/ 223837 h 314325"/>
                  <a:gd name="connsiteX36" fmla="*/ 533400 w 1011118"/>
                  <a:gd name="connsiteY36" fmla="*/ 138112 h 314325"/>
                  <a:gd name="connsiteX37" fmla="*/ 552450 w 1011118"/>
                  <a:gd name="connsiteY37" fmla="*/ 104775 h 314325"/>
                  <a:gd name="connsiteX38" fmla="*/ 557212 w 1011118"/>
                  <a:gd name="connsiteY38" fmla="*/ 90487 h 314325"/>
                  <a:gd name="connsiteX39" fmla="*/ 571500 w 1011118"/>
                  <a:gd name="connsiteY39" fmla="*/ 80962 h 314325"/>
                  <a:gd name="connsiteX40" fmla="*/ 619125 w 1011118"/>
                  <a:gd name="connsiteY40" fmla="*/ 52387 h 314325"/>
                  <a:gd name="connsiteX41" fmla="*/ 628650 w 1011118"/>
                  <a:gd name="connsiteY41" fmla="*/ 309562 h 314325"/>
                  <a:gd name="connsiteX42" fmla="*/ 642937 w 1011118"/>
                  <a:gd name="connsiteY42" fmla="*/ 314325 h 314325"/>
                  <a:gd name="connsiteX43" fmla="*/ 652462 w 1011118"/>
                  <a:gd name="connsiteY43" fmla="*/ 295275 h 314325"/>
                  <a:gd name="connsiteX44" fmla="*/ 661987 w 1011118"/>
                  <a:gd name="connsiteY44" fmla="*/ 252412 h 314325"/>
                  <a:gd name="connsiteX45" fmla="*/ 690562 w 1011118"/>
                  <a:gd name="connsiteY45" fmla="*/ 204787 h 314325"/>
                  <a:gd name="connsiteX46" fmla="*/ 704850 w 1011118"/>
                  <a:gd name="connsiteY46" fmla="*/ 171450 h 314325"/>
                  <a:gd name="connsiteX47" fmla="*/ 714375 w 1011118"/>
                  <a:gd name="connsiteY47" fmla="*/ 133350 h 314325"/>
                  <a:gd name="connsiteX48" fmla="*/ 719137 w 1011118"/>
                  <a:gd name="connsiteY48" fmla="*/ 166687 h 314325"/>
                  <a:gd name="connsiteX49" fmla="*/ 723900 w 1011118"/>
                  <a:gd name="connsiteY49" fmla="*/ 180975 h 314325"/>
                  <a:gd name="connsiteX50" fmla="*/ 733425 w 1011118"/>
                  <a:gd name="connsiteY50" fmla="*/ 161925 h 314325"/>
                  <a:gd name="connsiteX51" fmla="*/ 757237 w 1011118"/>
                  <a:gd name="connsiteY51" fmla="*/ 133350 h 314325"/>
                  <a:gd name="connsiteX52" fmla="*/ 785812 w 1011118"/>
                  <a:gd name="connsiteY52" fmla="*/ 85725 h 314325"/>
                  <a:gd name="connsiteX53" fmla="*/ 795337 w 1011118"/>
                  <a:gd name="connsiteY53" fmla="*/ 114300 h 314325"/>
                  <a:gd name="connsiteX54" fmla="*/ 809625 w 1011118"/>
                  <a:gd name="connsiteY54" fmla="*/ 185737 h 314325"/>
                  <a:gd name="connsiteX55" fmla="*/ 823912 w 1011118"/>
                  <a:gd name="connsiteY55" fmla="*/ 180975 h 314325"/>
                  <a:gd name="connsiteX56" fmla="*/ 847725 w 1011118"/>
                  <a:gd name="connsiteY56" fmla="*/ 138112 h 314325"/>
                  <a:gd name="connsiteX57" fmla="*/ 871537 w 1011118"/>
                  <a:gd name="connsiteY57" fmla="*/ 76200 h 314325"/>
                  <a:gd name="connsiteX58" fmla="*/ 876300 w 1011118"/>
                  <a:gd name="connsiteY58" fmla="*/ 52387 h 314325"/>
                  <a:gd name="connsiteX59" fmla="*/ 890587 w 1011118"/>
                  <a:gd name="connsiteY59" fmla="*/ 38100 h 314325"/>
                  <a:gd name="connsiteX60" fmla="*/ 895350 w 1011118"/>
                  <a:gd name="connsiteY60" fmla="*/ 14287 h 314325"/>
                  <a:gd name="connsiteX61" fmla="*/ 900112 w 1011118"/>
                  <a:gd name="connsiteY61" fmla="*/ 0 h 314325"/>
                  <a:gd name="connsiteX62" fmla="*/ 904875 w 1011118"/>
                  <a:gd name="connsiteY62" fmla="*/ 14287 h 314325"/>
                  <a:gd name="connsiteX63" fmla="*/ 909637 w 1011118"/>
                  <a:gd name="connsiteY63" fmla="*/ 71437 h 314325"/>
                  <a:gd name="connsiteX64" fmla="*/ 919162 w 1011118"/>
                  <a:gd name="connsiteY64" fmla="*/ 100012 h 314325"/>
                  <a:gd name="connsiteX65" fmla="*/ 942975 w 1011118"/>
                  <a:gd name="connsiteY65" fmla="*/ 161925 h 314325"/>
                  <a:gd name="connsiteX66" fmla="*/ 947737 w 1011118"/>
                  <a:gd name="connsiteY66" fmla="*/ 180975 h 314325"/>
                  <a:gd name="connsiteX67" fmla="*/ 952500 w 1011118"/>
                  <a:gd name="connsiteY67" fmla="*/ 214312 h 314325"/>
                  <a:gd name="connsiteX68" fmla="*/ 971550 w 1011118"/>
                  <a:gd name="connsiteY68" fmla="*/ 242887 h 314325"/>
                  <a:gd name="connsiteX69" fmla="*/ 985837 w 1011118"/>
                  <a:gd name="connsiteY69" fmla="*/ 238125 h 314325"/>
                  <a:gd name="connsiteX70" fmla="*/ 990600 w 1011118"/>
                  <a:gd name="connsiteY70" fmla="*/ 223837 h 314325"/>
                  <a:gd name="connsiteX71" fmla="*/ 1004887 w 1011118"/>
                  <a:gd name="connsiteY71"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23850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9562 w 1011118"/>
                  <a:gd name="connsiteY19" fmla="*/ 61912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76212 w 1011118"/>
                  <a:gd name="connsiteY14" fmla="*/ 25241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28650 w 1011118"/>
                  <a:gd name="connsiteY40" fmla="*/ 309562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9125 w 1011118"/>
                  <a:gd name="connsiteY39" fmla="*/ 5238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0562 w 1011118"/>
                  <a:gd name="connsiteY44" fmla="*/ 204787 h 314325"/>
                  <a:gd name="connsiteX45" fmla="*/ 704850 w 1011118"/>
                  <a:gd name="connsiteY45" fmla="*/ 17145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33425 w 1011118"/>
                  <a:gd name="connsiteY49" fmla="*/ 161925 h 314325"/>
                  <a:gd name="connsiteX50" fmla="*/ 757237 w 1011118"/>
                  <a:gd name="connsiteY50" fmla="*/ 13335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23912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704850 w 1011118"/>
                  <a:gd name="connsiteY44" fmla="*/ 17145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57237 w 1011118"/>
                  <a:gd name="connsiteY49" fmla="*/ 13335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33425 w 1011118"/>
                  <a:gd name="connsiteY48" fmla="*/ 161925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1987 w 1011118"/>
                  <a:gd name="connsiteY43" fmla="*/ 25241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23912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38585 w 1011118"/>
                  <a:gd name="connsiteY40" fmla="*/ 295341 h 314325"/>
                  <a:gd name="connsiteX41" fmla="*/ 642937 w 1011118"/>
                  <a:gd name="connsiteY41" fmla="*/ 314325 h 314325"/>
                  <a:gd name="connsiteX42" fmla="*/ 652462 w 1011118"/>
                  <a:gd name="connsiteY42" fmla="*/ 295275 h 314325"/>
                  <a:gd name="connsiteX43" fmla="*/ 666402 w 1011118"/>
                  <a:gd name="connsiteY43" fmla="*/ 257152 h 314325"/>
                  <a:gd name="connsiteX44" fmla="*/ 698227 w 1011118"/>
                  <a:gd name="connsiteY44" fmla="*/ 168290 h 314325"/>
                  <a:gd name="connsiteX45" fmla="*/ 714375 w 1011118"/>
                  <a:gd name="connsiteY45" fmla="*/ 133350 h 314325"/>
                  <a:gd name="connsiteX46" fmla="*/ 719137 w 1011118"/>
                  <a:gd name="connsiteY46" fmla="*/ 166687 h 314325"/>
                  <a:gd name="connsiteX47" fmla="*/ 723900 w 1011118"/>
                  <a:gd name="connsiteY47" fmla="*/ 180975 h 314325"/>
                  <a:gd name="connsiteX48" fmla="*/ 740048 w 1011118"/>
                  <a:gd name="connsiteY48" fmla="*/ 155604 h 314325"/>
                  <a:gd name="connsiteX49" fmla="*/ 766068 w 1011118"/>
                  <a:gd name="connsiteY49" fmla="*/ 131770 h 314325"/>
                  <a:gd name="connsiteX50" fmla="*/ 785812 w 1011118"/>
                  <a:gd name="connsiteY50" fmla="*/ 85725 h 314325"/>
                  <a:gd name="connsiteX51" fmla="*/ 795337 w 1011118"/>
                  <a:gd name="connsiteY51" fmla="*/ 114300 h 314325"/>
                  <a:gd name="connsiteX52" fmla="*/ 809625 w 1011118"/>
                  <a:gd name="connsiteY52" fmla="*/ 185737 h 314325"/>
                  <a:gd name="connsiteX53" fmla="*/ 830535 w 1011118"/>
                  <a:gd name="connsiteY53" fmla="*/ 180975 h 314325"/>
                  <a:gd name="connsiteX54" fmla="*/ 847725 w 1011118"/>
                  <a:gd name="connsiteY54" fmla="*/ 138112 h 314325"/>
                  <a:gd name="connsiteX55" fmla="*/ 871537 w 1011118"/>
                  <a:gd name="connsiteY55" fmla="*/ 76200 h 314325"/>
                  <a:gd name="connsiteX56" fmla="*/ 876300 w 1011118"/>
                  <a:gd name="connsiteY56" fmla="*/ 52387 h 314325"/>
                  <a:gd name="connsiteX57" fmla="*/ 890587 w 1011118"/>
                  <a:gd name="connsiteY57" fmla="*/ 38100 h 314325"/>
                  <a:gd name="connsiteX58" fmla="*/ 895350 w 1011118"/>
                  <a:gd name="connsiteY58" fmla="*/ 14287 h 314325"/>
                  <a:gd name="connsiteX59" fmla="*/ 900112 w 1011118"/>
                  <a:gd name="connsiteY59" fmla="*/ 0 h 314325"/>
                  <a:gd name="connsiteX60" fmla="*/ 904875 w 1011118"/>
                  <a:gd name="connsiteY60" fmla="*/ 14287 h 314325"/>
                  <a:gd name="connsiteX61" fmla="*/ 909637 w 1011118"/>
                  <a:gd name="connsiteY61" fmla="*/ 71437 h 314325"/>
                  <a:gd name="connsiteX62" fmla="*/ 919162 w 1011118"/>
                  <a:gd name="connsiteY62" fmla="*/ 100012 h 314325"/>
                  <a:gd name="connsiteX63" fmla="*/ 942975 w 1011118"/>
                  <a:gd name="connsiteY63" fmla="*/ 161925 h 314325"/>
                  <a:gd name="connsiteX64" fmla="*/ 947737 w 1011118"/>
                  <a:gd name="connsiteY64" fmla="*/ 180975 h 314325"/>
                  <a:gd name="connsiteX65" fmla="*/ 952500 w 1011118"/>
                  <a:gd name="connsiteY65" fmla="*/ 214312 h 314325"/>
                  <a:gd name="connsiteX66" fmla="*/ 971550 w 1011118"/>
                  <a:gd name="connsiteY66" fmla="*/ 242887 h 314325"/>
                  <a:gd name="connsiteX67" fmla="*/ 985837 w 1011118"/>
                  <a:gd name="connsiteY67" fmla="*/ 238125 h 314325"/>
                  <a:gd name="connsiteX68" fmla="*/ 990600 w 1011118"/>
                  <a:gd name="connsiteY68" fmla="*/ 223837 h 314325"/>
                  <a:gd name="connsiteX69" fmla="*/ 1004887 w 1011118"/>
                  <a:gd name="connsiteY69"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3387 w 1011118"/>
                  <a:gd name="connsiteY31" fmla="*/ 24765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52425 w 1011118"/>
                  <a:gd name="connsiteY25" fmla="*/ 23336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11770 w 1011118"/>
                  <a:gd name="connsiteY19" fmla="*/ 4137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3375 w 1011118"/>
                  <a:gd name="connsiteY23" fmla="*/ 257175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57162 w 1011118"/>
                  <a:gd name="connsiteY13" fmla="*/ 261937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8600 w 1011118"/>
                  <a:gd name="connsiteY15" fmla="*/ 190500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4325 w 1011118"/>
                  <a:gd name="connsiteY20" fmla="*/ 76200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8458 w 1011118"/>
                  <a:gd name="connsiteY19" fmla="*/ 3505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1011118"/>
                  <a:gd name="connsiteY0" fmla="*/ 266700 h 314325"/>
                  <a:gd name="connsiteX1" fmla="*/ 23812 w 1011118"/>
                  <a:gd name="connsiteY1" fmla="*/ 242887 h 314325"/>
                  <a:gd name="connsiteX2" fmla="*/ 28575 w 1011118"/>
                  <a:gd name="connsiteY2" fmla="*/ 228600 h 314325"/>
                  <a:gd name="connsiteX3" fmla="*/ 57150 w 1011118"/>
                  <a:gd name="connsiteY3" fmla="*/ 180975 h 314325"/>
                  <a:gd name="connsiteX4" fmla="*/ 66675 w 1011118"/>
                  <a:gd name="connsiteY4" fmla="*/ 166687 h 314325"/>
                  <a:gd name="connsiteX5" fmla="*/ 85725 w 1011118"/>
                  <a:gd name="connsiteY5" fmla="*/ 114300 h 314325"/>
                  <a:gd name="connsiteX6" fmla="*/ 95250 w 1011118"/>
                  <a:gd name="connsiteY6" fmla="*/ 100012 h 314325"/>
                  <a:gd name="connsiteX7" fmla="*/ 114300 w 1011118"/>
                  <a:gd name="connsiteY7" fmla="*/ 57150 h 314325"/>
                  <a:gd name="connsiteX8" fmla="*/ 119062 w 1011118"/>
                  <a:gd name="connsiteY8" fmla="*/ 42862 h 314325"/>
                  <a:gd name="connsiteX9" fmla="*/ 128587 w 1011118"/>
                  <a:gd name="connsiteY9" fmla="*/ 4762 h 314325"/>
                  <a:gd name="connsiteX10" fmla="*/ 138112 w 1011118"/>
                  <a:gd name="connsiteY10" fmla="*/ 100012 h 314325"/>
                  <a:gd name="connsiteX11" fmla="*/ 147637 w 1011118"/>
                  <a:gd name="connsiteY11" fmla="*/ 152400 h 314325"/>
                  <a:gd name="connsiteX12" fmla="*/ 152400 w 1011118"/>
                  <a:gd name="connsiteY12" fmla="*/ 228600 h 314325"/>
                  <a:gd name="connsiteX13" fmla="*/ 164889 w 1011118"/>
                  <a:gd name="connsiteY13" fmla="*/ 268258 h 314325"/>
                  <a:gd name="connsiteX14" fmla="*/ 192770 w 1011118"/>
                  <a:gd name="connsiteY14" fmla="*/ 255572 h 314325"/>
                  <a:gd name="connsiteX15" fmla="*/ 223081 w 1011118"/>
                  <a:gd name="connsiteY15" fmla="*/ 201561 h 314325"/>
                  <a:gd name="connsiteX16" fmla="*/ 242887 w 1011118"/>
                  <a:gd name="connsiteY16" fmla="*/ 171450 h 314325"/>
                  <a:gd name="connsiteX17" fmla="*/ 261937 w 1011118"/>
                  <a:gd name="connsiteY17" fmla="*/ 142875 h 314325"/>
                  <a:gd name="connsiteX18" fmla="*/ 295275 w 1011118"/>
                  <a:gd name="connsiteY18" fmla="*/ 71437 h 314325"/>
                  <a:gd name="connsiteX19" fmla="*/ 306250 w 1011118"/>
                  <a:gd name="connsiteY19" fmla="*/ 36631 h 314325"/>
                  <a:gd name="connsiteX20" fmla="*/ 313221 w 1011118"/>
                  <a:gd name="connsiteY20" fmla="*/ 88841 h 314325"/>
                  <a:gd name="connsiteX21" fmla="*/ 318331 w 1011118"/>
                  <a:gd name="connsiteY21" fmla="*/ 147637 h 314325"/>
                  <a:gd name="connsiteX22" fmla="*/ 328612 w 1011118"/>
                  <a:gd name="connsiteY22" fmla="*/ 171450 h 314325"/>
                  <a:gd name="connsiteX23" fmla="*/ 339998 w 1011118"/>
                  <a:gd name="connsiteY23" fmla="*/ 261916 h 314325"/>
                  <a:gd name="connsiteX24" fmla="*/ 347662 w 1011118"/>
                  <a:gd name="connsiteY24" fmla="*/ 247650 h 314325"/>
                  <a:gd name="connsiteX25" fmla="*/ 361256 w 1011118"/>
                  <a:gd name="connsiteY25" fmla="*/ 231782 h 314325"/>
                  <a:gd name="connsiteX26" fmla="*/ 385762 w 1011118"/>
                  <a:gd name="connsiteY26" fmla="*/ 180975 h 314325"/>
                  <a:gd name="connsiteX27" fmla="*/ 400050 w 1011118"/>
                  <a:gd name="connsiteY27" fmla="*/ 171450 h 314325"/>
                  <a:gd name="connsiteX28" fmla="*/ 409575 w 1011118"/>
                  <a:gd name="connsiteY28" fmla="*/ 157162 h 314325"/>
                  <a:gd name="connsiteX29" fmla="*/ 419100 w 1011118"/>
                  <a:gd name="connsiteY29" fmla="*/ 180975 h 314325"/>
                  <a:gd name="connsiteX30" fmla="*/ 428625 w 1011118"/>
                  <a:gd name="connsiteY30" fmla="*/ 209550 h 314325"/>
                  <a:gd name="connsiteX31" fmla="*/ 438906 w 1011118"/>
                  <a:gd name="connsiteY31" fmla="*/ 252390 h 314325"/>
                  <a:gd name="connsiteX32" fmla="*/ 466725 w 1011118"/>
                  <a:gd name="connsiteY32" fmla="*/ 233362 h 314325"/>
                  <a:gd name="connsiteX33" fmla="*/ 481012 w 1011118"/>
                  <a:gd name="connsiteY33" fmla="*/ 233362 h 314325"/>
                  <a:gd name="connsiteX34" fmla="*/ 490537 w 1011118"/>
                  <a:gd name="connsiteY34" fmla="*/ 223837 h 314325"/>
                  <a:gd name="connsiteX35" fmla="*/ 533400 w 1011118"/>
                  <a:gd name="connsiteY35" fmla="*/ 138112 h 314325"/>
                  <a:gd name="connsiteX36" fmla="*/ 552450 w 1011118"/>
                  <a:gd name="connsiteY36" fmla="*/ 104775 h 314325"/>
                  <a:gd name="connsiteX37" fmla="*/ 557212 w 1011118"/>
                  <a:gd name="connsiteY37" fmla="*/ 90487 h 314325"/>
                  <a:gd name="connsiteX38" fmla="*/ 571500 w 1011118"/>
                  <a:gd name="connsiteY38" fmla="*/ 80962 h 314325"/>
                  <a:gd name="connsiteX39" fmla="*/ 610294 w 1011118"/>
                  <a:gd name="connsiteY39" fmla="*/ 49227 h 314325"/>
                  <a:gd name="connsiteX40" fmla="*/ 627328 w 1011118"/>
                  <a:gd name="connsiteY40" fmla="*/ 51320 h 314325"/>
                  <a:gd name="connsiteX41" fmla="*/ 638585 w 1011118"/>
                  <a:gd name="connsiteY41" fmla="*/ 295341 h 314325"/>
                  <a:gd name="connsiteX42" fmla="*/ 642937 w 1011118"/>
                  <a:gd name="connsiteY42" fmla="*/ 314325 h 314325"/>
                  <a:gd name="connsiteX43" fmla="*/ 652462 w 1011118"/>
                  <a:gd name="connsiteY43" fmla="*/ 295275 h 314325"/>
                  <a:gd name="connsiteX44" fmla="*/ 666402 w 1011118"/>
                  <a:gd name="connsiteY44" fmla="*/ 257152 h 314325"/>
                  <a:gd name="connsiteX45" fmla="*/ 698227 w 1011118"/>
                  <a:gd name="connsiteY45" fmla="*/ 168290 h 314325"/>
                  <a:gd name="connsiteX46" fmla="*/ 714375 w 1011118"/>
                  <a:gd name="connsiteY46" fmla="*/ 133350 h 314325"/>
                  <a:gd name="connsiteX47" fmla="*/ 719137 w 1011118"/>
                  <a:gd name="connsiteY47" fmla="*/ 166687 h 314325"/>
                  <a:gd name="connsiteX48" fmla="*/ 723900 w 1011118"/>
                  <a:gd name="connsiteY48" fmla="*/ 180975 h 314325"/>
                  <a:gd name="connsiteX49" fmla="*/ 740048 w 1011118"/>
                  <a:gd name="connsiteY49" fmla="*/ 155604 h 314325"/>
                  <a:gd name="connsiteX50" fmla="*/ 766068 w 1011118"/>
                  <a:gd name="connsiteY50" fmla="*/ 131770 h 314325"/>
                  <a:gd name="connsiteX51" fmla="*/ 785812 w 1011118"/>
                  <a:gd name="connsiteY51" fmla="*/ 85725 h 314325"/>
                  <a:gd name="connsiteX52" fmla="*/ 795337 w 1011118"/>
                  <a:gd name="connsiteY52" fmla="*/ 114300 h 314325"/>
                  <a:gd name="connsiteX53" fmla="*/ 809625 w 1011118"/>
                  <a:gd name="connsiteY53" fmla="*/ 185737 h 314325"/>
                  <a:gd name="connsiteX54" fmla="*/ 830535 w 1011118"/>
                  <a:gd name="connsiteY54" fmla="*/ 180975 h 314325"/>
                  <a:gd name="connsiteX55" fmla="*/ 847725 w 1011118"/>
                  <a:gd name="connsiteY55" fmla="*/ 138112 h 314325"/>
                  <a:gd name="connsiteX56" fmla="*/ 871537 w 1011118"/>
                  <a:gd name="connsiteY56" fmla="*/ 76200 h 314325"/>
                  <a:gd name="connsiteX57" fmla="*/ 876300 w 1011118"/>
                  <a:gd name="connsiteY57" fmla="*/ 52387 h 314325"/>
                  <a:gd name="connsiteX58" fmla="*/ 890587 w 1011118"/>
                  <a:gd name="connsiteY58" fmla="*/ 38100 h 314325"/>
                  <a:gd name="connsiteX59" fmla="*/ 895350 w 1011118"/>
                  <a:gd name="connsiteY59" fmla="*/ 14287 h 314325"/>
                  <a:gd name="connsiteX60" fmla="*/ 900112 w 1011118"/>
                  <a:gd name="connsiteY60" fmla="*/ 0 h 314325"/>
                  <a:gd name="connsiteX61" fmla="*/ 904875 w 1011118"/>
                  <a:gd name="connsiteY61" fmla="*/ 14287 h 314325"/>
                  <a:gd name="connsiteX62" fmla="*/ 909637 w 1011118"/>
                  <a:gd name="connsiteY62" fmla="*/ 71437 h 314325"/>
                  <a:gd name="connsiteX63" fmla="*/ 919162 w 1011118"/>
                  <a:gd name="connsiteY63" fmla="*/ 100012 h 314325"/>
                  <a:gd name="connsiteX64" fmla="*/ 942975 w 1011118"/>
                  <a:gd name="connsiteY64" fmla="*/ 161925 h 314325"/>
                  <a:gd name="connsiteX65" fmla="*/ 947737 w 1011118"/>
                  <a:gd name="connsiteY65" fmla="*/ 180975 h 314325"/>
                  <a:gd name="connsiteX66" fmla="*/ 952500 w 1011118"/>
                  <a:gd name="connsiteY66" fmla="*/ 214312 h 314325"/>
                  <a:gd name="connsiteX67" fmla="*/ 971550 w 1011118"/>
                  <a:gd name="connsiteY67" fmla="*/ 242887 h 314325"/>
                  <a:gd name="connsiteX68" fmla="*/ 985837 w 1011118"/>
                  <a:gd name="connsiteY68" fmla="*/ 238125 h 314325"/>
                  <a:gd name="connsiteX69" fmla="*/ 990600 w 1011118"/>
                  <a:gd name="connsiteY69" fmla="*/ 223837 h 314325"/>
                  <a:gd name="connsiteX70" fmla="*/ 1004887 w 1011118"/>
                  <a:gd name="connsiteY70" fmla="*/ 190500 h 314325"/>
                  <a:gd name="connsiteX0" fmla="*/ 0 w 990600"/>
                  <a:gd name="connsiteY0" fmla="*/ 266700 h 314325"/>
                  <a:gd name="connsiteX1" fmla="*/ 23812 w 990600"/>
                  <a:gd name="connsiteY1" fmla="*/ 242887 h 314325"/>
                  <a:gd name="connsiteX2" fmla="*/ 28575 w 990600"/>
                  <a:gd name="connsiteY2" fmla="*/ 228600 h 314325"/>
                  <a:gd name="connsiteX3" fmla="*/ 57150 w 990600"/>
                  <a:gd name="connsiteY3" fmla="*/ 180975 h 314325"/>
                  <a:gd name="connsiteX4" fmla="*/ 66675 w 990600"/>
                  <a:gd name="connsiteY4" fmla="*/ 166687 h 314325"/>
                  <a:gd name="connsiteX5" fmla="*/ 85725 w 990600"/>
                  <a:gd name="connsiteY5" fmla="*/ 114300 h 314325"/>
                  <a:gd name="connsiteX6" fmla="*/ 95250 w 990600"/>
                  <a:gd name="connsiteY6" fmla="*/ 100012 h 314325"/>
                  <a:gd name="connsiteX7" fmla="*/ 114300 w 990600"/>
                  <a:gd name="connsiteY7" fmla="*/ 57150 h 314325"/>
                  <a:gd name="connsiteX8" fmla="*/ 119062 w 990600"/>
                  <a:gd name="connsiteY8" fmla="*/ 42862 h 314325"/>
                  <a:gd name="connsiteX9" fmla="*/ 128587 w 990600"/>
                  <a:gd name="connsiteY9" fmla="*/ 4762 h 314325"/>
                  <a:gd name="connsiteX10" fmla="*/ 138112 w 990600"/>
                  <a:gd name="connsiteY10" fmla="*/ 100012 h 314325"/>
                  <a:gd name="connsiteX11" fmla="*/ 147637 w 990600"/>
                  <a:gd name="connsiteY11" fmla="*/ 152400 h 314325"/>
                  <a:gd name="connsiteX12" fmla="*/ 152400 w 990600"/>
                  <a:gd name="connsiteY12" fmla="*/ 228600 h 314325"/>
                  <a:gd name="connsiteX13" fmla="*/ 164889 w 990600"/>
                  <a:gd name="connsiteY13" fmla="*/ 268258 h 314325"/>
                  <a:gd name="connsiteX14" fmla="*/ 192770 w 990600"/>
                  <a:gd name="connsiteY14" fmla="*/ 255572 h 314325"/>
                  <a:gd name="connsiteX15" fmla="*/ 223081 w 990600"/>
                  <a:gd name="connsiteY15" fmla="*/ 201561 h 314325"/>
                  <a:gd name="connsiteX16" fmla="*/ 242887 w 990600"/>
                  <a:gd name="connsiteY16" fmla="*/ 171450 h 314325"/>
                  <a:gd name="connsiteX17" fmla="*/ 261937 w 990600"/>
                  <a:gd name="connsiteY17" fmla="*/ 142875 h 314325"/>
                  <a:gd name="connsiteX18" fmla="*/ 295275 w 990600"/>
                  <a:gd name="connsiteY18" fmla="*/ 71437 h 314325"/>
                  <a:gd name="connsiteX19" fmla="*/ 306250 w 990600"/>
                  <a:gd name="connsiteY19" fmla="*/ 36631 h 314325"/>
                  <a:gd name="connsiteX20" fmla="*/ 313221 w 990600"/>
                  <a:gd name="connsiteY20" fmla="*/ 88841 h 314325"/>
                  <a:gd name="connsiteX21" fmla="*/ 318331 w 990600"/>
                  <a:gd name="connsiteY21" fmla="*/ 147637 h 314325"/>
                  <a:gd name="connsiteX22" fmla="*/ 328612 w 990600"/>
                  <a:gd name="connsiteY22" fmla="*/ 171450 h 314325"/>
                  <a:gd name="connsiteX23" fmla="*/ 339998 w 990600"/>
                  <a:gd name="connsiteY23" fmla="*/ 261916 h 314325"/>
                  <a:gd name="connsiteX24" fmla="*/ 347662 w 990600"/>
                  <a:gd name="connsiteY24" fmla="*/ 247650 h 314325"/>
                  <a:gd name="connsiteX25" fmla="*/ 361256 w 990600"/>
                  <a:gd name="connsiteY25" fmla="*/ 231782 h 314325"/>
                  <a:gd name="connsiteX26" fmla="*/ 385762 w 990600"/>
                  <a:gd name="connsiteY26" fmla="*/ 180975 h 314325"/>
                  <a:gd name="connsiteX27" fmla="*/ 400050 w 990600"/>
                  <a:gd name="connsiteY27" fmla="*/ 171450 h 314325"/>
                  <a:gd name="connsiteX28" fmla="*/ 409575 w 990600"/>
                  <a:gd name="connsiteY28" fmla="*/ 157162 h 314325"/>
                  <a:gd name="connsiteX29" fmla="*/ 419100 w 990600"/>
                  <a:gd name="connsiteY29" fmla="*/ 180975 h 314325"/>
                  <a:gd name="connsiteX30" fmla="*/ 428625 w 990600"/>
                  <a:gd name="connsiteY30" fmla="*/ 209550 h 314325"/>
                  <a:gd name="connsiteX31" fmla="*/ 438906 w 990600"/>
                  <a:gd name="connsiteY31" fmla="*/ 252390 h 314325"/>
                  <a:gd name="connsiteX32" fmla="*/ 466725 w 990600"/>
                  <a:gd name="connsiteY32" fmla="*/ 233362 h 314325"/>
                  <a:gd name="connsiteX33" fmla="*/ 481012 w 990600"/>
                  <a:gd name="connsiteY33" fmla="*/ 233362 h 314325"/>
                  <a:gd name="connsiteX34" fmla="*/ 490537 w 990600"/>
                  <a:gd name="connsiteY34" fmla="*/ 223837 h 314325"/>
                  <a:gd name="connsiteX35" fmla="*/ 533400 w 990600"/>
                  <a:gd name="connsiteY35" fmla="*/ 138112 h 314325"/>
                  <a:gd name="connsiteX36" fmla="*/ 552450 w 990600"/>
                  <a:gd name="connsiteY36" fmla="*/ 104775 h 314325"/>
                  <a:gd name="connsiteX37" fmla="*/ 557212 w 990600"/>
                  <a:gd name="connsiteY37" fmla="*/ 90487 h 314325"/>
                  <a:gd name="connsiteX38" fmla="*/ 571500 w 990600"/>
                  <a:gd name="connsiteY38" fmla="*/ 80962 h 314325"/>
                  <a:gd name="connsiteX39" fmla="*/ 610294 w 990600"/>
                  <a:gd name="connsiteY39" fmla="*/ 49227 h 314325"/>
                  <a:gd name="connsiteX40" fmla="*/ 627328 w 990600"/>
                  <a:gd name="connsiteY40" fmla="*/ 51320 h 314325"/>
                  <a:gd name="connsiteX41" fmla="*/ 638585 w 990600"/>
                  <a:gd name="connsiteY41" fmla="*/ 295341 h 314325"/>
                  <a:gd name="connsiteX42" fmla="*/ 642937 w 990600"/>
                  <a:gd name="connsiteY42" fmla="*/ 314325 h 314325"/>
                  <a:gd name="connsiteX43" fmla="*/ 652462 w 990600"/>
                  <a:gd name="connsiteY43" fmla="*/ 295275 h 314325"/>
                  <a:gd name="connsiteX44" fmla="*/ 666402 w 990600"/>
                  <a:gd name="connsiteY44" fmla="*/ 257152 h 314325"/>
                  <a:gd name="connsiteX45" fmla="*/ 698227 w 990600"/>
                  <a:gd name="connsiteY45" fmla="*/ 168290 h 314325"/>
                  <a:gd name="connsiteX46" fmla="*/ 714375 w 990600"/>
                  <a:gd name="connsiteY46" fmla="*/ 133350 h 314325"/>
                  <a:gd name="connsiteX47" fmla="*/ 719137 w 990600"/>
                  <a:gd name="connsiteY47" fmla="*/ 166687 h 314325"/>
                  <a:gd name="connsiteX48" fmla="*/ 723900 w 990600"/>
                  <a:gd name="connsiteY48" fmla="*/ 180975 h 314325"/>
                  <a:gd name="connsiteX49" fmla="*/ 740048 w 990600"/>
                  <a:gd name="connsiteY49" fmla="*/ 155604 h 314325"/>
                  <a:gd name="connsiteX50" fmla="*/ 766068 w 990600"/>
                  <a:gd name="connsiteY50" fmla="*/ 131770 h 314325"/>
                  <a:gd name="connsiteX51" fmla="*/ 785812 w 990600"/>
                  <a:gd name="connsiteY51" fmla="*/ 85725 h 314325"/>
                  <a:gd name="connsiteX52" fmla="*/ 795337 w 990600"/>
                  <a:gd name="connsiteY52" fmla="*/ 114300 h 314325"/>
                  <a:gd name="connsiteX53" fmla="*/ 809625 w 990600"/>
                  <a:gd name="connsiteY53" fmla="*/ 185737 h 314325"/>
                  <a:gd name="connsiteX54" fmla="*/ 830535 w 990600"/>
                  <a:gd name="connsiteY54" fmla="*/ 180975 h 314325"/>
                  <a:gd name="connsiteX55" fmla="*/ 847725 w 990600"/>
                  <a:gd name="connsiteY55" fmla="*/ 138112 h 314325"/>
                  <a:gd name="connsiteX56" fmla="*/ 871537 w 990600"/>
                  <a:gd name="connsiteY56" fmla="*/ 76200 h 314325"/>
                  <a:gd name="connsiteX57" fmla="*/ 876300 w 990600"/>
                  <a:gd name="connsiteY57" fmla="*/ 52387 h 314325"/>
                  <a:gd name="connsiteX58" fmla="*/ 890587 w 990600"/>
                  <a:gd name="connsiteY58" fmla="*/ 38100 h 314325"/>
                  <a:gd name="connsiteX59" fmla="*/ 895350 w 990600"/>
                  <a:gd name="connsiteY59" fmla="*/ 14287 h 314325"/>
                  <a:gd name="connsiteX60" fmla="*/ 900112 w 990600"/>
                  <a:gd name="connsiteY60" fmla="*/ 0 h 314325"/>
                  <a:gd name="connsiteX61" fmla="*/ 904875 w 990600"/>
                  <a:gd name="connsiteY61" fmla="*/ 14287 h 314325"/>
                  <a:gd name="connsiteX62" fmla="*/ 909637 w 990600"/>
                  <a:gd name="connsiteY62" fmla="*/ 71437 h 314325"/>
                  <a:gd name="connsiteX63" fmla="*/ 919162 w 990600"/>
                  <a:gd name="connsiteY63" fmla="*/ 100012 h 314325"/>
                  <a:gd name="connsiteX64" fmla="*/ 942975 w 990600"/>
                  <a:gd name="connsiteY64" fmla="*/ 161925 h 314325"/>
                  <a:gd name="connsiteX65" fmla="*/ 947737 w 990600"/>
                  <a:gd name="connsiteY65" fmla="*/ 180975 h 314325"/>
                  <a:gd name="connsiteX66" fmla="*/ 952500 w 990600"/>
                  <a:gd name="connsiteY66" fmla="*/ 214312 h 314325"/>
                  <a:gd name="connsiteX67" fmla="*/ 971550 w 990600"/>
                  <a:gd name="connsiteY67" fmla="*/ 242887 h 314325"/>
                  <a:gd name="connsiteX68" fmla="*/ 985837 w 990600"/>
                  <a:gd name="connsiteY68" fmla="*/ 238125 h 314325"/>
                  <a:gd name="connsiteX69" fmla="*/ 990600 w 990600"/>
                  <a:gd name="connsiteY69" fmla="*/ 223837 h 314325"/>
                  <a:gd name="connsiteX0" fmla="*/ 0 w 1009366"/>
                  <a:gd name="connsiteY0" fmla="*/ 266700 h 314325"/>
                  <a:gd name="connsiteX1" fmla="*/ 23812 w 1009366"/>
                  <a:gd name="connsiteY1" fmla="*/ 242887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9366"/>
                  <a:gd name="connsiteY0" fmla="*/ 266700 h 314325"/>
                  <a:gd name="connsiteX1" fmla="*/ 10566 w 1009366"/>
                  <a:gd name="connsiteY1" fmla="*/ 273436 h 314325"/>
                  <a:gd name="connsiteX2" fmla="*/ 28575 w 1009366"/>
                  <a:gd name="connsiteY2" fmla="*/ 228600 h 314325"/>
                  <a:gd name="connsiteX3" fmla="*/ 57150 w 1009366"/>
                  <a:gd name="connsiteY3" fmla="*/ 180975 h 314325"/>
                  <a:gd name="connsiteX4" fmla="*/ 66675 w 1009366"/>
                  <a:gd name="connsiteY4" fmla="*/ 166687 h 314325"/>
                  <a:gd name="connsiteX5" fmla="*/ 85725 w 1009366"/>
                  <a:gd name="connsiteY5" fmla="*/ 114300 h 314325"/>
                  <a:gd name="connsiteX6" fmla="*/ 95250 w 1009366"/>
                  <a:gd name="connsiteY6" fmla="*/ 100012 h 314325"/>
                  <a:gd name="connsiteX7" fmla="*/ 114300 w 1009366"/>
                  <a:gd name="connsiteY7" fmla="*/ 57150 h 314325"/>
                  <a:gd name="connsiteX8" fmla="*/ 119062 w 1009366"/>
                  <a:gd name="connsiteY8" fmla="*/ 42862 h 314325"/>
                  <a:gd name="connsiteX9" fmla="*/ 128587 w 1009366"/>
                  <a:gd name="connsiteY9" fmla="*/ 4762 h 314325"/>
                  <a:gd name="connsiteX10" fmla="*/ 138112 w 1009366"/>
                  <a:gd name="connsiteY10" fmla="*/ 100012 h 314325"/>
                  <a:gd name="connsiteX11" fmla="*/ 147637 w 1009366"/>
                  <a:gd name="connsiteY11" fmla="*/ 152400 h 314325"/>
                  <a:gd name="connsiteX12" fmla="*/ 152400 w 1009366"/>
                  <a:gd name="connsiteY12" fmla="*/ 228600 h 314325"/>
                  <a:gd name="connsiteX13" fmla="*/ 164889 w 1009366"/>
                  <a:gd name="connsiteY13" fmla="*/ 268258 h 314325"/>
                  <a:gd name="connsiteX14" fmla="*/ 192770 w 1009366"/>
                  <a:gd name="connsiteY14" fmla="*/ 255572 h 314325"/>
                  <a:gd name="connsiteX15" fmla="*/ 223081 w 1009366"/>
                  <a:gd name="connsiteY15" fmla="*/ 201561 h 314325"/>
                  <a:gd name="connsiteX16" fmla="*/ 242887 w 1009366"/>
                  <a:gd name="connsiteY16" fmla="*/ 171450 h 314325"/>
                  <a:gd name="connsiteX17" fmla="*/ 261937 w 1009366"/>
                  <a:gd name="connsiteY17" fmla="*/ 142875 h 314325"/>
                  <a:gd name="connsiteX18" fmla="*/ 295275 w 1009366"/>
                  <a:gd name="connsiteY18" fmla="*/ 71437 h 314325"/>
                  <a:gd name="connsiteX19" fmla="*/ 306250 w 1009366"/>
                  <a:gd name="connsiteY19" fmla="*/ 36631 h 314325"/>
                  <a:gd name="connsiteX20" fmla="*/ 313221 w 1009366"/>
                  <a:gd name="connsiteY20" fmla="*/ 88841 h 314325"/>
                  <a:gd name="connsiteX21" fmla="*/ 318331 w 1009366"/>
                  <a:gd name="connsiteY21" fmla="*/ 147637 h 314325"/>
                  <a:gd name="connsiteX22" fmla="*/ 328612 w 1009366"/>
                  <a:gd name="connsiteY22" fmla="*/ 171450 h 314325"/>
                  <a:gd name="connsiteX23" fmla="*/ 339998 w 1009366"/>
                  <a:gd name="connsiteY23" fmla="*/ 261916 h 314325"/>
                  <a:gd name="connsiteX24" fmla="*/ 347662 w 1009366"/>
                  <a:gd name="connsiteY24" fmla="*/ 247650 h 314325"/>
                  <a:gd name="connsiteX25" fmla="*/ 361256 w 1009366"/>
                  <a:gd name="connsiteY25" fmla="*/ 231782 h 314325"/>
                  <a:gd name="connsiteX26" fmla="*/ 385762 w 1009366"/>
                  <a:gd name="connsiteY26" fmla="*/ 180975 h 314325"/>
                  <a:gd name="connsiteX27" fmla="*/ 400050 w 1009366"/>
                  <a:gd name="connsiteY27" fmla="*/ 171450 h 314325"/>
                  <a:gd name="connsiteX28" fmla="*/ 409575 w 1009366"/>
                  <a:gd name="connsiteY28" fmla="*/ 157162 h 314325"/>
                  <a:gd name="connsiteX29" fmla="*/ 419100 w 1009366"/>
                  <a:gd name="connsiteY29" fmla="*/ 180975 h 314325"/>
                  <a:gd name="connsiteX30" fmla="*/ 428625 w 1009366"/>
                  <a:gd name="connsiteY30" fmla="*/ 209550 h 314325"/>
                  <a:gd name="connsiteX31" fmla="*/ 438906 w 1009366"/>
                  <a:gd name="connsiteY31" fmla="*/ 252390 h 314325"/>
                  <a:gd name="connsiteX32" fmla="*/ 466725 w 1009366"/>
                  <a:gd name="connsiteY32" fmla="*/ 233362 h 314325"/>
                  <a:gd name="connsiteX33" fmla="*/ 481012 w 1009366"/>
                  <a:gd name="connsiteY33" fmla="*/ 233362 h 314325"/>
                  <a:gd name="connsiteX34" fmla="*/ 490537 w 1009366"/>
                  <a:gd name="connsiteY34" fmla="*/ 223837 h 314325"/>
                  <a:gd name="connsiteX35" fmla="*/ 533400 w 1009366"/>
                  <a:gd name="connsiteY35" fmla="*/ 138112 h 314325"/>
                  <a:gd name="connsiteX36" fmla="*/ 552450 w 1009366"/>
                  <a:gd name="connsiteY36" fmla="*/ 104775 h 314325"/>
                  <a:gd name="connsiteX37" fmla="*/ 557212 w 1009366"/>
                  <a:gd name="connsiteY37" fmla="*/ 90487 h 314325"/>
                  <a:gd name="connsiteX38" fmla="*/ 571500 w 1009366"/>
                  <a:gd name="connsiteY38" fmla="*/ 80962 h 314325"/>
                  <a:gd name="connsiteX39" fmla="*/ 610294 w 1009366"/>
                  <a:gd name="connsiteY39" fmla="*/ 49227 h 314325"/>
                  <a:gd name="connsiteX40" fmla="*/ 627328 w 1009366"/>
                  <a:gd name="connsiteY40" fmla="*/ 51320 h 314325"/>
                  <a:gd name="connsiteX41" fmla="*/ 638585 w 1009366"/>
                  <a:gd name="connsiteY41" fmla="*/ 295341 h 314325"/>
                  <a:gd name="connsiteX42" fmla="*/ 642937 w 1009366"/>
                  <a:gd name="connsiteY42" fmla="*/ 314325 h 314325"/>
                  <a:gd name="connsiteX43" fmla="*/ 652462 w 1009366"/>
                  <a:gd name="connsiteY43" fmla="*/ 295275 h 314325"/>
                  <a:gd name="connsiteX44" fmla="*/ 666402 w 1009366"/>
                  <a:gd name="connsiteY44" fmla="*/ 257152 h 314325"/>
                  <a:gd name="connsiteX45" fmla="*/ 698227 w 1009366"/>
                  <a:gd name="connsiteY45" fmla="*/ 168290 h 314325"/>
                  <a:gd name="connsiteX46" fmla="*/ 714375 w 1009366"/>
                  <a:gd name="connsiteY46" fmla="*/ 133350 h 314325"/>
                  <a:gd name="connsiteX47" fmla="*/ 719137 w 1009366"/>
                  <a:gd name="connsiteY47" fmla="*/ 166687 h 314325"/>
                  <a:gd name="connsiteX48" fmla="*/ 723900 w 1009366"/>
                  <a:gd name="connsiteY48" fmla="*/ 180975 h 314325"/>
                  <a:gd name="connsiteX49" fmla="*/ 740048 w 1009366"/>
                  <a:gd name="connsiteY49" fmla="*/ 155604 h 314325"/>
                  <a:gd name="connsiteX50" fmla="*/ 766068 w 1009366"/>
                  <a:gd name="connsiteY50" fmla="*/ 131770 h 314325"/>
                  <a:gd name="connsiteX51" fmla="*/ 785812 w 1009366"/>
                  <a:gd name="connsiteY51" fmla="*/ 85725 h 314325"/>
                  <a:gd name="connsiteX52" fmla="*/ 795337 w 1009366"/>
                  <a:gd name="connsiteY52" fmla="*/ 114300 h 314325"/>
                  <a:gd name="connsiteX53" fmla="*/ 809625 w 1009366"/>
                  <a:gd name="connsiteY53" fmla="*/ 185737 h 314325"/>
                  <a:gd name="connsiteX54" fmla="*/ 830535 w 1009366"/>
                  <a:gd name="connsiteY54" fmla="*/ 180975 h 314325"/>
                  <a:gd name="connsiteX55" fmla="*/ 847725 w 1009366"/>
                  <a:gd name="connsiteY55" fmla="*/ 138112 h 314325"/>
                  <a:gd name="connsiteX56" fmla="*/ 871537 w 1009366"/>
                  <a:gd name="connsiteY56" fmla="*/ 76200 h 314325"/>
                  <a:gd name="connsiteX57" fmla="*/ 876300 w 1009366"/>
                  <a:gd name="connsiteY57" fmla="*/ 52387 h 314325"/>
                  <a:gd name="connsiteX58" fmla="*/ 890587 w 1009366"/>
                  <a:gd name="connsiteY58" fmla="*/ 38100 h 314325"/>
                  <a:gd name="connsiteX59" fmla="*/ 895350 w 1009366"/>
                  <a:gd name="connsiteY59" fmla="*/ 14287 h 314325"/>
                  <a:gd name="connsiteX60" fmla="*/ 900112 w 1009366"/>
                  <a:gd name="connsiteY60" fmla="*/ 0 h 314325"/>
                  <a:gd name="connsiteX61" fmla="*/ 904875 w 1009366"/>
                  <a:gd name="connsiteY61" fmla="*/ 14287 h 314325"/>
                  <a:gd name="connsiteX62" fmla="*/ 909637 w 1009366"/>
                  <a:gd name="connsiteY62" fmla="*/ 71437 h 314325"/>
                  <a:gd name="connsiteX63" fmla="*/ 919162 w 1009366"/>
                  <a:gd name="connsiteY63" fmla="*/ 100012 h 314325"/>
                  <a:gd name="connsiteX64" fmla="*/ 942975 w 1009366"/>
                  <a:gd name="connsiteY64" fmla="*/ 161925 h 314325"/>
                  <a:gd name="connsiteX65" fmla="*/ 947737 w 1009366"/>
                  <a:gd name="connsiteY65" fmla="*/ 180975 h 314325"/>
                  <a:gd name="connsiteX66" fmla="*/ 952500 w 1009366"/>
                  <a:gd name="connsiteY66" fmla="*/ 214312 h 314325"/>
                  <a:gd name="connsiteX67" fmla="*/ 971550 w 1009366"/>
                  <a:gd name="connsiteY67" fmla="*/ 242887 h 314325"/>
                  <a:gd name="connsiteX68" fmla="*/ 985837 w 1009366"/>
                  <a:gd name="connsiteY68" fmla="*/ 238125 h 314325"/>
                  <a:gd name="connsiteX69" fmla="*/ 1009366 w 1009366"/>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5285 w 1008814"/>
                  <a:gd name="connsiteY68" fmla="*/ 238125 h 314325"/>
                  <a:gd name="connsiteX69" fmla="*/ 1008814 w 1008814"/>
                  <a:gd name="connsiteY69" fmla="*/ 201715 h 314325"/>
                  <a:gd name="connsiteX0" fmla="*/ 0 w 1008814"/>
                  <a:gd name="connsiteY0" fmla="*/ 262750 h 314325"/>
                  <a:gd name="connsiteX1" fmla="*/ 10014 w 1008814"/>
                  <a:gd name="connsiteY1" fmla="*/ 273436 h 314325"/>
                  <a:gd name="connsiteX2" fmla="*/ 28023 w 1008814"/>
                  <a:gd name="connsiteY2" fmla="*/ 228600 h 314325"/>
                  <a:gd name="connsiteX3" fmla="*/ 56598 w 1008814"/>
                  <a:gd name="connsiteY3" fmla="*/ 180975 h 314325"/>
                  <a:gd name="connsiteX4" fmla="*/ 66123 w 1008814"/>
                  <a:gd name="connsiteY4" fmla="*/ 166687 h 314325"/>
                  <a:gd name="connsiteX5" fmla="*/ 85173 w 1008814"/>
                  <a:gd name="connsiteY5" fmla="*/ 114300 h 314325"/>
                  <a:gd name="connsiteX6" fmla="*/ 94698 w 1008814"/>
                  <a:gd name="connsiteY6" fmla="*/ 100012 h 314325"/>
                  <a:gd name="connsiteX7" fmla="*/ 113748 w 1008814"/>
                  <a:gd name="connsiteY7" fmla="*/ 57150 h 314325"/>
                  <a:gd name="connsiteX8" fmla="*/ 118510 w 1008814"/>
                  <a:gd name="connsiteY8" fmla="*/ 42862 h 314325"/>
                  <a:gd name="connsiteX9" fmla="*/ 128035 w 1008814"/>
                  <a:gd name="connsiteY9" fmla="*/ 4762 h 314325"/>
                  <a:gd name="connsiteX10" fmla="*/ 137560 w 1008814"/>
                  <a:gd name="connsiteY10" fmla="*/ 100012 h 314325"/>
                  <a:gd name="connsiteX11" fmla="*/ 147085 w 1008814"/>
                  <a:gd name="connsiteY11" fmla="*/ 152400 h 314325"/>
                  <a:gd name="connsiteX12" fmla="*/ 151848 w 1008814"/>
                  <a:gd name="connsiteY12" fmla="*/ 228600 h 314325"/>
                  <a:gd name="connsiteX13" fmla="*/ 164337 w 1008814"/>
                  <a:gd name="connsiteY13" fmla="*/ 268258 h 314325"/>
                  <a:gd name="connsiteX14" fmla="*/ 192218 w 1008814"/>
                  <a:gd name="connsiteY14" fmla="*/ 255572 h 314325"/>
                  <a:gd name="connsiteX15" fmla="*/ 222529 w 1008814"/>
                  <a:gd name="connsiteY15" fmla="*/ 201561 h 314325"/>
                  <a:gd name="connsiteX16" fmla="*/ 242335 w 1008814"/>
                  <a:gd name="connsiteY16" fmla="*/ 171450 h 314325"/>
                  <a:gd name="connsiteX17" fmla="*/ 261385 w 1008814"/>
                  <a:gd name="connsiteY17" fmla="*/ 142875 h 314325"/>
                  <a:gd name="connsiteX18" fmla="*/ 294723 w 1008814"/>
                  <a:gd name="connsiteY18" fmla="*/ 71437 h 314325"/>
                  <a:gd name="connsiteX19" fmla="*/ 305698 w 1008814"/>
                  <a:gd name="connsiteY19" fmla="*/ 36631 h 314325"/>
                  <a:gd name="connsiteX20" fmla="*/ 312669 w 1008814"/>
                  <a:gd name="connsiteY20" fmla="*/ 88841 h 314325"/>
                  <a:gd name="connsiteX21" fmla="*/ 317779 w 1008814"/>
                  <a:gd name="connsiteY21" fmla="*/ 147637 h 314325"/>
                  <a:gd name="connsiteX22" fmla="*/ 328060 w 1008814"/>
                  <a:gd name="connsiteY22" fmla="*/ 171450 h 314325"/>
                  <a:gd name="connsiteX23" fmla="*/ 339446 w 1008814"/>
                  <a:gd name="connsiteY23" fmla="*/ 261916 h 314325"/>
                  <a:gd name="connsiteX24" fmla="*/ 347110 w 1008814"/>
                  <a:gd name="connsiteY24" fmla="*/ 247650 h 314325"/>
                  <a:gd name="connsiteX25" fmla="*/ 360704 w 1008814"/>
                  <a:gd name="connsiteY25" fmla="*/ 231782 h 314325"/>
                  <a:gd name="connsiteX26" fmla="*/ 385210 w 1008814"/>
                  <a:gd name="connsiteY26" fmla="*/ 180975 h 314325"/>
                  <a:gd name="connsiteX27" fmla="*/ 399498 w 1008814"/>
                  <a:gd name="connsiteY27" fmla="*/ 171450 h 314325"/>
                  <a:gd name="connsiteX28" fmla="*/ 409023 w 1008814"/>
                  <a:gd name="connsiteY28" fmla="*/ 157162 h 314325"/>
                  <a:gd name="connsiteX29" fmla="*/ 418548 w 1008814"/>
                  <a:gd name="connsiteY29" fmla="*/ 180975 h 314325"/>
                  <a:gd name="connsiteX30" fmla="*/ 428073 w 1008814"/>
                  <a:gd name="connsiteY30" fmla="*/ 209550 h 314325"/>
                  <a:gd name="connsiteX31" fmla="*/ 438354 w 1008814"/>
                  <a:gd name="connsiteY31" fmla="*/ 252390 h 314325"/>
                  <a:gd name="connsiteX32" fmla="*/ 466173 w 1008814"/>
                  <a:gd name="connsiteY32" fmla="*/ 233362 h 314325"/>
                  <a:gd name="connsiteX33" fmla="*/ 480460 w 1008814"/>
                  <a:gd name="connsiteY33" fmla="*/ 233362 h 314325"/>
                  <a:gd name="connsiteX34" fmla="*/ 489985 w 1008814"/>
                  <a:gd name="connsiteY34" fmla="*/ 223837 h 314325"/>
                  <a:gd name="connsiteX35" fmla="*/ 532848 w 1008814"/>
                  <a:gd name="connsiteY35" fmla="*/ 138112 h 314325"/>
                  <a:gd name="connsiteX36" fmla="*/ 551898 w 1008814"/>
                  <a:gd name="connsiteY36" fmla="*/ 104775 h 314325"/>
                  <a:gd name="connsiteX37" fmla="*/ 556660 w 1008814"/>
                  <a:gd name="connsiteY37" fmla="*/ 90487 h 314325"/>
                  <a:gd name="connsiteX38" fmla="*/ 570948 w 1008814"/>
                  <a:gd name="connsiteY38" fmla="*/ 80962 h 314325"/>
                  <a:gd name="connsiteX39" fmla="*/ 609742 w 1008814"/>
                  <a:gd name="connsiteY39" fmla="*/ 49227 h 314325"/>
                  <a:gd name="connsiteX40" fmla="*/ 626776 w 1008814"/>
                  <a:gd name="connsiteY40" fmla="*/ 51320 h 314325"/>
                  <a:gd name="connsiteX41" fmla="*/ 638033 w 1008814"/>
                  <a:gd name="connsiteY41" fmla="*/ 295341 h 314325"/>
                  <a:gd name="connsiteX42" fmla="*/ 642385 w 1008814"/>
                  <a:gd name="connsiteY42" fmla="*/ 314325 h 314325"/>
                  <a:gd name="connsiteX43" fmla="*/ 651910 w 1008814"/>
                  <a:gd name="connsiteY43" fmla="*/ 295275 h 314325"/>
                  <a:gd name="connsiteX44" fmla="*/ 665850 w 1008814"/>
                  <a:gd name="connsiteY44" fmla="*/ 257152 h 314325"/>
                  <a:gd name="connsiteX45" fmla="*/ 697675 w 1008814"/>
                  <a:gd name="connsiteY45" fmla="*/ 168290 h 314325"/>
                  <a:gd name="connsiteX46" fmla="*/ 713823 w 1008814"/>
                  <a:gd name="connsiteY46" fmla="*/ 133350 h 314325"/>
                  <a:gd name="connsiteX47" fmla="*/ 718585 w 1008814"/>
                  <a:gd name="connsiteY47" fmla="*/ 166687 h 314325"/>
                  <a:gd name="connsiteX48" fmla="*/ 723348 w 1008814"/>
                  <a:gd name="connsiteY48" fmla="*/ 180975 h 314325"/>
                  <a:gd name="connsiteX49" fmla="*/ 739496 w 1008814"/>
                  <a:gd name="connsiteY49" fmla="*/ 155604 h 314325"/>
                  <a:gd name="connsiteX50" fmla="*/ 765516 w 1008814"/>
                  <a:gd name="connsiteY50" fmla="*/ 131770 h 314325"/>
                  <a:gd name="connsiteX51" fmla="*/ 785260 w 1008814"/>
                  <a:gd name="connsiteY51" fmla="*/ 85725 h 314325"/>
                  <a:gd name="connsiteX52" fmla="*/ 794785 w 1008814"/>
                  <a:gd name="connsiteY52" fmla="*/ 114300 h 314325"/>
                  <a:gd name="connsiteX53" fmla="*/ 809073 w 1008814"/>
                  <a:gd name="connsiteY53" fmla="*/ 185737 h 314325"/>
                  <a:gd name="connsiteX54" fmla="*/ 829983 w 1008814"/>
                  <a:gd name="connsiteY54" fmla="*/ 180975 h 314325"/>
                  <a:gd name="connsiteX55" fmla="*/ 847173 w 1008814"/>
                  <a:gd name="connsiteY55" fmla="*/ 138112 h 314325"/>
                  <a:gd name="connsiteX56" fmla="*/ 870985 w 1008814"/>
                  <a:gd name="connsiteY56" fmla="*/ 76200 h 314325"/>
                  <a:gd name="connsiteX57" fmla="*/ 875748 w 1008814"/>
                  <a:gd name="connsiteY57" fmla="*/ 52387 h 314325"/>
                  <a:gd name="connsiteX58" fmla="*/ 890035 w 1008814"/>
                  <a:gd name="connsiteY58" fmla="*/ 38100 h 314325"/>
                  <a:gd name="connsiteX59" fmla="*/ 894798 w 1008814"/>
                  <a:gd name="connsiteY59" fmla="*/ 14287 h 314325"/>
                  <a:gd name="connsiteX60" fmla="*/ 899560 w 1008814"/>
                  <a:gd name="connsiteY60" fmla="*/ 0 h 314325"/>
                  <a:gd name="connsiteX61" fmla="*/ 904323 w 1008814"/>
                  <a:gd name="connsiteY61" fmla="*/ 14287 h 314325"/>
                  <a:gd name="connsiteX62" fmla="*/ 909085 w 1008814"/>
                  <a:gd name="connsiteY62" fmla="*/ 71437 h 314325"/>
                  <a:gd name="connsiteX63" fmla="*/ 918610 w 1008814"/>
                  <a:gd name="connsiteY63" fmla="*/ 100012 h 314325"/>
                  <a:gd name="connsiteX64" fmla="*/ 942423 w 1008814"/>
                  <a:gd name="connsiteY64" fmla="*/ 161925 h 314325"/>
                  <a:gd name="connsiteX65" fmla="*/ 947185 w 1008814"/>
                  <a:gd name="connsiteY65" fmla="*/ 180975 h 314325"/>
                  <a:gd name="connsiteX66" fmla="*/ 951948 w 1008814"/>
                  <a:gd name="connsiteY66" fmla="*/ 214312 h 314325"/>
                  <a:gd name="connsiteX67" fmla="*/ 970998 w 1008814"/>
                  <a:gd name="connsiteY67" fmla="*/ 242887 h 314325"/>
                  <a:gd name="connsiteX68" fmla="*/ 987957 w 1008814"/>
                  <a:gd name="connsiteY68" fmla="*/ 250306 h 314325"/>
                  <a:gd name="connsiteX69" fmla="*/ 1008814 w 1008814"/>
                  <a:gd name="connsiteY69" fmla="*/ 201715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951"/>
                  <a:gd name="connsiteY0" fmla="*/ 262750 h 314325"/>
                  <a:gd name="connsiteX1" fmla="*/ 10014 w 1010951"/>
                  <a:gd name="connsiteY1" fmla="*/ 273436 h 314325"/>
                  <a:gd name="connsiteX2" fmla="*/ 28023 w 1010951"/>
                  <a:gd name="connsiteY2" fmla="*/ 228600 h 314325"/>
                  <a:gd name="connsiteX3" fmla="*/ 56598 w 1010951"/>
                  <a:gd name="connsiteY3" fmla="*/ 180975 h 314325"/>
                  <a:gd name="connsiteX4" fmla="*/ 66123 w 1010951"/>
                  <a:gd name="connsiteY4" fmla="*/ 166687 h 314325"/>
                  <a:gd name="connsiteX5" fmla="*/ 85173 w 1010951"/>
                  <a:gd name="connsiteY5" fmla="*/ 114300 h 314325"/>
                  <a:gd name="connsiteX6" fmla="*/ 94698 w 1010951"/>
                  <a:gd name="connsiteY6" fmla="*/ 100012 h 314325"/>
                  <a:gd name="connsiteX7" fmla="*/ 113748 w 1010951"/>
                  <a:gd name="connsiteY7" fmla="*/ 57150 h 314325"/>
                  <a:gd name="connsiteX8" fmla="*/ 118510 w 1010951"/>
                  <a:gd name="connsiteY8" fmla="*/ 42862 h 314325"/>
                  <a:gd name="connsiteX9" fmla="*/ 128035 w 1010951"/>
                  <a:gd name="connsiteY9" fmla="*/ 4762 h 314325"/>
                  <a:gd name="connsiteX10" fmla="*/ 137560 w 1010951"/>
                  <a:gd name="connsiteY10" fmla="*/ 100012 h 314325"/>
                  <a:gd name="connsiteX11" fmla="*/ 147085 w 1010951"/>
                  <a:gd name="connsiteY11" fmla="*/ 152400 h 314325"/>
                  <a:gd name="connsiteX12" fmla="*/ 151848 w 1010951"/>
                  <a:gd name="connsiteY12" fmla="*/ 228600 h 314325"/>
                  <a:gd name="connsiteX13" fmla="*/ 164337 w 1010951"/>
                  <a:gd name="connsiteY13" fmla="*/ 268258 h 314325"/>
                  <a:gd name="connsiteX14" fmla="*/ 192218 w 1010951"/>
                  <a:gd name="connsiteY14" fmla="*/ 255572 h 314325"/>
                  <a:gd name="connsiteX15" fmla="*/ 222529 w 1010951"/>
                  <a:gd name="connsiteY15" fmla="*/ 201561 h 314325"/>
                  <a:gd name="connsiteX16" fmla="*/ 242335 w 1010951"/>
                  <a:gd name="connsiteY16" fmla="*/ 171450 h 314325"/>
                  <a:gd name="connsiteX17" fmla="*/ 261385 w 1010951"/>
                  <a:gd name="connsiteY17" fmla="*/ 142875 h 314325"/>
                  <a:gd name="connsiteX18" fmla="*/ 294723 w 1010951"/>
                  <a:gd name="connsiteY18" fmla="*/ 71437 h 314325"/>
                  <a:gd name="connsiteX19" fmla="*/ 305698 w 1010951"/>
                  <a:gd name="connsiteY19" fmla="*/ 36631 h 314325"/>
                  <a:gd name="connsiteX20" fmla="*/ 312669 w 1010951"/>
                  <a:gd name="connsiteY20" fmla="*/ 88841 h 314325"/>
                  <a:gd name="connsiteX21" fmla="*/ 317779 w 1010951"/>
                  <a:gd name="connsiteY21" fmla="*/ 147637 h 314325"/>
                  <a:gd name="connsiteX22" fmla="*/ 328060 w 1010951"/>
                  <a:gd name="connsiteY22" fmla="*/ 171450 h 314325"/>
                  <a:gd name="connsiteX23" fmla="*/ 339446 w 1010951"/>
                  <a:gd name="connsiteY23" fmla="*/ 261916 h 314325"/>
                  <a:gd name="connsiteX24" fmla="*/ 347110 w 1010951"/>
                  <a:gd name="connsiteY24" fmla="*/ 247650 h 314325"/>
                  <a:gd name="connsiteX25" fmla="*/ 360704 w 1010951"/>
                  <a:gd name="connsiteY25" fmla="*/ 231782 h 314325"/>
                  <a:gd name="connsiteX26" fmla="*/ 385210 w 1010951"/>
                  <a:gd name="connsiteY26" fmla="*/ 180975 h 314325"/>
                  <a:gd name="connsiteX27" fmla="*/ 399498 w 1010951"/>
                  <a:gd name="connsiteY27" fmla="*/ 171450 h 314325"/>
                  <a:gd name="connsiteX28" fmla="*/ 409023 w 1010951"/>
                  <a:gd name="connsiteY28" fmla="*/ 157162 h 314325"/>
                  <a:gd name="connsiteX29" fmla="*/ 418548 w 1010951"/>
                  <a:gd name="connsiteY29" fmla="*/ 180975 h 314325"/>
                  <a:gd name="connsiteX30" fmla="*/ 428073 w 1010951"/>
                  <a:gd name="connsiteY30" fmla="*/ 209550 h 314325"/>
                  <a:gd name="connsiteX31" fmla="*/ 438354 w 1010951"/>
                  <a:gd name="connsiteY31" fmla="*/ 252390 h 314325"/>
                  <a:gd name="connsiteX32" fmla="*/ 466173 w 1010951"/>
                  <a:gd name="connsiteY32" fmla="*/ 233362 h 314325"/>
                  <a:gd name="connsiteX33" fmla="*/ 480460 w 1010951"/>
                  <a:gd name="connsiteY33" fmla="*/ 233362 h 314325"/>
                  <a:gd name="connsiteX34" fmla="*/ 489985 w 1010951"/>
                  <a:gd name="connsiteY34" fmla="*/ 223837 h 314325"/>
                  <a:gd name="connsiteX35" fmla="*/ 532848 w 1010951"/>
                  <a:gd name="connsiteY35" fmla="*/ 138112 h 314325"/>
                  <a:gd name="connsiteX36" fmla="*/ 551898 w 1010951"/>
                  <a:gd name="connsiteY36" fmla="*/ 104775 h 314325"/>
                  <a:gd name="connsiteX37" fmla="*/ 556660 w 1010951"/>
                  <a:gd name="connsiteY37" fmla="*/ 90487 h 314325"/>
                  <a:gd name="connsiteX38" fmla="*/ 570948 w 1010951"/>
                  <a:gd name="connsiteY38" fmla="*/ 80962 h 314325"/>
                  <a:gd name="connsiteX39" fmla="*/ 609742 w 1010951"/>
                  <a:gd name="connsiteY39" fmla="*/ 49227 h 314325"/>
                  <a:gd name="connsiteX40" fmla="*/ 626776 w 1010951"/>
                  <a:gd name="connsiteY40" fmla="*/ 51320 h 314325"/>
                  <a:gd name="connsiteX41" fmla="*/ 638033 w 1010951"/>
                  <a:gd name="connsiteY41" fmla="*/ 295341 h 314325"/>
                  <a:gd name="connsiteX42" fmla="*/ 642385 w 1010951"/>
                  <a:gd name="connsiteY42" fmla="*/ 314325 h 314325"/>
                  <a:gd name="connsiteX43" fmla="*/ 651910 w 1010951"/>
                  <a:gd name="connsiteY43" fmla="*/ 295275 h 314325"/>
                  <a:gd name="connsiteX44" fmla="*/ 665850 w 1010951"/>
                  <a:gd name="connsiteY44" fmla="*/ 257152 h 314325"/>
                  <a:gd name="connsiteX45" fmla="*/ 697675 w 1010951"/>
                  <a:gd name="connsiteY45" fmla="*/ 168290 h 314325"/>
                  <a:gd name="connsiteX46" fmla="*/ 713823 w 1010951"/>
                  <a:gd name="connsiteY46" fmla="*/ 133350 h 314325"/>
                  <a:gd name="connsiteX47" fmla="*/ 718585 w 1010951"/>
                  <a:gd name="connsiteY47" fmla="*/ 166687 h 314325"/>
                  <a:gd name="connsiteX48" fmla="*/ 723348 w 1010951"/>
                  <a:gd name="connsiteY48" fmla="*/ 180975 h 314325"/>
                  <a:gd name="connsiteX49" fmla="*/ 739496 w 1010951"/>
                  <a:gd name="connsiteY49" fmla="*/ 155604 h 314325"/>
                  <a:gd name="connsiteX50" fmla="*/ 765516 w 1010951"/>
                  <a:gd name="connsiteY50" fmla="*/ 131770 h 314325"/>
                  <a:gd name="connsiteX51" fmla="*/ 785260 w 1010951"/>
                  <a:gd name="connsiteY51" fmla="*/ 85725 h 314325"/>
                  <a:gd name="connsiteX52" fmla="*/ 794785 w 1010951"/>
                  <a:gd name="connsiteY52" fmla="*/ 114300 h 314325"/>
                  <a:gd name="connsiteX53" fmla="*/ 809073 w 1010951"/>
                  <a:gd name="connsiteY53" fmla="*/ 185737 h 314325"/>
                  <a:gd name="connsiteX54" fmla="*/ 829983 w 1010951"/>
                  <a:gd name="connsiteY54" fmla="*/ 180975 h 314325"/>
                  <a:gd name="connsiteX55" fmla="*/ 847173 w 1010951"/>
                  <a:gd name="connsiteY55" fmla="*/ 138112 h 314325"/>
                  <a:gd name="connsiteX56" fmla="*/ 870985 w 1010951"/>
                  <a:gd name="connsiteY56" fmla="*/ 76200 h 314325"/>
                  <a:gd name="connsiteX57" fmla="*/ 875748 w 1010951"/>
                  <a:gd name="connsiteY57" fmla="*/ 52387 h 314325"/>
                  <a:gd name="connsiteX58" fmla="*/ 890035 w 1010951"/>
                  <a:gd name="connsiteY58" fmla="*/ 38100 h 314325"/>
                  <a:gd name="connsiteX59" fmla="*/ 894798 w 1010951"/>
                  <a:gd name="connsiteY59" fmla="*/ 14287 h 314325"/>
                  <a:gd name="connsiteX60" fmla="*/ 899560 w 1010951"/>
                  <a:gd name="connsiteY60" fmla="*/ 0 h 314325"/>
                  <a:gd name="connsiteX61" fmla="*/ 904323 w 1010951"/>
                  <a:gd name="connsiteY61" fmla="*/ 14287 h 314325"/>
                  <a:gd name="connsiteX62" fmla="*/ 909085 w 1010951"/>
                  <a:gd name="connsiteY62" fmla="*/ 71437 h 314325"/>
                  <a:gd name="connsiteX63" fmla="*/ 918610 w 1010951"/>
                  <a:gd name="connsiteY63" fmla="*/ 100012 h 314325"/>
                  <a:gd name="connsiteX64" fmla="*/ 942423 w 1010951"/>
                  <a:gd name="connsiteY64" fmla="*/ 161925 h 314325"/>
                  <a:gd name="connsiteX65" fmla="*/ 947185 w 1010951"/>
                  <a:gd name="connsiteY65" fmla="*/ 180975 h 314325"/>
                  <a:gd name="connsiteX66" fmla="*/ 951948 w 1010951"/>
                  <a:gd name="connsiteY66" fmla="*/ 214312 h 314325"/>
                  <a:gd name="connsiteX67" fmla="*/ 970998 w 1010951"/>
                  <a:gd name="connsiteY67" fmla="*/ 242887 h 314325"/>
                  <a:gd name="connsiteX68" fmla="*/ 987957 w 1010951"/>
                  <a:gd name="connsiteY68" fmla="*/ 250306 h 314325"/>
                  <a:gd name="connsiteX69" fmla="*/ 1010951 w 1010951"/>
                  <a:gd name="connsiteY69" fmla="*/ 260187 h 314325"/>
                  <a:gd name="connsiteX0" fmla="*/ 0 w 1010417"/>
                  <a:gd name="connsiteY0" fmla="*/ 262750 h 314325"/>
                  <a:gd name="connsiteX1" fmla="*/ 10014 w 1010417"/>
                  <a:gd name="connsiteY1" fmla="*/ 273436 h 314325"/>
                  <a:gd name="connsiteX2" fmla="*/ 28023 w 1010417"/>
                  <a:gd name="connsiteY2" fmla="*/ 228600 h 314325"/>
                  <a:gd name="connsiteX3" fmla="*/ 56598 w 1010417"/>
                  <a:gd name="connsiteY3" fmla="*/ 180975 h 314325"/>
                  <a:gd name="connsiteX4" fmla="*/ 66123 w 1010417"/>
                  <a:gd name="connsiteY4" fmla="*/ 166687 h 314325"/>
                  <a:gd name="connsiteX5" fmla="*/ 85173 w 1010417"/>
                  <a:gd name="connsiteY5" fmla="*/ 114300 h 314325"/>
                  <a:gd name="connsiteX6" fmla="*/ 94698 w 1010417"/>
                  <a:gd name="connsiteY6" fmla="*/ 100012 h 314325"/>
                  <a:gd name="connsiteX7" fmla="*/ 113748 w 1010417"/>
                  <a:gd name="connsiteY7" fmla="*/ 57150 h 314325"/>
                  <a:gd name="connsiteX8" fmla="*/ 118510 w 1010417"/>
                  <a:gd name="connsiteY8" fmla="*/ 42862 h 314325"/>
                  <a:gd name="connsiteX9" fmla="*/ 128035 w 1010417"/>
                  <a:gd name="connsiteY9" fmla="*/ 4762 h 314325"/>
                  <a:gd name="connsiteX10" fmla="*/ 137560 w 1010417"/>
                  <a:gd name="connsiteY10" fmla="*/ 100012 h 314325"/>
                  <a:gd name="connsiteX11" fmla="*/ 147085 w 1010417"/>
                  <a:gd name="connsiteY11" fmla="*/ 152400 h 314325"/>
                  <a:gd name="connsiteX12" fmla="*/ 151848 w 1010417"/>
                  <a:gd name="connsiteY12" fmla="*/ 228600 h 314325"/>
                  <a:gd name="connsiteX13" fmla="*/ 164337 w 1010417"/>
                  <a:gd name="connsiteY13" fmla="*/ 268258 h 314325"/>
                  <a:gd name="connsiteX14" fmla="*/ 192218 w 1010417"/>
                  <a:gd name="connsiteY14" fmla="*/ 255572 h 314325"/>
                  <a:gd name="connsiteX15" fmla="*/ 222529 w 1010417"/>
                  <a:gd name="connsiteY15" fmla="*/ 201561 h 314325"/>
                  <a:gd name="connsiteX16" fmla="*/ 242335 w 1010417"/>
                  <a:gd name="connsiteY16" fmla="*/ 171450 h 314325"/>
                  <a:gd name="connsiteX17" fmla="*/ 261385 w 1010417"/>
                  <a:gd name="connsiteY17" fmla="*/ 142875 h 314325"/>
                  <a:gd name="connsiteX18" fmla="*/ 294723 w 1010417"/>
                  <a:gd name="connsiteY18" fmla="*/ 71437 h 314325"/>
                  <a:gd name="connsiteX19" fmla="*/ 305698 w 1010417"/>
                  <a:gd name="connsiteY19" fmla="*/ 36631 h 314325"/>
                  <a:gd name="connsiteX20" fmla="*/ 312669 w 1010417"/>
                  <a:gd name="connsiteY20" fmla="*/ 88841 h 314325"/>
                  <a:gd name="connsiteX21" fmla="*/ 317779 w 1010417"/>
                  <a:gd name="connsiteY21" fmla="*/ 147637 h 314325"/>
                  <a:gd name="connsiteX22" fmla="*/ 328060 w 1010417"/>
                  <a:gd name="connsiteY22" fmla="*/ 171450 h 314325"/>
                  <a:gd name="connsiteX23" fmla="*/ 339446 w 1010417"/>
                  <a:gd name="connsiteY23" fmla="*/ 261916 h 314325"/>
                  <a:gd name="connsiteX24" fmla="*/ 347110 w 1010417"/>
                  <a:gd name="connsiteY24" fmla="*/ 247650 h 314325"/>
                  <a:gd name="connsiteX25" fmla="*/ 360704 w 1010417"/>
                  <a:gd name="connsiteY25" fmla="*/ 231782 h 314325"/>
                  <a:gd name="connsiteX26" fmla="*/ 385210 w 1010417"/>
                  <a:gd name="connsiteY26" fmla="*/ 180975 h 314325"/>
                  <a:gd name="connsiteX27" fmla="*/ 399498 w 1010417"/>
                  <a:gd name="connsiteY27" fmla="*/ 171450 h 314325"/>
                  <a:gd name="connsiteX28" fmla="*/ 409023 w 1010417"/>
                  <a:gd name="connsiteY28" fmla="*/ 157162 h 314325"/>
                  <a:gd name="connsiteX29" fmla="*/ 418548 w 1010417"/>
                  <a:gd name="connsiteY29" fmla="*/ 180975 h 314325"/>
                  <a:gd name="connsiteX30" fmla="*/ 428073 w 1010417"/>
                  <a:gd name="connsiteY30" fmla="*/ 209550 h 314325"/>
                  <a:gd name="connsiteX31" fmla="*/ 438354 w 1010417"/>
                  <a:gd name="connsiteY31" fmla="*/ 252390 h 314325"/>
                  <a:gd name="connsiteX32" fmla="*/ 466173 w 1010417"/>
                  <a:gd name="connsiteY32" fmla="*/ 233362 h 314325"/>
                  <a:gd name="connsiteX33" fmla="*/ 480460 w 1010417"/>
                  <a:gd name="connsiteY33" fmla="*/ 233362 h 314325"/>
                  <a:gd name="connsiteX34" fmla="*/ 489985 w 1010417"/>
                  <a:gd name="connsiteY34" fmla="*/ 223837 h 314325"/>
                  <a:gd name="connsiteX35" fmla="*/ 532848 w 1010417"/>
                  <a:gd name="connsiteY35" fmla="*/ 138112 h 314325"/>
                  <a:gd name="connsiteX36" fmla="*/ 551898 w 1010417"/>
                  <a:gd name="connsiteY36" fmla="*/ 104775 h 314325"/>
                  <a:gd name="connsiteX37" fmla="*/ 556660 w 1010417"/>
                  <a:gd name="connsiteY37" fmla="*/ 90487 h 314325"/>
                  <a:gd name="connsiteX38" fmla="*/ 570948 w 1010417"/>
                  <a:gd name="connsiteY38" fmla="*/ 80962 h 314325"/>
                  <a:gd name="connsiteX39" fmla="*/ 609742 w 1010417"/>
                  <a:gd name="connsiteY39" fmla="*/ 49227 h 314325"/>
                  <a:gd name="connsiteX40" fmla="*/ 626776 w 1010417"/>
                  <a:gd name="connsiteY40" fmla="*/ 51320 h 314325"/>
                  <a:gd name="connsiteX41" fmla="*/ 638033 w 1010417"/>
                  <a:gd name="connsiteY41" fmla="*/ 295341 h 314325"/>
                  <a:gd name="connsiteX42" fmla="*/ 642385 w 1010417"/>
                  <a:gd name="connsiteY42" fmla="*/ 314325 h 314325"/>
                  <a:gd name="connsiteX43" fmla="*/ 651910 w 1010417"/>
                  <a:gd name="connsiteY43" fmla="*/ 295275 h 314325"/>
                  <a:gd name="connsiteX44" fmla="*/ 665850 w 1010417"/>
                  <a:gd name="connsiteY44" fmla="*/ 257152 h 314325"/>
                  <a:gd name="connsiteX45" fmla="*/ 697675 w 1010417"/>
                  <a:gd name="connsiteY45" fmla="*/ 168290 h 314325"/>
                  <a:gd name="connsiteX46" fmla="*/ 713823 w 1010417"/>
                  <a:gd name="connsiteY46" fmla="*/ 133350 h 314325"/>
                  <a:gd name="connsiteX47" fmla="*/ 718585 w 1010417"/>
                  <a:gd name="connsiteY47" fmla="*/ 166687 h 314325"/>
                  <a:gd name="connsiteX48" fmla="*/ 723348 w 1010417"/>
                  <a:gd name="connsiteY48" fmla="*/ 180975 h 314325"/>
                  <a:gd name="connsiteX49" fmla="*/ 739496 w 1010417"/>
                  <a:gd name="connsiteY49" fmla="*/ 155604 h 314325"/>
                  <a:gd name="connsiteX50" fmla="*/ 765516 w 1010417"/>
                  <a:gd name="connsiteY50" fmla="*/ 131770 h 314325"/>
                  <a:gd name="connsiteX51" fmla="*/ 785260 w 1010417"/>
                  <a:gd name="connsiteY51" fmla="*/ 85725 h 314325"/>
                  <a:gd name="connsiteX52" fmla="*/ 794785 w 1010417"/>
                  <a:gd name="connsiteY52" fmla="*/ 114300 h 314325"/>
                  <a:gd name="connsiteX53" fmla="*/ 809073 w 1010417"/>
                  <a:gd name="connsiteY53" fmla="*/ 185737 h 314325"/>
                  <a:gd name="connsiteX54" fmla="*/ 829983 w 1010417"/>
                  <a:gd name="connsiteY54" fmla="*/ 180975 h 314325"/>
                  <a:gd name="connsiteX55" fmla="*/ 847173 w 1010417"/>
                  <a:gd name="connsiteY55" fmla="*/ 138112 h 314325"/>
                  <a:gd name="connsiteX56" fmla="*/ 870985 w 1010417"/>
                  <a:gd name="connsiteY56" fmla="*/ 76200 h 314325"/>
                  <a:gd name="connsiteX57" fmla="*/ 875748 w 1010417"/>
                  <a:gd name="connsiteY57" fmla="*/ 52387 h 314325"/>
                  <a:gd name="connsiteX58" fmla="*/ 890035 w 1010417"/>
                  <a:gd name="connsiteY58" fmla="*/ 38100 h 314325"/>
                  <a:gd name="connsiteX59" fmla="*/ 894798 w 1010417"/>
                  <a:gd name="connsiteY59" fmla="*/ 14287 h 314325"/>
                  <a:gd name="connsiteX60" fmla="*/ 899560 w 1010417"/>
                  <a:gd name="connsiteY60" fmla="*/ 0 h 314325"/>
                  <a:gd name="connsiteX61" fmla="*/ 904323 w 1010417"/>
                  <a:gd name="connsiteY61" fmla="*/ 14287 h 314325"/>
                  <a:gd name="connsiteX62" fmla="*/ 909085 w 1010417"/>
                  <a:gd name="connsiteY62" fmla="*/ 71437 h 314325"/>
                  <a:gd name="connsiteX63" fmla="*/ 918610 w 1010417"/>
                  <a:gd name="connsiteY63" fmla="*/ 100012 h 314325"/>
                  <a:gd name="connsiteX64" fmla="*/ 942423 w 1010417"/>
                  <a:gd name="connsiteY64" fmla="*/ 161925 h 314325"/>
                  <a:gd name="connsiteX65" fmla="*/ 947185 w 1010417"/>
                  <a:gd name="connsiteY65" fmla="*/ 180975 h 314325"/>
                  <a:gd name="connsiteX66" fmla="*/ 951948 w 1010417"/>
                  <a:gd name="connsiteY66" fmla="*/ 214312 h 314325"/>
                  <a:gd name="connsiteX67" fmla="*/ 970998 w 1010417"/>
                  <a:gd name="connsiteY67" fmla="*/ 242887 h 314325"/>
                  <a:gd name="connsiteX68" fmla="*/ 987957 w 1010417"/>
                  <a:gd name="connsiteY68" fmla="*/ 250306 h 314325"/>
                  <a:gd name="connsiteX69" fmla="*/ 1010417 w 1010417"/>
                  <a:gd name="connsiteY69" fmla="*/ 262624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60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1405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7957 w 1011486"/>
                  <a:gd name="connsiteY68" fmla="*/ 250306 h 314325"/>
                  <a:gd name="connsiteX69" fmla="*/ 1011486 w 1011486"/>
                  <a:gd name="connsiteY69" fmla="*/ 265059 h 314325"/>
                  <a:gd name="connsiteX0" fmla="*/ 0 w 1011486"/>
                  <a:gd name="connsiteY0" fmla="*/ 262750 h 314325"/>
                  <a:gd name="connsiteX1" fmla="*/ 10014 w 1011486"/>
                  <a:gd name="connsiteY1" fmla="*/ 273436 h 314325"/>
                  <a:gd name="connsiteX2" fmla="*/ 28023 w 1011486"/>
                  <a:gd name="connsiteY2" fmla="*/ 228600 h 314325"/>
                  <a:gd name="connsiteX3" fmla="*/ 56598 w 1011486"/>
                  <a:gd name="connsiteY3" fmla="*/ 180975 h 314325"/>
                  <a:gd name="connsiteX4" fmla="*/ 66123 w 1011486"/>
                  <a:gd name="connsiteY4" fmla="*/ 166687 h 314325"/>
                  <a:gd name="connsiteX5" fmla="*/ 85173 w 1011486"/>
                  <a:gd name="connsiteY5" fmla="*/ 114300 h 314325"/>
                  <a:gd name="connsiteX6" fmla="*/ 94698 w 1011486"/>
                  <a:gd name="connsiteY6" fmla="*/ 100012 h 314325"/>
                  <a:gd name="connsiteX7" fmla="*/ 113748 w 1011486"/>
                  <a:gd name="connsiteY7" fmla="*/ 57150 h 314325"/>
                  <a:gd name="connsiteX8" fmla="*/ 118510 w 1011486"/>
                  <a:gd name="connsiteY8" fmla="*/ 42862 h 314325"/>
                  <a:gd name="connsiteX9" fmla="*/ 128035 w 1011486"/>
                  <a:gd name="connsiteY9" fmla="*/ 4762 h 314325"/>
                  <a:gd name="connsiteX10" fmla="*/ 137560 w 1011486"/>
                  <a:gd name="connsiteY10" fmla="*/ 100012 h 314325"/>
                  <a:gd name="connsiteX11" fmla="*/ 147085 w 1011486"/>
                  <a:gd name="connsiteY11" fmla="*/ 152400 h 314325"/>
                  <a:gd name="connsiteX12" fmla="*/ 151848 w 1011486"/>
                  <a:gd name="connsiteY12" fmla="*/ 228600 h 314325"/>
                  <a:gd name="connsiteX13" fmla="*/ 164337 w 1011486"/>
                  <a:gd name="connsiteY13" fmla="*/ 268258 h 314325"/>
                  <a:gd name="connsiteX14" fmla="*/ 192218 w 1011486"/>
                  <a:gd name="connsiteY14" fmla="*/ 255572 h 314325"/>
                  <a:gd name="connsiteX15" fmla="*/ 222529 w 1011486"/>
                  <a:gd name="connsiteY15" fmla="*/ 201561 h 314325"/>
                  <a:gd name="connsiteX16" fmla="*/ 242335 w 1011486"/>
                  <a:gd name="connsiteY16" fmla="*/ 171450 h 314325"/>
                  <a:gd name="connsiteX17" fmla="*/ 261385 w 1011486"/>
                  <a:gd name="connsiteY17" fmla="*/ 142875 h 314325"/>
                  <a:gd name="connsiteX18" fmla="*/ 294723 w 1011486"/>
                  <a:gd name="connsiteY18" fmla="*/ 71437 h 314325"/>
                  <a:gd name="connsiteX19" fmla="*/ 305698 w 1011486"/>
                  <a:gd name="connsiteY19" fmla="*/ 36631 h 314325"/>
                  <a:gd name="connsiteX20" fmla="*/ 312669 w 1011486"/>
                  <a:gd name="connsiteY20" fmla="*/ 88841 h 314325"/>
                  <a:gd name="connsiteX21" fmla="*/ 317779 w 1011486"/>
                  <a:gd name="connsiteY21" fmla="*/ 147637 h 314325"/>
                  <a:gd name="connsiteX22" fmla="*/ 328060 w 1011486"/>
                  <a:gd name="connsiteY22" fmla="*/ 171450 h 314325"/>
                  <a:gd name="connsiteX23" fmla="*/ 339446 w 1011486"/>
                  <a:gd name="connsiteY23" fmla="*/ 261916 h 314325"/>
                  <a:gd name="connsiteX24" fmla="*/ 347110 w 1011486"/>
                  <a:gd name="connsiteY24" fmla="*/ 247650 h 314325"/>
                  <a:gd name="connsiteX25" fmla="*/ 360704 w 1011486"/>
                  <a:gd name="connsiteY25" fmla="*/ 231782 h 314325"/>
                  <a:gd name="connsiteX26" fmla="*/ 385210 w 1011486"/>
                  <a:gd name="connsiteY26" fmla="*/ 180975 h 314325"/>
                  <a:gd name="connsiteX27" fmla="*/ 399498 w 1011486"/>
                  <a:gd name="connsiteY27" fmla="*/ 171450 h 314325"/>
                  <a:gd name="connsiteX28" fmla="*/ 409023 w 1011486"/>
                  <a:gd name="connsiteY28" fmla="*/ 157162 h 314325"/>
                  <a:gd name="connsiteX29" fmla="*/ 418548 w 1011486"/>
                  <a:gd name="connsiteY29" fmla="*/ 180975 h 314325"/>
                  <a:gd name="connsiteX30" fmla="*/ 428073 w 1011486"/>
                  <a:gd name="connsiteY30" fmla="*/ 209550 h 314325"/>
                  <a:gd name="connsiteX31" fmla="*/ 438354 w 1011486"/>
                  <a:gd name="connsiteY31" fmla="*/ 252390 h 314325"/>
                  <a:gd name="connsiteX32" fmla="*/ 466173 w 1011486"/>
                  <a:gd name="connsiteY32" fmla="*/ 233362 h 314325"/>
                  <a:gd name="connsiteX33" fmla="*/ 480460 w 1011486"/>
                  <a:gd name="connsiteY33" fmla="*/ 233362 h 314325"/>
                  <a:gd name="connsiteX34" fmla="*/ 489985 w 1011486"/>
                  <a:gd name="connsiteY34" fmla="*/ 223837 h 314325"/>
                  <a:gd name="connsiteX35" fmla="*/ 532848 w 1011486"/>
                  <a:gd name="connsiteY35" fmla="*/ 138112 h 314325"/>
                  <a:gd name="connsiteX36" fmla="*/ 551898 w 1011486"/>
                  <a:gd name="connsiteY36" fmla="*/ 104775 h 314325"/>
                  <a:gd name="connsiteX37" fmla="*/ 556660 w 1011486"/>
                  <a:gd name="connsiteY37" fmla="*/ 90487 h 314325"/>
                  <a:gd name="connsiteX38" fmla="*/ 570948 w 1011486"/>
                  <a:gd name="connsiteY38" fmla="*/ 80962 h 314325"/>
                  <a:gd name="connsiteX39" fmla="*/ 609742 w 1011486"/>
                  <a:gd name="connsiteY39" fmla="*/ 49227 h 314325"/>
                  <a:gd name="connsiteX40" fmla="*/ 626776 w 1011486"/>
                  <a:gd name="connsiteY40" fmla="*/ 51320 h 314325"/>
                  <a:gd name="connsiteX41" fmla="*/ 638033 w 1011486"/>
                  <a:gd name="connsiteY41" fmla="*/ 295341 h 314325"/>
                  <a:gd name="connsiteX42" fmla="*/ 642385 w 1011486"/>
                  <a:gd name="connsiteY42" fmla="*/ 314325 h 314325"/>
                  <a:gd name="connsiteX43" fmla="*/ 651910 w 1011486"/>
                  <a:gd name="connsiteY43" fmla="*/ 295275 h 314325"/>
                  <a:gd name="connsiteX44" fmla="*/ 665850 w 1011486"/>
                  <a:gd name="connsiteY44" fmla="*/ 257152 h 314325"/>
                  <a:gd name="connsiteX45" fmla="*/ 697675 w 1011486"/>
                  <a:gd name="connsiteY45" fmla="*/ 168290 h 314325"/>
                  <a:gd name="connsiteX46" fmla="*/ 713823 w 1011486"/>
                  <a:gd name="connsiteY46" fmla="*/ 133350 h 314325"/>
                  <a:gd name="connsiteX47" fmla="*/ 718585 w 1011486"/>
                  <a:gd name="connsiteY47" fmla="*/ 166687 h 314325"/>
                  <a:gd name="connsiteX48" fmla="*/ 723348 w 1011486"/>
                  <a:gd name="connsiteY48" fmla="*/ 180975 h 314325"/>
                  <a:gd name="connsiteX49" fmla="*/ 739496 w 1011486"/>
                  <a:gd name="connsiteY49" fmla="*/ 155604 h 314325"/>
                  <a:gd name="connsiteX50" fmla="*/ 765516 w 1011486"/>
                  <a:gd name="connsiteY50" fmla="*/ 131770 h 314325"/>
                  <a:gd name="connsiteX51" fmla="*/ 785260 w 1011486"/>
                  <a:gd name="connsiteY51" fmla="*/ 85725 h 314325"/>
                  <a:gd name="connsiteX52" fmla="*/ 794785 w 1011486"/>
                  <a:gd name="connsiteY52" fmla="*/ 114300 h 314325"/>
                  <a:gd name="connsiteX53" fmla="*/ 809073 w 1011486"/>
                  <a:gd name="connsiteY53" fmla="*/ 185737 h 314325"/>
                  <a:gd name="connsiteX54" fmla="*/ 829983 w 1011486"/>
                  <a:gd name="connsiteY54" fmla="*/ 180975 h 314325"/>
                  <a:gd name="connsiteX55" fmla="*/ 847173 w 1011486"/>
                  <a:gd name="connsiteY55" fmla="*/ 138112 h 314325"/>
                  <a:gd name="connsiteX56" fmla="*/ 870985 w 1011486"/>
                  <a:gd name="connsiteY56" fmla="*/ 76200 h 314325"/>
                  <a:gd name="connsiteX57" fmla="*/ 875748 w 1011486"/>
                  <a:gd name="connsiteY57" fmla="*/ 52387 h 314325"/>
                  <a:gd name="connsiteX58" fmla="*/ 890035 w 1011486"/>
                  <a:gd name="connsiteY58" fmla="*/ 38100 h 314325"/>
                  <a:gd name="connsiteX59" fmla="*/ 894798 w 1011486"/>
                  <a:gd name="connsiteY59" fmla="*/ 14287 h 314325"/>
                  <a:gd name="connsiteX60" fmla="*/ 899560 w 1011486"/>
                  <a:gd name="connsiteY60" fmla="*/ 0 h 314325"/>
                  <a:gd name="connsiteX61" fmla="*/ 904323 w 1011486"/>
                  <a:gd name="connsiteY61" fmla="*/ 14287 h 314325"/>
                  <a:gd name="connsiteX62" fmla="*/ 909085 w 1011486"/>
                  <a:gd name="connsiteY62" fmla="*/ 71437 h 314325"/>
                  <a:gd name="connsiteX63" fmla="*/ 918610 w 1011486"/>
                  <a:gd name="connsiteY63" fmla="*/ 100012 h 314325"/>
                  <a:gd name="connsiteX64" fmla="*/ 942423 w 1011486"/>
                  <a:gd name="connsiteY64" fmla="*/ 161925 h 314325"/>
                  <a:gd name="connsiteX65" fmla="*/ 947185 w 1011486"/>
                  <a:gd name="connsiteY65" fmla="*/ 180975 h 314325"/>
                  <a:gd name="connsiteX66" fmla="*/ 951948 w 1011486"/>
                  <a:gd name="connsiteY66" fmla="*/ 214312 h 314325"/>
                  <a:gd name="connsiteX67" fmla="*/ 970998 w 1011486"/>
                  <a:gd name="connsiteY67" fmla="*/ 242887 h 314325"/>
                  <a:gd name="connsiteX68" fmla="*/ 980121 w 1011486"/>
                  <a:gd name="connsiteY68" fmla="*/ 263299 h 314325"/>
                  <a:gd name="connsiteX69" fmla="*/ 1011486 w 1011486"/>
                  <a:gd name="connsiteY69" fmla="*/ 265059 h 314325"/>
                  <a:gd name="connsiteX0" fmla="*/ 0 w 1016295"/>
                  <a:gd name="connsiteY0" fmla="*/ 262750 h 314325"/>
                  <a:gd name="connsiteX1" fmla="*/ 10014 w 1016295"/>
                  <a:gd name="connsiteY1" fmla="*/ 273436 h 314325"/>
                  <a:gd name="connsiteX2" fmla="*/ 28023 w 1016295"/>
                  <a:gd name="connsiteY2" fmla="*/ 228600 h 314325"/>
                  <a:gd name="connsiteX3" fmla="*/ 56598 w 1016295"/>
                  <a:gd name="connsiteY3" fmla="*/ 180975 h 314325"/>
                  <a:gd name="connsiteX4" fmla="*/ 66123 w 1016295"/>
                  <a:gd name="connsiteY4" fmla="*/ 166687 h 314325"/>
                  <a:gd name="connsiteX5" fmla="*/ 85173 w 1016295"/>
                  <a:gd name="connsiteY5" fmla="*/ 114300 h 314325"/>
                  <a:gd name="connsiteX6" fmla="*/ 94698 w 1016295"/>
                  <a:gd name="connsiteY6" fmla="*/ 100012 h 314325"/>
                  <a:gd name="connsiteX7" fmla="*/ 113748 w 1016295"/>
                  <a:gd name="connsiteY7" fmla="*/ 57150 h 314325"/>
                  <a:gd name="connsiteX8" fmla="*/ 118510 w 1016295"/>
                  <a:gd name="connsiteY8" fmla="*/ 42862 h 314325"/>
                  <a:gd name="connsiteX9" fmla="*/ 128035 w 1016295"/>
                  <a:gd name="connsiteY9" fmla="*/ 4762 h 314325"/>
                  <a:gd name="connsiteX10" fmla="*/ 137560 w 1016295"/>
                  <a:gd name="connsiteY10" fmla="*/ 100012 h 314325"/>
                  <a:gd name="connsiteX11" fmla="*/ 147085 w 1016295"/>
                  <a:gd name="connsiteY11" fmla="*/ 152400 h 314325"/>
                  <a:gd name="connsiteX12" fmla="*/ 151848 w 1016295"/>
                  <a:gd name="connsiteY12" fmla="*/ 228600 h 314325"/>
                  <a:gd name="connsiteX13" fmla="*/ 164337 w 1016295"/>
                  <a:gd name="connsiteY13" fmla="*/ 268258 h 314325"/>
                  <a:gd name="connsiteX14" fmla="*/ 192218 w 1016295"/>
                  <a:gd name="connsiteY14" fmla="*/ 255572 h 314325"/>
                  <a:gd name="connsiteX15" fmla="*/ 222529 w 1016295"/>
                  <a:gd name="connsiteY15" fmla="*/ 201561 h 314325"/>
                  <a:gd name="connsiteX16" fmla="*/ 242335 w 1016295"/>
                  <a:gd name="connsiteY16" fmla="*/ 171450 h 314325"/>
                  <a:gd name="connsiteX17" fmla="*/ 261385 w 1016295"/>
                  <a:gd name="connsiteY17" fmla="*/ 142875 h 314325"/>
                  <a:gd name="connsiteX18" fmla="*/ 294723 w 1016295"/>
                  <a:gd name="connsiteY18" fmla="*/ 71437 h 314325"/>
                  <a:gd name="connsiteX19" fmla="*/ 305698 w 1016295"/>
                  <a:gd name="connsiteY19" fmla="*/ 36631 h 314325"/>
                  <a:gd name="connsiteX20" fmla="*/ 312669 w 1016295"/>
                  <a:gd name="connsiteY20" fmla="*/ 88841 h 314325"/>
                  <a:gd name="connsiteX21" fmla="*/ 317779 w 1016295"/>
                  <a:gd name="connsiteY21" fmla="*/ 147637 h 314325"/>
                  <a:gd name="connsiteX22" fmla="*/ 328060 w 1016295"/>
                  <a:gd name="connsiteY22" fmla="*/ 171450 h 314325"/>
                  <a:gd name="connsiteX23" fmla="*/ 339446 w 1016295"/>
                  <a:gd name="connsiteY23" fmla="*/ 261916 h 314325"/>
                  <a:gd name="connsiteX24" fmla="*/ 347110 w 1016295"/>
                  <a:gd name="connsiteY24" fmla="*/ 247650 h 314325"/>
                  <a:gd name="connsiteX25" fmla="*/ 360704 w 1016295"/>
                  <a:gd name="connsiteY25" fmla="*/ 231782 h 314325"/>
                  <a:gd name="connsiteX26" fmla="*/ 385210 w 1016295"/>
                  <a:gd name="connsiteY26" fmla="*/ 180975 h 314325"/>
                  <a:gd name="connsiteX27" fmla="*/ 399498 w 1016295"/>
                  <a:gd name="connsiteY27" fmla="*/ 171450 h 314325"/>
                  <a:gd name="connsiteX28" fmla="*/ 409023 w 1016295"/>
                  <a:gd name="connsiteY28" fmla="*/ 157162 h 314325"/>
                  <a:gd name="connsiteX29" fmla="*/ 418548 w 1016295"/>
                  <a:gd name="connsiteY29" fmla="*/ 180975 h 314325"/>
                  <a:gd name="connsiteX30" fmla="*/ 428073 w 1016295"/>
                  <a:gd name="connsiteY30" fmla="*/ 209550 h 314325"/>
                  <a:gd name="connsiteX31" fmla="*/ 438354 w 1016295"/>
                  <a:gd name="connsiteY31" fmla="*/ 252390 h 314325"/>
                  <a:gd name="connsiteX32" fmla="*/ 466173 w 1016295"/>
                  <a:gd name="connsiteY32" fmla="*/ 233362 h 314325"/>
                  <a:gd name="connsiteX33" fmla="*/ 480460 w 1016295"/>
                  <a:gd name="connsiteY33" fmla="*/ 233362 h 314325"/>
                  <a:gd name="connsiteX34" fmla="*/ 489985 w 1016295"/>
                  <a:gd name="connsiteY34" fmla="*/ 223837 h 314325"/>
                  <a:gd name="connsiteX35" fmla="*/ 532848 w 1016295"/>
                  <a:gd name="connsiteY35" fmla="*/ 138112 h 314325"/>
                  <a:gd name="connsiteX36" fmla="*/ 551898 w 1016295"/>
                  <a:gd name="connsiteY36" fmla="*/ 104775 h 314325"/>
                  <a:gd name="connsiteX37" fmla="*/ 556660 w 1016295"/>
                  <a:gd name="connsiteY37" fmla="*/ 90487 h 314325"/>
                  <a:gd name="connsiteX38" fmla="*/ 570948 w 1016295"/>
                  <a:gd name="connsiteY38" fmla="*/ 80962 h 314325"/>
                  <a:gd name="connsiteX39" fmla="*/ 609742 w 1016295"/>
                  <a:gd name="connsiteY39" fmla="*/ 49227 h 314325"/>
                  <a:gd name="connsiteX40" fmla="*/ 626776 w 1016295"/>
                  <a:gd name="connsiteY40" fmla="*/ 51320 h 314325"/>
                  <a:gd name="connsiteX41" fmla="*/ 638033 w 1016295"/>
                  <a:gd name="connsiteY41" fmla="*/ 295341 h 314325"/>
                  <a:gd name="connsiteX42" fmla="*/ 642385 w 1016295"/>
                  <a:gd name="connsiteY42" fmla="*/ 314325 h 314325"/>
                  <a:gd name="connsiteX43" fmla="*/ 651910 w 1016295"/>
                  <a:gd name="connsiteY43" fmla="*/ 295275 h 314325"/>
                  <a:gd name="connsiteX44" fmla="*/ 665850 w 1016295"/>
                  <a:gd name="connsiteY44" fmla="*/ 257152 h 314325"/>
                  <a:gd name="connsiteX45" fmla="*/ 697675 w 1016295"/>
                  <a:gd name="connsiteY45" fmla="*/ 168290 h 314325"/>
                  <a:gd name="connsiteX46" fmla="*/ 713823 w 1016295"/>
                  <a:gd name="connsiteY46" fmla="*/ 133350 h 314325"/>
                  <a:gd name="connsiteX47" fmla="*/ 718585 w 1016295"/>
                  <a:gd name="connsiteY47" fmla="*/ 166687 h 314325"/>
                  <a:gd name="connsiteX48" fmla="*/ 723348 w 1016295"/>
                  <a:gd name="connsiteY48" fmla="*/ 180975 h 314325"/>
                  <a:gd name="connsiteX49" fmla="*/ 739496 w 1016295"/>
                  <a:gd name="connsiteY49" fmla="*/ 155604 h 314325"/>
                  <a:gd name="connsiteX50" fmla="*/ 765516 w 1016295"/>
                  <a:gd name="connsiteY50" fmla="*/ 131770 h 314325"/>
                  <a:gd name="connsiteX51" fmla="*/ 785260 w 1016295"/>
                  <a:gd name="connsiteY51" fmla="*/ 85725 h 314325"/>
                  <a:gd name="connsiteX52" fmla="*/ 794785 w 1016295"/>
                  <a:gd name="connsiteY52" fmla="*/ 114300 h 314325"/>
                  <a:gd name="connsiteX53" fmla="*/ 809073 w 1016295"/>
                  <a:gd name="connsiteY53" fmla="*/ 185737 h 314325"/>
                  <a:gd name="connsiteX54" fmla="*/ 829983 w 1016295"/>
                  <a:gd name="connsiteY54" fmla="*/ 180975 h 314325"/>
                  <a:gd name="connsiteX55" fmla="*/ 847173 w 1016295"/>
                  <a:gd name="connsiteY55" fmla="*/ 138112 h 314325"/>
                  <a:gd name="connsiteX56" fmla="*/ 870985 w 1016295"/>
                  <a:gd name="connsiteY56" fmla="*/ 76200 h 314325"/>
                  <a:gd name="connsiteX57" fmla="*/ 875748 w 1016295"/>
                  <a:gd name="connsiteY57" fmla="*/ 52387 h 314325"/>
                  <a:gd name="connsiteX58" fmla="*/ 890035 w 1016295"/>
                  <a:gd name="connsiteY58" fmla="*/ 38100 h 314325"/>
                  <a:gd name="connsiteX59" fmla="*/ 894798 w 1016295"/>
                  <a:gd name="connsiteY59" fmla="*/ 14287 h 314325"/>
                  <a:gd name="connsiteX60" fmla="*/ 899560 w 1016295"/>
                  <a:gd name="connsiteY60" fmla="*/ 0 h 314325"/>
                  <a:gd name="connsiteX61" fmla="*/ 904323 w 1016295"/>
                  <a:gd name="connsiteY61" fmla="*/ 14287 h 314325"/>
                  <a:gd name="connsiteX62" fmla="*/ 909085 w 1016295"/>
                  <a:gd name="connsiteY62" fmla="*/ 71437 h 314325"/>
                  <a:gd name="connsiteX63" fmla="*/ 918610 w 1016295"/>
                  <a:gd name="connsiteY63" fmla="*/ 100012 h 314325"/>
                  <a:gd name="connsiteX64" fmla="*/ 942423 w 1016295"/>
                  <a:gd name="connsiteY64" fmla="*/ 161925 h 314325"/>
                  <a:gd name="connsiteX65" fmla="*/ 947185 w 1016295"/>
                  <a:gd name="connsiteY65" fmla="*/ 180975 h 314325"/>
                  <a:gd name="connsiteX66" fmla="*/ 951948 w 1016295"/>
                  <a:gd name="connsiteY66" fmla="*/ 214312 h 314325"/>
                  <a:gd name="connsiteX67" fmla="*/ 970998 w 1016295"/>
                  <a:gd name="connsiteY67" fmla="*/ 242887 h 314325"/>
                  <a:gd name="connsiteX68" fmla="*/ 980121 w 1016295"/>
                  <a:gd name="connsiteY68" fmla="*/ 263299 h 314325"/>
                  <a:gd name="connsiteX69" fmla="*/ 1016295 w 1016295"/>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79804 h 314325"/>
                  <a:gd name="connsiteX1" fmla="*/ 20166 w 1026447"/>
                  <a:gd name="connsiteY1" fmla="*/ 273436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0700 w 1026981"/>
                  <a:gd name="connsiteY1" fmla="*/ 273436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981"/>
                  <a:gd name="connsiteY0" fmla="*/ 282241 h 314325"/>
                  <a:gd name="connsiteX1" fmla="*/ 26577 w 1026981"/>
                  <a:gd name="connsiteY1" fmla="*/ 279527 h 314325"/>
                  <a:gd name="connsiteX2" fmla="*/ 38709 w 1026981"/>
                  <a:gd name="connsiteY2" fmla="*/ 228600 h 314325"/>
                  <a:gd name="connsiteX3" fmla="*/ 67284 w 1026981"/>
                  <a:gd name="connsiteY3" fmla="*/ 180975 h 314325"/>
                  <a:gd name="connsiteX4" fmla="*/ 76809 w 1026981"/>
                  <a:gd name="connsiteY4" fmla="*/ 166687 h 314325"/>
                  <a:gd name="connsiteX5" fmla="*/ 95859 w 1026981"/>
                  <a:gd name="connsiteY5" fmla="*/ 114300 h 314325"/>
                  <a:gd name="connsiteX6" fmla="*/ 105384 w 1026981"/>
                  <a:gd name="connsiteY6" fmla="*/ 100012 h 314325"/>
                  <a:gd name="connsiteX7" fmla="*/ 124434 w 1026981"/>
                  <a:gd name="connsiteY7" fmla="*/ 57150 h 314325"/>
                  <a:gd name="connsiteX8" fmla="*/ 129196 w 1026981"/>
                  <a:gd name="connsiteY8" fmla="*/ 42862 h 314325"/>
                  <a:gd name="connsiteX9" fmla="*/ 138721 w 1026981"/>
                  <a:gd name="connsiteY9" fmla="*/ 4762 h 314325"/>
                  <a:gd name="connsiteX10" fmla="*/ 148246 w 1026981"/>
                  <a:gd name="connsiteY10" fmla="*/ 100012 h 314325"/>
                  <a:gd name="connsiteX11" fmla="*/ 157771 w 1026981"/>
                  <a:gd name="connsiteY11" fmla="*/ 152400 h 314325"/>
                  <a:gd name="connsiteX12" fmla="*/ 162534 w 1026981"/>
                  <a:gd name="connsiteY12" fmla="*/ 228600 h 314325"/>
                  <a:gd name="connsiteX13" fmla="*/ 175023 w 1026981"/>
                  <a:gd name="connsiteY13" fmla="*/ 268258 h 314325"/>
                  <a:gd name="connsiteX14" fmla="*/ 202904 w 1026981"/>
                  <a:gd name="connsiteY14" fmla="*/ 255572 h 314325"/>
                  <a:gd name="connsiteX15" fmla="*/ 233215 w 1026981"/>
                  <a:gd name="connsiteY15" fmla="*/ 201561 h 314325"/>
                  <a:gd name="connsiteX16" fmla="*/ 253021 w 1026981"/>
                  <a:gd name="connsiteY16" fmla="*/ 171450 h 314325"/>
                  <a:gd name="connsiteX17" fmla="*/ 272071 w 1026981"/>
                  <a:gd name="connsiteY17" fmla="*/ 142875 h 314325"/>
                  <a:gd name="connsiteX18" fmla="*/ 305409 w 1026981"/>
                  <a:gd name="connsiteY18" fmla="*/ 71437 h 314325"/>
                  <a:gd name="connsiteX19" fmla="*/ 316384 w 1026981"/>
                  <a:gd name="connsiteY19" fmla="*/ 36631 h 314325"/>
                  <a:gd name="connsiteX20" fmla="*/ 323355 w 1026981"/>
                  <a:gd name="connsiteY20" fmla="*/ 88841 h 314325"/>
                  <a:gd name="connsiteX21" fmla="*/ 328465 w 1026981"/>
                  <a:gd name="connsiteY21" fmla="*/ 147637 h 314325"/>
                  <a:gd name="connsiteX22" fmla="*/ 338746 w 1026981"/>
                  <a:gd name="connsiteY22" fmla="*/ 171450 h 314325"/>
                  <a:gd name="connsiteX23" fmla="*/ 350132 w 1026981"/>
                  <a:gd name="connsiteY23" fmla="*/ 261916 h 314325"/>
                  <a:gd name="connsiteX24" fmla="*/ 357796 w 1026981"/>
                  <a:gd name="connsiteY24" fmla="*/ 247650 h 314325"/>
                  <a:gd name="connsiteX25" fmla="*/ 371390 w 1026981"/>
                  <a:gd name="connsiteY25" fmla="*/ 231782 h 314325"/>
                  <a:gd name="connsiteX26" fmla="*/ 395896 w 1026981"/>
                  <a:gd name="connsiteY26" fmla="*/ 180975 h 314325"/>
                  <a:gd name="connsiteX27" fmla="*/ 410184 w 1026981"/>
                  <a:gd name="connsiteY27" fmla="*/ 171450 h 314325"/>
                  <a:gd name="connsiteX28" fmla="*/ 419709 w 1026981"/>
                  <a:gd name="connsiteY28" fmla="*/ 157162 h 314325"/>
                  <a:gd name="connsiteX29" fmla="*/ 429234 w 1026981"/>
                  <a:gd name="connsiteY29" fmla="*/ 180975 h 314325"/>
                  <a:gd name="connsiteX30" fmla="*/ 438759 w 1026981"/>
                  <a:gd name="connsiteY30" fmla="*/ 209550 h 314325"/>
                  <a:gd name="connsiteX31" fmla="*/ 449040 w 1026981"/>
                  <a:gd name="connsiteY31" fmla="*/ 252390 h 314325"/>
                  <a:gd name="connsiteX32" fmla="*/ 476859 w 1026981"/>
                  <a:gd name="connsiteY32" fmla="*/ 233362 h 314325"/>
                  <a:gd name="connsiteX33" fmla="*/ 491146 w 1026981"/>
                  <a:gd name="connsiteY33" fmla="*/ 233362 h 314325"/>
                  <a:gd name="connsiteX34" fmla="*/ 500671 w 1026981"/>
                  <a:gd name="connsiteY34" fmla="*/ 223837 h 314325"/>
                  <a:gd name="connsiteX35" fmla="*/ 543534 w 1026981"/>
                  <a:gd name="connsiteY35" fmla="*/ 138112 h 314325"/>
                  <a:gd name="connsiteX36" fmla="*/ 562584 w 1026981"/>
                  <a:gd name="connsiteY36" fmla="*/ 104775 h 314325"/>
                  <a:gd name="connsiteX37" fmla="*/ 567346 w 1026981"/>
                  <a:gd name="connsiteY37" fmla="*/ 90487 h 314325"/>
                  <a:gd name="connsiteX38" fmla="*/ 581634 w 1026981"/>
                  <a:gd name="connsiteY38" fmla="*/ 80962 h 314325"/>
                  <a:gd name="connsiteX39" fmla="*/ 620428 w 1026981"/>
                  <a:gd name="connsiteY39" fmla="*/ 49227 h 314325"/>
                  <a:gd name="connsiteX40" fmla="*/ 637462 w 1026981"/>
                  <a:gd name="connsiteY40" fmla="*/ 51320 h 314325"/>
                  <a:gd name="connsiteX41" fmla="*/ 648719 w 1026981"/>
                  <a:gd name="connsiteY41" fmla="*/ 295341 h 314325"/>
                  <a:gd name="connsiteX42" fmla="*/ 653071 w 1026981"/>
                  <a:gd name="connsiteY42" fmla="*/ 314325 h 314325"/>
                  <a:gd name="connsiteX43" fmla="*/ 662596 w 1026981"/>
                  <a:gd name="connsiteY43" fmla="*/ 295275 h 314325"/>
                  <a:gd name="connsiteX44" fmla="*/ 676536 w 1026981"/>
                  <a:gd name="connsiteY44" fmla="*/ 257152 h 314325"/>
                  <a:gd name="connsiteX45" fmla="*/ 708361 w 1026981"/>
                  <a:gd name="connsiteY45" fmla="*/ 168290 h 314325"/>
                  <a:gd name="connsiteX46" fmla="*/ 724509 w 1026981"/>
                  <a:gd name="connsiteY46" fmla="*/ 133350 h 314325"/>
                  <a:gd name="connsiteX47" fmla="*/ 729271 w 1026981"/>
                  <a:gd name="connsiteY47" fmla="*/ 166687 h 314325"/>
                  <a:gd name="connsiteX48" fmla="*/ 734034 w 1026981"/>
                  <a:gd name="connsiteY48" fmla="*/ 180975 h 314325"/>
                  <a:gd name="connsiteX49" fmla="*/ 750182 w 1026981"/>
                  <a:gd name="connsiteY49" fmla="*/ 155604 h 314325"/>
                  <a:gd name="connsiteX50" fmla="*/ 776202 w 1026981"/>
                  <a:gd name="connsiteY50" fmla="*/ 131770 h 314325"/>
                  <a:gd name="connsiteX51" fmla="*/ 795946 w 1026981"/>
                  <a:gd name="connsiteY51" fmla="*/ 85725 h 314325"/>
                  <a:gd name="connsiteX52" fmla="*/ 805471 w 1026981"/>
                  <a:gd name="connsiteY52" fmla="*/ 114300 h 314325"/>
                  <a:gd name="connsiteX53" fmla="*/ 819759 w 1026981"/>
                  <a:gd name="connsiteY53" fmla="*/ 185737 h 314325"/>
                  <a:gd name="connsiteX54" fmla="*/ 840669 w 1026981"/>
                  <a:gd name="connsiteY54" fmla="*/ 180975 h 314325"/>
                  <a:gd name="connsiteX55" fmla="*/ 857859 w 1026981"/>
                  <a:gd name="connsiteY55" fmla="*/ 138112 h 314325"/>
                  <a:gd name="connsiteX56" fmla="*/ 881671 w 1026981"/>
                  <a:gd name="connsiteY56" fmla="*/ 76200 h 314325"/>
                  <a:gd name="connsiteX57" fmla="*/ 886434 w 1026981"/>
                  <a:gd name="connsiteY57" fmla="*/ 52387 h 314325"/>
                  <a:gd name="connsiteX58" fmla="*/ 900721 w 1026981"/>
                  <a:gd name="connsiteY58" fmla="*/ 38100 h 314325"/>
                  <a:gd name="connsiteX59" fmla="*/ 905484 w 1026981"/>
                  <a:gd name="connsiteY59" fmla="*/ 14287 h 314325"/>
                  <a:gd name="connsiteX60" fmla="*/ 910246 w 1026981"/>
                  <a:gd name="connsiteY60" fmla="*/ 0 h 314325"/>
                  <a:gd name="connsiteX61" fmla="*/ 915009 w 1026981"/>
                  <a:gd name="connsiteY61" fmla="*/ 14287 h 314325"/>
                  <a:gd name="connsiteX62" fmla="*/ 919771 w 1026981"/>
                  <a:gd name="connsiteY62" fmla="*/ 71437 h 314325"/>
                  <a:gd name="connsiteX63" fmla="*/ 929296 w 1026981"/>
                  <a:gd name="connsiteY63" fmla="*/ 100012 h 314325"/>
                  <a:gd name="connsiteX64" fmla="*/ 953109 w 1026981"/>
                  <a:gd name="connsiteY64" fmla="*/ 161925 h 314325"/>
                  <a:gd name="connsiteX65" fmla="*/ 957871 w 1026981"/>
                  <a:gd name="connsiteY65" fmla="*/ 180975 h 314325"/>
                  <a:gd name="connsiteX66" fmla="*/ 962634 w 1026981"/>
                  <a:gd name="connsiteY66" fmla="*/ 214312 h 314325"/>
                  <a:gd name="connsiteX67" fmla="*/ 981684 w 1026981"/>
                  <a:gd name="connsiteY67" fmla="*/ 242887 h 314325"/>
                  <a:gd name="connsiteX68" fmla="*/ 990807 w 1026981"/>
                  <a:gd name="connsiteY68" fmla="*/ 263299 h 314325"/>
                  <a:gd name="connsiteX69" fmla="*/ 1026981 w 1026981"/>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26043 w 1026447"/>
                  <a:gd name="connsiteY1" fmla="*/ 27952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2218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2217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387 w 1026447"/>
                  <a:gd name="connsiteY1" fmla="*/ 277090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3817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26447"/>
                  <a:gd name="connsiteY0" fmla="*/ 281023 h 314325"/>
                  <a:gd name="connsiteX1" fmla="*/ 31921 w 1026447"/>
                  <a:gd name="connsiteY1" fmla="*/ 274654 h 314325"/>
                  <a:gd name="connsiteX2" fmla="*/ 49395 w 1026447"/>
                  <a:gd name="connsiteY2" fmla="*/ 228600 h 314325"/>
                  <a:gd name="connsiteX3" fmla="*/ 66750 w 1026447"/>
                  <a:gd name="connsiteY3" fmla="*/ 180975 h 314325"/>
                  <a:gd name="connsiteX4" fmla="*/ 76275 w 1026447"/>
                  <a:gd name="connsiteY4" fmla="*/ 166687 h 314325"/>
                  <a:gd name="connsiteX5" fmla="*/ 95325 w 1026447"/>
                  <a:gd name="connsiteY5" fmla="*/ 114300 h 314325"/>
                  <a:gd name="connsiteX6" fmla="*/ 104850 w 1026447"/>
                  <a:gd name="connsiteY6" fmla="*/ 100012 h 314325"/>
                  <a:gd name="connsiteX7" fmla="*/ 123900 w 1026447"/>
                  <a:gd name="connsiteY7" fmla="*/ 57150 h 314325"/>
                  <a:gd name="connsiteX8" fmla="*/ 128662 w 1026447"/>
                  <a:gd name="connsiteY8" fmla="*/ 42862 h 314325"/>
                  <a:gd name="connsiteX9" fmla="*/ 138187 w 1026447"/>
                  <a:gd name="connsiteY9" fmla="*/ 4762 h 314325"/>
                  <a:gd name="connsiteX10" fmla="*/ 147712 w 1026447"/>
                  <a:gd name="connsiteY10" fmla="*/ 100012 h 314325"/>
                  <a:gd name="connsiteX11" fmla="*/ 157237 w 1026447"/>
                  <a:gd name="connsiteY11" fmla="*/ 152400 h 314325"/>
                  <a:gd name="connsiteX12" fmla="*/ 162000 w 1026447"/>
                  <a:gd name="connsiteY12" fmla="*/ 228600 h 314325"/>
                  <a:gd name="connsiteX13" fmla="*/ 174489 w 1026447"/>
                  <a:gd name="connsiteY13" fmla="*/ 268258 h 314325"/>
                  <a:gd name="connsiteX14" fmla="*/ 202370 w 1026447"/>
                  <a:gd name="connsiteY14" fmla="*/ 255572 h 314325"/>
                  <a:gd name="connsiteX15" fmla="*/ 232681 w 1026447"/>
                  <a:gd name="connsiteY15" fmla="*/ 201561 h 314325"/>
                  <a:gd name="connsiteX16" fmla="*/ 252487 w 1026447"/>
                  <a:gd name="connsiteY16" fmla="*/ 171450 h 314325"/>
                  <a:gd name="connsiteX17" fmla="*/ 271537 w 1026447"/>
                  <a:gd name="connsiteY17" fmla="*/ 142875 h 314325"/>
                  <a:gd name="connsiteX18" fmla="*/ 304875 w 1026447"/>
                  <a:gd name="connsiteY18" fmla="*/ 71437 h 314325"/>
                  <a:gd name="connsiteX19" fmla="*/ 315850 w 1026447"/>
                  <a:gd name="connsiteY19" fmla="*/ 36631 h 314325"/>
                  <a:gd name="connsiteX20" fmla="*/ 322821 w 1026447"/>
                  <a:gd name="connsiteY20" fmla="*/ 88841 h 314325"/>
                  <a:gd name="connsiteX21" fmla="*/ 327931 w 1026447"/>
                  <a:gd name="connsiteY21" fmla="*/ 147637 h 314325"/>
                  <a:gd name="connsiteX22" fmla="*/ 338212 w 1026447"/>
                  <a:gd name="connsiteY22" fmla="*/ 171450 h 314325"/>
                  <a:gd name="connsiteX23" fmla="*/ 349598 w 1026447"/>
                  <a:gd name="connsiteY23" fmla="*/ 261916 h 314325"/>
                  <a:gd name="connsiteX24" fmla="*/ 357262 w 1026447"/>
                  <a:gd name="connsiteY24" fmla="*/ 247650 h 314325"/>
                  <a:gd name="connsiteX25" fmla="*/ 370856 w 1026447"/>
                  <a:gd name="connsiteY25" fmla="*/ 231782 h 314325"/>
                  <a:gd name="connsiteX26" fmla="*/ 395362 w 1026447"/>
                  <a:gd name="connsiteY26" fmla="*/ 180975 h 314325"/>
                  <a:gd name="connsiteX27" fmla="*/ 409650 w 1026447"/>
                  <a:gd name="connsiteY27" fmla="*/ 171450 h 314325"/>
                  <a:gd name="connsiteX28" fmla="*/ 419175 w 1026447"/>
                  <a:gd name="connsiteY28" fmla="*/ 157162 h 314325"/>
                  <a:gd name="connsiteX29" fmla="*/ 428700 w 1026447"/>
                  <a:gd name="connsiteY29" fmla="*/ 180975 h 314325"/>
                  <a:gd name="connsiteX30" fmla="*/ 438225 w 1026447"/>
                  <a:gd name="connsiteY30" fmla="*/ 209550 h 314325"/>
                  <a:gd name="connsiteX31" fmla="*/ 448506 w 1026447"/>
                  <a:gd name="connsiteY31" fmla="*/ 252390 h 314325"/>
                  <a:gd name="connsiteX32" fmla="*/ 476325 w 1026447"/>
                  <a:gd name="connsiteY32" fmla="*/ 233362 h 314325"/>
                  <a:gd name="connsiteX33" fmla="*/ 490612 w 1026447"/>
                  <a:gd name="connsiteY33" fmla="*/ 233362 h 314325"/>
                  <a:gd name="connsiteX34" fmla="*/ 500137 w 1026447"/>
                  <a:gd name="connsiteY34" fmla="*/ 223837 h 314325"/>
                  <a:gd name="connsiteX35" fmla="*/ 543000 w 1026447"/>
                  <a:gd name="connsiteY35" fmla="*/ 138112 h 314325"/>
                  <a:gd name="connsiteX36" fmla="*/ 562050 w 1026447"/>
                  <a:gd name="connsiteY36" fmla="*/ 104775 h 314325"/>
                  <a:gd name="connsiteX37" fmla="*/ 566812 w 1026447"/>
                  <a:gd name="connsiteY37" fmla="*/ 90487 h 314325"/>
                  <a:gd name="connsiteX38" fmla="*/ 581100 w 1026447"/>
                  <a:gd name="connsiteY38" fmla="*/ 80962 h 314325"/>
                  <a:gd name="connsiteX39" fmla="*/ 619894 w 1026447"/>
                  <a:gd name="connsiteY39" fmla="*/ 49227 h 314325"/>
                  <a:gd name="connsiteX40" fmla="*/ 636928 w 1026447"/>
                  <a:gd name="connsiteY40" fmla="*/ 51320 h 314325"/>
                  <a:gd name="connsiteX41" fmla="*/ 648185 w 1026447"/>
                  <a:gd name="connsiteY41" fmla="*/ 295341 h 314325"/>
                  <a:gd name="connsiteX42" fmla="*/ 652537 w 1026447"/>
                  <a:gd name="connsiteY42" fmla="*/ 314325 h 314325"/>
                  <a:gd name="connsiteX43" fmla="*/ 662062 w 1026447"/>
                  <a:gd name="connsiteY43" fmla="*/ 295275 h 314325"/>
                  <a:gd name="connsiteX44" fmla="*/ 676002 w 1026447"/>
                  <a:gd name="connsiteY44" fmla="*/ 257152 h 314325"/>
                  <a:gd name="connsiteX45" fmla="*/ 707827 w 1026447"/>
                  <a:gd name="connsiteY45" fmla="*/ 168290 h 314325"/>
                  <a:gd name="connsiteX46" fmla="*/ 723975 w 1026447"/>
                  <a:gd name="connsiteY46" fmla="*/ 133350 h 314325"/>
                  <a:gd name="connsiteX47" fmla="*/ 728737 w 1026447"/>
                  <a:gd name="connsiteY47" fmla="*/ 166687 h 314325"/>
                  <a:gd name="connsiteX48" fmla="*/ 733500 w 1026447"/>
                  <a:gd name="connsiteY48" fmla="*/ 180975 h 314325"/>
                  <a:gd name="connsiteX49" fmla="*/ 749648 w 1026447"/>
                  <a:gd name="connsiteY49" fmla="*/ 155604 h 314325"/>
                  <a:gd name="connsiteX50" fmla="*/ 775668 w 1026447"/>
                  <a:gd name="connsiteY50" fmla="*/ 131770 h 314325"/>
                  <a:gd name="connsiteX51" fmla="*/ 795412 w 1026447"/>
                  <a:gd name="connsiteY51" fmla="*/ 85725 h 314325"/>
                  <a:gd name="connsiteX52" fmla="*/ 804937 w 1026447"/>
                  <a:gd name="connsiteY52" fmla="*/ 114300 h 314325"/>
                  <a:gd name="connsiteX53" fmla="*/ 819225 w 1026447"/>
                  <a:gd name="connsiteY53" fmla="*/ 185737 h 314325"/>
                  <a:gd name="connsiteX54" fmla="*/ 840135 w 1026447"/>
                  <a:gd name="connsiteY54" fmla="*/ 180975 h 314325"/>
                  <a:gd name="connsiteX55" fmla="*/ 857325 w 1026447"/>
                  <a:gd name="connsiteY55" fmla="*/ 138112 h 314325"/>
                  <a:gd name="connsiteX56" fmla="*/ 881137 w 1026447"/>
                  <a:gd name="connsiteY56" fmla="*/ 76200 h 314325"/>
                  <a:gd name="connsiteX57" fmla="*/ 885900 w 1026447"/>
                  <a:gd name="connsiteY57" fmla="*/ 52387 h 314325"/>
                  <a:gd name="connsiteX58" fmla="*/ 900187 w 1026447"/>
                  <a:gd name="connsiteY58" fmla="*/ 38100 h 314325"/>
                  <a:gd name="connsiteX59" fmla="*/ 904950 w 1026447"/>
                  <a:gd name="connsiteY59" fmla="*/ 14287 h 314325"/>
                  <a:gd name="connsiteX60" fmla="*/ 909712 w 1026447"/>
                  <a:gd name="connsiteY60" fmla="*/ 0 h 314325"/>
                  <a:gd name="connsiteX61" fmla="*/ 914475 w 1026447"/>
                  <a:gd name="connsiteY61" fmla="*/ 14287 h 314325"/>
                  <a:gd name="connsiteX62" fmla="*/ 919237 w 1026447"/>
                  <a:gd name="connsiteY62" fmla="*/ 71437 h 314325"/>
                  <a:gd name="connsiteX63" fmla="*/ 928762 w 1026447"/>
                  <a:gd name="connsiteY63" fmla="*/ 100012 h 314325"/>
                  <a:gd name="connsiteX64" fmla="*/ 952575 w 1026447"/>
                  <a:gd name="connsiteY64" fmla="*/ 161925 h 314325"/>
                  <a:gd name="connsiteX65" fmla="*/ 957337 w 1026447"/>
                  <a:gd name="connsiteY65" fmla="*/ 180975 h 314325"/>
                  <a:gd name="connsiteX66" fmla="*/ 962100 w 1026447"/>
                  <a:gd name="connsiteY66" fmla="*/ 214312 h 314325"/>
                  <a:gd name="connsiteX67" fmla="*/ 981150 w 1026447"/>
                  <a:gd name="connsiteY67" fmla="*/ 242887 h 314325"/>
                  <a:gd name="connsiteX68" fmla="*/ 990273 w 1026447"/>
                  <a:gd name="connsiteY68" fmla="*/ 263299 h 314325"/>
                  <a:gd name="connsiteX69" fmla="*/ 1026447 w 1026447"/>
                  <a:gd name="connsiteY69" fmla="*/ 265059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31256"/>
                  <a:gd name="connsiteY0" fmla="*/ 281023 h 314325"/>
                  <a:gd name="connsiteX1" fmla="*/ 31921 w 1031256"/>
                  <a:gd name="connsiteY1" fmla="*/ 274654 h 314325"/>
                  <a:gd name="connsiteX2" fmla="*/ 49395 w 1031256"/>
                  <a:gd name="connsiteY2" fmla="*/ 228600 h 314325"/>
                  <a:gd name="connsiteX3" fmla="*/ 66750 w 1031256"/>
                  <a:gd name="connsiteY3" fmla="*/ 180975 h 314325"/>
                  <a:gd name="connsiteX4" fmla="*/ 76275 w 1031256"/>
                  <a:gd name="connsiteY4" fmla="*/ 166687 h 314325"/>
                  <a:gd name="connsiteX5" fmla="*/ 95325 w 1031256"/>
                  <a:gd name="connsiteY5" fmla="*/ 114300 h 314325"/>
                  <a:gd name="connsiteX6" fmla="*/ 104850 w 1031256"/>
                  <a:gd name="connsiteY6" fmla="*/ 100012 h 314325"/>
                  <a:gd name="connsiteX7" fmla="*/ 123900 w 1031256"/>
                  <a:gd name="connsiteY7" fmla="*/ 57150 h 314325"/>
                  <a:gd name="connsiteX8" fmla="*/ 128662 w 1031256"/>
                  <a:gd name="connsiteY8" fmla="*/ 42862 h 314325"/>
                  <a:gd name="connsiteX9" fmla="*/ 138187 w 1031256"/>
                  <a:gd name="connsiteY9" fmla="*/ 4762 h 314325"/>
                  <a:gd name="connsiteX10" fmla="*/ 147712 w 1031256"/>
                  <a:gd name="connsiteY10" fmla="*/ 100012 h 314325"/>
                  <a:gd name="connsiteX11" fmla="*/ 157237 w 1031256"/>
                  <a:gd name="connsiteY11" fmla="*/ 152400 h 314325"/>
                  <a:gd name="connsiteX12" fmla="*/ 162000 w 1031256"/>
                  <a:gd name="connsiteY12" fmla="*/ 228600 h 314325"/>
                  <a:gd name="connsiteX13" fmla="*/ 174489 w 1031256"/>
                  <a:gd name="connsiteY13" fmla="*/ 268258 h 314325"/>
                  <a:gd name="connsiteX14" fmla="*/ 202370 w 1031256"/>
                  <a:gd name="connsiteY14" fmla="*/ 255572 h 314325"/>
                  <a:gd name="connsiteX15" fmla="*/ 232681 w 1031256"/>
                  <a:gd name="connsiteY15" fmla="*/ 201561 h 314325"/>
                  <a:gd name="connsiteX16" fmla="*/ 252487 w 1031256"/>
                  <a:gd name="connsiteY16" fmla="*/ 171450 h 314325"/>
                  <a:gd name="connsiteX17" fmla="*/ 271537 w 1031256"/>
                  <a:gd name="connsiteY17" fmla="*/ 142875 h 314325"/>
                  <a:gd name="connsiteX18" fmla="*/ 304875 w 1031256"/>
                  <a:gd name="connsiteY18" fmla="*/ 71437 h 314325"/>
                  <a:gd name="connsiteX19" fmla="*/ 315850 w 1031256"/>
                  <a:gd name="connsiteY19" fmla="*/ 36631 h 314325"/>
                  <a:gd name="connsiteX20" fmla="*/ 322821 w 1031256"/>
                  <a:gd name="connsiteY20" fmla="*/ 88841 h 314325"/>
                  <a:gd name="connsiteX21" fmla="*/ 327931 w 1031256"/>
                  <a:gd name="connsiteY21" fmla="*/ 147637 h 314325"/>
                  <a:gd name="connsiteX22" fmla="*/ 338212 w 1031256"/>
                  <a:gd name="connsiteY22" fmla="*/ 171450 h 314325"/>
                  <a:gd name="connsiteX23" fmla="*/ 349598 w 1031256"/>
                  <a:gd name="connsiteY23" fmla="*/ 261916 h 314325"/>
                  <a:gd name="connsiteX24" fmla="*/ 357262 w 1031256"/>
                  <a:gd name="connsiteY24" fmla="*/ 247650 h 314325"/>
                  <a:gd name="connsiteX25" fmla="*/ 370856 w 1031256"/>
                  <a:gd name="connsiteY25" fmla="*/ 231782 h 314325"/>
                  <a:gd name="connsiteX26" fmla="*/ 395362 w 1031256"/>
                  <a:gd name="connsiteY26" fmla="*/ 180975 h 314325"/>
                  <a:gd name="connsiteX27" fmla="*/ 409650 w 1031256"/>
                  <a:gd name="connsiteY27" fmla="*/ 171450 h 314325"/>
                  <a:gd name="connsiteX28" fmla="*/ 419175 w 1031256"/>
                  <a:gd name="connsiteY28" fmla="*/ 157162 h 314325"/>
                  <a:gd name="connsiteX29" fmla="*/ 428700 w 1031256"/>
                  <a:gd name="connsiteY29" fmla="*/ 180975 h 314325"/>
                  <a:gd name="connsiteX30" fmla="*/ 438225 w 1031256"/>
                  <a:gd name="connsiteY30" fmla="*/ 209550 h 314325"/>
                  <a:gd name="connsiteX31" fmla="*/ 448506 w 1031256"/>
                  <a:gd name="connsiteY31" fmla="*/ 252390 h 314325"/>
                  <a:gd name="connsiteX32" fmla="*/ 476325 w 1031256"/>
                  <a:gd name="connsiteY32" fmla="*/ 233362 h 314325"/>
                  <a:gd name="connsiteX33" fmla="*/ 490612 w 1031256"/>
                  <a:gd name="connsiteY33" fmla="*/ 233362 h 314325"/>
                  <a:gd name="connsiteX34" fmla="*/ 500137 w 1031256"/>
                  <a:gd name="connsiteY34" fmla="*/ 223837 h 314325"/>
                  <a:gd name="connsiteX35" fmla="*/ 543000 w 1031256"/>
                  <a:gd name="connsiteY35" fmla="*/ 138112 h 314325"/>
                  <a:gd name="connsiteX36" fmla="*/ 562050 w 1031256"/>
                  <a:gd name="connsiteY36" fmla="*/ 104775 h 314325"/>
                  <a:gd name="connsiteX37" fmla="*/ 566812 w 1031256"/>
                  <a:gd name="connsiteY37" fmla="*/ 90487 h 314325"/>
                  <a:gd name="connsiteX38" fmla="*/ 581100 w 1031256"/>
                  <a:gd name="connsiteY38" fmla="*/ 80962 h 314325"/>
                  <a:gd name="connsiteX39" fmla="*/ 619894 w 1031256"/>
                  <a:gd name="connsiteY39" fmla="*/ 49227 h 314325"/>
                  <a:gd name="connsiteX40" fmla="*/ 636928 w 1031256"/>
                  <a:gd name="connsiteY40" fmla="*/ 51320 h 314325"/>
                  <a:gd name="connsiteX41" fmla="*/ 648185 w 1031256"/>
                  <a:gd name="connsiteY41" fmla="*/ 295341 h 314325"/>
                  <a:gd name="connsiteX42" fmla="*/ 652537 w 1031256"/>
                  <a:gd name="connsiteY42" fmla="*/ 314325 h 314325"/>
                  <a:gd name="connsiteX43" fmla="*/ 662062 w 1031256"/>
                  <a:gd name="connsiteY43" fmla="*/ 295275 h 314325"/>
                  <a:gd name="connsiteX44" fmla="*/ 676002 w 1031256"/>
                  <a:gd name="connsiteY44" fmla="*/ 257152 h 314325"/>
                  <a:gd name="connsiteX45" fmla="*/ 707827 w 1031256"/>
                  <a:gd name="connsiteY45" fmla="*/ 168290 h 314325"/>
                  <a:gd name="connsiteX46" fmla="*/ 723975 w 1031256"/>
                  <a:gd name="connsiteY46" fmla="*/ 133350 h 314325"/>
                  <a:gd name="connsiteX47" fmla="*/ 728737 w 1031256"/>
                  <a:gd name="connsiteY47" fmla="*/ 166687 h 314325"/>
                  <a:gd name="connsiteX48" fmla="*/ 733500 w 1031256"/>
                  <a:gd name="connsiteY48" fmla="*/ 180975 h 314325"/>
                  <a:gd name="connsiteX49" fmla="*/ 749648 w 1031256"/>
                  <a:gd name="connsiteY49" fmla="*/ 155604 h 314325"/>
                  <a:gd name="connsiteX50" fmla="*/ 775668 w 1031256"/>
                  <a:gd name="connsiteY50" fmla="*/ 131770 h 314325"/>
                  <a:gd name="connsiteX51" fmla="*/ 795412 w 1031256"/>
                  <a:gd name="connsiteY51" fmla="*/ 85725 h 314325"/>
                  <a:gd name="connsiteX52" fmla="*/ 804937 w 1031256"/>
                  <a:gd name="connsiteY52" fmla="*/ 114300 h 314325"/>
                  <a:gd name="connsiteX53" fmla="*/ 819225 w 1031256"/>
                  <a:gd name="connsiteY53" fmla="*/ 185737 h 314325"/>
                  <a:gd name="connsiteX54" fmla="*/ 840135 w 1031256"/>
                  <a:gd name="connsiteY54" fmla="*/ 180975 h 314325"/>
                  <a:gd name="connsiteX55" fmla="*/ 857325 w 1031256"/>
                  <a:gd name="connsiteY55" fmla="*/ 138112 h 314325"/>
                  <a:gd name="connsiteX56" fmla="*/ 881137 w 1031256"/>
                  <a:gd name="connsiteY56" fmla="*/ 76200 h 314325"/>
                  <a:gd name="connsiteX57" fmla="*/ 885900 w 1031256"/>
                  <a:gd name="connsiteY57" fmla="*/ 52387 h 314325"/>
                  <a:gd name="connsiteX58" fmla="*/ 900187 w 1031256"/>
                  <a:gd name="connsiteY58" fmla="*/ 38100 h 314325"/>
                  <a:gd name="connsiteX59" fmla="*/ 904950 w 1031256"/>
                  <a:gd name="connsiteY59" fmla="*/ 14287 h 314325"/>
                  <a:gd name="connsiteX60" fmla="*/ 909712 w 1031256"/>
                  <a:gd name="connsiteY60" fmla="*/ 0 h 314325"/>
                  <a:gd name="connsiteX61" fmla="*/ 914475 w 1031256"/>
                  <a:gd name="connsiteY61" fmla="*/ 14287 h 314325"/>
                  <a:gd name="connsiteX62" fmla="*/ 919237 w 1031256"/>
                  <a:gd name="connsiteY62" fmla="*/ 71437 h 314325"/>
                  <a:gd name="connsiteX63" fmla="*/ 928762 w 1031256"/>
                  <a:gd name="connsiteY63" fmla="*/ 100012 h 314325"/>
                  <a:gd name="connsiteX64" fmla="*/ 952575 w 1031256"/>
                  <a:gd name="connsiteY64" fmla="*/ 161925 h 314325"/>
                  <a:gd name="connsiteX65" fmla="*/ 957337 w 1031256"/>
                  <a:gd name="connsiteY65" fmla="*/ 180975 h 314325"/>
                  <a:gd name="connsiteX66" fmla="*/ 962100 w 1031256"/>
                  <a:gd name="connsiteY66" fmla="*/ 214312 h 314325"/>
                  <a:gd name="connsiteX67" fmla="*/ 981150 w 1031256"/>
                  <a:gd name="connsiteY67" fmla="*/ 242887 h 314325"/>
                  <a:gd name="connsiteX68" fmla="*/ 990273 w 1031256"/>
                  <a:gd name="connsiteY68" fmla="*/ 263299 h 314325"/>
                  <a:gd name="connsiteX69" fmla="*/ 1031256 w 1031256"/>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273 w 1028050"/>
                  <a:gd name="connsiteY68" fmla="*/ 263299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1342 w 1028050"/>
                  <a:gd name="connsiteY68" fmla="*/ 270608 h 314325"/>
                  <a:gd name="connsiteX69" fmla="*/ 1028050 w 1028050"/>
                  <a:gd name="connsiteY69" fmla="*/ 263841 h 314325"/>
                  <a:gd name="connsiteX0" fmla="*/ 0 w 1028050"/>
                  <a:gd name="connsiteY0" fmla="*/ 281023 h 314325"/>
                  <a:gd name="connsiteX1" fmla="*/ 31921 w 1028050"/>
                  <a:gd name="connsiteY1" fmla="*/ 274654 h 314325"/>
                  <a:gd name="connsiteX2" fmla="*/ 49395 w 1028050"/>
                  <a:gd name="connsiteY2" fmla="*/ 228600 h 314325"/>
                  <a:gd name="connsiteX3" fmla="*/ 66750 w 1028050"/>
                  <a:gd name="connsiteY3" fmla="*/ 180975 h 314325"/>
                  <a:gd name="connsiteX4" fmla="*/ 76275 w 1028050"/>
                  <a:gd name="connsiteY4" fmla="*/ 166687 h 314325"/>
                  <a:gd name="connsiteX5" fmla="*/ 95325 w 1028050"/>
                  <a:gd name="connsiteY5" fmla="*/ 114300 h 314325"/>
                  <a:gd name="connsiteX6" fmla="*/ 104850 w 1028050"/>
                  <a:gd name="connsiteY6" fmla="*/ 100012 h 314325"/>
                  <a:gd name="connsiteX7" fmla="*/ 123900 w 1028050"/>
                  <a:gd name="connsiteY7" fmla="*/ 57150 h 314325"/>
                  <a:gd name="connsiteX8" fmla="*/ 128662 w 1028050"/>
                  <a:gd name="connsiteY8" fmla="*/ 42862 h 314325"/>
                  <a:gd name="connsiteX9" fmla="*/ 138187 w 1028050"/>
                  <a:gd name="connsiteY9" fmla="*/ 4762 h 314325"/>
                  <a:gd name="connsiteX10" fmla="*/ 147712 w 1028050"/>
                  <a:gd name="connsiteY10" fmla="*/ 100012 h 314325"/>
                  <a:gd name="connsiteX11" fmla="*/ 157237 w 1028050"/>
                  <a:gd name="connsiteY11" fmla="*/ 152400 h 314325"/>
                  <a:gd name="connsiteX12" fmla="*/ 162000 w 1028050"/>
                  <a:gd name="connsiteY12" fmla="*/ 228600 h 314325"/>
                  <a:gd name="connsiteX13" fmla="*/ 174489 w 1028050"/>
                  <a:gd name="connsiteY13" fmla="*/ 268258 h 314325"/>
                  <a:gd name="connsiteX14" fmla="*/ 202370 w 1028050"/>
                  <a:gd name="connsiteY14" fmla="*/ 255572 h 314325"/>
                  <a:gd name="connsiteX15" fmla="*/ 232681 w 1028050"/>
                  <a:gd name="connsiteY15" fmla="*/ 201561 h 314325"/>
                  <a:gd name="connsiteX16" fmla="*/ 252487 w 1028050"/>
                  <a:gd name="connsiteY16" fmla="*/ 171450 h 314325"/>
                  <a:gd name="connsiteX17" fmla="*/ 271537 w 1028050"/>
                  <a:gd name="connsiteY17" fmla="*/ 142875 h 314325"/>
                  <a:gd name="connsiteX18" fmla="*/ 304875 w 1028050"/>
                  <a:gd name="connsiteY18" fmla="*/ 71437 h 314325"/>
                  <a:gd name="connsiteX19" fmla="*/ 315850 w 1028050"/>
                  <a:gd name="connsiteY19" fmla="*/ 36631 h 314325"/>
                  <a:gd name="connsiteX20" fmla="*/ 322821 w 1028050"/>
                  <a:gd name="connsiteY20" fmla="*/ 88841 h 314325"/>
                  <a:gd name="connsiteX21" fmla="*/ 327931 w 1028050"/>
                  <a:gd name="connsiteY21" fmla="*/ 147637 h 314325"/>
                  <a:gd name="connsiteX22" fmla="*/ 338212 w 1028050"/>
                  <a:gd name="connsiteY22" fmla="*/ 171450 h 314325"/>
                  <a:gd name="connsiteX23" fmla="*/ 349598 w 1028050"/>
                  <a:gd name="connsiteY23" fmla="*/ 261916 h 314325"/>
                  <a:gd name="connsiteX24" fmla="*/ 357262 w 1028050"/>
                  <a:gd name="connsiteY24" fmla="*/ 247650 h 314325"/>
                  <a:gd name="connsiteX25" fmla="*/ 370856 w 1028050"/>
                  <a:gd name="connsiteY25" fmla="*/ 231782 h 314325"/>
                  <a:gd name="connsiteX26" fmla="*/ 395362 w 1028050"/>
                  <a:gd name="connsiteY26" fmla="*/ 180975 h 314325"/>
                  <a:gd name="connsiteX27" fmla="*/ 409650 w 1028050"/>
                  <a:gd name="connsiteY27" fmla="*/ 171450 h 314325"/>
                  <a:gd name="connsiteX28" fmla="*/ 419175 w 1028050"/>
                  <a:gd name="connsiteY28" fmla="*/ 157162 h 314325"/>
                  <a:gd name="connsiteX29" fmla="*/ 428700 w 1028050"/>
                  <a:gd name="connsiteY29" fmla="*/ 180975 h 314325"/>
                  <a:gd name="connsiteX30" fmla="*/ 438225 w 1028050"/>
                  <a:gd name="connsiteY30" fmla="*/ 209550 h 314325"/>
                  <a:gd name="connsiteX31" fmla="*/ 448506 w 1028050"/>
                  <a:gd name="connsiteY31" fmla="*/ 252390 h 314325"/>
                  <a:gd name="connsiteX32" fmla="*/ 476325 w 1028050"/>
                  <a:gd name="connsiteY32" fmla="*/ 233362 h 314325"/>
                  <a:gd name="connsiteX33" fmla="*/ 490612 w 1028050"/>
                  <a:gd name="connsiteY33" fmla="*/ 233362 h 314325"/>
                  <a:gd name="connsiteX34" fmla="*/ 500137 w 1028050"/>
                  <a:gd name="connsiteY34" fmla="*/ 223837 h 314325"/>
                  <a:gd name="connsiteX35" fmla="*/ 543000 w 1028050"/>
                  <a:gd name="connsiteY35" fmla="*/ 138112 h 314325"/>
                  <a:gd name="connsiteX36" fmla="*/ 562050 w 1028050"/>
                  <a:gd name="connsiteY36" fmla="*/ 104775 h 314325"/>
                  <a:gd name="connsiteX37" fmla="*/ 566812 w 1028050"/>
                  <a:gd name="connsiteY37" fmla="*/ 90487 h 314325"/>
                  <a:gd name="connsiteX38" fmla="*/ 581100 w 1028050"/>
                  <a:gd name="connsiteY38" fmla="*/ 80962 h 314325"/>
                  <a:gd name="connsiteX39" fmla="*/ 619894 w 1028050"/>
                  <a:gd name="connsiteY39" fmla="*/ 49227 h 314325"/>
                  <a:gd name="connsiteX40" fmla="*/ 636928 w 1028050"/>
                  <a:gd name="connsiteY40" fmla="*/ 51320 h 314325"/>
                  <a:gd name="connsiteX41" fmla="*/ 648185 w 1028050"/>
                  <a:gd name="connsiteY41" fmla="*/ 295341 h 314325"/>
                  <a:gd name="connsiteX42" fmla="*/ 652537 w 1028050"/>
                  <a:gd name="connsiteY42" fmla="*/ 314325 h 314325"/>
                  <a:gd name="connsiteX43" fmla="*/ 662062 w 1028050"/>
                  <a:gd name="connsiteY43" fmla="*/ 295275 h 314325"/>
                  <a:gd name="connsiteX44" fmla="*/ 676002 w 1028050"/>
                  <a:gd name="connsiteY44" fmla="*/ 257152 h 314325"/>
                  <a:gd name="connsiteX45" fmla="*/ 707827 w 1028050"/>
                  <a:gd name="connsiteY45" fmla="*/ 168290 h 314325"/>
                  <a:gd name="connsiteX46" fmla="*/ 723975 w 1028050"/>
                  <a:gd name="connsiteY46" fmla="*/ 133350 h 314325"/>
                  <a:gd name="connsiteX47" fmla="*/ 728737 w 1028050"/>
                  <a:gd name="connsiteY47" fmla="*/ 166687 h 314325"/>
                  <a:gd name="connsiteX48" fmla="*/ 733500 w 1028050"/>
                  <a:gd name="connsiteY48" fmla="*/ 180975 h 314325"/>
                  <a:gd name="connsiteX49" fmla="*/ 749648 w 1028050"/>
                  <a:gd name="connsiteY49" fmla="*/ 155604 h 314325"/>
                  <a:gd name="connsiteX50" fmla="*/ 775668 w 1028050"/>
                  <a:gd name="connsiteY50" fmla="*/ 131770 h 314325"/>
                  <a:gd name="connsiteX51" fmla="*/ 795412 w 1028050"/>
                  <a:gd name="connsiteY51" fmla="*/ 85725 h 314325"/>
                  <a:gd name="connsiteX52" fmla="*/ 804937 w 1028050"/>
                  <a:gd name="connsiteY52" fmla="*/ 114300 h 314325"/>
                  <a:gd name="connsiteX53" fmla="*/ 819225 w 1028050"/>
                  <a:gd name="connsiteY53" fmla="*/ 185737 h 314325"/>
                  <a:gd name="connsiteX54" fmla="*/ 840135 w 1028050"/>
                  <a:gd name="connsiteY54" fmla="*/ 180975 h 314325"/>
                  <a:gd name="connsiteX55" fmla="*/ 857325 w 1028050"/>
                  <a:gd name="connsiteY55" fmla="*/ 138112 h 314325"/>
                  <a:gd name="connsiteX56" fmla="*/ 881137 w 1028050"/>
                  <a:gd name="connsiteY56" fmla="*/ 76200 h 314325"/>
                  <a:gd name="connsiteX57" fmla="*/ 885900 w 1028050"/>
                  <a:gd name="connsiteY57" fmla="*/ 52387 h 314325"/>
                  <a:gd name="connsiteX58" fmla="*/ 900187 w 1028050"/>
                  <a:gd name="connsiteY58" fmla="*/ 38100 h 314325"/>
                  <a:gd name="connsiteX59" fmla="*/ 904950 w 1028050"/>
                  <a:gd name="connsiteY59" fmla="*/ 14287 h 314325"/>
                  <a:gd name="connsiteX60" fmla="*/ 909712 w 1028050"/>
                  <a:gd name="connsiteY60" fmla="*/ 0 h 314325"/>
                  <a:gd name="connsiteX61" fmla="*/ 914475 w 1028050"/>
                  <a:gd name="connsiteY61" fmla="*/ 14287 h 314325"/>
                  <a:gd name="connsiteX62" fmla="*/ 919237 w 1028050"/>
                  <a:gd name="connsiteY62" fmla="*/ 71437 h 314325"/>
                  <a:gd name="connsiteX63" fmla="*/ 928762 w 1028050"/>
                  <a:gd name="connsiteY63" fmla="*/ 100012 h 314325"/>
                  <a:gd name="connsiteX64" fmla="*/ 952575 w 1028050"/>
                  <a:gd name="connsiteY64" fmla="*/ 161925 h 314325"/>
                  <a:gd name="connsiteX65" fmla="*/ 957337 w 1028050"/>
                  <a:gd name="connsiteY65" fmla="*/ 180975 h 314325"/>
                  <a:gd name="connsiteX66" fmla="*/ 962100 w 1028050"/>
                  <a:gd name="connsiteY66" fmla="*/ 214312 h 314325"/>
                  <a:gd name="connsiteX67" fmla="*/ 981150 w 1028050"/>
                  <a:gd name="connsiteY67" fmla="*/ 242887 h 314325"/>
                  <a:gd name="connsiteX68" fmla="*/ 990808 w 1028050"/>
                  <a:gd name="connsiteY68" fmla="*/ 268171 h 314325"/>
                  <a:gd name="connsiteX69" fmla="*/ 1028050 w 1028050"/>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85790 w 1023241"/>
                  <a:gd name="connsiteY68" fmla="*/ 263450 h 314325"/>
                  <a:gd name="connsiteX69" fmla="*/ 990808 w 1023241"/>
                  <a:gd name="connsiteY69" fmla="*/ 268171 h 314325"/>
                  <a:gd name="connsiteX70" fmla="*/ 1023241 w 1023241"/>
                  <a:gd name="connsiteY70"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0808 w 1023241"/>
                  <a:gd name="connsiteY68" fmla="*/ 268171 h 314325"/>
                  <a:gd name="connsiteX69" fmla="*/ 1023241 w 1023241"/>
                  <a:gd name="connsiteY69" fmla="*/ 263841 h 314325"/>
                  <a:gd name="connsiteX0" fmla="*/ 0 w 1023241"/>
                  <a:gd name="connsiteY0" fmla="*/ 281023 h 314325"/>
                  <a:gd name="connsiteX1" fmla="*/ 31921 w 1023241"/>
                  <a:gd name="connsiteY1" fmla="*/ 274654 h 314325"/>
                  <a:gd name="connsiteX2" fmla="*/ 49395 w 1023241"/>
                  <a:gd name="connsiteY2" fmla="*/ 228600 h 314325"/>
                  <a:gd name="connsiteX3" fmla="*/ 66750 w 1023241"/>
                  <a:gd name="connsiteY3" fmla="*/ 180975 h 314325"/>
                  <a:gd name="connsiteX4" fmla="*/ 76275 w 1023241"/>
                  <a:gd name="connsiteY4" fmla="*/ 166687 h 314325"/>
                  <a:gd name="connsiteX5" fmla="*/ 95325 w 1023241"/>
                  <a:gd name="connsiteY5" fmla="*/ 114300 h 314325"/>
                  <a:gd name="connsiteX6" fmla="*/ 104850 w 1023241"/>
                  <a:gd name="connsiteY6" fmla="*/ 100012 h 314325"/>
                  <a:gd name="connsiteX7" fmla="*/ 123900 w 1023241"/>
                  <a:gd name="connsiteY7" fmla="*/ 57150 h 314325"/>
                  <a:gd name="connsiteX8" fmla="*/ 128662 w 1023241"/>
                  <a:gd name="connsiteY8" fmla="*/ 42862 h 314325"/>
                  <a:gd name="connsiteX9" fmla="*/ 138187 w 1023241"/>
                  <a:gd name="connsiteY9" fmla="*/ 4762 h 314325"/>
                  <a:gd name="connsiteX10" fmla="*/ 147712 w 1023241"/>
                  <a:gd name="connsiteY10" fmla="*/ 100012 h 314325"/>
                  <a:gd name="connsiteX11" fmla="*/ 157237 w 1023241"/>
                  <a:gd name="connsiteY11" fmla="*/ 152400 h 314325"/>
                  <a:gd name="connsiteX12" fmla="*/ 162000 w 1023241"/>
                  <a:gd name="connsiteY12" fmla="*/ 228600 h 314325"/>
                  <a:gd name="connsiteX13" fmla="*/ 174489 w 1023241"/>
                  <a:gd name="connsiteY13" fmla="*/ 268258 h 314325"/>
                  <a:gd name="connsiteX14" fmla="*/ 202370 w 1023241"/>
                  <a:gd name="connsiteY14" fmla="*/ 255572 h 314325"/>
                  <a:gd name="connsiteX15" fmla="*/ 232681 w 1023241"/>
                  <a:gd name="connsiteY15" fmla="*/ 201561 h 314325"/>
                  <a:gd name="connsiteX16" fmla="*/ 252487 w 1023241"/>
                  <a:gd name="connsiteY16" fmla="*/ 171450 h 314325"/>
                  <a:gd name="connsiteX17" fmla="*/ 271537 w 1023241"/>
                  <a:gd name="connsiteY17" fmla="*/ 142875 h 314325"/>
                  <a:gd name="connsiteX18" fmla="*/ 304875 w 1023241"/>
                  <a:gd name="connsiteY18" fmla="*/ 71437 h 314325"/>
                  <a:gd name="connsiteX19" fmla="*/ 315850 w 1023241"/>
                  <a:gd name="connsiteY19" fmla="*/ 36631 h 314325"/>
                  <a:gd name="connsiteX20" fmla="*/ 322821 w 1023241"/>
                  <a:gd name="connsiteY20" fmla="*/ 88841 h 314325"/>
                  <a:gd name="connsiteX21" fmla="*/ 327931 w 1023241"/>
                  <a:gd name="connsiteY21" fmla="*/ 147637 h 314325"/>
                  <a:gd name="connsiteX22" fmla="*/ 338212 w 1023241"/>
                  <a:gd name="connsiteY22" fmla="*/ 171450 h 314325"/>
                  <a:gd name="connsiteX23" fmla="*/ 349598 w 1023241"/>
                  <a:gd name="connsiteY23" fmla="*/ 261916 h 314325"/>
                  <a:gd name="connsiteX24" fmla="*/ 357262 w 1023241"/>
                  <a:gd name="connsiteY24" fmla="*/ 247650 h 314325"/>
                  <a:gd name="connsiteX25" fmla="*/ 370856 w 1023241"/>
                  <a:gd name="connsiteY25" fmla="*/ 231782 h 314325"/>
                  <a:gd name="connsiteX26" fmla="*/ 395362 w 1023241"/>
                  <a:gd name="connsiteY26" fmla="*/ 180975 h 314325"/>
                  <a:gd name="connsiteX27" fmla="*/ 409650 w 1023241"/>
                  <a:gd name="connsiteY27" fmla="*/ 171450 h 314325"/>
                  <a:gd name="connsiteX28" fmla="*/ 419175 w 1023241"/>
                  <a:gd name="connsiteY28" fmla="*/ 157162 h 314325"/>
                  <a:gd name="connsiteX29" fmla="*/ 428700 w 1023241"/>
                  <a:gd name="connsiteY29" fmla="*/ 180975 h 314325"/>
                  <a:gd name="connsiteX30" fmla="*/ 438225 w 1023241"/>
                  <a:gd name="connsiteY30" fmla="*/ 209550 h 314325"/>
                  <a:gd name="connsiteX31" fmla="*/ 448506 w 1023241"/>
                  <a:gd name="connsiteY31" fmla="*/ 252390 h 314325"/>
                  <a:gd name="connsiteX32" fmla="*/ 476325 w 1023241"/>
                  <a:gd name="connsiteY32" fmla="*/ 233362 h 314325"/>
                  <a:gd name="connsiteX33" fmla="*/ 490612 w 1023241"/>
                  <a:gd name="connsiteY33" fmla="*/ 233362 h 314325"/>
                  <a:gd name="connsiteX34" fmla="*/ 500137 w 1023241"/>
                  <a:gd name="connsiteY34" fmla="*/ 223837 h 314325"/>
                  <a:gd name="connsiteX35" fmla="*/ 543000 w 1023241"/>
                  <a:gd name="connsiteY35" fmla="*/ 138112 h 314325"/>
                  <a:gd name="connsiteX36" fmla="*/ 562050 w 1023241"/>
                  <a:gd name="connsiteY36" fmla="*/ 104775 h 314325"/>
                  <a:gd name="connsiteX37" fmla="*/ 566812 w 1023241"/>
                  <a:gd name="connsiteY37" fmla="*/ 90487 h 314325"/>
                  <a:gd name="connsiteX38" fmla="*/ 581100 w 1023241"/>
                  <a:gd name="connsiteY38" fmla="*/ 80962 h 314325"/>
                  <a:gd name="connsiteX39" fmla="*/ 619894 w 1023241"/>
                  <a:gd name="connsiteY39" fmla="*/ 49227 h 314325"/>
                  <a:gd name="connsiteX40" fmla="*/ 636928 w 1023241"/>
                  <a:gd name="connsiteY40" fmla="*/ 51320 h 314325"/>
                  <a:gd name="connsiteX41" fmla="*/ 648185 w 1023241"/>
                  <a:gd name="connsiteY41" fmla="*/ 295341 h 314325"/>
                  <a:gd name="connsiteX42" fmla="*/ 652537 w 1023241"/>
                  <a:gd name="connsiteY42" fmla="*/ 314325 h 314325"/>
                  <a:gd name="connsiteX43" fmla="*/ 662062 w 1023241"/>
                  <a:gd name="connsiteY43" fmla="*/ 295275 h 314325"/>
                  <a:gd name="connsiteX44" fmla="*/ 676002 w 1023241"/>
                  <a:gd name="connsiteY44" fmla="*/ 257152 h 314325"/>
                  <a:gd name="connsiteX45" fmla="*/ 707827 w 1023241"/>
                  <a:gd name="connsiteY45" fmla="*/ 168290 h 314325"/>
                  <a:gd name="connsiteX46" fmla="*/ 723975 w 1023241"/>
                  <a:gd name="connsiteY46" fmla="*/ 133350 h 314325"/>
                  <a:gd name="connsiteX47" fmla="*/ 728737 w 1023241"/>
                  <a:gd name="connsiteY47" fmla="*/ 166687 h 314325"/>
                  <a:gd name="connsiteX48" fmla="*/ 733500 w 1023241"/>
                  <a:gd name="connsiteY48" fmla="*/ 180975 h 314325"/>
                  <a:gd name="connsiteX49" fmla="*/ 749648 w 1023241"/>
                  <a:gd name="connsiteY49" fmla="*/ 155604 h 314325"/>
                  <a:gd name="connsiteX50" fmla="*/ 775668 w 1023241"/>
                  <a:gd name="connsiteY50" fmla="*/ 131770 h 314325"/>
                  <a:gd name="connsiteX51" fmla="*/ 795412 w 1023241"/>
                  <a:gd name="connsiteY51" fmla="*/ 85725 h 314325"/>
                  <a:gd name="connsiteX52" fmla="*/ 804937 w 1023241"/>
                  <a:gd name="connsiteY52" fmla="*/ 114300 h 314325"/>
                  <a:gd name="connsiteX53" fmla="*/ 819225 w 1023241"/>
                  <a:gd name="connsiteY53" fmla="*/ 185737 h 314325"/>
                  <a:gd name="connsiteX54" fmla="*/ 840135 w 1023241"/>
                  <a:gd name="connsiteY54" fmla="*/ 180975 h 314325"/>
                  <a:gd name="connsiteX55" fmla="*/ 857325 w 1023241"/>
                  <a:gd name="connsiteY55" fmla="*/ 138112 h 314325"/>
                  <a:gd name="connsiteX56" fmla="*/ 881137 w 1023241"/>
                  <a:gd name="connsiteY56" fmla="*/ 76200 h 314325"/>
                  <a:gd name="connsiteX57" fmla="*/ 885900 w 1023241"/>
                  <a:gd name="connsiteY57" fmla="*/ 52387 h 314325"/>
                  <a:gd name="connsiteX58" fmla="*/ 900187 w 1023241"/>
                  <a:gd name="connsiteY58" fmla="*/ 38100 h 314325"/>
                  <a:gd name="connsiteX59" fmla="*/ 904950 w 1023241"/>
                  <a:gd name="connsiteY59" fmla="*/ 14287 h 314325"/>
                  <a:gd name="connsiteX60" fmla="*/ 909712 w 1023241"/>
                  <a:gd name="connsiteY60" fmla="*/ 0 h 314325"/>
                  <a:gd name="connsiteX61" fmla="*/ 914475 w 1023241"/>
                  <a:gd name="connsiteY61" fmla="*/ 14287 h 314325"/>
                  <a:gd name="connsiteX62" fmla="*/ 919237 w 1023241"/>
                  <a:gd name="connsiteY62" fmla="*/ 71437 h 314325"/>
                  <a:gd name="connsiteX63" fmla="*/ 928762 w 1023241"/>
                  <a:gd name="connsiteY63" fmla="*/ 100012 h 314325"/>
                  <a:gd name="connsiteX64" fmla="*/ 952575 w 1023241"/>
                  <a:gd name="connsiteY64" fmla="*/ 161925 h 314325"/>
                  <a:gd name="connsiteX65" fmla="*/ 957337 w 1023241"/>
                  <a:gd name="connsiteY65" fmla="*/ 180975 h 314325"/>
                  <a:gd name="connsiteX66" fmla="*/ 962100 w 1023241"/>
                  <a:gd name="connsiteY66" fmla="*/ 214312 h 314325"/>
                  <a:gd name="connsiteX67" fmla="*/ 981150 w 1023241"/>
                  <a:gd name="connsiteY67" fmla="*/ 242887 h 314325"/>
                  <a:gd name="connsiteX68" fmla="*/ 991342 w 1023241"/>
                  <a:gd name="connsiteY68" fmla="*/ 265734 h 314325"/>
                  <a:gd name="connsiteX69" fmla="*/ 1023241 w 1023241"/>
                  <a:gd name="connsiteY69" fmla="*/ 263841 h 314325"/>
                  <a:gd name="connsiteX0" fmla="*/ 0 w 1020035"/>
                  <a:gd name="connsiteY0" fmla="*/ 281023 h 314325"/>
                  <a:gd name="connsiteX1" fmla="*/ 31921 w 1020035"/>
                  <a:gd name="connsiteY1" fmla="*/ 274654 h 314325"/>
                  <a:gd name="connsiteX2" fmla="*/ 49395 w 1020035"/>
                  <a:gd name="connsiteY2" fmla="*/ 228600 h 314325"/>
                  <a:gd name="connsiteX3" fmla="*/ 66750 w 1020035"/>
                  <a:gd name="connsiteY3" fmla="*/ 180975 h 314325"/>
                  <a:gd name="connsiteX4" fmla="*/ 76275 w 1020035"/>
                  <a:gd name="connsiteY4" fmla="*/ 166687 h 314325"/>
                  <a:gd name="connsiteX5" fmla="*/ 95325 w 1020035"/>
                  <a:gd name="connsiteY5" fmla="*/ 114300 h 314325"/>
                  <a:gd name="connsiteX6" fmla="*/ 104850 w 1020035"/>
                  <a:gd name="connsiteY6" fmla="*/ 100012 h 314325"/>
                  <a:gd name="connsiteX7" fmla="*/ 123900 w 1020035"/>
                  <a:gd name="connsiteY7" fmla="*/ 57150 h 314325"/>
                  <a:gd name="connsiteX8" fmla="*/ 128662 w 1020035"/>
                  <a:gd name="connsiteY8" fmla="*/ 42862 h 314325"/>
                  <a:gd name="connsiteX9" fmla="*/ 138187 w 1020035"/>
                  <a:gd name="connsiteY9" fmla="*/ 4762 h 314325"/>
                  <a:gd name="connsiteX10" fmla="*/ 147712 w 1020035"/>
                  <a:gd name="connsiteY10" fmla="*/ 100012 h 314325"/>
                  <a:gd name="connsiteX11" fmla="*/ 157237 w 1020035"/>
                  <a:gd name="connsiteY11" fmla="*/ 152400 h 314325"/>
                  <a:gd name="connsiteX12" fmla="*/ 162000 w 1020035"/>
                  <a:gd name="connsiteY12" fmla="*/ 228600 h 314325"/>
                  <a:gd name="connsiteX13" fmla="*/ 174489 w 1020035"/>
                  <a:gd name="connsiteY13" fmla="*/ 268258 h 314325"/>
                  <a:gd name="connsiteX14" fmla="*/ 202370 w 1020035"/>
                  <a:gd name="connsiteY14" fmla="*/ 255572 h 314325"/>
                  <a:gd name="connsiteX15" fmla="*/ 232681 w 1020035"/>
                  <a:gd name="connsiteY15" fmla="*/ 201561 h 314325"/>
                  <a:gd name="connsiteX16" fmla="*/ 252487 w 1020035"/>
                  <a:gd name="connsiteY16" fmla="*/ 171450 h 314325"/>
                  <a:gd name="connsiteX17" fmla="*/ 271537 w 1020035"/>
                  <a:gd name="connsiteY17" fmla="*/ 142875 h 314325"/>
                  <a:gd name="connsiteX18" fmla="*/ 304875 w 1020035"/>
                  <a:gd name="connsiteY18" fmla="*/ 71437 h 314325"/>
                  <a:gd name="connsiteX19" fmla="*/ 315850 w 1020035"/>
                  <a:gd name="connsiteY19" fmla="*/ 36631 h 314325"/>
                  <a:gd name="connsiteX20" fmla="*/ 322821 w 1020035"/>
                  <a:gd name="connsiteY20" fmla="*/ 88841 h 314325"/>
                  <a:gd name="connsiteX21" fmla="*/ 327931 w 1020035"/>
                  <a:gd name="connsiteY21" fmla="*/ 147637 h 314325"/>
                  <a:gd name="connsiteX22" fmla="*/ 338212 w 1020035"/>
                  <a:gd name="connsiteY22" fmla="*/ 171450 h 314325"/>
                  <a:gd name="connsiteX23" fmla="*/ 349598 w 1020035"/>
                  <a:gd name="connsiteY23" fmla="*/ 261916 h 314325"/>
                  <a:gd name="connsiteX24" fmla="*/ 357262 w 1020035"/>
                  <a:gd name="connsiteY24" fmla="*/ 247650 h 314325"/>
                  <a:gd name="connsiteX25" fmla="*/ 370856 w 1020035"/>
                  <a:gd name="connsiteY25" fmla="*/ 231782 h 314325"/>
                  <a:gd name="connsiteX26" fmla="*/ 395362 w 1020035"/>
                  <a:gd name="connsiteY26" fmla="*/ 180975 h 314325"/>
                  <a:gd name="connsiteX27" fmla="*/ 409650 w 1020035"/>
                  <a:gd name="connsiteY27" fmla="*/ 171450 h 314325"/>
                  <a:gd name="connsiteX28" fmla="*/ 419175 w 1020035"/>
                  <a:gd name="connsiteY28" fmla="*/ 157162 h 314325"/>
                  <a:gd name="connsiteX29" fmla="*/ 428700 w 1020035"/>
                  <a:gd name="connsiteY29" fmla="*/ 180975 h 314325"/>
                  <a:gd name="connsiteX30" fmla="*/ 438225 w 1020035"/>
                  <a:gd name="connsiteY30" fmla="*/ 209550 h 314325"/>
                  <a:gd name="connsiteX31" fmla="*/ 448506 w 1020035"/>
                  <a:gd name="connsiteY31" fmla="*/ 252390 h 314325"/>
                  <a:gd name="connsiteX32" fmla="*/ 476325 w 1020035"/>
                  <a:gd name="connsiteY32" fmla="*/ 233362 h 314325"/>
                  <a:gd name="connsiteX33" fmla="*/ 490612 w 1020035"/>
                  <a:gd name="connsiteY33" fmla="*/ 233362 h 314325"/>
                  <a:gd name="connsiteX34" fmla="*/ 500137 w 1020035"/>
                  <a:gd name="connsiteY34" fmla="*/ 223837 h 314325"/>
                  <a:gd name="connsiteX35" fmla="*/ 543000 w 1020035"/>
                  <a:gd name="connsiteY35" fmla="*/ 138112 h 314325"/>
                  <a:gd name="connsiteX36" fmla="*/ 562050 w 1020035"/>
                  <a:gd name="connsiteY36" fmla="*/ 104775 h 314325"/>
                  <a:gd name="connsiteX37" fmla="*/ 566812 w 1020035"/>
                  <a:gd name="connsiteY37" fmla="*/ 90487 h 314325"/>
                  <a:gd name="connsiteX38" fmla="*/ 581100 w 1020035"/>
                  <a:gd name="connsiteY38" fmla="*/ 80962 h 314325"/>
                  <a:gd name="connsiteX39" fmla="*/ 619894 w 1020035"/>
                  <a:gd name="connsiteY39" fmla="*/ 49227 h 314325"/>
                  <a:gd name="connsiteX40" fmla="*/ 636928 w 1020035"/>
                  <a:gd name="connsiteY40" fmla="*/ 51320 h 314325"/>
                  <a:gd name="connsiteX41" fmla="*/ 648185 w 1020035"/>
                  <a:gd name="connsiteY41" fmla="*/ 295341 h 314325"/>
                  <a:gd name="connsiteX42" fmla="*/ 652537 w 1020035"/>
                  <a:gd name="connsiteY42" fmla="*/ 314325 h 314325"/>
                  <a:gd name="connsiteX43" fmla="*/ 662062 w 1020035"/>
                  <a:gd name="connsiteY43" fmla="*/ 295275 h 314325"/>
                  <a:gd name="connsiteX44" fmla="*/ 676002 w 1020035"/>
                  <a:gd name="connsiteY44" fmla="*/ 257152 h 314325"/>
                  <a:gd name="connsiteX45" fmla="*/ 707827 w 1020035"/>
                  <a:gd name="connsiteY45" fmla="*/ 168290 h 314325"/>
                  <a:gd name="connsiteX46" fmla="*/ 723975 w 1020035"/>
                  <a:gd name="connsiteY46" fmla="*/ 133350 h 314325"/>
                  <a:gd name="connsiteX47" fmla="*/ 728737 w 1020035"/>
                  <a:gd name="connsiteY47" fmla="*/ 166687 h 314325"/>
                  <a:gd name="connsiteX48" fmla="*/ 733500 w 1020035"/>
                  <a:gd name="connsiteY48" fmla="*/ 180975 h 314325"/>
                  <a:gd name="connsiteX49" fmla="*/ 749648 w 1020035"/>
                  <a:gd name="connsiteY49" fmla="*/ 155604 h 314325"/>
                  <a:gd name="connsiteX50" fmla="*/ 775668 w 1020035"/>
                  <a:gd name="connsiteY50" fmla="*/ 131770 h 314325"/>
                  <a:gd name="connsiteX51" fmla="*/ 795412 w 1020035"/>
                  <a:gd name="connsiteY51" fmla="*/ 85725 h 314325"/>
                  <a:gd name="connsiteX52" fmla="*/ 804937 w 1020035"/>
                  <a:gd name="connsiteY52" fmla="*/ 114300 h 314325"/>
                  <a:gd name="connsiteX53" fmla="*/ 819225 w 1020035"/>
                  <a:gd name="connsiteY53" fmla="*/ 185737 h 314325"/>
                  <a:gd name="connsiteX54" fmla="*/ 840135 w 1020035"/>
                  <a:gd name="connsiteY54" fmla="*/ 180975 h 314325"/>
                  <a:gd name="connsiteX55" fmla="*/ 857325 w 1020035"/>
                  <a:gd name="connsiteY55" fmla="*/ 138112 h 314325"/>
                  <a:gd name="connsiteX56" fmla="*/ 881137 w 1020035"/>
                  <a:gd name="connsiteY56" fmla="*/ 76200 h 314325"/>
                  <a:gd name="connsiteX57" fmla="*/ 885900 w 1020035"/>
                  <a:gd name="connsiteY57" fmla="*/ 52387 h 314325"/>
                  <a:gd name="connsiteX58" fmla="*/ 900187 w 1020035"/>
                  <a:gd name="connsiteY58" fmla="*/ 38100 h 314325"/>
                  <a:gd name="connsiteX59" fmla="*/ 904950 w 1020035"/>
                  <a:gd name="connsiteY59" fmla="*/ 14287 h 314325"/>
                  <a:gd name="connsiteX60" fmla="*/ 909712 w 1020035"/>
                  <a:gd name="connsiteY60" fmla="*/ 0 h 314325"/>
                  <a:gd name="connsiteX61" fmla="*/ 914475 w 1020035"/>
                  <a:gd name="connsiteY61" fmla="*/ 14287 h 314325"/>
                  <a:gd name="connsiteX62" fmla="*/ 919237 w 1020035"/>
                  <a:gd name="connsiteY62" fmla="*/ 71437 h 314325"/>
                  <a:gd name="connsiteX63" fmla="*/ 928762 w 1020035"/>
                  <a:gd name="connsiteY63" fmla="*/ 100012 h 314325"/>
                  <a:gd name="connsiteX64" fmla="*/ 952575 w 1020035"/>
                  <a:gd name="connsiteY64" fmla="*/ 161925 h 314325"/>
                  <a:gd name="connsiteX65" fmla="*/ 957337 w 1020035"/>
                  <a:gd name="connsiteY65" fmla="*/ 180975 h 314325"/>
                  <a:gd name="connsiteX66" fmla="*/ 962100 w 1020035"/>
                  <a:gd name="connsiteY66" fmla="*/ 214312 h 314325"/>
                  <a:gd name="connsiteX67" fmla="*/ 981150 w 1020035"/>
                  <a:gd name="connsiteY67" fmla="*/ 242887 h 314325"/>
                  <a:gd name="connsiteX68" fmla="*/ 991342 w 1020035"/>
                  <a:gd name="connsiteY68" fmla="*/ 265734 h 314325"/>
                  <a:gd name="connsiteX69" fmla="*/ 1020035 w 1020035"/>
                  <a:gd name="connsiteY69" fmla="*/ 263841 h 314325"/>
                  <a:gd name="connsiteX0" fmla="*/ 0 w 1025378"/>
                  <a:gd name="connsiteY0" fmla="*/ 281023 h 314325"/>
                  <a:gd name="connsiteX1" fmla="*/ 31921 w 1025378"/>
                  <a:gd name="connsiteY1" fmla="*/ 274654 h 314325"/>
                  <a:gd name="connsiteX2" fmla="*/ 49395 w 1025378"/>
                  <a:gd name="connsiteY2" fmla="*/ 228600 h 314325"/>
                  <a:gd name="connsiteX3" fmla="*/ 66750 w 1025378"/>
                  <a:gd name="connsiteY3" fmla="*/ 180975 h 314325"/>
                  <a:gd name="connsiteX4" fmla="*/ 76275 w 1025378"/>
                  <a:gd name="connsiteY4" fmla="*/ 166687 h 314325"/>
                  <a:gd name="connsiteX5" fmla="*/ 95325 w 1025378"/>
                  <a:gd name="connsiteY5" fmla="*/ 114300 h 314325"/>
                  <a:gd name="connsiteX6" fmla="*/ 104850 w 1025378"/>
                  <a:gd name="connsiteY6" fmla="*/ 100012 h 314325"/>
                  <a:gd name="connsiteX7" fmla="*/ 123900 w 1025378"/>
                  <a:gd name="connsiteY7" fmla="*/ 57150 h 314325"/>
                  <a:gd name="connsiteX8" fmla="*/ 128662 w 1025378"/>
                  <a:gd name="connsiteY8" fmla="*/ 42862 h 314325"/>
                  <a:gd name="connsiteX9" fmla="*/ 138187 w 1025378"/>
                  <a:gd name="connsiteY9" fmla="*/ 4762 h 314325"/>
                  <a:gd name="connsiteX10" fmla="*/ 147712 w 1025378"/>
                  <a:gd name="connsiteY10" fmla="*/ 100012 h 314325"/>
                  <a:gd name="connsiteX11" fmla="*/ 157237 w 1025378"/>
                  <a:gd name="connsiteY11" fmla="*/ 152400 h 314325"/>
                  <a:gd name="connsiteX12" fmla="*/ 162000 w 1025378"/>
                  <a:gd name="connsiteY12" fmla="*/ 228600 h 314325"/>
                  <a:gd name="connsiteX13" fmla="*/ 174489 w 1025378"/>
                  <a:gd name="connsiteY13" fmla="*/ 268258 h 314325"/>
                  <a:gd name="connsiteX14" fmla="*/ 202370 w 1025378"/>
                  <a:gd name="connsiteY14" fmla="*/ 255572 h 314325"/>
                  <a:gd name="connsiteX15" fmla="*/ 232681 w 1025378"/>
                  <a:gd name="connsiteY15" fmla="*/ 201561 h 314325"/>
                  <a:gd name="connsiteX16" fmla="*/ 252487 w 1025378"/>
                  <a:gd name="connsiteY16" fmla="*/ 171450 h 314325"/>
                  <a:gd name="connsiteX17" fmla="*/ 271537 w 1025378"/>
                  <a:gd name="connsiteY17" fmla="*/ 142875 h 314325"/>
                  <a:gd name="connsiteX18" fmla="*/ 304875 w 1025378"/>
                  <a:gd name="connsiteY18" fmla="*/ 71437 h 314325"/>
                  <a:gd name="connsiteX19" fmla="*/ 315850 w 1025378"/>
                  <a:gd name="connsiteY19" fmla="*/ 36631 h 314325"/>
                  <a:gd name="connsiteX20" fmla="*/ 322821 w 1025378"/>
                  <a:gd name="connsiteY20" fmla="*/ 88841 h 314325"/>
                  <a:gd name="connsiteX21" fmla="*/ 327931 w 1025378"/>
                  <a:gd name="connsiteY21" fmla="*/ 147637 h 314325"/>
                  <a:gd name="connsiteX22" fmla="*/ 338212 w 1025378"/>
                  <a:gd name="connsiteY22" fmla="*/ 171450 h 314325"/>
                  <a:gd name="connsiteX23" fmla="*/ 349598 w 1025378"/>
                  <a:gd name="connsiteY23" fmla="*/ 261916 h 314325"/>
                  <a:gd name="connsiteX24" fmla="*/ 357262 w 1025378"/>
                  <a:gd name="connsiteY24" fmla="*/ 247650 h 314325"/>
                  <a:gd name="connsiteX25" fmla="*/ 370856 w 1025378"/>
                  <a:gd name="connsiteY25" fmla="*/ 231782 h 314325"/>
                  <a:gd name="connsiteX26" fmla="*/ 395362 w 1025378"/>
                  <a:gd name="connsiteY26" fmla="*/ 180975 h 314325"/>
                  <a:gd name="connsiteX27" fmla="*/ 409650 w 1025378"/>
                  <a:gd name="connsiteY27" fmla="*/ 171450 h 314325"/>
                  <a:gd name="connsiteX28" fmla="*/ 419175 w 1025378"/>
                  <a:gd name="connsiteY28" fmla="*/ 157162 h 314325"/>
                  <a:gd name="connsiteX29" fmla="*/ 428700 w 1025378"/>
                  <a:gd name="connsiteY29" fmla="*/ 180975 h 314325"/>
                  <a:gd name="connsiteX30" fmla="*/ 438225 w 1025378"/>
                  <a:gd name="connsiteY30" fmla="*/ 209550 h 314325"/>
                  <a:gd name="connsiteX31" fmla="*/ 448506 w 1025378"/>
                  <a:gd name="connsiteY31" fmla="*/ 252390 h 314325"/>
                  <a:gd name="connsiteX32" fmla="*/ 476325 w 1025378"/>
                  <a:gd name="connsiteY32" fmla="*/ 233362 h 314325"/>
                  <a:gd name="connsiteX33" fmla="*/ 490612 w 1025378"/>
                  <a:gd name="connsiteY33" fmla="*/ 233362 h 314325"/>
                  <a:gd name="connsiteX34" fmla="*/ 500137 w 1025378"/>
                  <a:gd name="connsiteY34" fmla="*/ 223837 h 314325"/>
                  <a:gd name="connsiteX35" fmla="*/ 543000 w 1025378"/>
                  <a:gd name="connsiteY35" fmla="*/ 138112 h 314325"/>
                  <a:gd name="connsiteX36" fmla="*/ 562050 w 1025378"/>
                  <a:gd name="connsiteY36" fmla="*/ 104775 h 314325"/>
                  <a:gd name="connsiteX37" fmla="*/ 566812 w 1025378"/>
                  <a:gd name="connsiteY37" fmla="*/ 90487 h 314325"/>
                  <a:gd name="connsiteX38" fmla="*/ 581100 w 1025378"/>
                  <a:gd name="connsiteY38" fmla="*/ 80962 h 314325"/>
                  <a:gd name="connsiteX39" fmla="*/ 619894 w 1025378"/>
                  <a:gd name="connsiteY39" fmla="*/ 49227 h 314325"/>
                  <a:gd name="connsiteX40" fmla="*/ 636928 w 1025378"/>
                  <a:gd name="connsiteY40" fmla="*/ 51320 h 314325"/>
                  <a:gd name="connsiteX41" fmla="*/ 648185 w 1025378"/>
                  <a:gd name="connsiteY41" fmla="*/ 295341 h 314325"/>
                  <a:gd name="connsiteX42" fmla="*/ 652537 w 1025378"/>
                  <a:gd name="connsiteY42" fmla="*/ 314325 h 314325"/>
                  <a:gd name="connsiteX43" fmla="*/ 662062 w 1025378"/>
                  <a:gd name="connsiteY43" fmla="*/ 295275 h 314325"/>
                  <a:gd name="connsiteX44" fmla="*/ 676002 w 1025378"/>
                  <a:gd name="connsiteY44" fmla="*/ 257152 h 314325"/>
                  <a:gd name="connsiteX45" fmla="*/ 707827 w 1025378"/>
                  <a:gd name="connsiteY45" fmla="*/ 168290 h 314325"/>
                  <a:gd name="connsiteX46" fmla="*/ 723975 w 1025378"/>
                  <a:gd name="connsiteY46" fmla="*/ 133350 h 314325"/>
                  <a:gd name="connsiteX47" fmla="*/ 728737 w 1025378"/>
                  <a:gd name="connsiteY47" fmla="*/ 166687 h 314325"/>
                  <a:gd name="connsiteX48" fmla="*/ 733500 w 1025378"/>
                  <a:gd name="connsiteY48" fmla="*/ 180975 h 314325"/>
                  <a:gd name="connsiteX49" fmla="*/ 749648 w 1025378"/>
                  <a:gd name="connsiteY49" fmla="*/ 155604 h 314325"/>
                  <a:gd name="connsiteX50" fmla="*/ 775668 w 1025378"/>
                  <a:gd name="connsiteY50" fmla="*/ 131770 h 314325"/>
                  <a:gd name="connsiteX51" fmla="*/ 795412 w 1025378"/>
                  <a:gd name="connsiteY51" fmla="*/ 85725 h 314325"/>
                  <a:gd name="connsiteX52" fmla="*/ 804937 w 1025378"/>
                  <a:gd name="connsiteY52" fmla="*/ 114300 h 314325"/>
                  <a:gd name="connsiteX53" fmla="*/ 819225 w 1025378"/>
                  <a:gd name="connsiteY53" fmla="*/ 185737 h 314325"/>
                  <a:gd name="connsiteX54" fmla="*/ 840135 w 1025378"/>
                  <a:gd name="connsiteY54" fmla="*/ 180975 h 314325"/>
                  <a:gd name="connsiteX55" fmla="*/ 857325 w 1025378"/>
                  <a:gd name="connsiteY55" fmla="*/ 138112 h 314325"/>
                  <a:gd name="connsiteX56" fmla="*/ 881137 w 1025378"/>
                  <a:gd name="connsiteY56" fmla="*/ 76200 h 314325"/>
                  <a:gd name="connsiteX57" fmla="*/ 885900 w 1025378"/>
                  <a:gd name="connsiteY57" fmla="*/ 52387 h 314325"/>
                  <a:gd name="connsiteX58" fmla="*/ 900187 w 1025378"/>
                  <a:gd name="connsiteY58" fmla="*/ 38100 h 314325"/>
                  <a:gd name="connsiteX59" fmla="*/ 904950 w 1025378"/>
                  <a:gd name="connsiteY59" fmla="*/ 14287 h 314325"/>
                  <a:gd name="connsiteX60" fmla="*/ 909712 w 1025378"/>
                  <a:gd name="connsiteY60" fmla="*/ 0 h 314325"/>
                  <a:gd name="connsiteX61" fmla="*/ 914475 w 1025378"/>
                  <a:gd name="connsiteY61" fmla="*/ 14287 h 314325"/>
                  <a:gd name="connsiteX62" fmla="*/ 919237 w 1025378"/>
                  <a:gd name="connsiteY62" fmla="*/ 71437 h 314325"/>
                  <a:gd name="connsiteX63" fmla="*/ 928762 w 1025378"/>
                  <a:gd name="connsiteY63" fmla="*/ 100012 h 314325"/>
                  <a:gd name="connsiteX64" fmla="*/ 952575 w 1025378"/>
                  <a:gd name="connsiteY64" fmla="*/ 161925 h 314325"/>
                  <a:gd name="connsiteX65" fmla="*/ 957337 w 1025378"/>
                  <a:gd name="connsiteY65" fmla="*/ 180975 h 314325"/>
                  <a:gd name="connsiteX66" fmla="*/ 962100 w 1025378"/>
                  <a:gd name="connsiteY66" fmla="*/ 214312 h 314325"/>
                  <a:gd name="connsiteX67" fmla="*/ 981150 w 1025378"/>
                  <a:gd name="connsiteY67" fmla="*/ 242887 h 314325"/>
                  <a:gd name="connsiteX68" fmla="*/ 991342 w 1025378"/>
                  <a:gd name="connsiteY68" fmla="*/ 265734 h 314325"/>
                  <a:gd name="connsiteX69" fmla="*/ 1025378 w 1025378"/>
                  <a:gd name="connsiteY69" fmla="*/ 261405 h 314325"/>
                  <a:gd name="connsiteX0" fmla="*/ 0 w 1024844"/>
                  <a:gd name="connsiteY0" fmla="*/ 262751 h 314325"/>
                  <a:gd name="connsiteX1" fmla="*/ 31387 w 1024844"/>
                  <a:gd name="connsiteY1" fmla="*/ 274654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3524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4844"/>
                  <a:gd name="connsiteY0" fmla="*/ 262751 h 314325"/>
                  <a:gd name="connsiteX1" fmla="*/ 34058 w 1024844"/>
                  <a:gd name="connsiteY1" fmla="*/ 257600 h 314325"/>
                  <a:gd name="connsiteX2" fmla="*/ 48861 w 1024844"/>
                  <a:gd name="connsiteY2" fmla="*/ 228600 h 314325"/>
                  <a:gd name="connsiteX3" fmla="*/ 66216 w 1024844"/>
                  <a:gd name="connsiteY3" fmla="*/ 180975 h 314325"/>
                  <a:gd name="connsiteX4" fmla="*/ 75741 w 1024844"/>
                  <a:gd name="connsiteY4" fmla="*/ 166687 h 314325"/>
                  <a:gd name="connsiteX5" fmla="*/ 94791 w 1024844"/>
                  <a:gd name="connsiteY5" fmla="*/ 114300 h 314325"/>
                  <a:gd name="connsiteX6" fmla="*/ 104316 w 1024844"/>
                  <a:gd name="connsiteY6" fmla="*/ 100012 h 314325"/>
                  <a:gd name="connsiteX7" fmla="*/ 123366 w 1024844"/>
                  <a:gd name="connsiteY7" fmla="*/ 57150 h 314325"/>
                  <a:gd name="connsiteX8" fmla="*/ 128128 w 1024844"/>
                  <a:gd name="connsiteY8" fmla="*/ 42862 h 314325"/>
                  <a:gd name="connsiteX9" fmla="*/ 137653 w 1024844"/>
                  <a:gd name="connsiteY9" fmla="*/ 4762 h 314325"/>
                  <a:gd name="connsiteX10" fmla="*/ 147178 w 1024844"/>
                  <a:gd name="connsiteY10" fmla="*/ 100012 h 314325"/>
                  <a:gd name="connsiteX11" fmla="*/ 156703 w 1024844"/>
                  <a:gd name="connsiteY11" fmla="*/ 152400 h 314325"/>
                  <a:gd name="connsiteX12" fmla="*/ 161466 w 1024844"/>
                  <a:gd name="connsiteY12" fmla="*/ 228600 h 314325"/>
                  <a:gd name="connsiteX13" fmla="*/ 173955 w 1024844"/>
                  <a:gd name="connsiteY13" fmla="*/ 268258 h 314325"/>
                  <a:gd name="connsiteX14" fmla="*/ 201836 w 1024844"/>
                  <a:gd name="connsiteY14" fmla="*/ 255572 h 314325"/>
                  <a:gd name="connsiteX15" fmla="*/ 232147 w 1024844"/>
                  <a:gd name="connsiteY15" fmla="*/ 201561 h 314325"/>
                  <a:gd name="connsiteX16" fmla="*/ 251953 w 1024844"/>
                  <a:gd name="connsiteY16" fmla="*/ 171450 h 314325"/>
                  <a:gd name="connsiteX17" fmla="*/ 271003 w 1024844"/>
                  <a:gd name="connsiteY17" fmla="*/ 142875 h 314325"/>
                  <a:gd name="connsiteX18" fmla="*/ 304341 w 1024844"/>
                  <a:gd name="connsiteY18" fmla="*/ 71437 h 314325"/>
                  <a:gd name="connsiteX19" fmla="*/ 315316 w 1024844"/>
                  <a:gd name="connsiteY19" fmla="*/ 36631 h 314325"/>
                  <a:gd name="connsiteX20" fmla="*/ 322287 w 1024844"/>
                  <a:gd name="connsiteY20" fmla="*/ 88841 h 314325"/>
                  <a:gd name="connsiteX21" fmla="*/ 327397 w 1024844"/>
                  <a:gd name="connsiteY21" fmla="*/ 147637 h 314325"/>
                  <a:gd name="connsiteX22" fmla="*/ 337678 w 1024844"/>
                  <a:gd name="connsiteY22" fmla="*/ 171450 h 314325"/>
                  <a:gd name="connsiteX23" fmla="*/ 349064 w 1024844"/>
                  <a:gd name="connsiteY23" fmla="*/ 261916 h 314325"/>
                  <a:gd name="connsiteX24" fmla="*/ 356728 w 1024844"/>
                  <a:gd name="connsiteY24" fmla="*/ 247650 h 314325"/>
                  <a:gd name="connsiteX25" fmla="*/ 370322 w 1024844"/>
                  <a:gd name="connsiteY25" fmla="*/ 231782 h 314325"/>
                  <a:gd name="connsiteX26" fmla="*/ 394828 w 1024844"/>
                  <a:gd name="connsiteY26" fmla="*/ 180975 h 314325"/>
                  <a:gd name="connsiteX27" fmla="*/ 409116 w 1024844"/>
                  <a:gd name="connsiteY27" fmla="*/ 171450 h 314325"/>
                  <a:gd name="connsiteX28" fmla="*/ 418641 w 1024844"/>
                  <a:gd name="connsiteY28" fmla="*/ 157162 h 314325"/>
                  <a:gd name="connsiteX29" fmla="*/ 428166 w 1024844"/>
                  <a:gd name="connsiteY29" fmla="*/ 180975 h 314325"/>
                  <a:gd name="connsiteX30" fmla="*/ 437691 w 1024844"/>
                  <a:gd name="connsiteY30" fmla="*/ 209550 h 314325"/>
                  <a:gd name="connsiteX31" fmla="*/ 447972 w 1024844"/>
                  <a:gd name="connsiteY31" fmla="*/ 252390 h 314325"/>
                  <a:gd name="connsiteX32" fmla="*/ 475791 w 1024844"/>
                  <a:gd name="connsiteY32" fmla="*/ 233362 h 314325"/>
                  <a:gd name="connsiteX33" fmla="*/ 490078 w 1024844"/>
                  <a:gd name="connsiteY33" fmla="*/ 233362 h 314325"/>
                  <a:gd name="connsiteX34" fmla="*/ 499603 w 1024844"/>
                  <a:gd name="connsiteY34" fmla="*/ 223837 h 314325"/>
                  <a:gd name="connsiteX35" fmla="*/ 542466 w 1024844"/>
                  <a:gd name="connsiteY35" fmla="*/ 138112 h 314325"/>
                  <a:gd name="connsiteX36" fmla="*/ 561516 w 1024844"/>
                  <a:gd name="connsiteY36" fmla="*/ 104775 h 314325"/>
                  <a:gd name="connsiteX37" fmla="*/ 566278 w 1024844"/>
                  <a:gd name="connsiteY37" fmla="*/ 90487 h 314325"/>
                  <a:gd name="connsiteX38" fmla="*/ 580566 w 1024844"/>
                  <a:gd name="connsiteY38" fmla="*/ 80962 h 314325"/>
                  <a:gd name="connsiteX39" fmla="*/ 619360 w 1024844"/>
                  <a:gd name="connsiteY39" fmla="*/ 49227 h 314325"/>
                  <a:gd name="connsiteX40" fmla="*/ 636394 w 1024844"/>
                  <a:gd name="connsiteY40" fmla="*/ 51320 h 314325"/>
                  <a:gd name="connsiteX41" fmla="*/ 647651 w 1024844"/>
                  <a:gd name="connsiteY41" fmla="*/ 295341 h 314325"/>
                  <a:gd name="connsiteX42" fmla="*/ 652003 w 1024844"/>
                  <a:gd name="connsiteY42" fmla="*/ 314325 h 314325"/>
                  <a:gd name="connsiteX43" fmla="*/ 661528 w 1024844"/>
                  <a:gd name="connsiteY43" fmla="*/ 295275 h 314325"/>
                  <a:gd name="connsiteX44" fmla="*/ 675468 w 1024844"/>
                  <a:gd name="connsiteY44" fmla="*/ 257152 h 314325"/>
                  <a:gd name="connsiteX45" fmla="*/ 707293 w 1024844"/>
                  <a:gd name="connsiteY45" fmla="*/ 168290 h 314325"/>
                  <a:gd name="connsiteX46" fmla="*/ 723441 w 1024844"/>
                  <a:gd name="connsiteY46" fmla="*/ 133350 h 314325"/>
                  <a:gd name="connsiteX47" fmla="*/ 728203 w 1024844"/>
                  <a:gd name="connsiteY47" fmla="*/ 166687 h 314325"/>
                  <a:gd name="connsiteX48" fmla="*/ 732966 w 1024844"/>
                  <a:gd name="connsiteY48" fmla="*/ 180975 h 314325"/>
                  <a:gd name="connsiteX49" fmla="*/ 749114 w 1024844"/>
                  <a:gd name="connsiteY49" fmla="*/ 155604 h 314325"/>
                  <a:gd name="connsiteX50" fmla="*/ 775134 w 1024844"/>
                  <a:gd name="connsiteY50" fmla="*/ 131770 h 314325"/>
                  <a:gd name="connsiteX51" fmla="*/ 794878 w 1024844"/>
                  <a:gd name="connsiteY51" fmla="*/ 85725 h 314325"/>
                  <a:gd name="connsiteX52" fmla="*/ 804403 w 1024844"/>
                  <a:gd name="connsiteY52" fmla="*/ 114300 h 314325"/>
                  <a:gd name="connsiteX53" fmla="*/ 818691 w 1024844"/>
                  <a:gd name="connsiteY53" fmla="*/ 185737 h 314325"/>
                  <a:gd name="connsiteX54" fmla="*/ 839601 w 1024844"/>
                  <a:gd name="connsiteY54" fmla="*/ 180975 h 314325"/>
                  <a:gd name="connsiteX55" fmla="*/ 856791 w 1024844"/>
                  <a:gd name="connsiteY55" fmla="*/ 138112 h 314325"/>
                  <a:gd name="connsiteX56" fmla="*/ 880603 w 1024844"/>
                  <a:gd name="connsiteY56" fmla="*/ 76200 h 314325"/>
                  <a:gd name="connsiteX57" fmla="*/ 885366 w 1024844"/>
                  <a:gd name="connsiteY57" fmla="*/ 52387 h 314325"/>
                  <a:gd name="connsiteX58" fmla="*/ 899653 w 1024844"/>
                  <a:gd name="connsiteY58" fmla="*/ 38100 h 314325"/>
                  <a:gd name="connsiteX59" fmla="*/ 904416 w 1024844"/>
                  <a:gd name="connsiteY59" fmla="*/ 14287 h 314325"/>
                  <a:gd name="connsiteX60" fmla="*/ 909178 w 1024844"/>
                  <a:gd name="connsiteY60" fmla="*/ 0 h 314325"/>
                  <a:gd name="connsiteX61" fmla="*/ 913941 w 1024844"/>
                  <a:gd name="connsiteY61" fmla="*/ 14287 h 314325"/>
                  <a:gd name="connsiteX62" fmla="*/ 918703 w 1024844"/>
                  <a:gd name="connsiteY62" fmla="*/ 71437 h 314325"/>
                  <a:gd name="connsiteX63" fmla="*/ 928228 w 1024844"/>
                  <a:gd name="connsiteY63" fmla="*/ 100012 h 314325"/>
                  <a:gd name="connsiteX64" fmla="*/ 952041 w 1024844"/>
                  <a:gd name="connsiteY64" fmla="*/ 161925 h 314325"/>
                  <a:gd name="connsiteX65" fmla="*/ 956803 w 1024844"/>
                  <a:gd name="connsiteY65" fmla="*/ 180975 h 314325"/>
                  <a:gd name="connsiteX66" fmla="*/ 961566 w 1024844"/>
                  <a:gd name="connsiteY66" fmla="*/ 214312 h 314325"/>
                  <a:gd name="connsiteX67" fmla="*/ 980616 w 1024844"/>
                  <a:gd name="connsiteY67" fmla="*/ 242887 h 314325"/>
                  <a:gd name="connsiteX68" fmla="*/ 990808 w 1024844"/>
                  <a:gd name="connsiteY68" fmla="*/ 265734 h 314325"/>
                  <a:gd name="connsiteX69" fmla="*/ 1024844 w 1024844"/>
                  <a:gd name="connsiteY69" fmla="*/ 261405 h 314325"/>
                  <a:gd name="connsiteX0" fmla="*/ 0 w 1023775"/>
                  <a:gd name="connsiteY0" fmla="*/ 260314 h 314325"/>
                  <a:gd name="connsiteX1" fmla="*/ 32989 w 1023775"/>
                  <a:gd name="connsiteY1" fmla="*/ 257600 h 314325"/>
                  <a:gd name="connsiteX2" fmla="*/ 47792 w 1023775"/>
                  <a:gd name="connsiteY2" fmla="*/ 228600 h 314325"/>
                  <a:gd name="connsiteX3" fmla="*/ 65147 w 1023775"/>
                  <a:gd name="connsiteY3" fmla="*/ 180975 h 314325"/>
                  <a:gd name="connsiteX4" fmla="*/ 74672 w 1023775"/>
                  <a:gd name="connsiteY4" fmla="*/ 166687 h 314325"/>
                  <a:gd name="connsiteX5" fmla="*/ 93722 w 1023775"/>
                  <a:gd name="connsiteY5" fmla="*/ 114300 h 314325"/>
                  <a:gd name="connsiteX6" fmla="*/ 103247 w 1023775"/>
                  <a:gd name="connsiteY6" fmla="*/ 100012 h 314325"/>
                  <a:gd name="connsiteX7" fmla="*/ 122297 w 1023775"/>
                  <a:gd name="connsiteY7" fmla="*/ 57150 h 314325"/>
                  <a:gd name="connsiteX8" fmla="*/ 127059 w 1023775"/>
                  <a:gd name="connsiteY8" fmla="*/ 42862 h 314325"/>
                  <a:gd name="connsiteX9" fmla="*/ 136584 w 1023775"/>
                  <a:gd name="connsiteY9" fmla="*/ 4762 h 314325"/>
                  <a:gd name="connsiteX10" fmla="*/ 146109 w 1023775"/>
                  <a:gd name="connsiteY10" fmla="*/ 100012 h 314325"/>
                  <a:gd name="connsiteX11" fmla="*/ 155634 w 1023775"/>
                  <a:gd name="connsiteY11" fmla="*/ 152400 h 314325"/>
                  <a:gd name="connsiteX12" fmla="*/ 160397 w 1023775"/>
                  <a:gd name="connsiteY12" fmla="*/ 228600 h 314325"/>
                  <a:gd name="connsiteX13" fmla="*/ 172886 w 1023775"/>
                  <a:gd name="connsiteY13" fmla="*/ 268258 h 314325"/>
                  <a:gd name="connsiteX14" fmla="*/ 200767 w 1023775"/>
                  <a:gd name="connsiteY14" fmla="*/ 255572 h 314325"/>
                  <a:gd name="connsiteX15" fmla="*/ 231078 w 1023775"/>
                  <a:gd name="connsiteY15" fmla="*/ 201561 h 314325"/>
                  <a:gd name="connsiteX16" fmla="*/ 250884 w 1023775"/>
                  <a:gd name="connsiteY16" fmla="*/ 171450 h 314325"/>
                  <a:gd name="connsiteX17" fmla="*/ 269934 w 1023775"/>
                  <a:gd name="connsiteY17" fmla="*/ 142875 h 314325"/>
                  <a:gd name="connsiteX18" fmla="*/ 303272 w 1023775"/>
                  <a:gd name="connsiteY18" fmla="*/ 71437 h 314325"/>
                  <a:gd name="connsiteX19" fmla="*/ 314247 w 1023775"/>
                  <a:gd name="connsiteY19" fmla="*/ 36631 h 314325"/>
                  <a:gd name="connsiteX20" fmla="*/ 321218 w 1023775"/>
                  <a:gd name="connsiteY20" fmla="*/ 88841 h 314325"/>
                  <a:gd name="connsiteX21" fmla="*/ 326328 w 1023775"/>
                  <a:gd name="connsiteY21" fmla="*/ 147637 h 314325"/>
                  <a:gd name="connsiteX22" fmla="*/ 336609 w 1023775"/>
                  <a:gd name="connsiteY22" fmla="*/ 171450 h 314325"/>
                  <a:gd name="connsiteX23" fmla="*/ 347995 w 1023775"/>
                  <a:gd name="connsiteY23" fmla="*/ 261916 h 314325"/>
                  <a:gd name="connsiteX24" fmla="*/ 355659 w 1023775"/>
                  <a:gd name="connsiteY24" fmla="*/ 247650 h 314325"/>
                  <a:gd name="connsiteX25" fmla="*/ 369253 w 1023775"/>
                  <a:gd name="connsiteY25" fmla="*/ 231782 h 314325"/>
                  <a:gd name="connsiteX26" fmla="*/ 393759 w 1023775"/>
                  <a:gd name="connsiteY26" fmla="*/ 180975 h 314325"/>
                  <a:gd name="connsiteX27" fmla="*/ 408047 w 1023775"/>
                  <a:gd name="connsiteY27" fmla="*/ 171450 h 314325"/>
                  <a:gd name="connsiteX28" fmla="*/ 417572 w 1023775"/>
                  <a:gd name="connsiteY28" fmla="*/ 157162 h 314325"/>
                  <a:gd name="connsiteX29" fmla="*/ 427097 w 1023775"/>
                  <a:gd name="connsiteY29" fmla="*/ 180975 h 314325"/>
                  <a:gd name="connsiteX30" fmla="*/ 436622 w 1023775"/>
                  <a:gd name="connsiteY30" fmla="*/ 209550 h 314325"/>
                  <a:gd name="connsiteX31" fmla="*/ 446903 w 1023775"/>
                  <a:gd name="connsiteY31" fmla="*/ 252390 h 314325"/>
                  <a:gd name="connsiteX32" fmla="*/ 474722 w 1023775"/>
                  <a:gd name="connsiteY32" fmla="*/ 233362 h 314325"/>
                  <a:gd name="connsiteX33" fmla="*/ 489009 w 1023775"/>
                  <a:gd name="connsiteY33" fmla="*/ 233362 h 314325"/>
                  <a:gd name="connsiteX34" fmla="*/ 498534 w 1023775"/>
                  <a:gd name="connsiteY34" fmla="*/ 223837 h 314325"/>
                  <a:gd name="connsiteX35" fmla="*/ 541397 w 1023775"/>
                  <a:gd name="connsiteY35" fmla="*/ 138112 h 314325"/>
                  <a:gd name="connsiteX36" fmla="*/ 560447 w 1023775"/>
                  <a:gd name="connsiteY36" fmla="*/ 104775 h 314325"/>
                  <a:gd name="connsiteX37" fmla="*/ 565209 w 1023775"/>
                  <a:gd name="connsiteY37" fmla="*/ 90487 h 314325"/>
                  <a:gd name="connsiteX38" fmla="*/ 579497 w 1023775"/>
                  <a:gd name="connsiteY38" fmla="*/ 80962 h 314325"/>
                  <a:gd name="connsiteX39" fmla="*/ 618291 w 1023775"/>
                  <a:gd name="connsiteY39" fmla="*/ 49227 h 314325"/>
                  <a:gd name="connsiteX40" fmla="*/ 635325 w 1023775"/>
                  <a:gd name="connsiteY40" fmla="*/ 51320 h 314325"/>
                  <a:gd name="connsiteX41" fmla="*/ 646582 w 1023775"/>
                  <a:gd name="connsiteY41" fmla="*/ 295341 h 314325"/>
                  <a:gd name="connsiteX42" fmla="*/ 650934 w 1023775"/>
                  <a:gd name="connsiteY42" fmla="*/ 314325 h 314325"/>
                  <a:gd name="connsiteX43" fmla="*/ 660459 w 1023775"/>
                  <a:gd name="connsiteY43" fmla="*/ 295275 h 314325"/>
                  <a:gd name="connsiteX44" fmla="*/ 674399 w 1023775"/>
                  <a:gd name="connsiteY44" fmla="*/ 257152 h 314325"/>
                  <a:gd name="connsiteX45" fmla="*/ 706224 w 1023775"/>
                  <a:gd name="connsiteY45" fmla="*/ 168290 h 314325"/>
                  <a:gd name="connsiteX46" fmla="*/ 722372 w 1023775"/>
                  <a:gd name="connsiteY46" fmla="*/ 133350 h 314325"/>
                  <a:gd name="connsiteX47" fmla="*/ 727134 w 1023775"/>
                  <a:gd name="connsiteY47" fmla="*/ 166687 h 314325"/>
                  <a:gd name="connsiteX48" fmla="*/ 731897 w 1023775"/>
                  <a:gd name="connsiteY48" fmla="*/ 180975 h 314325"/>
                  <a:gd name="connsiteX49" fmla="*/ 748045 w 1023775"/>
                  <a:gd name="connsiteY49" fmla="*/ 155604 h 314325"/>
                  <a:gd name="connsiteX50" fmla="*/ 774065 w 1023775"/>
                  <a:gd name="connsiteY50" fmla="*/ 131770 h 314325"/>
                  <a:gd name="connsiteX51" fmla="*/ 793809 w 1023775"/>
                  <a:gd name="connsiteY51" fmla="*/ 85725 h 314325"/>
                  <a:gd name="connsiteX52" fmla="*/ 803334 w 1023775"/>
                  <a:gd name="connsiteY52" fmla="*/ 114300 h 314325"/>
                  <a:gd name="connsiteX53" fmla="*/ 817622 w 1023775"/>
                  <a:gd name="connsiteY53" fmla="*/ 185737 h 314325"/>
                  <a:gd name="connsiteX54" fmla="*/ 838532 w 1023775"/>
                  <a:gd name="connsiteY54" fmla="*/ 180975 h 314325"/>
                  <a:gd name="connsiteX55" fmla="*/ 855722 w 1023775"/>
                  <a:gd name="connsiteY55" fmla="*/ 138112 h 314325"/>
                  <a:gd name="connsiteX56" fmla="*/ 879534 w 1023775"/>
                  <a:gd name="connsiteY56" fmla="*/ 76200 h 314325"/>
                  <a:gd name="connsiteX57" fmla="*/ 884297 w 1023775"/>
                  <a:gd name="connsiteY57" fmla="*/ 52387 h 314325"/>
                  <a:gd name="connsiteX58" fmla="*/ 898584 w 1023775"/>
                  <a:gd name="connsiteY58" fmla="*/ 38100 h 314325"/>
                  <a:gd name="connsiteX59" fmla="*/ 903347 w 1023775"/>
                  <a:gd name="connsiteY59" fmla="*/ 14287 h 314325"/>
                  <a:gd name="connsiteX60" fmla="*/ 908109 w 1023775"/>
                  <a:gd name="connsiteY60" fmla="*/ 0 h 314325"/>
                  <a:gd name="connsiteX61" fmla="*/ 912872 w 1023775"/>
                  <a:gd name="connsiteY61" fmla="*/ 14287 h 314325"/>
                  <a:gd name="connsiteX62" fmla="*/ 917634 w 1023775"/>
                  <a:gd name="connsiteY62" fmla="*/ 71437 h 314325"/>
                  <a:gd name="connsiteX63" fmla="*/ 927159 w 1023775"/>
                  <a:gd name="connsiteY63" fmla="*/ 100012 h 314325"/>
                  <a:gd name="connsiteX64" fmla="*/ 950972 w 1023775"/>
                  <a:gd name="connsiteY64" fmla="*/ 161925 h 314325"/>
                  <a:gd name="connsiteX65" fmla="*/ 955734 w 1023775"/>
                  <a:gd name="connsiteY65" fmla="*/ 180975 h 314325"/>
                  <a:gd name="connsiteX66" fmla="*/ 960497 w 1023775"/>
                  <a:gd name="connsiteY66" fmla="*/ 214312 h 314325"/>
                  <a:gd name="connsiteX67" fmla="*/ 979547 w 1023775"/>
                  <a:gd name="connsiteY67" fmla="*/ 242887 h 314325"/>
                  <a:gd name="connsiteX68" fmla="*/ 989739 w 1023775"/>
                  <a:gd name="connsiteY68" fmla="*/ 265734 h 314325"/>
                  <a:gd name="connsiteX69" fmla="*/ 1023775 w 1023775"/>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4309"/>
                  <a:gd name="connsiteY0" fmla="*/ 262750 h 314325"/>
                  <a:gd name="connsiteX1" fmla="*/ 33523 w 1024309"/>
                  <a:gd name="connsiteY1" fmla="*/ 257600 h 314325"/>
                  <a:gd name="connsiteX2" fmla="*/ 48326 w 1024309"/>
                  <a:gd name="connsiteY2" fmla="*/ 228600 h 314325"/>
                  <a:gd name="connsiteX3" fmla="*/ 65681 w 1024309"/>
                  <a:gd name="connsiteY3" fmla="*/ 180975 h 314325"/>
                  <a:gd name="connsiteX4" fmla="*/ 75206 w 1024309"/>
                  <a:gd name="connsiteY4" fmla="*/ 166687 h 314325"/>
                  <a:gd name="connsiteX5" fmla="*/ 94256 w 1024309"/>
                  <a:gd name="connsiteY5" fmla="*/ 114300 h 314325"/>
                  <a:gd name="connsiteX6" fmla="*/ 103781 w 1024309"/>
                  <a:gd name="connsiteY6" fmla="*/ 100012 h 314325"/>
                  <a:gd name="connsiteX7" fmla="*/ 122831 w 1024309"/>
                  <a:gd name="connsiteY7" fmla="*/ 57150 h 314325"/>
                  <a:gd name="connsiteX8" fmla="*/ 127593 w 1024309"/>
                  <a:gd name="connsiteY8" fmla="*/ 42862 h 314325"/>
                  <a:gd name="connsiteX9" fmla="*/ 137118 w 1024309"/>
                  <a:gd name="connsiteY9" fmla="*/ 4762 h 314325"/>
                  <a:gd name="connsiteX10" fmla="*/ 146643 w 1024309"/>
                  <a:gd name="connsiteY10" fmla="*/ 100012 h 314325"/>
                  <a:gd name="connsiteX11" fmla="*/ 156168 w 1024309"/>
                  <a:gd name="connsiteY11" fmla="*/ 152400 h 314325"/>
                  <a:gd name="connsiteX12" fmla="*/ 160931 w 1024309"/>
                  <a:gd name="connsiteY12" fmla="*/ 228600 h 314325"/>
                  <a:gd name="connsiteX13" fmla="*/ 173420 w 1024309"/>
                  <a:gd name="connsiteY13" fmla="*/ 268258 h 314325"/>
                  <a:gd name="connsiteX14" fmla="*/ 201301 w 1024309"/>
                  <a:gd name="connsiteY14" fmla="*/ 255572 h 314325"/>
                  <a:gd name="connsiteX15" fmla="*/ 231612 w 1024309"/>
                  <a:gd name="connsiteY15" fmla="*/ 201561 h 314325"/>
                  <a:gd name="connsiteX16" fmla="*/ 251418 w 1024309"/>
                  <a:gd name="connsiteY16" fmla="*/ 171450 h 314325"/>
                  <a:gd name="connsiteX17" fmla="*/ 270468 w 1024309"/>
                  <a:gd name="connsiteY17" fmla="*/ 142875 h 314325"/>
                  <a:gd name="connsiteX18" fmla="*/ 303806 w 1024309"/>
                  <a:gd name="connsiteY18" fmla="*/ 71437 h 314325"/>
                  <a:gd name="connsiteX19" fmla="*/ 314781 w 1024309"/>
                  <a:gd name="connsiteY19" fmla="*/ 36631 h 314325"/>
                  <a:gd name="connsiteX20" fmla="*/ 321752 w 1024309"/>
                  <a:gd name="connsiteY20" fmla="*/ 88841 h 314325"/>
                  <a:gd name="connsiteX21" fmla="*/ 326862 w 1024309"/>
                  <a:gd name="connsiteY21" fmla="*/ 147637 h 314325"/>
                  <a:gd name="connsiteX22" fmla="*/ 337143 w 1024309"/>
                  <a:gd name="connsiteY22" fmla="*/ 171450 h 314325"/>
                  <a:gd name="connsiteX23" fmla="*/ 348529 w 1024309"/>
                  <a:gd name="connsiteY23" fmla="*/ 261916 h 314325"/>
                  <a:gd name="connsiteX24" fmla="*/ 356193 w 1024309"/>
                  <a:gd name="connsiteY24" fmla="*/ 247650 h 314325"/>
                  <a:gd name="connsiteX25" fmla="*/ 369787 w 1024309"/>
                  <a:gd name="connsiteY25" fmla="*/ 231782 h 314325"/>
                  <a:gd name="connsiteX26" fmla="*/ 394293 w 1024309"/>
                  <a:gd name="connsiteY26" fmla="*/ 180975 h 314325"/>
                  <a:gd name="connsiteX27" fmla="*/ 408581 w 1024309"/>
                  <a:gd name="connsiteY27" fmla="*/ 171450 h 314325"/>
                  <a:gd name="connsiteX28" fmla="*/ 418106 w 1024309"/>
                  <a:gd name="connsiteY28" fmla="*/ 157162 h 314325"/>
                  <a:gd name="connsiteX29" fmla="*/ 427631 w 1024309"/>
                  <a:gd name="connsiteY29" fmla="*/ 180975 h 314325"/>
                  <a:gd name="connsiteX30" fmla="*/ 437156 w 1024309"/>
                  <a:gd name="connsiteY30" fmla="*/ 209550 h 314325"/>
                  <a:gd name="connsiteX31" fmla="*/ 447437 w 1024309"/>
                  <a:gd name="connsiteY31" fmla="*/ 252390 h 314325"/>
                  <a:gd name="connsiteX32" fmla="*/ 475256 w 1024309"/>
                  <a:gd name="connsiteY32" fmla="*/ 233362 h 314325"/>
                  <a:gd name="connsiteX33" fmla="*/ 489543 w 1024309"/>
                  <a:gd name="connsiteY33" fmla="*/ 233362 h 314325"/>
                  <a:gd name="connsiteX34" fmla="*/ 499068 w 1024309"/>
                  <a:gd name="connsiteY34" fmla="*/ 223837 h 314325"/>
                  <a:gd name="connsiteX35" fmla="*/ 541931 w 1024309"/>
                  <a:gd name="connsiteY35" fmla="*/ 138112 h 314325"/>
                  <a:gd name="connsiteX36" fmla="*/ 560981 w 1024309"/>
                  <a:gd name="connsiteY36" fmla="*/ 104775 h 314325"/>
                  <a:gd name="connsiteX37" fmla="*/ 565743 w 1024309"/>
                  <a:gd name="connsiteY37" fmla="*/ 90487 h 314325"/>
                  <a:gd name="connsiteX38" fmla="*/ 580031 w 1024309"/>
                  <a:gd name="connsiteY38" fmla="*/ 80962 h 314325"/>
                  <a:gd name="connsiteX39" fmla="*/ 618825 w 1024309"/>
                  <a:gd name="connsiteY39" fmla="*/ 49227 h 314325"/>
                  <a:gd name="connsiteX40" fmla="*/ 635859 w 1024309"/>
                  <a:gd name="connsiteY40" fmla="*/ 51320 h 314325"/>
                  <a:gd name="connsiteX41" fmla="*/ 647116 w 1024309"/>
                  <a:gd name="connsiteY41" fmla="*/ 295341 h 314325"/>
                  <a:gd name="connsiteX42" fmla="*/ 651468 w 1024309"/>
                  <a:gd name="connsiteY42" fmla="*/ 314325 h 314325"/>
                  <a:gd name="connsiteX43" fmla="*/ 660993 w 1024309"/>
                  <a:gd name="connsiteY43" fmla="*/ 295275 h 314325"/>
                  <a:gd name="connsiteX44" fmla="*/ 674933 w 1024309"/>
                  <a:gd name="connsiteY44" fmla="*/ 257152 h 314325"/>
                  <a:gd name="connsiteX45" fmla="*/ 706758 w 1024309"/>
                  <a:gd name="connsiteY45" fmla="*/ 168290 h 314325"/>
                  <a:gd name="connsiteX46" fmla="*/ 722906 w 1024309"/>
                  <a:gd name="connsiteY46" fmla="*/ 133350 h 314325"/>
                  <a:gd name="connsiteX47" fmla="*/ 727668 w 1024309"/>
                  <a:gd name="connsiteY47" fmla="*/ 166687 h 314325"/>
                  <a:gd name="connsiteX48" fmla="*/ 732431 w 1024309"/>
                  <a:gd name="connsiteY48" fmla="*/ 180975 h 314325"/>
                  <a:gd name="connsiteX49" fmla="*/ 748579 w 1024309"/>
                  <a:gd name="connsiteY49" fmla="*/ 155604 h 314325"/>
                  <a:gd name="connsiteX50" fmla="*/ 774599 w 1024309"/>
                  <a:gd name="connsiteY50" fmla="*/ 131770 h 314325"/>
                  <a:gd name="connsiteX51" fmla="*/ 794343 w 1024309"/>
                  <a:gd name="connsiteY51" fmla="*/ 85725 h 314325"/>
                  <a:gd name="connsiteX52" fmla="*/ 803868 w 1024309"/>
                  <a:gd name="connsiteY52" fmla="*/ 114300 h 314325"/>
                  <a:gd name="connsiteX53" fmla="*/ 818156 w 1024309"/>
                  <a:gd name="connsiteY53" fmla="*/ 185737 h 314325"/>
                  <a:gd name="connsiteX54" fmla="*/ 839066 w 1024309"/>
                  <a:gd name="connsiteY54" fmla="*/ 180975 h 314325"/>
                  <a:gd name="connsiteX55" fmla="*/ 856256 w 1024309"/>
                  <a:gd name="connsiteY55" fmla="*/ 138112 h 314325"/>
                  <a:gd name="connsiteX56" fmla="*/ 880068 w 1024309"/>
                  <a:gd name="connsiteY56" fmla="*/ 76200 h 314325"/>
                  <a:gd name="connsiteX57" fmla="*/ 884831 w 1024309"/>
                  <a:gd name="connsiteY57" fmla="*/ 52387 h 314325"/>
                  <a:gd name="connsiteX58" fmla="*/ 899118 w 1024309"/>
                  <a:gd name="connsiteY58" fmla="*/ 38100 h 314325"/>
                  <a:gd name="connsiteX59" fmla="*/ 903881 w 1024309"/>
                  <a:gd name="connsiteY59" fmla="*/ 14287 h 314325"/>
                  <a:gd name="connsiteX60" fmla="*/ 908643 w 1024309"/>
                  <a:gd name="connsiteY60" fmla="*/ 0 h 314325"/>
                  <a:gd name="connsiteX61" fmla="*/ 913406 w 1024309"/>
                  <a:gd name="connsiteY61" fmla="*/ 14287 h 314325"/>
                  <a:gd name="connsiteX62" fmla="*/ 918168 w 1024309"/>
                  <a:gd name="connsiteY62" fmla="*/ 71437 h 314325"/>
                  <a:gd name="connsiteX63" fmla="*/ 927693 w 1024309"/>
                  <a:gd name="connsiteY63" fmla="*/ 100012 h 314325"/>
                  <a:gd name="connsiteX64" fmla="*/ 951506 w 1024309"/>
                  <a:gd name="connsiteY64" fmla="*/ 161925 h 314325"/>
                  <a:gd name="connsiteX65" fmla="*/ 956268 w 1024309"/>
                  <a:gd name="connsiteY65" fmla="*/ 180975 h 314325"/>
                  <a:gd name="connsiteX66" fmla="*/ 961031 w 1024309"/>
                  <a:gd name="connsiteY66" fmla="*/ 214312 h 314325"/>
                  <a:gd name="connsiteX67" fmla="*/ 980081 w 1024309"/>
                  <a:gd name="connsiteY67" fmla="*/ 242887 h 314325"/>
                  <a:gd name="connsiteX68" fmla="*/ 990273 w 1024309"/>
                  <a:gd name="connsiteY68" fmla="*/ 265734 h 314325"/>
                  <a:gd name="connsiteX69" fmla="*/ 1024309 w 1024309"/>
                  <a:gd name="connsiteY69" fmla="*/ 261405 h 314325"/>
                  <a:gd name="connsiteX0" fmla="*/ 0 w 1021637"/>
                  <a:gd name="connsiteY0" fmla="*/ 262750 h 314325"/>
                  <a:gd name="connsiteX1" fmla="*/ 33523 w 1021637"/>
                  <a:gd name="connsiteY1" fmla="*/ 257600 h 314325"/>
                  <a:gd name="connsiteX2" fmla="*/ 48326 w 1021637"/>
                  <a:gd name="connsiteY2" fmla="*/ 228600 h 314325"/>
                  <a:gd name="connsiteX3" fmla="*/ 65681 w 1021637"/>
                  <a:gd name="connsiteY3" fmla="*/ 180975 h 314325"/>
                  <a:gd name="connsiteX4" fmla="*/ 75206 w 1021637"/>
                  <a:gd name="connsiteY4" fmla="*/ 166687 h 314325"/>
                  <a:gd name="connsiteX5" fmla="*/ 94256 w 1021637"/>
                  <a:gd name="connsiteY5" fmla="*/ 114300 h 314325"/>
                  <a:gd name="connsiteX6" fmla="*/ 103781 w 1021637"/>
                  <a:gd name="connsiteY6" fmla="*/ 100012 h 314325"/>
                  <a:gd name="connsiteX7" fmla="*/ 122831 w 1021637"/>
                  <a:gd name="connsiteY7" fmla="*/ 57150 h 314325"/>
                  <a:gd name="connsiteX8" fmla="*/ 127593 w 1021637"/>
                  <a:gd name="connsiteY8" fmla="*/ 42862 h 314325"/>
                  <a:gd name="connsiteX9" fmla="*/ 137118 w 1021637"/>
                  <a:gd name="connsiteY9" fmla="*/ 4762 h 314325"/>
                  <a:gd name="connsiteX10" fmla="*/ 146643 w 1021637"/>
                  <a:gd name="connsiteY10" fmla="*/ 100012 h 314325"/>
                  <a:gd name="connsiteX11" fmla="*/ 156168 w 1021637"/>
                  <a:gd name="connsiteY11" fmla="*/ 152400 h 314325"/>
                  <a:gd name="connsiteX12" fmla="*/ 160931 w 1021637"/>
                  <a:gd name="connsiteY12" fmla="*/ 228600 h 314325"/>
                  <a:gd name="connsiteX13" fmla="*/ 173420 w 1021637"/>
                  <a:gd name="connsiteY13" fmla="*/ 268258 h 314325"/>
                  <a:gd name="connsiteX14" fmla="*/ 201301 w 1021637"/>
                  <a:gd name="connsiteY14" fmla="*/ 255572 h 314325"/>
                  <a:gd name="connsiteX15" fmla="*/ 231612 w 1021637"/>
                  <a:gd name="connsiteY15" fmla="*/ 201561 h 314325"/>
                  <a:gd name="connsiteX16" fmla="*/ 251418 w 1021637"/>
                  <a:gd name="connsiteY16" fmla="*/ 171450 h 314325"/>
                  <a:gd name="connsiteX17" fmla="*/ 270468 w 1021637"/>
                  <a:gd name="connsiteY17" fmla="*/ 142875 h 314325"/>
                  <a:gd name="connsiteX18" fmla="*/ 303806 w 1021637"/>
                  <a:gd name="connsiteY18" fmla="*/ 71437 h 314325"/>
                  <a:gd name="connsiteX19" fmla="*/ 314781 w 1021637"/>
                  <a:gd name="connsiteY19" fmla="*/ 36631 h 314325"/>
                  <a:gd name="connsiteX20" fmla="*/ 321752 w 1021637"/>
                  <a:gd name="connsiteY20" fmla="*/ 88841 h 314325"/>
                  <a:gd name="connsiteX21" fmla="*/ 326862 w 1021637"/>
                  <a:gd name="connsiteY21" fmla="*/ 147637 h 314325"/>
                  <a:gd name="connsiteX22" fmla="*/ 337143 w 1021637"/>
                  <a:gd name="connsiteY22" fmla="*/ 171450 h 314325"/>
                  <a:gd name="connsiteX23" fmla="*/ 348529 w 1021637"/>
                  <a:gd name="connsiteY23" fmla="*/ 261916 h 314325"/>
                  <a:gd name="connsiteX24" fmla="*/ 356193 w 1021637"/>
                  <a:gd name="connsiteY24" fmla="*/ 247650 h 314325"/>
                  <a:gd name="connsiteX25" fmla="*/ 369787 w 1021637"/>
                  <a:gd name="connsiteY25" fmla="*/ 231782 h 314325"/>
                  <a:gd name="connsiteX26" fmla="*/ 394293 w 1021637"/>
                  <a:gd name="connsiteY26" fmla="*/ 180975 h 314325"/>
                  <a:gd name="connsiteX27" fmla="*/ 408581 w 1021637"/>
                  <a:gd name="connsiteY27" fmla="*/ 171450 h 314325"/>
                  <a:gd name="connsiteX28" fmla="*/ 418106 w 1021637"/>
                  <a:gd name="connsiteY28" fmla="*/ 157162 h 314325"/>
                  <a:gd name="connsiteX29" fmla="*/ 427631 w 1021637"/>
                  <a:gd name="connsiteY29" fmla="*/ 180975 h 314325"/>
                  <a:gd name="connsiteX30" fmla="*/ 437156 w 1021637"/>
                  <a:gd name="connsiteY30" fmla="*/ 209550 h 314325"/>
                  <a:gd name="connsiteX31" fmla="*/ 447437 w 1021637"/>
                  <a:gd name="connsiteY31" fmla="*/ 252390 h 314325"/>
                  <a:gd name="connsiteX32" fmla="*/ 475256 w 1021637"/>
                  <a:gd name="connsiteY32" fmla="*/ 233362 h 314325"/>
                  <a:gd name="connsiteX33" fmla="*/ 489543 w 1021637"/>
                  <a:gd name="connsiteY33" fmla="*/ 233362 h 314325"/>
                  <a:gd name="connsiteX34" fmla="*/ 499068 w 1021637"/>
                  <a:gd name="connsiteY34" fmla="*/ 223837 h 314325"/>
                  <a:gd name="connsiteX35" fmla="*/ 541931 w 1021637"/>
                  <a:gd name="connsiteY35" fmla="*/ 138112 h 314325"/>
                  <a:gd name="connsiteX36" fmla="*/ 560981 w 1021637"/>
                  <a:gd name="connsiteY36" fmla="*/ 104775 h 314325"/>
                  <a:gd name="connsiteX37" fmla="*/ 565743 w 1021637"/>
                  <a:gd name="connsiteY37" fmla="*/ 90487 h 314325"/>
                  <a:gd name="connsiteX38" fmla="*/ 580031 w 1021637"/>
                  <a:gd name="connsiteY38" fmla="*/ 80962 h 314325"/>
                  <a:gd name="connsiteX39" fmla="*/ 618825 w 1021637"/>
                  <a:gd name="connsiteY39" fmla="*/ 49227 h 314325"/>
                  <a:gd name="connsiteX40" fmla="*/ 635859 w 1021637"/>
                  <a:gd name="connsiteY40" fmla="*/ 51320 h 314325"/>
                  <a:gd name="connsiteX41" fmla="*/ 647116 w 1021637"/>
                  <a:gd name="connsiteY41" fmla="*/ 295341 h 314325"/>
                  <a:gd name="connsiteX42" fmla="*/ 651468 w 1021637"/>
                  <a:gd name="connsiteY42" fmla="*/ 314325 h 314325"/>
                  <a:gd name="connsiteX43" fmla="*/ 660993 w 1021637"/>
                  <a:gd name="connsiteY43" fmla="*/ 295275 h 314325"/>
                  <a:gd name="connsiteX44" fmla="*/ 674933 w 1021637"/>
                  <a:gd name="connsiteY44" fmla="*/ 257152 h 314325"/>
                  <a:gd name="connsiteX45" fmla="*/ 706758 w 1021637"/>
                  <a:gd name="connsiteY45" fmla="*/ 168290 h 314325"/>
                  <a:gd name="connsiteX46" fmla="*/ 722906 w 1021637"/>
                  <a:gd name="connsiteY46" fmla="*/ 133350 h 314325"/>
                  <a:gd name="connsiteX47" fmla="*/ 727668 w 1021637"/>
                  <a:gd name="connsiteY47" fmla="*/ 166687 h 314325"/>
                  <a:gd name="connsiteX48" fmla="*/ 732431 w 1021637"/>
                  <a:gd name="connsiteY48" fmla="*/ 180975 h 314325"/>
                  <a:gd name="connsiteX49" fmla="*/ 748579 w 1021637"/>
                  <a:gd name="connsiteY49" fmla="*/ 155604 h 314325"/>
                  <a:gd name="connsiteX50" fmla="*/ 774599 w 1021637"/>
                  <a:gd name="connsiteY50" fmla="*/ 131770 h 314325"/>
                  <a:gd name="connsiteX51" fmla="*/ 794343 w 1021637"/>
                  <a:gd name="connsiteY51" fmla="*/ 85725 h 314325"/>
                  <a:gd name="connsiteX52" fmla="*/ 803868 w 1021637"/>
                  <a:gd name="connsiteY52" fmla="*/ 114300 h 314325"/>
                  <a:gd name="connsiteX53" fmla="*/ 818156 w 1021637"/>
                  <a:gd name="connsiteY53" fmla="*/ 185737 h 314325"/>
                  <a:gd name="connsiteX54" fmla="*/ 839066 w 1021637"/>
                  <a:gd name="connsiteY54" fmla="*/ 180975 h 314325"/>
                  <a:gd name="connsiteX55" fmla="*/ 856256 w 1021637"/>
                  <a:gd name="connsiteY55" fmla="*/ 138112 h 314325"/>
                  <a:gd name="connsiteX56" fmla="*/ 880068 w 1021637"/>
                  <a:gd name="connsiteY56" fmla="*/ 76200 h 314325"/>
                  <a:gd name="connsiteX57" fmla="*/ 884831 w 1021637"/>
                  <a:gd name="connsiteY57" fmla="*/ 52387 h 314325"/>
                  <a:gd name="connsiteX58" fmla="*/ 899118 w 1021637"/>
                  <a:gd name="connsiteY58" fmla="*/ 38100 h 314325"/>
                  <a:gd name="connsiteX59" fmla="*/ 903881 w 1021637"/>
                  <a:gd name="connsiteY59" fmla="*/ 14287 h 314325"/>
                  <a:gd name="connsiteX60" fmla="*/ 908643 w 1021637"/>
                  <a:gd name="connsiteY60" fmla="*/ 0 h 314325"/>
                  <a:gd name="connsiteX61" fmla="*/ 913406 w 1021637"/>
                  <a:gd name="connsiteY61" fmla="*/ 14287 h 314325"/>
                  <a:gd name="connsiteX62" fmla="*/ 918168 w 1021637"/>
                  <a:gd name="connsiteY62" fmla="*/ 71437 h 314325"/>
                  <a:gd name="connsiteX63" fmla="*/ 927693 w 1021637"/>
                  <a:gd name="connsiteY63" fmla="*/ 100012 h 314325"/>
                  <a:gd name="connsiteX64" fmla="*/ 951506 w 1021637"/>
                  <a:gd name="connsiteY64" fmla="*/ 161925 h 314325"/>
                  <a:gd name="connsiteX65" fmla="*/ 956268 w 1021637"/>
                  <a:gd name="connsiteY65" fmla="*/ 180975 h 314325"/>
                  <a:gd name="connsiteX66" fmla="*/ 961031 w 1021637"/>
                  <a:gd name="connsiteY66" fmla="*/ 214312 h 314325"/>
                  <a:gd name="connsiteX67" fmla="*/ 980081 w 1021637"/>
                  <a:gd name="connsiteY67" fmla="*/ 242887 h 314325"/>
                  <a:gd name="connsiteX68" fmla="*/ 990273 w 1021637"/>
                  <a:gd name="connsiteY68" fmla="*/ 265734 h 314325"/>
                  <a:gd name="connsiteX69" fmla="*/ 1021637 w 1021637"/>
                  <a:gd name="connsiteY69" fmla="*/ 261405 h 314325"/>
                  <a:gd name="connsiteX0" fmla="*/ 0 w 1023774"/>
                  <a:gd name="connsiteY0" fmla="*/ 262750 h 314325"/>
                  <a:gd name="connsiteX1" fmla="*/ 33523 w 1023774"/>
                  <a:gd name="connsiteY1" fmla="*/ 257600 h 314325"/>
                  <a:gd name="connsiteX2" fmla="*/ 48326 w 1023774"/>
                  <a:gd name="connsiteY2" fmla="*/ 228600 h 314325"/>
                  <a:gd name="connsiteX3" fmla="*/ 65681 w 1023774"/>
                  <a:gd name="connsiteY3" fmla="*/ 180975 h 314325"/>
                  <a:gd name="connsiteX4" fmla="*/ 75206 w 1023774"/>
                  <a:gd name="connsiteY4" fmla="*/ 166687 h 314325"/>
                  <a:gd name="connsiteX5" fmla="*/ 94256 w 1023774"/>
                  <a:gd name="connsiteY5" fmla="*/ 114300 h 314325"/>
                  <a:gd name="connsiteX6" fmla="*/ 103781 w 1023774"/>
                  <a:gd name="connsiteY6" fmla="*/ 100012 h 314325"/>
                  <a:gd name="connsiteX7" fmla="*/ 122831 w 1023774"/>
                  <a:gd name="connsiteY7" fmla="*/ 57150 h 314325"/>
                  <a:gd name="connsiteX8" fmla="*/ 127593 w 1023774"/>
                  <a:gd name="connsiteY8" fmla="*/ 42862 h 314325"/>
                  <a:gd name="connsiteX9" fmla="*/ 137118 w 1023774"/>
                  <a:gd name="connsiteY9" fmla="*/ 4762 h 314325"/>
                  <a:gd name="connsiteX10" fmla="*/ 146643 w 1023774"/>
                  <a:gd name="connsiteY10" fmla="*/ 100012 h 314325"/>
                  <a:gd name="connsiteX11" fmla="*/ 156168 w 1023774"/>
                  <a:gd name="connsiteY11" fmla="*/ 152400 h 314325"/>
                  <a:gd name="connsiteX12" fmla="*/ 160931 w 1023774"/>
                  <a:gd name="connsiteY12" fmla="*/ 228600 h 314325"/>
                  <a:gd name="connsiteX13" fmla="*/ 173420 w 1023774"/>
                  <a:gd name="connsiteY13" fmla="*/ 268258 h 314325"/>
                  <a:gd name="connsiteX14" fmla="*/ 201301 w 1023774"/>
                  <a:gd name="connsiteY14" fmla="*/ 255572 h 314325"/>
                  <a:gd name="connsiteX15" fmla="*/ 231612 w 1023774"/>
                  <a:gd name="connsiteY15" fmla="*/ 201561 h 314325"/>
                  <a:gd name="connsiteX16" fmla="*/ 251418 w 1023774"/>
                  <a:gd name="connsiteY16" fmla="*/ 171450 h 314325"/>
                  <a:gd name="connsiteX17" fmla="*/ 270468 w 1023774"/>
                  <a:gd name="connsiteY17" fmla="*/ 142875 h 314325"/>
                  <a:gd name="connsiteX18" fmla="*/ 303806 w 1023774"/>
                  <a:gd name="connsiteY18" fmla="*/ 71437 h 314325"/>
                  <a:gd name="connsiteX19" fmla="*/ 314781 w 1023774"/>
                  <a:gd name="connsiteY19" fmla="*/ 36631 h 314325"/>
                  <a:gd name="connsiteX20" fmla="*/ 321752 w 1023774"/>
                  <a:gd name="connsiteY20" fmla="*/ 88841 h 314325"/>
                  <a:gd name="connsiteX21" fmla="*/ 326862 w 1023774"/>
                  <a:gd name="connsiteY21" fmla="*/ 147637 h 314325"/>
                  <a:gd name="connsiteX22" fmla="*/ 337143 w 1023774"/>
                  <a:gd name="connsiteY22" fmla="*/ 171450 h 314325"/>
                  <a:gd name="connsiteX23" fmla="*/ 348529 w 1023774"/>
                  <a:gd name="connsiteY23" fmla="*/ 261916 h 314325"/>
                  <a:gd name="connsiteX24" fmla="*/ 356193 w 1023774"/>
                  <a:gd name="connsiteY24" fmla="*/ 247650 h 314325"/>
                  <a:gd name="connsiteX25" fmla="*/ 369787 w 1023774"/>
                  <a:gd name="connsiteY25" fmla="*/ 231782 h 314325"/>
                  <a:gd name="connsiteX26" fmla="*/ 394293 w 1023774"/>
                  <a:gd name="connsiteY26" fmla="*/ 180975 h 314325"/>
                  <a:gd name="connsiteX27" fmla="*/ 408581 w 1023774"/>
                  <a:gd name="connsiteY27" fmla="*/ 171450 h 314325"/>
                  <a:gd name="connsiteX28" fmla="*/ 418106 w 1023774"/>
                  <a:gd name="connsiteY28" fmla="*/ 157162 h 314325"/>
                  <a:gd name="connsiteX29" fmla="*/ 427631 w 1023774"/>
                  <a:gd name="connsiteY29" fmla="*/ 180975 h 314325"/>
                  <a:gd name="connsiteX30" fmla="*/ 437156 w 1023774"/>
                  <a:gd name="connsiteY30" fmla="*/ 209550 h 314325"/>
                  <a:gd name="connsiteX31" fmla="*/ 447437 w 1023774"/>
                  <a:gd name="connsiteY31" fmla="*/ 252390 h 314325"/>
                  <a:gd name="connsiteX32" fmla="*/ 475256 w 1023774"/>
                  <a:gd name="connsiteY32" fmla="*/ 233362 h 314325"/>
                  <a:gd name="connsiteX33" fmla="*/ 489543 w 1023774"/>
                  <a:gd name="connsiteY33" fmla="*/ 233362 h 314325"/>
                  <a:gd name="connsiteX34" fmla="*/ 499068 w 1023774"/>
                  <a:gd name="connsiteY34" fmla="*/ 223837 h 314325"/>
                  <a:gd name="connsiteX35" fmla="*/ 541931 w 1023774"/>
                  <a:gd name="connsiteY35" fmla="*/ 138112 h 314325"/>
                  <a:gd name="connsiteX36" fmla="*/ 560981 w 1023774"/>
                  <a:gd name="connsiteY36" fmla="*/ 104775 h 314325"/>
                  <a:gd name="connsiteX37" fmla="*/ 565743 w 1023774"/>
                  <a:gd name="connsiteY37" fmla="*/ 90487 h 314325"/>
                  <a:gd name="connsiteX38" fmla="*/ 580031 w 1023774"/>
                  <a:gd name="connsiteY38" fmla="*/ 80962 h 314325"/>
                  <a:gd name="connsiteX39" fmla="*/ 618825 w 1023774"/>
                  <a:gd name="connsiteY39" fmla="*/ 49227 h 314325"/>
                  <a:gd name="connsiteX40" fmla="*/ 635859 w 1023774"/>
                  <a:gd name="connsiteY40" fmla="*/ 51320 h 314325"/>
                  <a:gd name="connsiteX41" fmla="*/ 647116 w 1023774"/>
                  <a:gd name="connsiteY41" fmla="*/ 295341 h 314325"/>
                  <a:gd name="connsiteX42" fmla="*/ 651468 w 1023774"/>
                  <a:gd name="connsiteY42" fmla="*/ 314325 h 314325"/>
                  <a:gd name="connsiteX43" fmla="*/ 660993 w 1023774"/>
                  <a:gd name="connsiteY43" fmla="*/ 295275 h 314325"/>
                  <a:gd name="connsiteX44" fmla="*/ 674933 w 1023774"/>
                  <a:gd name="connsiteY44" fmla="*/ 257152 h 314325"/>
                  <a:gd name="connsiteX45" fmla="*/ 706758 w 1023774"/>
                  <a:gd name="connsiteY45" fmla="*/ 168290 h 314325"/>
                  <a:gd name="connsiteX46" fmla="*/ 722906 w 1023774"/>
                  <a:gd name="connsiteY46" fmla="*/ 133350 h 314325"/>
                  <a:gd name="connsiteX47" fmla="*/ 727668 w 1023774"/>
                  <a:gd name="connsiteY47" fmla="*/ 166687 h 314325"/>
                  <a:gd name="connsiteX48" fmla="*/ 732431 w 1023774"/>
                  <a:gd name="connsiteY48" fmla="*/ 180975 h 314325"/>
                  <a:gd name="connsiteX49" fmla="*/ 748579 w 1023774"/>
                  <a:gd name="connsiteY49" fmla="*/ 155604 h 314325"/>
                  <a:gd name="connsiteX50" fmla="*/ 774599 w 1023774"/>
                  <a:gd name="connsiteY50" fmla="*/ 131770 h 314325"/>
                  <a:gd name="connsiteX51" fmla="*/ 794343 w 1023774"/>
                  <a:gd name="connsiteY51" fmla="*/ 85725 h 314325"/>
                  <a:gd name="connsiteX52" fmla="*/ 803868 w 1023774"/>
                  <a:gd name="connsiteY52" fmla="*/ 114300 h 314325"/>
                  <a:gd name="connsiteX53" fmla="*/ 818156 w 1023774"/>
                  <a:gd name="connsiteY53" fmla="*/ 185737 h 314325"/>
                  <a:gd name="connsiteX54" fmla="*/ 839066 w 1023774"/>
                  <a:gd name="connsiteY54" fmla="*/ 180975 h 314325"/>
                  <a:gd name="connsiteX55" fmla="*/ 856256 w 1023774"/>
                  <a:gd name="connsiteY55" fmla="*/ 138112 h 314325"/>
                  <a:gd name="connsiteX56" fmla="*/ 880068 w 1023774"/>
                  <a:gd name="connsiteY56" fmla="*/ 76200 h 314325"/>
                  <a:gd name="connsiteX57" fmla="*/ 884831 w 1023774"/>
                  <a:gd name="connsiteY57" fmla="*/ 52387 h 314325"/>
                  <a:gd name="connsiteX58" fmla="*/ 899118 w 1023774"/>
                  <a:gd name="connsiteY58" fmla="*/ 38100 h 314325"/>
                  <a:gd name="connsiteX59" fmla="*/ 903881 w 1023774"/>
                  <a:gd name="connsiteY59" fmla="*/ 14287 h 314325"/>
                  <a:gd name="connsiteX60" fmla="*/ 908643 w 1023774"/>
                  <a:gd name="connsiteY60" fmla="*/ 0 h 314325"/>
                  <a:gd name="connsiteX61" fmla="*/ 913406 w 1023774"/>
                  <a:gd name="connsiteY61" fmla="*/ 14287 h 314325"/>
                  <a:gd name="connsiteX62" fmla="*/ 918168 w 1023774"/>
                  <a:gd name="connsiteY62" fmla="*/ 71437 h 314325"/>
                  <a:gd name="connsiteX63" fmla="*/ 927693 w 1023774"/>
                  <a:gd name="connsiteY63" fmla="*/ 100012 h 314325"/>
                  <a:gd name="connsiteX64" fmla="*/ 951506 w 1023774"/>
                  <a:gd name="connsiteY64" fmla="*/ 161925 h 314325"/>
                  <a:gd name="connsiteX65" fmla="*/ 956268 w 1023774"/>
                  <a:gd name="connsiteY65" fmla="*/ 180975 h 314325"/>
                  <a:gd name="connsiteX66" fmla="*/ 961031 w 1023774"/>
                  <a:gd name="connsiteY66" fmla="*/ 214312 h 314325"/>
                  <a:gd name="connsiteX67" fmla="*/ 980081 w 1023774"/>
                  <a:gd name="connsiteY67" fmla="*/ 242887 h 314325"/>
                  <a:gd name="connsiteX68" fmla="*/ 990273 w 1023774"/>
                  <a:gd name="connsiteY68" fmla="*/ 265734 h 314325"/>
                  <a:gd name="connsiteX69" fmla="*/ 1023774 w 1023774"/>
                  <a:gd name="connsiteY69" fmla="*/ 261405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23774" h="314325">
                    <a:moveTo>
                      <a:pt x="0" y="262750"/>
                    </a:moveTo>
                    <a:cubicBezTo>
                      <a:pt x="20885" y="261865"/>
                      <a:pt x="25469" y="263292"/>
                      <a:pt x="33523" y="257600"/>
                    </a:cubicBezTo>
                    <a:cubicBezTo>
                      <a:pt x="41577" y="251908"/>
                      <a:pt x="42966" y="241371"/>
                      <a:pt x="48326" y="228600"/>
                    </a:cubicBezTo>
                    <a:cubicBezTo>
                      <a:pt x="53686" y="215829"/>
                      <a:pt x="61201" y="191294"/>
                      <a:pt x="65681" y="180975"/>
                    </a:cubicBezTo>
                    <a:cubicBezTo>
                      <a:pt x="70161" y="170656"/>
                      <a:pt x="75206" y="166687"/>
                      <a:pt x="75206" y="166687"/>
                    </a:cubicBezTo>
                    <a:cubicBezTo>
                      <a:pt x="81379" y="141993"/>
                      <a:pt x="80199" y="142413"/>
                      <a:pt x="94256" y="114300"/>
                    </a:cubicBezTo>
                    <a:cubicBezTo>
                      <a:pt x="96816" y="109180"/>
                      <a:pt x="100941" y="104982"/>
                      <a:pt x="103781" y="100012"/>
                    </a:cubicBezTo>
                    <a:cubicBezTo>
                      <a:pt x="111652" y="86238"/>
                      <a:pt x="117265" y="71993"/>
                      <a:pt x="122831" y="57150"/>
                    </a:cubicBezTo>
                    <a:cubicBezTo>
                      <a:pt x="124594" y="52449"/>
                      <a:pt x="126272" y="47705"/>
                      <a:pt x="127593" y="42862"/>
                    </a:cubicBezTo>
                    <a:cubicBezTo>
                      <a:pt x="131037" y="30232"/>
                      <a:pt x="137118" y="4762"/>
                      <a:pt x="137118" y="4762"/>
                    </a:cubicBezTo>
                    <a:cubicBezTo>
                      <a:pt x="147761" y="57971"/>
                      <a:pt x="137808" y="2826"/>
                      <a:pt x="146643" y="100012"/>
                    </a:cubicBezTo>
                    <a:cubicBezTo>
                      <a:pt x="149080" y="126823"/>
                      <a:pt x="150580" y="130044"/>
                      <a:pt x="156168" y="152400"/>
                    </a:cubicBezTo>
                    <a:cubicBezTo>
                      <a:pt x="157756" y="177800"/>
                      <a:pt x="158056" y="209290"/>
                      <a:pt x="160931" y="228600"/>
                    </a:cubicBezTo>
                    <a:cubicBezTo>
                      <a:pt x="163806" y="247910"/>
                      <a:pt x="166692" y="263763"/>
                      <a:pt x="173420" y="268258"/>
                    </a:cubicBezTo>
                    <a:cubicBezTo>
                      <a:pt x="180148" y="272753"/>
                      <a:pt x="191602" y="266688"/>
                      <a:pt x="201301" y="255572"/>
                    </a:cubicBezTo>
                    <a:cubicBezTo>
                      <a:pt x="211000" y="244456"/>
                      <a:pt x="223259" y="215581"/>
                      <a:pt x="231612" y="201561"/>
                    </a:cubicBezTo>
                    <a:cubicBezTo>
                      <a:pt x="239965" y="187541"/>
                      <a:pt x="244942" y="181231"/>
                      <a:pt x="251418" y="171450"/>
                    </a:cubicBezTo>
                    <a:cubicBezTo>
                      <a:pt x="257894" y="161669"/>
                      <a:pt x="261737" y="159544"/>
                      <a:pt x="270468" y="142875"/>
                    </a:cubicBezTo>
                    <a:cubicBezTo>
                      <a:pt x="279199" y="126206"/>
                      <a:pt x="296421" y="89144"/>
                      <a:pt x="303806" y="71437"/>
                    </a:cubicBezTo>
                    <a:cubicBezTo>
                      <a:pt x="311191" y="53730"/>
                      <a:pt x="311790" y="33730"/>
                      <a:pt x="314781" y="36631"/>
                    </a:cubicBezTo>
                    <a:cubicBezTo>
                      <a:pt x="317772" y="39532"/>
                      <a:pt x="320164" y="84078"/>
                      <a:pt x="321752" y="88841"/>
                    </a:cubicBezTo>
                    <a:cubicBezTo>
                      <a:pt x="324164" y="108135"/>
                      <a:pt x="324297" y="133869"/>
                      <a:pt x="326862" y="147637"/>
                    </a:cubicBezTo>
                    <a:cubicBezTo>
                      <a:pt x="329427" y="161405"/>
                      <a:pt x="335556" y="163512"/>
                      <a:pt x="337143" y="171450"/>
                    </a:cubicBezTo>
                    <a:cubicBezTo>
                      <a:pt x="338731" y="200025"/>
                      <a:pt x="341588" y="234151"/>
                      <a:pt x="348529" y="261916"/>
                    </a:cubicBezTo>
                    <a:cubicBezTo>
                      <a:pt x="349917" y="267469"/>
                      <a:pt x="352650" y="252672"/>
                      <a:pt x="356193" y="247650"/>
                    </a:cubicBezTo>
                    <a:cubicBezTo>
                      <a:pt x="359736" y="242628"/>
                      <a:pt x="367710" y="236352"/>
                      <a:pt x="369787" y="231782"/>
                    </a:cubicBezTo>
                    <a:cubicBezTo>
                      <a:pt x="382365" y="204110"/>
                      <a:pt x="387827" y="191030"/>
                      <a:pt x="394293" y="180975"/>
                    </a:cubicBezTo>
                    <a:cubicBezTo>
                      <a:pt x="400759" y="170920"/>
                      <a:pt x="403818" y="174625"/>
                      <a:pt x="408581" y="171450"/>
                    </a:cubicBezTo>
                    <a:cubicBezTo>
                      <a:pt x="411756" y="166687"/>
                      <a:pt x="412986" y="154602"/>
                      <a:pt x="418106" y="157162"/>
                    </a:cubicBezTo>
                    <a:cubicBezTo>
                      <a:pt x="425753" y="160985"/>
                      <a:pt x="424709" y="172941"/>
                      <a:pt x="427631" y="180975"/>
                    </a:cubicBezTo>
                    <a:cubicBezTo>
                      <a:pt x="431062" y="190411"/>
                      <a:pt x="433855" y="197647"/>
                      <a:pt x="437156" y="209550"/>
                    </a:cubicBezTo>
                    <a:cubicBezTo>
                      <a:pt x="440457" y="221453"/>
                      <a:pt x="439998" y="241975"/>
                      <a:pt x="447437" y="252390"/>
                    </a:cubicBezTo>
                    <a:cubicBezTo>
                      <a:pt x="452397" y="259334"/>
                      <a:pt x="472700" y="235066"/>
                      <a:pt x="475256" y="233362"/>
                    </a:cubicBezTo>
                    <a:cubicBezTo>
                      <a:pt x="493561" y="205906"/>
                      <a:pt x="485574" y="234949"/>
                      <a:pt x="489543" y="233362"/>
                    </a:cubicBezTo>
                    <a:cubicBezTo>
                      <a:pt x="493512" y="231775"/>
                      <a:pt x="490337" y="239712"/>
                      <a:pt x="499068" y="223837"/>
                    </a:cubicBezTo>
                    <a:cubicBezTo>
                      <a:pt x="507799" y="207962"/>
                      <a:pt x="531612" y="157956"/>
                      <a:pt x="541931" y="138112"/>
                    </a:cubicBezTo>
                    <a:cubicBezTo>
                      <a:pt x="552850" y="105353"/>
                      <a:pt x="537914" y="145143"/>
                      <a:pt x="560981" y="104775"/>
                    </a:cubicBezTo>
                    <a:cubicBezTo>
                      <a:pt x="563472" y="100416"/>
                      <a:pt x="562607" y="94407"/>
                      <a:pt x="565743" y="90487"/>
                    </a:cubicBezTo>
                    <a:cubicBezTo>
                      <a:pt x="569319" y="86017"/>
                      <a:pt x="571184" y="87839"/>
                      <a:pt x="580031" y="80962"/>
                    </a:cubicBezTo>
                    <a:cubicBezTo>
                      <a:pt x="588878" y="74085"/>
                      <a:pt x="611728" y="55221"/>
                      <a:pt x="618825" y="49227"/>
                    </a:cubicBezTo>
                    <a:cubicBezTo>
                      <a:pt x="625922" y="43233"/>
                      <a:pt x="631144" y="10301"/>
                      <a:pt x="635859" y="51320"/>
                    </a:cubicBezTo>
                    <a:cubicBezTo>
                      <a:pt x="640574" y="92339"/>
                      <a:pt x="642307" y="250453"/>
                      <a:pt x="647116" y="295341"/>
                    </a:cubicBezTo>
                    <a:cubicBezTo>
                      <a:pt x="647461" y="300349"/>
                      <a:pt x="646706" y="312737"/>
                      <a:pt x="651468" y="314325"/>
                    </a:cubicBezTo>
                    <a:cubicBezTo>
                      <a:pt x="654643" y="307975"/>
                      <a:pt x="657082" y="304804"/>
                      <a:pt x="660993" y="295275"/>
                    </a:cubicBezTo>
                    <a:cubicBezTo>
                      <a:pt x="664904" y="285746"/>
                      <a:pt x="667306" y="278316"/>
                      <a:pt x="674933" y="257152"/>
                    </a:cubicBezTo>
                    <a:cubicBezTo>
                      <a:pt x="682561" y="235988"/>
                      <a:pt x="698763" y="188924"/>
                      <a:pt x="706758" y="168290"/>
                    </a:cubicBezTo>
                    <a:cubicBezTo>
                      <a:pt x="714753" y="147656"/>
                      <a:pt x="719421" y="133617"/>
                      <a:pt x="722906" y="133350"/>
                    </a:cubicBezTo>
                    <a:cubicBezTo>
                      <a:pt x="726391" y="133083"/>
                      <a:pt x="725467" y="155680"/>
                      <a:pt x="727668" y="166687"/>
                    </a:cubicBezTo>
                    <a:cubicBezTo>
                      <a:pt x="728653" y="171610"/>
                      <a:pt x="728946" y="182822"/>
                      <a:pt x="732431" y="180975"/>
                    </a:cubicBezTo>
                    <a:cubicBezTo>
                      <a:pt x="735916" y="179128"/>
                      <a:pt x="741551" y="163805"/>
                      <a:pt x="748579" y="155604"/>
                    </a:cubicBezTo>
                    <a:cubicBezTo>
                      <a:pt x="755607" y="147403"/>
                      <a:pt x="766972" y="143416"/>
                      <a:pt x="774599" y="131770"/>
                    </a:cubicBezTo>
                    <a:cubicBezTo>
                      <a:pt x="782226" y="120124"/>
                      <a:pt x="789465" y="88637"/>
                      <a:pt x="794343" y="85725"/>
                    </a:cubicBezTo>
                    <a:cubicBezTo>
                      <a:pt x="799221" y="82813"/>
                      <a:pt x="801542" y="104533"/>
                      <a:pt x="803868" y="114300"/>
                    </a:cubicBezTo>
                    <a:cubicBezTo>
                      <a:pt x="809493" y="137924"/>
                      <a:pt x="812290" y="174624"/>
                      <a:pt x="818156" y="185737"/>
                    </a:cubicBezTo>
                    <a:cubicBezTo>
                      <a:pt x="824022" y="196850"/>
                      <a:pt x="835146" y="184111"/>
                      <a:pt x="839066" y="180975"/>
                    </a:cubicBezTo>
                    <a:cubicBezTo>
                      <a:pt x="845489" y="175837"/>
                      <a:pt x="849422" y="155575"/>
                      <a:pt x="856256" y="138112"/>
                    </a:cubicBezTo>
                    <a:cubicBezTo>
                      <a:pt x="863090" y="120650"/>
                      <a:pt x="874336" y="97217"/>
                      <a:pt x="880068" y="76200"/>
                    </a:cubicBezTo>
                    <a:cubicBezTo>
                      <a:pt x="882198" y="68390"/>
                      <a:pt x="881211" y="59627"/>
                      <a:pt x="884831" y="52387"/>
                    </a:cubicBezTo>
                    <a:cubicBezTo>
                      <a:pt x="887843" y="46363"/>
                      <a:pt x="894356" y="42862"/>
                      <a:pt x="899118" y="38100"/>
                    </a:cubicBezTo>
                    <a:cubicBezTo>
                      <a:pt x="900706" y="30162"/>
                      <a:pt x="901918" y="22140"/>
                      <a:pt x="903881" y="14287"/>
                    </a:cubicBezTo>
                    <a:cubicBezTo>
                      <a:pt x="905099" y="9417"/>
                      <a:pt x="903623" y="0"/>
                      <a:pt x="908643" y="0"/>
                    </a:cubicBezTo>
                    <a:cubicBezTo>
                      <a:pt x="913663" y="0"/>
                      <a:pt x="911818" y="9525"/>
                      <a:pt x="913406" y="14287"/>
                    </a:cubicBezTo>
                    <a:cubicBezTo>
                      <a:pt x="914993" y="33337"/>
                      <a:pt x="915025" y="52581"/>
                      <a:pt x="918168" y="71437"/>
                    </a:cubicBezTo>
                    <a:cubicBezTo>
                      <a:pt x="919819" y="81341"/>
                      <a:pt x="924935" y="90358"/>
                      <a:pt x="927693" y="100012"/>
                    </a:cubicBezTo>
                    <a:cubicBezTo>
                      <a:pt x="942673" y="152442"/>
                      <a:pt x="928213" y="123104"/>
                      <a:pt x="951506" y="161925"/>
                    </a:cubicBezTo>
                    <a:cubicBezTo>
                      <a:pt x="953093" y="168275"/>
                      <a:pt x="955097" y="174535"/>
                      <a:pt x="956268" y="180975"/>
                    </a:cubicBezTo>
                    <a:cubicBezTo>
                      <a:pt x="958276" y="192019"/>
                      <a:pt x="957001" y="203835"/>
                      <a:pt x="961031" y="214312"/>
                    </a:cubicBezTo>
                    <a:cubicBezTo>
                      <a:pt x="965141" y="224997"/>
                      <a:pt x="975207" y="234317"/>
                      <a:pt x="980081" y="242887"/>
                    </a:cubicBezTo>
                    <a:cubicBezTo>
                      <a:pt x="984955" y="251457"/>
                      <a:pt x="983258" y="262242"/>
                      <a:pt x="990273" y="265734"/>
                    </a:cubicBezTo>
                    <a:cubicBezTo>
                      <a:pt x="996576" y="258872"/>
                      <a:pt x="1004240" y="263357"/>
                      <a:pt x="1023774" y="261405"/>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1" name="Rectangle 20"/>
            <p:cNvSpPr/>
            <p:nvPr/>
          </p:nvSpPr>
          <p:spPr bwMode="gray">
            <a:xfrm>
              <a:off x="9742880" y="2835611"/>
              <a:ext cx="2449120" cy="506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 name="Rectangle 22"/>
            <p:cNvSpPr/>
            <p:nvPr/>
          </p:nvSpPr>
          <p:spPr bwMode="gray">
            <a:xfrm>
              <a:off x="0" y="2835611"/>
              <a:ext cx="8729520" cy="5062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24" name="Straight Connector 23"/>
            <p:cNvCxnSpPr/>
            <p:nvPr/>
          </p:nvCxnSpPr>
          <p:spPr bwMode="gray">
            <a:xfrm flipH="1">
              <a:off x="4100174" y="4120908"/>
              <a:ext cx="2" cy="176311"/>
            </a:xfrm>
            <a:prstGeom prst="lin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25" name="Straight Connector 24"/>
            <p:cNvCxnSpPr/>
            <p:nvPr/>
          </p:nvCxnSpPr>
          <p:spPr bwMode="gray">
            <a:xfrm flipH="1">
              <a:off x="4747318" y="4120908"/>
              <a:ext cx="2" cy="176311"/>
            </a:xfrm>
            <a:prstGeom prst="lin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sp>
          <p:nvSpPr>
            <p:cNvPr id="26" name="Oval 160"/>
            <p:cNvSpPr/>
            <p:nvPr/>
          </p:nvSpPr>
          <p:spPr bwMode="gray">
            <a:xfrm>
              <a:off x="3140447" y="1919994"/>
              <a:ext cx="541810" cy="541808"/>
            </a:xfrm>
            <a:custGeom>
              <a:avLst/>
              <a:gdLst/>
              <a:ahLst/>
              <a:cxnLst/>
              <a:rect l="l" t="t" r="r" b="b"/>
              <a:pathLst>
                <a:path w="1057714" h="1057714">
                  <a:moveTo>
                    <a:pt x="528858" y="122586"/>
                  </a:moveTo>
                  <a:cubicBezTo>
                    <a:pt x="304480" y="122586"/>
                    <a:pt x="122586" y="304480"/>
                    <a:pt x="122586" y="528858"/>
                  </a:cubicBezTo>
                  <a:cubicBezTo>
                    <a:pt x="122586" y="753236"/>
                    <a:pt x="304480" y="935130"/>
                    <a:pt x="528858" y="935130"/>
                  </a:cubicBezTo>
                  <a:cubicBezTo>
                    <a:pt x="753236" y="935130"/>
                    <a:pt x="935130" y="753236"/>
                    <a:pt x="935130" y="528858"/>
                  </a:cubicBezTo>
                  <a:cubicBezTo>
                    <a:pt x="935130" y="304480"/>
                    <a:pt x="753236" y="122586"/>
                    <a:pt x="528858" y="122586"/>
                  </a:cubicBezTo>
                  <a:close/>
                  <a:moveTo>
                    <a:pt x="528857" y="0"/>
                  </a:moveTo>
                  <a:cubicBezTo>
                    <a:pt x="820937" y="0"/>
                    <a:pt x="1057714" y="236777"/>
                    <a:pt x="1057714" y="528857"/>
                  </a:cubicBezTo>
                  <a:cubicBezTo>
                    <a:pt x="1057714" y="820937"/>
                    <a:pt x="820937" y="1057714"/>
                    <a:pt x="528857" y="1057714"/>
                  </a:cubicBezTo>
                  <a:cubicBezTo>
                    <a:pt x="236777" y="1057714"/>
                    <a:pt x="0" y="820937"/>
                    <a:pt x="0" y="528857"/>
                  </a:cubicBezTo>
                  <a:cubicBezTo>
                    <a:pt x="0" y="236777"/>
                    <a:pt x="236777" y="0"/>
                    <a:pt x="528857" y="0"/>
                  </a:cubicBezTo>
                  <a:close/>
                </a:path>
              </a:pathLst>
            </a:cu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nvGrpSpPr>
            <p:cNvPr id="27" name="Group 26"/>
            <p:cNvGrpSpPr/>
            <p:nvPr/>
          </p:nvGrpSpPr>
          <p:grpSpPr bwMode="gray">
            <a:xfrm>
              <a:off x="3226528" y="2014587"/>
              <a:ext cx="369648" cy="352622"/>
              <a:chOff x="1097281" y="2814447"/>
              <a:chExt cx="721625" cy="688388"/>
            </a:xfrm>
          </p:grpSpPr>
          <p:sp>
            <p:nvSpPr>
              <p:cNvPr id="79" name="Oval 152"/>
              <p:cNvSpPr/>
              <p:nvPr/>
            </p:nvSpPr>
            <p:spPr bwMode="gray">
              <a:xfrm flipH="1">
                <a:off x="1667728" y="3104486"/>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0" name="Oval 152"/>
              <p:cNvSpPr/>
              <p:nvPr/>
            </p:nvSpPr>
            <p:spPr bwMode="gray">
              <a:xfrm flipH="1">
                <a:off x="1519137" y="3226665"/>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1" name="Oval 152"/>
              <p:cNvSpPr/>
              <p:nvPr/>
            </p:nvSpPr>
            <p:spPr bwMode="gray">
              <a:xfrm flipH="1">
                <a:off x="1659703" y="3229818"/>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2" name="Oval 152"/>
              <p:cNvSpPr/>
              <p:nvPr/>
            </p:nvSpPr>
            <p:spPr bwMode="gray">
              <a:xfrm flipH="1">
                <a:off x="1477318" y="3294090"/>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3" name="Oval 152"/>
              <p:cNvSpPr/>
              <p:nvPr/>
            </p:nvSpPr>
            <p:spPr bwMode="gray">
              <a:xfrm flipH="1">
                <a:off x="1235460" y="3226665"/>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4" name="Oval 152"/>
              <p:cNvSpPr/>
              <p:nvPr/>
            </p:nvSpPr>
            <p:spPr bwMode="gray">
              <a:xfrm flipH="1" flipV="1">
                <a:off x="1533646" y="3351108"/>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5" name="Oval 152"/>
              <p:cNvSpPr/>
              <p:nvPr/>
            </p:nvSpPr>
            <p:spPr bwMode="gray">
              <a:xfrm flipH="1" flipV="1">
                <a:off x="1388503" y="3332687"/>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6" name="Oval 152"/>
              <p:cNvSpPr/>
              <p:nvPr/>
            </p:nvSpPr>
            <p:spPr bwMode="gray">
              <a:xfrm flipH="1">
                <a:off x="1739516" y="3226665"/>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7" name="Oval 152"/>
              <p:cNvSpPr/>
              <p:nvPr/>
            </p:nvSpPr>
            <p:spPr bwMode="gray">
              <a:xfrm flipH="1">
                <a:off x="1700006" y="3178195"/>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8" name="Oval 152"/>
              <p:cNvSpPr/>
              <p:nvPr/>
            </p:nvSpPr>
            <p:spPr bwMode="gray">
              <a:xfrm flipH="1">
                <a:off x="1770358" y="3143816"/>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9" name="Oval 152"/>
              <p:cNvSpPr/>
              <p:nvPr/>
            </p:nvSpPr>
            <p:spPr bwMode="gray">
              <a:xfrm flipH="1">
                <a:off x="1158732" y="3307252"/>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0" name="Oval 152"/>
              <p:cNvSpPr/>
              <p:nvPr/>
            </p:nvSpPr>
            <p:spPr bwMode="gray">
              <a:xfrm flipH="1">
                <a:off x="1347341" y="3264289"/>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1" name="Oval 152"/>
              <p:cNvSpPr/>
              <p:nvPr/>
            </p:nvSpPr>
            <p:spPr bwMode="gray">
              <a:xfrm flipH="1">
                <a:off x="1305178" y="3303090"/>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2" name="Oval 152"/>
              <p:cNvSpPr/>
              <p:nvPr/>
            </p:nvSpPr>
            <p:spPr bwMode="gray">
              <a:xfrm flipH="1">
                <a:off x="1615137" y="3299514"/>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3" name="Oval 152"/>
              <p:cNvSpPr/>
              <p:nvPr/>
            </p:nvSpPr>
            <p:spPr bwMode="gray">
              <a:xfrm flipH="1">
                <a:off x="1739516" y="3031239"/>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4" name="Oval 152"/>
              <p:cNvSpPr/>
              <p:nvPr/>
            </p:nvSpPr>
            <p:spPr bwMode="gray">
              <a:xfrm flipH="1">
                <a:off x="1424503" y="3211818"/>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5" name="Oval 152"/>
              <p:cNvSpPr/>
              <p:nvPr/>
            </p:nvSpPr>
            <p:spPr bwMode="gray">
              <a:xfrm flipH="1">
                <a:off x="1519137" y="3138483"/>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6" name="Oval 152"/>
              <p:cNvSpPr/>
              <p:nvPr/>
            </p:nvSpPr>
            <p:spPr bwMode="gray">
              <a:xfrm flipH="1">
                <a:off x="1613500" y="3153765"/>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7" name="Oval 152"/>
              <p:cNvSpPr/>
              <p:nvPr/>
            </p:nvSpPr>
            <p:spPr bwMode="gray">
              <a:xfrm flipH="1" flipV="1">
                <a:off x="1305178" y="3181497"/>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8" name="Oval 152"/>
              <p:cNvSpPr/>
              <p:nvPr/>
            </p:nvSpPr>
            <p:spPr bwMode="gray">
              <a:xfrm flipH="1">
                <a:off x="1459104" y="3166765"/>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9" name="Oval 152"/>
              <p:cNvSpPr/>
              <p:nvPr/>
            </p:nvSpPr>
            <p:spPr bwMode="gray">
              <a:xfrm flipH="1">
                <a:off x="1586691" y="3102569"/>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0" name="Oval 152"/>
              <p:cNvSpPr/>
              <p:nvPr/>
            </p:nvSpPr>
            <p:spPr bwMode="gray">
              <a:xfrm flipH="1">
                <a:off x="1684676" y="3041190"/>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1" name="Oval 152"/>
              <p:cNvSpPr/>
              <p:nvPr/>
            </p:nvSpPr>
            <p:spPr bwMode="gray">
              <a:xfrm flipH="1">
                <a:off x="1745749" y="2958989"/>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2" name="Oval 152"/>
              <p:cNvSpPr/>
              <p:nvPr/>
            </p:nvSpPr>
            <p:spPr bwMode="gray">
              <a:xfrm flipH="1">
                <a:off x="1250954" y="3321090"/>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3" name="Oval 152"/>
              <p:cNvSpPr/>
              <p:nvPr/>
            </p:nvSpPr>
            <p:spPr bwMode="gray">
              <a:xfrm flipH="1">
                <a:off x="1119828" y="3264289"/>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4" name="Oval 152"/>
              <p:cNvSpPr/>
              <p:nvPr/>
            </p:nvSpPr>
            <p:spPr bwMode="gray">
              <a:xfrm flipH="1">
                <a:off x="1458446" y="3357215"/>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5" name="Oval 152"/>
              <p:cNvSpPr/>
              <p:nvPr/>
            </p:nvSpPr>
            <p:spPr bwMode="gray">
              <a:xfrm flipH="1" flipV="1">
                <a:off x="1659703" y="3373510"/>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6" name="Oval 152"/>
              <p:cNvSpPr/>
              <p:nvPr/>
            </p:nvSpPr>
            <p:spPr bwMode="gray">
              <a:xfrm flipH="1" flipV="1">
                <a:off x="1586691" y="3421660"/>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7" name="Oval 152"/>
              <p:cNvSpPr/>
              <p:nvPr/>
            </p:nvSpPr>
            <p:spPr bwMode="gray">
              <a:xfrm flipH="1">
                <a:off x="1718812" y="3319358"/>
                <a:ext cx="36000" cy="36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8" name="Oval 152"/>
              <p:cNvSpPr/>
              <p:nvPr/>
            </p:nvSpPr>
            <p:spPr bwMode="gray">
              <a:xfrm flipH="1">
                <a:off x="1782906" y="3066569"/>
                <a:ext cx="36000" cy="36000"/>
              </a:xfrm>
              <a:prstGeom prst="star10">
                <a:avLst>
                  <a:gd name="adj" fmla="val 45603"/>
                  <a:gd name="hf" fmla="val 105146"/>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09" name="Oval 152"/>
              <p:cNvSpPr/>
              <p:nvPr/>
            </p:nvSpPr>
            <p:spPr bwMode="gray">
              <a:xfrm flipH="1">
                <a:off x="1595691" y="3229630"/>
                <a:ext cx="18000" cy="18000"/>
              </a:xfrm>
              <a:prstGeom prst="ellipse">
                <a:avLst/>
              </a:pr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10" name="Freeform 109"/>
              <p:cNvSpPr/>
              <p:nvPr/>
            </p:nvSpPr>
            <p:spPr bwMode="gray">
              <a:xfrm>
                <a:off x="1101430" y="2931739"/>
                <a:ext cx="268060" cy="207601"/>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Lst>
                <a:ahLst/>
                <a:cxnLst>
                  <a:cxn ang="0">
                    <a:pos x="connsiteX0" y="connsiteY0"/>
                  </a:cxn>
                  <a:cxn ang="0">
                    <a:pos x="connsiteX1" y="connsiteY1"/>
                  </a:cxn>
                  <a:cxn ang="0">
                    <a:pos x="connsiteX2" y="connsiteY2"/>
                  </a:cxn>
                  <a:cxn ang="0">
                    <a:pos x="connsiteX3" y="connsiteY3"/>
                  </a:cxn>
                </a:cxnLst>
                <a:rect l="l" t="t" r="r" b="b"/>
                <a:pathLst>
                  <a:path w="371072" h="264795">
                    <a:moveTo>
                      <a:pt x="0" y="264795"/>
                    </a:moveTo>
                    <a:cubicBezTo>
                      <a:pt x="40878" y="259636"/>
                      <a:pt x="203518" y="216217"/>
                      <a:pt x="264795" y="188595"/>
                    </a:cubicBezTo>
                    <a:cubicBezTo>
                      <a:pt x="326072" y="160973"/>
                      <a:pt x="359093" y="130492"/>
                      <a:pt x="367665" y="99060"/>
                    </a:cubicBezTo>
                    <a:cubicBezTo>
                      <a:pt x="376237" y="67628"/>
                      <a:pt x="371872" y="20637"/>
                      <a:pt x="316230" y="0"/>
                    </a:cubicBezTo>
                  </a:path>
                </a:pathLst>
              </a:cu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a:solidFill>
                    <a:schemeClr val="bg1"/>
                  </a:solidFill>
                  <a:latin typeface="Arial" pitchFamily="34" charset="0"/>
                  <a:cs typeface="Arial" pitchFamily="34" charset="0"/>
                </a:endParaRPr>
              </a:p>
            </p:txBody>
          </p:sp>
          <p:sp>
            <p:nvSpPr>
              <p:cNvPr id="111" name="Freeform 110"/>
              <p:cNvSpPr/>
              <p:nvPr/>
            </p:nvSpPr>
            <p:spPr bwMode="gray">
              <a:xfrm flipV="1">
                <a:off x="1174585" y="3379190"/>
                <a:ext cx="293519" cy="123645"/>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Lst>
                <a:ahLst/>
                <a:cxnLst>
                  <a:cxn ang="0">
                    <a:pos x="connsiteX0" y="connsiteY0"/>
                  </a:cxn>
                  <a:cxn ang="0">
                    <a:pos x="connsiteX1" y="connsiteY1"/>
                  </a:cxn>
                  <a:cxn ang="0">
                    <a:pos x="connsiteX2" y="connsiteY2"/>
                  </a:cxn>
                  <a:cxn ang="0">
                    <a:pos x="connsiteX3" y="connsiteY3"/>
                  </a:cxn>
                </a:cxnLst>
                <a:rect l="l" t="t" r="r" b="b"/>
                <a:pathLst>
                  <a:path w="371072" h="264795">
                    <a:moveTo>
                      <a:pt x="0" y="264795"/>
                    </a:moveTo>
                    <a:cubicBezTo>
                      <a:pt x="40878" y="259636"/>
                      <a:pt x="203518" y="216217"/>
                      <a:pt x="264795" y="188595"/>
                    </a:cubicBezTo>
                    <a:cubicBezTo>
                      <a:pt x="326072" y="160973"/>
                      <a:pt x="359093" y="130492"/>
                      <a:pt x="367665" y="99060"/>
                    </a:cubicBezTo>
                    <a:cubicBezTo>
                      <a:pt x="376237" y="67628"/>
                      <a:pt x="371872" y="20637"/>
                      <a:pt x="316230" y="0"/>
                    </a:cubicBezTo>
                  </a:path>
                </a:pathLst>
              </a:cu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a:solidFill>
                    <a:schemeClr val="bg1"/>
                  </a:solidFill>
                  <a:latin typeface="Arial" pitchFamily="34" charset="0"/>
                  <a:cs typeface="Arial" pitchFamily="34" charset="0"/>
                </a:endParaRPr>
              </a:p>
            </p:txBody>
          </p:sp>
          <p:sp>
            <p:nvSpPr>
              <p:cNvPr id="112" name="Freeform 111"/>
              <p:cNvSpPr/>
              <p:nvPr/>
            </p:nvSpPr>
            <p:spPr bwMode="gray">
              <a:xfrm>
                <a:off x="1097281" y="2814447"/>
                <a:ext cx="562422" cy="375317"/>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Lst>
                <a:ahLst/>
                <a:cxnLst>
                  <a:cxn ang="0">
                    <a:pos x="connsiteX0" y="connsiteY0"/>
                  </a:cxn>
                  <a:cxn ang="0">
                    <a:pos x="connsiteX1" y="connsiteY1"/>
                  </a:cxn>
                  <a:cxn ang="0">
                    <a:pos x="connsiteX2" y="connsiteY2"/>
                  </a:cxn>
                  <a:cxn ang="0">
                    <a:pos x="connsiteX3" y="connsiteY3"/>
                  </a:cxn>
                </a:cxnLst>
                <a:rect l="l" t="t" r="r" b="b"/>
                <a:pathLst>
                  <a:path w="371072" h="264795">
                    <a:moveTo>
                      <a:pt x="0" y="264795"/>
                    </a:moveTo>
                    <a:cubicBezTo>
                      <a:pt x="40878" y="259636"/>
                      <a:pt x="203518" y="216217"/>
                      <a:pt x="264795" y="188595"/>
                    </a:cubicBezTo>
                    <a:cubicBezTo>
                      <a:pt x="326072" y="160973"/>
                      <a:pt x="359093" y="130492"/>
                      <a:pt x="367665" y="99060"/>
                    </a:cubicBezTo>
                    <a:cubicBezTo>
                      <a:pt x="376237" y="67628"/>
                      <a:pt x="371872" y="20637"/>
                      <a:pt x="316230" y="0"/>
                    </a:cubicBezTo>
                  </a:path>
                </a:pathLst>
              </a:custGeom>
              <a:grp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a:solidFill>
                    <a:schemeClr val="bg1"/>
                  </a:solidFill>
                  <a:latin typeface="Arial" pitchFamily="34" charset="0"/>
                  <a:cs typeface="Arial" pitchFamily="34" charset="0"/>
                </a:endParaRPr>
              </a:p>
            </p:txBody>
          </p:sp>
        </p:grpSp>
        <p:grpSp>
          <p:nvGrpSpPr>
            <p:cNvPr id="28" name="Group 27"/>
            <p:cNvGrpSpPr/>
            <p:nvPr/>
          </p:nvGrpSpPr>
          <p:grpSpPr bwMode="gray">
            <a:xfrm rot="4500000" flipH="1">
              <a:off x="1070890" y="2800893"/>
              <a:ext cx="132028" cy="333223"/>
              <a:chOff x="4076305" y="1126002"/>
              <a:chExt cx="645604" cy="2232162"/>
            </a:xfrm>
            <a:solidFill>
              <a:schemeClr val="bg1"/>
            </a:solidFill>
          </p:grpSpPr>
          <p:sp>
            <p:nvSpPr>
              <p:cNvPr id="77" name="Rounded Rectangle 1909"/>
              <p:cNvSpPr/>
              <p:nvPr/>
            </p:nvSpPr>
            <p:spPr bwMode="gray">
              <a:xfrm rot="9900000">
                <a:off x="4076305" y="1550926"/>
                <a:ext cx="403705" cy="1807238"/>
              </a:xfrm>
              <a:custGeom>
                <a:avLst/>
                <a:gdLst>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619 w 320221"/>
                  <a:gd name="connsiteY7" fmla="*/ 927105 h 1428913"/>
                  <a:gd name="connsiteX8" fmla="*/ 265096 w 320221"/>
                  <a:gd name="connsiteY8" fmla="*/ 1062901 h 1428913"/>
                  <a:gd name="connsiteX9" fmla="*/ 0 w 320221"/>
                  <a:gd name="connsiteY9"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096 w 320221"/>
                  <a:gd name="connsiteY7" fmla="*/ 1062901 h 1428913"/>
                  <a:gd name="connsiteX8" fmla="*/ 0 w 320221"/>
                  <a:gd name="connsiteY8"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366012 h 1428913"/>
                  <a:gd name="connsiteX4" fmla="*/ 320221 w 320221"/>
                  <a:gd name="connsiteY4" fmla="*/ 0 h 1428913"/>
                  <a:gd name="connsiteX5" fmla="*/ 265619 w 320221"/>
                  <a:gd name="connsiteY5" fmla="*/ 282462 h 1428913"/>
                  <a:gd name="connsiteX6" fmla="*/ 265096 w 320221"/>
                  <a:gd name="connsiteY6" fmla="*/ 1062901 h 1428913"/>
                  <a:gd name="connsiteX7" fmla="*/ 0 w 320221"/>
                  <a:gd name="connsiteY7"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0221" h="1428913">
                    <a:moveTo>
                      <a:pt x="0" y="1428913"/>
                    </a:moveTo>
                    <a:cubicBezTo>
                      <a:pt x="46713" y="1348346"/>
                      <a:pt x="54603" y="1249642"/>
                      <a:pt x="54602" y="1146451"/>
                    </a:cubicBezTo>
                    <a:cubicBezTo>
                      <a:pt x="63789" y="969301"/>
                      <a:pt x="55474" y="596654"/>
                      <a:pt x="55125" y="366012"/>
                    </a:cubicBezTo>
                    <a:cubicBezTo>
                      <a:pt x="55125" y="181332"/>
                      <a:pt x="159958" y="23654"/>
                      <a:pt x="320221" y="0"/>
                    </a:cubicBezTo>
                    <a:cubicBezTo>
                      <a:pt x="273508" y="80567"/>
                      <a:pt x="265619" y="179271"/>
                      <a:pt x="265619" y="282462"/>
                    </a:cubicBezTo>
                    <a:cubicBezTo>
                      <a:pt x="265445" y="542608"/>
                      <a:pt x="265270" y="802755"/>
                      <a:pt x="265096" y="1062901"/>
                    </a:cubicBezTo>
                    <a:cubicBezTo>
                      <a:pt x="265096" y="1247581"/>
                      <a:pt x="160263" y="1405259"/>
                      <a:pt x="0" y="1428913"/>
                    </a:cubicBezTo>
                    <a:close/>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78" name="Rounded Rectangle 1909"/>
              <p:cNvSpPr/>
              <p:nvPr/>
            </p:nvSpPr>
            <p:spPr bwMode="gray">
              <a:xfrm rot="9900000">
                <a:off x="4449342" y="1126002"/>
                <a:ext cx="272567" cy="1216278"/>
              </a:xfrm>
              <a:custGeom>
                <a:avLst/>
                <a:gdLst>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619 w 320221"/>
                  <a:gd name="connsiteY7" fmla="*/ 927105 h 1428913"/>
                  <a:gd name="connsiteX8" fmla="*/ 265096 w 320221"/>
                  <a:gd name="connsiteY8" fmla="*/ 1062901 h 1428913"/>
                  <a:gd name="connsiteX9" fmla="*/ 0 w 320221"/>
                  <a:gd name="connsiteY9"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096 w 320221"/>
                  <a:gd name="connsiteY7" fmla="*/ 1062901 h 1428913"/>
                  <a:gd name="connsiteX8" fmla="*/ 0 w 320221"/>
                  <a:gd name="connsiteY8"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366012 h 1428913"/>
                  <a:gd name="connsiteX4" fmla="*/ 320221 w 320221"/>
                  <a:gd name="connsiteY4" fmla="*/ 0 h 1428913"/>
                  <a:gd name="connsiteX5" fmla="*/ 265619 w 320221"/>
                  <a:gd name="connsiteY5" fmla="*/ 282462 h 1428913"/>
                  <a:gd name="connsiteX6" fmla="*/ 265096 w 320221"/>
                  <a:gd name="connsiteY6" fmla="*/ 1062901 h 1428913"/>
                  <a:gd name="connsiteX7" fmla="*/ 0 w 320221"/>
                  <a:gd name="connsiteY7"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0221" h="1428913">
                    <a:moveTo>
                      <a:pt x="0" y="1428913"/>
                    </a:moveTo>
                    <a:cubicBezTo>
                      <a:pt x="46713" y="1348346"/>
                      <a:pt x="54603" y="1249642"/>
                      <a:pt x="54602" y="1146451"/>
                    </a:cubicBezTo>
                    <a:cubicBezTo>
                      <a:pt x="63789" y="969301"/>
                      <a:pt x="55474" y="596654"/>
                      <a:pt x="55125" y="366012"/>
                    </a:cubicBezTo>
                    <a:cubicBezTo>
                      <a:pt x="55125" y="181332"/>
                      <a:pt x="159958" y="23654"/>
                      <a:pt x="320221" y="0"/>
                    </a:cubicBezTo>
                    <a:cubicBezTo>
                      <a:pt x="273508" y="80567"/>
                      <a:pt x="265619" y="179271"/>
                      <a:pt x="265619" y="282462"/>
                    </a:cubicBezTo>
                    <a:cubicBezTo>
                      <a:pt x="265445" y="542608"/>
                      <a:pt x="265270" y="802755"/>
                      <a:pt x="265096" y="1062901"/>
                    </a:cubicBezTo>
                    <a:cubicBezTo>
                      <a:pt x="265096" y="1247581"/>
                      <a:pt x="160263" y="1405259"/>
                      <a:pt x="0" y="1428913"/>
                    </a:cubicBezTo>
                    <a:close/>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sp>
          <p:nvSpPr>
            <p:cNvPr id="29" name="Trapezoid 28"/>
            <p:cNvSpPr/>
            <p:nvPr/>
          </p:nvSpPr>
          <p:spPr bwMode="gray">
            <a:xfrm>
              <a:off x="646774" y="3086493"/>
              <a:ext cx="419995" cy="925404"/>
            </a:xfrm>
            <a:prstGeom prst="trapezoid">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30" name="Rounded Rectangle 1909"/>
            <p:cNvSpPr/>
            <p:nvPr/>
          </p:nvSpPr>
          <p:spPr bwMode="gray">
            <a:xfrm rot="10800000">
              <a:off x="809395" y="3143963"/>
              <a:ext cx="82559" cy="822342"/>
            </a:xfrm>
            <a:custGeom>
              <a:avLst/>
              <a:gdLst>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619 w 320221"/>
                <a:gd name="connsiteY7" fmla="*/ 927105 h 1428913"/>
                <a:gd name="connsiteX8" fmla="*/ 265096 w 320221"/>
                <a:gd name="connsiteY8" fmla="*/ 1062901 h 1428913"/>
                <a:gd name="connsiteX9" fmla="*/ 0 w 320221"/>
                <a:gd name="connsiteY9"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096 w 320221"/>
                <a:gd name="connsiteY7" fmla="*/ 1062901 h 1428913"/>
                <a:gd name="connsiteX8" fmla="*/ 0 w 320221"/>
                <a:gd name="connsiteY8"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366012 h 1428913"/>
                <a:gd name="connsiteX4" fmla="*/ 320221 w 320221"/>
                <a:gd name="connsiteY4" fmla="*/ 0 h 1428913"/>
                <a:gd name="connsiteX5" fmla="*/ 265619 w 320221"/>
                <a:gd name="connsiteY5" fmla="*/ 282462 h 1428913"/>
                <a:gd name="connsiteX6" fmla="*/ 265096 w 320221"/>
                <a:gd name="connsiteY6" fmla="*/ 1062901 h 1428913"/>
                <a:gd name="connsiteX7" fmla="*/ 0 w 320221"/>
                <a:gd name="connsiteY7"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0221" h="1428913">
                  <a:moveTo>
                    <a:pt x="0" y="1428913"/>
                  </a:moveTo>
                  <a:cubicBezTo>
                    <a:pt x="46713" y="1348346"/>
                    <a:pt x="54603" y="1249642"/>
                    <a:pt x="54602" y="1146451"/>
                  </a:cubicBezTo>
                  <a:cubicBezTo>
                    <a:pt x="63789" y="969301"/>
                    <a:pt x="55474" y="596654"/>
                    <a:pt x="55125" y="366012"/>
                  </a:cubicBezTo>
                  <a:cubicBezTo>
                    <a:pt x="55125" y="181332"/>
                    <a:pt x="159958" y="23654"/>
                    <a:pt x="320221" y="0"/>
                  </a:cubicBezTo>
                  <a:cubicBezTo>
                    <a:pt x="273508" y="80567"/>
                    <a:pt x="265619" y="179271"/>
                    <a:pt x="265619" y="282462"/>
                  </a:cubicBezTo>
                  <a:cubicBezTo>
                    <a:pt x="265445" y="542608"/>
                    <a:pt x="265270" y="802755"/>
                    <a:pt x="265096" y="1062901"/>
                  </a:cubicBezTo>
                  <a:cubicBezTo>
                    <a:pt x="265096" y="1247581"/>
                    <a:pt x="160263" y="1405259"/>
                    <a:pt x="0" y="1428913"/>
                  </a:cubicBezTo>
                  <a:close/>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31" name="Snip Same Side Corner Rectangle 53"/>
            <p:cNvSpPr/>
            <p:nvPr/>
          </p:nvSpPr>
          <p:spPr bwMode="gray">
            <a:xfrm rot="13500000" flipH="1">
              <a:off x="627861" y="3372596"/>
              <a:ext cx="277749" cy="553632"/>
            </a:xfrm>
            <a:custGeom>
              <a:avLst/>
              <a:gdLst/>
              <a:ahLst/>
              <a:cxnLst/>
              <a:rect l="l" t="t" r="r" b="b"/>
              <a:pathLst>
                <a:path w="436368" h="869804">
                  <a:moveTo>
                    <a:pt x="58229" y="811577"/>
                  </a:moveTo>
                  <a:cubicBezTo>
                    <a:pt x="146570" y="899918"/>
                    <a:pt x="289800" y="899918"/>
                    <a:pt x="378141" y="811577"/>
                  </a:cubicBezTo>
                  <a:cubicBezTo>
                    <a:pt x="466482" y="723236"/>
                    <a:pt x="466482" y="580006"/>
                    <a:pt x="378141" y="491665"/>
                  </a:cubicBezTo>
                  <a:cubicBezTo>
                    <a:pt x="289800" y="403324"/>
                    <a:pt x="146570" y="403324"/>
                    <a:pt x="58229" y="491665"/>
                  </a:cubicBezTo>
                  <a:cubicBezTo>
                    <a:pt x="-30112" y="580006"/>
                    <a:pt x="-30112" y="723236"/>
                    <a:pt x="58229" y="811577"/>
                  </a:cubicBezTo>
                  <a:close/>
                  <a:moveTo>
                    <a:pt x="0" y="869804"/>
                  </a:moveTo>
                  <a:cubicBezTo>
                    <a:pt x="-120499" y="749305"/>
                    <a:pt x="-120499" y="553935"/>
                    <a:pt x="0" y="433436"/>
                  </a:cubicBezTo>
                  <a:cubicBezTo>
                    <a:pt x="40846" y="392590"/>
                    <a:pt x="90294" y="365590"/>
                    <a:pt x="142803" y="353584"/>
                  </a:cubicBezTo>
                  <a:lnTo>
                    <a:pt x="142803" y="13739"/>
                  </a:lnTo>
                  <a:lnTo>
                    <a:pt x="156542" y="0"/>
                  </a:lnTo>
                  <a:lnTo>
                    <a:pt x="219743" y="0"/>
                  </a:lnTo>
                  <a:lnTo>
                    <a:pt x="233482" y="13739"/>
                  </a:lnTo>
                  <a:lnTo>
                    <a:pt x="233482" y="344527"/>
                  </a:lnTo>
                  <a:cubicBezTo>
                    <a:pt x="307311" y="347093"/>
                    <a:pt x="380024" y="377091"/>
                    <a:pt x="436368" y="433436"/>
                  </a:cubicBezTo>
                  <a:cubicBezTo>
                    <a:pt x="556868" y="553935"/>
                    <a:pt x="556868" y="749305"/>
                    <a:pt x="436368" y="869804"/>
                  </a:cubicBezTo>
                  <a:cubicBezTo>
                    <a:pt x="315869" y="990304"/>
                    <a:pt x="120500" y="990304"/>
                    <a:pt x="0" y="869804"/>
                  </a:cubicBezTo>
                  <a:close/>
                </a:path>
              </a:pathLst>
            </a:custGeom>
            <a:solidFill>
              <a:schemeClr val="bg1"/>
            </a:solidFill>
            <a:ln w="19050" cap="sq">
              <a:solidFill>
                <a:schemeClr val="accent1"/>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cxnSp>
          <p:nvCxnSpPr>
            <p:cNvPr id="32" name="Straight Connector 31"/>
            <p:cNvCxnSpPr/>
            <p:nvPr/>
          </p:nvCxnSpPr>
          <p:spPr bwMode="gray">
            <a:xfrm>
              <a:off x="9985248" y="3087876"/>
              <a:ext cx="1881315"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57" idx="0"/>
            </p:cNvCxnSpPr>
            <p:nvPr/>
          </p:nvCxnSpPr>
          <p:spPr bwMode="gray">
            <a:xfrm>
              <a:off x="2080199" y="3151076"/>
              <a:ext cx="0" cy="286915"/>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34" name="Arc 33"/>
            <p:cNvSpPr/>
            <p:nvPr/>
          </p:nvSpPr>
          <p:spPr bwMode="gray">
            <a:xfrm rot="10800000">
              <a:off x="1887526" y="3341676"/>
              <a:ext cx="192630" cy="192630"/>
            </a:xfrm>
            <a:prstGeom prst="arc">
              <a:avLst>
                <a:gd name="adj1" fmla="val 10696712"/>
                <a:gd name="adj2" fmla="val 16234636"/>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5" name="Straight Connector 34"/>
            <p:cNvCxnSpPr/>
            <p:nvPr/>
          </p:nvCxnSpPr>
          <p:spPr bwMode="gray">
            <a:xfrm flipH="1">
              <a:off x="1200274" y="3534307"/>
              <a:ext cx="783567" cy="0"/>
            </a:xfrm>
            <a:prstGeom prst="line">
              <a:avLst/>
            </a:prstGeom>
            <a:noFill/>
            <a:ln w="19050" cap="rnd">
              <a:solidFill>
                <a:schemeClr val="tx2"/>
              </a:solidFill>
              <a:headEnd type="none"/>
              <a:tailEnd type="oval"/>
            </a:ln>
          </p:spPr>
          <p:style>
            <a:lnRef idx="2">
              <a:schemeClr val="accent1">
                <a:shade val="50000"/>
              </a:schemeClr>
            </a:lnRef>
            <a:fillRef idx="1">
              <a:schemeClr val="accent1"/>
            </a:fillRef>
            <a:effectRef idx="0">
              <a:schemeClr val="accent1"/>
            </a:effectRef>
            <a:fontRef idx="minor">
              <a:schemeClr val="lt1"/>
            </a:fontRef>
          </p:style>
        </p:cxnSp>
        <p:sp>
          <p:nvSpPr>
            <p:cNvPr id="36" name="Arc 35"/>
            <p:cNvSpPr/>
            <p:nvPr/>
          </p:nvSpPr>
          <p:spPr bwMode="gray">
            <a:xfrm>
              <a:off x="5544768" y="3283338"/>
              <a:ext cx="192630" cy="192630"/>
            </a:xfrm>
            <a:prstGeom prst="arc">
              <a:avLst>
                <a:gd name="adj1" fmla="val 10696712"/>
                <a:gd name="adj2" fmla="val 16427644"/>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Arc 36"/>
            <p:cNvSpPr/>
            <p:nvPr/>
          </p:nvSpPr>
          <p:spPr bwMode="gray">
            <a:xfrm rot="10800000">
              <a:off x="5352138" y="4015593"/>
              <a:ext cx="192630" cy="192630"/>
            </a:xfrm>
            <a:prstGeom prst="arc">
              <a:avLst>
                <a:gd name="adj1" fmla="val 10696712"/>
                <a:gd name="adj2" fmla="val 16234636"/>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38" name="Straight Connector 37"/>
            <p:cNvCxnSpPr/>
            <p:nvPr/>
          </p:nvCxnSpPr>
          <p:spPr bwMode="gray">
            <a:xfrm flipH="1">
              <a:off x="5655945" y="3283338"/>
              <a:ext cx="2856728" cy="0"/>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38"/>
            <p:cNvCxnSpPr>
              <a:stCxn id="36" idx="0"/>
              <a:endCxn id="37" idx="0"/>
            </p:cNvCxnSpPr>
            <p:nvPr/>
          </p:nvCxnSpPr>
          <p:spPr bwMode="gray">
            <a:xfrm flipH="1">
              <a:off x="5544725" y="3382546"/>
              <a:ext cx="86" cy="726469"/>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39"/>
            <p:cNvCxnSpPr>
              <a:stCxn id="37" idx="2"/>
            </p:cNvCxnSpPr>
            <p:nvPr/>
          </p:nvCxnSpPr>
          <p:spPr bwMode="gray">
            <a:xfrm flipH="1">
              <a:off x="4898290" y="4208218"/>
              <a:ext cx="549193" cy="5"/>
            </a:xfrm>
            <a:prstGeom prst="line">
              <a:avLst/>
            </a:prstGeom>
            <a:noFill/>
            <a:ln w="19050" cap="rnd">
              <a:solidFill>
                <a:schemeClr val="tx2"/>
              </a:solidFill>
              <a:headEnd type="none"/>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40"/>
            <p:cNvCxnSpPr/>
            <p:nvPr/>
          </p:nvCxnSpPr>
          <p:spPr bwMode="gray">
            <a:xfrm flipH="1">
              <a:off x="7115518" y="3399344"/>
              <a:ext cx="1397154" cy="0"/>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41"/>
            <p:cNvCxnSpPr/>
            <p:nvPr/>
          </p:nvCxnSpPr>
          <p:spPr bwMode="gray">
            <a:xfrm>
              <a:off x="7019203" y="3495659"/>
              <a:ext cx="0" cy="813766"/>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43" name="Straight Connector 42"/>
            <p:cNvCxnSpPr/>
            <p:nvPr/>
          </p:nvCxnSpPr>
          <p:spPr bwMode="gray">
            <a:xfrm flipH="1">
              <a:off x="6281220" y="4405735"/>
              <a:ext cx="645154" cy="6"/>
            </a:xfrm>
            <a:prstGeom prst="line">
              <a:avLst/>
            </a:prstGeom>
            <a:noFill/>
            <a:ln w="19050" cap="rnd">
              <a:solidFill>
                <a:schemeClr val="tx2"/>
              </a:solidFill>
              <a:headEnd type="none"/>
              <a:tailEnd type="oval"/>
            </a:ln>
          </p:spPr>
          <p:style>
            <a:lnRef idx="2">
              <a:schemeClr val="accent1">
                <a:shade val="50000"/>
              </a:schemeClr>
            </a:lnRef>
            <a:fillRef idx="1">
              <a:schemeClr val="accent1"/>
            </a:fillRef>
            <a:effectRef idx="0">
              <a:schemeClr val="accent1"/>
            </a:effectRef>
            <a:fontRef idx="minor">
              <a:schemeClr val="lt1"/>
            </a:fontRef>
          </p:style>
        </p:cxnSp>
        <p:sp>
          <p:nvSpPr>
            <p:cNvPr id="44" name="Arc 43"/>
            <p:cNvSpPr/>
            <p:nvPr/>
          </p:nvSpPr>
          <p:spPr bwMode="gray">
            <a:xfrm>
              <a:off x="7019203" y="3399344"/>
              <a:ext cx="192630" cy="192630"/>
            </a:xfrm>
            <a:prstGeom prst="arc">
              <a:avLst>
                <a:gd name="adj1" fmla="val 10696712"/>
                <a:gd name="adj2" fmla="val 16427644"/>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Arc 44"/>
            <p:cNvSpPr/>
            <p:nvPr/>
          </p:nvSpPr>
          <p:spPr bwMode="gray">
            <a:xfrm rot="10800000">
              <a:off x="6827219" y="4213110"/>
              <a:ext cx="192630" cy="192630"/>
            </a:xfrm>
            <a:prstGeom prst="arc">
              <a:avLst>
                <a:gd name="adj1" fmla="val 10696712"/>
                <a:gd name="adj2" fmla="val 16234636"/>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6" name="Straight Connector 45"/>
            <p:cNvCxnSpPr/>
            <p:nvPr/>
          </p:nvCxnSpPr>
          <p:spPr bwMode="gray">
            <a:xfrm flipH="1" flipV="1">
              <a:off x="5022900" y="2935527"/>
              <a:ext cx="3489772" cy="212"/>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47" name="Arc 46"/>
            <p:cNvSpPr/>
            <p:nvPr/>
          </p:nvSpPr>
          <p:spPr bwMode="gray">
            <a:xfrm flipV="1">
              <a:off x="4925293" y="2743108"/>
              <a:ext cx="192630" cy="192630"/>
            </a:xfrm>
            <a:prstGeom prst="arc">
              <a:avLst>
                <a:gd name="adj1" fmla="val 10696712"/>
                <a:gd name="adj2" fmla="val 16427644"/>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48" name="Straight Connector 47"/>
            <p:cNvCxnSpPr>
              <a:endCxn id="49" idx="0"/>
            </p:cNvCxnSpPr>
            <p:nvPr/>
          </p:nvCxnSpPr>
          <p:spPr bwMode="gray">
            <a:xfrm flipH="1" flipV="1">
              <a:off x="4925250" y="2294832"/>
              <a:ext cx="44" cy="544592"/>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49" name="Arc 48"/>
            <p:cNvSpPr/>
            <p:nvPr/>
          </p:nvSpPr>
          <p:spPr bwMode="gray">
            <a:xfrm rot="10800000" flipV="1">
              <a:off x="4732663" y="2195624"/>
              <a:ext cx="192630" cy="192630"/>
            </a:xfrm>
            <a:prstGeom prst="arc">
              <a:avLst>
                <a:gd name="adj1" fmla="val 10696712"/>
                <a:gd name="adj2" fmla="val 16234636"/>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0" name="Straight Connector 49"/>
            <p:cNvCxnSpPr/>
            <p:nvPr/>
          </p:nvCxnSpPr>
          <p:spPr bwMode="gray">
            <a:xfrm flipH="1" flipV="1">
              <a:off x="3814372" y="2195624"/>
              <a:ext cx="1019685" cy="0"/>
            </a:xfrm>
            <a:prstGeom prst="line">
              <a:avLst/>
            </a:prstGeom>
            <a:noFill/>
            <a:ln w="19050" cap="rnd">
              <a:solidFill>
                <a:schemeClr val="tx2"/>
              </a:solidFill>
              <a:headEnd type="none"/>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a:endCxn id="52" idx="2"/>
            </p:cNvCxnSpPr>
            <p:nvPr/>
          </p:nvCxnSpPr>
          <p:spPr bwMode="gray">
            <a:xfrm flipH="1" flipV="1">
              <a:off x="6811271" y="2776231"/>
              <a:ext cx="1701401" cy="212"/>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52" name="Arc 51"/>
            <p:cNvSpPr/>
            <p:nvPr/>
          </p:nvSpPr>
          <p:spPr bwMode="gray">
            <a:xfrm flipV="1">
              <a:off x="6708583" y="2583812"/>
              <a:ext cx="192630" cy="192630"/>
            </a:xfrm>
            <a:prstGeom prst="arc">
              <a:avLst>
                <a:gd name="adj1" fmla="val 10696712"/>
                <a:gd name="adj2" fmla="val 16427644"/>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3" name="Straight Connector 52"/>
            <p:cNvCxnSpPr>
              <a:stCxn id="52" idx="0"/>
            </p:cNvCxnSpPr>
            <p:nvPr/>
          </p:nvCxnSpPr>
          <p:spPr bwMode="gray">
            <a:xfrm flipV="1">
              <a:off x="6708626" y="1851226"/>
              <a:ext cx="0" cy="826008"/>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54" name="Arc 53"/>
            <p:cNvSpPr/>
            <p:nvPr/>
          </p:nvSpPr>
          <p:spPr bwMode="gray">
            <a:xfrm rot="10800000" flipV="1">
              <a:off x="6515953" y="1754911"/>
              <a:ext cx="192630" cy="192630"/>
            </a:xfrm>
            <a:prstGeom prst="arc">
              <a:avLst>
                <a:gd name="adj1" fmla="val 10696712"/>
                <a:gd name="adj2" fmla="val 16234636"/>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55" name="Straight Connector 54"/>
            <p:cNvCxnSpPr/>
            <p:nvPr/>
          </p:nvCxnSpPr>
          <p:spPr bwMode="gray">
            <a:xfrm flipH="1" flipV="1">
              <a:off x="6130290" y="1754911"/>
              <a:ext cx="487060" cy="1"/>
            </a:xfrm>
            <a:prstGeom prst="line">
              <a:avLst/>
            </a:prstGeom>
            <a:noFill/>
            <a:ln w="19050" cap="rnd">
              <a:solidFill>
                <a:schemeClr val="tx2"/>
              </a:solidFill>
              <a:headEnd type="none"/>
              <a:tailEnd type="oval"/>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p:nvCxnSpPr>
          <p:spPr bwMode="gray">
            <a:xfrm flipH="1">
              <a:off x="2176471" y="3051535"/>
              <a:ext cx="6359061" cy="0"/>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57" name="Arc 56"/>
            <p:cNvSpPr/>
            <p:nvPr/>
          </p:nvSpPr>
          <p:spPr bwMode="gray">
            <a:xfrm>
              <a:off x="2080156" y="3051868"/>
              <a:ext cx="192630" cy="192630"/>
            </a:xfrm>
            <a:prstGeom prst="arc">
              <a:avLst>
                <a:gd name="adj1" fmla="val 10696712"/>
                <a:gd name="adj2" fmla="val 16059771"/>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Oval 1"/>
            <p:cNvSpPr/>
            <p:nvPr/>
          </p:nvSpPr>
          <p:spPr bwMode="gray">
            <a:xfrm>
              <a:off x="2741902" y="3401936"/>
              <a:ext cx="392026" cy="392026"/>
            </a:xfrm>
            <a:custGeom>
              <a:avLst/>
              <a:gdLst/>
              <a:ahLst/>
              <a:cxnLst/>
              <a:rect l="l" t="t" r="r" b="b"/>
              <a:pathLst>
                <a:path w="250686" h="250687">
                  <a:moveTo>
                    <a:pt x="125343" y="0"/>
                  </a:moveTo>
                  <a:cubicBezTo>
                    <a:pt x="194568" y="0"/>
                    <a:pt x="250686" y="56119"/>
                    <a:pt x="250686" y="125344"/>
                  </a:cubicBezTo>
                  <a:cubicBezTo>
                    <a:pt x="250686" y="194569"/>
                    <a:pt x="194568" y="250687"/>
                    <a:pt x="125343" y="250687"/>
                  </a:cubicBezTo>
                  <a:cubicBezTo>
                    <a:pt x="56118" y="250687"/>
                    <a:pt x="0" y="194569"/>
                    <a:pt x="0" y="125344"/>
                  </a:cubicBezTo>
                  <a:cubicBezTo>
                    <a:pt x="0" y="56119"/>
                    <a:pt x="56118" y="0"/>
                    <a:pt x="125343" y="0"/>
                  </a:cubicBezTo>
                  <a:close/>
                </a:path>
              </a:pathLst>
            </a:custGeom>
            <a:solidFill>
              <a:srgbClr val="FFFFFF">
                <a:alpha val="74902"/>
              </a:srgbClr>
            </a:solidFill>
            <a:ln w="19050" cap="sq">
              <a:noFill/>
              <a:miter lim="800000"/>
              <a:headEnd/>
              <a:tailEnd/>
            </a:ln>
            <a:effec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algn="ctr">
                <a:buFont typeface="Wingdings" charset="0"/>
                <a:buNone/>
              </a:pPr>
              <a:r>
                <a:rPr lang="de-DE" sz="1400" dirty="0" err="1">
                  <a:solidFill>
                    <a:schemeClr val="accent1"/>
                  </a:solidFill>
                </a:rPr>
                <a:t>Hg</a:t>
              </a:r>
              <a:endParaRPr lang="de-DE" sz="1400" dirty="0">
                <a:solidFill>
                  <a:schemeClr val="accent1"/>
                </a:solidFill>
              </a:endParaRPr>
            </a:p>
          </p:txBody>
        </p:sp>
        <p:sp>
          <p:nvSpPr>
            <p:cNvPr id="59" name="Snip Same Side Corner Rectangle 53"/>
            <p:cNvSpPr/>
            <p:nvPr/>
          </p:nvSpPr>
          <p:spPr bwMode="gray">
            <a:xfrm rot="13500000" flipH="1">
              <a:off x="2614845" y="3356808"/>
              <a:ext cx="378114" cy="753688"/>
            </a:xfrm>
            <a:custGeom>
              <a:avLst/>
              <a:gdLst/>
              <a:ahLst/>
              <a:cxnLst/>
              <a:rect l="l" t="t" r="r" b="b"/>
              <a:pathLst>
                <a:path w="436368" h="869804">
                  <a:moveTo>
                    <a:pt x="58229" y="811577"/>
                  </a:moveTo>
                  <a:cubicBezTo>
                    <a:pt x="146570" y="899918"/>
                    <a:pt x="289800" y="899918"/>
                    <a:pt x="378141" y="811577"/>
                  </a:cubicBezTo>
                  <a:cubicBezTo>
                    <a:pt x="466482" y="723236"/>
                    <a:pt x="466482" y="580006"/>
                    <a:pt x="378141" y="491665"/>
                  </a:cubicBezTo>
                  <a:cubicBezTo>
                    <a:pt x="289800" y="403324"/>
                    <a:pt x="146570" y="403324"/>
                    <a:pt x="58229" y="491665"/>
                  </a:cubicBezTo>
                  <a:cubicBezTo>
                    <a:pt x="-30112" y="580006"/>
                    <a:pt x="-30112" y="723236"/>
                    <a:pt x="58229" y="811577"/>
                  </a:cubicBezTo>
                  <a:close/>
                  <a:moveTo>
                    <a:pt x="0" y="869804"/>
                  </a:moveTo>
                  <a:cubicBezTo>
                    <a:pt x="-120499" y="749305"/>
                    <a:pt x="-120499" y="553935"/>
                    <a:pt x="0" y="433436"/>
                  </a:cubicBezTo>
                  <a:cubicBezTo>
                    <a:pt x="40846" y="392590"/>
                    <a:pt x="90294" y="365590"/>
                    <a:pt x="142803" y="353584"/>
                  </a:cubicBezTo>
                  <a:lnTo>
                    <a:pt x="142803" y="13739"/>
                  </a:lnTo>
                  <a:lnTo>
                    <a:pt x="156542" y="0"/>
                  </a:lnTo>
                  <a:lnTo>
                    <a:pt x="219743" y="0"/>
                  </a:lnTo>
                  <a:lnTo>
                    <a:pt x="233482" y="13739"/>
                  </a:lnTo>
                  <a:lnTo>
                    <a:pt x="233482" y="344527"/>
                  </a:lnTo>
                  <a:cubicBezTo>
                    <a:pt x="307311" y="347093"/>
                    <a:pt x="380024" y="377091"/>
                    <a:pt x="436368" y="433436"/>
                  </a:cubicBezTo>
                  <a:cubicBezTo>
                    <a:pt x="556868" y="553935"/>
                    <a:pt x="556868" y="749305"/>
                    <a:pt x="436368" y="869804"/>
                  </a:cubicBezTo>
                  <a:cubicBezTo>
                    <a:pt x="315869" y="990304"/>
                    <a:pt x="120500" y="990304"/>
                    <a:pt x="0" y="869804"/>
                  </a:cubicBezTo>
                  <a:close/>
                </a:path>
              </a:pathLst>
            </a:custGeom>
            <a:solidFill>
              <a:schemeClr val="bg1"/>
            </a:solidFill>
            <a:ln w="19050" cap="sq">
              <a:solidFill>
                <a:schemeClr val="accent1"/>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cxnSp>
          <p:nvCxnSpPr>
            <p:cNvPr id="60" name="Straight Connector 59"/>
            <p:cNvCxnSpPr/>
            <p:nvPr/>
          </p:nvCxnSpPr>
          <p:spPr bwMode="gray">
            <a:xfrm flipH="1">
              <a:off x="4828978" y="3167331"/>
              <a:ext cx="3683694" cy="0"/>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61" name="Straight Connector 60"/>
            <p:cNvCxnSpPr>
              <a:endCxn id="63" idx="0"/>
            </p:cNvCxnSpPr>
            <p:nvPr/>
          </p:nvCxnSpPr>
          <p:spPr bwMode="gray">
            <a:xfrm>
              <a:off x="4720242" y="3267719"/>
              <a:ext cx="0" cy="240142"/>
            </a:xfrm>
            <a:prstGeom prst="line">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62" name="Straight Connector 61"/>
            <p:cNvCxnSpPr/>
            <p:nvPr/>
          </p:nvCxnSpPr>
          <p:spPr bwMode="gray">
            <a:xfrm flipH="1">
              <a:off x="3361248" y="3607070"/>
              <a:ext cx="1261752" cy="0"/>
            </a:xfrm>
            <a:prstGeom prst="line">
              <a:avLst/>
            </a:prstGeom>
            <a:noFill/>
            <a:ln w="19050" cap="rnd">
              <a:solidFill>
                <a:schemeClr val="tx2"/>
              </a:solidFill>
              <a:headEnd type="none"/>
              <a:tailEnd type="oval"/>
            </a:ln>
          </p:spPr>
          <p:style>
            <a:lnRef idx="2">
              <a:schemeClr val="accent1">
                <a:shade val="50000"/>
              </a:schemeClr>
            </a:lnRef>
            <a:fillRef idx="1">
              <a:schemeClr val="accent1"/>
            </a:fillRef>
            <a:effectRef idx="0">
              <a:schemeClr val="accent1"/>
            </a:effectRef>
            <a:fontRef idx="minor">
              <a:schemeClr val="lt1"/>
            </a:fontRef>
          </p:style>
        </p:cxnSp>
        <p:sp>
          <p:nvSpPr>
            <p:cNvPr id="63" name="Arc 62"/>
            <p:cNvSpPr/>
            <p:nvPr/>
          </p:nvSpPr>
          <p:spPr bwMode="gray">
            <a:xfrm rot="10800000">
              <a:off x="4527655" y="3414439"/>
              <a:ext cx="192630" cy="192630"/>
            </a:xfrm>
            <a:prstGeom prst="arc">
              <a:avLst>
                <a:gd name="adj1" fmla="val 10696712"/>
                <a:gd name="adj2" fmla="val 16234636"/>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Arc 63"/>
            <p:cNvSpPr/>
            <p:nvPr/>
          </p:nvSpPr>
          <p:spPr bwMode="gray">
            <a:xfrm>
              <a:off x="4720242" y="3167331"/>
              <a:ext cx="192630" cy="192630"/>
            </a:xfrm>
            <a:prstGeom prst="arc">
              <a:avLst>
                <a:gd name="adj1" fmla="val 10696712"/>
                <a:gd name="adj2" fmla="val 16427644"/>
              </a:avLst>
            </a:prstGeom>
            <a:noFill/>
            <a:ln w="19050" cap="rnd">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Rectangle 5"/>
            <p:cNvSpPr/>
            <p:nvPr/>
          </p:nvSpPr>
          <p:spPr bwMode="gray">
            <a:xfrm>
              <a:off x="8728964" y="2841565"/>
              <a:ext cx="1087068" cy="492194"/>
            </a:xfrm>
            <a:custGeom>
              <a:avLst/>
              <a:gdLst>
                <a:gd name="connsiteX0" fmla="*/ 0 w 3725280"/>
                <a:gd name="connsiteY0" fmla="*/ 0 h 1900054"/>
                <a:gd name="connsiteX1" fmla="*/ 3725280 w 3725280"/>
                <a:gd name="connsiteY1" fmla="*/ 0 h 1900054"/>
                <a:gd name="connsiteX2" fmla="*/ 3725280 w 3725280"/>
                <a:gd name="connsiteY2" fmla="*/ 1900054 h 1900054"/>
                <a:gd name="connsiteX3" fmla="*/ 0 w 3725280"/>
                <a:gd name="connsiteY3" fmla="*/ 1900054 h 1900054"/>
                <a:gd name="connsiteX4" fmla="*/ 0 w 3725280"/>
                <a:gd name="connsiteY4" fmla="*/ 0 h 1900054"/>
                <a:gd name="connsiteX0" fmla="*/ 3725280 w 3816720"/>
                <a:gd name="connsiteY0" fmla="*/ 0 h 1900054"/>
                <a:gd name="connsiteX1" fmla="*/ 3725280 w 3816720"/>
                <a:gd name="connsiteY1" fmla="*/ 1900054 h 1900054"/>
                <a:gd name="connsiteX2" fmla="*/ 0 w 3816720"/>
                <a:gd name="connsiteY2" fmla="*/ 1900054 h 1900054"/>
                <a:gd name="connsiteX3" fmla="*/ 0 w 3816720"/>
                <a:gd name="connsiteY3" fmla="*/ 0 h 1900054"/>
                <a:gd name="connsiteX4" fmla="*/ 3816720 w 3816720"/>
                <a:gd name="connsiteY4" fmla="*/ 91440 h 1900054"/>
                <a:gd name="connsiteX0" fmla="*/ 3725280 w 3725280"/>
                <a:gd name="connsiteY0" fmla="*/ 0 h 1900054"/>
                <a:gd name="connsiteX1" fmla="*/ 3725280 w 3725280"/>
                <a:gd name="connsiteY1" fmla="*/ 1900054 h 1900054"/>
                <a:gd name="connsiteX2" fmla="*/ 0 w 3725280"/>
                <a:gd name="connsiteY2" fmla="*/ 1900054 h 1900054"/>
                <a:gd name="connsiteX3" fmla="*/ 0 w 3725280"/>
                <a:gd name="connsiteY3" fmla="*/ 0 h 1900054"/>
                <a:gd name="connsiteX0" fmla="*/ 3725280 w 3725280"/>
                <a:gd name="connsiteY0" fmla="*/ 1900054 h 1900054"/>
                <a:gd name="connsiteX1" fmla="*/ 0 w 3725280"/>
                <a:gd name="connsiteY1" fmla="*/ 1900054 h 1900054"/>
                <a:gd name="connsiteX2" fmla="*/ 0 w 3725280"/>
                <a:gd name="connsiteY2" fmla="*/ 0 h 1900054"/>
              </a:gdLst>
              <a:ahLst/>
              <a:cxnLst>
                <a:cxn ang="0">
                  <a:pos x="connsiteX0" y="connsiteY0"/>
                </a:cxn>
                <a:cxn ang="0">
                  <a:pos x="connsiteX1" y="connsiteY1"/>
                </a:cxn>
                <a:cxn ang="0">
                  <a:pos x="connsiteX2" y="connsiteY2"/>
                </a:cxn>
              </a:cxnLst>
              <a:rect l="l" t="t" r="r" b="b"/>
              <a:pathLst>
                <a:path w="3725280" h="1900054">
                  <a:moveTo>
                    <a:pt x="3725280" y="1900054"/>
                  </a:moveTo>
                  <a:lnTo>
                    <a:pt x="0" y="1900054"/>
                  </a:lnTo>
                  <a:lnTo>
                    <a:pt x="0" y="0"/>
                  </a:lnTo>
                </a:path>
              </a:pathLst>
            </a:custGeom>
            <a:noFill/>
            <a:ln w="12700">
              <a:solidFill>
                <a:schemeClr val="tx1"/>
              </a:solidFill>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66" name="Rectangle 65"/>
            <p:cNvSpPr/>
            <p:nvPr/>
          </p:nvSpPr>
          <p:spPr bwMode="gray">
            <a:xfrm>
              <a:off x="8512672" y="2660805"/>
              <a:ext cx="67298" cy="848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67" name="Group 66"/>
            <p:cNvGrpSpPr/>
            <p:nvPr/>
          </p:nvGrpSpPr>
          <p:grpSpPr bwMode="gray">
            <a:xfrm>
              <a:off x="8360016" y="2672380"/>
              <a:ext cx="1795779" cy="1207156"/>
              <a:chOff x="6420519" y="3201880"/>
              <a:chExt cx="357117" cy="250729"/>
            </a:xfrm>
            <a:noFill/>
          </p:grpSpPr>
          <p:sp>
            <p:nvSpPr>
              <p:cNvPr id="73" name="Rounded Rectangle 24"/>
              <p:cNvSpPr/>
              <p:nvPr/>
            </p:nvSpPr>
            <p:spPr bwMode="gray">
              <a:xfrm>
                <a:off x="6420519" y="3378176"/>
                <a:ext cx="357117" cy="74433"/>
              </a:xfrm>
              <a:custGeom>
                <a:avLst/>
                <a:gdLst>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6079 w 2987325"/>
                  <a:gd name="connsiteY9" fmla="*/ 446664 h 532759"/>
                  <a:gd name="connsiteX10" fmla="*/ 2987325 w 2987325"/>
                  <a:gd name="connsiteY10" fmla="*/ 452837 h 532759"/>
                  <a:gd name="connsiteX11" fmla="*/ 2987324 w 2987325"/>
                  <a:gd name="connsiteY11" fmla="*/ 452837 h 532759"/>
                  <a:gd name="connsiteX12" fmla="*/ 2907402 w 2987325"/>
                  <a:gd name="connsiteY12" fmla="*/ 532759 h 532759"/>
                  <a:gd name="connsiteX13" fmla="*/ 79922 w 2987325"/>
                  <a:gd name="connsiteY13" fmla="*/ 532758 h 532759"/>
                  <a:gd name="connsiteX14" fmla="*/ 0 w 2987325"/>
                  <a:gd name="connsiteY14" fmla="*/ 452837 h 532759"/>
                  <a:gd name="connsiteX15" fmla="*/ 1247 w 2987325"/>
                  <a:gd name="connsiteY15" fmla="*/ 446664 h 532759"/>
                  <a:gd name="connsiteX16" fmla="*/ 249936 w 2987325"/>
                  <a:gd name="connsiteY16" fmla="*/ 367416 h 532759"/>
                  <a:gd name="connsiteX17" fmla="*/ 0 w 2987325"/>
                  <a:gd name="connsiteY17" fmla="*/ 369634 h 532759"/>
                  <a:gd name="connsiteX18" fmla="*/ 325705 w 2987325"/>
                  <a:gd name="connsiteY18" fmla="*/ 43929 h 532759"/>
                  <a:gd name="connsiteX19" fmla="*/ 415602 w 2987325"/>
                  <a:gd name="connsiteY19"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6079 w 2987325"/>
                  <a:gd name="connsiteY9" fmla="*/ 446664 h 532759"/>
                  <a:gd name="connsiteX10" fmla="*/ 2987325 w 2987325"/>
                  <a:gd name="connsiteY10" fmla="*/ 452837 h 532759"/>
                  <a:gd name="connsiteX11" fmla="*/ 2987324 w 2987325"/>
                  <a:gd name="connsiteY11" fmla="*/ 452837 h 532759"/>
                  <a:gd name="connsiteX12" fmla="*/ 2907402 w 2987325"/>
                  <a:gd name="connsiteY12" fmla="*/ 532759 h 532759"/>
                  <a:gd name="connsiteX13" fmla="*/ 79922 w 2987325"/>
                  <a:gd name="connsiteY13" fmla="*/ 532758 h 532759"/>
                  <a:gd name="connsiteX14" fmla="*/ 0 w 2987325"/>
                  <a:gd name="connsiteY14" fmla="*/ 452837 h 532759"/>
                  <a:gd name="connsiteX15" fmla="*/ 1247 w 2987325"/>
                  <a:gd name="connsiteY15" fmla="*/ 446664 h 532759"/>
                  <a:gd name="connsiteX16" fmla="*/ 0 w 2987325"/>
                  <a:gd name="connsiteY16" fmla="*/ 369634 h 532759"/>
                  <a:gd name="connsiteX17" fmla="*/ 325705 w 2987325"/>
                  <a:gd name="connsiteY17" fmla="*/ 43929 h 532759"/>
                  <a:gd name="connsiteX18" fmla="*/ 415602 w 2987325"/>
                  <a:gd name="connsiteY18" fmla="*/ 0 h 532759"/>
                  <a:gd name="connsiteX0" fmla="*/ 0 w 3062292"/>
                  <a:gd name="connsiteY0" fmla="*/ 452836 h 532759"/>
                  <a:gd name="connsiteX1" fmla="*/ 0 w 3062292"/>
                  <a:gd name="connsiteY1" fmla="*/ 452837 h 532759"/>
                  <a:gd name="connsiteX2" fmla="*/ 0 w 3062292"/>
                  <a:gd name="connsiteY2" fmla="*/ 452837 h 532759"/>
                  <a:gd name="connsiteX3" fmla="*/ 0 w 3062292"/>
                  <a:gd name="connsiteY3" fmla="*/ 452836 h 532759"/>
                  <a:gd name="connsiteX4" fmla="*/ 415602 w 3062292"/>
                  <a:gd name="connsiteY4" fmla="*/ 0 h 532759"/>
                  <a:gd name="connsiteX5" fmla="*/ 2571722 w 3062292"/>
                  <a:gd name="connsiteY5" fmla="*/ 0 h 532759"/>
                  <a:gd name="connsiteX6" fmla="*/ 2661619 w 3062292"/>
                  <a:gd name="connsiteY6" fmla="*/ 43929 h 532759"/>
                  <a:gd name="connsiteX7" fmla="*/ 2987324 w 3062292"/>
                  <a:gd name="connsiteY7" fmla="*/ 369634 h 532759"/>
                  <a:gd name="connsiteX8" fmla="*/ 2987324 w 3062292"/>
                  <a:gd name="connsiteY8" fmla="*/ 446664 h 532759"/>
                  <a:gd name="connsiteX9" fmla="*/ 3062279 w 3062292"/>
                  <a:gd name="connsiteY9" fmla="*/ 423804 h 532759"/>
                  <a:gd name="connsiteX10" fmla="*/ 2987325 w 3062292"/>
                  <a:gd name="connsiteY10" fmla="*/ 452837 h 532759"/>
                  <a:gd name="connsiteX11" fmla="*/ 2987324 w 3062292"/>
                  <a:gd name="connsiteY11" fmla="*/ 452837 h 532759"/>
                  <a:gd name="connsiteX12" fmla="*/ 2907402 w 3062292"/>
                  <a:gd name="connsiteY12" fmla="*/ 532759 h 532759"/>
                  <a:gd name="connsiteX13" fmla="*/ 79922 w 3062292"/>
                  <a:gd name="connsiteY13" fmla="*/ 532758 h 532759"/>
                  <a:gd name="connsiteX14" fmla="*/ 0 w 3062292"/>
                  <a:gd name="connsiteY14" fmla="*/ 452837 h 532759"/>
                  <a:gd name="connsiteX15" fmla="*/ 1247 w 3062292"/>
                  <a:gd name="connsiteY15" fmla="*/ 446664 h 532759"/>
                  <a:gd name="connsiteX16" fmla="*/ 0 w 3062292"/>
                  <a:gd name="connsiteY16" fmla="*/ 369634 h 532759"/>
                  <a:gd name="connsiteX17" fmla="*/ 325705 w 3062292"/>
                  <a:gd name="connsiteY17" fmla="*/ 43929 h 532759"/>
                  <a:gd name="connsiteX18" fmla="*/ 415602 w 3062292"/>
                  <a:gd name="connsiteY18"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7325 w 2987325"/>
                  <a:gd name="connsiteY9" fmla="*/ 452837 h 532759"/>
                  <a:gd name="connsiteX10" fmla="*/ 2987324 w 2987325"/>
                  <a:gd name="connsiteY10" fmla="*/ 452837 h 532759"/>
                  <a:gd name="connsiteX11" fmla="*/ 2907402 w 2987325"/>
                  <a:gd name="connsiteY11" fmla="*/ 532759 h 532759"/>
                  <a:gd name="connsiteX12" fmla="*/ 79922 w 2987325"/>
                  <a:gd name="connsiteY12" fmla="*/ 532758 h 532759"/>
                  <a:gd name="connsiteX13" fmla="*/ 0 w 2987325"/>
                  <a:gd name="connsiteY13" fmla="*/ 452837 h 532759"/>
                  <a:gd name="connsiteX14" fmla="*/ 1247 w 2987325"/>
                  <a:gd name="connsiteY14" fmla="*/ 446664 h 532759"/>
                  <a:gd name="connsiteX15" fmla="*/ 0 w 2987325"/>
                  <a:gd name="connsiteY15" fmla="*/ 369634 h 532759"/>
                  <a:gd name="connsiteX16" fmla="*/ 325705 w 2987325"/>
                  <a:gd name="connsiteY16" fmla="*/ 43929 h 532759"/>
                  <a:gd name="connsiteX17" fmla="*/ 415602 w 2987325"/>
                  <a:gd name="connsiteY17"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71144 w 3071144"/>
                  <a:gd name="connsiteY8" fmla="*/ 416184 h 532759"/>
                  <a:gd name="connsiteX9" fmla="*/ 2987325 w 3071144"/>
                  <a:gd name="connsiteY9" fmla="*/ 452837 h 532759"/>
                  <a:gd name="connsiteX10" fmla="*/ 2987324 w 3071144"/>
                  <a:gd name="connsiteY10" fmla="*/ 452837 h 532759"/>
                  <a:gd name="connsiteX11" fmla="*/ 2907402 w 3071144"/>
                  <a:gd name="connsiteY11" fmla="*/ 532759 h 532759"/>
                  <a:gd name="connsiteX12" fmla="*/ 79922 w 3071144"/>
                  <a:gd name="connsiteY12" fmla="*/ 532758 h 532759"/>
                  <a:gd name="connsiteX13" fmla="*/ 0 w 3071144"/>
                  <a:gd name="connsiteY13" fmla="*/ 452837 h 532759"/>
                  <a:gd name="connsiteX14" fmla="*/ 1247 w 3071144"/>
                  <a:gd name="connsiteY14" fmla="*/ 446664 h 532759"/>
                  <a:gd name="connsiteX15" fmla="*/ 0 w 3071144"/>
                  <a:gd name="connsiteY15" fmla="*/ 369634 h 532759"/>
                  <a:gd name="connsiteX16" fmla="*/ 325705 w 3071144"/>
                  <a:gd name="connsiteY16" fmla="*/ 43929 h 532759"/>
                  <a:gd name="connsiteX17" fmla="*/ 415602 w 3071144"/>
                  <a:gd name="connsiteY17"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50046 w 3071144"/>
                  <a:gd name="connsiteY8" fmla="*/ 399674 h 532759"/>
                  <a:gd name="connsiteX9" fmla="*/ 3071144 w 3071144"/>
                  <a:gd name="connsiteY9" fmla="*/ 416184 h 532759"/>
                  <a:gd name="connsiteX10" fmla="*/ 2987325 w 3071144"/>
                  <a:gd name="connsiteY10" fmla="*/ 452837 h 532759"/>
                  <a:gd name="connsiteX11" fmla="*/ 2987324 w 3071144"/>
                  <a:gd name="connsiteY11" fmla="*/ 452837 h 532759"/>
                  <a:gd name="connsiteX12" fmla="*/ 2907402 w 3071144"/>
                  <a:gd name="connsiteY12" fmla="*/ 532759 h 532759"/>
                  <a:gd name="connsiteX13" fmla="*/ 79922 w 3071144"/>
                  <a:gd name="connsiteY13" fmla="*/ 532758 h 532759"/>
                  <a:gd name="connsiteX14" fmla="*/ 0 w 3071144"/>
                  <a:gd name="connsiteY14" fmla="*/ 452837 h 532759"/>
                  <a:gd name="connsiteX15" fmla="*/ 1247 w 3071144"/>
                  <a:gd name="connsiteY15" fmla="*/ 446664 h 532759"/>
                  <a:gd name="connsiteX16" fmla="*/ 0 w 3071144"/>
                  <a:gd name="connsiteY16" fmla="*/ 369634 h 532759"/>
                  <a:gd name="connsiteX17" fmla="*/ 325705 w 3071144"/>
                  <a:gd name="connsiteY17" fmla="*/ 43929 h 532759"/>
                  <a:gd name="connsiteX18" fmla="*/ 415602 w 3071144"/>
                  <a:gd name="connsiteY18"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71144 w 3071144"/>
                  <a:gd name="connsiteY8" fmla="*/ 416184 h 532759"/>
                  <a:gd name="connsiteX9" fmla="*/ 2987325 w 3071144"/>
                  <a:gd name="connsiteY9" fmla="*/ 452837 h 532759"/>
                  <a:gd name="connsiteX10" fmla="*/ 2987324 w 3071144"/>
                  <a:gd name="connsiteY10" fmla="*/ 452837 h 532759"/>
                  <a:gd name="connsiteX11" fmla="*/ 2907402 w 3071144"/>
                  <a:gd name="connsiteY11" fmla="*/ 532759 h 532759"/>
                  <a:gd name="connsiteX12" fmla="*/ 79922 w 3071144"/>
                  <a:gd name="connsiteY12" fmla="*/ 532758 h 532759"/>
                  <a:gd name="connsiteX13" fmla="*/ 0 w 3071144"/>
                  <a:gd name="connsiteY13" fmla="*/ 452837 h 532759"/>
                  <a:gd name="connsiteX14" fmla="*/ 1247 w 3071144"/>
                  <a:gd name="connsiteY14" fmla="*/ 446664 h 532759"/>
                  <a:gd name="connsiteX15" fmla="*/ 0 w 3071144"/>
                  <a:gd name="connsiteY15" fmla="*/ 369634 h 532759"/>
                  <a:gd name="connsiteX16" fmla="*/ 325705 w 3071144"/>
                  <a:gd name="connsiteY16" fmla="*/ 43929 h 532759"/>
                  <a:gd name="connsiteX17" fmla="*/ 415602 w 3071144"/>
                  <a:gd name="connsiteY17"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5 w 2987325"/>
                  <a:gd name="connsiteY8" fmla="*/ 452837 h 532759"/>
                  <a:gd name="connsiteX9" fmla="*/ 2987324 w 2987325"/>
                  <a:gd name="connsiteY9" fmla="*/ 452837 h 532759"/>
                  <a:gd name="connsiteX10" fmla="*/ 2907402 w 2987325"/>
                  <a:gd name="connsiteY10" fmla="*/ 532759 h 532759"/>
                  <a:gd name="connsiteX11" fmla="*/ 79922 w 2987325"/>
                  <a:gd name="connsiteY11" fmla="*/ 532758 h 532759"/>
                  <a:gd name="connsiteX12" fmla="*/ 0 w 2987325"/>
                  <a:gd name="connsiteY12" fmla="*/ 452837 h 532759"/>
                  <a:gd name="connsiteX13" fmla="*/ 1247 w 2987325"/>
                  <a:gd name="connsiteY13" fmla="*/ 446664 h 532759"/>
                  <a:gd name="connsiteX14" fmla="*/ 0 w 2987325"/>
                  <a:gd name="connsiteY14" fmla="*/ 369634 h 532759"/>
                  <a:gd name="connsiteX15" fmla="*/ 325705 w 2987325"/>
                  <a:gd name="connsiteY15" fmla="*/ 43929 h 532759"/>
                  <a:gd name="connsiteX16" fmla="*/ 415602 w 2987325"/>
                  <a:gd name="connsiteY16" fmla="*/ 0 h 532759"/>
                  <a:gd name="connsiteX0" fmla="*/ 52095 w 3039420"/>
                  <a:gd name="connsiteY0" fmla="*/ 452836 h 532759"/>
                  <a:gd name="connsiteX1" fmla="*/ 52095 w 3039420"/>
                  <a:gd name="connsiteY1" fmla="*/ 452837 h 532759"/>
                  <a:gd name="connsiteX2" fmla="*/ 52095 w 3039420"/>
                  <a:gd name="connsiteY2" fmla="*/ 452837 h 532759"/>
                  <a:gd name="connsiteX3" fmla="*/ 52095 w 3039420"/>
                  <a:gd name="connsiteY3" fmla="*/ 452836 h 532759"/>
                  <a:gd name="connsiteX4" fmla="*/ 467697 w 3039420"/>
                  <a:gd name="connsiteY4" fmla="*/ 0 h 532759"/>
                  <a:gd name="connsiteX5" fmla="*/ 2623817 w 3039420"/>
                  <a:gd name="connsiteY5" fmla="*/ 0 h 532759"/>
                  <a:gd name="connsiteX6" fmla="*/ 2713714 w 3039420"/>
                  <a:gd name="connsiteY6" fmla="*/ 43929 h 532759"/>
                  <a:gd name="connsiteX7" fmla="*/ 3039419 w 3039420"/>
                  <a:gd name="connsiteY7" fmla="*/ 369634 h 532759"/>
                  <a:gd name="connsiteX8" fmla="*/ 3039420 w 3039420"/>
                  <a:gd name="connsiteY8" fmla="*/ 452837 h 532759"/>
                  <a:gd name="connsiteX9" fmla="*/ 3039419 w 3039420"/>
                  <a:gd name="connsiteY9" fmla="*/ 452837 h 532759"/>
                  <a:gd name="connsiteX10" fmla="*/ 2959497 w 3039420"/>
                  <a:gd name="connsiteY10" fmla="*/ 532759 h 532759"/>
                  <a:gd name="connsiteX11" fmla="*/ 132017 w 3039420"/>
                  <a:gd name="connsiteY11" fmla="*/ 532758 h 532759"/>
                  <a:gd name="connsiteX12" fmla="*/ 52095 w 3039420"/>
                  <a:gd name="connsiteY12" fmla="*/ 452837 h 532759"/>
                  <a:gd name="connsiteX13" fmla="*/ 2 w 3039420"/>
                  <a:gd name="connsiteY13" fmla="*/ 414279 h 532759"/>
                  <a:gd name="connsiteX14" fmla="*/ 52095 w 3039420"/>
                  <a:gd name="connsiteY14" fmla="*/ 369634 h 532759"/>
                  <a:gd name="connsiteX15" fmla="*/ 377800 w 3039420"/>
                  <a:gd name="connsiteY15" fmla="*/ 43929 h 532759"/>
                  <a:gd name="connsiteX16" fmla="*/ 467697 w 3039420"/>
                  <a:gd name="connsiteY16"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5 w 2987325"/>
                  <a:gd name="connsiteY8" fmla="*/ 452837 h 532759"/>
                  <a:gd name="connsiteX9" fmla="*/ 2987324 w 2987325"/>
                  <a:gd name="connsiteY9" fmla="*/ 452837 h 532759"/>
                  <a:gd name="connsiteX10" fmla="*/ 2907402 w 2987325"/>
                  <a:gd name="connsiteY10" fmla="*/ 532759 h 532759"/>
                  <a:gd name="connsiteX11" fmla="*/ 79922 w 2987325"/>
                  <a:gd name="connsiteY11" fmla="*/ 532758 h 532759"/>
                  <a:gd name="connsiteX12" fmla="*/ 0 w 2987325"/>
                  <a:gd name="connsiteY12" fmla="*/ 452837 h 532759"/>
                  <a:gd name="connsiteX13" fmla="*/ 0 w 2987325"/>
                  <a:gd name="connsiteY13" fmla="*/ 369634 h 532759"/>
                  <a:gd name="connsiteX14" fmla="*/ 325705 w 2987325"/>
                  <a:gd name="connsiteY14" fmla="*/ 43929 h 532759"/>
                  <a:gd name="connsiteX15" fmla="*/ 415602 w 2987325"/>
                  <a:gd name="connsiteY15" fmla="*/ 0 h 53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7325" h="532759">
                    <a:moveTo>
                      <a:pt x="0" y="452836"/>
                    </a:moveTo>
                    <a:lnTo>
                      <a:pt x="0" y="452837"/>
                    </a:lnTo>
                    <a:lnTo>
                      <a:pt x="0" y="452837"/>
                    </a:lnTo>
                    <a:lnTo>
                      <a:pt x="0" y="452836"/>
                    </a:lnTo>
                    <a:close/>
                    <a:moveTo>
                      <a:pt x="415602" y="0"/>
                    </a:moveTo>
                    <a:lnTo>
                      <a:pt x="2571722" y="0"/>
                    </a:lnTo>
                    <a:cubicBezTo>
                      <a:pt x="2608397" y="0"/>
                      <a:pt x="2641174" y="16692"/>
                      <a:pt x="2661619" y="43929"/>
                    </a:cubicBezTo>
                    <a:lnTo>
                      <a:pt x="2987324" y="369634"/>
                    </a:lnTo>
                    <a:cubicBezTo>
                      <a:pt x="2987324" y="397368"/>
                      <a:pt x="2987325" y="425103"/>
                      <a:pt x="2987325" y="452837"/>
                    </a:cubicBezTo>
                    <a:lnTo>
                      <a:pt x="2987324" y="452837"/>
                    </a:lnTo>
                    <a:cubicBezTo>
                      <a:pt x="2987324" y="496977"/>
                      <a:pt x="2951542" y="532759"/>
                      <a:pt x="2907402" y="532759"/>
                    </a:cubicBezTo>
                    <a:lnTo>
                      <a:pt x="79922" y="532758"/>
                    </a:lnTo>
                    <a:cubicBezTo>
                      <a:pt x="35782" y="532758"/>
                      <a:pt x="1" y="496977"/>
                      <a:pt x="0" y="452837"/>
                    </a:cubicBezTo>
                    <a:lnTo>
                      <a:pt x="0" y="369634"/>
                    </a:lnTo>
                    <a:lnTo>
                      <a:pt x="325705" y="43929"/>
                    </a:lnTo>
                    <a:cubicBezTo>
                      <a:pt x="346150" y="16692"/>
                      <a:pt x="378927" y="0"/>
                      <a:pt x="415602" y="0"/>
                    </a:cubicBezTo>
                    <a:close/>
                  </a:path>
                </a:pathLst>
              </a:custGeom>
              <a:grpFill/>
              <a:ln w="19050">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de-DE" dirty="0"/>
              </a:p>
            </p:txBody>
          </p:sp>
          <p:sp>
            <p:nvSpPr>
              <p:cNvPr id="74" name="Rounded Rectangle 73"/>
              <p:cNvSpPr/>
              <p:nvPr/>
            </p:nvSpPr>
            <p:spPr bwMode="gray">
              <a:xfrm>
                <a:off x="6464260" y="3201880"/>
                <a:ext cx="269634" cy="170853"/>
              </a:xfrm>
              <a:prstGeom prst="roundRect">
                <a:avLst>
                  <a:gd name="adj" fmla="val 6562"/>
                </a:avLst>
              </a:prstGeom>
              <a:grpFill/>
              <a:ln w="19050">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de-DE" dirty="0"/>
              </a:p>
            </p:txBody>
          </p:sp>
          <p:sp>
            <p:nvSpPr>
              <p:cNvPr id="75" name="Rounded Rectangle 74"/>
              <p:cNvSpPr/>
              <p:nvPr/>
            </p:nvSpPr>
            <p:spPr bwMode="gray">
              <a:xfrm>
                <a:off x="6475373" y="3218276"/>
                <a:ext cx="247408" cy="139718"/>
              </a:xfrm>
              <a:prstGeom prst="roundRect">
                <a:avLst>
                  <a:gd name="adj" fmla="val 3574"/>
                </a:avLst>
              </a:prstGeom>
              <a:grpFill/>
              <a:ln w="19050">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36000" tIns="36000" rIns="36000" bIns="36000" numCol="1" anchor="ctr" anchorCtr="0" compatLnSpc="1">
                <a:prstTxWarp prst="textNoShape">
                  <a:avLst/>
                </a:prstTxWarp>
              </a:bodyPr>
              <a:lstStyle/>
              <a:p>
                <a:pPr algn="ctr"/>
                <a:endParaRPr lang="de-DE" sz="1600" b="1" dirty="0">
                  <a:solidFill>
                    <a:schemeClr val="accent5"/>
                  </a:solidFill>
                </a:endParaRPr>
              </a:p>
            </p:txBody>
          </p:sp>
          <p:sp>
            <p:nvSpPr>
              <p:cNvPr id="76" name="Rounded Rectangle 24"/>
              <p:cNvSpPr/>
              <p:nvPr/>
            </p:nvSpPr>
            <p:spPr bwMode="gray">
              <a:xfrm flipH="1">
                <a:off x="6541718" y="3414663"/>
                <a:ext cx="114718" cy="19999"/>
              </a:xfrm>
              <a:custGeom>
                <a:avLst/>
                <a:gdLst/>
                <a:ahLst/>
                <a:cxnLst/>
                <a:rect l="l" t="t" r="r" b="b"/>
                <a:pathLst>
                  <a:path w="1583620" h="236220">
                    <a:moveTo>
                      <a:pt x="768950" y="181801"/>
                    </a:moveTo>
                    <a:lnTo>
                      <a:pt x="24017" y="181801"/>
                    </a:lnTo>
                    <a:lnTo>
                      <a:pt x="0" y="236220"/>
                    </a:lnTo>
                    <a:lnTo>
                      <a:pt x="768950" y="236220"/>
                    </a:lnTo>
                    <a:close/>
                    <a:moveTo>
                      <a:pt x="1559604" y="181801"/>
                    </a:moveTo>
                    <a:lnTo>
                      <a:pt x="814669" y="181801"/>
                    </a:lnTo>
                    <a:lnTo>
                      <a:pt x="814669" y="236220"/>
                    </a:lnTo>
                    <a:lnTo>
                      <a:pt x="1583620" y="236220"/>
                    </a:lnTo>
                    <a:close/>
                    <a:moveTo>
                      <a:pt x="1479370" y="0"/>
                    </a:moveTo>
                    <a:lnTo>
                      <a:pt x="104252" y="0"/>
                    </a:lnTo>
                    <a:lnTo>
                      <a:pt x="44195" y="136082"/>
                    </a:lnTo>
                    <a:lnTo>
                      <a:pt x="1539427" y="136082"/>
                    </a:lnTo>
                    <a:close/>
                  </a:path>
                </a:pathLst>
              </a:custGeom>
              <a:grpFill/>
              <a:ln w="19050">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de-DE" dirty="0"/>
              </a:p>
            </p:txBody>
          </p:sp>
        </p:grpSp>
        <p:grpSp>
          <p:nvGrpSpPr>
            <p:cNvPr id="68" name="Group 67"/>
            <p:cNvGrpSpPr/>
            <p:nvPr/>
          </p:nvGrpSpPr>
          <p:grpSpPr bwMode="gray">
            <a:xfrm>
              <a:off x="5474631" y="1501206"/>
              <a:ext cx="496875" cy="611620"/>
              <a:chOff x="5474631" y="1334925"/>
              <a:chExt cx="496875" cy="611620"/>
            </a:xfrm>
          </p:grpSpPr>
          <p:sp>
            <p:nvSpPr>
              <p:cNvPr id="69" name="Rectangle 58"/>
              <p:cNvSpPr/>
              <p:nvPr/>
            </p:nvSpPr>
            <p:spPr bwMode="gray">
              <a:xfrm>
                <a:off x="5474631" y="1334925"/>
                <a:ext cx="496875" cy="611620"/>
              </a:xfrm>
              <a:custGeom>
                <a:avLst/>
                <a:gdLst/>
                <a:ahLst/>
                <a:cxnLst/>
                <a:rect l="l" t="t" r="r" b="b"/>
                <a:pathLst>
                  <a:path w="1039550" h="1279618">
                    <a:moveTo>
                      <a:pt x="519776" y="117506"/>
                    </a:moveTo>
                    <a:cubicBezTo>
                      <a:pt x="295398" y="117506"/>
                      <a:pt x="113504" y="299400"/>
                      <a:pt x="113504" y="523778"/>
                    </a:cubicBezTo>
                    <a:cubicBezTo>
                      <a:pt x="113504" y="748156"/>
                      <a:pt x="295398" y="930050"/>
                      <a:pt x="519776" y="930050"/>
                    </a:cubicBezTo>
                    <a:cubicBezTo>
                      <a:pt x="744154" y="930050"/>
                      <a:pt x="926048" y="748156"/>
                      <a:pt x="926048" y="523778"/>
                    </a:cubicBezTo>
                    <a:cubicBezTo>
                      <a:pt x="926048" y="299400"/>
                      <a:pt x="744154" y="117506"/>
                      <a:pt x="519776" y="117506"/>
                    </a:cubicBezTo>
                    <a:close/>
                    <a:moveTo>
                      <a:pt x="519775" y="0"/>
                    </a:moveTo>
                    <a:cubicBezTo>
                      <a:pt x="806841" y="0"/>
                      <a:pt x="1039550" y="232709"/>
                      <a:pt x="1039550" y="519775"/>
                    </a:cubicBezTo>
                    <a:cubicBezTo>
                      <a:pt x="1039550" y="758568"/>
                      <a:pt x="878519" y="959756"/>
                      <a:pt x="656696" y="1011906"/>
                    </a:cubicBezTo>
                    <a:lnTo>
                      <a:pt x="656696" y="1279618"/>
                    </a:lnTo>
                    <a:lnTo>
                      <a:pt x="382843" y="1279618"/>
                    </a:lnTo>
                    <a:lnTo>
                      <a:pt x="382843" y="1011906"/>
                    </a:lnTo>
                    <a:cubicBezTo>
                      <a:pt x="161025" y="959745"/>
                      <a:pt x="0" y="758568"/>
                      <a:pt x="0" y="519775"/>
                    </a:cubicBezTo>
                    <a:cubicBezTo>
                      <a:pt x="0" y="232709"/>
                      <a:pt x="232709" y="0"/>
                      <a:pt x="519775" y="0"/>
                    </a:cubicBezTo>
                    <a:close/>
                  </a:path>
                </a:pathLst>
              </a:cu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nvGrpSpPr>
              <p:cNvPr id="70" name="Group 69"/>
              <p:cNvGrpSpPr/>
              <p:nvPr/>
            </p:nvGrpSpPr>
            <p:grpSpPr bwMode="gray">
              <a:xfrm rot="18900000">
                <a:off x="5541264" y="1547510"/>
                <a:ext cx="374203" cy="86225"/>
                <a:chOff x="8090824" y="3147113"/>
                <a:chExt cx="850693" cy="180399"/>
              </a:xfrm>
            </p:grpSpPr>
            <p:sp>
              <p:nvSpPr>
                <p:cNvPr id="71" name="Isosceles Triangle 70"/>
                <p:cNvSpPr>
                  <a:spLocks noChangeAspect="1"/>
                </p:cNvSpPr>
                <p:nvPr/>
              </p:nvSpPr>
              <p:spPr bwMode="gray">
                <a:xfrm rot="16200000">
                  <a:off x="8213722" y="3024215"/>
                  <a:ext cx="180399" cy="426195"/>
                </a:xfrm>
                <a:prstGeom prst="triangl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72" name="Isosceles Triangle 71"/>
                <p:cNvSpPr>
                  <a:spLocks noChangeAspect="1"/>
                </p:cNvSpPr>
                <p:nvPr/>
              </p:nvSpPr>
              <p:spPr bwMode="gray">
                <a:xfrm rot="5400000" flipH="1">
                  <a:off x="8638220" y="3024215"/>
                  <a:ext cx="180399" cy="426195"/>
                </a:xfrm>
                <a:prstGeom prst="triangle">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grpSp>
    </p:spTree>
    <p:extLst>
      <p:ext uri="{BB962C8B-B14F-4D97-AF65-F5344CB8AC3E}">
        <p14:creationId xmlns:p14="http://schemas.microsoft.com/office/powerpoint/2010/main" val="56266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1: Title (3) &amp; Content (3) &amp; Box 2">
    <p:spTree>
      <p:nvGrpSpPr>
        <p:cNvPr id="1" name=""/>
        <p:cNvGrpSpPr/>
        <p:nvPr/>
      </p:nvGrpSpPr>
      <p:grpSpPr>
        <a:xfrm>
          <a:off x="0" y="0"/>
          <a:ext cx="0" cy="0"/>
          <a:chOff x="0" y="0"/>
          <a:chExt cx="0" cy="0"/>
        </a:xfrm>
      </p:grpSpPr>
      <p:sp>
        <p:nvSpPr>
          <p:cNvPr id="18" name="Text Placeholder 17"/>
          <p:cNvSpPr>
            <a:spLocks noGrp="1"/>
          </p:cNvSpPr>
          <p:nvPr>
            <p:ph type="body" sz="quarter" idx="28"/>
          </p:nvPr>
        </p:nvSpPr>
        <p:spPr bwMode="gray">
          <a:xfrm>
            <a:off x="333264" y="5452639"/>
            <a:ext cx="11520263"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76B2BC20-ABC6-478C-8E1B-2165F3667B32}"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4" name="Straight Connector 33"/>
          <p:cNvCxnSpPr/>
          <p:nvPr userDrawn="1"/>
        </p:nvCxnSpPr>
        <p:spPr bwMode="gray">
          <a:xfrm>
            <a:off x="412413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06266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74822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176D1A0-7D36-42FE-8B65-73ABE00A4B81}"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gray">
          <a:xfrm>
            <a:off x="333264"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359379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6"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8318"/>
            <a:ext cx="3643200" cy="359379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8318"/>
            <a:ext cx="3643200" cy="359379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401166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176D1A0-7D36-42FE-8B65-73ABE00A4B81}"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3"/>
          </p:nvPr>
        </p:nvSpPr>
        <p:spPr bwMode="gray">
          <a:xfrm>
            <a:off x="333264" y="3666859"/>
            <a:ext cx="3643200" cy="2244572"/>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5"/>
          </p:nvPr>
        </p:nvSpPr>
        <p:spPr bwMode="gray">
          <a:xfrm>
            <a:off x="4271796" y="3667539"/>
            <a:ext cx="3643200" cy="2244572"/>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p:cNvSpPr>
            <a:spLocks noGrp="1"/>
          </p:cNvSpPr>
          <p:nvPr>
            <p:ph sz="quarter" idx="27"/>
          </p:nvPr>
        </p:nvSpPr>
        <p:spPr bwMode="gray">
          <a:xfrm>
            <a:off x="8210327" y="3667539"/>
            <a:ext cx="3643200" cy="2244572"/>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7" name="Content Placeholder 3"/>
          <p:cNvSpPr>
            <a:spLocks noGrp="1"/>
          </p:cNvSpPr>
          <p:nvPr>
            <p:ph sz="quarter" idx="28"/>
          </p:nvPr>
        </p:nvSpPr>
        <p:spPr bwMode="gray">
          <a:xfrm>
            <a:off x="332367" y="1936207"/>
            <a:ext cx="3643200" cy="1612063"/>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3"/>
          <p:cNvSpPr>
            <a:spLocks noGrp="1"/>
          </p:cNvSpPr>
          <p:nvPr>
            <p:ph sz="quarter" idx="29"/>
          </p:nvPr>
        </p:nvSpPr>
        <p:spPr bwMode="gray">
          <a:xfrm>
            <a:off x="4270899" y="1936887"/>
            <a:ext cx="3643200" cy="1612063"/>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30"/>
          </p:nvPr>
        </p:nvSpPr>
        <p:spPr bwMode="gray">
          <a:xfrm>
            <a:off x="8209430" y="1936887"/>
            <a:ext cx="3643200" cy="1612063"/>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04566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3: Title (3) &amp; Content (3) &amp; Box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E78EC23C-A2EE-4E37-B3CA-EB5FB6E0A626}"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17"/>
          <p:cNvSpPr>
            <a:spLocks noGrp="1"/>
          </p:cNvSpPr>
          <p:nvPr>
            <p:ph type="body" sz="quarter" idx="28"/>
          </p:nvPr>
        </p:nvSpPr>
        <p:spPr bwMode="gray">
          <a:xfrm>
            <a:off x="332581" y="5452639"/>
            <a:ext cx="11520683"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9" name="Gleichschenkliges Dreieck 46"/>
          <p:cNvSpPr/>
          <p:nvPr userDrawn="1"/>
        </p:nvSpPr>
        <p:spPr bwMode="gray">
          <a:xfrm rot="5400000">
            <a:off x="6622950" y="3766612"/>
            <a:ext cx="2879092"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
        <p:nvSpPr>
          <p:cNvPr id="24" name="Gleichschenkliges Dreieck 46"/>
          <p:cNvSpPr/>
          <p:nvPr userDrawn="1"/>
        </p:nvSpPr>
        <p:spPr bwMode="gray">
          <a:xfrm rot="5400000">
            <a:off x="2684564" y="3769521"/>
            <a:ext cx="2879093"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dirty="0">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103006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4: Title (3) &amp; Content (6)">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2"/>
            <a:ext cx="3643200" cy="1692493"/>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lvl1pPr>
              <a:defRPr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3"/>
          </p:nvPr>
        </p:nvSpPr>
        <p:spPr bwMode="gray">
          <a:xfrm>
            <a:off x="333264" y="4239659"/>
            <a:ext cx="3643200" cy="1673783"/>
          </a:xfrm>
        </p:spPr>
        <p:txBody>
          <a:bodyPr lIns="0" tIns="0" rIns="0" bIns="0"/>
          <a:lstStyle>
            <a:lvl1pPr>
              <a:defRPr lang="en-US" sz="1800" b="1" kern="1200" dirty="0">
                <a:solidFill>
                  <a:schemeClr val="tx2"/>
                </a:solidFill>
                <a:latin typeface="+mn-lt"/>
                <a:ea typeface="+mn-ea"/>
                <a:cs typeface="+mn-cs"/>
              </a:defRPr>
            </a:lvl1pPr>
            <a:lvl2pPr>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5"/>
          </p:nvPr>
        </p:nvSpPr>
        <p:spPr bwMode="gray">
          <a:xfrm>
            <a:off x="4271796" y="4239659"/>
            <a:ext cx="3643200" cy="1673783"/>
          </a:xfrm>
        </p:spPr>
        <p:txBody>
          <a:bodyPr lIns="0" tIns="0" rIns="0" bIns="0"/>
          <a:lstStyle>
            <a:lvl1pPr>
              <a:defRPr lang="en-US" sz="1800" b="1" kern="1200" dirty="0">
                <a:solidFill>
                  <a:schemeClr val="tx2"/>
                </a:solidFill>
                <a:latin typeface="+mn-lt"/>
                <a:ea typeface="+mn-ea"/>
                <a:cs typeface="+mn-cs"/>
              </a:defRPr>
            </a:lvl1pPr>
            <a:lvl2pPr>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p:cNvSpPr>
            <a:spLocks noGrp="1"/>
          </p:cNvSpPr>
          <p:nvPr>
            <p:ph sz="quarter" idx="27"/>
          </p:nvPr>
        </p:nvSpPr>
        <p:spPr bwMode="gray">
          <a:xfrm>
            <a:off x="8210327" y="4239659"/>
            <a:ext cx="3643200" cy="1673783"/>
          </a:xfrm>
        </p:spPr>
        <p:txBody>
          <a:bodyPr lIns="0" tIns="0" rIns="0" bIns="0"/>
          <a:lstStyle>
            <a:lvl1pPr>
              <a:defRPr lang="en-US" sz="1800" b="1" kern="1200" dirty="0">
                <a:solidFill>
                  <a:schemeClr val="tx2"/>
                </a:solidFill>
                <a:latin typeface="+mn-lt"/>
                <a:ea typeface="+mn-ea"/>
                <a:cs typeface="+mn-cs"/>
              </a:defRPr>
            </a:lvl1pPr>
            <a:lvl2pPr>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FB49FC10-E749-4C4C-8DA8-5C5C82B618BE}"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lang="en-US" sz="1600" kern="1200" dirty="0">
                <a:solidFill>
                  <a:schemeClr val="tx1"/>
                </a:solidFill>
                <a:latin typeface="+mn-lt"/>
                <a:ea typeface="+mn-ea"/>
                <a:cs typeface="+mn-cs"/>
              </a:defRPr>
            </a:lvl2pPr>
            <a:lvl3pPr marL="0" indent="0">
              <a:spcBef>
                <a:spcPts val="0"/>
              </a:spcBef>
              <a:buNone/>
              <a:defRPr lang="en-US" sz="1600" b="1" kern="1200" dirty="0">
                <a:solidFill>
                  <a:schemeClr val="tx2"/>
                </a:solidFill>
                <a:latin typeface="+mn-lt"/>
                <a:ea typeface="+mn-ea"/>
                <a:cs typeface="+mn-cs"/>
              </a:defRPr>
            </a:lvl3pPr>
            <a:lvl4pPr marL="285750" indent="-285750">
              <a:spcBef>
                <a:spcPts val="0"/>
              </a:spcBef>
              <a:buNone/>
              <a:defRPr sz="1600" b="1">
                <a:solidFill>
                  <a:schemeClr val="tx2"/>
                </a:solidFill>
              </a:defRPr>
            </a:lvl4pPr>
            <a:lvl5pPr marL="0" indent="0">
              <a:spcBef>
                <a:spcPts val="0"/>
              </a:spcBef>
              <a:buNone/>
              <a:defRPr lang="en-US" sz="1600" b="1" kern="1200" dirty="0">
                <a:solidFill>
                  <a:schemeClr val="tx2"/>
                </a:solidFill>
                <a:latin typeface="+mn-lt"/>
                <a:ea typeface="+mn-ea"/>
                <a:cs typeface="+mn-cs"/>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0" lvl="2" indent="0" algn="l" defTabSz="914491" rtl="0" eaLnBrk="1" latinLnBrk="0" hangingPunct="1">
              <a:spcBef>
                <a:spcPts val="0"/>
              </a:spcBef>
              <a:buFont typeface="Arial" panose="020B0604020202020204" pitchFamily="34" charset="0"/>
              <a:buNone/>
            </a:pPr>
            <a:r>
              <a:rPr lang="en-US" dirty="0"/>
              <a:t>Second level</a:t>
            </a:r>
          </a:p>
          <a:p>
            <a:pPr lvl="2"/>
            <a:r>
              <a:rPr lang="en-US" dirty="0"/>
              <a:t>Third level</a:t>
            </a:r>
          </a:p>
          <a:p>
            <a:pPr marL="0" lvl="4" indent="0" algn="l" defTabSz="914491" rtl="0" eaLnBrk="1" latinLnBrk="0" hangingPunct="1">
              <a:spcBef>
                <a:spcPts val="0"/>
              </a:spcBef>
              <a:buFont typeface="Arial" panose="020B0604020202020204" pitchFamily="34" charset="0"/>
              <a:buNone/>
            </a:pPr>
            <a:r>
              <a:rPr lang="en-US" dirty="0"/>
              <a:t>Fourth level</a:t>
            </a:r>
          </a:p>
          <a:p>
            <a:pPr lvl="4"/>
            <a:r>
              <a:rPr lang="en-US" dirty="0"/>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4351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5: Title (3) &amp; Content (6) &amp; Box">
    <p:spTree>
      <p:nvGrpSpPr>
        <p:cNvPr id="1" name=""/>
        <p:cNvGrpSpPr/>
        <p:nvPr/>
      </p:nvGrpSpPr>
      <p:grpSpPr>
        <a:xfrm>
          <a:off x="0" y="0"/>
          <a:ext cx="0" cy="0"/>
          <a:chOff x="0" y="0"/>
          <a:chExt cx="0" cy="0"/>
        </a:xfrm>
      </p:grpSpPr>
      <p:sp>
        <p:nvSpPr>
          <p:cNvPr id="28" name="Content Placeholder 3"/>
          <p:cNvSpPr>
            <a:spLocks noGrp="1"/>
          </p:cNvSpPr>
          <p:nvPr>
            <p:ph sz="quarter" idx="28" hasCustomPrompt="1"/>
          </p:nvPr>
        </p:nvSpPr>
        <p:spPr bwMode="gray">
          <a:xfrm>
            <a:off x="333264" y="2317751"/>
            <a:ext cx="3643200" cy="1692493"/>
          </a:xfrm>
        </p:spPr>
        <p:txBody>
          <a:bodyPr lIns="0" tIns="0" rIns="0" bIns="0"/>
          <a:lstStyle>
            <a:lvl1pPr>
              <a:defRPr sz="1600" b="1"/>
            </a:lvl1pPr>
            <a:lvl2pPr>
              <a:defRPr sz="1600"/>
            </a:lvl2pPr>
            <a:lvl3pPr>
              <a:defRPr/>
            </a:lvl3pPr>
            <a:lvl4pPr>
              <a:defRPr/>
            </a:lvl4pPr>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3"/>
          </p:nvPr>
        </p:nvSpPr>
        <p:spPr bwMode="gray">
          <a:xfrm>
            <a:off x="333264" y="4239659"/>
            <a:ext cx="3643200" cy="1028959"/>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5"/>
          </p:nvPr>
        </p:nvSpPr>
        <p:spPr bwMode="gray">
          <a:xfrm>
            <a:off x="4271796" y="4239659"/>
            <a:ext cx="3643200" cy="1028959"/>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p:cNvSpPr>
            <a:spLocks noGrp="1"/>
          </p:cNvSpPr>
          <p:nvPr>
            <p:ph sz="quarter" idx="27"/>
          </p:nvPr>
        </p:nvSpPr>
        <p:spPr bwMode="gray">
          <a:xfrm>
            <a:off x="8210327" y="4239659"/>
            <a:ext cx="3643200" cy="1028959"/>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A15E654D-F1FE-47BD-AEB4-A952F2E268AF}"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1"/>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1"/>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1"/>
            <a:ext cx="3643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ext Placeholder 17"/>
          <p:cNvSpPr>
            <a:spLocks noGrp="1"/>
          </p:cNvSpPr>
          <p:nvPr>
            <p:ph type="body" sz="quarter" idx="31"/>
          </p:nvPr>
        </p:nvSpPr>
        <p:spPr bwMode="gray">
          <a:xfrm>
            <a:off x="333264" y="5452639"/>
            <a:ext cx="11520000"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24"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72703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332367" y="3989616"/>
            <a:ext cx="2655682" cy="192249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2355" y="1931194"/>
            <a:ext cx="2655214" cy="1922496"/>
          </a:xfrm>
        </p:spPr>
        <p:txBody>
          <a:bodyPr lIns="0" tIns="0" rIns="0" bIns="0"/>
          <a:lstStyle>
            <a:lvl1pPr>
              <a:defRPr lang="en-US" sz="1800" b="1" kern="1200" dirty="0">
                <a:solidFill>
                  <a:schemeClr val="tx2"/>
                </a:solidFill>
                <a:latin typeface="+mn-lt"/>
                <a:ea typeface="+mn-ea"/>
                <a:cs typeface="+mn-cs"/>
              </a:defRPr>
            </a:lvl1pPr>
            <a:lvl2pPr>
              <a:defRPr sz="1600"/>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3989616"/>
            <a:ext cx="2655682" cy="192249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3"/>
          </p:nvPr>
        </p:nvSpPr>
        <p:spPr bwMode="gray">
          <a:xfrm>
            <a:off x="9198313" y="1931194"/>
            <a:ext cx="2655214" cy="192249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3607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338137" y="4608121"/>
            <a:ext cx="2655682" cy="1288854"/>
          </a:xfrm>
        </p:spPr>
        <p:txBody>
          <a:bodyPr lIns="0" tIns="0" rIns="0" bIns="0"/>
          <a:lstStyle>
            <a:lvl1pPr>
              <a:defRPr sz="1400" b="1">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43113" y="1931195"/>
            <a:ext cx="2655214" cy="1302804"/>
          </a:xfrm>
        </p:spPr>
        <p:txBody>
          <a:bodyPr lIns="0" tIns="0" rIns="0" bIns="0"/>
          <a:lstStyle>
            <a:lvl1pPr>
              <a:defRPr sz="1400" b="1">
                <a:solidFill>
                  <a:schemeClr val="tx2"/>
                </a:solidFill>
              </a:defRPr>
            </a:lvl1pPr>
            <a:lvl2pPr>
              <a:defRPr sz="14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lang="en-US" sz="1800" b="1" kern="1200" dirty="0">
                <a:solidFill>
                  <a:schemeClr val="tx2"/>
                </a:solidFill>
                <a:latin typeface="+mn-lt"/>
                <a:ea typeface="+mn-ea"/>
                <a:cs typeface="+mn-cs"/>
              </a:defRPr>
            </a:lvl1pPr>
            <a:lvl2pPr>
              <a:defRPr sz="1600"/>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4608120"/>
            <a:ext cx="2655682" cy="1303991"/>
          </a:xfrm>
        </p:spPr>
        <p:txBody>
          <a:bodyPr lIns="0" tIns="0" rIns="0" bIns="0"/>
          <a:lstStyle>
            <a:lvl1pPr>
              <a:defRPr lang="en-US" sz="1400" b="1" kern="1200" dirty="0">
                <a:solidFill>
                  <a:schemeClr val="tx2"/>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3"/>
          </p:nvPr>
        </p:nvSpPr>
        <p:spPr bwMode="gray">
          <a:xfrm>
            <a:off x="9198313" y="1931194"/>
            <a:ext cx="2655214" cy="1302805"/>
          </a:xfrm>
        </p:spPr>
        <p:txBody>
          <a:bodyPr lIns="0" tIns="0" rIns="0" bIns="0"/>
          <a:lstStyle>
            <a:lvl1pPr>
              <a:defRPr lang="en-US" sz="1400" b="1" kern="1200" dirty="0">
                <a:solidFill>
                  <a:schemeClr val="tx2"/>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3"/>
          <p:cNvSpPr>
            <a:spLocks noGrp="1"/>
          </p:cNvSpPr>
          <p:nvPr>
            <p:ph sz="quarter" idx="24"/>
          </p:nvPr>
        </p:nvSpPr>
        <p:spPr bwMode="gray">
          <a:xfrm>
            <a:off x="338137" y="3271451"/>
            <a:ext cx="2655214" cy="1289792"/>
          </a:xfrm>
        </p:spPr>
        <p:txBody>
          <a:bodyPr lIns="0" tIns="0" rIns="0" bIns="0"/>
          <a:lstStyle>
            <a:lvl1pPr>
              <a:defRPr lang="en-US" sz="1400" b="1" kern="1200" dirty="0">
                <a:solidFill>
                  <a:schemeClr val="tx2"/>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3"/>
          <p:cNvSpPr>
            <a:spLocks noGrp="1"/>
          </p:cNvSpPr>
          <p:nvPr>
            <p:ph sz="quarter" idx="25"/>
          </p:nvPr>
        </p:nvSpPr>
        <p:spPr bwMode="gray">
          <a:xfrm>
            <a:off x="9197845" y="3275702"/>
            <a:ext cx="2655214" cy="1302805"/>
          </a:xfrm>
        </p:spPr>
        <p:txBody>
          <a:bodyPr lIns="0" tIns="0" rIns="0" bIns="0"/>
          <a:lstStyle>
            <a:lvl1pPr>
              <a:defRPr lang="en-US" sz="1400" b="1" kern="1200" dirty="0">
                <a:solidFill>
                  <a:schemeClr val="tx2"/>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664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79F5AED-CDE6-4CF9-A19E-ACD3A4FD6C29}"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3"/>
          </p:nvPr>
        </p:nvSpPr>
        <p:spPr bwMode="gray">
          <a:xfrm>
            <a:off x="333264" y="2317638"/>
            <a:ext cx="2656800" cy="3594474"/>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5"/>
          </p:nvPr>
        </p:nvSpPr>
        <p:spPr bwMode="gray">
          <a:xfrm>
            <a:off x="3287752" y="2317638"/>
            <a:ext cx="2656800" cy="359447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p:cNvSpPr>
            <a:spLocks noGrp="1"/>
          </p:cNvSpPr>
          <p:nvPr>
            <p:ph sz="quarter" idx="27"/>
          </p:nvPr>
        </p:nvSpPr>
        <p:spPr bwMode="gray">
          <a:xfrm>
            <a:off x="6242240" y="2317638"/>
            <a:ext cx="2656800" cy="359447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p:cNvCxnSpPr/>
          <p:nvPr userDrawn="1"/>
        </p:nvCxnSpPr>
        <p:spPr bwMode="gray">
          <a:xfrm>
            <a:off x="333264"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p:cNvSpPr>
            <a:spLocks noGrp="1"/>
          </p:cNvSpPr>
          <p:nvPr>
            <p:ph sz="quarter" idx="29"/>
          </p:nvPr>
        </p:nvSpPr>
        <p:spPr bwMode="gray">
          <a:xfrm>
            <a:off x="9196727" y="2317638"/>
            <a:ext cx="2656800" cy="359447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41" name="Straight Connector 40"/>
          <p:cNvCxnSpPr/>
          <p:nvPr userDrawn="1"/>
        </p:nvCxnSpPr>
        <p:spPr bwMode="gray">
          <a:xfrm>
            <a:off x="3138908"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2" name="Straight Connector 41"/>
          <p:cNvCxnSpPr/>
          <p:nvPr userDrawn="1"/>
        </p:nvCxnSpPr>
        <p:spPr bwMode="gray">
          <a:xfrm>
            <a:off x="9047884"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6093396"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286481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3"/>
          </p:nvPr>
        </p:nvSpPr>
        <p:spPr bwMode="gray">
          <a:xfrm>
            <a:off x="333264" y="2317752"/>
            <a:ext cx="2656800" cy="295086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5"/>
          </p:nvPr>
        </p:nvSpPr>
        <p:spPr bwMode="gray">
          <a:xfrm>
            <a:off x="3287752" y="2317752"/>
            <a:ext cx="2656800" cy="295086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p:cNvSpPr>
            <a:spLocks noGrp="1"/>
          </p:cNvSpPr>
          <p:nvPr>
            <p:ph sz="quarter" idx="27"/>
          </p:nvPr>
        </p:nvSpPr>
        <p:spPr bwMode="gray">
          <a:xfrm>
            <a:off x="6242240" y="2317752"/>
            <a:ext cx="2656800" cy="295086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p:cNvCxnSpPr/>
          <p:nvPr userDrawn="1"/>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3"/>
          <p:cNvSpPr>
            <a:spLocks noGrp="1"/>
          </p:cNvSpPr>
          <p:nvPr>
            <p:ph sz="quarter" idx="29"/>
          </p:nvPr>
        </p:nvSpPr>
        <p:spPr bwMode="gray">
          <a:xfrm>
            <a:off x="9196727" y="2317752"/>
            <a:ext cx="2656800" cy="295086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17"/>
          <p:cNvSpPr>
            <a:spLocks noGrp="1"/>
          </p:cNvSpPr>
          <p:nvPr>
            <p:ph type="body" sz="quarter" idx="30"/>
          </p:nvPr>
        </p:nvSpPr>
        <p:spPr bwMode="gray">
          <a:xfrm>
            <a:off x="332366" y="5452639"/>
            <a:ext cx="11520897"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7" name="Date Placeholder 6"/>
          <p:cNvSpPr>
            <a:spLocks noGrp="1"/>
          </p:cNvSpPr>
          <p:nvPr>
            <p:ph type="dt" sz="half" idx="31"/>
          </p:nvPr>
        </p:nvSpPr>
        <p:spPr bwMode="gray"/>
        <p:txBody>
          <a:bodyPr/>
          <a:lstStyle/>
          <a:p>
            <a:fld id="{DF793CCD-C37B-40CA-9C03-8963978AEAF0}" type="datetime4">
              <a:rPr lang="en-US" smtClean="0"/>
              <a:t>September 8, 2019</a:t>
            </a:fld>
            <a:endParaRPr lang="en-US" dirty="0"/>
          </a:p>
        </p:txBody>
      </p:sp>
      <p:sp>
        <p:nvSpPr>
          <p:cNvPr id="8" name="Footer Placeholder 7"/>
          <p:cNvSpPr>
            <a:spLocks noGrp="1"/>
          </p:cNvSpPr>
          <p:nvPr>
            <p:ph type="ftr" sz="quarter" idx="32"/>
          </p:nvPr>
        </p:nvSpPr>
        <p:spPr bwMode="gray"/>
        <p:txBody>
          <a:bodyPr/>
          <a:lstStyle/>
          <a:p>
            <a:pPr lvl="8"/>
            <a:endParaRPr lang="en-US" dirty="0"/>
          </a:p>
        </p:txBody>
      </p:sp>
      <p:sp>
        <p:nvSpPr>
          <p:cNvPr id="10" name="Slide Number Placeholder 9"/>
          <p:cNvSpPr>
            <a:spLocks noGrp="1"/>
          </p:cNvSpPr>
          <p:nvPr>
            <p:ph type="sldNum" sz="quarter" idx="33"/>
          </p:nvPr>
        </p:nvSpPr>
        <p:spPr bwMode="gray"/>
        <p:txBody>
          <a:bodyPr/>
          <a:lstStyle/>
          <a:p>
            <a:r>
              <a:rPr lang="en-US" dirty="0"/>
              <a:t>Slide </a:t>
            </a:r>
            <a:fld id="{619F89D8-7AE3-494A-97F3-03D680869632}" type="slidenum">
              <a:rPr lang="en-US" smtClean="0"/>
              <a:pPr/>
              <a:t>‹#›</a:t>
            </a:fld>
            <a:endParaRPr lang="en-US" dirty="0"/>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42" name="Straight Connector 41"/>
          <p:cNvCxnSpPr/>
          <p:nvPr userDrawn="1"/>
        </p:nvCxnSpPr>
        <p:spPr bwMode="gray">
          <a:xfrm>
            <a:off x="3138908"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9047884"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4" name="Straight Connector 43"/>
          <p:cNvCxnSpPr/>
          <p:nvPr userDrawn="1"/>
        </p:nvCxnSpPr>
        <p:spPr bwMode="gray">
          <a:xfrm>
            <a:off x="6093396"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555734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2_4: Title Slide 4">
    <p:spTree>
      <p:nvGrpSpPr>
        <p:cNvPr id="1" name=""/>
        <p:cNvGrpSpPr/>
        <p:nvPr/>
      </p:nvGrpSpPr>
      <p:grpSpPr>
        <a:xfrm>
          <a:off x="0" y="0"/>
          <a:ext cx="0" cy="0"/>
          <a:chOff x="0" y="0"/>
          <a:chExt cx="0" cy="0"/>
        </a:xfrm>
      </p:grpSpPr>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F7928DCE-18FE-48E0-8C4F-55F2E55FAEDC}"/>
              </a:ext>
            </a:extLst>
          </p:cNvPr>
          <p:cNvGrpSpPr>
            <a:grpSpLocks noChangeAspect="1"/>
          </p:cNvGrpSpPr>
          <p:nvPr userDrawn="1"/>
        </p:nvGrpSpPr>
        <p:grpSpPr>
          <a:xfrm>
            <a:off x="450712" y="761697"/>
            <a:ext cx="11329443" cy="3756735"/>
            <a:chOff x="794360" y="189665"/>
            <a:chExt cx="10811714" cy="3585082"/>
          </a:xfrm>
        </p:grpSpPr>
        <p:cxnSp>
          <p:nvCxnSpPr>
            <p:cNvPr id="15" name="Straight Connector 14">
              <a:extLst>
                <a:ext uri="{FF2B5EF4-FFF2-40B4-BE49-F238E27FC236}">
                  <a16:creationId xmlns:a16="http://schemas.microsoft.com/office/drawing/2014/main" id="{934F90DB-809E-4780-8B36-F32502E5327C}"/>
                </a:ext>
              </a:extLst>
            </p:cNvPr>
            <p:cNvCxnSpPr>
              <a:cxnSpLocks/>
              <a:stCxn id="21" idx="6"/>
              <a:endCxn id="23" idx="2"/>
            </p:cNvCxnSpPr>
            <p:nvPr/>
          </p:nvCxnSpPr>
          <p:spPr bwMode="gray">
            <a:xfrm>
              <a:off x="8081061" y="2607229"/>
              <a:ext cx="2110798" cy="412895"/>
            </a:xfrm>
            <a:prstGeom prst="line">
              <a:avLst/>
            </a:prstGeom>
            <a:ln w="28575">
              <a:solidFill>
                <a:schemeClr val="accent3"/>
              </a:solidFill>
              <a:prstDash val="dash"/>
            </a:ln>
          </p:spPr>
          <p:style>
            <a:lnRef idx="1">
              <a:schemeClr val="accent2"/>
            </a:lnRef>
            <a:fillRef idx="0">
              <a:schemeClr val="accent2"/>
            </a:fillRef>
            <a:effectRef idx="0">
              <a:schemeClr val="accent2"/>
            </a:effectRef>
            <a:fontRef idx="minor">
              <a:schemeClr val="tx1"/>
            </a:fontRef>
          </p:style>
        </p:cxnSp>
        <p:cxnSp>
          <p:nvCxnSpPr>
            <p:cNvPr id="16" name="Straight Connector 15">
              <a:extLst>
                <a:ext uri="{FF2B5EF4-FFF2-40B4-BE49-F238E27FC236}">
                  <a16:creationId xmlns:a16="http://schemas.microsoft.com/office/drawing/2014/main" id="{4A82D28E-25A4-4CCD-81AE-F841E3498F4B}"/>
                </a:ext>
              </a:extLst>
            </p:cNvPr>
            <p:cNvCxnSpPr>
              <a:cxnSpLocks/>
              <a:stCxn id="20" idx="7"/>
              <a:endCxn id="22" idx="3"/>
            </p:cNvCxnSpPr>
            <p:nvPr/>
          </p:nvCxnSpPr>
          <p:spPr bwMode="gray">
            <a:xfrm flipV="1">
              <a:off x="3984868" y="1699490"/>
              <a:ext cx="944605" cy="1371977"/>
            </a:xfrm>
            <a:prstGeom prst="line">
              <a:avLst/>
            </a:prstGeom>
            <a:ln w="28575">
              <a:solidFill>
                <a:schemeClr val="accent3"/>
              </a:solidFill>
              <a:prstDash val="dash"/>
            </a:ln>
          </p:spPr>
          <p:style>
            <a:lnRef idx="1">
              <a:schemeClr val="accent2"/>
            </a:lnRef>
            <a:fillRef idx="0">
              <a:schemeClr val="accent2"/>
            </a:fillRef>
            <a:effectRef idx="0">
              <a:schemeClr val="accent2"/>
            </a:effectRef>
            <a:fontRef idx="minor">
              <a:schemeClr val="tx1"/>
            </a:fontRef>
          </p:style>
        </p:cxnSp>
        <p:cxnSp>
          <p:nvCxnSpPr>
            <p:cNvPr id="17" name="Straight Connector 16">
              <a:extLst>
                <a:ext uri="{FF2B5EF4-FFF2-40B4-BE49-F238E27FC236}">
                  <a16:creationId xmlns:a16="http://schemas.microsoft.com/office/drawing/2014/main" id="{BC6346E3-16A0-4F0A-9945-3C61F2BB5C8E}"/>
                </a:ext>
              </a:extLst>
            </p:cNvPr>
            <p:cNvCxnSpPr>
              <a:cxnSpLocks/>
              <a:stCxn id="24" idx="5"/>
              <a:endCxn id="20" idx="1"/>
            </p:cNvCxnSpPr>
            <p:nvPr/>
          </p:nvCxnSpPr>
          <p:spPr bwMode="gray">
            <a:xfrm>
              <a:off x="1528724" y="1514482"/>
              <a:ext cx="1847777" cy="1556985"/>
            </a:xfrm>
            <a:prstGeom prst="line">
              <a:avLst/>
            </a:prstGeom>
            <a:ln w="28575">
              <a:solidFill>
                <a:schemeClr val="accent3"/>
              </a:solidFill>
              <a:prstDash val="dash"/>
            </a:ln>
          </p:spPr>
          <p:style>
            <a:lnRef idx="1">
              <a:schemeClr val="accent2"/>
            </a:lnRef>
            <a:fillRef idx="0">
              <a:schemeClr val="accent2"/>
            </a:fillRef>
            <a:effectRef idx="0">
              <a:schemeClr val="accent2"/>
            </a:effectRef>
            <a:fontRef idx="minor">
              <a:schemeClr val="tx1"/>
            </a:fontRef>
          </p:style>
        </p:cxnSp>
        <p:cxnSp>
          <p:nvCxnSpPr>
            <p:cNvPr id="19" name="Straight Connector 18">
              <a:extLst>
                <a:ext uri="{FF2B5EF4-FFF2-40B4-BE49-F238E27FC236}">
                  <a16:creationId xmlns:a16="http://schemas.microsoft.com/office/drawing/2014/main" id="{B3A0EDB8-6138-4CDB-BA89-0ABFAB9F5B37}"/>
                </a:ext>
              </a:extLst>
            </p:cNvPr>
            <p:cNvCxnSpPr>
              <a:cxnSpLocks/>
              <a:stCxn id="25" idx="3"/>
              <a:endCxn id="32" idx="7"/>
            </p:cNvCxnSpPr>
            <p:nvPr/>
          </p:nvCxnSpPr>
          <p:spPr bwMode="gray">
            <a:xfrm flipH="1">
              <a:off x="7171162" y="690414"/>
              <a:ext cx="743456" cy="568204"/>
            </a:xfrm>
            <a:prstGeom prst="line">
              <a:avLst/>
            </a:prstGeom>
            <a:ln>
              <a:prstDash val="lgDash"/>
            </a:ln>
          </p:spPr>
          <p:style>
            <a:lnRef idx="1">
              <a:schemeClr val="accent3"/>
            </a:lnRef>
            <a:fillRef idx="0">
              <a:schemeClr val="accent3"/>
            </a:fillRef>
            <a:effectRef idx="0">
              <a:schemeClr val="accent3"/>
            </a:effectRef>
            <a:fontRef idx="minor">
              <a:schemeClr val="tx1"/>
            </a:fontRef>
          </p:style>
        </p:cxnSp>
        <p:sp>
          <p:nvSpPr>
            <p:cNvPr id="20" name="Oval 19">
              <a:extLst>
                <a:ext uri="{FF2B5EF4-FFF2-40B4-BE49-F238E27FC236}">
                  <a16:creationId xmlns:a16="http://schemas.microsoft.com/office/drawing/2014/main" id="{17E3C228-B0B3-475E-B77C-E7F6643A4A99}"/>
                </a:ext>
              </a:extLst>
            </p:cNvPr>
            <p:cNvSpPr>
              <a:spLocks noChangeAspect="1"/>
            </p:cNvSpPr>
            <p:nvPr/>
          </p:nvSpPr>
          <p:spPr bwMode="gray">
            <a:xfrm>
              <a:off x="3250504" y="2951691"/>
              <a:ext cx="860361" cy="817880"/>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de-DE" sz="2400" b="1" dirty="0">
                  <a:solidFill>
                    <a:schemeClr val="bg2"/>
                  </a:solidFill>
                </a:rPr>
                <a:t>N</a:t>
              </a:r>
              <a:r>
                <a:rPr lang="de-DE" sz="2400" b="1" baseline="-25000" dirty="0">
                  <a:solidFill>
                    <a:schemeClr val="bg2"/>
                  </a:solidFill>
                </a:rPr>
                <a:t>2</a:t>
              </a:r>
              <a:endParaRPr lang="en-US" sz="2400" b="1" baseline="-25000" dirty="0" err="1">
                <a:solidFill>
                  <a:schemeClr val="bg2"/>
                </a:solidFill>
              </a:endParaRPr>
            </a:p>
          </p:txBody>
        </p:sp>
        <p:sp>
          <p:nvSpPr>
            <p:cNvPr id="21" name="Oval 20">
              <a:extLst>
                <a:ext uri="{FF2B5EF4-FFF2-40B4-BE49-F238E27FC236}">
                  <a16:creationId xmlns:a16="http://schemas.microsoft.com/office/drawing/2014/main" id="{F90434A6-AA8E-4091-BEE9-9619540CEC9F}"/>
                </a:ext>
              </a:extLst>
            </p:cNvPr>
            <p:cNvSpPr>
              <a:spLocks noChangeAspect="1"/>
            </p:cNvSpPr>
            <p:nvPr/>
          </p:nvSpPr>
          <p:spPr bwMode="gray">
            <a:xfrm>
              <a:off x="7220700" y="2198289"/>
              <a:ext cx="860361" cy="817880"/>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de-DE" sz="2400" b="1" dirty="0">
                  <a:solidFill>
                    <a:schemeClr val="bg2"/>
                  </a:solidFill>
                </a:rPr>
                <a:t>H</a:t>
              </a:r>
              <a:r>
                <a:rPr lang="de-DE" sz="2400" b="1" baseline="-25000" dirty="0">
                  <a:solidFill>
                    <a:schemeClr val="bg2"/>
                  </a:solidFill>
                </a:rPr>
                <a:t>2</a:t>
              </a:r>
              <a:endParaRPr lang="en-US" sz="2400" b="1" baseline="-25000" dirty="0" err="1">
                <a:solidFill>
                  <a:schemeClr val="bg2"/>
                </a:solidFill>
              </a:endParaRPr>
            </a:p>
          </p:txBody>
        </p:sp>
        <p:sp>
          <p:nvSpPr>
            <p:cNvPr id="22" name="Oval 21">
              <a:extLst>
                <a:ext uri="{FF2B5EF4-FFF2-40B4-BE49-F238E27FC236}">
                  <a16:creationId xmlns:a16="http://schemas.microsoft.com/office/drawing/2014/main" id="{031F03AA-46E8-473D-B363-5ACC9E2DF234}"/>
                </a:ext>
              </a:extLst>
            </p:cNvPr>
            <p:cNvSpPr>
              <a:spLocks noChangeAspect="1"/>
            </p:cNvSpPr>
            <p:nvPr/>
          </p:nvSpPr>
          <p:spPr bwMode="gray">
            <a:xfrm>
              <a:off x="4803477" y="1001386"/>
              <a:ext cx="860361" cy="817880"/>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de-DE" sz="2400" b="1" dirty="0">
                  <a:solidFill>
                    <a:schemeClr val="bg2"/>
                  </a:solidFill>
                </a:rPr>
                <a:t>O</a:t>
              </a:r>
              <a:r>
                <a:rPr lang="de-DE" sz="2400" b="1" baseline="-25000" dirty="0">
                  <a:solidFill>
                    <a:schemeClr val="bg2"/>
                  </a:solidFill>
                </a:rPr>
                <a:t>2</a:t>
              </a:r>
              <a:endParaRPr lang="en-US" sz="2400" b="1" baseline="-25000" dirty="0" err="1">
                <a:solidFill>
                  <a:schemeClr val="bg2"/>
                </a:solidFill>
              </a:endParaRPr>
            </a:p>
          </p:txBody>
        </p:sp>
        <p:sp>
          <p:nvSpPr>
            <p:cNvPr id="23" name="Oval 22">
              <a:extLst>
                <a:ext uri="{FF2B5EF4-FFF2-40B4-BE49-F238E27FC236}">
                  <a16:creationId xmlns:a16="http://schemas.microsoft.com/office/drawing/2014/main" id="{DE227764-6C3B-4ED8-BDA1-85A6B667F0D8}"/>
                </a:ext>
              </a:extLst>
            </p:cNvPr>
            <p:cNvSpPr>
              <a:spLocks noChangeAspect="1"/>
            </p:cNvSpPr>
            <p:nvPr/>
          </p:nvSpPr>
          <p:spPr bwMode="gray">
            <a:xfrm>
              <a:off x="10191859" y="2611184"/>
              <a:ext cx="860361" cy="817880"/>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de-DE" sz="2400" b="1">
                  <a:solidFill>
                    <a:schemeClr val="bg2"/>
                  </a:solidFill>
                </a:rPr>
                <a:t>CO</a:t>
              </a:r>
              <a:endParaRPr lang="en-US" sz="2400" b="1" dirty="0" err="1">
                <a:solidFill>
                  <a:schemeClr val="bg2"/>
                </a:solidFill>
              </a:endParaRPr>
            </a:p>
          </p:txBody>
        </p:sp>
        <p:sp>
          <p:nvSpPr>
            <p:cNvPr id="24" name="Oval 23">
              <a:extLst>
                <a:ext uri="{FF2B5EF4-FFF2-40B4-BE49-F238E27FC236}">
                  <a16:creationId xmlns:a16="http://schemas.microsoft.com/office/drawing/2014/main" id="{38973CA0-017F-4E93-8B48-84952F1B092F}"/>
                </a:ext>
              </a:extLst>
            </p:cNvPr>
            <p:cNvSpPr>
              <a:spLocks noChangeAspect="1"/>
            </p:cNvSpPr>
            <p:nvPr/>
          </p:nvSpPr>
          <p:spPr bwMode="gray">
            <a:xfrm>
              <a:off x="794360" y="816378"/>
              <a:ext cx="860361" cy="817880"/>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de-DE" sz="2400" b="1">
                  <a:solidFill>
                    <a:schemeClr val="bg2"/>
                  </a:solidFill>
                </a:rPr>
                <a:t>Ar</a:t>
              </a:r>
              <a:endParaRPr lang="en-US" sz="2400" b="1" dirty="0" err="1">
                <a:solidFill>
                  <a:schemeClr val="bg2"/>
                </a:solidFill>
              </a:endParaRPr>
            </a:p>
          </p:txBody>
        </p:sp>
        <p:sp>
          <p:nvSpPr>
            <p:cNvPr id="25" name="Oval 24">
              <a:extLst>
                <a:ext uri="{FF2B5EF4-FFF2-40B4-BE49-F238E27FC236}">
                  <a16:creationId xmlns:a16="http://schemas.microsoft.com/office/drawing/2014/main" id="{106C0B9B-110D-4E18-8314-1C97AB7761E3}"/>
                </a:ext>
              </a:extLst>
            </p:cNvPr>
            <p:cNvSpPr/>
            <p:nvPr/>
          </p:nvSpPr>
          <p:spPr bwMode="gray">
            <a:xfrm>
              <a:off x="7826010" y="189665"/>
              <a:ext cx="605055" cy="586665"/>
            </a:xfrm>
            <a:prstGeom prst="ellipse">
              <a:avLst/>
            </a:prstGeom>
            <a:no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2">
                      <a:lumMod val="40000"/>
                      <a:lumOff val="60000"/>
                    </a:schemeClr>
                  </a:solidFill>
                </a:rPr>
                <a:t>BTU</a:t>
              </a:r>
              <a:endParaRPr lang="en-US" sz="1400" b="1" dirty="0" err="1">
                <a:solidFill>
                  <a:schemeClr val="bg2">
                    <a:lumMod val="40000"/>
                    <a:lumOff val="60000"/>
                  </a:schemeClr>
                </a:solidFill>
              </a:endParaRPr>
            </a:p>
          </p:txBody>
        </p:sp>
        <p:sp>
          <p:nvSpPr>
            <p:cNvPr id="26" name="Oval 25">
              <a:extLst>
                <a:ext uri="{FF2B5EF4-FFF2-40B4-BE49-F238E27FC236}">
                  <a16:creationId xmlns:a16="http://schemas.microsoft.com/office/drawing/2014/main" id="{06A0B1EA-D33F-4876-800C-A3FCF60D2A69}"/>
                </a:ext>
              </a:extLst>
            </p:cNvPr>
            <p:cNvSpPr/>
            <p:nvPr/>
          </p:nvSpPr>
          <p:spPr bwMode="gray">
            <a:xfrm>
              <a:off x="6594365" y="3188082"/>
              <a:ext cx="605055" cy="586665"/>
            </a:xfrm>
            <a:prstGeom prst="ellipse">
              <a:avLst/>
            </a:prstGeom>
            <a:no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400" b="1">
                  <a:solidFill>
                    <a:schemeClr val="bg2">
                      <a:lumMod val="40000"/>
                      <a:lumOff val="60000"/>
                    </a:schemeClr>
                  </a:solidFill>
                </a:rPr>
                <a:t>CV</a:t>
              </a:r>
              <a:endParaRPr lang="en-US" sz="1400" b="1" dirty="0" err="1">
                <a:solidFill>
                  <a:schemeClr val="bg2">
                    <a:lumMod val="40000"/>
                    <a:lumOff val="60000"/>
                  </a:schemeClr>
                </a:solidFill>
              </a:endParaRPr>
            </a:p>
          </p:txBody>
        </p:sp>
        <p:sp>
          <p:nvSpPr>
            <p:cNvPr id="27" name="Oval 26">
              <a:extLst>
                <a:ext uri="{FF2B5EF4-FFF2-40B4-BE49-F238E27FC236}">
                  <a16:creationId xmlns:a16="http://schemas.microsoft.com/office/drawing/2014/main" id="{6528B529-CD31-4829-9729-FEBE063007BD}"/>
                </a:ext>
              </a:extLst>
            </p:cNvPr>
            <p:cNvSpPr/>
            <p:nvPr/>
          </p:nvSpPr>
          <p:spPr bwMode="gray">
            <a:xfrm>
              <a:off x="8228878" y="3067298"/>
              <a:ext cx="605055" cy="586665"/>
            </a:xfrm>
            <a:prstGeom prst="ellipse">
              <a:avLst/>
            </a:prstGeom>
            <a:no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2">
                      <a:lumMod val="40000"/>
                      <a:lumOff val="60000"/>
                    </a:schemeClr>
                  </a:solidFill>
                </a:rPr>
                <a:t>C</a:t>
              </a:r>
              <a:r>
                <a:rPr lang="de-DE" sz="1400" b="1" baseline="-25000" dirty="0">
                  <a:solidFill>
                    <a:schemeClr val="bg2">
                      <a:lumMod val="40000"/>
                      <a:lumOff val="60000"/>
                    </a:schemeClr>
                  </a:solidFill>
                </a:rPr>
                <a:t>2</a:t>
              </a:r>
              <a:r>
                <a:rPr lang="de-DE" sz="1400" b="1" dirty="0">
                  <a:solidFill>
                    <a:schemeClr val="bg2">
                      <a:lumMod val="40000"/>
                      <a:lumOff val="60000"/>
                    </a:schemeClr>
                  </a:solidFill>
                </a:rPr>
                <a:t>H</a:t>
              </a:r>
              <a:r>
                <a:rPr lang="de-DE" sz="1400" b="1" baseline="-25000" dirty="0">
                  <a:solidFill>
                    <a:schemeClr val="bg2">
                      <a:lumMod val="40000"/>
                      <a:lumOff val="60000"/>
                    </a:schemeClr>
                  </a:solidFill>
                </a:rPr>
                <a:t>2</a:t>
              </a:r>
              <a:endParaRPr lang="en-US" sz="1400" b="1" baseline="-25000" dirty="0" err="1">
                <a:solidFill>
                  <a:schemeClr val="bg2">
                    <a:lumMod val="40000"/>
                    <a:lumOff val="60000"/>
                  </a:schemeClr>
                </a:solidFill>
              </a:endParaRPr>
            </a:p>
          </p:txBody>
        </p:sp>
        <p:sp>
          <p:nvSpPr>
            <p:cNvPr id="28" name="Oval 27">
              <a:extLst>
                <a:ext uri="{FF2B5EF4-FFF2-40B4-BE49-F238E27FC236}">
                  <a16:creationId xmlns:a16="http://schemas.microsoft.com/office/drawing/2014/main" id="{3F7C7EDC-72C4-4E75-BCC9-7A9A59344E8F}"/>
                </a:ext>
              </a:extLst>
            </p:cNvPr>
            <p:cNvSpPr/>
            <p:nvPr/>
          </p:nvSpPr>
          <p:spPr bwMode="gray">
            <a:xfrm>
              <a:off x="8857512" y="2020564"/>
              <a:ext cx="605055" cy="586665"/>
            </a:xfrm>
            <a:prstGeom prst="ellipse">
              <a:avLst/>
            </a:prstGeom>
            <a:no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2">
                      <a:lumMod val="40000"/>
                      <a:lumOff val="60000"/>
                    </a:schemeClr>
                  </a:solidFill>
                </a:rPr>
                <a:t>C</a:t>
              </a:r>
              <a:r>
                <a:rPr lang="de-DE" sz="1400" b="1" baseline="-25000" dirty="0">
                  <a:solidFill>
                    <a:schemeClr val="bg2">
                      <a:lumMod val="40000"/>
                      <a:lumOff val="60000"/>
                    </a:schemeClr>
                  </a:solidFill>
                </a:rPr>
                <a:t>2</a:t>
              </a:r>
              <a:r>
                <a:rPr lang="de-DE" sz="1400" b="1" dirty="0">
                  <a:solidFill>
                    <a:schemeClr val="bg2">
                      <a:lumMod val="40000"/>
                      <a:lumOff val="60000"/>
                    </a:schemeClr>
                  </a:solidFill>
                </a:rPr>
                <a:t>H</a:t>
              </a:r>
              <a:r>
                <a:rPr lang="de-DE" sz="1400" b="1" baseline="-25000" dirty="0">
                  <a:solidFill>
                    <a:schemeClr val="bg2">
                      <a:lumMod val="40000"/>
                      <a:lumOff val="60000"/>
                    </a:schemeClr>
                  </a:solidFill>
                </a:rPr>
                <a:t>4</a:t>
              </a:r>
              <a:endParaRPr lang="en-US" sz="1400" b="1" baseline="-25000" dirty="0" err="1">
                <a:solidFill>
                  <a:schemeClr val="bg2">
                    <a:lumMod val="40000"/>
                    <a:lumOff val="60000"/>
                  </a:schemeClr>
                </a:solidFill>
              </a:endParaRPr>
            </a:p>
          </p:txBody>
        </p:sp>
        <p:sp>
          <p:nvSpPr>
            <p:cNvPr id="29" name="Oval 28">
              <a:extLst>
                <a:ext uri="{FF2B5EF4-FFF2-40B4-BE49-F238E27FC236}">
                  <a16:creationId xmlns:a16="http://schemas.microsoft.com/office/drawing/2014/main" id="{C46CEC5C-4E6F-4282-810B-FE9ABFD0EFFA}"/>
                </a:ext>
              </a:extLst>
            </p:cNvPr>
            <p:cNvSpPr/>
            <p:nvPr/>
          </p:nvSpPr>
          <p:spPr bwMode="gray">
            <a:xfrm>
              <a:off x="5177139" y="2437617"/>
              <a:ext cx="605055" cy="586665"/>
            </a:xfrm>
            <a:prstGeom prst="ellipse">
              <a:avLst/>
            </a:prstGeom>
            <a:no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2">
                      <a:lumMod val="40000"/>
                      <a:lumOff val="60000"/>
                    </a:schemeClr>
                  </a:solidFill>
                </a:rPr>
                <a:t>H</a:t>
              </a:r>
              <a:r>
                <a:rPr lang="de-DE" sz="1400" b="1" baseline="-25000" dirty="0">
                  <a:solidFill>
                    <a:schemeClr val="bg2">
                      <a:lumMod val="40000"/>
                      <a:lumOff val="60000"/>
                    </a:schemeClr>
                  </a:solidFill>
                </a:rPr>
                <a:t>2</a:t>
              </a:r>
              <a:r>
                <a:rPr lang="de-DE" sz="1400" b="1" dirty="0">
                  <a:solidFill>
                    <a:schemeClr val="bg2">
                      <a:lumMod val="40000"/>
                      <a:lumOff val="60000"/>
                    </a:schemeClr>
                  </a:solidFill>
                </a:rPr>
                <a:t>S</a:t>
              </a:r>
              <a:endParaRPr lang="en-US" sz="1400" b="1" baseline="-25000" dirty="0" err="1">
                <a:solidFill>
                  <a:schemeClr val="bg2">
                    <a:lumMod val="40000"/>
                    <a:lumOff val="60000"/>
                  </a:schemeClr>
                </a:solidFill>
              </a:endParaRPr>
            </a:p>
          </p:txBody>
        </p:sp>
        <p:sp>
          <p:nvSpPr>
            <p:cNvPr id="30" name="Oval 29">
              <a:extLst>
                <a:ext uri="{FF2B5EF4-FFF2-40B4-BE49-F238E27FC236}">
                  <a16:creationId xmlns:a16="http://schemas.microsoft.com/office/drawing/2014/main" id="{C6483F14-9E64-4A9C-A205-C0F587BCF5EB}"/>
                </a:ext>
              </a:extLst>
            </p:cNvPr>
            <p:cNvSpPr/>
            <p:nvPr/>
          </p:nvSpPr>
          <p:spPr bwMode="gray">
            <a:xfrm>
              <a:off x="3716659" y="506535"/>
              <a:ext cx="605055" cy="586665"/>
            </a:xfrm>
            <a:prstGeom prst="ellipse">
              <a:avLst/>
            </a:prstGeom>
            <a:no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2">
                      <a:lumMod val="40000"/>
                      <a:lumOff val="60000"/>
                    </a:schemeClr>
                  </a:solidFill>
                </a:rPr>
                <a:t>NH</a:t>
              </a:r>
              <a:r>
                <a:rPr lang="de-DE" sz="1400" b="1" baseline="-25000" dirty="0">
                  <a:solidFill>
                    <a:schemeClr val="bg2">
                      <a:lumMod val="40000"/>
                      <a:lumOff val="60000"/>
                    </a:schemeClr>
                  </a:solidFill>
                </a:rPr>
                <a:t>3</a:t>
              </a:r>
              <a:endParaRPr lang="en-US" sz="1400" b="1" baseline="-25000" dirty="0" err="1">
                <a:solidFill>
                  <a:schemeClr val="bg2">
                    <a:lumMod val="40000"/>
                    <a:lumOff val="60000"/>
                  </a:schemeClr>
                </a:solidFill>
              </a:endParaRPr>
            </a:p>
          </p:txBody>
        </p:sp>
        <p:sp>
          <p:nvSpPr>
            <p:cNvPr id="31" name="Oval 30">
              <a:extLst>
                <a:ext uri="{FF2B5EF4-FFF2-40B4-BE49-F238E27FC236}">
                  <a16:creationId xmlns:a16="http://schemas.microsoft.com/office/drawing/2014/main" id="{797C7940-A1C7-449D-B7A1-2EAD4ABC8803}"/>
                </a:ext>
              </a:extLst>
            </p:cNvPr>
            <p:cNvSpPr/>
            <p:nvPr/>
          </p:nvSpPr>
          <p:spPr bwMode="gray">
            <a:xfrm>
              <a:off x="11001019" y="1780645"/>
              <a:ext cx="605055" cy="586665"/>
            </a:xfrm>
            <a:prstGeom prst="ellipse">
              <a:avLst/>
            </a:prstGeom>
            <a:no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2">
                      <a:lumMod val="40000"/>
                      <a:lumOff val="60000"/>
                    </a:schemeClr>
                  </a:solidFill>
                </a:rPr>
                <a:t>LNG</a:t>
              </a:r>
              <a:endParaRPr lang="en-US" sz="1400" b="1" dirty="0" err="1">
                <a:solidFill>
                  <a:schemeClr val="bg2">
                    <a:lumMod val="40000"/>
                    <a:lumOff val="60000"/>
                  </a:schemeClr>
                </a:solidFill>
              </a:endParaRPr>
            </a:p>
          </p:txBody>
        </p:sp>
        <p:sp>
          <p:nvSpPr>
            <p:cNvPr id="32" name="Oval 31">
              <a:extLst>
                <a:ext uri="{FF2B5EF4-FFF2-40B4-BE49-F238E27FC236}">
                  <a16:creationId xmlns:a16="http://schemas.microsoft.com/office/drawing/2014/main" id="{67407AE2-2CF4-4CBC-B00F-20A20A4BB368}"/>
                </a:ext>
              </a:extLst>
            </p:cNvPr>
            <p:cNvSpPr/>
            <p:nvPr/>
          </p:nvSpPr>
          <p:spPr bwMode="gray">
            <a:xfrm>
              <a:off x="6654714" y="1172703"/>
              <a:ext cx="605055" cy="586665"/>
            </a:xfrm>
            <a:prstGeom prst="ellipse">
              <a:avLst/>
            </a:prstGeom>
            <a:no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2">
                      <a:lumMod val="40000"/>
                      <a:lumOff val="60000"/>
                    </a:schemeClr>
                  </a:solidFill>
                </a:rPr>
                <a:t>CNG</a:t>
              </a:r>
              <a:endParaRPr lang="en-US" sz="1400" b="1" dirty="0" err="1">
                <a:solidFill>
                  <a:schemeClr val="bg2">
                    <a:lumMod val="40000"/>
                    <a:lumOff val="60000"/>
                  </a:schemeClr>
                </a:solidFill>
              </a:endParaRPr>
            </a:p>
          </p:txBody>
        </p:sp>
        <p:cxnSp>
          <p:nvCxnSpPr>
            <p:cNvPr id="33" name="Straight Connector 32">
              <a:extLst>
                <a:ext uri="{FF2B5EF4-FFF2-40B4-BE49-F238E27FC236}">
                  <a16:creationId xmlns:a16="http://schemas.microsoft.com/office/drawing/2014/main" id="{5954BF56-D830-4AD6-B23F-A438A2E433FB}"/>
                </a:ext>
              </a:extLst>
            </p:cNvPr>
            <p:cNvCxnSpPr>
              <a:cxnSpLocks/>
              <a:stCxn id="32" idx="6"/>
              <a:endCxn id="31" idx="2"/>
            </p:cNvCxnSpPr>
            <p:nvPr/>
          </p:nvCxnSpPr>
          <p:spPr bwMode="gray">
            <a:xfrm>
              <a:off x="7259769" y="1466036"/>
              <a:ext cx="3741250" cy="607942"/>
            </a:xfrm>
            <a:prstGeom prst="line">
              <a:avLst/>
            </a:prstGeom>
            <a:ln>
              <a:prstDash val="lgDash"/>
            </a:ln>
          </p:spPr>
          <p:style>
            <a:lnRef idx="1">
              <a:schemeClr val="accent3"/>
            </a:lnRef>
            <a:fillRef idx="0">
              <a:schemeClr val="accent3"/>
            </a:fillRef>
            <a:effectRef idx="0">
              <a:schemeClr val="accent3"/>
            </a:effectRef>
            <a:fontRef idx="minor">
              <a:schemeClr val="tx1"/>
            </a:fontRef>
          </p:style>
        </p:cxnSp>
        <p:cxnSp>
          <p:nvCxnSpPr>
            <p:cNvPr id="34" name="Straight Connector 33">
              <a:extLst>
                <a:ext uri="{FF2B5EF4-FFF2-40B4-BE49-F238E27FC236}">
                  <a16:creationId xmlns:a16="http://schemas.microsoft.com/office/drawing/2014/main" id="{43340DBA-EB2A-46FF-BA20-C37DE3A1D02A}"/>
                </a:ext>
              </a:extLst>
            </p:cNvPr>
            <p:cNvCxnSpPr>
              <a:cxnSpLocks/>
              <a:stCxn id="32" idx="4"/>
              <a:endCxn id="26" idx="0"/>
            </p:cNvCxnSpPr>
            <p:nvPr/>
          </p:nvCxnSpPr>
          <p:spPr bwMode="gray">
            <a:xfrm flipH="1">
              <a:off x="6896893" y="1759368"/>
              <a:ext cx="60349" cy="1428714"/>
            </a:xfrm>
            <a:prstGeom prst="line">
              <a:avLst/>
            </a:prstGeom>
            <a:ln>
              <a:prstDash val="lgDash"/>
            </a:ln>
          </p:spPr>
          <p:style>
            <a:lnRef idx="1">
              <a:schemeClr val="accent3"/>
            </a:lnRef>
            <a:fillRef idx="0">
              <a:schemeClr val="accent3"/>
            </a:fillRef>
            <a:effectRef idx="0">
              <a:schemeClr val="accent3"/>
            </a:effectRef>
            <a:fontRef idx="minor">
              <a:schemeClr val="tx1"/>
            </a:fontRef>
          </p:style>
        </p:cxnSp>
        <p:sp>
          <p:nvSpPr>
            <p:cNvPr id="35" name="Oval 34">
              <a:extLst>
                <a:ext uri="{FF2B5EF4-FFF2-40B4-BE49-F238E27FC236}">
                  <a16:creationId xmlns:a16="http://schemas.microsoft.com/office/drawing/2014/main" id="{A93DD708-7151-45A6-B18D-3C533F626204}"/>
                </a:ext>
              </a:extLst>
            </p:cNvPr>
            <p:cNvSpPr>
              <a:spLocks noChangeAspect="1"/>
            </p:cNvSpPr>
            <p:nvPr/>
          </p:nvSpPr>
          <p:spPr bwMode="gray">
            <a:xfrm>
              <a:off x="9286050" y="517781"/>
              <a:ext cx="860361" cy="817880"/>
            </a:xfrm>
            <a:prstGeom prst="ellipse">
              <a:avLst/>
            </a:prstGeom>
            <a:solidFill>
              <a:schemeClr val="bg1"/>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de-DE" sz="2400" b="1" dirty="0">
                  <a:solidFill>
                    <a:schemeClr val="bg2"/>
                  </a:solidFill>
                </a:rPr>
                <a:t>CO</a:t>
              </a:r>
              <a:r>
                <a:rPr lang="de-DE" sz="2400" b="1" baseline="-25000" dirty="0">
                  <a:solidFill>
                    <a:schemeClr val="bg2"/>
                  </a:solidFill>
                </a:rPr>
                <a:t>2</a:t>
              </a:r>
              <a:endParaRPr lang="en-US" sz="2400" b="1" baseline="-25000" dirty="0" err="1">
                <a:solidFill>
                  <a:schemeClr val="bg2"/>
                </a:solidFill>
              </a:endParaRPr>
            </a:p>
          </p:txBody>
        </p:sp>
        <p:sp>
          <p:nvSpPr>
            <p:cNvPr id="36" name="Oval 35">
              <a:extLst>
                <a:ext uri="{FF2B5EF4-FFF2-40B4-BE49-F238E27FC236}">
                  <a16:creationId xmlns:a16="http://schemas.microsoft.com/office/drawing/2014/main" id="{80601628-6C2F-4C92-8886-13653EA06217}"/>
                </a:ext>
              </a:extLst>
            </p:cNvPr>
            <p:cNvSpPr/>
            <p:nvPr/>
          </p:nvSpPr>
          <p:spPr bwMode="gray">
            <a:xfrm>
              <a:off x="2068587" y="375106"/>
              <a:ext cx="605055" cy="586665"/>
            </a:xfrm>
            <a:prstGeom prst="ellipse">
              <a:avLst/>
            </a:prstGeom>
            <a:no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2">
                      <a:lumMod val="40000"/>
                      <a:lumOff val="60000"/>
                    </a:schemeClr>
                  </a:solidFill>
                </a:rPr>
                <a:t>THC</a:t>
              </a:r>
              <a:endParaRPr lang="en-US" sz="1400" b="1" dirty="0" err="1">
                <a:solidFill>
                  <a:schemeClr val="bg2">
                    <a:lumMod val="40000"/>
                    <a:lumOff val="60000"/>
                  </a:schemeClr>
                </a:solidFill>
              </a:endParaRPr>
            </a:p>
          </p:txBody>
        </p:sp>
        <p:cxnSp>
          <p:nvCxnSpPr>
            <p:cNvPr id="37" name="Straight Connector 36">
              <a:extLst>
                <a:ext uri="{FF2B5EF4-FFF2-40B4-BE49-F238E27FC236}">
                  <a16:creationId xmlns:a16="http://schemas.microsoft.com/office/drawing/2014/main" id="{A1F14C1B-B646-4860-8EBB-F20970E7E994}"/>
                </a:ext>
              </a:extLst>
            </p:cNvPr>
            <p:cNvCxnSpPr>
              <a:cxnSpLocks/>
              <a:stCxn id="39" idx="4"/>
              <a:endCxn id="20" idx="0"/>
            </p:cNvCxnSpPr>
            <p:nvPr/>
          </p:nvCxnSpPr>
          <p:spPr bwMode="gray">
            <a:xfrm>
              <a:off x="3627216" y="2112598"/>
              <a:ext cx="53469" cy="839092"/>
            </a:xfrm>
            <a:prstGeom prst="line">
              <a:avLst/>
            </a:prstGeom>
            <a:ln>
              <a:prstDash val="lgDash"/>
            </a:ln>
          </p:spPr>
          <p:style>
            <a:lnRef idx="1">
              <a:schemeClr val="accent3"/>
            </a:lnRef>
            <a:fillRef idx="0">
              <a:schemeClr val="accent3"/>
            </a:fillRef>
            <a:effectRef idx="0">
              <a:schemeClr val="accent3"/>
            </a:effectRef>
            <a:fontRef idx="minor">
              <a:schemeClr val="tx1"/>
            </a:fontRef>
          </p:style>
        </p:cxnSp>
        <p:sp>
          <p:nvSpPr>
            <p:cNvPr id="38" name="Oval 37">
              <a:extLst>
                <a:ext uri="{FF2B5EF4-FFF2-40B4-BE49-F238E27FC236}">
                  <a16:creationId xmlns:a16="http://schemas.microsoft.com/office/drawing/2014/main" id="{6A9263FC-3464-46CC-9D31-86669EF9814D}"/>
                </a:ext>
              </a:extLst>
            </p:cNvPr>
            <p:cNvSpPr/>
            <p:nvPr/>
          </p:nvSpPr>
          <p:spPr bwMode="gray">
            <a:xfrm>
              <a:off x="1121890" y="2334495"/>
              <a:ext cx="605055" cy="586665"/>
            </a:xfrm>
            <a:prstGeom prst="ellipse">
              <a:avLst/>
            </a:prstGeom>
            <a:no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2">
                      <a:lumMod val="40000"/>
                      <a:lumOff val="60000"/>
                    </a:schemeClr>
                  </a:solidFill>
                </a:rPr>
                <a:t>He</a:t>
              </a:r>
              <a:endParaRPr lang="en-US" sz="1400" b="1" dirty="0" err="1">
                <a:solidFill>
                  <a:schemeClr val="bg2">
                    <a:lumMod val="40000"/>
                    <a:lumOff val="60000"/>
                  </a:schemeClr>
                </a:solidFill>
              </a:endParaRPr>
            </a:p>
          </p:txBody>
        </p:sp>
        <p:sp>
          <p:nvSpPr>
            <p:cNvPr id="39" name="Oval 38">
              <a:extLst>
                <a:ext uri="{FF2B5EF4-FFF2-40B4-BE49-F238E27FC236}">
                  <a16:creationId xmlns:a16="http://schemas.microsoft.com/office/drawing/2014/main" id="{BF189F20-3189-4A91-B00C-C458F4BF2C13}"/>
                </a:ext>
              </a:extLst>
            </p:cNvPr>
            <p:cNvSpPr/>
            <p:nvPr/>
          </p:nvSpPr>
          <p:spPr bwMode="gray">
            <a:xfrm>
              <a:off x="3324688" y="1525934"/>
              <a:ext cx="605055" cy="586665"/>
            </a:xfrm>
            <a:prstGeom prst="ellipse">
              <a:avLst/>
            </a:prstGeom>
            <a:no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2">
                      <a:lumMod val="40000"/>
                      <a:lumOff val="60000"/>
                    </a:schemeClr>
                  </a:solidFill>
                </a:rPr>
                <a:t>N</a:t>
              </a:r>
              <a:r>
                <a:rPr lang="de-DE" sz="1400" b="1" baseline="-25000" dirty="0">
                  <a:solidFill>
                    <a:schemeClr val="bg2">
                      <a:lumMod val="40000"/>
                      <a:lumOff val="60000"/>
                    </a:schemeClr>
                  </a:solidFill>
                </a:rPr>
                <a:t>2</a:t>
              </a:r>
              <a:r>
                <a:rPr lang="de-DE" sz="1400" b="1" dirty="0">
                  <a:solidFill>
                    <a:schemeClr val="bg2">
                      <a:lumMod val="40000"/>
                      <a:lumOff val="60000"/>
                    </a:schemeClr>
                  </a:solidFill>
                </a:rPr>
                <a:t>O</a:t>
              </a:r>
              <a:endParaRPr lang="en-US" sz="1400" b="1" baseline="-25000" dirty="0" err="1">
                <a:solidFill>
                  <a:schemeClr val="bg2">
                    <a:lumMod val="40000"/>
                    <a:lumOff val="60000"/>
                  </a:schemeClr>
                </a:solidFill>
              </a:endParaRPr>
            </a:p>
          </p:txBody>
        </p:sp>
        <p:sp>
          <p:nvSpPr>
            <p:cNvPr id="40" name="Oval 39">
              <a:extLst>
                <a:ext uri="{FF2B5EF4-FFF2-40B4-BE49-F238E27FC236}">
                  <a16:creationId xmlns:a16="http://schemas.microsoft.com/office/drawing/2014/main" id="{7CCDA95F-BDEA-48DA-B029-98DA4EE1EC8D}"/>
                </a:ext>
              </a:extLst>
            </p:cNvPr>
            <p:cNvSpPr/>
            <p:nvPr/>
          </p:nvSpPr>
          <p:spPr bwMode="gray">
            <a:xfrm>
              <a:off x="5926996" y="231760"/>
              <a:ext cx="605055" cy="586665"/>
            </a:xfrm>
            <a:prstGeom prst="ellipse">
              <a:avLst/>
            </a:prstGeom>
            <a:noFill/>
            <a:ln w="381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400" b="1" dirty="0">
                  <a:solidFill>
                    <a:schemeClr val="bg2">
                      <a:lumMod val="40000"/>
                      <a:lumOff val="60000"/>
                    </a:schemeClr>
                  </a:solidFill>
                </a:rPr>
                <a:t>CH</a:t>
              </a:r>
              <a:r>
                <a:rPr lang="de-DE" sz="1400" b="1" baseline="-25000" dirty="0">
                  <a:solidFill>
                    <a:schemeClr val="bg2">
                      <a:lumMod val="40000"/>
                      <a:lumOff val="60000"/>
                    </a:schemeClr>
                  </a:solidFill>
                </a:rPr>
                <a:t>4</a:t>
              </a:r>
              <a:endParaRPr lang="en-US" sz="1400" b="1" baseline="-25000" dirty="0" err="1">
                <a:solidFill>
                  <a:schemeClr val="bg2">
                    <a:lumMod val="40000"/>
                    <a:lumOff val="60000"/>
                  </a:schemeClr>
                </a:solidFill>
              </a:endParaRPr>
            </a:p>
          </p:txBody>
        </p:sp>
      </p:grpSp>
      <p:cxnSp>
        <p:nvCxnSpPr>
          <p:cNvPr id="41" name="Straight Connector 40">
            <a:extLst>
              <a:ext uri="{FF2B5EF4-FFF2-40B4-BE49-F238E27FC236}">
                <a16:creationId xmlns:a16="http://schemas.microsoft.com/office/drawing/2014/main" id="{D06F08E7-8085-4F22-9D09-E803ED003196}"/>
              </a:ext>
            </a:extLst>
          </p:cNvPr>
          <p:cNvCxnSpPr>
            <a:cxnSpLocks/>
            <a:stCxn id="32" idx="3"/>
            <a:endCxn id="29" idx="7"/>
          </p:cNvCxnSpPr>
          <p:nvPr userDrawn="1"/>
        </p:nvCxnSpPr>
        <p:spPr bwMode="gray">
          <a:xfrm flipH="1">
            <a:off x="5584542" y="2316528"/>
            <a:ext cx="1100004" cy="890782"/>
          </a:xfrm>
          <a:prstGeom prst="line">
            <a:avLst/>
          </a:prstGeom>
          <a:ln>
            <a:prstDash val="lgDash"/>
          </a:ln>
        </p:spPr>
        <p:style>
          <a:lnRef idx="1">
            <a:schemeClr val="accent3"/>
          </a:lnRef>
          <a:fillRef idx="0">
            <a:schemeClr val="accent3"/>
          </a:fillRef>
          <a:effectRef idx="0">
            <a:schemeClr val="accent3"/>
          </a:effectRef>
          <a:fontRef idx="minor">
            <a:schemeClr val="tx1"/>
          </a:fontRef>
        </p:style>
      </p:cxnSp>
      <p:cxnSp>
        <p:nvCxnSpPr>
          <p:cNvPr id="42" name="Straight Connector 41">
            <a:extLst>
              <a:ext uri="{FF2B5EF4-FFF2-40B4-BE49-F238E27FC236}">
                <a16:creationId xmlns:a16="http://schemas.microsoft.com/office/drawing/2014/main" id="{457C887F-9944-4908-B6DE-89160D0F69CC}"/>
              </a:ext>
            </a:extLst>
          </p:cNvPr>
          <p:cNvCxnSpPr>
            <a:cxnSpLocks/>
            <a:stCxn id="32" idx="1"/>
            <a:endCxn id="40" idx="5"/>
          </p:cNvCxnSpPr>
          <p:nvPr userDrawn="1"/>
        </p:nvCxnSpPr>
        <p:spPr bwMode="gray">
          <a:xfrm flipH="1" flipV="1">
            <a:off x="6370307" y="1330533"/>
            <a:ext cx="314239" cy="551299"/>
          </a:xfrm>
          <a:prstGeom prst="line">
            <a:avLst/>
          </a:prstGeom>
          <a:ln>
            <a:prstDash val="lgDash"/>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959091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479F5AED-CDE6-4CF9-A19E-ACD3A4FD6C29}"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9" name="Text Placeholder 11"/>
          <p:cNvSpPr>
            <a:spLocks noGrp="1"/>
          </p:cNvSpPr>
          <p:nvPr>
            <p:ph type="body" sz="quarter" idx="16"/>
          </p:nvPr>
        </p:nvSpPr>
        <p:spPr bwMode="gray">
          <a:xfrm>
            <a:off x="333264" y="1931193"/>
            <a:ext cx="2141738"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3"/>
          <p:cNvSpPr>
            <a:spLocks noGrp="1"/>
          </p:cNvSpPr>
          <p:nvPr>
            <p:ph sz="quarter" idx="23"/>
          </p:nvPr>
        </p:nvSpPr>
        <p:spPr bwMode="gray">
          <a:xfrm>
            <a:off x="333264" y="2317638"/>
            <a:ext cx="2141738" cy="15336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8" name="Straight Connector 17"/>
          <p:cNvCxnSpPr/>
          <p:nvPr userDrawn="1"/>
        </p:nvCxnSpPr>
        <p:spPr bwMode="gray">
          <a:xfrm>
            <a:off x="333264" y="2238495"/>
            <a:ext cx="2141738"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5" name="Content Placeholder 3"/>
          <p:cNvSpPr>
            <a:spLocks noGrp="1"/>
          </p:cNvSpPr>
          <p:nvPr>
            <p:ph sz="quarter" idx="30"/>
          </p:nvPr>
        </p:nvSpPr>
        <p:spPr bwMode="gray">
          <a:xfrm>
            <a:off x="321609" y="3983916"/>
            <a:ext cx="2141738" cy="1928196"/>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11"/>
          <p:cNvSpPr>
            <a:spLocks noGrp="1"/>
          </p:cNvSpPr>
          <p:nvPr>
            <p:ph type="body" sz="quarter" idx="31"/>
          </p:nvPr>
        </p:nvSpPr>
        <p:spPr bwMode="gray">
          <a:xfrm>
            <a:off x="2663750" y="1933245"/>
            <a:ext cx="2141738"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3"/>
          <p:cNvSpPr>
            <a:spLocks noGrp="1"/>
          </p:cNvSpPr>
          <p:nvPr>
            <p:ph sz="quarter" idx="32"/>
          </p:nvPr>
        </p:nvSpPr>
        <p:spPr bwMode="gray">
          <a:xfrm>
            <a:off x="2663750" y="2319690"/>
            <a:ext cx="2141738" cy="1533600"/>
          </a:xfrm>
        </p:spPr>
        <p:txBody>
          <a:bodyPr lIns="0" tIns="0" rIns="0" bIns="0"/>
          <a:lstStyle>
            <a:lvl1pPr>
              <a:defRPr b="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0" name="Straight Connector 29"/>
          <p:cNvCxnSpPr/>
          <p:nvPr userDrawn="1"/>
        </p:nvCxnSpPr>
        <p:spPr bwMode="gray">
          <a:xfrm>
            <a:off x="2663750" y="2240547"/>
            <a:ext cx="2141738"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3" name="Content Placeholder 3"/>
          <p:cNvSpPr>
            <a:spLocks noGrp="1"/>
          </p:cNvSpPr>
          <p:nvPr>
            <p:ph sz="quarter" idx="33"/>
          </p:nvPr>
        </p:nvSpPr>
        <p:spPr bwMode="gray">
          <a:xfrm>
            <a:off x="2652095" y="3985968"/>
            <a:ext cx="2141738" cy="1928196"/>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ext Placeholder 11"/>
          <p:cNvSpPr>
            <a:spLocks noGrp="1"/>
          </p:cNvSpPr>
          <p:nvPr>
            <p:ph type="body" sz="quarter" idx="34"/>
          </p:nvPr>
        </p:nvSpPr>
        <p:spPr bwMode="gray">
          <a:xfrm>
            <a:off x="5005040" y="1935297"/>
            <a:ext cx="2141738"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Content Placeholder 3"/>
          <p:cNvSpPr>
            <a:spLocks noGrp="1"/>
          </p:cNvSpPr>
          <p:nvPr>
            <p:ph sz="quarter" idx="35"/>
          </p:nvPr>
        </p:nvSpPr>
        <p:spPr bwMode="gray">
          <a:xfrm>
            <a:off x="5005040" y="2321742"/>
            <a:ext cx="2141738" cy="153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36" name="Straight Connector 35"/>
          <p:cNvCxnSpPr/>
          <p:nvPr userDrawn="1"/>
        </p:nvCxnSpPr>
        <p:spPr bwMode="gray">
          <a:xfrm>
            <a:off x="5005040" y="2242599"/>
            <a:ext cx="2141738"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8" name="Content Placeholder 3"/>
          <p:cNvSpPr>
            <a:spLocks noGrp="1"/>
          </p:cNvSpPr>
          <p:nvPr>
            <p:ph sz="quarter" idx="36"/>
          </p:nvPr>
        </p:nvSpPr>
        <p:spPr bwMode="gray">
          <a:xfrm>
            <a:off x="4993385" y="3988020"/>
            <a:ext cx="2141738" cy="1928196"/>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11"/>
          <p:cNvSpPr>
            <a:spLocks noGrp="1"/>
          </p:cNvSpPr>
          <p:nvPr>
            <p:ph type="body" sz="quarter" idx="37"/>
          </p:nvPr>
        </p:nvSpPr>
        <p:spPr bwMode="gray">
          <a:xfrm>
            <a:off x="7349651" y="1931191"/>
            <a:ext cx="2141738"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0" name="Content Placeholder 3"/>
          <p:cNvSpPr>
            <a:spLocks noGrp="1"/>
          </p:cNvSpPr>
          <p:nvPr>
            <p:ph sz="quarter" idx="38"/>
          </p:nvPr>
        </p:nvSpPr>
        <p:spPr bwMode="gray">
          <a:xfrm>
            <a:off x="7349651" y="2317636"/>
            <a:ext cx="2141738" cy="153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4" name="Straight Connector 43"/>
          <p:cNvCxnSpPr/>
          <p:nvPr userDrawn="1"/>
        </p:nvCxnSpPr>
        <p:spPr bwMode="gray">
          <a:xfrm>
            <a:off x="7349651" y="2238493"/>
            <a:ext cx="2141738"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6" name="Content Placeholder 3"/>
          <p:cNvSpPr>
            <a:spLocks noGrp="1"/>
          </p:cNvSpPr>
          <p:nvPr>
            <p:ph sz="quarter" idx="39"/>
          </p:nvPr>
        </p:nvSpPr>
        <p:spPr bwMode="gray">
          <a:xfrm>
            <a:off x="7348754" y="3983914"/>
            <a:ext cx="2141738" cy="1928196"/>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Text Placeholder 11"/>
          <p:cNvSpPr>
            <a:spLocks noGrp="1"/>
          </p:cNvSpPr>
          <p:nvPr>
            <p:ph type="body" sz="quarter" idx="40"/>
          </p:nvPr>
        </p:nvSpPr>
        <p:spPr bwMode="gray">
          <a:xfrm>
            <a:off x="9695654" y="1935299"/>
            <a:ext cx="2141738"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8" name="Content Placeholder 3"/>
          <p:cNvSpPr>
            <a:spLocks noGrp="1"/>
          </p:cNvSpPr>
          <p:nvPr>
            <p:ph sz="quarter" idx="41"/>
          </p:nvPr>
        </p:nvSpPr>
        <p:spPr bwMode="gray">
          <a:xfrm>
            <a:off x="9695654" y="2321744"/>
            <a:ext cx="2141738" cy="153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9" name="Straight Connector 48"/>
          <p:cNvCxnSpPr/>
          <p:nvPr userDrawn="1"/>
        </p:nvCxnSpPr>
        <p:spPr bwMode="gray">
          <a:xfrm>
            <a:off x="9695654" y="2242601"/>
            <a:ext cx="2141738"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51" name="Content Placeholder 3"/>
          <p:cNvSpPr>
            <a:spLocks noGrp="1"/>
          </p:cNvSpPr>
          <p:nvPr>
            <p:ph sz="quarter" idx="42"/>
          </p:nvPr>
        </p:nvSpPr>
        <p:spPr bwMode="gray">
          <a:xfrm>
            <a:off x="9683999" y="3988022"/>
            <a:ext cx="2141738" cy="1928196"/>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90630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9: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6250004" y="1931197"/>
            <a:ext cx="5603523" cy="1853869"/>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4" y="1931197"/>
            <a:ext cx="5602537" cy="1853869"/>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6095999"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4209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0: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0"/>
          </p:nvPr>
        </p:nvSpPr>
        <p:spPr bwMode="gray">
          <a:xfrm>
            <a:off x="4259985" y="1931197"/>
            <a:ext cx="3643200" cy="1853869"/>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19"/>
          </p:nvPr>
        </p:nvSpPr>
        <p:spPr bwMode="gray">
          <a:xfrm>
            <a:off x="333264" y="1931197"/>
            <a:ext cx="3643200" cy="1853869"/>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21" name="Straight Connector 20"/>
          <p:cNvCxnSpPr/>
          <p:nvPr userDrawn="1"/>
        </p:nvCxnSpPr>
        <p:spPr bwMode="gray">
          <a:xfrm>
            <a:off x="4118225"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8056756"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4" name="Content Placeholder 3"/>
          <p:cNvSpPr>
            <a:spLocks noGrp="1"/>
          </p:cNvSpPr>
          <p:nvPr>
            <p:ph sz="quarter" idx="22"/>
          </p:nvPr>
        </p:nvSpPr>
        <p:spPr bwMode="gray">
          <a:xfrm>
            <a:off x="8210327" y="1931197"/>
            <a:ext cx="3643200" cy="1853869"/>
          </a:xfrm>
        </p:spPr>
        <p:txBody>
          <a:bodyPr lIns="0" tIns="0" rIns="0" bIns="0"/>
          <a:lstStyle>
            <a:lvl1pPr>
              <a:defRPr lang="en-US" sz="1800" b="1" kern="1200" dirty="0">
                <a:solidFill>
                  <a:schemeClr val="tx2"/>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141787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1: Content (8)">
    <p:spTree>
      <p:nvGrpSpPr>
        <p:cNvPr id="1" name=""/>
        <p:cNvGrpSpPr/>
        <p:nvPr/>
      </p:nvGrpSpPr>
      <p:grpSpPr>
        <a:xfrm>
          <a:off x="0" y="0"/>
          <a:ext cx="0" cy="0"/>
          <a:chOff x="0" y="0"/>
          <a:chExt cx="0" cy="0"/>
        </a:xfrm>
      </p:grpSpPr>
      <p:cxnSp>
        <p:nvCxnSpPr>
          <p:cNvPr id="18" name="Straight Connector 17"/>
          <p:cNvCxnSpPr/>
          <p:nvPr userDrawn="1"/>
        </p:nvCxnSpPr>
        <p:spPr bwMode="gray">
          <a:xfrm>
            <a:off x="333527" y="3925094"/>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24"/>
          </p:nvPr>
        </p:nvSpPr>
        <p:spPr bwMode="gray"/>
        <p:txBody>
          <a:bodyPr/>
          <a:lstStyle/>
          <a:p>
            <a:fld id="{32E27045-0511-42A6-9AC3-A3212EB42885}" type="datetime4">
              <a:rPr lang="en-US" smtClean="0"/>
              <a:t>September 8, 2019</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bwMode="gray"/>
        <p:txBody>
          <a:bodyPr/>
          <a:lstStyle/>
          <a:p>
            <a:r>
              <a:rPr lang="en-US"/>
              <a:t>Click to edit Master title style</a:t>
            </a:r>
          </a:p>
        </p:txBody>
      </p:sp>
      <p:sp>
        <p:nvSpPr>
          <p:cNvPr id="16" name="Content Placeholder 3">
            <a:extLst>
              <a:ext uri="{FF2B5EF4-FFF2-40B4-BE49-F238E27FC236}">
                <a16:creationId xmlns:a16="http://schemas.microsoft.com/office/drawing/2014/main" id="{FF3D1E36-76EF-46A9-971E-282A52F56660}"/>
              </a:ext>
            </a:extLst>
          </p:cNvPr>
          <p:cNvSpPr>
            <a:spLocks noGrp="1"/>
          </p:cNvSpPr>
          <p:nvPr>
            <p:ph sz="quarter" idx="31"/>
          </p:nvPr>
        </p:nvSpPr>
        <p:spPr bwMode="gray">
          <a:xfrm>
            <a:off x="332367" y="1927096"/>
            <a:ext cx="2656800" cy="1897200"/>
          </a:xfrm>
        </p:spPr>
        <p:txBody>
          <a:bodyPr lIns="0" tIns="0" rIns="0" bIns="0" anchor="ctr"/>
          <a:lstStyle>
            <a:lvl1pPr algn="ctr">
              <a:defRPr b="1"/>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6559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41: Content (8)">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2098"/>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24"/>
          </p:nvPr>
        </p:nvSpPr>
        <p:spPr bwMode="gray"/>
        <p:txBody>
          <a:bodyPr/>
          <a:lstStyle/>
          <a:p>
            <a:fld id="{32E27045-0511-42A6-9AC3-A3212EB42885}" type="datetime4">
              <a:rPr lang="en-US" smtClean="0"/>
              <a:t>September 8, 2019</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362217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2: Title (4) &amp; Content (4)">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1"/>
          <p:cNvSpPr>
            <a:spLocks noGrp="1"/>
          </p:cNvSpPr>
          <p:nvPr>
            <p:ph type="body" sz="quarter" idx="17"/>
          </p:nvPr>
        </p:nvSpPr>
        <p:spPr bwMode="gray">
          <a:xfrm>
            <a:off x="333264" y="4045107"/>
            <a:ext cx="5605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11"/>
          <p:cNvSpPr>
            <a:spLocks noGrp="1"/>
          </p:cNvSpPr>
          <p:nvPr>
            <p:ph type="body" sz="quarter" idx="18"/>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Content Placeholder 15"/>
          <p:cNvSpPr>
            <a:spLocks noGrp="1"/>
          </p:cNvSpPr>
          <p:nvPr>
            <p:ph sz="quarter" idx="20"/>
          </p:nvPr>
        </p:nvSpPr>
        <p:spPr bwMode="gray">
          <a:xfrm>
            <a:off x="333264" y="4432235"/>
            <a:ext cx="5605200" cy="1484195"/>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5"/>
          <p:cNvSpPr>
            <a:spLocks noGrp="1"/>
          </p:cNvSpPr>
          <p:nvPr>
            <p:ph sz="quarter" idx="19"/>
          </p:nvPr>
        </p:nvSpPr>
        <p:spPr bwMode="gray">
          <a:xfrm>
            <a:off x="333264" y="2317638"/>
            <a:ext cx="5605200" cy="1484876"/>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 name="Fußzeilenplatzhalter 2"/>
          <p:cNvSpPr>
            <a:spLocks noGrp="1"/>
          </p:cNvSpPr>
          <p:nvPr>
            <p:ph type="ftr" sz="quarter" idx="10"/>
          </p:nvPr>
        </p:nvSpPr>
        <p:spPr bwMode="gray"/>
        <p:txBody>
          <a:bodyPr/>
          <a:lstStyle/>
          <a:p>
            <a:pPr lvl="8"/>
            <a:endParaRPr lang="en-US" dirty="0"/>
          </a:p>
        </p:txBody>
      </p:sp>
      <p:sp>
        <p:nvSpPr>
          <p:cNvPr id="4" name="Datumsplatzhalter 3"/>
          <p:cNvSpPr>
            <a:spLocks noGrp="1"/>
          </p:cNvSpPr>
          <p:nvPr>
            <p:ph type="dt" sz="half" idx="11"/>
          </p:nvPr>
        </p:nvSpPr>
        <p:spPr bwMode="gray"/>
        <p:txBody>
          <a:bodyPr/>
          <a:lstStyle/>
          <a:p>
            <a:fld id="{86C11801-1BEF-46D9-879F-590C601D8597}" type="datetime4">
              <a:rPr lang="en-US" smtClean="0"/>
              <a:t>September 8, 2019</a:t>
            </a:fld>
            <a:endParaRPr lang="en-US" dirty="0"/>
          </a:p>
        </p:txBody>
      </p:sp>
      <p:sp>
        <p:nvSpPr>
          <p:cNvPr id="5" name="Foliennummernplatzhalt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333264"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2317641"/>
            <a:ext cx="5605200" cy="148105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bwMode="gray"/>
        <p:txBody>
          <a:bodyPr/>
          <a:lstStyle/>
          <a:p>
            <a:r>
              <a:rPr lang="en-US"/>
              <a:t>Click to edit Master title style</a:t>
            </a:r>
            <a:endParaRPr lang="en-US" dirty="0"/>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Text Placeholder 11"/>
          <p:cNvSpPr>
            <a:spLocks noGrp="1"/>
          </p:cNvSpPr>
          <p:nvPr>
            <p:ph type="body" sz="quarter" idx="22"/>
          </p:nvPr>
        </p:nvSpPr>
        <p:spPr bwMode="gray">
          <a:xfrm>
            <a:off x="6248045" y="4043972"/>
            <a:ext cx="5605200" cy="252000"/>
          </a:xfrm>
        </p:spPr>
        <p:txBody>
          <a:bodyPr lIns="0" tIns="0" rIns="0" anchor="t"/>
          <a:lstStyle>
            <a:lvl1pPr marL="0" indent="0">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9" name="Straight Connector 14"/>
          <p:cNvCxnSpPr/>
          <p:nvPr userDrawn="1"/>
        </p:nvCxnSpPr>
        <p:spPr bwMode="gray">
          <a:xfrm>
            <a:off x="6248045" y="4351954"/>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Content Placeholder 15"/>
          <p:cNvSpPr>
            <a:spLocks noGrp="1"/>
          </p:cNvSpPr>
          <p:nvPr>
            <p:ph sz="quarter" idx="23"/>
          </p:nvPr>
        </p:nvSpPr>
        <p:spPr bwMode="gray">
          <a:xfrm>
            <a:off x="6248045" y="4430420"/>
            <a:ext cx="5605200" cy="1481057"/>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96212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3: Content (4)">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1195"/>
            <a:ext cx="5619398" cy="1853868"/>
          </a:xfrm>
        </p:spPr>
        <p:txBody>
          <a:bodyPr lIns="0" tIns="0" rIns="0" bIns="0" anchor="ctr"/>
          <a:lstStyle>
            <a:lvl1pPr algn="ctr">
              <a:defRPr b="1"/>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4" name="Straight Connector 13"/>
          <p:cNvCxnSpPr/>
          <p:nvPr userDrawn="1"/>
        </p:nvCxnSpPr>
        <p:spPr bwMode="gray">
          <a:xfrm>
            <a:off x="6095999" y="1931195"/>
            <a:ext cx="0" cy="398224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8" name="Straight Connector 17"/>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6234129" y="1931195"/>
            <a:ext cx="5619398" cy="1853868"/>
          </a:xfrm>
        </p:spPr>
        <p:txBody>
          <a:bodyPr lIns="0" tIns="0" rIns="0" bIns="0" anchor="ctr"/>
          <a:lstStyle>
            <a:lvl1pPr algn="ctr">
              <a:defRPr b="1"/>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2"/>
          </p:nvPr>
        </p:nvSpPr>
        <p:spPr bwMode="gray">
          <a:xfrm>
            <a:off x="333264" y="4059571"/>
            <a:ext cx="5619398" cy="1853868"/>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3"/>
          <p:cNvSpPr>
            <a:spLocks noGrp="1"/>
          </p:cNvSpPr>
          <p:nvPr>
            <p:ph sz="quarter" idx="23"/>
          </p:nvPr>
        </p:nvSpPr>
        <p:spPr bwMode="gray">
          <a:xfrm>
            <a:off x="6234129" y="4059571"/>
            <a:ext cx="5619398" cy="1853868"/>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24"/>
          </p:nvPr>
        </p:nvSpPr>
        <p:spPr bwMode="gray"/>
        <p:txBody>
          <a:bodyPr/>
          <a:lstStyle/>
          <a:p>
            <a:fld id="{32E27045-0511-42A6-9AC3-A3212EB42885}" type="datetime4">
              <a:rPr lang="en-US" smtClean="0"/>
              <a:t>September 8, 2019</a:t>
            </a:fld>
            <a:endParaRPr lang="en-US" dirty="0"/>
          </a:p>
        </p:txBody>
      </p:sp>
      <p:sp>
        <p:nvSpPr>
          <p:cNvPr id="4" name="Footer Placeholder 3"/>
          <p:cNvSpPr>
            <a:spLocks noGrp="1"/>
          </p:cNvSpPr>
          <p:nvPr>
            <p:ph type="ftr" sz="quarter" idx="25"/>
          </p:nvPr>
        </p:nvSpPr>
        <p:spPr bwMode="gray"/>
        <p:txBody>
          <a:bodyPr/>
          <a:lstStyle/>
          <a:p>
            <a:pPr lvl="8"/>
            <a:endParaRPr lang="en-US" dirty="0"/>
          </a:p>
        </p:txBody>
      </p:sp>
      <p:sp>
        <p:nvSpPr>
          <p:cNvPr id="5" name="Slide Number Placeholder 4"/>
          <p:cNvSpPr>
            <a:spLocks noGrp="1"/>
          </p:cNvSpPr>
          <p:nvPr>
            <p:ph type="sldNum" sz="quarter" idx="26"/>
          </p:nvPr>
        </p:nvSpPr>
        <p:spPr bwMode="gray"/>
        <p:txBody>
          <a:bodyPr/>
          <a:lstStyle/>
          <a:p>
            <a:r>
              <a:rPr lang="en-US" dirty="0"/>
              <a:t>Slide </a:t>
            </a:r>
            <a:fld id="{619F89D8-7AE3-494A-97F3-03D680869632}" type="slidenum">
              <a:rPr lang="en-US" smtClean="0"/>
              <a:pPr/>
              <a:t>‹#›</a:t>
            </a:fld>
            <a:endParaRPr lang="en-US" dirty="0"/>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6" name="Title 5"/>
          <p:cNvSpPr>
            <a:spLocks noGrp="1"/>
          </p:cNvSpPr>
          <p:nvPr>
            <p:ph type="title"/>
          </p:nvPr>
        </p:nvSpPr>
        <p:spPr bwMode="gray"/>
        <p:txBody>
          <a:bodyPr/>
          <a:lstStyle/>
          <a:p>
            <a:r>
              <a:rPr lang="en-US"/>
              <a:t>Click to edit Master title style</a:t>
            </a:r>
            <a:endParaRPr lang="en-US" dirty="0"/>
          </a:p>
        </p:txBody>
      </p:sp>
    </p:spTree>
    <p:extLst>
      <p:ext uri="{BB962C8B-B14F-4D97-AF65-F5344CB8AC3E}">
        <p14:creationId xmlns:p14="http://schemas.microsoft.com/office/powerpoint/2010/main" val="1077524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4: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333264" y="1931198"/>
            <a:ext cx="5621183" cy="1530893"/>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1"/>
          </p:nvPr>
        </p:nvSpPr>
        <p:spPr bwMode="gray">
          <a:xfrm>
            <a:off x="6232344" y="1931198"/>
            <a:ext cx="5621183" cy="1530893"/>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3"/>
          <p:cNvSpPr>
            <a:spLocks noGrp="1"/>
          </p:cNvSpPr>
          <p:nvPr>
            <p:ph sz="quarter" idx="22"/>
          </p:nvPr>
        </p:nvSpPr>
        <p:spPr bwMode="gray">
          <a:xfrm>
            <a:off x="333264" y="3737725"/>
            <a:ext cx="5621183" cy="1530893"/>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3"/>
          <p:cNvSpPr>
            <a:spLocks noGrp="1"/>
          </p:cNvSpPr>
          <p:nvPr>
            <p:ph sz="quarter" idx="23"/>
          </p:nvPr>
        </p:nvSpPr>
        <p:spPr bwMode="gray">
          <a:xfrm>
            <a:off x="6232344" y="3737725"/>
            <a:ext cx="5621183" cy="1530893"/>
          </a:xfrm>
        </p:spPr>
        <p:txBody>
          <a:bodyPr lIns="0" tIns="0" rIns="0" bIns="0" anchor="ctr"/>
          <a:lstStyle>
            <a:lvl1pPr algn="ctr">
              <a:defRPr lang="en-US" sz="1400" b="1" kern="1200" dirty="0">
                <a:solidFill>
                  <a:schemeClr val="tx1"/>
                </a:solidFill>
                <a:latin typeface="+mn-lt"/>
                <a:ea typeface="+mn-ea"/>
                <a:cs typeface="+mn-cs"/>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marL="0" lvl="0" indent="0" algn="ctr"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1"/>
          <p:cNvSpPr>
            <a:spLocks noGrp="1"/>
          </p:cNvSpPr>
          <p:nvPr>
            <p:ph type="body" sz="quarter" idx="24"/>
          </p:nvPr>
        </p:nvSpPr>
        <p:spPr bwMode="gray">
          <a:xfrm>
            <a:off x="332367" y="5452639"/>
            <a:ext cx="11521160"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cxnSp>
        <p:nvCxnSpPr>
          <p:cNvPr id="23" name="Straight Connector 22"/>
          <p:cNvCxnSpPr/>
          <p:nvPr userDrawn="1"/>
        </p:nvCxnSpPr>
        <p:spPr bwMode="gray">
          <a:xfrm>
            <a:off x="333527" y="359990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 name="Date Placeholder 2"/>
          <p:cNvSpPr>
            <a:spLocks noGrp="1"/>
          </p:cNvSpPr>
          <p:nvPr>
            <p:ph type="dt" sz="half" idx="25"/>
          </p:nvPr>
        </p:nvSpPr>
        <p:spPr bwMode="gray"/>
        <p:txBody>
          <a:bodyPr/>
          <a:lstStyle/>
          <a:p>
            <a:fld id="{6E7D5807-0F83-4687-8EA8-403E998DE912}" type="datetime4">
              <a:rPr lang="en-US" smtClean="0"/>
              <a:t>September 8, 2019</a:t>
            </a:fld>
            <a:endParaRPr lang="en-US" dirty="0"/>
          </a:p>
        </p:txBody>
      </p:sp>
      <p:sp>
        <p:nvSpPr>
          <p:cNvPr id="4" name="Footer Placeholder 3"/>
          <p:cNvSpPr>
            <a:spLocks noGrp="1"/>
          </p:cNvSpPr>
          <p:nvPr>
            <p:ph type="ftr" sz="quarter" idx="26"/>
          </p:nvPr>
        </p:nvSpPr>
        <p:spPr bwMode="gray"/>
        <p:txBody>
          <a:bodyPr/>
          <a:lstStyle/>
          <a:p>
            <a:pPr lvl="8"/>
            <a:endParaRPr lang="en-US" dirty="0"/>
          </a:p>
        </p:txBody>
      </p:sp>
      <p:sp>
        <p:nvSpPr>
          <p:cNvPr id="5" name="Slide Number Placeholder 4"/>
          <p:cNvSpPr>
            <a:spLocks noGrp="1"/>
          </p:cNvSpPr>
          <p:nvPr>
            <p:ph type="sldNum" sz="quarter" idx="27"/>
          </p:nvPr>
        </p:nvSpPr>
        <p:spPr bwMode="gray"/>
        <p:txBody>
          <a:bodyPr/>
          <a:lstStyle/>
          <a:p>
            <a:r>
              <a:rPr lang="en-US" dirty="0"/>
              <a:t>Slide </a:t>
            </a:r>
            <a:fld id="{619F89D8-7AE3-494A-97F3-03D680869632}" type="slidenum">
              <a:rPr lang="en-US" smtClean="0"/>
              <a:pPr/>
              <a:t>‹#›</a:t>
            </a:fld>
            <a:endParaRPr lang="en-US" dirty="0"/>
          </a:p>
        </p:txBody>
      </p:sp>
      <p:cxnSp>
        <p:nvCxnSpPr>
          <p:cNvPr id="14" name="Straight Connector 13"/>
          <p:cNvCxnSpPr/>
          <p:nvPr userDrawn="1"/>
        </p:nvCxnSpPr>
        <p:spPr bwMode="gray">
          <a:xfrm>
            <a:off x="6095999" y="1931195"/>
            <a:ext cx="0" cy="333742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093834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5: Title (2) &amp;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5361993" cy="1919320"/>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3"/>
          <p:cNvSpPr>
            <a:spLocks noGrp="1"/>
          </p:cNvSpPr>
          <p:nvPr>
            <p:ph sz="quarter" idx="21"/>
          </p:nvPr>
        </p:nvSpPr>
        <p:spPr bwMode="gray">
          <a:xfrm>
            <a:off x="2553273" y="3993324"/>
            <a:ext cx="5361993" cy="1919320"/>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gray">
          <a:xfrm>
            <a:off x="2551798" y="3921919"/>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582" y="1931196"/>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Content Placeholder 3"/>
          <p:cNvSpPr>
            <a:spLocks noGrp="1"/>
          </p:cNvSpPr>
          <p:nvPr userDrawn="1">
            <p:ph sz="quarter" idx="24"/>
          </p:nvPr>
        </p:nvSpPr>
        <p:spPr bwMode="gray">
          <a:xfrm>
            <a:off x="332582" y="3993324"/>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userDrawn="1">
            <p:ph type="dt" sz="half" idx="26"/>
          </p:nvPr>
        </p:nvSpPr>
        <p:spPr bwMode="gray"/>
        <p:txBody>
          <a:bodyPr/>
          <a:lstStyle/>
          <a:p>
            <a:fld id="{D7448BAD-718D-41D5-B039-249ED06F3A4A}" type="datetime4">
              <a:rPr lang="en-US" smtClean="0"/>
              <a:t>September 8, 2019</a:t>
            </a:fld>
            <a:endParaRPr lang="en-US" dirty="0"/>
          </a:p>
        </p:txBody>
      </p:sp>
      <p:sp>
        <p:nvSpPr>
          <p:cNvPr id="4" name="Footer Placeholder 3"/>
          <p:cNvSpPr>
            <a:spLocks noGrp="1"/>
          </p:cNvSpPr>
          <p:nvPr userDrawn="1">
            <p:ph type="ftr" sz="quarter" idx="27"/>
          </p:nvPr>
        </p:nvSpPr>
        <p:spPr bwMode="gray"/>
        <p:txBody>
          <a:bodyPr/>
          <a:lstStyle/>
          <a:p>
            <a:pPr lvl="8"/>
            <a:endParaRPr lang="en-US" dirty="0"/>
          </a:p>
        </p:txBody>
      </p:sp>
      <p:sp>
        <p:nvSpPr>
          <p:cNvPr id="5" name="Slide Number Placeholder 4"/>
          <p:cNvSpPr>
            <a:spLocks noGrp="1"/>
          </p:cNvSpPr>
          <p:nvPr userDrawn="1">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userDrawn="1">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909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6: Title (3)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5361993" cy="1231942"/>
          </a:xfrm>
        </p:spPr>
        <p:txBody>
          <a:bodyPr lIns="0" tIns="0" rIns="0" bIns="0"/>
          <a:lstStyle>
            <a:lvl1pPr>
              <a:defRPr sz="1600" b="1"/>
            </a:lvl1pPr>
            <a:lvl2pPr>
              <a:defRPr sz="16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3"/>
          <p:cNvSpPr>
            <a:spLocks noGrp="1"/>
          </p:cNvSpPr>
          <p:nvPr>
            <p:ph sz="quarter" idx="21"/>
          </p:nvPr>
        </p:nvSpPr>
        <p:spPr bwMode="gray">
          <a:xfrm>
            <a:off x="2553273" y="3305949"/>
            <a:ext cx="5361993" cy="123194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2"/>
          </p:nvPr>
        </p:nvSpPr>
        <p:spPr bwMode="gray">
          <a:xfrm>
            <a:off x="2553273" y="4680702"/>
            <a:ext cx="5361993" cy="123194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gray">
          <a:xfrm>
            <a:off x="2554866" y="3235138"/>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p:cNvCxnSpPr/>
          <p:nvPr userDrawn="1"/>
        </p:nvCxnSpPr>
        <p:spPr bwMode="gray">
          <a:xfrm>
            <a:off x="2554866" y="4611082"/>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367" y="1931196"/>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userDrawn="1">
            <p:ph sz="quarter" idx="24"/>
          </p:nvPr>
        </p:nvSpPr>
        <p:spPr bwMode="gray">
          <a:xfrm>
            <a:off x="332367" y="3305949"/>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userDrawn="1">
            <p:ph sz="quarter" idx="25"/>
          </p:nvPr>
        </p:nvSpPr>
        <p:spPr bwMode="gray">
          <a:xfrm>
            <a:off x="332367" y="4680702"/>
            <a:ext cx="1917663"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userDrawn="1">
            <p:ph type="dt" sz="half" idx="26"/>
          </p:nvPr>
        </p:nvSpPr>
        <p:spPr bwMode="gray"/>
        <p:txBody>
          <a:bodyPr/>
          <a:lstStyle/>
          <a:p>
            <a:fld id="{D7448BAD-718D-41D5-B039-249ED06F3A4A}" type="datetime4">
              <a:rPr lang="en-US" smtClean="0"/>
              <a:t>September 8, 2019</a:t>
            </a:fld>
            <a:endParaRPr lang="en-US" dirty="0"/>
          </a:p>
        </p:txBody>
      </p:sp>
      <p:sp>
        <p:nvSpPr>
          <p:cNvPr id="4" name="Footer Placeholder 3"/>
          <p:cNvSpPr>
            <a:spLocks noGrp="1"/>
          </p:cNvSpPr>
          <p:nvPr userDrawn="1">
            <p:ph type="ftr" sz="quarter" idx="27"/>
          </p:nvPr>
        </p:nvSpPr>
        <p:spPr bwMode="gray"/>
        <p:txBody>
          <a:bodyPr/>
          <a:lstStyle/>
          <a:p>
            <a:pPr lvl="8"/>
            <a:endParaRPr lang="en-US" dirty="0"/>
          </a:p>
        </p:txBody>
      </p:sp>
      <p:sp>
        <p:nvSpPr>
          <p:cNvPr id="5" name="Slide Number Placeholder 4"/>
          <p:cNvSpPr>
            <a:spLocks noGrp="1"/>
          </p:cNvSpPr>
          <p:nvPr userDrawn="1">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2968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9_4: Title Slide 4">
    <p:spTree>
      <p:nvGrpSpPr>
        <p:cNvPr id="1" name=""/>
        <p:cNvGrpSpPr/>
        <p:nvPr/>
      </p:nvGrpSpPr>
      <p:grpSpPr>
        <a:xfrm>
          <a:off x="0" y="0"/>
          <a:ext cx="0" cy="0"/>
          <a:chOff x="0" y="0"/>
          <a:chExt cx="0" cy="0"/>
        </a:xfrm>
      </p:grpSpPr>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a:extLst>
              <a:ext uri="{FF2B5EF4-FFF2-40B4-BE49-F238E27FC236}">
                <a16:creationId xmlns:a16="http://schemas.microsoft.com/office/drawing/2014/main" id="{52F9E392-8E35-4605-BD71-04EC9B0D145E}"/>
              </a:ext>
            </a:extLst>
          </p:cNvPr>
          <p:cNvGrpSpPr/>
          <p:nvPr userDrawn="1"/>
        </p:nvGrpSpPr>
        <p:grpSpPr>
          <a:xfrm>
            <a:off x="-1" y="0"/>
            <a:ext cx="12192001" cy="4608794"/>
            <a:chOff x="332368" y="1931988"/>
            <a:chExt cx="11524670" cy="3980297"/>
          </a:xfrm>
        </p:grpSpPr>
        <p:pic>
          <p:nvPicPr>
            <p:cNvPr id="16" name="Picture 23" descr="Cement_probe">
              <a:extLst>
                <a:ext uri="{FF2B5EF4-FFF2-40B4-BE49-F238E27FC236}">
                  <a16:creationId xmlns:a16="http://schemas.microsoft.com/office/drawing/2014/main" id="{27FFC5CD-04BC-4894-ADB6-82A03365691B}"/>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336550" y="1931988"/>
              <a:ext cx="11520488" cy="3980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36D7BBAF-87B8-4AA2-BBE1-88CF278F95CE}"/>
                </a:ext>
              </a:extLst>
            </p:cNvPr>
            <p:cNvSpPr/>
            <p:nvPr/>
          </p:nvSpPr>
          <p:spPr bwMode="gray">
            <a:xfrm>
              <a:off x="332368" y="1931988"/>
              <a:ext cx="11524670" cy="3980297"/>
            </a:xfrm>
            <a:prstGeom prst="rect">
              <a:avLst/>
            </a:prstGeom>
            <a:gradFill flip="none" rotWithShape="1">
              <a:gsLst>
                <a:gs pos="0">
                  <a:schemeClr val="accent1">
                    <a:lumMod val="5000"/>
                    <a:lumOff val="95000"/>
                    <a:alpha val="93000"/>
                  </a:schemeClr>
                </a:gs>
                <a:gs pos="43000">
                  <a:schemeClr val="bg1">
                    <a:alpha val="30000"/>
                  </a:schemeClr>
                </a:gs>
                <a:gs pos="100000">
                  <a:schemeClr val="bg1">
                    <a:alpha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grpSp>
    </p:spTree>
    <p:extLst>
      <p:ext uri="{BB962C8B-B14F-4D97-AF65-F5344CB8AC3E}">
        <p14:creationId xmlns:p14="http://schemas.microsoft.com/office/powerpoint/2010/main" val="3387218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7: Title (3) &amp; Content (3)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9299991" cy="1231942"/>
          </a:xfrm>
        </p:spPr>
        <p:txBody>
          <a:bodyPr lIns="0" tIns="0" rIns="0" bIns="0"/>
          <a:lstStyle>
            <a:lvl1pPr>
              <a:defRPr sz="1600" b="1"/>
            </a:lvl1pPr>
            <a:lvl2pPr marL="180018" indent="-180018">
              <a:defRPr lang="en-US" sz="16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305949"/>
            <a:ext cx="9299991" cy="123194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2"/>
          </p:nvPr>
        </p:nvSpPr>
        <p:spPr bwMode="gray">
          <a:xfrm>
            <a:off x="2553273" y="4680702"/>
            <a:ext cx="9299991" cy="123194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20" name="Straight Connector 19"/>
          <p:cNvCxnSpPr/>
          <p:nvPr userDrawn="1"/>
        </p:nvCxnSpPr>
        <p:spPr bwMode="gray">
          <a:xfrm>
            <a:off x="2554464" y="461108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p:cNvSpPr>
            <a:spLocks noGrp="1"/>
          </p:cNvSpPr>
          <p:nvPr>
            <p:ph type="dt" sz="half" idx="26"/>
          </p:nvPr>
        </p:nvSpPr>
        <p:spPr bwMode="gray"/>
        <p:txBody>
          <a:bodyPr/>
          <a:lstStyle/>
          <a:p>
            <a:fld id="{D7448BAD-718D-41D5-B039-249ED06F3A4A}" type="datetime4">
              <a:rPr lang="en-US" smtClean="0"/>
              <a:t>September 8, 2019</a:t>
            </a:fld>
            <a:endParaRPr lang="en-US" dirty="0"/>
          </a:p>
        </p:txBody>
      </p:sp>
      <p:sp>
        <p:nvSpPr>
          <p:cNvPr id="4" name="Footer Placeholder 3"/>
          <p:cNvSpPr>
            <a:spLocks noGrp="1"/>
          </p:cNvSpPr>
          <p:nvPr>
            <p:ph type="ftr" sz="quarter" idx="27"/>
          </p:nvPr>
        </p:nvSpPr>
        <p:spPr bwMode="gray"/>
        <p:txBody>
          <a:bodyPr/>
          <a:lstStyle/>
          <a:p>
            <a:pPr lvl="8"/>
            <a:endParaRPr lang="en-US" dirty="0"/>
          </a:p>
        </p:txBody>
      </p:sp>
      <p:sp>
        <p:nvSpPr>
          <p:cNvPr id="5" name="Slide Number Placeholder 4"/>
          <p:cNvSpPr>
            <a:spLocks noGrp="1"/>
          </p:cNvSpPr>
          <p:nvPr>
            <p:ph type="sldNum" sz="quarter" idx="28"/>
          </p:nvPr>
        </p:nvSpPr>
        <p:spPr bwMode="gray"/>
        <p:txBody>
          <a:bodyPr/>
          <a:lstStyle/>
          <a:p>
            <a:r>
              <a:rPr lang="en-US" dirty="0"/>
              <a:t>Slide </a:t>
            </a:r>
            <a:fld id="{619F89D8-7AE3-494A-97F3-03D680869632}" type="slidenum">
              <a:rPr lang="en-US" smtClean="0"/>
              <a:pPr/>
              <a:t>‹#›</a:t>
            </a:fld>
            <a:endParaRPr lang="en-US" dirty="0"/>
          </a:p>
        </p:txBody>
      </p:sp>
      <p:sp>
        <p:nvSpPr>
          <p:cNvPr id="16"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324756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de-DE" dirty="0"/>
          </a:p>
        </p:txBody>
      </p:sp>
      <p:sp>
        <p:nvSpPr>
          <p:cNvPr id="4" name="Date Placeholder 3"/>
          <p:cNvSpPr>
            <a:spLocks noGrp="1"/>
          </p:cNvSpPr>
          <p:nvPr>
            <p:ph type="dt" sz="half" idx="11"/>
          </p:nvPr>
        </p:nvSpPr>
        <p:spPr/>
        <p:txBody>
          <a:bodyPr/>
          <a:lstStyle/>
          <a:p>
            <a:fld id="{B2016A11-4950-4F3F-938B-45DEE5F72969}" type="datetime4">
              <a:rPr lang="en-US" smtClean="0"/>
              <a:pPr/>
              <a:t>September 8, 2019</a:t>
            </a:fld>
            <a:endParaRPr lang="en-US" dirty="0"/>
          </a:p>
        </p:txBody>
      </p:sp>
      <p:sp>
        <p:nvSpPr>
          <p:cNvPr id="5" name="Slide Number Placeholder 4"/>
          <p:cNvSpPr>
            <a:spLocks noGrp="1"/>
          </p:cNvSpPr>
          <p:nvPr>
            <p:ph type="sldNum" sz="quarter" idx="12"/>
          </p:nvPr>
        </p:nvSpPr>
        <p:spPr/>
        <p:txBody>
          <a:bodyPr/>
          <a:lstStyle/>
          <a:p>
            <a:r>
              <a:rPr lang="en-US"/>
              <a:t>Slide </a:t>
            </a:r>
            <a:fld id="{619F89D8-7AE3-494A-97F3-03D680869632}" type="slidenum">
              <a:rPr lang="en-US" smtClean="0"/>
              <a:pPr/>
              <a:t>‹#›</a:t>
            </a:fld>
            <a:endParaRPr lang="en-US" dirty="0"/>
          </a:p>
        </p:txBody>
      </p:sp>
      <p:sp>
        <p:nvSpPr>
          <p:cNvPr id="6" name="Content Placeholder 3"/>
          <p:cNvSpPr>
            <a:spLocks noGrp="1"/>
          </p:cNvSpPr>
          <p:nvPr>
            <p:ph sz="quarter" idx="20"/>
          </p:nvPr>
        </p:nvSpPr>
        <p:spPr bwMode="gray">
          <a:xfrm>
            <a:off x="2553273" y="1931196"/>
            <a:ext cx="9299991" cy="123194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8" name="Content Placeholder 3"/>
          <p:cNvSpPr>
            <a:spLocks noGrp="1"/>
          </p:cNvSpPr>
          <p:nvPr>
            <p:ph sz="quarter" idx="21"/>
          </p:nvPr>
        </p:nvSpPr>
        <p:spPr bwMode="gray">
          <a:xfrm>
            <a:off x="2553273" y="3305949"/>
            <a:ext cx="9299991" cy="123194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120536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8: Title (3) &amp; Content (3) &amp; Box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2" name="Content Placeholder 3"/>
          <p:cNvSpPr>
            <a:spLocks noGrp="1"/>
          </p:cNvSpPr>
          <p:nvPr>
            <p:ph sz="quarter" idx="20"/>
          </p:nvPr>
        </p:nvSpPr>
        <p:spPr bwMode="gray">
          <a:xfrm>
            <a:off x="2553273" y="1931196"/>
            <a:ext cx="9299991" cy="101647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bwMode="gray">
          <a:xfrm>
            <a:off x="2554464" y="301966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091669"/>
            <a:ext cx="9299991" cy="101647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3"/>
          <p:cNvSpPr>
            <a:spLocks noGrp="1"/>
          </p:cNvSpPr>
          <p:nvPr>
            <p:ph sz="quarter" idx="22"/>
          </p:nvPr>
        </p:nvSpPr>
        <p:spPr bwMode="gray">
          <a:xfrm>
            <a:off x="2553273" y="4252143"/>
            <a:ext cx="9299991" cy="1016472"/>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20" name="Straight Connector 19"/>
          <p:cNvCxnSpPr/>
          <p:nvPr userDrawn="1"/>
        </p:nvCxnSpPr>
        <p:spPr bwMode="gray">
          <a:xfrm>
            <a:off x="2554464" y="418014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4"/>
          </p:nvPr>
        </p:nvSpPr>
        <p:spPr bwMode="gray">
          <a:xfrm>
            <a:off x="333264" y="3091669"/>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25"/>
          </p:nvPr>
        </p:nvSpPr>
        <p:spPr bwMode="gray">
          <a:xfrm>
            <a:off x="333264" y="4252143"/>
            <a:ext cx="1916766" cy="101647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Text Placeholder 11"/>
          <p:cNvSpPr>
            <a:spLocks noGrp="1"/>
          </p:cNvSpPr>
          <p:nvPr>
            <p:ph type="body" sz="quarter" idx="26"/>
          </p:nvPr>
        </p:nvSpPr>
        <p:spPr bwMode="gray">
          <a:xfrm>
            <a:off x="332366" y="5452639"/>
            <a:ext cx="11520898"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3" name="Date Placeholder 2"/>
          <p:cNvSpPr>
            <a:spLocks noGrp="1"/>
          </p:cNvSpPr>
          <p:nvPr>
            <p:ph type="dt" sz="half" idx="27"/>
          </p:nvPr>
        </p:nvSpPr>
        <p:spPr bwMode="gray"/>
        <p:txBody>
          <a:bodyPr/>
          <a:lstStyle/>
          <a:p>
            <a:fld id="{AFC62351-A650-4DF6-986F-78B25B039145}" type="datetime4">
              <a:rPr lang="en-US" smtClean="0"/>
              <a:t>September 8, 2019</a:t>
            </a:fld>
            <a:endParaRPr lang="en-US" dirty="0"/>
          </a:p>
        </p:txBody>
      </p:sp>
      <p:sp>
        <p:nvSpPr>
          <p:cNvPr id="4" name="Footer Placeholder 3"/>
          <p:cNvSpPr>
            <a:spLocks noGrp="1"/>
          </p:cNvSpPr>
          <p:nvPr>
            <p:ph type="ftr" sz="quarter" idx="28"/>
          </p:nvPr>
        </p:nvSpPr>
        <p:spPr bwMode="gray"/>
        <p:txBody>
          <a:bodyPr/>
          <a:lstStyle/>
          <a:p>
            <a:pPr lvl="8"/>
            <a:endParaRPr lang="en-US" dirty="0"/>
          </a:p>
        </p:txBody>
      </p:sp>
      <p:sp>
        <p:nvSpPr>
          <p:cNvPr id="5" name="Slide Number Placeholder 4"/>
          <p:cNvSpPr>
            <a:spLocks noGrp="1"/>
          </p:cNvSpPr>
          <p:nvPr>
            <p:ph type="sldNum" sz="quarter" idx="29"/>
          </p:nvPr>
        </p:nvSpPr>
        <p:spPr bwMode="gray"/>
        <p:txBody>
          <a:bodyPr/>
          <a:lstStyle/>
          <a:p>
            <a:r>
              <a:rPr lang="en-US" dirty="0"/>
              <a:t>Slide </a:t>
            </a:r>
            <a:fld id="{619F89D8-7AE3-494A-97F3-03D680869632}" type="slidenum">
              <a:rPr lang="en-US" smtClean="0"/>
              <a:pPr/>
              <a:t>‹#›</a:t>
            </a:fld>
            <a:endParaRPr lang="en-US" dirty="0"/>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004856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9: Title (4) &amp; Content (4) &amp; Box / Number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2818583" y="1931198"/>
            <a:ext cx="9034681" cy="726353"/>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p:cNvSpPr>
            <a:spLocks noGrp="1"/>
          </p:cNvSpPr>
          <p:nvPr>
            <p:ph sz="quarter" idx="21"/>
          </p:nvPr>
        </p:nvSpPr>
        <p:spPr bwMode="gray">
          <a:xfrm>
            <a:off x="2818583" y="2801554"/>
            <a:ext cx="9034681" cy="726353"/>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
          <p:cNvSpPr>
            <a:spLocks noGrp="1"/>
          </p:cNvSpPr>
          <p:nvPr>
            <p:ph sz="quarter" idx="22"/>
          </p:nvPr>
        </p:nvSpPr>
        <p:spPr bwMode="gray">
          <a:xfrm>
            <a:off x="2818583" y="3671910"/>
            <a:ext cx="9034681" cy="726353"/>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6"/>
          </p:nvPr>
        </p:nvSpPr>
        <p:spPr bwMode="gray">
          <a:xfrm>
            <a:off x="332367" y="5452639"/>
            <a:ext cx="11520898" cy="460800"/>
          </a:xfrm>
          <a:solidFill>
            <a:schemeClr val="accent3"/>
          </a:solidFill>
        </p:spPr>
        <p:txBody>
          <a:bodyPr vert="horz" lIns="0" tIns="0" rIns="0" bIns="0" rtlCol="0" anchor="ctr">
            <a:noAutofit/>
          </a:bodyPr>
          <a:lstStyle>
            <a:lvl1pPr>
              <a:defRPr lang="en-US" sz="1800" b="1">
                <a:solidFill>
                  <a:schemeClr val="bg1"/>
                </a:solidFill>
              </a:defRPr>
            </a:lvl1pPr>
            <a:lvl2pPr>
              <a:defRPr lang="en-US" sz="1800" b="1">
                <a:solidFill>
                  <a:schemeClr val="bg1"/>
                </a:solidFill>
              </a:defRPr>
            </a:lvl2pPr>
            <a:lvl3pPr>
              <a:defRPr lang="en-US" sz="1800" b="1">
                <a:solidFill>
                  <a:schemeClr val="bg1"/>
                </a:solidFill>
              </a:defRPr>
            </a:lvl3pPr>
            <a:lvl4pPr>
              <a:defRPr lang="en-US" sz="1800" b="1">
                <a:solidFill>
                  <a:schemeClr val="bg1"/>
                </a:solidFill>
              </a:defRPr>
            </a:lvl4pPr>
            <a:lvl5pPr>
              <a:defRPr lang="en-US" sz="1800" b="1" dirty="0">
                <a:solidFill>
                  <a:schemeClr val="bg1"/>
                </a:solidFill>
              </a:defRPr>
            </a:lvl5pPr>
          </a:lstStyle>
          <a:p>
            <a:pPr lvl="0" algn="ctr">
              <a:spcBef>
                <a:spcPts val="0"/>
              </a:spcBef>
            </a:pPr>
            <a:r>
              <a:rPr lang="en-US"/>
              <a:t>Click to edit Master text styles</a:t>
            </a:r>
          </a:p>
          <a:p>
            <a:pPr marL="0" lvl="1" indent="0" algn="ctr">
              <a:spcBef>
                <a:spcPts val="0"/>
              </a:spcBef>
              <a:buNone/>
            </a:pPr>
            <a:r>
              <a:rPr lang="en-US"/>
              <a:t>Second level</a:t>
            </a:r>
          </a:p>
          <a:p>
            <a:pPr marL="0" lvl="2" indent="0" algn="ctr">
              <a:spcBef>
                <a:spcPts val="0"/>
              </a:spcBef>
              <a:buNone/>
            </a:pPr>
            <a:r>
              <a:rPr lang="en-US"/>
              <a:t>Third level</a:t>
            </a:r>
          </a:p>
          <a:p>
            <a:pPr marL="0" lvl="3" indent="0" algn="ctr">
              <a:spcBef>
                <a:spcPts val="0"/>
              </a:spcBef>
              <a:buNone/>
            </a:pPr>
            <a:r>
              <a:rPr lang="en-US"/>
              <a:t>Fourth level</a:t>
            </a:r>
          </a:p>
          <a:p>
            <a:pPr marL="0" lvl="4" indent="0" algn="ctr">
              <a:spcBef>
                <a:spcPts val="0"/>
              </a:spcBef>
              <a:buNone/>
            </a:pPr>
            <a:r>
              <a:rPr lang="en-US"/>
              <a:t>Fifth level</a:t>
            </a:r>
            <a:endParaRPr lang="en-US" dirty="0"/>
          </a:p>
        </p:txBody>
      </p:sp>
      <p:sp>
        <p:nvSpPr>
          <p:cNvPr id="33" name="Content Placeholder 3"/>
          <p:cNvSpPr>
            <a:spLocks noGrp="1"/>
          </p:cNvSpPr>
          <p:nvPr>
            <p:ph sz="quarter" idx="27"/>
          </p:nvPr>
        </p:nvSpPr>
        <p:spPr bwMode="gray">
          <a:xfrm>
            <a:off x="332582" y="1931198"/>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5" name="Content Placeholder 3"/>
          <p:cNvSpPr>
            <a:spLocks noGrp="1"/>
          </p:cNvSpPr>
          <p:nvPr>
            <p:ph sz="quarter" idx="28"/>
          </p:nvPr>
        </p:nvSpPr>
        <p:spPr bwMode="gray">
          <a:xfrm>
            <a:off x="332582" y="2801554"/>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3"/>
          <p:cNvSpPr>
            <a:spLocks noGrp="1"/>
          </p:cNvSpPr>
          <p:nvPr>
            <p:ph sz="quarter" idx="29"/>
          </p:nvPr>
        </p:nvSpPr>
        <p:spPr bwMode="gray">
          <a:xfrm>
            <a:off x="332582" y="3671910"/>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7" name="Content Placeholder 3"/>
          <p:cNvSpPr>
            <a:spLocks noGrp="1"/>
          </p:cNvSpPr>
          <p:nvPr>
            <p:ph sz="quarter" idx="30"/>
          </p:nvPr>
        </p:nvSpPr>
        <p:spPr bwMode="gray">
          <a:xfrm>
            <a:off x="2818583" y="4542265"/>
            <a:ext cx="9034681" cy="726353"/>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38" name="Content Placeholder 3"/>
          <p:cNvSpPr>
            <a:spLocks noGrp="1"/>
          </p:cNvSpPr>
          <p:nvPr>
            <p:ph sz="quarter" idx="31"/>
          </p:nvPr>
        </p:nvSpPr>
        <p:spPr bwMode="gray">
          <a:xfrm>
            <a:off x="332582" y="4542265"/>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9" name="Straight Connector 13"/>
          <p:cNvCxnSpPr/>
          <p:nvPr userDrawn="1"/>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14"/>
          <p:cNvCxnSpPr/>
          <p:nvPr userDrawn="1"/>
        </p:nvCxnSpPr>
        <p:spPr bwMode="gray">
          <a:xfrm>
            <a:off x="1779054" y="31645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13"/>
          <p:cNvCxnSpPr/>
          <p:nvPr userDrawn="1"/>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4"/>
          <p:cNvCxnSpPr/>
          <p:nvPr userDrawn="1"/>
        </p:nvCxnSpPr>
        <p:spPr bwMode="gray">
          <a:xfrm>
            <a:off x="1778487" y="4905862"/>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13"/>
          <p:cNvCxnSpPr/>
          <p:nvPr userDrawn="1"/>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14"/>
          <p:cNvCxnSpPr/>
          <p:nvPr userDrawn="1"/>
        </p:nvCxnSpPr>
        <p:spPr bwMode="gray">
          <a:xfrm>
            <a:off x="1779502" y="2293948"/>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3"/>
          <p:cNvCxnSpPr/>
          <p:nvPr userDrawn="1"/>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4"/>
          <p:cNvCxnSpPr/>
          <p:nvPr userDrawn="1"/>
        </p:nvCxnSpPr>
        <p:spPr bwMode="gray">
          <a:xfrm>
            <a:off x="1778487" y="4035224"/>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bwMode="gray">
          <a:xfrm>
            <a:off x="2072427"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2" name="Straight Connector 51"/>
          <p:cNvCxnSpPr/>
          <p:nvPr userDrawn="1"/>
        </p:nvCxnSpPr>
        <p:spPr bwMode="gray">
          <a:xfrm>
            <a:off x="2072427"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userDrawn="1"/>
        </p:nvCxnSpPr>
        <p:spPr bwMode="gray">
          <a:xfrm>
            <a:off x="2072427"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 name="Date Placeholder 3"/>
          <p:cNvSpPr>
            <a:spLocks noGrp="1"/>
          </p:cNvSpPr>
          <p:nvPr userDrawn="1">
            <p:ph type="dt" sz="half" idx="32"/>
          </p:nvPr>
        </p:nvSpPr>
        <p:spPr bwMode="gray"/>
        <p:txBody>
          <a:bodyPr/>
          <a:lstStyle/>
          <a:p>
            <a:fld id="{ED4418A7-E8E0-42C3-AC0C-9BF91949BA0B}" type="datetime4">
              <a:rPr lang="en-US" smtClean="0"/>
              <a:t>September 8, 2019</a:t>
            </a:fld>
            <a:endParaRPr lang="en-US" dirty="0"/>
          </a:p>
        </p:txBody>
      </p:sp>
      <p:sp>
        <p:nvSpPr>
          <p:cNvPr id="5" name="Footer Placeholder 4"/>
          <p:cNvSpPr>
            <a:spLocks noGrp="1"/>
          </p:cNvSpPr>
          <p:nvPr userDrawn="1">
            <p:ph type="ftr" sz="quarter" idx="33"/>
          </p:nvPr>
        </p:nvSpPr>
        <p:spPr bwMode="gray"/>
        <p:txBody>
          <a:bodyPr/>
          <a:lstStyle/>
          <a:p>
            <a:pPr lvl="8"/>
            <a:endParaRPr lang="en-US" dirty="0"/>
          </a:p>
        </p:txBody>
      </p:sp>
      <p:sp>
        <p:nvSpPr>
          <p:cNvPr id="6" name="Slide Number Placeholder 5"/>
          <p:cNvSpPr>
            <a:spLocks noGrp="1"/>
          </p:cNvSpPr>
          <p:nvPr userDrawn="1">
            <p:ph type="sldNum" sz="quarter" idx="34"/>
          </p:nvPr>
        </p:nvSpPr>
        <p:spPr bwMode="gray"/>
        <p:txBody>
          <a:bodyPr/>
          <a:lstStyle/>
          <a:p>
            <a:r>
              <a:rPr lang="en-US" dirty="0"/>
              <a:t>Slide </a:t>
            </a:r>
            <a:fld id="{619F89D8-7AE3-494A-97F3-03D680869632}" type="slidenum">
              <a:rPr lang="en-US" smtClean="0"/>
              <a:pPr/>
              <a:t>‹#›</a:t>
            </a:fld>
            <a:endParaRPr lang="en-US" dirty="0"/>
          </a:p>
        </p:txBody>
      </p:sp>
      <p:sp>
        <p:nvSpPr>
          <p:cNvPr id="34"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7" name="Content Placeholder 6"/>
          <p:cNvSpPr>
            <a:spLocks noGrp="1"/>
          </p:cNvSpPr>
          <p:nvPr>
            <p:ph sz="quarter" idx="35" hasCustomPrompt="1"/>
          </p:nvPr>
        </p:nvSpPr>
        <p:spPr>
          <a:xfrm>
            <a:off x="2218077" y="210006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1</a:t>
            </a:r>
            <a:endParaRPr lang="en-GB" dirty="0"/>
          </a:p>
        </p:txBody>
      </p:sp>
      <p:sp>
        <p:nvSpPr>
          <p:cNvPr id="54" name="Content Placeholder 6"/>
          <p:cNvSpPr>
            <a:spLocks noGrp="1"/>
          </p:cNvSpPr>
          <p:nvPr>
            <p:ph sz="quarter" idx="36" hasCustomPrompt="1"/>
          </p:nvPr>
        </p:nvSpPr>
        <p:spPr>
          <a:xfrm>
            <a:off x="2218077" y="29719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2</a:t>
            </a:r>
            <a:endParaRPr lang="en-GB" dirty="0"/>
          </a:p>
        </p:txBody>
      </p:sp>
      <p:sp>
        <p:nvSpPr>
          <p:cNvPr id="55" name="Content Placeholder 6"/>
          <p:cNvSpPr>
            <a:spLocks noGrp="1"/>
          </p:cNvSpPr>
          <p:nvPr>
            <p:ph sz="quarter" idx="37" hasCustomPrompt="1"/>
          </p:nvPr>
        </p:nvSpPr>
        <p:spPr>
          <a:xfrm>
            <a:off x="2218077" y="384341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3</a:t>
            </a:r>
            <a:endParaRPr lang="en-GB" dirty="0"/>
          </a:p>
        </p:txBody>
      </p:sp>
      <p:sp>
        <p:nvSpPr>
          <p:cNvPr id="56" name="Content Placeholder 6"/>
          <p:cNvSpPr>
            <a:spLocks noGrp="1"/>
          </p:cNvSpPr>
          <p:nvPr>
            <p:ph sz="quarter" idx="38" hasCustomPrompt="1"/>
          </p:nvPr>
        </p:nvSpPr>
        <p:spPr>
          <a:xfrm>
            <a:off x="2218077" y="4708172"/>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4</a:t>
            </a:r>
            <a:endParaRPr lang="en-GB" dirty="0"/>
          </a:p>
        </p:txBody>
      </p:sp>
      <p:sp>
        <p:nvSpPr>
          <p:cNvPr id="31" name="Content Placeholder 10"/>
          <p:cNvSpPr>
            <a:spLocks noGrp="1"/>
          </p:cNvSpPr>
          <p:nvPr>
            <p:ph sz="quarter" idx="39"/>
          </p:nvPr>
        </p:nvSpPr>
        <p:spPr>
          <a:xfrm>
            <a:off x="484982" y="4694665"/>
            <a:ext cx="1535879" cy="726353"/>
          </a:xfrm>
        </p:spPr>
        <p:txBody>
          <a:bodyPr/>
          <a:lstStyle/>
          <a:p>
            <a:pPr lvl="0"/>
            <a:r>
              <a:rPr lang="en-US"/>
              <a:t>Click to edit Master text styles</a:t>
            </a:r>
          </a:p>
        </p:txBody>
      </p:sp>
    </p:spTree>
    <p:custDataLst>
      <p:tags r:id="rId1"/>
    </p:custDataLst>
    <p:extLst>
      <p:ext uri="{BB962C8B-B14F-4D97-AF65-F5344CB8AC3E}">
        <p14:creationId xmlns:p14="http://schemas.microsoft.com/office/powerpoint/2010/main" val="403329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de-DE" dirty="0"/>
          </a:p>
        </p:txBody>
      </p:sp>
      <p:sp>
        <p:nvSpPr>
          <p:cNvPr id="4" name="Date Placeholder 3"/>
          <p:cNvSpPr>
            <a:spLocks noGrp="1"/>
          </p:cNvSpPr>
          <p:nvPr>
            <p:ph type="dt" sz="half" idx="11"/>
          </p:nvPr>
        </p:nvSpPr>
        <p:spPr/>
        <p:txBody>
          <a:bodyPr/>
          <a:lstStyle/>
          <a:p>
            <a:fld id="{B2016A11-4950-4F3F-938B-45DEE5F72969}" type="datetime4">
              <a:rPr lang="en-US" smtClean="0"/>
              <a:pPr/>
              <a:t>September 8, 2019</a:t>
            </a:fld>
            <a:endParaRPr lang="en-US" dirty="0"/>
          </a:p>
        </p:txBody>
      </p:sp>
      <p:sp>
        <p:nvSpPr>
          <p:cNvPr id="5" name="Slide Number Placeholder 4"/>
          <p:cNvSpPr>
            <a:spLocks noGrp="1"/>
          </p:cNvSpPr>
          <p:nvPr>
            <p:ph type="sldNum" sz="quarter" idx="12"/>
          </p:nvPr>
        </p:nvSpPr>
        <p:spPr/>
        <p:txBody>
          <a:bodyPr/>
          <a:lstStyle/>
          <a:p>
            <a:r>
              <a:rPr lang="en-US"/>
              <a:t>Slide </a:t>
            </a:r>
            <a:fld id="{619F89D8-7AE3-494A-97F3-03D680869632}" type="slidenum">
              <a:rPr lang="en-US" smtClean="0"/>
              <a:pPr/>
              <a:t>‹#›</a:t>
            </a:fld>
            <a:endParaRPr lang="en-US" dirty="0"/>
          </a:p>
        </p:txBody>
      </p:sp>
      <p:sp>
        <p:nvSpPr>
          <p:cNvPr id="6" name="Content Placeholder 3"/>
          <p:cNvSpPr>
            <a:spLocks noGrp="1"/>
          </p:cNvSpPr>
          <p:nvPr>
            <p:ph sz="quarter" idx="20"/>
          </p:nvPr>
        </p:nvSpPr>
        <p:spPr bwMode="gray">
          <a:xfrm>
            <a:off x="2818583" y="1988348"/>
            <a:ext cx="9034681" cy="648000"/>
          </a:xfrm>
        </p:spPr>
        <p:txBody>
          <a:bodyPr lIns="0" tIns="0" rIns="0" bIns="0"/>
          <a:lstStyle>
            <a:lvl1pPr>
              <a:defRPr b="1"/>
            </a:lvl1pPr>
            <a:lvl2pPr marL="180018" indent="-180018">
              <a:defRPr lang="en-US" sz="1400" kern="1200" dirty="0">
                <a:solidFill>
                  <a:schemeClr val="tx1"/>
                </a:solidFill>
                <a:latin typeface="+mn-lt"/>
                <a:ea typeface="+mn-ea"/>
                <a:cs typeface="+mn-cs"/>
              </a:defRPr>
            </a:lvl2pPr>
          </a:lstStyle>
          <a:p>
            <a:pPr lvl="0"/>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p:cNvSpPr>
            <a:spLocks noGrp="1"/>
          </p:cNvSpPr>
          <p:nvPr>
            <p:ph sz="quarter" idx="21"/>
          </p:nvPr>
        </p:nvSpPr>
        <p:spPr bwMode="gray">
          <a:xfrm>
            <a:off x="2818583" y="2792029"/>
            <a:ext cx="9034681" cy="6480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3"/>
          <p:cNvSpPr>
            <a:spLocks noGrp="1"/>
          </p:cNvSpPr>
          <p:nvPr>
            <p:ph sz="quarter" idx="22"/>
          </p:nvPr>
        </p:nvSpPr>
        <p:spPr bwMode="gray">
          <a:xfrm>
            <a:off x="2818583" y="3595710"/>
            <a:ext cx="9034681" cy="6480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quarter" idx="27"/>
          </p:nvPr>
        </p:nvSpPr>
        <p:spPr bwMode="gray">
          <a:xfrm>
            <a:off x="332582" y="1988348"/>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p:cNvSpPr>
            <a:spLocks noGrp="1"/>
          </p:cNvSpPr>
          <p:nvPr>
            <p:ph sz="quarter" idx="28"/>
          </p:nvPr>
        </p:nvSpPr>
        <p:spPr bwMode="gray">
          <a:xfrm>
            <a:off x="332582" y="2792029"/>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9"/>
          </p:nvPr>
        </p:nvSpPr>
        <p:spPr bwMode="gray">
          <a:xfrm>
            <a:off x="332582" y="3595710"/>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30"/>
          </p:nvPr>
        </p:nvSpPr>
        <p:spPr bwMode="gray">
          <a:xfrm>
            <a:off x="2818583" y="4408915"/>
            <a:ext cx="9034681" cy="6480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
          <p:cNvSpPr>
            <a:spLocks noGrp="1"/>
          </p:cNvSpPr>
          <p:nvPr>
            <p:ph sz="quarter" idx="31"/>
          </p:nvPr>
        </p:nvSpPr>
        <p:spPr bwMode="gray">
          <a:xfrm>
            <a:off x="332582" y="4408915"/>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bwMode="gray">
          <a:xfrm>
            <a:off x="1999567" y="2791461"/>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p:cNvCxnSpPr/>
          <p:nvPr userDrawn="1"/>
        </p:nvCxnSpPr>
        <p:spPr bwMode="gray">
          <a:xfrm>
            <a:off x="1779054" y="31264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3"/>
          <p:cNvCxnSpPr/>
          <p:nvPr userDrawn="1"/>
        </p:nvCxnSpPr>
        <p:spPr bwMode="gray">
          <a:xfrm>
            <a:off x="1999567" y="4408912"/>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4"/>
          <p:cNvCxnSpPr/>
          <p:nvPr userDrawn="1"/>
        </p:nvCxnSpPr>
        <p:spPr bwMode="gray">
          <a:xfrm>
            <a:off x="1778487" y="4743937"/>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3"/>
          <p:cNvCxnSpPr/>
          <p:nvPr userDrawn="1"/>
        </p:nvCxnSpPr>
        <p:spPr bwMode="gray">
          <a:xfrm>
            <a:off x="1999567" y="1987498"/>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4"/>
          <p:cNvCxnSpPr/>
          <p:nvPr userDrawn="1"/>
        </p:nvCxnSpPr>
        <p:spPr bwMode="gray">
          <a:xfrm>
            <a:off x="1779502" y="2322523"/>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3"/>
          <p:cNvCxnSpPr/>
          <p:nvPr userDrawn="1"/>
        </p:nvCxnSpPr>
        <p:spPr bwMode="gray">
          <a:xfrm>
            <a:off x="1999568" y="3595424"/>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14"/>
          <p:cNvCxnSpPr/>
          <p:nvPr userDrawn="1"/>
        </p:nvCxnSpPr>
        <p:spPr bwMode="gray">
          <a:xfrm>
            <a:off x="1778487" y="3930449"/>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p:cNvCxnSpPr/>
          <p:nvPr userDrawn="1"/>
        </p:nvCxnSpPr>
        <p:spPr bwMode="gray">
          <a:xfrm>
            <a:off x="2072427" y="272002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2072427" y="35237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2072427" y="433690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Content Placeholder 6"/>
          <p:cNvSpPr>
            <a:spLocks noGrp="1"/>
          </p:cNvSpPr>
          <p:nvPr>
            <p:ph sz="quarter" idx="35" hasCustomPrompt="1"/>
          </p:nvPr>
        </p:nvSpPr>
        <p:spPr>
          <a:xfrm>
            <a:off x="2218077" y="212863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1</a:t>
            </a:r>
            <a:endParaRPr lang="en-GB" dirty="0"/>
          </a:p>
        </p:txBody>
      </p:sp>
      <p:sp>
        <p:nvSpPr>
          <p:cNvPr id="26" name="Content Placeholder 6"/>
          <p:cNvSpPr>
            <a:spLocks noGrp="1"/>
          </p:cNvSpPr>
          <p:nvPr>
            <p:ph sz="quarter" idx="36" hasCustomPrompt="1"/>
          </p:nvPr>
        </p:nvSpPr>
        <p:spPr>
          <a:xfrm>
            <a:off x="2218077" y="29338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2</a:t>
            </a:r>
            <a:endParaRPr lang="en-GB" dirty="0"/>
          </a:p>
        </p:txBody>
      </p:sp>
      <p:sp>
        <p:nvSpPr>
          <p:cNvPr id="27" name="Content Placeholder 6"/>
          <p:cNvSpPr>
            <a:spLocks noGrp="1"/>
          </p:cNvSpPr>
          <p:nvPr>
            <p:ph sz="quarter" idx="37" hasCustomPrompt="1"/>
          </p:nvPr>
        </p:nvSpPr>
        <p:spPr>
          <a:xfrm>
            <a:off x="2218077" y="373864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3</a:t>
            </a:r>
            <a:endParaRPr lang="en-GB" dirty="0"/>
          </a:p>
        </p:txBody>
      </p:sp>
      <p:sp>
        <p:nvSpPr>
          <p:cNvPr id="28" name="Content Placeholder 6"/>
          <p:cNvSpPr>
            <a:spLocks noGrp="1"/>
          </p:cNvSpPr>
          <p:nvPr>
            <p:ph sz="quarter" idx="38" hasCustomPrompt="1"/>
          </p:nvPr>
        </p:nvSpPr>
        <p:spPr>
          <a:xfrm>
            <a:off x="2218077" y="4546247"/>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4</a:t>
            </a:r>
            <a:endParaRPr lang="en-GB" dirty="0"/>
          </a:p>
        </p:txBody>
      </p:sp>
      <p:sp>
        <p:nvSpPr>
          <p:cNvPr id="30" name="Content Placeholder 3"/>
          <p:cNvSpPr>
            <a:spLocks noGrp="1"/>
          </p:cNvSpPr>
          <p:nvPr>
            <p:ph sz="quarter" idx="40"/>
          </p:nvPr>
        </p:nvSpPr>
        <p:spPr bwMode="gray">
          <a:xfrm>
            <a:off x="2818368" y="5227851"/>
            <a:ext cx="9034681" cy="6480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Content Placeholder 3"/>
          <p:cNvSpPr>
            <a:spLocks noGrp="1"/>
          </p:cNvSpPr>
          <p:nvPr>
            <p:ph sz="quarter" idx="41"/>
          </p:nvPr>
        </p:nvSpPr>
        <p:spPr bwMode="gray">
          <a:xfrm>
            <a:off x="332367" y="5227851"/>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2" name="Straight Connector 13"/>
          <p:cNvCxnSpPr/>
          <p:nvPr userDrawn="1"/>
        </p:nvCxnSpPr>
        <p:spPr bwMode="gray">
          <a:xfrm>
            <a:off x="1999352" y="5227848"/>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14"/>
          <p:cNvCxnSpPr/>
          <p:nvPr userDrawn="1"/>
        </p:nvCxnSpPr>
        <p:spPr bwMode="gray">
          <a:xfrm>
            <a:off x="1778272" y="5562873"/>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userDrawn="1"/>
        </p:nvCxnSpPr>
        <p:spPr bwMode="gray">
          <a:xfrm>
            <a:off x="2072212" y="5155845"/>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6"/>
          <p:cNvSpPr>
            <a:spLocks noGrp="1"/>
          </p:cNvSpPr>
          <p:nvPr>
            <p:ph sz="quarter" idx="42" hasCustomPrompt="1"/>
          </p:nvPr>
        </p:nvSpPr>
        <p:spPr>
          <a:xfrm>
            <a:off x="2217862" y="5365183"/>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de-DE" dirty="0"/>
              <a:t>5</a:t>
            </a:r>
            <a:endParaRPr lang="en-GB" dirty="0"/>
          </a:p>
        </p:txBody>
      </p:sp>
      <p:sp>
        <p:nvSpPr>
          <p:cNvPr id="36"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val="254575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endParaRPr lang="de-DE" dirty="0"/>
          </a:p>
        </p:txBody>
      </p:sp>
      <p:sp>
        <p:nvSpPr>
          <p:cNvPr id="4" name="Date Placeholder 3"/>
          <p:cNvSpPr>
            <a:spLocks noGrp="1"/>
          </p:cNvSpPr>
          <p:nvPr>
            <p:ph type="dt" sz="half" idx="11"/>
          </p:nvPr>
        </p:nvSpPr>
        <p:spPr/>
        <p:txBody>
          <a:bodyPr/>
          <a:lstStyle/>
          <a:p>
            <a:fld id="{B2016A11-4950-4F3F-938B-45DEE5F72969}" type="datetime4">
              <a:rPr lang="en-US" smtClean="0"/>
              <a:pPr/>
              <a:t>September 8, 2019</a:t>
            </a:fld>
            <a:endParaRPr lang="en-US" dirty="0"/>
          </a:p>
        </p:txBody>
      </p:sp>
      <p:sp>
        <p:nvSpPr>
          <p:cNvPr id="5" name="Slide Number Placeholder 4"/>
          <p:cNvSpPr>
            <a:spLocks noGrp="1"/>
          </p:cNvSpPr>
          <p:nvPr>
            <p:ph type="sldNum" sz="quarter" idx="12"/>
          </p:nvPr>
        </p:nvSpPr>
        <p:spPr/>
        <p:txBody>
          <a:bodyPr/>
          <a:lstStyle/>
          <a:p>
            <a:r>
              <a:rPr lang="en-US"/>
              <a:t>Slide </a:t>
            </a:r>
            <a:fld id="{619F89D8-7AE3-494A-97F3-03D680869632}" type="slidenum">
              <a:rPr lang="en-US" smtClean="0"/>
              <a:pPr/>
              <a:t>‹#›</a:t>
            </a:fld>
            <a:endParaRPr lang="en-US" dirty="0"/>
          </a:p>
        </p:txBody>
      </p:sp>
      <p:sp>
        <p:nvSpPr>
          <p:cNvPr id="6" name="Content Placeholder 3"/>
          <p:cNvSpPr>
            <a:spLocks noGrp="1"/>
          </p:cNvSpPr>
          <p:nvPr>
            <p:ph sz="quarter" idx="20"/>
          </p:nvPr>
        </p:nvSpPr>
        <p:spPr bwMode="gray">
          <a:xfrm>
            <a:off x="2818583" y="1988348"/>
            <a:ext cx="9034681" cy="6480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p:cNvSpPr>
            <a:spLocks noGrp="1"/>
          </p:cNvSpPr>
          <p:nvPr>
            <p:ph sz="quarter" idx="21"/>
          </p:nvPr>
        </p:nvSpPr>
        <p:spPr bwMode="gray">
          <a:xfrm>
            <a:off x="2818583" y="2792029"/>
            <a:ext cx="9034681" cy="6480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3"/>
          <p:cNvSpPr>
            <a:spLocks noGrp="1"/>
          </p:cNvSpPr>
          <p:nvPr>
            <p:ph sz="quarter" idx="22"/>
          </p:nvPr>
        </p:nvSpPr>
        <p:spPr bwMode="gray">
          <a:xfrm>
            <a:off x="2818583" y="3595710"/>
            <a:ext cx="9034681" cy="1042776"/>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3"/>
          <p:cNvSpPr>
            <a:spLocks noGrp="1"/>
          </p:cNvSpPr>
          <p:nvPr>
            <p:ph sz="quarter" idx="27"/>
          </p:nvPr>
        </p:nvSpPr>
        <p:spPr bwMode="gray">
          <a:xfrm>
            <a:off x="332582" y="1988348"/>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p:cNvSpPr>
            <a:spLocks noGrp="1"/>
          </p:cNvSpPr>
          <p:nvPr>
            <p:ph sz="quarter" idx="28"/>
          </p:nvPr>
        </p:nvSpPr>
        <p:spPr bwMode="gray">
          <a:xfrm>
            <a:off x="332582" y="2792029"/>
            <a:ext cx="1535879" cy="648000"/>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3"/>
          <p:cNvSpPr>
            <a:spLocks noGrp="1"/>
          </p:cNvSpPr>
          <p:nvPr>
            <p:ph sz="quarter" idx="29"/>
          </p:nvPr>
        </p:nvSpPr>
        <p:spPr bwMode="gray">
          <a:xfrm>
            <a:off x="332582" y="3595710"/>
            <a:ext cx="1535879" cy="1042775"/>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3"/>
          <p:cNvSpPr>
            <a:spLocks noGrp="1"/>
          </p:cNvSpPr>
          <p:nvPr>
            <p:ph sz="quarter" idx="30"/>
          </p:nvPr>
        </p:nvSpPr>
        <p:spPr bwMode="gray">
          <a:xfrm>
            <a:off x="2818583" y="4774674"/>
            <a:ext cx="9034681" cy="1021512"/>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
          <p:cNvSpPr>
            <a:spLocks noGrp="1"/>
          </p:cNvSpPr>
          <p:nvPr>
            <p:ph sz="quarter" idx="31"/>
          </p:nvPr>
        </p:nvSpPr>
        <p:spPr bwMode="gray">
          <a:xfrm>
            <a:off x="332582" y="4774673"/>
            <a:ext cx="1535879" cy="102151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4" name="Straight Connector 13"/>
          <p:cNvCxnSpPr/>
          <p:nvPr userDrawn="1"/>
        </p:nvCxnSpPr>
        <p:spPr bwMode="gray">
          <a:xfrm>
            <a:off x="1999567" y="2791461"/>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p:cNvCxnSpPr/>
          <p:nvPr userDrawn="1"/>
        </p:nvCxnSpPr>
        <p:spPr bwMode="gray">
          <a:xfrm>
            <a:off x="1779054" y="31264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3"/>
          <p:cNvCxnSpPr/>
          <p:nvPr userDrawn="1"/>
        </p:nvCxnSpPr>
        <p:spPr bwMode="gray">
          <a:xfrm flipH="1">
            <a:off x="1999405" y="4774671"/>
            <a:ext cx="162" cy="1021515"/>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4"/>
          <p:cNvCxnSpPr/>
          <p:nvPr userDrawn="1"/>
        </p:nvCxnSpPr>
        <p:spPr bwMode="gray">
          <a:xfrm>
            <a:off x="1778487" y="5263700"/>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3"/>
          <p:cNvCxnSpPr/>
          <p:nvPr userDrawn="1"/>
        </p:nvCxnSpPr>
        <p:spPr bwMode="gray">
          <a:xfrm>
            <a:off x="1999567" y="1987498"/>
            <a:ext cx="0" cy="6480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4"/>
          <p:cNvCxnSpPr/>
          <p:nvPr userDrawn="1"/>
        </p:nvCxnSpPr>
        <p:spPr bwMode="gray">
          <a:xfrm>
            <a:off x="1779502" y="2322523"/>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3"/>
          <p:cNvCxnSpPr/>
          <p:nvPr userDrawn="1"/>
        </p:nvCxnSpPr>
        <p:spPr bwMode="gray">
          <a:xfrm>
            <a:off x="1999569" y="3595424"/>
            <a:ext cx="851" cy="1042536"/>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14"/>
          <p:cNvCxnSpPr/>
          <p:nvPr userDrawn="1"/>
        </p:nvCxnSpPr>
        <p:spPr bwMode="gray">
          <a:xfrm>
            <a:off x="1778487" y="4132575"/>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25" name="Content Placeholder 6"/>
          <p:cNvSpPr>
            <a:spLocks noGrp="1"/>
          </p:cNvSpPr>
          <p:nvPr>
            <p:ph sz="quarter" idx="35" hasCustomPrompt="1"/>
          </p:nvPr>
        </p:nvSpPr>
        <p:spPr>
          <a:xfrm>
            <a:off x="2218077" y="212863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1</a:t>
            </a:r>
            <a:endParaRPr lang="en-GB" dirty="0"/>
          </a:p>
        </p:txBody>
      </p:sp>
      <p:sp>
        <p:nvSpPr>
          <p:cNvPr id="26" name="Content Placeholder 6"/>
          <p:cNvSpPr>
            <a:spLocks noGrp="1"/>
          </p:cNvSpPr>
          <p:nvPr>
            <p:ph sz="quarter" idx="36" hasCustomPrompt="1"/>
          </p:nvPr>
        </p:nvSpPr>
        <p:spPr>
          <a:xfrm>
            <a:off x="2218077" y="29338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2</a:t>
            </a:r>
            <a:endParaRPr lang="en-GB" dirty="0"/>
          </a:p>
        </p:txBody>
      </p:sp>
      <p:sp>
        <p:nvSpPr>
          <p:cNvPr id="27" name="Content Placeholder 6"/>
          <p:cNvSpPr>
            <a:spLocks noGrp="1"/>
          </p:cNvSpPr>
          <p:nvPr>
            <p:ph sz="quarter" idx="37" hasCustomPrompt="1"/>
          </p:nvPr>
        </p:nvSpPr>
        <p:spPr>
          <a:xfrm>
            <a:off x="2218077" y="3931147"/>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3</a:t>
            </a:r>
            <a:endParaRPr lang="en-GB" dirty="0"/>
          </a:p>
        </p:txBody>
      </p:sp>
      <p:sp>
        <p:nvSpPr>
          <p:cNvPr id="28" name="Content Placeholder 6"/>
          <p:cNvSpPr>
            <a:spLocks noGrp="1"/>
          </p:cNvSpPr>
          <p:nvPr>
            <p:ph sz="quarter" idx="38" hasCustomPrompt="1"/>
          </p:nvPr>
        </p:nvSpPr>
        <p:spPr>
          <a:xfrm>
            <a:off x="2218077" y="5066007"/>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dirty="0"/>
              <a:t>4</a:t>
            </a:r>
            <a:endParaRPr lang="en-GB" dirty="0"/>
          </a:p>
        </p:txBody>
      </p:sp>
      <p:sp>
        <p:nvSpPr>
          <p:cNvPr id="36"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custDataLst>
      <p:tags r:id="rId1"/>
    </p:custDataLst>
    <p:extLst>
      <p:ext uri="{BB962C8B-B14F-4D97-AF65-F5344CB8AC3E}">
        <p14:creationId xmlns:p14="http://schemas.microsoft.com/office/powerpoint/2010/main" val="3293677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0: Matrix">
    <p:spTree>
      <p:nvGrpSpPr>
        <p:cNvPr id="1" name=""/>
        <p:cNvGrpSpPr/>
        <p:nvPr/>
      </p:nvGrpSpPr>
      <p:grpSpPr>
        <a:xfrm>
          <a:off x="0" y="0"/>
          <a:ext cx="0" cy="0"/>
          <a:chOff x="0" y="0"/>
          <a:chExt cx="0" cy="0"/>
        </a:xfrm>
      </p:grpSpPr>
      <p:sp>
        <p:nvSpPr>
          <p:cNvPr id="37" name="Text Placeholder 11"/>
          <p:cNvSpPr>
            <a:spLocks noGrp="1"/>
          </p:cNvSpPr>
          <p:nvPr>
            <p:ph type="body" sz="quarter" idx="26"/>
          </p:nvPr>
        </p:nvSpPr>
        <p:spPr bwMode="gray">
          <a:xfrm>
            <a:off x="2553272" y="1931194"/>
            <a:ext cx="2899094" cy="252000"/>
          </a:xfrm>
        </p:spPr>
        <p:txBody>
          <a:bodyPr lIns="0" tIns="0" rIns="0" anchor="t"/>
          <a:lstStyle>
            <a:lvl1pPr marL="0" indent="0">
              <a:spcBef>
                <a:spcPts val="0"/>
              </a:spcBef>
              <a:buFont typeface="Arial" panose="020B0604020202020204" pitchFamily="34" charset="0"/>
              <a:buNone/>
              <a:defRPr lang="en-US" sz="16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8" name="Text Placeholder 11"/>
          <p:cNvSpPr>
            <a:spLocks noGrp="1"/>
          </p:cNvSpPr>
          <p:nvPr>
            <p:ph type="body" sz="quarter" idx="27"/>
          </p:nvPr>
        </p:nvSpPr>
        <p:spPr bwMode="gray">
          <a:xfrm>
            <a:off x="5754947" y="1931194"/>
            <a:ext cx="2898000" cy="252000"/>
          </a:xfrm>
        </p:spPr>
        <p:txBody>
          <a:bodyPr lIns="0" tIns="0" rIns="0" anchor="t"/>
          <a:lstStyle>
            <a:lvl1pPr marL="0" indent="0">
              <a:spcBef>
                <a:spcPts val="0"/>
              </a:spcBef>
              <a:buFont typeface="Arial" panose="020B0604020202020204" pitchFamily="34" charset="0"/>
              <a:buNone/>
              <a:defRPr lang="en-US" sz="16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9" name="Text Placeholder 11"/>
          <p:cNvSpPr>
            <a:spLocks noGrp="1"/>
          </p:cNvSpPr>
          <p:nvPr>
            <p:ph type="body" sz="quarter" idx="28"/>
          </p:nvPr>
        </p:nvSpPr>
        <p:spPr bwMode="gray">
          <a:xfrm>
            <a:off x="8955527" y="1931194"/>
            <a:ext cx="2898000" cy="252000"/>
          </a:xfrm>
        </p:spPr>
        <p:txBody>
          <a:bodyPr lIns="0" tIns="0" rIns="0" anchor="t"/>
          <a:lstStyle>
            <a:lvl1pPr marL="0" indent="0">
              <a:spcBef>
                <a:spcPts val="0"/>
              </a:spcBef>
              <a:buFont typeface="Arial" panose="020B0604020202020204" pitchFamily="34" charset="0"/>
              <a:buNone/>
              <a:defRPr lang="en-US" sz="1600" b="1" kern="1200" dirty="0">
                <a:solidFill>
                  <a:schemeClr val="tx2"/>
                </a:solidFill>
                <a:latin typeface="+mn-lt"/>
                <a:ea typeface="+mn-ea"/>
                <a:cs typeface="+mn-cs"/>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marL="0" lvl="0" indent="0" algn="l" defTabSz="914491" rtl="0" eaLnBrk="1" latinLnBrk="0" hangingPunct="1">
              <a:spcBef>
                <a:spcPts val="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bwMode="gray"/>
        <p:txBody>
          <a:bodyPr/>
          <a:lstStyle/>
          <a:p>
            <a:r>
              <a:rPr lang="en-US"/>
              <a:t>Click to edit Master title style</a:t>
            </a:r>
            <a:endParaRPr lang="en-US" dirty="0"/>
          </a:p>
        </p:txBody>
      </p:sp>
      <p:sp>
        <p:nvSpPr>
          <p:cNvPr id="11" name="Content Placeholder 3"/>
          <p:cNvSpPr>
            <a:spLocks noGrp="1"/>
          </p:cNvSpPr>
          <p:nvPr>
            <p:ph sz="quarter" idx="20"/>
          </p:nvPr>
        </p:nvSpPr>
        <p:spPr bwMode="gray">
          <a:xfrm>
            <a:off x="2553272" y="2317748"/>
            <a:ext cx="2903803"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3"/>
          <p:cNvSpPr>
            <a:spLocks noGrp="1"/>
          </p:cNvSpPr>
          <p:nvPr>
            <p:ph sz="quarter" idx="21"/>
          </p:nvPr>
        </p:nvSpPr>
        <p:spPr bwMode="gray">
          <a:xfrm>
            <a:off x="2553273" y="3573970"/>
            <a:ext cx="2903803"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3"/>
          <p:cNvSpPr>
            <a:spLocks noGrp="1"/>
          </p:cNvSpPr>
          <p:nvPr>
            <p:ph sz="quarter" idx="22"/>
          </p:nvPr>
        </p:nvSpPr>
        <p:spPr bwMode="gray">
          <a:xfrm>
            <a:off x="2553273" y="4830194"/>
            <a:ext cx="2903803"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8" name="Straight Connector 27"/>
          <p:cNvCxnSpPr/>
          <p:nvPr userDrawn="1"/>
        </p:nvCxnSpPr>
        <p:spPr bwMode="gray">
          <a:xfrm>
            <a:off x="2553272"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2550359"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0" name="Straight Connector 29"/>
          <p:cNvCxnSpPr/>
          <p:nvPr userDrawn="1"/>
        </p:nvCxnSpPr>
        <p:spPr bwMode="gray">
          <a:xfrm>
            <a:off x="2550359"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1" name="Straight Connector 30"/>
          <p:cNvCxnSpPr/>
          <p:nvPr userDrawn="1"/>
        </p:nvCxnSpPr>
        <p:spPr bwMode="gray">
          <a:xfrm>
            <a:off x="5754400"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p:cNvCxnSpPr/>
          <p:nvPr userDrawn="1"/>
        </p:nvCxnSpPr>
        <p:spPr bwMode="gray">
          <a:xfrm>
            <a:off x="5752943"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3" name="Straight Connector 32"/>
          <p:cNvCxnSpPr/>
          <p:nvPr userDrawn="1"/>
        </p:nvCxnSpPr>
        <p:spPr bwMode="gray">
          <a:xfrm>
            <a:off x="5752943"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p:cNvCxnSpPr/>
          <p:nvPr userDrawn="1"/>
        </p:nvCxnSpPr>
        <p:spPr bwMode="gray">
          <a:xfrm>
            <a:off x="8955527"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955527"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955527"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Content Placeholder 3"/>
          <p:cNvSpPr>
            <a:spLocks noGrp="1"/>
          </p:cNvSpPr>
          <p:nvPr>
            <p:ph sz="quarter" idx="29"/>
          </p:nvPr>
        </p:nvSpPr>
        <p:spPr bwMode="gray">
          <a:xfrm>
            <a:off x="5757301" y="2317748"/>
            <a:ext cx="2898000"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 name="Content Placeholder 3"/>
          <p:cNvSpPr>
            <a:spLocks noGrp="1"/>
          </p:cNvSpPr>
          <p:nvPr>
            <p:ph sz="quarter" idx="30"/>
          </p:nvPr>
        </p:nvSpPr>
        <p:spPr bwMode="gray">
          <a:xfrm>
            <a:off x="5757302" y="3573970"/>
            <a:ext cx="2898000"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Content Placeholder 3"/>
          <p:cNvSpPr>
            <a:spLocks noGrp="1"/>
          </p:cNvSpPr>
          <p:nvPr>
            <p:ph sz="quarter" idx="31"/>
          </p:nvPr>
        </p:nvSpPr>
        <p:spPr bwMode="gray">
          <a:xfrm>
            <a:off x="5757302" y="4830194"/>
            <a:ext cx="2898000"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6" name="Content Placeholder 3"/>
          <p:cNvSpPr>
            <a:spLocks noGrp="1"/>
          </p:cNvSpPr>
          <p:nvPr>
            <p:ph sz="quarter" idx="32"/>
          </p:nvPr>
        </p:nvSpPr>
        <p:spPr bwMode="gray">
          <a:xfrm>
            <a:off x="8955527" y="2317748"/>
            <a:ext cx="2898000"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Content Placeholder 3"/>
          <p:cNvSpPr>
            <a:spLocks noGrp="1"/>
          </p:cNvSpPr>
          <p:nvPr>
            <p:ph sz="quarter" idx="33"/>
          </p:nvPr>
        </p:nvSpPr>
        <p:spPr bwMode="gray">
          <a:xfrm>
            <a:off x="8955527" y="3573970"/>
            <a:ext cx="2898000"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8" name="Content Placeholder 3"/>
          <p:cNvSpPr>
            <a:spLocks noGrp="1"/>
          </p:cNvSpPr>
          <p:nvPr>
            <p:ph sz="quarter" idx="34"/>
          </p:nvPr>
        </p:nvSpPr>
        <p:spPr bwMode="gray">
          <a:xfrm>
            <a:off x="8955527" y="4830194"/>
            <a:ext cx="2898000" cy="1083600"/>
          </a:xfrm>
        </p:spPr>
        <p:txBody>
          <a:bodyPr lIns="0" tIns="0" rIns="0" bIns="0"/>
          <a:lstStyle>
            <a:lvl1pPr>
              <a:defRPr lang="en-US" sz="1400" b="1" kern="1200" dirty="0">
                <a:solidFill>
                  <a:schemeClr val="tx1"/>
                </a:solidFill>
                <a:latin typeface="+mn-lt"/>
                <a:ea typeface="+mn-ea"/>
                <a:cs typeface="+mn-cs"/>
              </a:defRPr>
            </a:lvl1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2"/>
          <p:cNvSpPr>
            <a:spLocks noGrp="1"/>
          </p:cNvSpPr>
          <p:nvPr>
            <p:ph type="dt" sz="half" idx="35"/>
          </p:nvPr>
        </p:nvSpPr>
        <p:spPr bwMode="gray"/>
        <p:txBody>
          <a:bodyPr/>
          <a:lstStyle/>
          <a:p>
            <a:fld id="{61D1DE91-E2DE-4375-B4FF-ECFCEDDDCBE0}" type="datetime4">
              <a:rPr lang="en-US" smtClean="0"/>
              <a:t>September 8, 2019</a:t>
            </a:fld>
            <a:endParaRPr lang="en-US" dirty="0"/>
          </a:p>
        </p:txBody>
      </p:sp>
      <p:sp>
        <p:nvSpPr>
          <p:cNvPr id="4" name="Footer Placeholder 3"/>
          <p:cNvSpPr>
            <a:spLocks noGrp="1"/>
          </p:cNvSpPr>
          <p:nvPr>
            <p:ph type="ftr" sz="quarter" idx="36"/>
          </p:nvPr>
        </p:nvSpPr>
        <p:spPr bwMode="gray"/>
        <p:txBody>
          <a:bodyPr/>
          <a:lstStyle/>
          <a:p>
            <a:pPr lvl="8"/>
            <a:endParaRPr lang="en-US" dirty="0"/>
          </a:p>
        </p:txBody>
      </p:sp>
      <p:sp>
        <p:nvSpPr>
          <p:cNvPr id="5" name="Slide Number Placeholder 4"/>
          <p:cNvSpPr>
            <a:spLocks noGrp="1"/>
          </p:cNvSpPr>
          <p:nvPr>
            <p:ph type="sldNum" sz="quarter" idx="37"/>
          </p:nvPr>
        </p:nvSpPr>
        <p:spPr bwMode="gray"/>
        <p:txBody>
          <a:bodyPr/>
          <a:lstStyle/>
          <a:p>
            <a:r>
              <a:rPr lang="en-US" dirty="0"/>
              <a:t>Slide </a:t>
            </a:r>
            <a:fld id="{619F89D8-7AE3-494A-97F3-03D680869632}" type="slidenum">
              <a:rPr lang="en-US" smtClean="0"/>
              <a:pPr/>
              <a:t>‹#›</a:t>
            </a:fld>
            <a:endParaRPr lang="en-US" dirty="0"/>
          </a:p>
        </p:txBody>
      </p:sp>
      <p:sp>
        <p:nvSpPr>
          <p:cNvPr id="41"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custDataLst>
      <p:tags r:id="rId1"/>
    </p:custDataLst>
    <p:extLst>
      <p:ext uri="{BB962C8B-B14F-4D97-AF65-F5344CB8AC3E}">
        <p14:creationId xmlns:p14="http://schemas.microsoft.com/office/powerpoint/2010/main" val="164454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1: Process">
    <p:spTree>
      <p:nvGrpSpPr>
        <p:cNvPr id="1" name=""/>
        <p:cNvGrpSpPr/>
        <p:nvPr/>
      </p:nvGrpSpPr>
      <p:grpSpPr>
        <a:xfrm>
          <a:off x="0" y="0"/>
          <a:ext cx="0" cy="0"/>
          <a:chOff x="0" y="0"/>
          <a:chExt cx="0" cy="0"/>
        </a:xfrm>
      </p:grpSpPr>
      <p:sp>
        <p:nvSpPr>
          <p:cNvPr id="9" name="Text Placeholder 11"/>
          <p:cNvSpPr>
            <a:spLocks noGrp="1"/>
          </p:cNvSpPr>
          <p:nvPr>
            <p:ph type="body" sz="quarter" idx="16" hasCustomPrompt="1"/>
          </p:nvPr>
        </p:nvSpPr>
        <p:spPr bwMode="gray">
          <a:xfrm>
            <a:off x="333264" y="1931945"/>
            <a:ext cx="3643200" cy="360000"/>
          </a:xfrm>
          <a:prstGeom prst="homePlate">
            <a:avLst/>
          </a:prstGeom>
          <a:solidFill>
            <a:schemeClr val="accent4"/>
          </a:solidFill>
        </p:spPr>
        <p:txBody>
          <a:bodyPr lIns="28800" tIns="0" rIns="28800" anchor="ctr"/>
          <a:lstStyle>
            <a:lvl1pPr marL="0" indent="0" algn="ctr" defTabSz="914491" rtl="0" eaLnBrk="1" latinLnBrk="0" hangingPunct="1">
              <a:spcBef>
                <a:spcPts val="0"/>
              </a:spcBef>
              <a:buFont typeface="Arial" panose="020B0604020202020204" pitchFamily="34" charset="0"/>
              <a:buNone/>
              <a:defRPr lang="en-US" sz="1600" b="1" kern="1200" dirty="0">
                <a:solidFill>
                  <a:schemeClr val="tx1"/>
                </a:solidFill>
                <a:latin typeface="+mn-lt"/>
                <a:ea typeface="+mn-ea"/>
                <a:cs typeface="+mn-cs"/>
              </a:defRPr>
            </a:lvl1pPr>
            <a:lvl2pPr marL="0" indent="0" algn="ctr" defTabSz="914491" rtl="0" eaLnBrk="1" latinLnBrk="0" hangingPunct="1">
              <a:spcBef>
                <a:spcPts val="0"/>
              </a:spcBef>
              <a:buNone/>
              <a:defRPr lang="en-US" sz="2000" b="1" kern="1200" dirty="0">
                <a:solidFill>
                  <a:schemeClr val="tx2"/>
                </a:solidFill>
                <a:latin typeface="+mn-lt"/>
                <a:ea typeface="+mn-ea"/>
                <a:cs typeface="+mn-cs"/>
              </a:defRPr>
            </a:lvl2pPr>
            <a:lvl3pPr marL="0" indent="0" algn="ctr" defTabSz="914491" rtl="0" eaLnBrk="1" latinLnBrk="0" hangingPunct="1">
              <a:spcBef>
                <a:spcPts val="0"/>
              </a:spcBef>
              <a:buNone/>
              <a:defRPr lang="en-US" sz="1800" b="1" kern="1200" dirty="0">
                <a:solidFill>
                  <a:schemeClr val="tx2"/>
                </a:solidFill>
                <a:latin typeface="+mn-lt"/>
                <a:ea typeface="+mn-ea"/>
                <a:cs typeface="+mn-cs"/>
              </a:defRPr>
            </a:lvl3pPr>
            <a:lvl4pPr marL="0" indent="0" algn="ctr" defTabSz="914491" rtl="0" eaLnBrk="1" latinLnBrk="0" hangingPunct="1">
              <a:spcBef>
                <a:spcPts val="0"/>
              </a:spcBef>
              <a:buNone/>
              <a:defRPr lang="en-US" sz="1800" b="1" kern="1200" dirty="0">
                <a:solidFill>
                  <a:schemeClr val="tx2"/>
                </a:solidFill>
                <a:latin typeface="+mn-lt"/>
                <a:ea typeface="+mn-ea"/>
                <a:cs typeface="+mn-cs"/>
              </a:defRPr>
            </a:lvl4pPr>
            <a:lvl5pPr marL="0" indent="0" algn="ctr" defTabSz="914491" rtl="0" eaLnBrk="1" latinLnBrk="0" hangingPunct="1">
              <a:spcBef>
                <a:spcPts val="0"/>
              </a:spcBef>
              <a:buNone/>
              <a:defRPr lang="en-US" sz="1800" b="1" kern="1200" dirty="0">
                <a:solidFill>
                  <a:schemeClr val="tx2"/>
                </a:solidFill>
                <a:latin typeface="+mn-lt"/>
                <a:ea typeface="+mn-ea"/>
                <a:cs typeface="+mn-cs"/>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tx2"/>
                </a:solidFill>
              </a:defRPr>
            </a:lvl9pPr>
          </a:lstStyle>
          <a:p>
            <a:pPr lvl="1"/>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4" hasCustomPrompt="1"/>
          </p:nvPr>
        </p:nvSpPr>
        <p:spPr bwMode="gray">
          <a:xfrm>
            <a:off x="4271796"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lgn="ctr">
              <a:spcBef>
                <a:spcPts val="0"/>
              </a:spcBef>
              <a:buNone/>
              <a:defRPr sz="2000" b="1">
                <a:solidFill>
                  <a:schemeClr val="tx2"/>
                </a:solidFill>
              </a:defRPr>
            </a:lvl2pPr>
            <a:lvl3pPr marL="0" indent="0" algn="ctr">
              <a:spcBef>
                <a:spcPts val="0"/>
              </a:spcBef>
              <a:buNone/>
              <a:defRPr sz="1800" b="1">
                <a:solidFill>
                  <a:schemeClr val="tx2"/>
                </a:solidFill>
              </a:defRPr>
            </a:lvl3pPr>
            <a:lvl4pPr marL="0" indent="0" algn="ctr">
              <a:spcBef>
                <a:spcPts val="0"/>
              </a:spcBef>
              <a:buNone/>
              <a:defRPr sz="1800" b="1">
                <a:solidFill>
                  <a:schemeClr val="tx2"/>
                </a:solidFill>
              </a:defRPr>
            </a:lvl4pPr>
            <a:lvl5pPr marL="0" indent="0" algn="ctr">
              <a:spcBef>
                <a:spcPts val="0"/>
              </a:spcBef>
              <a:buNone/>
              <a:defRPr sz="1800" b="1">
                <a:solidFill>
                  <a:schemeClr val="tx2"/>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1"/>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1"/>
          <p:cNvSpPr>
            <a:spLocks noGrp="1"/>
          </p:cNvSpPr>
          <p:nvPr>
            <p:ph type="body" sz="quarter" idx="26" hasCustomPrompt="1"/>
          </p:nvPr>
        </p:nvSpPr>
        <p:spPr bwMode="gray">
          <a:xfrm>
            <a:off x="8210327"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lang="en-US" sz="1800" b="1" kern="1200" dirty="0">
                <a:solidFill>
                  <a:schemeClr val="tx2"/>
                </a:solidFill>
                <a:latin typeface="+mn-lt"/>
                <a:ea typeface="+mn-ea"/>
                <a:cs typeface="+mn-cs"/>
              </a:defRPr>
            </a:lvl1pPr>
            <a:lvl2pPr marL="0" indent="0" algn="ctr">
              <a:spcBef>
                <a:spcPts val="0"/>
              </a:spcBef>
              <a:buNone/>
              <a:defRPr sz="2000" b="1">
                <a:solidFill>
                  <a:schemeClr val="tx2"/>
                </a:solidFill>
              </a:defRPr>
            </a:lvl2pPr>
            <a:lvl3pPr marL="0" indent="0" algn="ctr">
              <a:spcBef>
                <a:spcPts val="0"/>
              </a:spcBef>
              <a:buNone/>
              <a:defRPr sz="1800" b="1">
                <a:solidFill>
                  <a:schemeClr val="tx2"/>
                </a:solidFill>
              </a:defRPr>
            </a:lvl3pPr>
            <a:lvl4pPr marL="0" indent="0" algn="ctr">
              <a:spcBef>
                <a:spcPts val="0"/>
              </a:spcBef>
              <a:buNone/>
              <a:defRPr sz="1800" b="1">
                <a:solidFill>
                  <a:schemeClr val="tx2"/>
                </a:solidFill>
              </a:defRPr>
            </a:lvl4pPr>
            <a:lvl5pPr marL="0" indent="0" algn="ctr">
              <a:spcBef>
                <a:spcPts val="0"/>
              </a:spcBef>
              <a:buNone/>
              <a:defRPr sz="1800" b="1">
                <a:solidFill>
                  <a:schemeClr val="tx2"/>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1"/>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bwMode="gray">
          <a:xfrm>
            <a:off x="333264" y="682313"/>
            <a:ext cx="11520000" cy="396000"/>
          </a:xfrm>
        </p:spPr>
        <p:txBody>
          <a:bodyPr/>
          <a:lstStyle/>
          <a:p>
            <a:r>
              <a:rPr lang="en-US"/>
              <a:t>Click to edit Master title style</a:t>
            </a:r>
            <a:endParaRPr lang="en-US" dirty="0"/>
          </a:p>
        </p:txBody>
      </p:sp>
      <p:sp>
        <p:nvSpPr>
          <p:cNvPr id="3" name="Footer Placeholder 2"/>
          <p:cNvSpPr>
            <a:spLocks noGrp="1"/>
          </p:cNvSpPr>
          <p:nvPr>
            <p:ph type="ftr" sz="quarter" idx="10"/>
          </p:nvPr>
        </p:nvSpPr>
        <p:spPr bwMode="gray"/>
        <p:txBody>
          <a:bodyPr/>
          <a:lstStyle/>
          <a:p>
            <a:pPr lvl="8"/>
            <a:endParaRPr lang="en-US" dirty="0"/>
          </a:p>
        </p:txBody>
      </p:sp>
      <p:sp>
        <p:nvSpPr>
          <p:cNvPr id="4" name="Date Placeholder 3"/>
          <p:cNvSpPr>
            <a:spLocks noGrp="1"/>
          </p:cNvSpPr>
          <p:nvPr>
            <p:ph type="dt" sz="half" idx="11"/>
          </p:nvPr>
        </p:nvSpPr>
        <p:spPr bwMode="gray"/>
        <p:txBody>
          <a:bodyPr/>
          <a:lstStyle/>
          <a:p>
            <a:fld id="{00C3FEDD-2DA3-4289-9B1F-96211D1B5114}" type="datetime4">
              <a:rPr lang="en-US" smtClean="0"/>
              <a:t>September 8, 2019</a:t>
            </a:fld>
            <a:endParaRPr lang="en-US" dirty="0"/>
          </a:p>
        </p:txBody>
      </p:sp>
      <p:sp>
        <p:nvSpPr>
          <p:cNvPr id="5" name="Slide Number Placeholder 4"/>
          <p:cNvSpPr>
            <a:spLocks noGrp="1"/>
          </p:cNvSpPr>
          <p:nvPr>
            <p:ph type="sldNum" sz="quarter" idx="12"/>
          </p:nvPr>
        </p:nvSpPr>
        <p:spPr bwMode="gray"/>
        <p:txBody>
          <a:bodyPr/>
          <a:lstStyle/>
          <a:p>
            <a:r>
              <a:rPr lang="en-US" dirty="0"/>
              <a:t>Slide </a:t>
            </a:r>
            <a:fld id="{619F89D8-7AE3-494A-97F3-03D680869632}" type="slidenum">
              <a:rPr lang="en-US" smtClean="0"/>
              <a:pPr/>
              <a:t>‹#›</a:t>
            </a:fld>
            <a:endParaRPr lang="en-US" dirty="0"/>
          </a:p>
        </p:txBody>
      </p:sp>
      <p:sp>
        <p:nvSpPr>
          <p:cNvPr id="11" name="Content Placeholder 3"/>
          <p:cNvSpPr>
            <a:spLocks noGrp="1"/>
          </p:cNvSpPr>
          <p:nvPr>
            <p:ph sz="quarter" idx="23"/>
          </p:nvPr>
        </p:nvSpPr>
        <p:spPr bwMode="gray">
          <a:xfrm>
            <a:off x="333264" y="2402146"/>
            <a:ext cx="3643200" cy="3511294"/>
          </a:xfrm>
        </p:spPr>
        <p:txBody>
          <a:bodyPr lIns="0" tIns="0" rIns="0" bIns="0"/>
          <a:lstStyle>
            <a:lvl1pPr>
              <a:defRPr lang="en-US" sz="1600" b="1" kern="1200" dirty="0">
                <a:solidFill>
                  <a:schemeClr val="tx1"/>
                </a:solidFill>
                <a:latin typeface="+mn-lt"/>
                <a:ea typeface="+mn-ea"/>
                <a:cs typeface="+mn-cs"/>
              </a:defRPr>
            </a:lvl1pPr>
            <a:lvl2pPr>
              <a:defRPr sz="1600"/>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25"/>
          </p:nvPr>
        </p:nvSpPr>
        <p:spPr bwMode="gray">
          <a:xfrm>
            <a:off x="4271796" y="2402146"/>
            <a:ext cx="3643200" cy="351129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p:cNvSpPr>
            <a:spLocks noGrp="1"/>
          </p:cNvSpPr>
          <p:nvPr>
            <p:ph sz="quarter" idx="27"/>
          </p:nvPr>
        </p:nvSpPr>
        <p:spPr bwMode="gray">
          <a:xfrm>
            <a:off x="8210327" y="2402146"/>
            <a:ext cx="3643200" cy="3511294"/>
          </a:xfrm>
        </p:spPr>
        <p:txBody>
          <a:bodyPr lIns="0" tIns="0" rIns="0" bIns="0"/>
          <a:lstStyle>
            <a:lvl1pPr>
              <a:defRPr lang="en-US" sz="1600" b="1" kern="1200" dirty="0">
                <a:solidFill>
                  <a:schemeClr val="tx1"/>
                </a:solidFill>
                <a:latin typeface="+mn-lt"/>
                <a:ea typeface="+mn-ea"/>
                <a:cs typeface="+mn-cs"/>
              </a:defRPr>
            </a:lvl1pPr>
            <a:lvl2pPr marL="180018" indent="-180018">
              <a:defRPr lang="en-US" sz="1600" kern="1200" dirty="0">
                <a:solidFill>
                  <a:schemeClr val="tx1"/>
                </a:solidFill>
                <a:latin typeface="+mn-lt"/>
                <a:ea typeface="+mn-ea"/>
                <a:cs typeface="+mn-cs"/>
              </a:defRPr>
            </a:lvl2pPr>
          </a:lstStyle>
          <a:p>
            <a:pPr marL="0" lvl="0" indent="0" algn="l" defTabSz="914491" rtl="0" eaLnBrk="1" latinLnBrk="0" hangingPunct="1">
              <a:spcBef>
                <a:spcPts val="600"/>
              </a:spcBef>
              <a:buFont typeface="Arial" panose="020B0604020202020204" pitchFamily="34" charset="0"/>
              <a:buNone/>
            </a:pPr>
            <a:r>
              <a:rPr lang="en-US" dirty="0"/>
              <a:t>Click to edit Master text styles</a:t>
            </a:r>
          </a:p>
          <a:p>
            <a:pPr marL="180018" lvl="1" indent="-180018" algn="l" defTabSz="914491" rtl="0" eaLnBrk="1" latinLnBrk="0" hangingPunct="1">
              <a:spcBef>
                <a:spcPts val="600"/>
              </a:spcBef>
              <a:buFont typeface="ABBvoiceOffice" panose="020D0603020503020204" pitchFamily="34" charset="0"/>
              <a:buChar char="–"/>
            </a:pPr>
            <a:r>
              <a:rPr lang="en-US" dirty="0"/>
              <a:t>Second level</a:t>
            </a:r>
          </a:p>
          <a:p>
            <a:pPr lvl="2"/>
            <a:r>
              <a:rPr lang="en-US" dirty="0"/>
              <a:t>Third level</a:t>
            </a:r>
          </a:p>
          <a:p>
            <a:pPr lvl="3"/>
            <a:r>
              <a:rPr lang="en-US" dirty="0"/>
              <a:t>Fourth level</a:t>
            </a:r>
          </a:p>
          <a:p>
            <a:pPr lvl="4"/>
            <a:r>
              <a:rPr lang="en-US" dirty="0"/>
              <a:t>Fifth level</a:t>
            </a:r>
          </a:p>
        </p:txBody>
      </p:sp>
      <p:cxnSp>
        <p:nvCxnSpPr>
          <p:cNvPr id="27" name="Straight Connector 26"/>
          <p:cNvCxnSpPr/>
          <p:nvPr userDrawn="1"/>
        </p:nvCxnSpPr>
        <p:spPr bwMode="gray">
          <a:xfrm>
            <a:off x="4124130"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8062662"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dirty="0"/>
              <a:t>Click to edit Master subtitle style</a:t>
            </a:r>
          </a:p>
        </p:txBody>
      </p:sp>
    </p:spTree>
    <p:custDataLst>
      <p:tags r:id="rId1"/>
    </p:custDataLst>
    <p:extLst>
      <p:ext uri="{BB962C8B-B14F-4D97-AF65-F5344CB8AC3E}">
        <p14:creationId xmlns:p14="http://schemas.microsoft.com/office/powerpoint/2010/main" val="1929577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52: Image">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bwMode="gray">
          <a:xfrm>
            <a:off x="2" y="0"/>
            <a:ext cx="12192000" cy="6858000"/>
          </a:xfrm>
          <a:custGeom>
            <a:avLst/>
            <a:gdLst>
              <a:gd name="connsiteX0" fmla="*/ 334746 w 12192000"/>
              <a:gd name="connsiteY0" fmla="*/ 530044 h 6858000"/>
              <a:gd name="connsiteX1" fmla="*/ 334746 w 12192000"/>
              <a:gd name="connsiteY1" fmla="*/ 558844 h 6858000"/>
              <a:gd name="connsiteX2" fmla="*/ 561546 w 12192000"/>
              <a:gd name="connsiteY2" fmla="*/ 558844 h 6858000"/>
              <a:gd name="connsiteX3" fmla="*/ 561546 w 12192000"/>
              <a:gd name="connsiteY3" fmla="*/ 53004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4746" y="530044"/>
                </a:moveTo>
                <a:lnTo>
                  <a:pt x="334746" y="558844"/>
                </a:lnTo>
                <a:lnTo>
                  <a:pt x="561546" y="558844"/>
                </a:lnTo>
                <a:lnTo>
                  <a:pt x="561546" y="530044"/>
                </a:lnTo>
                <a:close/>
                <a:moveTo>
                  <a:pt x="0" y="0"/>
                </a:moveTo>
                <a:lnTo>
                  <a:pt x="12192000" y="0"/>
                </a:lnTo>
                <a:lnTo>
                  <a:pt x="12192000" y="6858000"/>
                </a:lnTo>
                <a:lnTo>
                  <a:pt x="0" y="6858000"/>
                </a:lnTo>
                <a:close/>
              </a:path>
            </a:pathLst>
          </a:custGeom>
        </p:spPr>
        <p:txBody>
          <a:bodyPr wrap="square">
            <a:noAutofit/>
          </a:bodyPr>
          <a:lstStyle/>
          <a:p>
            <a:r>
              <a:rPr lang="en-US"/>
              <a:t>Click icon to add picture</a:t>
            </a:r>
            <a:endParaRPr lang="en-US" dirty="0"/>
          </a:p>
        </p:txBody>
      </p:sp>
      <p:sp>
        <p:nvSpPr>
          <p:cNvPr id="2" name="Title 1"/>
          <p:cNvSpPr>
            <a:spLocks noGrp="1"/>
          </p:cNvSpPr>
          <p:nvPr>
            <p:ph type="title"/>
          </p:nvPr>
        </p:nvSpPr>
        <p:spPr bwMode="gray">
          <a:xfrm>
            <a:off x="332366" y="622788"/>
            <a:ext cx="11520898" cy="396000"/>
          </a:xfrm>
        </p:spPr>
        <p:txBody>
          <a:bodyPr/>
          <a:lstStyle>
            <a:lvl1pPr>
              <a:defRPr sz="1800"/>
            </a:lvl1p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fld id="{A1F808C0-290B-4263-8A52-B569B4875133}" type="datetime4">
              <a:rPr lang="en-US" smtClean="0"/>
              <a:pPr/>
              <a:t>September 8, 2019</a:t>
            </a:fld>
            <a:endParaRPr lang="en-US" dirty="0"/>
          </a:p>
        </p:txBody>
      </p:sp>
      <p:sp>
        <p:nvSpPr>
          <p:cNvPr id="5" name="Footer Placeholder 4"/>
          <p:cNvSpPr>
            <a:spLocks noGrp="1"/>
          </p:cNvSpPr>
          <p:nvPr>
            <p:ph type="ftr" sz="quarter" idx="15"/>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dirty="0"/>
          </a:p>
        </p:txBody>
      </p:sp>
      <p:sp>
        <p:nvSpPr>
          <p:cNvPr id="6" name="Slide Number Placeholder 5"/>
          <p:cNvSpPr>
            <a:spLocks noGrp="1"/>
          </p:cNvSpPr>
          <p:nvPr>
            <p:ph type="sldNum" sz="quarter" idx="16"/>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dirty="0"/>
              <a:t>Slide </a:t>
            </a:r>
            <a:fld id="{619F89D8-7AE3-494A-97F3-03D680869632}" type="slidenum">
              <a:rPr lang="en-US" smtClean="0"/>
              <a:pPr/>
              <a:t>‹#›</a:t>
            </a:fld>
            <a:endParaRPr lang="en-US" dirty="0"/>
          </a:p>
        </p:txBody>
      </p:sp>
      <p:sp>
        <p:nvSpPr>
          <p:cNvPr id="13" name="Rectangle 12"/>
          <p:cNvSpPr/>
          <p:nvPr userDrawn="1"/>
        </p:nvSpPr>
        <p:spPr bwMode="gray">
          <a:xfrm>
            <a:off x="242214" y="447781"/>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800" b="1" dirty="0">
                <a:solidFill>
                  <a:srgbClr val="FF0000"/>
                </a:solidFill>
              </a:rPr>
              <a:t>—</a:t>
            </a:r>
            <a:endParaRPr lang="en-US" sz="1800" b="1" dirty="0" err="1">
              <a:solidFill>
                <a:srgbClr val="FF0000"/>
              </a:solidFill>
            </a:endParaRPr>
          </a:p>
        </p:txBody>
      </p:sp>
    </p:spTree>
    <p:extLst>
      <p:ext uri="{BB962C8B-B14F-4D97-AF65-F5344CB8AC3E}">
        <p14:creationId xmlns:p14="http://schemas.microsoft.com/office/powerpoint/2010/main" val="351737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4" name="Date Placeholder 3"/>
          <p:cNvSpPr>
            <a:spLocks noGrp="1"/>
          </p:cNvSpPr>
          <p:nvPr>
            <p:ph type="dt" sz="half" idx="14"/>
          </p:nvPr>
        </p:nvSpPr>
        <p:spPr bwMode="gray"/>
        <p:txBody>
          <a:bodyPr/>
          <a:lstStyle/>
          <a:p>
            <a:fld id="{A1F808C0-290B-4263-8A52-B569B4875133}" type="datetime4">
              <a:rPr lang="en-US" smtClean="0"/>
              <a:t>September 8, 2019</a:t>
            </a:fld>
            <a:endParaRPr lang="en-US" dirty="0"/>
          </a:p>
        </p:txBody>
      </p:sp>
      <p:sp>
        <p:nvSpPr>
          <p:cNvPr id="5" name="Footer Placeholder 4"/>
          <p:cNvSpPr>
            <a:spLocks noGrp="1"/>
          </p:cNvSpPr>
          <p:nvPr>
            <p:ph type="ftr" sz="quarter" idx="15"/>
          </p:nvPr>
        </p:nvSpPr>
        <p:spPr bwMode="gray"/>
        <p:txBody>
          <a:bodyPr/>
          <a:lstStyle/>
          <a:p>
            <a:pPr lvl="8"/>
            <a:endParaRPr lang="en-US" dirty="0"/>
          </a:p>
        </p:txBody>
      </p:sp>
      <p:sp>
        <p:nvSpPr>
          <p:cNvPr id="6" name="Slide Number Placeholder 5"/>
          <p:cNvSpPr>
            <a:spLocks noGrp="1"/>
          </p:cNvSpPr>
          <p:nvPr>
            <p:ph type="sldNum" sz="quarter" idx="16"/>
          </p:nvPr>
        </p:nvSpPr>
        <p:spPr bwMode="gray"/>
        <p:txBody>
          <a:bodyPr/>
          <a:lstStyle/>
          <a:p>
            <a:r>
              <a:rPr lang="en-US" dirty="0"/>
              <a:t>Slide </a:t>
            </a:r>
            <a:fld id="{619F89D8-7AE3-494A-97F3-03D680869632}" type="slidenum">
              <a:rPr lang="en-US" smtClean="0"/>
              <a:pPr/>
              <a:t>‹#›</a:t>
            </a:fld>
            <a:endParaRPr lang="en-US" dirty="0"/>
          </a:p>
        </p:txBody>
      </p:sp>
      <p:sp>
        <p:nvSpPr>
          <p:cNvPr id="18"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Tree>
    <p:custDataLst>
      <p:tags r:id="rId1"/>
    </p:custDataLst>
    <p:extLst>
      <p:ext uri="{BB962C8B-B14F-4D97-AF65-F5344CB8AC3E}">
        <p14:creationId xmlns:p14="http://schemas.microsoft.com/office/powerpoint/2010/main" val="2000022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8_4: Title Slide 4">
    <p:spTree>
      <p:nvGrpSpPr>
        <p:cNvPr id="1" name=""/>
        <p:cNvGrpSpPr/>
        <p:nvPr/>
      </p:nvGrpSpPr>
      <p:grpSpPr>
        <a:xfrm>
          <a:off x="0" y="0"/>
          <a:ext cx="0" cy="0"/>
          <a:chOff x="0" y="0"/>
          <a:chExt cx="0" cy="0"/>
        </a:xfrm>
      </p:grpSpPr>
      <p:pic>
        <p:nvPicPr>
          <p:cNvPr id="9" name="Picture Placeholder 6">
            <a:extLst>
              <a:ext uri="{FF2B5EF4-FFF2-40B4-BE49-F238E27FC236}">
                <a16:creationId xmlns:a16="http://schemas.microsoft.com/office/drawing/2014/main" id="{86CAFDF7-9EB7-415D-88CF-56F6F2E01C3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
          <a:stretch/>
        </p:blipFill>
        <p:spPr bwMode="gray">
          <a:xfrm>
            <a:off x="0" y="0"/>
            <a:ext cx="12192000" cy="4610100"/>
          </a:xfrm>
          <a:prstGeom prst="rect">
            <a:avLst/>
          </a:prstGeom>
        </p:spPr>
      </p:pic>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858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54: Final Slide">
    <p:spTree>
      <p:nvGrpSpPr>
        <p:cNvPr id="1" name=""/>
        <p:cNvGrpSpPr/>
        <p:nvPr/>
      </p:nvGrpSpPr>
      <p:grpSpPr>
        <a:xfrm>
          <a:off x="0" y="0"/>
          <a:ext cx="0" cy="0"/>
          <a:chOff x="0" y="0"/>
          <a:chExt cx="0" cy="0"/>
        </a:xfrm>
      </p:grpSpPr>
      <p:pic>
        <p:nvPicPr>
          <p:cNvPr id="7" name="Picture 1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447616" y="2793573"/>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4793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05_Title only">
    <p:spTree>
      <p:nvGrpSpPr>
        <p:cNvPr id="1" name=""/>
        <p:cNvGrpSpPr/>
        <p:nvPr/>
      </p:nvGrpSpPr>
      <p:grpSpPr>
        <a:xfrm>
          <a:off x="0" y="0"/>
          <a:ext cx="0" cy="0"/>
          <a:chOff x="0" y="0"/>
          <a:chExt cx="0" cy="0"/>
        </a:xfrm>
      </p:grpSpPr>
      <p:sp>
        <p:nvSpPr>
          <p:cNvPr id="7" name="Subtitle 2"/>
          <p:cNvSpPr>
            <a:spLocks noGrp="1"/>
          </p:cNvSpPr>
          <p:nvPr>
            <p:ph type="subTitle" idx="13"/>
          </p:nvPr>
        </p:nvSpPr>
        <p:spPr bwMode="gray">
          <a:xfrm>
            <a:off x="257879" y="1120928"/>
            <a:ext cx="11649905" cy="504000"/>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 name="Title 1"/>
          <p:cNvSpPr>
            <a:spLocks noGrp="1"/>
          </p:cNvSpPr>
          <p:nvPr>
            <p:ph type="title"/>
          </p:nvPr>
        </p:nvSpPr>
        <p:spPr bwMode="gray"/>
        <p:txBody>
          <a:bodyPr/>
          <a:lstStyle/>
          <a:p>
            <a:r>
              <a:rPr lang="en-US"/>
              <a:t>Click to edit Master title style</a:t>
            </a:r>
          </a:p>
        </p:txBody>
      </p:sp>
      <p:sp>
        <p:nvSpPr>
          <p:cNvPr id="8" name="Date Placeholder 7"/>
          <p:cNvSpPr>
            <a:spLocks noGrp="1"/>
          </p:cNvSpPr>
          <p:nvPr>
            <p:ph type="dt" sz="half" idx="14"/>
          </p:nvPr>
        </p:nvSpPr>
        <p:spPr bwMode="gray"/>
        <p:txBody>
          <a:bodyPr/>
          <a:lstStyle/>
          <a:p>
            <a:fld id="{604723B6-2C37-4C03-92C2-AA6C4A469955}" type="datetime4">
              <a:rPr lang="en-US" smtClean="0"/>
              <a:t>September 8, 2019</a:t>
            </a:fld>
            <a:endParaRPr lang="en-US" dirty="0"/>
          </a:p>
        </p:txBody>
      </p:sp>
      <p:sp>
        <p:nvSpPr>
          <p:cNvPr id="9" name="Footer Placeholder 8"/>
          <p:cNvSpPr>
            <a:spLocks noGrp="1"/>
          </p:cNvSpPr>
          <p:nvPr>
            <p:ph type="ftr" sz="quarter" idx="15"/>
          </p:nvPr>
        </p:nvSpPr>
        <p:spPr bwMode="gray"/>
        <p:txBody>
          <a:bodyPr/>
          <a:lstStyle/>
          <a:p>
            <a:endParaRPr lang="en-US" dirty="0"/>
          </a:p>
        </p:txBody>
      </p:sp>
      <p:sp>
        <p:nvSpPr>
          <p:cNvPr id="10" name="Slide Number Placeholder 9"/>
          <p:cNvSpPr>
            <a:spLocks noGrp="1"/>
          </p:cNvSpPr>
          <p:nvPr>
            <p:ph type="sldNum" sz="quarter" idx="16"/>
          </p:nvPr>
        </p:nvSpPr>
        <p:spPr bwMode="gray"/>
        <p:txBody>
          <a:bodyPr/>
          <a:lstStyle/>
          <a:p>
            <a:r>
              <a:rPr lang="en-US"/>
              <a:t>Slide </a:t>
            </a:r>
            <a:fld id="{619F89D8-7AE3-494A-97F3-03D680869632}" type="slidenum">
              <a:rPr lang="en-US" smtClean="0"/>
              <a:pPr/>
              <a:t>‹#›</a:t>
            </a:fld>
            <a:endParaRPr lang="en-US" dirty="0"/>
          </a:p>
        </p:txBody>
      </p:sp>
    </p:spTree>
    <p:extLst>
      <p:ext uri="{BB962C8B-B14F-4D97-AF65-F5344CB8AC3E}">
        <p14:creationId xmlns:p14="http://schemas.microsoft.com/office/powerpoint/2010/main" val="766027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2"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0" name="Picture 19"/>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0599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2" y="0"/>
            <a:ext cx="12192000" cy="4610100"/>
          </a:xfrm>
          <a:prstGeom prst="rect">
            <a:avLst/>
          </a:prstGeom>
        </p:spPr>
      </p:pic>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4" name="Picture 19"/>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8963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4: Title Slide 4">
    <p:spTree>
      <p:nvGrpSpPr>
        <p:cNvPr id="1" name=""/>
        <p:cNvGrpSpPr/>
        <p:nvPr/>
      </p:nvGrpSpPr>
      <p:grpSpPr>
        <a:xfrm>
          <a:off x="0" y="0"/>
          <a:ext cx="0" cy="0"/>
          <a:chOff x="0" y="0"/>
          <a:chExt cx="0" cy="0"/>
        </a:xfrm>
      </p:grpSpPr>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endParaRPr lang="en-US" dirty="0"/>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4" name="Picture 19"/>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20889489-045E-49AC-8EA6-FE77102DBFCD}"/>
              </a:ext>
            </a:extLst>
          </p:cNvPr>
          <p:cNvPicPr>
            <a:picLocks noChangeAspect="1"/>
          </p:cNvPicPr>
          <p:nvPr userDrawn="1"/>
        </p:nvPicPr>
        <p:blipFill rotWithShape="1">
          <a:blip r:embed="rId3"/>
          <a:srcRect b="50000"/>
          <a:stretch/>
        </p:blipFill>
        <p:spPr>
          <a:xfrm>
            <a:off x="2210547" y="745620"/>
            <a:ext cx="7770906" cy="3885453"/>
          </a:xfrm>
          <a:prstGeom prst="rect">
            <a:avLst/>
          </a:prstGeom>
        </p:spPr>
      </p:pic>
    </p:spTree>
    <p:extLst>
      <p:ext uri="{BB962C8B-B14F-4D97-AF65-F5344CB8AC3E}">
        <p14:creationId xmlns:p14="http://schemas.microsoft.com/office/powerpoint/2010/main" val="2834107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2" y="0"/>
            <a:ext cx="12192000" cy="4610100"/>
          </a:xfrm>
        </p:spPr>
        <p:txBody>
          <a:bodyPr/>
          <a:lstStyle/>
          <a:p>
            <a:r>
              <a:rPr lang="en-US"/>
              <a:t>Click icon to add picture</a:t>
            </a:r>
          </a:p>
        </p:txBody>
      </p:sp>
      <p:sp>
        <p:nvSpPr>
          <p:cNvPr id="22"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4" name="Picture 19"/>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817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5: Divi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gray">
          <a:xfrm>
            <a:off x="1" y="0"/>
            <a:ext cx="12198845" cy="6858000"/>
          </a:xfrm>
          <a:prstGeom prst="rect">
            <a:avLst/>
          </a:prstGeom>
        </p:spPr>
      </p:pic>
      <p:sp>
        <p:nvSpPr>
          <p:cNvPr id="10" name="Rectangle 9">
            <a:extLst>
              <a:ext uri="{FF2B5EF4-FFF2-40B4-BE49-F238E27FC236}">
                <a16:creationId xmlns:a16="http://schemas.microsoft.com/office/drawing/2014/main" id="{F54DE7E8-58C9-4B5A-B686-53E1B76B68C9}"/>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err="1">
              <a:solidFill>
                <a:schemeClr val="bg1"/>
              </a:solidFill>
            </a:endParaRPr>
          </a:p>
        </p:txBody>
      </p:sp>
      <p:sp>
        <p:nvSpPr>
          <p:cNvPr id="9" name="Title 1">
            <a:extLst>
              <a:ext uri="{FF2B5EF4-FFF2-40B4-BE49-F238E27FC236}">
                <a16:creationId xmlns:a16="http://schemas.microsoft.com/office/drawing/2014/main" id="{26BA06A1-F808-4CBA-9D28-8D357F795D4C}"/>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1" name="Subtitle 2">
            <a:extLst>
              <a:ext uri="{FF2B5EF4-FFF2-40B4-BE49-F238E27FC236}">
                <a16:creationId xmlns:a16="http://schemas.microsoft.com/office/drawing/2014/main" id="{F7CD425E-9028-4049-A9A0-DC6F9DF08061}"/>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42860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6: Divider 2">
    <p:spTree>
      <p:nvGrpSpPr>
        <p:cNvPr id="1" name=""/>
        <p:cNvGrpSpPr/>
        <p:nvPr/>
      </p:nvGrpSpPr>
      <p:grpSpPr>
        <a:xfrm>
          <a:off x="0" y="0"/>
          <a:ext cx="0" cy="0"/>
          <a:chOff x="0" y="0"/>
          <a:chExt cx="0" cy="0"/>
        </a:xfrm>
      </p:grpSpPr>
      <p:sp>
        <p:nvSpPr>
          <p:cNvPr id="9" name="Rectangle 8"/>
          <p:cNvSpPr/>
          <p:nvPr userDrawn="1"/>
        </p:nvSpPr>
        <p:spPr bwMode="gray">
          <a:xfrm>
            <a:off x="2" y="0"/>
            <a:ext cx="12192000" cy="6858000"/>
          </a:xfrm>
          <a:prstGeom prst="rect">
            <a:avLst/>
          </a:prstGeom>
          <a:solidFill>
            <a:srgbClr val="FF000F"/>
          </a:solidFill>
          <a:ln w="25400" cap="flat" cmpd="sng" algn="ctr">
            <a:noFill/>
            <a:prstDash val="solid"/>
          </a:ln>
          <a:effectLst/>
        </p:spPr>
        <p:txBody>
          <a:bodyPr lIns="72009" tIns="72009" rIns="72009" bIns="72009" rtlCol="0" anchor="ctr"/>
          <a:lstStyle/>
          <a:p>
            <a:pPr marL="0" marR="0" lvl="0" indent="0" algn="ctr" defTabSz="91449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
        <p:nvSpPr>
          <p:cNvPr id="11" name="Rectangle 10">
            <a:extLst>
              <a:ext uri="{FF2B5EF4-FFF2-40B4-BE49-F238E27FC236}">
                <a16:creationId xmlns:a16="http://schemas.microsoft.com/office/drawing/2014/main" id="{94A90620-6E53-42BB-807B-70CAD0710CDD}"/>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err="1">
              <a:solidFill>
                <a:schemeClr val="bg1"/>
              </a:solidFill>
            </a:endParaRPr>
          </a:p>
        </p:txBody>
      </p:sp>
      <p:sp>
        <p:nvSpPr>
          <p:cNvPr id="8" name="Title 1">
            <a:extLst>
              <a:ext uri="{FF2B5EF4-FFF2-40B4-BE49-F238E27FC236}">
                <a16:creationId xmlns:a16="http://schemas.microsoft.com/office/drawing/2014/main" id="{6B34BC21-AFED-46B1-8268-92A7B5BBDEE1}"/>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0C1FE702-2A26-4886-8C77-E6510DB1849C}"/>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86439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884551-BCA1-4427-92BF-DB5CAA0DDF08}"/>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sp>
        <p:nvSpPr>
          <p:cNvPr id="5" name="Title 1">
            <a:extLst>
              <a:ext uri="{FF2B5EF4-FFF2-40B4-BE49-F238E27FC236}">
                <a16:creationId xmlns:a16="http://schemas.microsoft.com/office/drawing/2014/main" id="{FAC380CA-95DB-45F2-99D5-3A1E2DF54CD3}"/>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tx1"/>
                </a:solidFill>
              </a:defRPr>
            </a:lvl1pPr>
          </a:lstStyle>
          <a:p>
            <a:r>
              <a:rPr lang="en-US"/>
              <a:t>Click to edit Master title style</a:t>
            </a:r>
          </a:p>
        </p:txBody>
      </p:sp>
      <p:sp>
        <p:nvSpPr>
          <p:cNvPr id="6" name="Subtitle 2">
            <a:extLst>
              <a:ext uri="{FF2B5EF4-FFF2-40B4-BE49-F238E27FC236}">
                <a16:creationId xmlns:a16="http://schemas.microsoft.com/office/drawing/2014/main" id="{EE182003-2699-4135-A685-461A4D33947D}"/>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810656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332367" y="1931197"/>
            <a:ext cx="11520897" cy="3980439"/>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8"/>
          </p:nvPr>
        </p:nvSpPr>
        <p:spPr bwMode="gray"/>
        <p:txBody>
          <a:bodyPr/>
          <a:lstStyle/>
          <a:p>
            <a:fld id="{F7AFF65D-AAB4-46ED-A858-A6BA48891152}" type="datetime4">
              <a:rPr lang="en-US" smtClean="0"/>
              <a:t>September 8, 2019</a:t>
            </a:fld>
            <a:endParaRPr lang="en-US"/>
          </a:p>
        </p:txBody>
      </p:sp>
      <p:sp>
        <p:nvSpPr>
          <p:cNvPr id="5" name="Footer Placeholder 4"/>
          <p:cNvSpPr>
            <a:spLocks noGrp="1"/>
          </p:cNvSpPr>
          <p:nvPr>
            <p:ph type="ftr" sz="quarter" idx="19"/>
          </p:nvPr>
        </p:nvSpPr>
        <p:spPr bwMode="gray"/>
        <p:txBody>
          <a:bodyPr/>
          <a:lstStyle/>
          <a:p>
            <a:pPr lvl="8"/>
            <a:endParaRPr lang="en-US"/>
          </a:p>
        </p:txBody>
      </p:sp>
      <p:sp>
        <p:nvSpPr>
          <p:cNvPr id="6" name="Slide Number Placeholder 5"/>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7" name="Title 6"/>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3502606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1: Title Slide">
    <p:spTree>
      <p:nvGrpSpPr>
        <p:cNvPr id="1" name=""/>
        <p:cNvGrpSpPr/>
        <p:nvPr/>
      </p:nvGrpSpPr>
      <p:grpSpPr>
        <a:xfrm>
          <a:off x="0" y="0"/>
          <a:ext cx="0" cy="0"/>
          <a:chOff x="0" y="0"/>
          <a:chExt cx="0" cy="0"/>
        </a:xfrm>
      </p:grpSpPr>
      <p:pic>
        <p:nvPicPr>
          <p:cNvPr id="9" name="Picture 3">
            <a:extLst>
              <a:ext uri="{FF2B5EF4-FFF2-40B4-BE49-F238E27FC236}">
                <a16:creationId xmlns:a16="http://schemas.microsoft.com/office/drawing/2014/main" id="{8B49CD9E-E3B9-4445-BFE0-0B08297CCAA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40046"/>
          <a:stretch/>
        </p:blipFill>
        <p:spPr>
          <a:xfrm>
            <a:off x="0" y="-13669"/>
            <a:ext cx="12192000" cy="6871669"/>
          </a:xfrm>
          <a:prstGeom prst="rect">
            <a:avLst/>
          </a:prstGeom>
          <a:solidFill>
            <a:schemeClr val="bg1"/>
          </a:solidFill>
        </p:spPr>
      </p:pic>
      <p:sp>
        <p:nvSpPr>
          <p:cNvPr id="4" name="Rectangle 3">
            <a:extLst>
              <a:ext uri="{FF2B5EF4-FFF2-40B4-BE49-F238E27FC236}">
                <a16:creationId xmlns:a16="http://schemas.microsoft.com/office/drawing/2014/main" id="{D9EAA67E-304F-4152-B919-9FE38CB2797E}"/>
              </a:ext>
            </a:extLst>
          </p:cNvPr>
          <p:cNvSpPr/>
          <p:nvPr userDrawn="1"/>
        </p:nvSpPr>
        <p:spPr bwMode="gray">
          <a:xfrm>
            <a:off x="0" y="-13669"/>
            <a:ext cx="12192000" cy="6871669"/>
          </a:xfrm>
          <a:prstGeom prst="rect">
            <a:avLst/>
          </a:prstGeom>
          <a:gradFill>
            <a:gsLst>
              <a:gs pos="0">
                <a:schemeClr val="accent1">
                  <a:lumMod val="5000"/>
                  <a:lumOff val="95000"/>
                  <a:alpha val="0"/>
                </a:schemeClr>
              </a:gs>
              <a:gs pos="88000">
                <a:srgbClr val="FFFFFF"/>
              </a:gs>
              <a:gs pos="63000">
                <a:schemeClr val="bg1">
                  <a:alpha val="6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endParaRPr lang="en-US" dirty="0"/>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endParaRPr lang="en-US" dirty="0"/>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dirty="0">
                <a:solidFill>
                  <a:schemeClr val="bg2"/>
                </a:solidFill>
              </a:rPr>
              <a:t>—</a:t>
            </a:r>
            <a:endParaRPr lang="en-US" sz="3200" b="1" dirty="0" err="1">
              <a:solidFill>
                <a:schemeClr val="bg2"/>
              </a:solidFill>
            </a:endParaRPr>
          </a:p>
        </p:txBody>
      </p:sp>
      <p:pic>
        <p:nvPicPr>
          <p:cNvPr id="10" name="Picture 19"/>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4042058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7"/>
            <a:ext cx="11520000" cy="3982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fld id="{FFAB2352-921F-4DD8-A99A-A1474F6943FF}" type="datetime4">
              <a:rPr lang="en-US" smtClean="0"/>
              <a:t>September 8, 2019</a:t>
            </a:fld>
            <a:endParaRPr lang="en-US"/>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045120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0: Content &amp; Box">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5"/>
            <a:ext cx="11520000" cy="343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fld id="{FFAB2352-921F-4DD8-A99A-A1474F6943FF}" type="datetime4">
              <a:rPr lang="en-US" smtClean="0"/>
              <a:t>September 8, 2019</a:t>
            </a:fld>
            <a:endParaRPr lang="en-US"/>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8702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17488BFE-015E-452C-932B-DB979AC8F282}"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6" name="Subtitle 2"/>
          <p:cNvSpPr>
            <a:spLocks noGrp="1"/>
          </p:cNvSpPr>
          <p:nvPr>
            <p:ph type="subTitle" idx="13"/>
          </p:nvPr>
        </p:nvSpPr>
        <p:spPr bwMode="gray">
          <a:xfrm>
            <a:off x="334139"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15"/>
          <p:cNvSpPr>
            <a:spLocks noGrp="1"/>
          </p:cNvSpPr>
          <p:nvPr>
            <p:ph sz="quarter" idx="19"/>
          </p:nvPr>
        </p:nvSpPr>
        <p:spPr bwMode="gray">
          <a:xfrm>
            <a:off x="332367" y="2317637"/>
            <a:ext cx="11520000" cy="359421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335439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2: Title (5)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D8D4DCBA-4C7A-4489-854D-9CAAB7BC53A0}"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9" name="Straight Connector 8"/>
          <p:cNvCxnSpPr/>
          <p:nvPr userDrawn="1"/>
        </p:nvCxnSpPr>
        <p:spPr bwMode="gray">
          <a:xfrm>
            <a:off x="42716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0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6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0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6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0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6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0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3" y="1931195"/>
            <a:ext cx="3643200" cy="180926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6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0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3"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6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0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20732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3: Title (6)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D8D4DCBA-4C7A-4489-854D-9CAAB7BC53A0}"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795"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327"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796"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327"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795"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327"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796"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327"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683358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4: Title &amp; Content (8)">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C55A9BD9-4AB1-4514-A40D-3F4348B2CF77}"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1492"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3264"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3264"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59472" y="2317637"/>
            <a:ext cx="3757689"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59472" y="4202644"/>
            <a:ext cx="3757689"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2" y="2317637"/>
            <a:ext cx="3759312"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2" y="4202644"/>
            <a:ext cx="3759312"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userDrawn="1"/>
        </p:nvCxnSpPr>
        <p:spPr bwMode="gray">
          <a:xfrm>
            <a:off x="332368" y="4115141"/>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388404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5: Title &amp; Content (8) &amp; Box">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EAB57985-67D2-4C2C-8135-28A8C8C95665}"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2367" y="2317637"/>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2367"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6"/>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60482" y="2317636"/>
            <a:ext cx="3757436"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60482" y="3925788"/>
            <a:ext cx="3757436"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3" y="2317636"/>
            <a:ext cx="3759312"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3" y="3925788"/>
            <a:ext cx="3759312"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7"/>
          <p:cNvSpPr>
            <a:spLocks noGrp="1"/>
          </p:cNvSpPr>
          <p:nvPr>
            <p:ph type="body" sz="quarter" idx="29"/>
          </p:nvPr>
        </p:nvSpPr>
        <p:spPr bwMode="gray">
          <a:xfrm>
            <a:off x="333264"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332368" y="3839912"/>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754777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97925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7: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43099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4309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43099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a:spLocks noGrp="1"/>
          </p:cNvSpPr>
          <p:nvPr>
            <p:ph type="body" sz="quarter" idx="29"/>
          </p:nvPr>
        </p:nvSpPr>
        <p:spPr bwMode="gray">
          <a:xfrm>
            <a:off x="332368" y="5453066"/>
            <a:ext cx="11520896"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704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8: Title (2)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fld id="{8F8FF341-9601-47A6-A4C1-F2885A66BAA5}" type="datetime4">
              <a:rPr lang="en-US" smtClean="0"/>
              <a:t>September 8, 2019</a:t>
            </a:fld>
            <a:endParaRPr lang="en-US"/>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43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43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9107" y="2317638"/>
            <a:ext cx="560442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2317638"/>
            <a:ext cx="5603434"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14103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image" Target="../media/image1.png"/><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slideLayout" Target="../slideLayouts/slideLayout120.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image" Target="../media/image25.png"/><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53" Type="http://schemas.openxmlformats.org/officeDocument/2006/relationships/slideLayout" Target="../slideLayouts/slideLayout134.xml"/><Relationship Id="rId58" Type="http://schemas.openxmlformats.org/officeDocument/2006/relationships/theme" Target="../theme/theme2.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3" Type="http://schemas.openxmlformats.org/officeDocument/2006/relationships/slideLayout" Target="../slideLayouts/slideLayout8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50" Type="http://schemas.openxmlformats.org/officeDocument/2006/relationships/slideLayout" Target="../slideLayouts/slideLayout188.xml"/><Relationship Id="rId55" Type="http://schemas.openxmlformats.org/officeDocument/2006/relationships/slideLayout" Target="../slideLayouts/slideLayout193.xml"/><Relationship Id="rId63" Type="http://schemas.openxmlformats.org/officeDocument/2006/relationships/slideLayout" Target="../slideLayouts/slideLayout201.xml"/><Relationship Id="rId68" Type="http://schemas.openxmlformats.org/officeDocument/2006/relationships/slideLayout" Target="../slideLayouts/slideLayout206.xml"/><Relationship Id="rId76" Type="http://schemas.openxmlformats.org/officeDocument/2006/relationships/slideLayout" Target="../slideLayouts/slideLayout214.xml"/><Relationship Id="rId7" Type="http://schemas.openxmlformats.org/officeDocument/2006/relationships/slideLayout" Target="../slideLayouts/slideLayout145.xml"/><Relationship Id="rId71" Type="http://schemas.openxmlformats.org/officeDocument/2006/relationships/slideLayout" Target="../slideLayouts/slideLayout209.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3" Type="http://schemas.openxmlformats.org/officeDocument/2006/relationships/slideLayout" Target="../slideLayouts/slideLayout191.xml"/><Relationship Id="rId58" Type="http://schemas.openxmlformats.org/officeDocument/2006/relationships/slideLayout" Target="../slideLayouts/slideLayout196.xml"/><Relationship Id="rId66" Type="http://schemas.openxmlformats.org/officeDocument/2006/relationships/slideLayout" Target="../slideLayouts/slideLayout204.xml"/><Relationship Id="rId74" Type="http://schemas.openxmlformats.org/officeDocument/2006/relationships/slideLayout" Target="../slideLayouts/slideLayout212.xml"/><Relationship Id="rId79" Type="http://schemas.openxmlformats.org/officeDocument/2006/relationships/image" Target="../media/image1.png"/><Relationship Id="rId5" Type="http://schemas.openxmlformats.org/officeDocument/2006/relationships/slideLayout" Target="../slideLayouts/slideLayout143.xml"/><Relationship Id="rId61" Type="http://schemas.openxmlformats.org/officeDocument/2006/relationships/slideLayout" Target="../slideLayouts/slideLayout199.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slideLayout" Target="../slideLayouts/slideLayout190.xml"/><Relationship Id="rId60" Type="http://schemas.openxmlformats.org/officeDocument/2006/relationships/slideLayout" Target="../slideLayouts/slideLayout198.xml"/><Relationship Id="rId65" Type="http://schemas.openxmlformats.org/officeDocument/2006/relationships/slideLayout" Target="../slideLayouts/slideLayout203.xml"/><Relationship Id="rId73" Type="http://schemas.openxmlformats.org/officeDocument/2006/relationships/slideLayout" Target="../slideLayouts/slideLayout211.xml"/><Relationship Id="rId78" Type="http://schemas.openxmlformats.org/officeDocument/2006/relationships/tags" Target="../tags/tag19.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56" Type="http://schemas.openxmlformats.org/officeDocument/2006/relationships/slideLayout" Target="../slideLayouts/slideLayout194.xml"/><Relationship Id="rId64" Type="http://schemas.openxmlformats.org/officeDocument/2006/relationships/slideLayout" Target="../slideLayouts/slideLayout202.xml"/><Relationship Id="rId69" Type="http://schemas.openxmlformats.org/officeDocument/2006/relationships/slideLayout" Target="../slideLayouts/slideLayout207.xml"/><Relationship Id="rId77" Type="http://schemas.openxmlformats.org/officeDocument/2006/relationships/theme" Target="../theme/theme3.xml"/><Relationship Id="rId8" Type="http://schemas.openxmlformats.org/officeDocument/2006/relationships/slideLayout" Target="../slideLayouts/slideLayout146.xml"/><Relationship Id="rId51" Type="http://schemas.openxmlformats.org/officeDocument/2006/relationships/slideLayout" Target="../slideLayouts/slideLayout189.xml"/><Relationship Id="rId72" Type="http://schemas.openxmlformats.org/officeDocument/2006/relationships/slideLayout" Target="../slideLayouts/slideLayout210.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59" Type="http://schemas.openxmlformats.org/officeDocument/2006/relationships/slideLayout" Target="../slideLayouts/slideLayout197.xml"/><Relationship Id="rId67" Type="http://schemas.openxmlformats.org/officeDocument/2006/relationships/slideLayout" Target="../slideLayouts/slideLayout205.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54" Type="http://schemas.openxmlformats.org/officeDocument/2006/relationships/slideLayout" Target="../slideLayouts/slideLayout192.xml"/><Relationship Id="rId62" Type="http://schemas.openxmlformats.org/officeDocument/2006/relationships/slideLayout" Target="../slideLayouts/slideLayout200.xml"/><Relationship Id="rId70" Type="http://schemas.openxmlformats.org/officeDocument/2006/relationships/slideLayout" Target="../slideLayouts/slideLayout208.xml"/><Relationship Id="rId75" Type="http://schemas.openxmlformats.org/officeDocument/2006/relationships/slideLayout" Target="../slideLayouts/slideLayout213.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 Id="rId57" Type="http://schemas.openxmlformats.org/officeDocument/2006/relationships/slideLayout" Target="../slideLayouts/slideLayout19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27.xml"/><Relationship Id="rId18" Type="http://schemas.openxmlformats.org/officeDocument/2006/relationships/slideLayout" Target="../slideLayouts/slideLayout232.xml"/><Relationship Id="rId26" Type="http://schemas.openxmlformats.org/officeDocument/2006/relationships/slideLayout" Target="../slideLayouts/slideLayout240.xml"/><Relationship Id="rId39" Type="http://schemas.openxmlformats.org/officeDocument/2006/relationships/slideLayout" Target="../slideLayouts/slideLayout253.xml"/><Relationship Id="rId21" Type="http://schemas.openxmlformats.org/officeDocument/2006/relationships/slideLayout" Target="../slideLayouts/slideLayout235.xml"/><Relationship Id="rId34" Type="http://schemas.openxmlformats.org/officeDocument/2006/relationships/slideLayout" Target="../slideLayouts/slideLayout248.xml"/><Relationship Id="rId42" Type="http://schemas.openxmlformats.org/officeDocument/2006/relationships/slideLayout" Target="../slideLayouts/slideLayout256.xml"/><Relationship Id="rId47" Type="http://schemas.openxmlformats.org/officeDocument/2006/relationships/slideLayout" Target="../slideLayouts/slideLayout261.xml"/><Relationship Id="rId50" Type="http://schemas.openxmlformats.org/officeDocument/2006/relationships/slideLayout" Target="../slideLayouts/slideLayout264.xml"/><Relationship Id="rId55" Type="http://schemas.openxmlformats.org/officeDocument/2006/relationships/slideLayout" Target="../slideLayouts/slideLayout269.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slideLayout" Target="../slideLayouts/slideLayout231.xml"/><Relationship Id="rId25" Type="http://schemas.openxmlformats.org/officeDocument/2006/relationships/slideLayout" Target="../slideLayouts/slideLayout239.xml"/><Relationship Id="rId33" Type="http://schemas.openxmlformats.org/officeDocument/2006/relationships/slideLayout" Target="../slideLayouts/slideLayout247.xml"/><Relationship Id="rId38" Type="http://schemas.openxmlformats.org/officeDocument/2006/relationships/slideLayout" Target="../slideLayouts/slideLayout252.xml"/><Relationship Id="rId46" Type="http://schemas.openxmlformats.org/officeDocument/2006/relationships/slideLayout" Target="../slideLayouts/slideLayout260.xml"/><Relationship Id="rId59" Type="http://schemas.openxmlformats.org/officeDocument/2006/relationships/image" Target="../media/image32.png"/><Relationship Id="rId2" Type="http://schemas.openxmlformats.org/officeDocument/2006/relationships/slideLayout" Target="../slideLayouts/slideLayout216.xml"/><Relationship Id="rId16" Type="http://schemas.openxmlformats.org/officeDocument/2006/relationships/slideLayout" Target="../slideLayouts/slideLayout230.xml"/><Relationship Id="rId20" Type="http://schemas.openxmlformats.org/officeDocument/2006/relationships/slideLayout" Target="../slideLayouts/slideLayout234.xml"/><Relationship Id="rId29" Type="http://schemas.openxmlformats.org/officeDocument/2006/relationships/slideLayout" Target="../slideLayouts/slideLayout243.xml"/><Relationship Id="rId41" Type="http://schemas.openxmlformats.org/officeDocument/2006/relationships/slideLayout" Target="../slideLayouts/slideLayout255.xml"/><Relationship Id="rId54" Type="http://schemas.openxmlformats.org/officeDocument/2006/relationships/slideLayout" Target="../slideLayouts/slideLayout268.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slideLayout" Target="../slideLayouts/slideLayout238.xml"/><Relationship Id="rId32" Type="http://schemas.openxmlformats.org/officeDocument/2006/relationships/slideLayout" Target="../slideLayouts/slideLayout246.xml"/><Relationship Id="rId37" Type="http://schemas.openxmlformats.org/officeDocument/2006/relationships/slideLayout" Target="../slideLayouts/slideLayout251.xml"/><Relationship Id="rId40" Type="http://schemas.openxmlformats.org/officeDocument/2006/relationships/slideLayout" Target="../slideLayouts/slideLayout254.xml"/><Relationship Id="rId45" Type="http://schemas.openxmlformats.org/officeDocument/2006/relationships/slideLayout" Target="../slideLayouts/slideLayout259.xml"/><Relationship Id="rId53" Type="http://schemas.openxmlformats.org/officeDocument/2006/relationships/slideLayout" Target="../slideLayouts/slideLayout267.xml"/><Relationship Id="rId58" Type="http://schemas.openxmlformats.org/officeDocument/2006/relationships/theme" Target="../theme/theme4.xml"/><Relationship Id="rId5" Type="http://schemas.openxmlformats.org/officeDocument/2006/relationships/slideLayout" Target="../slideLayouts/slideLayout219.xml"/><Relationship Id="rId15" Type="http://schemas.openxmlformats.org/officeDocument/2006/relationships/slideLayout" Target="../slideLayouts/slideLayout229.xml"/><Relationship Id="rId23" Type="http://schemas.openxmlformats.org/officeDocument/2006/relationships/slideLayout" Target="../slideLayouts/slideLayout237.xml"/><Relationship Id="rId28" Type="http://schemas.openxmlformats.org/officeDocument/2006/relationships/slideLayout" Target="../slideLayouts/slideLayout242.xml"/><Relationship Id="rId36" Type="http://schemas.openxmlformats.org/officeDocument/2006/relationships/slideLayout" Target="../slideLayouts/slideLayout250.xml"/><Relationship Id="rId49" Type="http://schemas.openxmlformats.org/officeDocument/2006/relationships/slideLayout" Target="../slideLayouts/slideLayout263.xml"/><Relationship Id="rId57" Type="http://schemas.openxmlformats.org/officeDocument/2006/relationships/slideLayout" Target="../slideLayouts/slideLayout271.xml"/><Relationship Id="rId10" Type="http://schemas.openxmlformats.org/officeDocument/2006/relationships/slideLayout" Target="../slideLayouts/slideLayout224.xml"/><Relationship Id="rId19" Type="http://schemas.openxmlformats.org/officeDocument/2006/relationships/slideLayout" Target="../slideLayouts/slideLayout233.xml"/><Relationship Id="rId31" Type="http://schemas.openxmlformats.org/officeDocument/2006/relationships/slideLayout" Target="../slideLayouts/slideLayout245.xml"/><Relationship Id="rId44" Type="http://schemas.openxmlformats.org/officeDocument/2006/relationships/slideLayout" Target="../slideLayouts/slideLayout258.xml"/><Relationship Id="rId52" Type="http://schemas.openxmlformats.org/officeDocument/2006/relationships/slideLayout" Target="../slideLayouts/slideLayout266.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slideLayout" Target="../slideLayouts/slideLayout228.xml"/><Relationship Id="rId22" Type="http://schemas.openxmlformats.org/officeDocument/2006/relationships/slideLayout" Target="../slideLayouts/slideLayout236.xml"/><Relationship Id="rId27" Type="http://schemas.openxmlformats.org/officeDocument/2006/relationships/slideLayout" Target="../slideLayouts/slideLayout241.xml"/><Relationship Id="rId30" Type="http://schemas.openxmlformats.org/officeDocument/2006/relationships/slideLayout" Target="../slideLayouts/slideLayout244.xml"/><Relationship Id="rId35" Type="http://schemas.openxmlformats.org/officeDocument/2006/relationships/slideLayout" Target="../slideLayouts/slideLayout249.xml"/><Relationship Id="rId43" Type="http://schemas.openxmlformats.org/officeDocument/2006/relationships/slideLayout" Target="../slideLayouts/slideLayout257.xml"/><Relationship Id="rId48" Type="http://schemas.openxmlformats.org/officeDocument/2006/relationships/slideLayout" Target="../slideLayouts/slideLayout262.xml"/><Relationship Id="rId56" Type="http://schemas.openxmlformats.org/officeDocument/2006/relationships/slideLayout" Target="../slideLayouts/slideLayout270.xml"/><Relationship Id="rId8" Type="http://schemas.openxmlformats.org/officeDocument/2006/relationships/slideLayout" Target="../slideLayouts/slideLayout222.xml"/><Relationship Id="rId51" Type="http://schemas.openxmlformats.org/officeDocument/2006/relationships/slideLayout" Target="../slideLayouts/slideLayout265.xml"/><Relationship Id="rId3" Type="http://schemas.openxmlformats.org/officeDocument/2006/relationships/slideLayout" Target="../slideLayouts/slideLayout2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33264" y="682313"/>
            <a:ext cx="11520000" cy="396000"/>
          </a:xfrm>
          <a:prstGeom prst="rect">
            <a:avLst/>
          </a:prstGeom>
        </p:spPr>
        <p:txBody>
          <a:bodyPr vert="horz" lIns="0" tIns="0" rIns="0" bIns="0" rtlCol="0" anchor="t">
            <a:noAutofit/>
          </a:bodyPr>
          <a:lstStyle/>
          <a:p>
            <a:r>
              <a:rPr lang="en-US"/>
              <a:t>Click to edit Master title style</a:t>
            </a:r>
            <a:endParaRPr lang="en-US" dirty="0"/>
          </a:p>
        </p:txBody>
      </p:sp>
      <p:sp>
        <p:nvSpPr>
          <p:cNvPr id="5" name="Footer Placeholder 4"/>
          <p:cNvSpPr>
            <a:spLocks noGrp="1"/>
          </p:cNvSpPr>
          <p:nvPr>
            <p:ph type="ftr" sz="quarter" idx="3"/>
          </p:nvPr>
        </p:nvSpPr>
        <p:spPr bwMode="gray">
          <a:xfrm>
            <a:off x="2499782" y="6298397"/>
            <a:ext cx="8490250" cy="500072"/>
          </a:xfrm>
          <a:prstGeom prst="rect">
            <a:avLst/>
          </a:prstGeom>
          <a:noFill/>
        </p:spPr>
        <p:txBody>
          <a:bodyPr vert="horz" lIns="0" tIns="0" rIns="0" bIns="0" rtlCol="0" anchor="ctr">
            <a:noAutofit/>
          </a:bodyPr>
          <a:lstStyle>
            <a:lvl1pPr algn="l" rtl="0">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de-DE" dirty="0"/>
          </a:p>
        </p:txBody>
      </p:sp>
      <p:sp>
        <p:nvSpPr>
          <p:cNvPr id="4" name="Date Placeholder 3"/>
          <p:cNvSpPr>
            <a:spLocks noGrp="1"/>
          </p:cNvSpPr>
          <p:nvPr>
            <p:ph type="dt" sz="half" idx="2"/>
          </p:nvPr>
        </p:nvSpPr>
        <p:spPr bwMode="gray">
          <a:xfrm>
            <a:off x="332367" y="6489341"/>
            <a:ext cx="1162951" cy="118192"/>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fld id="{B2016A11-4950-4F3F-938B-45DEE5F72969}" type="datetime4">
              <a:rPr lang="en-US" smtClean="0"/>
              <a:pPr/>
              <a:t>September 8, 2019</a:t>
            </a:fld>
            <a:endParaRPr lang="en-US" dirty="0"/>
          </a:p>
        </p:txBody>
      </p:sp>
      <p:sp>
        <p:nvSpPr>
          <p:cNvPr id="3" name="Text Placeholder 2"/>
          <p:cNvSpPr>
            <a:spLocks noGrp="1"/>
          </p:cNvSpPr>
          <p:nvPr>
            <p:ph type="body" idx="1"/>
          </p:nvPr>
        </p:nvSpPr>
        <p:spPr bwMode="gray">
          <a:xfrm>
            <a:off x="333264" y="1931194"/>
            <a:ext cx="11520000" cy="3982177"/>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bwMode="gray">
          <a:xfrm>
            <a:off x="1798114" y="6488733"/>
            <a:ext cx="676888" cy="118800"/>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dirty="0"/>
              <a:t>Slide </a:t>
            </a:r>
            <a:fld id="{619F89D8-7AE3-494A-97F3-03D680869632}" type="slidenum">
              <a:rPr lang="en-US" smtClean="0"/>
              <a:pPr/>
              <a:t>‹#›</a:t>
            </a:fld>
            <a:endParaRPr lang="en-US" dirty="0"/>
          </a:p>
        </p:txBody>
      </p:sp>
      <p:cxnSp>
        <p:nvCxnSpPr>
          <p:cNvPr id="35" name="Straight Connector 34"/>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grpSp>
        <p:nvGrpSpPr>
          <p:cNvPr id="68" name="Group 67"/>
          <p:cNvGrpSpPr/>
          <p:nvPr/>
        </p:nvGrpSpPr>
        <p:grpSpPr bwMode="gray">
          <a:xfrm>
            <a:off x="334271" y="6327549"/>
            <a:ext cx="337946"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cxnSp>
        <p:nvCxnSpPr>
          <p:cNvPr id="73" name="Straight Connector 72"/>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7" name="Rectangle 6"/>
          <p:cNvSpPr/>
          <p:nvPr userDrawn="1"/>
        </p:nvSpPr>
        <p:spPr bwMode="gray">
          <a:xfrm>
            <a:off x="242214" y="426352"/>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dirty="0">
                <a:solidFill>
                  <a:schemeClr val="bg2"/>
                </a:solidFill>
              </a:rPr>
              <a:t>—</a:t>
            </a:r>
            <a:endParaRPr lang="en-US" sz="2400" b="1" dirty="0" err="1">
              <a:solidFill>
                <a:schemeClr val="bg2"/>
              </a:solidFill>
            </a:endParaRPr>
          </a:p>
        </p:txBody>
      </p:sp>
      <p:pic>
        <p:nvPicPr>
          <p:cNvPr id="16" name="Picture 19"/>
          <p:cNvPicPr>
            <a:picLocks noChangeAspect="1" noChangeArrowheads="1"/>
          </p:cNvPicPr>
          <p:nvPr userDrawn="1"/>
        </p:nvPicPr>
        <p:blipFill>
          <a:blip r:embed="rId84" cstate="email">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Straight Connector 22">
            <a:extLst>
              <a:ext uri="{FF2B5EF4-FFF2-40B4-BE49-F238E27FC236}">
                <a16:creationId xmlns:a16="http://schemas.microsoft.com/office/drawing/2014/main" id="{D52E24D6-6A10-4359-8040-FBF953523B0A}"/>
              </a:ext>
            </a:extLst>
          </p:cNvPr>
          <p:cNvCxnSpPr/>
          <p:nvPr userDrawn="1"/>
        </p:nvCxnSpPr>
        <p:spPr bwMode="gray">
          <a:xfrm flipV="1">
            <a:off x="336550" y="-457200"/>
            <a:ext cx="0" cy="18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CDD2970-8964-4DD8-B7C2-B92BBE4BF138}"/>
              </a:ext>
            </a:extLst>
          </p:cNvPr>
          <p:cNvCxnSpPr/>
          <p:nvPr userDrawn="1"/>
        </p:nvCxnSpPr>
        <p:spPr bwMode="gray">
          <a:xfrm flipV="1">
            <a:off x="6096000" y="-457200"/>
            <a:ext cx="0" cy="18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89500CE-5840-4927-85CF-4978761369DB}"/>
              </a:ext>
            </a:extLst>
          </p:cNvPr>
          <p:cNvCxnSpPr/>
          <p:nvPr userDrawn="1"/>
        </p:nvCxnSpPr>
        <p:spPr bwMode="gray">
          <a:xfrm flipV="1">
            <a:off x="11857038" y="-457200"/>
            <a:ext cx="0" cy="18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B930FAE-E253-413E-8CCD-485B17270E72}"/>
              </a:ext>
            </a:extLst>
          </p:cNvPr>
          <p:cNvCxnSpPr/>
          <p:nvPr userDrawn="1"/>
        </p:nvCxnSpPr>
        <p:spPr bwMode="gray">
          <a:xfrm flipH="1">
            <a:off x="-467701" y="1933575"/>
            <a:ext cx="1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F22B7F5-F4C2-4DBC-934F-2A7344AAEB71}"/>
              </a:ext>
            </a:extLst>
          </p:cNvPr>
          <p:cNvCxnSpPr/>
          <p:nvPr userDrawn="1"/>
        </p:nvCxnSpPr>
        <p:spPr bwMode="gray">
          <a:xfrm flipH="1">
            <a:off x="-467701" y="3927475"/>
            <a:ext cx="1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67968A9-DEFB-4177-A089-08B8B137C8B2}"/>
              </a:ext>
            </a:extLst>
          </p:cNvPr>
          <p:cNvCxnSpPr/>
          <p:nvPr userDrawn="1"/>
        </p:nvCxnSpPr>
        <p:spPr bwMode="gray">
          <a:xfrm flipH="1">
            <a:off x="-467701" y="5914390"/>
            <a:ext cx="1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83"/>
    </p:custDataLst>
    <p:extLst>
      <p:ext uri="{BB962C8B-B14F-4D97-AF65-F5344CB8AC3E}">
        <p14:creationId xmlns:p14="http://schemas.microsoft.com/office/powerpoint/2010/main" val="2242401632"/>
      </p:ext>
    </p:extLst>
  </p:cSld>
  <p:clrMap bg1="lt1" tx1="dk1" bg2="lt2" tx2="dk2" accent1="accent1" accent2="accent2" accent3="accent3" accent4="accent4" accent5="accent5" accent6="accent6" hlink="hlink" folHlink="folHlink"/>
  <p:sldLayoutIdLst>
    <p:sldLayoutId id="2147483746" r:id="rId1"/>
    <p:sldLayoutId id="2147483690" r:id="rId2"/>
    <p:sldLayoutId id="2147483708" r:id="rId3"/>
    <p:sldLayoutId id="2147483709" r:id="rId4"/>
    <p:sldLayoutId id="2147483735" r:id="rId5"/>
    <p:sldLayoutId id="2147483749" r:id="rId6"/>
    <p:sldLayoutId id="2147483743" r:id="rId7"/>
    <p:sldLayoutId id="2147483742" r:id="rId8"/>
    <p:sldLayoutId id="2147483745" r:id="rId9"/>
    <p:sldLayoutId id="2147483747" r:id="rId10"/>
    <p:sldLayoutId id="2147483739" r:id="rId11"/>
    <p:sldLayoutId id="2147483738" r:id="rId12"/>
    <p:sldLayoutId id="2147483655" r:id="rId13"/>
    <p:sldLayoutId id="2147483737" r:id="rId14"/>
    <p:sldLayoutId id="2147483740" r:id="rId15"/>
    <p:sldLayoutId id="2147483741" r:id="rId16"/>
    <p:sldLayoutId id="2147483736" r:id="rId17"/>
    <p:sldLayoutId id="2147483656" r:id="rId18"/>
    <p:sldLayoutId id="2147483658" r:id="rId19"/>
    <p:sldLayoutId id="2147483653" r:id="rId20"/>
    <p:sldLayoutId id="2147483650" r:id="rId21"/>
    <p:sldLayoutId id="2147483691" r:id="rId22"/>
    <p:sldLayoutId id="2147483661" r:id="rId23"/>
    <p:sldLayoutId id="2147483714" r:id="rId24"/>
    <p:sldLayoutId id="2147483696" r:id="rId25"/>
    <p:sldLayoutId id="2147483663" r:id="rId26"/>
    <p:sldLayoutId id="2147483662" r:id="rId27"/>
    <p:sldLayoutId id="2147483664" r:id="rId28"/>
    <p:sldLayoutId id="2147483692" r:id="rId29"/>
    <p:sldLayoutId id="2147483723" r:id="rId30"/>
    <p:sldLayoutId id="2147483750" r:id="rId31"/>
    <p:sldLayoutId id="2147483710" r:id="rId32"/>
    <p:sldLayoutId id="2147483751" r:id="rId33"/>
    <p:sldLayoutId id="2147483693" r:id="rId34"/>
    <p:sldLayoutId id="2147483665" r:id="rId35"/>
    <p:sldLayoutId id="2147483667" r:id="rId36"/>
    <p:sldLayoutId id="2147483668" r:id="rId37"/>
    <p:sldLayoutId id="2147483669" r:id="rId38"/>
    <p:sldLayoutId id="2147483670" r:id="rId39"/>
    <p:sldLayoutId id="2147483700" r:id="rId40"/>
    <p:sldLayoutId id="2147483659" r:id="rId41"/>
    <p:sldLayoutId id="2147483660" r:id="rId42"/>
    <p:sldLayoutId id="2147483694" r:id="rId43"/>
    <p:sldLayoutId id="2147483677" r:id="rId44"/>
    <p:sldLayoutId id="2147483719" r:id="rId45"/>
    <p:sldLayoutId id="2147483679" r:id="rId46"/>
    <p:sldLayoutId id="2147483680" r:id="rId47"/>
    <p:sldLayoutId id="2147483666" r:id="rId48"/>
    <p:sldLayoutId id="2147483713" r:id="rId49"/>
    <p:sldLayoutId id="2147483672" r:id="rId50"/>
    <p:sldLayoutId id="2147483673" r:id="rId51"/>
    <p:sldLayoutId id="2147483732" r:id="rId52"/>
    <p:sldLayoutId id="2147483674" r:id="rId53"/>
    <p:sldLayoutId id="2147483675" r:id="rId54"/>
    <p:sldLayoutId id="2147483676" r:id="rId55"/>
    <p:sldLayoutId id="2147483701" r:id="rId56"/>
    <p:sldLayoutId id="2147483718" r:id="rId57"/>
    <p:sldLayoutId id="2147483681" r:id="rId58"/>
    <p:sldLayoutId id="2147483682" r:id="rId59"/>
    <p:sldLayoutId id="2147483729" r:id="rId60"/>
    <p:sldLayoutId id="2147483702" r:id="rId61"/>
    <p:sldLayoutId id="2147483703" r:id="rId62"/>
    <p:sldLayoutId id="2147483699" r:id="rId63"/>
    <p:sldLayoutId id="2147483712" r:id="rId64"/>
    <p:sldLayoutId id="2147483695" r:id="rId65"/>
    <p:sldLayoutId id="2147483683" r:id="rId66"/>
    <p:sldLayoutId id="2147483684" r:id="rId67"/>
    <p:sldLayoutId id="2147483698" r:id="rId68"/>
    <p:sldLayoutId id="2147483697" r:id="rId69"/>
    <p:sldLayoutId id="2147483685" r:id="rId70"/>
    <p:sldLayoutId id="2147483707" r:id="rId71"/>
    <p:sldLayoutId id="2147483686" r:id="rId72"/>
    <p:sldLayoutId id="2147483687" r:id="rId73"/>
    <p:sldLayoutId id="2147483706" r:id="rId74"/>
    <p:sldLayoutId id="2147483731" r:id="rId75"/>
    <p:sldLayoutId id="2147483688" r:id="rId76"/>
    <p:sldLayoutId id="2147483689" r:id="rId77"/>
    <p:sldLayoutId id="2147483705" r:id="rId78"/>
    <p:sldLayoutId id="2147483711" r:id="rId79"/>
    <p:sldLayoutId id="2147483652" r:id="rId80"/>
    <p:sldLayoutId id="2147483748" r:id="rId8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91"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18" userDrawn="1">
          <p15:clr>
            <a:srgbClr val="F26B43"/>
          </p15:clr>
        </p15:guide>
        <p15:guide id="2" pos="7469" userDrawn="1">
          <p15:clr>
            <a:srgbClr val="F26B43"/>
          </p15:clr>
        </p15:guide>
        <p15:guide id="3" pos="212" userDrawn="1">
          <p15:clr>
            <a:srgbClr val="F26B43"/>
          </p15:clr>
        </p15:guide>
        <p15:guide id="4" orient="horz" pos="3726" userDrawn="1">
          <p15:clr>
            <a:srgbClr val="F26B43"/>
          </p15:clr>
        </p15:guide>
        <p15:guide id="5" pos="3840" userDrawn="1">
          <p15:clr>
            <a:srgbClr val="F26B43"/>
          </p15:clr>
        </p15:guide>
        <p15:guide id="6" orient="horz" pos="247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33264" y="682313"/>
            <a:ext cx="11520000" cy="396000"/>
          </a:xfrm>
          <a:prstGeom prst="rect">
            <a:avLst/>
          </a:prstGeom>
        </p:spPr>
        <p:txBody>
          <a:bodyPr vert="horz" lIns="0" tIns="0" rIns="0" bIns="0" rtlCol="0" anchor="t">
            <a:noAutofit/>
          </a:bodyPr>
          <a:lstStyle/>
          <a:p>
            <a:r>
              <a:rPr lang="en-US"/>
              <a:t>Click to edit Master title style</a:t>
            </a:r>
          </a:p>
        </p:txBody>
      </p:sp>
      <p:sp>
        <p:nvSpPr>
          <p:cNvPr id="5" name="Footer Placeholder 4"/>
          <p:cNvSpPr>
            <a:spLocks noGrp="1"/>
          </p:cNvSpPr>
          <p:nvPr>
            <p:ph type="ftr" sz="quarter" idx="3"/>
          </p:nvPr>
        </p:nvSpPr>
        <p:spPr bwMode="gray">
          <a:xfrm>
            <a:off x="2499782" y="6298397"/>
            <a:ext cx="8490250" cy="500072"/>
          </a:xfrm>
          <a:prstGeom prst="rect">
            <a:avLst/>
          </a:prstGeom>
          <a:noFill/>
        </p:spPr>
        <p:txBody>
          <a:bodyPr vert="horz" lIns="0" tIns="0" rIns="0" bIns="0" rtlCol="0" anchor="ctr">
            <a:noAutofit/>
          </a:bodyPr>
          <a:lstStyle>
            <a:lvl1pPr algn="l" rtl="0">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de-DE"/>
          </a:p>
        </p:txBody>
      </p:sp>
      <p:sp>
        <p:nvSpPr>
          <p:cNvPr id="4" name="Date Placeholder 3"/>
          <p:cNvSpPr>
            <a:spLocks noGrp="1"/>
          </p:cNvSpPr>
          <p:nvPr>
            <p:ph type="dt" sz="half" idx="2"/>
          </p:nvPr>
        </p:nvSpPr>
        <p:spPr bwMode="gray">
          <a:xfrm>
            <a:off x="332367" y="6489341"/>
            <a:ext cx="1162951" cy="118192"/>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fld id="{B2016A11-4950-4F3F-938B-45DEE5F72969}" type="datetime4">
              <a:rPr lang="en-US" smtClean="0"/>
              <a:pPr/>
              <a:t>September 8, 2019</a:t>
            </a:fld>
            <a:endParaRPr lang="en-US"/>
          </a:p>
        </p:txBody>
      </p:sp>
      <p:sp>
        <p:nvSpPr>
          <p:cNvPr id="3" name="Text Placeholder 2"/>
          <p:cNvSpPr>
            <a:spLocks noGrp="1"/>
          </p:cNvSpPr>
          <p:nvPr>
            <p:ph type="body" idx="1"/>
          </p:nvPr>
        </p:nvSpPr>
        <p:spPr bwMode="gray">
          <a:xfrm>
            <a:off x="333264" y="1931194"/>
            <a:ext cx="11520000" cy="398217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798114" y="6488733"/>
            <a:ext cx="676888" cy="118800"/>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a:t>Slide </a:t>
            </a:r>
            <a:fld id="{619F89D8-7AE3-494A-97F3-03D680869632}" type="slidenum">
              <a:rPr lang="en-US" smtClean="0"/>
              <a:pPr/>
              <a:t>‹#›</a:t>
            </a:fld>
            <a:endParaRPr lang="en-US"/>
          </a:p>
        </p:txBody>
      </p:sp>
      <p:cxnSp>
        <p:nvCxnSpPr>
          <p:cNvPr id="35" name="Straight Connector 34"/>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grpSp>
        <p:nvGrpSpPr>
          <p:cNvPr id="68" name="Group 67"/>
          <p:cNvGrpSpPr/>
          <p:nvPr/>
        </p:nvGrpSpPr>
        <p:grpSpPr bwMode="gray">
          <a:xfrm>
            <a:off x="334271" y="6327549"/>
            <a:ext cx="337946"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cxnSp>
        <p:nvCxnSpPr>
          <p:cNvPr id="73" name="Straight Connector 72"/>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7" name="Rectangle 6"/>
          <p:cNvSpPr/>
          <p:nvPr userDrawn="1"/>
        </p:nvSpPr>
        <p:spPr bwMode="gray">
          <a:xfrm>
            <a:off x="242214" y="426352"/>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a:solidFill>
                  <a:schemeClr val="bg2"/>
                </a:solidFill>
              </a:rPr>
              <a:t>—</a:t>
            </a:r>
            <a:endParaRPr lang="en-US" sz="2400" b="1" err="1">
              <a:solidFill>
                <a:schemeClr val="bg2"/>
              </a:solidFill>
            </a:endParaRPr>
          </a:p>
        </p:txBody>
      </p:sp>
      <p:pic>
        <p:nvPicPr>
          <p:cNvPr id="16" name="Picture 19"/>
          <p:cNvPicPr>
            <a:picLocks noChangeAspect="1" noChangeArrowheads="1"/>
          </p:cNvPicPr>
          <p:nvPr userDrawn="1"/>
        </p:nvPicPr>
        <p:blipFill>
          <a:blip r:embed="rId59" cstate="screen">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639442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 id="2147483801" r:id="rId49"/>
    <p:sldLayoutId id="2147483802" r:id="rId50"/>
    <p:sldLayoutId id="2147483803" r:id="rId51"/>
    <p:sldLayoutId id="2147483804" r:id="rId52"/>
    <p:sldLayoutId id="2147483805" r:id="rId53"/>
    <p:sldLayoutId id="2147483806" r:id="rId54"/>
    <p:sldLayoutId id="2147483807" r:id="rId55"/>
    <p:sldLayoutId id="2147483808" r:id="rId56"/>
    <p:sldLayoutId id="2147483809" r:id="rId5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91"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18">
          <p15:clr>
            <a:srgbClr val="F26B43"/>
          </p15:clr>
        </p15:guide>
        <p15:guide id="2" pos="7469">
          <p15:clr>
            <a:srgbClr val="F26B43"/>
          </p15:clr>
        </p15:guide>
        <p15:guide id="3" pos="212">
          <p15:clr>
            <a:srgbClr val="F26B43"/>
          </p15:clr>
        </p15:guide>
        <p15:guide id="4" orient="horz" pos="3726">
          <p15:clr>
            <a:srgbClr val="F26B43"/>
          </p15:clr>
        </p15:guide>
        <p15:guide id="5" pos="3840">
          <p15:clr>
            <a:srgbClr val="F26B43"/>
          </p15:clr>
        </p15:guide>
        <p15:guide id="6" orient="horz" pos="247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33264" y="682313"/>
            <a:ext cx="11520000" cy="396000"/>
          </a:xfrm>
          <a:prstGeom prst="rect">
            <a:avLst/>
          </a:prstGeom>
        </p:spPr>
        <p:txBody>
          <a:bodyPr vert="horz" lIns="0" tIns="0" rIns="0" bIns="0" rtlCol="0" anchor="t">
            <a:noAutofit/>
          </a:bodyPr>
          <a:lstStyle/>
          <a:p>
            <a:r>
              <a:rPr lang="en-US"/>
              <a:t>Click to edit Master title style</a:t>
            </a:r>
            <a:endParaRPr lang="en-US" dirty="0"/>
          </a:p>
        </p:txBody>
      </p:sp>
      <p:sp>
        <p:nvSpPr>
          <p:cNvPr id="5" name="Footer Placeholder 4"/>
          <p:cNvSpPr>
            <a:spLocks noGrp="1"/>
          </p:cNvSpPr>
          <p:nvPr>
            <p:ph type="ftr" sz="quarter" idx="3"/>
          </p:nvPr>
        </p:nvSpPr>
        <p:spPr bwMode="gray">
          <a:xfrm>
            <a:off x="2499782" y="6298397"/>
            <a:ext cx="8490250" cy="500072"/>
          </a:xfrm>
          <a:prstGeom prst="rect">
            <a:avLst/>
          </a:prstGeom>
          <a:noFill/>
        </p:spPr>
        <p:txBody>
          <a:bodyPr vert="horz" lIns="0" tIns="0" rIns="0" bIns="0" rtlCol="0" anchor="ctr">
            <a:noAutofit/>
          </a:bodyPr>
          <a:lstStyle>
            <a:lvl1pPr algn="l" rtl="0">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de-DE" dirty="0"/>
          </a:p>
        </p:txBody>
      </p:sp>
      <p:sp>
        <p:nvSpPr>
          <p:cNvPr id="4" name="Date Placeholder 3"/>
          <p:cNvSpPr>
            <a:spLocks noGrp="1"/>
          </p:cNvSpPr>
          <p:nvPr>
            <p:ph type="dt" sz="half" idx="2"/>
          </p:nvPr>
        </p:nvSpPr>
        <p:spPr bwMode="gray">
          <a:xfrm>
            <a:off x="332367" y="6489341"/>
            <a:ext cx="1162951" cy="118192"/>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fld id="{B2016A11-4950-4F3F-938B-45DEE5F72969}" type="datetime4">
              <a:rPr lang="en-US" smtClean="0"/>
              <a:pPr/>
              <a:t>September 8, 2019</a:t>
            </a:fld>
            <a:endParaRPr lang="en-US" dirty="0"/>
          </a:p>
        </p:txBody>
      </p:sp>
      <p:sp>
        <p:nvSpPr>
          <p:cNvPr id="3" name="Text Placeholder 2"/>
          <p:cNvSpPr>
            <a:spLocks noGrp="1"/>
          </p:cNvSpPr>
          <p:nvPr>
            <p:ph type="body" idx="1"/>
          </p:nvPr>
        </p:nvSpPr>
        <p:spPr bwMode="gray">
          <a:xfrm>
            <a:off x="333264" y="1931194"/>
            <a:ext cx="11520000" cy="398217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bwMode="gray">
          <a:xfrm>
            <a:off x="1798114" y="6488733"/>
            <a:ext cx="676888" cy="118800"/>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dirty="0"/>
              <a:t>Slide </a:t>
            </a:r>
            <a:fld id="{619F89D8-7AE3-494A-97F3-03D680869632}" type="slidenum">
              <a:rPr lang="en-US" smtClean="0"/>
              <a:pPr/>
              <a:t>‹#›</a:t>
            </a:fld>
            <a:endParaRPr lang="en-US" dirty="0"/>
          </a:p>
        </p:txBody>
      </p:sp>
      <p:cxnSp>
        <p:nvCxnSpPr>
          <p:cNvPr id="35" name="Straight Connector 34"/>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grpSp>
        <p:nvGrpSpPr>
          <p:cNvPr id="68" name="Group 67"/>
          <p:cNvGrpSpPr/>
          <p:nvPr/>
        </p:nvGrpSpPr>
        <p:grpSpPr bwMode="gray">
          <a:xfrm>
            <a:off x="334271" y="6327549"/>
            <a:ext cx="337946"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cxnSp>
        <p:nvCxnSpPr>
          <p:cNvPr id="73" name="Straight Connector 72"/>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7" name="Rectangle 6"/>
          <p:cNvSpPr/>
          <p:nvPr userDrawn="1"/>
        </p:nvSpPr>
        <p:spPr bwMode="gray">
          <a:xfrm>
            <a:off x="242214" y="426352"/>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dirty="0">
                <a:solidFill>
                  <a:schemeClr val="bg2"/>
                </a:solidFill>
              </a:rPr>
              <a:t>—</a:t>
            </a:r>
            <a:endParaRPr lang="en-US" sz="2400" b="1" dirty="0" err="1">
              <a:solidFill>
                <a:schemeClr val="bg2"/>
              </a:solidFill>
            </a:endParaRPr>
          </a:p>
        </p:txBody>
      </p:sp>
      <p:pic>
        <p:nvPicPr>
          <p:cNvPr id="16" name="Picture 19"/>
          <p:cNvPicPr>
            <a:picLocks noChangeAspect="1" noChangeArrowheads="1"/>
          </p:cNvPicPr>
          <p:nvPr userDrawn="1"/>
        </p:nvPicPr>
        <p:blipFill>
          <a:blip r:embed="rId79" cstate="email">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Tree>
    <p:custDataLst>
      <p:tags r:id="rId78"/>
    </p:custDataLst>
    <p:extLst>
      <p:ext uri="{BB962C8B-B14F-4D97-AF65-F5344CB8AC3E}">
        <p14:creationId xmlns:p14="http://schemas.microsoft.com/office/powerpoint/2010/main" val="1540397819"/>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 id="2147483831" r:id="rId21"/>
    <p:sldLayoutId id="2147483832" r:id="rId22"/>
    <p:sldLayoutId id="2147483833" r:id="rId23"/>
    <p:sldLayoutId id="2147483834" r:id="rId24"/>
    <p:sldLayoutId id="2147483835" r:id="rId25"/>
    <p:sldLayoutId id="2147483836" r:id="rId26"/>
    <p:sldLayoutId id="2147483837" r:id="rId27"/>
    <p:sldLayoutId id="2147483838" r:id="rId28"/>
    <p:sldLayoutId id="2147483839" r:id="rId29"/>
    <p:sldLayoutId id="2147483840" r:id="rId30"/>
    <p:sldLayoutId id="2147483841" r:id="rId31"/>
    <p:sldLayoutId id="2147483842" r:id="rId32"/>
    <p:sldLayoutId id="2147483843" r:id="rId33"/>
    <p:sldLayoutId id="2147483844" r:id="rId34"/>
    <p:sldLayoutId id="2147483845" r:id="rId35"/>
    <p:sldLayoutId id="2147483846" r:id="rId36"/>
    <p:sldLayoutId id="2147483847" r:id="rId37"/>
    <p:sldLayoutId id="2147483848" r:id="rId38"/>
    <p:sldLayoutId id="2147483849" r:id="rId39"/>
    <p:sldLayoutId id="2147483850" r:id="rId40"/>
    <p:sldLayoutId id="2147483851" r:id="rId41"/>
    <p:sldLayoutId id="2147483852" r:id="rId42"/>
    <p:sldLayoutId id="2147483853" r:id="rId43"/>
    <p:sldLayoutId id="2147483854" r:id="rId44"/>
    <p:sldLayoutId id="2147483855" r:id="rId45"/>
    <p:sldLayoutId id="2147483856" r:id="rId46"/>
    <p:sldLayoutId id="2147483857" r:id="rId47"/>
    <p:sldLayoutId id="2147483858" r:id="rId48"/>
    <p:sldLayoutId id="2147483859" r:id="rId49"/>
    <p:sldLayoutId id="2147483860" r:id="rId50"/>
    <p:sldLayoutId id="2147483861" r:id="rId51"/>
    <p:sldLayoutId id="2147483862" r:id="rId52"/>
    <p:sldLayoutId id="2147483863" r:id="rId53"/>
    <p:sldLayoutId id="2147483864" r:id="rId54"/>
    <p:sldLayoutId id="2147483865" r:id="rId55"/>
    <p:sldLayoutId id="2147483866" r:id="rId56"/>
    <p:sldLayoutId id="2147483867" r:id="rId57"/>
    <p:sldLayoutId id="2147483868" r:id="rId58"/>
    <p:sldLayoutId id="2147483869" r:id="rId59"/>
    <p:sldLayoutId id="2147483870" r:id="rId60"/>
    <p:sldLayoutId id="2147483872" r:id="rId61"/>
    <p:sldLayoutId id="2147483873" r:id="rId62"/>
    <p:sldLayoutId id="2147483874" r:id="rId63"/>
    <p:sldLayoutId id="2147483875" r:id="rId64"/>
    <p:sldLayoutId id="2147483876" r:id="rId65"/>
    <p:sldLayoutId id="2147483877" r:id="rId66"/>
    <p:sldLayoutId id="2147483878" r:id="rId67"/>
    <p:sldLayoutId id="2147483879" r:id="rId68"/>
    <p:sldLayoutId id="2147483880" r:id="rId69"/>
    <p:sldLayoutId id="2147483881" r:id="rId70"/>
    <p:sldLayoutId id="2147483882" r:id="rId71"/>
    <p:sldLayoutId id="2147483883" r:id="rId72"/>
    <p:sldLayoutId id="2147483884" r:id="rId73"/>
    <p:sldLayoutId id="2147483885" r:id="rId74"/>
    <p:sldLayoutId id="2147483886" r:id="rId75"/>
    <p:sldLayoutId id="2147483887" r:id="rId7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91"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18">
          <p15:clr>
            <a:srgbClr val="F26B43"/>
          </p15:clr>
        </p15:guide>
        <p15:guide id="2" pos="7469">
          <p15:clr>
            <a:srgbClr val="F26B43"/>
          </p15:clr>
        </p15:guide>
        <p15:guide id="3" pos="212">
          <p15:clr>
            <a:srgbClr val="F26B43"/>
          </p15:clr>
        </p15:guide>
        <p15:guide id="4" orient="horz" pos="3726">
          <p15:clr>
            <a:srgbClr val="F26B43"/>
          </p15:clr>
        </p15:guide>
        <p15:guide id="5" pos="3840">
          <p15:clr>
            <a:srgbClr val="F26B43"/>
          </p15:clr>
        </p15:guide>
        <p15:guide id="6" orient="horz" pos="247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33264" y="682313"/>
            <a:ext cx="11520000" cy="396000"/>
          </a:xfrm>
          <a:prstGeom prst="rect">
            <a:avLst/>
          </a:prstGeom>
        </p:spPr>
        <p:txBody>
          <a:bodyPr vert="horz" lIns="0" tIns="0" rIns="0" bIns="0" rtlCol="0" anchor="t">
            <a:noAutofit/>
          </a:bodyPr>
          <a:lstStyle/>
          <a:p>
            <a:r>
              <a:rPr lang="en-US"/>
              <a:t>Click to edit Master title style</a:t>
            </a:r>
            <a:endParaRPr lang="en-US" dirty="0"/>
          </a:p>
        </p:txBody>
      </p:sp>
      <p:sp>
        <p:nvSpPr>
          <p:cNvPr id="5" name="Footer Placeholder 4"/>
          <p:cNvSpPr>
            <a:spLocks noGrp="1"/>
          </p:cNvSpPr>
          <p:nvPr>
            <p:ph type="ftr" sz="quarter" idx="3"/>
          </p:nvPr>
        </p:nvSpPr>
        <p:spPr bwMode="gray">
          <a:xfrm>
            <a:off x="2499782" y="6298397"/>
            <a:ext cx="8490250" cy="500072"/>
          </a:xfrm>
          <a:prstGeom prst="rect">
            <a:avLst/>
          </a:prstGeom>
          <a:noFill/>
        </p:spPr>
        <p:txBody>
          <a:bodyPr vert="horz" lIns="0" tIns="0" rIns="0" bIns="0" rtlCol="0" anchor="ctr">
            <a:noAutofit/>
          </a:bodyPr>
          <a:lstStyle>
            <a:lvl1pPr algn="l" rtl="0">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de-DE" dirty="0"/>
          </a:p>
        </p:txBody>
      </p:sp>
      <p:sp>
        <p:nvSpPr>
          <p:cNvPr id="4" name="Date Placeholder 3"/>
          <p:cNvSpPr>
            <a:spLocks noGrp="1"/>
          </p:cNvSpPr>
          <p:nvPr>
            <p:ph type="dt" sz="half" idx="2"/>
          </p:nvPr>
        </p:nvSpPr>
        <p:spPr bwMode="gray">
          <a:xfrm>
            <a:off x="332367" y="6489341"/>
            <a:ext cx="1162951" cy="118192"/>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fld id="{B2016A11-4950-4F3F-938B-45DEE5F72969}" type="datetime4">
              <a:rPr lang="en-US" smtClean="0"/>
              <a:pPr/>
              <a:t>September 8, 2019</a:t>
            </a:fld>
            <a:endParaRPr lang="en-US" dirty="0"/>
          </a:p>
        </p:txBody>
      </p:sp>
      <p:sp>
        <p:nvSpPr>
          <p:cNvPr id="3" name="Text Placeholder 2"/>
          <p:cNvSpPr>
            <a:spLocks noGrp="1"/>
          </p:cNvSpPr>
          <p:nvPr>
            <p:ph type="body" idx="1"/>
          </p:nvPr>
        </p:nvSpPr>
        <p:spPr bwMode="gray">
          <a:xfrm>
            <a:off x="333264" y="1931194"/>
            <a:ext cx="11520000" cy="398217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bwMode="gray">
          <a:xfrm>
            <a:off x="1798114" y="6488733"/>
            <a:ext cx="676888" cy="118800"/>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dirty="0"/>
              <a:t>Slide </a:t>
            </a:r>
            <a:fld id="{619F89D8-7AE3-494A-97F3-03D680869632}" type="slidenum">
              <a:rPr lang="en-US" smtClean="0"/>
              <a:pPr/>
              <a:t>‹#›</a:t>
            </a:fld>
            <a:endParaRPr lang="en-US" dirty="0"/>
          </a:p>
        </p:txBody>
      </p:sp>
      <p:cxnSp>
        <p:nvCxnSpPr>
          <p:cNvPr id="35" name="Straight Connector 34"/>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grpSp>
        <p:nvGrpSpPr>
          <p:cNvPr id="68" name="Group 67"/>
          <p:cNvGrpSpPr/>
          <p:nvPr/>
        </p:nvGrpSpPr>
        <p:grpSpPr bwMode="gray">
          <a:xfrm>
            <a:off x="334271" y="6327549"/>
            <a:ext cx="337946"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cxnSp>
        <p:nvCxnSpPr>
          <p:cNvPr id="73" name="Straight Connector 72"/>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7" name="Rectangle 6"/>
          <p:cNvSpPr/>
          <p:nvPr userDrawn="1"/>
        </p:nvSpPr>
        <p:spPr bwMode="gray">
          <a:xfrm>
            <a:off x="242214" y="426352"/>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dirty="0">
                <a:solidFill>
                  <a:schemeClr val="bg2"/>
                </a:solidFill>
              </a:rPr>
              <a:t>—</a:t>
            </a:r>
            <a:endParaRPr lang="en-US" sz="2400" b="1" dirty="0" err="1">
              <a:solidFill>
                <a:schemeClr val="bg2"/>
              </a:solidFill>
            </a:endParaRPr>
          </a:p>
        </p:txBody>
      </p:sp>
      <p:pic>
        <p:nvPicPr>
          <p:cNvPr id="16" name="Picture 19"/>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9608553"/>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2" r:id="rId14"/>
    <p:sldLayoutId id="2147483903" r:id="rId15"/>
    <p:sldLayoutId id="2147483904" r:id="rId16"/>
    <p:sldLayoutId id="2147483905" r:id="rId17"/>
    <p:sldLayoutId id="2147483906" r:id="rId18"/>
    <p:sldLayoutId id="2147483907" r:id="rId19"/>
    <p:sldLayoutId id="2147483908" r:id="rId20"/>
    <p:sldLayoutId id="2147483909" r:id="rId21"/>
    <p:sldLayoutId id="2147483910" r:id="rId22"/>
    <p:sldLayoutId id="2147483911" r:id="rId23"/>
    <p:sldLayoutId id="2147483912" r:id="rId24"/>
    <p:sldLayoutId id="2147483913" r:id="rId25"/>
    <p:sldLayoutId id="2147483914" r:id="rId26"/>
    <p:sldLayoutId id="2147483915" r:id="rId27"/>
    <p:sldLayoutId id="2147483916" r:id="rId28"/>
    <p:sldLayoutId id="2147483917" r:id="rId29"/>
    <p:sldLayoutId id="2147483918" r:id="rId30"/>
    <p:sldLayoutId id="2147483919" r:id="rId31"/>
    <p:sldLayoutId id="2147483920" r:id="rId32"/>
    <p:sldLayoutId id="2147483921" r:id="rId33"/>
    <p:sldLayoutId id="2147483922" r:id="rId34"/>
    <p:sldLayoutId id="2147483923" r:id="rId35"/>
    <p:sldLayoutId id="2147483924" r:id="rId36"/>
    <p:sldLayoutId id="2147483925" r:id="rId37"/>
    <p:sldLayoutId id="2147483926" r:id="rId38"/>
    <p:sldLayoutId id="2147483927" r:id="rId39"/>
    <p:sldLayoutId id="2147483928" r:id="rId40"/>
    <p:sldLayoutId id="2147483929" r:id="rId41"/>
    <p:sldLayoutId id="2147483930" r:id="rId42"/>
    <p:sldLayoutId id="2147483931" r:id="rId43"/>
    <p:sldLayoutId id="2147483932" r:id="rId44"/>
    <p:sldLayoutId id="2147483933" r:id="rId45"/>
    <p:sldLayoutId id="2147483934" r:id="rId46"/>
    <p:sldLayoutId id="2147483935" r:id="rId47"/>
    <p:sldLayoutId id="2147483936" r:id="rId48"/>
    <p:sldLayoutId id="2147483937" r:id="rId49"/>
    <p:sldLayoutId id="2147483938" r:id="rId50"/>
    <p:sldLayoutId id="2147483939" r:id="rId51"/>
    <p:sldLayoutId id="2147483940" r:id="rId52"/>
    <p:sldLayoutId id="2147483941" r:id="rId53"/>
    <p:sldLayoutId id="2147483942" r:id="rId54"/>
    <p:sldLayoutId id="2147483943" r:id="rId55"/>
    <p:sldLayoutId id="2147483944" r:id="rId56"/>
    <p:sldLayoutId id="2147483945" r:id="rId5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91"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218">
          <p15:clr>
            <a:srgbClr val="F26B43"/>
          </p15:clr>
        </p15:guide>
        <p15:guide id="2" pos="7469">
          <p15:clr>
            <a:srgbClr val="F26B43"/>
          </p15:clr>
        </p15:guide>
        <p15:guide id="3" pos="212">
          <p15:clr>
            <a:srgbClr val="F26B43"/>
          </p15:clr>
        </p15:guide>
        <p15:guide id="4" orient="horz" pos="3726">
          <p15:clr>
            <a:srgbClr val="F26B43"/>
          </p15:clr>
        </p15:guide>
        <p15:guide id="5" pos="3840">
          <p15:clr>
            <a:srgbClr val="F26B43"/>
          </p15:clr>
        </p15:guide>
        <p15:guide id="6" orient="horz" pos="2474">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213.xml"/><Relationship Id="rId1" Type="http://schemas.openxmlformats.org/officeDocument/2006/relationships/tags" Target="../tags/tag35.xml"/></Relationships>
</file>

<file path=ppt/slides/_rels/slide10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9.xml"/><Relationship Id="rId1" Type="http://schemas.openxmlformats.org/officeDocument/2006/relationships/tags" Target="../tags/tag102.xml"/><Relationship Id="rId4" Type="http://schemas.openxmlformats.org/officeDocument/2006/relationships/image" Target="../media/image105.png"/></Relationships>
</file>

<file path=ppt/slides/_rels/slide10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1.xml"/><Relationship Id="rId1" Type="http://schemas.openxmlformats.org/officeDocument/2006/relationships/tags" Target="../tags/tag103.xml"/><Relationship Id="rId4" Type="http://schemas.openxmlformats.org/officeDocument/2006/relationships/slide" Target="slide13.xml"/></Relationships>
</file>

<file path=ppt/slides/_rels/slide102.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9.xml"/><Relationship Id="rId1" Type="http://schemas.openxmlformats.org/officeDocument/2006/relationships/tags" Target="../tags/tag104.xml"/><Relationship Id="rId5" Type="http://schemas.openxmlformats.org/officeDocument/2006/relationships/slide" Target="slide13.xml"/><Relationship Id="rId4" Type="http://schemas.openxmlformats.org/officeDocument/2006/relationships/image" Target="../media/image47.png"/></Relationships>
</file>

<file path=ppt/slides/_rels/slide103.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9.xml"/><Relationship Id="rId1" Type="http://schemas.openxmlformats.org/officeDocument/2006/relationships/tags" Target="../tags/tag105.xml"/><Relationship Id="rId5" Type="http://schemas.openxmlformats.org/officeDocument/2006/relationships/slide" Target="slide13.xml"/><Relationship Id="rId4" Type="http://schemas.openxmlformats.org/officeDocument/2006/relationships/image" Target="../media/image106.jpeg"/></Relationships>
</file>

<file path=ppt/slides/_rels/slide104.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79.xml"/><Relationship Id="rId1" Type="http://schemas.openxmlformats.org/officeDocument/2006/relationships/tags" Target="../tags/tag106.xml"/><Relationship Id="rId4" Type="http://schemas.openxmlformats.org/officeDocument/2006/relationships/slide" Target="slide13.xml"/></Relationships>
</file>

<file path=ppt/slides/_rels/slide105.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9.xml"/><Relationship Id="rId1" Type="http://schemas.openxmlformats.org/officeDocument/2006/relationships/tags" Target="../tags/tag107.xml"/><Relationship Id="rId4" Type="http://schemas.openxmlformats.org/officeDocument/2006/relationships/slide" Target="slide13.xml"/></Relationships>
</file>

<file path=ppt/slides/_rels/slide106.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9.xml"/><Relationship Id="rId1" Type="http://schemas.openxmlformats.org/officeDocument/2006/relationships/tags" Target="../tags/tag108.xml"/><Relationship Id="rId5" Type="http://schemas.openxmlformats.org/officeDocument/2006/relationships/hyperlink" Target="https://www.youtube.com/watch?v=lHe_vqt_XZg" TargetMode="External"/><Relationship Id="rId4" Type="http://schemas.openxmlformats.org/officeDocument/2006/relationships/hyperlink" Target="https://myportal.abb.com/home" TargetMode="External"/></Relationships>
</file>

<file path=ppt/slides/_rels/slide107.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9.xml"/><Relationship Id="rId1" Type="http://schemas.openxmlformats.org/officeDocument/2006/relationships/tags" Target="../tags/tag109.xml"/><Relationship Id="rId5" Type="http://schemas.openxmlformats.org/officeDocument/2006/relationships/slide" Target="slide13.xml"/><Relationship Id="rId4" Type="http://schemas.openxmlformats.org/officeDocument/2006/relationships/image" Target="../media/image107.png"/></Relationships>
</file>

<file path=ppt/slides/_rels/slide10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9.xml"/><Relationship Id="rId1" Type="http://schemas.openxmlformats.org/officeDocument/2006/relationships/tags" Target="../tags/tag110.xml"/><Relationship Id="rId5" Type="http://schemas.openxmlformats.org/officeDocument/2006/relationships/slide" Target="slide13.xml"/><Relationship Id="rId4" Type="http://schemas.openxmlformats.org/officeDocument/2006/relationships/image" Target="../media/image105.png"/></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19.xml"/><Relationship Id="rId1" Type="http://schemas.openxmlformats.org/officeDocument/2006/relationships/tags" Target="../tags/tag111.xml"/></Relationships>
</file>

<file path=ppt/slides/_rels/slide11.xml.rels><?xml version="1.0" encoding="UTF-8" standalone="yes"?>
<Relationships xmlns="http://schemas.openxmlformats.org/package/2006/relationships"><Relationship Id="rId8" Type="http://schemas.openxmlformats.org/officeDocument/2006/relationships/slide" Target="slide109.xml"/><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slideLayout" Target="../slideLayouts/slideLayout213.xml"/><Relationship Id="rId1" Type="http://schemas.openxmlformats.org/officeDocument/2006/relationships/tags" Target="../tags/tag36.xml"/><Relationship Id="rId6" Type="http://schemas.openxmlformats.org/officeDocument/2006/relationships/image" Target="../media/image54.png"/><Relationship Id="rId5" Type="http://schemas.openxmlformats.org/officeDocument/2006/relationships/image" Target="../media/image53.jpeg"/><Relationship Id="rId4" Type="http://schemas.openxmlformats.org/officeDocument/2006/relationships/image" Target="../media/image52.png"/></Relationships>
</file>

<file path=ppt/slides/_rels/slide110.xml.rels><?xml version="1.0" encoding="UTF-8" standalone="yes"?>
<Relationships xmlns="http://schemas.openxmlformats.org/package/2006/relationships"><Relationship Id="rId8" Type="http://schemas.openxmlformats.org/officeDocument/2006/relationships/image" Target="../media/image112.jpeg"/><Relationship Id="rId3" Type="http://schemas.openxmlformats.org/officeDocument/2006/relationships/notesSlide" Target="../notesSlides/notesSlide65.xml"/><Relationship Id="rId7" Type="http://schemas.openxmlformats.org/officeDocument/2006/relationships/image" Target="../media/image111.jpeg"/><Relationship Id="rId2" Type="http://schemas.openxmlformats.org/officeDocument/2006/relationships/slideLayout" Target="../slideLayouts/slideLayout79.xml"/><Relationship Id="rId1" Type="http://schemas.openxmlformats.org/officeDocument/2006/relationships/tags" Target="../tags/tag112.xml"/><Relationship Id="rId6" Type="http://schemas.openxmlformats.org/officeDocument/2006/relationships/image" Target="../media/image110.jpeg"/><Relationship Id="rId5" Type="http://schemas.openxmlformats.org/officeDocument/2006/relationships/image" Target="../media/image109.jpeg"/><Relationship Id="rId10" Type="http://schemas.openxmlformats.org/officeDocument/2006/relationships/slide" Target="slide11.xml"/><Relationship Id="rId4" Type="http://schemas.openxmlformats.org/officeDocument/2006/relationships/image" Target="../media/image108.jpeg"/><Relationship Id="rId9" Type="http://schemas.openxmlformats.org/officeDocument/2006/relationships/image" Target="../media/image113.png"/></Relationships>
</file>

<file path=ppt/slides/_rels/slide111.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9.xml"/><Relationship Id="rId1" Type="http://schemas.openxmlformats.org/officeDocument/2006/relationships/tags" Target="../tags/tag113.xml"/><Relationship Id="rId5" Type="http://schemas.openxmlformats.org/officeDocument/2006/relationships/slide" Target="slide11.xml"/><Relationship Id="rId4" Type="http://schemas.openxmlformats.org/officeDocument/2006/relationships/image" Target="../media/image114.jpeg"/></Relationships>
</file>

<file path=ppt/slides/_rels/slide112.xml.rels><?xml version="1.0" encoding="UTF-8" standalone="yes"?>
<Relationships xmlns="http://schemas.openxmlformats.org/package/2006/relationships"><Relationship Id="rId8" Type="http://schemas.openxmlformats.org/officeDocument/2006/relationships/slide" Target="slide11.xml"/><Relationship Id="rId3" Type="http://schemas.openxmlformats.org/officeDocument/2006/relationships/notesSlide" Target="../notesSlides/notesSlide67.xml"/><Relationship Id="rId7" Type="http://schemas.openxmlformats.org/officeDocument/2006/relationships/image" Target="../media/image116.jpg"/><Relationship Id="rId2" Type="http://schemas.openxmlformats.org/officeDocument/2006/relationships/slideLayout" Target="../slideLayouts/slideLayout79.xml"/><Relationship Id="rId1" Type="http://schemas.openxmlformats.org/officeDocument/2006/relationships/tags" Target="../tags/tag114.xml"/><Relationship Id="rId6" Type="http://schemas.openxmlformats.org/officeDocument/2006/relationships/image" Target="../media/image115.gif"/><Relationship Id="rId5" Type="http://schemas.openxmlformats.org/officeDocument/2006/relationships/image" Target="../media/image55.png"/><Relationship Id="rId4" Type="http://schemas.openxmlformats.org/officeDocument/2006/relationships/image" Target="../media/image114.jpeg"/></Relationships>
</file>

<file path=ppt/slides/_rels/slide113.xml.rels><?xml version="1.0" encoding="UTF-8" standalone="yes"?>
<Relationships xmlns="http://schemas.openxmlformats.org/package/2006/relationships"><Relationship Id="rId8" Type="http://schemas.openxmlformats.org/officeDocument/2006/relationships/image" Target="../media/image118.jpg"/><Relationship Id="rId3" Type="http://schemas.openxmlformats.org/officeDocument/2006/relationships/notesSlide" Target="../notesSlides/notesSlide68.xml"/><Relationship Id="rId7" Type="http://schemas.openxmlformats.org/officeDocument/2006/relationships/image" Target="../media/image70.jpg"/><Relationship Id="rId12" Type="http://schemas.openxmlformats.org/officeDocument/2006/relationships/slide" Target="slide17.xml"/><Relationship Id="rId2" Type="http://schemas.openxmlformats.org/officeDocument/2006/relationships/slideLayout" Target="../slideLayouts/slideLayout79.xml"/><Relationship Id="rId1" Type="http://schemas.openxmlformats.org/officeDocument/2006/relationships/tags" Target="../tags/tag115.xml"/><Relationship Id="rId6" Type="http://schemas.openxmlformats.org/officeDocument/2006/relationships/image" Target="../media/image55.png"/><Relationship Id="rId11" Type="http://schemas.openxmlformats.org/officeDocument/2006/relationships/image" Target="../media/image68.jpeg"/><Relationship Id="rId5" Type="http://schemas.openxmlformats.org/officeDocument/2006/relationships/image" Target="../media/image117.png"/><Relationship Id="rId10" Type="http://schemas.openxmlformats.org/officeDocument/2006/relationships/image" Target="../media/image67.jpeg"/><Relationship Id="rId4" Type="http://schemas.openxmlformats.org/officeDocument/2006/relationships/image" Target="../media/image115.gif"/><Relationship Id="rId9" Type="http://schemas.openxmlformats.org/officeDocument/2006/relationships/image" Target="../media/image116.jpg"/></Relationships>
</file>

<file path=ppt/slides/_rels/slide114.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9.xml"/><Relationship Id="rId1" Type="http://schemas.openxmlformats.org/officeDocument/2006/relationships/tags" Target="../tags/tag116.xml"/><Relationship Id="rId5" Type="http://schemas.openxmlformats.org/officeDocument/2006/relationships/slide" Target="slide16.xml"/><Relationship Id="rId4" Type="http://schemas.openxmlformats.org/officeDocument/2006/relationships/image" Target="../media/image119.jpeg"/></Relationships>
</file>

<file path=ppt/slides/_rels/slide115.xml.rels><?xml version="1.0" encoding="UTF-8" standalone="yes"?>
<Relationships xmlns="http://schemas.openxmlformats.org/package/2006/relationships"><Relationship Id="rId8" Type="http://schemas.openxmlformats.org/officeDocument/2006/relationships/slide" Target="slide16.xml"/><Relationship Id="rId3" Type="http://schemas.openxmlformats.org/officeDocument/2006/relationships/notesSlide" Target="../notesSlides/notesSlide70.xml"/><Relationship Id="rId7" Type="http://schemas.openxmlformats.org/officeDocument/2006/relationships/image" Target="../media/image115.gif"/><Relationship Id="rId2" Type="http://schemas.openxmlformats.org/officeDocument/2006/relationships/slideLayout" Target="../slideLayouts/slideLayout79.xml"/><Relationship Id="rId1" Type="http://schemas.openxmlformats.org/officeDocument/2006/relationships/tags" Target="../tags/tag117.xml"/><Relationship Id="rId6" Type="http://schemas.openxmlformats.org/officeDocument/2006/relationships/image" Target="../media/image118.jpg"/><Relationship Id="rId5" Type="http://schemas.openxmlformats.org/officeDocument/2006/relationships/image" Target="../media/image55.png"/><Relationship Id="rId4" Type="http://schemas.openxmlformats.org/officeDocument/2006/relationships/image" Target="../media/image120.jpeg"/></Relationships>
</file>

<file path=ppt/slides/_rels/slide116.xml.rels><?xml version="1.0" encoding="UTF-8" standalone="yes"?>
<Relationships xmlns="http://schemas.openxmlformats.org/package/2006/relationships"><Relationship Id="rId8" Type="http://schemas.openxmlformats.org/officeDocument/2006/relationships/slide" Target="slide16.xml"/><Relationship Id="rId3" Type="http://schemas.openxmlformats.org/officeDocument/2006/relationships/notesSlide" Target="../notesSlides/notesSlide71.xml"/><Relationship Id="rId7" Type="http://schemas.openxmlformats.org/officeDocument/2006/relationships/image" Target="../media/image115.gif"/><Relationship Id="rId2" Type="http://schemas.openxmlformats.org/officeDocument/2006/relationships/slideLayout" Target="../slideLayouts/slideLayout79.xml"/><Relationship Id="rId1" Type="http://schemas.openxmlformats.org/officeDocument/2006/relationships/tags" Target="../tags/tag118.xml"/><Relationship Id="rId6" Type="http://schemas.openxmlformats.org/officeDocument/2006/relationships/image" Target="../media/image118.jpg"/><Relationship Id="rId5" Type="http://schemas.openxmlformats.org/officeDocument/2006/relationships/image" Target="../media/image55.png"/><Relationship Id="rId4" Type="http://schemas.openxmlformats.org/officeDocument/2006/relationships/image" Target="../media/image120.jpeg"/></Relationships>
</file>

<file path=ppt/slides/_rels/slide117.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9.xml"/><Relationship Id="rId1" Type="http://schemas.openxmlformats.org/officeDocument/2006/relationships/tags" Target="../tags/tag119.xml"/><Relationship Id="rId5" Type="http://schemas.openxmlformats.org/officeDocument/2006/relationships/slide" Target="slide16.xml"/><Relationship Id="rId4" Type="http://schemas.openxmlformats.org/officeDocument/2006/relationships/image" Target="../media/image119.jpeg"/></Relationships>
</file>

<file path=ppt/slides/_rels/slide118.xml.rels><?xml version="1.0" encoding="UTF-8" standalone="yes"?>
<Relationships xmlns="http://schemas.openxmlformats.org/package/2006/relationships"><Relationship Id="rId3" Type="http://schemas.openxmlformats.org/officeDocument/2006/relationships/notesSlide" Target="../notesSlides/notesSlide73.xml"/><Relationship Id="rId7" Type="http://schemas.openxmlformats.org/officeDocument/2006/relationships/image" Target="../media/image123.png"/><Relationship Id="rId2" Type="http://schemas.openxmlformats.org/officeDocument/2006/relationships/slideLayout" Target="../slideLayouts/slideLayout79.xml"/><Relationship Id="rId1" Type="http://schemas.openxmlformats.org/officeDocument/2006/relationships/tags" Target="../tags/tag120.xml"/><Relationship Id="rId6" Type="http://schemas.openxmlformats.org/officeDocument/2006/relationships/image" Target="../media/image122.emf"/><Relationship Id="rId5" Type="http://schemas.openxmlformats.org/officeDocument/2006/relationships/slide" Target="slide89.xml"/><Relationship Id="rId4" Type="http://schemas.openxmlformats.org/officeDocument/2006/relationships/image" Target="../media/image121.emf"/></Relationships>
</file>

<file path=ppt/slides/_rels/slide12.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slideLayout" Target="../slideLayouts/slideLayout213.xml"/><Relationship Id="rId1" Type="http://schemas.openxmlformats.org/officeDocument/2006/relationships/tags" Target="../tags/tag37.xml"/></Relationships>
</file>

<file path=ppt/slides/_rels/slide13.xml.rels><?xml version="1.0" encoding="UTF-8" standalone="yes"?>
<Relationships xmlns="http://schemas.openxmlformats.org/package/2006/relationships"><Relationship Id="rId3" Type="http://schemas.openxmlformats.org/officeDocument/2006/relationships/slide" Target="slide95.xml"/><Relationship Id="rId2" Type="http://schemas.openxmlformats.org/officeDocument/2006/relationships/slideLayout" Target="../slideLayouts/slideLayout213.xml"/><Relationship Id="rId1" Type="http://schemas.openxmlformats.org/officeDocument/2006/relationships/tags" Target="../tags/tag38.xml"/><Relationship Id="rId4" Type="http://schemas.openxmlformats.org/officeDocument/2006/relationships/slide" Target="slide101.xml"/></Relationships>
</file>

<file path=ppt/slides/_rels/slide14.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slideLayout" Target="../slideLayouts/slideLayout213.xml"/><Relationship Id="rId1" Type="http://schemas.openxmlformats.org/officeDocument/2006/relationships/tags" Target="../tags/tag3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66.xml"/><Relationship Id="rId1" Type="http://schemas.openxmlformats.org/officeDocument/2006/relationships/tags" Target="../tags/tag40.xml"/><Relationship Id="rId5" Type="http://schemas.openxmlformats.org/officeDocument/2006/relationships/image" Target="../media/image12.jpg"/><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jpeg"/><Relationship Id="rId18" Type="http://schemas.openxmlformats.org/officeDocument/2006/relationships/image" Target="../media/image51.png"/><Relationship Id="rId3" Type="http://schemas.openxmlformats.org/officeDocument/2006/relationships/tags" Target="../tags/tag43.xml"/><Relationship Id="rId21" Type="http://schemas.openxmlformats.org/officeDocument/2006/relationships/image" Target="../media/image54.png"/><Relationship Id="rId7" Type="http://schemas.openxmlformats.org/officeDocument/2006/relationships/notesSlide" Target="../notesSlides/notesSlide6.xml"/><Relationship Id="rId12" Type="http://schemas.openxmlformats.org/officeDocument/2006/relationships/image" Target="../media/image62.png"/><Relationship Id="rId17" Type="http://schemas.openxmlformats.org/officeDocument/2006/relationships/slide" Target="slide114.xml"/><Relationship Id="rId2" Type="http://schemas.openxmlformats.org/officeDocument/2006/relationships/tags" Target="../tags/tag42.xml"/><Relationship Id="rId16" Type="http://schemas.openxmlformats.org/officeDocument/2006/relationships/image" Target="../media/image66.png"/><Relationship Id="rId20" Type="http://schemas.openxmlformats.org/officeDocument/2006/relationships/image" Target="../media/image53.jpeg"/><Relationship Id="rId1" Type="http://schemas.openxmlformats.org/officeDocument/2006/relationships/tags" Target="../tags/tag41.xml"/><Relationship Id="rId6" Type="http://schemas.openxmlformats.org/officeDocument/2006/relationships/slideLayout" Target="../slideLayouts/slideLayout266.xml"/><Relationship Id="rId11" Type="http://schemas.openxmlformats.org/officeDocument/2006/relationships/image" Target="../media/image61.png"/><Relationship Id="rId5" Type="http://schemas.openxmlformats.org/officeDocument/2006/relationships/tags" Target="../tags/tag45.xml"/><Relationship Id="rId15" Type="http://schemas.openxmlformats.org/officeDocument/2006/relationships/image" Target="../media/image65.jpeg"/><Relationship Id="rId10" Type="http://schemas.openxmlformats.org/officeDocument/2006/relationships/image" Target="../media/image60.jpeg"/><Relationship Id="rId19" Type="http://schemas.openxmlformats.org/officeDocument/2006/relationships/image" Target="../media/image52.png"/><Relationship Id="rId4" Type="http://schemas.openxmlformats.org/officeDocument/2006/relationships/tags" Target="../tags/tag44.xml"/><Relationship Id="rId9" Type="http://schemas.openxmlformats.org/officeDocument/2006/relationships/image" Target="../media/image59.png"/><Relationship Id="rId14" Type="http://schemas.openxmlformats.org/officeDocument/2006/relationships/image" Target="../media/image64.jpeg"/><Relationship Id="rId22" Type="http://schemas.openxmlformats.org/officeDocument/2006/relationships/image" Target="../media/image55.png"/></Relationships>
</file>

<file path=ppt/slides/_rels/slide17.xml.rels><?xml version="1.0" encoding="UTF-8" standalone="yes"?>
<Relationships xmlns="http://schemas.openxmlformats.org/package/2006/relationships"><Relationship Id="rId8" Type="http://schemas.openxmlformats.org/officeDocument/2006/relationships/image" Target="../media/image53.jpeg"/><Relationship Id="rId13" Type="http://schemas.openxmlformats.org/officeDocument/2006/relationships/image" Target="../media/image69.emf"/><Relationship Id="rId3" Type="http://schemas.openxmlformats.org/officeDocument/2006/relationships/notesSlide" Target="../notesSlides/notesSlide7.xml"/><Relationship Id="rId7" Type="http://schemas.openxmlformats.org/officeDocument/2006/relationships/image" Target="../media/image52.png"/><Relationship Id="rId12" Type="http://schemas.openxmlformats.org/officeDocument/2006/relationships/image" Target="../media/image68.jpeg"/><Relationship Id="rId2" Type="http://schemas.openxmlformats.org/officeDocument/2006/relationships/slideLayout" Target="../slideLayouts/slideLayout266.xml"/><Relationship Id="rId1" Type="http://schemas.openxmlformats.org/officeDocument/2006/relationships/tags" Target="../tags/tag46.xml"/><Relationship Id="rId6" Type="http://schemas.openxmlformats.org/officeDocument/2006/relationships/image" Target="../media/image51.png"/><Relationship Id="rId11" Type="http://schemas.openxmlformats.org/officeDocument/2006/relationships/image" Target="../media/image67.jpeg"/><Relationship Id="rId5" Type="http://schemas.openxmlformats.org/officeDocument/2006/relationships/slide" Target="slide113.xml"/><Relationship Id="rId10" Type="http://schemas.openxmlformats.org/officeDocument/2006/relationships/image" Target="../media/image55.png"/><Relationship Id="rId4" Type="http://schemas.openxmlformats.org/officeDocument/2006/relationships/image" Target="../media/image57.png"/><Relationship Id="rId9" Type="http://schemas.openxmlformats.org/officeDocument/2006/relationships/image" Target="../media/image54.png"/><Relationship Id="rId14" Type="http://schemas.openxmlformats.org/officeDocument/2006/relationships/image" Target="../media/image70.jpg"/></Relationships>
</file>

<file path=ppt/slides/_rels/slide18.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9.xml"/><Relationship Id="rId1" Type="http://schemas.openxmlformats.org/officeDocument/2006/relationships/tags" Target="../tags/tag28.xml"/></Relationships>
</file>

<file path=ppt/slides/_rels/slide20.xml.rels><?xml version="1.0" encoding="UTF-8" standalone="yes"?>
<Relationships xmlns="http://schemas.openxmlformats.org/package/2006/relationships"><Relationship Id="rId3" Type="http://schemas.openxmlformats.org/officeDocument/2006/relationships/image" Target="../media/image73.jpeg"/><Relationship Id="rId7" Type="http://schemas.openxmlformats.org/officeDocument/2006/relationships/image" Target="../media/image76.jpeg"/><Relationship Id="rId2" Type="http://schemas.openxmlformats.org/officeDocument/2006/relationships/image" Target="../media/image72.jpeg"/><Relationship Id="rId1" Type="http://schemas.openxmlformats.org/officeDocument/2006/relationships/slideLayout" Target="../slideLayouts/slideLayout31.xml"/><Relationship Id="rId6" Type="http://schemas.openxmlformats.org/officeDocument/2006/relationships/hyperlink" Target="https://www.google.com/url?sa=i&amp;rct=j&amp;q=&amp;esrc=s&amp;source=images&amp;cd=&amp;ved=2ahUKEwjLuODq4NLjAhUSr6QKHeyJB6oQjRx6BAgBEAQ&amp;url=https%3A%2F%2Fibscaribe.com%2Fpdfs%2Fproducts%2Fpat-analyzers%2Fchromatographs%2Ffield-mounted-option-measuring.pdf&amp;psig=AOvVaw1LGQ-12LqWzaAtcUL4X8cL&amp;ust=1564236399916319" TargetMode="External"/><Relationship Id="rId5" Type="http://schemas.openxmlformats.org/officeDocument/2006/relationships/image" Target="../media/image75.jpeg"/><Relationship Id="rId4" Type="http://schemas.openxmlformats.org/officeDocument/2006/relationships/image" Target="../media/image74.jpeg"/></Relationships>
</file>

<file path=ppt/slides/_rels/slide21.xml.rels><?xml version="1.0" encoding="UTF-8" standalone="yes"?>
<Relationships xmlns="http://schemas.openxmlformats.org/package/2006/relationships"><Relationship Id="rId3" Type="http://schemas.microsoft.com/office/2007/relationships/hdphoto" Target="../media/hdphoto2.wdp"/><Relationship Id="rId7" Type="http://schemas.microsoft.com/office/2007/relationships/hdphoto" Target="../media/hdphoto4.wdp"/><Relationship Id="rId2" Type="http://schemas.openxmlformats.org/officeDocument/2006/relationships/image" Target="../media/image43.png"/><Relationship Id="rId1" Type="http://schemas.openxmlformats.org/officeDocument/2006/relationships/slideLayout" Target="../slideLayouts/slideLayout30.xml"/><Relationship Id="rId6" Type="http://schemas.openxmlformats.org/officeDocument/2006/relationships/image" Target="../media/image45.png"/><Relationship Id="rId5" Type="http://schemas.microsoft.com/office/2007/relationships/hdphoto" Target="../media/hdphoto3.wdp"/><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image" Target="../media/image79.jp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9.xml"/><Relationship Id="rId1" Type="http://schemas.openxmlformats.org/officeDocument/2006/relationships/tags" Target="../tags/tag47.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tags" Target="../tags/tag48.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9.xml"/><Relationship Id="rId1" Type="http://schemas.openxmlformats.org/officeDocument/2006/relationships/tags" Target="../tags/tag4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9.xml"/><Relationship Id="rId1" Type="http://schemas.openxmlformats.org/officeDocument/2006/relationships/tags" Target="../tags/tag50.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9.xml"/><Relationship Id="rId1" Type="http://schemas.openxmlformats.org/officeDocument/2006/relationships/tags" Target="../tags/tag5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9.xml"/><Relationship Id="rId1" Type="http://schemas.openxmlformats.org/officeDocument/2006/relationships/tags" Target="../tags/tag5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9.xml"/><Relationship Id="rId1" Type="http://schemas.openxmlformats.org/officeDocument/2006/relationships/tags" Target="../tags/tag5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image" Target="../media/image82.jpg"/><Relationship Id="rId1" Type="http://schemas.openxmlformats.org/officeDocument/2006/relationships/slideLayout" Target="../slideLayouts/slideLayout35.xml"/></Relationships>
</file>

<file path=ppt/slides/_rels/slide36.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image" Target="../media/image84.emf"/><Relationship Id="rId1" Type="http://schemas.openxmlformats.org/officeDocument/2006/relationships/slideLayout" Target="../slideLayouts/slideLayout97.xml"/><Relationship Id="rId4" Type="http://schemas.openxmlformats.org/officeDocument/2006/relationships/image" Target="../media/image86.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2.jpg"/><Relationship Id="rId7" Type="http://schemas.microsoft.com/office/2007/relationships/hdphoto" Target="../media/hdphoto3.wdp"/><Relationship Id="rId2" Type="http://schemas.openxmlformats.org/officeDocument/2006/relationships/image" Target="../media/image7.jpeg"/><Relationship Id="rId1" Type="http://schemas.openxmlformats.org/officeDocument/2006/relationships/slideLayout" Target="../slideLayouts/slideLayout53.xml"/><Relationship Id="rId6" Type="http://schemas.openxmlformats.org/officeDocument/2006/relationships/image" Target="../media/image44.png"/><Relationship Id="rId5" Type="http://schemas.microsoft.com/office/2007/relationships/hdphoto" Target="../media/hdphoto2.wdp"/><Relationship Id="rId10" Type="http://schemas.openxmlformats.org/officeDocument/2006/relationships/image" Target="../media/image46.png"/><Relationship Id="rId4" Type="http://schemas.openxmlformats.org/officeDocument/2006/relationships/image" Target="../media/image43.png"/><Relationship Id="rId9" Type="http://schemas.microsoft.com/office/2007/relationships/hdphoto" Target="../media/hdphoto4.wdp"/></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8.xml"/><Relationship Id="rId1" Type="http://schemas.openxmlformats.org/officeDocument/2006/relationships/tags" Target="../tags/tag54.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9.xml"/><Relationship Id="rId1" Type="http://schemas.openxmlformats.org/officeDocument/2006/relationships/tags" Target="../tags/tag55.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9.xml"/><Relationship Id="rId1" Type="http://schemas.openxmlformats.org/officeDocument/2006/relationships/tags" Target="../tags/tag56.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9.xml"/><Relationship Id="rId1" Type="http://schemas.openxmlformats.org/officeDocument/2006/relationships/tags" Target="../tags/tag57.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9.xml"/><Relationship Id="rId1" Type="http://schemas.openxmlformats.org/officeDocument/2006/relationships/tags" Target="../tags/tag5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9.xml"/><Relationship Id="rId1" Type="http://schemas.openxmlformats.org/officeDocument/2006/relationships/tags" Target="../tags/tag29.xml"/><Relationship Id="rId5" Type="http://schemas.openxmlformats.org/officeDocument/2006/relationships/image" Target="../media/image47.png"/><Relationship Id="rId4" Type="http://schemas.openxmlformats.org/officeDocument/2006/relationships/image" Target="../media/image33.jpg"/></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8.xml"/><Relationship Id="rId1" Type="http://schemas.openxmlformats.org/officeDocument/2006/relationships/tags" Target="../tags/tag59.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9.xml"/><Relationship Id="rId1" Type="http://schemas.openxmlformats.org/officeDocument/2006/relationships/tags" Target="../tags/tag60.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9.xml"/><Relationship Id="rId1" Type="http://schemas.openxmlformats.org/officeDocument/2006/relationships/tags" Target="../tags/tag61.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9.xml"/><Relationship Id="rId1" Type="http://schemas.openxmlformats.org/officeDocument/2006/relationships/tags" Target="../tags/tag6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9.xml"/><Relationship Id="rId1" Type="http://schemas.openxmlformats.org/officeDocument/2006/relationships/tags" Target="../tags/tag6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9.xml"/><Relationship Id="rId1" Type="http://schemas.openxmlformats.org/officeDocument/2006/relationships/tags" Target="../tags/tag64.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9.xml"/><Relationship Id="rId1" Type="http://schemas.openxmlformats.org/officeDocument/2006/relationships/tags" Target="../tags/tag65.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79.xml"/><Relationship Id="rId1" Type="http://schemas.openxmlformats.org/officeDocument/2006/relationships/tags" Target="../tags/tag66.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79.xml"/><Relationship Id="rId1" Type="http://schemas.openxmlformats.org/officeDocument/2006/relationships/tags" Target="../tags/tag67.xml"/></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79.xml"/><Relationship Id="rId1" Type="http://schemas.openxmlformats.org/officeDocument/2006/relationships/tags" Target="../tags/tag68.xml"/></Relationships>
</file>

<file path=ppt/slides/_rels/slide6.xml.rels><?xml version="1.0" encoding="UTF-8" standalone="yes"?>
<Relationships xmlns="http://schemas.openxmlformats.org/package/2006/relationships"><Relationship Id="rId8" Type="http://schemas.openxmlformats.org/officeDocument/2006/relationships/slide" Target="slide87.xm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157.xml"/><Relationship Id="rId1" Type="http://schemas.openxmlformats.org/officeDocument/2006/relationships/tags" Target="../tags/tag3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8.xml"/><Relationship Id="rId1" Type="http://schemas.openxmlformats.org/officeDocument/2006/relationships/tags" Target="../tags/tag69.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9.xml"/><Relationship Id="rId1" Type="http://schemas.openxmlformats.org/officeDocument/2006/relationships/tags" Target="../tags/tag70.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9.xml"/><Relationship Id="rId1" Type="http://schemas.openxmlformats.org/officeDocument/2006/relationships/tags" Target="../tags/tag7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8.xml"/><Relationship Id="rId1" Type="http://schemas.openxmlformats.org/officeDocument/2006/relationships/tags" Target="../tags/tag7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9.xml"/><Relationship Id="rId1" Type="http://schemas.openxmlformats.org/officeDocument/2006/relationships/tags" Target="../tags/tag7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9.xml"/><Relationship Id="rId1" Type="http://schemas.openxmlformats.org/officeDocument/2006/relationships/tags" Target="../tags/tag74.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8.xml"/><Relationship Id="rId1" Type="http://schemas.openxmlformats.org/officeDocument/2006/relationships/tags" Target="../tags/tag75.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9.xml"/><Relationship Id="rId1" Type="http://schemas.openxmlformats.org/officeDocument/2006/relationships/tags" Target="../tags/tag7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13.xml"/><Relationship Id="rId7" Type="http://schemas.openxmlformats.org/officeDocument/2006/relationships/image" Target="../media/image50.jp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notesSlide" Target="../notesSlides/notesSlide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9.xml"/><Relationship Id="rId1" Type="http://schemas.openxmlformats.org/officeDocument/2006/relationships/tags" Target="../tags/tag77.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8.xml"/><Relationship Id="rId1" Type="http://schemas.openxmlformats.org/officeDocument/2006/relationships/tags" Target="../tags/tag78.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9.xml"/><Relationship Id="rId1" Type="http://schemas.openxmlformats.org/officeDocument/2006/relationships/tags" Target="../tags/tag79.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8.xml"/><Relationship Id="rId1" Type="http://schemas.openxmlformats.org/officeDocument/2006/relationships/tags" Target="../tags/tag80.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79.xml"/><Relationship Id="rId1" Type="http://schemas.openxmlformats.org/officeDocument/2006/relationships/tags" Target="../tags/tag81.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9.xml"/><Relationship Id="rId1" Type="http://schemas.openxmlformats.org/officeDocument/2006/relationships/tags" Target="../tags/tag82.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79.xml"/><Relationship Id="rId1" Type="http://schemas.openxmlformats.org/officeDocument/2006/relationships/tags" Target="../tags/tag8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13.xml"/><Relationship Id="rId1" Type="http://schemas.openxmlformats.org/officeDocument/2006/relationships/tags" Target="../tags/tag33.xml"/><Relationship Id="rId4" Type="http://schemas.openxmlformats.org/officeDocument/2006/relationships/image" Target="../media/image50.jp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1.xml"/><Relationship Id="rId1" Type="http://schemas.openxmlformats.org/officeDocument/2006/relationships/tags" Target="../tags/tag84.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9.xml"/><Relationship Id="rId1" Type="http://schemas.openxmlformats.org/officeDocument/2006/relationships/tags" Target="../tags/tag85.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9.xml"/><Relationship Id="rId1" Type="http://schemas.openxmlformats.org/officeDocument/2006/relationships/tags" Target="../tags/tag86.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9.xml"/><Relationship Id="rId1" Type="http://schemas.openxmlformats.org/officeDocument/2006/relationships/tags" Target="../tags/tag8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9.xml"/><Relationship Id="rId1" Type="http://schemas.openxmlformats.org/officeDocument/2006/relationships/tags" Target="../tags/tag88.xml"/><Relationship Id="rId4" Type="http://schemas.openxmlformats.org/officeDocument/2006/relationships/image" Target="../media/image87.jpeg"/></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80.xml"/><Relationship Id="rId1" Type="http://schemas.openxmlformats.org/officeDocument/2006/relationships/tags" Target="../tags/tag89.xml"/></Relationships>
</file>

<file path=ppt/slides/_rels/slide87.xml.rels><?xml version="1.0" encoding="UTF-8" standalone="yes"?>
<Relationships xmlns="http://schemas.openxmlformats.org/package/2006/relationships"><Relationship Id="rId8" Type="http://schemas.openxmlformats.org/officeDocument/2006/relationships/image" Target="../media/image91.jpg"/><Relationship Id="rId3" Type="http://schemas.openxmlformats.org/officeDocument/2006/relationships/image" Target="../media/image88.JPG"/><Relationship Id="rId7" Type="http://schemas.openxmlformats.org/officeDocument/2006/relationships/image" Target="../media/image90.png"/><Relationship Id="rId12" Type="http://schemas.openxmlformats.org/officeDocument/2006/relationships/image" Target="../media/image54.png"/><Relationship Id="rId2" Type="http://schemas.openxmlformats.org/officeDocument/2006/relationships/slideLayout" Target="../slideLayouts/slideLayout30.xml"/><Relationship Id="rId1" Type="http://schemas.openxmlformats.org/officeDocument/2006/relationships/tags" Target="../tags/tag90.xml"/><Relationship Id="rId6" Type="http://schemas.openxmlformats.org/officeDocument/2006/relationships/image" Target="../media/image89.jpeg"/><Relationship Id="rId11" Type="http://schemas.openxmlformats.org/officeDocument/2006/relationships/slide" Target="slide6.xml"/><Relationship Id="rId5" Type="http://schemas.openxmlformats.org/officeDocument/2006/relationships/image" Target="../media/image53.jpeg"/><Relationship Id="rId10" Type="http://schemas.openxmlformats.org/officeDocument/2006/relationships/image" Target="../media/image55.png"/><Relationship Id="rId4" Type="http://schemas.openxmlformats.org/officeDocument/2006/relationships/image" Target="../media/image51.png"/><Relationship Id="rId9" Type="http://schemas.openxmlformats.org/officeDocument/2006/relationships/image" Target="../media/image52.png"/></Relationships>
</file>

<file path=ppt/slides/_rels/slide8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slide" Target="slide6.xml"/><Relationship Id="rId7" Type="http://schemas.openxmlformats.org/officeDocument/2006/relationships/image" Target="../media/image91.jpg"/><Relationship Id="rId2" Type="http://schemas.openxmlformats.org/officeDocument/2006/relationships/slideLayout" Target="../slideLayouts/slideLayout30.xml"/><Relationship Id="rId1" Type="http://schemas.openxmlformats.org/officeDocument/2006/relationships/tags" Target="../tags/tag91.xml"/><Relationship Id="rId6" Type="http://schemas.openxmlformats.org/officeDocument/2006/relationships/image" Target="../media/image90.png"/><Relationship Id="rId5" Type="http://schemas.openxmlformats.org/officeDocument/2006/relationships/image" Target="../media/image89.jpeg"/><Relationship Id="rId10" Type="http://schemas.openxmlformats.org/officeDocument/2006/relationships/image" Target="../media/image92.JPG"/><Relationship Id="rId4" Type="http://schemas.openxmlformats.org/officeDocument/2006/relationships/image" Target="../media/image51.png"/><Relationship Id="rId9" Type="http://schemas.openxmlformats.org/officeDocument/2006/relationships/image" Target="../media/image54.png"/></Relationships>
</file>

<file path=ppt/slides/_rels/slide89.xml.rels><?xml version="1.0" encoding="UTF-8" standalone="yes"?>
<Relationships xmlns="http://schemas.openxmlformats.org/package/2006/relationships"><Relationship Id="rId8" Type="http://schemas.openxmlformats.org/officeDocument/2006/relationships/image" Target="../media/image89.jpeg"/><Relationship Id="rId13" Type="http://schemas.openxmlformats.org/officeDocument/2006/relationships/image" Target="../media/image54.png"/><Relationship Id="rId3" Type="http://schemas.openxmlformats.org/officeDocument/2006/relationships/image" Target="../media/image93.jpg"/><Relationship Id="rId7" Type="http://schemas.openxmlformats.org/officeDocument/2006/relationships/image" Target="../media/image53.jpeg"/><Relationship Id="rId12" Type="http://schemas.openxmlformats.org/officeDocument/2006/relationships/image" Target="../media/image55.png"/><Relationship Id="rId2" Type="http://schemas.openxmlformats.org/officeDocument/2006/relationships/slideLayout" Target="../slideLayouts/slideLayout30.xml"/><Relationship Id="rId1" Type="http://schemas.openxmlformats.org/officeDocument/2006/relationships/tags" Target="../tags/tag92.xml"/><Relationship Id="rId6" Type="http://schemas.openxmlformats.org/officeDocument/2006/relationships/image" Target="../media/image51.png"/><Relationship Id="rId11" Type="http://schemas.openxmlformats.org/officeDocument/2006/relationships/image" Target="../media/image52.png"/><Relationship Id="rId5" Type="http://schemas.openxmlformats.org/officeDocument/2006/relationships/slide" Target="slide6.xml"/><Relationship Id="rId10" Type="http://schemas.openxmlformats.org/officeDocument/2006/relationships/image" Target="../media/image91.jpg"/><Relationship Id="rId4" Type="http://schemas.openxmlformats.org/officeDocument/2006/relationships/image" Target="../media/image94.jpg"/><Relationship Id="rId9" Type="http://schemas.openxmlformats.org/officeDocument/2006/relationships/image" Target="../media/image90.png"/><Relationship Id="rId14" Type="http://schemas.openxmlformats.org/officeDocument/2006/relationships/slide" Target="slide118.xml"/></Relationships>
</file>

<file path=ppt/slides/_rels/slide9.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slideLayout" Target="../slideLayouts/slideLayout213.xml"/><Relationship Id="rId1" Type="http://schemas.openxmlformats.org/officeDocument/2006/relationships/tags" Target="../tags/tag34.xml"/></Relationships>
</file>

<file path=ppt/slides/_rels/slide90.xml.rels><?xml version="1.0" encoding="UTF-8" standalone="yes"?>
<Relationships xmlns="http://schemas.openxmlformats.org/package/2006/relationships"><Relationship Id="rId3" Type="http://schemas.openxmlformats.org/officeDocument/2006/relationships/image" Target="../media/image95.jpeg"/><Relationship Id="rId7" Type="http://schemas.openxmlformats.org/officeDocument/2006/relationships/image" Target="../media/image54.png"/><Relationship Id="rId2" Type="http://schemas.openxmlformats.org/officeDocument/2006/relationships/slideLayout" Target="../slideLayouts/slideLayout30.xml"/><Relationship Id="rId1" Type="http://schemas.openxmlformats.org/officeDocument/2006/relationships/tags" Target="../tags/tag9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slide" Target="slide6.xml"/></Relationships>
</file>

<file path=ppt/slides/_rels/slide9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96.jpg"/><Relationship Id="rId7" Type="http://schemas.openxmlformats.org/officeDocument/2006/relationships/image" Target="../media/image52.png"/><Relationship Id="rId2" Type="http://schemas.openxmlformats.org/officeDocument/2006/relationships/slideLayout" Target="../slideLayouts/slideLayout30.xml"/><Relationship Id="rId1" Type="http://schemas.openxmlformats.org/officeDocument/2006/relationships/tags" Target="../tags/tag94.xml"/><Relationship Id="rId6" Type="http://schemas.openxmlformats.org/officeDocument/2006/relationships/image" Target="../media/image53.jpeg"/><Relationship Id="rId5" Type="http://schemas.openxmlformats.org/officeDocument/2006/relationships/image" Target="../media/image51.png"/><Relationship Id="rId4" Type="http://schemas.openxmlformats.org/officeDocument/2006/relationships/slide" Target="slide6.xml"/><Relationship Id="rId9" Type="http://schemas.openxmlformats.org/officeDocument/2006/relationships/image" Target="../media/image54.png"/></Relationships>
</file>

<file path=ppt/slides/_rels/slide9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97.png"/><Relationship Id="rId7" Type="http://schemas.openxmlformats.org/officeDocument/2006/relationships/image" Target="../media/image91.jpg"/><Relationship Id="rId2" Type="http://schemas.openxmlformats.org/officeDocument/2006/relationships/slideLayout" Target="../slideLayouts/slideLayout30.xml"/><Relationship Id="rId1" Type="http://schemas.openxmlformats.org/officeDocument/2006/relationships/tags" Target="../tags/tag95.xml"/><Relationship Id="rId6" Type="http://schemas.openxmlformats.org/officeDocument/2006/relationships/image" Target="../media/image90.png"/><Relationship Id="rId5" Type="http://schemas.openxmlformats.org/officeDocument/2006/relationships/image" Target="../media/image89.jpeg"/><Relationship Id="rId10" Type="http://schemas.openxmlformats.org/officeDocument/2006/relationships/image" Target="../media/image54.png"/><Relationship Id="rId4" Type="http://schemas.openxmlformats.org/officeDocument/2006/relationships/slide" Target="slide6.xml"/><Relationship Id="rId9" Type="http://schemas.openxmlformats.org/officeDocument/2006/relationships/image" Target="../media/image52.png"/></Relationships>
</file>

<file path=ppt/slides/_rels/slide93.xml.rels><?xml version="1.0" encoding="UTF-8" standalone="yes"?>
<Relationships xmlns="http://schemas.openxmlformats.org/package/2006/relationships"><Relationship Id="rId8" Type="http://schemas.openxmlformats.org/officeDocument/2006/relationships/image" Target="../media/image91.jpg"/><Relationship Id="rId3" Type="http://schemas.openxmlformats.org/officeDocument/2006/relationships/image" Target="../media/image98.JPG"/><Relationship Id="rId7" Type="http://schemas.openxmlformats.org/officeDocument/2006/relationships/image" Target="../media/image90.png"/><Relationship Id="rId2" Type="http://schemas.openxmlformats.org/officeDocument/2006/relationships/slideLayout" Target="../slideLayouts/slideLayout30.xml"/><Relationship Id="rId1" Type="http://schemas.openxmlformats.org/officeDocument/2006/relationships/tags" Target="../tags/tag96.xml"/><Relationship Id="rId6" Type="http://schemas.openxmlformats.org/officeDocument/2006/relationships/image" Target="../media/image89.jpeg"/><Relationship Id="rId5" Type="http://schemas.openxmlformats.org/officeDocument/2006/relationships/image" Target="../media/image51.png"/><Relationship Id="rId10" Type="http://schemas.openxmlformats.org/officeDocument/2006/relationships/image" Target="../media/image54.png"/><Relationship Id="rId4" Type="http://schemas.openxmlformats.org/officeDocument/2006/relationships/slide" Target="slide6.xml"/><Relationship Id="rId9" Type="http://schemas.openxmlformats.org/officeDocument/2006/relationships/image" Target="../media/image52.png"/></Relationships>
</file>

<file path=ppt/slides/_rels/slide9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99.png"/><Relationship Id="rId7" Type="http://schemas.openxmlformats.org/officeDocument/2006/relationships/image" Target="../media/image52.png"/><Relationship Id="rId2" Type="http://schemas.openxmlformats.org/officeDocument/2006/relationships/slideLayout" Target="../slideLayouts/slideLayout30.xml"/><Relationship Id="rId1" Type="http://schemas.openxmlformats.org/officeDocument/2006/relationships/tags" Target="../tags/tag97.xml"/><Relationship Id="rId6" Type="http://schemas.openxmlformats.org/officeDocument/2006/relationships/image" Target="../media/image51.png"/><Relationship Id="rId5" Type="http://schemas.openxmlformats.org/officeDocument/2006/relationships/slide" Target="slide6.xml"/><Relationship Id="rId4" Type="http://schemas.microsoft.com/office/2007/relationships/hdphoto" Target="../media/hdphoto5.wdp"/></Relationships>
</file>

<file path=ppt/slides/_rels/slide95.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9.xml"/><Relationship Id="rId1" Type="http://schemas.openxmlformats.org/officeDocument/2006/relationships/tags" Target="../tags/tag98.xml"/></Relationships>
</file>

<file path=ppt/slides/_rels/slide96.xml.rels><?xml version="1.0" encoding="UTF-8" standalone="yes"?>
<Relationships xmlns="http://schemas.openxmlformats.org/package/2006/relationships"><Relationship Id="rId3" Type="http://schemas.openxmlformats.org/officeDocument/2006/relationships/image" Target="../media/image100.jpg"/><Relationship Id="rId2" Type="http://schemas.openxmlformats.org/officeDocument/2006/relationships/notesSlide" Target="../notesSlides/notesSlide51.xml"/><Relationship Id="rId1" Type="http://schemas.openxmlformats.org/officeDocument/2006/relationships/slideLayout" Target="../slideLayouts/slideLayout30.xml"/><Relationship Id="rId4" Type="http://schemas.openxmlformats.org/officeDocument/2006/relationships/slide" Target="slide13.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9.xml"/><Relationship Id="rId1" Type="http://schemas.openxmlformats.org/officeDocument/2006/relationships/tags" Target="../tags/tag99.xml"/><Relationship Id="rId4" Type="http://schemas.openxmlformats.org/officeDocument/2006/relationships/slide" Target="slide13.xml"/></Relationships>
</file>

<file path=ppt/slides/_rels/slide98.xml.rels><?xml version="1.0" encoding="UTF-8" standalone="yes"?>
<Relationships xmlns="http://schemas.openxmlformats.org/package/2006/relationships"><Relationship Id="rId8" Type="http://schemas.openxmlformats.org/officeDocument/2006/relationships/slide" Target="slide13.xml"/><Relationship Id="rId3" Type="http://schemas.openxmlformats.org/officeDocument/2006/relationships/notesSlide" Target="../notesSlides/notesSlide53.xml"/><Relationship Id="rId7" Type="http://schemas.openxmlformats.org/officeDocument/2006/relationships/image" Target="../media/image103.png"/><Relationship Id="rId2" Type="http://schemas.openxmlformats.org/officeDocument/2006/relationships/slideLayout" Target="../slideLayouts/slideLayout79.xml"/><Relationship Id="rId1" Type="http://schemas.openxmlformats.org/officeDocument/2006/relationships/tags" Target="../tags/tag100.xml"/><Relationship Id="rId6" Type="http://schemas.openxmlformats.org/officeDocument/2006/relationships/image" Target="../media/image102.png"/><Relationship Id="rId5" Type="http://schemas.openxmlformats.org/officeDocument/2006/relationships/image" Target="../media/image101.tiff"/><Relationship Id="rId4" Type="http://schemas.openxmlformats.org/officeDocument/2006/relationships/image" Target="../media/image89.jpeg"/></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9.xml"/><Relationship Id="rId1" Type="http://schemas.openxmlformats.org/officeDocument/2006/relationships/tags" Target="../tags/tag101.xml"/><Relationship Id="rId5" Type="http://schemas.openxmlformats.org/officeDocument/2006/relationships/slide" Target="slide13.xml"/><Relationship Id="rId4" Type="http://schemas.openxmlformats.org/officeDocument/2006/relationships/image" Target="../media/image10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0AABEFC-18A7-4276-8644-CC442F922D04}"/>
              </a:ext>
            </a:extLst>
          </p:cNvPr>
          <p:cNvSpPr>
            <a:spLocks noGrp="1"/>
          </p:cNvSpPr>
          <p:nvPr>
            <p:ph type="body" sz="quarter" idx="13"/>
          </p:nvPr>
        </p:nvSpPr>
        <p:spPr/>
        <p:txBody>
          <a:bodyPr/>
          <a:lstStyle/>
          <a:p>
            <a:r>
              <a:rPr lang="de-DE" dirty="0"/>
              <a:t>Measurement &amp; Analytics</a:t>
            </a:r>
            <a:endParaRPr lang="en-US" dirty="0"/>
          </a:p>
        </p:txBody>
      </p:sp>
      <p:sp>
        <p:nvSpPr>
          <p:cNvPr id="4" name="Title 3">
            <a:extLst>
              <a:ext uri="{FF2B5EF4-FFF2-40B4-BE49-F238E27FC236}">
                <a16:creationId xmlns:a16="http://schemas.microsoft.com/office/drawing/2014/main" id="{30BCC099-6406-4D35-B3A0-F75694516EC9}"/>
              </a:ext>
            </a:extLst>
          </p:cNvPr>
          <p:cNvSpPr>
            <a:spLocks noGrp="1"/>
          </p:cNvSpPr>
          <p:nvPr>
            <p:ph type="ctrTitle"/>
          </p:nvPr>
        </p:nvSpPr>
        <p:spPr/>
        <p:txBody>
          <a:bodyPr/>
          <a:lstStyle/>
          <a:p>
            <a:r>
              <a:rPr lang="de-DE" dirty="0"/>
              <a:t>Industrial Gas</a:t>
            </a:r>
            <a:endParaRPr lang="en-US" dirty="0"/>
          </a:p>
        </p:txBody>
      </p:sp>
      <p:sp>
        <p:nvSpPr>
          <p:cNvPr id="5" name="Subtitle 4">
            <a:extLst>
              <a:ext uri="{FF2B5EF4-FFF2-40B4-BE49-F238E27FC236}">
                <a16:creationId xmlns:a16="http://schemas.microsoft.com/office/drawing/2014/main" id="{D2C9F862-0448-44BC-8978-6730992A367B}"/>
              </a:ext>
            </a:extLst>
          </p:cNvPr>
          <p:cNvSpPr>
            <a:spLocks noGrp="1"/>
          </p:cNvSpPr>
          <p:nvPr>
            <p:ph type="subTitle" idx="1"/>
          </p:nvPr>
        </p:nvSpPr>
        <p:spPr/>
        <p:txBody>
          <a:bodyPr/>
          <a:lstStyle/>
          <a:p>
            <a:r>
              <a:rPr lang="de-DE" dirty="0"/>
              <a:t>Market </a:t>
            </a:r>
            <a:r>
              <a:rPr lang="de-DE" dirty="0" err="1"/>
              <a:t>leading</a:t>
            </a:r>
            <a:r>
              <a:rPr lang="de-DE" dirty="0"/>
              <a:t> gas </a:t>
            </a:r>
            <a:r>
              <a:rPr lang="de-DE" dirty="0" err="1"/>
              <a:t>analyzer</a:t>
            </a:r>
            <a:r>
              <a:rPr lang="de-DE" dirty="0"/>
              <a:t> </a:t>
            </a:r>
            <a:r>
              <a:rPr lang="de-DE" dirty="0" err="1"/>
              <a:t>solutions</a:t>
            </a:r>
            <a:endParaRPr lang="en-US" dirty="0"/>
          </a:p>
        </p:txBody>
      </p:sp>
      <p:sp>
        <p:nvSpPr>
          <p:cNvPr id="6" name="Text Placeholder 5">
            <a:extLst>
              <a:ext uri="{FF2B5EF4-FFF2-40B4-BE49-F238E27FC236}">
                <a16:creationId xmlns:a16="http://schemas.microsoft.com/office/drawing/2014/main" id="{4889361B-9B1F-452A-9E94-C2BDB4C43B14}"/>
              </a:ext>
            </a:extLst>
          </p:cNvPr>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3566985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73586-79CD-4B4B-A0CB-E1BA5EEBE354}"/>
              </a:ext>
            </a:extLst>
          </p:cNvPr>
          <p:cNvSpPr>
            <a:spLocks noGrp="1"/>
          </p:cNvSpPr>
          <p:nvPr>
            <p:ph type="title"/>
          </p:nvPr>
        </p:nvSpPr>
        <p:spPr bwMode="gray">
          <a:xfrm>
            <a:off x="333264" y="682313"/>
            <a:ext cx="11520000" cy="396000"/>
          </a:xfrm>
        </p:spPr>
        <p:txBody>
          <a:bodyPr/>
          <a:lstStyle/>
          <a:p>
            <a:r>
              <a:rPr lang="en-US" dirty="0"/>
              <a:t>Easy configuration</a:t>
            </a:r>
          </a:p>
        </p:txBody>
      </p:sp>
      <p:sp>
        <p:nvSpPr>
          <p:cNvPr id="3" name="Date Placeholder 2">
            <a:extLst>
              <a:ext uri="{FF2B5EF4-FFF2-40B4-BE49-F238E27FC236}">
                <a16:creationId xmlns:a16="http://schemas.microsoft.com/office/drawing/2014/main" id="{C0E0367B-6082-4BA8-8F2D-7F161121DA9B}"/>
              </a:ext>
            </a:extLst>
          </p:cNvPr>
          <p:cNvSpPr>
            <a:spLocks noGrp="1"/>
          </p:cNvSpPr>
          <p:nvPr>
            <p:ph type="dt" sz="half" idx="14"/>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F808C0-290B-4263-8A52-B569B4875133}"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4" name="Footer Placeholder 3">
            <a:extLst>
              <a:ext uri="{FF2B5EF4-FFF2-40B4-BE49-F238E27FC236}">
                <a16:creationId xmlns:a16="http://schemas.microsoft.com/office/drawing/2014/main" id="{ECE1F439-B9E1-4014-B80C-964B77677264}"/>
              </a:ext>
            </a:extLst>
          </p:cNvPr>
          <p:cNvSpPr>
            <a:spLocks noGrp="1"/>
          </p:cNvSpPr>
          <p:nvPr>
            <p:ph type="ftr" sz="quarter" idx="15"/>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017B7079-F902-4AA0-AA9E-3AD90C5D73C0}"/>
              </a:ext>
            </a:extLst>
          </p:cNvPr>
          <p:cNvSpPr>
            <a:spLocks noGrp="1"/>
          </p:cNvSpPr>
          <p:nvPr>
            <p:ph type="sldNum" sz="quarter" idx="16"/>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6" name="Subtitle 5">
            <a:extLst>
              <a:ext uri="{FF2B5EF4-FFF2-40B4-BE49-F238E27FC236}">
                <a16:creationId xmlns:a16="http://schemas.microsoft.com/office/drawing/2014/main" id="{F9169952-F54C-4749-B3AD-4E889977AC24}"/>
              </a:ext>
            </a:extLst>
          </p:cNvPr>
          <p:cNvSpPr>
            <a:spLocks noGrp="1"/>
          </p:cNvSpPr>
          <p:nvPr>
            <p:ph type="subTitle" idx="13"/>
          </p:nvPr>
        </p:nvSpPr>
        <p:spPr bwMode="gray"/>
        <p:txBody>
          <a:bodyPr/>
          <a:lstStyle/>
          <a:p>
            <a:pPr lvl="1"/>
            <a:r>
              <a:rPr lang="en-US" altLang="en-US" sz="1800" dirty="0"/>
              <a:t>Easy to select the right product, tailored to your needs and stress-free set up after delivery</a:t>
            </a:r>
          </a:p>
        </p:txBody>
      </p:sp>
      <p:sp>
        <p:nvSpPr>
          <p:cNvPr id="7" name="Content Placeholder 1">
            <a:extLst>
              <a:ext uri="{FF2B5EF4-FFF2-40B4-BE49-F238E27FC236}">
                <a16:creationId xmlns:a16="http://schemas.microsoft.com/office/drawing/2014/main" id="{0482522A-2F74-4B98-A6A2-B0A341E04374}"/>
              </a:ext>
            </a:extLst>
          </p:cNvPr>
          <p:cNvSpPr txBox="1">
            <a:spLocks/>
          </p:cNvSpPr>
          <p:nvPr/>
        </p:nvSpPr>
        <p:spPr bwMode="gray">
          <a:xfrm>
            <a:off x="336550" y="1931197"/>
            <a:ext cx="5761038" cy="398382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Delivered tailored for each application</a:t>
            </a:r>
          </a:p>
          <a:p>
            <a:pPr marL="360036" marR="0" lvl="2" indent="-180018" algn="l" defTabSz="9144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rPr>
              <a:t>Configurable measuring ranges</a:t>
            </a:r>
          </a:p>
          <a:p>
            <a:pPr marL="360036" marR="0" lvl="2" indent="-180018" algn="l" defTabSz="9144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rPr>
              <a:t>Single dynamic range with two measuring ranges</a:t>
            </a:r>
          </a:p>
          <a:p>
            <a:pPr marL="360036" marR="0" lvl="2" indent="-180018" algn="l" defTabSz="9144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rPr>
              <a:t>Measure flammable gases without purging</a:t>
            </a:r>
          </a:p>
          <a:p>
            <a:pPr marL="360036" marR="0" lvl="2" indent="-180018" algn="l" defTabSz="9144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rPr>
              <a:t>Modular I/O based on your needs</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All commonly used functions accessible via HMI</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Every analyzer shipped with PC configuration tool for custom parameter setting</a:t>
            </a:r>
          </a:p>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endParaRPr>
          </a:p>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grpSp>
        <p:nvGrpSpPr>
          <p:cNvPr id="8" name="Group 7">
            <a:extLst>
              <a:ext uri="{FF2B5EF4-FFF2-40B4-BE49-F238E27FC236}">
                <a16:creationId xmlns:a16="http://schemas.microsoft.com/office/drawing/2014/main" id="{D460E10D-718F-43AA-8F7A-40B538D565F2}"/>
              </a:ext>
            </a:extLst>
          </p:cNvPr>
          <p:cNvGrpSpPr>
            <a:grpSpLocks noChangeAspect="1"/>
          </p:cNvGrpSpPr>
          <p:nvPr/>
        </p:nvGrpSpPr>
        <p:grpSpPr bwMode="gray">
          <a:xfrm>
            <a:off x="8124850" y="1953405"/>
            <a:ext cx="1993693" cy="1993686"/>
            <a:chOff x="8124850" y="1953405"/>
            <a:chExt cx="1993693" cy="1993686"/>
          </a:xfrm>
        </p:grpSpPr>
        <p:sp>
          <p:nvSpPr>
            <p:cNvPr id="15" name="Oval 14">
              <a:extLst>
                <a:ext uri="{FF2B5EF4-FFF2-40B4-BE49-F238E27FC236}">
                  <a16:creationId xmlns:a16="http://schemas.microsoft.com/office/drawing/2014/main" id="{E15FB8E8-F046-47A5-A54C-0D01B6EEA095}"/>
                </a:ext>
              </a:extLst>
            </p:cNvPr>
            <p:cNvSpPr/>
            <p:nvPr/>
          </p:nvSpPr>
          <p:spPr bwMode="gray">
            <a:xfrm>
              <a:off x="8124850" y="1953405"/>
              <a:ext cx="1993693" cy="1993686"/>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10" name="Group 9">
              <a:extLst>
                <a:ext uri="{FF2B5EF4-FFF2-40B4-BE49-F238E27FC236}">
                  <a16:creationId xmlns:a16="http://schemas.microsoft.com/office/drawing/2014/main" id="{8B6712F8-41C0-40D9-869E-E9A146CC4459}"/>
                </a:ext>
              </a:extLst>
            </p:cNvPr>
            <p:cNvGrpSpPr>
              <a:grpSpLocks noChangeAspect="1"/>
            </p:cNvGrpSpPr>
            <p:nvPr/>
          </p:nvGrpSpPr>
          <p:grpSpPr bwMode="gray">
            <a:xfrm>
              <a:off x="8400481" y="2463255"/>
              <a:ext cx="1442429" cy="1065121"/>
              <a:chOff x="8677106" y="2275997"/>
              <a:chExt cx="1037309" cy="765972"/>
            </a:xfrm>
          </p:grpSpPr>
          <p:sp>
            <p:nvSpPr>
              <p:cNvPr id="12" name="Snip Same Side Corner Rectangle 160">
                <a:extLst>
                  <a:ext uri="{FF2B5EF4-FFF2-40B4-BE49-F238E27FC236}">
                    <a16:creationId xmlns:a16="http://schemas.microsoft.com/office/drawing/2014/main" id="{0DF0EF2D-F8C8-4992-B714-9C15BC4B5AE5}"/>
                  </a:ext>
                </a:extLst>
              </p:cNvPr>
              <p:cNvSpPr/>
              <p:nvPr/>
            </p:nvSpPr>
            <p:spPr bwMode="gray">
              <a:xfrm rot="10800000">
                <a:off x="8677106" y="2339858"/>
                <a:ext cx="702111" cy="702111"/>
              </a:xfrm>
              <a:custGeom>
                <a:avLst/>
                <a:gdLst/>
                <a:ahLst/>
                <a:cxnLst/>
                <a:rect l="l" t="t" r="r" b="b"/>
                <a:pathLst>
                  <a:path w="702111" h="702111">
                    <a:moveTo>
                      <a:pt x="351056" y="467261"/>
                    </a:moveTo>
                    <a:cubicBezTo>
                      <a:pt x="415234" y="467261"/>
                      <a:pt x="467261" y="415234"/>
                      <a:pt x="467261" y="351056"/>
                    </a:cubicBezTo>
                    <a:cubicBezTo>
                      <a:pt x="467261" y="286878"/>
                      <a:pt x="415234" y="234851"/>
                      <a:pt x="351056" y="234851"/>
                    </a:cubicBezTo>
                    <a:cubicBezTo>
                      <a:pt x="286878" y="234851"/>
                      <a:pt x="234851" y="286878"/>
                      <a:pt x="234851" y="351056"/>
                    </a:cubicBezTo>
                    <a:cubicBezTo>
                      <a:pt x="234851" y="415234"/>
                      <a:pt x="286878" y="467261"/>
                      <a:pt x="351056" y="467261"/>
                    </a:cubicBezTo>
                    <a:close/>
                    <a:moveTo>
                      <a:pt x="402490" y="702111"/>
                    </a:moveTo>
                    <a:lnTo>
                      <a:pt x="299620" y="702111"/>
                    </a:lnTo>
                    <a:lnTo>
                      <a:pt x="279618" y="682108"/>
                    </a:lnTo>
                    <a:lnTo>
                      <a:pt x="279618" y="599898"/>
                    </a:lnTo>
                    <a:cubicBezTo>
                      <a:pt x="260216" y="595594"/>
                      <a:pt x="242044" y="588007"/>
                      <a:pt x="225627" y="577512"/>
                    </a:cubicBezTo>
                    <a:lnTo>
                      <a:pt x="167480" y="635659"/>
                    </a:lnTo>
                    <a:lnTo>
                      <a:pt x="139191" y="635659"/>
                    </a:lnTo>
                    <a:lnTo>
                      <a:pt x="66451" y="562919"/>
                    </a:lnTo>
                    <a:lnTo>
                      <a:pt x="66452" y="534631"/>
                    </a:lnTo>
                    <a:lnTo>
                      <a:pt x="124599" y="476484"/>
                    </a:lnTo>
                    <a:cubicBezTo>
                      <a:pt x="114105" y="460067"/>
                      <a:pt x="106518" y="441895"/>
                      <a:pt x="102214" y="422493"/>
                    </a:cubicBezTo>
                    <a:lnTo>
                      <a:pt x="20003" y="422493"/>
                    </a:lnTo>
                    <a:lnTo>
                      <a:pt x="0" y="402490"/>
                    </a:lnTo>
                    <a:lnTo>
                      <a:pt x="0" y="299620"/>
                    </a:lnTo>
                    <a:lnTo>
                      <a:pt x="20003" y="279618"/>
                    </a:lnTo>
                    <a:lnTo>
                      <a:pt x="102214" y="279618"/>
                    </a:lnTo>
                    <a:cubicBezTo>
                      <a:pt x="106518" y="260217"/>
                      <a:pt x="114105" y="242044"/>
                      <a:pt x="124600" y="225628"/>
                    </a:cubicBezTo>
                    <a:lnTo>
                      <a:pt x="66452" y="167480"/>
                    </a:lnTo>
                    <a:lnTo>
                      <a:pt x="66452" y="139192"/>
                    </a:lnTo>
                    <a:lnTo>
                      <a:pt x="139192" y="66451"/>
                    </a:lnTo>
                    <a:lnTo>
                      <a:pt x="167480" y="66452"/>
                    </a:lnTo>
                    <a:lnTo>
                      <a:pt x="225627" y="124600"/>
                    </a:lnTo>
                    <a:cubicBezTo>
                      <a:pt x="242044" y="114105"/>
                      <a:pt x="260216" y="106518"/>
                      <a:pt x="279618" y="102214"/>
                    </a:cubicBezTo>
                    <a:lnTo>
                      <a:pt x="279618" y="20003"/>
                    </a:lnTo>
                    <a:lnTo>
                      <a:pt x="299621" y="0"/>
                    </a:lnTo>
                    <a:lnTo>
                      <a:pt x="402491" y="0"/>
                    </a:lnTo>
                    <a:lnTo>
                      <a:pt x="422493" y="20003"/>
                    </a:lnTo>
                    <a:lnTo>
                      <a:pt x="422493" y="102214"/>
                    </a:lnTo>
                    <a:cubicBezTo>
                      <a:pt x="441895" y="106518"/>
                      <a:pt x="460067" y="114105"/>
                      <a:pt x="476484" y="124599"/>
                    </a:cubicBezTo>
                    <a:lnTo>
                      <a:pt x="534631" y="66452"/>
                    </a:lnTo>
                    <a:lnTo>
                      <a:pt x="562919" y="66452"/>
                    </a:lnTo>
                    <a:lnTo>
                      <a:pt x="635659" y="139192"/>
                    </a:lnTo>
                    <a:lnTo>
                      <a:pt x="635659" y="167480"/>
                    </a:lnTo>
                    <a:lnTo>
                      <a:pt x="577512" y="225627"/>
                    </a:lnTo>
                    <a:cubicBezTo>
                      <a:pt x="588006" y="242044"/>
                      <a:pt x="595594" y="260216"/>
                      <a:pt x="599898" y="279618"/>
                    </a:cubicBezTo>
                    <a:lnTo>
                      <a:pt x="682108" y="279618"/>
                    </a:lnTo>
                    <a:lnTo>
                      <a:pt x="702111" y="299621"/>
                    </a:lnTo>
                    <a:lnTo>
                      <a:pt x="702111" y="402491"/>
                    </a:lnTo>
                    <a:lnTo>
                      <a:pt x="682108" y="422493"/>
                    </a:lnTo>
                    <a:lnTo>
                      <a:pt x="599898" y="422493"/>
                    </a:lnTo>
                    <a:cubicBezTo>
                      <a:pt x="595594" y="441895"/>
                      <a:pt x="588007" y="460068"/>
                      <a:pt x="577512" y="476485"/>
                    </a:cubicBezTo>
                    <a:lnTo>
                      <a:pt x="635659" y="534631"/>
                    </a:lnTo>
                    <a:lnTo>
                      <a:pt x="635659" y="562920"/>
                    </a:lnTo>
                    <a:lnTo>
                      <a:pt x="562919" y="635660"/>
                    </a:lnTo>
                    <a:lnTo>
                      <a:pt x="534631" y="635659"/>
                    </a:lnTo>
                    <a:lnTo>
                      <a:pt x="476485" y="577512"/>
                    </a:lnTo>
                    <a:cubicBezTo>
                      <a:pt x="460068" y="588007"/>
                      <a:pt x="441895" y="595594"/>
                      <a:pt x="422493" y="599898"/>
                    </a:cubicBezTo>
                    <a:lnTo>
                      <a:pt x="422493" y="682108"/>
                    </a:lnTo>
                    <a:close/>
                  </a:path>
                </a:pathLst>
              </a:cu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3" name="Snip Same Side Corner Rectangle 160">
                <a:extLst>
                  <a:ext uri="{FF2B5EF4-FFF2-40B4-BE49-F238E27FC236}">
                    <a16:creationId xmlns:a16="http://schemas.microsoft.com/office/drawing/2014/main" id="{7EB9653C-E6D1-438E-B205-A0FE70B69D4B}"/>
                  </a:ext>
                </a:extLst>
              </p:cNvPr>
              <p:cNvSpPr/>
              <p:nvPr/>
            </p:nvSpPr>
            <p:spPr bwMode="gray">
              <a:xfrm rot="11962283">
                <a:off x="9300603" y="2275997"/>
                <a:ext cx="413812" cy="413812"/>
              </a:xfrm>
              <a:custGeom>
                <a:avLst/>
                <a:gdLst/>
                <a:ahLst/>
                <a:cxnLst/>
                <a:rect l="l" t="t" r="r" b="b"/>
                <a:pathLst>
                  <a:path w="702111" h="702111">
                    <a:moveTo>
                      <a:pt x="351056" y="467261"/>
                    </a:moveTo>
                    <a:cubicBezTo>
                      <a:pt x="415234" y="467261"/>
                      <a:pt x="467261" y="415234"/>
                      <a:pt x="467261" y="351056"/>
                    </a:cubicBezTo>
                    <a:cubicBezTo>
                      <a:pt x="467261" y="286878"/>
                      <a:pt x="415234" y="234851"/>
                      <a:pt x="351056" y="234851"/>
                    </a:cubicBezTo>
                    <a:cubicBezTo>
                      <a:pt x="286878" y="234851"/>
                      <a:pt x="234851" y="286878"/>
                      <a:pt x="234851" y="351056"/>
                    </a:cubicBezTo>
                    <a:cubicBezTo>
                      <a:pt x="234851" y="415234"/>
                      <a:pt x="286878" y="467261"/>
                      <a:pt x="351056" y="467261"/>
                    </a:cubicBezTo>
                    <a:close/>
                    <a:moveTo>
                      <a:pt x="402490" y="702111"/>
                    </a:moveTo>
                    <a:lnTo>
                      <a:pt x="299620" y="702111"/>
                    </a:lnTo>
                    <a:lnTo>
                      <a:pt x="279618" y="682108"/>
                    </a:lnTo>
                    <a:lnTo>
                      <a:pt x="279618" y="599898"/>
                    </a:lnTo>
                    <a:cubicBezTo>
                      <a:pt x="260216" y="595594"/>
                      <a:pt x="242044" y="588007"/>
                      <a:pt x="225627" y="577512"/>
                    </a:cubicBezTo>
                    <a:lnTo>
                      <a:pt x="167480" y="635659"/>
                    </a:lnTo>
                    <a:lnTo>
                      <a:pt x="139191" y="635659"/>
                    </a:lnTo>
                    <a:lnTo>
                      <a:pt x="66451" y="562919"/>
                    </a:lnTo>
                    <a:lnTo>
                      <a:pt x="66452" y="534631"/>
                    </a:lnTo>
                    <a:lnTo>
                      <a:pt x="124599" y="476484"/>
                    </a:lnTo>
                    <a:cubicBezTo>
                      <a:pt x="114105" y="460067"/>
                      <a:pt x="106518" y="441895"/>
                      <a:pt x="102214" y="422493"/>
                    </a:cubicBezTo>
                    <a:lnTo>
                      <a:pt x="20003" y="422493"/>
                    </a:lnTo>
                    <a:lnTo>
                      <a:pt x="0" y="402490"/>
                    </a:lnTo>
                    <a:lnTo>
                      <a:pt x="0" y="299620"/>
                    </a:lnTo>
                    <a:lnTo>
                      <a:pt x="20003" y="279618"/>
                    </a:lnTo>
                    <a:lnTo>
                      <a:pt x="102214" y="279618"/>
                    </a:lnTo>
                    <a:cubicBezTo>
                      <a:pt x="106518" y="260217"/>
                      <a:pt x="114105" y="242044"/>
                      <a:pt x="124600" y="225628"/>
                    </a:cubicBezTo>
                    <a:lnTo>
                      <a:pt x="66452" y="167480"/>
                    </a:lnTo>
                    <a:lnTo>
                      <a:pt x="66452" y="139192"/>
                    </a:lnTo>
                    <a:lnTo>
                      <a:pt x="139192" y="66451"/>
                    </a:lnTo>
                    <a:lnTo>
                      <a:pt x="167480" y="66452"/>
                    </a:lnTo>
                    <a:lnTo>
                      <a:pt x="225627" y="124600"/>
                    </a:lnTo>
                    <a:cubicBezTo>
                      <a:pt x="242044" y="114105"/>
                      <a:pt x="260216" y="106518"/>
                      <a:pt x="279618" y="102214"/>
                    </a:cubicBezTo>
                    <a:lnTo>
                      <a:pt x="279618" y="20003"/>
                    </a:lnTo>
                    <a:lnTo>
                      <a:pt x="299621" y="0"/>
                    </a:lnTo>
                    <a:lnTo>
                      <a:pt x="402491" y="0"/>
                    </a:lnTo>
                    <a:lnTo>
                      <a:pt x="422493" y="20003"/>
                    </a:lnTo>
                    <a:lnTo>
                      <a:pt x="422493" y="102214"/>
                    </a:lnTo>
                    <a:cubicBezTo>
                      <a:pt x="441895" y="106518"/>
                      <a:pt x="460067" y="114105"/>
                      <a:pt x="476484" y="124599"/>
                    </a:cubicBezTo>
                    <a:lnTo>
                      <a:pt x="534631" y="66452"/>
                    </a:lnTo>
                    <a:lnTo>
                      <a:pt x="562919" y="66452"/>
                    </a:lnTo>
                    <a:lnTo>
                      <a:pt x="635659" y="139192"/>
                    </a:lnTo>
                    <a:lnTo>
                      <a:pt x="635659" y="167480"/>
                    </a:lnTo>
                    <a:lnTo>
                      <a:pt x="577512" y="225627"/>
                    </a:lnTo>
                    <a:cubicBezTo>
                      <a:pt x="588006" y="242044"/>
                      <a:pt x="595594" y="260216"/>
                      <a:pt x="599898" y="279618"/>
                    </a:cubicBezTo>
                    <a:lnTo>
                      <a:pt x="682108" y="279618"/>
                    </a:lnTo>
                    <a:lnTo>
                      <a:pt x="702111" y="299621"/>
                    </a:lnTo>
                    <a:lnTo>
                      <a:pt x="702111" y="402491"/>
                    </a:lnTo>
                    <a:lnTo>
                      <a:pt x="682108" y="422493"/>
                    </a:lnTo>
                    <a:lnTo>
                      <a:pt x="599898" y="422493"/>
                    </a:lnTo>
                    <a:cubicBezTo>
                      <a:pt x="595594" y="441895"/>
                      <a:pt x="588007" y="460068"/>
                      <a:pt x="577512" y="476485"/>
                    </a:cubicBezTo>
                    <a:lnTo>
                      <a:pt x="635659" y="534631"/>
                    </a:lnTo>
                    <a:lnTo>
                      <a:pt x="635659" y="562920"/>
                    </a:lnTo>
                    <a:lnTo>
                      <a:pt x="562919" y="635660"/>
                    </a:lnTo>
                    <a:lnTo>
                      <a:pt x="534631" y="635659"/>
                    </a:lnTo>
                    <a:lnTo>
                      <a:pt x="476485" y="577512"/>
                    </a:lnTo>
                    <a:cubicBezTo>
                      <a:pt x="460068" y="588007"/>
                      <a:pt x="441895" y="595594"/>
                      <a:pt x="422493" y="599898"/>
                    </a:cubicBezTo>
                    <a:lnTo>
                      <a:pt x="422493" y="682108"/>
                    </a:lnTo>
                    <a:close/>
                  </a:path>
                </a:pathLst>
              </a:cu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spTree>
    <p:custDataLst>
      <p:tags r:id="rId1"/>
    </p:custDataLst>
    <p:extLst>
      <p:ext uri="{BB962C8B-B14F-4D97-AF65-F5344CB8AC3E}">
        <p14:creationId xmlns:p14="http://schemas.microsoft.com/office/powerpoint/2010/main" val="3900001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bwMode="gray"/>
        <p:txBody>
          <a:bodyPr/>
          <a:lstStyle/>
          <a:p>
            <a:r>
              <a:rPr lang="de-DE" dirty="0" err="1"/>
              <a:t>Advanced</a:t>
            </a:r>
            <a:r>
              <a:rPr lang="de-DE" dirty="0"/>
              <a:t> digital </a:t>
            </a:r>
            <a:r>
              <a:rPr lang="de-DE" dirty="0" err="1"/>
              <a:t>services</a:t>
            </a:r>
            <a:endParaRPr lang="en-US" dirty="0"/>
          </a:p>
        </p:txBody>
      </p:sp>
      <p:sp>
        <p:nvSpPr>
          <p:cNvPr id="3" name="Subtitle 2"/>
          <p:cNvSpPr>
            <a:spLocks noGrp="1"/>
          </p:cNvSpPr>
          <p:nvPr>
            <p:ph type="subTitle" idx="1"/>
          </p:nvPr>
        </p:nvSpPr>
        <p:spPr bwMode="gray"/>
        <p:txBody>
          <a:bodyPr/>
          <a:lstStyle/>
          <a:p>
            <a:r>
              <a:rPr lang="fr-FR" dirty="0" err="1"/>
              <a:t>Dynamic</a:t>
            </a:r>
            <a:r>
              <a:rPr lang="fr-FR" dirty="0"/>
              <a:t> QR Codes + </a:t>
            </a:r>
            <a:r>
              <a:rPr lang="fr-FR" dirty="0" err="1"/>
              <a:t>myIB</a:t>
            </a:r>
            <a:r>
              <a:rPr lang="fr-FR" dirty="0"/>
              <a:t> </a:t>
            </a:r>
            <a:r>
              <a:rPr lang="en-US" dirty="0"/>
              <a:t>+ </a:t>
            </a:r>
            <a:r>
              <a:rPr lang="fr-FR" dirty="0" err="1"/>
              <a:t>myABB</a:t>
            </a:r>
            <a:endParaRPr lang="en-US" dirty="0"/>
          </a:p>
        </p:txBody>
      </p:sp>
      <p:grpSp>
        <p:nvGrpSpPr>
          <p:cNvPr id="54" name="Group 53">
            <a:extLst>
              <a:ext uri="{FF2B5EF4-FFF2-40B4-BE49-F238E27FC236}">
                <a16:creationId xmlns:a16="http://schemas.microsoft.com/office/drawing/2014/main" id="{1FDD421D-5032-48D6-BD54-915C5758C10C}"/>
              </a:ext>
            </a:extLst>
          </p:cNvPr>
          <p:cNvGrpSpPr/>
          <p:nvPr/>
        </p:nvGrpSpPr>
        <p:grpSpPr bwMode="gray">
          <a:xfrm>
            <a:off x="7981194" y="3158858"/>
            <a:ext cx="2239504" cy="1572340"/>
            <a:chOff x="9170849" y="-3556146"/>
            <a:chExt cx="2239504" cy="1572340"/>
          </a:xfrm>
        </p:grpSpPr>
        <p:grpSp>
          <p:nvGrpSpPr>
            <p:cNvPr id="55" name="Group 54">
              <a:extLst>
                <a:ext uri="{FF2B5EF4-FFF2-40B4-BE49-F238E27FC236}">
                  <a16:creationId xmlns:a16="http://schemas.microsoft.com/office/drawing/2014/main" id="{51205409-6166-408D-AB6C-C5C3C91FAB24}"/>
                </a:ext>
              </a:extLst>
            </p:cNvPr>
            <p:cNvGrpSpPr/>
            <p:nvPr/>
          </p:nvGrpSpPr>
          <p:grpSpPr bwMode="gray">
            <a:xfrm>
              <a:off x="9170849" y="-3556146"/>
              <a:ext cx="2239504" cy="1572340"/>
              <a:chOff x="6420519" y="3201880"/>
              <a:chExt cx="357117" cy="250729"/>
            </a:xfrm>
            <a:solidFill>
              <a:schemeClr val="bg1"/>
            </a:solidFill>
          </p:grpSpPr>
          <p:sp>
            <p:nvSpPr>
              <p:cNvPr id="57" name="Rounded Rectangle 24">
                <a:extLst>
                  <a:ext uri="{FF2B5EF4-FFF2-40B4-BE49-F238E27FC236}">
                    <a16:creationId xmlns:a16="http://schemas.microsoft.com/office/drawing/2014/main" id="{62AACD9A-5348-4DA0-A9D5-B79B2494E693}"/>
                  </a:ext>
                </a:extLst>
              </p:cNvPr>
              <p:cNvSpPr/>
              <p:nvPr/>
            </p:nvSpPr>
            <p:spPr bwMode="gray">
              <a:xfrm>
                <a:off x="6420519" y="3378176"/>
                <a:ext cx="357117" cy="74433"/>
              </a:xfrm>
              <a:custGeom>
                <a:avLst/>
                <a:gdLst>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6079 w 2987325"/>
                  <a:gd name="connsiteY9" fmla="*/ 446664 h 532759"/>
                  <a:gd name="connsiteX10" fmla="*/ 2987325 w 2987325"/>
                  <a:gd name="connsiteY10" fmla="*/ 452837 h 532759"/>
                  <a:gd name="connsiteX11" fmla="*/ 2987324 w 2987325"/>
                  <a:gd name="connsiteY11" fmla="*/ 452837 h 532759"/>
                  <a:gd name="connsiteX12" fmla="*/ 2907402 w 2987325"/>
                  <a:gd name="connsiteY12" fmla="*/ 532759 h 532759"/>
                  <a:gd name="connsiteX13" fmla="*/ 79922 w 2987325"/>
                  <a:gd name="connsiteY13" fmla="*/ 532758 h 532759"/>
                  <a:gd name="connsiteX14" fmla="*/ 0 w 2987325"/>
                  <a:gd name="connsiteY14" fmla="*/ 452837 h 532759"/>
                  <a:gd name="connsiteX15" fmla="*/ 1247 w 2987325"/>
                  <a:gd name="connsiteY15" fmla="*/ 446664 h 532759"/>
                  <a:gd name="connsiteX16" fmla="*/ 249936 w 2987325"/>
                  <a:gd name="connsiteY16" fmla="*/ 367416 h 532759"/>
                  <a:gd name="connsiteX17" fmla="*/ 0 w 2987325"/>
                  <a:gd name="connsiteY17" fmla="*/ 369634 h 532759"/>
                  <a:gd name="connsiteX18" fmla="*/ 325705 w 2987325"/>
                  <a:gd name="connsiteY18" fmla="*/ 43929 h 532759"/>
                  <a:gd name="connsiteX19" fmla="*/ 415602 w 2987325"/>
                  <a:gd name="connsiteY19"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6079 w 2987325"/>
                  <a:gd name="connsiteY9" fmla="*/ 446664 h 532759"/>
                  <a:gd name="connsiteX10" fmla="*/ 2987325 w 2987325"/>
                  <a:gd name="connsiteY10" fmla="*/ 452837 h 532759"/>
                  <a:gd name="connsiteX11" fmla="*/ 2987324 w 2987325"/>
                  <a:gd name="connsiteY11" fmla="*/ 452837 h 532759"/>
                  <a:gd name="connsiteX12" fmla="*/ 2907402 w 2987325"/>
                  <a:gd name="connsiteY12" fmla="*/ 532759 h 532759"/>
                  <a:gd name="connsiteX13" fmla="*/ 79922 w 2987325"/>
                  <a:gd name="connsiteY13" fmla="*/ 532758 h 532759"/>
                  <a:gd name="connsiteX14" fmla="*/ 0 w 2987325"/>
                  <a:gd name="connsiteY14" fmla="*/ 452837 h 532759"/>
                  <a:gd name="connsiteX15" fmla="*/ 1247 w 2987325"/>
                  <a:gd name="connsiteY15" fmla="*/ 446664 h 532759"/>
                  <a:gd name="connsiteX16" fmla="*/ 0 w 2987325"/>
                  <a:gd name="connsiteY16" fmla="*/ 369634 h 532759"/>
                  <a:gd name="connsiteX17" fmla="*/ 325705 w 2987325"/>
                  <a:gd name="connsiteY17" fmla="*/ 43929 h 532759"/>
                  <a:gd name="connsiteX18" fmla="*/ 415602 w 2987325"/>
                  <a:gd name="connsiteY18" fmla="*/ 0 h 532759"/>
                  <a:gd name="connsiteX0" fmla="*/ 0 w 3062292"/>
                  <a:gd name="connsiteY0" fmla="*/ 452836 h 532759"/>
                  <a:gd name="connsiteX1" fmla="*/ 0 w 3062292"/>
                  <a:gd name="connsiteY1" fmla="*/ 452837 h 532759"/>
                  <a:gd name="connsiteX2" fmla="*/ 0 w 3062292"/>
                  <a:gd name="connsiteY2" fmla="*/ 452837 h 532759"/>
                  <a:gd name="connsiteX3" fmla="*/ 0 w 3062292"/>
                  <a:gd name="connsiteY3" fmla="*/ 452836 h 532759"/>
                  <a:gd name="connsiteX4" fmla="*/ 415602 w 3062292"/>
                  <a:gd name="connsiteY4" fmla="*/ 0 h 532759"/>
                  <a:gd name="connsiteX5" fmla="*/ 2571722 w 3062292"/>
                  <a:gd name="connsiteY5" fmla="*/ 0 h 532759"/>
                  <a:gd name="connsiteX6" fmla="*/ 2661619 w 3062292"/>
                  <a:gd name="connsiteY6" fmla="*/ 43929 h 532759"/>
                  <a:gd name="connsiteX7" fmla="*/ 2987324 w 3062292"/>
                  <a:gd name="connsiteY7" fmla="*/ 369634 h 532759"/>
                  <a:gd name="connsiteX8" fmla="*/ 2987324 w 3062292"/>
                  <a:gd name="connsiteY8" fmla="*/ 446664 h 532759"/>
                  <a:gd name="connsiteX9" fmla="*/ 3062279 w 3062292"/>
                  <a:gd name="connsiteY9" fmla="*/ 423804 h 532759"/>
                  <a:gd name="connsiteX10" fmla="*/ 2987325 w 3062292"/>
                  <a:gd name="connsiteY10" fmla="*/ 452837 h 532759"/>
                  <a:gd name="connsiteX11" fmla="*/ 2987324 w 3062292"/>
                  <a:gd name="connsiteY11" fmla="*/ 452837 h 532759"/>
                  <a:gd name="connsiteX12" fmla="*/ 2907402 w 3062292"/>
                  <a:gd name="connsiteY12" fmla="*/ 532759 h 532759"/>
                  <a:gd name="connsiteX13" fmla="*/ 79922 w 3062292"/>
                  <a:gd name="connsiteY13" fmla="*/ 532758 h 532759"/>
                  <a:gd name="connsiteX14" fmla="*/ 0 w 3062292"/>
                  <a:gd name="connsiteY14" fmla="*/ 452837 h 532759"/>
                  <a:gd name="connsiteX15" fmla="*/ 1247 w 3062292"/>
                  <a:gd name="connsiteY15" fmla="*/ 446664 h 532759"/>
                  <a:gd name="connsiteX16" fmla="*/ 0 w 3062292"/>
                  <a:gd name="connsiteY16" fmla="*/ 369634 h 532759"/>
                  <a:gd name="connsiteX17" fmla="*/ 325705 w 3062292"/>
                  <a:gd name="connsiteY17" fmla="*/ 43929 h 532759"/>
                  <a:gd name="connsiteX18" fmla="*/ 415602 w 3062292"/>
                  <a:gd name="connsiteY18"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7325 w 2987325"/>
                  <a:gd name="connsiteY9" fmla="*/ 452837 h 532759"/>
                  <a:gd name="connsiteX10" fmla="*/ 2987324 w 2987325"/>
                  <a:gd name="connsiteY10" fmla="*/ 452837 h 532759"/>
                  <a:gd name="connsiteX11" fmla="*/ 2907402 w 2987325"/>
                  <a:gd name="connsiteY11" fmla="*/ 532759 h 532759"/>
                  <a:gd name="connsiteX12" fmla="*/ 79922 w 2987325"/>
                  <a:gd name="connsiteY12" fmla="*/ 532758 h 532759"/>
                  <a:gd name="connsiteX13" fmla="*/ 0 w 2987325"/>
                  <a:gd name="connsiteY13" fmla="*/ 452837 h 532759"/>
                  <a:gd name="connsiteX14" fmla="*/ 1247 w 2987325"/>
                  <a:gd name="connsiteY14" fmla="*/ 446664 h 532759"/>
                  <a:gd name="connsiteX15" fmla="*/ 0 w 2987325"/>
                  <a:gd name="connsiteY15" fmla="*/ 369634 h 532759"/>
                  <a:gd name="connsiteX16" fmla="*/ 325705 w 2987325"/>
                  <a:gd name="connsiteY16" fmla="*/ 43929 h 532759"/>
                  <a:gd name="connsiteX17" fmla="*/ 415602 w 2987325"/>
                  <a:gd name="connsiteY17"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71144 w 3071144"/>
                  <a:gd name="connsiteY8" fmla="*/ 416184 h 532759"/>
                  <a:gd name="connsiteX9" fmla="*/ 2987325 w 3071144"/>
                  <a:gd name="connsiteY9" fmla="*/ 452837 h 532759"/>
                  <a:gd name="connsiteX10" fmla="*/ 2987324 w 3071144"/>
                  <a:gd name="connsiteY10" fmla="*/ 452837 h 532759"/>
                  <a:gd name="connsiteX11" fmla="*/ 2907402 w 3071144"/>
                  <a:gd name="connsiteY11" fmla="*/ 532759 h 532759"/>
                  <a:gd name="connsiteX12" fmla="*/ 79922 w 3071144"/>
                  <a:gd name="connsiteY12" fmla="*/ 532758 h 532759"/>
                  <a:gd name="connsiteX13" fmla="*/ 0 w 3071144"/>
                  <a:gd name="connsiteY13" fmla="*/ 452837 h 532759"/>
                  <a:gd name="connsiteX14" fmla="*/ 1247 w 3071144"/>
                  <a:gd name="connsiteY14" fmla="*/ 446664 h 532759"/>
                  <a:gd name="connsiteX15" fmla="*/ 0 w 3071144"/>
                  <a:gd name="connsiteY15" fmla="*/ 369634 h 532759"/>
                  <a:gd name="connsiteX16" fmla="*/ 325705 w 3071144"/>
                  <a:gd name="connsiteY16" fmla="*/ 43929 h 532759"/>
                  <a:gd name="connsiteX17" fmla="*/ 415602 w 3071144"/>
                  <a:gd name="connsiteY17"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50046 w 3071144"/>
                  <a:gd name="connsiteY8" fmla="*/ 399674 h 532759"/>
                  <a:gd name="connsiteX9" fmla="*/ 3071144 w 3071144"/>
                  <a:gd name="connsiteY9" fmla="*/ 416184 h 532759"/>
                  <a:gd name="connsiteX10" fmla="*/ 2987325 w 3071144"/>
                  <a:gd name="connsiteY10" fmla="*/ 452837 h 532759"/>
                  <a:gd name="connsiteX11" fmla="*/ 2987324 w 3071144"/>
                  <a:gd name="connsiteY11" fmla="*/ 452837 h 532759"/>
                  <a:gd name="connsiteX12" fmla="*/ 2907402 w 3071144"/>
                  <a:gd name="connsiteY12" fmla="*/ 532759 h 532759"/>
                  <a:gd name="connsiteX13" fmla="*/ 79922 w 3071144"/>
                  <a:gd name="connsiteY13" fmla="*/ 532758 h 532759"/>
                  <a:gd name="connsiteX14" fmla="*/ 0 w 3071144"/>
                  <a:gd name="connsiteY14" fmla="*/ 452837 h 532759"/>
                  <a:gd name="connsiteX15" fmla="*/ 1247 w 3071144"/>
                  <a:gd name="connsiteY15" fmla="*/ 446664 h 532759"/>
                  <a:gd name="connsiteX16" fmla="*/ 0 w 3071144"/>
                  <a:gd name="connsiteY16" fmla="*/ 369634 h 532759"/>
                  <a:gd name="connsiteX17" fmla="*/ 325705 w 3071144"/>
                  <a:gd name="connsiteY17" fmla="*/ 43929 h 532759"/>
                  <a:gd name="connsiteX18" fmla="*/ 415602 w 3071144"/>
                  <a:gd name="connsiteY18"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71144 w 3071144"/>
                  <a:gd name="connsiteY8" fmla="*/ 416184 h 532759"/>
                  <a:gd name="connsiteX9" fmla="*/ 2987325 w 3071144"/>
                  <a:gd name="connsiteY9" fmla="*/ 452837 h 532759"/>
                  <a:gd name="connsiteX10" fmla="*/ 2987324 w 3071144"/>
                  <a:gd name="connsiteY10" fmla="*/ 452837 h 532759"/>
                  <a:gd name="connsiteX11" fmla="*/ 2907402 w 3071144"/>
                  <a:gd name="connsiteY11" fmla="*/ 532759 h 532759"/>
                  <a:gd name="connsiteX12" fmla="*/ 79922 w 3071144"/>
                  <a:gd name="connsiteY12" fmla="*/ 532758 h 532759"/>
                  <a:gd name="connsiteX13" fmla="*/ 0 w 3071144"/>
                  <a:gd name="connsiteY13" fmla="*/ 452837 h 532759"/>
                  <a:gd name="connsiteX14" fmla="*/ 1247 w 3071144"/>
                  <a:gd name="connsiteY14" fmla="*/ 446664 h 532759"/>
                  <a:gd name="connsiteX15" fmla="*/ 0 w 3071144"/>
                  <a:gd name="connsiteY15" fmla="*/ 369634 h 532759"/>
                  <a:gd name="connsiteX16" fmla="*/ 325705 w 3071144"/>
                  <a:gd name="connsiteY16" fmla="*/ 43929 h 532759"/>
                  <a:gd name="connsiteX17" fmla="*/ 415602 w 3071144"/>
                  <a:gd name="connsiteY17"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5 w 2987325"/>
                  <a:gd name="connsiteY8" fmla="*/ 452837 h 532759"/>
                  <a:gd name="connsiteX9" fmla="*/ 2987324 w 2987325"/>
                  <a:gd name="connsiteY9" fmla="*/ 452837 h 532759"/>
                  <a:gd name="connsiteX10" fmla="*/ 2907402 w 2987325"/>
                  <a:gd name="connsiteY10" fmla="*/ 532759 h 532759"/>
                  <a:gd name="connsiteX11" fmla="*/ 79922 w 2987325"/>
                  <a:gd name="connsiteY11" fmla="*/ 532758 h 532759"/>
                  <a:gd name="connsiteX12" fmla="*/ 0 w 2987325"/>
                  <a:gd name="connsiteY12" fmla="*/ 452837 h 532759"/>
                  <a:gd name="connsiteX13" fmla="*/ 1247 w 2987325"/>
                  <a:gd name="connsiteY13" fmla="*/ 446664 h 532759"/>
                  <a:gd name="connsiteX14" fmla="*/ 0 w 2987325"/>
                  <a:gd name="connsiteY14" fmla="*/ 369634 h 532759"/>
                  <a:gd name="connsiteX15" fmla="*/ 325705 w 2987325"/>
                  <a:gd name="connsiteY15" fmla="*/ 43929 h 532759"/>
                  <a:gd name="connsiteX16" fmla="*/ 415602 w 2987325"/>
                  <a:gd name="connsiteY16" fmla="*/ 0 h 532759"/>
                  <a:gd name="connsiteX0" fmla="*/ 52095 w 3039420"/>
                  <a:gd name="connsiteY0" fmla="*/ 452836 h 532759"/>
                  <a:gd name="connsiteX1" fmla="*/ 52095 w 3039420"/>
                  <a:gd name="connsiteY1" fmla="*/ 452837 h 532759"/>
                  <a:gd name="connsiteX2" fmla="*/ 52095 w 3039420"/>
                  <a:gd name="connsiteY2" fmla="*/ 452837 h 532759"/>
                  <a:gd name="connsiteX3" fmla="*/ 52095 w 3039420"/>
                  <a:gd name="connsiteY3" fmla="*/ 452836 h 532759"/>
                  <a:gd name="connsiteX4" fmla="*/ 467697 w 3039420"/>
                  <a:gd name="connsiteY4" fmla="*/ 0 h 532759"/>
                  <a:gd name="connsiteX5" fmla="*/ 2623817 w 3039420"/>
                  <a:gd name="connsiteY5" fmla="*/ 0 h 532759"/>
                  <a:gd name="connsiteX6" fmla="*/ 2713714 w 3039420"/>
                  <a:gd name="connsiteY6" fmla="*/ 43929 h 532759"/>
                  <a:gd name="connsiteX7" fmla="*/ 3039419 w 3039420"/>
                  <a:gd name="connsiteY7" fmla="*/ 369634 h 532759"/>
                  <a:gd name="connsiteX8" fmla="*/ 3039420 w 3039420"/>
                  <a:gd name="connsiteY8" fmla="*/ 452837 h 532759"/>
                  <a:gd name="connsiteX9" fmla="*/ 3039419 w 3039420"/>
                  <a:gd name="connsiteY9" fmla="*/ 452837 h 532759"/>
                  <a:gd name="connsiteX10" fmla="*/ 2959497 w 3039420"/>
                  <a:gd name="connsiteY10" fmla="*/ 532759 h 532759"/>
                  <a:gd name="connsiteX11" fmla="*/ 132017 w 3039420"/>
                  <a:gd name="connsiteY11" fmla="*/ 532758 h 532759"/>
                  <a:gd name="connsiteX12" fmla="*/ 52095 w 3039420"/>
                  <a:gd name="connsiteY12" fmla="*/ 452837 h 532759"/>
                  <a:gd name="connsiteX13" fmla="*/ 2 w 3039420"/>
                  <a:gd name="connsiteY13" fmla="*/ 414279 h 532759"/>
                  <a:gd name="connsiteX14" fmla="*/ 52095 w 3039420"/>
                  <a:gd name="connsiteY14" fmla="*/ 369634 h 532759"/>
                  <a:gd name="connsiteX15" fmla="*/ 377800 w 3039420"/>
                  <a:gd name="connsiteY15" fmla="*/ 43929 h 532759"/>
                  <a:gd name="connsiteX16" fmla="*/ 467697 w 3039420"/>
                  <a:gd name="connsiteY16"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5 w 2987325"/>
                  <a:gd name="connsiteY8" fmla="*/ 452837 h 532759"/>
                  <a:gd name="connsiteX9" fmla="*/ 2987324 w 2987325"/>
                  <a:gd name="connsiteY9" fmla="*/ 452837 h 532759"/>
                  <a:gd name="connsiteX10" fmla="*/ 2907402 w 2987325"/>
                  <a:gd name="connsiteY10" fmla="*/ 532759 h 532759"/>
                  <a:gd name="connsiteX11" fmla="*/ 79922 w 2987325"/>
                  <a:gd name="connsiteY11" fmla="*/ 532758 h 532759"/>
                  <a:gd name="connsiteX12" fmla="*/ 0 w 2987325"/>
                  <a:gd name="connsiteY12" fmla="*/ 452837 h 532759"/>
                  <a:gd name="connsiteX13" fmla="*/ 0 w 2987325"/>
                  <a:gd name="connsiteY13" fmla="*/ 369634 h 532759"/>
                  <a:gd name="connsiteX14" fmla="*/ 325705 w 2987325"/>
                  <a:gd name="connsiteY14" fmla="*/ 43929 h 532759"/>
                  <a:gd name="connsiteX15" fmla="*/ 415602 w 2987325"/>
                  <a:gd name="connsiteY15" fmla="*/ 0 h 53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7325" h="532759">
                    <a:moveTo>
                      <a:pt x="0" y="452836"/>
                    </a:moveTo>
                    <a:lnTo>
                      <a:pt x="0" y="452837"/>
                    </a:lnTo>
                    <a:lnTo>
                      <a:pt x="0" y="452837"/>
                    </a:lnTo>
                    <a:lnTo>
                      <a:pt x="0" y="452836"/>
                    </a:lnTo>
                    <a:close/>
                    <a:moveTo>
                      <a:pt x="415602" y="0"/>
                    </a:moveTo>
                    <a:lnTo>
                      <a:pt x="2571722" y="0"/>
                    </a:lnTo>
                    <a:cubicBezTo>
                      <a:pt x="2608397" y="0"/>
                      <a:pt x="2641174" y="16692"/>
                      <a:pt x="2661619" y="43929"/>
                    </a:cubicBezTo>
                    <a:lnTo>
                      <a:pt x="2987324" y="369634"/>
                    </a:lnTo>
                    <a:cubicBezTo>
                      <a:pt x="2987324" y="397368"/>
                      <a:pt x="2987325" y="425103"/>
                      <a:pt x="2987325" y="452837"/>
                    </a:cubicBezTo>
                    <a:lnTo>
                      <a:pt x="2987324" y="452837"/>
                    </a:lnTo>
                    <a:cubicBezTo>
                      <a:pt x="2987324" y="496977"/>
                      <a:pt x="2951542" y="532759"/>
                      <a:pt x="2907402" y="532759"/>
                    </a:cubicBezTo>
                    <a:lnTo>
                      <a:pt x="79922" y="532758"/>
                    </a:lnTo>
                    <a:cubicBezTo>
                      <a:pt x="35782" y="532758"/>
                      <a:pt x="1" y="496977"/>
                      <a:pt x="0" y="452837"/>
                    </a:cubicBezTo>
                    <a:lnTo>
                      <a:pt x="0" y="369634"/>
                    </a:lnTo>
                    <a:lnTo>
                      <a:pt x="325705" y="43929"/>
                    </a:lnTo>
                    <a:cubicBezTo>
                      <a:pt x="346150" y="16692"/>
                      <a:pt x="378927" y="0"/>
                      <a:pt x="415602" y="0"/>
                    </a:cubicBezTo>
                    <a:close/>
                  </a:path>
                </a:pathLst>
              </a:cu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58" name="Rounded Rectangle 98">
                <a:extLst>
                  <a:ext uri="{FF2B5EF4-FFF2-40B4-BE49-F238E27FC236}">
                    <a16:creationId xmlns:a16="http://schemas.microsoft.com/office/drawing/2014/main" id="{AA806024-1F28-4888-B7CC-BC07B14277D1}"/>
                  </a:ext>
                </a:extLst>
              </p:cNvPr>
              <p:cNvSpPr/>
              <p:nvPr/>
            </p:nvSpPr>
            <p:spPr bwMode="gray">
              <a:xfrm>
                <a:off x="6464260" y="3201880"/>
                <a:ext cx="269634" cy="170853"/>
              </a:xfrm>
              <a:prstGeom prst="roundRect">
                <a:avLst>
                  <a:gd name="adj" fmla="val 6562"/>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59" name="Rounded Rectangle 99">
                <a:extLst>
                  <a:ext uri="{FF2B5EF4-FFF2-40B4-BE49-F238E27FC236}">
                    <a16:creationId xmlns:a16="http://schemas.microsoft.com/office/drawing/2014/main" id="{311DCC2B-BC4B-4D48-8E13-245C8F4B1791}"/>
                  </a:ext>
                </a:extLst>
              </p:cNvPr>
              <p:cNvSpPr/>
              <p:nvPr/>
            </p:nvSpPr>
            <p:spPr bwMode="gray">
              <a:xfrm>
                <a:off x="6475373" y="3218276"/>
                <a:ext cx="247408" cy="139718"/>
              </a:xfrm>
              <a:prstGeom prst="roundRect">
                <a:avLst>
                  <a:gd name="adj" fmla="val 1255"/>
                </a:avLst>
              </a:prstGeom>
              <a:grpFill/>
              <a:ln w="28575">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60" name="Rounded Rectangle 24">
                <a:extLst>
                  <a:ext uri="{FF2B5EF4-FFF2-40B4-BE49-F238E27FC236}">
                    <a16:creationId xmlns:a16="http://schemas.microsoft.com/office/drawing/2014/main" id="{76AC0890-8CC4-4168-8034-AAFABF276996}"/>
                  </a:ext>
                </a:extLst>
              </p:cNvPr>
              <p:cNvSpPr/>
              <p:nvPr/>
            </p:nvSpPr>
            <p:spPr bwMode="gray">
              <a:xfrm flipH="1">
                <a:off x="6541718" y="3414663"/>
                <a:ext cx="114718" cy="19999"/>
              </a:xfrm>
              <a:custGeom>
                <a:avLst/>
                <a:gdLst/>
                <a:ahLst/>
                <a:cxnLst/>
                <a:rect l="l" t="t" r="r" b="b"/>
                <a:pathLst>
                  <a:path w="1583620" h="236220">
                    <a:moveTo>
                      <a:pt x="768950" y="181801"/>
                    </a:moveTo>
                    <a:lnTo>
                      <a:pt x="24017" y="181801"/>
                    </a:lnTo>
                    <a:lnTo>
                      <a:pt x="0" y="236220"/>
                    </a:lnTo>
                    <a:lnTo>
                      <a:pt x="768950" y="236220"/>
                    </a:lnTo>
                    <a:close/>
                    <a:moveTo>
                      <a:pt x="1559604" y="181801"/>
                    </a:moveTo>
                    <a:lnTo>
                      <a:pt x="814669" y="181801"/>
                    </a:lnTo>
                    <a:lnTo>
                      <a:pt x="814669" y="236220"/>
                    </a:lnTo>
                    <a:lnTo>
                      <a:pt x="1583620" y="236220"/>
                    </a:lnTo>
                    <a:close/>
                    <a:moveTo>
                      <a:pt x="1479370" y="0"/>
                    </a:moveTo>
                    <a:lnTo>
                      <a:pt x="104252" y="0"/>
                    </a:lnTo>
                    <a:lnTo>
                      <a:pt x="44195" y="136082"/>
                    </a:lnTo>
                    <a:lnTo>
                      <a:pt x="1539427" y="136082"/>
                    </a:lnTo>
                    <a:close/>
                  </a:path>
                </a:pathLst>
              </a:cu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pic>
          <p:nvPicPr>
            <p:cNvPr id="56" name="Picture 2" descr="image001">
              <a:extLst>
                <a:ext uri="{FF2B5EF4-FFF2-40B4-BE49-F238E27FC236}">
                  <a16:creationId xmlns:a16="http://schemas.microsoft.com/office/drawing/2014/main" id="{EF0D63B5-2E0D-496C-99B0-E78D1E8B86C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gray">
            <a:xfrm>
              <a:off x="9536835" y="-3426761"/>
              <a:ext cx="1507533" cy="68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1" name="Isosceles Triangle 60">
            <a:extLst>
              <a:ext uri="{FF2B5EF4-FFF2-40B4-BE49-F238E27FC236}">
                <a16:creationId xmlns:a16="http://schemas.microsoft.com/office/drawing/2014/main" id="{9875D057-7933-4031-B533-5D408EFDD076}"/>
              </a:ext>
            </a:extLst>
          </p:cNvPr>
          <p:cNvSpPr/>
          <p:nvPr/>
        </p:nvSpPr>
        <p:spPr bwMode="gray">
          <a:xfrm rot="5400000">
            <a:off x="4286780" y="3811051"/>
            <a:ext cx="462000" cy="236500"/>
          </a:xfrm>
          <a:prstGeom prst="triangl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62" name="Group 61">
            <a:extLst>
              <a:ext uri="{FF2B5EF4-FFF2-40B4-BE49-F238E27FC236}">
                <a16:creationId xmlns:a16="http://schemas.microsoft.com/office/drawing/2014/main" id="{4F763912-7F7F-4A7F-98D3-359445DFDBDC}"/>
              </a:ext>
            </a:extLst>
          </p:cNvPr>
          <p:cNvGrpSpPr/>
          <p:nvPr/>
        </p:nvGrpSpPr>
        <p:grpSpPr bwMode="gray">
          <a:xfrm>
            <a:off x="2479442" y="3080829"/>
            <a:ext cx="1190861" cy="1696945"/>
            <a:chOff x="1961888" y="2750360"/>
            <a:chExt cx="906831" cy="1292210"/>
          </a:xfrm>
        </p:grpSpPr>
        <p:grpSp>
          <p:nvGrpSpPr>
            <p:cNvPr id="63" name="Group 62">
              <a:extLst>
                <a:ext uri="{FF2B5EF4-FFF2-40B4-BE49-F238E27FC236}">
                  <a16:creationId xmlns:a16="http://schemas.microsoft.com/office/drawing/2014/main" id="{635097B7-6CCC-48CC-9586-1DD5B7D1949D}"/>
                </a:ext>
              </a:extLst>
            </p:cNvPr>
            <p:cNvGrpSpPr/>
            <p:nvPr/>
          </p:nvGrpSpPr>
          <p:grpSpPr bwMode="gray">
            <a:xfrm>
              <a:off x="1961888" y="2750360"/>
              <a:ext cx="775375" cy="775377"/>
              <a:chOff x="1179628" y="-1706756"/>
              <a:chExt cx="465749" cy="465750"/>
            </a:xfrm>
          </p:grpSpPr>
          <p:grpSp>
            <p:nvGrpSpPr>
              <p:cNvPr id="69" name="Group 68">
                <a:extLst>
                  <a:ext uri="{FF2B5EF4-FFF2-40B4-BE49-F238E27FC236}">
                    <a16:creationId xmlns:a16="http://schemas.microsoft.com/office/drawing/2014/main" id="{03860C0A-8B2A-4E45-92B7-11EFEC6A3455}"/>
                  </a:ext>
                </a:extLst>
              </p:cNvPr>
              <p:cNvGrpSpPr/>
              <p:nvPr/>
            </p:nvGrpSpPr>
            <p:grpSpPr bwMode="gray">
              <a:xfrm>
                <a:off x="1179628" y="-1376691"/>
                <a:ext cx="135685" cy="135685"/>
                <a:chOff x="-4433548" y="0"/>
                <a:chExt cx="761570" cy="761570"/>
              </a:xfrm>
              <a:solidFill>
                <a:schemeClr val="bg1"/>
              </a:solidFill>
            </p:grpSpPr>
            <p:sp>
              <p:nvSpPr>
                <p:cNvPr id="80" name="Rectangle 79">
                  <a:extLst>
                    <a:ext uri="{FF2B5EF4-FFF2-40B4-BE49-F238E27FC236}">
                      <a16:creationId xmlns:a16="http://schemas.microsoft.com/office/drawing/2014/main" id="{B18E58F2-BCBB-41C7-85A6-47DDA7393432}"/>
                    </a:ext>
                  </a:extLst>
                </p:cNvPr>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1" name="Rectangle 80">
                  <a:extLst>
                    <a:ext uri="{FF2B5EF4-FFF2-40B4-BE49-F238E27FC236}">
                      <a16:creationId xmlns:a16="http://schemas.microsoft.com/office/drawing/2014/main" id="{BBDDC28A-94C7-4C38-A17C-A94D2F9653DE}"/>
                    </a:ext>
                  </a:extLst>
                </p:cNvPr>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70" name="Group 69">
                <a:extLst>
                  <a:ext uri="{FF2B5EF4-FFF2-40B4-BE49-F238E27FC236}">
                    <a16:creationId xmlns:a16="http://schemas.microsoft.com/office/drawing/2014/main" id="{4C081034-BB3E-45F7-8156-822219FECEF4}"/>
                  </a:ext>
                </a:extLst>
              </p:cNvPr>
              <p:cNvGrpSpPr/>
              <p:nvPr/>
            </p:nvGrpSpPr>
            <p:grpSpPr bwMode="gray">
              <a:xfrm>
                <a:off x="1179628" y="-1706756"/>
                <a:ext cx="135685" cy="135685"/>
                <a:chOff x="-4433548" y="0"/>
                <a:chExt cx="761570" cy="761570"/>
              </a:xfrm>
              <a:solidFill>
                <a:schemeClr val="bg1"/>
              </a:solidFill>
            </p:grpSpPr>
            <p:sp>
              <p:nvSpPr>
                <p:cNvPr id="78" name="Rectangle 77">
                  <a:extLst>
                    <a:ext uri="{FF2B5EF4-FFF2-40B4-BE49-F238E27FC236}">
                      <a16:creationId xmlns:a16="http://schemas.microsoft.com/office/drawing/2014/main" id="{01D3CDBC-6DD8-43E0-AA93-360A8AA353CC}"/>
                    </a:ext>
                  </a:extLst>
                </p:cNvPr>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79" name="Rectangle 78">
                  <a:extLst>
                    <a:ext uri="{FF2B5EF4-FFF2-40B4-BE49-F238E27FC236}">
                      <a16:creationId xmlns:a16="http://schemas.microsoft.com/office/drawing/2014/main" id="{42E8222A-9E08-4C2F-BA87-F9994D5F906F}"/>
                    </a:ext>
                  </a:extLst>
                </p:cNvPr>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71" name="Group 70">
                <a:extLst>
                  <a:ext uri="{FF2B5EF4-FFF2-40B4-BE49-F238E27FC236}">
                    <a16:creationId xmlns:a16="http://schemas.microsoft.com/office/drawing/2014/main" id="{E1122761-C5A6-4A15-9A63-C196E87B69F3}"/>
                  </a:ext>
                </a:extLst>
              </p:cNvPr>
              <p:cNvGrpSpPr/>
              <p:nvPr/>
            </p:nvGrpSpPr>
            <p:grpSpPr bwMode="gray">
              <a:xfrm>
                <a:off x="1509692" y="-1706756"/>
                <a:ext cx="135685" cy="135685"/>
                <a:chOff x="-4433548" y="0"/>
                <a:chExt cx="761570" cy="761570"/>
              </a:xfrm>
              <a:solidFill>
                <a:schemeClr val="bg1"/>
              </a:solidFill>
            </p:grpSpPr>
            <p:sp>
              <p:nvSpPr>
                <p:cNvPr id="76" name="Rectangle 75">
                  <a:extLst>
                    <a:ext uri="{FF2B5EF4-FFF2-40B4-BE49-F238E27FC236}">
                      <a16:creationId xmlns:a16="http://schemas.microsoft.com/office/drawing/2014/main" id="{0722E966-6E8D-462B-90DB-6EB58822C579}"/>
                    </a:ext>
                  </a:extLst>
                </p:cNvPr>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77" name="Rectangle 76">
                  <a:extLst>
                    <a:ext uri="{FF2B5EF4-FFF2-40B4-BE49-F238E27FC236}">
                      <a16:creationId xmlns:a16="http://schemas.microsoft.com/office/drawing/2014/main" id="{D2064571-8EC9-41E2-AC52-C69838B0B1CB}"/>
                    </a:ext>
                  </a:extLst>
                </p:cNvPr>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sp>
            <p:nvSpPr>
              <p:cNvPr id="72" name="Rectangle 71">
                <a:extLst>
                  <a:ext uri="{FF2B5EF4-FFF2-40B4-BE49-F238E27FC236}">
                    <a16:creationId xmlns:a16="http://schemas.microsoft.com/office/drawing/2014/main" id="{11F6887E-D81C-4738-8959-36578E572856}"/>
                  </a:ext>
                </a:extLst>
              </p:cNvPr>
              <p:cNvSpPr/>
              <p:nvPr/>
            </p:nvSpPr>
            <p:spPr bwMode="gray">
              <a:xfrm>
                <a:off x="1337475" y="-1548909"/>
                <a:ext cx="150055" cy="150056"/>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nvGrpSpPr>
              <p:cNvPr id="73" name="Group 72">
                <a:extLst>
                  <a:ext uri="{FF2B5EF4-FFF2-40B4-BE49-F238E27FC236}">
                    <a16:creationId xmlns:a16="http://schemas.microsoft.com/office/drawing/2014/main" id="{82494748-9045-4A98-8087-F2702B627D2D}"/>
                  </a:ext>
                </a:extLst>
              </p:cNvPr>
              <p:cNvGrpSpPr/>
              <p:nvPr/>
            </p:nvGrpSpPr>
            <p:grpSpPr bwMode="gray">
              <a:xfrm>
                <a:off x="1509692" y="-1376691"/>
                <a:ext cx="135685" cy="135685"/>
                <a:chOff x="-4433548" y="0"/>
                <a:chExt cx="761570" cy="761570"/>
              </a:xfrm>
              <a:solidFill>
                <a:schemeClr val="bg1"/>
              </a:solidFill>
            </p:grpSpPr>
            <p:sp>
              <p:nvSpPr>
                <p:cNvPr id="74" name="Rectangle 73">
                  <a:extLst>
                    <a:ext uri="{FF2B5EF4-FFF2-40B4-BE49-F238E27FC236}">
                      <a16:creationId xmlns:a16="http://schemas.microsoft.com/office/drawing/2014/main" id="{BB2532AA-A602-4DAD-A0B1-067063649A73}"/>
                    </a:ext>
                  </a:extLst>
                </p:cNvPr>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75" name="Rectangle 74">
                  <a:extLst>
                    <a:ext uri="{FF2B5EF4-FFF2-40B4-BE49-F238E27FC236}">
                      <a16:creationId xmlns:a16="http://schemas.microsoft.com/office/drawing/2014/main" id="{9E5E1577-6364-4871-BB3C-F83DF02878CB}"/>
                    </a:ext>
                  </a:extLst>
                </p:cNvPr>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grpSp>
          <p:nvGrpSpPr>
            <p:cNvPr id="64" name="Group 63">
              <a:extLst>
                <a:ext uri="{FF2B5EF4-FFF2-40B4-BE49-F238E27FC236}">
                  <a16:creationId xmlns:a16="http://schemas.microsoft.com/office/drawing/2014/main" id="{5DF4EAB5-37CF-4A5E-9CA4-AF7E11E23413}"/>
                </a:ext>
              </a:extLst>
            </p:cNvPr>
            <p:cNvGrpSpPr/>
            <p:nvPr/>
          </p:nvGrpSpPr>
          <p:grpSpPr bwMode="gray">
            <a:xfrm>
              <a:off x="2311624" y="3093230"/>
              <a:ext cx="557095" cy="949340"/>
              <a:chOff x="11582401" y="1955589"/>
              <a:chExt cx="269962" cy="460040"/>
            </a:xfrm>
            <a:solidFill>
              <a:schemeClr val="bg1"/>
            </a:solidFill>
          </p:grpSpPr>
          <p:sp>
            <p:nvSpPr>
              <p:cNvPr id="66" name="Rounded Rectangle 158">
                <a:extLst>
                  <a:ext uri="{FF2B5EF4-FFF2-40B4-BE49-F238E27FC236}">
                    <a16:creationId xmlns:a16="http://schemas.microsoft.com/office/drawing/2014/main" id="{269EC28A-9204-4F35-ABE2-FF949E506547}"/>
                  </a:ext>
                </a:extLst>
              </p:cNvPr>
              <p:cNvSpPr/>
              <p:nvPr/>
            </p:nvSpPr>
            <p:spPr bwMode="gray">
              <a:xfrm>
                <a:off x="11582401" y="1955589"/>
                <a:ext cx="269962" cy="460040"/>
              </a:xfrm>
              <a:prstGeom prst="roundRect">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67" name="Rounded Rectangle 159">
                <a:extLst>
                  <a:ext uri="{FF2B5EF4-FFF2-40B4-BE49-F238E27FC236}">
                    <a16:creationId xmlns:a16="http://schemas.microsoft.com/office/drawing/2014/main" id="{90737D88-6E44-4791-A519-0330D48998E5}"/>
                  </a:ext>
                </a:extLst>
              </p:cNvPr>
              <p:cNvSpPr/>
              <p:nvPr/>
            </p:nvSpPr>
            <p:spPr bwMode="gray">
              <a:xfrm>
                <a:off x="11612835" y="1988384"/>
                <a:ext cx="209094" cy="367822"/>
              </a:xfrm>
              <a:prstGeom prst="roundRect">
                <a:avLst>
                  <a:gd name="adj" fmla="val 9634"/>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68" name="Oval 67">
                <a:extLst>
                  <a:ext uri="{FF2B5EF4-FFF2-40B4-BE49-F238E27FC236}">
                    <a16:creationId xmlns:a16="http://schemas.microsoft.com/office/drawing/2014/main" id="{DECB9887-964C-4740-8978-3CA865DAA84E}"/>
                  </a:ext>
                </a:extLst>
              </p:cNvPr>
              <p:cNvSpPr/>
              <p:nvPr/>
            </p:nvSpPr>
            <p:spPr bwMode="gray">
              <a:xfrm>
                <a:off x="11704001" y="2371419"/>
                <a:ext cx="26762" cy="26762"/>
              </a:xfrm>
              <a:prstGeom prst="ellipse">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sp>
          <p:nvSpPr>
            <p:cNvPr id="65" name="L-Shape 497">
              <a:extLst>
                <a:ext uri="{FF2B5EF4-FFF2-40B4-BE49-F238E27FC236}">
                  <a16:creationId xmlns:a16="http://schemas.microsoft.com/office/drawing/2014/main" id="{97C30791-6ABB-4D64-9A1A-4273B038A0E3}"/>
                </a:ext>
              </a:extLst>
            </p:cNvPr>
            <p:cNvSpPr/>
            <p:nvPr/>
          </p:nvSpPr>
          <p:spPr bwMode="gray">
            <a:xfrm rot="18900000">
              <a:off x="2477038" y="3516237"/>
              <a:ext cx="226267" cy="103327"/>
            </a:xfrm>
            <a:custGeom>
              <a:avLst/>
              <a:gdLst/>
              <a:ahLst/>
              <a:cxnLst/>
              <a:rect l="l" t="t" r="r" b="b"/>
              <a:pathLst>
                <a:path w="1084084" h="495058">
                  <a:moveTo>
                    <a:pt x="1084084" y="425460"/>
                  </a:moveTo>
                  <a:lnTo>
                    <a:pt x="1084084" y="495058"/>
                  </a:lnTo>
                  <a:lnTo>
                    <a:pt x="0" y="495058"/>
                  </a:lnTo>
                  <a:lnTo>
                    <a:pt x="0" y="0"/>
                  </a:lnTo>
                  <a:lnTo>
                    <a:pt x="74683" y="0"/>
                  </a:lnTo>
                  <a:lnTo>
                    <a:pt x="74683" y="425460"/>
                  </a:lnTo>
                  <a:close/>
                </a:path>
              </a:pathLst>
            </a:custGeom>
            <a:noFill/>
            <a:ln w="28575">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82" name="Group 81">
            <a:extLst>
              <a:ext uri="{FF2B5EF4-FFF2-40B4-BE49-F238E27FC236}">
                <a16:creationId xmlns:a16="http://schemas.microsoft.com/office/drawing/2014/main" id="{8B1CBEBB-C4EB-4670-9220-2185AD7DCC1A}"/>
              </a:ext>
            </a:extLst>
          </p:cNvPr>
          <p:cNvGrpSpPr/>
          <p:nvPr/>
        </p:nvGrpSpPr>
        <p:grpSpPr bwMode="gray">
          <a:xfrm>
            <a:off x="5365257" y="3198242"/>
            <a:ext cx="1462118" cy="1462118"/>
            <a:chOff x="5364941" y="2672916"/>
            <a:chExt cx="1462118" cy="1462118"/>
          </a:xfrm>
        </p:grpSpPr>
        <p:grpSp>
          <p:nvGrpSpPr>
            <p:cNvPr id="83" name="Group 82">
              <a:extLst>
                <a:ext uri="{FF2B5EF4-FFF2-40B4-BE49-F238E27FC236}">
                  <a16:creationId xmlns:a16="http://schemas.microsoft.com/office/drawing/2014/main" id="{75256BBF-5B92-44E8-9159-82CBB68B2751}"/>
                </a:ext>
              </a:extLst>
            </p:cNvPr>
            <p:cNvGrpSpPr/>
            <p:nvPr/>
          </p:nvGrpSpPr>
          <p:grpSpPr bwMode="gray">
            <a:xfrm>
              <a:off x="5364941" y="2672916"/>
              <a:ext cx="1462118" cy="1462118"/>
              <a:chOff x="4470600" y="1778575"/>
              <a:chExt cx="3250800" cy="3250800"/>
            </a:xfrm>
          </p:grpSpPr>
          <p:sp>
            <p:nvSpPr>
              <p:cNvPr id="85" name="Rectangle 84">
                <a:extLst>
                  <a:ext uri="{FF2B5EF4-FFF2-40B4-BE49-F238E27FC236}">
                    <a16:creationId xmlns:a16="http://schemas.microsoft.com/office/drawing/2014/main" id="{395E7C31-5FE8-4772-BF9D-B5E120E32524}"/>
                  </a:ext>
                </a:extLst>
              </p:cNvPr>
              <p:cNvSpPr/>
              <p:nvPr/>
            </p:nvSpPr>
            <p:spPr bwMode="gray">
              <a:xfrm>
                <a:off x="4470600" y="1778575"/>
                <a:ext cx="3250800" cy="3250800"/>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86" name="Group 85">
                <a:extLst>
                  <a:ext uri="{FF2B5EF4-FFF2-40B4-BE49-F238E27FC236}">
                    <a16:creationId xmlns:a16="http://schemas.microsoft.com/office/drawing/2014/main" id="{FD98218E-8EAF-4B6E-8BFC-CB4BFD476688}"/>
                  </a:ext>
                </a:extLst>
              </p:cNvPr>
              <p:cNvGrpSpPr/>
              <p:nvPr/>
            </p:nvGrpSpPr>
            <p:grpSpPr bwMode="gray">
              <a:xfrm>
                <a:off x="5042861" y="2484399"/>
                <a:ext cx="2106279" cy="2106279"/>
                <a:chOff x="5026040" y="2484399"/>
                <a:chExt cx="2106279" cy="2106279"/>
              </a:xfrm>
            </p:grpSpPr>
            <p:sp>
              <p:nvSpPr>
                <p:cNvPr id="87" name="Oval 15">
                  <a:extLst>
                    <a:ext uri="{FF2B5EF4-FFF2-40B4-BE49-F238E27FC236}">
                      <a16:creationId xmlns:a16="http://schemas.microsoft.com/office/drawing/2014/main" id="{C566C8E5-7842-4902-AD33-7E6FA80CC242}"/>
                    </a:ext>
                  </a:extLst>
                </p:cNvPr>
                <p:cNvSpPr/>
                <p:nvPr/>
              </p:nvSpPr>
              <p:spPr bwMode="gray">
                <a:xfrm>
                  <a:off x="5915346" y="2993761"/>
                  <a:ext cx="377408" cy="494293"/>
                </a:xfrm>
                <a:custGeom>
                  <a:avLst/>
                  <a:gdLst/>
                  <a:ahLst/>
                  <a:cxnLst/>
                  <a:rect l="l" t="t" r="r" b="b"/>
                  <a:pathLst>
                    <a:path w="362848" h="475224">
                      <a:moveTo>
                        <a:pt x="180337" y="0"/>
                      </a:moveTo>
                      <a:cubicBezTo>
                        <a:pt x="180432" y="9"/>
                        <a:pt x="180526" y="19"/>
                        <a:pt x="180616" y="82"/>
                      </a:cubicBezTo>
                      <a:cubicBezTo>
                        <a:pt x="180885" y="1"/>
                        <a:pt x="181154" y="0"/>
                        <a:pt x="181424" y="0"/>
                      </a:cubicBezTo>
                      <a:cubicBezTo>
                        <a:pt x="281622" y="0"/>
                        <a:pt x="362848" y="81226"/>
                        <a:pt x="362848" y="181424"/>
                      </a:cubicBezTo>
                      <a:cubicBezTo>
                        <a:pt x="362848" y="207554"/>
                        <a:pt x="357324" y="232394"/>
                        <a:pt x="346861" y="254609"/>
                      </a:cubicBezTo>
                      <a:cubicBezTo>
                        <a:pt x="321955" y="319398"/>
                        <a:pt x="261993" y="402608"/>
                        <a:pt x="180337" y="475224"/>
                      </a:cubicBezTo>
                      <a:cubicBezTo>
                        <a:pt x="90217" y="395081"/>
                        <a:pt x="26520" y="302031"/>
                        <a:pt x="8852" y="234647"/>
                      </a:cubicBezTo>
                      <a:cubicBezTo>
                        <a:pt x="5629" y="227170"/>
                        <a:pt x="3749" y="219213"/>
                        <a:pt x="2969" y="210981"/>
                      </a:cubicBezTo>
                      <a:cubicBezTo>
                        <a:pt x="788" y="207406"/>
                        <a:pt x="440" y="203728"/>
                        <a:pt x="286" y="200188"/>
                      </a:cubicBezTo>
                      <a:lnTo>
                        <a:pt x="0" y="200188"/>
                      </a:lnTo>
                      <a:lnTo>
                        <a:pt x="83" y="199359"/>
                      </a:lnTo>
                      <a:cubicBezTo>
                        <a:pt x="8" y="199247"/>
                        <a:pt x="4" y="199132"/>
                        <a:pt x="0" y="199017"/>
                      </a:cubicBezTo>
                      <a:lnTo>
                        <a:pt x="118" y="199017"/>
                      </a:lnTo>
                      <a:lnTo>
                        <a:pt x="1202" y="193389"/>
                      </a:lnTo>
                      <a:cubicBezTo>
                        <a:pt x="132" y="189470"/>
                        <a:pt x="0" y="185462"/>
                        <a:pt x="0" y="181424"/>
                      </a:cubicBezTo>
                      <a:cubicBezTo>
                        <a:pt x="0" y="81784"/>
                        <a:pt x="80324" y="905"/>
                        <a:pt x="179753" y="171"/>
                      </a:cubicBezTo>
                      <a:cubicBezTo>
                        <a:pt x="179940" y="40"/>
                        <a:pt x="180139" y="20"/>
                        <a:pt x="180337" y="0"/>
                      </a:cubicBezTo>
                      <a:close/>
                    </a:path>
                  </a:pathLst>
                </a:cu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8" name="Oval 87">
                  <a:extLst>
                    <a:ext uri="{FF2B5EF4-FFF2-40B4-BE49-F238E27FC236}">
                      <a16:creationId xmlns:a16="http://schemas.microsoft.com/office/drawing/2014/main" id="{E2A35DF1-1A9C-4D7D-BF8F-A1D259D9889F}"/>
                    </a:ext>
                  </a:extLst>
                </p:cNvPr>
                <p:cNvSpPr/>
                <p:nvPr/>
              </p:nvSpPr>
              <p:spPr bwMode="gray">
                <a:xfrm>
                  <a:off x="6054520" y="3132322"/>
                  <a:ext cx="99060" cy="99060"/>
                </a:xfrm>
                <a:prstGeom prst="ellipse">
                  <a:avLst/>
                </a:prstGeom>
                <a:solidFill>
                  <a:schemeClr val="tx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89" name="Group 88">
                  <a:extLst>
                    <a:ext uri="{FF2B5EF4-FFF2-40B4-BE49-F238E27FC236}">
                      <a16:creationId xmlns:a16="http://schemas.microsoft.com/office/drawing/2014/main" id="{4A7821F1-0418-4D0E-ADD6-ABEB8D2B15AE}"/>
                    </a:ext>
                  </a:extLst>
                </p:cNvPr>
                <p:cNvGrpSpPr/>
                <p:nvPr/>
              </p:nvGrpSpPr>
              <p:grpSpPr bwMode="gray">
                <a:xfrm>
                  <a:off x="5559286" y="3513466"/>
                  <a:ext cx="495234" cy="493240"/>
                  <a:chOff x="5559286" y="3513466"/>
                  <a:chExt cx="495234" cy="493240"/>
                </a:xfrm>
              </p:grpSpPr>
              <p:sp>
                <p:nvSpPr>
                  <p:cNvPr id="100" name="Oval 99">
                    <a:extLst>
                      <a:ext uri="{FF2B5EF4-FFF2-40B4-BE49-F238E27FC236}">
                        <a16:creationId xmlns:a16="http://schemas.microsoft.com/office/drawing/2014/main" id="{717FB247-7D75-4C0E-976B-E4A09B4151D7}"/>
                      </a:ext>
                    </a:extLst>
                  </p:cNvPr>
                  <p:cNvSpPr/>
                  <p:nvPr/>
                </p:nvSpPr>
                <p:spPr bwMode="gray">
                  <a:xfrm>
                    <a:off x="5648355" y="3600540"/>
                    <a:ext cx="319090" cy="319090"/>
                  </a:xfrm>
                  <a:prstGeom prst="ellips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101" name="Straight Connector 100">
                    <a:extLst>
                      <a:ext uri="{FF2B5EF4-FFF2-40B4-BE49-F238E27FC236}">
                        <a16:creationId xmlns:a16="http://schemas.microsoft.com/office/drawing/2014/main" id="{2D7A8B9D-3785-4923-A995-91E3D7CE8A41}"/>
                      </a:ext>
                    </a:extLst>
                  </p:cNvPr>
                  <p:cNvCxnSpPr/>
                  <p:nvPr/>
                </p:nvCxnSpPr>
                <p:spPr bwMode="gray">
                  <a:xfrm flipH="1">
                    <a:off x="5967446" y="3760086"/>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02" name="Straight Connector 101">
                    <a:extLst>
                      <a:ext uri="{FF2B5EF4-FFF2-40B4-BE49-F238E27FC236}">
                        <a16:creationId xmlns:a16="http://schemas.microsoft.com/office/drawing/2014/main" id="{698098B4-ECA9-4A5C-8902-8FBE52554E20}"/>
                      </a:ext>
                    </a:extLst>
                  </p:cNvPr>
                  <p:cNvCxnSpPr/>
                  <p:nvPr/>
                </p:nvCxnSpPr>
                <p:spPr bwMode="gray">
                  <a:xfrm flipH="1">
                    <a:off x="5559286" y="3760085"/>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03" name="Straight Connector 102">
                    <a:extLst>
                      <a:ext uri="{FF2B5EF4-FFF2-40B4-BE49-F238E27FC236}">
                        <a16:creationId xmlns:a16="http://schemas.microsoft.com/office/drawing/2014/main" id="{1410971B-C814-4125-B1EC-998820B76BD7}"/>
                      </a:ext>
                    </a:extLst>
                  </p:cNvPr>
                  <p:cNvCxnSpPr/>
                  <p:nvPr/>
                </p:nvCxnSpPr>
                <p:spPr bwMode="gray">
                  <a:xfrm rot="2700000" flipH="1">
                    <a:off x="5620763" y="3616484"/>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04" name="Straight Connector 103">
                    <a:extLst>
                      <a:ext uri="{FF2B5EF4-FFF2-40B4-BE49-F238E27FC236}">
                        <a16:creationId xmlns:a16="http://schemas.microsoft.com/office/drawing/2014/main" id="{4E665C86-59CF-4F40-A994-42741C692646}"/>
                      </a:ext>
                    </a:extLst>
                  </p:cNvPr>
                  <p:cNvCxnSpPr/>
                  <p:nvPr/>
                </p:nvCxnSpPr>
                <p:spPr bwMode="gray">
                  <a:xfrm rot="18900000">
                    <a:off x="5907963" y="3616484"/>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05" name="Straight Connector 104">
                    <a:extLst>
                      <a:ext uri="{FF2B5EF4-FFF2-40B4-BE49-F238E27FC236}">
                        <a16:creationId xmlns:a16="http://schemas.microsoft.com/office/drawing/2014/main" id="{1BF87C04-1265-444E-8ECE-FF7D180300C9}"/>
                      </a:ext>
                    </a:extLst>
                  </p:cNvPr>
                  <p:cNvCxnSpPr/>
                  <p:nvPr/>
                </p:nvCxnSpPr>
                <p:spPr bwMode="gray">
                  <a:xfrm rot="5400000" flipH="1">
                    <a:off x="5764856" y="3557003"/>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06" name="Straight Connector 105">
                    <a:extLst>
                      <a:ext uri="{FF2B5EF4-FFF2-40B4-BE49-F238E27FC236}">
                        <a16:creationId xmlns:a16="http://schemas.microsoft.com/office/drawing/2014/main" id="{54588168-0BE6-49BF-8A5D-85D742C311A6}"/>
                      </a:ext>
                    </a:extLst>
                  </p:cNvPr>
                  <p:cNvCxnSpPr/>
                  <p:nvPr/>
                </p:nvCxnSpPr>
                <p:spPr bwMode="gray">
                  <a:xfrm rot="13500000" flipH="1">
                    <a:off x="5905969" y="3903688"/>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07" name="Straight Connector 106">
                    <a:extLst>
                      <a:ext uri="{FF2B5EF4-FFF2-40B4-BE49-F238E27FC236}">
                        <a16:creationId xmlns:a16="http://schemas.microsoft.com/office/drawing/2014/main" id="{D02DD90C-46D1-46B8-845F-72F51555B998}"/>
                      </a:ext>
                    </a:extLst>
                  </p:cNvPr>
                  <p:cNvCxnSpPr/>
                  <p:nvPr/>
                </p:nvCxnSpPr>
                <p:spPr bwMode="gray">
                  <a:xfrm rot="8100000">
                    <a:off x="5618769" y="3903688"/>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08" name="Straight Connector 107">
                    <a:extLst>
                      <a:ext uri="{FF2B5EF4-FFF2-40B4-BE49-F238E27FC236}">
                        <a16:creationId xmlns:a16="http://schemas.microsoft.com/office/drawing/2014/main" id="{2D4D4E36-B788-4A1F-B0F5-5FE234CA75A0}"/>
                      </a:ext>
                    </a:extLst>
                  </p:cNvPr>
                  <p:cNvCxnSpPr/>
                  <p:nvPr/>
                </p:nvCxnSpPr>
                <p:spPr bwMode="gray">
                  <a:xfrm rot="16200000" flipH="1">
                    <a:off x="5761876" y="3963169"/>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90" name="Group 89">
                  <a:extLst>
                    <a:ext uri="{FF2B5EF4-FFF2-40B4-BE49-F238E27FC236}">
                      <a16:creationId xmlns:a16="http://schemas.microsoft.com/office/drawing/2014/main" id="{63AD97C0-58BD-4E12-8046-3E1D0022D523}"/>
                    </a:ext>
                  </a:extLst>
                </p:cNvPr>
                <p:cNvGrpSpPr/>
                <p:nvPr/>
              </p:nvGrpSpPr>
              <p:grpSpPr bwMode="gray">
                <a:xfrm>
                  <a:off x="6227309" y="3542862"/>
                  <a:ext cx="374741" cy="422846"/>
                  <a:chOff x="6227309" y="3547942"/>
                  <a:chExt cx="374741" cy="422846"/>
                </a:xfrm>
              </p:grpSpPr>
              <p:sp>
                <p:nvSpPr>
                  <p:cNvPr id="97" name="Rectangle 49">
                    <a:extLst>
                      <a:ext uri="{FF2B5EF4-FFF2-40B4-BE49-F238E27FC236}">
                        <a16:creationId xmlns:a16="http://schemas.microsoft.com/office/drawing/2014/main" id="{E7B4DA90-8606-4BE9-89E4-F8E7A10935CB}"/>
                      </a:ext>
                    </a:extLst>
                  </p:cNvPr>
                  <p:cNvSpPr/>
                  <p:nvPr/>
                </p:nvSpPr>
                <p:spPr bwMode="gray">
                  <a:xfrm>
                    <a:off x="6227309" y="3547942"/>
                    <a:ext cx="374741" cy="422846"/>
                  </a:xfrm>
                  <a:custGeom>
                    <a:avLst/>
                    <a:gdLst>
                      <a:gd name="connsiteX0" fmla="*/ 187370 w 374741"/>
                      <a:gd name="connsiteY0" fmla="*/ 0 h 422846"/>
                      <a:gd name="connsiteX1" fmla="*/ 374740 w 374741"/>
                      <a:gd name="connsiteY1" fmla="*/ 112815 h 422846"/>
                      <a:gd name="connsiteX2" fmla="*/ 251188 w 374741"/>
                      <a:gd name="connsiteY2" fmla="*/ 310031 h 422846"/>
                      <a:gd name="connsiteX3" fmla="*/ 374741 w 374741"/>
                      <a:gd name="connsiteY3" fmla="*/ 310031 h 422846"/>
                      <a:gd name="connsiteX4" fmla="*/ 187371 w 374741"/>
                      <a:gd name="connsiteY4" fmla="*/ 422846 h 422846"/>
                      <a:gd name="connsiteX5" fmla="*/ 1 w 374741"/>
                      <a:gd name="connsiteY5" fmla="*/ 310031 h 422846"/>
                      <a:gd name="connsiteX6" fmla="*/ 123553 w 374741"/>
                      <a:gd name="connsiteY6" fmla="*/ 310031 h 422846"/>
                      <a:gd name="connsiteX7" fmla="*/ 123553 w 374741"/>
                      <a:gd name="connsiteY7" fmla="*/ 112815 h 422846"/>
                      <a:gd name="connsiteX8" fmla="*/ 0 w 374741"/>
                      <a:gd name="connsiteY8" fmla="*/ 112815 h 422846"/>
                      <a:gd name="connsiteX9" fmla="*/ 187370 w 374741"/>
                      <a:gd name="connsiteY9"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123553 w 374741"/>
                      <a:gd name="connsiteY6" fmla="*/ 112815 h 422846"/>
                      <a:gd name="connsiteX7" fmla="*/ 0 w 374741"/>
                      <a:gd name="connsiteY7" fmla="*/ 112815 h 422846"/>
                      <a:gd name="connsiteX8" fmla="*/ 187370 w 374741"/>
                      <a:gd name="connsiteY8"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0 w 374741"/>
                      <a:gd name="connsiteY6" fmla="*/ 112815 h 422846"/>
                      <a:gd name="connsiteX7" fmla="*/ 187370 w 374741"/>
                      <a:gd name="connsiteY7"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0 w 374741"/>
                      <a:gd name="connsiteY5" fmla="*/ 112815 h 422846"/>
                      <a:gd name="connsiteX6" fmla="*/ 187370 w 374741"/>
                      <a:gd name="connsiteY6" fmla="*/ 0 h 42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741" h="422846">
                        <a:moveTo>
                          <a:pt x="187370" y="0"/>
                        </a:moveTo>
                        <a:lnTo>
                          <a:pt x="374740" y="112815"/>
                        </a:lnTo>
                        <a:cubicBezTo>
                          <a:pt x="374740" y="178554"/>
                          <a:pt x="374741" y="244292"/>
                          <a:pt x="374741" y="310031"/>
                        </a:cubicBezTo>
                        <a:lnTo>
                          <a:pt x="187371" y="422846"/>
                        </a:lnTo>
                        <a:lnTo>
                          <a:pt x="1" y="310031"/>
                        </a:lnTo>
                        <a:cubicBezTo>
                          <a:pt x="1" y="244292"/>
                          <a:pt x="0" y="178554"/>
                          <a:pt x="0" y="112815"/>
                        </a:cubicBezTo>
                        <a:lnTo>
                          <a:pt x="187370" y="0"/>
                        </a:lnTo>
                        <a:close/>
                      </a:path>
                    </a:pathLst>
                  </a:cu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98" name="Rectangle 49">
                    <a:extLst>
                      <a:ext uri="{FF2B5EF4-FFF2-40B4-BE49-F238E27FC236}">
                        <a16:creationId xmlns:a16="http://schemas.microsoft.com/office/drawing/2014/main" id="{62F70ADC-3FE3-40D6-81C4-51B53BC2FC2F}"/>
                      </a:ext>
                    </a:extLst>
                  </p:cNvPr>
                  <p:cNvSpPr/>
                  <p:nvPr/>
                </p:nvSpPr>
                <p:spPr bwMode="gray">
                  <a:xfrm rot="10800000">
                    <a:off x="6227309" y="3659059"/>
                    <a:ext cx="374740" cy="112815"/>
                  </a:xfrm>
                  <a:custGeom>
                    <a:avLst/>
                    <a:gdLst>
                      <a:gd name="connsiteX0" fmla="*/ 187370 w 374741"/>
                      <a:gd name="connsiteY0" fmla="*/ 0 h 422846"/>
                      <a:gd name="connsiteX1" fmla="*/ 374740 w 374741"/>
                      <a:gd name="connsiteY1" fmla="*/ 112815 h 422846"/>
                      <a:gd name="connsiteX2" fmla="*/ 251188 w 374741"/>
                      <a:gd name="connsiteY2" fmla="*/ 310031 h 422846"/>
                      <a:gd name="connsiteX3" fmla="*/ 374741 w 374741"/>
                      <a:gd name="connsiteY3" fmla="*/ 310031 h 422846"/>
                      <a:gd name="connsiteX4" fmla="*/ 187371 w 374741"/>
                      <a:gd name="connsiteY4" fmla="*/ 422846 h 422846"/>
                      <a:gd name="connsiteX5" fmla="*/ 1 w 374741"/>
                      <a:gd name="connsiteY5" fmla="*/ 310031 h 422846"/>
                      <a:gd name="connsiteX6" fmla="*/ 123553 w 374741"/>
                      <a:gd name="connsiteY6" fmla="*/ 310031 h 422846"/>
                      <a:gd name="connsiteX7" fmla="*/ 123553 w 374741"/>
                      <a:gd name="connsiteY7" fmla="*/ 112815 h 422846"/>
                      <a:gd name="connsiteX8" fmla="*/ 0 w 374741"/>
                      <a:gd name="connsiteY8" fmla="*/ 112815 h 422846"/>
                      <a:gd name="connsiteX9" fmla="*/ 187370 w 374741"/>
                      <a:gd name="connsiteY9"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123553 w 374741"/>
                      <a:gd name="connsiteY6" fmla="*/ 112815 h 422846"/>
                      <a:gd name="connsiteX7" fmla="*/ 0 w 374741"/>
                      <a:gd name="connsiteY7" fmla="*/ 112815 h 422846"/>
                      <a:gd name="connsiteX8" fmla="*/ 187370 w 374741"/>
                      <a:gd name="connsiteY8"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0 w 374741"/>
                      <a:gd name="connsiteY6" fmla="*/ 112815 h 422846"/>
                      <a:gd name="connsiteX7" fmla="*/ 187370 w 374741"/>
                      <a:gd name="connsiteY7"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0 w 374741"/>
                      <a:gd name="connsiteY5" fmla="*/ 112815 h 422846"/>
                      <a:gd name="connsiteX6" fmla="*/ 187370 w 374741"/>
                      <a:gd name="connsiteY6" fmla="*/ 0 h 422846"/>
                      <a:gd name="connsiteX0" fmla="*/ 187370 w 374740"/>
                      <a:gd name="connsiteY0" fmla="*/ 0 h 422846"/>
                      <a:gd name="connsiteX1" fmla="*/ 374740 w 374740"/>
                      <a:gd name="connsiteY1" fmla="*/ 112815 h 422846"/>
                      <a:gd name="connsiteX2" fmla="*/ 187371 w 374740"/>
                      <a:gd name="connsiteY2" fmla="*/ 422846 h 422846"/>
                      <a:gd name="connsiteX3" fmla="*/ 1 w 374740"/>
                      <a:gd name="connsiteY3" fmla="*/ 310031 h 422846"/>
                      <a:gd name="connsiteX4" fmla="*/ 0 w 374740"/>
                      <a:gd name="connsiteY4" fmla="*/ 112815 h 422846"/>
                      <a:gd name="connsiteX5" fmla="*/ 187370 w 374740"/>
                      <a:gd name="connsiteY5" fmla="*/ 0 h 422846"/>
                      <a:gd name="connsiteX0" fmla="*/ 187370 w 374740"/>
                      <a:gd name="connsiteY0" fmla="*/ 0 h 422846"/>
                      <a:gd name="connsiteX1" fmla="*/ 374740 w 374740"/>
                      <a:gd name="connsiteY1" fmla="*/ 112815 h 422846"/>
                      <a:gd name="connsiteX2" fmla="*/ 187371 w 374740"/>
                      <a:gd name="connsiteY2" fmla="*/ 422846 h 422846"/>
                      <a:gd name="connsiteX3" fmla="*/ 0 w 374740"/>
                      <a:gd name="connsiteY3" fmla="*/ 112815 h 422846"/>
                      <a:gd name="connsiteX4" fmla="*/ 187370 w 374740"/>
                      <a:gd name="connsiteY4" fmla="*/ 0 h 422846"/>
                      <a:gd name="connsiteX0" fmla="*/ 187371 w 374740"/>
                      <a:gd name="connsiteY0" fmla="*/ 422846 h 514286"/>
                      <a:gd name="connsiteX1" fmla="*/ 0 w 374740"/>
                      <a:gd name="connsiteY1" fmla="*/ 112815 h 514286"/>
                      <a:gd name="connsiteX2" fmla="*/ 187370 w 374740"/>
                      <a:gd name="connsiteY2" fmla="*/ 0 h 514286"/>
                      <a:gd name="connsiteX3" fmla="*/ 374740 w 374740"/>
                      <a:gd name="connsiteY3" fmla="*/ 112815 h 514286"/>
                      <a:gd name="connsiteX4" fmla="*/ 278811 w 374740"/>
                      <a:gd name="connsiteY4" fmla="*/ 514286 h 514286"/>
                      <a:gd name="connsiteX0" fmla="*/ 187371 w 374740"/>
                      <a:gd name="connsiteY0" fmla="*/ 422846 h 422846"/>
                      <a:gd name="connsiteX1" fmla="*/ 0 w 374740"/>
                      <a:gd name="connsiteY1" fmla="*/ 112815 h 422846"/>
                      <a:gd name="connsiteX2" fmla="*/ 187370 w 374740"/>
                      <a:gd name="connsiteY2" fmla="*/ 0 h 422846"/>
                      <a:gd name="connsiteX3" fmla="*/ 374740 w 374740"/>
                      <a:gd name="connsiteY3" fmla="*/ 112815 h 422846"/>
                      <a:gd name="connsiteX0" fmla="*/ 0 w 374740"/>
                      <a:gd name="connsiteY0" fmla="*/ 112815 h 112815"/>
                      <a:gd name="connsiteX1" fmla="*/ 187370 w 374740"/>
                      <a:gd name="connsiteY1" fmla="*/ 0 h 112815"/>
                      <a:gd name="connsiteX2" fmla="*/ 374740 w 374740"/>
                      <a:gd name="connsiteY2" fmla="*/ 112815 h 112815"/>
                    </a:gdLst>
                    <a:ahLst/>
                    <a:cxnLst>
                      <a:cxn ang="0">
                        <a:pos x="connsiteX0" y="connsiteY0"/>
                      </a:cxn>
                      <a:cxn ang="0">
                        <a:pos x="connsiteX1" y="connsiteY1"/>
                      </a:cxn>
                      <a:cxn ang="0">
                        <a:pos x="connsiteX2" y="connsiteY2"/>
                      </a:cxn>
                    </a:cxnLst>
                    <a:rect l="l" t="t" r="r" b="b"/>
                    <a:pathLst>
                      <a:path w="374740" h="112815">
                        <a:moveTo>
                          <a:pt x="0" y="112815"/>
                        </a:moveTo>
                        <a:lnTo>
                          <a:pt x="187370" y="0"/>
                        </a:lnTo>
                        <a:lnTo>
                          <a:pt x="374740" y="112815"/>
                        </a:lnTo>
                      </a:path>
                    </a:pathLst>
                  </a:cu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99" name="Straight Connector 98">
                    <a:extLst>
                      <a:ext uri="{FF2B5EF4-FFF2-40B4-BE49-F238E27FC236}">
                        <a16:creationId xmlns:a16="http://schemas.microsoft.com/office/drawing/2014/main" id="{AC91FF0F-2751-4C22-A1A0-1BD1962E0CE4}"/>
                      </a:ext>
                    </a:extLst>
                  </p:cNvPr>
                  <p:cNvCxnSpPr>
                    <a:stCxn id="98" idx="1"/>
                    <a:endCxn id="97" idx="3"/>
                  </p:cNvCxnSpPr>
                  <p:nvPr/>
                </p:nvCxnSpPr>
                <p:spPr bwMode="gray">
                  <a:xfrm>
                    <a:off x="6414679" y="3771874"/>
                    <a:ext cx="1" cy="198914"/>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91" name="Group 90">
                  <a:extLst>
                    <a:ext uri="{FF2B5EF4-FFF2-40B4-BE49-F238E27FC236}">
                      <a16:creationId xmlns:a16="http://schemas.microsoft.com/office/drawing/2014/main" id="{891A738A-F7B3-4764-BE89-F0FFE2AB32CB}"/>
                    </a:ext>
                  </a:extLst>
                </p:cNvPr>
                <p:cNvGrpSpPr/>
                <p:nvPr/>
              </p:nvGrpSpPr>
              <p:grpSpPr bwMode="gray">
                <a:xfrm>
                  <a:off x="5252533" y="2713671"/>
                  <a:ext cx="1656188" cy="1656184"/>
                  <a:chOff x="-925025" y="-931749"/>
                  <a:chExt cx="1494000" cy="1494000"/>
                </a:xfrm>
              </p:grpSpPr>
              <p:sp>
                <p:nvSpPr>
                  <p:cNvPr id="95" name="Arc 94">
                    <a:extLst>
                      <a:ext uri="{FF2B5EF4-FFF2-40B4-BE49-F238E27FC236}">
                        <a16:creationId xmlns:a16="http://schemas.microsoft.com/office/drawing/2014/main" id="{BAA0B4CC-B786-4EF2-A706-D63D88F8CAF1}"/>
                      </a:ext>
                    </a:extLst>
                  </p:cNvPr>
                  <p:cNvSpPr>
                    <a:spLocks noChangeAspect="1"/>
                  </p:cNvSpPr>
                  <p:nvPr/>
                </p:nvSpPr>
                <p:spPr bwMode="gray">
                  <a:xfrm rot="10800000">
                    <a:off x="-925025" y="-931749"/>
                    <a:ext cx="1494000" cy="1494000"/>
                  </a:xfrm>
                  <a:prstGeom prst="arc">
                    <a:avLst>
                      <a:gd name="adj1" fmla="val 8623613"/>
                      <a:gd name="adj2" fmla="val 18387609"/>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96" name="Arc 95">
                    <a:extLst>
                      <a:ext uri="{FF2B5EF4-FFF2-40B4-BE49-F238E27FC236}">
                        <a16:creationId xmlns:a16="http://schemas.microsoft.com/office/drawing/2014/main" id="{D50A59C0-6DAB-474F-9D6D-0BE962D6FBDA}"/>
                      </a:ext>
                    </a:extLst>
                  </p:cNvPr>
                  <p:cNvSpPr>
                    <a:spLocks noChangeAspect="1"/>
                  </p:cNvSpPr>
                  <p:nvPr/>
                </p:nvSpPr>
                <p:spPr bwMode="gray">
                  <a:xfrm rot="16200000">
                    <a:off x="-925025" y="-931749"/>
                    <a:ext cx="1494000" cy="1494000"/>
                  </a:xfrm>
                  <a:prstGeom prst="arc">
                    <a:avLst>
                      <a:gd name="adj1" fmla="val 14184933"/>
                      <a:gd name="adj2" fmla="val 1926305"/>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grpSp>
            <p:sp>
              <p:nvSpPr>
                <p:cNvPr id="92" name="Arc 91">
                  <a:extLst>
                    <a:ext uri="{FF2B5EF4-FFF2-40B4-BE49-F238E27FC236}">
                      <a16:creationId xmlns:a16="http://schemas.microsoft.com/office/drawing/2014/main" id="{C51003F8-D7CD-44C6-AA1C-4273A6C33690}"/>
                    </a:ext>
                  </a:extLst>
                </p:cNvPr>
                <p:cNvSpPr>
                  <a:spLocks noChangeAspect="1"/>
                </p:cNvSpPr>
                <p:nvPr/>
              </p:nvSpPr>
              <p:spPr bwMode="gray">
                <a:xfrm rot="10800000">
                  <a:off x="5026040" y="2484402"/>
                  <a:ext cx="2106279" cy="2106274"/>
                </a:xfrm>
                <a:prstGeom prst="arc">
                  <a:avLst>
                    <a:gd name="adj1" fmla="val 11430481"/>
                    <a:gd name="adj2" fmla="val 15581180"/>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93" name="Arc 92">
                  <a:extLst>
                    <a:ext uri="{FF2B5EF4-FFF2-40B4-BE49-F238E27FC236}">
                      <a16:creationId xmlns:a16="http://schemas.microsoft.com/office/drawing/2014/main" id="{94349ED2-3ED9-406F-ADD2-386B06A08D8F}"/>
                    </a:ext>
                  </a:extLst>
                </p:cNvPr>
                <p:cNvSpPr>
                  <a:spLocks noChangeAspect="1"/>
                </p:cNvSpPr>
                <p:nvPr/>
              </p:nvSpPr>
              <p:spPr bwMode="gray">
                <a:xfrm rot="16200000">
                  <a:off x="5026043" y="2484400"/>
                  <a:ext cx="2106274" cy="2106279"/>
                </a:xfrm>
                <a:prstGeom prst="arc">
                  <a:avLst>
                    <a:gd name="adj1" fmla="val 11437435"/>
                    <a:gd name="adj2" fmla="val 20980401"/>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94" name="Arc 93">
                  <a:extLst>
                    <a:ext uri="{FF2B5EF4-FFF2-40B4-BE49-F238E27FC236}">
                      <a16:creationId xmlns:a16="http://schemas.microsoft.com/office/drawing/2014/main" id="{BE33EAF0-C2E1-455F-847D-B8487515885A}"/>
                    </a:ext>
                  </a:extLst>
                </p:cNvPr>
                <p:cNvSpPr>
                  <a:spLocks noChangeAspect="1"/>
                </p:cNvSpPr>
                <p:nvPr/>
              </p:nvSpPr>
              <p:spPr bwMode="gray">
                <a:xfrm rot="5400000">
                  <a:off x="5026040" y="2484402"/>
                  <a:ext cx="2106279" cy="2106274"/>
                </a:xfrm>
                <a:prstGeom prst="arc">
                  <a:avLst>
                    <a:gd name="adj1" fmla="val 11430481"/>
                    <a:gd name="adj2" fmla="val 15581180"/>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grpSp>
        </p:grpSp>
        <p:cxnSp>
          <p:nvCxnSpPr>
            <p:cNvPr id="84" name="Straight Connector 83">
              <a:extLst>
                <a:ext uri="{FF2B5EF4-FFF2-40B4-BE49-F238E27FC236}">
                  <a16:creationId xmlns:a16="http://schemas.microsoft.com/office/drawing/2014/main" id="{2A4C5B90-929B-4A5B-8176-C517CF3270F6}"/>
                </a:ext>
              </a:extLst>
            </p:cNvPr>
            <p:cNvCxnSpPr/>
            <p:nvPr/>
          </p:nvCxnSpPr>
          <p:spPr bwMode="gray">
            <a:xfrm>
              <a:off x="5940146" y="2817352"/>
              <a:ext cx="311708" cy="0"/>
            </a:xfrm>
            <a:prstGeom prst="line">
              <a:avLst/>
            </a:prstGeom>
            <a:grp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109" name="Isosceles Triangle 108">
            <a:extLst>
              <a:ext uri="{FF2B5EF4-FFF2-40B4-BE49-F238E27FC236}">
                <a16:creationId xmlns:a16="http://schemas.microsoft.com/office/drawing/2014/main" id="{17A845C4-A83C-468F-BDE1-34C163245421}"/>
              </a:ext>
            </a:extLst>
          </p:cNvPr>
          <p:cNvSpPr/>
          <p:nvPr/>
        </p:nvSpPr>
        <p:spPr bwMode="gray">
          <a:xfrm rot="5400000">
            <a:off x="7305031" y="3811051"/>
            <a:ext cx="462000" cy="236500"/>
          </a:xfrm>
          <a:prstGeom prst="triangl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Tree>
    <p:custDataLst>
      <p:tags r:id="rId1"/>
    </p:custDataLst>
    <p:extLst>
      <p:ext uri="{BB962C8B-B14F-4D97-AF65-F5344CB8AC3E}">
        <p14:creationId xmlns:p14="http://schemas.microsoft.com/office/powerpoint/2010/main" val="2674649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dirty="0"/>
              <a:t>Common scenario</a:t>
            </a:r>
          </a:p>
        </p:txBody>
      </p:sp>
      <p:sp>
        <p:nvSpPr>
          <p:cNvPr id="4" name="Date Placeholder 3"/>
          <p:cNvSpPr>
            <a:spLocks noGrp="1"/>
          </p:cNvSpPr>
          <p:nvPr>
            <p:ph type="dt" sz="half" idx="18"/>
          </p:nvPr>
        </p:nvSpPr>
        <p:spPr bwMode="gray"/>
        <p:txBody>
          <a:bodyPr/>
          <a:lstStyle/>
          <a:p>
            <a:fld id="{FFAB2352-921F-4DD8-A99A-A1474F6943FF}" type="datetime4">
              <a:rPr lang="en-US" smtClean="0"/>
              <a:t>September 8, 2019</a:t>
            </a:fld>
            <a:endParaRPr lang="en-US" dirty="0"/>
          </a:p>
        </p:txBody>
      </p:sp>
      <p:sp>
        <p:nvSpPr>
          <p:cNvPr id="5" name="Footer Placeholder 4"/>
          <p:cNvSpPr>
            <a:spLocks noGrp="1"/>
          </p:cNvSpPr>
          <p:nvPr>
            <p:ph type="ftr" sz="quarter" idx="19"/>
          </p:nvPr>
        </p:nvSpPr>
        <p:spPr bwMode="gray"/>
        <p:txBody>
          <a:bodyPr/>
          <a:lstStyle/>
          <a:p>
            <a:pPr lvl="8"/>
            <a:endParaRPr lang="en-US" dirty="0"/>
          </a:p>
        </p:txBody>
      </p:sp>
      <p:sp>
        <p:nvSpPr>
          <p:cNvPr id="6" name="Slide Number Placeholder 5"/>
          <p:cNvSpPr>
            <a:spLocks noGrp="1"/>
          </p:cNvSpPr>
          <p:nvPr>
            <p:ph type="sldNum" sz="quarter" idx="20"/>
          </p:nvPr>
        </p:nvSpPr>
        <p:spPr bwMode="gray"/>
        <p:txBody>
          <a:bodyPr/>
          <a:lstStyle/>
          <a:p>
            <a:r>
              <a:rPr lang="en-US" dirty="0"/>
              <a:t>Slide </a:t>
            </a:r>
            <a:fld id="{619F89D8-7AE3-494A-97F3-03D680869632}" type="slidenum">
              <a:rPr lang="en-US" smtClean="0"/>
              <a:pPr/>
              <a:t>101</a:t>
            </a:fld>
            <a:endParaRPr lang="en-US" dirty="0"/>
          </a:p>
        </p:txBody>
      </p:sp>
      <p:sp>
        <p:nvSpPr>
          <p:cNvPr id="7" name="Subtitle 6"/>
          <p:cNvSpPr>
            <a:spLocks noGrp="1"/>
          </p:cNvSpPr>
          <p:nvPr>
            <p:ph type="subTitle" idx="13"/>
          </p:nvPr>
        </p:nvSpPr>
        <p:spPr bwMode="gray"/>
        <p:txBody>
          <a:bodyPr/>
          <a:lstStyle/>
          <a:p>
            <a:r>
              <a:rPr lang="en-US" dirty="0"/>
              <a:t>Communication ‘ping-pong’ </a:t>
            </a:r>
          </a:p>
        </p:txBody>
      </p:sp>
      <p:grpSp>
        <p:nvGrpSpPr>
          <p:cNvPr id="2" name="Group 1">
            <a:extLst>
              <a:ext uri="{FF2B5EF4-FFF2-40B4-BE49-F238E27FC236}">
                <a16:creationId xmlns:a16="http://schemas.microsoft.com/office/drawing/2014/main" id="{36644644-E8DC-4F82-86EA-11E859BCED09}"/>
              </a:ext>
            </a:extLst>
          </p:cNvPr>
          <p:cNvGrpSpPr/>
          <p:nvPr/>
        </p:nvGrpSpPr>
        <p:grpSpPr bwMode="gray">
          <a:xfrm>
            <a:off x="345481" y="2035924"/>
            <a:ext cx="4689242" cy="938567"/>
            <a:chOff x="345481" y="2035924"/>
            <a:chExt cx="4689242" cy="938567"/>
          </a:xfrm>
        </p:grpSpPr>
        <p:grpSp>
          <p:nvGrpSpPr>
            <p:cNvPr id="43" name="Group 42">
              <a:extLst>
                <a:ext uri="{FF2B5EF4-FFF2-40B4-BE49-F238E27FC236}">
                  <a16:creationId xmlns:a16="http://schemas.microsoft.com/office/drawing/2014/main" id="{F7FA0E44-ED9C-41B4-BAF1-1B8E4CC4311D}"/>
                </a:ext>
              </a:extLst>
            </p:cNvPr>
            <p:cNvGrpSpPr>
              <a:grpSpLocks noChangeAspect="1"/>
            </p:cNvGrpSpPr>
            <p:nvPr/>
          </p:nvGrpSpPr>
          <p:grpSpPr bwMode="gray">
            <a:xfrm>
              <a:off x="345481" y="2172240"/>
              <a:ext cx="723107" cy="802251"/>
              <a:chOff x="-4806656" y="1813087"/>
              <a:chExt cx="832973" cy="924142"/>
            </a:xfrm>
          </p:grpSpPr>
          <p:grpSp>
            <p:nvGrpSpPr>
              <p:cNvPr id="44" name="Group 43">
                <a:extLst>
                  <a:ext uri="{FF2B5EF4-FFF2-40B4-BE49-F238E27FC236}">
                    <a16:creationId xmlns:a16="http://schemas.microsoft.com/office/drawing/2014/main" id="{55DFA4D1-8E82-4C44-973F-5BDCF0FF0262}"/>
                  </a:ext>
                </a:extLst>
              </p:cNvPr>
              <p:cNvGrpSpPr/>
              <p:nvPr/>
            </p:nvGrpSpPr>
            <p:grpSpPr bwMode="gray">
              <a:xfrm>
                <a:off x="-4595722" y="1813087"/>
                <a:ext cx="411802" cy="573973"/>
                <a:chOff x="-5725430" y="1848863"/>
                <a:chExt cx="411802" cy="573973"/>
              </a:xfrm>
            </p:grpSpPr>
            <p:sp>
              <p:nvSpPr>
                <p:cNvPr id="51" name="Rounded Rectangle 25">
                  <a:extLst>
                    <a:ext uri="{FF2B5EF4-FFF2-40B4-BE49-F238E27FC236}">
                      <a16:creationId xmlns:a16="http://schemas.microsoft.com/office/drawing/2014/main" id="{B021E762-1699-45F0-88B6-E79F2F7F079E}"/>
                    </a:ext>
                  </a:extLst>
                </p:cNvPr>
                <p:cNvSpPr/>
                <p:nvPr/>
              </p:nvSpPr>
              <p:spPr bwMode="gray">
                <a:xfrm rot="21372172" flipH="1">
                  <a:off x="-5725430" y="1946385"/>
                  <a:ext cx="410156" cy="476451"/>
                </a:xfrm>
                <a:custGeom>
                  <a:avLst/>
                  <a:gdLst/>
                  <a:ahLst/>
                  <a:cxnLst/>
                  <a:rect l="l" t="t" r="r" b="b"/>
                  <a:pathLst>
                    <a:path w="416839" h="476451">
                      <a:moveTo>
                        <a:pt x="281390" y="0"/>
                      </a:moveTo>
                      <a:lnTo>
                        <a:pt x="257310" y="11144"/>
                      </a:lnTo>
                      <a:lnTo>
                        <a:pt x="170756" y="30253"/>
                      </a:lnTo>
                      <a:cubicBezTo>
                        <a:pt x="139095" y="37445"/>
                        <a:pt x="90519" y="39079"/>
                        <a:pt x="67346" y="54299"/>
                      </a:cubicBezTo>
                      <a:cubicBezTo>
                        <a:pt x="44173" y="69519"/>
                        <a:pt x="36456" y="97078"/>
                        <a:pt x="31718" y="121576"/>
                      </a:cubicBezTo>
                      <a:lnTo>
                        <a:pt x="29540" y="203816"/>
                      </a:lnTo>
                      <a:lnTo>
                        <a:pt x="22055" y="204312"/>
                      </a:lnTo>
                      <a:lnTo>
                        <a:pt x="21829" y="206510"/>
                      </a:lnTo>
                      <a:cubicBezTo>
                        <a:pt x="8019" y="208397"/>
                        <a:pt x="-1621" y="221140"/>
                        <a:pt x="226" y="234999"/>
                      </a:cubicBezTo>
                      <a:lnTo>
                        <a:pt x="10849" y="314677"/>
                      </a:lnTo>
                      <a:cubicBezTo>
                        <a:pt x="12708" y="328618"/>
                        <a:pt x="25489" y="338424"/>
                        <a:pt x="39419" y="336580"/>
                      </a:cubicBezTo>
                      <a:cubicBezTo>
                        <a:pt x="68995" y="422891"/>
                        <a:pt x="140500" y="481381"/>
                        <a:pt x="219715" y="476124"/>
                      </a:cubicBezTo>
                      <a:lnTo>
                        <a:pt x="231142" y="475367"/>
                      </a:lnTo>
                      <a:cubicBezTo>
                        <a:pt x="310357" y="470109"/>
                        <a:pt x="373505" y="402682"/>
                        <a:pt x="391415" y="313219"/>
                      </a:cubicBezTo>
                      <a:cubicBezTo>
                        <a:pt x="405466" y="313206"/>
                        <a:pt x="416839" y="301797"/>
                        <a:pt x="416839" y="287733"/>
                      </a:cubicBezTo>
                      <a:lnTo>
                        <a:pt x="416839" y="207350"/>
                      </a:lnTo>
                      <a:cubicBezTo>
                        <a:pt x="416839" y="193368"/>
                        <a:pt x="405599" y="182011"/>
                        <a:pt x="391661" y="181965"/>
                      </a:cubicBezTo>
                      <a:lnTo>
                        <a:pt x="391572" y="181593"/>
                      </a:lnTo>
                      <a:cubicBezTo>
                        <a:pt x="390777" y="182624"/>
                        <a:pt x="389751" y="182734"/>
                        <a:pt x="388290" y="181378"/>
                      </a:cubicBezTo>
                      <a:lnTo>
                        <a:pt x="382586" y="172748"/>
                      </a:lnTo>
                      <a:cubicBezTo>
                        <a:pt x="372772" y="154308"/>
                        <a:pt x="358304" y="84946"/>
                        <a:pt x="346379" y="58690"/>
                      </a:cubicBezTo>
                      <a:cubicBezTo>
                        <a:pt x="334455" y="32434"/>
                        <a:pt x="321869" y="24996"/>
                        <a:pt x="311038" y="15215"/>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52" name="Freeform 33">
                  <a:extLst>
                    <a:ext uri="{FF2B5EF4-FFF2-40B4-BE49-F238E27FC236}">
                      <a16:creationId xmlns:a16="http://schemas.microsoft.com/office/drawing/2014/main" id="{9B45D3ED-B71D-4F92-BE00-2189827D6E0D}"/>
                    </a:ext>
                  </a:extLst>
                </p:cNvPr>
                <p:cNvSpPr/>
                <p:nvPr/>
              </p:nvSpPr>
              <p:spPr bwMode="gray">
                <a:xfrm>
                  <a:off x="-5723882" y="1848863"/>
                  <a:ext cx="410254" cy="292071"/>
                </a:xfrm>
                <a:custGeom>
                  <a:avLst/>
                  <a:gdLst>
                    <a:gd name="connsiteX0" fmla="*/ 1905 w 405765"/>
                    <a:gd name="connsiteY0" fmla="*/ 255270 h 264795"/>
                    <a:gd name="connsiteX1" fmla="*/ 0 w 405765"/>
                    <a:gd name="connsiteY1" fmla="*/ 169545 h 264795"/>
                    <a:gd name="connsiteX2" fmla="*/ 19050 w 405765"/>
                    <a:gd name="connsiteY2" fmla="*/ 78105 h 264795"/>
                    <a:gd name="connsiteX3" fmla="*/ 66675 w 405765"/>
                    <a:gd name="connsiteY3" fmla="*/ 47625 h 264795"/>
                    <a:gd name="connsiteX4" fmla="*/ 102870 w 405765"/>
                    <a:gd name="connsiteY4" fmla="*/ 49530 h 264795"/>
                    <a:gd name="connsiteX5" fmla="*/ 123825 w 405765"/>
                    <a:gd name="connsiteY5" fmla="*/ 19050 h 264795"/>
                    <a:gd name="connsiteX6" fmla="*/ 186690 w 405765"/>
                    <a:gd name="connsiteY6" fmla="*/ 0 h 264795"/>
                    <a:gd name="connsiteX7" fmla="*/ 264795 w 405765"/>
                    <a:gd name="connsiteY7" fmla="*/ 1905 h 264795"/>
                    <a:gd name="connsiteX8" fmla="*/ 361950 w 405765"/>
                    <a:gd name="connsiteY8" fmla="*/ 43815 h 264795"/>
                    <a:gd name="connsiteX9" fmla="*/ 400050 w 405765"/>
                    <a:gd name="connsiteY9" fmla="*/ 120015 h 264795"/>
                    <a:gd name="connsiteX10" fmla="*/ 405765 w 405765"/>
                    <a:gd name="connsiteY10" fmla="*/ 186690 h 264795"/>
                    <a:gd name="connsiteX11" fmla="*/ 396240 w 405765"/>
                    <a:gd name="connsiteY11" fmla="*/ 264795 h 264795"/>
                    <a:gd name="connsiteX12" fmla="*/ 371475 w 405765"/>
                    <a:gd name="connsiteY12" fmla="*/ 255270 h 264795"/>
                    <a:gd name="connsiteX13" fmla="*/ 371475 w 405765"/>
                    <a:gd name="connsiteY13" fmla="*/ 182880 h 264795"/>
                    <a:gd name="connsiteX14" fmla="*/ 333375 w 405765"/>
                    <a:gd name="connsiteY14" fmla="*/ 110490 h 264795"/>
                    <a:gd name="connsiteX15" fmla="*/ 226695 w 405765"/>
                    <a:gd name="connsiteY15" fmla="*/ 93345 h 264795"/>
                    <a:gd name="connsiteX16" fmla="*/ 139065 w 405765"/>
                    <a:gd name="connsiteY16" fmla="*/ 87630 h 264795"/>
                    <a:gd name="connsiteX17" fmla="*/ 114300 w 405765"/>
                    <a:gd name="connsiteY17" fmla="*/ 78105 h 264795"/>
                    <a:gd name="connsiteX18" fmla="*/ 95250 w 405765"/>
                    <a:gd name="connsiteY18" fmla="*/ 104775 h 264795"/>
                    <a:gd name="connsiteX19" fmla="*/ 53340 w 405765"/>
                    <a:gd name="connsiteY19" fmla="*/ 140970 h 264795"/>
                    <a:gd name="connsiteX20" fmla="*/ 1905 w 405765"/>
                    <a:gd name="connsiteY20" fmla="*/ 255270 h 264795"/>
                    <a:gd name="connsiteX0" fmla="*/ 5395 w 409255"/>
                    <a:gd name="connsiteY0" fmla="*/ 255270 h 264795"/>
                    <a:gd name="connsiteX1" fmla="*/ 3490 w 409255"/>
                    <a:gd name="connsiteY1" fmla="*/ 169545 h 264795"/>
                    <a:gd name="connsiteX2" fmla="*/ 22540 w 409255"/>
                    <a:gd name="connsiteY2" fmla="*/ 78105 h 264795"/>
                    <a:gd name="connsiteX3" fmla="*/ 70165 w 409255"/>
                    <a:gd name="connsiteY3" fmla="*/ 47625 h 264795"/>
                    <a:gd name="connsiteX4" fmla="*/ 106360 w 409255"/>
                    <a:gd name="connsiteY4" fmla="*/ 49530 h 264795"/>
                    <a:gd name="connsiteX5" fmla="*/ 127315 w 409255"/>
                    <a:gd name="connsiteY5" fmla="*/ 19050 h 264795"/>
                    <a:gd name="connsiteX6" fmla="*/ 190180 w 409255"/>
                    <a:gd name="connsiteY6" fmla="*/ 0 h 264795"/>
                    <a:gd name="connsiteX7" fmla="*/ 268285 w 409255"/>
                    <a:gd name="connsiteY7" fmla="*/ 1905 h 264795"/>
                    <a:gd name="connsiteX8" fmla="*/ 365440 w 409255"/>
                    <a:gd name="connsiteY8" fmla="*/ 43815 h 264795"/>
                    <a:gd name="connsiteX9" fmla="*/ 403540 w 409255"/>
                    <a:gd name="connsiteY9" fmla="*/ 120015 h 264795"/>
                    <a:gd name="connsiteX10" fmla="*/ 409255 w 409255"/>
                    <a:gd name="connsiteY10" fmla="*/ 186690 h 264795"/>
                    <a:gd name="connsiteX11" fmla="*/ 399730 w 409255"/>
                    <a:gd name="connsiteY11" fmla="*/ 264795 h 264795"/>
                    <a:gd name="connsiteX12" fmla="*/ 374965 w 409255"/>
                    <a:gd name="connsiteY12" fmla="*/ 255270 h 264795"/>
                    <a:gd name="connsiteX13" fmla="*/ 374965 w 409255"/>
                    <a:gd name="connsiteY13" fmla="*/ 182880 h 264795"/>
                    <a:gd name="connsiteX14" fmla="*/ 336865 w 409255"/>
                    <a:gd name="connsiteY14" fmla="*/ 110490 h 264795"/>
                    <a:gd name="connsiteX15" fmla="*/ 230185 w 409255"/>
                    <a:gd name="connsiteY15" fmla="*/ 93345 h 264795"/>
                    <a:gd name="connsiteX16" fmla="*/ 142555 w 409255"/>
                    <a:gd name="connsiteY16" fmla="*/ 87630 h 264795"/>
                    <a:gd name="connsiteX17" fmla="*/ 117790 w 409255"/>
                    <a:gd name="connsiteY17" fmla="*/ 78105 h 264795"/>
                    <a:gd name="connsiteX18" fmla="*/ 98740 w 409255"/>
                    <a:gd name="connsiteY18" fmla="*/ 104775 h 264795"/>
                    <a:gd name="connsiteX19" fmla="*/ 56830 w 409255"/>
                    <a:gd name="connsiteY19" fmla="*/ 140970 h 264795"/>
                    <a:gd name="connsiteX20" fmla="*/ 5395 w 409255"/>
                    <a:gd name="connsiteY20" fmla="*/ 255270 h 264795"/>
                    <a:gd name="connsiteX0" fmla="*/ 5395 w 409255"/>
                    <a:gd name="connsiteY0" fmla="*/ 255270 h 264795"/>
                    <a:gd name="connsiteX1" fmla="*/ 3490 w 409255"/>
                    <a:gd name="connsiteY1" fmla="*/ 169545 h 264795"/>
                    <a:gd name="connsiteX2" fmla="*/ 22540 w 409255"/>
                    <a:gd name="connsiteY2" fmla="*/ 78105 h 264795"/>
                    <a:gd name="connsiteX3" fmla="*/ 70165 w 409255"/>
                    <a:gd name="connsiteY3" fmla="*/ 47625 h 264795"/>
                    <a:gd name="connsiteX4" fmla="*/ 106360 w 409255"/>
                    <a:gd name="connsiteY4" fmla="*/ 49530 h 264795"/>
                    <a:gd name="connsiteX5" fmla="*/ 127315 w 409255"/>
                    <a:gd name="connsiteY5" fmla="*/ 19050 h 264795"/>
                    <a:gd name="connsiteX6" fmla="*/ 190180 w 409255"/>
                    <a:gd name="connsiteY6" fmla="*/ 0 h 264795"/>
                    <a:gd name="connsiteX7" fmla="*/ 268285 w 409255"/>
                    <a:gd name="connsiteY7" fmla="*/ 1905 h 264795"/>
                    <a:gd name="connsiteX8" fmla="*/ 365440 w 409255"/>
                    <a:gd name="connsiteY8" fmla="*/ 43815 h 264795"/>
                    <a:gd name="connsiteX9" fmla="*/ 403540 w 409255"/>
                    <a:gd name="connsiteY9" fmla="*/ 120015 h 264795"/>
                    <a:gd name="connsiteX10" fmla="*/ 409255 w 409255"/>
                    <a:gd name="connsiteY10" fmla="*/ 186690 h 264795"/>
                    <a:gd name="connsiteX11" fmla="*/ 399730 w 409255"/>
                    <a:gd name="connsiteY11" fmla="*/ 264795 h 264795"/>
                    <a:gd name="connsiteX12" fmla="*/ 374965 w 409255"/>
                    <a:gd name="connsiteY12" fmla="*/ 255270 h 264795"/>
                    <a:gd name="connsiteX13" fmla="*/ 374965 w 409255"/>
                    <a:gd name="connsiteY13" fmla="*/ 182880 h 264795"/>
                    <a:gd name="connsiteX14" fmla="*/ 336865 w 409255"/>
                    <a:gd name="connsiteY14" fmla="*/ 110490 h 264795"/>
                    <a:gd name="connsiteX15" fmla="*/ 230185 w 409255"/>
                    <a:gd name="connsiteY15" fmla="*/ 93345 h 264795"/>
                    <a:gd name="connsiteX16" fmla="*/ 142555 w 409255"/>
                    <a:gd name="connsiteY16" fmla="*/ 87630 h 264795"/>
                    <a:gd name="connsiteX17" fmla="*/ 117790 w 409255"/>
                    <a:gd name="connsiteY17" fmla="*/ 78105 h 264795"/>
                    <a:gd name="connsiteX18" fmla="*/ 98740 w 409255"/>
                    <a:gd name="connsiteY18" fmla="*/ 104775 h 264795"/>
                    <a:gd name="connsiteX19" fmla="*/ 56830 w 409255"/>
                    <a:gd name="connsiteY19" fmla="*/ 140970 h 264795"/>
                    <a:gd name="connsiteX20" fmla="*/ 5395 w 409255"/>
                    <a:gd name="connsiteY20" fmla="*/ 255270 h 264795"/>
                    <a:gd name="connsiteX0" fmla="*/ 5395 w 409255"/>
                    <a:gd name="connsiteY0" fmla="*/ 255270 h 264795"/>
                    <a:gd name="connsiteX1" fmla="*/ 3490 w 409255"/>
                    <a:gd name="connsiteY1" fmla="*/ 169545 h 264795"/>
                    <a:gd name="connsiteX2" fmla="*/ 22540 w 409255"/>
                    <a:gd name="connsiteY2" fmla="*/ 78105 h 264795"/>
                    <a:gd name="connsiteX3" fmla="*/ 70165 w 409255"/>
                    <a:gd name="connsiteY3" fmla="*/ 47625 h 264795"/>
                    <a:gd name="connsiteX4" fmla="*/ 106360 w 409255"/>
                    <a:gd name="connsiteY4" fmla="*/ 49530 h 264795"/>
                    <a:gd name="connsiteX5" fmla="*/ 127315 w 409255"/>
                    <a:gd name="connsiteY5" fmla="*/ 19050 h 264795"/>
                    <a:gd name="connsiteX6" fmla="*/ 190180 w 409255"/>
                    <a:gd name="connsiteY6" fmla="*/ 0 h 264795"/>
                    <a:gd name="connsiteX7" fmla="*/ 268285 w 409255"/>
                    <a:gd name="connsiteY7" fmla="*/ 1905 h 264795"/>
                    <a:gd name="connsiteX8" fmla="*/ 365440 w 409255"/>
                    <a:gd name="connsiteY8" fmla="*/ 43815 h 264795"/>
                    <a:gd name="connsiteX9" fmla="*/ 403540 w 409255"/>
                    <a:gd name="connsiteY9" fmla="*/ 120015 h 264795"/>
                    <a:gd name="connsiteX10" fmla="*/ 409255 w 409255"/>
                    <a:gd name="connsiteY10" fmla="*/ 186690 h 264795"/>
                    <a:gd name="connsiteX11" fmla="*/ 399730 w 409255"/>
                    <a:gd name="connsiteY11" fmla="*/ 264795 h 264795"/>
                    <a:gd name="connsiteX12" fmla="*/ 374965 w 409255"/>
                    <a:gd name="connsiteY12" fmla="*/ 255270 h 264795"/>
                    <a:gd name="connsiteX13" fmla="*/ 374965 w 409255"/>
                    <a:gd name="connsiteY13" fmla="*/ 182880 h 264795"/>
                    <a:gd name="connsiteX14" fmla="*/ 336865 w 409255"/>
                    <a:gd name="connsiteY14" fmla="*/ 110490 h 264795"/>
                    <a:gd name="connsiteX15" fmla="*/ 230185 w 409255"/>
                    <a:gd name="connsiteY15" fmla="*/ 93345 h 264795"/>
                    <a:gd name="connsiteX16" fmla="*/ 142555 w 409255"/>
                    <a:gd name="connsiteY16" fmla="*/ 87630 h 264795"/>
                    <a:gd name="connsiteX17" fmla="*/ 117790 w 409255"/>
                    <a:gd name="connsiteY17" fmla="*/ 78105 h 264795"/>
                    <a:gd name="connsiteX18" fmla="*/ 98740 w 409255"/>
                    <a:gd name="connsiteY18" fmla="*/ 104775 h 264795"/>
                    <a:gd name="connsiteX19" fmla="*/ 56830 w 409255"/>
                    <a:gd name="connsiteY19" fmla="*/ 140970 h 264795"/>
                    <a:gd name="connsiteX20" fmla="*/ 5395 w 409255"/>
                    <a:gd name="connsiteY20" fmla="*/ 255270 h 264795"/>
                    <a:gd name="connsiteX0" fmla="*/ 5395 w 409255"/>
                    <a:gd name="connsiteY0" fmla="*/ 255270 h 264795"/>
                    <a:gd name="connsiteX1" fmla="*/ 3490 w 409255"/>
                    <a:gd name="connsiteY1" fmla="*/ 169545 h 264795"/>
                    <a:gd name="connsiteX2" fmla="*/ 22540 w 409255"/>
                    <a:gd name="connsiteY2" fmla="*/ 78105 h 264795"/>
                    <a:gd name="connsiteX3" fmla="*/ 54925 w 409255"/>
                    <a:gd name="connsiteY3" fmla="*/ 47625 h 264795"/>
                    <a:gd name="connsiteX4" fmla="*/ 106360 w 409255"/>
                    <a:gd name="connsiteY4" fmla="*/ 49530 h 264795"/>
                    <a:gd name="connsiteX5" fmla="*/ 127315 w 409255"/>
                    <a:gd name="connsiteY5" fmla="*/ 19050 h 264795"/>
                    <a:gd name="connsiteX6" fmla="*/ 190180 w 409255"/>
                    <a:gd name="connsiteY6" fmla="*/ 0 h 264795"/>
                    <a:gd name="connsiteX7" fmla="*/ 268285 w 409255"/>
                    <a:gd name="connsiteY7" fmla="*/ 1905 h 264795"/>
                    <a:gd name="connsiteX8" fmla="*/ 365440 w 409255"/>
                    <a:gd name="connsiteY8" fmla="*/ 43815 h 264795"/>
                    <a:gd name="connsiteX9" fmla="*/ 403540 w 409255"/>
                    <a:gd name="connsiteY9" fmla="*/ 120015 h 264795"/>
                    <a:gd name="connsiteX10" fmla="*/ 409255 w 409255"/>
                    <a:gd name="connsiteY10" fmla="*/ 186690 h 264795"/>
                    <a:gd name="connsiteX11" fmla="*/ 399730 w 409255"/>
                    <a:gd name="connsiteY11" fmla="*/ 264795 h 264795"/>
                    <a:gd name="connsiteX12" fmla="*/ 374965 w 409255"/>
                    <a:gd name="connsiteY12" fmla="*/ 255270 h 264795"/>
                    <a:gd name="connsiteX13" fmla="*/ 374965 w 409255"/>
                    <a:gd name="connsiteY13" fmla="*/ 182880 h 264795"/>
                    <a:gd name="connsiteX14" fmla="*/ 336865 w 409255"/>
                    <a:gd name="connsiteY14" fmla="*/ 110490 h 264795"/>
                    <a:gd name="connsiteX15" fmla="*/ 230185 w 409255"/>
                    <a:gd name="connsiteY15" fmla="*/ 93345 h 264795"/>
                    <a:gd name="connsiteX16" fmla="*/ 142555 w 409255"/>
                    <a:gd name="connsiteY16" fmla="*/ 87630 h 264795"/>
                    <a:gd name="connsiteX17" fmla="*/ 117790 w 409255"/>
                    <a:gd name="connsiteY17" fmla="*/ 78105 h 264795"/>
                    <a:gd name="connsiteX18" fmla="*/ 98740 w 409255"/>
                    <a:gd name="connsiteY18" fmla="*/ 104775 h 264795"/>
                    <a:gd name="connsiteX19" fmla="*/ 56830 w 409255"/>
                    <a:gd name="connsiteY19" fmla="*/ 140970 h 264795"/>
                    <a:gd name="connsiteX20" fmla="*/ 5395 w 409255"/>
                    <a:gd name="connsiteY20" fmla="*/ 255270 h 264795"/>
                    <a:gd name="connsiteX0" fmla="*/ 6629 w 410489"/>
                    <a:gd name="connsiteY0" fmla="*/ 255270 h 264795"/>
                    <a:gd name="connsiteX1" fmla="*/ 4724 w 410489"/>
                    <a:gd name="connsiteY1" fmla="*/ 169545 h 264795"/>
                    <a:gd name="connsiteX2" fmla="*/ 914 w 410489"/>
                    <a:gd name="connsiteY2" fmla="*/ 167640 h 264795"/>
                    <a:gd name="connsiteX3" fmla="*/ 23774 w 410489"/>
                    <a:gd name="connsiteY3" fmla="*/ 78105 h 264795"/>
                    <a:gd name="connsiteX4" fmla="*/ 56159 w 410489"/>
                    <a:gd name="connsiteY4" fmla="*/ 47625 h 264795"/>
                    <a:gd name="connsiteX5" fmla="*/ 107594 w 410489"/>
                    <a:gd name="connsiteY5" fmla="*/ 49530 h 264795"/>
                    <a:gd name="connsiteX6" fmla="*/ 128549 w 410489"/>
                    <a:gd name="connsiteY6" fmla="*/ 19050 h 264795"/>
                    <a:gd name="connsiteX7" fmla="*/ 191414 w 410489"/>
                    <a:gd name="connsiteY7" fmla="*/ 0 h 264795"/>
                    <a:gd name="connsiteX8" fmla="*/ 269519 w 410489"/>
                    <a:gd name="connsiteY8" fmla="*/ 1905 h 264795"/>
                    <a:gd name="connsiteX9" fmla="*/ 366674 w 410489"/>
                    <a:gd name="connsiteY9" fmla="*/ 43815 h 264795"/>
                    <a:gd name="connsiteX10" fmla="*/ 404774 w 410489"/>
                    <a:gd name="connsiteY10" fmla="*/ 120015 h 264795"/>
                    <a:gd name="connsiteX11" fmla="*/ 410489 w 410489"/>
                    <a:gd name="connsiteY11" fmla="*/ 186690 h 264795"/>
                    <a:gd name="connsiteX12" fmla="*/ 400964 w 410489"/>
                    <a:gd name="connsiteY12" fmla="*/ 264795 h 264795"/>
                    <a:gd name="connsiteX13" fmla="*/ 376199 w 410489"/>
                    <a:gd name="connsiteY13" fmla="*/ 255270 h 264795"/>
                    <a:gd name="connsiteX14" fmla="*/ 376199 w 410489"/>
                    <a:gd name="connsiteY14" fmla="*/ 182880 h 264795"/>
                    <a:gd name="connsiteX15" fmla="*/ 338099 w 410489"/>
                    <a:gd name="connsiteY15" fmla="*/ 110490 h 264795"/>
                    <a:gd name="connsiteX16" fmla="*/ 231419 w 410489"/>
                    <a:gd name="connsiteY16" fmla="*/ 93345 h 264795"/>
                    <a:gd name="connsiteX17" fmla="*/ 143789 w 410489"/>
                    <a:gd name="connsiteY17" fmla="*/ 87630 h 264795"/>
                    <a:gd name="connsiteX18" fmla="*/ 119024 w 410489"/>
                    <a:gd name="connsiteY18" fmla="*/ 78105 h 264795"/>
                    <a:gd name="connsiteX19" fmla="*/ 99974 w 410489"/>
                    <a:gd name="connsiteY19" fmla="*/ 104775 h 264795"/>
                    <a:gd name="connsiteX20" fmla="*/ 58064 w 410489"/>
                    <a:gd name="connsiteY20" fmla="*/ 140970 h 264795"/>
                    <a:gd name="connsiteX21" fmla="*/ 6629 w 410489"/>
                    <a:gd name="connsiteY21" fmla="*/ 255270 h 264795"/>
                    <a:gd name="connsiteX0" fmla="*/ 6629 w 410489"/>
                    <a:gd name="connsiteY0" fmla="*/ 255270 h 264795"/>
                    <a:gd name="connsiteX1" fmla="*/ 4724 w 410489"/>
                    <a:gd name="connsiteY1" fmla="*/ 169545 h 264795"/>
                    <a:gd name="connsiteX2" fmla="*/ 914 w 410489"/>
                    <a:gd name="connsiteY2" fmla="*/ 167640 h 264795"/>
                    <a:gd name="connsiteX3" fmla="*/ 23774 w 410489"/>
                    <a:gd name="connsiteY3" fmla="*/ 78105 h 264795"/>
                    <a:gd name="connsiteX4" fmla="*/ 56159 w 410489"/>
                    <a:gd name="connsiteY4" fmla="*/ 47625 h 264795"/>
                    <a:gd name="connsiteX5" fmla="*/ 107594 w 410489"/>
                    <a:gd name="connsiteY5" fmla="*/ 40005 h 264795"/>
                    <a:gd name="connsiteX6" fmla="*/ 128549 w 410489"/>
                    <a:gd name="connsiteY6" fmla="*/ 19050 h 264795"/>
                    <a:gd name="connsiteX7" fmla="*/ 191414 w 410489"/>
                    <a:gd name="connsiteY7" fmla="*/ 0 h 264795"/>
                    <a:gd name="connsiteX8" fmla="*/ 269519 w 410489"/>
                    <a:gd name="connsiteY8" fmla="*/ 1905 h 264795"/>
                    <a:gd name="connsiteX9" fmla="*/ 366674 w 410489"/>
                    <a:gd name="connsiteY9" fmla="*/ 43815 h 264795"/>
                    <a:gd name="connsiteX10" fmla="*/ 404774 w 410489"/>
                    <a:gd name="connsiteY10" fmla="*/ 120015 h 264795"/>
                    <a:gd name="connsiteX11" fmla="*/ 410489 w 410489"/>
                    <a:gd name="connsiteY11" fmla="*/ 186690 h 264795"/>
                    <a:gd name="connsiteX12" fmla="*/ 400964 w 410489"/>
                    <a:gd name="connsiteY12" fmla="*/ 264795 h 264795"/>
                    <a:gd name="connsiteX13" fmla="*/ 376199 w 410489"/>
                    <a:gd name="connsiteY13" fmla="*/ 255270 h 264795"/>
                    <a:gd name="connsiteX14" fmla="*/ 376199 w 410489"/>
                    <a:gd name="connsiteY14" fmla="*/ 182880 h 264795"/>
                    <a:gd name="connsiteX15" fmla="*/ 338099 w 410489"/>
                    <a:gd name="connsiteY15" fmla="*/ 110490 h 264795"/>
                    <a:gd name="connsiteX16" fmla="*/ 231419 w 410489"/>
                    <a:gd name="connsiteY16" fmla="*/ 93345 h 264795"/>
                    <a:gd name="connsiteX17" fmla="*/ 143789 w 410489"/>
                    <a:gd name="connsiteY17" fmla="*/ 87630 h 264795"/>
                    <a:gd name="connsiteX18" fmla="*/ 119024 w 410489"/>
                    <a:gd name="connsiteY18" fmla="*/ 78105 h 264795"/>
                    <a:gd name="connsiteX19" fmla="*/ 99974 w 410489"/>
                    <a:gd name="connsiteY19" fmla="*/ 104775 h 264795"/>
                    <a:gd name="connsiteX20" fmla="*/ 58064 w 410489"/>
                    <a:gd name="connsiteY20" fmla="*/ 140970 h 264795"/>
                    <a:gd name="connsiteX21" fmla="*/ 6629 w 410489"/>
                    <a:gd name="connsiteY21" fmla="*/ 255270 h 264795"/>
                    <a:gd name="connsiteX0" fmla="*/ 6629 w 410489"/>
                    <a:gd name="connsiteY0" fmla="*/ 255270 h 264795"/>
                    <a:gd name="connsiteX1" fmla="*/ 4724 w 410489"/>
                    <a:gd name="connsiteY1" fmla="*/ 169545 h 264795"/>
                    <a:gd name="connsiteX2" fmla="*/ 914 w 410489"/>
                    <a:gd name="connsiteY2" fmla="*/ 167640 h 264795"/>
                    <a:gd name="connsiteX3" fmla="*/ 23774 w 410489"/>
                    <a:gd name="connsiteY3" fmla="*/ 78105 h 264795"/>
                    <a:gd name="connsiteX4" fmla="*/ 56159 w 410489"/>
                    <a:gd name="connsiteY4" fmla="*/ 47625 h 264795"/>
                    <a:gd name="connsiteX5" fmla="*/ 107594 w 410489"/>
                    <a:gd name="connsiteY5" fmla="*/ 40005 h 264795"/>
                    <a:gd name="connsiteX6" fmla="*/ 128549 w 410489"/>
                    <a:gd name="connsiteY6" fmla="*/ 19050 h 264795"/>
                    <a:gd name="connsiteX7" fmla="*/ 191414 w 410489"/>
                    <a:gd name="connsiteY7" fmla="*/ 0 h 264795"/>
                    <a:gd name="connsiteX8" fmla="*/ 269519 w 410489"/>
                    <a:gd name="connsiteY8" fmla="*/ 1905 h 264795"/>
                    <a:gd name="connsiteX9" fmla="*/ 366674 w 410489"/>
                    <a:gd name="connsiteY9" fmla="*/ 43815 h 264795"/>
                    <a:gd name="connsiteX10" fmla="*/ 404774 w 410489"/>
                    <a:gd name="connsiteY10" fmla="*/ 120015 h 264795"/>
                    <a:gd name="connsiteX11" fmla="*/ 410489 w 410489"/>
                    <a:gd name="connsiteY11" fmla="*/ 186690 h 264795"/>
                    <a:gd name="connsiteX12" fmla="*/ 400964 w 410489"/>
                    <a:gd name="connsiteY12" fmla="*/ 264795 h 264795"/>
                    <a:gd name="connsiteX13" fmla="*/ 376199 w 410489"/>
                    <a:gd name="connsiteY13" fmla="*/ 255270 h 264795"/>
                    <a:gd name="connsiteX14" fmla="*/ 376199 w 410489"/>
                    <a:gd name="connsiteY14" fmla="*/ 182880 h 264795"/>
                    <a:gd name="connsiteX15" fmla="*/ 338099 w 410489"/>
                    <a:gd name="connsiteY15" fmla="*/ 110490 h 264795"/>
                    <a:gd name="connsiteX16" fmla="*/ 231419 w 410489"/>
                    <a:gd name="connsiteY16" fmla="*/ 93345 h 264795"/>
                    <a:gd name="connsiteX17" fmla="*/ 143789 w 410489"/>
                    <a:gd name="connsiteY17" fmla="*/ 87630 h 264795"/>
                    <a:gd name="connsiteX18" fmla="*/ 119024 w 410489"/>
                    <a:gd name="connsiteY18" fmla="*/ 78105 h 264795"/>
                    <a:gd name="connsiteX19" fmla="*/ 99974 w 410489"/>
                    <a:gd name="connsiteY19" fmla="*/ 104775 h 264795"/>
                    <a:gd name="connsiteX20" fmla="*/ 58064 w 410489"/>
                    <a:gd name="connsiteY20" fmla="*/ 140970 h 264795"/>
                    <a:gd name="connsiteX21" fmla="*/ 6629 w 410489"/>
                    <a:gd name="connsiteY21" fmla="*/ 255270 h 264795"/>
                    <a:gd name="connsiteX0" fmla="*/ 6629 w 410489"/>
                    <a:gd name="connsiteY0" fmla="*/ 255288 h 264813"/>
                    <a:gd name="connsiteX1" fmla="*/ 4724 w 410489"/>
                    <a:gd name="connsiteY1" fmla="*/ 169563 h 264813"/>
                    <a:gd name="connsiteX2" fmla="*/ 914 w 410489"/>
                    <a:gd name="connsiteY2" fmla="*/ 167658 h 264813"/>
                    <a:gd name="connsiteX3" fmla="*/ 23774 w 410489"/>
                    <a:gd name="connsiteY3" fmla="*/ 78123 h 264813"/>
                    <a:gd name="connsiteX4" fmla="*/ 56159 w 410489"/>
                    <a:gd name="connsiteY4" fmla="*/ 47643 h 264813"/>
                    <a:gd name="connsiteX5" fmla="*/ 107594 w 410489"/>
                    <a:gd name="connsiteY5" fmla="*/ 40023 h 264813"/>
                    <a:gd name="connsiteX6" fmla="*/ 128549 w 410489"/>
                    <a:gd name="connsiteY6" fmla="*/ 19068 h 264813"/>
                    <a:gd name="connsiteX7" fmla="*/ 191414 w 410489"/>
                    <a:gd name="connsiteY7" fmla="*/ 18 h 264813"/>
                    <a:gd name="connsiteX8" fmla="*/ 269519 w 410489"/>
                    <a:gd name="connsiteY8" fmla="*/ 1923 h 264813"/>
                    <a:gd name="connsiteX9" fmla="*/ 366674 w 410489"/>
                    <a:gd name="connsiteY9" fmla="*/ 43833 h 264813"/>
                    <a:gd name="connsiteX10" fmla="*/ 404774 w 410489"/>
                    <a:gd name="connsiteY10" fmla="*/ 120033 h 264813"/>
                    <a:gd name="connsiteX11" fmla="*/ 410489 w 410489"/>
                    <a:gd name="connsiteY11" fmla="*/ 186708 h 264813"/>
                    <a:gd name="connsiteX12" fmla="*/ 400964 w 410489"/>
                    <a:gd name="connsiteY12" fmla="*/ 264813 h 264813"/>
                    <a:gd name="connsiteX13" fmla="*/ 376199 w 410489"/>
                    <a:gd name="connsiteY13" fmla="*/ 255288 h 264813"/>
                    <a:gd name="connsiteX14" fmla="*/ 376199 w 410489"/>
                    <a:gd name="connsiteY14" fmla="*/ 182898 h 264813"/>
                    <a:gd name="connsiteX15" fmla="*/ 338099 w 410489"/>
                    <a:gd name="connsiteY15" fmla="*/ 110508 h 264813"/>
                    <a:gd name="connsiteX16" fmla="*/ 231419 w 410489"/>
                    <a:gd name="connsiteY16" fmla="*/ 93363 h 264813"/>
                    <a:gd name="connsiteX17" fmla="*/ 143789 w 410489"/>
                    <a:gd name="connsiteY17" fmla="*/ 87648 h 264813"/>
                    <a:gd name="connsiteX18" fmla="*/ 119024 w 410489"/>
                    <a:gd name="connsiteY18" fmla="*/ 78123 h 264813"/>
                    <a:gd name="connsiteX19" fmla="*/ 99974 w 410489"/>
                    <a:gd name="connsiteY19" fmla="*/ 104793 h 264813"/>
                    <a:gd name="connsiteX20" fmla="*/ 58064 w 410489"/>
                    <a:gd name="connsiteY20" fmla="*/ 140988 h 264813"/>
                    <a:gd name="connsiteX21" fmla="*/ 6629 w 410489"/>
                    <a:gd name="connsiteY21" fmla="*/ 255288 h 264813"/>
                    <a:gd name="connsiteX0" fmla="*/ 6629 w 410489"/>
                    <a:gd name="connsiteY0" fmla="*/ 255288 h 264813"/>
                    <a:gd name="connsiteX1" fmla="*/ 4724 w 410489"/>
                    <a:gd name="connsiteY1" fmla="*/ 169563 h 264813"/>
                    <a:gd name="connsiteX2" fmla="*/ 914 w 410489"/>
                    <a:gd name="connsiteY2" fmla="*/ 167658 h 264813"/>
                    <a:gd name="connsiteX3" fmla="*/ 23774 w 410489"/>
                    <a:gd name="connsiteY3" fmla="*/ 78123 h 264813"/>
                    <a:gd name="connsiteX4" fmla="*/ 56159 w 410489"/>
                    <a:gd name="connsiteY4" fmla="*/ 47643 h 264813"/>
                    <a:gd name="connsiteX5" fmla="*/ 107594 w 410489"/>
                    <a:gd name="connsiteY5" fmla="*/ 40023 h 264813"/>
                    <a:gd name="connsiteX6" fmla="*/ 128549 w 410489"/>
                    <a:gd name="connsiteY6" fmla="*/ 19068 h 264813"/>
                    <a:gd name="connsiteX7" fmla="*/ 191414 w 410489"/>
                    <a:gd name="connsiteY7" fmla="*/ 18 h 264813"/>
                    <a:gd name="connsiteX8" fmla="*/ 269519 w 410489"/>
                    <a:gd name="connsiteY8" fmla="*/ 1923 h 264813"/>
                    <a:gd name="connsiteX9" fmla="*/ 366674 w 410489"/>
                    <a:gd name="connsiteY9" fmla="*/ 43833 h 264813"/>
                    <a:gd name="connsiteX10" fmla="*/ 404774 w 410489"/>
                    <a:gd name="connsiteY10" fmla="*/ 120033 h 264813"/>
                    <a:gd name="connsiteX11" fmla="*/ 410489 w 410489"/>
                    <a:gd name="connsiteY11" fmla="*/ 186708 h 264813"/>
                    <a:gd name="connsiteX12" fmla="*/ 400964 w 410489"/>
                    <a:gd name="connsiteY12" fmla="*/ 264813 h 264813"/>
                    <a:gd name="connsiteX13" fmla="*/ 376199 w 410489"/>
                    <a:gd name="connsiteY13" fmla="*/ 255288 h 264813"/>
                    <a:gd name="connsiteX14" fmla="*/ 376199 w 410489"/>
                    <a:gd name="connsiteY14" fmla="*/ 182898 h 264813"/>
                    <a:gd name="connsiteX15" fmla="*/ 338099 w 410489"/>
                    <a:gd name="connsiteY15" fmla="*/ 110508 h 264813"/>
                    <a:gd name="connsiteX16" fmla="*/ 231419 w 410489"/>
                    <a:gd name="connsiteY16" fmla="*/ 93363 h 264813"/>
                    <a:gd name="connsiteX17" fmla="*/ 143789 w 410489"/>
                    <a:gd name="connsiteY17" fmla="*/ 87648 h 264813"/>
                    <a:gd name="connsiteX18" fmla="*/ 119024 w 410489"/>
                    <a:gd name="connsiteY18" fmla="*/ 78123 h 264813"/>
                    <a:gd name="connsiteX19" fmla="*/ 99974 w 410489"/>
                    <a:gd name="connsiteY19" fmla="*/ 104793 h 264813"/>
                    <a:gd name="connsiteX20" fmla="*/ 58064 w 410489"/>
                    <a:gd name="connsiteY20" fmla="*/ 140988 h 264813"/>
                    <a:gd name="connsiteX21" fmla="*/ 6629 w 410489"/>
                    <a:gd name="connsiteY21" fmla="*/ 255288 h 264813"/>
                    <a:gd name="connsiteX0" fmla="*/ 6629 w 410489"/>
                    <a:gd name="connsiteY0" fmla="*/ 255288 h 264813"/>
                    <a:gd name="connsiteX1" fmla="*/ 4724 w 410489"/>
                    <a:gd name="connsiteY1" fmla="*/ 169563 h 264813"/>
                    <a:gd name="connsiteX2" fmla="*/ 914 w 410489"/>
                    <a:gd name="connsiteY2" fmla="*/ 167658 h 264813"/>
                    <a:gd name="connsiteX3" fmla="*/ 23774 w 410489"/>
                    <a:gd name="connsiteY3" fmla="*/ 78123 h 264813"/>
                    <a:gd name="connsiteX4" fmla="*/ 56159 w 410489"/>
                    <a:gd name="connsiteY4" fmla="*/ 47643 h 264813"/>
                    <a:gd name="connsiteX5" fmla="*/ 107594 w 410489"/>
                    <a:gd name="connsiteY5" fmla="*/ 40023 h 264813"/>
                    <a:gd name="connsiteX6" fmla="*/ 128549 w 410489"/>
                    <a:gd name="connsiteY6" fmla="*/ 19068 h 264813"/>
                    <a:gd name="connsiteX7" fmla="*/ 191414 w 410489"/>
                    <a:gd name="connsiteY7" fmla="*/ 18 h 264813"/>
                    <a:gd name="connsiteX8" fmla="*/ 269519 w 410489"/>
                    <a:gd name="connsiteY8" fmla="*/ 1923 h 264813"/>
                    <a:gd name="connsiteX9" fmla="*/ 366674 w 410489"/>
                    <a:gd name="connsiteY9" fmla="*/ 43833 h 264813"/>
                    <a:gd name="connsiteX10" fmla="*/ 404774 w 410489"/>
                    <a:gd name="connsiteY10" fmla="*/ 120033 h 264813"/>
                    <a:gd name="connsiteX11" fmla="*/ 410489 w 410489"/>
                    <a:gd name="connsiteY11" fmla="*/ 186708 h 264813"/>
                    <a:gd name="connsiteX12" fmla="*/ 400964 w 410489"/>
                    <a:gd name="connsiteY12" fmla="*/ 264813 h 264813"/>
                    <a:gd name="connsiteX13" fmla="*/ 376199 w 410489"/>
                    <a:gd name="connsiteY13" fmla="*/ 255288 h 264813"/>
                    <a:gd name="connsiteX14" fmla="*/ 376199 w 410489"/>
                    <a:gd name="connsiteY14" fmla="*/ 182898 h 264813"/>
                    <a:gd name="connsiteX15" fmla="*/ 338099 w 410489"/>
                    <a:gd name="connsiteY15" fmla="*/ 110508 h 264813"/>
                    <a:gd name="connsiteX16" fmla="*/ 231419 w 410489"/>
                    <a:gd name="connsiteY16" fmla="*/ 93363 h 264813"/>
                    <a:gd name="connsiteX17" fmla="*/ 143789 w 410489"/>
                    <a:gd name="connsiteY17" fmla="*/ 87648 h 264813"/>
                    <a:gd name="connsiteX18" fmla="*/ 119024 w 410489"/>
                    <a:gd name="connsiteY18" fmla="*/ 78123 h 264813"/>
                    <a:gd name="connsiteX19" fmla="*/ 99974 w 410489"/>
                    <a:gd name="connsiteY19" fmla="*/ 104793 h 264813"/>
                    <a:gd name="connsiteX20" fmla="*/ 58064 w 410489"/>
                    <a:gd name="connsiteY20" fmla="*/ 140988 h 264813"/>
                    <a:gd name="connsiteX21" fmla="*/ 6629 w 410489"/>
                    <a:gd name="connsiteY21" fmla="*/ 255288 h 264813"/>
                    <a:gd name="connsiteX0" fmla="*/ 6629 w 412053"/>
                    <a:gd name="connsiteY0" fmla="*/ 255288 h 264813"/>
                    <a:gd name="connsiteX1" fmla="*/ 4724 w 412053"/>
                    <a:gd name="connsiteY1" fmla="*/ 169563 h 264813"/>
                    <a:gd name="connsiteX2" fmla="*/ 914 w 412053"/>
                    <a:gd name="connsiteY2" fmla="*/ 167658 h 264813"/>
                    <a:gd name="connsiteX3" fmla="*/ 23774 w 412053"/>
                    <a:gd name="connsiteY3" fmla="*/ 78123 h 264813"/>
                    <a:gd name="connsiteX4" fmla="*/ 56159 w 412053"/>
                    <a:gd name="connsiteY4" fmla="*/ 47643 h 264813"/>
                    <a:gd name="connsiteX5" fmla="*/ 107594 w 412053"/>
                    <a:gd name="connsiteY5" fmla="*/ 40023 h 264813"/>
                    <a:gd name="connsiteX6" fmla="*/ 128549 w 412053"/>
                    <a:gd name="connsiteY6" fmla="*/ 19068 h 264813"/>
                    <a:gd name="connsiteX7" fmla="*/ 191414 w 412053"/>
                    <a:gd name="connsiteY7" fmla="*/ 18 h 264813"/>
                    <a:gd name="connsiteX8" fmla="*/ 269519 w 412053"/>
                    <a:gd name="connsiteY8" fmla="*/ 1923 h 264813"/>
                    <a:gd name="connsiteX9" fmla="*/ 366674 w 412053"/>
                    <a:gd name="connsiteY9" fmla="*/ 43833 h 264813"/>
                    <a:gd name="connsiteX10" fmla="*/ 404774 w 412053"/>
                    <a:gd name="connsiteY10" fmla="*/ 120033 h 264813"/>
                    <a:gd name="connsiteX11" fmla="*/ 410489 w 412053"/>
                    <a:gd name="connsiteY11" fmla="*/ 186708 h 264813"/>
                    <a:gd name="connsiteX12" fmla="*/ 400964 w 412053"/>
                    <a:gd name="connsiteY12" fmla="*/ 264813 h 264813"/>
                    <a:gd name="connsiteX13" fmla="*/ 376199 w 412053"/>
                    <a:gd name="connsiteY13" fmla="*/ 255288 h 264813"/>
                    <a:gd name="connsiteX14" fmla="*/ 376199 w 412053"/>
                    <a:gd name="connsiteY14" fmla="*/ 182898 h 264813"/>
                    <a:gd name="connsiteX15" fmla="*/ 338099 w 412053"/>
                    <a:gd name="connsiteY15" fmla="*/ 110508 h 264813"/>
                    <a:gd name="connsiteX16" fmla="*/ 231419 w 412053"/>
                    <a:gd name="connsiteY16" fmla="*/ 93363 h 264813"/>
                    <a:gd name="connsiteX17" fmla="*/ 143789 w 412053"/>
                    <a:gd name="connsiteY17" fmla="*/ 87648 h 264813"/>
                    <a:gd name="connsiteX18" fmla="*/ 119024 w 412053"/>
                    <a:gd name="connsiteY18" fmla="*/ 78123 h 264813"/>
                    <a:gd name="connsiteX19" fmla="*/ 99974 w 412053"/>
                    <a:gd name="connsiteY19" fmla="*/ 104793 h 264813"/>
                    <a:gd name="connsiteX20" fmla="*/ 58064 w 412053"/>
                    <a:gd name="connsiteY20" fmla="*/ 140988 h 264813"/>
                    <a:gd name="connsiteX21" fmla="*/ 6629 w 412053"/>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78123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8099 w 411930"/>
                    <a:gd name="connsiteY15" fmla="*/ 11050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78123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8099 w 411930"/>
                    <a:gd name="connsiteY15" fmla="*/ 11050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78123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8099 w 411930"/>
                    <a:gd name="connsiteY15" fmla="*/ 11050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78123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99078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99078 h 264813"/>
                    <a:gd name="connsiteX4" fmla="*/ 56159 w 411930"/>
                    <a:gd name="connsiteY4" fmla="*/ 5526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99078 h 264813"/>
                    <a:gd name="connsiteX4" fmla="*/ 46634 w 411930"/>
                    <a:gd name="connsiteY4" fmla="*/ 53358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14249 w 411930"/>
                    <a:gd name="connsiteY3" fmla="*/ 99078 h 264813"/>
                    <a:gd name="connsiteX4" fmla="*/ 46634 w 411930"/>
                    <a:gd name="connsiteY4" fmla="*/ 53358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9 h 264814"/>
                    <a:gd name="connsiteX1" fmla="*/ 4724 w 411930"/>
                    <a:gd name="connsiteY1" fmla="*/ 169564 h 264814"/>
                    <a:gd name="connsiteX2" fmla="*/ 914 w 411930"/>
                    <a:gd name="connsiteY2" fmla="*/ 167659 h 264814"/>
                    <a:gd name="connsiteX3" fmla="*/ 14249 w 411930"/>
                    <a:gd name="connsiteY3" fmla="*/ 99079 h 264814"/>
                    <a:gd name="connsiteX4" fmla="*/ 46634 w 411930"/>
                    <a:gd name="connsiteY4" fmla="*/ 53359 h 264814"/>
                    <a:gd name="connsiteX5" fmla="*/ 98069 w 411930"/>
                    <a:gd name="connsiteY5" fmla="*/ 41929 h 264814"/>
                    <a:gd name="connsiteX6" fmla="*/ 128549 w 411930"/>
                    <a:gd name="connsiteY6" fmla="*/ 19069 h 264814"/>
                    <a:gd name="connsiteX7" fmla="*/ 191414 w 411930"/>
                    <a:gd name="connsiteY7" fmla="*/ 19 h 264814"/>
                    <a:gd name="connsiteX8" fmla="*/ 269519 w 411930"/>
                    <a:gd name="connsiteY8" fmla="*/ 1924 h 264814"/>
                    <a:gd name="connsiteX9" fmla="*/ 366674 w 411930"/>
                    <a:gd name="connsiteY9" fmla="*/ 43834 h 264814"/>
                    <a:gd name="connsiteX10" fmla="*/ 404774 w 411930"/>
                    <a:gd name="connsiteY10" fmla="*/ 120034 h 264814"/>
                    <a:gd name="connsiteX11" fmla="*/ 410489 w 411930"/>
                    <a:gd name="connsiteY11" fmla="*/ 186709 h 264814"/>
                    <a:gd name="connsiteX12" fmla="*/ 400964 w 411930"/>
                    <a:gd name="connsiteY12" fmla="*/ 264814 h 264814"/>
                    <a:gd name="connsiteX13" fmla="*/ 376199 w 411930"/>
                    <a:gd name="connsiteY13" fmla="*/ 255289 h 264814"/>
                    <a:gd name="connsiteX14" fmla="*/ 376199 w 411930"/>
                    <a:gd name="connsiteY14" fmla="*/ 182899 h 264814"/>
                    <a:gd name="connsiteX15" fmla="*/ 336194 w 411930"/>
                    <a:gd name="connsiteY15" fmla="*/ 118129 h 264814"/>
                    <a:gd name="connsiteX16" fmla="*/ 231419 w 411930"/>
                    <a:gd name="connsiteY16" fmla="*/ 93364 h 264814"/>
                    <a:gd name="connsiteX17" fmla="*/ 143789 w 411930"/>
                    <a:gd name="connsiteY17" fmla="*/ 87649 h 264814"/>
                    <a:gd name="connsiteX18" fmla="*/ 119024 w 411930"/>
                    <a:gd name="connsiteY18" fmla="*/ 78124 h 264814"/>
                    <a:gd name="connsiteX19" fmla="*/ 99974 w 411930"/>
                    <a:gd name="connsiteY19" fmla="*/ 104794 h 264814"/>
                    <a:gd name="connsiteX20" fmla="*/ 58064 w 411930"/>
                    <a:gd name="connsiteY20" fmla="*/ 140989 h 264814"/>
                    <a:gd name="connsiteX21" fmla="*/ 6629 w 411930"/>
                    <a:gd name="connsiteY21" fmla="*/ 255289 h 264814"/>
                    <a:gd name="connsiteX0" fmla="*/ 6629 w 411930"/>
                    <a:gd name="connsiteY0" fmla="*/ 255504 h 265029"/>
                    <a:gd name="connsiteX1" fmla="*/ 4724 w 411930"/>
                    <a:gd name="connsiteY1" fmla="*/ 169779 h 265029"/>
                    <a:gd name="connsiteX2" fmla="*/ 914 w 411930"/>
                    <a:gd name="connsiteY2" fmla="*/ 167874 h 265029"/>
                    <a:gd name="connsiteX3" fmla="*/ 14249 w 411930"/>
                    <a:gd name="connsiteY3" fmla="*/ 99294 h 265029"/>
                    <a:gd name="connsiteX4" fmla="*/ 46634 w 411930"/>
                    <a:gd name="connsiteY4" fmla="*/ 53574 h 265029"/>
                    <a:gd name="connsiteX5" fmla="*/ 98069 w 411930"/>
                    <a:gd name="connsiteY5" fmla="*/ 42144 h 265029"/>
                    <a:gd name="connsiteX6" fmla="*/ 128549 w 411930"/>
                    <a:gd name="connsiteY6" fmla="*/ 7854 h 265029"/>
                    <a:gd name="connsiteX7" fmla="*/ 191414 w 411930"/>
                    <a:gd name="connsiteY7" fmla="*/ 234 h 265029"/>
                    <a:gd name="connsiteX8" fmla="*/ 269519 w 411930"/>
                    <a:gd name="connsiteY8" fmla="*/ 2139 h 265029"/>
                    <a:gd name="connsiteX9" fmla="*/ 366674 w 411930"/>
                    <a:gd name="connsiteY9" fmla="*/ 44049 h 265029"/>
                    <a:gd name="connsiteX10" fmla="*/ 404774 w 411930"/>
                    <a:gd name="connsiteY10" fmla="*/ 120249 h 265029"/>
                    <a:gd name="connsiteX11" fmla="*/ 410489 w 411930"/>
                    <a:gd name="connsiteY11" fmla="*/ 186924 h 265029"/>
                    <a:gd name="connsiteX12" fmla="*/ 400964 w 411930"/>
                    <a:gd name="connsiteY12" fmla="*/ 265029 h 265029"/>
                    <a:gd name="connsiteX13" fmla="*/ 376199 w 411930"/>
                    <a:gd name="connsiteY13" fmla="*/ 255504 h 265029"/>
                    <a:gd name="connsiteX14" fmla="*/ 376199 w 411930"/>
                    <a:gd name="connsiteY14" fmla="*/ 183114 h 265029"/>
                    <a:gd name="connsiteX15" fmla="*/ 336194 w 411930"/>
                    <a:gd name="connsiteY15" fmla="*/ 118344 h 265029"/>
                    <a:gd name="connsiteX16" fmla="*/ 231419 w 411930"/>
                    <a:gd name="connsiteY16" fmla="*/ 93579 h 265029"/>
                    <a:gd name="connsiteX17" fmla="*/ 143789 w 411930"/>
                    <a:gd name="connsiteY17" fmla="*/ 87864 h 265029"/>
                    <a:gd name="connsiteX18" fmla="*/ 119024 w 411930"/>
                    <a:gd name="connsiteY18" fmla="*/ 78339 h 265029"/>
                    <a:gd name="connsiteX19" fmla="*/ 99974 w 411930"/>
                    <a:gd name="connsiteY19" fmla="*/ 105009 h 265029"/>
                    <a:gd name="connsiteX20" fmla="*/ 58064 w 411930"/>
                    <a:gd name="connsiteY20" fmla="*/ 141204 h 265029"/>
                    <a:gd name="connsiteX21" fmla="*/ 6629 w 411930"/>
                    <a:gd name="connsiteY21" fmla="*/ 255504 h 265029"/>
                    <a:gd name="connsiteX0" fmla="*/ 6629 w 411930"/>
                    <a:gd name="connsiteY0" fmla="*/ 270585 h 280110"/>
                    <a:gd name="connsiteX1" fmla="*/ 4724 w 411930"/>
                    <a:gd name="connsiteY1" fmla="*/ 184860 h 280110"/>
                    <a:gd name="connsiteX2" fmla="*/ 914 w 411930"/>
                    <a:gd name="connsiteY2" fmla="*/ 182955 h 280110"/>
                    <a:gd name="connsiteX3" fmla="*/ 14249 w 411930"/>
                    <a:gd name="connsiteY3" fmla="*/ 114375 h 280110"/>
                    <a:gd name="connsiteX4" fmla="*/ 46634 w 411930"/>
                    <a:gd name="connsiteY4" fmla="*/ 68655 h 280110"/>
                    <a:gd name="connsiteX5" fmla="*/ 98069 w 411930"/>
                    <a:gd name="connsiteY5" fmla="*/ 57225 h 280110"/>
                    <a:gd name="connsiteX6" fmla="*/ 128549 w 411930"/>
                    <a:gd name="connsiteY6" fmla="*/ 22935 h 280110"/>
                    <a:gd name="connsiteX7" fmla="*/ 197129 w 411930"/>
                    <a:gd name="connsiteY7" fmla="*/ 75 h 280110"/>
                    <a:gd name="connsiteX8" fmla="*/ 269519 w 411930"/>
                    <a:gd name="connsiteY8" fmla="*/ 17220 h 280110"/>
                    <a:gd name="connsiteX9" fmla="*/ 366674 w 411930"/>
                    <a:gd name="connsiteY9" fmla="*/ 59130 h 280110"/>
                    <a:gd name="connsiteX10" fmla="*/ 404774 w 411930"/>
                    <a:gd name="connsiteY10" fmla="*/ 135330 h 280110"/>
                    <a:gd name="connsiteX11" fmla="*/ 410489 w 411930"/>
                    <a:gd name="connsiteY11" fmla="*/ 202005 h 280110"/>
                    <a:gd name="connsiteX12" fmla="*/ 400964 w 411930"/>
                    <a:gd name="connsiteY12" fmla="*/ 280110 h 280110"/>
                    <a:gd name="connsiteX13" fmla="*/ 376199 w 411930"/>
                    <a:gd name="connsiteY13" fmla="*/ 270585 h 280110"/>
                    <a:gd name="connsiteX14" fmla="*/ 376199 w 411930"/>
                    <a:gd name="connsiteY14" fmla="*/ 198195 h 280110"/>
                    <a:gd name="connsiteX15" fmla="*/ 336194 w 411930"/>
                    <a:gd name="connsiteY15" fmla="*/ 133425 h 280110"/>
                    <a:gd name="connsiteX16" fmla="*/ 231419 w 411930"/>
                    <a:gd name="connsiteY16" fmla="*/ 108660 h 280110"/>
                    <a:gd name="connsiteX17" fmla="*/ 143789 w 411930"/>
                    <a:gd name="connsiteY17" fmla="*/ 102945 h 280110"/>
                    <a:gd name="connsiteX18" fmla="*/ 119024 w 411930"/>
                    <a:gd name="connsiteY18" fmla="*/ 93420 h 280110"/>
                    <a:gd name="connsiteX19" fmla="*/ 99974 w 411930"/>
                    <a:gd name="connsiteY19" fmla="*/ 120090 h 280110"/>
                    <a:gd name="connsiteX20" fmla="*/ 58064 w 411930"/>
                    <a:gd name="connsiteY20" fmla="*/ 156285 h 280110"/>
                    <a:gd name="connsiteX21" fmla="*/ 6629 w 411930"/>
                    <a:gd name="connsiteY21" fmla="*/ 270585 h 280110"/>
                    <a:gd name="connsiteX0" fmla="*/ 6629 w 411930"/>
                    <a:gd name="connsiteY0" fmla="*/ 271009 h 280534"/>
                    <a:gd name="connsiteX1" fmla="*/ 4724 w 411930"/>
                    <a:gd name="connsiteY1" fmla="*/ 185284 h 280534"/>
                    <a:gd name="connsiteX2" fmla="*/ 914 w 411930"/>
                    <a:gd name="connsiteY2" fmla="*/ 183379 h 280534"/>
                    <a:gd name="connsiteX3" fmla="*/ 14249 w 411930"/>
                    <a:gd name="connsiteY3" fmla="*/ 114799 h 280534"/>
                    <a:gd name="connsiteX4" fmla="*/ 46634 w 411930"/>
                    <a:gd name="connsiteY4" fmla="*/ 69079 h 280534"/>
                    <a:gd name="connsiteX5" fmla="*/ 98069 w 411930"/>
                    <a:gd name="connsiteY5" fmla="*/ 57649 h 280534"/>
                    <a:gd name="connsiteX6" fmla="*/ 128549 w 411930"/>
                    <a:gd name="connsiteY6" fmla="*/ 23359 h 280534"/>
                    <a:gd name="connsiteX7" fmla="*/ 197129 w 411930"/>
                    <a:gd name="connsiteY7" fmla="*/ 499 h 280534"/>
                    <a:gd name="connsiteX8" fmla="*/ 286664 w 411930"/>
                    <a:gd name="connsiteY8" fmla="*/ 11929 h 280534"/>
                    <a:gd name="connsiteX9" fmla="*/ 366674 w 411930"/>
                    <a:gd name="connsiteY9" fmla="*/ 59554 h 280534"/>
                    <a:gd name="connsiteX10" fmla="*/ 404774 w 411930"/>
                    <a:gd name="connsiteY10" fmla="*/ 135754 h 280534"/>
                    <a:gd name="connsiteX11" fmla="*/ 410489 w 411930"/>
                    <a:gd name="connsiteY11" fmla="*/ 202429 h 280534"/>
                    <a:gd name="connsiteX12" fmla="*/ 400964 w 411930"/>
                    <a:gd name="connsiteY12" fmla="*/ 280534 h 280534"/>
                    <a:gd name="connsiteX13" fmla="*/ 376199 w 411930"/>
                    <a:gd name="connsiteY13" fmla="*/ 271009 h 280534"/>
                    <a:gd name="connsiteX14" fmla="*/ 376199 w 411930"/>
                    <a:gd name="connsiteY14" fmla="*/ 198619 h 280534"/>
                    <a:gd name="connsiteX15" fmla="*/ 336194 w 411930"/>
                    <a:gd name="connsiteY15" fmla="*/ 133849 h 280534"/>
                    <a:gd name="connsiteX16" fmla="*/ 231419 w 411930"/>
                    <a:gd name="connsiteY16" fmla="*/ 109084 h 280534"/>
                    <a:gd name="connsiteX17" fmla="*/ 143789 w 411930"/>
                    <a:gd name="connsiteY17" fmla="*/ 103369 h 280534"/>
                    <a:gd name="connsiteX18" fmla="*/ 119024 w 411930"/>
                    <a:gd name="connsiteY18" fmla="*/ 93844 h 280534"/>
                    <a:gd name="connsiteX19" fmla="*/ 99974 w 411930"/>
                    <a:gd name="connsiteY19" fmla="*/ 120514 h 280534"/>
                    <a:gd name="connsiteX20" fmla="*/ 58064 w 411930"/>
                    <a:gd name="connsiteY20" fmla="*/ 156709 h 280534"/>
                    <a:gd name="connsiteX21" fmla="*/ 6629 w 411930"/>
                    <a:gd name="connsiteY21" fmla="*/ 271009 h 280534"/>
                    <a:gd name="connsiteX0" fmla="*/ 6629 w 411689"/>
                    <a:gd name="connsiteY0" fmla="*/ 271009 h 280534"/>
                    <a:gd name="connsiteX1" fmla="*/ 4724 w 411689"/>
                    <a:gd name="connsiteY1" fmla="*/ 185284 h 280534"/>
                    <a:gd name="connsiteX2" fmla="*/ 914 w 411689"/>
                    <a:gd name="connsiteY2" fmla="*/ 183379 h 280534"/>
                    <a:gd name="connsiteX3" fmla="*/ 14249 w 411689"/>
                    <a:gd name="connsiteY3" fmla="*/ 114799 h 280534"/>
                    <a:gd name="connsiteX4" fmla="*/ 46634 w 411689"/>
                    <a:gd name="connsiteY4" fmla="*/ 69079 h 280534"/>
                    <a:gd name="connsiteX5" fmla="*/ 98069 w 411689"/>
                    <a:gd name="connsiteY5" fmla="*/ 57649 h 280534"/>
                    <a:gd name="connsiteX6" fmla="*/ 128549 w 411689"/>
                    <a:gd name="connsiteY6" fmla="*/ 23359 h 280534"/>
                    <a:gd name="connsiteX7" fmla="*/ 197129 w 411689"/>
                    <a:gd name="connsiteY7" fmla="*/ 499 h 280534"/>
                    <a:gd name="connsiteX8" fmla="*/ 286664 w 411689"/>
                    <a:gd name="connsiteY8" fmla="*/ 11929 h 280534"/>
                    <a:gd name="connsiteX9" fmla="*/ 374294 w 411689"/>
                    <a:gd name="connsiteY9" fmla="*/ 59554 h 280534"/>
                    <a:gd name="connsiteX10" fmla="*/ 404774 w 411689"/>
                    <a:gd name="connsiteY10" fmla="*/ 135754 h 280534"/>
                    <a:gd name="connsiteX11" fmla="*/ 410489 w 411689"/>
                    <a:gd name="connsiteY11" fmla="*/ 202429 h 280534"/>
                    <a:gd name="connsiteX12" fmla="*/ 400964 w 411689"/>
                    <a:gd name="connsiteY12" fmla="*/ 280534 h 280534"/>
                    <a:gd name="connsiteX13" fmla="*/ 376199 w 411689"/>
                    <a:gd name="connsiteY13" fmla="*/ 271009 h 280534"/>
                    <a:gd name="connsiteX14" fmla="*/ 376199 w 411689"/>
                    <a:gd name="connsiteY14" fmla="*/ 198619 h 280534"/>
                    <a:gd name="connsiteX15" fmla="*/ 336194 w 411689"/>
                    <a:gd name="connsiteY15" fmla="*/ 133849 h 280534"/>
                    <a:gd name="connsiteX16" fmla="*/ 231419 w 411689"/>
                    <a:gd name="connsiteY16" fmla="*/ 109084 h 280534"/>
                    <a:gd name="connsiteX17" fmla="*/ 143789 w 411689"/>
                    <a:gd name="connsiteY17" fmla="*/ 103369 h 280534"/>
                    <a:gd name="connsiteX18" fmla="*/ 119024 w 411689"/>
                    <a:gd name="connsiteY18" fmla="*/ 93844 h 280534"/>
                    <a:gd name="connsiteX19" fmla="*/ 99974 w 411689"/>
                    <a:gd name="connsiteY19" fmla="*/ 120514 h 280534"/>
                    <a:gd name="connsiteX20" fmla="*/ 58064 w 411689"/>
                    <a:gd name="connsiteY20" fmla="*/ 156709 h 280534"/>
                    <a:gd name="connsiteX21" fmla="*/ 6629 w 411689"/>
                    <a:gd name="connsiteY21" fmla="*/ 271009 h 280534"/>
                    <a:gd name="connsiteX0" fmla="*/ 6629 w 411689"/>
                    <a:gd name="connsiteY0" fmla="*/ 271009 h 280534"/>
                    <a:gd name="connsiteX1" fmla="*/ 4724 w 411689"/>
                    <a:gd name="connsiteY1" fmla="*/ 185284 h 280534"/>
                    <a:gd name="connsiteX2" fmla="*/ 914 w 411689"/>
                    <a:gd name="connsiteY2" fmla="*/ 183379 h 280534"/>
                    <a:gd name="connsiteX3" fmla="*/ 14249 w 411689"/>
                    <a:gd name="connsiteY3" fmla="*/ 114799 h 280534"/>
                    <a:gd name="connsiteX4" fmla="*/ 46634 w 411689"/>
                    <a:gd name="connsiteY4" fmla="*/ 69079 h 280534"/>
                    <a:gd name="connsiteX5" fmla="*/ 98069 w 411689"/>
                    <a:gd name="connsiteY5" fmla="*/ 57649 h 280534"/>
                    <a:gd name="connsiteX6" fmla="*/ 128549 w 411689"/>
                    <a:gd name="connsiteY6" fmla="*/ 23359 h 280534"/>
                    <a:gd name="connsiteX7" fmla="*/ 197129 w 411689"/>
                    <a:gd name="connsiteY7" fmla="*/ 499 h 280534"/>
                    <a:gd name="connsiteX8" fmla="*/ 286664 w 411689"/>
                    <a:gd name="connsiteY8" fmla="*/ 11929 h 280534"/>
                    <a:gd name="connsiteX9" fmla="*/ 374294 w 411689"/>
                    <a:gd name="connsiteY9" fmla="*/ 59554 h 280534"/>
                    <a:gd name="connsiteX10" fmla="*/ 404774 w 411689"/>
                    <a:gd name="connsiteY10" fmla="*/ 135754 h 280534"/>
                    <a:gd name="connsiteX11" fmla="*/ 410489 w 411689"/>
                    <a:gd name="connsiteY11" fmla="*/ 202429 h 280534"/>
                    <a:gd name="connsiteX12" fmla="*/ 400964 w 411689"/>
                    <a:gd name="connsiteY12" fmla="*/ 280534 h 280534"/>
                    <a:gd name="connsiteX13" fmla="*/ 376199 w 411689"/>
                    <a:gd name="connsiteY13" fmla="*/ 271009 h 280534"/>
                    <a:gd name="connsiteX14" fmla="*/ 376199 w 411689"/>
                    <a:gd name="connsiteY14" fmla="*/ 198619 h 280534"/>
                    <a:gd name="connsiteX15" fmla="*/ 336194 w 411689"/>
                    <a:gd name="connsiteY15" fmla="*/ 133849 h 280534"/>
                    <a:gd name="connsiteX16" fmla="*/ 231419 w 411689"/>
                    <a:gd name="connsiteY16" fmla="*/ 109084 h 280534"/>
                    <a:gd name="connsiteX17" fmla="*/ 143789 w 411689"/>
                    <a:gd name="connsiteY17" fmla="*/ 103369 h 280534"/>
                    <a:gd name="connsiteX18" fmla="*/ 119024 w 411689"/>
                    <a:gd name="connsiteY18" fmla="*/ 93844 h 280534"/>
                    <a:gd name="connsiteX19" fmla="*/ 99974 w 411689"/>
                    <a:gd name="connsiteY19" fmla="*/ 120514 h 280534"/>
                    <a:gd name="connsiteX20" fmla="*/ 58064 w 411689"/>
                    <a:gd name="connsiteY20" fmla="*/ 156709 h 280534"/>
                    <a:gd name="connsiteX21" fmla="*/ 6629 w 411689"/>
                    <a:gd name="connsiteY21"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57649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09084 h 280534"/>
                    <a:gd name="connsiteX16" fmla="*/ 144159 w 412059"/>
                    <a:gd name="connsiteY16" fmla="*/ 103369 h 280534"/>
                    <a:gd name="connsiteX17" fmla="*/ 119394 w 412059"/>
                    <a:gd name="connsiteY17" fmla="*/ 93844 h 280534"/>
                    <a:gd name="connsiteX18" fmla="*/ 100344 w 412059"/>
                    <a:gd name="connsiteY18" fmla="*/ 120514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57649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09084 h 280534"/>
                    <a:gd name="connsiteX16" fmla="*/ 144159 w 412059"/>
                    <a:gd name="connsiteY16" fmla="*/ 103369 h 280534"/>
                    <a:gd name="connsiteX17" fmla="*/ 119394 w 412059"/>
                    <a:gd name="connsiteY17" fmla="*/ 93844 h 280534"/>
                    <a:gd name="connsiteX18" fmla="*/ 100344 w 412059"/>
                    <a:gd name="connsiteY18" fmla="*/ 120514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57649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09084 h 280534"/>
                    <a:gd name="connsiteX16" fmla="*/ 144159 w 412059"/>
                    <a:gd name="connsiteY16" fmla="*/ 103369 h 280534"/>
                    <a:gd name="connsiteX17" fmla="*/ 119394 w 412059"/>
                    <a:gd name="connsiteY17" fmla="*/ 93844 h 280534"/>
                    <a:gd name="connsiteX18" fmla="*/ 90819 w 412059"/>
                    <a:gd name="connsiteY18" fmla="*/ 110989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57649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16704 h 280534"/>
                    <a:gd name="connsiteX16" fmla="*/ 144159 w 412059"/>
                    <a:gd name="connsiteY16" fmla="*/ 103369 h 280534"/>
                    <a:gd name="connsiteX17" fmla="*/ 119394 w 412059"/>
                    <a:gd name="connsiteY17" fmla="*/ 93844 h 280534"/>
                    <a:gd name="connsiteX18" fmla="*/ 90819 w 412059"/>
                    <a:gd name="connsiteY18" fmla="*/ 110989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40504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16704 h 280534"/>
                    <a:gd name="connsiteX16" fmla="*/ 144159 w 412059"/>
                    <a:gd name="connsiteY16" fmla="*/ 103369 h 280534"/>
                    <a:gd name="connsiteX17" fmla="*/ 119394 w 412059"/>
                    <a:gd name="connsiteY17" fmla="*/ 93844 h 280534"/>
                    <a:gd name="connsiteX18" fmla="*/ 90819 w 412059"/>
                    <a:gd name="connsiteY18" fmla="*/ 110989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3194 w 412059"/>
                    <a:gd name="connsiteY3" fmla="*/ 63364 h 280534"/>
                    <a:gd name="connsiteX4" fmla="*/ 98439 w 412059"/>
                    <a:gd name="connsiteY4" fmla="*/ 40504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16704 h 280534"/>
                    <a:gd name="connsiteX16" fmla="*/ 144159 w 412059"/>
                    <a:gd name="connsiteY16" fmla="*/ 103369 h 280534"/>
                    <a:gd name="connsiteX17" fmla="*/ 119394 w 412059"/>
                    <a:gd name="connsiteY17" fmla="*/ 93844 h 280534"/>
                    <a:gd name="connsiteX18" fmla="*/ 90819 w 412059"/>
                    <a:gd name="connsiteY18" fmla="*/ 110989 h 280534"/>
                    <a:gd name="connsiteX19" fmla="*/ 58434 w 412059"/>
                    <a:gd name="connsiteY19" fmla="*/ 156709 h 280534"/>
                    <a:gd name="connsiteX20" fmla="*/ 6999 w 412059"/>
                    <a:gd name="connsiteY20" fmla="*/ 271009 h 280534"/>
                    <a:gd name="connsiteX0" fmla="*/ 6999 w 412059"/>
                    <a:gd name="connsiteY0" fmla="*/ 270510 h 280035"/>
                    <a:gd name="connsiteX1" fmla="*/ 1284 w 412059"/>
                    <a:gd name="connsiteY1" fmla="*/ 182880 h 280035"/>
                    <a:gd name="connsiteX2" fmla="*/ 14619 w 412059"/>
                    <a:gd name="connsiteY2" fmla="*/ 114300 h 280035"/>
                    <a:gd name="connsiteX3" fmla="*/ 43194 w 412059"/>
                    <a:gd name="connsiteY3" fmla="*/ 62865 h 280035"/>
                    <a:gd name="connsiteX4" fmla="*/ 98439 w 412059"/>
                    <a:gd name="connsiteY4" fmla="*/ 40005 h 280035"/>
                    <a:gd name="connsiteX5" fmla="*/ 130824 w 412059"/>
                    <a:gd name="connsiteY5" fmla="*/ 9525 h 280035"/>
                    <a:gd name="connsiteX6" fmla="*/ 197499 w 412059"/>
                    <a:gd name="connsiteY6" fmla="*/ 0 h 280035"/>
                    <a:gd name="connsiteX7" fmla="*/ 287034 w 412059"/>
                    <a:gd name="connsiteY7" fmla="*/ 11430 h 280035"/>
                    <a:gd name="connsiteX8" fmla="*/ 374664 w 412059"/>
                    <a:gd name="connsiteY8" fmla="*/ 59055 h 280035"/>
                    <a:gd name="connsiteX9" fmla="*/ 405144 w 412059"/>
                    <a:gd name="connsiteY9" fmla="*/ 135255 h 280035"/>
                    <a:gd name="connsiteX10" fmla="*/ 410859 w 412059"/>
                    <a:gd name="connsiteY10" fmla="*/ 201930 h 280035"/>
                    <a:gd name="connsiteX11" fmla="*/ 401334 w 412059"/>
                    <a:gd name="connsiteY11" fmla="*/ 280035 h 280035"/>
                    <a:gd name="connsiteX12" fmla="*/ 376569 w 412059"/>
                    <a:gd name="connsiteY12" fmla="*/ 270510 h 280035"/>
                    <a:gd name="connsiteX13" fmla="*/ 376569 w 412059"/>
                    <a:gd name="connsiteY13" fmla="*/ 198120 h 280035"/>
                    <a:gd name="connsiteX14" fmla="*/ 336564 w 412059"/>
                    <a:gd name="connsiteY14" fmla="*/ 133350 h 280035"/>
                    <a:gd name="connsiteX15" fmla="*/ 231789 w 412059"/>
                    <a:gd name="connsiteY15" fmla="*/ 116205 h 280035"/>
                    <a:gd name="connsiteX16" fmla="*/ 144159 w 412059"/>
                    <a:gd name="connsiteY16" fmla="*/ 102870 h 280035"/>
                    <a:gd name="connsiteX17" fmla="*/ 119394 w 412059"/>
                    <a:gd name="connsiteY17" fmla="*/ 93345 h 280035"/>
                    <a:gd name="connsiteX18" fmla="*/ 90819 w 412059"/>
                    <a:gd name="connsiteY18" fmla="*/ 110490 h 280035"/>
                    <a:gd name="connsiteX19" fmla="*/ 58434 w 412059"/>
                    <a:gd name="connsiteY19" fmla="*/ 156210 h 280035"/>
                    <a:gd name="connsiteX20" fmla="*/ 6999 w 412059"/>
                    <a:gd name="connsiteY20" fmla="*/ 270510 h 280035"/>
                    <a:gd name="connsiteX0" fmla="*/ 6999 w 412059"/>
                    <a:gd name="connsiteY0" fmla="*/ 280041 h 289566"/>
                    <a:gd name="connsiteX1" fmla="*/ 1284 w 412059"/>
                    <a:gd name="connsiteY1" fmla="*/ 192411 h 289566"/>
                    <a:gd name="connsiteX2" fmla="*/ 14619 w 412059"/>
                    <a:gd name="connsiteY2" fmla="*/ 123831 h 289566"/>
                    <a:gd name="connsiteX3" fmla="*/ 43194 w 412059"/>
                    <a:gd name="connsiteY3" fmla="*/ 72396 h 289566"/>
                    <a:gd name="connsiteX4" fmla="*/ 98439 w 412059"/>
                    <a:gd name="connsiteY4" fmla="*/ 49536 h 289566"/>
                    <a:gd name="connsiteX5" fmla="*/ 130824 w 412059"/>
                    <a:gd name="connsiteY5" fmla="*/ 19056 h 289566"/>
                    <a:gd name="connsiteX6" fmla="*/ 203214 w 412059"/>
                    <a:gd name="connsiteY6" fmla="*/ 6 h 289566"/>
                    <a:gd name="connsiteX7" fmla="*/ 287034 w 412059"/>
                    <a:gd name="connsiteY7" fmla="*/ 20961 h 289566"/>
                    <a:gd name="connsiteX8" fmla="*/ 374664 w 412059"/>
                    <a:gd name="connsiteY8" fmla="*/ 68586 h 289566"/>
                    <a:gd name="connsiteX9" fmla="*/ 405144 w 412059"/>
                    <a:gd name="connsiteY9" fmla="*/ 144786 h 289566"/>
                    <a:gd name="connsiteX10" fmla="*/ 410859 w 412059"/>
                    <a:gd name="connsiteY10" fmla="*/ 211461 h 289566"/>
                    <a:gd name="connsiteX11" fmla="*/ 401334 w 412059"/>
                    <a:gd name="connsiteY11" fmla="*/ 289566 h 289566"/>
                    <a:gd name="connsiteX12" fmla="*/ 376569 w 412059"/>
                    <a:gd name="connsiteY12" fmla="*/ 280041 h 289566"/>
                    <a:gd name="connsiteX13" fmla="*/ 376569 w 412059"/>
                    <a:gd name="connsiteY13" fmla="*/ 207651 h 289566"/>
                    <a:gd name="connsiteX14" fmla="*/ 336564 w 412059"/>
                    <a:gd name="connsiteY14" fmla="*/ 142881 h 289566"/>
                    <a:gd name="connsiteX15" fmla="*/ 231789 w 412059"/>
                    <a:gd name="connsiteY15" fmla="*/ 125736 h 289566"/>
                    <a:gd name="connsiteX16" fmla="*/ 144159 w 412059"/>
                    <a:gd name="connsiteY16" fmla="*/ 112401 h 289566"/>
                    <a:gd name="connsiteX17" fmla="*/ 119394 w 412059"/>
                    <a:gd name="connsiteY17" fmla="*/ 102876 h 289566"/>
                    <a:gd name="connsiteX18" fmla="*/ 90819 w 412059"/>
                    <a:gd name="connsiteY18" fmla="*/ 120021 h 289566"/>
                    <a:gd name="connsiteX19" fmla="*/ 58434 w 412059"/>
                    <a:gd name="connsiteY19" fmla="*/ 165741 h 289566"/>
                    <a:gd name="connsiteX20" fmla="*/ 6999 w 412059"/>
                    <a:gd name="connsiteY20" fmla="*/ 280041 h 289566"/>
                    <a:gd name="connsiteX0" fmla="*/ 6999 w 412059"/>
                    <a:gd name="connsiteY0" fmla="*/ 280041 h 289566"/>
                    <a:gd name="connsiteX1" fmla="*/ 1284 w 412059"/>
                    <a:gd name="connsiteY1" fmla="*/ 192411 h 289566"/>
                    <a:gd name="connsiteX2" fmla="*/ 14619 w 412059"/>
                    <a:gd name="connsiteY2" fmla="*/ 123831 h 289566"/>
                    <a:gd name="connsiteX3" fmla="*/ 43194 w 412059"/>
                    <a:gd name="connsiteY3" fmla="*/ 72396 h 289566"/>
                    <a:gd name="connsiteX4" fmla="*/ 98439 w 412059"/>
                    <a:gd name="connsiteY4" fmla="*/ 49536 h 289566"/>
                    <a:gd name="connsiteX5" fmla="*/ 130824 w 412059"/>
                    <a:gd name="connsiteY5" fmla="*/ 19056 h 289566"/>
                    <a:gd name="connsiteX6" fmla="*/ 203214 w 412059"/>
                    <a:gd name="connsiteY6" fmla="*/ 6 h 289566"/>
                    <a:gd name="connsiteX7" fmla="*/ 304179 w 412059"/>
                    <a:gd name="connsiteY7" fmla="*/ 20961 h 289566"/>
                    <a:gd name="connsiteX8" fmla="*/ 374664 w 412059"/>
                    <a:gd name="connsiteY8" fmla="*/ 68586 h 289566"/>
                    <a:gd name="connsiteX9" fmla="*/ 405144 w 412059"/>
                    <a:gd name="connsiteY9" fmla="*/ 144786 h 289566"/>
                    <a:gd name="connsiteX10" fmla="*/ 410859 w 412059"/>
                    <a:gd name="connsiteY10" fmla="*/ 211461 h 289566"/>
                    <a:gd name="connsiteX11" fmla="*/ 401334 w 412059"/>
                    <a:gd name="connsiteY11" fmla="*/ 289566 h 289566"/>
                    <a:gd name="connsiteX12" fmla="*/ 376569 w 412059"/>
                    <a:gd name="connsiteY12" fmla="*/ 280041 h 289566"/>
                    <a:gd name="connsiteX13" fmla="*/ 376569 w 412059"/>
                    <a:gd name="connsiteY13" fmla="*/ 207651 h 289566"/>
                    <a:gd name="connsiteX14" fmla="*/ 336564 w 412059"/>
                    <a:gd name="connsiteY14" fmla="*/ 142881 h 289566"/>
                    <a:gd name="connsiteX15" fmla="*/ 231789 w 412059"/>
                    <a:gd name="connsiteY15" fmla="*/ 125736 h 289566"/>
                    <a:gd name="connsiteX16" fmla="*/ 144159 w 412059"/>
                    <a:gd name="connsiteY16" fmla="*/ 112401 h 289566"/>
                    <a:gd name="connsiteX17" fmla="*/ 119394 w 412059"/>
                    <a:gd name="connsiteY17" fmla="*/ 102876 h 289566"/>
                    <a:gd name="connsiteX18" fmla="*/ 90819 w 412059"/>
                    <a:gd name="connsiteY18" fmla="*/ 120021 h 289566"/>
                    <a:gd name="connsiteX19" fmla="*/ 58434 w 412059"/>
                    <a:gd name="connsiteY19" fmla="*/ 165741 h 289566"/>
                    <a:gd name="connsiteX20" fmla="*/ 6999 w 412059"/>
                    <a:gd name="connsiteY20" fmla="*/ 280041 h 289566"/>
                    <a:gd name="connsiteX0" fmla="*/ 6999 w 416944"/>
                    <a:gd name="connsiteY0" fmla="*/ 280041 h 289566"/>
                    <a:gd name="connsiteX1" fmla="*/ 1284 w 416944"/>
                    <a:gd name="connsiteY1" fmla="*/ 192411 h 289566"/>
                    <a:gd name="connsiteX2" fmla="*/ 14619 w 416944"/>
                    <a:gd name="connsiteY2" fmla="*/ 123831 h 289566"/>
                    <a:gd name="connsiteX3" fmla="*/ 43194 w 416944"/>
                    <a:gd name="connsiteY3" fmla="*/ 72396 h 289566"/>
                    <a:gd name="connsiteX4" fmla="*/ 98439 w 416944"/>
                    <a:gd name="connsiteY4" fmla="*/ 49536 h 289566"/>
                    <a:gd name="connsiteX5" fmla="*/ 130824 w 416944"/>
                    <a:gd name="connsiteY5" fmla="*/ 19056 h 289566"/>
                    <a:gd name="connsiteX6" fmla="*/ 203214 w 416944"/>
                    <a:gd name="connsiteY6" fmla="*/ 6 h 289566"/>
                    <a:gd name="connsiteX7" fmla="*/ 304179 w 416944"/>
                    <a:gd name="connsiteY7" fmla="*/ 20961 h 289566"/>
                    <a:gd name="connsiteX8" fmla="*/ 374664 w 416944"/>
                    <a:gd name="connsiteY8" fmla="*/ 68586 h 289566"/>
                    <a:gd name="connsiteX9" fmla="*/ 414669 w 416944"/>
                    <a:gd name="connsiteY9" fmla="*/ 144786 h 289566"/>
                    <a:gd name="connsiteX10" fmla="*/ 410859 w 416944"/>
                    <a:gd name="connsiteY10" fmla="*/ 211461 h 289566"/>
                    <a:gd name="connsiteX11" fmla="*/ 401334 w 416944"/>
                    <a:gd name="connsiteY11" fmla="*/ 289566 h 289566"/>
                    <a:gd name="connsiteX12" fmla="*/ 376569 w 416944"/>
                    <a:gd name="connsiteY12" fmla="*/ 280041 h 289566"/>
                    <a:gd name="connsiteX13" fmla="*/ 376569 w 416944"/>
                    <a:gd name="connsiteY13" fmla="*/ 207651 h 289566"/>
                    <a:gd name="connsiteX14" fmla="*/ 336564 w 416944"/>
                    <a:gd name="connsiteY14" fmla="*/ 142881 h 289566"/>
                    <a:gd name="connsiteX15" fmla="*/ 231789 w 416944"/>
                    <a:gd name="connsiteY15" fmla="*/ 125736 h 289566"/>
                    <a:gd name="connsiteX16" fmla="*/ 144159 w 416944"/>
                    <a:gd name="connsiteY16" fmla="*/ 112401 h 289566"/>
                    <a:gd name="connsiteX17" fmla="*/ 119394 w 416944"/>
                    <a:gd name="connsiteY17" fmla="*/ 102876 h 289566"/>
                    <a:gd name="connsiteX18" fmla="*/ 90819 w 416944"/>
                    <a:gd name="connsiteY18" fmla="*/ 120021 h 289566"/>
                    <a:gd name="connsiteX19" fmla="*/ 58434 w 416944"/>
                    <a:gd name="connsiteY19" fmla="*/ 165741 h 289566"/>
                    <a:gd name="connsiteX20" fmla="*/ 6999 w 416944"/>
                    <a:gd name="connsiteY20" fmla="*/ 280041 h 289566"/>
                    <a:gd name="connsiteX0" fmla="*/ 6999 w 415379"/>
                    <a:gd name="connsiteY0" fmla="*/ 280041 h 289566"/>
                    <a:gd name="connsiteX1" fmla="*/ 1284 w 415379"/>
                    <a:gd name="connsiteY1" fmla="*/ 192411 h 289566"/>
                    <a:gd name="connsiteX2" fmla="*/ 14619 w 415379"/>
                    <a:gd name="connsiteY2" fmla="*/ 123831 h 289566"/>
                    <a:gd name="connsiteX3" fmla="*/ 43194 w 415379"/>
                    <a:gd name="connsiteY3" fmla="*/ 72396 h 289566"/>
                    <a:gd name="connsiteX4" fmla="*/ 98439 w 415379"/>
                    <a:gd name="connsiteY4" fmla="*/ 49536 h 289566"/>
                    <a:gd name="connsiteX5" fmla="*/ 130824 w 415379"/>
                    <a:gd name="connsiteY5" fmla="*/ 19056 h 289566"/>
                    <a:gd name="connsiteX6" fmla="*/ 203214 w 415379"/>
                    <a:gd name="connsiteY6" fmla="*/ 6 h 289566"/>
                    <a:gd name="connsiteX7" fmla="*/ 304179 w 415379"/>
                    <a:gd name="connsiteY7" fmla="*/ 20961 h 289566"/>
                    <a:gd name="connsiteX8" fmla="*/ 374664 w 415379"/>
                    <a:gd name="connsiteY8" fmla="*/ 68586 h 289566"/>
                    <a:gd name="connsiteX9" fmla="*/ 412764 w 415379"/>
                    <a:gd name="connsiteY9" fmla="*/ 139071 h 289566"/>
                    <a:gd name="connsiteX10" fmla="*/ 410859 w 415379"/>
                    <a:gd name="connsiteY10" fmla="*/ 211461 h 289566"/>
                    <a:gd name="connsiteX11" fmla="*/ 401334 w 415379"/>
                    <a:gd name="connsiteY11" fmla="*/ 289566 h 289566"/>
                    <a:gd name="connsiteX12" fmla="*/ 376569 w 415379"/>
                    <a:gd name="connsiteY12" fmla="*/ 280041 h 289566"/>
                    <a:gd name="connsiteX13" fmla="*/ 376569 w 415379"/>
                    <a:gd name="connsiteY13" fmla="*/ 207651 h 289566"/>
                    <a:gd name="connsiteX14" fmla="*/ 336564 w 415379"/>
                    <a:gd name="connsiteY14" fmla="*/ 142881 h 289566"/>
                    <a:gd name="connsiteX15" fmla="*/ 231789 w 415379"/>
                    <a:gd name="connsiteY15" fmla="*/ 125736 h 289566"/>
                    <a:gd name="connsiteX16" fmla="*/ 144159 w 415379"/>
                    <a:gd name="connsiteY16" fmla="*/ 112401 h 289566"/>
                    <a:gd name="connsiteX17" fmla="*/ 119394 w 415379"/>
                    <a:gd name="connsiteY17" fmla="*/ 102876 h 289566"/>
                    <a:gd name="connsiteX18" fmla="*/ 90819 w 415379"/>
                    <a:gd name="connsiteY18" fmla="*/ 120021 h 289566"/>
                    <a:gd name="connsiteX19" fmla="*/ 58434 w 415379"/>
                    <a:gd name="connsiteY19" fmla="*/ 165741 h 289566"/>
                    <a:gd name="connsiteX20" fmla="*/ 6999 w 415379"/>
                    <a:gd name="connsiteY20" fmla="*/ 280041 h 289566"/>
                    <a:gd name="connsiteX0" fmla="*/ 6999 w 418073"/>
                    <a:gd name="connsiteY0" fmla="*/ 280041 h 289566"/>
                    <a:gd name="connsiteX1" fmla="*/ 1284 w 418073"/>
                    <a:gd name="connsiteY1" fmla="*/ 192411 h 289566"/>
                    <a:gd name="connsiteX2" fmla="*/ 14619 w 418073"/>
                    <a:gd name="connsiteY2" fmla="*/ 123831 h 289566"/>
                    <a:gd name="connsiteX3" fmla="*/ 43194 w 418073"/>
                    <a:gd name="connsiteY3" fmla="*/ 72396 h 289566"/>
                    <a:gd name="connsiteX4" fmla="*/ 98439 w 418073"/>
                    <a:gd name="connsiteY4" fmla="*/ 49536 h 289566"/>
                    <a:gd name="connsiteX5" fmla="*/ 130824 w 418073"/>
                    <a:gd name="connsiteY5" fmla="*/ 19056 h 289566"/>
                    <a:gd name="connsiteX6" fmla="*/ 203214 w 418073"/>
                    <a:gd name="connsiteY6" fmla="*/ 6 h 289566"/>
                    <a:gd name="connsiteX7" fmla="*/ 304179 w 418073"/>
                    <a:gd name="connsiteY7" fmla="*/ 20961 h 289566"/>
                    <a:gd name="connsiteX8" fmla="*/ 374664 w 418073"/>
                    <a:gd name="connsiteY8" fmla="*/ 68586 h 289566"/>
                    <a:gd name="connsiteX9" fmla="*/ 412764 w 418073"/>
                    <a:gd name="connsiteY9" fmla="*/ 139071 h 289566"/>
                    <a:gd name="connsiteX10" fmla="*/ 416574 w 418073"/>
                    <a:gd name="connsiteY10" fmla="*/ 222891 h 289566"/>
                    <a:gd name="connsiteX11" fmla="*/ 401334 w 418073"/>
                    <a:gd name="connsiteY11" fmla="*/ 289566 h 289566"/>
                    <a:gd name="connsiteX12" fmla="*/ 376569 w 418073"/>
                    <a:gd name="connsiteY12" fmla="*/ 280041 h 289566"/>
                    <a:gd name="connsiteX13" fmla="*/ 376569 w 418073"/>
                    <a:gd name="connsiteY13" fmla="*/ 207651 h 289566"/>
                    <a:gd name="connsiteX14" fmla="*/ 336564 w 418073"/>
                    <a:gd name="connsiteY14" fmla="*/ 142881 h 289566"/>
                    <a:gd name="connsiteX15" fmla="*/ 231789 w 418073"/>
                    <a:gd name="connsiteY15" fmla="*/ 125736 h 289566"/>
                    <a:gd name="connsiteX16" fmla="*/ 144159 w 418073"/>
                    <a:gd name="connsiteY16" fmla="*/ 112401 h 289566"/>
                    <a:gd name="connsiteX17" fmla="*/ 119394 w 418073"/>
                    <a:gd name="connsiteY17" fmla="*/ 102876 h 289566"/>
                    <a:gd name="connsiteX18" fmla="*/ 90819 w 418073"/>
                    <a:gd name="connsiteY18" fmla="*/ 120021 h 289566"/>
                    <a:gd name="connsiteX19" fmla="*/ 58434 w 418073"/>
                    <a:gd name="connsiteY19" fmla="*/ 165741 h 289566"/>
                    <a:gd name="connsiteX20" fmla="*/ 6999 w 418073"/>
                    <a:gd name="connsiteY20" fmla="*/ 280041 h 289566"/>
                    <a:gd name="connsiteX0" fmla="*/ 6999 w 418073"/>
                    <a:gd name="connsiteY0" fmla="*/ 280041 h 289566"/>
                    <a:gd name="connsiteX1" fmla="*/ 1284 w 418073"/>
                    <a:gd name="connsiteY1" fmla="*/ 192411 h 289566"/>
                    <a:gd name="connsiteX2" fmla="*/ 8904 w 418073"/>
                    <a:gd name="connsiteY2" fmla="*/ 123831 h 289566"/>
                    <a:gd name="connsiteX3" fmla="*/ 43194 w 418073"/>
                    <a:gd name="connsiteY3" fmla="*/ 72396 h 289566"/>
                    <a:gd name="connsiteX4" fmla="*/ 98439 w 418073"/>
                    <a:gd name="connsiteY4" fmla="*/ 49536 h 289566"/>
                    <a:gd name="connsiteX5" fmla="*/ 130824 w 418073"/>
                    <a:gd name="connsiteY5" fmla="*/ 19056 h 289566"/>
                    <a:gd name="connsiteX6" fmla="*/ 203214 w 418073"/>
                    <a:gd name="connsiteY6" fmla="*/ 6 h 289566"/>
                    <a:gd name="connsiteX7" fmla="*/ 304179 w 418073"/>
                    <a:gd name="connsiteY7" fmla="*/ 20961 h 289566"/>
                    <a:gd name="connsiteX8" fmla="*/ 374664 w 418073"/>
                    <a:gd name="connsiteY8" fmla="*/ 68586 h 289566"/>
                    <a:gd name="connsiteX9" fmla="*/ 412764 w 418073"/>
                    <a:gd name="connsiteY9" fmla="*/ 139071 h 289566"/>
                    <a:gd name="connsiteX10" fmla="*/ 416574 w 418073"/>
                    <a:gd name="connsiteY10" fmla="*/ 222891 h 289566"/>
                    <a:gd name="connsiteX11" fmla="*/ 401334 w 418073"/>
                    <a:gd name="connsiteY11" fmla="*/ 289566 h 289566"/>
                    <a:gd name="connsiteX12" fmla="*/ 376569 w 418073"/>
                    <a:gd name="connsiteY12" fmla="*/ 280041 h 289566"/>
                    <a:gd name="connsiteX13" fmla="*/ 376569 w 418073"/>
                    <a:gd name="connsiteY13" fmla="*/ 207651 h 289566"/>
                    <a:gd name="connsiteX14" fmla="*/ 336564 w 418073"/>
                    <a:gd name="connsiteY14" fmla="*/ 142881 h 289566"/>
                    <a:gd name="connsiteX15" fmla="*/ 231789 w 418073"/>
                    <a:gd name="connsiteY15" fmla="*/ 125736 h 289566"/>
                    <a:gd name="connsiteX16" fmla="*/ 144159 w 418073"/>
                    <a:gd name="connsiteY16" fmla="*/ 112401 h 289566"/>
                    <a:gd name="connsiteX17" fmla="*/ 119394 w 418073"/>
                    <a:gd name="connsiteY17" fmla="*/ 102876 h 289566"/>
                    <a:gd name="connsiteX18" fmla="*/ 90819 w 418073"/>
                    <a:gd name="connsiteY18" fmla="*/ 120021 h 289566"/>
                    <a:gd name="connsiteX19" fmla="*/ 58434 w 418073"/>
                    <a:gd name="connsiteY19" fmla="*/ 165741 h 289566"/>
                    <a:gd name="connsiteX20" fmla="*/ 6999 w 418073"/>
                    <a:gd name="connsiteY20" fmla="*/ 280041 h 289566"/>
                    <a:gd name="connsiteX0" fmla="*/ 6999 w 418073"/>
                    <a:gd name="connsiteY0" fmla="*/ 280041 h 289566"/>
                    <a:gd name="connsiteX1" fmla="*/ 1284 w 418073"/>
                    <a:gd name="connsiteY1" fmla="*/ 192411 h 289566"/>
                    <a:gd name="connsiteX2" fmla="*/ 8904 w 418073"/>
                    <a:gd name="connsiteY2" fmla="*/ 123831 h 289566"/>
                    <a:gd name="connsiteX3" fmla="*/ 43194 w 418073"/>
                    <a:gd name="connsiteY3" fmla="*/ 72396 h 289566"/>
                    <a:gd name="connsiteX4" fmla="*/ 98439 w 418073"/>
                    <a:gd name="connsiteY4" fmla="*/ 49536 h 289566"/>
                    <a:gd name="connsiteX5" fmla="*/ 130824 w 418073"/>
                    <a:gd name="connsiteY5" fmla="*/ 19056 h 289566"/>
                    <a:gd name="connsiteX6" fmla="*/ 203214 w 418073"/>
                    <a:gd name="connsiteY6" fmla="*/ 6 h 289566"/>
                    <a:gd name="connsiteX7" fmla="*/ 304179 w 418073"/>
                    <a:gd name="connsiteY7" fmla="*/ 20961 h 289566"/>
                    <a:gd name="connsiteX8" fmla="*/ 374664 w 418073"/>
                    <a:gd name="connsiteY8" fmla="*/ 68586 h 289566"/>
                    <a:gd name="connsiteX9" fmla="*/ 412764 w 418073"/>
                    <a:gd name="connsiteY9" fmla="*/ 139071 h 289566"/>
                    <a:gd name="connsiteX10" fmla="*/ 416574 w 418073"/>
                    <a:gd name="connsiteY10" fmla="*/ 222891 h 289566"/>
                    <a:gd name="connsiteX11" fmla="*/ 401334 w 418073"/>
                    <a:gd name="connsiteY11" fmla="*/ 289566 h 289566"/>
                    <a:gd name="connsiteX12" fmla="*/ 376569 w 418073"/>
                    <a:gd name="connsiteY12" fmla="*/ 280041 h 289566"/>
                    <a:gd name="connsiteX13" fmla="*/ 376569 w 418073"/>
                    <a:gd name="connsiteY13" fmla="*/ 207651 h 289566"/>
                    <a:gd name="connsiteX14" fmla="*/ 336564 w 418073"/>
                    <a:gd name="connsiteY14" fmla="*/ 142881 h 289566"/>
                    <a:gd name="connsiteX15" fmla="*/ 231789 w 418073"/>
                    <a:gd name="connsiteY15" fmla="*/ 125736 h 289566"/>
                    <a:gd name="connsiteX16" fmla="*/ 144159 w 418073"/>
                    <a:gd name="connsiteY16" fmla="*/ 112401 h 289566"/>
                    <a:gd name="connsiteX17" fmla="*/ 119394 w 418073"/>
                    <a:gd name="connsiteY17" fmla="*/ 102876 h 289566"/>
                    <a:gd name="connsiteX18" fmla="*/ 90819 w 418073"/>
                    <a:gd name="connsiteY18" fmla="*/ 120021 h 289566"/>
                    <a:gd name="connsiteX19" fmla="*/ 58434 w 418073"/>
                    <a:gd name="connsiteY19" fmla="*/ 165741 h 289566"/>
                    <a:gd name="connsiteX20" fmla="*/ 26050 w 418073"/>
                    <a:gd name="connsiteY20" fmla="*/ 245752 h 289566"/>
                    <a:gd name="connsiteX21" fmla="*/ 6999 w 418073"/>
                    <a:gd name="connsiteY21" fmla="*/ 280041 h 289566"/>
                    <a:gd name="connsiteX0" fmla="*/ 6999 w 418073"/>
                    <a:gd name="connsiteY0" fmla="*/ 280041 h 292071"/>
                    <a:gd name="connsiteX1" fmla="*/ 1284 w 418073"/>
                    <a:gd name="connsiteY1" fmla="*/ 192411 h 292071"/>
                    <a:gd name="connsiteX2" fmla="*/ 8904 w 418073"/>
                    <a:gd name="connsiteY2" fmla="*/ 123831 h 292071"/>
                    <a:gd name="connsiteX3" fmla="*/ 43194 w 418073"/>
                    <a:gd name="connsiteY3" fmla="*/ 72396 h 292071"/>
                    <a:gd name="connsiteX4" fmla="*/ 98439 w 418073"/>
                    <a:gd name="connsiteY4" fmla="*/ 49536 h 292071"/>
                    <a:gd name="connsiteX5" fmla="*/ 130824 w 418073"/>
                    <a:gd name="connsiteY5" fmla="*/ 19056 h 292071"/>
                    <a:gd name="connsiteX6" fmla="*/ 203214 w 418073"/>
                    <a:gd name="connsiteY6" fmla="*/ 6 h 292071"/>
                    <a:gd name="connsiteX7" fmla="*/ 304179 w 418073"/>
                    <a:gd name="connsiteY7" fmla="*/ 20961 h 292071"/>
                    <a:gd name="connsiteX8" fmla="*/ 374664 w 418073"/>
                    <a:gd name="connsiteY8" fmla="*/ 68586 h 292071"/>
                    <a:gd name="connsiteX9" fmla="*/ 412764 w 418073"/>
                    <a:gd name="connsiteY9" fmla="*/ 139071 h 292071"/>
                    <a:gd name="connsiteX10" fmla="*/ 416574 w 418073"/>
                    <a:gd name="connsiteY10" fmla="*/ 222891 h 292071"/>
                    <a:gd name="connsiteX11" fmla="*/ 401334 w 418073"/>
                    <a:gd name="connsiteY11" fmla="*/ 289566 h 292071"/>
                    <a:gd name="connsiteX12" fmla="*/ 376569 w 418073"/>
                    <a:gd name="connsiteY12" fmla="*/ 280041 h 292071"/>
                    <a:gd name="connsiteX13" fmla="*/ 376569 w 418073"/>
                    <a:gd name="connsiteY13" fmla="*/ 207651 h 292071"/>
                    <a:gd name="connsiteX14" fmla="*/ 336564 w 418073"/>
                    <a:gd name="connsiteY14" fmla="*/ 142881 h 292071"/>
                    <a:gd name="connsiteX15" fmla="*/ 231789 w 418073"/>
                    <a:gd name="connsiteY15" fmla="*/ 125736 h 292071"/>
                    <a:gd name="connsiteX16" fmla="*/ 144159 w 418073"/>
                    <a:gd name="connsiteY16" fmla="*/ 112401 h 292071"/>
                    <a:gd name="connsiteX17" fmla="*/ 119394 w 418073"/>
                    <a:gd name="connsiteY17" fmla="*/ 102876 h 292071"/>
                    <a:gd name="connsiteX18" fmla="*/ 90819 w 418073"/>
                    <a:gd name="connsiteY18" fmla="*/ 120021 h 292071"/>
                    <a:gd name="connsiteX19" fmla="*/ 58434 w 418073"/>
                    <a:gd name="connsiteY19" fmla="*/ 165741 h 292071"/>
                    <a:gd name="connsiteX20" fmla="*/ 29860 w 418073"/>
                    <a:gd name="connsiteY20" fmla="*/ 281947 h 292071"/>
                    <a:gd name="connsiteX21" fmla="*/ 6999 w 418073"/>
                    <a:gd name="connsiteY21" fmla="*/ 280041 h 292071"/>
                    <a:gd name="connsiteX0" fmla="*/ 15390 w 416939"/>
                    <a:gd name="connsiteY0" fmla="*/ 280041 h 292071"/>
                    <a:gd name="connsiteX1" fmla="*/ 150 w 416939"/>
                    <a:gd name="connsiteY1" fmla="*/ 192411 h 292071"/>
                    <a:gd name="connsiteX2" fmla="*/ 7770 w 416939"/>
                    <a:gd name="connsiteY2" fmla="*/ 123831 h 292071"/>
                    <a:gd name="connsiteX3" fmla="*/ 42060 w 416939"/>
                    <a:gd name="connsiteY3" fmla="*/ 72396 h 292071"/>
                    <a:gd name="connsiteX4" fmla="*/ 97305 w 416939"/>
                    <a:gd name="connsiteY4" fmla="*/ 49536 h 292071"/>
                    <a:gd name="connsiteX5" fmla="*/ 129690 w 416939"/>
                    <a:gd name="connsiteY5" fmla="*/ 19056 h 292071"/>
                    <a:gd name="connsiteX6" fmla="*/ 202080 w 416939"/>
                    <a:gd name="connsiteY6" fmla="*/ 6 h 292071"/>
                    <a:gd name="connsiteX7" fmla="*/ 303045 w 416939"/>
                    <a:gd name="connsiteY7" fmla="*/ 20961 h 292071"/>
                    <a:gd name="connsiteX8" fmla="*/ 373530 w 416939"/>
                    <a:gd name="connsiteY8" fmla="*/ 68586 h 292071"/>
                    <a:gd name="connsiteX9" fmla="*/ 411630 w 416939"/>
                    <a:gd name="connsiteY9" fmla="*/ 139071 h 292071"/>
                    <a:gd name="connsiteX10" fmla="*/ 415440 w 416939"/>
                    <a:gd name="connsiteY10" fmla="*/ 222891 h 292071"/>
                    <a:gd name="connsiteX11" fmla="*/ 400200 w 416939"/>
                    <a:gd name="connsiteY11" fmla="*/ 289566 h 292071"/>
                    <a:gd name="connsiteX12" fmla="*/ 375435 w 416939"/>
                    <a:gd name="connsiteY12" fmla="*/ 280041 h 292071"/>
                    <a:gd name="connsiteX13" fmla="*/ 375435 w 416939"/>
                    <a:gd name="connsiteY13" fmla="*/ 207651 h 292071"/>
                    <a:gd name="connsiteX14" fmla="*/ 335430 w 416939"/>
                    <a:gd name="connsiteY14" fmla="*/ 142881 h 292071"/>
                    <a:gd name="connsiteX15" fmla="*/ 230655 w 416939"/>
                    <a:gd name="connsiteY15" fmla="*/ 125736 h 292071"/>
                    <a:gd name="connsiteX16" fmla="*/ 143025 w 416939"/>
                    <a:gd name="connsiteY16" fmla="*/ 112401 h 292071"/>
                    <a:gd name="connsiteX17" fmla="*/ 118260 w 416939"/>
                    <a:gd name="connsiteY17" fmla="*/ 102876 h 292071"/>
                    <a:gd name="connsiteX18" fmla="*/ 89685 w 416939"/>
                    <a:gd name="connsiteY18" fmla="*/ 120021 h 292071"/>
                    <a:gd name="connsiteX19" fmla="*/ 57300 w 416939"/>
                    <a:gd name="connsiteY19" fmla="*/ 165741 h 292071"/>
                    <a:gd name="connsiteX20" fmla="*/ 28726 w 416939"/>
                    <a:gd name="connsiteY20" fmla="*/ 281947 h 292071"/>
                    <a:gd name="connsiteX21" fmla="*/ 15390 w 416939"/>
                    <a:gd name="connsiteY21" fmla="*/ 280041 h 292071"/>
                    <a:gd name="connsiteX0" fmla="*/ 15390 w 416939"/>
                    <a:gd name="connsiteY0" fmla="*/ 280041 h 292071"/>
                    <a:gd name="connsiteX1" fmla="*/ 150 w 416939"/>
                    <a:gd name="connsiteY1" fmla="*/ 192411 h 292071"/>
                    <a:gd name="connsiteX2" fmla="*/ 7770 w 416939"/>
                    <a:gd name="connsiteY2" fmla="*/ 123831 h 292071"/>
                    <a:gd name="connsiteX3" fmla="*/ 42060 w 416939"/>
                    <a:gd name="connsiteY3" fmla="*/ 72396 h 292071"/>
                    <a:gd name="connsiteX4" fmla="*/ 97305 w 416939"/>
                    <a:gd name="connsiteY4" fmla="*/ 49536 h 292071"/>
                    <a:gd name="connsiteX5" fmla="*/ 129690 w 416939"/>
                    <a:gd name="connsiteY5" fmla="*/ 19056 h 292071"/>
                    <a:gd name="connsiteX6" fmla="*/ 202080 w 416939"/>
                    <a:gd name="connsiteY6" fmla="*/ 6 h 292071"/>
                    <a:gd name="connsiteX7" fmla="*/ 303045 w 416939"/>
                    <a:gd name="connsiteY7" fmla="*/ 20961 h 292071"/>
                    <a:gd name="connsiteX8" fmla="*/ 373530 w 416939"/>
                    <a:gd name="connsiteY8" fmla="*/ 68586 h 292071"/>
                    <a:gd name="connsiteX9" fmla="*/ 411630 w 416939"/>
                    <a:gd name="connsiteY9" fmla="*/ 139071 h 292071"/>
                    <a:gd name="connsiteX10" fmla="*/ 415440 w 416939"/>
                    <a:gd name="connsiteY10" fmla="*/ 222891 h 292071"/>
                    <a:gd name="connsiteX11" fmla="*/ 400200 w 416939"/>
                    <a:gd name="connsiteY11" fmla="*/ 289566 h 292071"/>
                    <a:gd name="connsiteX12" fmla="*/ 383055 w 416939"/>
                    <a:gd name="connsiteY12" fmla="*/ 289566 h 292071"/>
                    <a:gd name="connsiteX13" fmla="*/ 375435 w 416939"/>
                    <a:gd name="connsiteY13" fmla="*/ 207651 h 292071"/>
                    <a:gd name="connsiteX14" fmla="*/ 335430 w 416939"/>
                    <a:gd name="connsiteY14" fmla="*/ 142881 h 292071"/>
                    <a:gd name="connsiteX15" fmla="*/ 230655 w 416939"/>
                    <a:gd name="connsiteY15" fmla="*/ 125736 h 292071"/>
                    <a:gd name="connsiteX16" fmla="*/ 143025 w 416939"/>
                    <a:gd name="connsiteY16" fmla="*/ 112401 h 292071"/>
                    <a:gd name="connsiteX17" fmla="*/ 118260 w 416939"/>
                    <a:gd name="connsiteY17" fmla="*/ 102876 h 292071"/>
                    <a:gd name="connsiteX18" fmla="*/ 89685 w 416939"/>
                    <a:gd name="connsiteY18" fmla="*/ 120021 h 292071"/>
                    <a:gd name="connsiteX19" fmla="*/ 57300 w 416939"/>
                    <a:gd name="connsiteY19" fmla="*/ 165741 h 292071"/>
                    <a:gd name="connsiteX20" fmla="*/ 28726 w 416939"/>
                    <a:gd name="connsiteY20" fmla="*/ 281947 h 292071"/>
                    <a:gd name="connsiteX21" fmla="*/ 15390 w 416939"/>
                    <a:gd name="connsiteY21" fmla="*/ 280041 h 29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16939" h="292071">
                      <a:moveTo>
                        <a:pt x="15390" y="280041"/>
                      </a:moveTo>
                      <a:cubicBezTo>
                        <a:pt x="5865" y="284486"/>
                        <a:pt x="-1120" y="218446"/>
                        <a:pt x="150" y="192411"/>
                      </a:cubicBezTo>
                      <a:cubicBezTo>
                        <a:pt x="1420" y="166376"/>
                        <a:pt x="785" y="143833"/>
                        <a:pt x="7770" y="123831"/>
                      </a:cubicBezTo>
                      <a:cubicBezTo>
                        <a:pt x="14755" y="103829"/>
                        <a:pt x="27138" y="84779"/>
                        <a:pt x="42060" y="72396"/>
                      </a:cubicBezTo>
                      <a:cubicBezTo>
                        <a:pt x="56983" y="60014"/>
                        <a:pt x="87780" y="54299"/>
                        <a:pt x="97305" y="49536"/>
                      </a:cubicBezTo>
                      <a:cubicBezTo>
                        <a:pt x="107465" y="41916"/>
                        <a:pt x="112228" y="27311"/>
                        <a:pt x="129690" y="19056"/>
                      </a:cubicBezTo>
                      <a:cubicBezTo>
                        <a:pt x="147152" y="10801"/>
                        <a:pt x="173188" y="-311"/>
                        <a:pt x="202080" y="6"/>
                      </a:cubicBezTo>
                      <a:cubicBezTo>
                        <a:pt x="230972" y="323"/>
                        <a:pt x="274470" y="9531"/>
                        <a:pt x="303045" y="20961"/>
                      </a:cubicBezTo>
                      <a:cubicBezTo>
                        <a:pt x="331620" y="32391"/>
                        <a:pt x="355432" y="48901"/>
                        <a:pt x="373530" y="68586"/>
                      </a:cubicBezTo>
                      <a:cubicBezTo>
                        <a:pt x="391628" y="88271"/>
                        <a:pt x="404645" y="113354"/>
                        <a:pt x="411630" y="139071"/>
                      </a:cubicBezTo>
                      <a:cubicBezTo>
                        <a:pt x="418615" y="164788"/>
                        <a:pt x="417345" y="197809"/>
                        <a:pt x="415440" y="222891"/>
                      </a:cubicBezTo>
                      <a:cubicBezTo>
                        <a:pt x="413535" y="247974"/>
                        <a:pt x="403375" y="263531"/>
                        <a:pt x="400200" y="289566"/>
                      </a:cubicBezTo>
                      <a:lnTo>
                        <a:pt x="383055" y="289566"/>
                      </a:lnTo>
                      <a:lnTo>
                        <a:pt x="375435" y="207651"/>
                      </a:lnTo>
                      <a:cubicBezTo>
                        <a:pt x="369085" y="183521"/>
                        <a:pt x="359560" y="156533"/>
                        <a:pt x="335430" y="142881"/>
                      </a:cubicBezTo>
                      <a:cubicBezTo>
                        <a:pt x="311300" y="129229"/>
                        <a:pt x="262723" y="130816"/>
                        <a:pt x="230655" y="125736"/>
                      </a:cubicBezTo>
                      <a:lnTo>
                        <a:pt x="143025" y="112401"/>
                      </a:lnTo>
                      <a:lnTo>
                        <a:pt x="118260" y="102876"/>
                      </a:lnTo>
                      <a:lnTo>
                        <a:pt x="89685" y="120021"/>
                      </a:lnTo>
                      <a:cubicBezTo>
                        <a:pt x="79525" y="130498"/>
                        <a:pt x="67460" y="138753"/>
                        <a:pt x="57300" y="165741"/>
                      </a:cubicBezTo>
                      <a:cubicBezTo>
                        <a:pt x="47140" y="192729"/>
                        <a:pt x="37298" y="262897"/>
                        <a:pt x="28726" y="281947"/>
                      </a:cubicBezTo>
                      <a:cubicBezTo>
                        <a:pt x="20154" y="300997"/>
                        <a:pt x="19518" y="288931"/>
                        <a:pt x="15390" y="280041"/>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45" name="Rounded Rectangle 22">
                <a:extLst>
                  <a:ext uri="{FF2B5EF4-FFF2-40B4-BE49-F238E27FC236}">
                    <a16:creationId xmlns:a16="http://schemas.microsoft.com/office/drawing/2014/main" id="{7FF989CC-4262-4B02-926B-265AF3C79FCE}"/>
                  </a:ext>
                </a:extLst>
              </p:cNvPr>
              <p:cNvSpPr/>
              <p:nvPr/>
            </p:nvSpPr>
            <p:spPr bwMode="gray">
              <a:xfrm flipH="1">
                <a:off x="-4492385" y="2351760"/>
                <a:ext cx="205146" cy="148612"/>
              </a:xfrm>
              <a:custGeom>
                <a:avLst/>
                <a:gdLst/>
                <a:ahLst/>
                <a:cxnLst/>
                <a:rect l="l" t="t" r="r" b="b"/>
                <a:pathLst>
                  <a:path w="205146" h="148612">
                    <a:moveTo>
                      <a:pt x="0" y="0"/>
                    </a:moveTo>
                    <a:lnTo>
                      <a:pt x="0" y="46818"/>
                    </a:lnTo>
                    <a:lnTo>
                      <a:pt x="87823" y="95272"/>
                    </a:lnTo>
                    <a:lnTo>
                      <a:pt x="80601" y="147895"/>
                    </a:lnTo>
                    <a:cubicBezTo>
                      <a:pt x="82347" y="148514"/>
                      <a:pt x="83934" y="148612"/>
                      <a:pt x="85274" y="148612"/>
                    </a:cubicBezTo>
                    <a:cubicBezTo>
                      <a:pt x="92100" y="148612"/>
                      <a:pt x="97749" y="148525"/>
                      <a:pt x="102573" y="148298"/>
                    </a:cubicBezTo>
                    <a:cubicBezTo>
                      <a:pt x="107398" y="148525"/>
                      <a:pt x="113046" y="148612"/>
                      <a:pt x="119872" y="148612"/>
                    </a:cubicBezTo>
                    <a:lnTo>
                      <a:pt x="124546" y="147895"/>
                    </a:lnTo>
                    <a:lnTo>
                      <a:pt x="117323" y="95272"/>
                    </a:lnTo>
                    <a:lnTo>
                      <a:pt x="205146" y="46818"/>
                    </a:lnTo>
                    <a:lnTo>
                      <a:pt x="205146" y="580"/>
                    </a:lnTo>
                    <a:cubicBezTo>
                      <a:pt x="178051" y="24052"/>
                      <a:pt x="144619" y="36929"/>
                      <a:pt x="108755" y="36929"/>
                    </a:cubicBezTo>
                    <a:lnTo>
                      <a:pt x="103026" y="35771"/>
                    </a:lnTo>
                    <a:lnTo>
                      <a:pt x="97303" y="36928"/>
                    </a:lnTo>
                    <a:cubicBezTo>
                      <a:pt x="61078" y="36928"/>
                      <a:pt x="27334" y="23790"/>
                      <a:pt x="0" y="0"/>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6" name="Freeform 27">
                <a:extLst>
                  <a:ext uri="{FF2B5EF4-FFF2-40B4-BE49-F238E27FC236}">
                    <a16:creationId xmlns:a16="http://schemas.microsoft.com/office/drawing/2014/main" id="{3B5D79F9-4E44-441A-A841-832B952CEEC6}"/>
                  </a:ext>
                </a:extLst>
              </p:cNvPr>
              <p:cNvSpPr/>
              <p:nvPr/>
            </p:nvSpPr>
            <p:spPr bwMode="gray">
              <a:xfrm>
                <a:off x="-4520767" y="2386072"/>
                <a:ext cx="116205" cy="158115"/>
              </a:xfrm>
              <a:custGeom>
                <a:avLst/>
                <a:gdLst>
                  <a:gd name="connsiteX0" fmla="*/ 9525 w 123825"/>
                  <a:gd name="connsiteY0" fmla="*/ 0 h 131445"/>
                  <a:gd name="connsiteX1" fmla="*/ 123825 w 123825"/>
                  <a:gd name="connsiteY1" fmla="*/ 55245 h 131445"/>
                  <a:gd name="connsiteX2" fmla="*/ 120015 w 123825"/>
                  <a:gd name="connsiteY2" fmla="*/ 131445 h 131445"/>
                  <a:gd name="connsiteX3" fmla="*/ 0 w 123825"/>
                  <a:gd name="connsiteY3" fmla="*/ 72390 h 131445"/>
                  <a:gd name="connsiteX4" fmla="*/ 9525 w 123825"/>
                  <a:gd name="connsiteY4" fmla="*/ 0 h 131445"/>
                  <a:gd name="connsiteX0" fmla="*/ 9525 w 123825"/>
                  <a:gd name="connsiteY0" fmla="*/ 0 h 158115"/>
                  <a:gd name="connsiteX1" fmla="*/ 123825 w 123825"/>
                  <a:gd name="connsiteY1" fmla="*/ 55245 h 158115"/>
                  <a:gd name="connsiteX2" fmla="*/ 106680 w 123825"/>
                  <a:gd name="connsiteY2" fmla="*/ 158115 h 158115"/>
                  <a:gd name="connsiteX3" fmla="*/ 0 w 123825"/>
                  <a:gd name="connsiteY3" fmla="*/ 72390 h 158115"/>
                  <a:gd name="connsiteX4" fmla="*/ 9525 w 123825"/>
                  <a:gd name="connsiteY4" fmla="*/ 0 h 158115"/>
                  <a:gd name="connsiteX0" fmla="*/ 5715 w 120015"/>
                  <a:gd name="connsiteY0" fmla="*/ 0 h 158115"/>
                  <a:gd name="connsiteX1" fmla="*/ 120015 w 120015"/>
                  <a:gd name="connsiteY1" fmla="*/ 55245 h 158115"/>
                  <a:gd name="connsiteX2" fmla="*/ 102870 w 120015"/>
                  <a:gd name="connsiteY2" fmla="*/ 158115 h 158115"/>
                  <a:gd name="connsiteX3" fmla="*/ 0 w 120015"/>
                  <a:gd name="connsiteY3" fmla="*/ 70485 h 158115"/>
                  <a:gd name="connsiteX4" fmla="*/ 5715 w 120015"/>
                  <a:gd name="connsiteY4" fmla="*/ 0 h 158115"/>
                  <a:gd name="connsiteX0" fmla="*/ 5715 w 116205"/>
                  <a:gd name="connsiteY0" fmla="*/ 0 h 158115"/>
                  <a:gd name="connsiteX1" fmla="*/ 116205 w 116205"/>
                  <a:gd name="connsiteY1" fmla="*/ 60960 h 158115"/>
                  <a:gd name="connsiteX2" fmla="*/ 102870 w 116205"/>
                  <a:gd name="connsiteY2" fmla="*/ 158115 h 158115"/>
                  <a:gd name="connsiteX3" fmla="*/ 0 w 116205"/>
                  <a:gd name="connsiteY3" fmla="*/ 70485 h 158115"/>
                  <a:gd name="connsiteX4" fmla="*/ 5715 w 116205"/>
                  <a:gd name="connsiteY4" fmla="*/ 0 h 158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205" h="158115">
                    <a:moveTo>
                      <a:pt x="5715" y="0"/>
                    </a:moveTo>
                    <a:lnTo>
                      <a:pt x="116205" y="60960"/>
                    </a:lnTo>
                    <a:lnTo>
                      <a:pt x="102870" y="158115"/>
                    </a:lnTo>
                    <a:lnTo>
                      <a:pt x="0" y="70485"/>
                    </a:lnTo>
                    <a:lnTo>
                      <a:pt x="5715" y="0"/>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7" name="Freeform 28">
                <a:extLst>
                  <a:ext uri="{FF2B5EF4-FFF2-40B4-BE49-F238E27FC236}">
                    <a16:creationId xmlns:a16="http://schemas.microsoft.com/office/drawing/2014/main" id="{2272C019-2BDE-47D6-956B-60966FD4457A}"/>
                  </a:ext>
                </a:extLst>
              </p:cNvPr>
              <p:cNvSpPr/>
              <p:nvPr/>
            </p:nvSpPr>
            <p:spPr bwMode="gray">
              <a:xfrm flipH="1">
                <a:off x="-4375062" y="2386072"/>
                <a:ext cx="116205" cy="158115"/>
              </a:xfrm>
              <a:custGeom>
                <a:avLst/>
                <a:gdLst>
                  <a:gd name="connsiteX0" fmla="*/ 9525 w 123825"/>
                  <a:gd name="connsiteY0" fmla="*/ 0 h 131445"/>
                  <a:gd name="connsiteX1" fmla="*/ 123825 w 123825"/>
                  <a:gd name="connsiteY1" fmla="*/ 55245 h 131445"/>
                  <a:gd name="connsiteX2" fmla="*/ 120015 w 123825"/>
                  <a:gd name="connsiteY2" fmla="*/ 131445 h 131445"/>
                  <a:gd name="connsiteX3" fmla="*/ 0 w 123825"/>
                  <a:gd name="connsiteY3" fmla="*/ 72390 h 131445"/>
                  <a:gd name="connsiteX4" fmla="*/ 9525 w 123825"/>
                  <a:gd name="connsiteY4" fmla="*/ 0 h 131445"/>
                  <a:gd name="connsiteX0" fmla="*/ 9525 w 123825"/>
                  <a:gd name="connsiteY0" fmla="*/ 0 h 158115"/>
                  <a:gd name="connsiteX1" fmla="*/ 123825 w 123825"/>
                  <a:gd name="connsiteY1" fmla="*/ 55245 h 158115"/>
                  <a:gd name="connsiteX2" fmla="*/ 106680 w 123825"/>
                  <a:gd name="connsiteY2" fmla="*/ 158115 h 158115"/>
                  <a:gd name="connsiteX3" fmla="*/ 0 w 123825"/>
                  <a:gd name="connsiteY3" fmla="*/ 72390 h 158115"/>
                  <a:gd name="connsiteX4" fmla="*/ 9525 w 123825"/>
                  <a:gd name="connsiteY4" fmla="*/ 0 h 158115"/>
                  <a:gd name="connsiteX0" fmla="*/ 5715 w 120015"/>
                  <a:gd name="connsiteY0" fmla="*/ 0 h 158115"/>
                  <a:gd name="connsiteX1" fmla="*/ 120015 w 120015"/>
                  <a:gd name="connsiteY1" fmla="*/ 55245 h 158115"/>
                  <a:gd name="connsiteX2" fmla="*/ 102870 w 120015"/>
                  <a:gd name="connsiteY2" fmla="*/ 158115 h 158115"/>
                  <a:gd name="connsiteX3" fmla="*/ 0 w 120015"/>
                  <a:gd name="connsiteY3" fmla="*/ 70485 h 158115"/>
                  <a:gd name="connsiteX4" fmla="*/ 5715 w 120015"/>
                  <a:gd name="connsiteY4" fmla="*/ 0 h 158115"/>
                  <a:gd name="connsiteX0" fmla="*/ 5715 w 116205"/>
                  <a:gd name="connsiteY0" fmla="*/ 0 h 158115"/>
                  <a:gd name="connsiteX1" fmla="*/ 116205 w 116205"/>
                  <a:gd name="connsiteY1" fmla="*/ 60960 h 158115"/>
                  <a:gd name="connsiteX2" fmla="*/ 102870 w 116205"/>
                  <a:gd name="connsiteY2" fmla="*/ 158115 h 158115"/>
                  <a:gd name="connsiteX3" fmla="*/ 0 w 116205"/>
                  <a:gd name="connsiteY3" fmla="*/ 70485 h 158115"/>
                  <a:gd name="connsiteX4" fmla="*/ 5715 w 116205"/>
                  <a:gd name="connsiteY4" fmla="*/ 0 h 158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205" h="158115">
                    <a:moveTo>
                      <a:pt x="5715" y="0"/>
                    </a:moveTo>
                    <a:lnTo>
                      <a:pt x="116205" y="60960"/>
                    </a:lnTo>
                    <a:lnTo>
                      <a:pt x="102870" y="158115"/>
                    </a:lnTo>
                    <a:lnTo>
                      <a:pt x="0" y="70485"/>
                    </a:lnTo>
                    <a:lnTo>
                      <a:pt x="5715" y="0"/>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8" name="Isosceles Triangle 47">
                <a:extLst>
                  <a:ext uri="{FF2B5EF4-FFF2-40B4-BE49-F238E27FC236}">
                    <a16:creationId xmlns:a16="http://schemas.microsoft.com/office/drawing/2014/main" id="{CBB1B454-45DA-4FC9-AAC1-493EC46B0C48}"/>
                  </a:ext>
                </a:extLst>
              </p:cNvPr>
              <p:cNvSpPr/>
              <p:nvPr/>
            </p:nvSpPr>
            <p:spPr bwMode="gray">
              <a:xfrm>
                <a:off x="-4433613" y="2572231"/>
                <a:ext cx="87602" cy="164997"/>
              </a:xfrm>
              <a:prstGeom prst="triangl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9" name="Isosceles Triangle 82">
                <a:extLst>
                  <a:ext uri="{FF2B5EF4-FFF2-40B4-BE49-F238E27FC236}">
                    <a16:creationId xmlns:a16="http://schemas.microsoft.com/office/drawing/2014/main" id="{C8FCDDB0-1B4E-4418-9E54-EE82869494F0}"/>
                  </a:ext>
                </a:extLst>
              </p:cNvPr>
              <p:cNvSpPr/>
              <p:nvPr/>
            </p:nvSpPr>
            <p:spPr bwMode="gray">
              <a:xfrm flipV="1">
                <a:off x="-4415877" y="2500371"/>
                <a:ext cx="52130" cy="71859"/>
              </a:xfrm>
              <a:custGeom>
                <a:avLst/>
                <a:gdLst/>
                <a:ahLst/>
                <a:cxnLst/>
                <a:rect l="l" t="t" r="r" b="b"/>
                <a:pathLst>
                  <a:path w="52130" h="71859">
                    <a:moveTo>
                      <a:pt x="3994" y="71859"/>
                    </a:moveTo>
                    <a:lnTo>
                      <a:pt x="48136" y="71859"/>
                    </a:lnTo>
                    <a:lnTo>
                      <a:pt x="52130" y="42761"/>
                    </a:lnTo>
                    <a:lnTo>
                      <a:pt x="26065" y="0"/>
                    </a:lnTo>
                    <a:lnTo>
                      <a:pt x="0" y="42761"/>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 name="Isosceles Triangle 21">
                <a:extLst>
                  <a:ext uri="{FF2B5EF4-FFF2-40B4-BE49-F238E27FC236}">
                    <a16:creationId xmlns:a16="http://schemas.microsoft.com/office/drawing/2014/main" id="{4C4F4575-6226-48AC-90FF-EF335757BF27}"/>
                  </a:ext>
                </a:extLst>
              </p:cNvPr>
              <p:cNvSpPr/>
              <p:nvPr/>
            </p:nvSpPr>
            <p:spPr bwMode="gray">
              <a:xfrm>
                <a:off x="-4806656" y="2420434"/>
                <a:ext cx="832973" cy="316795"/>
              </a:xfrm>
              <a:custGeom>
                <a:avLst/>
                <a:gdLst>
                  <a:gd name="connsiteX0" fmla="*/ 416844 w 832973"/>
                  <a:gd name="connsiteY0" fmla="*/ 87536 h 324706"/>
                  <a:gd name="connsiteX1" fmla="*/ 434089 w 832973"/>
                  <a:gd name="connsiteY1" fmla="*/ 87849 h 324706"/>
                  <a:gd name="connsiteX2" fmla="*/ 399600 w 832973"/>
                  <a:gd name="connsiteY2" fmla="*/ 87849 h 324706"/>
                  <a:gd name="connsiteX3" fmla="*/ 416844 w 832973"/>
                  <a:gd name="connsiteY3" fmla="*/ 87536 h 324706"/>
                  <a:gd name="connsiteX4" fmla="*/ 431594 w 832973"/>
                  <a:gd name="connsiteY4" fmla="*/ 34510 h 324706"/>
                  <a:gd name="connsiteX5" fmla="*/ 438915 w 832973"/>
                  <a:gd name="connsiteY5" fmla="*/ 87849 h 324706"/>
                  <a:gd name="connsiteX6" fmla="*/ 438200 w 832973"/>
                  <a:gd name="connsiteY6" fmla="*/ 87849 h 324706"/>
                  <a:gd name="connsiteX7" fmla="*/ 434150 w 832973"/>
                  <a:gd name="connsiteY7" fmla="*/ 87849 h 324706"/>
                  <a:gd name="connsiteX8" fmla="*/ 438816 w 832973"/>
                  <a:gd name="connsiteY8" fmla="*/ 87133 h 324706"/>
                  <a:gd name="connsiteX9" fmla="*/ 431594 w 832973"/>
                  <a:gd name="connsiteY9" fmla="*/ 34510 h 324706"/>
                  <a:gd name="connsiteX10" fmla="*/ 288103 w 832973"/>
                  <a:gd name="connsiteY10" fmla="*/ 7911 h 324706"/>
                  <a:gd name="connsiteX11" fmla="*/ 288094 w 832973"/>
                  <a:gd name="connsiteY11" fmla="*/ 8024 h 324706"/>
                  <a:gd name="connsiteX12" fmla="*/ 288818 w 832973"/>
                  <a:gd name="connsiteY12" fmla="*/ 7911 h 324706"/>
                  <a:gd name="connsiteX13" fmla="*/ 285889 w 832973"/>
                  <a:gd name="connsiteY13" fmla="*/ 44035 h 324706"/>
                  <a:gd name="connsiteX14" fmla="*/ 388119 w 832973"/>
                  <a:gd name="connsiteY14" fmla="*/ 131120 h 324706"/>
                  <a:gd name="connsiteX15" fmla="*/ 390064 w 832973"/>
                  <a:gd name="connsiteY15" fmla="*/ 116947 h 324706"/>
                  <a:gd name="connsiteX16" fmla="*/ 390648 w 832973"/>
                  <a:gd name="connsiteY16" fmla="*/ 117905 h 324706"/>
                  <a:gd name="connsiteX17" fmla="*/ 390779 w 832973"/>
                  <a:gd name="connsiteY17" fmla="*/ 116947 h 324706"/>
                  <a:gd name="connsiteX18" fmla="*/ 416487 w 832973"/>
                  <a:gd name="connsiteY18" fmla="*/ 159122 h 324706"/>
                  <a:gd name="connsiteX19" fmla="*/ 442194 w 832973"/>
                  <a:gd name="connsiteY19" fmla="*/ 116947 h 324706"/>
                  <a:gd name="connsiteX20" fmla="*/ 442326 w 832973"/>
                  <a:gd name="connsiteY20" fmla="*/ 117905 h 324706"/>
                  <a:gd name="connsiteX21" fmla="*/ 442909 w 832973"/>
                  <a:gd name="connsiteY21" fmla="*/ 116947 h 324706"/>
                  <a:gd name="connsiteX22" fmla="*/ 444854 w 832973"/>
                  <a:gd name="connsiteY22" fmla="*/ 131120 h 324706"/>
                  <a:gd name="connsiteX23" fmla="*/ 547084 w 832973"/>
                  <a:gd name="connsiteY23" fmla="*/ 44035 h 324706"/>
                  <a:gd name="connsiteX24" fmla="*/ 544155 w 832973"/>
                  <a:gd name="connsiteY24" fmla="*/ 7911 h 324706"/>
                  <a:gd name="connsiteX25" fmla="*/ 544879 w 832973"/>
                  <a:gd name="connsiteY25" fmla="*/ 8024 h 324706"/>
                  <a:gd name="connsiteX26" fmla="*/ 544870 w 832973"/>
                  <a:gd name="connsiteY26" fmla="*/ 7911 h 324706"/>
                  <a:gd name="connsiteX27" fmla="*/ 727791 w 832973"/>
                  <a:gd name="connsiteY27" fmla="*/ 36431 h 324706"/>
                  <a:gd name="connsiteX28" fmla="*/ 756086 w 832973"/>
                  <a:gd name="connsiteY28" fmla="*/ 48878 h 324706"/>
                  <a:gd name="connsiteX29" fmla="*/ 756011 w 832973"/>
                  <a:gd name="connsiteY29" fmla="*/ 49159 h 324706"/>
                  <a:gd name="connsiteX30" fmla="*/ 802687 w 832973"/>
                  <a:gd name="connsiteY30" fmla="*/ 163429 h 324706"/>
                  <a:gd name="connsiteX31" fmla="*/ 832973 w 832973"/>
                  <a:gd name="connsiteY31" fmla="*/ 324706 h 324706"/>
                  <a:gd name="connsiteX32" fmla="*/ 731916 w 832973"/>
                  <a:gd name="connsiteY32" fmla="*/ 324706 h 324706"/>
                  <a:gd name="connsiteX33" fmla="*/ 628934 w 832973"/>
                  <a:gd name="connsiteY33" fmla="*/ 324706 h 324706"/>
                  <a:gd name="connsiteX34" fmla="*/ 628219 w 832973"/>
                  <a:gd name="connsiteY34" fmla="*/ 324706 h 324706"/>
                  <a:gd name="connsiteX35" fmla="*/ 460645 w 832973"/>
                  <a:gd name="connsiteY35" fmla="*/ 324706 h 324706"/>
                  <a:gd name="connsiteX36" fmla="*/ 459930 w 832973"/>
                  <a:gd name="connsiteY36" fmla="*/ 324706 h 324706"/>
                  <a:gd name="connsiteX37" fmla="*/ 416487 w 832973"/>
                  <a:gd name="connsiteY37" fmla="*/ 161056 h 324706"/>
                  <a:gd name="connsiteX38" fmla="*/ 373043 w 832973"/>
                  <a:gd name="connsiteY38" fmla="*/ 324706 h 324706"/>
                  <a:gd name="connsiteX39" fmla="*/ 372328 w 832973"/>
                  <a:gd name="connsiteY39" fmla="*/ 324706 h 324706"/>
                  <a:gd name="connsiteX40" fmla="*/ 204754 w 832973"/>
                  <a:gd name="connsiteY40" fmla="*/ 324706 h 324706"/>
                  <a:gd name="connsiteX41" fmla="*/ 204039 w 832973"/>
                  <a:gd name="connsiteY41" fmla="*/ 324706 h 324706"/>
                  <a:gd name="connsiteX42" fmla="*/ 101057 w 832973"/>
                  <a:gd name="connsiteY42" fmla="*/ 324706 h 324706"/>
                  <a:gd name="connsiteX43" fmla="*/ 0 w 832973"/>
                  <a:gd name="connsiteY43" fmla="*/ 324706 h 324706"/>
                  <a:gd name="connsiteX44" fmla="*/ 30286 w 832973"/>
                  <a:gd name="connsiteY44" fmla="*/ 163429 h 324706"/>
                  <a:gd name="connsiteX45" fmla="*/ 76963 w 832973"/>
                  <a:gd name="connsiteY45" fmla="*/ 49159 h 324706"/>
                  <a:gd name="connsiteX46" fmla="*/ 76887 w 832973"/>
                  <a:gd name="connsiteY46" fmla="*/ 48878 h 324706"/>
                  <a:gd name="connsiteX47" fmla="*/ 105182 w 832973"/>
                  <a:gd name="connsiteY47" fmla="*/ 36431 h 324706"/>
                  <a:gd name="connsiteX48" fmla="*/ 288103 w 832973"/>
                  <a:gd name="connsiteY48" fmla="*/ 7911 h 324706"/>
                  <a:gd name="connsiteX49" fmla="*/ 494142 w 832973"/>
                  <a:gd name="connsiteY49" fmla="*/ 1 h 324706"/>
                  <a:gd name="connsiteX50" fmla="*/ 494142 w 832973"/>
                  <a:gd name="connsiteY50" fmla="*/ 1 h 324706"/>
                  <a:gd name="connsiteX51" fmla="*/ 431594 w 832973"/>
                  <a:gd name="connsiteY51" fmla="*/ 34510 h 324706"/>
                  <a:gd name="connsiteX52" fmla="*/ 494142 w 832973"/>
                  <a:gd name="connsiteY52" fmla="*/ 1 h 324706"/>
                  <a:gd name="connsiteX53" fmla="*/ 339389 w 832973"/>
                  <a:gd name="connsiteY53" fmla="*/ 42320 h 324706"/>
                  <a:gd name="connsiteX54" fmla="*/ 402094 w 832973"/>
                  <a:gd name="connsiteY54" fmla="*/ 34510 h 324706"/>
                  <a:gd name="connsiteX55" fmla="*/ 394871 w 832973"/>
                  <a:gd name="connsiteY55" fmla="*/ 87133 h 324706"/>
                  <a:gd name="connsiteX56" fmla="*/ 399539 w 832973"/>
                  <a:gd name="connsiteY56" fmla="*/ 87849 h 324706"/>
                  <a:gd name="connsiteX57" fmla="*/ 394773 w 832973"/>
                  <a:gd name="connsiteY57" fmla="*/ 87849 h 324706"/>
                  <a:gd name="connsiteX58" fmla="*/ 394058 w 832973"/>
                  <a:gd name="connsiteY58" fmla="*/ 87849 h 324706"/>
                  <a:gd name="connsiteX59" fmla="*/ 401379 w 832973"/>
                  <a:gd name="connsiteY59" fmla="*/ 34510 h 324706"/>
                  <a:gd name="connsiteX60" fmla="*/ 338831 w 832973"/>
                  <a:gd name="connsiteY60" fmla="*/ 1 h 324706"/>
                  <a:gd name="connsiteX61" fmla="*/ 339389 w 832973"/>
                  <a:gd name="connsiteY61" fmla="*/ 42320 h 324706"/>
                  <a:gd name="connsiteX0" fmla="*/ 416844 w 832973"/>
                  <a:gd name="connsiteY0" fmla="*/ 87535 h 324705"/>
                  <a:gd name="connsiteX1" fmla="*/ 434089 w 832973"/>
                  <a:gd name="connsiteY1" fmla="*/ 87848 h 324705"/>
                  <a:gd name="connsiteX2" fmla="*/ 399600 w 832973"/>
                  <a:gd name="connsiteY2" fmla="*/ 87848 h 324705"/>
                  <a:gd name="connsiteX3" fmla="*/ 416844 w 832973"/>
                  <a:gd name="connsiteY3" fmla="*/ 87535 h 324705"/>
                  <a:gd name="connsiteX4" fmla="*/ 431594 w 832973"/>
                  <a:gd name="connsiteY4" fmla="*/ 34509 h 324705"/>
                  <a:gd name="connsiteX5" fmla="*/ 438915 w 832973"/>
                  <a:gd name="connsiteY5" fmla="*/ 87848 h 324705"/>
                  <a:gd name="connsiteX6" fmla="*/ 438200 w 832973"/>
                  <a:gd name="connsiteY6" fmla="*/ 87848 h 324705"/>
                  <a:gd name="connsiteX7" fmla="*/ 434150 w 832973"/>
                  <a:gd name="connsiteY7" fmla="*/ 87848 h 324705"/>
                  <a:gd name="connsiteX8" fmla="*/ 438816 w 832973"/>
                  <a:gd name="connsiteY8" fmla="*/ 87132 h 324705"/>
                  <a:gd name="connsiteX9" fmla="*/ 431594 w 832973"/>
                  <a:gd name="connsiteY9" fmla="*/ 34509 h 324705"/>
                  <a:gd name="connsiteX10" fmla="*/ 288103 w 832973"/>
                  <a:gd name="connsiteY10" fmla="*/ 7910 h 324705"/>
                  <a:gd name="connsiteX11" fmla="*/ 288094 w 832973"/>
                  <a:gd name="connsiteY11" fmla="*/ 8023 h 324705"/>
                  <a:gd name="connsiteX12" fmla="*/ 288818 w 832973"/>
                  <a:gd name="connsiteY12" fmla="*/ 7910 h 324705"/>
                  <a:gd name="connsiteX13" fmla="*/ 285889 w 832973"/>
                  <a:gd name="connsiteY13" fmla="*/ 44034 h 324705"/>
                  <a:gd name="connsiteX14" fmla="*/ 388119 w 832973"/>
                  <a:gd name="connsiteY14" fmla="*/ 131119 h 324705"/>
                  <a:gd name="connsiteX15" fmla="*/ 390064 w 832973"/>
                  <a:gd name="connsiteY15" fmla="*/ 116946 h 324705"/>
                  <a:gd name="connsiteX16" fmla="*/ 390648 w 832973"/>
                  <a:gd name="connsiteY16" fmla="*/ 117904 h 324705"/>
                  <a:gd name="connsiteX17" fmla="*/ 390779 w 832973"/>
                  <a:gd name="connsiteY17" fmla="*/ 116946 h 324705"/>
                  <a:gd name="connsiteX18" fmla="*/ 416487 w 832973"/>
                  <a:gd name="connsiteY18" fmla="*/ 159121 h 324705"/>
                  <a:gd name="connsiteX19" fmla="*/ 442194 w 832973"/>
                  <a:gd name="connsiteY19" fmla="*/ 116946 h 324705"/>
                  <a:gd name="connsiteX20" fmla="*/ 442326 w 832973"/>
                  <a:gd name="connsiteY20" fmla="*/ 117904 h 324705"/>
                  <a:gd name="connsiteX21" fmla="*/ 442909 w 832973"/>
                  <a:gd name="connsiteY21" fmla="*/ 116946 h 324705"/>
                  <a:gd name="connsiteX22" fmla="*/ 444854 w 832973"/>
                  <a:gd name="connsiteY22" fmla="*/ 131119 h 324705"/>
                  <a:gd name="connsiteX23" fmla="*/ 547084 w 832973"/>
                  <a:gd name="connsiteY23" fmla="*/ 44034 h 324705"/>
                  <a:gd name="connsiteX24" fmla="*/ 544155 w 832973"/>
                  <a:gd name="connsiteY24" fmla="*/ 7910 h 324705"/>
                  <a:gd name="connsiteX25" fmla="*/ 544879 w 832973"/>
                  <a:gd name="connsiteY25" fmla="*/ 8023 h 324705"/>
                  <a:gd name="connsiteX26" fmla="*/ 544870 w 832973"/>
                  <a:gd name="connsiteY26" fmla="*/ 7910 h 324705"/>
                  <a:gd name="connsiteX27" fmla="*/ 727791 w 832973"/>
                  <a:gd name="connsiteY27" fmla="*/ 36430 h 324705"/>
                  <a:gd name="connsiteX28" fmla="*/ 756086 w 832973"/>
                  <a:gd name="connsiteY28" fmla="*/ 48877 h 324705"/>
                  <a:gd name="connsiteX29" fmla="*/ 756011 w 832973"/>
                  <a:gd name="connsiteY29" fmla="*/ 49158 h 324705"/>
                  <a:gd name="connsiteX30" fmla="*/ 802687 w 832973"/>
                  <a:gd name="connsiteY30" fmla="*/ 163428 h 324705"/>
                  <a:gd name="connsiteX31" fmla="*/ 832973 w 832973"/>
                  <a:gd name="connsiteY31" fmla="*/ 324705 h 324705"/>
                  <a:gd name="connsiteX32" fmla="*/ 731916 w 832973"/>
                  <a:gd name="connsiteY32" fmla="*/ 324705 h 324705"/>
                  <a:gd name="connsiteX33" fmla="*/ 628934 w 832973"/>
                  <a:gd name="connsiteY33" fmla="*/ 324705 h 324705"/>
                  <a:gd name="connsiteX34" fmla="*/ 628219 w 832973"/>
                  <a:gd name="connsiteY34" fmla="*/ 324705 h 324705"/>
                  <a:gd name="connsiteX35" fmla="*/ 460645 w 832973"/>
                  <a:gd name="connsiteY35" fmla="*/ 324705 h 324705"/>
                  <a:gd name="connsiteX36" fmla="*/ 459930 w 832973"/>
                  <a:gd name="connsiteY36" fmla="*/ 324705 h 324705"/>
                  <a:gd name="connsiteX37" fmla="*/ 416487 w 832973"/>
                  <a:gd name="connsiteY37" fmla="*/ 161055 h 324705"/>
                  <a:gd name="connsiteX38" fmla="*/ 373043 w 832973"/>
                  <a:gd name="connsiteY38" fmla="*/ 324705 h 324705"/>
                  <a:gd name="connsiteX39" fmla="*/ 372328 w 832973"/>
                  <a:gd name="connsiteY39" fmla="*/ 324705 h 324705"/>
                  <a:gd name="connsiteX40" fmla="*/ 204754 w 832973"/>
                  <a:gd name="connsiteY40" fmla="*/ 324705 h 324705"/>
                  <a:gd name="connsiteX41" fmla="*/ 204039 w 832973"/>
                  <a:gd name="connsiteY41" fmla="*/ 324705 h 324705"/>
                  <a:gd name="connsiteX42" fmla="*/ 101057 w 832973"/>
                  <a:gd name="connsiteY42" fmla="*/ 324705 h 324705"/>
                  <a:gd name="connsiteX43" fmla="*/ 0 w 832973"/>
                  <a:gd name="connsiteY43" fmla="*/ 324705 h 324705"/>
                  <a:gd name="connsiteX44" fmla="*/ 30286 w 832973"/>
                  <a:gd name="connsiteY44" fmla="*/ 163428 h 324705"/>
                  <a:gd name="connsiteX45" fmla="*/ 76963 w 832973"/>
                  <a:gd name="connsiteY45" fmla="*/ 49158 h 324705"/>
                  <a:gd name="connsiteX46" fmla="*/ 76887 w 832973"/>
                  <a:gd name="connsiteY46" fmla="*/ 48877 h 324705"/>
                  <a:gd name="connsiteX47" fmla="*/ 105182 w 832973"/>
                  <a:gd name="connsiteY47" fmla="*/ 36430 h 324705"/>
                  <a:gd name="connsiteX48" fmla="*/ 288103 w 832973"/>
                  <a:gd name="connsiteY48" fmla="*/ 7910 h 324705"/>
                  <a:gd name="connsiteX49" fmla="*/ 494142 w 832973"/>
                  <a:gd name="connsiteY49" fmla="*/ 0 h 324705"/>
                  <a:gd name="connsiteX50" fmla="*/ 494142 w 832973"/>
                  <a:gd name="connsiteY50" fmla="*/ 0 h 324705"/>
                  <a:gd name="connsiteX51" fmla="*/ 431594 w 832973"/>
                  <a:gd name="connsiteY51" fmla="*/ 34509 h 324705"/>
                  <a:gd name="connsiteX52" fmla="*/ 494142 w 832973"/>
                  <a:gd name="connsiteY52" fmla="*/ 0 h 324705"/>
                  <a:gd name="connsiteX53" fmla="*/ 339389 w 832973"/>
                  <a:gd name="connsiteY53" fmla="*/ 42319 h 324705"/>
                  <a:gd name="connsiteX54" fmla="*/ 402094 w 832973"/>
                  <a:gd name="connsiteY54" fmla="*/ 34509 h 324705"/>
                  <a:gd name="connsiteX55" fmla="*/ 394871 w 832973"/>
                  <a:gd name="connsiteY55" fmla="*/ 87132 h 324705"/>
                  <a:gd name="connsiteX56" fmla="*/ 399539 w 832973"/>
                  <a:gd name="connsiteY56" fmla="*/ 87848 h 324705"/>
                  <a:gd name="connsiteX57" fmla="*/ 394773 w 832973"/>
                  <a:gd name="connsiteY57" fmla="*/ 87848 h 324705"/>
                  <a:gd name="connsiteX58" fmla="*/ 394058 w 832973"/>
                  <a:gd name="connsiteY58" fmla="*/ 87848 h 324705"/>
                  <a:gd name="connsiteX59" fmla="*/ 401379 w 832973"/>
                  <a:gd name="connsiteY59" fmla="*/ 34509 h 324705"/>
                  <a:gd name="connsiteX60" fmla="*/ 339389 w 832973"/>
                  <a:gd name="connsiteY60" fmla="*/ 42319 h 324705"/>
                  <a:gd name="connsiteX0" fmla="*/ 416844 w 832973"/>
                  <a:gd name="connsiteY0" fmla="*/ 87535 h 324705"/>
                  <a:gd name="connsiteX1" fmla="*/ 347088 w 832973"/>
                  <a:gd name="connsiteY1" fmla="*/ 42219 h 324705"/>
                  <a:gd name="connsiteX2" fmla="*/ 434089 w 832973"/>
                  <a:gd name="connsiteY2" fmla="*/ 87848 h 324705"/>
                  <a:gd name="connsiteX3" fmla="*/ 399600 w 832973"/>
                  <a:gd name="connsiteY3" fmla="*/ 87848 h 324705"/>
                  <a:gd name="connsiteX4" fmla="*/ 416844 w 832973"/>
                  <a:gd name="connsiteY4" fmla="*/ 87535 h 324705"/>
                  <a:gd name="connsiteX5" fmla="*/ 431594 w 832973"/>
                  <a:gd name="connsiteY5" fmla="*/ 34509 h 324705"/>
                  <a:gd name="connsiteX6" fmla="*/ 438915 w 832973"/>
                  <a:gd name="connsiteY6" fmla="*/ 87848 h 324705"/>
                  <a:gd name="connsiteX7" fmla="*/ 438200 w 832973"/>
                  <a:gd name="connsiteY7" fmla="*/ 87848 h 324705"/>
                  <a:gd name="connsiteX8" fmla="*/ 434150 w 832973"/>
                  <a:gd name="connsiteY8" fmla="*/ 87848 h 324705"/>
                  <a:gd name="connsiteX9" fmla="*/ 438816 w 832973"/>
                  <a:gd name="connsiteY9" fmla="*/ 87132 h 324705"/>
                  <a:gd name="connsiteX10" fmla="*/ 431594 w 832973"/>
                  <a:gd name="connsiteY10" fmla="*/ 34509 h 324705"/>
                  <a:gd name="connsiteX11" fmla="*/ 288103 w 832973"/>
                  <a:gd name="connsiteY11" fmla="*/ 7910 h 324705"/>
                  <a:gd name="connsiteX12" fmla="*/ 288094 w 832973"/>
                  <a:gd name="connsiteY12" fmla="*/ 8023 h 324705"/>
                  <a:gd name="connsiteX13" fmla="*/ 288818 w 832973"/>
                  <a:gd name="connsiteY13" fmla="*/ 7910 h 324705"/>
                  <a:gd name="connsiteX14" fmla="*/ 285889 w 832973"/>
                  <a:gd name="connsiteY14" fmla="*/ 44034 h 324705"/>
                  <a:gd name="connsiteX15" fmla="*/ 388119 w 832973"/>
                  <a:gd name="connsiteY15" fmla="*/ 131119 h 324705"/>
                  <a:gd name="connsiteX16" fmla="*/ 390064 w 832973"/>
                  <a:gd name="connsiteY16" fmla="*/ 116946 h 324705"/>
                  <a:gd name="connsiteX17" fmla="*/ 390648 w 832973"/>
                  <a:gd name="connsiteY17" fmla="*/ 117904 h 324705"/>
                  <a:gd name="connsiteX18" fmla="*/ 390779 w 832973"/>
                  <a:gd name="connsiteY18" fmla="*/ 116946 h 324705"/>
                  <a:gd name="connsiteX19" fmla="*/ 416487 w 832973"/>
                  <a:gd name="connsiteY19" fmla="*/ 159121 h 324705"/>
                  <a:gd name="connsiteX20" fmla="*/ 442194 w 832973"/>
                  <a:gd name="connsiteY20" fmla="*/ 116946 h 324705"/>
                  <a:gd name="connsiteX21" fmla="*/ 442326 w 832973"/>
                  <a:gd name="connsiteY21" fmla="*/ 117904 h 324705"/>
                  <a:gd name="connsiteX22" fmla="*/ 442909 w 832973"/>
                  <a:gd name="connsiteY22" fmla="*/ 116946 h 324705"/>
                  <a:gd name="connsiteX23" fmla="*/ 444854 w 832973"/>
                  <a:gd name="connsiteY23" fmla="*/ 131119 h 324705"/>
                  <a:gd name="connsiteX24" fmla="*/ 547084 w 832973"/>
                  <a:gd name="connsiteY24" fmla="*/ 44034 h 324705"/>
                  <a:gd name="connsiteX25" fmla="*/ 544155 w 832973"/>
                  <a:gd name="connsiteY25" fmla="*/ 7910 h 324705"/>
                  <a:gd name="connsiteX26" fmla="*/ 544879 w 832973"/>
                  <a:gd name="connsiteY26" fmla="*/ 8023 h 324705"/>
                  <a:gd name="connsiteX27" fmla="*/ 544870 w 832973"/>
                  <a:gd name="connsiteY27" fmla="*/ 7910 h 324705"/>
                  <a:gd name="connsiteX28" fmla="*/ 727791 w 832973"/>
                  <a:gd name="connsiteY28" fmla="*/ 36430 h 324705"/>
                  <a:gd name="connsiteX29" fmla="*/ 756086 w 832973"/>
                  <a:gd name="connsiteY29" fmla="*/ 48877 h 324705"/>
                  <a:gd name="connsiteX30" fmla="*/ 756011 w 832973"/>
                  <a:gd name="connsiteY30" fmla="*/ 49158 h 324705"/>
                  <a:gd name="connsiteX31" fmla="*/ 802687 w 832973"/>
                  <a:gd name="connsiteY31" fmla="*/ 163428 h 324705"/>
                  <a:gd name="connsiteX32" fmla="*/ 832973 w 832973"/>
                  <a:gd name="connsiteY32" fmla="*/ 324705 h 324705"/>
                  <a:gd name="connsiteX33" fmla="*/ 731916 w 832973"/>
                  <a:gd name="connsiteY33" fmla="*/ 324705 h 324705"/>
                  <a:gd name="connsiteX34" fmla="*/ 628934 w 832973"/>
                  <a:gd name="connsiteY34" fmla="*/ 324705 h 324705"/>
                  <a:gd name="connsiteX35" fmla="*/ 628219 w 832973"/>
                  <a:gd name="connsiteY35" fmla="*/ 324705 h 324705"/>
                  <a:gd name="connsiteX36" fmla="*/ 460645 w 832973"/>
                  <a:gd name="connsiteY36" fmla="*/ 324705 h 324705"/>
                  <a:gd name="connsiteX37" fmla="*/ 459930 w 832973"/>
                  <a:gd name="connsiteY37" fmla="*/ 324705 h 324705"/>
                  <a:gd name="connsiteX38" fmla="*/ 416487 w 832973"/>
                  <a:gd name="connsiteY38" fmla="*/ 161055 h 324705"/>
                  <a:gd name="connsiteX39" fmla="*/ 373043 w 832973"/>
                  <a:gd name="connsiteY39" fmla="*/ 324705 h 324705"/>
                  <a:gd name="connsiteX40" fmla="*/ 372328 w 832973"/>
                  <a:gd name="connsiteY40" fmla="*/ 324705 h 324705"/>
                  <a:gd name="connsiteX41" fmla="*/ 204754 w 832973"/>
                  <a:gd name="connsiteY41" fmla="*/ 324705 h 324705"/>
                  <a:gd name="connsiteX42" fmla="*/ 204039 w 832973"/>
                  <a:gd name="connsiteY42" fmla="*/ 324705 h 324705"/>
                  <a:gd name="connsiteX43" fmla="*/ 101057 w 832973"/>
                  <a:gd name="connsiteY43" fmla="*/ 324705 h 324705"/>
                  <a:gd name="connsiteX44" fmla="*/ 0 w 832973"/>
                  <a:gd name="connsiteY44" fmla="*/ 324705 h 324705"/>
                  <a:gd name="connsiteX45" fmla="*/ 30286 w 832973"/>
                  <a:gd name="connsiteY45" fmla="*/ 163428 h 324705"/>
                  <a:gd name="connsiteX46" fmla="*/ 76963 w 832973"/>
                  <a:gd name="connsiteY46" fmla="*/ 49158 h 324705"/>
                  <a:gd name="connsiteX47" fmla="*/ 76887 w 832973"/>
                  <a:gd name="connsiteY47" fmla="*/ 48877 h 324705"/>
                  <a:gd name="connsiteX48" fmla="*/ 105182 w 832973"/>
                  <a:gd name="connsiteY48" fmla="*/ 36430 h 324705"/>
                  <a:gd name="connsiteX49" fmla="*/ 288103 w 832973"/>
                  <a:gd name="connsiteY49" fmla="*/ 7910 h 324705"/>
                  <a:gd name="connsiteX50" fmla="*/ 494142 w 832973"/>
                  <a:gd name="connsiteY50" fmla="*/ 0 h 324705"/>
                  <a:gd name="connsiteX51" fmla="*/ 494142 w 832973"/>
                  <a:gd name="connsiteY51" fmla="*/ 0 h 324705"/>
                  <a:gd name="connsiteX52" fmla="*/ 431594 w 832973"/>
                  <a:gd name="connsiteY52" fmla="*/ 34509 h 324705"/>
                  <a:gd name="connsiteX53" fmla="*/ 494142 w 832973"/>
                  <a:gd name="connsiteY53" fmla="*/ 0 h 324705"/>
                  <a:gd name="connsiteX54" fmla="*/ 339389 w 832973"/>
                  <a:gd name="connsiteY54" fmla="*/ 42319 h 324705"/>
                  <a:gd name="connsiteX55" fmla="*/ 402094 w 832973"/>
                  <a:gd name="connsiteY55" fmla="*/ 34509 h 324705"/>
                  <a:gd name="connsiteX56" fmla="*/ 394871 w 832973"/>
                  <a:gd name="connsiteY56" fmla="*/ 87132 h 324705"/>
                  <a:gd name="connsiteX57" fmla="*/ 399539 w 832973"/>
                  <a:gd name="connsiteY57" fmla="*/ 87848 h 324705"/>
                  <a:gd name="connsiteX58" fmla="*/ 394773 w 832973"/>
                  <a:gd name="connsiteY58" fmla="*/ 87848 h 324705"/>
                  <a:gd name="connsiteX59" fmla="*/ 394058 w 832973"/>
                  <a:gd name="connsiteY59" fmla="*/ 87848 h 324705"/>
                  <a:gd name="connsiteX60" fmla="*/ 401379 w 832973"/>
                  <a:gd name="connsiteY60" fmla="*/ 34509 h 324705"/>
                  <a:gd name="connsiteX61" fmla="*/ 339389 w 832973"/>
                  <a:gd name="connsiteY61" fmla="*/ 42319 h 324705"/>
                  <a:gd name="connsiteX0" fmla="*/ 416844 w 832973"/>
                  <a:gd name="connsiteY0" fmla="*/ 87535 h 324705"/>
                  <a:gd name="connsiteX1" fmla="*/ 347088 w 832973"/>
                  <a:gd name="connsiteY1" fmla="*/ 42219 h 324705"/>
                  <a:gd name="connsiteX2" fmla="*/ 434089 w 832973"/>
                  <a:gd name="connsiteY2" fmla="*/ 87848 h 324705"/>
                  <a:gd name="connsiteX3" fmla="*/ 399600 w 832973"/>
                  <a:gd name="connsiteY3" fmla="*/ 87848 h 324705"/>
                  <a:gd name="connsiteX4" fmla="*/ 416844 w 832973"/>
                  <a:gd name="connsiteY4" fmla="*/ 87535 h 324705"/>
                  <a:gd name="connsiteX5" fmla="*/ 431594 w 832973"/>
                  <a:gd name="connsiteY5" fmla="*/ 34509 h 324705"/>
                  <a:gd name="connsiteX6" fmla="*/ 438915 w 832973"/>
                  <a:gd name="connsiteY6" fmla="*/ 87848 h 324705"/>
                  <a:gd name="connsiteX7" fmla="*/ 438200 w 832973"/>
                  <a:gd name="connsiteY7" fmla="*/ 87848 h 324705"/>
                  <a:gd name="connsiteX8" fmla="*/ 434150 w 832973"/>
                  <a:gd name="connsiteY8" fmla="*/ 87848 h 324705"/>
                  <a:gd name="connsiteX9" fmla="*/ 438816 w 832973"/>
                  <a:gd name="connsiteY9" fmla="*/ 87132 h 324705"/>
                  <a:gd name="connsiteX10" fmla="*/ 431594 w 832973"/>
                  <a:gd name="connsiteY10" fmla="*/ 34509 h 324705"/>
                  <a:gd name="connsiteX11" fmla="*/ 288103 w 832973"/>
                  <a:gd name="connsiteY11" fmla="*/ 7910 h 324705"/>
                  <a:gd name="connsiteX12" fmla="*/ 288094 w 832973"/>
                  <a:gd name="connsiteY12" fmla="*/ 8023 h 324705"/>
                  <a:gd name="connsiteX13" fmla="*/ 288818 w 832973"/>
                  <a:gd name="connsiteY13" fmla="*/ 7910 h 324705"/>
                  <a:gd name="connsiteX14" fmla="*/ 285889 w 832973"/>
                  <a:gd name="connsiteY14" fmla="*/ 44034 h 324705"/>
                  <a:gd name="connsiteX15" fmla="*/ 388119 w 832973"/>
                  <a:gd name="connsiteY15" fmla="*/ 131119 h 324705"/>
                  <a:gd name="connsiteX16" fmla="*/ 390064 w 832973"/>
                  <a:gd name="connsiteY16" fmla="*/ 116946 h 324705"/>
                  <a:gd name="connsiteX17" fmla="*/ 390648 w 832973"/>
                  <a:gd name="connsiteY17" fmla="*/ 117904 h 324705"/>
                  <a:gd name="connsiteX18" fmla="*/ 390779 w 832973"/>
                  <a:gd name="connsiteY18" fmla="*/ 116946 h 324705"/>
                  <a:gd name="connsiteX19" fmla="*/ 416487 w 832973"/>
                  <a:gd name="connsiteY19" fmla="*/ 159121 h 324705"/>
                  <a:gd name="connsiteX20" fmla="*/ 442194 w 832973"/>
                  <a:gd name="connsiteY20" fmla="*/ 116946 h 324705"/>
                  <a:gd name="connsiteX21" fmla="*/ 442326 w 832973"/>
                  <a:gd name="connsiteY21" fmla="*/ 117904 h 324705"/>
                  <a:gd name="connsiteX22" fmla="*/ 442909 w 832973"/>
                  <a:gd name="connsiteY22" fmla="*/ 116946 h 324705"/>
                  <a:gd name="connsiteX23" fmla="*/ 444854 w 832973"/>
                  <a:gd name="connsiteY23" fmla="*/ 131119 h 324705"/>
                  <a:gd name="connsiteX24" fmla="*/ 547084 w 832973"/>
                  <a:gd name="connsiteY24" fmla="*/ 44034 h 324705"/>
                  <a:gd name="connsiteX25" fmla="*/ 544155 w 832973"/>
                  <a:gd name="connsiteY25" fmla="*/ 7910 h 324705"/>
                  <a:gd name="connsiteX26" fmla="*/ 544879 w 832973"/>
                  <a:gd name="connsiteY26" fmla="*/ 8023 h 324705"/>
                  <a:gd name="connsiteX27" fmla="*/ 544870 w 832973"/>
                  <a:gd name="connsiteY27" fmla="*/ 7910 h 324705"/>
                  <a:gd name="connsiteX28" fmla="*/ 727791 w 832973"/>
                  <a:gd name="connsiteY28" fmla="*/ 36430 h 324705"/>
                  <a:gd name="connsiteX29" fmla="*/ 756086 w 832973"/>
                  <a:gd name="connsiteY29" fmla="*/ 48877 h 324705"/>
                  <a:gd name="connsiteX30" fmla="*/ 756011 w 832973"/>
                  <a:gd name="connsiteY30" fmla="*/ 49158 h 324705"/>
                  <a:gd name="connsiteX31" fmla="*/ 802687 w 832973"/>
                  <a:gd name="connsiteY31" fmla="*/ 163428 h 324705"/>
                  <a:gd name="connsiteX32" fmla="*/ 832973 w 832973"/>
                  <a:gd name="connsiteY32" fmla="*/ 324705 h 324705"/>
                  <a:gd name="connsiteX33" fmla="*/ 731916 w 832973"/>
                  <a:gd name="connsiteY33" fmla="*/ 324705 h 324705"/>
                  <a:gd name="connsiteX34" fmla="*/ 628934 w 832973"/>
                  <a:gd name="connsiteY34" fmla="*/ 324705 h 324705"/>
                  <a:gd name="connsiteX35" fmla="*/ 628219 w 832973"/>
                  <a:gd name="connsiteY35" fmla="*/ 324705 h 324705"/>
                  <a:gd name="connsiteX36" fmla="*/ 460645 w 832973"/>
                  <a:gd name="connsiteY36" fmla="*/ 324705 h 324705"/>
                  <a:gd name="connsiteX37" fmla="*/ 459930 w 832973"/>
                  <a:gd name="connsiteY37" fmla="*/ 324705 h 324705"/>
                  <a:gd name="connsiteX38" fmla="*/ 416487 w 832973"/>
                  <a:gd name="connsiteY38" fmla="*/ 161055 h 324705"/>
                  <a:gd name="connsiteX39" fmla="*/ 373043 w 832973"/>
                  <a:gd name="connsiteY39" fmla="*/ 324705 h 324705"/>
                  <a:gd name="connsiteX40" fmla="*/ 372328 w 832973"/>
                  <a:gd name="connsiteY40" fmla="*/ 324705 h 324705"/>
                  <a:gd name="connsiteX41" fmla="*/ 204754 w 832973"/>
                  <a:gd name="connsiteY41" fmla="*/ 324705 h 324705"/>
                  <a:gd name="connsiteX42" fmla="*/ 204039 w 832973"/>
                  <a:gd name="connsiteY42" fmla="*/ 324705 h 324705"/>
                  <a:gd name="connsiteX43" fmla="*/ 101057 w 832973"/>
                  <a:gd name="connsiteY43" fmla="*/ 324705 h 324705"/>
                  <a:gd name="connsiteX44" fmla="*/ 0 w 832973"/>
                  <a:gd name="connsiteY44" fmla="*/ 324705 h 324705"/>
                  <a:gd name="connsiteX45" fmla="*/ 30286 w 832973"/>
                  <a:gd name="connsiteY45" fmla="*/ 163428 h 324705"/>
                  <a:gd name="connsiteX46" fmla="*/ 76963 w 832973"/>
                  <a:gd name="connsiteY46" fmla="*/ 49158 h 324705"/>
                  <a:gd name="connsiteX47" fmla="*/ 76887 w 832973"/>
                  <a:gd name="connsiteY47" fmla="*/ 48877 h 324705"/>
                  <a:gd name="connsiteX48" fmla="*/ 105182 w 832973"/>
                  <a:gd name="connsiteY48" fmla="*/ 36430 h 324705"/>
                  <a:gd name="connsiteX49" fmla="*/ 288103 w 832973"/>
                  <a:gd name="connsiteY49" fmla="*/ 7910 h 324705"/>
                  <a:gd name="connsiteX50" fmla="*/ 494142 w 832973"/>
                  <a:gd name="connsiteY50" fmla="*/ 0 h 324705"/>
                  <a:gd name="connsiteX51" fmla="*/ 494142 w 832973"/>
                  <a:gd name="connsiteY51" fmla="*/ 0 h 324705"/>
                  <a:gd name="connsiteX52" fmla="*/ 431594 w 832973"/>
                  <a:gd name="connsiteY52" fmla="*/ 34509 h 324705"/>
                  <a:gd name="connsiteX53" fmla="*/ 494142 w 832973"/>
                  <a:gd name="connsiteY53" fmla="*/ 0 h 324705"/>
                  <a:gd name="connsiteX54" fmla="*/ 401379 w 832973"/>
                  <a:gd name="connsiteY54" fmla="*/ 34509 h 324705"/>
                  <a:gd name="connsiteX55" fmla="*/ 402094 w 832973"/>
                  <a:gd name="connsiteY55" fmla="*/ 34509 h 324705"/>
                  <a:gd name="connsiteX56" fmla="*/ 394871 w 832973"/>
                  <a:gd name="connsiteY56" fmla="*/ 87132 h 324705"/>
                  <a:gd name="connsiteX57" fmla="*/ 399539 w 832973"/>
                  <a:gd name="connsiteY57" fmla="*/ 87848 h 324705"/>
                  <a:gd name="connsiteX58" fmla="*/ 394773 w 832973"/>
                  <a:gd name="connsiteY58" fmla="*/ 87848 h 324705"/>
                  <a:gd name="connsiteX59" fmla="*/ 394058 w 832973"/>
                  <a:gd name="connsiteY59" fmla="*/ 87848 h 324705"/>
                  <a:gd name="connsiteX60" fmla="*/ 401379 w 832973"/>
                  <a:gd name="connsiteY60" fmla="*/ 34509 h 324705"/>
                  <a:gd name="connsiteX0" fmla="*/ 416844 w 832973"/>
                  <a:gd name="connsiteY0" fmla="*/ 87535 h 324705"/>
                  <a:gd name="connsiteX1" fmla="*/ 434089 w 832973"/>
                  <a:gd name="connsiteY1" fmla="*/ 87848 h 324705"/>
                  <a:gd name="connsiteX2" fmla="*/ 399600 w 832973"/>
                  <a:gd name="connsiteY2" fmla="*/ 87848 h 324705"/>
                  <a:gd name="connsiteX3" fmla="*/ 416844 w 832973"/>
                  <a:gd name="connsiteY3" fmla="*/ 87535 h 324705"/>
                  <a:gd name="connsiteX4" fmla="*/ 431594 w 832973"/>
                  <a:gd name="connsiteY4" fmla="*/ 34509 h 324705"/>
                  <a:gd name="connsiteX5" fmla="*/ 438915 w 832973"/>
                  <a:gd name="connsiteY5" fmla="*/ 87848 h 324705"/>
                  <a:gd name="connsiteX6" fmla="*/ 438200 w 832973"/>
                  <a:gd name="connsiteY6" fmla="*/ 87848 h 324705"/>
                  <a:gd name="connsiteX7" fmla="*/ 434150 w 832973"/>
                  <a:gd name="connsiteY7" fmla="*/ 87848 h 324705"/>
                  <a:gd name="connsiteX8" fmla="*/ 438816 w 832973"/>
                  <a:gd name="connsiteY8" fmla="*/ 87132 h 324705"/>
                  <a:gd name="connsiteX9" fmla="*/ 431594 w 832973"/>
                  <a:gd name="connsiteY9" fmla="*/ 34509 h 324705"/>
                  <a:gd name="connsiteX10" fmla="*/ 288103 w 832973"/>
                  <a:gd name="connsiteY10" fmla="*/ 7910 h 324705"/>
                  <a:gd name="connsiteX11" fmla="*/ 288094 w 832973"/>
                  <a:gd name="connsiteY11" fmla="*/ 8023 h 324705"/>
                  <a:gd name="connsiteX12" fmla="*/ 288818 w 832973"/>
                  <a:gd name="connsiteY12" fmla="*/ 7910 h 324705"/>
                  <a:gd name="connsiteX13" fmla="*/ 285889 w 832973"/>
                  <a:gd name="connsiteY13" fmla="*/ 44034 h 324705"/>
                  <a:gd name="connsiteX14" fmla="*/ 388119 w 832973"/>
                  <a:gd name="connsiteY14" fmla="*/ 131119 h 324705"/>
                  <a:gd name="connsiteX15" fmla="*/ 390064 w 832973"/>
                  <a:gd name="connsiteY15" fmla="*/ 116946 h 324705"/>
                  <a:gd name="connsiteX16" fmla="*/ 390648 w 832973"/>
                  <a:gd name="connsiteY16" fmla="*/ 117904 h 324705"/>
                  <a:gd name="connsiteX17" fmla="*/ 390779 w 832973"/>
                  <a:gd name="connsiteY17" fmla="*/ 116946 h 324705"/>
                  <a:gd name="connsiteX18" fmla="*/ 416487 w 832973"/>
                  <a:gd name="connsiteY18" fmla="*/ 159121 h 324705"/>
                  <a:gd name="connsiteX19" fmla="*/ 442194 w 832973"/>
                  <a:gd name="connsiteY19" fmla="*/ 116946 h 324705"/>
                  <a:gd name="connsiteX20" fmla="*/ 442326 w 832973"/>
                  <a:gd name="connsiteY20" fmla="*/ 117904 h 324705"/>
                  <a:gd name="connsiteX21" fmla="*/ 442909 w 832973"/>
                  <a:gd name="connsiteY21" fmla="*/ 116946 h 324705"/>
                  <a:gd name="connsiteX22" fmla="*/ 444854 w 832973"/>
                  <a:gd name="connsiteY22" fmla="*/ 131119 h 324705"/>
                  <a:gd name="connsiteX23" fmla="*/ 547084 w 832973"/>
                  <a:gd name="connsiteY23" fmla="*/ 44034 h 324705"/>
                  <a:gd name="connsiteX24" fmla="*/ 544155 w 832973"/>
                  <a:gd name="connsiteY24" fmla="*/ 7910 h 324705"/>
                  <a:gd name="connsiteX25" fmla="*/ 544879 w 832973"/>
                  <a:gd name="connsiteY25" fmla="*/ 8023 h 324705"/>
                  <a:gd name="connsiteX26" fmla="*/ 544870 w 832973"/>
                  <a:gd name="connsiteY26" fmla="*/ 7910 h 324705"/>
                  <a:gd name="connsiteX27" fmla="*/ 727791 w 832973"/>
                  <a:gd name="connsiteY27" fmla="*/ 36430 h 324705"/>
                  <a:gd name="connsiteX28" fmla="*/ 756086 w 832973"/>
                  <a:gd name="connsiteY28" fmla="*/ 48877 h 324705"/>
                  <a:gd name="connsiteX29" fmla="*/ 756011 w 832973"/>
                  <a:gd name="connsiteY29" fmla="*/ 49158 h 324705"/>
                  <a:gd name="connsiteX30" fmla="*/ 802687 w 832973"/>
                  <a:gd name="connsiteY30" fmla="*/ 163428 h 324705"/>
                  <a:gd name="connsiteX31" fmla="*/ 832973 w 832973"/>
                  <a:gd name="connsiteY31" fmla="*/ 324705 h 324705"/>
                  <a:gd name="connsiteX32" fmla="*/ 731916 w 832973"/>
                  <a:gd name="connsiteY32" fmla="*/ 324705 h 324705"/>
                  <a:gd name="connsiteX33" fmla="*/ 628934 w 832973"/>
                  <a:gd name="connsiteY33" fmla="*/ 324705 h 324705"/>
                  <a:gd name="connsiteX34" fmla="*/ 628219 w 832973"/>
                  <a:gd name="connsiteY34" fmla="*/ 324705 h 324705"/>
                  <a:gd name="connsiteX35" fmla="*/ 460645 w 832973"/>
                  <a:gd name="connsiteY35" fmla="*/ 324705 h 324705"/>
                  <a:gd name="connsiteX36" fmla="*/ 459930 w 832973"/>
                  <a:gd name="connsiteY36" fmla="*/ 324705 h 324705"/>
                  <a:gd name="connsiteX37" fmla="*/ 416487 w 832973"/>
                  <a:gd name="connsiteY37" fmla="*/ 161055 h 324705"/>
                  <a:gd name="connsiteX38" fmla="*/ 373043 w 832973"/>
                  <a:gd name="connsiteY38" fmla="*/ 324705 h 324705"/>
                  <a:gd name="connsiteX39" fmla="*/ 372328 w 832973"/>
                  <a:gd name="connsiteY39" fmla="*/ 324705 h 324705"/>
                  <a:gd name="connsiteX40" fmla="*/ 204754 w 832973"/>
                  <a:gd name="connsiteY40" fmla="*/ 324705 h 324705"/>
                  <a:gd name="connsiteX41" fmla="*/ 204039 w 832973"/>
                  <a:gd name="connsiteY41" fmla="*/ 324705 h 324705"/>
                  <a:gd name="connsiteX42" fmla="*/ 101057 w 832973"/>
                  <a:gd name="connsiteY42" fmla="*/ 324705 h 324705"/>
                  <a:gd name="connsiteX43" fmla="*/ 0 w 832973"/>
                  <a:gd name="connsiteY43" fmla="*/ 324705 h 324705"/>
                  <a:gd name="connsiteX44" fmla="*/ 30286 w 832973"/>
                  <a:gd name="connsiteY44" fmla="*/ 163428 h 324705"/>
                  <a:gd name="connsiteX45" fmla="*/ 76963 w 832973"/>
                  <a:gd name="connsiteY45" fmla="*/ 49158 h 324705"/>
                  <a:gd name="connsiteX46" fmla="*/ 76887 w 832973"/>
                  <a:gd name="connsiteY46" fmla="*/ 48877 h 324705"/>
                  <a:gd name="connsiteX47" fmla="*/ 105182 w 832973"/>
                  <a:gd name="connsiteY47" fmla="*/ 36430 h 324705"/>
                  <a:gd name="connsiteX48" fmla="*/ 288103 w 832973"/>
                  <a:gd name="connsiteY48" fmla="*/ 7910 h 324705"/>
                  <a:gd name="connsiteX49" fmla="*/ 494142 w 832973"/>
                  <a:gd name="connsiteY49" fmla="*/ 0 h 324705"/>
                  <a:gd name="connsiteX50" fmla="*/ 494142 w 832973"/>
                  <a:gd name="connsiteY50" fmla="*/ 0 h 324705"/>
                  <a:gd name="connsiteX51" fmla="*/ 431594 w 832973"/>
                  <a:gd name="connsiteY51" fmla="*/ 34509 h 324705"/>
                  <a:gd name="connsiteX52" fmla="*/ 494142 w 832973"/>
                  <a:gd name="connsiteY52" fmla="*/ 0 h 324705"/>
                  <a:gd name="connsiteX53" fmla="*/ 401379 w 832973"/>
                  <a:gd name="connsiteY53" fmla="*/ 34509 h 324705"/>
                  <a:gd name="connsiteX54" fmla="*/ 402094 w 832973"/>
                  <a:gd name="connsiteY54" fmla="*/ 34509 h 324705"/>
                  <a:gd name="connsiteX55" fmla="*/ 394871 w 832973"/>
                  <a:gd name="connsiteY55" fmla="*/ 87132 h 324705"/>
                  <a:gd name="connsiteX56" fmla="*/ 399539 w 832973"/>
                  <a:gd name="connsiteY56" fmla="*/ 87848 h 324705"/>
                  <a:gd name="connsiteX57" fmla="*/ 394773 w 832973"/>
                  <a:gd name="connsiteY57" fmla="*/ 87848 h 324705"/>
                  <a:gd name="connsiteX58" fmla="*/ 394058 w 832973"/>
                  <a:gd name="connsiteY58" fmla="*/ 87848 h 324705"/>
                  <a:gd name="connsiteX59" fmla="*/ 401379 w 832973"/>
                  <a:gd name="connsiteY59"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394773 w 832973"/>
                  <a:gd name="connsiteY56" fmla="*/ 87848 h 324705"/>
                  <a:gd name="connsiteX57" fmla="*/ 394058 w 832973"/>
                  <a:gd name="connsiteY57" fmla="*/ 87848 h 324705"/>
                  <a:gd name="connsiteX58" fmla="*/ 401379 w 832973"/>
                  <a:gd name="connsiteY58"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394773 w 832973"/>
                  <a:gd name="connsiteY56" fmla="*/ 87848 h 324705"/>
                  <a:gd name="connsiteX57" fmla="*/ 367554 w 832973"/>
                  <a:gd name="connsiteY57" fmla="*/ 57810 h 324705"/>
                  <a:gd name="connsiteX58" fmla="*/ 401379 w 832973"/>
                  <a:gd name="connsiteY58"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394773 w 832973"/>
                  <a:gd name="connsiteY56" fmla="*/ 87848 h 324705"/>
                  <a:gd name="connsiteX57" fmla="*/ 401379 w 832973"/>
                  <a:gd name="connsiteY57"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350600 w 832973"/>
                  <a:gd name="connsiteY56" fmla="*/ 64878 h 324705"/>
                  <a:gd name="connsiteX57" fmla="*/ 401379 w 832973"/>
                  <a:gd name="connsiteY57"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401379 w 832973"/>
                  <a:gd name="connsiteY56"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55366 w 832973"/>
                  <a:gd name="connsiteY55" fmla="*/ 63111 h 324705"/>
                  <a:gd name="connsiteX56" fmla="*/ 401379 w 832973"/>
                  <a:gd name="connsiteY56"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401379 w 832973"/>
                  <a:gd name="connsiteY55"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60740 w 832973"/>
                  <a:gd name="connsiteY52" fmla="*/ 39810 h 324705"/>
                  <a:gd name="connsiteX53" fmla="*/ 402094 w 832973"/>
                  <a:gd name="connsiteY53" fmla="*/ 34509 h 324705"/>
                  <a:gd name="connsiteX54" fmla="*/ 394871 w 832973"/>
                  <a:gd name="connsiteY54" fmla="*/ 87132 h 324705"/>
                  <a:gd name="connsiteX55" fmla="*/ 360740 w 832973"/>
                  <a:gd name="connsiteY55" fmla="*/ 39810 h 324705"/>
                  <a:gd name="connsiteX0" fmla="*/ 399600 w 832973"/>
                  <a:gd name="connsiteY0" fmla="*/ 87848 h 324705"/>
                  <a:gd name="connsiteX1" fmla="*/ 373592 w 832973"/>
                  <a:gd name="connsiteY1" fmla="*/ 59888 h 324705"/>
                  <a:gd name="connsiteX2" fmla="*/ 434089 w 832973"/>
                  <a:gd name="connsiteY2" fmla="*/ 87848 h 324705"/>
                  <a:gd name="connsiteX3" fmla="*/ 399600 w 832973"/>
                  <a:gd name="connsiteY3" fmla="*/ 87848 h 324705"/>
                  <a:gd name="connsiteX4" fmla="*/ 431594 w 832973"/>
                  <a:gd name="connsiteY4" fmla="*/ 34509 h 324705"/>
                  <a:gd name="connsiteX5" fmla="*/ 438915 w 832973"/>
                  <a:gd name="connsiteY5" fmla="*/ 87848 h 324705"/>
                  <a:gd name="connsiteX6" fmla="*/ 438200 w 832973"/>
                  <a:gd name="connsiteY6" fmla="*/ 87848 h 324705"/>
                  <a:gd name="connsiteX7" fmla="*/ 434150 w 832973"/>
                  <a:gd name="connsiteY7" fmla="*/ 87848 h 324705"/>
                  <a:gd name="connsiteX8" fmla="*/ 438816 w 832973"/>
                  <a:gd name="connsiteY8" fmla="*/ 87132 h 324705"/>
                  <a:gd name="connsiteX9" fmla="*/ 431594 w 832973"/>
                  <a:gd name="connsiteY9" fmla="*/ 34509 h 324705"/>
                  <a:gd name="connsiteX10" fmla="*/ 288103 w 832973"/>
                  <a:gd name="connsiteY10" fmla="*/ 7910 h 324705"/>
                  <a:gd name="connsiteX11" fmla="*/ 288094 w 832973"/>
                  <a:gd name="connsiteY11" fmla="*/ 8023 h 324705"/>
                  <a:gd name="connsiteX12" fmla="*/ 288818 w 832973"/>
                  <a:gd name="connsiteY12" fmla="*/ 7910 h 324705"/>
                  <a:gd name="connsiteX13" fmla="*/ 285889 w 832973"/>
                  <a:gd name="connsiteY13" fmla="*/ 44034 h 324705"/>
                  <a:gd name="connsiteX14" fmla="*/ 388119 w 832973"/>
                  <a:gd name="connsiteY14" fmla="*/ 131119 h 324705"/>
                  <a:gd name="connsiteX15" fmla="*/ 390064 w 832973"/>
                  <a:gd name="connsiteY15" fmla="*/ 116946 h 324705"/>
                  <a:gd name="connsiteX16" fmla="*/ 390648 w 832973"/>
                  <a:gd name="connsiteY16" fmla="*/ 117904 h 324705"/>
                  <a:gd name="connsiteX17" fmla="*/ 390779 w 832973"/>
                  <a:gd name="connsiteY17" fmla="*/ 116946 h 324705"/>
                  <a:gd name="connsiteX18" fmla="*/ 416487 w 832973"/>
                  <a:gd name="connsiteY18" fmla="*/ 159121 h 324705"/>
                  <a:gd name="connsiteX19" fmla="*/ 442194 w 832973"/>
                  <a:gd name="connsiteY19" fmla="*/ 116946 h 324705"/>
                  <a:gd name="connsiteX20" fmla="*/ 442326 w 832973"/>
                  <a:gd name="connsiteY20" fmla="*/ 117904 h 324705"/>
                  <a:gd name="connsiteX21" fmla="*/ 442909 w 832973"/>
                  <a:gd name="connsiteY21" fmla="*/ 116946 h 324705"/>
                  <a:gd name="connsiteX22" fmla="*/ 444854 w 832973"/>
                  <a:gd name="connsiteY22" fmla="*/ 131119 h 324705"/>
                  <a:gd name="connsiteX23" fmla="*/ 547084 w 832973"/>
                  <a:gd name="connsiteY23" fmla="*/ 44034 h 324705"/>
                  <a:gd name="connsiteX24" fmla="*/ 544155 w 832973"/>
                  <a:gd name="connsiteY24" fmla="*/ 7910 h 324705"/>
                  <a:gd name="connsiteX25" fmla="*/ 544879 w 832973"/>
                  <a:gd name="connsiteY25" fmla="*/ 8023 h 324705"/>
                  <a:gd name="connsiteX26" fmla="*/ 544870 w 832973"/>
                  <a:gd name="connsiteY26" fmla="*/ 7910 h 324705"/>
                  <a:gd name="connsiteX27" fmla="*/ 727791 w 832973"/>
                  <a:gd name="connsiteY27" fmla="*/ 36430 h 324705"/>
                  <a:gd name="connsiteX28" fmla="*/ 756086 w 832973"/>
                  <a:gd name="connsiteY28" fmla="*/ 48877 h 324705"/>
                  <a:gd name="connsiteX29" fmla="*/ 756011 w 832973"/>
                  <a:gd name="connsiteY29" fmla="*/ 49158 h 324705"/>
                  <a:gd name="connsiteX30" fmla="*/ 802687 w 832973"/>
                  <a:gd name="connsiteY30" fmla="*/ 163428 h 324705"/>
                  <a:gd name="connsiteX31" fmla="*/ 832973 w 832973"/>
                  <a:gd name="connsiteY31" fmla="*/ 324705 h 324705"/>
                  <a:gd name="connsiteX32" fmla="*/ 731916 w 832973"/>
                  <a:gd name="connsiteY32" fmla="*/ 324705 h 324705"/>
                  <a:gd name="connsiteX33" fmla="*/ 628934 w 832973"/>
                  <a:gd name="connsiteY33" fmla="*/ 324705 h 324705"/>
                  <a:gd name="connsiteX34" fmla="*/ 628219 w 832973"/>
                  <a:gd name="connsiteY34" fmla="*/ 324705 h 324705"/>
                  <a:gd name="connsiteX35" fmla="*/ 460645 w 832973"/>
                  <a:gd name="connsiteY35" fmla="*/ 324705 h 324705"/>
                  <a:gd name="connsiteX36" fmla="*/ 459930 w 832973"/>
                  <a:gd name="connsiteY36" fmla="*/ 324705 h 324705"/>
                  <a:gd name="connsiteX37" fmla="*/ 416487 w 832973"/>
                  <a:gd name="connsiteY37" fmla="*/ 161055 h 324705"/>
                  <a:gd name="connsiteX38" fmla="*/ 373043 w 832973"/>
                  <a:gd name="connsiteY38" fmla="*/ 324705 h 324705"/>
                  <a:gd name="connsiteX39" fmla="*/ 372328 w 832973"/>
                  <a:gd name="connsiteY39" fmla="*/ 324705 h 324705"/>
                  <a:gd name="connsiteX40" fmla="*/ 204754 w 832973"/>
                  <a:gd name="connsiteY40" fmla="*/ 324705 h 324705"/>
                  <a:gd name="connsiteX41" fmla="*/ 204039 w 832973"/>
                  <a:gd name="connsiteY41" fmla="*/ 324705 h 324705"/>
                  <a:gd name="connsiteX42" fmla="*/ 101057 w 832973"/>
                  <a:gd name="connsiteY42" fmla="*/ 324705 h 324705"/>
                  <a:gd name="connsiteX43" fmla="*/ 0 w 832973"/>
                  <a:gd name="connsiteY43" fmla="*/ 324705 h 324705"/>
                  <a:gd name="connsiteX44" fmla="*/ 30286 w 832973"/>
                  <a:gd name="connsiteY44" fmla="*/ 163428 h 324705"/>
                  <a:gd name="connsiteX45" fmla="*/ 76963 w 832973"/>
                  <a:gd name="connsiteY45" fmla="*/ 49158 h 324705"/>
                  <a:gd name="connsiteX46" fmla="*/ 76887 w 832973"/>
                  <a:gd name="connsiteY46" fmla="*/ 48877 h 324705"/>
                  <a:gd name="connsiteX47" fmla="*/ 105182 w 832973"/>
                  <a:gd name="connsiteY47" fmla="*/ 36430 h 324705"/>
                  <a:gd name="connsiteX48" fmla="*/ 288103 w 832973"/>
                  <a:gd name="connsiteY48" fmla="*/ 7910 h 324705"/>
                  <a:gd name="connsiteX49" fmla="*/ 494142 w 832973"/>
                  <a:gd name="connsiteY49" fmla="*/ 0 h 324705"/>
                  <a:gd name="connsiteX50" fmla="*/ 494142 w 832973"/>
                  <a:gd name="connsiteY50" fmla="*/ 0 h 324705"/>
                  <a:gd name="connsiteX51" fmla="*/ 431594 w 832973"/>
                  <a:gd name="connsiteY51" fmla="*/ 34509 h 324705"/>
                  <a:gd name="connsiteX52" fmla="*/ 494142 w 832973"/>
                  <a:gd name="connsiteY52" fmla="*/ 0 h 324705"/>
                  <a:gd name="connsiteX53" fmla="*/ 360740 w 832973"/>
                  <a:gd name="connsiteY53" fmla="*/ 39810 h 324705"/>
                  <a:gd name="connsiteX54" fmla="*/ 402094 w 832973"/>
                  <a:gd name="connsiteY54" fmla="*/ 34509 h 324705"/>
                  <a:gd name="connsiteX55" fmla="*/ 394871 w 832973"/>
                  <a:gd name="connsiteY55" fmla="*/ 87132 h 324705"/>
                  <a:gd name="connsiteX56" fmla="*/ 360740 w 832973"/>
                  <a:gd name="connsiteY56" fmla="*/ 39810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60740 w 832973"/>
                  <a:gd name="connsiteY52" fmla="*/ 39810 h 324705"/>
                  <a:gd name="connsiteX53" fmla="*/ 402094 w 832973"/>
                  <a:gd name="connsiteY53" fmla="*/ 34509 h 324705"/>
                  <a:gd name="connsiteX54" fmla="*/ 394871 w 832973"/>
                  <a:gd name="connsiteY54" fmla="*/ 87132 h 324705"/>
                  <a:gd name="connsiteX55" fmla="*/ 360740 w 832973"/>
                  <a:gd name="connsiteY55" fmla="*/ 39810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37770 w 832973"/>
                  <a:gd name="connsiteY52" fmla="*/ 46878 h 324705"/>
                  <a:gd name="connsiteX53" fmla="*/ 402094 w 832973"/>
                  <a:gd name="connsiteY53" fmla="*/ 34509 h 324705"/>
                  <a:gd name="connsiteX54" fmla="*/ 394871 w 832973"/>
                  <a:gd name="connsiteY54" fmla="*/ 87132 h 324705"/>
                  <a:gd name="connsiteX55" fmla="*/ 337770 w 832973"/>
                  <a:gd name="connsiteY55" fmla="*/ 46878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37770 w 832973"/>
                  <a:gd name="connsiteY52" fmla="*/ 46878 h 324705"/>
                  <a:gd name="connsiteX53" fmla="*/ 402094 w 832973"/>
                  <a:gd name="connsiteY53" fmla="*/ 34509 h 324705"/>
                  <a:gd name="connsiteX54" fmla="*/ 394871 w 832973"/>
                  <a:gd name="connsiteY54" fmla="*/ 87132 h 324705"/>
                  <a:gd name="connsiteX55" fmla="*/ 337770 w 832973"/>
                  <a:gd name="connsiteY55" fmla="*/ 46878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94871 w 832973"/>
                  <a:gd name="connsiteY52" fmla="*/ 87132 h 324705"/>
                  <a:gd name="connsiteX53" fmla="*/ 402094 w 832973"/>
                  <a:gd name="connsiteY53" fmla="*/ 34509 h 324705"/>
                  <a:gd name="connsiteX54" fmla="*/ 394871 w 832973"/>
                  <a:gd name="connsiteY54" fmla="*/ 87132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0" fmla="*/ 431594 w 832973"/>
                  <a:gd name="connsiteY0" fmla="*/ 34509 h 324705"/>
                  <a:gd name="connsiteX1" fmla="*/ 438915 w 832973"/>
                  <a:gd name="connsiteY1" fmla="*/ 87848 h 324705"/>
                  <a:gd name="connsiteX2" fmla="*/ 438200 w 832973"/>
                  <a:gd name="connsiteY2" fmla="*/ 87848 h 324705"/>
                  <a:gd name="connsiteX3" fmla="*/ 434150 w 832973"/>
                  <a:gd name="connsiteY3" fmla="*/ 87848 h 324705"/>
                  <a:gd name="connsiteX4" fmla="*/ 438816 w 832973"/>
                  <a:gd name="connsiteY4" fmla="*/ 87132 h 324705"/>
                  <a:gd name="connsiteX5" fmla="*/ 431594 w 832973"/>
                  <a:gd name="connsiteY5" fmla="*/ 34509 h 324705"/>
                  <a:gd name="connsiteX6" fmla="*/ 288103 w 832973"/>
                  <a:gd name="connsiteY6" fmla="*/ 7910 h 324705"/>
                  <a:gd name="connsiteX7" fmla="*/ 288094 w 832973"/>
                  <a:gd name="connsiteY7" fmla="*/ 8023 h 324705"/>
                  <a:gd name="connsiteX8" fmla="*/ 288818 w 832973"/>
                  <a:gd name="connsiteY8" fmla="*/ 7910 h 324705"/>
                  <a:gd name="connsiteX9" fmla="*/ 285889 w 832973"/>
                  <a:gd name="connsiteY9" fmla="*/ 44034 h 324705"/>
                  <a:gd name="connsiteX10" fmla="*/ 388119 w 832973"/>
                  <a:gd name="connsiteY10" fmla="*/ 131119 h 324705"/>
                  <a:gd name="connsiteX11" fmla="*/ 390064 w 832973"/>
                  <a:gd name="connsiteY11" fmla="*/ 116946 h 324705"/>
                  <a:gd name="connsiteX12" fmla="*/ 390648 w 832973"/>
                  <a:gd name="connsiteY12" fmla="*/ 117904 h 324705"/>
                  <a:gd name="connsiteX13" fmla="*/ 390779 w 832973"/>
                  <a:gd name="connsiteY13" fmla="*/ 116946 h 324705"/>
                  <a:gd name="connsiteX14" fmla="*/ 416487 w 832973"/>
                  <a:gd name="connsiteY14" fmla="*/ 159121 h 324705"/>
                  <a:gd name="connsiteX15" fmla="*/ 442194 w 832973"/>
                  <a:gd name="connsiteY15" fmla="*/ 116946 h 324705"/>
                  <a:gd name="connsiteX16" fmla="*/ 442326 w 832973"/>
                  <a:gd name="connsiteY16" fmla="*/ 117904 h 324705"/>
                  <a:gd name="connsiteX17" fmla="*/ 442909 w 832973"/>
                  <a:gd name="connsiteY17" fmla="*/ 116946 h 324705"/>
                  <a:gd name="connsiteX18" fmla="*/ 444854 w 832973"/>
                  <a:gd name="connsiteY18" fmla="*/ 131119 h 324705"/>
                  <a:gd name="connsiteX19" fmla="*/ 547084 w 832973"/>
                  <a:gd name="connsiteY19" fmla="*/ 44034 h 324705"/>
                  <a:gd name="connsiteX20" fmla="*/ 544155 w 832973"/>
                  <a:gd name="connsiteY20" fmla="*/ 7910 h 324705"/>
                  <a:gd name="connsiteX21" fmla="*/ 544879 w 832973"/>
                  <a:gd name="connsiteY21" fmla="*/ 8023 h 324705"/>
                  <a:gd name="connsiteX22" fmla="*/ 544870 w 832973"/>
                  <a:gd name="connsiteY22" fmla="*/ 7910 h 324705"/>
                  <a:gd name="connsiteX23" fmla="*/ 727791 w 832973"/>
                  <a:gd name="connsiteY23" fmla="*/ 36430 h 324705"/>
                  <a:gd name="connsiteX24" fmla="*/ 756086 w 832973"/>
                  <a:gd name="connsiteY24" fmla="*/ 48877 h 324705"/>
                  <a:gd name="connsiteX25" fmla="*/ 756011 w 832973"/>
                  <a:gd name="connsiteY25" fmla="*/ 49158 h 324705"/>
                  <a:gd name="connsiteX26" fmla="*/ 802687 w 832973"/>
                  <a:gd name="connsiteY26" fmla="*/ 163428 h 324705"/>
                  <a:gd name="connsiteX27" fmla="*/ 832973 w 832973"/>
                  <a:gd name="connsiteY27" fmla="*/ 324705 h 324705"/>
                  <a:gd name="connsiteX28" fmla="*/ 731916 w 832973"/>
                  <a:gd name="connsiteY28" fmla="*/ 324705 h 324705"/>
                  <a:gd name="connsiteX29" fmla="*/ 628934 w 832973"/>
                  <a:gd name="connsiteY29" fmla="*/ 324705 h 324705"/>
                  <a:gd name="connsiteX30" fmla="*/ 628219 w 832973"/>
                  <a:gd name="connsiteY30" fmla="*/ 324705 h 324705"/>
                  <a:gd name="connsiteX31" fmla="*/ 460645 w 832973"/>
                  <a:gd name="connsiteY31" fmla="*/ 324705 h 324705"/>
                  <a:gd name="connsiteX32" fmla="*/ 459930 w 832973"/>
                  <a:gd name="connsiteY32" fmla="*/ 324705 h 324705"/>
                  <a:gd name="connsiteX33" fmla="*/ 416487 w 832973"/>
                  <a:gd name="connsiteY33" fmla="*/ 161055 h 324705"/>
                  <a:gd name="connsiteX34" fmla="*/ 373043 w 832973"/>
                  <a:gd name="connsiteY34" fmla="*/ 324705 h 324705"/>
                  <a:gd name="connsiteX35" fmla="*/ 372328 w 832973"/>
                  <a:gd name="connsiteY35" fmla="*/ 324705 h 324705"/>
                  <a:gd name="connsiteX36" fmla="*/ 204754 w 832973"/>
                  <a:gd name="connsiteY36" fmla="*/ 324705 h 324705"/>
                  <a:gd name="connsiteX37" fmla="*/ 204039 w 832973"/>
                  <a:gd name="connsiteY37" fmla="*/ 324705 h 324705"/>
                  <a:gd name="connsiteX38" fmla="*/ 101057 w 832973"/>
                  <a:gd name="connsiteY38" fmla="*/ 324705 h 324705"/>
                  <a:gd name="connsiteX39" fmla="*/ 0 w 832973"/>
                  <a:gd name="connsiteY39" fmla="*/ 324705 h 324705"/>
                  <a:gd name="connsiteX40" fmla="*/ 30286 w 832973"/>
                  <a:gd name="connsiteY40" fmla="*/ 163428 h 324705"/>
                  <a:gd name="connsiteX41" fmla="*/ 76963 w 832973"/>
                  <a:gd name="connsiteY41" fmla="*/ 49158 h 324705"/>
                  <a:gd name="connsiteX42" fmla="*/ 76887 w 832973"/>
                  <a:gd name="connsiteY42" fmla="*/ 48877 h 324705"/>
                  <a:gd name="connsiteX43" fmla="*/ 105182 w 832973"/>
                  <a:gd name="connsiteY43" fmla="*/ 36430 h 324705"/>
                  <a:gd name="connsiteX44" fmla="*/ 288103 w 832973"/>
                  <a:gd name="connsiteY44" fmla="*/ 7910 h 324705"/>
                  <a:gd name="connsiteX45" fmla="*/ 494142 w 832973"/>
                  <a:gd name="connsiteY45" fmla="*/ 0 h 324705"/>
                  <a:gd name="connsiteX46" fmla="*/ 494142 w 832973"/>
                  <a:gd name="connsiteY46" fmla="*/ 0 h 324705"/>
                  <a:gd name="connsiteX47" fmla="*/ 431594 w 832973"/>
                  <a:gd name="connsiteY47" fmla="*/ 34509 h 324705"/>
                  <a:gd name="connsiteX48" fmla="*/ 494142 w 832973"/>
                  <a:gd name="connsiteY48" fmla="*/ 0 h 324705"/>
                  <a:gd name="connsiteX0" fmla="*/ 431594 w 832973"/>
                  <a:gd name="connsiteY0" fmla="*/ 34509 h 324705"/>
                  <a:gd name="connsiteX1" fmla="*/ 438915 w 832973"/>
                  <a:gd name="connsiteY1" fmla="*/ 87848 h 324705"/>
                  <a:gd name="connsiteX2" fmla="*/ 438200 w 832973"/>
                  <a:gd name="connsiteY2" fmla="*/ 87848 h 324705"/>
                  <a:gd name="connsiteX3" fmla="*/ 434150 w 832973"/>
                  <a:gd name="connsiteY3" fmla="*/ 87848 h 324705"/>
                  <a:gd name="connsiteX4" fmla="*/ 431594 w 832973"/>
                  <a:gd name="connsiteY4" fmla="*/ 34509 h 324705"/>
                  <a:gd name="connsiteX5" fmla="*/ 288103 w 832973"/>
                  <a:gd name="connsiteY5" fmla="*/ 7910 h 324705"/>
                  <a:gd name="connsiteX6" fmla="*/ 288094 w 832973"/>
                  <a:gd name="connsiteY6" fmla="*/ 8023 h 324705"/>
                  <a:gd name="connsiteX7" fmla="*/ 288818 w 832973"/>
                  <a:gd name="connsiteY7" fmla="*/ 7910 h 324705"/>
                  <a:gd name="connsiteX8" fmla="*/ 285889 w 832973"/>
                  <a:gd name="connsiteY8" fmla="*/ 44034 h 324705"/>
                  <a:gd name="connsiteX9" fmla="*/ 388119 w 832973"/>
                  <a:gd name="connsiteY9" fmla="*/ 131119 h 324705"/>
                  <a:gd name="connsiteX10" fmla="*/ 390064 w 832973"/>
                  <a:gd name="connsiteY10" fmla="*/ 116946 h 324705"/>
                  <a:gd name="connsiteX11" fmla="*/ 390648 w 832973"/>
                  <a:gd name="connsiteY11" fmla="*/ 117904 h 324705"/>
                  <a:gd name="connsiteX12" fmla="*/ 390779 w 832973"/>
                  <a:gd name="connsiteY12" fmla="*/ 116946 h 324705"/>
                  <a:gd name="connsiteX13" fmla="*/ 416487 w 832973"/>
                  <a:gd name="connsiteY13" fmla="*/ 159121 h 324705"/>
                  <a:gd name="connsiteX14" fmla="*/ 442194 w 832973"/>
                  <a:gd name="connsiteY14" fmla="*/ 116946 h 324705"/>
                  <a:gd name="connsiteX15" fmla="*/ 442326 w 832973"/>
                  <a:gd name="connsiteY15" fmla="*/ 117904 h 324705"/>
                  <a:gd name="connsiteX16" fmla="*/ 442909 w 832973"/>
                  <a:gd name="connsiteY16" fmla="*/ 116946 h 324705"/>
                  <a:gd name="connsiteX17" fmla="*/ 444854 w 832973"/>
                  <a:gd name="connsiteY17" fmla="*/ 131119 h 324705"/>
                  <a:gd name="connsiteX18" fmla="*/ 547084 w 832973"/>
                  <a:gd name="connsiteY18" fmla="*/ 44034 h 324705"/>
                  <a:gd name="connsiteX19" fmla="*/ 544155 w 832973"/>
                  <a:gd name="connsiteY19" fmla="*/ 7910 h 324705"/>
                  <a:gd name="connsiteX20" fmla="*/ 544879 w 832973"/>
                  <a:gd name="connsiteY20" fmla="*/ 8023 h 324705"/>
                  <a:gd name="connsiteX21" fmla="*/ 544870 w 832973"/>
                  <a:gd name="connsiteY21" fmla="*/ 7910 h 324705"/>
                  <a:gd name="connsiteX22" fmla="*/ 727791 w 832973"/>
                  <a:gd name="connsiteY22" fmla="*/ 36430 h 324705"/>
                  <a:gd name="connsiteX23" fmla="*/ 756086 w 832973"/>
                  <a:gd name="connsiteY23" fmla="*/ 48877 h 324705"/>
                  <a:gd name="connsiteX24" fmla="*/ 756011 w 832973"/>
                  <a:gd name="connsiteY24" fmla="*/ 49158 h 324705"/>
                  <a:gd name="connsiteX25" fmla="*/ 802687 w 832973"/>
                  <a:gd name="connsiteY25" fmla="*/ 163428 h 324705"/>
                  <a:gd name="connsiteX26" fmla="*/ 832973 w 832973"/>
                  <a:gd name="connsiteY26" fmla="*/ 324705 h 324705"/>
                  <a:gd name="connsiteX27" fmla="*/ 731916 w 832973"/>
                  <a:gd name="connsiteY27" fmla="*/ 324705 h 324705"/>
                  <a:gd name="connsiteX28" fmla="*/ 628934 w 832973"/>
                  <a:gd name="connsiteY28" fmla="*/ 324705 h 324705"/>
                  <a:gd name="connsiteX29" fmla="*/ 628219 w 832973"/>
                  <a:gd name="connsiteY29" fmla="*/ 324705 h 324705"/>
                  <a:gd name="connsiteX30" fmla="*/ 460645 w 832973"/>
                  <a:gd name="connsiteY30" fmla="*/ 324705 h 324705"/>
                  <a:gd name="connsiteX31" fmla="*/ 459930 w 832973"/>
                  <a:gd name="connsiteY31" fmla="*/ 324705 h 324705"/>
                  <a:gd name="connsiteX32" fmla="*/ 416487 w 832973"/>
                  <a:gd name="connsiteY32" fmla="*/ 161055 h 324705"/>
                  <a:gd name="connsiteX33" fmla="*/ 373043 w 832973"/>
                  <a:gd name="connsiteY33" fmla="*/ 324705 h 324705"/>
                  <a:gd name="connsiteX34" fmla="*/ 372328 w 832973"/>
                  <a:gd name="connsiteY34" fmla="*/ 324705 h 324705"/>
                  <a:gd name="connsiteX35" fmla="*/ 204754 w 832973"/>
                  <a:gd name="connsiteY35" fmla="*/ 324705 h 324705"/>
                  <a:gd name="connsiteX36" fmla="*/ 204039 w 832973"/>
                  <a:gd name="connsiteY36" fmla="*/ 324705 h 324705"/>
                  <a:gd name="connsiteX37" fmla="*/ 101057 w 832973"/>
                  <a:gd name="connsiteY37" fmla="*/ 324705 h 324705"/>
                  <a:gd name="connsiteX38" fmla="*/ 0 w 832973"/>
                  <a:gd name="connsiteY38" fmla="*/ 324705 h 324705"/>
                  <a:gd name="connsiteX39" fmla="*/ 30286 w 832973"/>
                  <a:gd name="connsiteY39" fmla="*/ 163428 h 324705"/>
                  <a:gd name="connsiteX40" fmla="*/ 76963 w 832973"/>
                  <a:gd name="connsiteY40" fmla="*/ 49158 h 324705"/>
                  <a:gd name="connsiteX41" fmla="*/ 76887 w 832973"/>
                  <a:gd name="connsiteY41" fmla="*/ 48877 h 324705"/>
                  <a:gd name="connsiteX42" fmla="*/ 105182 w 832973"/>
                  <a:gd name="connsiteY42" fmla="*/ 36430 h 324705"/>
                  <a:gd name="connsiteX43" fmla="*/ 288103 w 832973"/>
                  <a:gd name="connsiteY43" fmla="*/ 7910 h 324705"/>
                  <a:gd name="connsiteX44" fmla="*/ 494142 w 832973"/>
                  <a:gd name="connsiteY44" fmla="*/ 0 h 324705"/>
                  <a:gd name="connsiteX45" fmla="*/ 494142 w 832973"/>
                  <a:gd name="connsiteY45" fmla="*/ 0 h 324705"/>
                  <a:gd name="connsiteX46" fmla="*/ 431594 w 832973"/>
                  <a:gd name="connsiteY46" fmla="*/ 34509 h 324705"/>
                  <a:gd name="connsiteX47" fmla="*/ 494142 w 832973"/>
                  <a:gd name="connsiteY47" fmla="*/ 0 h 324705"/>
                  <a:gd name="connsiteX0" fmla="*/ 431594 w 832973"/>
                  <a:gd name="connsiteY0" fmla="*/ 34509 h 324705"/>
                  <a:gd name="connsiteX1" fmla="*/ 438915 w 832973"/>
                  <a:gd name="connsiteY1" fmla="*/ 87848 h 324705"/>
                  <a:gd name="connsiteX2" fmla="*/ 438200 w 832973"/>
                  <a:gd name="connsiteY2" fmla="*/ 87848 h 324705"/>
                  <a:gd name="connsiteX3" fmla="*/ 431594 w 832973"/>
                  <a:gd name="connsiteY3" fmla="*/ 34509 h 324705"/>
                  <a:gd name="connsiteX4" fmla="*/ 288103 w 832973"/>
                  <a:gd name="connsiteY4" fmla="*/ 7910 h 324705"/>
                  <a:gd name="connsiteX5" fmla="*/ 288094 w 832973"/>
                  <a:gd name="connsiteY5" fmla="*/ 8023 h 324705"/>
                  <a:gd name="connsiteX6" fmla="*/ 288818 w 832973"/>
                  <a:gd name="connsiteY6" fmla="*/ 7910 h 324705"/>
                  <a:gd name="connsiteX7" fmla="*/ 285889 w 832973"/>
                  <a:gd name="connsiteY7" fmla="*/ 44034 h 324705"/>
                  <a:gd name="connsiteX8" fmla="*/ 388119 w 832973"/>
                  <a:gd name="connsiteY8" fmla="*/ 131119 h 324705"/>
                  <a:gd name="connsiteX9" fmla="*/ 390064 w 832973"/>
                  <a:gd name="connsiteY9" fmla="*/ 116946 h 324705"/>
                  <a:gd name="connsiteX10" fmla="*/ 390648 w 832973"/>
                  <a:gd name="connsiteY10" fmla="*/ 117904 h 324705"/>
                  <a:gd name="connsiteX11" fmla="*/ 390779 w 832973"/>
                  <a:gd name="connsiteY11" fmla="*/ 116946 h 324705"/>
                  <a:gd name="connsiteX12" fmla="*/ 416487 w 832973"/>
                  <a:gd name="connsiteY12" fmla="*/ 159121 h 324705"/>
                  <a:gd name="connsiteX13" fmla="*/ 442194 w 832973"/>
                  <a:gd name="connsiteY13" fmla="*/ 116946 h 324705"/>
                  <a:gd name="connsiteX14" fmla="*/ 442326 w 832973"/>
                  <a:gd name="connsiteY14" fmla="*/ 117904 h 324705"/>
                  <a:gd name="connsiteX15" fmla="*/ 442909 w 832973"/>
                  <a:gd name="connsiteY15" fmla="*/ 116946 h 324705"/>
                  <a:gd name="connsiteX16" fmla="*/ 444854 w 832973"/>
                  <a:gd name="connsiteY16" fmla="*/ 131119 h 324705"/>
                  <a:gd name="connsiteX17" fmla="*/ 547084 w 832973"/>
                  <a:gd name="connsiteY17" fmla="*/ 44034 h 324705"/>
                  <a:gd name="connsiteX18" fmla="*/ 544155 w 832973"/>
                  <a:gd name="connsiteY18" fmla="*/ 7910 h 324705"/>
                  <a:gd name="connsiteX19" fmla="*/ 544879 w 832973"/>
                  <a:gd name="connsiteY19" fmla="*/ 8023 h 324705"/>
                  <a:gd name="connsiteX20" fmla="*/ 544870 w 832973"/>
                  <a:gd name="connsiteY20" fmla="*/ 7910 h 324705"/>
                  <a:gd name="connsiteX21" fmla="*/ 727791 w 832973"/>
                  <a:gd name="connsiteY21" fmla="*/ 36430 h 324705"/>
                  <a:gd name="connsiteX22" fmla="*/ 756086 w 832973"/>
                  <a:gd name="connsiteY22" fmla="*/ 48877 h 324705"/>
                  <a:gd name="connsiteX23" fmla="*/ 756011 w 832973"/>
                  <a:gd name="connsiteY23" fmla="*/ 49158 h 324705"/>
                  <a:gd name="connsiteX24" fmla="*/ 802687 w 832973"/>
                  <a:gd name="connsiteY24" fmla="*/ 163428 h 324705"/>
                  <a:gd name="connsiteX25" fmla="*/ 832973 w 832973"/>
                  <a:gd name="connsiteY25" fmla="*/ 324705 h 324705"/>
                  <a:gd name="connsiteX26" fmla="*/ 731916 w 832973"/>
                  <a:gd name="connsiteY26" fmla="*/ 324705 h 324705"/>
                  <a:gd name="connsiteX27" fmla="*/ 628934 w 832973"/>
                  <a:gd name="connsiteY27" fmla="*/ 324705 h 324705"/>
                  <a:gd name="connsiteX28" fmla="*/ 628219 w 832973"/>
                  <a:gd name="connsiteY28" fmla="*/ 324705 h 324705"/>
                  <a:gd name="connsiteX29" fmla="*/ 460645 w 832973"/>
                  <a:gd name="connsiteY29" fmla="*/ 324705 h 324705"/>
                  <a:gd name="connsiteX30" fmla="*/ 459930 w 832973"/>
                  <a:gd name="connsiteY30" fmla="*/ 324705 h 324705"/>
                  <a:gd name="connsiteX31" fmla="*/ 416487 w 832973"/>
                  <a:gd name="connsiteY31" fmla="*/ 161055 h 324705"/>
                  <a:gd name="connsiteX32" fmla="*/ 373043 w 832973"/>
                  <a:gd name="connsiteY32" fmla="*/ 324705 h 324705"/>
                  <a:gd name="connsiteX33" fmla="*/ 372328 w 832973"/>
                  <a:gd name="connsiteY33" fmla="*/ 324705 h 324705"/>
                  <a:gd name="connsiteX34" fmla="*/ 204754 w 832973"/>
                  <a:gd name="connsiteY34" fmla="*/ 324705 h 324705"/>
                  <a:gd name="connsiteX35" fmla="*/ 204039 w 832973"/>
                  <a:gd name="connsiteY35" fmla="*/ 324705 h 324705"/>
                  <a:gd name="connsiteX36" fmla="*/ 101057 w 832973"/>
                  <a:gd name="connsiteY36" fmla="*/ 324705 h 324705"/>
                  <a:gd name="connsiteX37" fmla="*/ 0 w 832973"/>
                  <a:gd name="connsiteY37" fmla="*/ 324705 h 324705"/>
                  <a:gd name="connsiteX38" fmla="*/ 30286 w 832973"/>
                  <a:gd name="connsiteY38" fmla="*/ 163428 h 324705"/>
                  <a:gd name="connsiteX39" fmla="*/ 76963 w 832973"/>
                  <a:gd name="connsiteY39" fmla="*/ 49158 h 324705"/>
                  <a:gd name="connsiteX40" fmla="*/ 76887 w 832973"/>
                  <a:gd name="connsiteY40" fmla="*/ 48877 h 324705"/>
                  <a:gd name="connsiteX41" fmla="*/ 105182 w 832973"/>
                  <a:gd name="connsiteY41" fmla="*/ 36430 h 324705"/>
                  <a:gd name="connsiteX42" fmla="*/ 288103 w 832973"/>
                  <a:gd name="connsiteY42" fmla="*/ 7910 h 324705"/>
                  <a:gd name="connsiteX43" fmla="*/ 494142 w 832973"/>
                  <a:gd name="connsiteY43" fmla="*/ 0 h 324705"/>
                  <a:gd name="connsiteX44" fmla="*/ 494142 w 832973"/>
                  <a:gd name="connsiteY44" fmla="*/ 0 h 324705"/>
                  <a:gd name="connsiteX45" fmla="*/ 431594 w 832973"/>
                  <a:gd name="connsiteY45" fmla="*/ 34509 h 324705"/>
                  <a:gd name="connsiteX46" fmla="*/ 494142 w 832973"/>
                  <a:gd name="connsiteY46" fmla="*/ 0 h 324705"/>
                  <a:gd name="connsiteX0" fmla="*/ 431594 w 832973"/>
                  <a:gd name="connsiteY0" fmla="*/ 34509 h 324705"/>
                  <a:gd name="connsiteX1" fmla="*/ 438915 w 832973"/>
                  <a:gd name="connsiteY1" fmla="*/ 87848 h 324705"/>
                  <a:gd name="connsiteX2" fmla="*/ 431594 w 832973"/>
                  <a:gd name="connsiteY2" fmla="*/ 34509 h 324705"/>
                  <a:gd name="connsiteX3" fmla="*/ 288103 w 832973"/>
                  <a:gd name="connsiteY3" fmla="*/ 7910 h 324705"/>
                  <a:gd name="connsiteX4" fmla="*/ 288094 w 832973"/>
                  <a:gd name="connsiteY4" fmla="*/ 8023 h 324705"/>
                  <a:gd name="connsiteX5" fmla="*/ 288818 w 832973"/>
                  <a:gd name="connsiteY5" fmla="*/ 7910 h 324705"/>
                  <a:gd name="connsiteX6" fmla="*/ 285889 w 832973"/>
                  <a:gd name="connsiteY6" fmla="*/ 44034 h 324705"/>
                  <a:gd name="connsiteX7" fmla="*/ 388119 w 832973"/>
                  <a:gd name="connsiteY7" fmla="*/ 131119 h 324705"/>
                  <a:gd name="connsiteX8" fmla="*/ 390064 w 832973"/>
                  <a:gd name="connsiteY8" fmla="*/ 116946 h 324705"/>
                  <a:gd name="connsiteX9" fmla="*/ 390648 w 832973"/>
                  <a:gd name="connsiteY9" fmla="*/ 117904 h 324705"/>
                  <a:gd name="connsiteX10" fmla="*/ 390779 w 832973"/>
                  <a:gd name="connsiteY10" fmla="*/ 116946 h 324705"/>
                  <a:gd name="connsiteX11" fmla="*/ 416487 w 832973"/>
                  <a:gd name="connsiteY11" fmla="*/ 159121 h 324705"/>
                  <a:gd name="connsiteX12" fmla="*/ 442194 w 832973"/>
                  <a:gd name="connsiteY12" fmla="*/ 116946 h 324705"/>
                  <a:gd name="connsiteX13" fmla="*/ 442326 w 832973"/>
                  <a:gd name="connsiteY13" fmla="*/ 117904 h 324705"/>
                  <a:gd name="connsiteX14" fmla="*/ 442909 w 832973"/>
                  <a:gd name="connsiteY14" fmla="*/ 116946 h 324705"/>
                  <a:gd name="connsiteX15" fmla="*/ 444854 w 832973"/>
                  <a:gd name="connsiteY15" fmla="*/ 131119 h 324705"/>
                  <a:gd name="connsiteX16" fmla="*/ 547084 w 832973"/>
                  <a:gd name="connsiteY16" fmla="*/ 44034 h 324705"/>
                  <a:gd name="connsiteX17" fmla="*/ 544155 w 832973"/>
                  <a:gd name="connsiteY17" fmla="*/ 7910 h 324705"/>
                  <a:gd name="connsiteX18" fmla="*/ 544879 w 832973"/>
                  <a:gd name="connsiteY18" fmla="*/ 8023 h 324705"/>
                  <a:gd name="connsiteX19" fmla="*/ 544870 w 832973"/>
                  <a:gd name="connsiteY19" fmla="*/ 7910 h 324705"/>
                  <a:gd name="connsiteX20" fmla="*/ 727791 w 832973"/>
                  <a:gd name="connsiteY20" fmla="*/ 36430 h 324705"/>
                  <a:gd name="connsiteX21" fmla="*/ 756086 w 832973"/>
                  <a:gd name="connsiteY21" fmla="*/ 48877 h 324705"/>
                  <a:gd name="connsiteX22" fmla="*/ 756011 w 832973"/>
                  <a:gd name="connsiteY22" fmla="*/ 49158 h 324705"/>
                  <a:gd name="connsiteX23" fmla="*/ 802687 w 832973"/>
                  <a:gd name="connsiteY23" fmla="*/ 163428 h 324705"/>
                  <a:gd name="connsiteX24" fmla="*/ 832973 w 832973"/>
                  <a:gd name="connsiteY24" fmla="*/ 324705 h 324705"/>
                  <a:gd name="connsiteX25" fmla="*/ 731916 w 832973"/>
                  <a:gd name="connsiteY25" fmla="*/ 324705 h 324705"/>
                  <a:gd name="connsiteX26" fmla="*/ 628934 w 832973"/>
                  <a:gd name="connsiteY26" fmla="*/ 324705 h 324705"/>
                  <a:gd name="connsiteX27" fmla="*/ 628219 w 832973"/>
                  <a:gd name="connsiteY27" fmla="*/ 324705 h 324705"/>
                  <a:gd name="connsiteX28" fmla="*/ 460645 w 832973"/>
                  <a:gd name="connsiteY28" fmla="*/ 324705 h 324705"/>
                  <a:gd name="connsiteX29" fmla="*/ 459930 w 832973"/>
                  <a:gd name="connsiteY29" fmla="*/ 324705 h 324705"/>
                  <a:gd name="connsiteX30" fmla="*/ 416487 w 832973"/>
                  <a:gd name="connsiteY30" fmla="*/ 161055 h 324705"/>
                  <a:gd name="connsiteX31" fmla="*/ 373043 w 832973"/>
                  <a:gd name="connsiteY31" fmla="*/ 324705 h 324705"/>
                  <a:gd name="connsiteX32" fmla="*/ 372328 w 832973"/>
                  <a:gd name="connsiteY32" fmla="*/ 324705 h 324705"/>
                  <a:gd name="connsiteX33" fmla="*/ 204754 w 832973"/>
                  <a:gd name="connsiteY33" fmla="*/ 324705 h 324705"/>
                  <a:gd name="connsiteX34" fmla="*/ 204039 w 832973"/>
                  <a:gd name="connsiteY34" fmla="*/ 324705 h 324705"/>
                  <a:gd name="connsiteX35" fmla="*/ 101057 w 832973"/>
                  <a:gd name="connsiteY35" fmla="*/ 324705 h 324705"/>
                  <a:gd name="connsiteX36" fmla="*/ 0 w 832973"/>
                  <a:gd name="connsiteY36" fmla="*/ 324705 h 324705"/>
                  <a:gd name="connsiteX37" fmla="*/ 30286 w 832973"/>
                  <a:gd name="connsiteY37" fmla="*/ 163428 h 324705"/>
                  <a:gd name="connsiteX38" fmla="*/ 76963 w 832973"/>
                  <a:gd name="connsiteY38" fmla="*/ 49158 h 324705"/>
                  <a:gd name="connsiteX39" fmla="*/ 76887 w 832973"/>
                  <a:gd name="connsiteY39" fmla="*/ 48877 h 324705"/>
                  <a:gd name="connsiteX40" fmla="*/ 105182 w 832973"/>
                  <a:gd name="connsiteY40" fmla="*/ 36430 h 324705"/>
                  <a:gd name="connsiteX41" fmla="*/ 288103 w 832973"/>
                  <a:gd name="connsiteY41" fmla="*/ 7910 h 324705"/>
                  <a:gd name="connsiteX42" fmla="*/ 494142 w 832973"/>
                  <a:gd name="connsiteY42" fmla="*/ 0 h 324705"/>
                  <a:gd name="connsiteX43" fmla="*/ 494142 w 832973"/>
                  <a:gd name="connsiteY43" fmla="*/ 0 h 324705"/>
                  <a:gd name="connsiteX44" fmla="*/ 431594 w 832973"/>
                  <a:gd name="connsiteY44" fmla="*/ 34509 h 324705"/>
                  <a:gd name="connsiteX45" fmla="*/ 494142 w 832973"/>
                  <a:gd name="connsiteY45" fmla="*/ 0 h 324705"/>
                  <a:gd name="connsiteX0" fmla="*/ 288103 w 832973"/>
                  <a:gd name="connsiteY0" fmla="*/ 7910 h 324705"/>
                  <a:gd name="connsiteX1" fmla="*/ 288094 w 832973"/>
                  <a:gd name="connsiteY1" fmla="*/ 8023 h 324705"/>
                  <a:gd name="connsiteX2" fmla="*/ 288818 w 832973"/>
                  <a:gd name="connsiteY2" fmla="*/ 7910 h 324705"/>
                  <a:gd name="connsiteX3" fmla="*/ 285889 w 832973"/>
                  <a:gd name="connsiteY3" fmla="*/ 44034 h 324705"/>
                  <a:gd name="connsiteX4" fmla="*/ 388119 w 832973"/>
                  <a:gd name="connsiteY4" fmla="*/ 131119 h 324705"/>
                  <a:gd name="connsiteX5" fmla="*/ 390064 w 832973"/>
                  <a:gd name="connsiteY5" fmla="*/ 116946 h 324705"/>
                  <a:gd name="connsiteX6" fmla="*/ 390648 w 832973"/>
                  <a:gd name="connsiteY6" fmla="*/ 117904 h 324705"/>
                  <a:gd name="connsiteX7" fmla="*/ 390779 w 832973"/>
                  <a:gd name="connsiteY7" fmla="*/ 116946 h 324705"/>
                  <a:gd name="connsiteX8" fmla="*/ 416487 w 832973"/>
                  <a:gd name="connsiteY8" fmla="*/ 159121 h 324705"/>
                  <a:gd name="connsiteX9" fmla="*/ 442194 w 832973"/>
                  <a:gd name="connsiteY9" fmla="*/ 116946 h 324705"/>
                  <a:gd name="connsiteX10" fmla="*/ 442326 w 832973"/>
                  <a:gd name="connsiteY10" fmla="*/ 117904 h 324705"/>
                  <a:gd name="connsiteX11" fmla="*/ 442909 w 832973"/>
                  <a:gd name="connsiteY11" fmla="*/ 116946 h 324705"/>
                  <a:gd name="connsiteX12" fmla="*/ 444854 w 832973"/>
                  <a:gd name="connsiteY12" fmla="*/ 131119 h 324705"/>
                  <a:gd name="connsiteX13" fmla="*/ 547084 w 832973"/>
                  <a:gd name="connsiteY13" fmla="*/ 44034 h 324705"/>
                  <a:gd name="connsiteX14" fmla="*/ 544155 w 832973"/>
                  <a:gd name="connsiteY14" fmla="*/ 7910 h 324705"/>
                  <a:gd name="connsiteX15" fmla="*/ 544879 w 832973"/>
                  <a:gd name="connsiteY15" fmla="*/ 8023 h 324705"/>
                  <a:gd name="connsiteX16" fmla="*/ 544870 w 832973"/>
                  <a:gd name="connsiteY16" fmla="*/ 7910 h 324705"/>
                  <a:gd name="connsiteX17" fmla="*/ 727791 w 832973"/>
                  <a:gd name="connsiteY17" fmla="*/ 36430 h 324705"/>
                  <a:gd name="connsiteX18" fmla="*/ 756086 w 832973"/>
                  <a:gd name="connsiteY18" fmla="*/ 48877 h 324705"/>
                  <a:gd name="connsiteX19" fmla="*/ 756011 w 832973"/>
                  <a:gd name="connsiteY19" fmla="*/ 49158 h 324705"/>
                  <a:gd name="connsiteX20" fmla="*/ 802687 w 832973"/>
                  <a:gd name="connsiteY20" fmla="*/ 163428 h 324705"/>
                  <a:gd name="connsiteX21" fmla="*/ 832973 w 832973"/>
                  <a:gd name="connsiteY21" fmla="*/ 324705 h 324705"/>
                  <a:gd name="connsiteX22" fmla="*/ 731916 w 832973"/>
                  <a:gd name="connsiteY22" fmla="*/ 324705 h 324705"/>
                  <a:gd name="connsiteX23" fmla="*/ 628934 w 832973"/>
                  <a:gd name="connsiteY23" fmla="*/ 324705 h 324705"/>
                  <a:gd name="connsiteX24" fmla="*/ 628219 w 832973"/>
                  <a:gd name="connsiteY24" fmla="*/ 324705 h 324705"/>
                  <a:gd name="connsiteX25" fmla="*/ 460645 w 832973"/>
                  <a:gd name="connsiteY25" fmla="*/ 324705 h 324705"/>
                  <a:gd name="connsiteX26" fmla="*/ 459930 w 832973"/>
                  <a:gd name="connsiteY26" fmla="*/ 324705 h 324705"/>
                  <a:gd name="connsiteX27" fmla="*/ 416487 w 832973"/>
                  <a:gd name="connsiteY27" fmla="*/ 161055 h 324705"/>
                  <a:gd name="connsiteX28" fmla="*/ 373043 w 832973"/>
                  <a:gd name="connsiteY28" fmla="*/ 324705 h 324705"/>
                  <a:gd name="connsiteX29" fmla="*/ 372328 w 832973"/>
                  <a:gd name="connsiteY29" fmla="*/ 324705 h 324705"/>
                  <a:gd name="connsiteX30" fmla="*/ 204754 w 832973"/>
                  <a:gd name="connsiteY30" fmla="*/ 324705 h 324705"/>
                  <a:gd name="connsiteX31" fmla="*/ 204039 w 832973"/>
                  <a:gd name="connsiteY31" fmla="*/ 324705 h 324705"/>
                  <a:gd name="connsiteX32" fmla="*/ 101057 w 832973"/>
                  <a:gd name="connsiteY32" fmla="*/ 324705 h 324705"/>
                  <a:gd name="connsiteX33" fmla="*/ 0 w 832973"/>
                  <a:gd name="connsiteY33" fmla="*/ 324705 h 324705"/>
                  <a:gd name="connsiteX34" fmla="*/ 30286 w 832973"/>
                  <a:gd name="connsiteY34" fmla="*/ 163428 h 324705"/>
                  <a:gd name="connsiteX35" fmla="*/ 76963 w 832973"/>
                  <a:gd name="connsiteY35" fmla="*/ 49158 h 324705"/>
                  <a:gd name="connsiteX36" fmla="*/ 76887 w 832973"/>
                  <a:gd name="connsiteY36" fmla="*/ 48877 h 324705"/>
                  <a:gd name="connsiteX37" fmla="*/ 105182 w 832973"/>
                  <a:gd name="connsiteY37" fmla="*/ 36430 h 324705"/>
                  <a:gd name="connsiteX38" fmla="*/ 288103 w 832973"/>
                  <a:gd name="connsiteY38" fmla="*/ 7910 h 324705"/>
                  <a:gd name="connsiteX39" fmla="*/ 494142 w 832973"/>
                  <a:gd name="connsiteY39" fmla="*/ 0 h 324705"/>
                  <a:gd name="connsiteX40" fmla="*/ 494142 w 832973"/>
                  <a:gd name="connsiteY40" fmla="*/ 0 h 324705"/>
                  <a:gd name="connsiteX41" fmla="*/ 431594 w 832973"/>
                  <a:gd name="connsiteY41" fmla="*/ 34509 h 324705"/>
                  <a:gd name="connsiteX42" fmla="*/ 494142 w 832973"/>
                  <a:gd name="connsiteY42" fmla="*/ 0 h 324705"/>
                  <a:gd name="connsiteX0" fmla="*/ 288103 w 832973"/>
                  <a:gd name="connsiteY0" fmla="*/ 7910 h 324705"/>
                  <a:gd name="connsiteX1" fmla="*/ 288094 w 832973"/>
                  <a:gd name="connsiteY1" fmla="*/ 8023 h 324705"/>
                  <a:gd name="connsiteX2" fmla="*/ 288818 w 832973"/>
                  <a:gd name="connsiteY2" fmla="*/ 7910 h 324705"/>
                  <a:gd name="connsiteX3" fmla="*/ 285889 w 832973"/>
                  <a:gd name="connsiteY3" fmla="*/ 44034 h 324705"/>
                  <a:gd name="connsiteX4" fmla="*/ 388119 w 832973"/>
                  <a:gd name="connsiteY4" fmla="*/ 131119 h 324705"/>
                  <a:gd name="connsiteX5" fmla="*/ 390064 w 832973"/>
                  <a:gd name="connsiteY5" fmla="*/ 116946 h 324705"/>
                  <a:gd name="connsiteX6" fmla="*/ 390648 w 832973"/>
                  <a:gd name="connsiteY6" fmla="*/ 117904 h 324705"/>
                  <a:gd name="connsiteX7" fmla="*/ 390779 w 832973"/>
                  <a:gd name="connsiteY7" fmla="*/ 116946 h 324705"/>
                  <a:gd name="connsiteX8" fmla="*/ 416487 w 832973"/>
                  <a:gd name="connsiteY8" fmla="*/ 159121 h 324705"/>
                  <a:gd name="connsiteX9" fmla="*/ 442194 w 832973"/>
                  <a:gd name="connsiteY9" fmla="*/ 116946 h 324705"/>
                  <a:gd name="connsiteX10" fmla="*/ 442326 w 832973"/>
                  <a:gd name="connsiteY10" fmla="*/ 117904 h 324705"/>
                  <a:gd name="connsiteX11" fmla="*/ 442909 w 832973"/>
                  <a:gd name="connsiteY11" fmla="*/ 116946 h 324705"/>
                  <a:gd name="connsiteX12" fmla="*/ 444854 w 832973"/>
                  <a:gd name="connsiteY12" fmla="*/ 131119 h 324705"/>
                  <a:gd name="connsiteX13" fmla="*/ 547084 w 832973"/>
                  <a:gd name="connsiteY13" fmla="*/ 44034 h 324705"/>
                  <a:gd name="connsiteX14" fmla="*/ 544155 w 832973"/>
                  <a:gd name="connsiteY14" fmla="*/ 7910 h 324705"/>
                  <a:gd name="connsiteX15" fmla="*/ 544879 w 832973"/>
                  <a:gd name="connsiteY15" fmla="*/ 8023 h 324705"/>
                  <a:gd name="connsiteX16" fmla="*/ 544870 w 832973"/>
                  <a:gd name="connsiteY16" fmla="*/ 7910 h 324705"/>
                  <a:gd name="connsiteX17" fmla="*/ 727791 w 832973"/>
                  <a:gd name="connsiteY17" fmla="*/ 36430 h 324705"/>
                  <a:gd name="connsiteX18" fmla="*/ 756086 w 832973"/>
                  <a:gd name="connsiteY18" fmla="*/ 48877 h 324705"/>
                  <a:gd name="connsiteX19" fmla="*/ 756011 w 832973"/>
                  <a:gd name="connsiteY19" fmla="*/ 49158 h 324705"/>
                  <a:gd name="connsiteX20" fmla="*/ 802687 w 832973"/>
                  <a:gd name="connsiteY20" fmla="*/ 163428 h 324705"/>
                  <a:gd name="connsiteX21" fmla="*/ 832973 w 832973"/>
                  <a:gd name="connsiteY21" fmla="*/ 324705 h 324705"/>
                  <a:gd name="connsiteX22" fmla="*/ 731916 w 832973"/>
                  <a:gd name="connsiteY22" fmla="*/ 324705 h 324705"/>
                  <a:gd name="connsiteX23" fmla="*/ 628934 w 832973"/>
                  <a:gd name="connsiteY23" fmla="*/ 324705 h 324705"/>
                  <a:gd name="connsiteX24" fmla="*/ 628219 w 832973"/>
                  <a:gd name="connsiteY24" fmla="*/ 324705 h 324705"/>
                  <a:gd name="connsiteX25" fmla="*/ 460645 w 832973"/>
                  <a:gd name="connsiteY25" fmla="*/ 324705 h 324705"/>
                  <a:gd name="connsiteX26" fmla="*/ 459930 w 832973"/>
                  <a:gd name="connsiteY26" fmla="*/ 324705 h 324705"/>
                  <a:gd name="connsiteX27" fmla="*/ 416487 w 832973"/>
                  <a:gd name="connsiteY27" fmla="*/ 161055 h 324705"/>
                  <a:gd name="connsiteX28" fmla="*/ 373043 w 832973"/>
                  <a:gd name="connsiteY28" fmla="*/ 324705 h 324705"/>
                  <a:gd name="connsiteX29" fmla="*/ 372328 w 832973"/>
                  <a:gd name="connsiteY29" fmla="*/ 324705 h 324705"/>
                  <a:gd name="connsiteX30" fmla="*/ 204754 w 832973"/>
                  <a:gd name="connsiteY30" fmla="*/ 324705 h 324705"/>
                  <a:gd name="connsiteX31" fmla="*/ 204039 w 832973"/>
                  <a:gd name="connsiteY31" fmla="*/ 324705 h 324705"/>
                  <a:gd name="connsiteX32" fmla="*/ 101057 w 832973"/>
                  <a:gd name="connsiteY32" fmla="*/ 324705 h 324705"/>
                  <a:gd name="connsiteX33" fmla="*/ 0 w 832973"/>
                  <a:gd name="connsiteY33" fmla="*/ 324705 h 324705"/>
                  <a:gd name="connsiteX34" fmla="*/ 30286 w 832973"/>
                  <a:gd name="connsiteY34" fmla="*/ 163428 h 324705"/>
                  <a:gd name="connsiteX35" fmla="*/ 76963 w 832973"/>
                  <a:gd name="connsiteY35" fmla="*/ 49158 h 324705"/>
                  <a:gd name="connsiteX36" fmla="*/ 76887 w 832973"/>
                  <a:gd name="connsiteY36" fmla="*/ 48877 h 324705"/>
                  <a:gd name="connsiteX37" fmla="*/ 105182 w 832973"/>
                  <a:gd name="connsiteY37" fmla="*/ 36430 h 324705"/>
                  <a:gd name="connsiteX38" fmla="*/ 288103 w 832973"/>
                  <a:gd name="connsiteY38" fmla="*/ 7910 h 324705"/>
                  <a:gd name="connsiteX39" fmla="*/ 494142 w 832973"/>
                  <a:gd name="connsiteY39" fmla="*/ 0 h 324705"/>
                  <a:gd name="connsiteX40" fmla="*/ 494142 w 832973"/>
                  <a:gd name="connsiteY40" fmla="*/ 0 h 324705"/>
                  <a:gd name="connsiteX41" fmla="*/ 436895 w 832973"/>
                  <a:gd name="connsiteY41" fmla="*/ 11539 h 324705"/>
                  <a:gd name="connsiteX42" fmla="*/ 494142 w 832973"/>
                  <a:gd name="connsiteY42" fmla="*/ 0 h 324705"/>
                  <a:gd name="connsiteX0" fmla="*/ 288103 w 832973"/>
                  <a:gd name="connsiteY0" fmla="*/ 7910 h 324705"/>
                  <a:gd name="connsiteX1" fmla="*/ 288094 w 832973"/>
                  <a:gd name="connsiteY1" fmla="*/ 8023 h 324705"/>
                  <a:gd name="connsiteX2" fmla="*/ 288818 w 832973"/>
                  <a:gd name="connsiteY2" fmla="*/ 7910 h 324705"/>
                  <a:gd name="connsiteX3" fmla="*/ 285889 w 832973"/>
                  <a:gd name="connsiteY3" fmla="*/ 44034 h 324705"/>
                  <a:gd name="connsiteX4" fmla="*/ 388119 w 832973"/>
                  <a:gd name="connsiteY4" fmla="*/ 131119 h 324705"/>
                  <a:gd name="connsiteX5" fmla="*/ 390064 w 832973"/>
                  <a:gd name="connsiteY5" fmla="*/ 116946 h 324705"/>
                  <a:gd name="connsiteX6" fmla="*/ 390648 w 832973"/>
                  <a:gd name="connsiteY6" fmla="*/ 117904 h 324705"/>
                  <a:gd name="connsiteX7" fmla="*/ 390779 w 832973"/>
                  <a:gd name="connsiteY7" fmla="*/ 116946 h 324705"/>
                  <a:gd name="connsiteX8" fmla="*/ 416487 w 832973"/>
                  <a:gd name="connsiteY8" fmla="*/ 159121 h 324705"/>
                  <a:gd name="connsiteX9" fmla="*/ 442194 w 832973"/>
                  <a:gd name="connsiteY9" fmla="*/ 116946 h 324705"/>
                  <a:gd name="connsiteX10" fmla="*/ 442326 w 832973"/>
                  <a:gd name="connsiteY10" fmla="*/ 117904 h 324705"/>
                  <a:gd name="connsiteX11" fmla="*/ 442909 w 832973"/>
                  <a:gd name="connsiteY11" fmla="*/ 116946 h 324705"/>
                  <a:gd name="connsiteX12" fmla="*/ 444854 w 832973"/>
                  <a:gd name="connsiteY12" fmla="*/ 131119 h 324705"/>
                  <a:gd name="connsiteX13" fmla="*/ 547084 w 832973"/>
                  <a:gd name="connsiteY13" fmla="*/ 44034 h 324705"/>
                  <a:gd name="connsiteX14" fmla="*/ 544155 w 832973"/>
                  <a:gd name="connsiteY14" fmla="*/ 7910 h 324705"/>
                  <a:gd name="connsiteX15" fmla="*/ 544879 w 832973"/>
                  <a:gd name="connsiteY15" fmla="*/ 8023 h 324705"/>
                  <a:gd name="connsiteX16" fmla="*/ 544870 w 832973"/>
                  <a:gd name="connsiteY16" fmla="*/ 7910 h 324705"/>
                  <a:gd name="connsiteX17" fmla="*/ 727791 w 832973"/>
                  <a:gd name="connsiteY17" fmla="*/ 36430 h 324705"/>
                  <a:gd name="connsiteX18" fmla="*/ 756086 w 832973"/>
                  <a:gd name="connsiteY18" fmla="*/ 48877 h 324705"/>
                  <a:gd name="connsiteX19" fmla="*/ 756011 w 832973"/>
                  <a:gd name="connsiteY19" fmla="*/ 49158 h 324705"/>
                  <a:gd name="connsiteX20" fmla="*/ 802687 w 832973"/>
                  <a:gd name="connsiteY20" fmla="*/ 163428 h 324705"/>
                  <a:gd name="connsiteX21" fmla="*/ 832973 w 832973"/>
                  <a:gd name="connsiteY21" fmla="*/ 324705 h 324705"/>
                  <a:gd name="connsiteX22" fmla="*/ 731916 w 832973"/>
                  <a:gd name="connsiteY22" fmla="*/ 324705 h 324705"/>
                  <a:gd name="connsiteX23" fmla="*/ 628934 w 832973"/>
                  <a:gd name="connsiteY23" fmla="*/ 324705 h 324705"/>
                  <a:gd name="connsiteX24" fmla="*/ 628219 w 832973"/>
                  <a:gd name="connsiteY24" fmla="*/ 324705 h 324705"/>
                  <a:gd name="connsiteX25" fmla="*/ 460645 w 832973"/>
                  <a:gd name="connsiteY25" fmla="*/ 324705 h 324705"/>
                  <a:gd name="connsiteX26" fmla="*/ 459930 w 832973"/>
                  <a:gd name="connsiteY26" fmla="*/ 324705 h 324705"/>
                  <a:gd name="connsiteX27" fmla="*/ 416487 w 832973"/>
                  <a:gd name="connsiteY27" fmla="*/ 161055 h 324705"/>
                  <a:gd name="connsiteX28" fmla="*/ 373043 w 832973"/>
                  <a:gd name="connsiteY28" fmla="*/ 324705 h 324705"/>
                  <a:gd name="connsiteX29" fmla="*/ 372328 w 832973"/>
                  <a:gd name="connsiteY29" fmla="*/ 324705 h 324705"/>
                  <a:gd name="connsiteX30" fmla="*/ 204754 w 832973"/>
                  <a:gd name="connsiteY30" fmla="*/ 324705 h 324705"/>
                  <a:gd name="connsiteX31" fmla="*/ 204039 w 832973"/>
                  <a:gd name="connsiteY31" fmla="*/ 324705 h 324705"/>
                  <a:gd name="connsiteX32" fmla="*/ 101057 w 832973"/>
                  <a:gd name="connsiteY32" fmla="*/ 324705 h 324705"/>
                  <a:gd name="connsiteX33" fmla="*/ 0 w 832973"/>
                  <a:gd name="connsiteY33" fmla="*/ 324705 h 324705"/>
                  <a:gd name="connsiteX34" fmla="*/ 30286 w 832973"/>
                  <a:gd name="connsiteY34" fmla="*/ 163428 h 324705"/>
                  <a:gd name="connsiteX35" fmla="*/ 76963 w 832973"/>
                  <a:gd name="connsiteY35" fmla="*/ 49158 h 324705"/>
                  <a:gd name="connsiteX36" fmla="*/ 76887 w 832973"/>
                  <a:gd name="connsiteY36" fmla="*/ 48877 h 324705"/>
                  <a:gd name="connsiteX37" fmla="*/ 105182 w 832973"/>
                  <a:gd name="connsiteY37" fmla="*/ 36430 h 324705"/>
                  <a:gd name="connsiteX38" fmla="*/ 288103 w 832973"/>
                  <a:gd name="connsiteY38" fmla="*/ 7910 h 324705"/>
                  <a:gd name="connsiteX39" fmla="*/ 494142 w 832973"/>
                  <a:gd name="connsiteY39" fmla="*/ 0 h 324705"/>
                  <a:gd name="connsiteX40" fmla="*/ 494142 w 832973"/>
                  <a:gd name="connsiteY40" fmla="*/ 0 h 324705"/>
                  <a:gd name="connsiteX41" fmla="*/ 494142 w 832973"/>
                  <a:gd name="connsiteY41" fmla="*/ 0 h 324705"/>
                  <a:gd name="connsiteX0" fmla="*/ 288103 w 832973"/>
                  <a:gd name="connsiteY0" fmla="*/ 7910 h 324705"/>
                  <a:gd name="connsiteX1" fmla="*/ 288094 w 832973"/>
                  <a:gd name="connsiteY1" fmla="*/ 8023 h 324705"/>
                  <a:gd name="connsiteX2" fmla="*/ 288818 w 832973"/>
                  <a:gd name="connsiteY2" fmla="*/ 7910 h 324705"/>
                  <a:gd name="connsiteX3" fmla="*/ 285889 w 832973"/>
                  <a:gd name="connsiteY3" fmla="*/ 44034 h 324705"/>
                  <a:gd name="connsiteX4" fmla="*/ 388119 w 832973"/>
                  <a:gd name="connsiteY4" fmla="*/ 131119 h 324705"/>
                  <a:gd name="connsiteX5" fmla="*/ 390064 w 832973"/>
                  <a:gd name="connsiteY5" fmla="*/ 116946 h 324705"/>
                  <a:gd name="connsiteX6" fmla="*/ 390648 w 832973"/>
                  <a:gd name="connsiteY6" fmla="*/ 117904 h 324705"/>
                  <a:gd name="connsiteX7" fmla="*/ 390779 w 832973"/>
                  <a:gd name="connsiteY7" fmla="*/ 116946 h 324705"/>
                  <a:gd name="connsiteX8" fmla="*/ 416487 w 832973"/>
                  <a:gd name="connsiteY8" fmla="*/ 159121 h 324705"/>
                  <a:gd name="connsiteX9" fmla="*/ 442194 w 832973"/>
                  <a:gd name="connsiteY9" fmla="*/ 116946 h 324705"/>
                  <a:gd name="connsiteX10" fmla="*/ 442326 w 832973"/>
                  <a:gd name="connsiteY10" fmla="*/ 117904 h 324705"/>
                  <a:gd name="connsiteX11" fmla="*/ 442909 w 832973"/>
                  <a:gd name="connsiteY11" fmla="*/ 116946 h 324705"/>
                  <a:gd name="connsiteX12" fmla="*/ 444854 w 832973"/>
                  <a:gd name="connsiteY12" fmla="*/ 131119 h 324705"/>
                  <a:gd name="connsiteX13" fmla="*/ 547084 w 832973"/>
                  <a:gd name="connsiteY13" fmla="*/ 44034 h 324705"/>
                  <a:gd name="connsiteX14" fmla="*/ 544155 w 832973"/>
                  <a:gd name="connsiteY14" fmla="*/ 7910 h 324705"/>
                  <a:gd name="connsiteX15" fmla="*/ 544879 w 832973"/>
                  <a:gd name="connsiteY15" fmla="*/ 8023 h 324705"/>
                  <a:gd name="connsiteX16" fmla="*/ 544870 w 832973"/>
                  <a:gd name="connsiteY16" fmla="*/ 7910 h 324705"/>
                  <a:gd name="connsiteX17" fmla="*/ 727791 w 832973"/>
                  <a:gd name="connsiteY17" fmla="*/ 36430 h 324705"/>
                  <a:gd name="connsiteX18" fmla="*/ 756086 w 832973"/>
                  <a:gd name="connsiteY18" fmla="*/ 48877 h 324705"/>
                  <a:gd name="connsiteX19" fmla="*/ 756011 w 832973"/>
                  <a:gd name="connsiteY19" fmla="*/ 49158 h 324705"/>
                  <a:gd name="connsiteX20" fmla="*/ 802687 w 832973"/>
                  <a:gd name="connsiteY20" fmla="*/ 163428 h 324705"/>
                  <a:gd name="connsiteX21" fmla="*/ 832973 w 832973"/>
                  <a:gd name="connsiteY21" fmla="*/ 324705 h 324705"/>
                  <a:gd name="connsiteX22" fmla="*/ 731916 w 832973"/>
                  <a:gd name="connsiteY22" fmla="*/ 324705 h 324705"/>
                  <a:gd name="connsiteX23" fmla="*/ 628934 w 832973"/>
                  <a:gd name="connsiteY23" fmla="*/ 324705 h 324705"/>
                  <a:gd name="connsiteX24" fmla="*/ 628219 w 832973"/>
                  <a:gd name="connsiteY24" fmla="*/ 324705 h 324705"/>
                  <a:gd name="connsiteX25" fmla="*/ 460645 w 832973"/>
                  <a:gd name="connsiteY25" fmla="*/ 324705 h 324705"/>
                  <a:gd name="connsiteX26" fmla="*/ 459930 w 832973"/>
                  <a:gd name="connsiteY26" fmla="*/ 324705 h 324705"/>
                  <a:gd name="connsiteX27" fmla="*/ 416487 w 832973"/>
                  <a:gd name="connsiteY27" fmla="*/ 161055 h 324705"/>
                  <a:gd name="connsiteX28" fmla="*/ 373043 w 832973"/>
                  <a:gd name="connsiteY28" fmla="*/ 324705 h 324705"/>
                  <a:gd name="connsiteX29" fmla="*/ 372328 w 832973"/>
                  <a:gd name="connsiteY29" fmla="*/ 324705 h 324705"/>
                  <a:gd name="connsiteX30" fmla="*/ 204754 w 832973"/>
                  <a:gd name="connsiteY30" fmla="*/ 324705 h 324705"/>
                  <a:gd name="connsiteX31" fmla="*/ 204039 w 832973"/>
                  <a:gd name="connsiteY31" fmla="*/ 324705 h 324705"/>
                  <a:gd name="connsiteX32" fmla="*/ 101057 w 832973"/>
                  <a:gd name="connsiteY32" fmla="*/ 324705 h 324705"/>
                  <a:gd name="connsiteX33" fmla="*/ 0 w 832973"/>
                  <a:gd name="connsiteY33" fmla="*/ 324705 h 324705"/>
                  <a:gd name="connsiteX34" fmla="*/ 30286 w 832973"/>
                  <a:gd name="connsiteY34" fmla="*/ 163428 h 324705"/>
                  <a:gd name="connsiteX35" fmla="*/ 76963 w 832973"/>
                  <a:gd name="connsiteY35" fmla="*/ 49158 h 324705"/>
                  <a:gd name="connsiteX36" fmla="*/ 76887 w 832973"/>
                  <a:gd name="connsiteY36" fmla="*/ 48877 h 324705"/>
                  <a:gd name="connsiteX37" fmla="*/ 105182 w 832973"/>
                  <a:gd name="connsiteY37" fmla="*/ 36430 h 324705"/>
                  <a:gd name="connsiteX38" fmla="*/ 288103 w 832973"/>
                  <a:gd name="connsiteY38" fmla="*/ 7910 h 324705"/>
                  <a:gd name="connsiteX39" fmla="*/ 483541 w 832973"/>
                  <a:gd name="connsiteY39" fmla="*/ 33572 h 324705"/>
                  <a:gd name="connsiteX40" fmla="*/ 494142 w 832973"/>
                  <a:gd name="connsiteY40" fmla="*/ 0 h 324705"/>
                  <a:gd name="connsiteX41" fmla="*/ 483541 w 832973"/>
                  <a:gd name="connsiteY41" fmla="*/ 33572 h 324705"/>
                  <a:gd name="connsiteX0" fmla="*/ 288103 w 832973"/>
                  <a:gd name="connsiteY0" fmla="*/ 0 h 316795"/>
                  <a:gd name="connsiteX1" fmla="*/ 288094 w 832973"/>
                  <a:gd name="connsiteY1" fmla="*/ 113 h 316795"/>
                  <a:gd name="connsiteX2" fmla="*/ 288818 w 832973"/>
                  <a:gd name="connsiteY2" fmla="*/ 0 h 316795"/>
                  <a:gd name="connsiteX3" fmla="*/ 285889 w 832973"/>
                  <a:gd name="connsiteY3" fmla="*/ 36124 h 316795"/>
                  <a:gd name="connsiteX4" fmla="*/ 388119 w 832973"/>
                  <a:gd name="connsiteY4" fmla="*/ 123209 h 316795"/>
                  <a:gd name="connsiteX5" fmla="*/ 390064 w 832973"/>
                  <a:gd name="connsiteY5" fmla="*/ 109036 h 316795"/>
                  <a:gd name="connsiteX6" fmla="*/ 390648 w 832973"/>
                  <a:gd name="connsiteY6" fmla="*/ 109994 h 316795"/>
                  <a:gd name="connsiteX7" fmla="*/ 390779 w 832973"/>
                  <a:gd name="connsiteY7" fmla="*/ 109036 h 316795"/>
                  <a:gd name="connsiteX8" fmla="*/ 416487 w 832973"/>
                  <a:gd name="connsiteY8" fmla="*/ 151211 h 316795"/>
                  <a:gd name="connsiteX9" fmla="*/ 442194 w 832973"/>
                  <a:gd name="connsiteY9" fmla="*/ 109036 h 316795"/>
                  <a:gd name="connsiteX10" fmla="*/ 442326 w 832973"/>
                  <a:gd name="connsiteY10" fmla="*/ 109994 h 316795"/>
                  <a:gd name="connsiteX11" fmla="*/ 442909 w 832973"/>
                  <a:gd name="connsiteY11" fmla="*/ 109036 h 316795"/>
                  <a:gd name="connsiteX12" fmla="*/ 444854 w 832973"/>
                  <a:gd name="connsiteY12" fmla="*/ 123209 h 316795"/>
                  <a:gd name="connsiteX13" fmla="*/ 547084 w 832973"/>
                  <a:gd name="connsiteY13" fmla="*/ 36124 h 316795"/>
                  <a:gd name="connsiteX14" fmla="*/ 544155 w 832973"/>
                  <a:gd name="connsiteY14" fmla="*/ 0 h 316795"/>
                  <a:gd name="connsiteX15" fmla="*/ 544879 w 832973"/>
                  <a:gd name="connsiteY15" fmla="*/ 113 h 316795"/>
                  <a:gd name="connsiteX16" fmla="*/ 544870 w 832973"/>
                  <a:gd name="connsiteY16" fmla="*/ 0 h 316795"/>
                  <a:gd name="connsiteX17" fmla="*/ 727791 w 832973"/>
                  <a:gd name="connsiteY17" fmla="*/ 28520 h 316795"/>
                  <a:gd name="connsiteX18" fmla="*/ 756086 w 832973"/>
                  <a:gd name="connsiteY18" fmla="*/ 40967 h 316795"/>
                  <a:gd name="connsiteX19" fmla="*/ 756011 w 832973"/>
                  <a:gd name="connsiteY19" fmla="*/ 41248 h 316795"/>
                  <a:gd name="connsiteX20" fmla="*/ 802687 w 832973"/>
                  <a:gd name="connsiteY20" fmla="*/ 155518 h 316795"/>
                  <a:gd name="connsiteX21" fmla="*/ 832973 w 832973"/>
                  <a:gd name="connsiteY21" fmla="*/ 316795 h 316795"/>
                  <a:gd name="connsiteX22" fmla="*/ 731916 w 832973"/>
                  <a:gd name="connsiteY22" fmla="*/ 316795 h 316795"/>
                  <a:gd name="connsiteX23" fmla="*/ 628934 w 832973"/>
                  <a:gd name="connsiteY23" fmla="*/ 316795 h 316795"/>
                  <a:gd name="connsiteX24" fmla="*/ 628219 w 832973"/>
                  <a:gd name="connsiteY24" fmla="*/ 316795 h 316795"/>
                  <a:gd name="connsiteX25" fmla="*/ 460645 w 832973"/>
                  <a:gd name="connsiteY25" fmla="*/ 316795 h 316795"/>
                  <a:gd name="connsiteX26" fmla="*/ 459930 w 832973"/>
                  <a:gd name="connsiteY26" fmla="*/ 316795 h 316795"/>
                  <a:gd name="connsiteX27" fmla="*/ 416487 w 832973"/>
                  <a:gd name="connsiteY27" fmla="*/ 153145 h 316795"/>
                  <a:gd name="connsiteX28" fmla="*/ 373043 w 832973"/>
                  <a:gd name="connsiteY28" fmla="*/ 316795 h 316795"/>
                  <a:gd name="connsiteX29" fmla="*/ 372328 w 832973"/>
                  <a:gd name="connsiteY29" fmla="*/ 316795 h 316795"/>
                  <a:gd name="connsiteX30" fmla="*/ 204754 w 832973"/>
                  <a:gd name="connsiteY30" fmla="*/ 316795 h 316795"/>
                  <a:gd name="connsiteX31" fmla="*/ 204039 w 832973"/>
                  <a:gd name="connsiteY31" fmla="*/ 316795 h 316795"/>
                  <a:gd name="connsiteX32" fmla="*/ 101057 w 832973"/>
                  <a:gd name="connsiteY32" fmla="*/ 316795 h 316795"/>
                  <a:gd name="connsiteX33" fmla="*/ 0 w 832973"/>
                  <a:gd name="connsiteY33" fmla="*/ 316795 h 316795"/>
                  <a:gd name="connsiteX34" fmla="*/ 30286 w 832973"/>
                  <a:gd name="connsiteY34" fmla="*/ 155518 h 316795"/>
                  <a:gd name="connsiteX35" fmla="*/ 76963 w 832973"/>
                  <a:gd name="connsiteY35" fmla="*/ 41248 h 316795"/>
                  <a:gd name="connsiteX36" fmla="*/ 76887 w 832973"/>
                  <a:gd name="connsiteY36" fmla="*/ 40967 h 316795"/>
                  <a:gd name="connsiteX37" fmla="*/ 105182 w 832973"/>
                  <a:gd name="connsiteY37" fmla="*/ 28520 h 316795"/>
                  <a:gd name="connsiteX38" fmla="*/ 288103 w 832973"/>
                  <a:gd name="connsiteY38" fmla="*/ 0 h 31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32973" h="316795">
                    <a:moveTo>
                      <a:pt x="288103" y="0"/>
                    </a:moveTo>
                    <a:cubicBezTo>
                      <a:pt x="288100" y="38"/>
                      <a:pt x="288097" y="75"/>
                      <a:pt x="288094" y="113"/>
                    </a:cubicBezTo>
                    <a:lnTo>
                      <a:pt x="288818" y="0"/>
                    </a:lnTo>
                    <a:lnTo>
                      <a:pt x="285889" y="36124"/>
                    </a:lnTo>
                    <a:lnTo>
                      <a:pt x="388119" y="123209"/>
                    </a:lnTo>
                    <a:lnTo>
                      <a:pt x="390064" y="109036"/>
                    </a:lnTo>
                    <a:lnTo>
                      <a:pt x="390648" y="109994"/>
                    </a:lnTo>
                    <a:cubicBezTo>
                      <a:pt x="390692" y="109675"/>
                      <a:pt x="390735" y="109355"/>
                      <a:pt x="390779" y="109036"/>
                    </a:cubicBezTo>
                    <a:lnTo>
                      <a:pt x="416487" y="151211"/>
                    </a:lnTo>
                    <a:lnTo>
                      <a:pt x="442194" y="109036"/>
                    </a:lnTo>
                    <a:lnTo>
                      <a:pt x="442326" y="109994"/>
                    </a:lnTo>
                    <a:lnTo>
                      <a:pt x="442909" y="109036"/>
                    </a:lnTo>
                    <a:lnTo>
                      <a:pt x="444854" y="123209"/>
                    </a:lnTo>
                    <a:lnTo>
                      <a:pt x="547084" y="36124"/>
                    </a:lnTo>
                    <a:lnTo>
                      <a:pt x="544155" y="0"/>
                    </a:lnTo>
                    <a:lnTo>
                      <a:pt x="544879" y="113"/>
                    </a:lnTo>
                    <a:cubicBezTo>
                      <a:pt x="544876" y="75"/>
                      <a:pt x="544873" y="38"/>
                      <a:pt x="544870" y="0"/>
                    </a:cubicBezTo>
                    <a:lnTo>
                      <a:pt x="727791" y="28520"/>
                    </a:lnTo>
                    <a:lnTo>
                      <a:pt x="756086" y="40967"/>
                    </a:lnTo>
                    <a:cubicBezTo>
                      <a:pt x="756061" y="41061"/>
                      <a:pt x="756036" y="41154"/>
                      <a:pt x="756011" y="41248"/>
                    </a:cubicBezTo>
                    <a:cubicBezTo>
                      <a:pt x="788015" y="60586"/>
                      <a:pt x="792902" y="101660"/>
                      <a:pt x="802687" y="155518"/>
                    </a:cubicBezTo>
                    <a:cubicBezTo>
                      <a:pt x="806261" y="186545"/>
                      <a:pt x="821375" y="258559"/>
                      <a:pt x="832973" y="316795"/>
                    </a:cubicBezTo>
                    <a:lnTo>
                      <a:pt x="731916" y="316795"/>
                    </a:lnTo>
                    <a:lnTo>
                      <a:pt x="628934" y="316795"/>
                    </a:lnTo>
                    <a:lnTo>
                      <a:pt x="628219" y="316795"/>
                    </a:lnTo>
                    <a:lnTo>
                      <a:pt x="460645" y="316795"/>
                    </a:lnTo>
                    <a:lnTo>
                      <a:pt x="459930" y="316795"/>
                    </a:lnTo>
                    <a:lnTo>
                      <a:pt x="416487" y="153145"/>
                    </a:lnTo>
                    <a:lnTo>
                      <a:pt x="373043" y="316795"/>
                    </a:lnTo>
                    <a:lnTo>
                      <a:pt x="372328" y="316795"/>
                    </a:lnTo>
                    <a:lnTo>
                      <a:pt x="204754" y="316795"/>
                    </a:lnTo>
                    <a:lnTo>
                      <a:pt x="204039" y="316795"/>
                    </a:lnTo>
                    <a:lnTo>
                      <a:pt x="101057" y="316795"/>
                    </a:lnTo>
                    <a:lnTo>
                      <a:pt x="0" y="316795"/>
                    </a:lnTo>
                    <a:cubicBezTo>
                      <a:pt x="11598" y="258559"/>
                      <a:pt x="26712" y="186545"/>
                      <a:pt x="30286" y="155518"/>
                    </a:cubicBezTo>
                    <a:cubicBezTo>
                      <a:pt x="40071" y="101660"/>
                      <a:pt x="44958" y="60586"/>
                      <a:pt x="76963" y="41248"/>
                    </a:cubicBezTo>
                    <a:cubicBezTo>
                      <a:pt x="76938" y="41154"/>
                      <a:pt x="76912" y="41061"/>
                      <a:pt x="76887" y="40967"/>
                    </a:cubicBezTo>
                    <a:lnTo>
                      <a:pt x="105182" y="28520"/>
                    </a:lnTo>
                    <a:lnTo>
                      <a:pt x="288103" y="0"/>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11" name="Rounded Rectangular Callout 5"/>
            <p:cNvSpPr/>
            <p:nvPr/>
          </p:nvSpPr>
          <p:spPr bwMode="gray">
            <a:xfrm>
              <a:off x="1100769" y="2035924"/>
              <a:ext cx="3933954" cy="600509"/>
            </a:xfrm>
            <a:prstGeom prst="wedgeRoundRectCallout">
              <a:avLst>
                <a:gd name="adj1" fmla="val -57823"/>
                <a:gd name="adj2" fmla="val 33377"/>
                <a:gd name="adj3" fmla="val 16667"/>
              </a:avLst>
            </a:prstGeom>
            <a:solidFill>
              <a:srgbClr val="C00000"/>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079"/>
                </a:spcBef>
                <a:buClr>
                  <a:schemeClr val="tx2"/>
                </a:buClr>
                <a:buSzPct val="70000"/>
              </a:pPr>
              <a:r>
                <a:rPr lang="en-US" sz="1600" dirty="0">
                  <a:solidFill>
                    <a:schemeClr val="bg1"/>
                  </a:solidFill>
                  <a:latin typeface="ABBvoice" panose="020D0603020503020204" pitchFamily="34" charset="0"/>
                  <a:ea typeface="ABBvoice" panose="020D0603020503020204" pitchFamily="34" charset="0"/>
                  <a:cs typeface="ABBvoice" panose="020D0603020503020204" pitchFamily="34" charset="0"/>
                </a:rPr>
                <a:t>Our analyzer is not working. Can you please help us?</a:t>
              </a:r>
            </a:p>
          </p:txBody>
        </p:sp>
      </p:grpSp>
      <p:grpSp>
        <p:nvGrpSpPr>
          <p:cNvPr id="8" name="Group 7">
            <a:extLst>
              <a:ext uri="{FF2B5EF4-FFF2-40B4-BE49-F238E27FC236}">
                <a16:creationId xmlns:a16="http://schemas.microsoft.com/office/drawing/2014/main" id="{D0095030-FAD5-4F65-ADFE-ED2E32EBFDED}"/>
              </a:ext>
            </a:extLst>
          </p:cNvPr>
          <p:cNvGrpSpPr/>
          <p:nvPr/>
        </p:nvGrpSpPr>
        <p:grpSpPr bwMode="gray">
          <a:xfrm>
            <a:off x="356020" y="3440660"/>
            <a:ext cx="4682642" cy="923720"/>
            <a:chOff x="356020" y="3440660"/>
            <a:chExt cx="4682642" cy="923720"/>
          </a:xfrm>
        </p:grpSpPr>
        <p:grpSp>
          <p:nvGrpSpPr>
            <p:cNvPr id="53" name="Group 52">
              <a:extLst>
                <a:ext uri="{FF2B5EF4-FFF2-40B4-BE49-F238E27FC236}">
                  <a16:creationId xmlns:a16="http://schemas.microsoft.com/office/drawing/2014/main" id="{93F63A7C-F14A-4D79-AE1E-E98EF9585296}"/>
                </a:ext>
              </a:extLst>
            </p:cNvPr>
            <p:cNvGrpSpPr>
              <a:grpSpLocks noChangeAspect="1"/>
            </p:cNvGrpSpPr>
            <p:nvPr/>
          </p:nvGrpSpPr>
          <p:grpSpPr bwMode="gray">
            <a:xfrm>
              <a:off x="356020" y="3562129"/>
              <a:ext cx="723107" cy="802251"/>
              <a:chOff x="-4806656" y="1813087"/>
              <a:chExt cx="832973" cy="924142"/>
            </a:xfrm>
          </p:grpSpPr>
          <p:grpSp>
            <p:nvGrpSpPr>
              <p:cNvPr id="54" name="Group 53">
                <a:extLst>
                  <a:ext uri="{FF2B5EF4-FFF2-40B4-BE49-F238E27FC236}">
                    <a16:creationId xmlns:a16="http://schemas.microsoft.com/office/drawing/2014/main" id="{A1DF5DE8-8EBE-48AE-BF08-921F6CE9D15C}"/>
                  </a:ext>
                </a:extLst>
              </p:cNvPr>
              <p:cNvGrpSpPr/>
              <p:nvPr/>
            </p:nvGrpSpPr>
            <p:grpSpPr bwMode="gray">
              <a:xfrm>
                <a:off x="-4595722" y="1813087"/>
                <a:ext cx="411802" cy="573973"/>
                <a:chOff x="-5725430" y="1848863"/>
                <a:chExt cx="411802" cy="573973"/>
              </a:xfrm>
            </p:grpSpPr>
            <p:sp>
              <p:nvSpPr>
                <p:cNvPr id="61" name="Rounded Rectangle 25">
                  <a:extLst>
                    <a:ext uri="{FF2B5EF4-FFF2-40B4-BE49-F238E27FC236}">
                      <a16:creationId xmlns:a16="http://schemas.microsoft.com/office/drawing/2014/main" id="{51B13104-29D2-4F48-9217-FBFB96C7D537}"/>
                    </a:ext>
                  </a:extLst>
                </p:cNvPr>
                <p:cNvSpPr/>
                <p:nvPr/>
              </p:nvSpPr>
              <p:spPr bwMode="gray">
                <a:xfrm rot="21372172" flipH="1">
                  <a:off x="-5725430" y="1946385"/>
                  <a:ext cx="410156" cy="476451"/>
                </a:xfrm>
                <a:custGeom>
                  <a:avLst/>
                  <a:gdLst/>
                  <a:ahLst/>
                  <a:cxnLst/>
                  <a:rect l="l" t="t" r="r" b="b"/>
                  <a:pathLst>
                    <a:path w="416839" h="476451">
                      <a:moveTo>
                        <a:pt x="281390" y="0"/>
                      </a:moveTo>
                      <a:lnTo>
                        <a:pt x="257310" y="11144"/>
                      </a:lnTo>
                      <a:lnTo>
                        <a:pt x="170756" y="30253"/>
                      </a:lnTo>
                      <a:cubicBezTo>
                        <a:pt x="139095" y="37445"/>
                        <a:pt x="90519" y="39079"/>
                        <a:pt x="67346" y="54299"/>
                      </a:cubicBezTo>
                      <a:cubicBezTo>
                        <a:pt x="44173" y="69519"/>
                        <a:pt x="36456" y="97078"/>
                        <a:pt x="31718" y="121576"/>
                      </a:cubicBezTo>
                      <a:lnTo>
                        <a:pt x="29540" y="203816"/>
                      </a:lnTo>
                      <a:lnTo>
                        <a:pt x="22055" y="204312"/>
                      </a:lnTo>
                      <a:lnTo>
                        <a:pt x="21829" y="206510"/>
                      </a:lnTo>
                      <a:cubicBezTo>
                        <a:pt x="8019" y="208397"/>
                        <a:pt x="-1621" y="221140"/>
                        <a:pt x="226" y="234999"/>
                      </a:cubicBezTo>
                      <a:lnTo>
                        <a:pt x="10849" y="314677"/>
                      </a:lnTo>
                      <a:cubicBezTo>
                        <a:pt x="12708" y="328618"/>
                        <a:pt x="25489" y="338424"/>
                        <a:pt x="39419" y="336580"/>
                      </a:cubicBezTo>
                      <a:cubicBezTo>
                        <a:pt x="68995" y="422891"/>
                        <a:pt x="140500" y="481381"/>
                        <a:pt x="219715" y="476124"/>
                      </a:cubicBezTo>
                      <a:lnTo>
                        <a:pt x="231142" y="475367"/>
                      </a:lnTo>
                      <a:cubicBezTo>
                        <a:pt x="310357" y="470109"/>
                        <a:pt x="373505" y="402682"/>
                        <a:pt x="391415" y="313219"/>
                      </a:cubicBezTo>
                      <a:cubicBezTo>
                        <a:pt x="405466" y="313206"/>
                        <a:pt x="416839" y="301797"/>
                        <a:pt x="416839" y="287733"/>
                      </a:cubicBezTo>
                      <a:lnTo>
                        <a:pt x="416839" y="207350"/>
                      </a:lnTo>
                      <a:cubicBezTo>
                        <a:pt x="416839" y="193368"/>
                        <a:pt x="405599" y="182011"/>
                        <a:pt x="391661" y="181965"/>
                      </a:cubicBezTo>
                      <a:lnTo>
                        <a:pt x="391572" y="181593"/>
                      </a:lnTo>
                      <a:cubicBezTo>
                        <a:pt x="390777" y="182624"/>
                        <a:pt x="389751" y="182734"/>
                        <a:pt x="388290" y="181378"/>
                      </a:cubicBezTo>
                      <a:lnTo>
                        <a:pt x="382586" y="172748"/>
                      </a:lnTo>
                      <a:cubicBezTo>
                        <a:pt x="372772" y="154308"/>
                        <a:pt x="358304" y="84946"/>
                        <a:pt x="346379" y="58690"/>
                      </a:cubicBezTo>
                      <a:cubicBezTo>
                        <a:pt x="334455" y="32434"/>
                        <a:pt x="321869" y="24996"/>
                        <a:pt x="311038" y="15215"/>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62" name="Freeform 33">
                  <a:extLst>
                    <a:ext uri="{FF2B5EF4-FFF2-40B4-BE49-F238E27FC236}">
                      <a16:creationId xmlns:a16="http://schemas.microsoft.com/office/drawing/2014/main" id="{A29E6395-1C69-4ECE-A43B-137ABD766BEE}"/>
                    </a:ext>
                  </a:extLst>
                </p:cNvPr>
                <p:cNvSpPr/>
                <p:nvPr/>
              </p:nvSpPr>
              <p:spPr bwMode="gray">
                <a:xfrm>
                  <a:off x="-5723882" y="1848863"/>
                  <a:ext cx="410254" cy="292071"/>
                </a:xfrm>
                <a:custGeom>
                  <a:avLst/>
                  <a:gdLst>
                    <a:gd name="connsiteX0" fmla="*/ 1905 w 405765"/>
                    <a:gd name="connsiteY0" fmla="*/ 255270 h 264795"/>
                    <a:gd name="connsiteX1" fmla="*/ 0 w 405765"/>
                    <a:gd name="connsiteY1" fmla="*/ 169545 h 264795"/>
                    <a:gd name="connsiteX2" fmla="*/ 19050 w 405765"/>
                    <a:gd name="connsiteY2" fmla="*/ 78105 h 264795"/>
                    <a:gd name="connsiteX3" fmla="*/ 66675 w 405765"/>
                    <a:gd name="connsiteY3" fmla="*/ 47625 h 264795"/>
                    <a:gd name="connsiteX4" fmla="*/ 102870 w 405765"/>
                    <a:gd name="connsiteY4" fmla="*/ 49530 h 264795"/>
                    <a:gd name="connsiteX5" fmla="*/ 123825 w 405765"/>
                    <a:gd name="connsiteY5" fmla="*/ 19050 h 264795"/>
                    <a:gd name="connsiteX6" fmla="*/ 186690 w 405765"/>
                    <a:gd name="connsiteY6" fmla="*/ 0 h 264795"/>
                    <a:gd name="connsiteX7" fmla="*/ 264795 w 405765"/>
                    <a:gd name="connsiteY7" fmla="*/ 1905 h 264795"/>
                    <a:gd name="connsiteX8" fmla="*/ 361950 w 405765"/>
                    <a:gd name="connsiteY8" fmla="*/ 43815 h 264795"/>
                    <a:gd name="connsiteX9" fmla="*/ 400050 w 405765"/>
                    <a:gd name="connsiteY9" fmla="*/ 120015 h 264795"/>
                    <a:gd name="connsiteX10" fmla="*/ 405765 w 405765"/>
                    <a:gd name="connsiteY10" fmla="*/ 186690 h 264795"/>
                    <a:gd name="connsiteX11" fmla="*/ 396240 w 405765"/>
                    <a:gd name="connsiteY11" fmla="*/ 264795 h 264795"/>
                    <a:gd name="connsiteX12" fmla="*/ 371475 w 405765"/>
                    <a:gd name="connsiteY12" fmla="*/ 255270 h 264795"/>
                    <a:gd name="connsiteX13" fmla="*/ 371475 w 405765"/>
                    <a:gd name="connsiteY13" fmla="*/ 182880 h 264795"/>
                    <a:gd name="connsiteX14" fmla="*/ 333375 w 405765"/>
                    <a:gd name="connsiteY14" fmla="*/ 110490 h 264795"/>
                    <a:gd name="connsiteX15" fmla="*/ 226695 w 405765"/>
                    <a:gd name="connsiteY15" fmla="*/ 93345 h 264795"/>
                    <a:gd name="connsiteX16" fmla="*/ 139065 w 405765"/>
                    <a:gd name="connsiteY16" fmla="*/ 87630 h 264795"/>
                    <a:gd name="connsiteX17" fmla="*/ 114300 w 405765"/>
                    <a:gd name="connsiteY17" fmla="*/ 78105 h 264795"/>
                    <a:gd name="connsiteX18" fmla="*/ 95250 w 405765"/>
                    <a:gd name="connsiteY18" fmla="*/ 104775 h 264795"/>
                    <a:gd name="connsiteX19" fmla="*/ 53340 w 405765"/>
                    <a:gd name="connsiteY19" fmla="*/ 140970 h 264795"/>
                    <a:gd name="connsiteX20" fmla="*/ 1905 w 405765"/>
                    <a:gd name="connsiteY20" fmla="*/ 255270 h 264795"/>
                    <a:gd name="connsiteX0" fmla="*/ 5395 w 409255"/>
                    <a:gd name="connsiteY0" fmla="*/ 255270 h 264795"/>
                    <a:gd name="connsiteX1" fmla="*/ 3490 w 409255"/>
                    <a:gd name="connsiteY1" fmla="*/ 169545 h 264795"/>
                    <a:gd name="connsiteX2" fmla="*/ 22540 w 409255"/>
                    <a:gd name="connsiteY2" fmla="*/ 78105 h 264795"/>
                    <a:gd name="connsiteX3" fmla="*/ 70165 w 409255"/>
                    <a:gd name="connsiteY3" fmla="*/ 47625 h 264795"/>
                    <a:gd name="connsiteX4" fmla="*/ 106360 w 409255"/>
                    <a:gd name="connsiteY4" fmla="*/ 49530 h 264795"/>
                    <a:gd name="connsiteX5" fmla="*/ 127315 w 409255"/>
                    <a:gd name="connsiteY5" fmla="*/ 19050 h 264795"/>
                    <a:gd name="connsiteX6" fmla="*/ 190180 w 409255"/>
                    <a:gd name="connsiteY6" fmla="*/ 0 h 264795"/>
                    <a:gd name="connsiteX7" fmla="*/ 268285 w 409255"/>
                    <a:gd name="connsiteY7" fmla="*/ 1905 h 264795"/>
                    <a:gd name="connsiteX8" fmla="*/ 365440 w 409255"/>
                    <a:gd name="connsiteY8" fmla="*/ 43815 h 264795"/>
                    <a:gd name="connsiteX9" fmla="*/ 403540 w 409255"/>
                    <a:gd name="connsiteY9" fmla="*/ 120015 h 264795"/>
                    <a:gd name="connsiteX10" fmla="*/ 409255 w 409255"/>
                    <a:gd name="connsiteY10" fmla="*/ 186690 h 264795"/>
                    <a:gd name="connsiteX11" fmla="*/ 399730 w 409255"/>
                    <a:gd name="connsiteY11" fmla="*/ 264795 h 264795"/>
                    <a:gd name="connsiteX12" fmla="*/ 374965 w 409255"/>
                    <a:gd name="connsiteY12" fmla="*/ 255270 h 264795"/>
                    <a:gd name="connsiteX13" fmla="*/ 374965 w 409255"/>
                    <a:gd name="connsiteY13" fmla="*/ 182880 h 264795"/>
                    <a:gd name="connsiteX14" fmla="*/ 336865 w 409255"/>
                    <a:gd name="connsiteY14" fmla="*/ 110490 h 264795"/>
                    <a:gd name="connsiteX15" fmla="*/ 230185 w 409255"/>
                    <a:gd name="connsiteY15" fmla="*/ 93345 h 264795"/>
                    <a:gd name="connsiteX16" fmla="*/ 142555 w 409255"/>
                    <a:gd name="connsiteY16" fmla="*/ 87630 h 264795"/>
                    <a:gd name="connsiteX17" fmla="*/ 117790 w 409255"/>
                    <a:gd name="connsiteY17" fmla="*/ 78105 h 264795"/>
                    <a:gd name="connsiteX18" fmla="*/ 98740 w 409255"/>
                    <a:gd name="connsiteY18" fmla="*/ 104775 h 264795"/>
                    <a:gd name="connsiteX19" fmla="*/ 56830 w 409255"/>
                    <a:gd name="connsiteY19" fmla="*/ 140970 h 264795"/>
                    <a:gd name="connsiteX20" fmla="*/ 5395 w 409255"/>
                    <a:gd name="connsiteY20" fmla="*/ 255270 h 264795"/>
                    <a:gd name="connsiteX0" fmla="*/ 5395 w 409255"/>
                    <a:gd name="connsiteY0" fmla="*/ 255270 h 264795"/>
                    <a:gd name="connsiteX1" fmla="*/ 3490 w 409255"/>
                    <a:gd name="connsiteY1" fmla="*/ 169545 h 264795"/>
                    <a:gd name="connsiteX2" fmla="*/ 22540 w 409255"/>
                    <a:gd name="connsiteY2" fmla="*/ 78105 h 264795"/>
                    <a:gd name="connsiteX3" fmla="*/ 70165 w 409255"/>
                    <a:gd name="connsiteY3" fmla="*/ 47625 h 264795"/>
                    <a:gd name="connsiteX4" fmla="*/ 106360 w 409255"/>
                    <a:gd name="connsiteY4" fmla="*/ 49530 h 264795"/>
                    <a:gd name="connsiteX5" fmla="*/ 127315 w 409255"/>
                    <a:gd name="connsiteY5" fmla="*/ 19050 h 264795"/>
                    <a:gd name="connsiteX6" fmla="*/ 190180 w 409255"/>
                    <a:gd name="connsiteY6" fmla="*/ 0 h 264795"/>
                    <a:gd name="connsiteX7" fmla="*/ 268285 w 409255"/>
                    <a:gd name="connsiteY7" fmla="*/ 1905 h 264795"/>
                    <a:gd name="connsiteX8" fmla="*/ 365440 w 409255"/>
                    <a:gd name="connsiteY8" fmla="*/ 43815 h 264795"/>
                    <a:gd name="connsiteX9" fmla="*/ 403540 w 409255"/>
                    <a:gd name="connsiteY9" fmla="*/ 120015 h 264795"/>
                    <a:gd name="connsiteX10" fmla="*/ 409255 w 409255"/>
                    <a:gd name="connsiteY10" fmla="*/ 186690 h 264795"/>
                    <a:gd name="connsiteX11" fmla="*/ 399730 w 409255"/>
                    <a:gd name="connsiteY11" fmla="*/ 264795 h 264795"/>
                    <a:gd name="connsiteX12" fmla="*/ 374965 w 409255"/>
                    <a:gd name="connsiteY12" fmla="*/ 255270 h 264795"/>
                    <a:gd name="connsiteX13" fmla="*/ 374965 w 409255"/>
                    <a:gd name="connsiteY13" fmla="*/ 182880 h 264795"/>
                    <a:gd name="connsiteX14" fmla="*/ 336865 w 409255"/>
                    <a:gd name="connsiteY14" fmla="*/ 110490 h 264795"/>
                    <a:gd name="connsiteX15" fmla="*/ 230185 w 409255"/>
                    <a:gd name="connsiteY15" fmla="*/ 93345 h 264795"/>
                    <a:gd name="connsiteX16" fmla="*/ 142555 w 409255"/>
                    <a:gd name="connsiteY16" fmla="*/ 87630 h 264795"/>
                    <a:gd name="connsiteX17" fmla="*/ 117790 w 409255"/>
                    <a:gd name="connsiteY17" fmla="*/ 78105 h 264795"/>
                    <a:gd name="connsiteX18" fmla="*/ 98740 w 409255"/>
                    <a:gd name="connsiteY18" fmla="*/ 104775 h 264795"/>
                    <a:gd name="connsiteX19" fmla="*/ 56830 w 409255"/>
                    <a:gd name="connsiteY19" fmla="*/ 140970 h 264795"/>
                    <a:gd name="connsiteX20" fmla="*/ 5395 w 409255"/>
                    <a:gd name="connsiteY20" fmla="*/ 255270 h 264795"/>
                    <a:gd name="connsiteX0" fmla="*/ 5395 w 409255"/>
                    <a:gd name="connsiteY0" fmla="*/ 255270 h 264795"/>
                    <a:gd name="connsiteX1" fmla="*/ 3490 w 409255"/>
                    <a:gd name="connsiteY1" fmla="*/ 169545 h 264795"/>
                    <a:gd name="connsiteX2" fmla="*/ 22540 w 409255"/>
                    <a:gd name="connsiteY2" fmla="*/ 78105 h 264795"/>
                    <a:gd name="connsiteX3" fmla="*/ 70165 w 409255"/>
                    <a:gd name="connsiteY3" fmla="*/ 47625 h 264795"/>
                    <a:gd name="connsiteX4" fmla="*/ 106360 w 409255"/>
                    <a:gd name="connsiteY4" fmla="*/ 49530 h 264795"/>
                    <a:gd name="connsiteX5" fmla="*/ 127315 w 409255"/>
                    <a:gd name="connsiteY5" fmla="*/ 19050 h 264795"/>
                    <a:gd name="connsiteX6" fmla="*/ 190180 w 409255"/>
                    <a:gd name="connsiteY6" fmla="*/ 0 h 264795"/>
                    <a:gd name="connsiteX7" fmla="*/ 268285 w 409255"/>
                    <a:gd name="connsiteY7" fmla="*/ 1905 h 264795"/>
                    <a:gd name="connsiteX8" fmla="*/ 365440 w 409255"/>
                    <a:gd name="connsiteY8" fmla="*/ 43815 h 264795"/>
                    <a:gd name="connsiteX9" fmla="*/ 403540 w 409255"/>
                    <a:gd name="connsiteY9" fmla="*/ 120015 h 264795"/>
                    <a:gd name="connsiteX10" fmla="*/ 409255 w 409255"/>
                    <a:gd name="connsiteY10" fmla="*/ 186690 h 264795"/>
                    <a:gd name="connsiteX11" fmla="*/ 399730 w 409255"/>
                    <a:gd name="connsiteY11" fmla="*/ 264795 h 264795"/>
                    <a:gd name="connsiteX12" fmla="*/ 374965 w 409255"/>
                    <a:gd name="connsiteY12" fmla="*/ 255270 h 264795"/>
                    <a:gd name="connsiteX13" fmla="*/ 374965 w 409255"/>
                    <a:gd name="connsiteY13" fmla="*/ 182880 h 264795"/>
                    <a:gd name="connsiteX14" fmla="*/ 336865 w 409255"/>
                    <a:gd name="connsiteY14" fmla="*/ 110490 h 264795"/>
                    <a:gd name="connsiteX15" fmla="*/ 230185 w 409255"/>
                    <a:gd name="connsiteY15" fmla="*/ 93345 h 264795"/>
                    <a:gd name="connsiteX16" fmla="*/ 142555 w 409255"/>
                    <a:gd name="connsiteY16" fmla="*/ 87630 h 264795"/>
                    <a:gd name="connsiteX17" fmla="*/ 117790 w 409255"/>
                    <a:gd name="connsiteY17" fmla="*/ 78105 h 264795"/>
                    <a:gd name="connsiteX18" fmla="*/ 98740 w 409255"/>
                    <a:gd name="connsiteY18" fmla="*/ 104775 h 264795"/>
                    <a:gd name="connsiteX19" fmla="*/ 56830 w 409255"/>
                    <a:gd name="connsiteY19" fmla="*/ 140970 h 264795"/>
                    <a:gd name="connsiteX20" fmla="*/ 5395 w 409255"/>
                    <a:gd name="connsiteY20" fmla="*/ 255270 h 264795"/>
                    <a:gd name="connsiteX0" fmla="*/ 5395 w 409255"/>
                    <a:gd name="connsiteY0" fmla="*/ 255270 h 264795"/>
                    <a:gd name="connsiteX1" fmla="*/ 3490 w 409255"/>
                    <a:gd name="connsiteY1" fmla="*/ 169545 h 264795"/>
                    <a:gd name="connsiteX2" fmla="*/ 22540 w 409255"/>
                    <a:gd name="connsiteY2" fmla="*/ 78105 h 264795"/>
                    <a:gd name="connsiteX3" fmla="*/ 54925 w 409255"/>
                    <a:gd name="connsiteY3" fmla="*/ 47625 h 264795"/>
                    <a:gd name="connsiteX4" fmla="*/ 106360 w 409255"/>
                    <a:gd name="connsiteY4" fmla="*/ 49530 h 264795"/>
                    <a:gd name="connsiteX5" fmla="*/ 127315 w 409255"/>
                    <a:gd name="connsiteY5" fmla="*/ 19050 h 264795"/>
                    <a:gd name="connsiteX6" fmla="*/ 190180 w 409255"/>
                    <a:gd name="connsiteY6" fmla="*/ 0 h 264795"/>
                    <a:gd name="connsiteX7" fmla="*/ 268285 w 409255"/>
                    <a:gd name="connsiteY7" fmla="*/ 1905 h 264795"/>
                    <a:gd name="connsiteX8" fmla="*/ 365440 w 409255"/>
                    <a:gd name="connsiteY8" fmla="*/ 43815 h 264795"/>
                    <a:gd name="connsiteX9" fmla="*/ 403540 w 409255"/>
                    <a:gd name="connsiteY9" fmla="*/ 120015 h 264795"/>
                    <a:gd name="connsiteX10" fmla="*/ 409255 w 409255"/>
                    <a:gd name="connsiteY10" fmla="*/ 186690 h 264795"/>
                    <a:gd name="connsiteX11" fmla="*/ 399730 w 409255"/>
                    <a:gd name="connsiteY11" fmla="*/ 264795 h 264795"/>
                    <a:gd name="connsiteX12" fmla="*/ 374965 w 409255"/>
                    <a:gd name="connsiteY12" fmla="*/ 255270 h 264795"/>
                    <a:gd name="connsiteX13" fmla="*/ 374965 w 409255"/>
                    <a:gd name="connsiteY13" fmla="*/ 182880 h 264795"/>
                    <a:gd name="connsiteX14" fmla="*/ 336865 w 409255"/>
                    <a:gd name="connsiteY14" fmla="*/ 110490 h 264795"/>
                    <a:gd name="connsiteX15" fmla="*/ 230185 w 409255"/>
                    <a:gd name="connsiteY15" fmla="*/ 93345 h 264795"/>
                    <a:gd name="connsiteX16" fmla="*/ 142555 w 409255"/>
                    <a:gd name="connsiteY16" fmla="*/ 87630 h 264795"/>
                    <a:gd name="connsiteX17" fmla="*/ 117790 w 409255"/>
                    <a:gd name="connsiteY17" fmla="*/ 78105 h 264795"/>
                    <a:gd name="connsiteX18" fmla="*/ 98740 w 409255"/>
                    <a:gd name="connsiteY18" fmla="*/ 104775 h 264795"/>
                    <a:gd name="connsiteX19" fmla="*/ 56830 w 409255"/>
                    <a:gd name="connsiteY19" fmla="*/ 140970 h 264795"/>
                    <a:gd name="connsiteX20" fmla="*/ 5395 w 409255"/>
                    <a:gd name="connsiteY20" fmla="*/ 255270 h 264795"/>
                    <a:gd name="connsiteX0" fmla="*/ 6629 w 410489"/>
                    <a:gd name="connsiteY0" fmla="*/ 255270 h 264795"/>
                    <a:gd name="connsiteX1" fmla="*/ 4724 w 410489"/>
                    <a:gd name="connsiteY1" fmla="*/ 169545 h 264795"/>
                    <a:gd name="connsiteX2" fmla="*/ 914 w 410489"/>
                    <a:gd name="connsiteY2" fmla="*/ 167640 h 264795"/>
                    <a:gd name="connsiteX3" fmla="*/ 23774 w 410489"/>
                    <a:gd name="connsiteY3" fmla="*/ 78105 h 264795"/>
                    <a:gd name="connsiteX4" fmla="*/ 56159 w 410489"/>
                    <a:gd name="connsiteY4" fmla="*/ 47625 h 264795"/>
                    <a:gd name="connsiteX5" fmla="*/ 107594 w 410489"/>
                    <a:gd name="connsiteY5" fmla="*/ 49530 h 264795"/>
                    <a:gd name="connsiteX6" fmla="*/ 128549 w 410489"/>
                    <a:gd name="connsiteY6" fmla="*/ 19050 h 264795"/>
                    <a:gd name="connsiteX7" fmla="*/ 191414 w 410489"/>
                    <a:gd name="connsiteY7" fmla="*/ 0 h 264795"/>
                    <a:gd name="connsiteX8" fmla="*/ 269519 w 410489"/>
                    <a:gd name="connsiteY8" fmla="*/ 1905 h 264795"/>
                    <a:gd name="connsiteX9" fmla="*/ 366674 w 410489"/>
                    <a:gd name="connsiteY9" fmla="*/ 43815 h 264795"/>
                    <a:gd name="connsiteX10" fmla="*/ 404774 w 410489"/>
                    <a:gd name="connsiteY10" fmla="*/ 120015 h 264795"/>
                    <a:gd name="connsiteX11" fmla="*/ 410489 w 410489"/>
                    <a:gd name="connsiteY11" fmla="*/ 186690 h 264795"/>
                    <a:gd name="connsiteX12" fmla="*/ 400964 w 410489"/>
                    <a:gd name="connsiteY12" fmla="*/ 264795 h 264795"/>
                    <a:gd name="connsiteX13" fmla="*/ 376199 w 410489"/>
                    <a:gd name="connsiteY13" fmla="*/ 255270 h 264795"/>
                    <a:gd name="connsiteX14" fmla="*/ 376199 w 410489"/>
                    <a:gd name="connsiteY14" fmla="*/ 182880 h 264795"/>
                    <a:gd name="connsiteX15" fmla="*/ 338099 w 410489"/>
                    <a:gd name="connsiteY15" fmla="*/ 110490 h 264795"/>
                    <a:gd name="connsiteX16" fmla="*/ 231419 w 410489"/>
                    <a:gd name="connsiteY16" fmla="*/ 93345 h 264795"/>
                    <a:gd name="connsiteX17" fmla="*/ 143789 w 410489"/>
                    <a:gd name="connsiteY17" fmla="*/ 87630 h 264795"/>
                    <a:gd name="connsiteX18" fmla="*/ 119024 w 410489"/>
                    <a:gd name="connsiteY18" fmla="*/ 78105 h 264795"/>
                    <a:gd name="connsiteX19" fmla="*/ 99974 w 410489"/>
                    <a:gd name="connsiteY19" fmla="*/ 104775 h 264795"/>
                    <a:gd name="connsiteX20" fmla="*/ 58064 w 410489"/>
                    <a:gd name="connsiteY20" fmla="*/ 140970 h 264795"/>
                    <a:gd name="connsiteX21" fmla="*/ 6629 w 410489"/>
                    <a:gd name="connsiteY21" fmla="*/ 255270 h 264795"/>
                    <a:gd name="connsiteX0" fmla="*/ 6629 w 410489"/>
                    <a:gd name="connsiteY0" fmla="*/ 255270 h 264795"/>
                    <a:gd name="connsiteX1" fmla="*/ 4724 w 410489"/>
                    <a:gd name="connsiteY1" fmla="*/ 169545 h 264795"/>
                    <a:gd name="connsiteX2" fmla="*/ 914 w 410489"/>
                    <a:gd name="connsiteY2" fmla="*/ 167640 h 264795"/>
                    <a:gd name="connsiteX3" fmla="*/ 23774 w 410489"/>
                    <a:gd name="connsiteY3" fmla="*/ 78105 h 264795"/>
                    <a:gd name="connsiteX4" fmla="*/ 56159 w 410489"/>
                    <a:gd name="connsiteY4" fmla="*/ 47625 h 264795"/>
                    <a:gd name="connsiteX5" fmla="*/ 107594 w 410489"/>
                    <a:gd name="connsiteY5" fmla="*/ 40005 h 264795"/>
                    <a:gd name="connsiteX6" fmla="*/ 128549 w 410489"/>
                    <a:gd name="connsiteY6" fmla="*/ 19050 h 264795"/>
                    <a:gd name="connsiteX7" fmla="*/ 191414 w 410489"/>
                    <a:gd name="connsiteY7" fmla="*/ 0 h 264795"/>
                    <a:gd name="connsiteX8" fmla="*/ 269519 w 410489"/>
                    <a:gd name="connsiteY8" fmla="*/ 1905 h 264795"/>
                    <a:gd name="connsiteX9" fmla="*/ 366674 w 410489"/>
                    <a:gd name="connsiteY9" fmla="*/ 43815 h 264795"/>
                    <a:gd name="connsiteX10" fmla="*/ 404774 w 410489"/>
                    <a:gd name="connsiteY10" fmla="*/ 120015 h 264795"/>
                    <a:gd name="connsiteX11" fmla="*/ 410489 w 410489"/>
                    <a:gd name="connsiteY11" fmla="*/ 186690 h 264795"/>
                    <a:gd name="connsiteX12" fmla="*/ 400964 w 410489"/>
                    <a:gd name="connsiteY12" fmla="*/ 264795 h 264795"/>
                    <a:gd name="connsiteX13" fmla="*/ 376199 w 410489"/>
                    <a:gd name="connsiteY13" fmla="*/ 255270 h 264795"/>
                    <a:gd name="connsiteX14" fmla="*/ 376199 w 410489"/>
                    <a:gd name="connsiteY14" fmla="*/ 182880 h 264795"/>
                    <a:gd name="connsiteX15" fmla="*/ 338099 w 410489"/>
                    <a:gd name="connsiteY15" fmla="*/ 110490 h 264795"/>
                    <a:gd name="connsiteX16" fmla="*/ 231419 w 410489"/>
                    <a:gd name="connsiteY16" fmla="*/ 93345 h 264795"/>
                    <a:gd name="connsiteX17" fmla="*/ 143789 w 410489"/>
                    <a:gd name="connsiteY17" fmla="*/ 87630 h 264795"/>
                    <a:gd name="connsiteX18" fmla="*/ 119024 w 410489"/>
                    <a:gd name="connsiteY18" fmla="*/ 78105 h 264795"/>
                    <a:gd name="connsiteX19" fmla="*/ 99974 w 410489"/>
                    <a:gd name="connsiteY19" fmla="*/ 104775 h 264795"/>
                    <a:gd name="connsiteX20" fmla="*/ 58064 w 410489"/>
                    <a:gd name="connsiteY20" fmla="*/ 140970 h 264795"/>
                    <a:gd name="connsiteX21" fmla="*/ 6629 w 410489"/>
                    <a:gd name="connsiteY21" fmla="*/ 255270 h 264795"/>
                    <a:gd name="connsiteX0" fmla="*/ 6629 w 410489"/>
                    <a:gd name="connsiteY0" fmla="*/ 255270 h 264795"/>
                    <a:gd name="connsiteX1" fmla="*/ 4724 w 410489"/>
                    <a:gd name="connsiteY1" fmla="*/ 169545 h 264795"/>
                    <a:gd name="connsiteX2" fmla="*/ 914 w 410489"/>
                    <a:gd name="connsiteY2" fmla="*/ 167640 h 264795"/>
                    <a:gd name="connsiteX3" fmla="*/ 23774 w 410489"/>
                    <a:gd name="connsiteY3" fmla="*/ 78105 h 264795"/>
                    <a:gd name="connsiteX4" fmla="*/ 56159 w 410489"/>
                    <a:gd name="connsiteY4" fmla="*/ 47625 h 264795"/>
                    <a:gd name="connsiteX5" fmla="*/ 107594 w 410489"/>
                    <a:gd name="connsiteY5" fmla="*/ 40005 h 264795"/>
                    <a:gd name="connsiteX6" fmla="*/ 128549 w 410489"/>
                    <a:gd name="connsiteY6" fmla="*/ 19050 h 264795"/>
                    <a:gd name="connsiteX7" fmla="*/ 191414 w 410489"/>
                    <a:gd name="connsiteY7" fmla="*/ 0 h 264795"/>
                    <a:gd name="connsiteX8" fmla="*/ 269519 w 410489"/>
                    <a:gd name="connsiteY8" fmla="*/ 1905 h 264795"/>
                    <a:gd name="connsiteX9" fmla="*/ 366674 w 410489"/>
                    <a:gd name="connsiteY9" fmla="*/ 43815 h 264795"/>
                    <a:gd name="connsiteX10" fmla="*/ 404774 w 410489"/>
                    <a:gd name="connsiteY10" fmla="*/ 120015 h 264795"/>
                    <a:gd name="connsiteX11" fmla="*/ 410489 w 410489"/>
                    <a:gd name="connsiteY11" fmla="*/ 186690 h 264795"/>
                    <a:gd name="connsiteX12" fmla="*/ 400964 w 410489"/>
                    <a:gd name="connsiteY12" fmla="*/ 264795 h 264795"/>
                    <a:gd name="connsiteX13" fmla="*/ 376199 w 410489"/>
                    <a:gd name="connsiteY13" fmla="*/ 255270 h 264795"/>
                    <a:gd name="connsiteX14" fmla="*/ 376199 w 410489"/>
                    <a:gd name="connsiteY14" fmla="*/ 182880 h 264795"/>
                    <a:gd name="connsiteX15" fmla="*/ 338099 w 410489"/>
                    <a:gd name="connsiteY15" fmla="*/ 110490 h 264795"/>
                    <a:gd name="connsiteX16" fmla="*/ 231419 w 410489"/>
                    <a:gd name="connsiteY16" fmla="*/ 93345 h 264795"/>
                    <a:gd name="connsiteX17" fmla="*/ 143789 w 410489"/>
                    <a:gd name="connsiteY17" fmla="*/ 87630 h 264795"/>
                    <a:gd name="connsiteX18" fmla="*/ 119024 w 410489"/>
                    <a:gd name="connsiteY18" fmla="*/ 78105 h 264795"/>
                    <a:gd name="connsiteX19" fmla="*/ 99974 w 410489"/>
                    <a:gd name="connsiteY19" fmla="*/ 104775 h 264795"/>
                    <a:gd name="connsiteX20" fmla="*/ 58064 w 410489"/>
                    <a:gd name="connsiteY20" fmla="*/ 140970 h 264795"/>
                    <a:gd name="connsiteX21" fmla="*/ 6629 w 410489"/>
                    <a:gd name="connsiteY21" fmla="*/ 255270 h 264795"/>
                    <a:gd name="connsiteX0" fmla="*/ 6629 w 410489"/>
                    <a:gd name="connsiteY0" fmla="*/ 255288 h 264813"/>
                    <a:gd name="connsiteX1" fmla="*/ 4724 w 410489"/>
                    <a:gd name="connsiteY1" fmla="*/ 169563 h 264813"/>
                    <a:gd name="connsiteX2" fmla="*/ 914 w 410489"/>
                    <a:gd name="connsiteY2" fmla="*/ 167658 h 264813"/>
                    <a:gd name="connsiteX3" fmla="*/ 23774 w 410489"/>
                    <a:gd name="connsiteY3" fmla="*/ 78123 h 264813"/>
                    <a:gd name="connsiteX4" fmla="*/ 56159 w 410489"/>
                    <a:gd name="connsiteY4" fmla="*/ 47643 h 264813"/>
                    <a:gd name="connsiteX5" fmla="*/ 107594 w 410489"/>
                    <a:gd name="connsiteY5" fmla="*/ 40023 h 264813"/>
                    <a:gd name="connsiteX6" fmla="*/ 128549 w 410489"/>
                    <a:gd name="connsiteY6" fmla="*/ 19068 h 264813"/>
                    <a:gd name="connsiteX7" fmla="*/ 191414 w 410489"/>
                    <a:gd name="connsiteY7" fmla="*/ 18 h 264813"/>
                    <a:gd name="connsiteX8" fmla="*/ 269519 w 410489"/>
                    <a:gd name="connsiteY8" fmla="*/ 1923 h 264813"/>
                    <a:gd name="connsiteX9" fmla="*/ 366674 w 410489"/>
                    <a:gd name="connsiteY9" fmla="*/ 43833 h 264813"/>
                    <a:gd name="connsiteX10" fmla="*/ 404774 w 410489"/>
                    <a:gd name="connsiteY10" fmla="*/ 120033 h 264813"/>
                    <a:gd name="connsiteX11" fmla="*/ 410489 w 410489"/>
                    <a:gd name="connsiteY11" fmla="*/ 186708 h 264813"/>
                    <a:gd name="connsiteX12" fmla="*/ 400964 w 410489"/>
                    <a:gd name="connsiteY12" fmla="*/ 264813 h 264813"/>
                    <a:gd name="connsiteX13" fmla="*/ 376199 w 410489"/>
                    <a:gd name="connsiteY13" fmla="*/ 255288 h 264813"/>
                    <a:gd name="connsiteX14" fmla="*/ 376199 w 410489"/>
                    <a:gd name="connsiteY14" fmla="*/ 182898 h 264813"/>
                    <a:gd name="connsiteX15" fmla="*/ 338099 w 410489"/>
                    <a:gd name="connsiteY15" fmla="*/ 110508 h 264813"/>
                    <a:gd name="connsiteX16" fmla="*/ 231419 w 410489"/>
                    <a:gd name="connsiteY16" fmla="*/ 93363 h 264813"/>
                    <a:gd name="connsiteX17" fmla="*/ 143789 w 410489"/>
                    <a:gd name="connsiteY17" fmla="*/ 87648 h 264813"/>
                    <a:gd name="connsiteX18" fmla="*/ 119024 w 410489"/>
                    <a:gd name="connsiteY18" fmla="*/ 78123 h 264813"/>
                    <a:gd name="connsiteX19" fmla="*/ 99974 w 410489"/>
                    <a:gd name="connsiteY19" fmla="*/ 104793 h 264813"/>
                    <a:gd name="connsiteX20" fmla="*/ 58064 w 410489"/>
                    <a:gd name="connsiteY20" fmla="*/ 140988 h 264813"/>
                    <a:gd name="connsiteX21" fmla="*/ 6629 w 410489"/>
                    <a:gd name="connsiteY21" fmla="*/ 255288 h 264813"/>
                    <a:gd name="connsiteX0" fmla="*/ 6629 w 410489"/>
                    <a:gd name="connsiteY0" fmla="*/ 255288 h 264813"/>
                    <a:gd name="connsiteX1" fmla="*/ 4724 w 410489"/>
                    <a:gd name="connsiteY1" fmla="*/ 169563 h 264813"/>
                    <a:gd name="connsiteX2" fmla="*/ 914 w 410489"/>
                    <a:gd name="connsiteY2" fmla="*/ 167658 h 264813"/>
                    <a:gd name="connsiteX3" fmla="*/ 23774 w 410489"/>
                    <a:gd name="connsiteY3" fmla="*/ 78123 h 264813"/>
                    <a:gd name="connsiteX4" fmla="*/ 56159 w 410489"/>
                    <a:gd name="connsiteY4" fmla="*/ 47643 h 264813"/>
                    <a:gd name="connsiteX5" fmla="*/ 107594 w 410489"/>
                    <a:gd name="connsiteY5" fmla="*/ 40023 h 264813"/>
                    <a:gd name="connsiteX6" fmla="*/ 128549 w 410489"/>
                    <a:gd name="connsiteY6" fmla="*/ 19068 h 264813"/>
                    <a:gd name="connsiteX7" fmla="*/ 191414 w 410489"/>
                    <a:gd name="connsiteY7" fmla="*/ 18 h 264813"/>
                    <a:gd name="connsiteX8" fmla="*/ 269519 w 410489"/>
                    <a:gd name="connsiteY8" fmla="*/ 1923 h 264813"/>
                    <a:gd name="connsiteX9" fmla="*/ 366674 w 410489"/>
                    <a:gd name="connsiteY9" fmla="*/ 43833 h 264813"/>
                    <a:gd name="connsiteX10" fmla="*/ 404774 w 410489"/>
                    <a:gd name="connsiteY10" fmla="*/ 120033 h 264813"/>
                    <a:gd name="connsiteX11" fmla="*/ 410489 w 410489"/>
                    <a:gd name="connsiteY11" fmla="*/ 186708 h 264813"/>
                    <a:gd name="connsiteX12" fmla="*/ 400964 w 410489"/>
                    <a:gd name="connsiteY12" fmla="*/ 264813 h 264813"/>
                    <a:gd name="connsiteX13" fmla="*/ 376199 w 410489"/>
                    <a:gd name="connsiteY13" fmla="*/ 255288 h 264813"/>
                    <a:gd name="connsiteX14" fmla="*/ 376199 w 410489"/>
                    <a:gd name="connsiteY14" fmla="*/ 182898 h 264813"/>
                    <a:gd name="connsiteX15" fmla="*/ 338099 w 410489"/>
                    <a:gd name="connsiteY15" fmla="*/ 110508 h 264813"/>
                    <a:gd name="connsiteX16" fmla="*/ 231419 w 410489"/>
                    <a:gd name="connsiteY16" fmla="*/ 93363 h 264813"/>
                    <a:gd name="connsiteX17" fmla="*/ 143789 w 410489"/>
                    <a:gd name="connsiteY17" fmla="*/ 87648 h 264813"/>
                    <a:gd name="connsiteX18" fmla="*/ 119024 w 410489"/>
                    <a:gd name="connsiteY18" fmla="*/ 78123 h 264813"/>
                    <a:gd name="connsiteX19" fmla="*/ 99974 w 410489"/>
                    <a:gd name="connsiteY19" fmla="*/ 104793 h 264813"/>
                    <a:gd name="connsiteX20" fmla="*/ 58064 w 410489"/>
                    <a:gd name="connsiteY20" fmla="*/ 140988 h 264813"/>
                    <a:gd name="connsiteX21" fmla="*/ 6629 w 410489"/>
                    <a:gd name="connsiteY21" fmla="*/ 255288 h 264813"/>
                    <a:gd name="connsiteX0" fmla="*/ 6629 w 410489"/>
                    <a:gd name="connsiteY0" fmla="*/ 255288 h 264813"/>
                    <a:gd name="connsiteX1" fmla="*/ 4724 w 410489"/>
                    <a:gd name="connsiteY1" fmla="*/ 169563 h 264813"/>
                    <a:gd name="connsiteX2" fmla="*/ 914 w 410489"/>
                    <a:gd name="connsiteY2" fmla="*/ 167658 h 264813"/>
                    <a:gd name="connsiteX3" fmla="*/ 23774 w 410489"/>
                    <a:gd name="connsiteY3" fmla="*/ 78123 h 264813"/>
                    <a:gd name="connsiteX4" fmla="*/ 56159 w 410489"/>
                    <a:gd name="connsiteY4" fmla="*/ 47643 h 264813"/>
                    <a:gd name="connsiteX5" fmla="*/ 107594 w 410489"/>
                    <a:gd name="connsiteY5" fmla="*/ 40023 h 264813"/>
                    <a:gd name="connsiteX6" fmla="*/ 128549 w 410489"/>
                    <a:gd name="connsiteY6" fmla="*/ 19068 h 264813"/>
                    <a:gd name="connsiteX7" fmla="*/ 191414 w 410489"/>
                    <a:gd name="connsiteY7" fmla="*/ 18 h 264813"/>
                    <a:gd name="connsiteX8" fmla="*/ 269519 w 410489"/>
                    <a:gd name="connsiteY8" fmla="*/ 1923 h 264813"/>
                    <a:gd name="connsiteX9" fmla="*/ 366674 w 410489"/>
                    <a:gd name="connsiteY9" fmla="*/ 43833 h 264813"/>
                    <a:gd name="connsiteX10" fmla="*/ 404774 w 410489"/>
                    <a:gd name="connsiteY10" fmla="*/ 120033 h 264813"/>
                    <a:gd name="connsiteX11" fmla="*/ 410489 w 410489"/>
                    <a:gd name="connsiteY11" fmla="*/ 186708 h 264813"/>
                    <a:gd name="connsiteX12" fmla="*/ 400964 w 410489"/>
                    <a:gd name="connsiteY12" fmla="*/ 264813 h 264813"/>
                    <a:gd name="connsiteX13" fmla="*/ 376199 w 410489"/>
                    <a:gd name="connsiteY13" fmla="*/ 255288 h 264813"/>
                    <a:gd name="connsiteX14" fmla="*/ 376199 w 410489"/>
                    <a:gd name="connsiteY14" fmla="*/ 182898 h 264813"/>
                    <a:gd name="connsiteX15" fmla="*/ 338099 w 410489"/>
                    <a:gd name="connsiteY15" fmla="*/ 110508 h 264813"/>
                    <a:gd name="connsiteX16" fmla="*/ 231419 w 410489"/>
                    <a:gd name="connsiteY16" fmla="*/ 93363 h 264813"/>
                    <a:gd name="connsiteX17" fmla="*/ 143789 w 410489"/>
                    <a:gd name="connsiteY17" fmla="*/ 87648 h 264813"/>
                    <a:gd name="connsiteX18" fmla="*/ 119024 w 410489"/>
                    <a:gd name="connsiteY18" fmla="*/ 78123 h 264813"/>
                    <a:gd name="connsiteX19" fmla="*/ 99974 w 410489"/>
                    <a:gd name="connsiteY19" fmla="*/ 104793 h 264813"/>
                    <a:gd name="connsiteX20" fmla="*/ 58064 w 410489"/>
                    <a:gd name="connsiteY20" fmla="*/ 140988 h 264813"/>
                    <a:gd name="connsiteX21" fmla="*/ 6629 w 410489"/>
                    <a:gd name="connsiteY21" fmla="*/ 255288 h 264813"/>
                    <a:gd name="connsiteX0" fmla="*/ 6629 w 412053"/>
                    <a:gd name="connsiteY0" fmla="*/ 255288 h 264813"/>
                    <a:gd name="connsiteX1" fmla="*/ 4724 w 412053"/>
                    <a:gd name="connsiteY1" fmla="*/ 169563 h 264813"/>
                    <a:gd name="connsiteX2" fmla="*/ 914 w 412053"/>
                    <a:gd name="connsiteY2" fmla="*/ 167658 h 264813"/>
                    <a:gd name="connsiteX3" fmla="*/ 23774 w 412053"/>
                    <a:gd name="connsiteY3" fmla="*/ 78123 h 264813"/>
                    <a:gd name="connsiteX4" fmla="*/ 56159 w 412053"/>
                    <a:gd name="connsiteY4" fmla="*/ 47643 h 264813"/>
                    <a:gd name="connsiteX5" fmla="*/ 107594 w 412053"/>
                    <a:gd name="connsiteY5" fmla="*/ 40023 h 264813"/>
                    <a:gd name="connsiteX6" fmla="*/ 128549 w 412053"/>
                    <a:gd name="connsiteY6" fmla="*/ 19068 h 264813"/>
                    <a:gd name="connsiteX7" fmla="*/ 191414 w 412053"/>
                    <a:gd name="connsiteY7" fmla="*/ 18 h 264813"/>
                    <a:gd name="connsiteX8" fmla="*/ 269519 w 412053"/>
                    <a:gd name="connsiteY8" fmla="*/ 1923 h 264813"/>
                    <a:gd name="connsiteX9" fmla="*/ 366674 w 412053"/>
                    <a:gd name="connsiteY9" fmla="*/ 43833 h 264813"/>
                    <a:gd name="connsiteX10" fmla="*/ 404774 w 412053"/>
                    <a:gd name="connsiteY10" fmla="*/ 120033 h 264813"/>
                    <a:gd name="connsiteX11" fmla="*/ 410489 w 412053"/>
                    <a:gd name="connsiteY11" fmla="*/ 186708 h 264813"/>
                    <a:gd name="connsiteX12" fmla="*/ 400964 w 412053"/>
                    <a:gd name="connsiteY12" fmla="*/ 264813 h 264813"/>
                    <a:gd name="connsiteX13" fmla="*/ 376199 w 412053"/>
                    <a:gd name="connsiteY13" fmla="*/ 255288 h 264813"/>
                    <a:gd name="connsiteX14" fmla="*/ 376199 w 412053"/>
                    <a:gd name="connsiteY14" fmla="*/ 182898 h 264813"/>
                    <a:gd name="connsiteX15" fmla="*/ 338099 w 412053"/>
                    <a:gd name="connsiteY15" fmla="*/ 110508 h 264813"/>
                    <a:gd name="connsiteX16" fmla="*/ 231419 w 412053"/>
                    <a:gd name="connsiteY16" fmla="*/ 93363 h 264813"/>
                    <a:gd name="connsiteX17" fmla="*/ 143789 w 412053"/>
                    <a:gd name="connsiteY17" fmla="*/ 87648 h 264813"/>
                    <a:gd name="connsiteX18" fmla="*/ 119024 w 412053"/>
                    <a:gd name="connsiteY18" fmla="*/ 78123 h 264813"/>
                    <a:gd name="connsiteX19" fmla="*/ 99974 w 412053"/>
                    <a:gd name="connsiteY19" fmla="*/ 104793 h 264813"/>
                    <a:gd name="connsiteX20" fmla="*/ 58064 w 412053"/>
                    <a:gd name="connsiteY20" fmla="*/ 140988 h 264813"/>
                    <a:gd name="connsiteX21" fmla="*/ 6629 w 412053"/>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78123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8099 w 411930"/>
                    <a:gd name="connsiteY15" fmla="*/ 11050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78123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8099 w 411930"/>
                    <a:gd name="connsiteY15" fmla="*/ 11050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78123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8099 w 411930"/>
                    <a:gd name="connsiteY15" fmla="*/ 11050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78123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99078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99078 h 264813"/>
                    <a:gd name="connsiteX4" fmla="*/ 56159 w 411930"/>
                    <a:gd name="connsiteY4" fmla="*/ 5526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99078 h 264813"/>
                    <a:gd name="connsiteX4" fmla="*/ 46634 w 411930"/>
                    <a:gd name="connsiteY4" fmla="*/ 53358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14249 w 411930"/>
                    <a:gd name="connsiteY3" fmla="*/ 99078 h 264813"/>
                    <a:gd name="connsiteX4" fmla="*/ 46634 w 411930"/>
                    <a:gd name="connsiteY4" fmla="*/ 53358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9 h 264814"/>
                    <a:gd name="connsiteX1" fmla="*/ 4724 w 411930"/>
                    <a:gd name="connsiteY1" fmla="*/ 169564 h 264814"/>
                    <a:gd name="connsiteX2" fmla="*/ 914 w 411930"/>
                    <a:gd name="connsiteY2" fmla="*/ 167659 h 264814"/>
                    <a:gd name="connsiteX3" fmla="*/ 14249 w 411930"/>
                    <a:gd name="connsiteY3" fmla="*/ 99079 h 264814"/>
                    <a:gd name="connsiteX4" fmla="*/ 46634 w 411930"/>
                    <a:gd name="connsiteY4" fmla="*/ 53359 h 264814"/>
                    <a:gd name="connsiteX5" fmla="*/ 98069 w 411930"/>
                    <a:gd name="connsiteY5" fmla="*/ 41929 h 264814"/>
                    <a:gd name="connsiteX6" fmla="*/ 128549 w 411930"/>
                    <a:gd name="connsiteY6" fmla="*/ 19069 h 264814"/>
                    <a:gd name="connsiteX7" fmla="*/ 191414 w 411930"/>
                    <a:gd name="connsiteY7" fmla="*/ 19 h 264814"/>
                    <a:gd name="connsiteX8" fmla="*/ 269519 w 411930"/>
                    <a:gd name="connsiteY8" fmla="*/ 1924 h 264814"/>
                    <a:gd name="connsiteX9" fmla="*/ 366674 w 411930"/>
                    <a:gd name="connsiteY9" fmla="*/ 43834 h 264814"/>
                    <a:gd name="connsiteX10" fmla="*/ 404774 w 411930"/>
                    <a:gd name="connsiteY10" fmla="*/ 120034 h 264814"/>
                    <a:gd name="connsiteX11" fmla="*/ 410489 w 411930"/>
                    <a:gd name="connsiteY11" fmla="*/ 186709 h 264814"/>
                    <a:gd name="connsiteX12" fmla="*/ 400964 w 411930"/>
                    <a:gd name="connsiteY12" fmla="*/ 264814 h 264814"/>
                    <a:gd name="connsiteX13" fmla="*/ 376199 w 411930"/>
                    <a:gd name="connsiteY13" fmla="*/ 255289 h 264814"/>
                    <a:gd name="connsiteX14" fmla="*/ 376199 w 411930"/>
                    <a:gd name="connsiteY14" fmla="*/ 182899 h 264814"/>
                    <a:gd name="connsiteX15" fmla="*/ 336194 w 411930"/>
                    <a:gd name="connsiteY15" fmla="*/ 118129 h 264814"/>
                    <a:gd name="connsiteX16" fmla="*/ 231419 w 411930"/>
                    <a:gd name="connsiteY16" fmla="*/ 93364 h 264814"/>
                    <a:gd name="connsiteX17" fmla="*/ 143789 w 411930"/>
                    <a:gd name="connsiteY17" fmla="*/ 87649 h 264814"/>
                    <a:gd name="connsiteX18" fmla="*/ 119024 w 411930"/>
                    <a:gd name="connsiteY18" fmla="*/ 78124 h 264814"/>
                    <a:gd name="connsiteX19" fmla="*/ 99974 w 411930"/>
                    <a:gd name="connsiteY19" fmla="*/ 104794 h 264814"/>
                    <a:gd name="connsiteX20" fmla="*/ 58064 w 411930"/>
                    <a:gd name="connsiteY20" fmla="*/ 140989 h 264814"/>
                    <a:gd name="connsiteX21" fmla="*/ 6629 w 411930"/>
                    <a:gd name="connsiteY21" fmla="*/ 255289 h 264814"/>
                    <a:gd name="connsiteX0" fmla="*/ 6629 w 411930"/>
                    <a:gd name="connsiteY0" fmla="*/ 255504 h 265029"/>
                    <a:gd name="connsiteX1" fmla="*/ 4724 w 411930"/>
                    <a:gd name="connsiteY1" fmla="*/ 169779 h 265029"/>
                    <a:gd name="connsiteX2" fmla="*/ 914 w 411930"/>
                    <a:gd name="connsiteY2" fmla="*/ 167874 h 265029"/>
                    <a:gd name="connsiteX3" fmla="*/ 14249 w 411930"/>
                    <a:gd name="connsiteY3" fmla="*/ 99294 h 265029"/>
                    <a:gd name="connsiteX4" fmla="*/ 46634 w 411930"/>
                    <a:gd name="connsiteY4" fmla="*/ 53574 h 265029"/>
                    <a:gd name="connsiteX5" fmla="*/ 98069 w 411930"/>
                    <a:gd name="connsiteY5" fmla="*/ 42144 h 265029"/>
                    <a:gd name="connsiteX6" fmla="*/ 128549 w 411930"/>
                    <a:gd name="connsiteY6" fmla="*/ 7854 h 265029"/>
                    <a:gd name="connsiteX7" fmla="*/ 191414 w 411930"/>
                    <a:gd name="connsiteY7" fmla="*/ 234 h 265029"/>
                    <a:gd name="connsiteX8" fmla="*/ 269519 w 411930"/>
                    <a:gd name="connsiteY8" fmla="*/ 2139 h 265029"/>
                    <a:gd name="connsiteX9" fmla="*/ 366674 w 411930"/>
                    <a:gd name="connsiteY9" fmla="*/ 44049 h 265029"/>
                    <a:gd name="connsiteX10" fmla="*/ 404774 w 411930"/>
                    <a:gd name="connsiteY10" fmla="*/ 120249 h 265029"/>
                    <a:gd name="connsiteX11" fmla="*/ 410489 w 411930"/>
                    <a:gd name="connsiteY11" fmla="*/ 186924 h 265029"/>
                    <a:gd name="connsiteX12" fmla="*/ 400964 w 411930"/>
                    <a:gd name="connsiteY12" fmla="*/ 265029 h 265029"/>
                    <a:gd name="connsiteX13" fmla="*/ 376199 w 411930"/>
                    <a:gd name="connsiteY13" fmla="*/ 255504 h 265029"/>
                    <a:gd name="connsiteX14" fmla="*/ 376199 w 411930"/>
                    <a:gd name="connsiteY14" fmla="*/ 183114 h 265029"/>
                    <a:gd name="connsiteX15" fmla="*/ 336194 w 411930"/>
                    <a:gd name="connsiteY15" fmla="*/ 118344 h 265029"/>
                    <a:gd name="connsiteX16" fmla="*/ 231419 w 411930"/>
                    <a:gd name="connsiteY16" fmla="*/ 93579 h 265029"/>
                    <a:gd name="connsiteX17" fmla="*/ 143789 w 411930"/>
                    <a:gd name="connsiteY17" fmla="*/ 87864 h 265029"/>
                    <a:gd name="connsiteX18" fmla="*/ 119024 w 411930"/>
                    <a:gd name="connsiteY18" fmla="*/ 78339 h 265029"/>
                    <a:gd name="connsiteX19" fmla="*/ 99974 w 411930"/>
                    <a:gd name="connsiteY19" fmla="*/ 105009 h 265029"/>
                    <a:gd name="connsiteX20" fmla="*/ 58064 w 411930"/>
                    <a:gd name="connsiteY20" fmla="*/ 141204 h 265029"/>
                    <a:gd name="connsiteX21" fmla="*/ 6629 w 411930"/>
                    <a:gd name="connsiteY21" fmla="*/ 255504 h 265029"/>
                    <a:gd name="connsiteX0" fmla="*/ 6629 w 411930"/>
                    <a:gd name="connsiteY0" fmla="*/ 270585 h 280110"/>
                    <a:gd name="connsiteX1" fmla="*/ 4724 w 411930"/>
                    <a:gd name="connsiteY1" fmla="*/ 184860 h 280110"/>
                    <a:gd name="connsiteX2" fmla="*/ 914 w 411930"/>
                    <a:gd name="connsiteY2" fmla="*/ 182955 h 280110"/>
                    <a:gd name="connsiteX3" fmla="*/ 14249 w 411930"/>
                    <a:gd name="connsiteY3" fmla="*/ 114375 h 280110"/>
                    <a:gd name="connsiteX4" fmla="*/ 46634 w 411930"/>
                    <a:gd name="connsiteY4" fmla="*/ 68655 h 280110"/>
                    <a:gd name="connsiteX5" fmla="*/ 98069 w 411930"/>
                    <a:gd name="connsiteY5" fmla="*/ 57225 h 280110"/>
                    <a:gd name="connsiteX6" fmla="*/ 128549 w 411930"/>
                    <a:gd name="connsiteY6" fmla="*/ 22935 h 280110"/>
                    <a:gd name="connsiteX7" fmla="*/ 197129 w 411930"/>
                    <a:gd name="connsiteY7" fmla="*/ 75 h 280110"/>
                    <a:gd name="connsiteX8" fmla="*/ 269519 w 411930"/>
                    <a:gd name="connsiteY8" fmla="*/ 17220 h 280110"/>
                    <a:gd name="connsiteX9" fmla="*/ 366674 w 411930"/>
                    <a:gd name="connsiteY9" fmla="*/ 59130 h 280110"/>
                    <a:gd name="connsiteX10" fmla="*/ 404774 w 411930"/>
                    <a:gd name="connsiteY10" fmla="*/ 135330 h 280110"/>
                    <a:gd name="connsiteX11" fmla="*/ 410489 w 411930"/>
                    <a:gd name="connsiteY11" fmla="*/ 202005 h 280110"/>
                    <a:gd name="connsiteX12" fmla="*/ 400964 w 411930"/>
                    <a:gd name="connsiteY12" fmla="*/ 280110 h 280110"/>
                    <a:gd name="connsiteX13" fmla="*/ 376199 w 411930"/>
                    <a:gd name="connsiteY13" fmla="*/ 270585 h 280110"/>
                    <a:gd name="connsiteX14" fmla="*/ 376199 w 411930"/>
                    <a:gd name="connsiteY14" fmla="*/ 198195 h 280110"/>
                    <a:gd name="connsiteX15" fmla="*/ 336194 w 411930"/>
                    <a:gd name="connsiteY15" fmla="*/ 133425 h 280110"/>
                    <a:gd name="connsiteX16" fmla="*/ 231419 w 411930"/>
                    <a:gd name="connsiteY16" fmla="*/ 108660 h 280110"/>
                    <a:gd name="connsiteX17" fmla="*/ 143789 w 411930"/>
                    <a:gd name="connsiteY17" fmla="*/ 102945 h 280110"/>
                    <a:gd name="connsiteX18" fmla="*/ 119024 w 411930"/>
                    <a:gd name="connsiteY18" fmla="*/ 93420 h 280110"/>
                    <a:gd name="connsiteX19" fmla="*/ 99974 w 411930"/>
                    <a:gd name="connsiteY19" fmla="*/ 120090 h 280110"/>
                    <a:gd name="connsiteX20" fmla="*/ 58064 w 411930"/>
                    <a:gd name="connsiteY20" fmla="*/ 156285 h 280110"/>
                    <a:gd name="connsiteX21" fmla="*/ 6629 w 411930"/>
                    <a:gd name="connsiteY21" fmla="*/ 270585 h 280110"/>
                    <a:gd name="connsiteX0" fmla="*/ 6629 w 411930"/>
                    <a:gd name="connsiteY0" fmla="*/ 271009 h 280534"/>
                    <a:gd name="connsiteX1" fmla="*/ 4724 w 411930"/>
                    <a:gd name="connsiteY1" fmla="*/ 185284 h 280534"/>
                    <a:gd name="connsiteX2" fmla="*/ 914 w 411930"/>
                    <a:gd name="connsiteY2" fmla="*/ 183379 h 280534"/>
                    <a:gd name="connsiteX3" fmla="*/ 14249 w 411930"/>
                    <a:gd name="connsiteY3" fmla="*/ 114799 h 280534"/>
                    <a:gd name="connsiteX4" fmla="*/ 46634 w 411930"/>
                    <a:gd name="connsiteY4" fmla="*/ 69079 h 280534"/>
                    <a:gd name="connsiteX5" fmla="*/ 98069 w 411930"/>
                    <a:gd name="connsiteY5" fmla="*/ 57649 h 280534"/>
                    <a:gd name="connsiteX6" fmla="*/ 128549 w 411930"/>
                    <a:gd name="connsiteY6" fmla="*/ 23359 h 280534"/>
                    <a:gd name="connsiteX7" fmla="*/ 197129 w 411930"/>
                    <a:gd name="connsiteY7" fmla="*/ 499 h 280534"/>
                    <a:gd name="connsiteX8" fmla="*/ 286664 w 411930"/>
                    <a:gd name="connsiteY8" fmla="*/ 11929 h 280534"/>
                    <a:gd name="connsiteX9" fmla="*/ 366674 w 411930"/>
                    <a:gd name="connsiteY9" fmla="*/ 59554 h 280534"/>
                    <a:gd name="connsiteX10" fmla="*/ 404774 w 411930"/>
                    <a:gd name="connsiteY10" fmla="*/ 135754 h 280534"/>
                    <a:gd name="connsiteX11" fmla="*/ 410489 w 411930"/>
                    <a:gd name="connsiteY11" fmla="*/ 202429 h 280534"/>
                    <a:gd name="connsiteX12" fmla="*/ 400964 w 411930"/>
                    <a:gd name="connsiteY12" fmla="*/ 280534 h 280534"/>
                    <a:gd name="connsiteX13" fmla="*/ 376199 w 411930"/>
                    <a:gd name="connsiteY13" fmla="*/ 271009 h 280534"/>
                    <a:gd name="connsiteX14" fmla="*/ 376199 w 411930"/>
                    <a:gd name="connsiteY14" fmla="*/ 198619 h 280534"/>
                    <a:gd name="connsiteX15" fmla="*/ 336194 w 411930"/>
                    <a:gd name="connsiteY15" fmla="*/ 133849 h 280534"/>
                    <a:gd name="connsiteX16" fmla="*/ 231419 w 411930"/>
                    <a:gd name="connsiteY16" fmla="*/ 109084 h 280534"/>
                    <a:gd name="connsiteX17" fmla="*/ 143789 w 411930"/>
                    <a:gd name="connsiteY17" fmla="*/ 103369 h 280534"/>
                    <a:gd name="connsiteX18" fmla="*/ 119024 w 411930"/>
                    <a:gd name="connsiteY18" fmla="*/ 93844 h 280534"/>
                    <a:gd name="connsiteX19" fmla="*/ 99974 w 411930"/>
                    <a:gd name="connsiteY19" fmla="*/ 120514 h 280534"/>
                    <a:gd name="connsiteX20" fmla="*/ 58064 w 411930"/>
                    <a:gd name="connsiteY20" fmla="*/ 156709 h 280534"/>
                    <a:gd name="connsiteX21" fmla="*/ 6629 w 411930"/>
                    <a:gd name="connsiteY21" fmla="*/ 271009 h 280534"/>
                    <a:gd name="connsiteX0" fmla="*/ 6629 w 411689"/>
                    <a:gd name="connsiteY0" fmla="*/ 271009 h 280534"/>
                    <a:gd name="connsiteX1" fmla="*/ 4724 w 411689"/>
                    <a:gd name="connsiteY1" fmla="*/ 185284 h 280534"/>
                    <a:gd name="connsiteX2" fmla="*/ 914 w 411689"/>
                    <a:gd name="connsiteY2" fmla="*/ 183379 h 280534"/>
                    <a:gd name="connsiteX3" fmla="*/ 14249 w 411689"/>
                    <a:gd name="connsiteY3" fmla="*/ 114799 h 280534"/>
                    <a:gd name="connsiteX4" fmla="*/ 46634 w 411689"/>
                    <a:gd name="connsiteY4" fmla="*/ 69079 h 280534"/>
                    <a:gd name="connsiteX5" fmla="*/ 98069 w 411689"/>
                    <a:gd name="connsiteY5" fmla="*/ 57649 h 280534"/>
                    <a:gd name="connsiteX6" fmla="*/ 128549 w 411689"/>
                    <a:gd name="connsiteY6" fmla="*/ 23359 h 280534"/>
                    <a:gd name="connsiteX7" fmla="*/ 197129 w 411689"/>
                    <a:gd name="connsiteY7" fmla="*/ 499 h 280534"/>
                    <a:gd name="connsiteX8" fmla="*/ 286664 w 411689"/>
                    <a:gd name="connsiteY8" fmla="*/ 11929 h 280534"/>
                    <a:gd name="connsiteX9" fmla="*/ 374294 w 411689"/>
                    <a:gd name="connsiteY9" fmla="*/ 59554 h 280534"/>
                    <a:gd name="connsiteX10" fmla="*/ 404774 w 411689"/>
                    <a:gd name="connsiteY10" fmla="*/ 135754 h 280534"/>
                    <a:gd name="connsiteX11" fmla="*/ 410489 w 411689"/>
                    <a:gd name="connsiteY11" fmla="*/ 202429 h 280534"/>
                    <a:gd name="connsiteX12" fmla="*/ 400964 w 411689"/>
                    <a:gd name="connsiteY12" fmla="*/ 280534 h 280534"/>
                    <a:gd name="connsiteX13" fmla="*/ 376199 w 411689"/>
                    <a:gd name="connsiteY13" fmla="*/ 271009 h 280534"/>
                    <a:gd name="connsiteX14" fmla="*/ 376199 w 411689"/>
                    <a:gd name="connsiteY14" fmla="*/ 198619 h 280534"/>
                    <a:gd name="connsiteX15" fmla="*/ 336194 w 411689"/>
                    <a:gd name="connsiteY15" fmla="*/ 133849 h 280534"/>
                    <a:gd name="connsiteX16" fmla="*/ 231419 w 411689"/>
                    <a:gd name="connsiteY16" fmla="*/ 109084 h 280534"/>
                    <a:gd name="connsiteX17" fmla="*/ 143789 w 411689"/>
                    <a:gd name="connsiteY17" fmla="*/ 103369 h 280534"/>
                    <a:gd name="connsiteX18" fmla="*/ 119024 w 411689"/>
                    <a:gd name="connsiteY18" fmla="*/ 93844 h 280534"/>
                    <a:gd name="connsiteX19" fmla="*/ 99974 w 411689"/>
                    <a:gd name="connsiteY19" fmla="*/ 120514 h 280534"/>
                    <a:gd name="connsiteX20" fmla="*/ 58064 w 411689"/>
                    <a:gd name="connsiteY20" fmla="*/ 156709 h 280534"/>
                    <a:gd name="connsiteX21" fmla="*/ 6629 w 411689"/>
                    <a:gd name="connsiteY21" fmla="*/ 271009 h 280534"/>
                    <a:gd name="connsiteX0" fmla="*/ 6629 w 411689"/>
                    <a:gd name="connsiteY0" fmla="*/ 271009 h 280534"/>
                    <a:gd name="connsiteX1" fmla="*/ 4724 w 411689"/>
                    <a:gd name="connsiteY1" fmla="*/ 185284 h 280534"/>
                    <a:gd name="connsiteX2" fmla="*/ 914 w 411689"/>
                    <a:gd name="connsiteY2" fmla="*/ 183379 h 280534"/>
                    <a:gd name="connsiteX3" fmla="*/ 14249 w 411689"/>
                    <a:gd name="connsiteY3" fmla="*/ 114799 h 280534"/>
                    <a:gd name="connsiteX4" fmla="*/ 46634 w 411689"/>
                    <a:gd name="connsiteY4" fmla="*/ 69079 h 280534"/>
                    <a:gd name="connsiteX5" fmla="*/ 98069 w 411689"/>
                    <a:gd name="connsiteY5" fmla="*/ 57649 h 280534"/>
                    <a:gd name="connsiteX6" fmla="*/ 128549 w 411689"/>
                    <a:gd name="connsiteY6" fmla="*/ 23359 h 280534"/>
                    <a:gd name="connsiteX7" fmla="*/ 197129 w 411689"/>
                    <a:gd name="connsiteY7" fmla="*/ 499 h 280534"/>
                    <a:gd name="connsiteX8" fmla="*/ 286664 w 411689"/>
                    <a:gd name="connsiteY8" fmla="*/ 11929 h 280534"/>
                    <a:gd name="connsiteX9" fmla="*/ 374294 w 411689"/>
                    <a:gd name="connsiteY9" fmla="*/ 59554 h 280534"/>
                    <a:gd name="connsiteX10" fmla="*/ 404774 w 411689"/>
                    <a:gd name="connsiteY10" fmla="*/ 135754 h 280534"/>
                    <a:gd name="connsiteX11" fmla="*/ 410489 w 411689"/>
                    <a:gd name="connsiteY11" fmla="*/ 202429 h 280534"/>
                    <a:gd name="connsiteX12" fmla="*/ 400964 w 411689"/>
                    <a:gd name="connsiteY12" fmla="*/ 280534 h 280534"/>
                    <a:gd name="connsiteX13" fmla="*/ 376199 w 411689"/>
                    <a:gd name="connsiteY13" fmla="*/ 271009 h 280534"/>
                    <a:gd name="connsiteX14" fmla="*/ 376199 w 411689"/>
                    <a:gd name="connsiteY14" fmla="*/ 198619 h 280534"/>
                    <a:gd name="connsiteX15" fmla="*/ 336194 w 411689"/>
                    <a:gd name="connsiteY15" fmla="*/ 133849 h 280534"/>
                    <a:gd name="connsiteX16" fmla="*/ 231419 w 411689"/>
                    <a:gd name="connsiteY16" fmla="*/ 109084 h 280534"/>
                    <a:gd name="connsiteX17" fmla="*/ 143789 w 411689"/>
                    <a:gd name="connsiteY17" fmla="*/ 103369 h 280534"/>
                    <a:gd name="connsiteX18" fmla="*/ 119024 w 411689"/>
                    <a:gd name="connsiteY18" fmla="*/ 93844 h 280534"/>
                    <a:gd name="connsiteX19" fmla="*/ 99974 w 411689"/>
                    <a:gd name="connsiteY19" fmla="*/ 120514 h 280534"/>
                    <a:gd name="connsiteX20" fmla="*/ 58064 w 411689"/>
                    <a:gd name="connsiteY20" fmla="*/ 156709 h 280534"/>
                    <a:gd name="connsiteX21" fmla="*/ 6629 w 411689"/>
                    <a:gd name="connsiteY21"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57649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09084 h 280534"/>
                    <a:gd name="connsiteX16" fmla="*/ 144159 w 412059"/>
                    <a:gd name="connsiteY16" fmla="*/ 103369 h 280534"/>
                    <a:gd name="connsiteX17" fmla="*/ 119394 w 412059"/>
                    <a:gd name="connsiteY17" fmla="*/ 93844 h 280534"/>
                    <a:gd name="connsiteX18" fmla="*/ 100344 w 412059"/>
                    <a:gd name="connsiteY18" fmla="*/ 120514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57649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09084 h 280534"/>
                    <a:gd name="connsiteX16" fmla="*/ 144159 w 412059"/>
                    <a:gd name="connsiteY16" fmla="*/ 103369 h 280534"/>
                    <a:gd name="connsiteX17" fmla="*/ 119394 w 412059"/>
                    <a:gd name="connsiteY17" fmla="*/ 93844 h 280534"/>
                    <a:gd name="connsiteX18" fmla="*/ 100344 w 412059"/>
                    <a:gd name="connsiteY18" fmla="*/ 120514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57649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09084 h 280534"/>
                    <a:gd name="connsiteX16" fmla="*/ 144159 w 412059"/>
                    <a:gd name="connsiteY16" fmla="*/ 103369 h 280534"/>
                    <a:gd name="connsiteX17" fmla="*/ 119394 w 412059"/>
                    <a:gd name="connsiteY17" fmla="*/ 93844 h 280534"/>
                    <a:gd name="connsiteX18" fmla="*/ 90819 w 412059"/>
                    <a:gd name="connsiteY18" fmla="*/ 110989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57649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16704 h 280534"/>
                    <a:gd name="connsiteX16" fmla="*/ 144159 w 412059"/>
                    <a:gd name="connsiteY16" fmla="*/ 103369 h 280534"/>
                    <a:gd name="connsiteX17" fmla="*/ 119394 w 412059"/>
                    <a:gd name="connsiteY17" fmla="*/ 93844 h 280534"/>
                    <a:gd name="connsiteX18" fmla="*/ 90819 w 412059"/>
                    <a:gd name="connsiteY18" fmla="*/ 110989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40504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16704 h 280534"/>
                    <a:gd name="connsiteX16" fmla="*/ 144159 w 412059"/>
                    <a:gd name="connsiteY16" fmla="*/ 103369 h 280534"/>
                    <a:gd name="connsiteX17" fmla="*/ 119394 w 412059"/>
                    <a:gd name="connsiteY17" fmla="*/ 93844 h 280534"/>
                    <a:gd name="connsiteX18" fmla="*/ 90819 w 412059"/>
                    <a:gd name="connsiteY18" fmla="*/ 110989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3194 w 412059"/>
                    <a:gd name="connsiteY3" fmla="*/ 63364 h 280534"/>
                    <a:gd name="connsiteX4" fmla="*/ 98439 w 412059"/>
                    <a:gd name="connsiteY4" fmla="*/ 40504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16704 h 280534"/>
                    <a:gd name="connsiteX16" fmla="*/ 144159 w 412059"/>
                    <a:gd name="connsiteY16" fmla="*/ 103369 h 280534"/>
                    <a:gd name="connsiteX17" fmla="*/ 119394 w 412059"/>
                    <a:gd name="connsiteY17" fmla="*/ 93844 h 280534"/>
                    <a:gd name="connsiteX18" fmla="*/ 90819 w 412059"/>
                    <a:gd name="connsiteY18" fmla="*/ 110989 h 280534"/>
                    <a:gd name="connsiteX19" fmla="*/ 58434 w 412059"/>
                    <a:gd name="connsiteY19" fmla="*/ 156709 h 280534"/>
                    <a:gd name="connsiteX20" fmla="*/ 6999 w 412059"/>
                    <a:gd name="connsiteY20" fmla="*/ 271009 h 280534"/>
                    <a:gd name="connsiteX0" fmla="*/ 6999 w 412059"/>
                    <a:gd name="connsiteY0" fmla="*/ 270510 h 280035"/>
                    <a:gd name="connsiteX1" fmla="*/ 1284 w 412059"/>
                    <a:gd name="connsiteY1" fmla="*/ 182880 h 280035"/>
                    <a:gd name="connsiteX2" fmla="*/ 14619 w 412059"/>
                    <a:gd name="connsiteY2" fmla="*/ 114300 h 280035"/>
                    <a:gd name="connsiteX3" fmla="*/ 43194 w 412059"/>
                    <a:gd name="connsiteY3" fmla="*/ 62865 h 280035"/>
                    <a:gd name="connsiteX4" fmla="*/ 98439 w 412059"/>
                    <a:gd name="connsiteY4" fmla="*/ 40005 h 280035"/>
                    <a:gd name="connsiteX5" fmla="*/ 130824 w 412059"/>
                    <a:gd name="connsiteY5" fmla="*/ 9525 h 280035"/>
                    <a:gd name="connsiteX6" fmla="*/ 197499 w 412059"/>
                    <a:gd name="connsiteY6" fmla="*/ 0 h 280035"/>
                    <a:gd name="connsiteX7" fmla="*/ 287034 w 412059"/>
                    <a:gd name="connsiteY7" fmla="*/ 11430 h 280035"/>
                    <a:gd name="connsiteX8" fmla="*/ 374664 w 412059"/>
                    <a:gd name="connsiteY8" fmla="*/ 59055 h 280035"/>
                    <a:gd name="connsiteX9" fmla="*/ 405144 w 412059"/>
                    <a:gd name="connsiteY9" fmla="*/ 135255 h 280035"/>
                    <a:gd name="connsiteX10" fmla="*/ 410859 w 412059"/>
                    <a:gd name="connsiteY10" fmla="*/ 201930 h 280035"/>
                    <a:gd name="connsiteX11" fmla="*/ 401334 w 412059"/>
                    <a:gd name="connsiteY11" fmla="*/ 280035 h 280035"/>
                    <a:gd name="connsiteX12" fmla="*/ 376569 w 412059"/>
                    <a:gd name="connsiteY12" fmla="*/ 270510 h 280035"/>
                    <a:gd name="connsiteX13" fmla="*/ 376569 w 412059"/>
                    <a:gd name="connsiteY13" fmla="*/ 198120 h 280035"/>
                    <a:gd name="connsiteX14" fmla="*/ 336564 w 412059"/>
                    <a:gd name="connsiteY14" fmla="*/ 133350 h 280035"/>
                    <a:gd name="connsiteX15" fmla="*/ 231789 w 412059"/>
                    <a:gd name="connsiteY15" fmla="*/ 116205 h 280035"/>
                    <a:gd name="connsiteX16" fmla="*/ 144159 w 412059"/>
                    <a:gd name="connsiteY16" fmla="*/ 102870 h 280035"/>
                    <a:gd name="connsiteX17" fmla="*/ 119394 w 412059"/>
                    <a:gd name="connsiteY17" fmla="*/ 93345 h 280035"/>
                    <a:gd name="connsiteX18" fmla="*/ 90819 w 412059"/>
                    <a:gd name="connsiteY18" fmla="*/ 110490 h 280035"/>
                    <a:gd name="connsiteX19" fmla="*/ 58434 w 412059"/>
                    <a:gd name="connsiteY19" fmla="*/ 156210 h 280035"/>
                    <a:gd name="connsiteX20" fmla="*/ 6999 w 412059"/>
                    <a:gd name="connsiteY20" fmla="*/ 270510 h 280035"/>
                    <a:gd name="connsiteX0" fmla="*/ 6999 w 412059"/>
                    <a:gd name="connsiteY0" fmla="*/ 280041 h 289566"/>
                    <a:gd name="connsiteX1" fmla="*/ 1284 w 412059"/>
                    <a:gd name="connsiteY1" fmla="*/ 192411 h 289566"/>
                    <a:gd name="connsiteX2" fmla="*/ 14619 w 412059"/>
                    <a:gd name="connsiteY2" fmla="*/ 123831 h 289566"/>
                    <a:gd name="connsiteX3" fmla="*/ 43194 w 412059"/>
                    <a:gd name="connsiteY3" fmla="*/ 72396 h 289566"/>
                    <a:gd name="connsiteX4" fmla="*/ 98439 w 412059"/>
                    <a:gd name="connsiteY4" fmla="*/ 49536 h 289566"/>
                    <a:gd name="connsiteX5" fmla="*/ 130824 w 412059"/>
                    <a:gd name="connsiteY5" fmla="*/ 19056 h 289566"/>
                    <a:gd name="connsiteX6" fmla="*/ 203214 w 412059"/>
                    <a:gd name="connsiteY6" fmla="*/ 6 h 289566"/>
                    <a:gd name="connsiteX7" fmla="*/ 287034 w 412059"/>
                    <a:gd name="connsiteY7" fmla="*/ 20961 h 289566"/>
                    <a:gd name="connsiteX8" fmla="*/ 374664 w 412059"/>
                    <a:gd name="connsiteY8" fmla="*/ 68586 h 289566"/>
                    <a:gd name="connsiteX9" fmla="*/ 405144 w 412059"/>
                    <a:gd name="connsiteY9" fmla="*/ 144786 h 289566"/>
                    <a:gd name="connsiteX10" fmla="*/ 410859 w 412059"/>
                    <a:gd name="connsiteY10" fmla="*/ 211461 h 289566"/>
                    <a:gd name="connsiteX11" fmla="*/ 401334 w 412059"/>
                    <a:gd name="connsiteY11" fmla="*/ 289566 h 289566"/>
                    <a:gd name="connsiteX12" fmla="*/ 376569 w 412059"/>
                    <a:gd name="connsiteY12" fmla="*/ 280041 h 289566"/>
                    <a:gd name="connsiteX13" fmla="*/ 376569 w 412059"/>
                    <a:gd name="connsiteY13" fmla="*/ 207651 h 289566"/>
                    <a:gd name="connsiteX14" fmla="*/ 336564 w 412059"/>
                    <a:gd name="connsiteY14" fmla="*/ 142881 h 289566"/>
                    <a:gd name="connsiteX15" fmla="*/ 231789 w 412059"/>
                    <a:gd name="connsiteY15" fmla="*/ 125736 h 289566"/>
                    <a:gd name="connsiteX16" fmla="*/ 144159 w 412059"/>
                    <a:gd name="connsiteY16" fmla="*/ 112401 h 289566"/>
                    <a:gd name="connsiteX17" fmla="*/ 119394 w 412059"/>
                    <a:gd name="connsiteY17" fmla="*/ 102876 h 289566"/>
                    <a:gd name="connsiteX18" fmla="*/ 90819 w 412059"/>
                    <a:gd name="connsiteY18" fmla="*/ 120021 h 289566"/>
                    <a:gd name="connsiteX19" fmla="*/ 58434 w 412059"/>
                    <a:gd name="connsiteY19" fmla="*/ 165741 h 289566"/>
                    <a:gd name="connsiteX20" fmla="*/ 6999 w 412059"/>
                    <a:gd name="connsiteY20" fmla="*/ 280041 h 289566"/>
                    <a:gd name="connsiteX0" fmla="*/ 6999 w 412059"/>
                    <a:gd name="connsiteY0" fmla="*/ 280041 h 289566"/>
                    <a:gd name="connsiteX1" fmla="*/ 1284 w 412059"/>
                    <a:gd name="connsiteY1" fmla="*/ 192411 h 289566"/>
                    <a:gd name="connsiteX2" fmla="*/ 14619 w 412059"/>
                    <a:gd name="connsiteY2" fmla="*/ 123831 h 289566"/>
                    <a:gd name="connsiteX3" fmla="*/ 43194 w 412059"/>
                    <a:gd name="connsiteY3" fmla="*/ 72396 h 289566"/>
                    <a:gd name="connsiteX4" fmla="*/ 98439 w 412059"/>
                    <a:gd name="connsiteY4" fmla="*/ 49536 h 289566"/>
                    <a:gd name="connsiteX5" fmla="*/ 130824 w 412059"/>
                    <a:gd name="connsiteY5" fmla="*/ 19056 h 289566"/>
                    <a:gd name="connsiteX6" fmla="*/ 203214 w 412059"/>
                    <a:gd name="connsiteY6" fmla="*/ 6 h 289566"/>
                    <a:gd name="connsiteX7" fmla="*/ 304179 w 412059"/>
                    <a:gd name="connsiteY7" fmla="*/ 20961 h 289566"/>
                    <a:gd name="connsiteX8" fmla="*/ 374664 w 412059"/>
                    <a:gd name="connsiteY8" fmla="*/ 68586 h 289566"/>
                    <a:gd name="connsiteX9" fmla="*/ 405144 w 412059"/>
                    <a:gd name="connsiteY9" fmla="*/ 144786 h 289566"/>
                    <a:gd name="connsiteX10" fmla="*/ 410859 w 412059"/>
                    <a:gd name="connsiteY10" fmla="*/ 211461 h 289566"/>
                    <a:gd name="connsiteX11" fmla="*/ 401334 w 412059"/>
                    <a:gd name="connsiteY11" fmla="*/ 289566 h 289566"/>
                    <a:gd name="connsiteX12" fmla="*/ 376569 w 412059"/>
                    <a:gd name="connsiteY12" fmla="*/ 280041 h 289566"/>
                    <a:gd name="connsiteX13" fmla="*/ 376569 w 412059"/>
                    <a:gd name="connsiteY13" fmla="*/ 207651 h 289566"/>
                    <a:gd name="connsiteX14" fmla="*/ 336564 w 412059"/>
                    <a:gd name="connsiteY14" fmla="*/ 142881 h 289566"/>
                    <a:gd name="connsiteX15" fmla="*/ 231789 w 412059"/>
                    <a:gd name="connsiteY15" fmla="*/ 125736 h 289566"/>
                    <a:gd name="connsiteX16" fmla="*/ 144159 w 412059"/>
                    <a:gd name="connsiteY16" fmla="*/ 112401 h 289566"/>
                    <a:gd name="connsiteX17" fmla="*/ 119394 w 412059"/>
                    <a:gd name="connsiteY17" fmla="*/ 102876 h 289566"/>
                    <a:gd name="connsiteX18" fmla="*/ 90819 w 412059"/>
                    <a:gd name="connsiteY18" fmla="*/ 120021 h 289566"/>
                    <a:gd name="connsiteX19" fmla="*/ 58434 w 412059"/>
                    <a:gd name="connsiteY19" fmla="*/ 165741 h 289566"/>
                    <a:gd name="connsiteX20" fmla="*/ 6999 w 412059"/>
                    <a:gd name="connsiteY20" fmla="*/ 280041 h 289566"/>
                    <a:gd name="connsiteX0" fmla="*/ 6999 w 416944"/>
                    <a:gd name="connsiteY0" fmla="*/ 280041 h 289566"/>
                    <a:gd name="connsiteX1" fmla="*/ 1284 w 416944"/>
                    <a:gd name="connsiteY1" fmla="*/ 192411 h 289566"/>
                    <a:gd name="connsiteX2" fmla="*/ 14619 w 416944"/>
                    <a:gd name="connsiteY2" fmla="*/ 123831 h 289566"/>
                    <a:gd name="connsiteX3" fmla="*/ 43194 w 416944"/>
                    <a:gd name="connsiteY3" fmla="*/ 72396 h 289566"/>
                    <a:gd name="connsiteX4" fmla="*/ 98439 w 416944"/>
                    <a:gd name="connsiteY4" fmla="*/ 49536 h 289566"/>
                    <a:gd name="connsiteX5" fmla="*/ 130824 w 416944"/>
                    <a:gd name="connsiteY5" fmla="*/ 19056 h 289566"/>
                    <a:gd name="connsiteX6" fmla="*/ 203214 w 416944"/>
                    <a:gd name="connsiteY6" fmla="*/ 6 h 289566"/>
                    <a:gd name="connsiteX7" fmla="*/ 304179 w 416944"/>
                    <a:gd name="connsiteY7" fmla="*/ 20961 h 289566"/>
                    <a:gd name="connsiteX8" fmla="*/ 374664 w 416944"/>
                    <a:gd name="connsiteY8" fmla="*/ 68586 h 289566"/>
                    <a:gd name="connsiteX9" fmla="*/ 414669 w 416944"/>
                    <a:gd name="connsiteY9" fmla="*/ 144786 h 289566"/>
                    <a:gd name="connsiteX10" fmla="*/ 410859 w 416944"/>
                    <a:gd name="connsiteY10" fmla="*/ 211461 h 289566"/>
                    <a:gd name="connsiteX11" fmla="*/ 401334 w 416944"/>
                    <a:gd name="connsiteY11" fmla="*/ 289566 h 289566"/>
                    <a:gd name="connsiteX12" fmla="*/ 376569 w 416944"/>
                    <a:gd name="connsiteY12" fmla="*/ 280041 h 289566"/>
                    <a:gd name="connsiteX13" fmla="*/ 376569 w 416944"/>
                    <a:gd name="connsiteY13" fmla="*/ 207651 h 289566"/>
                    <a:gd name="connsiteX14" fmla="*/ 336564 w 416944"/>
                    <a:gd name="connsiteY14" fmla="*/ 142881 h 289566"/>
                    <a:gd name="connsiteX15" fmla="*/ 231789 w 416944"/>
                    <a:gd name="connsiteY15" fmla="*/ 125736 h 289566"/>
                    <a:gd name="connsiteX16" fmla="*/ 144159 w 416944"/>
                    <a:gd name="connsiteY16" fmla="*/ 112401 h 289566"/>
                    <a:gd name="connsiteX17" fmla="*/ 119394 w 416944"/>
                    <a:gd name="connsiteY17" fmla="*/ 102876 h 289566"/>
                    <a:gd name="connsiteX18" fmla="*/ 90819 w 416944"/>
                    <a:gd name="connsiteY18" fmla="*/ 120021 h 289566"/>
                    <a:gd name="connsiteX19" fmla="*/ 58434 w 416944"/>
                    <a:gd name="connsiteY19" fmla="*/ 165741 h 289566"/>
                    <a:gd name="connsiteX20" fmla="*/ 6999 w 416944"/>
                    <a:gd name="connsiteY20" fmla="*/ 280041 h 289566"/>
                    <a:gd name="connsiteX0" fmla="*/ 6999 w 415379"/>
                    <a:gd name="connsiteY0" fmla="*/ 280041 h 289566"/>
                    <a:gd name="connsiteX1" fmla="*/ 1284 w 415379"/>
                    <a:gd name="connsiteY1" fmla="*/ 192411 h 289566"/>
                    <a:gd name="connsiteX2" fmla="*/ 14619 w 415379"/>
                    <a:gd name="connsiteY2" fmla="*/ 123831 h 289566"/>
                    <a:gd name="connsiteX3" fmla="*/ 43194 w 415379"/>
                    <a:gd name="connsiteY3" fmla="*/ 72396 h 289566"/>
                    <a:gd name="connsiteX4" fmla="*/ 98439 w 415379"/>
                    <a:gd name="connsiteY4" fmla="*/ 49536 h 289566"/>
                    <a:gd name="connsiteX5" fmla="*/ 130824 w 415379"/>
                    <a:gd name="connsiteY5" fmla="*/ 19056 h 289566"/>
                    <a:gd name="connsiteX6" fmla="*/ 203214 w 415379"/>
                    <a:gd name="connsiteY6" fmla="*/ 6 h 289566"/>
                    <a:gd name="connsiteX7" fmla="*/ 304179 w 415379"/>
                    <a:gd name="connsiteY7" fmla="*/ 20961 h 289566"/>
                    <a:gd name="connsiteX8" fmla="*/ 374664 w 415379"/>
                    <a:gd name="connsiteY8" fmla="*/ 68586 h 289566"/>
                    <a:gd name="connsiteX9" fmla="*/ 412764 w 415379"/>
                    <a:gd name="connsiteY9" fmla="*/ 139071 h 289566"/>
                    <a:gd name="connsiteX10" fmla="*/ 410859 w 415379"/>
                    <a:gd name="connsiteY10" fmla="*/ 211461 h 289566"/>
                    <a:gd name="connsiteX11" fmla="*/ 401334 w 415379"/>
                    <a:gd name="connsiteY11" fmla="*/ 289566 h 289566"/>
                    <a:gd name="connsiteX12" fmla="*/ 376569 w 415379"/>
                    <a:gd name="connsiteY12" fmla="*/ 280041 h 289566"/>
                    <a:gd name="connsiteX13" fmla="*/ 376569 w 415379"/>
                    <a:gd name="connsiteY13" fmla="*/ 207651 h 289566"/>
                    <a:gd name="connsiteX14" fmla="*/ 336564 w 415379"/>
                    <a:gd name="connsiteY14" fmla="*/ 142881 h 289566"/>
                    <a:gd name="connsiteX15" fmla="*/ 231789 w 415379"/>
                    <a:gd name="connsiteY15" fmla="*/ 125736 h 289566"/>
                    <a:gd name="connsiteX16" fmla="*/ 144159 w 415379"/>
                    <a:gd name="connsiteY16" fmla="*/ 112401 h 289566"/>
                    <a:gd name="connsiteX17" fmla="*/ 119394 w 415379"/>
                    <a:gd name="connsiteY17" fmla="*/ 102876 h 289566"/>
                    <a:gd name="connsiteX18" fmla="*/ 90819 w 415379"/>
                    <a:gd name="connsiteY18" fmla="*/ 120021 h 289566"/>
                    <a:gd name="connsiteX19" fmla="*/ 58434 w 415379"/>
                    <a:gd name="connsiteY19" fmla="*/ 165741 h 289566"/>
                    <a:gd name="connsiteX20" fmla="*/ 6999 w 415379"/>
                    <a:gd name="connsiteY20" fmla="*/ 280041 h 289566"/>
                    <a:gd name="connsiteX0" fmla="*/ 6999 w 418073"/>
                    <a:gd name="connsiteY0" fmla="*/ 280041 h 289566"/>
                    <a:gd name="connsiteX1" fmla="*/ 1284 w 418073"/>
                    <a:gd name="connsiteY1" fmla="*/ 192411 h 289566"/>
                    <a:gd name="connsiteX2" fmla="*/ 14619 w 418073"/>
                    <a:gd name="connsiteY2" fmla="*/ 123831 h 289566"/>
                    <a:gd name="connsiteX3" fmla="*/ 43194 w 418073"/>
                    <a:gd name="connsiteY3" fmla="*/ 72396 h 289566"/>
                    <a:gd name="connsiteX4" fmla="*/ 98439 w 418073"/>
                    <a:gd name="connsiteY4" fmla="*/ 49536 h 289566"/>
                    <a:gd name="connsiteX5" fmla="*/ 130824 w 418073"/>
                    <a:gd name="connsiteY5" fmla="*/ 19056 h 289566"/>
                    <a:gd name="connsiteX6" fmla="*/ 203214 w 418073"/>
                    <a:gd name="connsiteY6" fmla="*/ 6 h 289566"/>
                    <a:gd name="connsiteX7" fmla="*/ 304179 w 418073"/>
                    <a:gd name="connsiteY7" fmla="*/ 20961 h 289566"/>
                    <a:gd name="connsiteX8" fmla="*/ 374664 w 418073"/>
                    <a:gd name="connsiteY8" fmla="*/ 68586 h 289566"/>
                    <a:gd name="connsiteX9" fmla="*/ 412764 w 418073"/>
                    <a:gd name="connsiteY9" fmla="*/ 139071 h 289566"/>
                    <a:gd name="connsiteX10" fmla="*/ 416574 w 418073"/>
                    <a:gd name="connsiteY10" fmla="*/ 222891 h 289566"/>
                    <a:gd name="connsiteX11" fmla="*/ 401334 w 418073"/>
                    <a:gd name="connsiteY11" fmla="*/ 289566 h 289566"/>
                    <a:gd name="connsiteX12" fmla="*/ 376569 w 418073"/>
                    <a:gd name="connsiteY12" fmla="*/ 280041 h 289566"/>
                    <a:gd name="connsiteX13" fmla="*/ 376569 w 418073"/>
                    <a:gd name="connsiteY13" fmla="*/ 207651 h 289566"/>
                    <a:gd name="connsiteX14" fmla="*/ 336564 w 418073"/>
                    <a:gd name="connsiteY14" fmla="*/ 142881 h 289566"/>
                    <a:gd name="connsiteX15" fmla="*/ 231789 w 418073"/>
                    <a:gd name="connsiteY15" fmla="*/ 125736 h 289566"/>
                    <a:gd name="connsiteX16" fmla="*/ 144159 w 418073"/>
                    <a:gd name="connsiteY16" fmla="*/ 112401 h 289566"/>
                    <a:gd name="connsiteX17" fmla="*/ 119394 w 418073"/>
                    <a:gd name="connsiteY17" fmla="*/ 102876 h 289566"/>
                    <a:gd name="connsiteX18" fmla="*/ 90819 w 418073"/>
                    <a:gd name="connsiteY18" fmla="*/ 120021 h 289566"/>
                    <a:gd name="connsiteX19" fmla="*/ 58434 w 418073"/>
                    <a:gd name="connsiteY19" fmla="*/ 165741 h 289566"/>
                    <a:gd name="connsiteX20" fmla="*/ 6999 w 418073"/>
                    <a:gd name="connsiteY20" fmla="*/ 280041 h 289566"/>
                    <a:gd name="connsiteX0" fmla="*/ 6999 w 418073"/>
                    <a:gd name="connsiteY0" fmla="*/ 280041 h 289566"/>
                    <a:gd name="connsiteX1" fmla="*/ 1284 w 418073"/>
                    <a:gd name="connsiteY1" fmla="*/ 192411 h 289566"/>
                    <a:gd name="connsiteX2" fmla="*/ 8904 w 418073"/>
                    <a:gd name="connsiteY2" fmla="*/ 123831 h 289566"/>
                    <a:gd name="connsiteX3" fmla="*/ 43194 w 418073"/>
                    <a:gd name="connsiteY3" fmla="*/ 72396 h 289566"/>
                    <a:gd name="connsiteX4" fmla="*/ 98439 w 418073"/>
                    <a:gd name="connsiteY4" fmla="*/ 49536 h 289566"/>
                    <a:gd name="connsiteX5" fmla="*/ 130824 w 418073"/>
                    <a:gd name="connsiteY5" fmla="*/ 19056 h 289566"/>
                    <a:gd name="connsiteX6" fmla="*/ 203214 w 418073"/>
                    <a:gd name="connsiteY6" fmla="*/ 6 h 289566"/>
                    <a:gd name="connsiteX7" fmla="*/ 304179 w 418073"/>
                    <a:gd name="connsiteY7" fmla="*/ 20961 h 289566"/>
                    <a:gd name="connsiteX8" fmla="*/ 374664 w 418073"/>
                    <a:gd name="connsiteY8" fmla="*/ 68586 h 289566"/>
                    <a:gd name="connsiteX9" fmla="*/ 412764 w 418073"/>
                    <a:gd name="connsiteY9" fmla="*/ 139071 h 289566"/>
                    <a:gd name="connsiteX10" fmla="*/ 416574 w 418073"/>
                    <a:gd name="connsiteY10" fmla="*/ 222891 h 289566"/>
                    <a:gd name="connsiteX11" fmla="*/ 401334 w 418073"/>
                    <a:gd name="connsiteY11" fmla="*/ 289566 h 289566"/>
                    <a:gd name="connsiteX12" fmla="*/ 376569 w 418073"/>
                    <a:gd name="connsiteY12" fmla="*/ 280041 h 289566"/>
                    <a:gd name="connsiteX13" fmla="*/ 376569 w 418073"/>
                    <a:gd name="connsiteY13" fmla="*/ 207651 h 289566"/>
                    <a:gd name="connsiteX14" fmla="*/ 336564 w 418073"/>
                    <a:gd name="connsiteY14" fmla="*/ 142881 h 289566"/>
                    <a:gd name="connsiteX15" fmla="*/ 231789 w 418073"/>
                    <a:gd name="connsiteY15" fmla="*/ 125736 h 289566"/>
                    <a:gd name="connsiteX16" fmla="*/ 144159 w 418073"/>
                    <a:gd name="connsiteY16" fmla="*/ 112401 h 289566"/>
                    <a:gd name="connsiteX17" fmla="*/ 119394 w 418073"/>
                    <a:gd name="connsiteY17" fmla="*/ 102876 h 289566"/>
                    <a:gd name="connsiteX18" fmla="*/ 90819 w 418073"/>
                    <a:gd name="connsiteY18" fmla="*/ 120021 h 289566"/>
                    <a:gd name="connsiteX19" fmla="*/ 58434 w 418073"/>
                    <a:gd name="connsiteY19" fmla="*/ 165741 h 289566"/>
                    <a:gd name="connsiteX20" fmla="*/ 6999 w 418073"/>
                    <a:gd name="connsiteY20" fmla="*/ 280041 h 289566"/>
                    <a:gd name="connsiteX0" fmla="*/ 6999 w 418073"/>
                    <a:gd name="connsiteY0" fmla="*/ 280041 h 289566"/>
                    <a:gd name="connsiteX1" fmla="*/ 1284 w 418073"/>
                    <a:gd name="connsiteY1" fmla="*/ 192411 h 289566"/>
                    <a:gd name="connsiteX2" fmla="*/ 8904 w 418073"/>
                    <a:gd name="connsiteY2" fmla="*/ 123831 h 289566"/>
                    <a:gd name="connsiteX3" fmla="*/ 43194 w 418073"/>
                    <a:gd name="connsiteY3" fmla="*/ 72396 h 289566"/>
                    <a:gd name="connsiteX4" fmla="*/ 98439 w 418073"/>
                    <a:gd name="connsiteY4" fmla="*/ 49536 h 289566"/>
                    <a:gd name="connsiteX5" fmla="*/ 130824 w 418073"/>
                    <a:gd name="connsiteY5" fmla="*/ 19056 h 289566"/>
                    <a:gd name="connsiteX6" fmla="*/ 203214 w 418073"/>
                    <a:gd name="connsiteY6" fmla="*/ 6 h 289566"/>
                    <a:gd name="connsiteX7" fmla="*/ 304179 w 418073"/>
                    <a:gd name="connsiteY7" fmla="*/ 20961 h 289566"/>
                    <a:gd name="connsiteX8" fmla="*/ 374664 w 418073"/>
                    <a:gd name="connsiteY8" fmla="*/ 68586 h 289566"/>
                    <a:gd name="connsiteX9" fmla="*/ 412764 w 418073"/>
                    <a:gd name="connsiteY9" fmla="*/ 139071 h 289566"/>
                    <a:gd name="connsiteX10" fmla="*/ 416574 w 418073"/>
                    <a:gd name="connsiteY10" fmla="*/ 222891 h 289566"/>
                    <a:gd name="connsiteX11" fmla="*/ 401334 w 418073"/>
                    <a:gd name="connsiteY11" fmla="*/ 289566 h 289566"/>
                    <a:gd name="connsiteX12" fmla="*/ 376569 w 418073"/>
                    <a:gd name="connsiteY12" fmla="*/ 280041 h 289566"/>
                    <a:gd name="connsiteX13" fmla="*/ 376569 w 418073"/>
                    <a:gd name="connsiteY13" fmla="*/ 207651 h 289566"/>
                    <a:gd name="connsiteX14" fmla="*/ 336564 w 418073"/>
                    <a:gd name="connsiteY14" fmla="*/ 142881 h 289566"/>
                    <a:gd name="connsiteX15" fmla="*/ 231789 w 418073"/>
                    <a:gd name="connsiteY15" fmla="*/ 125736 h 289566"/>
                    <a:gd name="connsiteX16" fmla="*/ 144159 w 418073"/>
                    <a:gd name="connsiteY16" fmla="*/ 112401 h 289566"/>
                    <a:gd name="connsiteX17" fmla="*/ 119394 w 418073"/>
                    <a:gd name="connsiteY17" fmla="*/ 102876 h 289566"/>
                    <a:gd name="connsiteX18" fmla="*/ 90819 w 418073"/>
                    <a:gd name="connsiteY18" fmla="*/ 120021 h 289566"/>
                    <a:gd name="connsiteX19" fmla="*/ 58434 w 418073"/>
                    <a:gd name="connsiteY19" fmla="*/ 165741 h 289566"/>
                    <a:gd name="connsiteX20" fmla="*/ 26050 w 418073"/>
                    <a:gd name="connsiteY20" fmla="*/ 245752 h 289566"/>
                    <a:gd name="connsiteX21" fmla="*/ 6999 w 418073"/>
                    <a:gd name="connsiteY21" fmla="*/ 280041 h 289566"/>
                    <a:gd name="connsiteX0" fmla="*/ 6999 w 418073"/>
                    <a:gd name="connsiteY0" fmla="*/ 280041 h 292071"/>
                    <a:gd name="connsiteX1" fmla="*/ 1284 w 418073"/>
                    <a:gd name="connsiteY1" fmla="*/ 192411 h 292071"/>
                    <a:gd name="connsiteX2" fmla="*/ 8904 w 418073"/>
                    <a:gd name="connsiteY2" fmla="*/ 123831 h 292071"/>
                    <a:gd name="connsiteX3" fmla="*/ 43194 w 418073"/>
                    <a:gd name="connsiteY3" fmla="*/ 72396 h 292071"/>
                    <a:gd name="connsiteX4" fmla="*/ 98439 w 418073"/>
                    <a:gd name="connsiteY4" fmla="*/ 49536 h 292071"/>
                    <a:gd name="connsiteX5" fmla="*/ 130824 w 418073"/>
                    <a:gd name="connsiteY5" fmla="*/ 19056 h 292071"/>
                    <a:gd name="connsiteX6" fmla="*/ 203214 w 418073"/>
                    <a:gd name="connsiteY6" fmla="*/ 6 h 292071"/>
                    <a:gd name="connsiteX7" fmla="*/ 304179 w 418073"/>
                    <a:gd name="connsiteY7" fmla="*/ 20961 h 292071"/>
                    <a:gd name="connsiteX8" fmla="*/ 374664 w 418073"/>
                    <a:gd name="connsiteY8" fmla="*/ 68586 h 292071"/>
                    <a:gd name="connsiteX9" fmla="*/ 412764 w 418073"/>
                    <a:gd name="connsiteY9" fmla="*/ 139071 h 292071"/>
                    <a:gd name="connsiteX10" fmla="*/ 416574 w 418073"/>
                    <a:gd name="connsiteY10" fmla="*/ 222891 h 292071"/>
                    <a:gd name="connsiteX11" fmla="*/ 401334 w 418073"/>
                    <a:gd name="connsiteY11" fmla="*/ 289566 h 292071"/>
                    <a:gd name="connsiteX12" fmla="*/ 376569 w 418073"/>
                    <a:gd name="connsiteY12" fmla="*/ 280041 h 292071"/>
                    <a:gd name="connsiteX13" fmla="*/ 376569 w 418073"/>
                    <a:gd name="connsiteY13" fmla="*/ 207651 h 292071"/>
                    <a:gd name="connsiteX14" fmla="*/ 336564 w 418073"/>
                    <a:gd name="connsiteY14" fmla="*/ 142881 h 292071"/>
                    <a:gd name="connsiteX15" fmla="*/ 231789 w 418073"/>
                    <a:gd name="connsiteY15" fmla="*/ 125736 h 292071"/>
                    <a:gd name="connsiteX16" fmla="*/ 144159 w 418073"/>
                    <a:gd name="connsiteY16" fmla="*/ 112401 h 292071"/>
                    <a:gd name="connsiteX17" fmla="*/ 119394 w 418073"/>
                    <a:gd name="connsiteY17" fmla="*/ 102876 h 292071"/>
                    <a:gd name="connsiteX18" fmla="*/ 90819 w 418073"/>
                    <a:gd name="connsiteY18" fmla="*/ 120021 h 292071"/>
                    <a:gd name="connsiteX19" fmla="*/ 58434 w 418073"/>
                    <a:gd name="connsiteY19" fmla="*/ 165741 h 292071"/>
                    <a:gd name="connsiteX20" fmla="*/ 29860 w 418073"/>
                    <a:gd name="connsiteY20" fmla="*/ 281947 h 292071"/>
                    <a:gd name="connsiteX21" fmla="*/ 6999 w 418073"/>
                    <a:gd name="connsiteY21" fmla="*/ 280041 h 292071"/>
                    <a:gd name="connsiteX0" fmla="*/ 15390 w 416939"/>
                    <a:gd name="connsiteY0" fmla="*/ 280041 h 292071"/>
                    <a:gd name="connsiteX1" fmla="*/ 150 w 416939"/>
                    <a:gd name="connsiteY1" fmla="*/ 192411 h 292071"/>
                    <a:gd name="connsiteX2" fmla="*/ 7770 w 416939"/>
                    <a:gd name="connsiteY2" fmla="*/ 123831 h 292071"/>
                    <a:gd name="connsiteX3" fmla="*/ 42060 w 416939"/>
                    <a:gd name="connsiteY3" fmla="*/ 72396 h 292071"/>
                    <a:gd name="connsiteX4" fmla="*/ 97305 w 416939"/>
                    <a:gd name="connsiteY4" fmla="*/ 49536 h 292071"/>
                    <a:gd name="connsiteX5" fmla="*/ 129690 w 416939"/>
                    <a:gd name="connsiteY5" fmla="*/ 19056 h 292071"/>
                    <a:gd name="connsiteX6" fmla="*/ 202080 w 416939"/>
                    <a:gd name="connsiteY6" fmla="*/ 6 h 292071"/>
                    <a:gd name="connsiteX7" fmla="*/ 303045 w 416939"/>
                    <a:gd name="connsiteY7" fmla="*/ 20961 h 292071"/>
                    <a:gd name="connsiteX8" fmla="*/ 373530 w 416939"/>
                    <a:gd name="connsiteY8" fmla="*/ 68586 h 292071"/>
                    <a:gd name="connsiteX9" fmla="*/ 411630 w 416939"/>
                    <a:gd name="connsiteY9" fmla="*/ 139071 h 292071"/>
                    <a:gd name="connsiteX10" fmla="*/ 415440 w 416939"/>
                    <a:gd name="connsiteY10" fmla="*/ 222891 h 292071"/>
                    <a:gd name="connsiteX11" fmla="*/ 400200 w 416939"/>
                    <a:gd name="connsiteY11" fmla="*/ 289566 h 292071"/>
                    <a:gd name="connsiteX12" fmla="*/ 375435 w 416939"/>
                    <a:gd name="connsiteY12" fmla="*/ 280041 h 292071"/>
                    <a:gd name="connsiteX13" fmla="*/ 375435 w 416939"/>
                    <a:gd name="connsiteY13" fmla="*/ 207651 h 292071"/>
                    <a:gd name="connsiteX14" fmla="*/ 335430 w 416939"/>
                    <a:gd name="connsiteY14" fmla="*/ 142881 h 292071"/>
                    <a:gd name="connsiteX15" fmla="*/ 230655 w 416939"/>
                    <a:gd name="connsiteY15" fmla="*/ 125736 h 292071"/>
                    <a:gd name="connsiteX16" fmla="*/ 143025 w 416939"/>
                    <a:gd name="connsiteY16" fmla="*/ 112401 h 292071"/>
                    <a:gd name="connsiteX17" fmla="*/ 118260 w 416939"/>
                    <a:gd name="connsiteY17" fmla="*/ 102876 h 292071"/>
                    <a:gd name="connsiteX18" fmla="*/ 89685 w 416939"/>
                    <a:gd name="connsiteY18" fmla="*/ 120021 h 292071"/>
                    <a:gd name="connsiteX19" fmla="*/ 57300 w 416939"/>
                    <a:gd name="connsiteY19" fmla="*/ 165741 h 292071"/>
                    <a:gd name="connsiteX20" fmla="*/ 28726 w 416939"/>
                    <a:gd name="connsiteY20" fmla="*/ 281947 h 292071"/>
                    <a:gd name="connsiteX21" fmla="*/ 15390 w 416939"/>
                    <a:gd name="connsiteY21" fmla="*/ 280041 h 292071"/>
                    <a:gd name="connsiteX0" fmla="*/ 15390 w 416939"/>
                    <a:gd name="connsiteY0" fmla="*/ 280041 h 292071"/>
                    <a:gd name="connsiteX1" fmla="*/ 150 w 416939"/>
                    <a:gd name="connsiteY1" fmla="*/ 192411 h 292071"/>
                    <a:gd name="connsiteX2" fmla="*/ 7770 w 416939"/>
                    <a:gd name="connsiteY2" fmla="*/ 123831 h 292071"/>
                    <a:gd name="connsiteX3" fmla="*/ 42060 w 416939"/>
                    <a:gd name="connsiteY3" fmla="*/ 72396 h 292071"/>
                    <a:gd name="connsiteX4" fmla="*/ 97305 w 416939"/>
                    <a:gd name="connsiteY4" fmla="*/ 49536 h 292071"/>
                    <a:gd name="connsiteX5" fmla="*/ 129690 w 416939"/>
                    <a:gd name="connsiteY5" fmla="*/ 19056 h 292071"/>
                    <a:gd name="connsiteX6" fmla="*/ 202080 w 416939"/>
                    <a:gd name="connsiteY6" fmla="*/ 6 h 292071"/>
                    <a:gd name="connsiteX7" fmla="*/ 303045 w 416939"/>
                    <a:gd name="connsiteY7" fmla="*/ 20961 h 292071"/>
                    <a:gd name="connsiteX8" fmla="*/ 373530 w 416939"/>
                    <a:gd name="connsiteY8" fmla="*/ 68586 h 292071"/>
                    <a:gd name="connsiteX9" fmla="*/ 411630 w 416939"/>
                    <a:gd name="connsiteY9" fmla="*/ 139071 h 292071"/>
                    <a:gd name="connsiteX10" fmla="*/ 415440 w 416939"/>
                    <a:gd name="connsiteY10" fmla="*/ 222891 h 292071"/>
                    <a:gd name="connsiteX11" fmla="*/ 400200 w 416939"/>
                    <a:gd name="connsiteY11" fmla="*/ 289566 h 292071"/>
                    <a:gd name="connsiteX12" fmla="*/ 383055 w 416939"/>
                    <a:gd name="connsiteY12" fmla="*/ 289566 h 292071"/>
                    <a:gd name="connsiteX13" fmla="*/ 375435 w 416939"/>
                    <a:gd name="connsiteY13" fmla="*/ 207651 h 292071"/>
                    <a:gd name="connsiteX14" fmla="*/ 335430 w 416939"/>
                    <a:gd name="connsiteY14" fmla="*/ 142881 h 292071"/>
                    <a:gd name="connsiteX15" fmla="*/ 230655 w 416939"/>
                    <a:gd name="connsiteY15" fmla="*/ 125736 h 292071"/>
                    <a:gd name="connsiteX16" fmla="*/ 143025 w 416939"/>
                    <a:gd name="connsiteY16" fmla="*/ 112401 h 292071"/>
                    <a:gd name="connsiteX17" fmla="*/ 118260 w 416939"/>
                    <a:gd name="connsiteY17" fmla="*/ 102876 h 292071"/>
                    <a:gd name="connsiteX18" fmla="*/ 89685 w 416939"/>
                    <a:gd name="connsiteY18" fmla="*/ 120021 h 292071"/>
                    <a:gd name="connsiteX19" fmla="*/ 57300 w 416939"/>
                    <a:gd name="connsiteY19" fmla="*/ 165741 h 292071"/>
                    <a:gd name="connsiteX20" fmla="*/ 28726 w 416939"/>
                    <a:gd name="connsiteY20" fmla="*/ 281947 h 292071"/>
                    <a:gd name="connsiteX21" fmla="*/ 15390 w 416939"/>
                    <a:gd name="connsiteY21" fmla="*/ 280041 h 29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16939" h="292071">
                      <a:moveTo>
                        <a:pt x="15390" y="280041"/>
                      </a:moveTo>
                      <a:cubicBezTo>
                        <a:pt x="5865" y="284486"/>
                        <a:pt x="-1120" y="218446"/>
                        <a:pt x="150" y="192411"/>
                      </a:cubicBezTo>
                      <a:cubicBezTo>
                        <a:pt x="1420" y="166376"/>
                        <a:pt x="785" y="143833"/>
                        <a:pt x="7770" y="123831"/>
                      </a:cubicBezTo>
                      <a:cubicBezTo>
                        <a:pt x="14755" y="103829"/>
                        <a:pt x="27138" y="84779"/>
                        <a:pt x="42060" y="72396"/>
                      </a:cubicBezTo>
                      <a:cubicBezTo>
                        <a:pt x="56983" y="60014"/>
                        <a:pt x="87780" y="54299"/>
                        <a:pt x="97305" y="49536"/>
                      </a:cubicBezTo>
                      <a:cubicBezTo>
                        <a:pt x="107465" y="41916"/>
                        <a:pt x="112228" y="27311"/>
                        <a:pt x="129690" y="19056"/>
                      </a:cubicBezTo>
                      <a:cubicBezTo>
                        <a:pt x="147152" y="10801"/>
                        <a:pt x="173188" y="-311"/>
                        <a:pt x="202080" y="6"/>
                      </a:cubicBezTo>
                      <a:cubicBezTo>
                        <a:pt x="230972" y="323"/>
                        <a:pt x="274470" y="9531"/>
                        <a:pt x="303045" y="20961"/>
                      </a:cubicBezTo>
                      <a:cubicBezTo>
                        <a:pt x="331620" y="32391"/>
                        <a:pt x="355432" y="48901"/>
                        <a:pt x="373530" y="68586"/>
                      </a:cubicBezTo>
                      <a:cubicBezTo>
                        <a:pt x="391628" y="88271"/>
                        <a:pt x="404645" y="113354"/>
                        <a:pt x="411630" y="139071"/>
                      </a:cubicBezTo>
                      <a:cubicBezTo>
                        <a:pt x="418615" y="164788"/>
                        <a:pt x="417345" y="197809"/>
                        <a:pt x="415440" y="222891"/>
                      </a:cubicBezTo>
                      <a:cubicBezTo>
                        <a:pt x="413535" y="247974"/>
                        <a:pt x="403375" y="263531"/>
                        <a:pt x="400200" y="289566"/>
                      </a:cubicBezTo>
                      <a:lnTo>
                        <a:pt x="383055" y="289566"/>
                      </a:lnTo>
                      <a:lnTo>
                        <a:pt x="375435" y="207651"/>
                      </a:lnTo>
                      <a:cubicBezTo>
                        <a:pt x="369085" y="183521"/>
                        <a:pt x="359560" y="156533"/>
                        <a:pt x="335430" y="142881"/>
                      </a:cubicBezTo>
                      <a:cubicBezTo>
                        <a:pt x="311300" y="129229"/>
                        <a:pt x="262723" y="130816"/>
                        <a:pt x="230655" y="125736"/>
                      </a:cubicBezTo>
                      <a:lnTo>
                        <a:pt x="143025" y="112401"/>
                      </a:lnTo>
                      <a:lnTo>
                        <a:pt x="118260" y="102876"/>
                      </a:lnTo>
                      <a:lnTo>
                        <a:pt x="89685" y="120021"/>
                      </a:lnTo>
                      <a:cubicBezTo>
                        <a:pt x="79525" y="130498"/>
                        <a:pt x="67460" y="138753"/>
                        <a:pt x="57300" y="165741"/>
                      </a:cubicBezTo>
                      <a:cubicBezTo>
                        <a:pt x="47140" y="192729"/>
                        <a:pt x="37298" y="262897"/>
                        <a:pt x="28726" y="281947"/>
                      </a:cubicBezTo>
                      <a:cubicBezTo>
                        <a:pt x="20154" y="300997"/>
                        <a:pt x="19518" y="288931"/>
                        <a:pt x="15390" y="280041"/>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55" name="Rounded Rectangle 22">
                <a:extLst>
                  <a:ext uri="{FF2B5EF4-FFF2-40B4-BE49-F238E27FC236}">
                    <a16:creationId xmlns:a16="http://schemas.microsoft.com/office/drawing/2014/main" id="{73C134C0-3972-4553-9783-91881A767AEA}"/>
                  </a:ext>
                </a:extLst>
              </p:cNvPr>
              <p:cNvSpPr/>
              <p:nvPr/>
            </p:nvSpPr>
            <p:spPr bwMode="gray">
              <a:xfrm flipH="1">
                <a:off x="-4492385" y="2351760"/>
                <a:ext cx="205146" cy="148612"/>
              </a:xfrm>
              <a:custGeom>
                <a:avLst/>
                <a:gdLst/>
                <a:ahLst/>
                <a:cxnLst/>
                <a:rect l="l" t="t" r="r" b="b"/>
                <a:pathLst>
                  <a:path w="205146" h="148612">
                    <a:moveTo>
                      <a:pt x="0" y="0"/>
                    </a:moveTo>
                    <a:lnTo>
                      <a:pt x="0" y="46818"/>
                    </a:lnTo>
                    <a:lnTo>
                      <a:pt x="87823" y="95272"/>
                    </a:lnTo>
                    <a:lnTo>
                      <a:pt x="80601" y="147895"/>
                    </a:lnTo>
                    <a:cubicBezTo>
                      <a:pt x="82347" y="148514"/>
                      <a:pt x="83934" y="148612"/>
                      <a:pt x="85274" y="148612"/>
                    </a:cubicBezTo>
                    <a:cubicBezTo>
                      <a:pt x="92100" y="148612"/>
                      <a:pt x="97749" y="148525"/>
                      <a:pt x="102573" y="148298"/>
                    </a:cubicBezTo>
                    <a:cubicBezTo>
                      <a:pt x="107398" y="148525"/>
                      <a:pt x="113046" y="148612"/>
                      <a:pt x="119872" y="148612"/>
                    </a:cubicBezTo>
                    <a:lnTo>
                      <a:pt x="124546" y="147895"/>
                    </a:lnTo>
                    <a:lnTo>
                      <a:pt x="117323" y="95272"/>
                    </a:lnTo>
                    <a:lnTo>
                      <a:pt x="205146" y="46818"/>
                    </a:lnTo>
                    <a:lnTo>
                      <a:pt x="205146" y="580"/>
                    </a:lnTo>
                    <a:cubicBezTo>
                      <a:pt x="178051" y="24052"/>
                      <a:pt x="144619" y="36929"/>
                      <a:pt x="108755" y="36929"/>
                    </a:cubicBezTo>
                    <a:lnTo>
                      <a:pt x="103026" y="35771"/>
                    </a:lnTo>
                    <a:lnTo>
                      <a:pt x="97303" y="36928"/>
                    </a:lnTo>
                    <a:cubicBezTo>
                      <a:pt x="61078" y="36928"/>
                      <a:pt x="27334" y="23790"/>
                      <a:pt x="0" y="0"/>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 name="Freeform 27">
                <a:extLst>
                  <a:ext uri="{FF2B5EF4-FFF2-40B4-BE49-F238E27FC236}">
                    <a16:creationId xmlns:a16="http://schemas.microsoft.com/office/drawing/2014/main" id="{D61FC9FF-92A1-4757-B87D-B824E4850FFC}"/>
                  </a:ext>
                </a:extLst>
              </p:cNvPr>
              <p:cNvSpPr/>
              <p:nvPr/>
            </p:nvSpPr>
            <p:spPr bwMode="gray">
              <a:xfrm>
                <a:off x="-4520767" y="2386072"/>
                <a:ext cx="116205" cy="158115"/>
              </a:xfrm>
              <a:custGeom>
                <a:avLst/>
                <a:gdLst>
                  <a:gd name="connsiteX0" fmla="*/ 9525 w 123825"/>
                  <a:gd name="connsiteY0" fmla="*/ 0 h 131445"/>
                  <a:gd name="connsiteX1" fmla="*/ 123825 w 123825"/>
                  <a:gd name="connsiteY1" fmla="*/ 55245 h 131445"/>
                  <a:gd name="connsiteX2" fmla="*/ 120015 w 123825"/>
                  <a:gd name="connsiteY2" fmla="*/ 131445 h 131445"/>
                  <a:gd name="connsiteX3" fmla="*/ 0 w 123825"/>
                  <a:gd name="connsiteY3" fmla="*/ 72390 h 131445"/>
                  <a:gd name="connsiteX4" fmla="*/ 9525 w 123825"/>
                  <a:gd name="connsiteY4" fmla="*/ 0 h 131445"/>
                  <a:gd name="connsiteX0" fmla="*/ 9525 w 123825"/>
                  <a:gd name="connsiteY0" fmla="*/ 0 h 158115"/>
                  <a:gd name="connsiteX1" fmla="*/ 123825 w 123825"/>
                  <a:gd name="connsiteY1" fmla="*/ 55245 h 158115"/>
                  <a:gd name="connsiteX2" fmla="*/ 106680 w 123825"/>
                  <a:gd name="connsiteY2" fmla="*/ 158115 h 158115"/>
                  <a:gd name="connsiteX3" fmla="*/ 0 w 123825"/>
                  <a:gd name="connsiteY3" fmla="*/ 72390 h 158115"/>
                  <a:gd name="connsiteX4" fmla="*/ 9525 w 123825"/>
                  <a:gd name="connsiteY4" fmla="*/ 0 h 158115"/>
                  <a:gd name="connsiteX0" fmla="*/ 5715 w 120015"/>
                  <a:gd name="connsiteY0" fmla="*/ 0 h 158115"/>
                  <a:gd name="connsiteX1" fmla="*/ 120015 w 120015"/>
                  <a:gd name="connsiteY1" fmla="*/ 55245 h 158115"/>
                  <a:gd name="connsiteX2" fmla="*/ 102870 w 120015"/>
                  <a:gd name="connsiteY2" fmla="*/ 158115 h 158115"/>
                  <a:gd name="connsiteX3" fmla="*/ 0 w 120015"/>
                  <a:gd name="connsiteY3" fmla="*/ 70485 h 158115"/>
                  <a:gd name="connsiteX4" fmla="*/ 5715 w 120015"/>
                  <a:gd name="connsiteY4" fmla="*/ 0 h 158115"/>
                  <a:gd name="connsiteX0" fmla="*/ 5715 w 116205"/>
                  <a:gd name="connsiteY0" fmla="*/ 0 h 158115"/>
                  <a:gd name="connsiteX1" fmla="*/ 116205 w 116205"/>
                  <a:gd name="connsiteY1" fmla="*/ 60960 h 158115"/>
                  <a:gd name="connsiteX2" fmla="*/ 102870 w 116205"/>
                  <a:gd name="connsiteY2" fmla="*/ 158115 h 158115"/>
                  <a:gd name="connsiteX3" fmla="*/ 0 w 116205"/>
                  <a:gd name="connsiteY3" fmla="*/ 70485 h 158115"/>
                  <a:gd name="connsiteX4" fmla="*/ 5715 w 116205"/>
                  <a:gd name="connsiteY4" fmla="*/ 0 h 158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205" h="158115">
                    <a:moveTo>
                      <a:pt x="5715" y="0"/>
                    </a:moveTo>
                    <a:lnTo>
                      <a:pt x="116205" y="60960"/>
                    </a:lnTo>
                    <a:lnTo>
                      <a:pt x="102870" y="158115"/>
                    </a:lnTo>
                    <a:lnTo>
                      <a:pt x="0" y="70485"/>
                    </a:lnTo>
                    <a:lnTo>
                      <a:pt x="5715" y="0"/>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7" name="Freeform 28">
                <a:extLst>
                  <a:ext uri="{FF2B5EF4-FFF2-40B4-BE49-F238E27FC236}">
                    <a16:creationId xmlns:a16="http://schemas.microsoft.com/office/drawing/2014/main" id="{E0581A6C-1C66-4F28-A18A-515685E5ADB4}"/>
                  </a:ext>
                </a:extLst>
              </p:cNvPr>
              <p:cNvSpPr/>
              <p:nvPr/>
            </p:nvSpPr>
            <p:spPr bwMode="gray">
              <a:xfrm flipH="1">
                <a:off x="-4375062" y="2386072"/>
                <a:ext cx="116205" cy="158115"/>
              </a:xfrm>
              <a:custGeom>
                <a:avLst/>
                <a:gdLst>
                  <a:gd name="connsiteX0" fmla="*/ 9525 w 123825"/>
                  <a:gd name="connsiteY0" fmla="*/ 0 h 131445"/>
                  <a:gd name="connsiteX1" fmla="*/ 123825 w 123825"/>
                  <a:gd name="connsiteY1" fmla="*/ 55245 h 131445"/>
                  <a:gd name="connsiteX2" fmla="*/ 120015 w 123825"/>
                  <a:gd name="connsiteY2" fmla="*/ 131445 h 131445"/>
                  <a:gd name="connsiteX3" fmla="*/ 0 w 123825"/>
                  <a:gd name="connsiteY3" fmla="*/ 72390 h 131445"/>
                  <a:gd name="connsiteX4" fmla="*/ 9525 w 123825"/>
                  <a:gd name="connsiteY4" fmla="*/ 0 h 131445"/>
                  <a:gd name="connsiteX0" fmla="*/ 9525 w 123825"/>
                  <a:gd name="connsiteY0" fmla="*/ 0 h 158115"/>
                  <a:gd name="connsiteX1" fmla="*/ 123825 w 123825"/>
                  <a:gd name="connsiteY1" fmla="*/ 55245 h 158115"/>
                  <a:gd name="connsiteX2" fmla="*/ 106680 w 123825"/>
                  <a:gd name="connsiteY2" fmla="*/ 158115 h 158115"/>
                  <a:gd name="connsiteX3" fmla="*/ 0 w 123825"/>
                  <a:gd name="connsiteY3" fmla="*/ 72390 h 158115"/>
                  <a:gd name="connsiteX4" fmla="*/ 9525 w 123825"/>
                  <a:gd name="connsiteY4" fmla="*/ 0 h 158115"/>
                  <a:gd name="connsiteX0" fmla="*/ 5715 w 120015"/>
                  <a:gd name="connsiteY0" fmla="*/ 0 h 158115"/>
                  <a:gd name="connsiteX1" fmla="*/ 120015 w 120015"/>
                  <a:gd name="connsiteY1" fmla="*/ 55245 h 158115"/>
                  <a:gd name="connsiteX2" fmla="*/ 102870 w 120015"/>
                  <a:gd name="connsiteY2" fmla="*/ 158115 h 158115"/>
                  <a:gd name="connsiteX3" fmla="*/ 0 w 120015"/>
                  <a:gd name="connsiteY3" fmla="*/ 70485 h 158115"/>
                  <a:gd name="connsiteX4" fmla="*/ 5715 w 120015"/>
                  <a:gd name="connsiteY4" fmla="*/ 0 h 158115"/>
                  <a:gd name="connsiteX0" fmla="*/ 5715 w 116205"/>
                  <a:gd name="connsiteY0" fmla="*/ 0 h 158115"/>
                  <a:gd name="connsiteX1" fmla="*/ 116205 w 116205"/>
                  <a:gd name="connsiteY1" fmla="*/ 60960 h 158115"/>
                  <a:gd name="connsiteX2" fmla="*/ 102870 w 116205"/>
                  <a:gd name="connsiteY2" fmla="*/ 158115 h 158115"/>
                  <a:gd name="connsiteX3" fmla="*/ 0 w 116205"/>
                  <a:gd name="connsiteY3" fmla="*/ 70485 h 158115"/>
                  <a:gd name="connsiteX4" fmla="*/ 5715 w 116205"/>
                  <a:gd name="connsiteY4" fmla="*/ 0 h 158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205" h="158115">
                    <a:moveTo>
                      <a:pt x="5715" y="0"/>
                    </a:moveTo>
                    <a:lnTo>
                      <a:pt x="116205" y="60960"/>
                    </a:lnTo>
                    <a:lnTo>
                      <a:pt x="102870" y="158115"/>
                    </a:lnTo>
                    <a:lnTo>
                      <a:pt x="0" y="70485"/>
                    </a:lnTo>
                    <a:lnTo>
                      <a:pt x="5715" y="0"/>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8" name="Isosceles Triangle 57">
                <a:extLst>
                  <a:ext uri="{FF2B5EF4-FFF2-40B4-BE49-F238E27FC236}">
                    <a16:creationId xmlns:a16="http://schemas.microsoft.com/office/drawing/2014/main" id="{E1E7DAA2-9DC0-4085-A56F-D50B16525AAA}"/>
                  </a:ext>
                </a:extLst>
              </p:cNvPr>
              <p:cNvSpPr/>
              <p:nvPr/>
            </p:nvSpPr>
            <p:spPr bwMode="gray">
              <a:xfrm>
                <a:off x="-4433613" y="2572231"/>
                <a:ext cx="87602" cy="164997"/>
              </a:xfrm>
              <a:prstGeom prst="triangl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9" name="Isosceles Triangle 82">
                <a:extLst>
                  <a:ext uri="{FF2B5EF4-FFF2-40B4-BE49-F238E27FC236}">
                    <a16:creationId xmlns:a16="http://schemas.microsoft.com/office/drawing/2014/main" id="{2399B2B9-5A5E-428E-BD34-DBA3E57BAD26}"/>
                  </a:ext>
                </a:extLst>
              </p:cNvPr>
              <p:cNvSpPr/>
              <p:nvPr/>
            </p:nvSpPr>
            <p:spPr bwMode="gray">
              <a:xfrm flipV="1">
                <a:off x="-4415877" y="2500371"/>
                <a:ext cx="52130" cy="71859"/>
              </a:xfrm>
              <a:custGeom>
                <a:avLst/>
                <a:gdLst/>
                <a:ahLst/>
                <a:cxnLst/>
                <a:rect l="l" t="t" r="r" b="b"/>
                <a:pathLst>
                  <a:path w="52130" h="71859">
                    <a:moveTo>
                      <a:pt x="3994" y="71859"/>
                    </a:moveTo>
                    <a:lnTo>
                      <a:pt x="48136" y="71859"/>
                    </a:lnTo>
                    <a:lnTo>
                      <a:pt x="52130" y="42761"/>
                    </a:lnTo>
                    <a:lnTo>
                      <a:pt x="26065" y="0"/>
                    </a:lnTo>
                    <a:lnTo>
                      <a:pt x="0" y="42761"/>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0" name="Isosceles Triangle 21">
                <a:extLst>
                  <a:ext uri="{FF2B5EF4-FFF2-40B4-BE49-F238E27FC236}">
                    <a16:creationId xmlns:a16="http://schemas.microsoft.com/office/drawing/2014/main" id="{EAC95157-D3A0-4CC1-A328-E6AE0EC67BE5}"/>
                  </a:ext>
                </a:extLst>
              </p:cNvPr>
              <p:cNvSpPr/>
              <p:nvPr/>
            </p:nvSpPr>
            <p:spPr bwMode="gray">
              <a:xfrm>
                <a:off x="-4806656" y="2420434"/>
                <a:ext cx="832973" cy="316795"/>
              </a:xfrm>
              <a:custGeom>
                <a:avLst/>
                <a:gdLst>
                  <a:gd name="connsiteX0" fmla="*/ 416844 w 832973"/>
                  <a:gd name="connsiteY0" fmla="*/ 87536 h 324706"/>
                  <a:gd name="connsiteX1" fmla="*/ 434089 w 832973"/>
                  <a:gd name="connsiteY1" fmla="*/ 87849 h 324706"/>
                  <a:gd name="connsiteX2" fmla="*/ 399600 w 832973"/>
                  <a:gd name="connsiteY2" fmla="*/ 87849 h 324706"/>
                  <a:gd name="connsiteX3" fmla="*/ 416844 w 832973"/>
                  <a:gd name="connsiteY3" fmla="*/ 87536 h 324706"/>
                  <a:gd name="connsiteX4" fmla="*/ 431594 w 832973"/>
                  <a:gd name="connsiteY4" fmla="*/ 34510 h 324706"/>
                  <a:gd name="connsiteX5" fmla="*/ 438915 w 832973"/>
                  <a:gd name="connsiteY5" fmla="*/ 87849 h 324706"/>
                  <a:gd name="connsiteX6" fmla="*/ 438200 w 832973"/>
                  <a:gd name="connsiteY6" fmla="*/ 87849 h 324706"/>
                  <a:gd name="connsiteX7" fmla="*/ 434150 w 832973"/>
                  <a:gd name="connsiteY7" fmla="*/ 87849 h 324706"/>
                  <a:gd name="connsiteX8" fmla="*/ 438816 w 832973"/>
                  <a:gd name="connsiteY8" fmla="*/ 87133 h 324706"/>
                  <a:gd name="connsiteX9" fmla="*/ 431594 w 832973"/>
                  <a:gd name="connsiteY9" fmla="*/ 34510 h 324706"/>
                  <a:gd name="connsiteX10" fmla="*/ 288103 w 832973"/>
                  <a:gd name="connsiteY10" fmla="*/ 7911 h 324706"/>
                  <a:gd name="connsiteX11" fmla="*/ 288094 w 832973"/>
                  <a:gd name="connsiteY11" fmla="*/ 8024 h 324706"/>
                  <a:gd name="connsiteX12" fmla="*/ 288818 w 832973"/>
                  <a:gd name="connsiteY12" fmla="*/ 7911 h 324706"/>
                  <a:gd name="connsiteX13" fmla="*/ 285889 w 832973"/>
                  <a:gd name="connsiteY13" fmla="*/ 44035 h 324706"/>
                  <a:gd name="connsiteX14" fmla="*/ 388119 w 832973"/>
                  <a:gd name="connsiteY14" fmla="*/ 131120 h 324706"/>
                  <a:gd name="connsiteX15" fmla="*/ 390064 w 832973"/>
                  <a:gd name="connsiteY15" fmla="*/ 116947 h 324706"/>
                  <a:gd name="connsiteX16" fmla="*/ 390648 w 832973"/>
                  <a:gd name="connsiteY16" fmla="*/ 117905 h 324706"/>
                  <a:gd name="connsiteX17" fmla="*/ 390779 w 832973"/>
                  <a:gd name="connsiteY17" fmla="*/ 116947 h 324706"/>
                  <a:gd name="connsiteX18" fmla="*/ 416487 w 832973"/>
                  <a:gd name="connsiteY18" fmla="*/ 159122 h 324706"/>
                  <a:gd name="connsiteX19" fmla="*/ 442194 w 832973"/>
                  <a:gd name="connsiteY19" fmla="*/ 116947 h 324706"/>
                  <a:gd name="connsiteX20" fmla="*/ 442326 w 832973"/>
                  <a:gd name="connsiteY20" fmla="*/ 117905 h 324706"/>
                  <a:gd name="connsiteX21" fmla="*/ 442909 w 832973"/>
                  <a:gd name="connsiteY21" fmla="*/ 116947 h 324706"/>
                  <a:gd name="connsiteX22" fmla="*/ 444854 w 832973"/>
                  <a:gd name="connsiteY22" fmla="*/ 131120 h 324706"/>
                  <a:gd name="connsiteX23" fmla="*/ 547084 w 832973"/>
                  <a:gd name="connsiteY23" fmla="*/ 44035 h 324706"/>
                  <a:gd name="connsiteX24" fmla="*/ 544155 w 832973"/>
                  <a:gd name="connsiteY24" fmla="*/ 7911 h 324706"/>
                  <a:gd name="connsiteX25" fmla="*/ 544879 w 832973"/>
                  <a:gd name="connsiteY25" fmla="*/ 8024 h 324706"/>
                  <a:gd name="connsiteX26" fmla="*/ 544870 w 832973"/>
                  <a:gd name="connsiteY26" fmla="*/ 7911 h 324706"/>
                  <a:gd name="connsiteX27" fmla="*/ 727791 w 832973"/>
                  <a:gd name="connsiteY27" fmla="*/ 36431 h 324706"/>
                  <a:gd name="connsiteX28" fmla="*/ 756086 w 832973"/>
                  <a:gd name="connsiteY28" fmla="*/ 48878 h 324706"/>
                  <a:gd name="connsiteX29" fmla="*/ 756011 w 832973"/>
                  <a:gd name="connsiteY29" fmla="*/ 49159 h 324706"/>
                  <a:gd name="connsiteX30" fmla="*/ 802687 w 832973"/>
                  <a:gd name="connsiteY30" fmla="*/ 163429 h 324706"/>
                  <a:gd name="connsiteX31" fmla="*/ 832973 w 832973"/>
                  <a:gd name="connsiteY31" fmla="*/ 324706 h 324706"/>
                  <a:gd name="connsiteX32" fmla="*/ 731916 w 832973"/>
                  <a:gd name="connsiteY32" fmla="*/ 324706 h 324706"/>
                  <a:gd name="connsiteX33" fmla="*/ 628934 w 832973"/>
                  <a:gd name="connsiteY33" fmla="*/ 324706 h 324706"/>
                  <a:gd name="connsiteX34" fmla="*/ 628219 w 832973"/>
                  <a:gd name="connsiteY34" fmla="*/ 324706 h 324706"/>
                  <a:gd name="connsiteX35" fmla="*/ 460645 w 832973"/>
                  <a:gd name="connsiteY35" fmla="*/ 324706 h 324706"/>
                  <a:gd name="connsiteX36" fmla="*/ 459930 w 832973"/>
                  <a:gd name="connsiteY36" fmla="*/ 324706 h 324706"/>
                  <a:gd name="connsiteX37" fmla="*/ 416487 w 832973"/>
                  <a:gd name="connsiteY37" fmla="*/ 161056 h 324706"/>
                  <a:gd name="connsiteX38" fmla="*/ 373043 w 832973"/>
                  <a:gd name="connsiteY38" fmla="*/ 324706 h 324706"/>
                  <a:gd name="connsiteX39" fmla="*/ 372328 w 832973"/>
                  <a:gd name="connsiteY39" fmla="*/ 324706 h 324706"/>
                  <a:gd name="connsiteX40" fmla="*/ 204754 w 832973"/>
                  <a:gd name="connsiteY40" fmla="*/ 324706 h 324706"/>
                  <a:gd name="connsiteX41" fmla="*/ 204039 w 832973"/>
                  <a:gd name="connsiteY41" fmla="*/ 324706 h 324706"/>
                  <a:gd name="connsiteX42" fmla="*/ 101057 w 832973"/>
                  <a:gd name="connsiteY42" fmla="*/ 324706 h 324706"/>
                  <a:gd name="connsiteX43" fmla="*/ 0 w 832973"/>
                  <a:gd name="connsiteY43" fmla="*/ 324706 h 324706"/>
                  <a:gd name="connsiteX44" fmla="*/ 30286 w 832973"/>
                  <a:gd name="connsiteY44" fmla="*/ 163429 h 324706"/>
                  <a:gd name="connsiteX45" fmla="*/ 76963 w 832973"/>
                  <a:gd name="connsiteY45" fmla="*/ 49159 h 324706"/>
                  <a:gd name="connsiteX46" fmla="*/ 76887 w 832973"/>
                  <a:gd name="connsiteY46" fmla="*/ 48878 h 324706"/>
                  <a:gd name="connsiteX47" fmla="*/ 105182 w 832973"/>
                  <a:gd name="connsiteY47" fmla="*/ 36431 h 324706"/>
                  <a:gd name="connsiteX48" fmla="*/ 288103 w 832973"/>
                  <a:gd name="connsiteY48" fmla="*/ 7911 h 324706"/>
                  <a:gd name="connsiteX49" fmla="*/ 494142 w 832973"/>
                  <a:gd name="connsiteY49" fmla="*/ 1 h 324706"/>
                  <a:gd name="connsiteX50" fmla="*/ 494142 w 832973"/>
                  <a:gd name="connsiteY50" fmla="*/ 1 h 324706"/>
                  <a:gd name="connsiteX51" fmla="*/ 431594 w 832973"/>
                  <a:gd name="connsiteY51" fmla="*/ 34510 h 324706"/>
                  <a:gd name="connsiteX52" fmla="*/ 494142 w 832973"/>
                  <a:gd name="connsiteY52" fmla="*/ 1 h 324706"/>
                  <a:gd name="connsiteX53" fmla="*/ 339389 w 832973"/>
                  <a:gd name="connsiteY53" fmla="*/ 42320 h 324706"/>
                  <a:gd name="connsiteX54" fmla="*/ 402094 w 832973"/>
                  <a:gd name="connsiteY54" fmla="*/ 34510 h 324706"/>
                  <a:gd name="connsiteX55" fmla="*/ 394871 w 832973"/>
                  <a:gd name="connsiteY55" fmla="*/ 87133 h 324706"/>
                  <a:gd name="connsiteX56" fmla="*/ 399539 w 832973"/>
                  <a:gd name="connsiteY56" fmla="*/ 87849 h 324706"/>
                  <a:gd name="connsiteX57" fmla="*/ 394773 w 832973"/>
                  <a:gd name="connsiteY57" fmla="*/ 87849 h 324706"/>
                  <a:gd name="connsiteX58" fmla="*/ 394058 w 832973"/>
                  <a:gd name="connsiteY58" fmla="*/ 87849 h 324706"/>
                  <a:gd name="connsiteX59" fmla="*/ 401379 w 832973"/>
                  <a:gd name="connsiteY59" fmla="*/ 34510 h 324706"/>
                  <a:gd name="connsiteX60" fmla="*/ 338831 w 832973"/>
                  <a:gd name="connsiteY60" fmla="*/ 1 h 324706"/>
                  <a:gd name="connsiteX61" fmla="*/ 339389 w 832973"/>
                  <a:gd name="connsiteY61" fmla="*/ 42320 h 324706"/>
                  <a:gd name="connsiteX0" fmla="*/ 416844 w 832973"/>
                  <a:gd name="connsiteY0" fmla="*/ 87535 h 324705"/>
                  <a:gd name="connsiteX1" fmla="*/ 434089 w 832973"/>
                  <a:gd name="connsiteY1" fmla="*/ 87848 h 324705"/>
                  <a:gd name="connsiteX2" fmla="*/ 399600 w 832973"/>
                  <a:gd name="connsiteY2" fmla="*/ 87848 h 324705"/>
                  <a:gd name="connsiteX3" fmla="*/ 416844 w 832973"/>
                  <a:gd name="connsiteY3" fmla="*/ 87535 h 324705"/>
                  <a:gd name="connsiteX4" fmla="*/ 431594 w 832973"/>
                  <a:gd name="connsiteY4" fmla="*/ 34509 h 324705"/>
                  <a:gd name="connsiteX5" fmla="*/ 438915 w 832973"/>
                  <a:gd name="connsiteY5" fmla="*/ 87848 h 324705"/>
                  <a:gd name="connsiteX6" fmla="*/ 438200 w 832973"/>
                  <a:gd name="connsiteY6" fmla="*/ 87848 h 324705"/>
                  <a:gd name="connsiteX7" fmla="*/ 434150 w 832973"/>
                  <a:gd name="connsiteY7" fmla="*/ 87848 h 324705"/>
                  <a:gd name="connsiteX8" fmla="*/ 438816 w 832973"/>
                  <a:gd name="connsiteY8" fmla="*/ 87132 h 324705"/>
                  <a:gd name="connsiteX9" fmla="*/ 431594 w 832973"/>
                  <a:gd name="connsiteY9" fmla="*/ 34509 h 324705"/>
                  <a:gd name="connsiteX10" fmla="*/ 288103 w 832973"/>
                  <a:gd name="connsiteY10" fmla="*/ 7910 h 324705"/>
                  <a:gd name="connsiteX11" fmla="*/ 288094 w 832973"/>
                  <a:gd name="connsiteY11" fmla="*/ 8023 h 324705"/>
                  <a:gd name="connsiteX12" fmla="*/ 288818 w 832973"/>
                  <a:gd name="connsiteY12" fmla="*/ 7910 h 324705"/>
                  <a:gd name="connsiteX13" fmla="*/ 285889 w 832973"/>
                  <a:gd name="connsiteY13" fmla="*/ 44034 h 324705"/>
                  <a:gd name="connsiteX14" fmla="*/ 388119 w 832973"/>
                  <a:gd name="connsiteY14" fmla="*/ 131119 h 324705"/>
                  <a:gd name="connsiteX15" fmla="*/ 390064 w 832973"/>
                  <a:gd name="connsiteY15" fmla="*/ 116946 h 324705"/>
                  <a:gd name="connsiteX16" fmla="*/ 390648 w 832973"/>
                  <a:gd name="connsiteY16" fmla="*/ 117904 h 324705"/>
                  <a:gd name="connsiteX17" fmla="*/ 390779 w 832973"/>
                  <a:gd name="connsiteY17" fmla="*/ 116946 h 324705"/>
                  <a:gd name="connsiteX18" fmla="*/ 416487 w 832973"/>
                  <a:gd name="connsiteY18" fmla="*/ 159121 h 324705"/>
                  <a:gd name="connsiteX19" fmla="*/ 442194 w 832973"/>
                  <a:gd name="connsiteY19" fmla="*/ 116946 h 324705"/>
                  <a:gd name="connsiteX20" fmla="*/ 442326 w 832973"/>
                  <a:gd name="connsiteY20" fmla="*/ 117904 h 324705"/>
                  <a:gd name="connsiteX21" fmla="*/ 442909 w 832973"/>
                  <a:gd name="connsiteY21" fmla="*/ 116946 h 324705"/>
                  <a:gd name="connsiteX22" fmla="*/ 444854 w 832973"/>
                  <a:gd name="connsiteY22" fmla="*/ 131119 h 324705"/>
                  <a:gd name="connsiteX23" fmla="*/ 547084 w 832973"/>
                  <a:gd name="connsiteY23" fmla="*/ 44034 h 324705"/>
                  <a:gd name="connsiteX24" fmla="*/ 544155 w 832973"/>
                  <a:gd name="connsiteY24" fmla="*/ 7910 h 324705"/>
                  <a:gd name="connsiteX25" fmla="*/ 544879 w 832973"/>
                  <a:gd name="connsiteY25" fmla="*/ 8023 h 324705"/>
                  <a:gd name="connsiteX26" fmla="*/ 544870 w 832973"/>
                  <a:gd name="connsiteY26" fmla="*/ 7910 h 324705"/>
                  <a:gd name="connsiteX27" fmla="*/ 727791 w 832973"/>
                  <a:gd name="connsiteY27" fmla="*/ 36430 h 324705"/>
                  <a:gd name="connsiteX28" fmla="*/ 756086 w 832973"/>
                  <a:gd name="connsiteY28" fmla="*/ 48877 h 324705"/>
                  <a:gd name="connsiteX29" fmla="*/ 756011 w 832973"/>
                  <a:gd name="connsiteY29" fmla="*/ 49158 h 324705"/>
                  <a:gd name="connsiteX30" fmla="*/ 802687 w 832973"/>
                  <a:gd name="connsiteY30" fmla="*/ 163428 h 324705"/>
                  <a:gd name="connsiteX31" fmla="*/ 832973 w 832973"/>
                  <a:gd name="connsiteY31" fmla="*/ 324705 h 324705"/>
                  <a:gd name="connsiteX32" fmla="*/ 731916 w 832973"/>
                  <a:gd name="connsiteY32" fmla="*/ 324705 h 324705"/>
                  <a:gd name="connsiteX33" fmla="*/ 628934 w 832973"/>
                  <a:gd name="connsiteY33" fmla="*/ 324705 h 324705"/>
                  <a:gd name="connsiteX34" fmla="*/ 628219 w 832973"/>
                  <a:gd name="connsiteY34" fmla="*/ 324705 h 324705"/>
                  <a:gd name="connsiteX35" fmla="*/ 460645 w 832973"/>
                  <a:gd name="connsiteY35" fmla="*/ 324705 h 324705"/>
                  <a:gd name="connsiteX36" fmla="*/ 459930 w 832973"/>
                  <a:gd name="connsiteY36" fmla="*/ 324705 h 324705"/>
                  <a:gd name="connsiteX37" fmla="*/ 416487 w 832973"/>
                  <a:gd name="connsiteY37" fmla="*/ 161055 h 324705"/>
                  <a:gd name="connsiteX38" fmla="*/ 373043 w 832973"/>
                  <a:gd name="connsiteY38" fmla="*/ 324705 h 324705"/>
                  <a:gd name="connsiteX39" fmla="*/ 372328 w 832973"/>
                  <a:gd name="connsiteY39" fmla="*/ 324705 h 324705"/>
                  <a:gd name="connsiteX40" fmla="*/ 204754 w 832973"/>
                  <a:gd name="connsiteY40" fmla="*/ 324705 h 324705"/>
                  <a:gd name="connsiteX41" fmla="*/ 204039 w 832973"/>
                  <a:gd name="connsiteY41" fmla="*/ 324705 h 324705"/>
                  <a:gd name="connsiteX42" fmla="*/ 101057 w 832973"/>
                  <a:gd name="connsiteY42" fmla="*/ 324705 h 324705"/>
                  <a:gd name="connsiteX43" fmla="*/ 0 w 832973"/>
                  <a:gd name="connsiteY43" fmla="*/ 324705 h 324705"/>
                  <a:gd name="connsiteX44" fmla="*/ 30286 w 832973"/>
                  <a:gd name="connsiteY44" fmla="*/ 163428 h 324705"/>
                  <a:gd name="connsiteX45" fmla="*/ 76963 w 832973"/>
                  <a:gd name="connsiteY45" fmla="*/ 49158 h 324705"/>
                  <a:gd name="connsiteX46" fmla="*/ 76887 w 832973"/>
                  <a:gd name="connsiteY46" fmla="*/ 48877 h 324705"/>
                  <a:gd name="connsiteX47" fmla="*/ 105182 w 832973"/>
                  <a:gd name="connsiteY47" fmla="*/ 36430 h 324705"/>
                  <a:gd name="connsiteX48" fmla="*/ 288103 w 832973"/>
                  <a:gd name="connsiteY48" fmla="*/ 7910 h 324705"/>
                  <a:gd name="connsiteX49" fmla="*/ 494142 w 832973"/>
                  <a:gd name="connsiteY49" fmla="*/ 0 h 324705"/>
                  <a:gd name="connsiteX50" fmla="*/ 494142 w 832973"/>
                  <a:gd name="connsiteY50" fmla="*/ 0 h 324705"/>
                  <a:gd name="connsiteX51" fmla="*/ 431594 w 832973"/>
                  <a:gd name="connsiteY51" fmla="*/ 34509 h 324705"/>
                  <a:gd name="connsiteX52" fmla="*/ 494142 w 832973"/>
                  <a:gd name="connsiteY52" fmla="*/ 0 h 324705"/>
                  <a:gd name="connsiteX53" fmla="*/ 339389 w 832973"/>
                  <a:gd name="connsiteY53" fmla="*/ 42319 h 324705"/>
                  <a:gd name="connsiteX54" fmla="*/ 402094 w 832973"/>
                  <a:gd name="connsiteY54" fmla="*/ 34509 h 324705"/>
                  <a:gd name="connsiteX55" fmla="*/ 394871 w 832973"/>
                  <a:gd name="connsiteY55" fmla="*/ 87132 h 324705"/>
                  <a:gd name="connsiteX56" fmla="*/ 399539 w 832973"/>
                  <a:gd name="connsiteY56" fmla="*/ 87848 h 324705"/>
                  <a:gd name="connsiteX57" fmla="*/ 394773 w 832973"/>
                  <a:gd name="connsiteY57" fmla="*/ 87848 h 324705"/>
                  <a:gd name="connsiteX58" fmla="*/ 394058 w 832973"/>
                  <a:gd name="connsiteY58" fmla="*/ 87848 h 324705"/>
                  <a:gd name="connsiteX59" fmla="*/ 401379 w 832973"/>
                  <a:gd name="connsiteY59" fmla="*/ 34509 h 324705"/>
                  <a:gd name="connsiteX60" fmla="*/ 339389 w 832973"/>
                  <a:gd name="connsiteY60" fmla="*/ 42319 h 324705"/>
                  <a:gd name="connsiteX0" fmla="*/ 416844 w 832973"/>
                  <a:gd name="connsiteY0" fmla="*/ 87535 h 324705"/>
                  <a:gd name="connsiteX1" fmla="*/ 347088 w 832973"/>
                  <a:gd name="connsiteY1" fmla="*/ 42219 h 324705"/>
                  <a:gd name="connsiteX2" fmla="*/ 434089 w 832973"/>
                  <a:gd name="connsiteY2" fmla="*/ 87848 h 324705"/>
                  <a:gd name="connsiteX3" fmla="*/ 399600 w 832973"/>
                  <a:gd name="connsiteY3" fmla="*/ 87848 h 324705"/>
                  <a:gd name="connsiteX4" fmla="*/ 416844 w 832973"/>
                  <a:gd name="connsiteY4" fmla="*/ 87535 h 324705"/>
                  <a:gd name="connsiteX5" fmla="*/ 431594 w 832973"/>
                  <a:gd name="connsiteY5" fmla="*/ 34509 h 324705"/>
                  <a:gd name="connsiteX6" fmla="*/ 438915 w 832973"/>
                  <a:gd name="connsiteY6" fmla="*/ 87848 h 324705"/>
                  <a:gd name="connsiteX7" fmla="*/ 438200 w 832973"/>
                  <a:gd name="connsiteY7" fmla="*/ 87848 h 324705"/>
                  <a:gd name="connsiteX8" fmla="*/ 434150 w 832973"/>
                  <a:gd name="connsiteY8" fmla="*/ 87848 h 324705"/>
                  <a:gd name="connsiteX9" fmla="*/ 438816 w 832973"/>
                  <a:gd name="connsiteY9" fmla="*/ 87132 h 324705"/>
                  <a:gd name="connsiteX10" fmla="*/ 431594 w 832973"/>
                  <a:gd name="connsiteY10" fmla="*/ 34509 h 324705"/>
                  <a:gd name="connsiteX11" fmla="*/ 288103 w 832973"/>
                  <a:gd name="connsiteY11" fmla="*/ 7910 h 324705"/>
                  <a:gd name="connsiteX12" fmla="*/ 288094 w 832973"/>
                  <a:gd name="connsiteY12" fmla="*/ 8023 h 324705"/>
                  <a:gd name="connsiteX13" fmla="*/ 288818 w 832973"/>
                  <a:gd name="connsiteY13" fmla="*/ 7910 h 324705"/>
                  <a:gd name="connsiteX14" fmla="*/ 285889 w 832973"/>
                  <a:gd name="connsiteY14" fmla="*/ 44034 h 324705"/>
                  <a:gd name="connsiteX15" fmla="*/ 388119 w 832973"/>
                  <a:gd name="connsiteY15" fmla="*/ 131119 h 324705"/>
                  <a:gd name="connsiteX16" fmla="*/ 390064 w 832973"/>
                  <a:gd name="connsiteY16" fmla="*/ 116946 h 324705"/>
                  <a:gd name="connsiteX17" fmla="*/ 390648 w 832973"/>
                  <a:gd name="connsiteY17" fmla="*/ 117904 h 324705"/>
                  <a:gd name="connsiteX18" fmla="*/ 390779 w 832973"/>
                  <a:gd name="connsiteY18" fmla="*/ 116946 h 324705"/>
                  <a:gd name="connsiteX19" fmla="*/ 416487 w 832973"/>
                  <a:gd name="connsiteY19" fmla="*/ 159121 h 324705"/>
                  <a:gd name="connsiteX20" fmla="*/ 442194 w 832973"/>
                  <a:gd name="connsiteY20" fmla="*/ 116946 h 324705"/>
                  <a:gd name="connsiteX21" fmla="*/ 442326 w 832973"/>
                  <a:gd name="connsiteY21" fmla="*/ 117904 h 324705"/>
                  <a:gd name="connsiteX22" fmla="*/ 442909 w 832973"/>
                  <a:gd name="connsiteY22" fmla="*/ 116946 h 324705"/>
                  <a:gd name="connsiteX23" fmla="*/ 444854 w 832973"/>
                  <a:gd name="connsiteY23" fmla="*/ 131119 h 324705"/>
                  <a:gd name="connsiteX24" fmla="*/ 547084 w 832973"/>
                  <a:gd name="connsiteY24" fmla="*/ 44034 h 324705"/>
                  <a:gd name="connsiteX25" fmla="*/ 544155 w 832973"/>
                  <a:gd name="connsiteY25" fmla="*/ 7910 h 324705"/>
                  <a:gd name="connsiteX26" fmla="*/ 544879 w 832973"/>
                  <a:gd name="connsiteY26" fmla="*/ 8023 h 324705"/>
                  <a:gd name="connsiteX27" fmla="*/ 544870 w 832973"/>
                  <a:gd name="connsiteY27" fmla="*/ 7910 h 324705"/>
                  <a:gd name="connsiteX28" fmla="*/ 727791 w 832973"/>
                  <a:gd name="connsiteY28" fmla="*/ 36430 h 324705"/>
                  <a:gd name="connsiteX29" fmla="*/ 756086 w 832973"/>
                  <a:gd name="connsiteY29" fmla="*/ 48877 h 324705"/>
                  <a:gd name="connsiteX30" fmla="*/ 756011 w 832973"/>
                  <a:gd name="connsiteY30" fmla="*/ 49158 h 324705"/>
                  <a:gd name="connsiteX31" fmla="*/ 802687 w 832973"/>
                  <a:gd name="connsiteY31" fmla="*/ 163428 h 324705"/>
                  <a:gd name="connsiteX32" fmla="*/ 832973 w 832973"/>
                  <a:gd name="connsiteY32" fmla="*/ 324705 h 324705"/>
                  <a:gd name="connsiteX33" fmla="*/ 731916 w 832973"/>
                  <a:gd name="connsiteY33" fmla="*/ 324705 h 324705"/>
                  <a:gd name="connsiteX34" fmla="*/ 628934 w 832973"/>
                  <a:gd name="connsiteY34" fmla="*/ 324705 h 324705"/>
                  <a:gd name="connsiteX35" fmla="*/ 628219 w 832973"/>
                  <a:gd name="connsiteY35" fmla="*/ 324705 h 324705"/>
                  <a:gd name="connsiteX36" fmla="*/ 460645 w 832973"/>
                  <a:gd name="connsiteY36" fmla="*/ 324705 h 324705"/>
                  <a:gd name="connsiteX37" fmla="*/ 459930 w 832973"/>
                  <a:gd name="connsiteY37" fmla="*/ 324705 h 324705"/>
                  <a:gd name="connsiteX38" fmla="*/ 416487 w 832973"/>
                  <a:gd name="connsiteY38" fmla="*/ 161055 h 324705"/>
                  <a:gd name="connsiteX39" fmla="*/ 373043 w 832973"/>
                  <a:gd name="connsiteY39" fmla="*/ 324705 h 324705"/>
                  <a:gd name="connsiteX40" fmla="*/ 372328 w 832973"/>
                  <a:gd name="connsiteY40" fmla="*/ 324705 h 324705"/>
                  <a:gd name="connsiteX41" fmla="*/ 204754 w 832973"/>
                  <a:gd name="connsiteY41" fmla="*/ 324705 h 324705"/>
                  <a:gd name="connsiteX42" fmla="*/ 204039 w 832973"/>
                  <a:gd name="connsiteY42" fmla="*/ 324705 h 324705"/>
                  <a:gd name="connsiteX43" fmla="*/ 101057 w 832973"/>
                  <a:gd name="connsiteY43" fmla="*/ 324705 h 324705"/>
                  <a:gd name="connsiteX44" fmla="*/ 0 w 832973"/>
                  <a:gd name="connsiteY44" fmla="*/ 324705 h 324705"/>
                  <a:gd name="connsiteX45" fmla="*/ 30286 w 832973"/>
                  <a:gd name="connsiteY45" fmla="*/ 163428 h 324705"/>
                  <a:gd name="connsiteX46" fmla="*/ 76963 w 832973"/>
                  <a:gd name="connsiteY46" fmla="*/ 49158 h 324705"/>
                  <a:gd name="connsiteX47" fmla="*/ 76887 w 832973"/>
                  <a:gd name="connsiteY47" fmla="*/ 48877 h 324705"/>
                  <a:gd name="connsiteX48" fmla="*/ 105182 w 832973"/>
                  <a:gd name="connsiteY48" fmla="*/ 36430 h 324705"/>
                  <a:gd name="connsiteX49" fmla="*/ 288103 w 832973"/>
                  <a:gd name="connsiteY49" fmla="*/ 7910 h 324705"/>
                  <a:gd name="connsiteX50" fmla="*/ 494142 w 832973"/>
                  <a:gd name="connsiteY50" fmla="*/ 0 h 324705"/>
                  <a:gd name="connsiteX51" fmla="*/ 494142 w 832973"/>
                  <a:gd name="connsiteY51" fmla="*/ 0 h 324705"/>
                  <a:gd name="connsiteX52" fmla="*/ 431594 w 832973"/>
                  <a:gd name="connsiteY52" fmla="*/ 34509 h 324705"/>
                  <a:gd name="connsiteX53" fmla="*/ 494142 w 832973"/>
                  <a:gd name="connsiteY53" fmla="*/ 0 h 324705"/>
                  <a:gd name="connsiteX54" fmla="*/ 339389 w 832973"/>
                  <a:gd name="connsiteY54" fmla="*/ 42319 h 324705"/>
                  <a:gd name="connsiteX55" fmla="*/ 402094 w 832973"/>
                  <a:gd name="connsiteY55" fmla="*/ 34509 h 324705"/>
                  <a:gd name="connsiteX56" fmla="*/ 394871 w 832973"/>
                  <a:gd name="connsiteY56" fmla="*/ 87132 h 324705"/>
                  <a:gd name="connsiteX57" fmla="*/ 399539 w 832973"/>
                  <a:gd name="connsiteY57" fmla="*/ 87848 h 324705"/>
                  <a:gd name="connsiteX58" fmla="*/ 394773 w 832973"/>
                  <a:gd name="connsiteY58" fmla="*/ 87848 h 324705"/>
                  <a:gd name="connsiteX59" fmla="*/ 394058 w 832973"/>
                  <a:gd name="connsiteY59" fmla="*/ 87848 h 324705"/>
                  <a:gd name="connsiteX60" fmla="*/ 401379 w 832973"/>
                  <a:gd name="connsiteY60" fmla="*/ 34509 h 324705"/>
                  <a:gd name="connsiteX61" fmla="*/ 339389 w 832973"/>
                  <a:gd name="connsiteY61" fmla="*/ 42319 h 324705"/>
                  <a:gd name="connsiteX0" fmla="*/ 416844 w 832973"/>
                  <a:gd name="connsiteY0" fmla="*/ 87535 h 324705"/>
                  <a:gd name="connsiteX1" fmla="*/ 347088 w 832973"/>
                  <a:gd name="connsiteY1" fmla="*/ 42219 h 324705"/>
                  <a:gd name="connsiteX2" fmla="*/ 434089 w 832973"/>
                  <a:gd name="connsiteY2" fmla="*/ 87848 h 324705"/>
                  <a:gd name="connsiteX3" fmla="*/ 399600 w 832973"/>
                  <a:gd name="connsiteY3" fmla="*/ 87848 h 324705"/>
                  <a:gd name="connsiteX4" fmla="*/ 416844 w 832973"/>
                  <a:gd name="connsiteY4" fmla="*/ 87535 h 324705"/>
                  <a:gd name="connsiteX5" fmla="*/ 431594 w 832973"/>
                  <a:gd name="connsiteY5" fmla="*/ 34509 h 324705"/>
                  <a:gd name="connsiteX6" fmla="*/ 438915 w 832973"/>
                  <a:gd name="connsiteY6" fmla="*/ 87848 h 324705"/>
                  <a:gd name="connsiteX7" fmla="*/ 438200 w 832973"/>
                  <a:gd name="connsiteY7" fmla="*/ 87848 h 324705"/>
                  <a:gd name="connsiteX8" fmla="*/ 434150 w 832973"/>
                  <a:gd name="connsiteY8" fmla="*/ 87848 h 324705"/>
                  <a:gd name="connsiteX9" fmla="*/ 438816 w 832973"/>
                  <a:gd name="connsiteY9" fmla="*/ 87132 h 324705"/>
                  <a:gd name="connsiteX10" fmla="*/ 431594 w 832973"/>
                  <a:gd name="connsiteY10" fmla="*/ 34509 h 324705"/>
                  <a:gd name="connsiteX11" fmla="*/ 288103 w 832973"/>
                  <a:gd name="connsiteY11" fmla="*/ 7910 h 324705"/>
                  <a:gd name="connsiteX12" fmla="*/ 288094 w 832973"/>
                  <a:gd name="connsiteY12" fmla="*/ 8023 h 324705"/>
                  <a:gd name="connsiteX13" fmla="*/ 288818 w 832973"/>
                  <a:gd name="connsiteY13" fmla="*/ 7910 h 324705"/>
                  <a:gd name="connsiteX14" fmla="*/ 285889 w 832973"/>
                  <a:gd name="connsiteY14" fmla="*/ 44034 h 324705"/>
                  <a:gd name="connsiteX15" fmla="*/ 388119 w 832973"/>
                  <a:gd name="connsiteY15" fmla="*/ 131119 h 324705"/>
                  <a:gd name="connsiteX16" fmla="*/ 390064 w 832973"/>
                  <a:gd name="connsiteY16" fmla="*/ 116946 h 324705"/>
                  <a:gd name="connsiteX17" fmla="*/ 390648 w 832973"/>
                  <a:gd name="connsiteY17" fmla="*/ 117904 h 324705"/>
                  <a:gd name="connsiteX18" fmla="*/ 390779 w 832973"/>
                  <a:gd name="connsiteY18" fmla="*/ 116946 h 324705"/>
                  <a:gd name="connsiteX19" fmla="*/ 416487 w 832973"/>
                  <a:gd name="connsiteY19" fmla="*/ 159121 h 324705"/>
                  <a:gd name="connsiteX20" fmla="*/ 442194 w 832973"/>
                  <a:gd name="connsiteY20" fmla="*/ 116946 h 324705"/>
                  <a:gd name="connsiteX21" fmla="*/ 442326 w 832973"/>
                  <a:gd name="connsiteY21" fmla="*/ 117904 h 324705"/>
                  <a:gd name="connsiteX22" fmla="*/ 442909 w 832973"/>
                  <a:gd name="connsiteY22" fmla="*/ 116946 h 324705"/>
                  <a:gd name="connsiteX23" fmla="*/ 444854 w 832973"/>
                  <a:gd name="connsiteY23" fmla="*/ 131119 h 324705"/>
                  <a:gd name="connsiteX24" fmla="*/ 547084 w 832973"/>
                  <a:gd name="connsiteY24" fmla="*/ 44034 h 324705"/>
                  <a:gd name="connsiteX25" fmla="*/ 544155 w 832973"/>
                  <a:gd name="connsiteY25" fmla="*/ 7910 h 324705"/>
                  <a:gd name="connsiteX26" fmla="*/ 544879 w 832973"/>
                  <a:gd name="connsiteY26" fmla="*/ 8023 h 324705"/>
                  <a:gd name="connsiteX27" fmla="*/ 544870 w 832973"/>
                  <a:gd name="connsiteY27" fmla="*/ 7910 h 324705"/>
                  <a:gd name="connsiteX28" fmla="*/ 727791 w 832973"/>
                  <a:gd name="connsiteY28" fmla="*/ 36430 h 324705"/>
                  <a:gd name="connsiteX29" fmla="*/ 756086 w 832973"/>
                  <a:gd name="connsiteY29" fmla="*/ 48877 h 324705"/>
                  <a:gd name="connsiteX30" fmla="*/ 756011 w 832973"/>
                  <a:gd name="connsiteY30" fmla="*/ 49158 h 324705"/>
                  <a:gd name="connsiteX31" fmla="*/ 802687 w 832973"/>
                  <a:gd name="connsiteY31" fmla="*/ 163428 h 324705"/>
                  <a:gd name="connsiteX32" fmla="*/ 832973 w 832973"/>
                  <a:gd name="connsiteY32" fmla="*/ 324705 h 324705"/>
                  <a:gd name="connsiteX33" fmla="*/ 731916 w 832973"/>
                  <a:gd name="connsiteY33" fmla="*/ 324705 h 324705"/>
                  <a:gd name="connsiteX34" fmla="*/ 628934 w 832973"/>
                  <a:gd name="connsiteY34" fmla="*/ 324705 h 324705"/>
                  <a:gd name="connsiteX35" fmla="*/ 628219 w 832973"/>
                  <a:gd name="connsiteY35" fmla="*/ 324705 h 324705"/>
                  <a:gd name="connsiteX36" fmla="*/ 460645 w 832973"/>
                  <a:gd name="connsiteY36" fmla="*/ 324705 h 324705"/>
                  <a:gd name="connsiteX37" fmla="*/ 459930 w 832973"/>
                  <a:gd name="connsiteY37" fmla="*/ 324705 h 324705"/>
                  <a:gd name="connsiteX38" fmla="*/ 416487 w 832973"/>
                  <a:gd name="connsiteY38" fmla="*/ 161055 h 324705"/>
                  <a:gd name="connsiteX39" fmla="*/ 373043 w 832973"/>
                  <a:gd name="connsiteY39" fmla="*/ 324705 h 324705"/>
                  <a:gd name="connsiteX40" fmla="*/ 372328 w 832973"/>
                  <a:gd name="connsiteY40" fmla="*/ 324705 h 324705"/>
                  <a:gd name="connsiteX41" fmla="*/ 204754 w 832973"/>
                  <a:gd name="connsiteY41" fmla="*/ 324705 h 324705"/>
                  <a:gd name="connsiteX42" fmla="*/ 204039 w 832973"/>
                  <a:gd name="connsiteY42" fmla="*/ 324705 h 324705"/>
                  <a:gd name="connsiteX43" fmla="*/ 101057 w 832973"/>
                  <a:gd name="connsiteY43" fmla="*/ 324705 h 324705"/>
                  <a:gd name="connsiteX44" fmla="*/ 0 w 832973"/>
                  <a:gd name="connsiteY44" fmla="*/ 324705 h 324705"/>
                  <a:gd name="connsiteX45" fmla="*/ 30286 w 832973"/>
                  <a:gd name="connsiteY45" fmla="*/ 163428 h 324705"/>
                  <a:gd name="connsiteX46" fmla="*/ 76963 w 832973"/>
                  <a:gd name="connsiteY46" fmla="*/ 49158 h 324705"/>
                  <a:gd name="connsiteX47" fmla="*/ 76887 w 832973"/>
                  <a:gd name="connsiteY47" fmla="*/ 48877 h 324705"/>
                  <a:gd name="connsiteX48" fmla="*/ 105182 w 832973"/>
                  <a:gd name="connsiteY48" fmla="*/ 36430 h 324705"/>
                  <a:gd name="connsiteX49" fmla="*/ 288103 w 832973"/>
                  <a:gd name="connsiteY49" fmla="*/ 7910 h 324705"/>
                  <a:gd name="connsiteX50" fmla="*/ 494142 w 832973"/>
                  <a:gd name="connsiteY50" fmla="*/ 0 h 324705"/>
                  <a:gd name="connsiteX51" fmla="*/ 494142 w 832973"/>
                  <a:gd name="connsiteY51" fmla="*/ 0 h 324705"/>
                  <a:gd name="connsiteX52" fmla="*/ 431594 w 832973"/>
                  <a:gd name="connsiteY52" fmla="*/ 34509 h 324705"/>
                  <a:gd name="connsiteX53" fmla="*/ 494142 w 832973"/>
                  <a:gd name="connsiteY53" fmla="*/ 0 h 324705"/>
                  <a:gd name="connsiteX54" fmla="*/ 401379 w 832973"/>
                  <a:gd name="connsiteY54" fmla="*/ 34509 h 324705"/>
                  <a:gd name="connsiteX55" fmla="*/ 402094 w 832973"/>
                  <a:gd name="connsiteY55" fmla="*/ 34509 h 324705"/>
                  <a:gd name="connsiteX56" fmla="*/ 394871 w 832973"/>
                  <a:gd name="connsiteY56" fmla="*/ 87132 h 324705"/>
                  <a:gd name="connsiteX57" fmla="*/ 399539 w 832973"/>
                  <a:gd name="connsiteY57" fmla="*/ 87848 h 324705"/>
                  <a:gd name="connsiteX58" fmla="*/ 394773 w 832973"/>
                  <a:gd name="connsiteY58" fmla="*/ 87848 h 324705"/>
                  <a:gd name="connsiteX59" fmla="*/ 394058 w 832973"/>
                  <a:gd name="connsiteY59" fmla="*/ 87848 h 324705"/>
                  <a:gd name="connsiteX60" fmla="*/ 401379 w 832973"/>
                  <a:gd name="connsiteY60" fmla="*/ 34509 h 324705"/>
                  <a:gd name="connsiteX0" fmla="*/ 416844 w 832973"/>
                  <a:gd name="connsiteY0" fmla="*/ 87535 h 324705"/>
                  <a:gd name="connsiteX1" fmla="*/ 434089 w 832973"/>
                  <a:gd name="connsiteY1" fmla="*/ 87848 h 324705"/>
                  <a:gd name="connsiteX2" fmla="*/ 399600 w 832973"/>
                  <a:gd name="connsiteY2" fmla="*/ 87848 h 324705"/>
                  <a:gd name="connsiteX3" fmla="*/ 416844 w 832973"/>
                  <a:gd name="connsiteY3" fmla="*/ 87535 h 324705"/>
                  <a:gd name="connsiteX4" fmla="*/ 431594 w 832973"/>
                  <a:gd name="connsiteY4" fmla="*/ 34509 h 324705"/>
                  <a:gd name="connsiteX5" fmla="*/ 438915 w 832973"/>
                  <a:gd name="connsiteY5" fmla="*/ 87848 h 324705"/>
                  <a:gd name="connsiteX6" fmla="*/ 438200 w 832973"/>
                  <a:gd name="connsiteY6" fmla="*/ 87848 h 324705"/>
                  <a:gd name="connsiteX7" fmla="*/ 434150 w 832973"/>
                  <a:gd name="connsiteY7" fmla="*/ 87848 h 324705"/>
                  <a:gd name="connsiteX8" fmla="*/ 438816 w 832973"/>
                  <a:gd name="connsiteY8" fmla="*/ 87132 h 324705"/>
                  <a:gd name="connsiteX9" fmla="*/ 431594 w 832973"/>
                  <a:gd name="connsiteY9" fmla="*/ 34509 h 324705"/>
                  <a:gd name="connsiteX10" fmla="*/ 288103 w 832973"/>
                  <a:gd name="connsiteY10" fmla="*/ 7910 h 324705"/>
                  <a:gd name="connsiteX11" fmla="*/ 288094 w 832973"/>
                  <a:gd name="connsiteY11" fmla="*/ 8023 h 324705"/>
                  <a:gd name="connsiteX12" fmla="*/ 288818 w 832973"/>
                  <a:gd name="connsiteY12" fmla="*/ 7910 h 324705"/>
                  <a:gd name="connsiteX13" fmla="*/ 285889 w 832973"/>
                  <a:gd name="connsiteY13" fmla="*/ 44034 h 324705"/>
                  <a:gd name="connsiteX14" fmla="*/ 388119 w 832973"/>
                  <a:gd name="connsiteY14" fmla="*/ 131119 h 324705"/>
                  <a:gd name="connsiteX15" fmla="*/ 390064 w 832973"/>
                  <a:gd name="connsiteY15" fmla="*/ 116946 h 324705"/>
                  <a:gd name="connsiteX16" fmla="*/ 390648 w 832973"/>
                  <a:gd name="connsiteY16" fmla="*/ 117904 h 324705"/>
                  <a:gd name="connsiteX17" fmla="*/ 390779 w 832973"/>
                  <a:gd name="connsiteY17" fmla="*/ 116946 h 324705"/>
                  <a:gd name="connsiteX18" fmla="*/ 416487 w 832973"/>
                  <a:gd name="connsiteY18" fmla="*/ 159121 h 324705"/>
                  <a:gd name="connsiteX19" fmla="*/ 442194 w 832973"/>
                  <a:gd name="connsiteY19" fmla="*/ 116946 h 324705"/>
                  <a:gd name="connsiteX20" fmla="*/ 442326 w 832973"/>
                  <a:gd name="connsiteY20" fmla="*/ 117904 h 324705"/>
                  <a:gd name="connsiteX21" fmla="*/ 442909 w 832973"/>
                  <a:gd name="connsiteY21" fmla="*/ 116946 h 324705"/>
                  <a:gd name="connsiteX22" fmla="*/ 444854 w 832973"/>
                  <a:gd name="connsiteY22" fmla="*/ 131119 h 324705"/>
                  <a:gd name="connsiteX23" fmla="*/ 547084 w 832973"/>
                  <a:gd name="connsiteY23" fmla="*/ 44034 h 324705"/>
                  <a:gd name="connsiteX24" fmla="*/ 544155 w 832973"/>
                  <a:gd name="connsiteY24" fmla="*/ 7910 h 324705"/>
                  <a:gd name="connsiteX25" fmla="*/ 544879 w 832973"/>
                  <a:gd name="connsiteY25" fmla="*/ 8023 h 324705"/>
                  <a:gd name="connsiteX26" fmla="*/ 544870 w 832973"/>
                  <a:gd name="connsiteY26" fmla="*/ 7910 h 324705"/>
                  <a:gd name="connsiteX27" fmla="*/ 727791 w 832973"/>
                  <a:gd name="connsiteY27" fmla="*/ 36430 h 324705"/>
                  <a:gd name="connsiteX28" fmla="*/ 756086 w 832973"/>
                  <a:gd name="connsiteY28" fmla="*/ 48877 h 324705"/>
                  <a:gd name="connsiteX29" fmla="*/ 756011 w 832973"/>
                  <a:gd name="connsiteY29" fmla="*/ 49158 h 324705"/>
                  <a:gd name="connsiteX30" fmla="*/ 802687 w 832973"/>
                  <a:gd name="connsiteY30" fmla="*/ 163428 h 324705"/>
                  <a:gd name="connsiteX31" fmla="*/ 832973 w 832973"/>
                  <a:gd name="connsiteY31" fmla="*/ 324705 h 324705"/>
                  <a:gd name="connsiteX32" fmla="*/ 731916 w 832973"/>
                  <a:gd name="connsiteY32" fmla="*/ 324705 h 324705"/>
                  <a:gd name="connsiteX33" fmla="*/ 628934 w 832973"/>
                  <a:gd name="connsiteY33" fmla="*/ 324705 h 324705"/>
                  <a:gd name="connsiteX34" fmla="*/ 628219 w 832973"/>
                  <a:gd name="connsiteY34" fmla="*/ 324705 h 324705"/>
                  <a:gd name="connsiteX35" fmla="*/ 460645 w 832973"/>
                  <a:gd name="connsiteY35" fmla="*/ 324705 h 324705"/>
                  <a:gd name="connsiteX36" fmla="*/ 459930 w 832973"/>
                  <a:gd name="connsiteY36" fmla="*/ 324705 h 324705"/>
                  <a:gd name="connsiteX37" fmla="*/ 416487 w 832973"/>
                  <a:gd name="connsiteY37" fmla="*/ 161055 h 324705"/>
                  <a:gd name="connsiteX38" fmla="*/ 373043 w 832973"/>
                  <a:gd name="connsiteY38" fmla="*/ 324705 h 324705"/>
                  <a:gd name="connsiteX39" fmla="*/ 372328 w 832973"/>
                  <a:gd name="connsiteY39" fmla="*/ 324705 h 324705"/>
                  <a:gd name="connsiteX40" fmla="*/ 204754 w 832973"/>
                  <a:gd name="connsiteY40" fmla="*/ 324705 h 324705"/>
                  <a:gd name="connsiteX41" fmla="*/ 204039 w 832973"/>
                  <a:gd name="connsiteY41" fmla="*/ 324705 h 324705"/>
                  <a:gd name="connsiteX42" fmla="*/ 101057 w 832973"/>
                  <a:gd name="connsiteY42" fmla="*/ 324705 h 324705"/>
                  <a:gd name="connsiteX43" fmla="*/ 0 w 832973"/>
                  <a:gd name="connsiteY43" fmla="*/ 324705 h 324705"/>
                  <a:gd name="connsiteX44" fmla="*/ 30286 w 832973"/>
                  <a:gd name="connsiteY44" fmla="*/ 163428 h 324705"/>
                  <a:gd name="connsiteX45" fmla="*/ 76963 w 832973"/>
                  <a:gd name="connsiteY45" fmla="*/ 49158 h 324705"/>
                  <a:gd name="connsiteX46" fmla="*/ 76887 w 832973"/>
                  <a:gd name="connsiteY46" fmla="*/ 48877 h 324705"/>
                  <a:gd name="connsiteX47" fmla="*/ 105182 w 832973"/>
                  <a:gd name="connsiteY47" fmla="*/ 36430 h 324705"/>
                  <a:gd name="connsiteX48" fmla="*/ 288103 w 832973"/>
                  <a:gd name="connsiteY48" fmla="*/ 7910 h 324705"/>
                  <a:gd name="connsiteX49" fmla="*/ 494142 w 832973"/>
                  <a:gd name="connsiteY49" fmla="*/ 0 h 324705"/>
                  <a:gd name="connsiteX50" fmla="*/ 494142 w 832973"/>
                  <a:gd name="connsiteY50" fmla="*/ 0 h 324705"/>
                  <a:gd name="connsiteX51" fmla="*/ 431594 w 832973"/>
                  <a:gd name="connsiteY51" fmla="*/ 34509 h 324705"/>
                  <a:gd name="connsiteX52" fmla="*/ 494142 w 832973"/>
                  <a:gd name="connsiteY52" fmla="*/ 0 h 324705"/>
                  <a:gd name="connsiteX53" fmla="*/ 401379 w 832973"/>
                  <a:gd name="connsiteY53" fmla="*/ 34509 h 324705"/>
                  <a:gd name="connsiteX54" fmla="*/ 402094 w 832973"/>
                  <a:gd name="connsiteY54" fmla="*/ 34509 h 324705"/>
                  <a:gd name="connsiteX55" fmla="*/ 394871 w 832973"/>
                  <a:gd name="connsiteY55" fmla="*/ 87132 h 324705"/>
                  <a:gd name="connsiteX56" fmla="*/ 399539 w 832973"/>
                  <a:gd name="connsiteY56" fmla="*/ 87848 h 324705"/>
                  <a:gd name="connsiteX57" fmla="*/ 394773 w 832973"/>
                  <a:gd name="connsiteY57" fmla="*/ 87848 h 324705"/>
                  <a:gd name="connsiteX58" fmla="*/ 394058 w 832973"/>
                  <a:gd name="connsiteY58" fmla="*/ 87848 h 324705"/>
                  <a:gd name="connsiteX59" fmla="*/ 401379 w 832973"/>
                  <a:gd name="connsiteY59"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394773 w 832973"/>
                  <a:gd name="connsiteY56" fmla="*/ 87848 h 324705"/>
                  <a:gd name="connsiteX57" fmla="*/ 394058 w 832973"/>
                  <a:gd name="connsiteY57" fmla="*/ 87848 h 324705"/>
                  <a:gd name="connsiteX58" fmla="*/ 401379 w 832973"/>
                  <a:gd name="connsiteY58"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394773 w 832973"/>
                  <a:gd name="connsiteY56" fmla="*/ 87848 h 324705"/>
                  <a:gd name="connsiteX57" fmla="*/ 367554 w 832973"/>
                  <a:gd name="connsiteY57" fmla="*/ 57810 h 324705"/>
                  <a:gd name="connsiteX58" fmla="*/ 401379 w 832973"/>
                  <a:gd name="connsiteY58"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394773 w 832973"/>
                  <a:gd name="connsiteY56" fmla="*/ 87848 h 324705"/>
                  <a:gd name="connsiteX57" fmla="*/ 401379 w 832973"/>
                  <a:gd name="connsiteY57"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350600 w 832973"/>
                  <a:gd name="connsiteY56" fmla="*/ 64878 h 324705"/>
                  <a:gd name="connsiteX57" fmla="*/ 401379 w 832973"/>
                  <a:gd name="connsiteY57"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401379 w 832973"/>
                  <a:gd name="connsiteY56"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55366 w 832973"/>
                  <a:gd name="connsiteY55" fmla="*/ 63111 h 324705"/>
                  <a:gd name="connsiteX56" fmla="*/ 401379 w 832973"/>
                  <a:gd name="connsiteY56"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401379 w 832973"/>
                  <a:gd name="connsiteY55"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60740 w 832973"/>
                  <a:gd name="connsiteY52" fmla="*/ 39810 h 324705"/>
                  <a:gd name="connsiteX53" fmla="*/ 402094 w 832973"/>
                  <a:gd name="connsiteY53" fmla="*/ 34509 h 324705"/>
                  <a:gd name="connsiteX54" fmla="*/ 394871 w 832973"/>
                  <a:gd name="connsiteY54" fmla="*/ 87132 h 324705"/>
                  <a:gd name="connsiteX55" fmla="*/ 360740 w 832973"/>
                  <a:gd name="connsiteY55" fmla="*/ 39810 h 324705"/>
                  <a:gd name="connsiteX0" fmla="*/ 399600 w 832973"/>
                  <a:gd name="connsiteY0" fmla="*/ 87848 h 324705"/>
                  <a:gd name="connsiteX1" fmla="*/ 373592 w 832973"/>
                  <a:gd name="connsiteY1" fmla="*/ 59888 h 324705"/>
                  <a:gd name="connsiteX2" fmla="*/ 434089 w 832973"/>
                  <a:gd name="connsiteY2" fmla="*/ 87848 h 324705"/>
                  <a:gd name="connsiteX3" fmla="*/ 399600 w 832973"/>
                  <a:gd name="connsiteY3" fmla="*/ 87848 h 324705"/>
                  <a:gd name="connsiteX4" fmla="*/ 431594 w 832973"/>
                  <a:gd name="connsiteY4" fmla="*/ 34509 h 324705"/>
                  <a:gd name="connsiteX5" fmla="*/ 438915 w 832973"/>
                  <a:gd name="connsiteY5" fmla="*/ 87848 h 324705"/>
                  <a:gd name="connsiteX6" fmla="*/ 438200 w 832973"/>
                  <a:gd name="connsiteY6" fmla="*/ 87848 h 324705"/>
                  <a:gd name="connsiteX7" fmla="*/ 434150 w 832973"/>
                  <a:gd name="connsiteY7" fmla="*/ 87848 h 324705"/>
                  <a:gd name="connsiteX8" fmla="*/ 438816 w 832973"/>
                  <a:gd name="connsiteY8" fmla="*/ 87132 h 324705"/>
                  <a:gd name="connsiteX9" fmla="*/ 431594 w 832973"/>
                  <a:gd name="connsiteY9" fmla="*/ 34509 h 324705"/>
                  <a:gd name="connsiteX10" fmla="*/ 288103 w 832973"/>
                  <a:gd name="connsiteY10" fmla="*/ 7910 h 324705"/>
                  <a:gd name="connsiteX11" fmla="*/ 288094 w 832973"/>
                  <a:gd name="connsiteY11" fmla="*/ 8023 h 324705"/>
                  <a:gd name="connsiteX12" fmla="*/ 288818 w 832973"/>
                  <a:gd name="connsiteY12" fmla="*/ 7910 h 324705"/>
                  <a:gd name="connsiteX13" fmla="*/ 285889 w 832973"/>
                  <a:gd name="connsiteY13" fmla="*/ 44034 h 324705"/>
                  <a:gd name="connsiteX14" fmla="*/ 388119 w 832973"/>
                  <a:gd name="connsiteY14" fmla="*/ 131119 h 324705"/>
                  <a:gd name="connsiteX15" fmla="*/ 390064 w 832973"/>
                  <a:gd name="connsiteY15" fmla="*/ 116946 h 324705"/>
                  <a:gd name="connsiteX16" fmla="*/ 390648 w 832973"/>
                  <a:gd name="connsiteY16" fmla="*/ 117904 h 324705"/>
                  <a:gd name="connsiteX17" fmla="*/ 390779 w 832973"/>
                  <a:gd name="connsiteY17" fmla="*/ 116946 h 324705"/>
                  <a:gd name="connsiteX18" fmla="*/ 416487 w 832973"/>
                  <a:gd name="connsiteY18" fmla="*/ 159121 h 324705"/>
                  <a:gd name="connsiteX19" fmla="*/ 442194 w 832973"/>
                  <a:gd name="connsiteY19" fmla="*/ 116946 h 324705"/>
                  <a:gd name="connsiteX20" fmla="*/ 442326 w 832973"/>
                  <a:gd name="connsiteY20" fmla="*/ 117904 h 324705"/>
                  <a:gd name="connsiteX21" fmla="*/ 442909 w 832973"/>
                  <a:gd name="connsiteY21" fmla="*/ 116946 h 324705"/>
                  <a:gd name="connsiteX22" fmla="*/ 444854 w 832973"/>
                  <a:gd name="connsiteY22" fmla="*/ 131119 h 324705"/>
                  <a:gd name="connsiteX23" fmla="*/ 547084 w 832973"/>
                  <a:gd name="connsiteY23" fmla="*/ 44034 h 324705"/>
                  <a:gd name="connsiteX24" fmla="*/ 544155 w 832973"/>
                  <a:gd name="connsiteY24" fmla="*/ 7910 h 324705"/>
                  <a:gd name="connsiteX25" fmla="*/ 544879 w 832973"/>
                  <a:gd name="connsiteY25" fmla="*/ 8023 h 324705"/>
                  <a:gd name="connsiteX26" fmla="*/ 544870 w 832973"/>
                  <a:gd name="connsiteY26" fmla="*/ 7910 h 324705"/>
                  <a:gd name="connsiteX27" fmla="*/ 727791 w 832973"/>
                  <a:gd name="connsiteY27" fmla="*/ 36430 h 324705"/>
                  <a:gd name="connsiteX28" fmla="*/ 756086 w 832973"/>
                  <a:gd name="connsiteY28" fmla="*/ 48877 h 324705"/>
                  <a:gd name="connsiteX29" fmla="*/ 756011 w 832973"/>
                  <a:gd name="connsiteY29" fmla="*/ 49158 h 324705"/>
                  <a:gd name="connsiteX30" fmla="*/ 802687 w 832973"/>
                  <a:gd name="connsiteY30" fmla="*/ 163428 h 324705"/>
                  <a:gd name="connsiteX31" fmla="*/ 832973 w 832973"/>
                  <a:gd name="connsiteY31" fmla="*/ 324705 h 324705"/>
                  <a:gd name="connsiteX32" fmla="*/ 731916 w 832973"/>
                  <a:gd name="connsiteY32" fmla="*/ 324705 h 324705"/>
                  <a:gd name="connsiteX33" fmla="*/ 628934 w 832973"/>
                  <a:gd name="connsiteY33" fmla="*/ 324705 h 324705"/>
                  <a:gd name="connsiteX34" fmla="*/ 628219 w 832973"/>
                  <a:gd name="connsiteY34" fmla="*/ 324705 h 324705"/>
                  <a:gd name="connsiteX35" fmla="*/ 460645 w 832973"/>
                  <a:gd name="connsiteY35" fmla="*/ 324705 h 324705"/>
                  <a:gd name="connsiteX36" fmla="*/ 459930 w 832973"/>
                  <a:gd name="connsiteY36" fmla="*/ 324705 h 324705"/>
                  <a:gd name="connsiteX37" fmla="*/ 416487 w 832973"/>
                  <a:gd name="connsiteY37" fmla="*/ 161055 h 324705"/>
                  <a:gd name="connsiteX38" fmla="*/ 373043 w 832973"/>
                  <a:gd name="connsiteY38" fmla="*/ 324705 h 324705"/>
                  <a:gd name="connsiteX39" fmla="*/ 372328 w 832973"/>
                  <a:gd name="connsiteY39" fmla="*/ 324705 h 324705"/>
                  <a:gd name="connsiteX40" fmla="*/ 204754 w 832973"/>
                  <a:gd name="connsiteY40" fmla="*/ 324705 h 324705"/>
                  <a:gd name="connsiteX41" fmla="*/ 204039 w 832973"/>
                  <a:gd name="connsiteY41" fmla="*/ 324705 h 324705"/>
                  <a:gd name="connsiteX42" fmla="*/ 101057 w 832973"/>
                  <a:gd name="connsiteY42" fmla="*/ 324705 h 324705"/>
                  <a:gd name="connsiteX43" fmla="*/ 0 w 832973"/>
                  <a:gd name="connsiteY43" fmla="*/ 324705 h 324705"/>
                  <a:gd name="connsiteX44" fmla="*/ 30286 w 832973"/>
                  <a:gd name="connsiteY44" fmla="*/ 163428 h 324705"/>
                  <a:gd name="connsiteX45" fmla="*/ 76963 w 832973"/>
                  <a:gd name="connsiteY45" fmla="*/ 49158 h 324705"/>
                  <a:gd name="connsiteX46" fmla="*/ 76887 w 832973"/>
                  <a:gd name="connsiteY46" fmla="*/ 48877 h 324705"/>
                  <a:gd name="connsiteX47" fmla="*/ 105182 w 832973"/>
                  <a:gd name="connsiteY47" fmla="*/ 36430 h 324705"/>
                  <a:gd name="connsiteX48" fmla="*/ 288103 w 832973"/>
                  <a:gd name="connsiteY48" fmla="*/ 7910 h 324705"/>
                  <a:gd name="connsiteX49" fmla="*/ 494142 w 832973"/>
                  <a:gd name="connsiteY49" fmla="*/ 0 h 324705"/>
                  <a:gd name="connsiteX50" fmla="*/ 494142 w 832973"/>
                  <a:gd name="connsiteY50" fmla="*/ 0 h 324705"/>
                  <a:gd name="connsiteX51" fmla="*/ 431594 w 832973"/>
                  <a:gd name="connsiteY51" fmla="*/ 34509 h 324705"/>
                  <a:gd name="connsiteX52" fmla="*/ 494142 w 832973"/>
                  <a:gd name="connsiteY52" fmla="*/ 0 h 324705"/>
                  <a:gd name="connsiteX53" fmla="*/ 360740 w 832973"/>
                  <a:gd name="connsiteY53" fmla="*/ 39810 h 324705"/>
                  <a:gd name="connsiteX54" fmla="*/ 402094 w 832973"/>
                  <a:gd name="connsiteY54" fmla="*/ 34509 h 324705"/>
                  <a:gd name="connsiteX55" fmla="*/ 394871 w 832973"/>
                  <a:gd name="connsiteY55" fmla="*/ 87132 h 324705"/>
                  <a:gd name="connsiteX56" fmla="*/ 360740 w 832973"/>
                  <a:gd name="connsiteY56" fmla="*/ 39810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60740 w 832973"/>
                  <a:gd name="connsiteY52" fmla="*/ 39810 h 324705"/>
                  <a:gd name="connsiteX53" fmla="*/ 402094 w 832973"/>
                  <a:gd name="connsiteY53" fmla="*/ 34509 h 324705"/>
                  <a:gd name="connsiteX54" fmla="*/ 394871 w 832973"/>
                  <a:gd name="connsiteY54" fmla="*/ 87132 h 324705"/>
                  <a:gd name="connsiteX55" fmla="*/ 360740 w 832973"/>
                  <a:gd name="connsiteY55" fmla="*/ 39810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37770 w 832973"/>
                  <a:gd name="connsiteY52" fmla="*/ 46878 h 324705"/>
                  <a:gd name="connsiteX53" fmla="*/ 402094 w 832973"/>
                  <a:gd name="connsiteY53" fmla="*/ 34509 h 324705"/>
                  <a:gd name="connsiteX54" fmla="*/ 394871 w 832973"/>
                  <a:gd name="connsiteY54" fmla="*/ 87132 h 324705"/>
                  <a:gd name="connsiteX55" fmla="*/ 337770 w 832973"/>
                  <a:gd name="connsiteY55" fmla="*/ 46878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37770 w 832973"/>
                  <a:gd name="connsiteY52" fmla="*/ 46878 h 324705"/>
                  <a:gd name="connsiteX53" fmla="*/ 402094 w 832973"/>
                  <a:gd name="connsiteY53" fmla="*/ 34509 h 324705"/>
                  <a:gd name="connsiteX54" fmla="*/ 394871 w 832973"/>
                  <a:gd name="connsiteY54" fmla="*/ 87132 h 324705"/>
                  <a:gd name="connsiteX55" fmla="*/ 337770 w 832973"/>
                  <a:gd name="connsiteY55" fmla="*/ 46878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94871 w 832973"/>
                  <a:gd name="connsiteY52" fmla="*/ 87132 h 324705"/>
                  <a:gd name="connsiteX53" fmla="*/ 402094 w 832973"/>
                  <a:gd name="connsiteY53" fmla="*/ 34509 h 324705"/>
                  <a:gd name="connsiteX54" fmla="*/ 394871 w 832973"/>
                  <a:gd name="connsiteY54" fmla="*/ 87132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0" fmla="*/ 431594 w 832973"/>
                  <a:gd name="connsiteY0" fmla="*/ 34509 h 324705"/>
                  <a:gd name="connsiteX1" fmla="*/ 438915 w 832973"/>
                  <a:gd name="connsiteY1" fmla="*/ 87848 h 324705"/>
                  <a:gd name="connsiteX2" fmla="*/ 438200 w 832973"/>
                  <a:gd name="connsiteY2" fmla="*/ 87848 h 324705"/>
                  <a:gd name="connsiteX3" fmla="*/ 434150 w 832973"/>
                  <a:gd name="connsiteY3" fmla="*/ 87848 h 324705"/>
                  <a:gd name="connsiteX4" fmla="*/ 438816 w 832973"/>
                  <a:gd name="connsiteY4" fmla="*/ 87132 h 324705"/>
                  <a:gd name="connsiteX5" fmla="*/ 431594 w 832973"/>
                  <a:gd name="connsiteY5" fmla="*/ 34509 h 324705"/>
                  <a:gd name="connsiteX6" fmla="*/ 288103 w 832973"/>
                  <a:gd name="connsiteY6" fmla="*/ 7910 h 324705"/>
                  <a:gd name="connsiteX7" fmla="*/ 288094 w 832973"/>
                  <a:gd name="connsiteY7" fmla="*/ 8023 h 324705"/>
                  <a:gd name="connsiteX8" fmla="*/ 288818 w 832973"/>
                  <a:gd name="connsiteY8" fmla="*/ 7910 h 324705"/>
                  <a:gd name="connsiteX9" fmla="*/ 285889 w 832973"/>
                  <a:gd name="connsiteY9" fmla="*/ 44034 h 324705"/>
                  <a:gd name="connsiteX10" fmla="*/ 388119 w 832973"/>
                  <a:gd name="connsiteY10" fmla="*/ 131119 h 324705"/>
                  <a:gd name="connsiteX11" fmla="*/ 390064 w 832973"/>
                  <a:gd name="connsiteY11" fmla="*/ 116946 h 324705"/>
                  <a:gd name="connsiteX12" fmla="*/ 390648 w 832973"/>
                  <a:gd name="connsiteY12" fmla="*/ 117904 h 324705"/>
                  <a:gd name="connsiteX13" fmla="*/ 390779 w 832973"/>
                  <a:gd name="connsiteY13" fmla="*/ 116946 h 324705"/>
                  <a:gd name="connsiteX14" fmla="*/ 416487 w 832973"/>
                  <a:gd name="connsiteY14" fmla="*/ 159121 h 324705"/>
                  <a:gd name="connsiteX15" fmla="*/ 442194 w 832973"/>
                  <a:gd name="connsiteY15" fmla="*/ 116946 h 324705"/>
                  <a:gd name="connsiteX16" fmla="*/ 442326 w 832973"/>
                  <a:gd name="connsiteY16" fmla="*/ 117904 h 324705"/>
                  <a:gd name="connsiteX17" fmla="*/ 442909 w 832973"/>
                  <a:gd name="connsiteY17" fmla="*/ 116946 h 324705"/>
                  <a:gd name="connsiteX18" fmla="*/ 444854 w 832973"/>
                  <a:gd name="connsiteY18" fmla="*/ 131119 h 324705"/>
                  <a:gd name="connsiteX19" fmla="*/ 547084 w 832973"/>
                  <a:gd name="connsiteY19" fmla="*/ 44034 h 324705"/>
                  <a:gd name="connsiteX20" fmla="*/ 544155 w 832973"/>
                  <a:gd name="connsiteY20" fmla="*/ 7910 h 324705"/>
                  <a:gd name="connsiteX21" fmla="*/ 544879 w 832973"/>
                  <a:gd name="connsiteY21" fmla="*/ 8023 h 324705"/>
                  <a:gd name="connsiteX22" fmla="*/ 544870 w 832973"/>
                  <a:gd name="connsiteY22" fmla="*/ 7910 h 324705"/>
                  <a:gd name="connsiteX23" fmla="*/ 727791 w 832973"/>
                  <a:gd name="connsiteY23" fmla="*/ 36430 h 324705"/>
                  <a:gd name="connsiteX24" fmla="*/ 756086 w 832973"/>
                  <a:gd name="connsiteY24" fmla="*/ 48877 h 324705"/>
                  <a:gd name="connsiteX25" fmla="*/ 756011 w 832973"/>
                  <a:gd name="connsiteY25" fmla="*/ 49158 h 324705"/>
                  <a:gd name="connsiteX26" fmla="*/ 802687 w 832973"/>
                  <a:gd name="connsiteY26" fmla="*/ 163428 h 324705"/>
                  <a:gd name="connsiteX27" fmla="*/ 832973 w 832973"/>
                  <a:gd name="connsiteY27" fmla="*/ 324705 h 324705"/>
                  <a:gd name="connsiteX28" fmla="*/ 731916 w 832973"/>
                  <a:gd name="connsiteY28" fmla="*/ 324705 h 324705"/>
                  <a:gd name="connsiteX29" fmla="*/ 628934 w 832973"/>
                  <a:gd name="connsiteY29" fmla="*/ 324705 h 324705"/>
                  <a:gd name="connsiteX30" fmla="*/ 628219 w 832973"/>
                  <a:gd name="connsiteY30" fmla="*/ 324705 h 324705"/>
                  <a:gd name="connsiteX31" fmla="*/ 460645 w 832973"/>
                  <a:gd name="connsiteY31" fmla="*/ 324705 h 324705"/>
                  <a:gd name="connsiteX32" fmla="*/ 459930 w 832973"/>
                  <a:gd name="connsiteY32" fmla="*/ 324705 h 324705"/>
                  <a:gd name="connsiteX33" fmla="*/ 416487 w 832973"/>
                  <a:gd name="connsiteY33" fmla="*/ 161055 h 324705"/>
                  <a:gd name="connsiteX34" fmla="*/ 373043 w 832973"/>
                  <a:gd name="connsiteY34" fmla="*/ 324705 h 324705"/>
                  <a:gd name="connsiteX35" fmla="*/ 372328 w 832973"/>
                  <a:gd name="connsiteY35" fmla="*/ 324705 h 324705"/>
                  <a:gd name="connsiteX36" fmla="*/ 204754 w 832973"/>
                  <a:gd name="connsiteY36" fmla="*/ 324705 h 324705"/>
                  <a:gd name="connsiteX37" fmla="*/ 204039 w 832973"/>
                  <a:gd name="connsiteY37" fmla="*/ 324705 h 324705"/>
                  <a:gd name="connsiteX38" fmla="*/ 101057 w 832973"/>
                  <a:gd name="connsiteY38" fmla="*/ 324705 h 324705"/>
                  <a:gd name="connsiteX39" fmla="*/ 0 w 832973"/>
                  <a:gd name="connsiteY39" fmla="*/ 324705 h 324705"/>
                  <a:gd name="connsiteX40" fmla="*/ 30286 w 832973"/>
                  <a:gd name="connsiteY40" fmla="*/ 163428 h 324705"/>
                  <a:gd name="connsiteX41" fmla="*/ 76963 w 832973"/>
                  <a:gd name="connsiteY41" fmla="*/ 49158 h 324705"/>
                  <a:gd name="connsiteX42" fmla="*/ 76887 w 832973"/>
                  <a:gd name="connsiteY42" fmla="*/ 48877 h 324705"/>
                  <a:gd name="connsiteX43" fmla="*/ 105182 w 832973"/>
                  <a:gd name="connsiteY43" fmla="*/ 36430 h 324705"/>
                  <a:gd name="connsiteX44" fmla="*/ 288103 w 832973"/>
                  <a:gd name="connsiteY44" fmla="*/ 7910 h 324705"/>
                  <a:gd name="connsiteX45" fmla="*/ 494142 w 832973"/>
                  <a:gd name="connsiteY45" fmla="*/ 0 h 324705"/>
                  <a:gd name="connsiteX46" fmla="*/ 494142 w 832973"/>
                  <a:gd name="connsiteY46" fmla="*/ 0 h 324705"/>
                  <a:gd name="connsiteX47" fmla="*/ 431594 w 832973"/>
                  <a:gd name="connsiteY47" fmla="*/ 34509 h 324705"/>
                  <a:gd name="connsiteX48" fmla="*/ 494142 w 832973"/>
                  <a:gd name="connsiteY48" fmla="*/ 0 h 324705"/>
                  <a:gd name="connsiteX0" fmla="*/ 431594 w 832973"/>
                  <a:gd name="connsiteY0" fmla="*/ 34509 h 324705"/>
                  <a:gd name="connsiteX1" fmla="*/ 438915 w 832973"/>
                  <a:gd name="connsiteY1" fmla="*/ 87848 h 324705"/>
                  <a:gd name="connsiteX2" fmla="*/ 438200 w 832973"/>
                  <a:gd name="connsiteY2" fmla="*/ 87848 h 324705"/>
                  <a:gd name="connsiteX3" fmla="*/ 434150 w 832973"/>
                  <a:gd name="connsiteY3" fmla="*/ 87848 h 324705"/>
                  <a:gd name="connsiteX4" fmla="*/ 431594 w 832973"/>
                  <a:gd name="connsiteY4" fmla="*/ 34509 h 324705"/>
                  <a:gd name="connsiteX5" fmla="*/ 288103 w 832973"/>
                  <a:gd name="connsiteY5" fmla="*/ 7910 h 324705"/>
                  <a:gd name="connsiteX6" fmla="*/ 288094 w 832973"/>
                  <a:gd name="connsiteY6" fmla="*/ 8023 h 324705"/>
                  <a:gd name="connsiteX7" fmla="*/ 288818 w 832973"/>
                  <a:gd name="connsiteY7" fmla="*/ 7910 h 324705"/>
                  <a:gd name="connsiteX8" fmla="*/ 285889 w 832973"/>
                  <a:gd name="connsiteY8" fmla="*/ 44034 h 324705"/>
                  <a:gd name="connsiteX9" fmla="*/ 388119 w 832973"/>
                  <a:gd name="connsiteY9" fmla="*/ 131119 h 324705"/>
                  <a:gd name="connsiteX10" fmla="*/ 390064 w 832973"/>
                  <a:gd name="connsiteY10" fmla="*/ 116946 h 324705"/>
                  <a:gd name="connsiteX11" fmla="*/ 390648 w 832973"/>
                  <a:gd name="connsiteY11" fmla="*/ 117904 h 324705"/>
                  <a:gd name="connsiteX12" fmla="*/ 390779 w 832973"/>
                  <a:gd name="connsiteY12" fmla="*/ 116946 h 324705"/>
                  <a:gd name="connsiteX13" fmla="*/ 416487 w 832973"/>
                  <a:gd name="connsiteY13" fmla="*/ 159121 h 324705"/>
                  <a:gd name="connsiteX14" fmla="*/ 442194 w 832973"/>
                  <a:gd name="connsiteY14" fmla="*/ 116946 h 324705"/>
                  <a:gd name="connsiteX15" fmla="*/ 442326 w 832973"/>
                  <a:gd name="connsiteY15" fmla="*/ 117904 h 324705"/>
                  <a:gd name="connsiteX16" fmla="*/ 442909 w 832973"/>
                  <a:gd name="connsiteY16" fmla="*/ 116946 h 324705"/>
                  <a:gd name="connsiteX17" fmla="*/ 444854 w 832973"/>
                  <a:gd name="connsiteY17" fmla="*/ 131119 h 324705"/>
                  <a:gd name="connsiteX18" fmla="*/ 547084 w 832973"/>
                  <a:gd name="connsiteY18" fmla="*/ 44034 h 324705"/>
                  <a:gd name="connsiteX19" fmla="*/ 544155 w 832973"/>
                  <a:gd name="connsiteY19" fmla="*/ 7910 h 324705"/>
                  <a:gd name="connsiteX20" fmla="*/ 544879 w 832973"/>
                  <a:gd name="connsiteY20" fmla="*/ 8023 h 324705"/>
                  <a:gd name="connsiteX21" fmla="*/ 544870 w 832973"/>
                  <a:gd name="connsiteY21" fmla="*/ 7910 h 324705"/>
                  <a:gd name="connsiteX22" fmla="*/ 727791 w 832973"/>
                  <a:gd name="connsiteY22" fmla="*/ 36430 h 324705"/>
                  <a:gd name="connsiteX23" fmla="*/ 756086 w 832973"/>
                  <a:gd name="connsiteY23" fmla="*/ 48877 h 324705"/>
                  <a:gd name="connsiteX24" fmla="*/ 756011 w 832973"/>
                  <a:gd name="connsiteY24" fmla="*/ 49158 h 324705"/>
                  <a:gd name="connsiteX25" fmla="*/ 802687 w 832973"/>
                  <a:gd name="connsiteY25" fmla="*/ 163428 h 324705"/>
                  <a:gd name="connsiteX26" fmla="*/ 832973 w 832973"/>
                  <a:gd name="connsiteY26" fmla="*/ 324705 h 324705"/>
                  <a:gd name="connsiteX27" fmla="*/ 731916 w 832973"/>
                  <a:gd name="connsiteY27" fmla="*/ 324705 h 324705"/>
                  <a:gd name="connsiteX28" fmla="*/ 628934 w 832973"/>
                  <a:gd name="connsiteY28" fmla="*/ 324705 h 324705"/>
                  <a:gd name="connsiteX29" fmla="*/ 628219 w 832973"/>
                  <a:gd name="connsiteY29" fmla="*/ 324705 h 324705"/>
                  <a:gd name="connsiteX30" fmla="*/ 460645 w 832973"/>
                  <a:gd name="connsiteY30" fmla="*/ 324705 h 324705"/>
                  <a:gd name="connsiteX31" fmla="*/ 459930 w 832973"/>
                  <a:gd name="connsiteY31" fmla="*/ 324705 h 324705"/>
                  <a:gd name="connsiteX32" fmla="*/ 416487 w 832973"/>
                  <a:gd name="connsiteY32" fmla="*/ 161055 h 324705"/>
                  <a:gd name="connsiteX33" fmla="*/ 373043 w 832973"/>
                  <a:gd name="connsiteY33" fmla="*/ 324705 h 324705"/>
                  <a:gd name="connsiteX34" fmla="*/ 372328 w 832973"/>
                  <a:gd name="connsiteY34" fmla="*/ 324705 h 324705"/>
                  <a:gd name="connsiteX35" fmla="*/ 204754 w 832973"/>
                  <a:gd name="connsiteY35" fmla="*/ 324705 h 324705"/>
                  <a:gd name="connsiteX36" fmla="*/ 204039 w 832973"/>
                  <a:gd name="connsiteY36" fmla="*/ 324705 h 324705"/>
                  <a:gd name="connsiteX37" fmla="*/ 101057 w 832973"/>
                  <a:gd name="connsiteY37" fmla="*/ 324705 h 324705"/>
                  <a:gd name="connsiteX38" fmla="*/ 0 w 832973"/>
                  <a:gd name="connsiteY38" fmla="*/ 324705 h 324705"/>
                  <a:gd name="connsiteX39" fmla="*/ 30286 w 832973"/>
                  <a:gd name="connsiteY39" fmla="*/ 163428 h 324705"/>
                  <a:gd name="connsiteX40" fmla="*/ 76963 w 832973"/>
                  <a:gd name="connsiteY40" fmla="*/ 49158 h 324705"/>
                  <a:gd name="connsiteX41" fmla="*/ 76887 w 832973"/>
                  <a:gd name="connsiteY41" fmla="*/ 48877 h 324705"/>
                  <a:gd name="connsiteX42" fmla="*/ 105182 w 832973"/>
                  <a:gd name="connsiteY42" fmla="*/ 36430 h 324705"/>
                  <a:gd name="connsiteX43" fmla="*/ 288103 w 832973"/>
                  <a:gd name="connsiteY43" fmla="*/ 7910 h 324705"/>
                  <a:gd name="connsiteX44" fmla="*/ 494142 w 832973"/>
                  <a:gd name="connsiteY44" fmla="*/ 0 h 324705"/>
                  <a:gd name="connsiteX45" fmla="*/ 494142 w 832973"/>
                  <a:gd name="connsiteY45" fmla="*/ 0 h 324705"/>
                  <a:gd name="connsiteX46" fmla="*/ 431594 w 832973"/>
                  <a:gd name="connsiteY46" fmla="*/ 34509 h 324705"/>
                  <a:gd name="connsiteX47" fmla="*/ 494142 w 832973"/>
                  <a:gd name="connsiteY47" fmla="*/ 0 h 324705"/>
                  <a:gd name="connsiteX0" fmla="*/ 431594 w 832973"/>
                  <a:gd name="connsiteY0" fmla="*/ 34509 h 324705"/>
                  <a:gd name="connsiteX1" fmla="*/ 438915 w 832973"/>
                  <a:gd name="connsiteY1" fmla="*/ 87848 h 324705"/>
                  <a:gd name="connsiteX2" fmla="*/ 438200 w 832973"/>
                  <a:gd name="connsiteY2" fmla="*/ 87848 h 324705"/>
                  <a:gd name="connsiteX3" fmla="*/ 431594 w 832973"/>
                  <a:gd name="connsiteY3" fmla="*/ 34509 h 324705"/>
                  <a:gd name="connsiteX4" fmla="*/ 288103 w 832973"/>
                  <a:gd name="connsiteY4" fmla="*/ 7910 h 324705"/>
                  <a:gd name="connsiteX5" fmla="*/ 288094 w 832973"/>
                  <a:gd name="connsiteY5" fmla="*/ 8023 h 324705"/>
                  <a:gd name="connsiteX6" fmla="*/ 288818 w 832973"/>
                  <a:gd name="connsiteY6" fmla="*/ 7910 h 324705"/>
                  <a:gd name="connsiteX7" fmla="*/ 285889 w 832973"/>
                  <a:gd name="connsiteY7" fmla="*/ 44034 h 324705"/>
                  <a:gd name="connsiteX8" fmla="*/ 388119 w 832973"/>
                  <a:gd name="connsiteY8" fmla="*/ 131119 h 324705"/>
                  <a:gd name="connsiteX9" fmla="*/ 390064 w 832973"/>
                  <a:gd name="connsiteY9" fmla="*/ 116946 h 324705"/>
                  <a:gd name="connsiteX10" fmla="*/ 390648 w 832973"/>
                  <a:gd name="connsiteY10" fmla="*/ 117904 h 324705"/>
                  <a:gd name="connsiteX11" fmla="*/ 390779 w 832973"/>
                  <a:gd name="connsiteY11" fmla="*/ 116946 h 324705"/>
                  <a:gd name="connsiteX12" fmla="*/ 416487 w 832973"/>
                  <a:gd name="connsiteY12" fmla="*/ 159121 h 324705"/>
                  <a:gd name="connsiteX13" fmla="*/ 442194 w 832973"/>
                  <a:gd name="connsiteY13" fmla="*/ 116946 h 324705"/>
                  <a:gd name="connsiteX14" fmla="*/ 442326 w 832973"/>
                  <a:gd name="connsiteY14" fmla="*/ 117904 h 324705"/>
                  <a:gd name="connsiteX15" fmla="*/ 442909 w 832973"/>
                  <a:gd name="connsiteY15" fmla="*/ 116946 h 324705"/>
                  <a:gd name="connsiteX16" fmla="*/ 444854 w 832973"/>
                  <a:gd name="connsiteY16" fmla="*/ 131119 h 324705"/>
                  <a:gd name="connsiteX17" fmla="*/ 547084 w 832973"/>
                  <a:gd name="connsiteY17" fmla="*/ 44034 h 324705"/>
                  <a:gd name="connsiteX18" fmla="*/ 544155 w 832973"/>
                  <a:gd name="connsiteY18" fmla="*/ 7910 h 324705"/>
                  <a:gd name="connsiteX19" fmla="*/ 544879 w 832973"/>
                  <a:gd name="connsiteY19" fmla="*/ 8023 h 324705"/>
                  <a:gd name="connsiteX20" fmla="*/ 544870 w 832973"/>
                  <a:gd name="connsiteY20" fmla="*/ 7910 h 324705"/>
                  <a:gd name="connsiteX21" fmla="*/ 727791 w 832973"/>
                  <a:gd name="connsiteY21" fmla="*/ 36430 h 324705"/>
                  <a:gd name="connsiteX22" fmla="*/ 756086 w 832973"/>
                  <a:gd name="connsiteY22" fmla="*/ 48877 h 324705"/>
                  <a:gd name="connsiteX23" fmla="*/ 756011 w 832973"/>
                  <a:gd name="connsiteY23" fmla="*/ 49158 h 324705"/>
                  <a:gd name="connsiteX24" fmla="*/ 802687 w 832973"/>
                  <a:gd name="connsiteY24" fmla="*/ 163428 h 324705"/>
                  <a:gd name="connsiteX25" fmla="*/ 832973 w 832973"/>
                  <a:gd name="connsiteY25" fmla="*/ 324705 h 324705"/>
                  <a:gd name="connsiteX26" fmla="*/ 731916 w 832973"/>
                  <a:gd name="connsiteY26" fmla="*/ 324705 h 324705"/>
                  <a:gd name="connsiteX27" fmla="*/ 628934 w 832973"/>
                  <a:gd name="connsiteY27" fmla="*/ 324705 h 324705"/>
                  <a:gd name="connsiteX28" fmla="*/ 628219 w 832973"/>
                  <a:gd name="connsiteY28" fmla="*/ 324705 h 324705"/>
                  <a:gd name="connsiteX29" fmla="*/ 460645 w 832973"/>
                  <a:gd name="connsiteY29" fmla="*/ 324705 h 324705"/>
                  <a:gd name="connsiteX30" fmla="*/ 459930 w 832973"/>
                  <a:gd name="connsiteY30" fmla="*/ 324705 h 324705"/>
                  <a:gd name="connsiteX31" fmla="*/ 416487 w 832973"/>
                  <a:gd name="connsiteY31" fmla="*/ 161055 h 324705"/>
                  <a:gd name="connsiteX32" fmla="*/ 373043 w 832973"/>
                  <a:gd name="connsiteY32" fmla="*/ 324705 h 324705"/>
                  <a:gd name="connsiteX33" fmla="*/ 372328 w 832973"/>
                  <a:gd name="connsiteY33" fmla="*/ 324705 h 324705"/>
                  <a:gd name="connsiteX34" fmla="*/ 204754 w 832973"/>
                  <a:gd name="connsiteY34" fmla="*/ 324705 h 324705"/>
                  <a:gd name="connsiteX35" fmla="*/ 204039 w 832973"/>
                  <a:gd name="connsiteY35" fmla="*/ 324705 h 324705"/>
                  <a:gd name="connsiteX36" fmla="*/ 101057 w 832973"/>
                  <a:gd name="connsiteY36" fmla="*/ 324705 h 324705"/>
                  <a:gd name="connsiteX37" fmla="*/ 0 w 832973"/>
                  <a:gd name="connsiteY37" fmla="*/ 324705 h 324705"/>
                  <a:gd name="connsiteX38" fmla="*/ 30286 w 832973"/>
                  <a:gd name="connsiteY38" fmla="*/ 163428 h 324705"/>
                  <a:gd name="connsiteX39" fmla="*/ 76963 w 832973"/>
                  <a:gd name="connsiteY39" fmla="*/ 49158 h 324705"/>
                  <a:gd name="connsiteX40" fmla="*/ 76887 w 832973"/>
                  <a:gd name="connsiteY40" fmla="*/ 48877 h 324705"/>
                  <a:gd name="connsiteX41" fmla="*/ 105182 w 832973"/>
                  <a:gd name="connsiteY41" fmla="*/ 36430 h 324705"/>
                  <a:gd name="connsiteX42" fmla="*/ 288103 w 832973"/>
                  <a:gd name="connsiteY42" fmla="*/ 7910 h 324705"/>
                  <a:gd name="connsiteX43" fmla="*/ 494142 w 832973"/>
                  <a:gd name="connsiteY43" fmla="*/ 0 h 324705"/>
                  <a:gd name="connsiteX44" fmla="*/ 494142 w 832973"/>
                  <a:gd name="connsiteY44" fmla="*/ 0 h 324705"/>
                  <a:gd name="connsiteX45" fmla="*/ 431594 w 832973"/>
                  <a:gd name="connsiteY45" fmla="*/ 34509 h 324705"/>
                  <a:gd name="connsiteX46" fmla="*/ 494142 w 832973"/>
                  <a:gd name="connsiteY46" fmla="*/ 0 h 324705"/>
                  <a:gd name="connsiteX0" fmla="*/ 431594 w 832973"/>
                  <a:gd name="connsiteY0" fmla="*/ 34509 h 324705"/>
                  <a:gd name="connsiteX1" fmla="*/ 438915 w 832973"/>
                  <a:gd name="connsiteY1" fmla="*/ 87848 h 324705"/>
                  <a:gd name="connsiteX2" fmla="*/ 431594 w 832973"/>
                  <a:gd name="connsiteY2" fmla="*/ 34509 h 324705"/>
                  <a:gd name="connsiteX3" fmla="*/ 288103 w 832973"/>
                  <a:gd name="connsiteY3" fmla="*/ 7910 h 324705"/>
                  <a:gd name="connsiteX4" fmla="*/ 288094 w 832973"/>
                  <a:gd name="connsiteY4" fmla="*/ 8023 h 324705"/>
                  <a:gd name="connsiteX5" fmla="*/ 288818 w 832973"/>
                  <a:gd name="connsiteY5" fmla="*/ 7910 h 324705"/>
                  <a:gd name="connsiteX6" fmla="*/ 285889 w 832973"/>
                  <a:gd name="connsiteY6" fmla="*/ 44034 h 324705"/>
                  <a:gd name="connsiteX7" fmla="*/ 388119 w 832973"/>
                  <a:gd name="connsiteY7" fmla="*/ 131119 h 324705"/>
                  <a:gd name="connsiteX8" fmla="*/ 390064 w 832973"/>
                  <a:gd name="connsiteY8" fmla="*/ 116946 h 324705"/>
                  <a:gd name="connsiteX9" fmla="*/ 390648 w 832973"/>
                  <a:gd name="connsiteY9" fmla="*/ 117904 h 324705"/>
                  <a:gd name="connsiteX10" fmla="*/ 390779 w 832973"/>
                  <a:gd name="connsiteY10" fmla="*/ 116946 h 324705"/>
                  <a:gd name="connsiteX11" fmla="*/ 416487 w 832973"/>
                  <a:gd name="connsiteY11" fmla="*/ 159121 h 324705"/>
                  <a:gd name="connsiteX12" fmla="*/ 442194 w 832973"/>
                  <a:gd name="connsiteY12" fmla="*/ 116946 h 324705"/>
                  <a:gd name="connsiteX13" fmla="*/ 442326 w 832973"/>
                  <a:gd name="connsiteY13" fmla="*/ 117904 h 324705"/>
                  <a:gd name="connsiteX14" fmla="*/ 442909 w 832973"/>
                  <a:gd name="connsiteY14" fmla="*/ 116946 h 324705"/>
                  <a:gd name="connsiteX15" fmla="*/ 444854 w 832973"/>
                  <a:gd name="connsiteY15" fmla="*/ 131119 h 324705"/>
                  <a:gd name="connsiteX16" fmla="*/ 547084 w 832973"/>
                  <a:gd name="connsiteY16" fmla="*/ 44034 h 324705"/>
                  <a:gd name="connsiteX17" fmla="*/ 544155 w 832973"/>
                  <a:gd name="connsiteY17" fmla="*/ 7910 h 324705"/>
                  <a:gd name="connsiteX18" fmla="*/ 544879 w 832973"/>
                  <a:gd name="connsiteY18" fmla="*/ 8023 h 324705"/>
                  <a:gd name="connsiteX19" fmla="*/ 544870 w 832973"/>
                  <a:gd name="connsiteY19" fmla="*/ 7910 h 324705"/>
                  <a:gd name="connsiteX20" fmla="*/ 727791 w 832973"/>
                  <a:gd name="connsiteY20" fmla="*/ 36430 h 324705"/>
                  <a:gd name="connsiteX21" fmla="*/ 756086 w 832973"/>
                  <a:gd name="connsiteY21" fmla="*/ 48877 h 324705"/>
                  <a:gd name="connsiteX22" fmla="*/ 756011 w 832973"/>
                  <a:gd name="connsiteY22" fmla="*/ 49158 h 324705"/>
                  <a:gd name="connsiteX23" fmla="*/ 802687 w 832973"/>
                  <a:gd name="connsiteY23" fmla="*/ 163428 h 324705"/>
                  <a:gd name="connsiteX24" fmla="*/ 832973 w 832973"/>
                  <a:gd name="connsiteY24" fmla="*/ 324705 h 324705"/>
                  <a:gd name="connsiteX25" fmla="*/ 731916 w 832973"/>
                  <a:gd name="connsiteY25" fmla="*/ 324705 h 324705"/>
                  <a:gd name="connsiteX26" fmla="*/ 628934 w 832973"/>
                  <a:gd name="connsiteY26" fmla="*/ 324705 h 324705"/>
                  <a:gd name="connsiteX27" fmla="*/ 628219 w 832973"/>
                  <a:gd name="connsiteY27" fmla="*/ 324705 h 324705"/>
                  <a:gd name="connsiteX28" fmla="*/ 460645 w 832973"/>
                  <a:gd name="connsiteY28" fmla="*/ 324705 h 324705"/>
                  <a:gd name="connsiteX29" fmla="*/ 459930 w 832973"/>
                  <a:gd name="connsiteY29" fmla="*/ 324705 h 324705"/>
                  <a:gd name="connsiteX30" fmla="*/ 416487 w 832973"/>
                  <a:gd name="connsiteY30" fmla="*/ 161055 h 324705"/>
                  <a:gd name="connsiteX31" fmla="*/ 373043 w 832973"/>
                  <a:gd name="connsiteY31" fmla="*/ 324705 h 324705"/>
                  <a:gd name="connsiteX32" fmla="*/ 372328 w 832973"/>
                  <a:gd name="connsiteY32" fmla="*/ 324705 h 324705"/>
                  <a:gd name="connsiteX33" fmla="*/ 204754 w 832973"/>
                  <a:gd name="connsiteY33" fmla="*/ 324705 h 324705"/>
                  <a:gd name="connsiteX34" fmla="*/ 204039 w 832973"/>
                  <a:gd name="connsiteY34" fmla="*/ 324705 h 324705"/>
                  <a:gd name="connsiteX35" fmla="*/ 101057 w 832973"/>
                  <a:gd name="connsiteY35" fmla="*/ 324705 h 324705"/>
                  <a:gd name="connsiteX36" fmla="*/ 0 w 832973"/>
                  <a:gd name="connsiteY36" fmla="*/ 324705 h 324705"/>
                  <a:gd name="connsiteX37" fmla="*/ 30286 w 832973"/>
                  <a:gd name="connsiteY37" fmla="*/ 163428 h 324705"/>
                  <a:gd name="connsiteX38" fmla="*/ 76963 w 832973"/>
                  <a:gd name="connsiteY38" fmla="*/ 49158 h 324705"/>
                  <a:gd name="connsiteX39" fmla="*/ 76887 w 832973"/>
                  <a:gd name="connsiteY39" fmla="*/ 48877 h 324705"/>
                  <a:gd name="connsiteX40" fmla="*/ 105182 w 832973"/>
                  <a:gd name="connsiteY40" fmla="*/ 36430 h 324705"/>
                  <a:gd name="connsiteX41" fmla="*/ 288103 w 832973"/>
                  <a:gd name="connsiteY41" fmla="*/ 7910 h 324705"/>
                  <a:gd name="connsiteX42" fmla="*/ 494142 w 832973"/>
                  <a:gd name="connsiteY42" fmla="*/ 0 h 324705"/>
                  <a:gd name="connsiteX43" fmla="*/ 494142 w 832973"/>
                  <a:gd name="connsiteY43" fmla="*/ 0 h 324705"/>
                  <a:gd name="connsiteX44" fmla="*/ 431594 w 832973"/>
                  <a:gd name="connsiteY44" fmla="*/ 34509 h 324705"/>
                  <a:gd name="connsiteX45" fmla="*/ 494142 w 832973"/>
                  <a:gd name="connsiteY45" fmla="*/ 0 h 324705"/>
                  <a:gd name="connsiteX0" fmla="*/ 288103 w 832973"/>
                  <a:gd name="connsiteY0" fmla="*/ 7910 h 324705"/>
                  <a:gd name="connsiteX1" fmla="*/ 288094 w 832973"/>
                  <a:gd name="connsiteY1" fmla="*/ 8023 h 324705"/>
                  <a:gd name="connsiteX2" fmla="*/ 288818 w 832973"/>
                  <a:gd name="connsiteY2" fmla="*/ 7910 h 324705"/>
                  <a:gd name="connsiteX3" fmla="*/ 285889 w 832973"/>
                  <a:gd name="connsiteY3" fmla="*/ 44034 h 324705"/>
                  <a:gd name="connsiteX4" fmla="*/ 388119 w 832973"/>
                  <a:gd name="connsiteY4" fmla="*/ 131119 h 324705"/>
                  <a:gd name="connsiteX5" fmla="*/ 390064 w 832973"/>
                  <a:gd name="connsiteY5" fmla="*/ 116946 h 324705"/>
                  <a:gd name="connsiteX6" fmla="*/ 390648 w 832973"/>
                  <a:gd name="connsiteY6" fmla="*/ 117904 h 324705"/>
                  <a:gd name="connsiteX7" fmla="*/ 390779 w 832973"/>
                  <a:gd name="connsiteY7" fmla="*/ 116946 h 324705"/>
                  <a:gd name="connsiteX8" fmla="*/ 416487 w 832973"/>
                  <a:gd name="connsiteY8" fmla="*/ 159121 h 324705"/>
                  <a:gd name="connsiteX9" fmla="*/ 442194 w 832973"/>
                  <a:gd name="connsiteY9" fmla="*/ 116946 h 324705"/>
                  <a:gd name="connsiteX10" fmla="*/ 442326 w 832973"/>
                  <a:gd name="connsiteY10" fmla="*/ 117904 h 324705"/>
                  <a:gd name="connsiteX11" fmla="*/ 442909 w 832973"/>
                  <a:gd name="connsiteY11" fmla="*/ 116946 h 324705"/>
                  <a:gd name="connsiteX12" fmla="*/ 444854 w 832973"/>
                  <a:gd name="connsiteY12" fmla="*/ 131119 h 324705"/>
                  <a:gd name="connsiteX13" fmla="*/ 547084 w 832973"/>
                  <a:gd name="connsiteY13" fmla="*/ 44034 h 324705"/>
                  <a:gd name="connsiteX14" fmla="*/ 544155 w 832973"/>
                  <a:gd name="connsiteY14" fmla="*/ 7910 h 324705"/>
                  <a:gd name="connsiteX15" fmla="*/ 544879 w 832973"/>
                  <a:gd name="connsiteY15" fmla="*/ 8023 h 324705"/>
                  <a:gd name="connsiteX16" fmla="*/ 544870 w 832973"/>
                  <a:gd name="connsiteY16" fmla="*/ 7910 h 324705"/>
                  <a:gd name="connsiteX17" fmla="*/ 727791 w 832973"/>
                  <a:gd name="connsiteY17" fmla="*/ 36430 h 324705"/>
                  <a:gd name="connsiteX18" fmla="*/ 756086 w 832973"/>
                  <a:gd name="connsiteY18" fmla="*/ 48877 h 324705"/>
                  <a:gd name="connsiteX19" fmla="*/ 756011 w 832973"/>
                  <a:gd name="connsiteY19" fmla="*/ 49158 h 324705"/>
                  <a:gd name="connsiteX20" fmla="*/ 802687 w 832973"/>
                  <a:gd name="connsiteY20" fmla="*/ 163428 h 324705"/>
                  <a:gd name="connsiteX21" fmla="*/ 832973 w 832973"/>
                  <a:gd name="connsiteY21" fmla="*/ 324705 h 324705"/>
                  <a:gd name="connsiteX22" fmla="*/ 731916 w 832973"/>
                  <a:gd name="connsiteY22" fmla="*/ 324705 h 324705"/>
                  <a:gd name="connsiteX23" fmla="*/ 628934 w 832973"/>
                  <a:gd name="connsiteY23" fmla="*/ 324705 h 324705"/>
                  <a:gd name="connsiteX24" fmla="*/ 628219 w 832973"/>
                  <a:gd name="connsiteY24" fmla="*/ 324705 h 324705"/>
                  <a:gd name="connsiteX25" fmla="*/ 460645 w 832973"/>
                  <a:gd name="connsiteY25" fmla="*/ 324705 h 324705"/>
                  <a:gd name="connsiteX26" fmla="*/ 459930 w 832973"/>
                  <a:gd name="connsiteY26" fmla="*/ 324705 h 324705"/>
                  <a:gd name="connsiteX27" fmla="*/ 416487 w 832973"/>
                  <a:gd name="connsiteY27" fmla="*/ 161055 h 324705"/>
                  <a:gd name="connsiteX28" fmla="*/ 373043 w 832973"/>
                  <a:gd name="connsiteY28" fmla="*/ 324705 h 324705"/>
                  <a:gd name="connsiteX29" fmla="*/ 372328 w 832973"/>
                  <a:gd name="connsiteY29" fmla="*/ 324705 h 324705"/>
                  <a:gd name="connsiteX30" fmla="*/ 204754 w 832973"/>
                  <a:gd name="connsiteY30" fmla="*/ 324705 h 324705"/>
                  <a:gd name="connsiteX31" fmla="*/ 204039 w 832973"/>
                  <a:gd name="connsiteY31" fmla="*/ 324705 h 324705"/>
                  <a:gd name="connsiteX32" fmla="*/ 101057 w 832973"/>
                  <a:gd name="connsiteY32" fmla="*/ 324705 h 324705"/>
                  <a:gd name="connsiteX33" fmla="*/ 0 w 832973"/>
                  <a:gd name="connsiteY33" fmla="*/ 324705 h 324705"/>
                  <a:gd name="connsiteX34" fmla="*/ 30286 w 832973"/>
                  <a:gd name="connsiteY34" fmla="*/ 163428 h 324705"/>
                  <a:gd name="connsiteX35" fmla="*/ 76963 w 832973"/>
                  <a:gd name="connsiteY35" fmla="*/ 49158 h 324705"/>
                  <a:gd name="connsiteX36" fmla="*/ 76887 w 832973"/>
                  <a:gd name="connsiteY36" fmla="*/ 48877 h 324705"/>
                  <a:gd name="connsiteX37" fmla="*/ 105182 w 832973"/>
                  <a:gd name="connsiteY37" fmla="*/ 36430 h 324705"/>
                  <a:gd name="connsiteX38" fmla="*/ 288103 w 832973"/>
                  <a:gd name="connsiteY38" fmla="*/ 7910 h 324705"/>
                  <a:gd name="connsiteX39" fmla="*/ 494142 w 832973"/>
                  <a:gd name="connsiteY39" fmla="*/ 0 h 324705"/>
                  <a:gd name="connsiteX40" fmla="*/ 494142 w 832973"/>
                  <a:gd name="connsiteY40" fmla="*/ 0 h 324705"/>
                  <a:gd name="connsiteX41" fmla="*/ 431594 w 832973"/>
                  <a:gd name="connsiteY41" fmla="*/ 34509 h 324705"/>
                  <a:gd name="connsiteX42" fmla="*/ 494142 w 832973"/>
                  <a:gd name="connsiteY42" fmla="*/ 0 h 324705"/>
                  <a:gd name="connsiteX0" fmla="*/ 288103 w 832973"/>
                  <a:gd name="connsiteY0" fmla="*/ 7910 h 324705"/>
                  <a:gd name="connsiteX1" fmla="*/ 288094 w 832973"/>
                  <a:gd name="connsiteY1" fmla="*/ 8023 h 324705"/>
                  <a:gd name="connsiteX2" fmla="*/ 288818 w 832973"/>
                  <a:gd name="connsiteY2" fmla="*/ 7910 h 324705"/>
                  <a:gd name="connsiteX3" fmla="*/ 285889 w 832973"/>
                  <a:gd name="connsiteY3" fmla="*/ 44034 h 324705"/>
                  <a:gd name="connsiteX4" fmla="*/ 388119 w 832973"/>
                  <a:gd name="connsiteY4" fmla="*/ 131119 h 324705"/>
                  <a:gd name="connsiteX5" fmla="*/ 390064 w 832973"/>
                  <a:gd name="connsiteY5" fmla="*/ 116946 h 324705"/>
                  <a:gd name="connsiteX6" fmla="*/ 390648 w 832973"/>
                  <a:gd name="connsiteY6" fmla="*/ 117904 h 324705"/>
                  <a:gd name="connsiteX7" fmla="*/ 390779 w 832973"/>
                  <a:gd name="connsiteY7" fmla="*/ 116946 h 324705"/>
                  <a:gd name="connsiteX8" fmla="*/ 416487 w 832973"/>
                  <a:gd name="connsiteY8" fmla="*/ 159121 h 324705"/>
                  <a:gd name="connsiteX9" fmla="*/ 442194 w 832973"/>
                  <a:gd name="connsiteY9" fmla="*/ 116946 h 324705"/>
                  <a:gd name="connsiteX10" fmla="*/ 442326 w 832973"/>
                  <a:gd name="connsiteY10" fmla="*/ 117904 h 324705"/>
                  <a:gd name="connsiteX11" fmla="*/ 442909 w 832973"/>
                  <a:gd name="connsiteY11" fmla="*/ 116946 h 324705"/>
                  <a:gd name="connsiteX12" fmla="*/ 444854 w 832973"/>
                  <a:gd name="connsiteY12" fmla="*/ 131119 h 324705"/>
                  <a:gd name="connsiteX13" fmla="*/ 547084 w 832973"/>
                  <a:gd name="connsiteY13" fmla="*/ 44034 h 324705"/>
                  <a:gd name="connsiteX14" fmla="*/ 544155 w 832973"/>
                  <a:gd name="connsiteY14" fmla="*/ 7910 h 324705"/>
                  <a:gd name="connsiteX15" fmla="*/ 544879 w 832973"/>
                  <a:gd name="connsiteY15" fmla="*/ 8023 h 324705"/>
                  <a:gd name="connsiteX16" fmla="*/ 544870 w 832973"/>
                  <a:gd name="connsiteY16" fmla="*/ 7910 h 324705"/>
                  <a:gd name="connsiteX17" fmla="*/ 727791 w 832973"/>
                  <a:gd name="connsiteY17" fmla="*/ 36430 h 324705"/>
                  <a:gd name="connsiteX18" fmla="*/ 756086 w 832973"/>
                  <a:gd name="connsiteY18" fmla="*/ 48877 h 324705"/>
                  <a:gd name="connsiteX19" fmla="*/ 756011 w 832973"/>
                  <a:gd name="connsiteY19" fmla="*/ 49158 h 324705"/>
                  <a:gd name="connsiteX20" fmla="*/ 802687 w 832973"/>
                  <a:gd name="connsiteY20" fmla="*/ 163428 h 324705"/>
                  <a:gd name="connsiteX21" fmla="*/ 832973 w 832973"/>
                  <a:gd name="connsiteY21" fmla="*/ 324705 h 324705"/>
                  <a:gd name="connsiteX22" fmla="*/ 731916 w 832973"/>
                  <a:gd name="connsiteY22" fmla="*/ 324705 h 324705"/>
                  <a:gd name="connsiteX23" fmla="*/ 628934 w 832973"/>
                  <a:gd name="connsiteY23" fmla="*/ 324705 h 324705"/>
                  <a:gd name="connsiteX24" fmla="*/ 628219 w 832973"/>
                  <a:gd name="connsiteY24" fmla="*/ 324705 h 324705"/>
                  <a:gd name="connsiteX25" fmla="*/ 460645 w 832973"/>
                  <a:gd name="connsiteY25" fmla="*/ 324705 h 324705"/>
                  <a:gd name="connsiteX26" fmla="*/ 459930 w 832973"/>
                  <a:gd name="connsiteY26" fmla="*/ 324705 h 324705"/>
                  <a:gd name="connsiteX27" fmla="*/ 416487 w 832973"/>
                  <a:gd name="connsiteY27" fmla="*/ 161055 h 324705"/>
                  <a:gd name="connsiteX28" fmla="*/ 373043 w 832973"/>
                  <a:gd name="connsiteY28" fmla="*/ 324705 h 324705"/>
                  <a:gd name="connsiteX29" fmla="*/ 372328 w 832973"/>
                  <a:gd name="connsiteY29" fmla="*/ 324705 h 324705"/>
                  <a:gd name="connsiteX30" fmla="*/ 204754 w 832973"/>
                  <a:gd name="connsiteY30" fmla="*/ 324705 h 324705"/>
                  <a:gd name="connsiteX31" fmla="*/ 204039 w 832973"/>
                  <a:gd name="connsiteY31" fmla="*/ 324705 h 324705"/>
                  <a:gd name="connsiteX32" fmla="*/ 101057 w 832973"/>
                  <a:gd name="connsiteY32" fmla="*/ 324705 h 324705"/>
                  <a:gd name="connsiteX33" fmla="*/ 0 w 832973"/>
                  <a:gd name="connsiteY33" fmla="*/ 324705 h 324705"/>
                  <a:gd name="connsiteX34" fmla="*/ 30286 w 832973"/>
                  <a:gd name="connsiteY34" fmla="*/ 163428 h 324705"/>
                  <a:gd name="connsiteX35" fmla="*/ 76963 w 832973"/>
                  <a:gd name="connsiteY35" fmla="*/ 49158 h 324705"/>
                  <a:gd name="connsiteX36" fmla="*/ 76887 w 832973"/>
                  <a:gd name="connsiteY36" fmla="*/ 48877 h 324705"/>
                  <a:gd name="connsiteX37" fmla="*/ 105182 w 832973"/>
                  <a:gd name="connsiteY37" fmla="*/ 36430 h 324705"/>
                  <a:gd name="connsiteX38" fmla="*/ 288103 w 832973"/>
                  <a:gd name="connsiteY38" fmla="*/ 7910 h 324705"/>
                  <a:gd name="connsiteX39" fmla="*/ 494142 w 832973"/>
                  <a:gd name="connsiteY39" fmla="*/ 0 h 324705"/>
                  <a:gd name="connsiteX40" fmla="*/ 494142 w 832973"/>
                  <a:gd name="connsiteY40" fmla="*/ 0 h 324705"/>
                  <a:gd name="connsiteX41" fmla="*/ 436895 w 832973"/>
                  <a:gd name="connsiteY41" fmla="*/ 11539 h 324705"/>
                  <a:gd name="connsiteX42" fmla="*/ 494142 w 832973"/>
                  <a:gd name="connsiteY42" fmla="*/ 0 h 324705"/>
                  <a:gd name="connsiteX0" fmla="*/ 288103 w 832973"/>
                  <a:gd name="connsiteY0" fmla="*/ 7910 h 324705"/>
                  <a:gd name="connsiteX1" fmla="*/ 288094 w 832973"/>
                  <a:gd name="connsiteY1" fmla="*/ 8023 h 324705"/>
                  <a:gd name="connsiteX2" fmla="*/ 288818 w 832973"/>
                  <a:gd name="connsiteY2" fmla="*/ 7910 h 324705"/>
                  <a:gd name="connsiteX3" fmla="*/ 285889 w 832973"/>
                  <a:gd name="connsiteY3" fmla="*/ 44034 h 324705"/>
                  <a:gd name="connsiteX4" fmla="*/ 388119 w 832973"/>
                  <a:gd name="connsiteY4" fmla="*/ 131119 h 324705"/>
                  <a:gd name="connsiteX5" fmla="*/ 390064 w 832973"/>
                  <a:gd name="connsiteY5" fmla="*/ 116946 h 324705"/>
                  <a:gd name="connsiteX6" fmla="*/ 390648 w 832973"/>
                  <a:gd name="connsiteY6" fmla="*/ 117904 h 324705"/>
                  <a:gd name="connsiteX7" fmla="*/ 390779 w 832973"/>
                  <a:gd name="connsiteY7" fmla="*/ 116946 h 324705"/>
                  <a:gd name="connsiteX8" fmla="*/ 416487 w 832973"/>
                  <a:gd name="connsiteY8" fmla="*/ 159121 h 324705"/>
                  <a:gd name="connsiteX9" fmla="*/ 442194 w 832973"/>
                  <a:gd name="connsiteY9" fmla="*/ 116946 h 324705"/>
                  <a:gd name="connsiteX10" fmla="*/ 442326 w 832973"/>
                  <a:gd name="connsiteY10" fmla="*/ 117904 h 324705"/>
                  <a:gd name="connsiteX11" fmla="*/ 442909 w 832973"/>
                  <a:gd name="connsiteY11" fmla="*/ 116946 h 324705"/>
                  <a:gd name="connsiteX12" fmla="*/ 444854 w 832973"/>
                  <a:gd name="connsiteY12" fmla="*/ 131119 h 324705"/>
                  <a:gd name="connsiteX13" fmla="*/ 547084 w 832973"/>
                  <a:gd name="connsiteY13" fmla="*/ 44034 h 324705"/>
                  <a:gd name="connsiteX14" fmla="*/ 544155 w 832973"/>
                  <a:gd name="connsiteY14" fmla="*/ 7910 h 324705"/>
                  <a:gd name="connsiteX15" fmla="*/ 544879 w 832973"/>
                  <a:gd name="connsiteY15" fmla="*/ 8023 h 324705"/>
                  <a:gd name="connsiteX16" fmla="*/ 544870 w 832973"/>
                  <a:gd name="connsiteY16" fmla="*/ 7910 h 324705"/>
                  <a:gd name="connsiteX17" fmla="*/ 727791 w 832973"/>
                  <a:gd name="connsiteY17" fmla="*/ 36430 h 324705"/>
                  <a:gd name="connsiteX18" fmla="*/ 756086 w 832973"/>
                  <a:gd name="connsiteY18" fmla="*/ 48877 h 324705"/>
                  <a:gd name="connsiteX19" fmla="*/ 756011 w 832973"/>
                  <a:gd name="connsiteY19" fmla="*/ 49158 h 324705"/>
                  <a:gd name="connsiteX20" fmla="*/ 802687 w 832973"/>
                  <a:gd name="connsiteY20" fmla="*/ 163428 h 324705"/>
                  <a:gd name="connsiteX21" fmla="*/ 832973 w 832973"/>
                  <a:gd name="connsiteY21" fmla="*/ 324705 h 324705"/>
                  <a:gd name="connsiteX22" fmla="*/ 731916 w 832973"/>
                  <a:gd name="connsiteY22" fmla="*/ 324705 h 324705"/>
                  <a:gd name="connsiteX23" fmla="*/ 628934 w 832973"/>
                  <a:gd name="connsiteY23" fmla="*/ 324705 h 324705"/>
                  <a:gd name="connsiteX24" fmla="*/ 628219 w 832973"/>
                  <a:gd name="connsiteY24" fmla="*/ 324705 h 324705"/>
                  <a:gd name="connsiteX25" fmla="*/ 460645 w 832973"/>
                  <a:gd name="connsiteY25" fmla="*/ 324705 h 324705"/>
                  <a:gd name="connsiteX26" fmla="*/ 459930 w 832973"/>
                  <a:gd name="connsiteY26" fmla="*/ 324705 h 324705"/>
                  <a:gd name="connsiteX27" fmla="*/ 416487 w 832973"/>
                  <a:gd name="connsiteY27" fmla="*/ 161055 h 324705"/>
                  <a:gd name="connsiteX28" fmla="*/ 373043 w 832973"/>
                  <a:gd name="connsiteY28" fmla="*/ 324705 h 324705"/>
                  <a:gd name="connsiteX29" fmla="*/ 372328 w 832973"/>
                  <a:gd name="connsiteY29" fmla="*/ 324705 h 324705"/>
                  <a:gd name="connsiteX30" fmla="*/ 204754 w 832973"/>
                  <a:gd name="connsiteY30" fmla="*/ 324705 h 324705"/>
                  <a:gd name="connsiteX31" fmla="*/ 204039 w 832973"/>
                  <a:gd name="connsiteY31" fmla="*/ 324705 h 324705"/>
                  <a:gd name="connsiteX32" fmla="*/ 101057 w 832973"/>
                  <a:gd name="connsiteY32" fmla="*/ 324705 h 324705"/>
                  <a:gd name="connsiteX33" fmla="*/ 0 w 832973"/>
                  <a:gd name="connsiteY33" fmla="*/ 324705 h 324705"/>
                  <a:gd name="connsiteX34" fmla="*/ 30286 w 832973"/>
                  <a:gd name="connsiteY34" fmla="*/ 163428 h 324705"/>
                  <a:gd name="connsiteX35" fmla="*/ 76963 w 832973"/>
                  <a:gd name="connsiteY35" fmla="*/ 49158 h 324705"/>
                  <a:gd name="connsiteX36" fmla="*/ 76887 w 832973"/>
                  <a:gd name="connsiteY36" fmla="*/ 48877 h 324705"/>
                  <a:gd name="connsiteX37" fmla="*/ 105182 w 832973"/>
                  <a:gd name="connsiteY37" fmla="*/ 36430 h 324705"/>
                  <a:gd name="connsiteX38" fmla="*/ 288103 w 832973"/>
                  <a:gd name="connsiteY38" fmla="*/ 7910 h 324705"/>
                  <a:gd name="connsiteX39" fmla="*/ 494142 w 832973"/>
                  <a:gd name="connsiteY39" fmla="*/ 0 h 324705"/>
                  <a:gd name="connsiteX40" fmla="*/ 494142 w 832973"/>
                  <a:gd name="connsiteY40" fmla="*/ 0 h 324705"/>
                  <a:gd name="connsiteX41" fmla="*/ 494142 w 832973"/>
                  <a:gd name="connsiteY41" fmla="*/ 0 h 324705"/>
                  <a:gd name="connsiteX0" fmla="*/ 288103 w 832973"/>
                  <a:gd name="connsiteY0" fmla="*/ 7910 h 324705"/>
                  <a:gd name="connsiteX1" fmla="*/ 288094 w 832973"/>
                  <a:gd name="connsiteY1" fmla="*/ 8023 h 324705"/>
                  <a:gd name="connsiteX2" fmla="*/ 288818 w 832973"/>
                  <a:gd name="connsiteY2" fmla="*/ 7910 h 324705"/>
                  <a:gd name="connsiteX3" fmla="*/ 285889 w 832973"/>
                  <a:gd name="connsiteY3" fmla="*/ 44034 h 324705"/>
                  <a:gd name="connsiteX4" fmla="*/ 388119 w 832973"/>
                  <a:gd name="connsiteY4" fmla="*/ 131119 h 324705"/>
                  <a:gd name="connsiteX5" fmla="*/ 390064 w 832973"/>
                  <a:gd name="connsiteY5" fmla="*/ 116946 h 324705"/>
                  <a:gd name="connsiteX6" fmla="*/ 390648 w 832973"/>
                  <a:gd name="connsiteY6" fmla="*/ 117904 h 324705"/>
                  <a:gd name="connsiteX7" fmla="*/ 390779 w 832973"/>
                  <a:gd name="connsiteY7" fmla="*/ 116946 h 324705"/>
                  <a:gd name="connsiteX8" fmla="*/ 416487 w 832973"/>
                  <a:gd name="connsiteY8" fmla="*/ 159121 h 324705"/>
                  <a:gd name="connsiteX9" fmla="*/ 442194 w 832973"/>
                  <a:gd name="connsiteY9" fmla="*/ 116946 h 324705"/>
                  <a:gd name="connsiteX10" fmla="*/ 442326 w 832973"/>
                  <a:gd name="connsiteY10" fmla="*/ 117904 h 324705"/>
                  <a:gd name="connsiteX11" fmla="*/ 442909 w 832973"/>
                  <a:gd name="connsiteY11" fmla="*/ 116946 h 324705"/>
                  <a:gd name="connsiteX12" fmla="*/ 444854 w 832973"/>
                  <a:gd name="connsiteY12" fmla="*/ 131119 h 324705"/>
                  <a:gd name="connsiteX13" fmla="*/ 547084 w 832973"/>
                  <a:gd name="connsiteY13" fmla="*/ 44034 h 324705"/>
                  <a:gd name="connsiteX14" fmla="*/ 544155 w 832973"/>
                  <a:gd name="connsiteY14" fmla="*/ 7910 h 324705"/>
                  <a:gd name="connsiteX15" fmla="*/ 544879 w 832973"/>
                  <a:gd name="connsiteY15" fmla="*/ 8023 h 324705"/>
                  <a:gd name="connsiteX16" fmla="*/ 544870 w 832973"/>
                  <a:gd name="connsiteY16" fmla="*/ 7910 h 324705"/>
                  <a:gd name="connsiteX17" fmla="*/ 727791 w 832973"/>
                  <a:gd name="connsiteY17" fmla="*/ 36430 h 324705"/>
                  <a:gd name="connsiteX18" fmla="*/ 756086 w 832973"/>
                  <a:gd name="connsiteY18" fmla="*/ 48877 h 324705"/>
                  <a:gd name="connsiteX19" fmla="*/ 756011 w 832973"/>
                  <a:gd name="connsiteY19" fmla="*/ 49158 h 324705"/>
                  <a:gd name="connsiteX20" fmla="*/ 802687 w 832973"/>
                  <a:gd name="connsiteY20" fmla="*/ 163428 h 324705"/>
                  <a:gd name="connsiteX21" fmla="*/ 832973 w 832973"/>
                  <a:gd name="connsiteY21" fmla="*/ 324705 h 324705"/>
                  <a:gd name="connsiteX22" fmla="*/ 731916 w 832973"/>
                  <a:gd name="connsiteY22" fmla="*/ 324705 h 324705"/>
                  <a:gd name="connsiteX23" fmla="*/ 628934 w 832973"/>
                  <a:gd name="connsiteY23" fmla="*/ 324705 h 324705"/>
                  <a:gd name="connsiteX24" fmla="*/ 628219 w 832973"/>
                  <a:gd name="connsiteY24" fmla="*/ 324705 h 324705"/>
                  <a:gd name="connsiteX25" fmla="*/ 460645 w 832973"/>
                  <a:gd name="connsiteY25" fmla="*/ 324705 h 324705"/>
                  <a:gd name="connsiteX26" fmla="*/ 459930 w 832973"/>
                  <a:gd name="connsiteY26" fmla="*/ 324705 h 324705"/>
                  <a:gd name="connsiteX27" fmla="*/ 416487 w 832973"/>
                  <a:gd name="connsiteY27" fmla="*/ 161055 h 324705"/>
                  <a:gd name="connsiteX28" fmla="*/ 373043 w 832973"/>
                  <a:gd name="connsiteY28" fmla="*/ 324705 h 324705"/>
                  <a:gd name="connsiteX29" fmla="*/ 372328 w 832973"/>
                  <a:gd name="connsiteY29" fmla="*/ 324705 h 324705"/>
                  <a:gd name="connsiteX30" fmla="*/ 204754 w 832973"/>
                  <a:gd name="connsiteY30" fmla="*/ 324705 h 324705"/>
                  <a:gd name="connsiteX31" fmla="*/ 204039 w 832973"/>
                  <a:gd name="connsiteY31" fmla="*/ 324705 h 324705"/>
                  <a:gd name="connsiteX32" fmla="*/ 101057 w 832973"/>
                  <a:gd name="connsiteY32" fmla="*/ 324705 h 324705"/>
                  <a:gd name="connsiteX33" fmla="*/ 0 w 832973"/>
                  <a:gd name="connsiteY33" fmla="*/ 324705 h 324705"/>
                  <a:gd name="connsiteX34" fmla="*/ 30286 w 832973"/>
                  <a:gd name="connsiteY34" fmla="*/ 163428 h 324705"/>
                  <a:gd name="connsiteX35" fmla="*/ 76963 w 832973"/>
                  <a:gd name="connsiteY35" fmla="*/ 49158 h 324705"/>
                  <a:gd name="connsiteX36" fmla="*/ 76887 w 832973"/>
                  <a:gd name="connsiteY36" fmla="*/ 48877 h 324705"/>
                  <a:gd name="connsiteX37" fmla="*/ 105182 w 832973"/>
                  <a:gd name="connsiteY37" fmla="*/ 36430 h 324705"/>
                  <a:gd name="connsiteX38" fmla="*/ 288103 w 832973"/>
                  <a:gd name="connsiteY38" fmla="*/ 7910 h 324705"/>
                  <a:gd name="connsiteX39" fmla="*/ 483541 w 832973"/>
                  <a:gd name="connsiteY39" fmla="*/ 33572 h 324705"/>
                  <a:gd name="connsiteX40" fmla="*/ 494142 w 832973"/>
                  <a:gd name="connsiteY40" fmla="*/ 0 h 324705"/>
                  <a:gd name="connsiteX41" fmla="*/ 483541 w 832973"/>
                  <a:gd name="connsiteY41" fmla="*/ 33572 h 324705"/>
                  <a:gd name="connsiteX0" fmla="*/ 288103 w 832973"/>
                  <a:gd name="connsiteY0" fmla="*/ 0 h 316795"/>
                  <a:gd name="connsiteX1" fmla="*/ 288094 w 832973"/>
                  <a:gd name="connsiteY1" fmla="*/ 113 h 316795"/>
                  <a:gd name="connsiteX2" fmla="*/ 288818 w 832973"/>
                  <a:gd name="connsiteY2" fmla="*/ 0 h 316795"/>
                  <a:gd name="connsiteX3" fmla="*/ 285889 w 832973"/>
                  <a:gd name="connsiteY3" fmla="*/ 36124 h 316795"/>
                  <a:gd name="connsiteX4" fmla="*/ 388119 w 832973"/>
                  <a:gd name="connsiteY4" fmla="*/ 123209 h 316795"/>
                  <a:gd name="connsiteX5" fmla="*/ 390064 w 832973"/>
                  <a:gd name="connsiteY5" fmla="*/ 109036 h 316795"/>
                  <a:gd name="connsiteX6" fmla="*/ 390648 w 832973"/>
                  <a:gd name="connsiteY6" fmla="*/ 109994 h 316795"/>
                  <a:gd name="connsiteX7" fmla="*/ 390779 w 832973"/>
                  <a:gd name="connsiteY7" fmla="*/ 109036 h 316795"/>
                  <a:gd name="connsiteX8" fmla="*/ 416487 w 832973"/>
                  <a:gd name="connsiteY8" fmla="*/ 151211 h 316795"/>
                  <a:gd name="connsiteX9" fmla="*/ 442194 w 832973"/>
                  <a:gd name="connsiteY9" fmla="*/ 109036 h 316795"/>
                  <a:gd name="connsiteX10" fmla="*/ 442326 w 832973"/>
                  <a:gd name="connsiteY10" fmla="*/ 109994 h 316795"/>
                  <a:gd name="connsiteX11" fmla="*/ 442909 w 832973"/>
                  <a:gd name="connsiteY11" fmla="*/ 109036 h 316795"/>
                  <a:gd name="connsiteX12" fmla="*/ 444854 w 832973"/>
                  <a:gd name="connsiteY12" fmla="*/ 123209 h 316795"/>
                  <a:gd name="connsiteX13" fmla="*/ 547084 w 832973"/>
                  <a:gd name="connsiteY13" fmla="*/ 36124 h 316795"/>
                  <a:gd name="connsiteX14" fmla="*/ 544155 w 832973"/>
                  <a:gd name="connsiteY14" fmla="*/ 0 h 316795"/>
                  <a:gd name="connsiteX15" fmla="*/ 544879 w 832973"/>
                  <a:gd name="connsiteY15" fmla="*/ 113 h 316795"/>
                  <a:gd name="connsiteX16" fmla="*/ 544870 w 832973"/>
                  <a:gd name="connsiteY16" fmla="*/ 0 h 316795"/>
                  <a:gd name="connsiteX17" fmla="*/ 727791 w 832973"/>
                  <a:gd name="connsiteY17" fmla="*/ 28520 h 316795"/>
                  <a:gd name="connsiteX18" fmla="*/ 756086 w 832973"/>
                  <a:gd name="connsiteY18" fmla="*/ 40967 h 316795"/>
                  <a:gd name="connsiteX19" fmla="*/ 756011 w 832973"/>
                  <a:gd name="connsiteY19" fmla="*/ 41248 h 316795"/>
                  <a:gd name="connsiteX20" fmla="*/ 802687 w 832973"/>
                  <a:gd name="connsiteY20" fmla="*/ 155518 h 316795"/>
                  <a:gd name="connsiteX21" fmla="*/ 832973 w 832973"/>
                  <a:gd name="connsiteY21" fmla="*/ 316795 h 316795"/>
                  <a:gd name="connsiteX22" fmla="*/ 731916 w 832973"/>
                  <a:gd name="connsiteY22" fmla="*/ 316795 h 316795"/>
                  <a:gd name="connsiteX23" fmla="*/ 628934 w 832973"/>
                  <a:gd name="connsiteY23" fmla="*/ 316795 h 316795"/>
                  <a:gd name="connsiteX24" fmla="*/ 628219 w 832973"/>
                  <a:gd name="connsiteY24" fmla="*/ 316795 h 316795"/>
                  <a:gd name="connsiteX25" fmla="*/ 460645 w 832973"/>
                  <a:gd name="connsiteY25" fmla="*/ 316795 h 316795"/>
                  <a:gd name="connsiteX26" fmla="*/ 459930 w 832973"/>
                  <a:gd name="connsiteY26" fmla="*/ 316795 h 316795"/>
                  <a:gd name="connsiteX27" fmla="*/ 416487 w 832973"/>
                  <a:gd name="connsiteY27" fmla="*/ 153145 h 316795"/>
                  <a:gd name="connsiteX28" fmla="*/ 373043 w 832973"/>
                  <a:gd name="connsiteY28" fmla="*/ 316795 h 316795"/>
                  <a:gd name="connsiteX29" fmla="*/ 372328 w 832973"/>
                  <a:gd name="connsiteY29" fmla="*/ 316795 h 316795"/>
                  <a:gd name="connsiteX30" fmla="*/ 204754 w 832973"/>
                  <a:gd name="connsiteY30" fmla="*/ 316795 h 316795"/>
                  <a:gd name="connsiteX31" fmla="*/ 204039 w 832973"/>
                  <a:gd name="connsiteY31" fmla="*/ 316795 h 316795"/>
                  <a:gd name="connsiteX32" fmla="*/ 101057 w 832973"/>
                  <a:gd name="connsiteY32" fmla="*/ 316795 h 316795"/>
                  <a:gd name="connsiteX33" fmla="*/ 0 w 832973"/>
                  <a:gd name="connsiteY33" fmla="*/ 316795 h 316795"/>
                  <a:gd name="connsiteX34" fmla="*/ 30286 w 832973"/>
                  <a:gd name="connsiteY34" fmla="*/ 155518 h 316795"/>
                  <a:gd name="connsiteX35" fmla="*/ 76963 w 832973"/>
                  <a:gd name="connsiteY35" fmla="*/ 41248 h 316795"/>
                  <a:gd name="connsiteX36" fmla="*/ 76887 w 832973"/>
                  <a:gd name="connsiteY36" fmla="*/ 40967 h 316795"/>
                  <a:gd name="connsiteX37" fmla="*/ 105182 w 832973"/>
                  <a:gd name="connsiteY37" fmla="*/ 28520 h 316795"/>
                  <a:gd name="connsiteX38" fmla="*/ 288103 w 832973"/>
                  <a:gd name="connsiteY38" fmla="*/ 0 h 31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32973" h="316795">
                    <a:moveTo>
                      <a:pt x="288103" y="0"/>
                    </a:moveTo>
                    <a:cubicBezTo>
                      <a:pt x="288100" y="38"/>
                      <a:pt x="288097" y="75"/>
                      <a:pt x="288094" y="113"/>
                    </a:cubicBezTo>
                    <a:lnTo>
                      <a:pt x="288818" y="0"/>
                    </a:lnTo>
                    <a:lnTo>
                      <a:pt x="285889" y="36124"/>
                    </a:lnTo>
                    <a:lnTo>
                      <a:pt x="388119" y="123209"/>
                    </a:lnTo>
                    <a:lnTo>
                      <a:pt x="390064" y="109036"/>
                    </a:lnTo>
                    <a:lnTo>
                      <a:pt x="390648" y="109994"/>
                    </a:lnTo>
                    <a:cubicBezTo>
                      <a:pt x="390692" y="109675"/>
                      <a:pt x="390735" y="109355"/>
                      <a:pt x="390779" y="109036"/>
                    </a:cubicBezTo>
                    <a:lnTo>
                      <a:pt x="416487" y="151211"/>
                    </a:lnTo>
                    <a:lnTo>
                      <a:pt x="442194" y="109036"/>
                    </a:lnTo>
                    <a:lnTo>
                      <a:pt x="442326" y="109994"/>
                    </a:lnTo>
                    <a:lnTo>
                      <a:pt x="442909" y="109036"/>
                    </a:lnTo>
                    <a:lnTo>
                      <a:pt x="444854" y="123209"/>
                    </a:lnTo>
                    <a:lnTo>
                      <a:pt x="547084" y="36124"/>
                    </a:lnTo>
                    <a:lnTo>
                      <a:pt x="544155" y="0"/>
                    </a:lnTo>
                    <a:lnTo>
                      <a:pt x="544879" y="113"/>
                    </a:lnTo>
                    <a:cubicBezTo>
                      <a:pt x="544876" y="75"/>
                      <a:pt x="544873" y="38"/>
                      <a:pt x="544870" y="0"/>
                    </a:cubicBezTo>
                    <a:lnTo>
                      <a:pt x="727791" y="28520"/>
                    </a:lnTo>
                    <a:lnTo>
                      <a:pt x="756086" y="40967"/>
                    </a:lnTo>
                    <a:cubicBezTo>
                      <a:pt x="756061" y="41061"/>
                      <a:pt x="756036" y="41154"/>
                      <a:pt x="756011" y="41248"/>
                    </a:cubicBezTo>
                    <a:cubicBezTo>
                      <a:pt x="788015" y="60586"/>
                      <a:pt x="792902" y="101660"/>
                      <a:pt x="802687" y="155518"/>
                    </a:cubicBezTo>
                    <a:cubicBezTo>
                      <a:pt x="806261" y="186545"/>
                      <a:pt x="821375" y="258559"/>
                      <a:pt x="832973" y="316795"/>
                    </a:cubicBezTo>
                    <a:lnTo>
                      <a:pt x="731916" y="316795"/>
                    </a:lnTo>
                    <a:lnTo>
                      <a:pt x="628934" y="316795"/>
                    </a:lnTo>
                    <a:lnTo>
                      <a:pt x="628219" y="316795"/>
                    </a:lnTo>
                    <a:lnTo>
                      <a:pt x="460645" y="316795"/>
                    </a:lnTo>
                    <a:lnTo>
                      <a:pt x="459930" y="316795"/>
                    </a:lnTo>
                    <a:lnTo>
                      <a:pt x="416487" y="153145"/>
                    </a:lnTo>
                    <a:lnTo>
                      <a:pt x="373043" y="316795"/>
                    </a:lnTo>
                    <a:lnTo>
                      <a:pt x="372328" y="316795"/>
                    </a:lnTo>
                    <a:lnTo>
                      <a:pt x="204754" y="316795"/>
                    </a:lnTo>
                    <a:lnTo>
                      <a:pt x="204039" y="316795"/>
                    </a:lnTo>
                    <a:lnTo>
                      <a:pt x="101057" y="316795"/>
                    </a:lnTo>
                    <a:lnTo>
                      <a:pt x="0" y="316795"/>
                    </a:lnTo>
                    <a:cubicBezTo>
                      <a:pt x="11598" y="258559"/>
                      <a:pt x="26712" y="186545"/>
                      <a:pt x="30286" y="155518"/>
                    </a:cubicBezTo>
                    <a:cubicBezTo>
                      <a:pt x="40071" y="101660"/>
                      <a:pt x="44958" y="60586"/>
                      <a:pt x="76963" y="41248"/>
                    </a:cubicBezTo>
                    <a:cubicBezTo>
                      <a:pt x="76938" y="41154"/>
                      <a:pt x="76912" y="41061"/>
                      <a:pt x="76887" y="40967"/>
                    </a:cubicBezTo>
                    <a:lnTo>
                      <a:pt x="105182" y="28520"/>
                    </a:lnTo>
                    <a:lnTo>
                      <a:pt x="288103" y="0"/>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23" name="Rounded Rectangular Callout 9"/>
            <p:cNvSpPr/>
            <p:nvPr/>
          </p:nvSpPr>
          <p:spPr bwMode="gray">
            <a:xfrm>
              <a:off x="1104711" y="3440660"/>
              <a:ext cx="3933951" cy="600510"/>
            </a:xfrm>
            <a:prstGeom prst="wedgeRoundRectCallout">
              <a:avLst>
                <a:gd name="adj1" fmla="val -57823"/>
                <a:gd name="adj2" fmla="val 33377"/>
                <a:gd name="adj3" fmla="val 16667"/>
              </a:avLst>
            </a:prstGeom>
            <a:solidFill>
              <a:srgbClr val="C00000"/>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079"/>
                </a:spcBef>
                <a:buClr>
                  <a:schemeClr val="tx2"/>
                </a:buClr>
                <a:buSzPct val="70000"/>
              </a:pPr>
              <a:r>
                <a:rPr lang="en-US" sz="1600" dirty="0">
                  <a:solidFill>
                    <a:schemeClr val="bg1"/>
                  </a:solidFill>
                  <a:latin typeface="ABBvoice" panose="020D0603020503020204" pitchFamily="34" charset="0"/>
                  <a:ea typeface="ABBvoice" panose="020D0603020503020204" pitchFamily="34" charset="0"/>
                  <a:cs typeface="ABBvoice" panose="020D0603020503020204" pitchFamily="34" charset="0"/>
                </a:rPr>
                <a:t>It’s a </a:t>
              </a:r>
              <a:r>
                <a:rPr lang="en-US" sz="1600" dirty="0" err="1">
                  <a:solidFill>
                    <a:schemeClr val="bg1"/>
                  </a:solidFill>
                  <a:latin typeface="ABBvoice" panose="020D0603020503020204" pitchFamily="34" charset="0"/>
                  <a:ea typeface="ABBvoice" panose="020D0603020503020204" pitchFamily="34" charset="0"/>
                  <a:cs typeface="ABBvoice" panose="020D0603020503020204" pitchFamily="34" charset="0"/>
                </a:rPr>
                <a:t>Uras</a:t>
              </a:r>
              <a:r>
                <a:rPr lang="en-US" sz="1600" dirty="0">
                  <a:solidFill>
                    <a:schemeClr val="bg1"/>
                  </a:solidFill>
                  <a:latin typeface="ABBvoice" panose="020D0603020503020204" pitchFamily="34" charset="0"/>
                  <a:ea typeface="ABBvoice" panose="020D0603020503020204" pitchFamily="34" charset="0"/>
                  <a:cs typeface="ABBvoice" panose="020D0603020503020204" pitchFamily="34" charset="0"/>
                </a:rPr>
                <a:t> analyzer. Where can I find additional information?</a:t>
              </a:r>
            </a:p>
          </p:txBody>
        </p:sp>
      </p:grpSp>
      <p:grpSp>
        <p:nvGrpSpPr>
          <p:cNvPr id="9" name="Group 8">
            <a:extLst>
              <a:ext uri="{FF2B5EF4-FFF2-40B4-BE49-F238E27FC236}">
                <a16:creationId xmlns:a16="http://schemas.microsoft.com/office/drawing/2014/main" id="{1ABCE385-7458-447E-B04C-A441A2B8C884}"/>
              </a:ext>
            </a:extLst>
          </p:cNvPr>
          <p:cNvGrpSpPr/>
          <p:nvPr/>
        </p:nvGrpSpPr>
        <p:grpSpPr bwMode="gray">
          <a:xfrm>
            <a:off x="368418" y="4815799"/>
            <a:ext cx="4689118" cy="933859"/>
            <a:chOff x="368418" y="4815799"/>
            <a:chExt cx="4689118" cy="933859"/>
          </a:xfrm>
        </p:grpSpPr>
        <p:grpSp>
          <p:nvGrpSpPr>
            <p:cNvPr id="63" name="Group 62">
              <a:extLst>
                <a:ext uri="{FF2B5EF4-FFF2-40B4-BE49-F238E27FC236}">
                  <a16:creationId xmlns:a16="http://schemas.microsoft.com/office/drawing/2014/main" id="{99A13376-DF40-4ACA-BCF5-C4B30F7C7890}"/>
                </a:ext>
              </a:extLst>
            </p:cNvPr>
            <p:cNvGrpSpPr>
              <a:grpSpLocks noChangeAspect="1"/>
            </p:cNvGrpSpPr>
            <p:nvPr/>
          </p:nvGrpSpPr>
          <p:grpSpPr bwMode="gray">
            <a:xfrm>
              <a:off x="368418" y="4947407"/>
              <a:ext cx="723107" cy="802251"/>
              <a:chOff x="-4806656" y="1813087"/>
              <a:chExt cx="832973" cy="924142"/>
            </a:xfrm>
          </p:grpSpPr>
          <p:grpSp>
            <p:nvGrpSpPr>
              <p:cNvPr id="64" name="Group 63">
                <a:extLst>
                  <a:ext uri="{FF2B5EF4-FFF2-40B4-BE49-F238E27FC236}">
                    <a16:creationId xmlns:a16="http://schemas.microsoft.com/office/drawing/2014/main" id="{D97CBE68-5CEA-4732-8728-4B54DA866B2A}"/>
                  </a:ext>
                </a:extLst>
              </p:cNvPr>
              <p:cNvGrpSpPr/>
              <p:nvPr/>
            </p:nvGrpSpPr>
            <p:grpSpPr bwMode="gray">
              <a:xfrm>
                <a:off x="-4595722" y="1813087"/>
                <a:ext cx="411802" cy="573973"/>
                <a:chOff x="-5725430" y="1848863"/>
                <a:chExt cx="411802" cy="573973"/>
              </a:xfrm>
            </p:grpSpPr>
            <p:sp>
              <p:nvSpPr>
                <p:cNvPr id="71" name="Rounded Rectangle 25">
                  <a:extLst>
                    <a:ext uri="{FF2B5EF4-FFF2-40B4-BE49-F238E27FC236}">
                      <a16:creationId xmlns:a16="http://schemas.microsoft.com/office/drawing/2014/main" id="{C96A5911-250D-487F-9216-770953DCEFF1}"/>
                    </a:ext>
                  </a:extLst>
                </p:cNvPr>
                <p:cNvSpPr/>
                <p:nvPr/>
              </p:nvSpPr>
              <p:spPr bwMode="gray">
                <a:xfrm rot="21372172" flipH="1">
                  <a:off x="-5725430" y="1946385"/>
                  <a:ext cx="410156" cy="476451"/>
                </a:xfrm>
                <a:custGeom>
                  <a:avLst/>
                  <a:gdLst/>
                  <a:ahLst/>
                  <a:cxnLst/>
                  <a:rect l="l" t="t" r="r" b="b"/>
                  <a:pathLst>
                    <a:path w="416839" h="476451">
                      <a:moveTo>
                        <a:pt x="281390" y="0"/>
                      </a:moveTo>
                      <a:lnTo>
                        <a:pt x="257310" y="11144"/>
                      </a:lnTo>
                      <a:lnTo>
                        <a:pt x="170756" y="30253"/>
                      </a:lnTo>
                      <a:cubicBezTo>
                        <a:pt x="139095" y="37445"/>
                        <a:pt x="90519" y="39079"/>
                        <a:pt x="67346" y="54299"/>
                      </a:cubicBezTo>
                      <a:cubicBezTo>
                        <a:pt x="44173" y="69519"/>
                        <a:pt x="36456" y="97078"/>
                        <a:pt x="31718" y="121576"/>
                      </a:cubicBezTo>
                      <a:lnTo>
                        <a:pt x="29540" y="203816"/>
                      </a:lnTo>
                      <a:lnTo>
                        <a:pt x="22055" y="204312"/>
                      </a:lnTo>
                      <a:lnTo>
                        <a:pt x="21829" y="206510"/>
                      </a:lnTo>
                      <a:cubicBezTo>
                        <a:pt x="8019" y="208397"/>
                        <a:pt x="-1621" y="221140"/>
                        <a:pt x="226" y="234999"/>
                      </a:cubicBezTo>
                      <a:lnTo>
                        <a:pt x="10849" y="314677"/>
                      </a:lnTo>
                      <a:cubicBezTo>
                        <a:pt x="12708" y="328618"/>
                        <a:pt x="25489" y="338424"/>
                        <a:pt x="39419" y="336580"/>
                      </a:cubicBezTo>
                      <a:cubicBezTo>
                        <a:pt x="68995" y="422891"/>
                        <a:pt x="140500" y="481381"/>
                        <a:pt x="219715" y="476124"/>
                      </a:cubicBezTo>
                      <a:lnTo>
                        <a:pt x="231142" y="475367"/>
                      </a:lnTo>
                      <a:cubicBezTo>
                        <a:pt x="310357" y="470109"/>
                        <a:pt x="373505" y="402682"/>
                        <a:pt x="391415" y="313219"/>
                      </a:cubicBezTo>
                      <a:cubicBezTo>
                        <a:pt x="405466" y="313206"/>
                        <a:pt x="416839" y="301797"/>
                        <a:pt x="416839" y="287733"/>
                      </a:cubicBezTo>
                      <a:lnTo>
                        <a:pt x="416839" y="207350"/>
                      </a:lnTo>
                      <a:cubicBezTo>
                        <a:pt x="416839" y="193368"/>
                        <a:pt x="405599" y="182011"/>
                        <a:pt x="391661" y="181965"/>
                      </a:cubicBezTo>
                      <a:lnTo>
                        <a:pt x="391572" y="181593"/>
                      </a:lnTo>
                      <a:cubicBezTo>
                        <a:pt x="390777" y="182624"/>
                        <a:pt x="389751" y="182734"/>
                        <a:pt x="388290" y="181378"/>
                      </a:cubicBezTo>
                      <a:lnTo>
                        <a:pt x="382586" y="172748"/>
                      </a:lnTo>
                      <a:cubicBezTo>
                        <a:pt x="372772" y="154308"/>
                        <a:pt x="358304" y="84946"/>
                        <a:pt x="346379" y="58690"/>
                      </a:cubicBezTo>
                      <a:cubicBezTo>
                        <a:pt x="334455" y="32434"/>
                        <a:pt x="321869" y="24996"/>
                        <a:pt x="311038" y="15215"/>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72" name="Freeform 33">
                  <a:extLst>
                    <a:ext uri="{FF2B5EF4-FFF2-40B4-BE49-F238E27FC236}">
                      <a16:creationId xmlns:a16="http://schemas.microsoft.com/office/drawing/2014/main" id="{2A86A3C3-DFBE-4A72-BF96-FD7994BEC31F}"/>
                    </a:ext>
                  </a:extLst>
                </p:cNvPr>
                <p:cNvSpPr/>
                <p:nvPr/>
              </p:nvSpPr>
              <p:spPr bwMode="gray">
                <a:xfrm>
                  <a:off x="-5723882" y="1848863"/>
                  <a:ext cx="410254" cy="292071"/>
                </a:xfrm>
                <a:custGeom>
                  <a:avLst/>
                  <a:gdLst>
                    <a:gd name="connsiteX0" fmla="*/ 1905 w 405765"/>
                    <a:gd name="connsiteY0" fmla="*/ 255270 h 264795"/>
                    <a:gd name="connsiteX1" fmla="*/ 0 w 405765"/>
                    <a:gd name="connsiteY1" fmla="*/ 169545 h 264795"/>
                    <a:gd name="connsiteX2" fmla="*/ 19050 w 405765"/>
                    <a:gd name="connsiteY2" fmla="*/ 78105 h 264795"/>
                    <a:gd name="connsiteX3" fmla="*/ 66675 w 405765"/>
                    <a:gd name="connsiteY3" fmla="*/ 47625 h 264795"/>
                    <a:gd name="connsiteX4" fmla="*/ 102870 w 405765"/>
                    <a:gd name="connsiteY4" fmla="*/ 49530 h 264795"/>
                    <a:gd name="connsiteX5" fmla="*/ 123825 w 405765"/>
                    <a:gd name="connsiteY5" fmla="*/ 19050 h 264795"/>
                    <a:gd name="connsiteX6" fmla="*/ 186690 w 405765"/>
                    <a:gd name="connsiteY6" fmla="*/ 0 h 264795"/>
                    <a:gd name="connsiteX7" fmla="*/ 264795 w 405765"/>
                    <a:gd name="connsiteY7" fmla="*/ 1905 h 264795"/>
                    <a:gd name="connsiteX8" fmla="*/ 361950 w 405765"/>
                    <a:gd name="connsiteY8" fmla="*/ 43815 h 264795"/>
                    <a:gd name="connsiteX9" fmla="*/ 400050 w 405765"/>
                    <a:gd name="connsiteY9" fmla="*/ 120015 h 264795"/>
                    <a:gd name="connsiteX10" fmla="*/ 405765 w 405765"/>
                    <a:gd name="connsiteY10" fmla="*/ 186690 h 264795"/>
                    <a:gd name="connsiteX11" fmla="*/ 396240 w 405765"/>
                    <a:gd name="connsiteY11" fmla="*/ 264795 h 264795"/>
                    <a:gd name="connsiteX12" fmla="*/ 371475 w 405765"/>
                    <a:gd name="connsiteY12" fmla="*/ 255270 h 264795"/>
                    <a:gd name="connsiteX13" fmla="*/ 371475 w 405765"/>
                    <a:gd name="connsiteY13" fmla="*/ 182880 h 264795"/>
                    <a:gd name="connsiteX14" fmla="*/ 333375 w 405765"/>
                    <a:gd name="connsiteY14" fmla="*/ 110490 h 264795"/>
                    <a:gd name="connsiteX15" fmla="*/ 226695 w 405765"/>
                    <a:gd name="connsiteY15" fmla="*/ 93345 h 264795"/>
                    <a:gd name="connsiteX16" fmla="*/ 139065 w 405765"/>
                    <a:gd name="connsiteY16" fmla="*/ 87630 h 264795"/>
                    <a:gd name="connsiteX17" fmla="*/ 114300 w 405765"/>
                    <a:gd name="connsiteY17" fmla="*/ 78105 h 264795"/>
                    <a:gd name="connsiteX18" fmla="*/ 95250 w 405765"/>
                    <a:gd name="connsiteY18" fmla="*/ 104775 h 264795"/>
                    <a:gd name="connsiteX19" fmla="*/ 53340 w 405765"/>
                    <a:gd name="connsiteY19" fmla="*/ 140970 h 264795"/>
                    <a:gd name="connsiteX20" fmla="*/ 1905 w 405765"/>
                    <a:gd name="connsiteY20" fmla="*/ 255270 h 264795"/>
                    <a:gd name="connsiteX0" fmla="*/ 5395 w 409255"/>
                    <a:gd name="connsiteY0" fmla="*/ 255270 h 264795"/>
                    <a:gd name="connsiteX1" fmla="*/ 3490 w 409255"/>
                    <a:gd name="connsiteY1" fmla="*/ 169545 h 264795"/>
                    <a:gd name="connsiteX2" fmla="*/ 22540 w 409255"/>
                    <a:gd name="connsiteY2" fmla="*/ 78105 h 264795"/>
                    <a:gd name="connsiteX3" fmla="*/ 70165 w 409255"/>
                    <a:gd name="connsiteY3" fmla="*/ 47625 h 264795"/>
                    <a:gd name="connsiteX4" fmla="*/ 106360 w 409255"/>
                    <a:gd name="connsiteY4" fmla="*/ 49530 h 264795"/>
                    <a:gd name="connsiteX5" fmla="*/ 127315 w 409255"/>
                    <a:gd name="connsiteY5" fmla="*/ 19050 h 264795"/>
                    <a:gd name="connsiteX6" fmla="*/ 190180 w 409255"/>
                    <a:gd name="connsiteY6" fmla="*/ 0 h 264795"/>
                    <a:gd name="connsiteX7" fmla="*/ 268285 w 409255"/>
                    <a:gd name="connsiteY7" fmla="*/ 1905 h 264795"/>
                    <a:gd name="connsiteX8" fmla="*/ 365440 w 409255"/>
                    <a:gd name="connsiteY8" fmla="*/ 43815 h 264795"/>
                    <a:gd name="connsiteX9" fmla="*/ 403540 w 409255"/>
                    <a:gd name="connsiteY9" fmla="*/ 120015 h 264795"/>
                    <a:gd name="connsiteX10" fmla="*/ 409255 w 409255"/>
                    <a:gd name="connsiteY10" fmla="*/ 186690 h 264795"/>
                    <a:gd name="connsiteX11" fmla="*/ 399730 w 409255"/>
                    <a:gd name="connsiteY11" fmla="*/ 264795 h 264795"/>
                    <a:gd name="connsiteX12" fmla="*/ 374965 w 409255"/>
                    <a:gd name="connsiteY12" fmla="*/ 255270 h 264795"/>
                    <a:gd name="connsiteX13" fmla="*/ 374965 w 409255"/>
                    <a:gd name="connsiteY13" fmla="*/ 182880 h 264795"/>
                    <a:gd name="connsiteX14" fmla="*/ 336865 w 409255"/>
                    <a:gd name="connsiteY14" fmla="*/ 110490 h 264795"/>
                    <a:gd name="connsiteX15" fmla="*/ 230185 w 409255"/>
                    <a:gd name="connsiteY15" fmla="*/ 93345 h 264795"/>
                    <a:gd name="connsiteX16" fmla="*/ 142555 w 409255"/>
                    <a:gd name="connsiteY16" fmla="*/ 87630 h 264795"/>
                    <a:gd name="connsiteX17" fmla="*/ 117790 w 409255"/>
                    <a:gd name="connsiteY17" fmla="*/ 78105 h 264795"/>
                    <a:gd name="connsiteX18" fmla="*/ 98740 w 409255"/>
                    <a:gd name="connsiteY18" fmla="*/ 104775 h 264795"/>
                    <a:gd name="connsiteX19" fmla="*/ 56830 w 409255"/>
                    <a:gd name="connsiteY19" fmla="*/ 140970 h 264795"/>
                    <a:gd name="connsiteX20" fmla="*/ 5395 w 409255"/>
                    <a:gd name="connsiteY20" fmla="*/ 255270 h 264795"/>
                    <a:gd name="connsiteX0" fmla="*/ 5395 w 409255"/>
                    <a:gd name="connsiteY0" fmla="*/ 255270 h 264795"/>
                    <a:gd name="connsiteX1" fmla="*/ 3490 w 409255"/>
                    <a:gd name="connsiteY1" fmla="*/ 169545 h 264795"/>
                    <a:gd name="connsiteX2" fmla="*/ 22540 w 409255"/>
                    <a:gd name="connsiteY2" fmla="*/ 78105 h 264795"/>
                    <a:gd name="connsiteX3" fmla="*/ 70165 w 409255"/>
                    <a:gd name="connsiteY3" fmla="*/ 47625 h 264795"/>
                    <a:gd name="connsiteX4" fmla="*/ 106360 w 409255"/>
                    <a:gd name="connsiteY4" fmla="*/ 49530 h 264795"/>
                    <a:gd name="connsiteX5" fmla="*/ 127315 w 409255"/>
                    <a:gd name="connsiteY5" fmla="*/ 19050 h 264795"/>
                    <a:gd name="connsiteX6" fmla="*/ 190180 w 409255"/>
                    <a:gd name="connsiteY6" fmla="*/ 0 h 264795"/>
                    <a:gd name="connsiteX7" fmla="*/ 268285 w 409255"/>
                    <a:gd name="connsiteY7" fmla="*/ 1905 h 264795"/>
                    <a:gd name="connsiteX8" fmla="*/ 365440 w 409255"/>
                    <a:gd name="connsiteY8" fmla="*/ 43815 h 264795"/>
                    <a:gd name="connsiteX9" fmla="*/ 403540 w 409255"/>
                    <a:gd name="connsiteY9" fmla="*/ 120015 h 264795"/>
                    <a:gd name="connsiteX10" fmla="*/ 409255 w 409255"/>
                    <a:gd name="connsiteY10" fmla="*/ 186690 h 264795"/>
                    <a:gd name="connsiteX11" fmla="*/ 399730 w 409255"/>
                    <a:gd name="connsiteY11" fmla="*/ 264795 h 264795"/>
                    <a:gd name="connsiteX12" fmla="*/ 374965 w 409255"/>
                    <a:gd name="connsiteY12" fmla="*/ 255270 h 264795"/>
                    <a:gd name="connsiteX13" fmla="*/ 374965 w 409255"/>
                    <a:gd name="connsiteY13" fmla="*/ 182880 h 264795"/>
                    <a:gd name="connsiteX14" fmla="*/ 336865 w 409255"/>
                    <a:gd name="connsiteY14" fmla="*/ 110490 h 264795"/>
                    <a:gd name="connsiteX15" fmla="*/ 230185 w 409255"/>
                    <a:gd name="connsiteY15" fmla="*/ 93345 h 264795"/>
                    <a:gd name="connsiteX16" fmla="*/ 142555 w 409255"/>
                    <a:gd name="connsiteY16" fmla="*/ 87630 h 264795"/>
                    <a:gd name="connsiteX17" fmla="*/ 117790 w 409255"/>
                    <a:gd name="connsiteY17" fmla="*/ 78105 h 264795"/>
                    <a:gd name="connsiteX18" fmla="*/ 98740 w 409255"/>
                    <a:gd name="connsiteY18" fmla="*/ 104775 h 264795"/>
                    <a:gd name="connsiteX19" fmla="*/ 56830 w 409255"/>
                    <a:gd name="connsiteY19" fmla="*/ 140970 h 264795"/>
                    <a:gd name="connsiteX20" fmla="*/ 5395 w 409255"/>
                    <a:gd name="connsiteY20" fmla="*/ 255270 h 264795"/>
                    <a:gd name="connsiteX0" fmla="*/ 5395 w 409255"/>
                    <a:gd name="connsiteY0" fmla="*/ 255270 h 264795"/>
                    <a:gd name="connsiteX1" fmla="*/ 3490 w 409255"/>
                    <a:gd name="connsiteY1" fmla="*/ 169545 h 264795"/>
                    <a:gd name="connsiteX2" fmla="*/ 22540 w 409255"/>
                    <a:gd name="connsiteY2" fmla="*/ 78105 h 264795"/>
                    <a:gd name="connsiteX3" fmla="*/ 70165 w 409255"/>
                    <a:gd name="connsiteY3" fmla="*/ 47625 h 264795"/>
                    <a:gd name="connsiteX4" fmla="*/ 106360 w 409255"/>
                    <a:gd name="connsiteY4" fmla="*/ 49530 h 264795"/>
                    <a:gd name="connsiteX5" fmla="*/ 127315 w 409255"/>
                    <a:gd name="connsiteY5" fmla="*/ 19050 h 264795"/>
                    <a:gd name="connsiteX6" fmla="*/ 190180 w 409255"/>
                    <a:gd name="connsiteY6" fmla="*/ 0 h 264795"/>
                    <a:gd name="connsiteX7" fmla="*/ 268285 w 409255"/>
                    <a:gd name="connsiteY7" fmla="*/ 1905 h 264795"/>
                    <a:gd name="connsiteX8" fmla="*/ 365440 w 409255"/>
                    <a:gd name="connsiteY8" fmla="*/ 43815 h 264795"/>
                    <a:gd name="connsiteX9" fmla="*/ 403540 w 409255"/>
                    <a:gd name="connsiteY9" fmla="*/ 120015 h 264795"/>
                    <a:gd name="connsiteX10" fmla="*/ 409255 w 409255"/>
                    <a:gd name="connsiteY10" fmla="*/ 186690 h 264795"/>
                    <a:gd name="connsiteX11" fmla="*/ 399730 w 409255"/>
                    <a:gd name="connsiteY11" fmla="*/ 264795 h 264795"/>
                    <a:gd name="connsiteX12" fmla="*/ 374965 w 409255"/>
                    <a:gd name="connsiteY12" fmla="*/ 255270 h 264795"/>
                    <a:gd name="connsiteX13" fmla="*/ 374965 w 409255"/>
                    <a:gd name="connsiteY13" fmla="*/ 182880 h 264795"/>
                    <a:gd name="connsiteX14" fmla="*/ 336865 w 409255"/>
                    <a:gd name="connsiteY14" fmla="*/ 110490 h 264795"/>
                    <a:gd name="connsiteX15" fmla="*/ 230185 w 409255"/>
                    <a:gd name="connsiteY15" fmla="*/ 93345 h 264795"/>
                    <a:gd name="connsiteX16" fmla="*/ 142555 w 409255"/>
                    <a:gd name="connsiteY16" fmla="*/ 87630 h 264795"/>
                    <a:gd name="connsiteX17" fmla="*/ 117790 w 409255"/>
                    <a:gd name="connsiteY17" fmla="*/ 78105 h 264795"/>
                    <a:gd name="connsiteX18" fmla="*/ 98740 w 409255"/>
                    <a:gd name="connsiteY18" fmla="*/ 104775 h 264795"/>
                    <a:gd name="connsiteX19" fmla="*/ 56830 w 409255"/>
                    <a:gd name="connsiteY19" fmla="*/ 140970 h 264795"/>
                    <a:gd name="connsiteX20" fmla="*/ 5395 w 409255"/>
                    <a:gd name="connsiteY20" fmla="*/ 255270 h 264795"/>
                    <a:gd name="connsiteX0" fmla="*/ 5395 w 409255"/>
                    <a:gd name="connsiteY0" fmla="*/ 255270 h 264795"/>
                    <a:gd name="connsiteX1" fmla="*/ 3490 w 409255"/>
                    <a:gd name="connsiteY1" fmla="*/ 169545 h 264795"/>
                    <a:gd name="connsiteX2" fmla="*/ 22540 w 409255"/>
                    <a:gd name="connsiteY2" fmla="*/ 78105 h 264795"/>
                    <a:gd name="connsiteX3" fmla="*/ 54925 w 409255"/>
                    <a:gd name="connsiteY3" fmla="*/ 47625 h 264795"/>
                    <a:gd name="connsiteX4" fmla="*/ 106360 w 409255"/>
                    <a:gd name="connsiteY4" fmla="*/ 49530 h 264795"/>
                    <a:gd name="connsiteX5" fmla="*/ 127315 w 409255"/>
                    <a:gd name="connsiteY5" fmla="*/ 19050 h 264795"/>
                    <a:gd name="connsiteX6" fmla="*/ 190180 w 409255"/>
                    <a:gd name="connsiteY6" fmla="*/ 0 h 264795"/>
                    <a:gd name="connsiteX7" fmla="*/ 268285 w 409255"/>
                    <a:gd name="connsiteY7" fmla="*/ 1905 h 264795"/>
                    <a:gd name="connsiteX8" fmla="*/ 365440 w 409255"/>
                    <a:gd name="connsiteY8" fmla="*/ 43815 h 264795"/>
                    <a:gd name="connsiteX9" fmla="*/ 403540 w 409255"/>
                    <a:gd name="connsiteY9" fmla="*/ 120015 h 264795"/>
                    <a:gd name="connsiteX10" fmla="*/ 409255 w 409255"/>
                    <a:gd name="connsiteY10" fmla="*/ 186690 h 264795"/>
                    <a:gd name="connsiteX11" fmla="*/ 399730 w 409255"/>
                    <a:gd name="connsiteY11" fmla="*/ 264795 h 264795"/>
                    <a:gd name="connsiteX12" fmla="*/ 374965 w 409255"/>
                    <a:gd name="connsiteY12" fmla="*/ 255270 h 264795"/>
                    <a:gd name="connsiteX13" fmla="*/ 374965 w 409255"/>
                    <a:gd name="connsiteY13" fmla="*/ 182880 h 264795"/>
                    <a:gd name="connsiteX14" fmla="*/ 336865 w 409255"/>
                    <a:gd name="connsiteY14" fmla="*/ 110490 h 264795"/>
                    <a:gd name="connsiteX15" fmla="*/ 230185 w 409255"/>
                    <a:gd name="connsiteY15" fmla="*/ 93345 h 264795"/>
                    <a:gd name="connsiteX16" fmla="*/ 142555 w 409255"/>
                    <a:gd name="connsiteY16" fmla="*/ 87630 h 264795"/>
                    <a:gd name="connsiteX17" fmla="*/ 117790 w 409255"/>
                    <a:gd name="connsiteY17" fmla="*/ 78105 h 264795"/>
                    <a:gd name="connsiteX18" fmla="*/ 98740 w 409255"/>
                    <a:gd name="connsiteY18" fmla="*/ 104775 h 264795"/>
                    <a:gd name="connsiteX19" fmla="*/ 56830 w 409255"/>
                    <a:gd name="connsiteY19" fmla="*/ 140970 h 264795"/>
                    <a:gd name="connsiteX20" fmla="*/ 5395 w 409255"/>
                    <a:gd name="connsiteY20" fmla="*/ 255270 h 264795"/>
                    <a:gd name="connsiteX0" fmla="*/ 6629 w 410489"/>
                    <a:gd name="connsiteY0" fmla="*/ 255270 h 264795"/>
                    <a:gd name="connsiteX1" fmla="*/ 4724 w 410489"/>
                    <a:gd name="connsiteY1" fmla="*/ 169545 h 264795"/>
                    <a:gd name="connsiteX2" fmla="*/ 914 w 410489"/>
                    <a:gd name="connsiteY2" fmla="*/ 167640 h 264795"/>
                    <a:gd name="connsiteX3" fmla="*/ 23774 w 410489"/>
                    <a:gd name="connsiteY3" fmla="*/ 78105 h 264795"/>
                    <a:gd name="connsiteX4" fmla="*/ 56159 w 410489"/>
                    <a:gd name="connsiteY4" fmla="*/ 47625 h 264795"/>
                    <a:gd name="connsiteX5" fmla="*/ 107594 w 410489"/>
                    <a:gd name="connsiteY5" fmla="*/ 49530 h 264795"/>
                    <a:gd name="connsiteX6" fmla="*/ 128549 w 410489"/>
                    <a:gd name="connsiteY6" fmla="*/ 19050 h 264795"/>
                    <a:gd name="connsiteX7" fmla="*/ 191414 w 410489"/>
                    <a:gd name="connsiteY7" fmla="*/ 0 h 264795"/>
                    <a:gd name="connsiteX8" fmla="*/ 269519 w 410489"/>
                    <a:gd name="connsiteY8" fmla="*/ 1905 h 264795"/>
                    <a:gd name="connsiteX9" fmla="*/ 366674 w 410489"/>
                    <a:gd name="connsiteY9" fmla="*/ 43815 h 264795"/>
                    <a:gd name="connsiteX10" fmla="*/ 404774 w 410489"/>
                    <a:gd name="connsiteY10" fmla="*/ 120015 h 264795"/>
                    <a:gd name="connsiteX11" fmla="*/ 410489 w 410489"/>
                    <a:gd name="connsiteY11" fmla="*/ 186690 h 264795"/>
                    <a:gd name="connsiteX12" fmla="*/ 400964 w 410489"/>
                    <a:gd name="connsiteY12" fmla="*/ 264795 h 264795"/>
                    <a:gd name="connsiteX13" fmla="*/ 376199 w 410489"/>
                    <a:gd name="connsiteY13" fmla="*/ 255270 h 264795"/>
                    <a:gd name="connsiteX14" fmla="*/ 376199 w 410489"/>
                    <a:gd name="connsiteY14" fmla="*/ 182880 h 264795"/>
                    <a:gd name="connsiteX15" fmla="*/ 338099 w 410489"/>
                    <a:gd name="connsiteY15" fmla="*/ 110490 h 264795"/>
                    <a:gd name="connsiteX16" fmla="*/ 231419 w 410489"/>
                    <a:gd name="connsiteY16" fmla="*/ 93345 h 264795"/>
                    <a:gd name="connsiteX17" fmla="*/ 143789 w 410489"/>
                    <a:gd name="connsiteY17" fmla="*/ 87630 h 264795"/>
                    <a:gd name="connsiteX18" fmla="*/ 119024 w 410489"/>
                    <a:gd name="connsiteY18" fmla="*/ 78105 h 264795"/>
                    <a:gd name="connsiteX19" fmla="*/ 99974 w 410489"/>
                    <a:gd name="connsiteY19" fmla="*/ 104775 h 264795"/>
                    <a:gd name="connsiteX20" fmla="*/ 58064 w 410489"/>
                    <a:gd name="connsiteY20" fmla="*/ 140970 h 264795"/>
                    <a:gd name="connsiteX21" fmla="*/ 6629 w 410489"/>
                    <a:gd name="connsiteY21" fmla="*/ 255270 h 264795"/>
                    <a:gd name="connsiteX0" fmla="*/ 6629 w 410489"/>
                    <a:gd name="connsiteY0" fmla="*/ 255270 h 264795"/>
                    <a:gd name="connsiteX1" fmla="*/ 4724 w 410489"/>
                    <a:gd name="connsiteY1" fmla="*/ 169545 h 264795"/>
                    <a:gd name="connsiteX2" fmla="*/ 914 w 410489"/>
                    <a:gd name="connsiteY2" fmla="*/ 167640 h 264795"/>
                    <a:gd name="connsiteX3" fmla="*/ 23774 w 410489"/>
                    <a:gd name="connsiteY3" fmla="*/ 78105 h 264795"/>
                    <a:gd name="connsiteX4" fmla="*/ 56159 w 410489"/>
                    <a:gd name="connsiteY4" fmla="*/ 47625 h 264795"/>
                    <a:gd name="connsiteX5" fmla="*/ 107594 w 410489"/>
                    <a:gd name="connsiteY5" fmla="*/ 40005 h 264795"/>
                    <a:gd name="connsiteX6" fmla="*/ 128549 w 410489"/>
                    <a:gd name="connsiteY6" fmla="*/ 19050 h 264795"/>
                    <a:gd name="connsiteX7" fmla="*/ 191414 w 410489"/>
                    <a:gd name="connsiteY7" fmla="*/ 0 h 264795"/>
                    <a:gd name="connsiteX8" fmla="*/ 269519 w 410489"/>
                    <a:gd name="connsiteY8" fmla="*/ 1905 h 264795"/>
                    <a:gd name="connsiteX9" fmla="*/ 366674 w 410489"/>
                    <a:gd name="connsiteY9" fmla="*/ 43815 h 264795"/>
                    <a:gd name="connsiteX10" fmla="*/ 404774 w 410489"/>
                    <a:gd name="connsiteY10" fmla="*/ 120015 h 264795"/>
                    <a:gd name="connsiteX11" fmla="*/ 410489 w 410489"/>
                    <a:gd name="connsiteY11" fmla="*/ 186690 h 264795"/>
                    <a:gd name="connsiteX12" fmla="*/ 400964 w 410489"/>
                    <a:gd name="connsiteY12" fmla="*/ 264795 h 264795"/>
                    <a:gd name="connsiteX13" fmla="*/ 376199 w 410489"/>
                    <a:gd name="connsiteY13" fmla="*/ 255270 h 264795"/>
                    <a:gd name="connsiteX14" fmla="*/ 376199 w 410489"/>
                    <a:gd name="connsiteY14" fmla="*/ 182880 h 264795"/>
                    <a:gd name="connsiteX15" fmla="*/ 338099 w 410489"/>
                    <a:gd name="connsiteY15" fmla="*/ 110490 h 264795"/>
                    <a:gd name="connsiteX16" fmla="*/ 231419 w 410489"/>
                    <a:gd name="connsiteY16" fmla="*/ 93345 h 264795"/>
                    <a:gd name="connsiteX17" fmla="*/ 143789 w 410489"/>
                    <a:gd name="connsiteY17" fmla="*/ 87630 h 264795"/>
                    <a:gd name="connsiteX18" fmla="*/ 119024 w 410489"/>
                    <a:gd name="connsiteY18" fmla="*/ 78105 h 264795"/>
                    <a:gd name="connsiteX19" fmla="*/ 99974 w 410489"/>
                    <a:gd name="connsiteY19" fmla="*/ 104775 h 264795"/>
                    <a:gd name="connsiteX20" fmla="*/ 58064 w 410489"/>
                    <a:gd name="connsiteY20" fmla="*/ 140970 h 264795"/>
                    <a:gd name="connsiteX21" fmla="*/ 6629 w 410489"/>
                    <a:gd name="connsiteY21" fmla="*/ 255270 h 264795"/>
                    <a:gd name="connsiteX0" fmla="*/ 6629 w 410489"/>
                    <a:gd name="connsiteY0" fmla="*/ 255270 h 264795"/>
                    <a:gd name="connsiteX1" fmla="*/ 4724 w 410489"/>
                    <a:gd name="connsiteY1" fmla="*/ 169545 h 264795"/>
                    <a:gd name="connsiteX2" fmla="*/ 914 w 410489"/>
                    <a:gd name="connsiteY2" fmla="*/ 167640 h 264795"/>
                    <a:gd name="connsiteX3" fmla="*/ 23774 w 410489"/>
                    <a:gd name="connsiteY3" fmla="*/ 78105 h 264795"/>
                    <a:gd name="connsiteX4" fmla="*/ 56159 w 410489"/>
                    <a:gd name="connsiteY4" fmla="*/ 47625 h 264795"/>
                    <a:gd name="connsiteX5" fmla="*/ 107594 w 410489"/>
                    <a:gd name="connsiteY5" fmla="*/ 40005 h 264795"/>
                    <a:gd name="connsiteX6" fmla="*/ 128549 w 410489"/>
                    <a:gd name="connsiteY6" fmla="*/ 19050 h 264795"/>
                    <a:gd name="connsiteX7" fmla="*/ 191414 w 410489"/>
                    <a:gd name="connsiteY7" fmla="*/ 0 h 264795"/>
                    <a:gd name="connsiteX8" fmla="*/ 269519 w 410489"/>
                    <a:gd name="connsiteY8" fmla="*/ 1905 h 264795"/>
                    <a:gd name="connsiteX9" fmla="*/ 366674 w 410489"/>
                    <a:gd name="connsiteY9" fmla="*/ 43815 h 264795"/>
                    <a:gd name="connsiteX10" fmla="*/ 404774 w 410489"/>
                    <a:gd name="connsiteY10" fmla="*/ 120015 h 264795"/>
                    <a:gd name="connsiteX11" fmla="*/ 410489 w 410489"/>
                    <a:gd name="connsiteY11" fmla="*/ 186690 h 264795"/>
                    <a:gd name="connsiteX12" fmla="*/ 400964 w 410489"/>
                    <a:gd name="connsiteY12" fmla="*/ 264795 h 264795"/>
                    <a:gd name="connsiteX13" fmla="*/ 376199 w 410489"/>
                    <a:gd name="connsiteY13" fmla="*/ 255270 h 264795"/>
                    <a:gd name="connsiteX14" fmla="*/ 376199 w 410489"/>
                    <a:gd name="connsiteY14" fmla="*/ 182880 h 264795"/>
                    <a:gd name="connsiteX15" fmla="*/ 338099 w 410489"/>
                    <a:gd name="connsiteY15" fmla="*/ 110490 h 264795"/>
                    <a:gd name="connsiteX16" fmla="*/ 231419 w 410489"/>
                    <a:gd name="connsiteY16" fmla="*/ 93345 h 264795"/>
                    <a:gd name="connsiteX17" fmla="*/ 143789 w 410489"/>
                    <a:gd name="connsiteY17" fmla="*/ 87630 h 264795"/>
                    <a:gd name="connsiteX18" fmla="*/ 119024 w 410489"/>
                    <a:gd name="connsiteY18" fmla="*/ 78105 h 264795"/>
                    <a:gd name="connsiteX19" fmla="*/ 99974 w 410489"/>
                    <a:gd name="connsiteY19" fmla="*/ 104775 h 264795"/>
                    <a:gd name="connsiteX20" fmla="*/ 58064 w 410489"/>
                    <a:gd name="connsiteY20" fmla="*/ 140970 h 264795"/>
                    <a:gd name="connsiteX21" fmla="*/ 6629 w 410489"/>
                    <a:gd name="connsiteY21" fmla="*/ 255270 h 264795"/>
                    <a:gd name="connsiteX0" fmla="*/ 6629 w 410489"/>
                    <a:gd name="connsiteY0" fmla="*/ 255288 h 264813"/>
                    <a:gd name="connsiteX1" fmla="*/ 4724 w 410489"/>
                    <a:gd name="connsiteY1" fmla="*/ 169563 h 264813"/>
                    <a:gd name="connsiteX2" fmla="*/ 914 w 410489"/>
                    <a:gd name="connsiteY2" fmla="*/ 167658 h 264813"/>
                    <a:gd name="connsiteX3" fmla="*/ 23774 w 410489"/>
                    <a:gd name="connsiteY3" fmla="*/ 78123 h 264813"/>
                    <a:gd name="connsiteX4" fmla="*/ 56159 w 410489"/>
                    <a:gd name="connsiteY4" fmla="*/ 47643 h 264813"/>
                    <a:gd name="connsiteX5" fmla="*/ 107594 w 410489"/>
                    <a:gd name="connsiteY5" fmla="*/ 40023 h 264813"/>
                    <a:gd name="connsiteX6" fmla="*/ 128549 w 410489"/>
                    <a:gd name="connsiteY6" fmla="*/ 19068 h 264813"/>
                    <a:gd name="connsiteX7" fmla="*/ 191414 w 410489"/>
                    <a:gd name="connsiteY7" fmla="*/ 18 h 264813"/>
                    <a:gd name="connsiteX8" fmla="*/ 269519 w 410489"/>
                    <a:gd name="connsiteY8" fmla="*/ 1923 h 264813"/>
                    <a:gd name="connsiteX9" fmla="*/ 366674 w 410489"/>
                    <a:gd name="connsiteY9" fmla="*/ 43833 h 264813"/>
                    <a:gd name="connsiteX10" fmla="*/ 404774 w 410489"/>
                    <a:gd name="connsiteY10" fmla="*/ 120033 h 264813"/>
                    <a:gd name="connsiteX11" fmla="*/ 410489 w 410489"/>
                    <a:gd name="connsiteY11" fmla="*/ 186708 h 264813"/>
                    <a:gd name="connsiteX12" fmla="*/ 400964 w 410489"/>
                    <a:gd name="connsiteY12" fmla="*/ 264813 h 264813"/>
                    <a:gd name="connsiteX13" fmla="*/ 376199 w 410489"/>
                    <a:gd name="connsiteY13" fmla="*/ 255288 h 264813"/>
                    <a:gd name="connsiteX14" fmla="*/ 376199 w 410489"/>
                    <a:gd name="connsiteY14" fmla="*/ 182898 h 264813"/>
                    <a:gd name="connsiteX15" fmla="*/ 338099 w 410489"/>
                    <a:gd name="connsiteY15" fmla="*/ 110508 h 264813"/>
                    <a:gd name="connsiteX16" fmla="*/ 231419 w 410489"/>
                    <a:gd name="connsiteY16" fmla="*/ 93363 h 264813"/>
                    <a:gd name="connsiteX17" fmla="*/ 143789 w 410489"/>
                    <a:gd name="connsiteY17" fmla="*/ 87648 h 264813"/>
                    <a:gd name="connsiteX18" fmla="*/ 119024 w 410489"/>
                    <a:gd name="connsiteY18" fmla="*/ 78123 h 264813"/>
                    <a:gd name="connsiteX19" fmla="*/ 99974 w 410489"/>
                    <a:gd name="connsiteY19" fmla="*/ 104793 h 264813"/>
                    <a:gd name="connsiteX20" fmla="*/ 58064 w 410489"/>
                    <a:gd name="connsiteY20" fmla="*/ 140988 h 264813"/>
                    <a:gd name="connsiteX21" fmla="*/ 6629 w 410489"/>
                    <a:gd name="connsiteY21" fmla="*/ 255288 h 264813"/>
                    <a:gd name="connsiteX0" fmla="*/ 6629 w 410489"/>
                    <a:gd name="connsiteY0" fmla="*/ 255288 h 264813"/>
                    <a:gd name="connsiteX1" fmla="*/ 4724 w 410489"/>
                    <a:gd name="connsiteY1" fmla="*/ 169563 h 264813"/>
                    <a:gd name="connsiteX2" fmla="*/ 914 w 410489"/>
                    <a:gd name="connsiteY2" fmla="*/ 167658 h 264813"/>
                    <a:gd name="connsiteX3" fmla="*/ 23774 w 410489"/>
                    <a:gd name="connsiteY3" fmla="*/ 78123 h 264813"/>
                    <a:gd name="connsiteX4" fmla="*/ 56159 w 410489"/>
                    <a:gd name="connsiteY4" fmla="*/ 47643 h 264813"/>
                    <a:gd name="connsiteX5" fmla="*/ 107594 w 410489"/>
                    <a:gd name="connsiteY5" fmla="*/ 40023 h 264813"/>
                    <a:gd name="connsiteX6" fmla="*/ 128549 w 410489"/>
                    <a:gd name="connsiteY6" fmla="*/ 19068 h 264813"/>
                    <a:gd name="connsiteX7" fmla="*/ 191414 w 410489"/>
                    <a:gd name="connsiteY7" fmla="*/ 18 h 264813"/>
                    <a:gd name="connsiteX8" fmla="*/ 269519 w 410489"/>
                    <a:gd name="connsiteY8" fmla="*/ 1923 h 264813"/>
                    <a:gd name="connsiteX9" fmla="*/ 366674 w 410489"/>
                    <a:gd name="connsiteY9" fmla="*/ 43833 h 264813"/>
                    <a:gd name="connsiteX10" fmla="*/ 404774 w 410489"/>
                    <a:gd name="connsiteY10" fmla="*/ 120033 h 264813"/>
                    <a:gd name="connsiteX11" fmla="*/ 410489 w 410489"/>
                    <a:gd name="connsiteY11" fmla="*/ 186708 h 264813"/>
                    <a:gd name="connsiteX12" fmla="*/ 400964 w 410489"/>
                    <a:gd name="connsiteY12" fmla="*/ 264813 h 264813"/>
                    <a:gd name="connsiteX13" fmla="*/ 376199 w 410489"/>
                    <a:gd name="connsiteY13" fmla="*/ 255288 h 264813"/>
                    <a:gd name="connsiteX14" fmla="*/ 376199 w 410489"/>
                    <a:gd name="connsiteY14" fmla="*/ 182898 h 264813"/>
                    <a:gd name="connsiteX15" fmla="*/ 338099 w 410489"/>
                    <a:gd name="connsiteY15" fmla="*/ 110508 h 264813"/>
                    <a:gd name="connsiteX16" fmla="*/ 231419 w 410489"/>
                    <a:gd name="connsiteY16" fmla="*/ 93363 h 264813"/>
                    <a:gd name="connsiteX17" fmla="*/ 143789 w 410489"/>
                    <a:gd name="connsiteY17" fmla="*/ 87648 h 264813"/>
                    <a:gd name="connsiteX18" fmla="*/ 119024 w 410489"/>
                    <a:gd name="connsiteY18" fmla="*/ 78123 h 264813"/>
                    <a:gd name="connsiteX19" fmla="*/ 99974 w 410489"/>
                    <a:gd name="connsiteY19" fmla="*/ 104793 h 264813"/>
                    <a:gd name="connsiteX20" fmla="*/ 58064 w 410489"/>
                    <a:gd name="connsiteY20" fmla="*/ 140988 h 264813"/>
                    <a:gd name="connsiteX21" fmla="*/ 6629 w 410489"/>
                    <a:gd name="connsiteY21" fmla="*/ 255288 h 264813"/>
                    <a:gd name="connsiteX0" fmla="*/ 6629 w 410489"/>
                    <a:gd name="connsiteY0" fmla="*/ 255288 h 264813"/>
                    <a:gd name="connsiteX1" fmla="*/ 4724 w 410489"/>
                    <a:gd name="connsiteY1" fmla="*/ 169563 h 264813"/>
                    <a:gd name="connsiteX2" fmla="*/ 914 w 410489"/>
                    <a:gd name="connsiteY2" fmla="*/ 167658 h 264813"/>
                    <a:gd name="connsiteX3" fmla="*/ 23774 w 410489"/>
                    <a:gd name="connsiteY3" fmla="*/ 78123 h 264813"/>
                    <a:gd name="connsiteX4" fmla="*/ 56159 w 410489"/>
                    <a:gd name="connsiteY4" fmla="*/ 47643 h 264813"/>
                    <a:gd name="connsiteX5" fmla="*/ 107594 w 410489"/>
                    <a:gd name="connsiteY5" fmla="*/ 40023 h 264813"/>
                    <a:gd name="connsiteX6" fmla="*/ 128549 w 410489"/>
                    <a:gd name="connsiteY6" fmla="*/ 19068 h 264813"/>
                    <a:gd name="connsiteX7" fmla="*/ 191414 w 410489"/>
                    <a:gd name="connsiteY7" fmla="*/ 18 h 264813"/>
                    <a:gd name="connsiteX8" fmla="*/ 269519 w 410489"/>
                    <a:gd name="connsiteY8" fmla="*/ 1923 h 264813"/>
                    <a:gd name="connsiteX9" fmla="*/ 366674 w 410489"/>
                    <a:gd name="connsiteY9" fmla="*/ 43833 h 264813"/>
                    <a:gd name="connsiteX10" fmla="*/ 404774 w 410489"/>
                    <a:gd name="connsiteY10" fmla="*/ 120033 h 264813"/>
                    <a:gd name="connsiteX11" fmla="*/ 410489 w 410489"/>
                    <a:gd name="connsiteY11" fmla="*/ 186708 h 264813"/>
                    <a:gd name="connsiteX12" fmla="*/ 400964 w 410489"/>
                    <a:gd name="connsiteY12" fmla="*/ 264813 h 264813"/>
                    <a:gd name="connsiteX13" fmla="*/ 376199 w 410489"/>
                    <a:gd name="connsiteY13" fmla="*/ 255288 h 264813"/>
                    <a:gd name="connsiteX14" fmla="*/ 376199 w 410489"/>
                    <a:gd name="connsiteY14" fmla="*/ 182898 h 264813"/>
                    <a:gd name="connsiteX15" fmla="*/ 338099 w 410489"/>
                    <a:gd name="connsiteY15" fmla="*/ 110508 h 264813"/>
                    <a:gd name="connsiteX16" fmla="*/ 231419 w 410489"/>
                    <a:gd name="connsiteY16" fmla="*/ 93363 h 264813"/>
                    <a:gd name="connsiteX17" fmla="*/ 143789 w 410489"/>
                    <a:gd name="connsiteY17" fmla="*/ 87648 h 264813"/>
                    <a:gd name="connsiteX18" fmla="*/ 119024 w 410489"/>
                    <a:gd name="connsiteY18" fmla="*/ 78123 h 264813"/>
                    <a:gd name="connsiteX19" fmla="*/ 99974 w 410489"/>
                    <a:gd name="connsiteY19" fmla="*/ 104793 h 264813"/>
                    <a:gd name="connsiteX20" fmla="*/ 58064 w 410489"/>
                    <a:gd name="connsiteY20" fmla="*/ 140988 h 264813"/>
                    <a:gd name="connsiteX21" fmla="*/ 6629 w 410489"/>
                    <a:gd name="connsiteY21" fmla="*/ 255288 h 264813"/>
                    <a:gd name="connsiteX0" fmla="*/ 6629 w 412053"/>
                    <a:gd name="connsiteY0" fmla="*/ 255288 h 264813"/>
                    <a:gd name="connsiteX1" fmla="*/ 4724 w 412053"/>
                    <a:gd name="connsiteY1" fmla="*/ 169563 h 264813"/>
                    <a:gd name="connsiteX2" fmla="*/ 914 w 412053"/>
                    <a:gd name="connsiteY2" fmla="*/ 167658 h 264813"/>
                    <a:gd name="connsiteX3" fmla="*/ 23774 w 412053"/>
                    <a:gd name="connsiteY3" fmla="*/ 78123 h 264813"/>
                    <a:gd name="connsiteX4" fmla="*/ 56159 w 412053"/>
                    <a:gd name="connsiteY4" fmla="*/ 47643 h 264813"/>
                    <a:gd name="connsiteX5" fmla="*/ 107594 w 412053"/>
                    <a:gd name="connsiteY5" fmla="*/ 40023 h 264813"/>
                    <a:gd name="connsiteX6" fmla="*/ 128549 w 412053"/>
                    <a:gd name="connsiteY6" fmla="*/ 19068 h 264813"/>
                    <a:gd name="connsiteX7" fmla="*/ 191414 w 412053"/>
                    <a:gd name="connsiteY7" fmla="*/ 18 h 264813"/>
                    <a:gd name="connsiteX8" fmla="*/ 269519 w 412053"/>
                    <a:gd name="connsiteY8" fmla="*/ 1923 h 264813"/>
                    <a:gd name="connsiteX9" fmla="*/ 366674 w 412053"/>
                    <a:gd name="connsiteY9" fmla="*/ 43833 h 264813"/>
                    <a:gd name="connsiteX10" fmla="*/ 404774 w 412053"/>
                    <a:gd name="connsiteY10" fmla="*/ 120033 h 264813"/>
                    <a:gd name="connsiteX11" fmla="*/ 410489 w 412053"/>
                    <a:gd name="connsiteY11" fmla="*/ 186708 h 264813"/>
                    <a:gd name="connsiteX12" fmla="*/ 400964 w 412053"/>
                    <a:gd name="connsiteY12" fmla="*/ 264813 h 264813"/>
                    <a:gd name="connsiteX13" fmla="*/ 376199 w 412053"/>
                    <a:gd name="connsiteY13" fmla="*/ 255288 h 264813"/>
                    <a:gd name="connsiteX14" fmla="*/ 376199 w 412053"/>
                    <a:gd name="connsiteY14" fmla="*/ 182898 h 264813"/>
                    <a:gd name="connsiteX15" fmla="*/ 338099 w 412053"/>
                    <a:gd name="connsiteY15" fmla="*/ 110508 h 264813"/>
                    <a:gd name="connsiteX16" fmla="*/ 231419 w 412053"/>
                    <a:gd name="connsiteY16" fmla="*/ 93363 h 264813"/>
                    <a:gd name="connsiteX17" fmla="*/ 143789 w 412053"/>
                    <a:gd name="connsiteY17" fmla="*/ 87648 h 264813"/>
                    <a:gd name="connsiteX18" fmla="*/ 119024 w 412053"/>
                    <a:gd name="connsiteY18" fmla="*/ 78123 h 264813"/>
                    <a:gd name="connsiteX19" fmla="*/ 99974 w 412053"/>
                    <a:gd name="connsiteY19" fmla="*/ 104793 h 264813"/>
                    <a:gd name="connsiteX20" fmla="*/ 58064 w 412053"/>
                    <a:gd name="connsiteY20" fmla="*/ 140988 h 264813"/>
                    <a:gd name="connsiteX21" fmla="*/ 6629 w 412053"/>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78123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8099 w 411930"/>
                    <a:gd name="connsiteY15" fmla="*/ 11050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78123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8099 w 411930"/>
                    <a:gd name="connsiteY15" fmla="*/ 11050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78123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8099 w 411930"/>
                    <a:gd name="connsiteY15" fmla="*/ 11050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78123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99078 h 264813"/>
                    <a:gd name="connsiteX4" fmla="*/ 56159 w 411930"/>
                    <a:gd name="connsiteY4" fmla="*/ 4764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99078 h 264813"/>
                    <a:gd name="connsiteX4" fmla="*/ 56159 w 411930"/>
                    <a:gd name="connsiteY4" fmla="*/ 55263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23774 w 411930"/>
                    <a:gd name="connsiteY3" fmla="*/ 99078 h 264813"/>
                    <a:gd name="connsiteX4" fmla="*/ 46634 w 411930"/>
                    <a:gd name="connsiteY4" fmla="*/ 53358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8 h 264813"/>
                    <a:gd name="connsiteX1" fmla="*/ 4724 w 411930"/>
                    <a:gd name="connsiteY1" fmla="*/ 169563 h 264813"/>
                    <a:gd name="connsiteX2" fmla="*/ 914 w 411930"/>
                    <a:gd name="connsiteY2" fmla="*/ 167658 h 264813"/>
                    <a:gd name="connsiteX3" fmla="*/ 14249 w 411930"/>
                    <a:gd name="connsiteY3" fmla="*/ 99078 h 264813"/>
                    <a:gd name="connsiteX4" fmla="*/ 46634 w 411930"/>
                    <a:gd name="connsiteY4" fmla="*/ 53358 h 264813"/>
                    <a:gd name="connsiteX5" fmla="*/ 107594 w 411930"/>
                    <a:gd name="connsiteY5" fmla="*/ 40023 h 264813"/>
                    <a:gd name="connsiteX6" fmla="*/ 128549 w 411930"/>
                    <a:gd name="connsiteY6" fmla="*/ 19068 h 264813"/>
                    <a:gd name="connsiteX7" fmla="*/ 191414 w 411930"/>
                    <a:gd name="connsiteY7" fmla="*/ 18 h 264813"/>
                    <a:gd name="connsiteX8" fmla="*/ 269519 w 411930"/>
                    <a:gd name="connsiteY8" fmla="*/ 1923 h 264813"/>
                    <a:gd name="connsiteX9" fmla="*/ 366674 w 411930"/>
                    <a:gd name="connsiteY9" fmla="*/ 43833 h 264813"/>
                    <a:gd name="connsiteX10" fmla="*/ 404774 w 411930"/>
                    <a:gd name="connsiteY10" fmla="*/ 120033 h 264813"/>
                    <a:gd name="connsiteX11" fmla="*/ 410489 w 411930"/>
                    <a:gd name="connsiteY11" fmla="*/ 186708 h 264813"/>
                    <a:gd name="connsiteX12" fmla="*/ 400964 w 411930"/>
                    <a:gd name="connsiteY12" fmla="*/ 264813 h 264813"/>
                    <a:gd name="connsiteX13" fmla="*/ 376199 w 411930"/>
                    <a:gd name="connsiteY13" fmla="*/ 255288 h 264813"/>
                    <a:gd name="connsiteX14" fmla="*/ 376199 w 411930"/>
                    <a:gd name="connsiteY14" fmla="*/ 182898 h 264813"/>
                    <a:gd name="connsiteX15" fmla="*/ 336194 w 411930"/>
                    <a:gd name="connsiteY15" fmla="*/ 118128 h 264813"/>
                    <a:gd name="connsiteX16" fmla="*/ 231419 w 411930"/>
                    <a:gd name="connsiteY16" fmla="*/ 93363 h 264813"/>
                    <a:gd name="connsiteX17" fmla="*/ 143789 w 411930"/>
                    <a:gd name="connsiteY17" fmla="*/ 87648 h 264813"/>
                    <a:gd name="connsiteX18" fmla="*/ 119024 w 411930"/>
                    <a:gd name="connsiteY18" fmla="*/ 78123 h 264813"/>
                    <a:gd name="connsiteX19" fmla="*/ 99974 w 411930"/>
                    <a:gd name="connsiteY19" fmla="*/ 104793 h 264813"/>
                    <a:gd name="connsiteX20" fmla="*/ 58064 w 411930"/>
                    <a:gd name="connsiteY20" fmla="*/ 140988 h 264813"/>
                    <a:gd name="connsiteX21" fmla="*/ 6629 w 411930"/>
                    <a:gd name="connsiteY21" fmla="*/ 255288 h 264813"/>
                    <a:gd name="connsiteX0" fmla="*/ 6629 w 411930"/>
                    <a:gd name="connsiteY0" fmla="*/ 255289 h 264814"/>
                    <a:gd name="connsiteX1" fmla="*/ 4724 w 411930"/>
                    <a:gd name="connsiteY1" fmla="*/ 169564 h 264814"/>
                    <a:gd name="connsiteX2" fmla="*/ 914 w 411930"/>
                    <a:gd name="connsiteY2" fmla="*/ 167659 h 264814"/>
                    <a:gd name="connsiteX3" fmla="*/ 14249 w 411930"/>
                    <a:gd name="connsiteY3" fmla="*/ 99079 h 264814"/>
                    <a:gd name="connsiteX4" fmla="*/ 46634 w 411930"/>
                    <a:gd name="connsiteY4" fmla="*/ 53359 h 264814"/>
                    <a:gd name="connsiteX5" fmla="*/ 98069 w 411930"/>
                    <a:gd name="connsiteY5" fmla="*/ 41929 h 264814"/>
                    <a:gd name="connsiteX6" fmla="*/ 128549 w 411930"/>
                    <a:gd name="connsiteY6" fmla="*/ 19069 h 264814"/>
                    <a:gd name="connsiteX7" fmla="*/ 191414 w 411930"/>
                    <a:gd name="connsiteY7" fmla="*/ 19 h 264814"/>
                    <a:gd name="connsiteX8" fmla="*/ 269519 w 411930"/>
                    <a:gd name="connsiteY8" fmla="*/ 1924 h 264814"/>
                    <a:gd name="connsiteX9" fmla="*/ 366674 w 411930"/>
                    <a:gd name="connsiteY9" fmla="*/ 43834 h 264814"/>
                    <a:gd name="connsiteX10" fmla="*/ 404774 w 411930"/>
                    <a:gd name="connsiteY10" fmla="*/ 120034 h 264814"/>
                    <a:gd name="connsiteX11" fmla="*/ 410489 w 411930"/>
                    <a:gd name="connsiteY11" fmla="*/ 186709 h 264814"/>
                    <a:gd name="connsiteX12" fmla="*/ 400964 w 411930"/>
                    <a:gd name="connsiteY12" fmla="*/ 264814 h 264814"/>
                    <a:gd name="connsiteX13" fmla="*/ 376199 w 411930"/>
                    <a:gd name="connsiteY13" fmla="*/ 255289 h 264814"/>
                    <a:gd name="connsiteX14" fmla="*/ 376199 w 411930"/>
                    <a:gd name="connsiteY14" fmla="*/ 182899 h 264814"/>
                    <a:gd name="connsiteX15" fmla="*/ 336194 w 411930"/>
                    <a:gd name="connsiteY15" fmla="*/ 118129 h 264814"/>
                    <a:gd name="connsiteX16" fmla="*/ 231419 w 411930"/>
                    <a:gd name="connsiteY16" fmla="*/ 93364 h 264814"/>
                    <a:gd name="connsiteX17" fmla="*/ 143789 w 411930"/>
                    <a:gd name="connsiteY17" fmla="*/ 87649 h 264814"/>
                    <a:gd name="connsiteX18" fmla="*/ 119024 w 411930"/>
                    <a:gd name="connsiteY18" fmla="*/ 78124 h 264814"/>
                    <a:gd name="connsiteX19" fmla="*/ 99974 w 411930"/>
                    <a:gd name="connsiteY19" fmla="*/ 104794 h 264814"/>
                    <a:gd name="connsiteX20" fmla="*/ 58064 w 411930"/>
                    <a:gd name="connsiteY20" fmla="*/ 140989 h 264814"/>
                    <a:gd name="connsiteX21" fmla="*/ 6629 w 411930"/>
                    <a:gd name="connsiteY21" fmla="*/ 255289 h 264814"/>
                    <a:gd name="connsiteX0" fmla="*/ 6629 w 411930"/>
                    <a:gd name="connsiteY0" fmla="*/ 255504 h 265029"/>
                    <a:gd name="connsiteX1" fmla="*/ 4724 w 411930"/>
                    <a:gd name="connsiteY1" fmla="*/ 169779 h 265029"/>
                    <a:gd name="connsiteX2" fmla="*/ 914 w 411930"/>
                    <a:gd name="connsiteY2" fmla="*/ 167874 h 265029"/>
                    <a:gd name="connsiteX3" fmla="*/ 14249 w 411930"/>
                    <a:gd name="connsiteY3" fmla="*/ 99294 h 265029"/>
                    <a:gd name="connsiteX4" fmla="*/ 46634 w 411930"/>
                    <a:gd name="connsiteY4" fmla="*/ 53574 h 265029"/>
                    <a:gd name="connsiteX5" fmla="*/ 98069 w 411930"/>
                    <a:gd name="connsiteY5" fmla="*/ 42144 h 265029"/>
                    <a:gd name="connsiteX6" fmla="*/ 128549 w 411930"/>
                    <a:gd name="connsiteY6" fmla="*/ 7854 h 265029"/>
                    <a:gd name="connsiteX7" fmla="*/ 191414 w 411930"/>
                    <a:gd name="connsiteY7" fmla="*/ 234 h 265029"/>
                    <a:gd name="connsiteX8" fmla="*/ 269519 w 411930"/>
                    <a:gd name="connsiteY8" fmla="*/ 2139 h 265029"/>
                    <a:gd name="connsiteX9" fmla="*/ 366674 w 411930"/>
                    <a:gd name="connsiteY9" fmla="*/ 44049 h 265029"/>
                    <a:gd name="connsiteX10" fmla="*/ 404774 w 411930"/>
                    <a:gd name="connsiteY10" fmla="*/ 120249 h 265029"/>
                    <a:gd name="connsiteX11" fmla="*/ 410489 w 411930"/>
                    <a:gd name="connsiteY11" fmla="*/ 186924 h 265029"/>
                    <a:gd name="connsiteX12" fmla="*/ 400964 w 411930"/>
                    <a:gd name="connsiteY12" fmla="*/ 265029 h 265029"/>
                    <a:gd name="connsiteX13" fmla="*/ 376199 w 411930"/>
                    <a:gd name="connsiteY13" fmla="*/ 255504 h 265029"/>
                    <a:gd name="connsiteX14" fmla="*/ 376199 w 411930"/>
                    <a:gd name="connsiteY14" fmla="*/ 183114 h 265029"/>
                    <a:gd name="connsiteX15" fmla="*/ 336194 w 411930"/>
                    <a:gd name="connsiteY15" fmla="*/ 118344 h 265029"/>
                    <a:gd name="connsiteX16" fmla="*/ 231419 w 411930"/>
                    <a:gd name="connsiteY16" fmla="*/ 93579 h 265029"/>
                    <a:gd name="connsiteX17" fmla="*/ 143789 w 411930"/>
                    <a:gd name="connsiteY17" fmla="*/ 87864 h 265029"/>
                    <a:gd name="connsiteX18" fmla="*/ 119024 w 411930"/>
                    <a:gd name="connsiteY18" fmla="*/ 78339 h 265029"/>
                    <a:gd name="connsiteX19" fmla="*/ 99974 w 411930"/>
                    <a:gd name="connsiteY19" fmla="*/ 105009 h 265029"/>
                    <a:gd name="connsiteX20" fmla="*/ 58064 w 411930"/>
                    <a:gd name="connsiteY20" fmla="*/ 141204 h 265029"/>
                    <a:gd name="connsiteX21" fmla="*/ 6629 w 411930"/>
                    <a:gd name="connsiteY21" fmla="*/ 255504 h 265029"/>
                    <a:gd name="connsiteX0" fmla="*/ 6629 w 411930"/>
                    <a:gd name="connsiteY0" fmla="*/ 270585 h 280110"/>
                    <a:gd name="connsiteX1" fmla="*/ 4724 w 411930"/>
                    <a:gd name="connsiteY1" fmla="*/ 184860 h 280110"/>
                    <a:gd name="connsiteX2" fmla="*/ 914 w 411930"/>
                    <a:gd name="connsiteY2" fmla="*/ 182955 h 280110"/>
                    <a:gd name="connsiteX3" fmla="*/ 14249 w 411930"/>
                    <a:gd name="connsiteY3" fmla="*/ 114375 h 280110"/>
                    <a:gd name="connsiteX4" fmla="*/ 46634 w 411930"/>
                    <a:gd name="connsiteY4" fmla="*/ 68655 h 280110"/>
                    <a:gd name="connsiteX5" fmla="*/ 98069 w 411930"/>
                    <a:gd name="connsiteY5" fmla="*/ 57225 h 280110"/>
                    <a:gd name="connsiteX6" fmla="*/ 128549 w 411930"/>
                    <a:gd name="connsiteY6" fmla="*/ 22935 h 280110"/>
                    <a:gd name="connsiteX7" fmla="*/ 197129 w 411930"/>
                    <a:gd name="connsiteY7" fmla="*/ 75 h 280110"/>
                    <a:gd name="connsiteX8" fmla="*/ 269519 w 411930"/>
                    <a:gd name="connsiteY8" fmla="*/ 17220 h 280110"/>
                    <a:gd name="connsiteX9" fmla="*/ 366674 w 411930"/>
                    <a:gd name="connsiteY9" fmla="*/ 59130 h 280110"/>
                    <a:gd name="connsiteX10" fmla="*/ 404774 w 411930"/>
                    <a:gd name="connsiteY10" fmla="*/ 135330 h 280110"/>
                    <a:gd name="connsiteX11" fmla="*/ 410489 w 411930"/>
                    <a:gd name="connsiteY11" fmla="*/ 202005 h 280110"/>
                    <a:gd name="connsiteX12" fmla="*/ 400964 w 411930"/>
                    <a:gd name="connsiteY12" fmla="*/ 280110 h 280110"/>
                    <a:gd name="connsiteX13" fmla="*/ 376199 w 411930"/>
                    <a:gd name="connsiteY13" fmla="*/ 270585 h 280110"/>
                    <a:gd name="connsiteX14" fmla="*/ 376199 w 411930"/>
                    <a:gd name="connsiteY14" fmla="*/ 198195 h 280110"/>
                    <a:gd name="connsiteX15" fmla="*/ 336194 w 411930"/>
                    <a:gd name="connsiteY15" fmla="*/ 133425 h 280110"/>
                    <a:gd name="connsiteX16" fmla="*/ 231419 w 411930"/>
                    <a:gd name="connsiteY16" fmla="*/ 108660 h 280110"/>
                    <a:gd name="connsiteX17" fmla="*/ 143789 w 411930"/>
                    <a:gd name="connsiteY17" fmla="*/ 102945 h 280110"/>
                    <a:gd name="connsiteX18" fmla="*/ 119024 w 411930"/>
                    <a:gd name="connsiteY18" fmla="*/ 93420 h 280110"/>
                    <a:gd name="connsiteX19" fmla="*/ 99974 w 411930"/>
                    <a:gd name="connsiteY19" fmla="*/ 120090 h 280110"/>
                    <a:gd name="connsiteX20" fmla="*/ 58064 w 411930"/>
                    <a:gd name="connsiteY20" fmla="*/ 156285 h 280110"/>
                    <a:gd name="connsiteX21" fmla="*/ 6629 w 411930"/>
                    <a:gd name="connsiteY21" fmla="*/ 270585 h 280110"/>
                    <a:gd name="connsiteX0" fmla="*/ 6629 w 411930"/>
                    <a:gd name="connsiteY0" fmla="*/ 271009 h 280534"/>
                    <a:gd name="connsiteX1" fmla="*/ 4724 w 411930"/>
                    <a:gd name="connsiteY1" fmla="*/ 185284 h 280534"/>
                    <a:gd name="connsiteX2" fmla="*/ 914 w 411930"/>
                    <a:gd name="connsiteY2" fmla="*/ 183379 h 280534"/>
                    <a:gd name="connsiteX3" fmla="*/ 14249 w 411930"/>
                    <a:gd name="connsiteY3" fmla="*/ 114799 h 280534"/>
                    <a:gd name="connsiteX4" fmla="*/ 46634 w 411930"/>
                    <a:gd name="connsiteY4" fmla="*/ 69079 h 280534"/>
                    <a:gd name="connsiteX5" fmla="*/ 98069 w 411930"/>
                    <a:gd name="connsiteY5" fmla="*/ 57649 h 280534"/>
                    <a:gd name="connsiteX6" fmla="*/ 128549 w 411930"/>
                    <a:gd name="connsiteY6" fmla="*/ 23359 h 280534"/>
                    <a:gd name="connsiteX7" fmla="*/ 197129 w 411930"/>
                    <a:gd name="connsiteY7" fmla="*/ 499 h 280534"/>
                    <a:gd name="connsiteX8" fmla="*/ 286664 w 411930"/>
                    <a:gd name="connsiteY8" fmla="*/ 11929 h 280534"/>
                    <a:gd name="connsiteX9" fmla="*/ 366674 w 411930"/>
                    <a:gd name="connsiteY9" fmla="*/ 59554 h 280534"/>
                    <a:gd name="connsiteX10" fmla="*/ 404774 w 411930"/>
                    <a:gd name="connsiteY10" fmla="*/ 135754 h 280534"/>
                    <a:gd name="connsiteX11" fmla="*/ 410489 w 411930"/>
                    <a:gd name="connsiteY11" fmla="*/ 202429 h 280534"/>
                    <a:gd name="connsiteX12" fmla="*/ 400964 w 411930"/>
                    <a:gd name="connsiteY12" fmla="*/ 280534 h 280534"/>
                    <a:gd name="connsiteX13" fmla="*/ 376199 w 411930"/>
                    <a:gd name="connsiteY13" fmla="*/ 271009 h 280534"/>
                    <a:gd name="connsiteX14" fmla="*/ 376199 w 411930"/>
                    <a:gd name="connsiteY14" fmla="*/ 198619 h 280534"/>
                    <a:gd name="connsiteX15" fmla="*/ 336194 w 411930"/>
                    <a:gd name="connsiteY15" fmla="*/ 133849 h 280534"/>
                    <a:gd name="connsiteX16" fmla="*/ 231419 w 411930"/>
                    <a:gd name="connsiteY16" fmla="*/ 109084 h 280534"/>
                    <a:gd name="connsiteX17" fmla="*/ 143789 w 411930"/>
                    <a:gd name="connsiteY17" fmla="*/ 103369 h 280534"/>
                    <a:gd name="connsiteX18" fmla="*/ 119024 w 411930"/>
                    <a:gd name="connsiteY18" fmla="*/ 93844 h 280534"/>
                    <a:gd name="connsiteX19" fmla="*/ 99974 w 411930"/>
                    <a:gd name="connsiteY19" fmla="*/ 120514 h 280534"/>
                    <a:gd name="connsiteX20" fmla="*/ 58064 w 411930"/>
                    <a:gd name="connsiteY20" fmla="*/ 156709 h 280534"/>
                    <a:gd name="connsiteX21" fmla="*/ 6629 w 411930"/>
                    <a:gd name="connsiteY21" fmla="*/ 271009 h 280534"/>
                    <a:gd name="connsiteX0" fmla="*/ 6629 w 411689"/>
                    <a:gd name="connsiteY0" fmla="*/ 271009 h 280534"/>
                    <a:gd name="connsiteX1" fmla="*/ 4724 w 411689"/>
                    <a:gd name="connsiteY1" fmla="*/ 185284 h 280534"/>
                    <a:gd name="connsiteX2" fmla="*/ 914 w 411689"/>
                    <a:gd name="connsiteY2" fmla="*/ 183379 h 280534"/>
                    <a:gd name="connsiteX3" fmla="*/ 14249 w 411689"/>
                    <a:gd name="connsiteY3" fmla="*/ 114799 h 280534"/>
                    <a:gd name="connsiteX4" fmla="*/ 46634 w 411689"/>
                    <a:gd name="connsiteY4" fmla="*/ 69079 h 280534"/>
                    <a:gd name="connsiteX5" fmla="*/ 98069 w 411689"/>
                    <a:gd name="connsiteY5" fmla="*/ 57649 h 280534"/>
                    <a:gd name="connsiteX6" fmla="*/ 128549 w 411689"/>
                    <a:gd name="connsiteY6" fmla="*/ 23359 h 280534"/>
                    <a:gd name="connsiteX7" fmla="*/ 197129 w 411689"/>
                    <a:gd name="connsiteY7" fmla="*/ 499 h 280534"/>
                    <a:gd name="connsiteX8" fmla="*/ 286664 w 411689"/>
                    <a:gd name="connsiteY8" fmla="*/ 11929 h 280534"/>
                    <a:gd name="connsiteX9" fmla="*/ 374294 w 411689"/>
                    <a:gd name="connsiteY9" fmla="*/ 59554 h 280534"/>
                    <a:gd name="connsiteX10" fmla="*/ 404774 w 411689"/>
                    <a:gd name="connsiteY10" fmla="*/ 135754 h 280534"/>
                    <a:gd name="connsiteX11" fmla="*/ 410489 w 411689"/>
                    <a:gd name="connsiteY11" fmla="*/ 202429 h 280534"/>
                    <a:gd name="connsiteX12" fmla="*/ 400964 w 411689"/>
                    <a:gd name="connsiteY12" fmla="*/ 280534 h 280534"/>
                    <a:gd name="connsiteX13" fmla="*/ 376199 w 411689"/>
                    <a:gd name="connsiteY13" fmla="*/ 271009 h 280534"/>
                    <a:gd name="connsiteX14" fmla="*/ 376199 w 411689"/>
                    <a:gd name="connsiteY14" fmla="*/ 198619 h 280534"/>
                    <a:gd name="connsiteX15" fmla="*/ 336194 w 411689"/>
                    <a:gd name="connsiteY15" fmla="*/ 133849 h 280534"/>
                    <a:gd name="connsiteX16" fmla="*/ 231419 w 411689"/>
                    <a:gd name="connsiteY16" fmla="*/ 109084 h 280534"/>
                    <a:gd name="connsiteX17" fmla="*/ 143789 w 411689"/>
                    <a:gd name="connsiteY17" fmla="*/ 103369 h 280534"/>
                    <a:gd name="connsiteX18" fmla="*/ 119024 w 411689"/>
                    <a:gd name="connsiteY18" fmla="*/ 93844 h 280534"/>
                    <a:gd name="connsiteX19" fmla="*/ 99974 w 411689"/>
                    <a:gd name="connsiteY19" fmla="*/ 120514 h 280534"/>
                    <a:gd name="connsiteX20" fmla="*/ 58064 w 411689"/>
                    <a:gd name="connsiteY20" fmla="*/ 156709 h 280534"/>
                    <a:gd name="connsiteX21" fmla="*/ 6629 w 411689"/>
                    <a:gd name="connsiteY21" fmla="*/ 271009 h 280534"/>
                    <a:gd name="connsiteX0" fmla="*/ 6629 w 411689"/>
                    <a:gd name="connsiteY0" fmla="*/ 271009 h 280534"/>
                    <a:gd name="connsiteX1" fmla="*/ 4724 w 411689"/>
                    <a:gd name="connsiteY1" fmla="*/ 185284 h 280534"/>
                    <a:gd name="connsiteX2" fmla="*/ 914 w 411689"/>
                    <a:gd name="connsiteY2" fmla="*/ 183379 h 280534"/>
                    <a:gd name="connsiteX3" fmla="*/ 14249 w 411689"/>
                    <a:gd name="connsiteY3" fmla="*/ 114799 h 280534"/>
                    <a:gd name="connsiteX4" fmla="*/ 46634 w 411689"/>
                    <a:gd name="connsiteY4" fmla="*/ 69079 h 280534"/>
                    <a:gd name="connsiteX5" fmla="*/ 98069 w 411689"/>
                    <a:gd name="connsiteY5" fmla="*/ 57649 h 280534"/>
                    <a:gd name="connsiteX6" fmla="*/ 128549 w 411689"/>
                    <a:gd name="connsiteY6" fmla="*/ 23359 h 280534"/>
                    <a:gd name="connsiteX7" fmla="*/ 197129 w 411689"/>
                    <a:gd name="connsiteY7" fmla="*/ 499 h 280534"/>
                    <a:gd name="connsiteX8" fmla="*/ 286664 w 411689"/>
                    <a:gd name="connsiteY8" fmla="*/ 11929 h 280534"/>
                    <a:gd name="connsiteX9" fmla="*/ 374294 w 411689"/>
                    <a:gd name="connsiteY9" fmla="*/ 59554 h 280534"/>
                    <a:gd name="connsiteX10" fmla="*/ 404774 w 411689"/>
                    <a:gd name="connsiteY10" fmla="*/ 135754 h 280534"/>
                    <a:gd name="connsiteX11" fmla="*/ 410489 w 411689"/>
                    <a:gd name="connsiteY11" fmla="*/ 202429 h 280534"/>
                    <a:gd name="connsiteX12" fmla="*/ 400964 w 411689"/>
                    <a:gd name="connsiteY12" fmla="*/ 280534 h 280534"/>
                    <a:gd name="connsiteX13" fmla="*/ 376199 w 411689"/>
                    <a:gd name="connsiteY13" fmla="*/ 271009 h 280534"/>
                    <a:gd name="connsiteX14" fmla="*/ 376199 w 411689"/>
                    <a:gd name="connsiteY14" fmla="*/ 198619 h 280534"/>
                    <a:gd name="connsiteX15" fmla="*/ 336194 w 411689"/>
                    <a:gd name="connsiteY15" fmla="*/ 133849 h 280534"/>
                    <a:gd name="connsiteX16" fmla="*/ 231419 w 411689"/>
                    <a:gd name="connsiteY16" fmla="*/ 109084 h 280534"/>
                    <a:gd name="connsiteX17" fmla="*/ 143789 w 411689"/>
                    <a:gd name="connsiteY17" fmla="*/ 103369 h 280534"/>
                    <a:gd name="connsiteX18" fmla="*/ 119024 w 411689"/>
                    <a:gd name="connsiteY18" fmla="*/ 93844 h 280534"/>
                    <a:gd name="connsiteX19" fmla="*/ 99974 w 411689"/>
                    <a:gd name="connsiteY19" fmla="*/ 120514 h 280534"/>
                    <a:gd name="connsiteX20" fmla="*/ 58064 w 411689"/>
                    <a:gd name="connsiteY20" fmla="*/ 156709 h 280534"/>
                    <a:gd name="connsiteX21" fmla="*/ 6629 w 411689"/>
                    <a:gd name="connsiteY21"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57649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09084 h 280534"/>
                    <a:gd name="connsiteX16" fmla="*/ 144159 w 412059"/>
                    <a:gd name="connsiteY16" fmla="*/ 103369 h 280534"/>
                    <a:gd name="connsiteX17" fmla="*/ 119394 w 412059"/>
                    <a:gd name="connsiteY17" fmla="*/ 93844 h 280534"/>
                    <a:gd name="connsiteX18" fmla="*/ 100344 w 412059"/>
                    <a:gd name="connsiteY18" fmla="*/ 120514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57649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09084 h 280534"/>
                    <a:gd name="connsiteX16" fmla="*/ 144159 w 412059"/>
                    <a:gd name="connsiteY16" fmla="*/ 103369 h 280534"/>
                    <a:gd name="connsiteX17" fmla="*/ 119394 w 412059"/>
                    <a:gd name="connsiteY17" fmla="*/ 93844 h 280534"/>
                    <a:gd name="connsiteX18" fmla="*/ 100344 w 412059"/>
                    <a:gd name="connsiteY18" fmla="*/ 120514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57649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09084 h 280534"/>
                    <a:gd name="connsiteX16" fmla="*/ 144159 w 412059"/>
                    <a:gd name="connsiteY16" fmla="*/ 103369 h 280534"/>
                    <a:gd name="connsiteX17" fmla="*/ 119394 w 412059"/>
                    <a:gd name="connsiteY17" fmla="*/ 93844 h 280534"/>
                    <a:gd name="connsiteX18" fmla="*/ 90819 w 412059"/>
                    <a:gd name="connsiteY18" fmla="*/ 110989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57649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16704 h 280534"/>
                    <a:gd name="connsiteX16" fmla="*/ 144159 w 412059"/>
                    <a:gd name="connsiteY16" fmla="*/ 103369 h 280534"/>
                    <a:gd name="connsiteX17" fmla="*/ 119394 w 412059"/>
                    <a:gd name="connsiteY17" fmla="*/ 93844 h 280534"/>
                    <a:gd name="connsiteX18" fmla="*/ 90819 w 412059"/>
                    <a:gd name="connsiteY18" fmla="*/ 110989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7004 w 412059"/>
                    <a:gd name="connsiteY3" fmla="*/ 69079 h 280534"/>
                    <a:gd name="connsiteX4" fmla="*/ 98439 w 412059"/>
                    <a:gd name="connsiteY4" fmla="*/ 40504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16704 h 280534"/>
                    <a:gd name="connsiteX16" fmla="*/ 144159 w 412059"/>
                    <a:gd name="connsiteY16" fmla="*/ 103369 h 280534"/>
                    <a:gd name="connsiteX17" fmla="*/ 119394 w 412059"/>
                    <a:gd name="connsiteY17" fmla="*/ 93844 h 280534"/>
                    <a:gd name="connsiteX18" fmla="*/ 90819 w 412059"/>
                    <a:gd name="connsiteY18" fmla="*/ 110989 h 280534"/>
                    <a:gd name="connsiteX19" fmla="*/ 58434 w 412059"/>
                    <a:gd name="connsiteY19" fmla="*/ 156709 h 280534"/>
                    <a:gd name="connsiteX20" fmla="*/ 6999 w 412059"/>
                    <a:gd name="connsiteY20" fmla="*/ 271009 h 280534"/>
                    <a:gd name="connsiteX0" fmla="*/ 6999 w 412059"/>
                    <a:gd name="connsiteY0" fmla="*/ 271009 h 280534"/>
                    <a:gd name="connsiteX1" fmla="*/ 1284 w 412059"/>
                    <a:gd name="connsiteY1" fmla="*/ 183379 h 280534"/>
                    <a:gd name="connsiteX2" fmla="*/ 14619 w 412059"/>
                    <a:gd name="connsiteY2" fmla="*/ 114799 h 280534"/>
                    <a:gd name="connsiteX3" fmla="*/ 43194 w 412059"/>
                    <a:gd name="connsiteY3" fmla="*/ 63364 h 280534"/>
                    <a:gd name="connsiteX4" fmla="*/ 98439 w 412059"/>
                    <a:gd name="connsiteY4" fmla="*/ 40504 h 280534"/>
                    <a:gd name="connsiteX5" fmla="*/ 128919 w 412059"/>
                    <a:gd name="connsiteY5" fmla="*/ 23359 h 280534"/>
                    <a:gd name="connsiteX6" fmla="*/ 197499 w 412059"/>
                    <a:gd name="connsiteY6" fmla="*/ 499 h 280534"/>
                    <a:gd name="connsiteX7" fmla="*/ 287034 w 412059"/>
                    <a:gd name="connsiteY7" fmla="*/ 11929 h 280534"/>
                    <a:gd name="connsiteX8" fmla="*/ 374664 w 412059"/>
                    <a:gd name="connsiteY8" fmla="*/ 59554 h 280534"/>
                    <a:gd name="connsiteX9" fmla="*/ 405144 w 412059"/>
                    <a:gd name="connsiteY9" fmla="*/ 135754 h 280534"/>
                    <a:gd name="connsiteX10" fmla="*/ 410859 w 412059"/>
                    <a:gd name="connsiteY10" fmla="*/ 202429 h 280534"/>
                    <a:gd name="connsiteX11" fmla="*/ 401334 w 412059"/>
                    <a:gd name="connsiteY11" fmla="*/ 280534 h 280534"/>
                    <a:gd name="connsiteX12" fmla="*/ 376569 w 412059"/>
                    <a:gd name="connsiteY12" fmla="*/ 271009 h 280534"/>
                    <a:gd name="connsiteX13" fmla="*/ 376569 w 412059"/>
                    <a:gd name="connsiteY13" fmla="*/ 198619 h 280534"/>
                    <a:gd name="connsiteX14" fmla="*/ 336564 w 412059"/>
                    <a:gd name="connsiteY14" fmla="*/ 133849 h 280534"/>
                    <a:gd name="connsiteX15" fmla="*/ 231789 w 412059"/>
                    <a:gd name="connsiteY15" fmla="*/ 116704 h 280534"/>
                    <a:gd name="connsiteX16" fmla="*/ 144159 w 412059"/>
                    <a:gd name="connsiteY16" fmla="*/ 103369 h 280534"/>
                    <a:gd name="connsiteX17" fmla="*/ 119394 w 412059"/>
                    <a:gd name="connsiteY17" fmla="*/ 93844 h 280534"/>
                    <a:gd name="connsiteX18" fmla="*/ 90819 w 412059"/>
                    <a:gd name="connsiteY18" fmla="*/ 110989 h 280534"/>
                    <a:gd name="connsiteX19" fmla="*/ 58434 w 412059"/>
                    <a:gd name="connsiteY19" fmla="*/ 156709 h 280534"/>
                    <a:gd name="connsiteX20" fmla="*/ 6999 w 412059"/>
                    <a:gd name="connsiteY20" fmla="*/ 271009 h 280534"/>
                    <a:gd name="connsiteX0" fmla="*/ 6999 w 412059"/>
                    <a:gd name="connsiteY0" fmla="*/ 270510 h 280035"/>
                    <a:gd name="connsiteX1" fmla="*/ 1284 w 412059"/>
                    <a:gd name="connsiteY1" fmla="*/ 182880 h 280035"/>
                    <a:gd name="connsiteX2" fmla="*/ 14619 w 412059"/>
                    <a:gd name="connsiteY2" fmla="*/ 114300 h 280035"/>
                    <a:gd name="connsiteX3" fmla="*/ 43194 w 412059"/>
                    <a:gd name="connsiteY3" fmla="*/ 62865 h 280035"/>
                    <a:gd name="connsiteX4" fmla="*/ 98439 w 412059"/>
                    <a:gd name="connsiteY4" fmla="*/ 40005 h 280035"/>
                    <a:gd name="connsiteX5" fmla="*/ 130824 w 412059"/>
                    <a:gd name="connsiteY5" fmla="*/ 9525 h 280035"/>
                    <a:gd name="connsiteX6" fmla="*/ 197499 w 412059"/>
                    <a:gd name="connsiteY6" fmla="*/ 0 h 280035"/>
                    <a:gd name="connsiteX7" fmla="*/ 287034 w 412059"/>
                    <a:gd name="connsiteY7" fmla="*/ 11430 h 280035"/>
                    <a:gd name="connsiteX8" fmla="*/ 374664 w 412059"/>
                    <a:gd name="connsiteY8" fmla="*/ 59055 h 280035"/>
                    <a:gd name="connsiteX9" fmla="*/ 405144 w 412059"/>
                    <a:gd name="connsiteY9" fmla="*/ 135255 h 280035"/>
                    <a:gd name="connsiteX10" fmla="*/ 410859 w 412059"/>
                    <a:gd name="connsiteY10" fmla="*/ 201930 h 280035"/>
                    <a:gd name="connsiteX11" fmla="*/ 401334 w 412059"/>
                    <a:gd name="connsiteY11" fmla="*/ 280035 h 280035"/>
                    <a:gd name="connsiteX12" fmla="*/ 376569 w 412059"/>
                    <a:gd name="connsiteY12" fmla="*/ 270510 h 280035"/>
                    <a:gd name="connsiteX13" fmla="*/ 376569 w 412059"/>
                    <a:gd name="connsiteY13" fmla="*/ 198120 h 280035"/>
                    <a:gd name="connsiteX14" fmla="*/ 336564 w 412059"/>
                    <a:gd name="connsiteY14" fmla="*/ 133350 h 280035"/>
                    <a:gd name="connsiteX15" fmla="*/ 231789 w 412059"/>
                    <a:gd name="connsiteY15" fmla="*/ 116205 h 280035"/>
                    <a:gd name="connsiteX16" fmla="*/ 144159 w 412059"/>
                    <a:gd name="connsiteY16" fmla="*/ 102870 h 280035"/>
                    <a:gd name="connsiteX17" fmla="*/ 119394 w 412059"/>
                    <a:gd name="connsiteY17" fmla="*/ 93345 h 280035"/>
                    <a:gd name="connsiteX18" fmla="*/ 90819 w 412059"/>
                    <a:gd name="connsiteY18" fmla="*/ 110490 h 280035"/>
                    <a:gd name="connsiteX19" fmla="*/ 58434 w 412059"/>
                    <a:gd name="connsiteY19" fmla="*/ 156210 h 280035"/>
                    <a:gd name="connsiteX20" fmla="*/ 6999 w 412059"/>
                    <a:gd name="connsiteY20" fmla="*/ 270510 h 280035"/>
                    <a:gd name="connsiteX0" fmla="*/ 6999 w 412059"/>
                    <a:gd name="connsiteY0" fmla="*/ 280041 h 289566"/>
                    <a:gd name="connsiteX1" fmla="*/ 1284 w 412059"/>
                    <a:gd name="connsiteY1" fmla="*/ 192411 h 289566"/>
                    <a:gd name="connsiteX2" fmla="*/ 14619 w 412059"/>
                    <a:gd name="connsiteY2" fmla="*/ 123831 h 289566"/>
                    <a:gd name="connsiteX3" fmla="*/ 43194 w 412059"/>
                    <a:gd name="connsiteY3" fmla="*/ 72396 h 289566"/>
                    <a:gd name="connsiteX4" fmla="*/ 98439 w 412059"/>
                    <a:gd name="connsiteY4" fmla="*/ 49536 h 289566"/>
                    <a:gd name="connsiteX5" fmla="*/ 130824 w 412059"/>
                    <a:gd name="connsiteY5" fmla="*/ 19056 h 289566"/>
                    <a:gd name="connsiteX6" fmla="*/ 203214 w 412059"/>
                    <a:gd name="connsiteY6" fmla="*/ 6 h 289566"/>
                    <a:gd name="connsiteX7" fmla="*/ 287034 w 412059"/>
                    <a:gd name="connsiteY7" fmla="*/ 20961 h 289566"/>
                    <a:gd name="connsiteX8" fmla="*/ 374664 w 412059"/>
                    <a:gd name="connsiteY8" fmla="*/ 68586 h 289566"/>
                    <a:gd name="connsiteX9" fmla="*/ 405144 w 412059"/>
                    <a:gd name="connsiteY9" fmla="*/ 144786 h 289566"/>
                    <a:gd name="connsiteX10" fmla="*/ 410859 w 412059"/>
                    <a:gd name="connsiteY10" fmla="*/ 211461 h 289566"/>
                    <a:gd name="connsiteX11" fmla="*/ 401334 w 412059"/>
                    <a:gd name="connsiteY11" fmla="*/ 289566 h 289566"/>
                    <a:gd name="connsiteX12" fmla="*/ 376569 w 412059"/>
                    <a:gd name="connsiteY12" fmla="*/ 280041 h 289566"/>
                    <a:gd name="connsiteX13" fmla="*/ 376569 w 412059"/>
                    <a:gd name="connsiteY13" fmla="*/ 207651 h 289566"/>
                    <a:gd name="connsiteX14" fmla="*/ 336564 w 412059"/>
                    <a:gd name="connsiteY14" fmla="*/ 142881 h 289566"/>
                    <a:gd name="connsiteX15" fmla="*/ 231789 w 412059"/>
                    <a:gd name="connsiteY15" fmla="*/ 125736 h 289566"/>
                    <a:gd name="connsiteX16" fmla="*/ 144159 w 412059"/>
                    <a:gd name="connsiteY16" fmla="*/ 112401 h 289566"/>
                    <a:gd name="connsiteX17" fmla="*/ 119394 w 412059"/>
                    <a:gd name="connsiteY17" fmla="*/ 102876 h 289566"/>
                    <a:gd name="connsiteX18" fmla="*/ 90819 w 412059"/>
                    <a:gd name="connsiteY18" fmla="*/ 120021 h 289566"/>
                    <a:gd name="connsiteX19" fmla="*/ 58434 w 412059"/>
                    <a:gd name="connsiteY19" fmla="*/ 165741 h 289566"/>
                    <a:gd name="connsiteX20" fmla="*/ 6999 w 412059"/>
                    <a:gd name="connsiteY20" fmla="*/ 280041 h 289566"/>
                    <a:gd name="connsiteX0" fmla="*/ 6999 w 412059"/>
                    <a:gd name="connsiteY0" fmla="*/ 280041 h 289566"/>
                    <a:gd name="connsiteX1" fmla="*/ 1284 w 412059"/>
                    <a:gd name="connsiteY1" fmla="*/ 192411 h 289566"/>
                    <a:gd name="connsiteX2" fmla="*/ 14619 w 412059"/>
                    <a:gd name="connsiteY2" fmla="*/ 123831 h 289566"/>
                    <a:gd name="connsiteX3" fmla="*/ 43194 w 412059"/>
                    <a:gd name="connsiteY3" fmla="*/ 72396 h 289566"/>
                    <a:gd name="connsiteX4" fmla="*/ 98439 w 412059"/>
                    <a:gd name="connsiteY4" fmla="*/ 49536 h 289566"/>
                    <a:gd name="connsiteX5" fmla="*/ 130824 w 412059"/>
                    <a:gd name="connsiteY5" fmla="*/ 19056 h 289566"/>
                    <a:gd name="connsiteX6" fmla="*/ 203214 w 412059"/>
                    <a:gd name="connsiteY6" fmla="*/ 6 h 289566"/>
                    <a:gd name="connsiteX7" fmla="*/ 304179 w 412059"/>
                    <a:gd name="connsiteY7" fmla="*/ 20961 h 289566"/>
                    <a:gd name="connsiteX8" fmla="*/ 374664 w 412059"/>
                    <a:gd name="connsiteY8" fmla="*/ 68586 h 289566"/>
                    <a:gd name="connsiteX9" fmla="*/ 405144 w 412059"/>
                    <a:gd name="connsiteY9" fmla="*/ 144786 h 289566"/>
                    <a:gd name="connsiteX10" fmla="*/ 410859 w 412059"/>
                    <a:gd name="connsiteY10" fmla="*/ 211461 h 289566"/>
                    <a:gd name="connsiteX11" fmla="*/ 401334 w 412059"/>
                    <a:gd name="connsiteY11" fmla="*/ 289566 h 289566"/>
                    <a:gd name="connsiteX12" fmla="*/ 376569 w 412059"/>
                    <a:gd name="connsiteY12" fmla="*/ 280041 h 289566"/>
                    <a:gd name="connsiteX13" fmla="*/ 376569 w 412059"/>
                    <a:gd name="connsiteY13" fmla="*/ 207651 h 289566"/>
                    <a:gd name="connsiteX14" fmla="*/ 336564 w 412059"/>
                    <a:gd name="connsiteY14" fmla="*/ 142881 h 289566"/>
                    <a:gd name="connsiteX15" fmla="*/ 231789 w 412059"/>
                    <a:gd name="connsiteY15" fmla="*/ 125736 h 289566"/>
                    <a:gd name="connsiteX16" fmla="*/ 144159 w 412059"/>
                    <a:gd name="connsiteY16" fmla="*/ 112401 h 289566"/>
                    <a:gd name="connsiteX17" fmla="*/ 119394 w 412059"/>
                    <a:gd name="connsiteY17" fmla="*/ 102876 h 289566"/>
                    <a:gd name="connsiteX18" fmla="*/ 90819 w 412059"/>
                    <a:gd name="connsiteY18" fmla="*/ 120021 h 289566"/>
                    <a:gd name="connsiteX19" fmla="*/ 58434 w 412059"/>
                    <a:gd name="connsiteY19" fmla="*/ 165741 h 289566"/>
                    <a:gd name="connsiteX20" fmla="*/ 6999 w 412059"/>
                    <a:gd name="connsiteY20" fmla="*/ 280041 h 289566"/>
                    <a:gd name="connsiteX0" fmla="*/ 6999 w 416944"/>
                    <a:gd name="connsiteY0" fmla="*/ 280041 h 289566"/>
                    <a:gd name="connsiteX1" fmla="*/ 1284 w 416944"/>
                    <a:gd name="connsiteY1" fmla="*/ 192411 h 289566"/>
                    <a:gd name="connsiteX2" fmla="*/ 14619 w 416944"/>
                    <a:gd name="connsiteY2" fmla="*/ 123831 h 289566"/>
                    <a:gd name="connsiteX3" fmla="*/ 43194 w 416944"/>
                    <a:gd name="connsiteY3" fmla="*/ 72396 h 289566"/>
                    <a:gd name="connsiteX4" fmla="*/ 98439 w 416944"/>
                    <a:gd name="connsiteY4" fmla="*/ 49536 h 289566"/>
                    <a:gd name="connsiteX5" fmla="*/ 130824 w 416944"/>
                    <a:gd name="connsiteY5" fmla="*/ 19056 h 289566"/>
                    <a:gd name="connsiteX6" fmla="*/ 203214 w 416944"/>
                    <a:gd name="connsiteY6" fmla="*/ 6 h 289566"/>
                    <a:gd name="connsiteX7" fmla="*/ 304179 w 416944"/>
                    <a:gd name="connsiteY7" fmla="*/ 20961 h 289566"/>
                    <a:gd name="connsiteX8" fmla="*/ 374664 w 416944"/>
                    <a:gd name="connsiteY8" fmla="*/ 68586 h 289566"/>
                    <a:gd name="connsiteX9" fmla="*/ 414669 w 416944"/>
                    <a:gd name="connsiteY9" fmla="*/ 144786 h 289566"/>
                    <a:gd name="connsiteX10" fmla="*/ 410859 w 416944"/>
                    <a:gd name="connsiteY10" fmla="*/ 211461 h 289566"/>
                    <a:gd name="connsiteX11" fmla="*/ 401334 w 416944"/>
                    <a:gd name="connsiteY11" fmla="*/ 289566 h 289566"/>
                    <a:gd name="connsiteX12" fmla="*/ 376569 w 416944"/>
                    <a:gd name="connsiteY12" fmla="*/ 280041 h 289566"/>
                    <a:gd name="connsiteX13" fmla="*/ 376569 w 416944"/>
                    <a:gd name="connsiteY13" fmla="*/ 207651 h 289566"/>
                    <a:gd name="connsiteX14" fmla="*/ 336564 w 416944"/>
                    <a:gd name="connsiteY14" fmla="*/ 142881 h 289566"/>
                    <a:gd name="connsiteX15" fmla="*/ 231789 w 416944"/>
                    <a:gd name="connsiteY15" fmla="*/ 125736 h 289566"/>
                    <a:gd name="connsiteX16" fmla="*/ 144159 w 416944"/>
                    <a:gd name="connsiteY16" fmla="*/ 112401 h 289566"/>
                    <a:gd name="connsiteX17" fmla="*/ 119394 w 416944"/>
                    <a:gd name="connsiteY17" fmla="*/ 102876 h 289566"/>
                    <a:gd name="connsiteX18" fmla="*/ 90819 w 416944"/>
                    <a:gd name="connsiteY18" fmla="*/ 120021 h 289566"/>
                    <a:gd name="connsiteX19" fmla="*/ 58434 w 416944"/>
                    <a:gd name="connsiteY19" fmla="*/ 165741 h 289566"/>
                    <a:gd name="connsiteX20" fmla="*/ 6999 w 416944"/>
                    <a:gd name="connsiteY20" fmla="*/ 280041 h 289566"/>
                    <a:gd name="connsiteX0" fmla="*/ 6999 w 415379"/>
                    <a:gd name="connsiteY0" fmla="*/ 280041 h 289566"/>
                    <a:gd name="connsiteX1" fmla="*/ 1284 w 415379"/>
                    <a:gd name="connsiteY1" fmla="*/ 192411 h 289566"/>
                    <a:gd name="connsiteX2" fmla="*/ 14619 w 415379"/>
                    <a:gd name="connsiteY2" fmla="*/ 123831 h 289566"/>
                    <a:gd name="connsiteX3" fmla="*/ 43194 w 415379"/>
                    <a:gd name="connsiteY3" fmla="*/ 72396 h 289566"/>
                    <a:gd name="connsiteX4" fmla="*/ 98439 w 415379"/>
                    <a:gd name="connsiteY4" fmla="*/ 49536 h 289566"/>
                    <a:gd name="connsiteX5" fmla="*/ 130824 w 415379"/>
                    <a:gd name="connsiteY5" fmla="*/ 19056 h 289566"/>
                    <a:gd name="connsiteX6" fmla="*/ 203214 w 415379"/>
                    <a:gd name="connsiteY6" fmla="*/ 6 h 289566"/>
                    <a:gd name="connsiteX7" fmla="*/ 304179 w 415379"/>
                    <a:gd name="connsiteY7" fmla="*/ 20961 h 289566"/>
                    <a:gd name="connsiteX8" fmla="*/ 374664 w 415379"/>
                    <a:gd name="connsiteY8" fmla="*/ 68586 h 289566"/>
                    <a:gd name="connsiteX9" fmla="*/ 412764 w 415379"/>
                    <a:gd name="connsiteY9" fmla="*/ 139071 h 289566"/>
                    <a:gd name="connsiteX10" fmla="*/ 410859 w 415379"/>
                    <a:gd name="connsiteY10" fmla="*/ 211461 h 289566"/>
                    <a:gd name="connsiteX11" fmla="*/ 401334 w 415379"/>
                    <a:gd name="connsiteY11" fmla="*/ 289566 h 289566"/>
                    <a:gd name="connsiteX12" fmla="*/ 376569 w 415379"/>
                    <a:gd name="connsiteY12" fmla="*/ 280041 h 289566"/>
                    <a:gd name="connsiteX13" fmla="*/ 376569 w 415379"/>
                    <a:gd name="connsiteY13" fmla="*/ 207651 h 289566"/>
                    <a:gd name="connsiteX14" fmla="*/ 336564 w 415379"/>
                    <a:gd name="connsiteY14" fmla="*/ 142881 h 289566"/>
                    <a:gd name="connsiteX15" fmla="*/ 231789 w 415379"/>
                    <a:gd name="connsiteY15" fmla="*/ 125736 h 289566"/>
                    <a:gd name="connsiteX16" fmla="*/ 144159 w 415379"/>
                    <a:gd name="connsiteY16" fmla="*/ 112401 h 289566"/>
                    <a:gd name="connsiteX17" fmla="*/ 119394 w 415379"/>
                    <a:gd name="connsiteY17" fmla="*/ 102876 h 289566"/>
                    <a:gd name="connsiteX18" fmla="*/ 90819 w 415379"/>
                    <a:gd name="connsiteY18" fmla="*/ 120021 h 289566"/>
                    <a:gd name="connsiteX19" fmla="*/ 58434 w 415379"/>
                    <a:gd name="connsiteY19" fmla="*/ 165741 h 289566"/>
                    <a:gd name="connsiteX20" fmla="*/ 6999 w 415379"/>
                    <a:gd name="connsiteY20" fmla="*/ 280041 h 289566"/>
                    <a:gd name="connsiteX0" fmla="*/ 6999 w 418073"/>
                    <a:gd name="connsiteY0" fmla="*/ 280041 h 289566"/>
                    <a:gd name="connsiteX1" fmla="*/ 1284 w 418073"/>
                    <a:gd name="connsiteY1" fmla="*/ 192411 h 289566"/>
                    <a:gd name="connsiteX2" fmla="*/ 14619 w 418073"/>
                    <a:gd name="connsiteY2" fmla="*/ 123831 h 289566"/>
                    <a:gd name="connsiteX3" fmla="*/ 43194 w 418073"/>
                    <a:gd name="connsiteY3" fmla="*/ 72396 h 289566"/>
                    <a:gd name="connsiteX4" fmla="*/ 98439 w 418073"/>
                    <a:gd name="connsiteY4" fmla="*/ 49536 h 289566"/>
                    <a:gd name="connsiteX5" fmla="*/ 130824 w 418073"/>
                    <a:gd name="connsiteY5" fmla="*/ 19056 h 289566"/>
                    <a:gd name="connsiteX6" fmla="*/ 203214 w 418073"/>
                    <a:gd name="connsiteY6" fmla="*/ 6 h 289566"/>
                    <a:gd name="connsiteX7" fmla="*/ 304179 w 418073"/>
                    <a:gd name="connsiteY7" fmla="*/ 20961 h 289566"/>
                    <a:gd name="connsiteX8" fmla="*/ 374664 w 418073"/>
                    <a:gd name="connsiteY8" fmla="*/ 68586 h 289566"/>
                    <a:gd name="connsiteX9" fmla="*/ 412764 w 418073"/>
                    <a:gd name="connsiteY9" fmla="*/ 139071 h 289566"/>
                    <a:gd name="connsiteX10" fmla="*/ 416574 w 418073"/>
                    <a:gd name="connsiteY10" fmla="*/ 222891 h 289566"/>
                    <a:gd name="connsiteX11" fmla="*/ 401334 w 418073"/>
                    <a:gd name="connsiteY11" fmla="*/ 289566 h 289566"/>
                    <a:gd name="connsiteX12" fmla="*/ 376569 w 418073"/>
                    <a:gd name="connsiteY12" fmla="*/ 280041 h 289566"/>
                    <a:gd name="connsiteX13" fmla="*/ 376569 w 418073"/>
                    <a:gd name="connsiteY13" fmla="*/ 207651 h 289566"/>
                    <a:gd name="connsiteX14" fmla="*/ 336564 w 418073"/>
                    <a:gd name="connsiteY14" fmla="*/ 142881 h 289566"/>
                    <a:gd name="connsiteX15" fmla="*/ 231789 w 418073"/>
                    <a:gd name="connsiteY15" fmla="*/ 125736 h 289566"/>
                    <a:gd name="connsiteX16" fmla="*/ 144159 w 418073"/>
                    <a:gd name="connsiteY16" fmla="*/ 112401 h 289566"/>
                    <a:gd name="connsiteX17" fmla="*/ 119394 w 418073"/>
                    <a:gd name="connsiteY17" fmla="*/ 102876 h 289566"/>
                    <a:gd name="connsiteX18" fmla="*/ 90819 w 418073"/>
                    <a:gd name="connsiteY18" fmla="*/ 120021 h 289566"/>
                    <a:gd name="connsiteX19" fmla="*/ 58434 w 418073"/>
                    <a:gd name="connsiteY19" fmla="*/ 165741 h 289566"/>
                    <a:gd name="connsiteX20" fmla="*/ 6999 w 418073"/>
                    <a:gd name="connsiteY20" fmla="*/ 280041 h 289566"/>
                    <a:gd name="connsiteX0" fmla="*/ 6999 w 418073"/>
                    <a:gd name="connsiteY0" fmla="*/ 280041 h 289566"/>
                    <a:gd name="connsiteX1" fmla="*/ 1284 w 418073"/>
                    <a:gd name="connsiteY1" fmla="*/ 192411 h 289566"/>
                    <a:gd name="connsiteX2" fmla="*/ 8904 w 418073"/>
                    <a:gd name="connsiteY2" fmla="*/ 123831 h 289566"/>
                    <a:gd name="connsiteX3" fmla="*/ 43194 w 418073"/>
                    <a:gd name="connsiteY3" fmla="*/ 72396 h 289566"/>
                    <a:gd name="connsiteX4" fmla="*/ 98439 w 418073"/>
                    <a:gd name="connsiteY4" fmla="*/ 49536 h 289566"/>
                    <a:gd name="connsiteX5" fmla="*/ 130824 w 418073"/>
                    <a:gd name="connsiteY5" fmla="*/ 19056 h 289566"/>
                    <a:gd name="connsiteX6" fmla="*/ 203214 w 418073"/>
                    <a:gd name="connsiteY6" fmla="*/ 6 h 289566"/>
                    <a:gd name="connsiteX7" fmla="*/ 304179 w 418073"/>
                    <a:gd name="connsiteY7" fmla="*/ 20961 h 289566"/>
                    <a:gd name="connsiteX8" fmla="*/ 374664 w 418073"/>
                    <a:gd name="connsiteY8" fmla="*/ 68586 h 289566"/>
                    <a:gd name="connsiteX9" fmla="*/ 412764 w 418073"/>
                    <a:gd name="connsiteY9" fmla="*/ 139071 h 289566"/>
                    <a:gd name="connsiteX10" fmla="*/ 416574 w 418073"/>
                    <a:gd name="connsiteY10" fmla="*/ 222891 h 289566"/>
                    <a:gd name="connsiteX11" fmla="*/ 401334 w 418073"/>
                    <a:gd name="connsiteY11" fmla="*/ 289566 h 289566"/>
                    <a:gd name="connsiteX12" fmla="*/ 376569 w 418073"/>
                    <a:gd name="connsiteY12" fmla="*/ 280041 h 289566"/>
                    <a:gd name="connsiteX13" fmla="*/ 376569 w 418073"/>
                    <a:gd name="connsiteY13" fmla="*/ 207651 h 289566"/>
                    <a:gd name="connsiteX14" fmla="*/ 336564 w 418073"/>
                    <a:gd name="connsiteY14" fmla="*/ 142881 h 289566"/>
                    <a:gd name="connsiteX15" fmla="*/ 231789 w 418073"/>
                    <a:gd name="connsiteY15" fmla="*/ 125736 h 289566"/>
                    <a:gd name="connsiteX16" fmla="*/ 144159 w 418073"/>
                    <a:gd name="connsiteY16" fmla="*/ 112401 h 289566"/>
                    <a:gd name="connsiteX17" fmla="*/ 119394 w 418073"/>
                    <a:gd name="connsiteY17" fmla="*/ 102876 h 289566"/>
                    <a:gd name="connsiteX18" fmla="*/ 90819 w 418073"/>
                    <a:gd name="connsiteY18" fmla="*/ 120021 h 289566"/>
                    <a:gd name="connsiteX19" fmla="*/ 58434 w 418073"/>
                    <a:gd name="connsiteY19" fmla="*/ 165741 h 289566"/>
                    <a:gd name="connsiteX20" fmla="*/ 6999 w 418073"/>
                    <a:gd name="connsiteY20" fmla="*/ 280041 h 289566"/>
                    <a:gd name="connsiteX0" fmla="*/ 6999 w 418073"/>
                    <a:gd name="connsiteY0" fmla="*/ 280041 h 289566"/>
                    <a:gd name="connsiteX1" fmla="*/ 1284 w 418073"/>
                    <a:gd name="connsiteY1" fmla="*/ 192411 h 289566"/>
                    <a:gd name="connsiteX2" fmla="*/ 8904 w 418073"/>
                    <a:gd name="connsiteY2" fmla="*/ 123831 h 289566"/>
                    <a:gd name="connsiteX3" fmla="*/ 43194 w 418073"/>
                    <a:gd name="connsiteY3" fmla="*/ 72396 h 289566"/>
                    <a:gd name="connsiteX4" fmla="*/ 98439 w 418073"/>
                    <a:gd name="connsiteY4" fmla="*/ 49536 h 289566"/>
                    <a:gd name="connsiteX5" fmla="*/ 130824 w 418073"/>
                    <a:gd name="connsiteY5" fmla="*/ 19056 h 289566"/>
                    <a:gd name="connsiteX6" fmla="*/ 203214 w 418073"/>
                    <a:gd name="connsiteY6" fmla="*/ 6 h 289566"/>
                    <a:gd name="connsiteX7" fmla="*/ 304179 w 418073"/>
                    <a:gd name="connsiteY7" fmla="*/ 20961 h 289566"/>
                    <a:gd name="connsiteX8" fmla="*/ 374664 w 418073"/>
                    <a:gd name="connsiteY8" fmla="*/ 68586 h 289566"/>
                    <a:gd name="connsiteX9" fmla="*/ 412764 w 418073"/>
                    <a:gd name="connsiteY9" fmla="*/ 139071 h 289566"/>
                    <a:gd name="connsiteX10" fmla="*/ 416574 w 418073"/>
                    <a:gd name="connsiteY10" fmla="*/ 222891 h 289566"/>
                    <a:gd name="connsiteX11" fmla="*/ 401334 w 418073"/>
                    <a:gd name="connsiteY11" fmla="*/ 289566 h 289566"/>
                    <a:gd name="connsiteX12" fmla="*/ 376569 w 418073"/>
                    <a:gd name="connsiteY12" fmla="*/ 280041 h 289566"/>
                    <a:gd name="connsiteX13" fmla="*/ 376569 w 418073"/>
                    <a:gd name="connsiteY13" fmla="*/ 207651 h 289566"/>
                    <a:gd name="connsiteX14" fmla="*/ 336564 w 418073"/>
                    <a:gd name="connsiteY14" fmla="*/ 142881 h 289566"/>
                    <a:gd name="connsiteX15" fmla="*/ 231789 w 418073"/>
                    <a:gd name="connsiteY15" fmla="*/ 125736 h 289566"/>
                    <a:gd name="connsiteX16" fmla="*/ 144159 w 418073"/>
                    <a:gd name="connsiteY16" fmla="*/ 112401 h 289566"/>
                    <a:gd name="connsiteX17" fmla="*/ 119394 w 418073"/>
                    <a:gd name="connsiteY17" fmla="*/ 102876 h 289566"/>
                    <a:gd name="connsiteX18" fmla="*/ 90819 w 418073"/>
                    <a:gd name="connsiteY18" fmla="*/ 120021 h 289566"/>
                    <a:gd name="connsiteX19" fmla="*/ 58434 w 418073"/>
                    <a:gd name="connsiteY19" fmla="*/ 165741 h 289566"/>
                    <a:gd name="connsiteX20" fmla="*/ 26050 w 418073"/>
                    <a:gd name="connsiteY20" fmla="*/ 245752 h 289566"/>
                    <a:gd name="connsiteX21" fmla="*/ 6999 w 418073"/>
                    <a:gd name="connsiteY21" fmla="*/ 280041 h 289566"/>
                    <a:gd name="connsiteX0" fmla="*/ 6999 w 418073"/>
                    <a:gd name="connsiteY0" fmla="*/ 280041 h 292071"/>
                    <a:gd name="connsiteX1" fmla="*/ 1284 w 418073"/>
                    <a:gd name="connsiteY1" fmla="*/ 192411 h 292071"/>
                    <a:gd name="connsiteX2" fmla="*/ 8904 w 418073"/>
                    <a:gd name="connsiteY2" fmla="*/ 123831 h 292071"/>
                    <a:gd name="connsiteX3" fmla="*/ 43194 w 418073"/>
                    <a:gd name="connsiteY3" fmla="*/ 72396 h 292071"/>
                    <a:gd name="connsiteX4" fmla="*/ 98439 w 418073"/>
                    <a:gd name="connsiteY4" fmla="*/ 49536 h 292071"/>
                    <a:gd name="connsiteX5" fmla="*/ 130824 w 418073"/>
                    <a:gd name="connsiteY5" fmla="*/ 19056 h 292071"/>
                    <a:gd name="connsiteX6" fmla="*/ 203214 w 418073"/>
                    <a:gd name="connsiteY6" fmla="*/ 6 h 292071"/>
                    <a:gd name="connsiteX7" fmla="*/ 304179 w 418073"/>
                    <a:gd name="connsiteY7" fmla="*/ 20961 h 292071"/>
                    <a:gd name="connsiteX8" fmla="*/ 374664 w 418073"/>
                    <a:gd name="connsiteY8" fmla="*/ 68586 h 292071"/>
                    <a:gd name="connsiteX9" fmla="*/ 412764 w 418073"/>
                    <a:gd name="connsiteY9" fmla="*/ 139071 h 292071"/>
                    <a:gd name="connsiteX10" fmla="*/ 416574 w 418073"/>
                    <a:gd name="connsiteY10" fmla="*/ 222891 h 292071"/>
                    <a:gd name="connsiteX11" fmla="*/ 401334 w 418073"/>
                    <a:gd name="connsiteY11" fmla="*/ 289566 h 292071"/>
                    <a:gd name="connsiteX12" fmla="*/ 376569 w 418073"/>
                    <a:gd name="connsiteY12" fmla="*/ 280041 h 292071"/>
                    <a:gd name="connsiteX13" fmla="*/ 376569 w 418073"/>
                    <a:gd name="connsiteY13" fmla="*/ 207651 h 292071"/>
                    <a:gd name="connsiteX14" fmla="*/ 336564 w 418073"/>
                    <a:gd name="connsiteY14" fmla="*/ 142881 h 292071"/>
                    <a:gd name="connsiteX15" fmla="*/ 231789 w 418073"/>
                    <a:gd name="connsiteY15" fmla="*/ 125736 h 292071"/>
                    <a:gd name="connsiteX16" fmla="*/ 144159 w 418073"/>
                    <a:gd name="connsiteY16" fmla="*/ 112401 h 292071"/>
                    <a:gd name="connsiteX17" fmla="*/ 119394 w 418073"/>
                    <a:gd name="connsiteY17" fmla="*/ 102876 h 292071"/>
                    <a:gd name="connsiteX18" fmla="*/ 90819 w 418073"/>
                    <a:gd name="connsiteY18" fmla="*/ 120021 h 292071"/>
                    <a:gd name="connsiteX19" fmla="*/ 58434 w 418073"/>
                    <a:gd name="connsiteY19" fmla="*/ 165741 h 292071"/>
                    <a:gd name="connsiteX20" fmla="*/ 29860 w 418073"/>
                    <a:gd name="connsiteY20" fmla="*/ 281947 h 292071"/>
                    <a:gd name="connsiteX21" fmla="*/ 6999 w 418073"/>
                    <a:gd name="connsiteY21" fmla="*/ 280041 h 292071"/>
                    <a:gd name="connsiteX0" fmla="*/ 15390 w 416939"/>
                    <a:gd name="connsiteY0" fmla="*/ 280041 h 292071"/>
                    <a:gd name="connsiteX1" fmla="*/ 150 w 416939"/>
                    <a:gd name="connsiteY1" fmla="*/ 192411 h 292071"/>
                    <a:gd name="connsiteX2" fmla="*/ 7770 w 416939"/>
                    <a:gd name="connsiteY2" fmla="*/ 123831 h 292071"/>
                    <a:gd name="connsiteX3" fmla="*/ 42060 w 416939"/>
                    <a:gd name="connsiteY3" fmla="*/ 72396 h 292071"/>
                    <a:gd name="connsiteX4" fmla="*/ 97305 w 416939"/>
                    <a:gd name="connsiteY4" fmla="*/ 49536 h 292071"/>
                    <a:gd name="connsiteX5" fmla="*/ 129690 w 416939"/>
                    <a:gd name="connsiteY5" fmla="*/ 19056 h 292071"/>
                    <a:gd name="connsiteX6" fmla="*/ 202080 w 416939"/>
                    <a:gd name="connsiteY6" fmla="*/ 6 h 292071"/>
                    <a:gd name="connsiteX7" fmla="*/ 303045 w 416939"/>
                    <a:gd name="connsiteY7" fmla="*/ 20961 h 292071"/>
                    <a:gd name="connsiteX8" fmla="*/ 373530 w 416939"/>
                    <a:gd name="connsiteY8" fmla="*/ 68586 h 292071"/>
                    <a:gd name="connsiteX9" fmla="*/ 411630 w 416939"/>
                    <a:gd name="connsiteY9" fmla="*/ 139071 h 292071"/>
                    <a:gd name="connsiteX10" fmla="*/ 415440 w 416939"/>
                    <a:gd name="connsiteY10" fmla="*/ 222891 h 292071"/>
                    <a:gd name="connsiteX11" fmla="*/ 400200 w 416939"/>
                    <a:gd name="connsiteY11" fmla="*/ 289566 h 292071"/>
                    <a:gd name="connsiteX12" fmla="*/ 375435 w 416939"/>
                    <a:gd name="connsiteY12" fmla="*/ 280041 h 292071"/>
                    <a:gd name="connsiteX13" fmla="*/ 375435 w 416939"/>
                    <a:gd name="connsiteY13" fmla="*/ 207651 h 292071"/>
                    <a:gd name="connsiteX14" fmla="*/ 335430 w 416939"/>
                    <a:gd name="connsiteY14" fmla="*/ 142881 h 292071"/>
                    <a:gd name="connsiteX15" fmla="*/ 230655 w 416939"/>
                    <a:gd name="connsiteY15" fmla="*/ 125736 h 292071"/>
                    <a:gd name="connsiteX16" fmla="*/ 143025 w 416939"/>
                    <a:gd name="connsiteY16" fmla="*/ 112401 h 292071"/>
                    <a:gd name="connsiteX17" fmla="*/ 118260 w 416939"/>
                    <a:gd name="connsiteY17" fmla="*/ 102876 h 292071"/>
                    <a:gd name="connsiteX18" fmla="*/ 89685 w 416939"/>
                    <a:gd name="connsiteY18" fmla="*/ 120021 h 292071"/>
                    <a:gd name="connsiteX19" fmla="*/ 57300 w 416939"/>
                    <a:gd name="connsiteY19" fmla="*/ 165741 h 292071"/>
                    <a:gd name="connsiteX20" fmla="*/ 28726 w 416939"/>
                    <a:gd name="connsiteY20" fmla="*/ 281947 h 292071"/>
                    <a:gd name="connsiteX21" fmla="*/ 15390 w 416939"/>
                    <a:gd name="connsiteY21" fmla="*/ 280041 h 292071"/>
                    <a:gd name="connsiteX0" fmla="*/ 15390 w 416939"/>
                    <a:gd name="connsiteY0" fmla="*/ 280041 h 292071"/>
                    <a:gd name="connsiteX1" fmla="*/ 150 w 416939"/>
                    <a:gd name="connsiteY1" fmla="*/ 192411 h 292071"/>
                    <a:gd name="connsiteX2" fmla="*/ 7770 w 416939"/>
                    <a:gd name="connsiteY2" fmla="*/ 123831 h 292071"/>
                    <a:gd name="connsiteX3" fmla="*/ 42060 w 416939"/>
                    <a:gd name="connsiteY3" fmla="*/ 72396 h 292071"/>
                    <a:gd name="connsiteX4" fmla="*/ 97305 w 416939"/>
                    <a:gd name="connsiteY4" fmla="*/ 49536 h 292071"/>
                    <a:gd name="connsiteX5" fmla="*/ 129690 w 416939"/>
                    <a:gd name="connsiteY5" fmla="*/ 19056 h 292071"/>
                    <a:gd name="connsiteX6" fmla="*/ 202080 w 416939"/>
                    <a:gd name="connsiteY6" fmla="*/ 6 h 292071"/>
                    <a:gd name="connsiteX7" fmla="*/ 303045 w 416939"/>
                    <a:gd name="connsiteY7" fmla="*/ 20961 h 292071"/>
                    <a:gd name="connsiteX8" fmla="*/ 373530 w 416939"/>
                    <a:gd name="connsiteY8" fmla="*/ 68586 h 292071"/>
                    <a:gd name="connsiteX9" fmla="*/ 411630 w 416939"/>
                    <a:gd name="connsiteY9" fmla="*/ 139071 h 292071"/>
                    <a:gd name="connsiteX10" fmla="*/ 415440 w 416939"/>
                    <a:gd name="connsiteY10" fmla="*/ 222891 h 292071"/>
                    <a:gd name="connsiteX11" fmla="*/ 400200 w 416939"/>
                    <a:gd name="connsiteY11" fmla="*/ 289566 h 292071"/>
                    <a:gd name="connsiteX12" fmla="*/ 383055 w 416939"/>
                    <a:gd name="connsiteY12" fmla="*/ 289566 h 292071"/>
                    <a:gd name="connsiteX13" fmla="*/ 375435 w 416939"/>
                    <a:gd name="connsiteY13" fmla="*/ 207651 h 292071"/>
                    <a:gd name="connsiteX14" fmla="*/ 335430 w 416939"/>
                    <a:gd name="connsiteY14" fmla="*/ 142881 h 292071"/>
                    <a:gd name="connsiteX15" fmla="*/ 230655 w 416939"/>
                    <a:gd name="connsiteY15" fmla="*/ 125736 h 292071"/>
                    <a:gd name="connsiteX16" fmla="*/ 143025 w 416939"/>
                    <a:gd name="connsiteY16" fmla="*/ 112401 h 292071"/>
                    <a:gd name="connsiteX17" fmla="*/ 118260 w 416939"/>
                    <a:gd name="connsiteY17" fmla="*/ 102876 h 292071"/>
                    <a:gd name="connsiteX18" fmla="*/ 89685 w 416939"/>
                    <a:gd name="connsiteY18" fmla="*/ 120021 h 292071"/>
                    <a:gd name="connsiteX19" fmla="*/ 57300 w 416939"/>
                    <a:gd name="connsiteY19" fmla="*/ 165741 h 292071"/>
                    <a:gd name="connsiteX20" fmla="*/ 28726 w 416939"/>
                    <a:gd name="connsiteY20" fmla="*/ 281947 h 292071"/>
                    <a:gd name="connsiteX21" fmla="*/ 15390 w 416939"/>
                    <a:gd name="connsiteY21" fmla="*/ 280041 h 29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16939" h="292071">
                      <a:moveTo>
                        <a:pt x="15390" y="280041"/>
                      </a:moveTo>
                      <a:cubicBezTo>
                        <a:pt x="5865" y="284486"/>
                        <a:pt x="-1120" y="218446"/>
                        <a:pt x="150" y="192411"/>
                      </a:cubicBezTo>
                      <a:cubicBezTo>
                        <a:pt x="1420" y="166376"/>
                        <a:pt x="785" y="143833"/>
                        <a:pt x="7770" y="123831"/>
                      </a:cubicBezTo>
                      <a:cubicBezTo>
                        <a:pt x="14755" y="103829"/>
                        <a:pt x="27138" y="84779"/>
                        <a:pt x="42060" y="72396"/>
                      </a:cubicBezTo>
                      <a:cubicBezTo>
                        <a:pt x="56983" y="60014"/>
                        <a:pt x="87780" y="54299"/>
                        <a:pt x="97305" y="49536"/>
                      </a:cubicBezTo>
                      <a:cubicBezTo>
                        <a:pt x="107465" y="41916"/>
                        <a:pt x="112228" y="27311"/>
                        <a:pt x="129690" y="19056"/>
                      </a:cubicBezTo>
                      <a:cubicBezTo>
                        <a:pt x="147152" y="10801"/>
                        <a:pt x="173188" y="-311"/>
                        <a:pt x="202080" y="6"/>
                      </a:cubicBezTo>
                      <a:cubicBezTo>
                        <a:pt x="230972" y="323"/>
                        <a:pt x="274470" y="9531"/>
                        <a:pt x="303045" y="20961"/>
                      </a:cubicBezTo>
                      <a:cubicBezTo>
                        <a:pt x="331620" y="32391"/>
                        <a:pt x="355432" y="48901"/>
                        <a:pt x="373530" y="68586"/>
                      </a:cubicBezTo>
                      <a:cubicBezTo>
                        <a:pt x="391628" y="88271"/>
                        <a:pt x="404645" y="113354"/>
                        <a:pt x="411630" y="139071"/>
                      </a:cubicBezTo>
                      <a:cubicBezTo>
                        <a:pt x="418615" y="164788"/>
                        <a:pt x="417345" y="197809"/>
                        <a:pt x="415440" y="222891"/>
                      </a:cubicBezTo>
                      <a:cubicBezTo>
                        <a:pt x="413535" y="247974"/>
                        <a:pt x="403375" y="263531"/>
                        <a:pt x="400200" y="289566"/>
                      </a:cubicBezTo>
                      <a:lnTo>
                        <a:pt x="383055" y="289566"/>
                      </a:lnTo>
                      <a:lnTo>
                        <a:pt x="375435" y="207651"/>
                      </a:lnTo>
                      <a:cubicBezTo>
                        <a:pt x="369085" y="183521"/>
                        <a:pt x="359560" y="156533"/>
                        <a:pt x="335430" y="142881"/>
                      </a:cubicBezTo>
                      <a:cubicBezTo>
                        <a:pt x="311300" y="129229"/>
                        <a:pt x="262723" y="130816"/>
                        <a:pt x="230655" y="125736"/>
                      </a:cubicBezTo>
                      <a:lnTo>
                        <a:pt x="143025" y="112401"/>
                      </a:lnTo>
                      <a:lnTo>
                        <a:pt x="118260" y="102876"/>
                      </a:lnTo>
                      <a:lnTo>
                        <a:pt x="89685" y="120021"/>
                      </a:lnTo>
                      <a:cubicBezTo>
                        <a:pt x="79525" y="130498"/>
                        <a:pt x="67460" y="138753"/>
                        <a:pt x="57300" y="165741"/>
                      </a:cubicBezTo>
                      <a:cubicBezTo>
                        <a:pt x="47140" y="192729"/>
                        <a:pt x="37298" y="262897"/>
                        <a:pt x="28726" y="281947"/>
                      </a:cubicBezTo>
                      <a:cubicBezTo>
                        <a:pt x="20154" y="300997"/>
                        <a:pt x="19518" y="288931"/>
                        <a:pt x="15390" y="280041"/>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65" name="Rounded Rectangle 22">
                <a:extLst>
                  <a:ext uri="{FF2B5EF4-FFF2-40B4-BE49-F238E27FC236}">
                    <a16:creationId xmlns:a16="http://schemas.microsoft.com/office/drawing/2014/main" id="{039B499F-9827-47E1-87FF-EAA9595F1C2F}"/>
                  </a:ext>
                </a:extLst>
              </p:cNvPr>
              <p:cNvSpPr/>
              <p:nvPr/>
            </p:nvSpPr>
            <p:spPr bwMode="gray">
              <a:xfrm flipH="1">
                <a:off x="-4492385" y="2351760"/>
                <a:ext cx="205146" cy="148612"/>
              </a:xfrm>
              <a:custGeom>
                <a:avLst/>
                <a:gdLst/>
                <a:ahLst/>
                <a:cxnLst/>
                <a:rect l="l" t="t" r="r" b="b"/>
                <a:pathLst>
                  <a:path w="205146" h="148612">
                    <a:moveTo>
                      <a:pt x="0" y="0"/>
                    </a:moveTo>
                    <a:lnTo>
                      <a:pt x="0" y="46818"/>
                    </a:lnTo>
                    <a:lnTo>
                      <a:pt x="87823" y="95272"/>
                    </a:lnTo>
                    <a:lnTo>
                      <a:pt x="80601" y="147895"/>
                    </a:lnTo>
                    <a:cubicBezTo>
                      <a:pt x="82347" y="148514"/>
                      <a:pt x="83934" y="148612"/>
                      <a:pt x="85274" y="148612"/>
                    </a:cubicBezTo>
                    <a:cubicBezTo>
                      <a:pt x="92100" y="148612"/>
                      <a:pt x="97749" y="148525"/>
                      <a:pt x="102573" y="148298"/>
                    </a:cubicBezTo>
                    <a:cubicBezTo>
                      <a:pt x="107398" y="148525"/>
                      <a:pt x="113046" y="148612"/>
                      <a:pt x="119872" y="148612"/>
                    </a:cubicBezTo>
                    <a:lnTo>
                      <a:pt x="124546" y="147895"/>
                    </a:lnTo>
                    <a:lnTo>
                      <a:pt x="117323" y="95272"/>
                    </a:lnTo>
                    <a:lnTo>
                      <a:pt x="205146" y="46818"/>
                    </a:lnTo>
                    <a:lnTo>
                      <a:pt x="205146" y="580"/>
                    </a:lnTo>
                    <a:cubicBezTo>
                      <a:pt x="178051" y="24052"/>
                      <a:pt x="144619" y="36929"/>
                      <a:pt x="108755" y="36929"/>
                    </a:cubicBezTo>
                    <a:lnTo>
                      <a:pt x="103026" y="35771"/>
                    </a:lnTo>
                    <a:lnTo>
                      <a:pt x="97303" y="36928"/>
                    </a:lnTo>
                    <a:cubicBezTo>
                      <a:pt x="61078" y="36928"/>
                      <a:pt x="27334" y="23790"/>
                      <a:pt x="0" y="0"/>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6" name="Freeform 27">
                <a:extLst>
                  <a:ext uri="{FF2B5EF4-FFF2-40B4-BE49-F238E27FC236}">
                    <a16:creationId xmlns:a16="http://schemas.microsoft.com/office/drawing/2014/main" id="{DC16D4BE-B31B-49BB-ABC2-6C6871512923}"/>
                  </a:ext>
                </a:extLst>
              </p:cNvPr>
              <p:cNvSpPr/>
              <p:nvPr/>
            </p:nvSpPr>
            <p:spPr bwMode="gray">
              <a:xfrm>
                <a:off x="-4520767" y="2386072"/>
                <a:ext cx="116205" cy="158115"/>
              </a:xfrm>
              <a:custGeom>
                <a:avLst/>
                <a:gdLst>
                  <a:gd name="connsiteX0" fmla="*/ 9525 w 123825"/>
                  <a:gd name="connsiteY0" fmla="*/ 0 h 131445"/>
                  <a:gd name="connsiteX1" fmla="*/ 123825 w 123825"/>
                  <a:gd name="connsiteY1" fmla="*/ 55245 h 131445"/>
                  <a:gd name="connsiteX2" fmla="*/ 120015 w 123825"/>
                  <a:gd name="connsiteY2" fmla="*/ 131445 h 131445"/>
                  <a:gd name="connsiteX3" fmla="*/ 0 w 123825"/>
                  <a:gd name="connsiteY3" fmla="*/ 72390 h 131445"/>
                  <a:gd name="connsiteX4" fmla="*/ 9525 w 123825"/>
                  <a:gd name="connsiteY4" fmla="*/ 0 h 131445"/>
                  <a:gd name="connsiteX0" fmla="*/ 9525 w 123825"/>
                  <a:gd name="connsiteY0" fmla="*/ 0 h 158115"/>
                  <a:gd name="connsiteX1" fmla="*/ 123825 w 123825"/>
                  <a:gd name="connsiteY1" fmla="*/ 55245 h 158115"/>
                  <a:gd name="connsiteX2" fmla="*/ 106680 w 123825"/>
                  <a:gd name="connsiteY2" fmla="*/ 158115 h 158115"/>
                  <a:gd name="connsiteX3" fmla="*/ 0 w 123825"/>
                  <a:gd name="connsiteY3" fmla="*/ 72390 h 158115"/>
                  <a:gd name="connsiteX4" fmla="*/ 9525 w 123825"/>
                  <a:gd name="connsiteY4" fmla="*/ 0 h 158115"/>
                  <a:gd name="connsiteX0" fmla="*/ 5715 w 120015"/>
                  <a:gd name="connsiteY0" fmla="*/ 0 h 158115"/>
                  <a:gd name="connsiteX1" fmla="*/ 120015 w 120015"/>
                  <a:gd name="connsiteY1" fmla="*/ 55245 h 158115"/>
                  <a:gd name="connsiteX2" fmla="*/ 102870 w 120015"/>
                  <a:gd name="connsiteY2" fmla="*/ 158115 h 158115"/>
                  <a:gd name="connsiteX3" fmla="*/ 0 w 120015"/>
                  <a:gd name="connsiteY3" fmla="*/ 70485 h 158115"/>
                  <a:gd name="connsiteX4" fmla="*/ 5715 w 120015"/>
                  <a:gd name="connsiteY4" fmla="*/ 0 h 158115"/>
                  <a:gd name="connsiteX0" fmla="*/ 5715 w 116205"/>
                  <a:gd name="connsiteY0" fmla="*/ 0 h 158115"/>
                  <a:gd name="connsiteX1" fmla="*/ 116205 w 116205"/>
                  <a:gd name="connsiteY1" fmla="*/ 60960 h 158115"/>
                  <a:gd name="connsiteX2" fmla="*/ 102870 w 116205"/>
                  <a:gd name="connsiteY2" fmla="*/ 158115 h 158115"/>
                  <a:gd name="connsiteX3" fmla="*/ 0 w 116205"/>
                  <a:gd name="connsiteY3" fmla="*/ 70485 h 158115"/>
                  <a:gd name="connsiteX4" fmla="*/ 5715 w 116205"/>
                  <a:gd name="connsiteY4" fmla="*/ 0 h 158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205" h="158115">
                    <a:moveTo>
                      <a:pt x="5715" y="0"/>
                    </a:moveTo>
                    <a:lnTo>
                      <a:pt x="116205" y="60960"/>
                    </a:lnTo>
                    <a:lnTo>
                      <a:pt x="102870" y="158115"/>
                    </a:lnTo>
                    <a:lnTo>
                      <a:pt x="0" y="70485"/>
                    </a:lnTo>
                    <a:lnTo>
                      <a:pt x="5715" y="0"/>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7" name="Freeform 28">
                <a:extLst>
                  <a:ext uri="{FF2B5EF4-FFF2-40B4-BE49-F238E27FC236}">
                    <a16:creationId xmlns:a16="http://schemas.microsoft.com/office/drawing/2014/main" id="{739AD02D-AD60-45A3-951A-EED2E7DD3923}"/>
                  </a:ext>
                </a:extLst>
              </p:cNvPr>
              <p:cNvSpPr/>
              <p:nvPr/>
            </p:nvSpPr>
            <p:spPr bwMode="gray">
              <a:xfrm flipH="1">
                <a:off x="-4375062" y="2386072"/>
                <a:ext cx="116205" cy="158115"/>
              </a:xfrm>
              <a:custGeom>
                <a:avLst/>
                <a:gdLst>
                  <a:gd name="connsiteX0" fmla="*/ 9525 w 123825"/>
                  <a:gd name="connsiteY0" fmla="*/ 0 h 131445"/>
                  <a:gd name="connsiteX1" fmla="*/ 123825 w 123825"/>
                  <a:gd name="connsiteY1" fmla="*/ 55245 h 131445"/>
                  <a:gd name="connsiteX2" fmla="*/ 120015 w 123825"/>
                  <a:gd name="connsiteY2" fmla="*/ 131445 h 131445"/>
                  <a:gd name="connsiteX3" fmla="*/ 0 w 123825"/>
                  <a:gd name="connsiteY3" fmla="*/ 72390 h 131445"/>
                  <a:gd name="connsiteX4" fmla="*/ 9525 w 123825"/>
                  <a:gd name="connsiteY4" fmla="*/ 0 h 131445"/>
                  <a:gd name="connsiteX0" fmla="*/ 9525 w 123825"/>
                  <a:gd name="connsiteY0" fmla="*/ 0 h 158115"/>
                  <a:gd name="connsiteX1" fmla="*/ 123825 w 123825"/>
                  <a:gd name="connsiteY1" fmla="*/ 55245 h 158115"/>
                  <a:gd name="connsiteX2" fmla="*/ 106680 w 123825"/>
                  <a:gd name="connsiteY2" fmla="*/ 158115 h 158115"/>
                  <a:gd name="connsiteX3" fmla="*/ 0 w 123825"/>
                  <a:gd name="connsiteY3" fmla="*/ 72390 h 158115"/>
                  <a:gd name="connsiteX4" fmla="*/ 9525 w 123825"/>
                  <a:gd name="connsiteY4" fmla="*/ 0 h 158115"/>
                  <a:gd name="connsiteX0" fmla="*/ 5715 w 120015"/>
                  <a:gd name="connsiteY0" fmla="*/ 0 h 158115"/>
                  <a:gd name="connsiteX1" fmla="*/ 120015 w 120015"/>
                  <a:gd name="connsiteY1" fmla="*/ 55245 h 158115"/>
                  <a:gd name="connsiteX2" fmla="*/ 102870 w 120015"/>
                  <a:gd name="connsiteY2" fmla="*/ 158115 h 158115"/>
                  <a:gd name="connsiteX3" fmla="*/ 0 w 120015"/>
                  <a:gd name="connsiteY3" fmla="*/ 70485 h 158115"/>
                  <a:gd name="connsiteX4" fmla="*/ 5715 w 120015"/>
                  <a:gd name="connsiteY4" fmla="*/ 0 h 158115"/>
                  <a:gd name="connsiteX0" fmla="*/ 5715 w 116205"/>
                  <a:gd name="connsiteY0" fmla="*/ 0 h 158115"/>
                  <a:gd name="connsiteX1" fmla="*/ 116205 w 116205"/>
                  <a:gd name="connsiteY1" fmla="*/ 60960 h 158115"/>
                  <a:gd name="connsiteX2" fmla="*/ 102870 w 116205"/>
                  <a:gd name="connsiteY2" fmla="*/ 158115 h 158115"/>
                  <a:gd name="connsiteX3" fmla="*/ 0 w 116205"/>
                  <a:gd name="connsiteY3" fmla="*/ 70485 h 158115"/>
                  <a:gd name="connsiteX4" fmla="*/ 5715 w 116205"/>
                  <a:gd name="connsiteY4" fmla="*/ 0 h 158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205" h="158115">
                    <a:moveTo>
                      <a:pt x="5715" y="0"/>
                    </a:moveTo>
                    <a:lnTo>
                      <a:pt x="116205" y="60960"/>
                    </a:lnTo>
                    <a:lnTo>
                      <a:pt x="102870" y="158115"/>
                    </a:lnTo>
                    <a:lnTo>
                      <a:pt x="0" y="70485"/>
                    </a:lnTo>
                    <a:lnTo>
                      <a:pt x="5715" y="0"/>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8" name="Isosceles Triangle 67">
                <a:extLst>
                  <a:ext uri="{FF2B5EF4-FFF2-40B4-BE49-F238E27FC236}">
                    <a16:creationId xmlns:a16="http://schemas.microsoft.com/office/drawing/2014/main" id="{1641E42C-4EC7-4412-97E3-51E66C669D52}"/>
                  </a:ext>
                </a:extLst>
              </p:cNvPr>
              <p:cNvSpPr/>
              <p:nvPr/>
            </p:nvSpPr>
            <p:spPr bwMode="gray">
              <a:xfrm>
                <a:off x="-4433613" y="2572231"/>
                <a:ext cx="87602" cy="164997"/>
              </a:xfrm>
              <a:prstGeom prst="triangl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9" name="Isosceles Triangle 82">
                <a:extLst>
                  <a:ext uri="{FF2B5EF4-FFF2-40B4-BE49-F238E27FC236}">
                    <a16:creationId xmlns:a16="http://schemas.microsoft.com/office/drawing/2014/main" id="{D1033CC7-1FA4-4704-BCB6-08FAA43F820B}"/>
                  </a:ext>
                </a:extLst>
              </p:cNvPr>
              <p:cNvSpPr/>
              <p:nvPr/>
            </p:nvSpPr>
            <p:spPr bwMode="gray">
              <a:xfrm flipV="1">
                <a:off x="-4415877" y="2500371"/>
                <a:ext cx="52130" cy="71859"/>
              </a:xfrm>
              <a:custGeom>
                <a:avLst/>
                <a:gdLst/>
                <a:ahLst/>
                <a:cxnLst/>
                <a:rect l="l" t="t" r="r" b="b"/>
                <a:pathLst>
                  <a:path w="52130" h="71859">
                    <a:moveTo>
                      <a:pt x="3994" y="71859"/>
                    </a:moveTo>
                    <a:lnTo>
                      <a:pt x="48136" y="71859"/>
                    </a:lnTo>
                    <a:lnTo>
                      <a:pt x="52130" y="42761"/>
                    </a:lnTo>
                    <a:lnTo>
                      <a:pt x="26065" y="0"/>
                    </a:lnTo>
                    <a:lnTo>
                      <a:pt x="0" y="42761"/>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0" name="Isosceles Triangle 21">
                <a:extLst>
                  <a:ext uri="{FF2B5EF4-FFF2-40B4-BE49-F238E27FC236}">
                    <a16:creationId xmlns:a16="http://schemas.microsoft.com/office/drawing/2014/main" id="{6FECE998-7532-463E-80A9-C3D1273F2B85}"/>
                  </a:ext>
                </a:extLst>
              </p:cNvPr>
              <p:cNvSpPr/>
              <p:nvPr/>
            </p:nvSpPr>
            <p:spPr bwMode="gray">
              <a:xfrm>
                <a:off x="-4806656" y="2420434"/>
                <a:ext cx="832973" cy="316795"/>
              </a:xfrm>
              <a:custGeom>
                <a:avLst/>
                <a:gdLst>
                  <a:gd name="connsiteX0" fmla="*/ 416844 w 832973"/>
                  <a:gd name="connsiteY0" fmla="*/ 87536 h 324706"/>
                  <a:gd name="connsiteX1" fmla="*/ 434089 w 832973"/>
                  <a:gd name="connsiteY1" fmla="*/ 87849 h 324706"/>
                  <a:gd name="connsiteX2" fmla="*/ 399600 w 832973"/>
                  <a:gd name="connsiteY2" fmla="*/ 87849 h 324706"/>
                  <a:gd name="connsiteX3" fmla="*/ 416844 w 832973"/>
                  <a:gd name="connsiteY3" fmla="*/ 87536 h 324706"/>
                  <a:gd name="connsiteX4" fmla="*/ 431594 w 832973"/>
                  <a:gd name="connsiteY4" fmla="*/ 34510 h 324706"/>
                  <a:gd name="connsiteX5" fmla="*/ 438915 w 832973"/>
                  <a:gd name="connsiteY5" fmla="*/ 87849 h 324706"/>
                  <a:gd name="connsiteX6" fmla="*/ 438200 w 832973"/>
                  <a:gd name="connsiteY6" fmla="*/ 87849 h 324706"/>
                  <a:gd name="connsiteX7" fmla="*/ 434150 w 832973"/>
                  <a:gd name="connsiteY7" fmla="*/ 87849 h 324706"/>
                  <a:gd name="connsiteX8" fmla="*/ 438816 w 832973"/>
                  <a:gd name="connsiteY8" fmla="*/ 87133 h 324706"/>
                  <a:gd name="connsiteX9" fmla="*/ 431594 w 832973"/>
                  <a:gd name="connsiteY9" fmla="*/ 34510 h 324706"/>
                  <a:gd name="connsiteX10" fmla="*/ 288103 w 832973"/>
                  <a:gd name="connsiteY10" fmla="*/ 7911 h 324706"/>
                  <a:gd name="connsiteX11" fmla="*/ 288094 w 832973"/>
                  <a:gd name="connsiteY11" fmla="*/ 8024 h 324706"/>
                  <a:gd name="connsiteX12" fmla="*/ 288818 w 832973"/>
                  <a:gd name="connsiteY12" fmla="*/ 7911 h 324706"/>
                  <a:gd name="connsiteX13" fmla="*/ 285889 w 832973"/>
                  <a:gd name="connsiteY13" fmla="*/ 44035 h 324706"/>
                  <a:gd name="connsiteX14" fmla="*/ 388119 w 832973"/>
                  <a:gd name="connsiteY14" fmla="*/ 131120 h 324706"/>
                  <a:gd name="connsiteX15" fmla="*/ 390064 w 832973"/>
                  <a:gd name="connsiteY15" fmla="*/ 116947 h 324706"/>
                  <a:gd name="connsiteX16" fmla="*/ 390648 w 832973"/>
                  <a:gd name="connsiteY16" fmla="*/ 117905 h 324706"/>
                  <a:gd name="connsiteX17" fmla="*/ 390779 w 832973"/>
                  <a:gd name="connsiteY17" fmla="*/ 116947 h 324706"/>
                  <a:gd name="connsiteX18" fmla="*/ 416487 w 832973"/>
                  <a:gd name="connsiteY18" fmla="*/ 159122 h 324706"/>
                  <a:gd name="connsiteX19" fmla="*/ 442194 w 832973"/>
                  <a:gd name="connsiteY19" fmla="*/ 116947 h 324706"/>
                  <a:gd name="connsiteX20" fmla="*/ 442326 w 832973"/>
                  <a:gd name="connsiteY20" fmla="*/ 117905 h 324706"/>
                  <a:gd name="connsiteX21" fmla="*/ 442909 w 832973"/>
                  <a:gd name="connsiteY21" fmla="*/ 116947 h 324706"/>
                  <a:gd name="connsiteX22" fmla="*/ 444854 w 832973"/>
                  <a:gd name="connsiteY22" fmla="*/ 131120 h 324706"/>
                  <a:gd name="connsiteX23" fmla="*/ 547084 w 832973"/>
                  <a:gd name="connsiteY23" fmla="*/ 44035 h 324706"/>
                  <a:gd name="connsiteX24" fmla="*/ 544155 w 832973"/>
                  <a:gd name="connsiteY24" fmla="*/ 7911 h 324706"/>
                  <a:gd name="connsiteX25" fmla="*/ 544879 w 832973"/>
                  <a:gd name="connsiteY25" fmla="*/ 8024 h 324706"/>
                  <a:gd name="connsiteX26" fmla="*/ 544870 w 832973"/>
                  <a:gd name="connsiteY26" fmla="*/ 7911 h 324706"/>
                  <a:gd name="connsiteX27" fmla="*/ 727791 w 832973"/>
                  <a:gd name="connsiteY27" fmla="*/ 36431 h 324706"/>
                  <a:gd name="connsiteX28" fmla="*/ 756086 w 832973"/>
                  <a:gd name="connsiteY28" fmla="*/ 48878 h 324706"/>
                  <a:gd name="connsiteX29" fmla="*/ 756011 w 832973"/>
                  <a:gd name="connsiteY29" fmla="*/ 49159 h 324706"/>
                  <a:gd name="connsiteX30" fmla="*/ 802687 w 832973"/>
                  <a:gd name="connsiteY30" fmla="*/ 163429 h 324706"/>
                  <a:gd name="connsiteX31" fmla="*/ 832973 w 832973"/>
                  <a:gd name="connsiteY31" fmla="*/ 324706 h 324706"/>
                  <a:gd name="connsiteX32" fmla="*/ 731916 w 832973"/>
                  <a:gd name="connsiteY32" fmla="*/ 324706 h 324706"/>
                  <a:gd name="connsiteX33" fmla="*/ 628934 w 832973"/>
                  <a:gd name="connsiteY33" fmla="*/ 324706 h 324706"/>
                  <a:gd name="connsiteX34" fmla="*/ 628219 w 832973"/>
                  <a:gd name="connsiteY34" fmla="*/ 324706 h 324706"/>
                  <a:gd name="connsiteX35" fmla="*/ 460645 w 832973"/>
                  <a:gd name="connsiteY35" fmla="*/ 324706 h 324706"/>
                  <a:gd name="connsiteX36" fmla="*/ 459930 w 832973"/>
                  <a:gd name="connsiteY36" fmla="*/ 324706 h 324706"/>
                  <a:gd name="connsiteX37" fmla="*/ 416487 w 832973"/>
                  <a:gd name="connsiteY37" fmla="*/ 161056 h 324706"/>
                  <a:gd name="connsiteX38" fmla="*/ 373043 w 832973"/>
                  <a:gd name="connsiteY38" fmla="*/ 324706 h 324706"/>
                  <a:gd name="connsiteX39" fmla="*/ 372328 w 832973"/>
                  <a:gd name="connsiteY39" fmla="*/ 324706 h 324706"/>
                  <a:gd name="connsiteX40" fmla="*/ 204754 w 832973"/>
                  <a:gd name="connsiteY40" fmla="*/ 324706 h 324706"/>
                  <a:gd name="connsiteX41" fmla="*/ 204039 w 832973"/>
                  <a:gd name="connsiteY41" fmla="*/ 324706 h 324706"/>
                  <a:gd name="connsiteX42" fmla="*/ 101057 w 832973"/>
                  <a:gd name="connsiteY42" fmla="*/ 324706 h 324706"/>
                  <a:gd name="connsiteX43" fmla="*/ 0 w 832973"/>
                  <a:gd name="connsiteY43" fmla="*/ 324706 h 324706"/>
                  <a:gd name="connsiteX44" fmla="*/ 30286 w 832973"/>
                  <a:gd name="connsiteY44" fmla="*/ 163429 h 324706"/>
                  <a:gd name="connsiteX45" fmla="*/ 76963 w 832973"/>
                  <a:gd name="connsiteY45" fmla="*/ 49159 h 324706"/>
                  <a:gd name="connsiteX46" fmla="*/ 76887 w 832973"/>
                  <a:gd name="connsiteY46" fmla="*/ 48878 h 324706"/>
                  <a:gd name="connsiteX47" fmla="*/ 105182 w 832973"/>
                  <a:gd name="connsiteY47" fmla="*/ 36431 h 324706"/>
                  <a:gd name="connsiteX48" fmla="*/ 288103 w 832973"/>
                  <a:gd name="connsiteY48" fmla="*/ 7911 h 324706"/>
                  <a:gd name="connsiteX49" fmla="*/ 494142 w 832973"/>
                  <a:gd name="connsiteY49" fmla="*/ 1 h 324706"/>
                  <a:gd name="connsiteX50" fmla="*/ 494142 w 832973"/>
                  <a:gd name="connsiteY50" fmla="*/ 1 h 324706"/>
                  <a:gd name="connsiteX51" fmla="*/ 431594 w 832973"/>
                  <a:gd name="connsiteY51" fmla="*/ 34510 h 324706"/>
                  <a:gd name="connsiteX52" fmla="*/ 494142 w 832973"/>
                  <a:gd name="connsiteY52" fmla="*/ 1 h 324706"/>
                  <a:gd name="connsiteX53" fmla="*/ 339389 w 832973"/>
                  <a:gd name="connsiteY53" fmla="*/ 42320 h 324706"/>
                  <a:gd name="connsiteX54" fmla="*/ 402094 w 832973"/>
                  <a:gd name="connsiteY54" fmla="*/ 34510 h 324706"/>
                  <a:gd name="connsiteX55" fmla="*/ 394871 w 832973"/>
                  <a:gd name="connsiteY55" fmla="*/ 87133 h 324706"/>
                  <a:gd name="connsiteX56" fmla="*/ 399539 w 832973"/>
                  <a:gd name="connsiteY56" fmla="*/ 87849 h 324706"/>
                  <a:gd name="connsiteX57" fmla="*/ 394773 w 832973"/>
                  <a:gd name="connsiteY57" fmla="*/ 87849 h 324706"/>
                  <a:gd name="connsiteX58" fmla="*/ 394058 w 832973"/>
                  <a:gd name="connsiteY58" fmla="*/ 87849 h 324706"/>
                  <a:gd name="connsiteX59" fmla="*/ 401379 w 832973"/>
                  <a:gd name="connsiteY59" fmla="*/ 34510 h 324706"/>
                  <a:gd name="connsiteX60" fmla="*/ 338831 w 832973"/>
                  <a:gd name="connsiteY60" fmla="*/ 1 h 324706"/>
                  <a:gd name="connsiteX61" fmla="*/ 339389 w 832973"/>
                  <a:gd name="connsiteY61" fmla="*/ 42320 h 324706"/>
                  <a:gd name="connsiteX0" fmla="*/ 416844 w 832973"/>
                  <a:gd name="connsiteY0" fmla="*/ 87535 h 324705"/>
                  <a:gd name="connsiteX1" fmla="*/ 434089 w 832973"/>
                  <a:gd name="connsiteY1" fmla="*/ 87848 h 324705"/>
                  <a:gd name="connsiteX2" fmla="*/ 399600 w 832973"/>
                  <a:gd name="connsiteY2" fmla="*/ 87848 h 324705"/>
                  <a:gd name="connsiteX3" fmla="*/ 416844 w 832973"/>
                  <a:gd name="connsiteY3" fmla="*/ 87535 h 324705"/>
                  <a:gd name="connsiteX4" fmla="*/ 431594 w 832973"/>
                  <a:gd name="connsiteY4" fmla="*/ 34509 h 324705"/>
                  <a:gd name="connsiteX5" fmla="*/ 438915 w 832973"/>
                  <a:gd name="connsiteY5" fmla="*/ 87848 h 324705"/>
                  <a:gd name="connsiteX6" fmla="*/ 438200 w 832973"/>
                  <a:gd name="connsiteY6" fmla="*/ 87848 h 324705"/>
                  <a:gd name="connsiteX7" fmla="*/ 434150 w 832973"/>
                  <a:gd name="connsiteY7" fmla="*/ 87848 h 324705"/>
                  <a:gd name="connsiteX8" fmla="*/ 438816 w 832973"/>
                  <a:gd name="connsiteY8" fmla="*/ 87132 h 324705"/>
                  <a:gd name="connsiteX9" fmla="*/ 431594 w 832973"/>
                  <a:gd name="connsiteY9" fmla="*/ 34509 h 324705"/>
                  <a:gd name="connsiteX10" fmla="*/ 288103 w 832973"/>
                  <a:gd name="connsiteY10" fmla="*/ 7910 h 324705"/>
                  <a:gd name="connsiteX11" fmla="*/ 288094 w 832973"/>
                  <a:gd name="connsiteY11" fmla="*/ 8023 h 324705"/>
                  <a:gd name="connsiteX12" fmla="*/ 288818 w 832973"/>
                  <a:gd name="connsiteY12" fmla="*/ 7910 h 324705"/>
                  <a:gd name="connsiteX13" fmla="*/ 285889 w 832973"/>
                  <a:gd name="connsiteY13" fmla="*/ 44034 h 324705"/>
                  <a:gd name="connsiteX14" fmla="*/ 388119 w 832973"/>
                  <a:gd name="connsiteY14" fmla="*/ 131119 h 324705"/>
                  <a:gd name="connsiteX15" fmla="*/ 390064 w 832973"/>
                  <a:gd name="connsiteY15" fmla="*/ 116946 h 324705"/>
                  <a:gd name="connsiteX16" fmla="*/ 390648 w 832973"/>
                  <a:gd name="connsiteY16" fmla="*/ 117904 h 324705"/>
                  <a:gd name="connsiteX17" fmla="*/ 390779 w 832973"/>
                  <a:gd name="connsiteY17" fmla="*/ 116946 h 324705"/>
                  <a:gd name="connsiteX18" fmla="*/ 416487 w 832973"/>
                  <a:gd name="connsiteY18" fmla="*/ 159121 h 324705"/>
                  <a:gd name="connsiteX19" fmla="*/ 442194 w 832973"/>
                  <a:gd name="connsiteY19" fmla="*/ 116946 h 324705"/>
                  <a:gd name="connsiteX20" fmla="*/ 442326 w 832973"/>
                  <a:gd name="connsiteY20" fmla="*/ 117904 h 324705"/>
                  <a:gd name="connsiteX21" fmla="*/ 442909 w 832973"/>
                  <a:gd name="connsiteY21" fmla="*/ 116946 h 324705"/>
                  <a:gd name="connsiteX22" fmla="*/ 444854 w 832973"/>
                  <a:gd name="connsiteY22" fmla="*/ 131119 h 324705"/>
                  <a:gd name="connsiteX23" fmla="*/ 547084 w 832973"/>
                  <a:gd name="connsiteY23" fmla="*/ 44034 h 324705"/>
                  <a:gd name="connsiteX24" fmla="*/ 544155 w 832973"/>
                  <a:gd name="connsiteY24" fmla="*/ 7910 h 324705"/>
                  <a:gd name="connsiteX25" fmla="*/ 544879 w 832973"/>
                  <a:gd name="connsiteY25" fmla="*/ 8023 h 324705"/>
                  <a:gd name="connsiteX26" fmla="*/ 544870 w 832973"/>
                  <a:gd name="connsiteY26" fmla="*/ 7910 h 324705"/>
                  <a:gd name="connsiteX27" fmla="*/ 727791 w 832973"/>
                  <a:gd name="connsiteY27" fmla="*/ 36430 h 324705"/>
                  <a:gd name="connsiteX28" fmla="*/ 756086 w 832973"/>
                  <a:gd name="connsiteY28" fmla="*/ 48877 h 324705"/>
                  <a:gd name="connsiteX29" fmla="*/ 756011 w 832973"/>
                  <a:gd name="connsiteY29" fmla="*/ 49158 h 324705"/>
                  <a:gd name="connsiteX30" fmla="*/ 802687 w 832973"/>
                  <a:gd name="connsiteY30" fmla="*/ 163428 h 324705"/>
                  <a:gd name="connsiteX31" fmla="*/ 832973 w 832973"/>
                  <a:gd name="connsiteY31" fmla="*/ 324705 h 324705"/>
                  <a:gd name="connsiteX32" fmla="*/ 731916 w 832973"/>
                  <a:gd name="connsiteY32" fmla="*/ 324705 h 324705"/>
                  <a:gd name="connsiteX33" fmla="*/ 628934 w 832973"/>
                  <a:gd name="connsiteY33" fmla="*/ 324705 h 324705"/>
                  <a:gd name="connsiteX34" fmla="*/ 628219 w 832973"/>
                  <a:gd name="connsiteY34" fmla="*/ 324705 h 324705"/>
                  <a:gd name="connsiteX35" fmla="*/ 460645 w 832973"/>
                  <a:gd name="connsiteY35" fmla="*/ 324705 h 324705"/>
                  <a:gd name="connsiteX36" fmla="*/ 459930 w 832973"/>
                  <a:gd name="connsiteY36" fmla="*/ 324705 h 324705"/>
                  <a:gd name="connsiteX37" fmla="*/ 416487 w 832973"/>
                  <a:gd name="connsiteY37" fmla="*/ 161055 h 324705"/>
                  <a:gd name="connsiteX38" fmla="*/ 373043 w 832973"/>
                  <a:gd name="connsiteY38" fmla="*/ 324705 h 324705"/>
                  <a:gd name="connsiteX39" fmla="*/ 372328 w 832973"/>
                  <a:gd name="connsiteY39" fmla="*/ 324705 h 324705"/>
                  <a:gd name="connsiteX40" fmla="*/ 204754 w 832973"/>
                  <a:gd name="connsiteY40" fmla="*/ 324705 h 324705"/>
                  <a:gd name="connsiteX41" fmla="*/ 204039 w 832973"/>
                  <a:gd name="connsiteY41" fmla="*/ 324705 h 324705"/>
                  <a:gd name="connsiteX42" fmla="*/ 101057 w 832973"/>
                  <a:gd name="connsiteY42" fmla="*/ 324705 h 324705"/>
                  <a:gd name="connsiteX43" fmla="*/ 0 w 832973"/>
                  <a:gd name="connsiteY43" fmla="*/ 324705 h 324705"/>
                  <a:gd name="connsiteX44" fmla="*/ 30286 w 832973"/>
                  <a:gd name="connsiteY44" fmla="*/ 163428 h 324705"/>
                  <a:gd name="connsiteX45" fmla="*/ 76963 w 832973"/>
                  <a:gd name="connsiteY45" fmla="*/ 49158 h 324705"/>
                  <a:gd name="connsiteX46" fmla="*/ 76887 w 832973"/>
                  <a:gd name="connsiteY46" fmla="*/ 48877 h 324705"/>
                  <a:gd name="connsiteX47" fmla="*/ 105182 w 832973"/>
                  <a:gd name="connsiteY47" fmla="*/ 36430 h 324705"/>
                  <a:gd name="connsiteX48" fmla="*/ 288103 w 832973"/>
                  <a:gd name="connsiteY48" fmla="*/ 7910 h 324705"/>
                  <a:gd name="connsiteX49" fmla="*/ 494142 w 832973"/>
                  <a:gd name="connsiteY49" fmla="*/ 0 h 324705"/>
                  <a:gd name="connsiteX50" fmla="*/ 494142 w 832973"/>
                  <a:gd name="connsiteY50" fmla="*/ 0 h 324705"/>
                  <a:gd name="connsiteX51" fmla="*/ 431594 w 832973"/>
                  <a:gd name="connsiteY51" fmla="*/ 34509 h 324705"/>
                  <a:gd name="connsiteX52" fmla="*/ 494142 w 832973"/>
                  <a:gd name="connsiteY52" fmla="*/ 0 h 324705"/>
                  <a:gd name="connsiteX53" fmla="*/ 339389 w 832973"/>
                  <a:gd name="connsiteY53" fmla="*/ 42319 h 324705"/>
                  <a:gd name="connsiteX54" fmla="*/ 402094 w 832973"/>
                  <a:gd name="connsiteY54" fmla="*/ 34509 h 324705"/>
                  <a:gd name="connsiteX55" fmla="*/ 394871 w 832973"/>
                  <a:gd name="connsiteY55" fmla="*/ 87132 h 324705"/>
                  <a:gd name="connsiteX56" fmla="*/ 399539 w 832973"/>
                  <a:gd name="connsiteY56" fmla="*/ 87848 h 324705"/>
                  <a:gd name="connsiteX57" fmla="*/ 394773 w 832973"/>
                  <a:gd name="connsiteY57" fmla="*/ 87848 h 324705"/>
                  <a:gd name="connsiteX58" fmla="*/ 394058 w 832973"/>
                  <a:gd name="connsiteY58" fmla="*/ 87848 h 324705"/>
                  <a:gd name="connsiteX59" fmla="*/ 401379 w 832973"/>
                  <a:gd name="connsiteY59" fmla="*/ 34509 h 324705"/>
                  <a:gd name="connsiteX60" fmla="*/ 339389 w 832973"/>
                  <a:gd name="connsiteY60" fmla="*/ 42319 h 324705"/>
                  <a:gd name="connsiteX0" fmla="*/ 416844 w 832973"/>
                  <a:gd name="connsiteY0" fmla="*/ 87535 h 324705"/>
                  <a:gd name="connsiteX1" fmla="*/ 347088 w 832973"/>
                  <a:gd name="connsiteY1" fmla="*/ 42219 h 324705"/>
                  <a:gd name="connsiteX2" fmla="*/ 434089 w 832973"/>
                  <a:gd name="connsiteY2" fmla="*/ 87848 h 324705"/>
                  <a:gd name="connsiteX3" fmla="*/ 399600 w 832973"/>
                  <a:gd name="connsiteY3" fmla="*/ 87848 h 324705"/>
                  <a:gd name="connsiteX4" fmla="*/ 416844 w 832973"/>
                  <a:gd name="connsiteY4" fmla="*/ 87535 h 324705"/>
                  <a:gd name="connsiteX5" fmla="*/ 431594 w 832973"/>
                  <a:gd name="connsiteY5" fmla="*/ 34509 h 324705"/>
                  <a:gd name="connsiteX6" fmla="*/ 438915 w 832973"/>
                  <a:gd name="connsiteY6" fmla="*/ 87848 h 324705"/>
                  <a:gd name="connsiteX7" fmla="*/ 438200 w 832973"/>
                  <a:gd name="connsiteY7" fmla="*/ 87848 h 324705"/>
                  <a:gd name="connsiteX8" fmla="*/ 434150 w 832973"/>
                  <a:gd name="connsiteY8" fmla="*/ 87848 h 324705"/>
                  <a:gd name="connsiteX9" fmla="*/ 438816 w 832973"/>
                  <a:gd name="connsiteY9" fmla="*/ 87132 h 324705"/>
                  <a:gd name="connsiteX10" fmla="*/ 431594 w 832973"/>
                  <a:gd name="connsiteY10" fmla="*/ 34509 h 324705"/>
                  <a:gd name="connsiteX11" fmla="*/ 288103 w 832973"/>
                  <a:gd name="connsiteY11" fmla="*/ 7910 h 324705"/>
                  <a:gd name="connsiteX12" fmla="*/ 288094 w 832973"/>
                  <a:gd name="connsiteY12" fmla="*/ 8023 h 324705"/>
                  <a:gd name="connsiteX13" fmla="*/ 288818 w 832973"/>
                  <a:gd name="connsiteY13" fmla="*/ 7910 h 324705"/>
                  <a:gd name="connsiteX14" fmla="*/ 285889 w 832973"/>
                  <a:gd name="connsiteY14" fmla="*/ 44034 h 324705"/>
                  <a:gd name="connsiteX15" fmla="*/ 388119 w 832973"/>
                  <a:gd name="connsiteY15" fmla="*/ 131119 h 324705"/>
                  <a:gd name="connsiteX16" fmla="*/ 390064 w 832973"/>
                  <a:gd name="connsiteY16" fmla="*/ 116946 h 324705"/>
                  <a:gd name="connsiteX17" fmla="*/ 390648 w 832973"/>
                  <a:gd name="connsiteY17" fmla="*/ 117904 h 324705"/>
                  <a:gd name="connsiteX18" fmla="*/ 390779 w 832973"/>
                  <a:gd name="connsiteY18" fmla="*/ 116946 h 324705"/>
                  <a:gd name="connsiteX19" fmla="*/ 416487 w 832973"/>
                  <a:gd name="connsiteY19" fmla="*/ 159121 h 324705"/>
                  <a:gd name="connsiteX20" fmla="*/ 442194 w 832973"/>
                  <a:gd name="connsiteY20" fmla="*/ 116946 h 324705"/>
                  <a:gd name="connsiteX21" fmla="*/ 442326 w 832973"/>
                  <a:gd name="connsiteY21" fmla="*/ 117904 h 324705"/>
                  <a:gd name="connsiteX22" fmla="*/ 442909 w 832973"/>
                  <a:gd name="connsiteY22" fmla="*/ 116946 h 324705"/>
                  <a:gd name="connsiteX23" fmla="*/ 444854 w 832973"/>
                  <a:gd name="connsiteY23" fmla="*/ 131119 h 324705"/>
                  <a:gd name="connsiteX24" fmla="*/ 547084 w 832973"/>
                  <a:gd name="connsiteY24" fmla="*/ 44034 h 324705"/>
                  <a:gd name="connsiteX25" fmla="*/ 544155 w 832973"/>
                  <a:gd name="connsiteY25" fmla="*/ 7910 h 324705"/>
                  <a:gd name="connsiteX26" fmla="*/ 544879 w 832973"/>
                  <a:gd name="connsiteY26" fmla="*/ 8023 h 324705"/>
                  <a:gd name="connsiteX27" fmla="*/ 544870 w 832973"/>
                  <a:gd name="connsiteY27" fmla="*/ 7910 h 324705"/>
                  <a:gd name="connsiteX28" fmla="*/ 727791 w 832973"/>
                  <a:gd name="connsiteY28" fmla="*/ 36430 h 324705"/>
                  <a:gd name="connsiteX29" fmla="*/ 756086 w 832973"/>
                  <a:gd name="connsiteY29" fmla="*/ 48877 h 324705"/>
                  <a:gd name="connsiteX30" fmla="*/ 756011 w 832973"/>
                  <a:gd name="connsiteY30" fmla="*/ 49158 h 324705"/>
                  <a:gd name="connsiteX31" fmla="*/ 802687 w 832973"/>
                  <a:gd name="connsiteY31" fmla="*/ 163428 h 324705"/>
                  <a:gd name="connsiteX32" fmla="*/ 832973 w 832973"/>
                  <a:gd name="connsiteY32" fmla="*/ 324705 h 324705"/>
                  <a:gd name="connsiteX33" fmla="*/ 731916 w 832973"/>
                  <a:gd name="connsiteY33" fmla="*/ 324705 h 324705"/>
                  <a:gd name="connsiteX34" fmla="*/ 628934 w 832973"/>
                  <a:gd name="connsiteY34" fmla="*/ 324705 h 324705"/>
                  <a:gd name="connsiteX35" fmla="*/ 628219 w 832973"/>
                  <a:gd name="connsiteY35" fmla="*/ 324705 h 324705"/>
                  <a:gd name="connsiteX36" fmla="*/ 460645 w 832973"/>
                  <a:gd name="connsiteY36" fmla="*/ 324705 h 324705"/>
                  <a:gd name="connsiteX37" fmla="*/ 459930 w 832973"/>
                  <a:gd name="connsiteY37" fmla="*/ 324705 h 324705"/>
                  <a:gd name="connsiteX38" fmla="*/ 416487 w 832973"/>
                  <a:gd name="connsiteY38" fmla="*/ 161055 h 324705"/>
                  <a:gd name="connsiteX39" fmla="*/ 373043 w 832973"/>
                  <a:gd name="connsiteY39" fmla="*/ 324705 h 324705"/>
                  <a:gd name="connsiteX40" fmla="*/ 372328 w 832973"/>
                  <a:gd name="connsiteY40" fmla="*/ 324705 h 324705"/>
                  <a:gd name="connsiteX41" fmla="*/ 204754 w 832973"/>
                  <a:gd name="connsiteY41" fmla="*/ 324705 h 324705"/>
                  <a:gd name="connsiteX42" fmla="*/ 204039 w 832973"/>
                  <a:gd name="connsiteY42" fmla="*/ 324705 h 324705"/>
                  <a:gd name="connsiteX43" fmla="*/ 101057 w 832973"/>
                  <a:gd name="connsiteY43" fmla="*/ 324705 h 324705"/>
                  <a:gd name="connsiteX44" fmla="*/ 0 w 832973"/>
                  <a:gd name="connsiteY44" fmla="*/ 324705 h 324705"/>
                  <a:gd name="connsiteX45" fmla="*/ 30286 w 832973"/>
                  <a:gd name="connsiteY45" fmla="*/ 163428 h 324705"/>
                  <a:gd name="connsiteX46" fmla="*/ 76963 w 832973"/>
                  <a:gd name="connsiteY46" fmla="*/ 49158 h 324705"/>
                  <a:gd name="connsiteX47" fmla="*/ 76887 w 832973"/>
                  <a:gd name="connsiteY47" fmla="*/ 48877 h 324705"/>
                  <a:gd name="connsiteX48" fmla="*/ 105182 w 832973"/>
                  <a:gd name="connsiteY48" fmla="*/ 36430 h 324705"/>
                  <a:gd name="connsiteX49" fmla="*/ 288103 w 832973"/>
                  <a:gd name="connsiteY49" fmla="*/ 7910 h 324705"/>
                  <a:gd name="connsiteX50" fmla="*/ 494142 w 832973"/>
                  <a:gd name="connsiteY50" fmla="*/ 0 h 324705"/>
                  <a:gd name="connsiteX51" fmla="*/ 494142 w 832973"/>
                  <a:gd name="connsiteY51" fmla="*/ 0 h 324705"/>
                  <a:gd name="connsiteX52" fmla="*/ 431594 w 832973"/>
                  <a:gd name="connsiteY52" fmla="*/ 34509 h 324705"/>
                  <a:gd name="connsiteX53" fmla="*/ 494142 w 832973"/>
                  <a:gd name="connsiteY53" fmla="*/ 0 h 324705"/>
                  <a:gd name="connsiteX54" fmla="*/ 339389 w 832973"/>
                  <a:gd name="connsiteY54" fmla="*/ 42319 h 324705"/>
                  <a:gd name="connsiteX55" fmla="*/ 402094 w 832973"/>
                  <a:gd name="connsiteY55" fmla="*/ 34509 h 324705"/>
                  <a:gd name="connsiteX56" fmla="*/ 394871 w 832973"/>
                  <a:gd name="connsiteY56" fmla="*/ 87132 h 324705"/>
                  <a:gd name="connsiteX57" fmla="*/ 399539 w 832973"/>
                  <a:gd name="connsiteY57" fmla="*/ 87848 h 324705"/>
                  <a:gd name="connsiteX58" fmla="*/ 394773 w 832973"/>
                  <a:gd name="connsiteY58" fmla="*/ 87848 h 324705"/>
                  <a:gd name="connsiteX59" fmla="*/ 394058 w 832973"/>
                  <a:gd name="connsiteY59" fmla="*/ 87848 h 324705"/>
                  <a:gd name="connsiteX60" fmla="*/ 401379 w 832973"/>
                  <a:gd name="connsiteY60" fmla="*/ 34509 h 324705"/>
                  <a:gd name="connsiteX61" fmla="*/ 339389 w 832973"/>
                  <a:gd name="connsiteY61" fmla="*/ 42319 h 324705"/>
                  <a:gd name="connsiteX0" fmla="*/ 416844 w 832973"/>
                  <a:gd name="connsiteY0" fmla="*/ 87535 h 324705"/>
                  <a:gd name="connsiteX1" fmla="*/ 347088 w 832973"/>
                  <a:gd name="connsiteY1" fmla="*/ 42219 h 324705"/>
                  <a:gd name="connsiteX2" fmla="*/ 434089 w 832973"/>
                  <a:gd name="connsiteY2" fmla="*/ 87848 h 324705"/>
                  <a:gd name="connsiteX3" fmla="*/ 399600 w 832973"/>
                  <a:gd name="connsiteY3" fmla="*/ 87848 h 324705"/>
                  <a:gd name="connsiteX4" fmla="*/ 416844 w 832973"/>
                  <a:gd name="connsiteY4" fmla="*/ 87535 h 324705"/>
                  <a:gd name="connsiteX5" fmla="*/ 431594 w 832973"/>
                  <a:gd name="connsiteY5" fmla="*/ 34509 h 324705"/>
                  <a:gd name="connsiteX6" fmla="*/ 438915 w 832973"/>
                  <a:gd name="connsiteY6" fmla="*/ 87848 h 324705"/>
                  <a:gd name="connsiteX7" fmla="*/ 438200 w 832973"/>
                  <a:gd name="connsiteY7" fmla="*/ 87848 h 324705"/>
                  <a:gd name="connsiteX8" fmla="*/ 434150 w 832973"/>
                  <a:gd name="connsiteY8" fmla="*/ 87848 h 324705"/>
                  <a:gd name="connsiteX9" fmla="*/ 438816 w 832973"/>
                  <a:gd name="connsiteY9" fmla="*/ 87132 h 324705"/>
                  <a:gd name="connsiteX10" fmla="*/ 431594 w 832973"/>
                  <a:gd name="connsiteY10" fmla="*/ 34509 h 324705"/>
                  <a:gd name="connsiteX11" fmla="*/ 288103 w 832973"/>
                  <a:gd name="connsiteY11" fmla="*/ 7910 h 324705"/>
                  <a:gd name="connsiteX12" fmla="*/ 288094 w 832973"/>
                  <a:gd name="connsiteY12" fmla="*/ 8023 h 324705"/>
                  <a:gd name="connsiteX13" fmla="*/ 288818 w 832973"/>
                  <a:gd name="connsiteY13" fmla="*/ 7910 h 324705"/>
                  <a:gd name="connsiteX14" fmla="*/ 285889 w 832973"/>
                  <a:gd name="connsiteY14" fmla="*/ 44034 h 324705"/>
                  <a:gd name="connsiteX15" fmla="*/ 388119 w 832973"/>
                  <a:gd name="connsiteY15" fmla="*/ 131119 h 324705"/>
                  <a:gd name="connsiteX16" fmla="*/ 390064 w 832973"/>
                  <a:gd name="connsiteY16" fmla="*/ 116946 h 324705"/>
                  <a:gd name="connsiteX17" fmla="*/ 390648 w 832973"/>
                  <a:gd name="connsiteY17" fmla="*/ 117904 h 324705"/>
                  <a:gd name="connsiteX18" fmla="*/ 390779 w 832973"/>
                  <a:gd name="connsiteY18" fmla="*/ 116946 h 324705"/>
                  <a:gd name="connsiteX19" fmla="*/ 416487 w 832973"/>
                  <a:gd name="connsiteY19" fmla="*/ 159121 h 324705"/>
                  <a:gd name="connsiteX20" fmla="*/ 442194 w 832973"/>
                  <a:gd name="connsiteY20" fmla="*/ 116946 h 324705"/>
                  <a:gd name="connsiteX21" fmla="*/ 442326 w 832973"/>
                  <a:gd name="connsiteY21" fmla="*/ 117904 h 324705"/>
                  <a:gd name="connsiteX22" fmla="*/ 442909 w 832973"/>
                  <a:gd name="connsiteY22" fmla="*/ 116946 h 324705"/>
                  <a:gd name="connsiteX23" fmla="*/ 444854 w 832973"/>
                  <a:gd name="connsiteY23" fmla="*/ 131119 h 324705"/>
                  <a:gd name="connsiteX24" fmla="*/ 547084 w 832973"/>
                  <a:gd name="connsiteY24" fmla="*/ 44034 h 324705"/>
                  <a:gd name="connsiteX25" fmla="*/ 544155 w 832973"/>
                  <a:gd name="connsiteY25" fmla="*/ 7910 h 324705"/>
                  <a:gd name="connsiteX26" fmla="*/ 544879 w 832973"/>
                  <a:gd name="connsiteY26" fmla="*/ 8023 h 324705"/>
                  <a:gd name="connsiteX27" fmla="*/ 544870 w 832973"/>
                  <a:gd name="connsiteY27" fmla="*/ 7910 h 324705"/>
                  <a:gd name="connsiteX28" fmla="*/ 727791 w 832973"/>
                  <a:gd name="connsiteY28" fmla="*/ 36430 h 324705"/>
                  <a:gd name="connsiteX29" fmla="*/ 756086 w 832973"/>
                  <a:gd name="connsiteY29" fmla="*/ 48877 h 324705"/>
                  <a:gd name="connsiteX30" fmla="*/ 756011 w 832973"/>
                  <a:gd name="connsiteY30" fmla="*/ 49158 h 324705"/>
                  <a:gd name="connsiteX31" fmla="*/ 802687 w 832973"/>
                  <a:gd name="connsiteY31" fmla="*/ 163428 h 324705"/>
                  <a:gd name="connsiteX32" fmla="*/ 832973 w 832973"/>
                  <a:gd name="connsiteY32" fmla="*/ 324705 h 324705"/>
                  <a:gd name="connsiteX33" fmla="*/ 731916 w 832973"/>
                  <a:gd name="connsiteY33" fmla="*/ 324705 h 324705"/>
                  <a:gd name="connsiteX34" fmla="*/ 628934 w 832973"/>
                  <a:gd name="connsiteY34" fmla="*/ 324705 h 324705"/>
                  <a:gd name="connsiteX35" fmla="*/ 628219 w 832973"/>
                  <a:gd name="connsiteY35" fmla="*/ 324705 h 324705"/>
                  <a:gd name="connsiteX36" fmla="*/ 460645 w 832973"/>
                  <a:gd name="connsiteY36" fmla="*/ 324705 h 324705"/>
                  <a:gd name="connsiteX37" fmla="*/ 459930 w 832973"/>
                  <a:gd name="connsiteY37" fmla="*/ 324705 h 324705"/>
                  <a:gd name="connsiteX38" fmla="*/ 416487 w 832973"/>
                  <a:gd name="connsiteY38" fmla="*/ 161055 h 324705"/>
                  <a:gd name="connsiteX39" fmla="*/ 373043 w 832973"/>
                  <a:gd name="connsiteY39" fmla="*/ 324705 h 324705"/>
                  <a:gd name="connsiteX40" fmla="*/ 372328 w 832973"/>
                  <a:gd name="connsiteY40" fmla="*/ 324705 h 324705"/>
                  <a:gd name="connsiteX41" fmla="*/ 204754 w 832973"/>
                  <a:gd name="connsiteY41" fmla="*/ 324705 h 324705"/>
                  <a:gd name="connsiteX42" fmla="*/ 204039 w 832973"/>
                  <a:gd name="connsiteY42" fmla="*/ 324705 h 324705"/>
                  <a:gd name="connsiteX43" fmla="*/ 101057 w 832973"/>
                  <a:gd name="connsiteY43" fmla="*/ 324705 h 324705"/>
                  <a:gd name="connsiteX44" fmla="*/ 0 w 832973"/>
                  <a:gd name="connsiteY44" fmla="*/ 324705 h 324705"/>
                  <a:gd name="connsiteX45" fmla="*/ 30286 w 832973"/>
                  <a:gd name="connsiteY45" fmla="*/ 163428 h 324705"/>
                  <a:gd name="connsiteX46" fmla="*/ 76963 w 832973"/>
                  <a:gd name="connsiteY46" fmla="*/ 49158 h 324705"/>
                  <a:gd name="connsiteX47" fmla="*/ 76887 w 832973"/>
                  <a:gd name="connsiteY47" fmla="*/ 48877 h 324705"/>
                  <a:gd name="connsiteX48" fmla="*/ 105182 w 832973"/>
                  <a:gd name="connsiteY48" fmla="*/ 36430 h 324705"/>
                  <a:gd name="connsiteX49" fmla="*/ 288103 w 832973"/>
                  <a:gd name="connsiteY49" fmla="*/ 7910 h 324705"/>
                  <a:gd name="connsiteX50" fmla="*/ 494142 w 832973"/>
                  <a:gd name="connsiteY50" fmla="*/ 0 h 324705"/>
                  <a:gd name="connsiteX51" fmla="*/ 494142 w 832973"/>
                  <a:gd name="connsiteY51" fmla="*/ 0 h 324705"/>
                  <a:gd name="connsiteX52" fmla="*/ 431594 w 832973"/>
                  <a:gd name="connsiteY52" fmla="*/ 34509 h 324705"/>
                  <a:gd name="connsiteX53" fmla="*/ 494142 w 832973"/>
                  <a:gd name="connsiteY53" fmla="*/ 0 h 324705"/>
                  <a:gd name="connsiteX54" fmla="*/ 401379 w 832973"/>
                  <a:gd name="connsiteY54" fmla="*/ 34509 h 324705"/>
                  <a:gd name="connsiteX55" fmla="*/ 402094 w 832973"/>
                  <a:gd name="connsiteY55" fmla="*/ 34509 h 324705"/>
                  <a:gd name="connsiteX56" fmla="*/ 394871 w 832973"/>
                  <a:gd name="connsiteY56" fmla="*/ 87132 h 324705"/>
                  <a:gd name="connsiteX57" fmla="*/ 399539 w 832973"/>
                  <a:gd name="connsiteY57" fmla="*/ 87848 h 324705"/>
                  <a:gd name="connsiteX58" fmla="*/ 394773 w 832973"/>
                  <a:gd name="connsiteY58" fmla="*/ 87848 h 324705"/>
                  <a:gd name="connsiteX59" fmla="*/ 394058 w 832973"/>
                  <a:gd name="connsiteY59" fmla="*/ 87848 h 324705"/>
                  <a:gd name="connsiteX60" fmla="*/ 401379 w 832973"/>
                  <a:gd name="connsiteY60" fmla="*/ 34509 h 324705"/>
                  <a:gd name="connsiteX0" fmla="*/ 416844 w 832973"/>
                  <a:gd name="connsiteY0" fmla="*/ 87535 h 324705"/>
                  <a:gd name="connsiteX1" fmla="*/ 434089 w 832973"/>
                  <a:gd name="connsiteY1" fmla="*/ 87848 h 324705"/>
                  <a:gd name="connsiteX2" fmla="*/ 399600 w 832973"/>
                  <a:gd name="connsiteY2" fmla="*/ 87848 h 324705"/>
                  <a:gd name="connsiteX3" fmla="*/ 416844 w 832973"/>
                  <a:gd name="connsiteY3" fmla="*/ 87535 h 324705"/>
                  <a:gd name="connsiteX4" fmla="*/ 431594 w 832973"/>
                  <a:gd name="connsiteY4" fmla="*/ 34509 h 324705"/>
                  <a:gd name="connsiteX5" fmla="*/ 438915 w 832973"/>
                  <a:gd name="connsiteY5" fmla="*/ 87848 h 324705"/>
                  <a:gd name="connsiteX6" fmla="*/ 438200 w 832973"/>
                  <a:gd name="connsiteY6" fmla="*/ 87848 h 324705"/>
                  <a:gd name="connsiteX7" fmla="*/ 434150 w 832973"/>
                  <a:gd name="connsiteY7" fmla="*/ 87848 h 324705"/>
                  <a:gd name="connsiteX8" fmla="*/ 438816 w 832973"/>
                  <a:gd name="connsiteY8" fmla="*/ 87132 h 324705"/>
                  <a:gd name="connsiteX9" fmla="*/ 431594 w 832973"/>
                  <a:gd name="connsiteY9" fmla="*/ 34509 h 324705"/>
                  <a:gd name="connsiteX10" fmla="*/ 288103 w 832973"/>
                  <a:gd name="connsiteY10" fmla="*/ 7910 h 324705"/>
                  <a:gd name="connsiteX11" fmla="*/ 288094 w 832973"/>
                  <a:gd name="connsiteY11" fmla="*/ 8023 h 324705"/>
                  <a:gd name="connsiteX12" fmla="*/ 288818 w 832973"/>
                  <a:gd name="connsiteY12" fmla="*/ 7910 h 324705"/>
                  <a:gd name="connsiteX13" fmla="*/ 285889 w 832973"/>
                  <a:gd name="connsiteY13" fmla="*/ 44034 h 324705"/>
                  <a:gd name="connsiteX14" fmla="*/ 388119 w 832973"/>
                  <a:gd name="connsiteY14" fmla="*/ 131119 h 324705"/>
                  <a:gd name="connsiteX15" fmla="*/ 390064 w 832973"/>
                  <a:gd name="connsiteY15" fmla="*/ 116946 h 324705"/>
                  <a:gd name="connsiteX16" fmla="*/ 390648 w 832973"/>
                  <a:gd name="connsiteY16" fmla="*/ 117904 h 324705"/>
                  <a:gd name="connsiteX17" fmla="*/ 390779 w 832973"/>
                  <a:gd name="connsiteY17" fmla="*/ 116946 h 324705"/>
                  <a:gd name="connsiteX18" fmla="*/ 416487 w 832973"/>
                  <a:gd name="connsiteY18" fmla="*/ 159121 h 324705"/>
                  <a:gd name="connsiteX19" fmla="*/ 442194 w 832973"/>
                  <a:gd name="connsiteY19" fmla="*/ 116946 h 324705"/>
                  <a:gd name="connsiteX20" fmla="*/ 442326 w 832973"/>
                  <a:gd name="connsiteY20" fmla="*/ 117904 h 324705"/>
                  <a:gd name="connsiteX21" fmla="*/ 442909 w 832973"/>
                  <a:gd name="connsiteY21" fmla="*/ 116946 h 324705"/>
                  <a:gd name="connsiteX22" fmla="*/ 444854 w 832973"/>
                  <a:gd name="connsiteY22" fmla="*/ 131119 h 324705"/>
                  <a:gd name="connsiteX23" fmla="*/ 547084 w 832973"/>
                  <a:gd name="connsiteY23" fmla="*/ 44034 h 324705"/>
                  <a:gd name="connsiteX24" fmla="*/ 544155 w 832973"/>
                  <a:gd name="connsiteY24" fmla="*/ 7910 h 324705"/>
                  <a:gd name="connsiteX25" fmla="*/ 544879 w 832973"/>
                  <a:gd name="connsiteY25" fmla="*/ 8023 h 324705"/>
                  <a:gd name="connsiteX26" fmla="*/ 544870 w 832973"/>
                  <a:gd name="connsiteY26" fmla="*/ 7910 h 324705"/>
                  <a:gd name="connsiteX27" fmla="*/ 727791 w 832973"/>
                  <a:gd name="connsiteY27" fmla="*/ 36430 h 324705"/>
                  <a:gd name="connsiteX28" fmla="*/ 756086 w 832973"/>
                  <a:gd name="connsiteY28" fmla="*/ 48877 h 324705"/>
                  <a:gd name="connsiteX29" fmla="*/ 756011 w 832973"/>
                  <a:gd name="connsiteY29" fmla="*/ 49158 h 324705"/>
                  <a:gd name="connsiteX30" fmla="*/ 802687 w 832973"/>
                  <a:gd name="connsiteY30" fmla="*/ 163428 h 324705"/>
                  <a:gd name="connsiteX31" fmla="*/ 832973 w 832973"/>
                  <a:gd name="connsiteY31" fmla="*/ 324705 h 324705"/>
                  <a:gd name="connsiteX32" fmla="*/ 731916 w 832973"/>
                  <a:gd name="connsiteY32" fmla="*/ 324705 h 324705"/>
                  <a:gd name="connsiteX33" fmla="*/ 628934 w 832973"/>
                  <a:gd name="connsiteY33" fmla="*/ 324705 h 324705"/>
                  <a:gd name="connsiteX34" fmla="*/ 628219 w 832973"/>
                  <a:gd name="connsiteY34" fmla="*/ 324705 h 324705"/>
                  <a:gd name="connsiteX35" fmla="*/ 460645 w 832973"/>
                  <a:gd name="connsiteY35" fmla="*/ 324705 h 324705"/>
                  <a:gd name="connsiteX36" fmla="*/ 459930 w 832973"/>
                  <a:gd name="connsiteY36" fmla="*/ 324705 h 324705"/>
                  <a:gd name="connsiteX37" fmla="*/ 416487 w 832973"/>
                  <a:gd name="connsiteY37" fmla="*/ 161055 h 324705"/>
                  <a:gd name="connsiteX38" fmla="*/ 373043 w 832973"/>
                  <a:gd name="connsiteY38" fmla="*/ 324705 h 324705"/>
                  <a:gd name="connsiteX39" fmla="*/ 372328 w 832973"/>
                  <a:gd name="connsiteY39" fmla="*/ 324705 h 324705"/>
                  <a:gd name="connsiteX40" fmla="*/ 204754 w 832973"/>
                  <a:gd name="connsiteY40" fmla="*/ 324705 h 324705"/>
                  <a:gd name="connsiteX41" fmla="*/ 204039 w 832973"/>
                  <a:gd name="connsiteY41" fmla="*/ 324705 h 324705"/>
                  <a:gd name="connsiteX42" fmla="*/ 101057 w 832973"/>
                  <a:gd name="connsiteY42" fmla="*/ 324705 h 324705"/>
                  <a:gd name="connsiteX43" fmla="*/ 0 w 832973"/>
                  <a:gd name="connsiteY43" fmla="*/ 324705 h 324705"/>
                  <a:gd name="connsiteX44" fmla="*/ 30286 w 832973"/>
                  <a:gd name="connsiteY44" fmla="*/ 163428 h 324705"/>
                  <a:gd name="connsiteX45" fmla="*/ 76963 w 832973"/>
                  <a:gd name="connsiteY45" fmla="*/ 49158 h 324705"/>
                  <a:gd name="connsiteX46" fmla="*/ 76887 w 832973"/>
                  <a:gd name="connsiteY46" fmla="*/ 48877 h 324705"/>
                  <a:gd name="connsiteX47" fmla="*/ 105182 w 832973"/>
                  <a:gd name="connsiteY47" fmla="*/ 36430 h 324705"/>
                  <a:gd name="connsiteX48" fmla="*/ 288103 w 832973"/>
                  <a:gd name="connsiteY48" fmla="*/ 7910 h 324705"/>
                  <a:gd name="connsiteX49" fmla="*/ 494142 w 832973"/>
                  <a:gd name="connsiteY49" fmla="*/ 0 h 324705"/>
                  <a:gd name="connsiteX50" fmla="*/ 494142 w 832973"/>
                  <a:gd name="connsiteY50" fmla="*/ 0 h 324705"/>
                  <a:gd name="connsiteX51" fmla="*/ 431594 w 832973"/>
                  <a:gd name="connsiteY51" fmla="*/ 34509 h 324705"/>
                  <a:gd name="connsiteX52" fmla="*/ 494142 w 832973"/>
                  <a:gd name="connsiteY52" fmla="*/ 0 h 324705"/>
                  <a:gd name="connsiteX53" fmla="*/ 401379 w 832973"/>
                  <a:gd name="connsiteY53" fmla="*/ 34509 h 324705"/>
                  <a:gd name="connsiteX54" fmla="*/ 402094 w 832973"/>
                  <a:gd name="connsiteY54" fmla="*/ 34509 h 324705"/>
                  <a:gd name="connsiteX55" fmla="*/ 394871 w 832973"/>
                  <a:gd name="connsiteY55" fmla="*/ 87132 h 324705"/>
                  <a:gd name="connsiteX56" fmla="*/ 399539 w 832973"/>
                  <a:gd name="connsiteY56" fmla="*/ 87848 h 324705"/>
                  <a:gd name="connsiteX57" fmla="*/ 394773 w 832973"/>
                  <a:gd name="connsiteY57" fmla="*/ 87848 h 324705"/>
                  <a:gd name="connsiteX58" fmla="*/ 394058 w 832973"/>
                  <a:gd name="connsiteY58" fmla="*/ 87848 h 324705"/>
                  <a:gd name="connsiteX59" fmla="*/ 401379 w 832973"/>
                  <a:gd name="connsiteY59"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394773 w 832973"/>
                  <a:gd name="connsiteY56" fmla="*/ 87848 h 324705"/>
                  <a:gd name="connsiteX57" fmla="*/ 394058 w 832973"/>
                  <a:gd name="connsiteY57" fmla="*/ 87848 h 324705"/>
                  <a:gd name="connsiteX58" fmla="*/ 401379 w 832973"/>
                  <a:gd name="connsiteY58"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394773 w 832973"/>
                  <a:gd name="connsiteY56" fmla="*/ 87848 h 324705"/>
                  <a:gd name="connsiteX57" fmla="*/ 367554 w 832973"/>
                  <a:gd name="connsiteY57" fmla="*/ 57810 h 324705"/>
                  <a:gd name="connsiteX58" fmla="*/ 401379 w 832973"/>
                  <a:gd name="connsiteY58"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394773 w 832973"/>
                  <a:gd name="connsiteY56" fmla="*/ 87848 h 324705"/>
                  <a:gd name="connsiteX57" fmla="*/ 401379 w 832973"/>
                  <a:gd name="connsiteY57"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350600 w 832973"/>
                  <a:gd name="connsiteY56" fmla="*/ 64878 h 324705"/>
                  <a:gd name="connsiteX57" fmla="*/ 401379 w 832973"/>
                  <a:gd name="connsiteY57"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99539 w 832973"/>
                  <a:gd name="connsiteY55" fmla="*/ 87848 h 324705"/>
                  <a:gd name="connsiteX56" fmla="*/ 401379 w 832973"/>
                  <a:gd name="connsiteY56"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355366 w 832973"/>
                  <a:gd name="connsiteY55" fmla="*/ 63111 h 324705"/>
                  <a:gd name="connsiteX56" fmla="*/ 401379 w 832973"/>
                  <a:gd name="connsiteY56"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401379 w 832973"/>
                  <a:gd name="connsiteY52" fmla="*/ 34509 h 324705"/>
                  <a:gd name="connsiteX53" fmla="*/ 402094 w 832973"/>
                  <a:gd name="connsiteY53" fmla="*/ 34509 h 324705"/>
                  <a:gd name="connsiteX54" fmla="*/ 394871 w 832973"/>
                  <a:gd name="connsiteY54" fmla="*/ 87132 h 324705"/>
                  <a:gd name="connsiteX55" fmla="*/ 401379 w 832973"/>
                  <a:gd name="connsiteY55" fmla="*/ 34509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60740 w 832973"/>
                  <a:gd name="connsiteY52" fmla="*/ 39810 h 324705"/>
                  <a:gd name="connsiteX53" fmla="*/ 402094 w 832973"/>
                  <a:gd name="connsiteY53" fmla="*/ 34509 h 324705"/>
                  <a:gd name="connsiteX54" fmla="*/ 394871 w 832973"/>
                  <a:gd name="connsiteY54" fmla="*/ 87132 h 324705"/>
                  <a:gd name="connsiteX55" fmla="*/ 360740 w 832973"/>
                  <a:gd name="connsiteY55" fmla="*/ 39810 h 324705"/>
                  <a:gd name="connsiteX0" fmla="*/ 399600 w 832973"/>
                  <a:gd name="connsiteY0" fmla="*/ 87848 h 324705"/>
                  <a:gd name="connsiteX1" fmla="*/ 373592 w 832973"/>
                  <a:gd name="connsiteY1" fmla="*/ 59888 h 324705"/>
                  <a:gd name="connsiteX2" fmla="*/ 434089 w 832973"/>
                  <a:gd name="connsiteY2" fmla="*/ 87848 h 324705"/>
                  <a:gd name="connsiteX3" fmla="*/ 399600 w 832973"/>
                  <a:gd name="connsiteY3" fmla="*/ 87848 h 324705"/>
                  <a:gd name="connsiteX4" fmla="*/ 431594 w 832973"/>
                  <a:gd name="connsiteY4" fmla="*/ 34509 h 324705"/>
                  <a:gd name="connsiteX5" fmla="*/ 438915 w 832973"/>
                  <a:gd name="connsiteY5" fmla="*/ 87848 h 324705"/>
                  <a:gd name="connsiteX6" fmla="*/ 438200 w 832973"/>
                  <a:gd name="connsiteY6" fmla="*/ 87848 h 324705"/>
                  <a:gd name="connsiteX7" fmla="*/ 434150 w 832973"/>
                  <a:gd name="connsiteY7" fmla="*/ 87848 h 324705"/>
                  <a:gd name="connsiteX8" fmla="*/ 438816 w 832973"/>
                  <a:gd name="connsiteY8" fmla="*/ 87132 h 324705"/>
                  <a:gd name="connsiteX9" fmla="*/ 431594 w 832973"/>
                  <a:gd name="connsiteY9" fmla="*/ 34509 h 324705"/>
                  <a:gd name="connsiteX10" fmla="*/ 288103 w 832973"/>
                  <a:gd name="connsiteY10" fmla="*/ 7910 h 324705"/>
                  <a:gd name="connsiteX11" fmla="*/ 288094 w 832973"/>
                  <a:gd name="connsiteY11" fmla="*/ 8023 h 324705"/>
                  <a:gd name="connsiteX12" fmla="*/ 288818 w 832973"/>
                  <a:gd name="connsiteY12" fmla="*/ 7910 h 324705"/>
                  <a:gd name="connsiteX13" fmla="*/ 285889 w 832973"/>
                  <a:gd name="connsiteY13" fmla="*/ 44034 h 324705"/>
                  <a:gd name="connsiteX14" fmla="*/ 388119 w 832973"/>
                  <a:gd name="connsiteY14" fmla="*/ 131119 h 324705"/>
                  <a:gd name="connsiteX15" fmla="*/ 390064 w 832973"/>
                  <a:gd name="connsiteY15" fmla="*/ 116946 h 324705"/>
                  <a:gd name="connsiteX16" fmla="*/ 390648 w 832973"/>
                  <a:gd name="connsiteY16" fmla="*/ 117904 h 324705"/>
                  <a:gd name="connsiteX17" fmla="*/ 390779 w 832973"/>
                  <a:gd name="connsiteY17" fmla="*/ 116946 h 324705"/>
                  <a:gd name="connsiteX18" fmla="*/ 416487 w 832973"/>
                  <a:gd name="connsiteY18" fmla="*/ 159121 h 324705"/>
                  <a:gd name="connsiteX19" fmla="*/ 442194 w 832973"/>
                  <a:gd name="connsiteY19" fmla="*/ 116946 h 324705"/>
                  <a:gd name="connsiteX20" fmla="*/ 442326 w 832973"/>
                  <a:gd name="connsiteY20" fmla="*/ 117904 h 324705"/>
                  <a:gd name="connsiteX21" fmla="*/ 442909 w 832973"/>
                  <a:gd name="connsiteY21" fmla="*/ 116946 h 324705"/>
                  <a:gd name="connsiteX22" fmla="*/ 444854 w 832973"/>
                  <a:gd name="connsiteY22" fmla="*/ 131119 h 324705"/>
                  <a:gd name="connsiteX23" fmla="*/ 547084 w 832973"/>
                  <a:gd name="connsiteY23" fmla="*/ 44034 h 324705"/>
                  <a:gd name="connsiteX24" fmla="*/ 544155 w 832973"/>
                  <a:gd name="connsiteY24" fmla="*/ 7910 h 324705"/>
                  <a:gd name="connsiteX25" fmla="*/ 544879 w 832973"/>
                  <a:gd name="connsiteY25" fmla="*/ 8023 h 324705"/>
                  <a:gd name="connsiteX26" fmla="*/ 544870 w 832973"/>
                  <a:gd name="connsiteY26" fmla="*/ 7910 h 324705"/>
                  <a:gd name="connsiteX27" fmla="*/ 727791 w 832973"/>
                  <a:gd name="connsiteY27" fmla="*/ 36430 h 324705"/>
                  <a:gd name="connsiteX28" fmla="*/ 756086 w 832973"/>
                  <a:gd name="connsiteY28" fmla="*/ 48877 h 324705"/>
                  <a:gd name="connsiteX29" fmla="*/ 756011 w 832973"/>
                  <a:gd name="connsiteY29" fmla="*/ 49158 h 324705"/>
                  <a:gd name="connsiteX30" fmla="*/ 802687 w 832973"/>
                  <a:gd name="connsiteY30" fmla="*/ 163428 h 324705"/>
                  <a:gd name="connsiteX31" fmla="*/ 832973 w 832973"/>
                  <a:gd name="connsiteY31" fmla="*/ 324705 h 324705"/>
                  <a:gd name="connsiteX32" fmla="*/ 731916 w 832973"/>
                  <a:gd name="connsiteY32" fmla="*/ 324705 h 324705"/>
                  <a:gd name="connsiteX33" fmla="*/ 628934 w 832973"/>
                  <a:gd name="connsiteY33" fmla="*/ 324705 h 324705"/>
                  <a:gd name="connsiteX34" fmla="*/ 628219 w 832973"/>
                  <a:gd name="connsiteY34" fmla="*/ 324705 h 324705"/>
                  <a:gd name="connsiteX35" fmla="*/ 460645 w 832973"/>
                  <a:gd name="connsiteY35" fmla="*/ 324705 h 324705"/>
                  <a:gd name="connsiteX36" fmla="*/ 459930 w 832973"/>
                  <a:gd name="connsiteY36" fmla="*/ 324705 h 324705"/>
                  <a:gd name="connsiteX37" fmla="*/ 416487 w 832973"/>
                  <a:gd name="connsiteY37" fmla="*/ 161055 h 324705"/>
                  <a:gd name="connsiteX38" fmla="*/ 373043 w 832973"/>
                  <a:gd name="connsiteY38" fmla="*/ 324705 h 324705"/>
                  <a:gd name="connsiteX39" fmla="*/ 372328 w 832973"/>
                  <a:gd name="connsiteY39" fmla="*/ 324705 h 324705"/>
                  <a:gd name="connsiteX40" fmla="*/ 204754 w 832973"/>
                  <a:gd name="connsiteY40" fmla="*/ 324705 h 324705"/>
                  <a:gd name="connsiteX41" fmla="*/ 204039 w 832973"/>
                  <a:gd name="connsiteY41" fmla="*/ 324705 h 324705"/>
                  <a:gd name="connsiteX42" fmla="*/ 101057 w 832973"/>
                  <a:gd name="connsiteY42" fmla="*/ 324705 h 324705"/>
                  <a:gd name="connsiteX43" fmla="*/ 0 w 832973"/>
                  <a:gd name="connsiteY43" fmla="*/ 324705 h 324705"/>
                  <a:gd name="connsiteX44" fmla="*/ 30286 w 832973"/>
                  <a:gd name="connsiteY44" fmla="*/ 163428 h 324705"/>
                  <a:gd name="connsiteX45" fmla="*/ 76963 w 832973"/>
                  <a:gd name="connsiteY45" fmla="*/ 49158 h 324705"/>
                  <a:gd name="connsiteX46" fmla="*/ 76887 w 832973"/>
                  <a:gd name="connsiteY46" fmla="*/ 48877 h 324705"/>
                  <a:gd name="connsiteX47" fmla="*/ 105182 w 832973"/>
                  <a:gd name="connsiteY47" fmla="*/ 36430 h 324705"/>
                  <a:gd name="connsiteX48" fmla="*/ 288103 w 832973"/>
                  <a:gd name="connsiteY48" fmla="*/ 7910 h 324705"/>
                  <a:gd name="connsiteX49" fmla="*/ 494142 w 832973"/>
                  <a:gd name="connsiteY49" fmla="*/ 0 h 324705"/>
                  <a:gd name="connsiteX50" fmla="*/ 494142 w 832973"/>
                  <a:gd name="connsiteY50" fmla="*/ 0 h 324705"/>
                  <a:gd name="connsiteX51" fmla="*/ 431594 w 832973"/>
                  <a:gd name="connsiteY51" fmla="*/ 34509 h 324705"/>
                  <a:gd name="connsiteX52" fmla="*/ 494142 w 832973"/>
                  <a:gd name="connsiteY52" fmla="*/ 0 h 324705"/>
                  <a:gd name="connsiteX53" fmla="*/ 360740 w 832973"/>
                  <a:gd name="connsiteY53" fmla="*/ 39810 h 324705"/>
                  <a:gd name="connsiteX54" fmla="*/ 402094 w 832973"/>
                  <a:gd name="connsiteY54" fmla="*/ 34509 h 324705"/>
                  <a:gd name="connsiteX55" fmla="*/ 394871 w 832973"/>
                  <a:gd name="connsiteY55" fmla="*/ 87132 h 324705"/>
                  <a:gd name="connsiteX56" fmla="*/ 360740 w 832973"/>
                  <a:gd name="connsiteY56" fmla="*/ 39810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60740 w 832973"/>
                  <a:gd name="connsiteY52" fmla="*/ 39810 h 324705"/>
                  <a:gd name="connsiteX53" fmla="*/ 402094 w 832973"/>
                  <a:gd name="connsiteY53" fmla="*/ 34509 h 324705"/>
                  <a:gd name="connsiteX54" fmla="*/ 394871 w 832973"/>
                  <a:gd name="connsiteY54" fmla="*/ 87132 h 324705"/>
                  <a:gd name="connsiteX55" fmla="*/ 360740 w 832973"/>
                  <a:gd name="connsiteY55" fmla="*/ 39810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37770 w 832973"/>
                  <a:gd name="connsiteY52" fmla="*/ 46878 h 324705"/>
                  <a:gd name="connsiteX53" fmla="*/ 402094 w 832973"/>
                  <a:gd name="connsiteY53" fmla="*/ 34509 h 324705"/>
                  <a:gd name="connsiteX54" fmla="*/ 394871 w 832973"/>
                  <a:gd name="connsiteY54" fmla="*/ 87132 h 324705"/>
                  <a:gd name="connsiteX55" fmla="*/ 337770 w 832973"/>
                  <a:gd name="connsiteY55" fmla="*/ 46878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37770 w 832973"/>
                  <a:gd name="connsiteY52" fmla="*/ 46878 h 324705"/>
                  <a:gd name="connsiteX53" fmla="*/ 402094 w 832973"/>
                  <a:gd name="connsiteY53" fmla="*/ 34509 h 324705"/>
                  <a:gd name="connsiteX54" fmla="*/ 394871 w 832973"/>
                  <a:gd name="connsiteY54" fmla="*/ 87132 h 324705"/>
                  <a:gd name="connsiteX55" fmla="*/ 337770 w 832973"/>
                  <a:gd name="connsiteY55" fmla="*/ 46878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52" fmla="*/ 394871 w 832973"/>
                  <a:gd name="connsiteY52" fmla="*/ 87132 h 324705"/>
                  <a:gd name="connsiteX53" fmla="*/ 402094 w 832973"/>
                  <a:gd name="connsiteY53" fmla="*/ 34509 h 324705"/>
                  <a:gd name="connsiteX54" fmla="*/ 394871 w 832973"/>
                  <a:gd name="connsiteY54" fmla="*/ 87132 h 324705"/>
                  <a:gd name="connsiteX0" fmla="*/ 399600 w 832973"/>
                  <a:gd name="connsiteY0" fmla="*/ 87848 h 324705"/>
                  <a:gd name="connsiteX1" fmla="*/ 434089 w 832973"/>
                  <a:gd name="connsiteY1" fmla="*/ 87848 h 324705"/>
                  <a:gd name="connsiteX2" fmla="*/ 399600 w 832973"/>
                  <a:gd name="connsiteY2" fmla="*/ 87848 h 324705"/>
                  <a:gd name="connsiteX3" fmla="*/ 431594 w 832973"/>
                  <a:gd name="connsiteY3" fmla="*/ 34509 h 324705"/>
                  <a:gd name="connsiteX4" fmla="*/ 438915 w 832973"/>
                  <a:gd name="connsiteY4" fmla="*/ 87848 h 324705"/>
                  <a:gd name="connsiteX5" fmla="*/ 438200 w 832973"/>
                  <a:gd name="connsiteY5" fmla="*/ 87848 h 324705"/>
                  <a:gd name="connsiteX6" fmla="*/ 434150 w 832973"/>
                  <a:gd name="connsiteY6" fmla="*/ 87848 h 324705"/>
                  <a:gd name="connsiteX7" fmla="*/ 438816 w 832973"/>
                  <a:gd name="connsiteY7" fmla="*/ 87132 h 324705"/>
                  <a:gd name="connsiteX8" fmla="*/ 431594 w 832973"/>
                  <a:gd name="connsiteY8" fmla="*/ 34509 h 324705"/>
                  <a:gd name="connsiteX9" fmla="*/ 288103 w 832973"/>
                  <a:gd name="connsiteY9" fmla="*/ 7910 h 324705"/>
                  <a:gd name="connsiteX10" fmla="*/ 288094 w 832973"/>
                  <a:gd name="connsiteY10" fmla="*/ 8023 h 324705"/>
                  <a:gd name="connsiteX11" fmla="*/ 288818 w 832973"/>
                  <a:gd name="connsiteY11" fmla="*/ 7910 h 324705"/>
                  <a:gd name="connsiteX12" fmla="*/ 285889 w 832973"/>
                  <a:gd name="connsiteY12" fmla="*/ 44034 h 324705"/>
                  <a:gd name="connsiteX13" fmla="*/ 388119 w 832973"/>
                  <a:gd name="connsiteY13" fmla="*/ 131119 h 324705"/>
                  <a:gd name="connsiteX14" fmla="*/ 390064 w 832973"/>
                  <a:gd name="connsiteY14" fmla="*/ 116946 h 324705"/>
                  <a:gd name="connsiteX15" fmla="*/ 390648 w 832973"/>
                  <a:gd name="connsiteY15" fmla="*/ 117904 h 324705"/>
                  <a:gd name="connsiteX16" fmla="*/ 390779 w 832973"/>
                  <a:gd name="connsiteY16" fmla="*/ 116946 h 324705"/>
                  <a:gd name="connsiteX17" fmla="*/ 416487 w 832973"/>
                  <a:gd name="connsiteY17" fmla="*/ 159121 h 324705"/>
                  <a:gd name="connsiteX18" fmla="*/ 442194 w 832973"/>
                  <a:gd name="connsiteY18" fmla="*/ 116946 h 324705"/>
                  <a:gd name="connsiteX19" fmla="*/ 442326 w 832973"/>
                  <a:gd name="connsiteY19" fmla="*/ 117904 h 324705"/>
                  <a:gd name="connsiteX20" fmla="*/ 442909 w 832973"/>
                  <a:gd name="connsiteY20" fmla="*/ 116946 h 324705"/>
                  <a:gd name="connsiteX21" fmla="*/ 444854 w 832973"/>
                  <a:gd name="connsiteY21" fmla="*/ 131119 h 324705"/>
                  <a:gd name="connsiteX22" fmla="*/ 547084 w 832973"/>
                  <a:gd name="connsiteY22" fmla="*/ 44034 h 324705"/>
                  <a:gd name="connsiteX23" fmla="*/ 544155 w 832973"/>
                  <a:gd name="connsiteY23" fmla="*/ 7910 h 324705"/>
                  <a:gd name="connsiteX24" fmla="*/ 544879 w 832973"/>
                  <a:gd name="connsiteY24" fmla="*/ 8023 h 324705"/>
                  <a:gd name="connsiteX25" fmla="*/ 544870 w 832973"/>
                  <a:gd name="connsiteY25" fmla="*/ 7910 h 324705"/>
                  <a:gd name="connsiteX26" fmla="*/ 727791 w 832973"/>
                  <a:gd name="connsiteY26" fmla="*/ 36430 h 324705"/>
                  <a:gd name="connsiteX27" fmla="*/ 756086 w 832973"/>
                  <a:gd name="connsiteY27" fmla="*/ 48877 h 324705"/>
                  <a:gd name="connsiteX28" fmla="*/ 756011 w 832973"/>
                  <a:gd name="connsiteY28" fmla="*/ 49158 h 324705"/>
                  <a:gd name="connsiteX29" fmla="*/ 802687 w 832973"/>
                  <a:gd name="connsiteY29" fmla="*/ 163428 h 324705"/>
                  <a:gd name="connsiteX30" fmla="*/ 832973 w 832973"/>
                  <a:gd name="connsiteY30" fmla="*/ 324705 h 324705"/>
                  <a:gd name="connsiteX31" fmla="*/ 731916 w 832973"/>
                  <a:gd name="connsiteY31" fmla="*/ 324705 h 324705"/>
                  <a:gd name="connsiteX32" fmla="*/ 628934 w 832973"/>
                  <a:gd name="connsiteY32" fmla="*/ 324705 h 324705"/>
                  <a:gd name="connsiteX33" fmla="*/ 628219 w 832973"/>
                  <a:gd name="connsiteY33" fmla="*/ 324705 h 324705"/>
                  <a:gd name="connsiteX34" fmla="*/ 460645 w 832973"/>
                  <a:gd name="connsiteY34" fmla="*/ 324705 h 324705"/>
                  <a:gd name="connsiteX35" fmla="*/ 459930 w 832973"/>
                  <a:gd name="connsiteY35" fmla="*/ 324705 h 324705"/>
                  <a:gd name="connsiteX36" fmla="*/ 416487 w 832973"/>
                  <a:gd name="connsiteY36" fmla="*/ 161055 h 324705"/>
                  <a:gd name="connsiteX37" fmla="*/ 373043 w 832973"/>
                  <a:gd name="connsiteY37" fmla="*/ 324705 h 324705"/>
                  <a:gd name="connsiteX38" fmla="*/ 372328 w 832973"/>
                  <a:gd name="connsiteY38" fmla="*/ 324705 h 324705"/>
                  <a:gd name="connsiteX39" fmla="*/ 204754 w 832973"/>
                  <a:gd name="connsiteY39" fmla="*/ 324705 h 324705"/>
                  <a:gd name="connsiteX40" fmla="*/ 204039 w 832973"/>
                  <a:gd name="connsiteY40" fmla="*/ 324705 h 324705"/>
                  <a:gd name="connsiteX41" fmla="*/ 101057 w 832973"/>
                  <a:gd name="connsiteY41" fmla="*/ 324705 h 324705"/>
                  <a:gd name="connsiteX42" fmla="*/ 0 w 832973"/>
                  <a:gd name="connsiteY42" fmla="*/ 324705 h 324705"/>
                  <a:gd name="connsiteX43" fmla="*/ 30286 w 832973"/>
                  <a:gd name="connsiteY43" fmla="*/ 163428 h 324705"/>
                  <a:gd name="connsiteX44" fmla="*/ 76963 w 832973"/>
                  <a:gd name="connsiteY44" fmla="*/ 49158 h 324705"/>
                  <a:gd name="connsiteX45" fmla="*/ 76887 w 832973"/>
                  <a:gd name="connsiteY45" fmla="*/ 48877 h 324705"/>
                  <a:gd name="connsiteX46" fmla="*/ 105182 w 832973"/>
                  <a:gd name="connsiteY46" fmla="*/ 36430 h 324705"/>
                  <a:gd name="connsiteX47" fmla="*/ 288103 w 832973"/>
                  <a:gd name="connsiteY47" fmla="*/ 7910 h 324705"/>
                  <a:gd name="connsiteX48" fmla="*/ 494142 w 832973"/>
                  <a:gd name="connsiteY48" fmla="*/ 0 h 324705"/>
                  <a:gd name="connsiteX49" fmla="*/ 494142 w 832973"/>
                  <a:gd name="connsiteY49" fmla="*/ 0 h 324705"/>
                  <a:gd name="connsiteX50" fmla="*/ 431594 w 832973"/>
                  <a:gd name="connsiteY50" fmla="*/ 34509 h 324705"/>
                  <a:gd name="connsiteX51" fmla="*/ 494142 w 832973"/>
                  <a:gd name="connsiteY51" fmla="*/ 0 h 324705"/>
                  <a:gd name="connsiteX0" fmla="*/ 431594 w 832973"/>
                  <a:gd name="connsiteY0" fmla="*/ 34509 h 324705"/>
                  <a:gd name="connsiteX1" fmla="*/ 438915 w 832973"/>
                  <a:gd name="connsiteY1" fmla="*/ 87848 h 324705"/>
                  <a:gd name="connsiteX2" fmla="*/ 438200 w 832973"/>
                  <a:gd name="connsiteY2" fmla="*/ 87848 h 324705"/>
                  <a:gd name="connsiteX3" fmla="*/ 434150 w 832973"/>
                  <a:gd name="connsiteY3" fmla="*/ 87848 h 324705"/>
                  <a:gd name="connsiteX4" fmla="*/ 438816 w 832973"/>
                  <a:gd name="connsiteY4" fmla="*/ 87132 h 324705"/>
                  <a:gd name="connsiteX5" fmla="*/ 431594 w 832973"/>
                  <a:gd name="connsiteY5" fmla="*/ 34509 h 324705"/>
                  <a:gd name="connsiteX6" fmla="*/ 288103 w 832973"/>
                  <a:gd name="connsiteY6" fmla="*/ 7910 h 324705"/>
                  <a:gd name="connsiteX7" fmla="*/ 288094 w 832973"/>
                  <a:gd name="connsiteY7" fmla="*/ 8023 h 324705"/>
                  <a:gd name="connsiteX8" fmla="*/ 288818 w 832973"/>
                  <a:gd name="connsiteY8" fmla="*/ 7910 h 324705"/>
                  <a:gd name="connsiteX9" fmla="*/ 285889 w 832973"/>
                  <a:gd name="connsiteY9" fmla="*/ 44034 h 324705"/>
                  <a:gd name="connsiteX10" fmla="*/ 388119 w 832973"/>
                  <a:gd name="connsiteY10" fmla="*/ 131119 h 324705"/>
                  <a:gd name="connsiteX11" fmla="*/ 390064 w 832973"/>
                  <a:gd name="connsiteY11" fmla="*/ 116946 h 324705"/>
                  <a:gd name="connsiteX12" fmla="*/ 390648 w 832973"/>
                  <a:gd name="connsiteY12" fmla="*/ 117904 h 324705"/>
                  <a:gd name="connsiteX13" fmla="*/ 390779 w 832973"/>
                  <a:gd name="connsiteY13" fmla="*/ 116946 h 324705"/>
                  <a:gd name="connsiteX14" fmla="*/ 416487 w 832973"/>
                  <a:gd name="connsiteY14" fmla="*/ 159121 h 324705"/>
                  <a:gd name="connsiteX15" fmla="*/ 442194 w 832973"/>
                  <a:gd name="connsiteY15" fmla="*/ 116946 h 324705"/>
                  <a:gd name="connsiteX16" fmla="*/ 442326 w 832973"/>
                  <a:gd name="connsiteY16" fmla="*/ 117904 h 324705"/>
                  <a:gd name="connsiteX17" fmla="*/ 442909 w 832973"/>
                  <a:gd name="connsiteY17" fmla="*/ 116946 h 324705"/>
                  <a:gd name="connsiteX18" fmla="*/ 444854 w 832973"/>
                  <a:gd name="connsiteY18" fmla="*/ 131119 h 324705"/>
                  <a:gd name="connsiteX19" fmla="*/ 547084 w 832973"/>
                  <a:gd name="connsiteY19" fmla="*/ 44034 h 324705"/>
                  <a:gd name="connsiteX20" fmla="*/ 544155 w 832973"/>
                  <a:gd name="connsiteY20" fmla="*/ 7910 h 324705"/>
                  <a:gd name="connsiteX21" fmla="*/ 544879 w 832973"/>
                  <a:gd name="connsiteY21" fmla="*/ 8023 h 324705"/>
                  <a:gd name="connsiteX22" fmla="*/ 544870 w 832973"/>
                  <a:gd name="connsiteY22" fmla="*/ 7910 h 324705"/>
                  <a:gd name="connsiteX23" fmla="*/ 727791 w 832973"/>
                  <a:gd name="connsiteY23" fmla="*/ 36430 h 324705"/>
                  <a:gd name="connsiteX24" fmla="*/ 756086 w 832973"/>
                  <a:gd name="connsiteY24" fmla="*/ 48877 h 324705"/>
                  <a:gd name="connsiteX25" fmla="*/ 756011 w 832973"/>
                  <a:gd name="connsiteY25" fmla="*/ 49158 h 324705"/>
                  <a:gd name="connsiteX26" fmla="*/ 802687 w 832973"/>
                  <a:gd name="connsiteY26" fmla="*/ 163428 h 324705"/>
                  <a:gd name="connsiteX27" fmla="*/ 832973 w 832973"/>
                  <a:gd name="connsiteY27" fmla="*/ 324705 h 324705"/>
                  <a:gd name="connsiteX28" fmla="*/ 731916 w 832973"/>
                  <a:gd name="connsiteY28" fmla="*/ 324705 h 324705"/>
                  <a:gd name="connsiteX29" fmla="*/ 628934 w 832973"/>
                  <a:gd name="connsiteY29" fmla="*/ 324705 h 324705"/>
                  <a:gd name="connsiteX30" fmla="*/ 628219 w 832973"/>
                  <a:gd name="connsiteY30" fmla="*/ 324705 h 324705"/>
                  <a:gd name="connsiteX31" fmla="*/ 460645 w 832973"/>
                  <a:gd name="connsiteY31" fmla="*/ 324705 h 324705"/>
                  <a:gd name="connsiteX32" fmla="*/ 459930 w 832973"/>
                  <a:gd name="connsiteY32" fmla="*/ 324705 h 324705"/>
                  <a:gd name="connsiteX33" fmla="*/ 416487 w 832973"/>
                  <a:gd name="connsiteY33" fmla="*/ 161055 h 324705"/>
                  <a:gd name="connsiteX34" fmla="*/ 373043 w 832973"/>
                  <a:gd name="connsiteY34" fmla="*/ 324705 h 324705"/>
                  <a:gd name="connsiteX35" fmla="*/ 372328 w 832973"/>
                  <a:gd name="connsiteY35" fmla="*/ 324705 h 324705"/>
                  <a:gd name="connsiteX36" fmla="*/ 204754 w 832973"/>
                  <a:gd name="connsiteY36" fmla="*/ 324705 h 324705"/>
                  <a:gd name="connsiteX37" fmla="*/ 204039 w 832973"/>
                  <a:gd name="connsiteY37" fmla="*/ 324705 h 324705"/>
                  <a:gd name="connsiteX38" fmla="*/ 101057 w 832973"/>
                  <a:gd name="connsiteY38" fmla="*/ 324705 h 324705"/>
                  <a:gd name="connsiteX39" fmla="*/ 0 w 832973"/>
                  <a:gd name="connsiteY39" fmla="*/ 324705 h 324705"/>
                  <a:gd name="connsiteX40" fmla="*/ 30286 w 832973"/>
                  <a:gd name="connsiteY40" fmla="*/ 163428 h 324705"/>
                  <a:gd name="connsiteX41" fmla="*/ 76963 w 832973"/>
                  <a:gd name="connsiteY41" fmla="*/ 49158 h 324705"/>
                  <a:gd name="connsiteX42" fmla="*/ 76887 w 832973"/>
                  <a:gd name="connsiteY42" fmla="*/ 48877 h 324705"/>
                  <a:gd name="connsiteX43" fmla="*/ 105182 w 832973"/>
                  <a:gd name="connsiteY43" fmla="*/ 36430 h 324705"/>
                  <a:gd name="connsiteX44" fmla="*/ 288103 w 832973"/>
                  <a:gd name="connsiteY44" fmla="*/ 7910 h 324705"/>
                  <a:gd name="connsiteX45" fmla="*/ 494142 w 832973"/>
                  <a:gd name="connsiteY45" fmla="*/ 0 h 324705"/>
                  <a:gd name="connsiteX46" fmla="*/ 494142 w 832973"/>
                  <a:gd name="connsiteY46" fmla="*/ 0 h 324705"/>
                  <a:gd name="connsiteX47" fmla="*/ 431594 w 832973"/>
                  <a:gd name="connsiteY47" fmla="*/ 34509 h 324705"/>
                  <a:gd name="connsiteX48" fmla="*/ 494142 w 832973"/>
                  <a:gd name="connsiteY48" fmla="*/ 0 h 324705"/>
                  <a:gd name="connsiteX0" fmla="*/ 431594 w 832973"/>
                  <a:gd name="connsiteY0" fmla="*/ 34509 h 324705"/>
                  <a:gd name="connsiteX1" fmla="*/ 438915 w 832973"/>
                  <a:gd name="connsiteY1" fmla="*/ 87848 h 324705"/>
                  <a:gd name="connsiteX2" fmla="*/ 438200 w 832973"/>
                  <a:gd name="connsiteY2" fmla="*/ 87848 h 324705"/>
                  <a:gd name="connsiteX3" fmla="*/ 434150 w 832973"/>
                  <a:gd name="connsiteY3" fmla="*/ 87848 h 324705"/>
                  <a:gd name="connsiteX4" fmla="*/ 431594 w 832973"/>
                  <a:gd name="connsiteY4" fmla="*/ 34509 h 324705"/>
                  <a:gd name="connsiteX5" fmla="*/ 288103 w 832973"/>
                  <a:gd name="connsiteY5" fmla="*/ 7910 h 324705"/>
                  <a:gd name="connsiteX6" fmla="*/ 288094 w 832973"/>
                  <a:gd name="connsiteY6" fmla="*/ 8023 h 324705"/>
                  <a:gd name="connsiteX7" fmla="*/ 288818 w 832973"/>
                  <a:gd name="connsiteY7" fmla="*/ 7910 h 324705"/>
                  <a:gd name="connsiteX8" fmla="*/ 285889 w 832973"/>
                  <a:gd name="connsiteY8" fmla="*/ 44034 h 324705"/>
                  <a:gd name="connsiteX9" fmla="*/ 388119 w 832973"/>
                  <a:gd name="connsiteY9" fmla="*/ 131119 h 324705"/>
                  <a:gd name="connsiteX10" fmla="*/ 390064 w 832973"/>
                  <a:gd name="connsiteY10" fmla="*/ 116946 h 324705"/>
                  <a:gd name="connsiteX11" fmla="*/ 390648 w 832973"/>
                  <a:gd name="connsiteY11" fmla="*/ 117904 h 324705"/>
                  <a:gd name="connsiteX12" fmla="*/ 390779 w 832973"/>
                  <a:gd name="connsiteY12" fmla="*/ 116946 h 324705"/>
                  <a:gd name="connsiteX13" fmla="*/ 416487 w 832973"/>
                  <a:gd name="connsiteY13" fmla="*/ 159121 h 324705"/>
                  <a:gd name="connsiteX14" fmla="*/ 442194 w 832973"/>
                  <a:gd name="connsiteY14" fmla="*/ 116946 h 324705"/>
                  <a:gd name="connsiteX15" fmla="*/ 442326 w 832973"/>
                  <a:gd name="connsiteY15" fmla="*/ 117904 h 324705"/>
                  <a:gd name="connsiteX16" fmla="*/ 442909 w 832973"/>
                  <a:gd name="connsiteY16" fmla="*/ 116946 h 324705"/>
                  <a:gd name="connsiteX17" fmla="*/ 444854 w 832973"/>
                  <a:gd name="connsiteY17" fmla="*/ 131119 h 324705"/>
                  <a:gd name="connsiteX18" fmla="*/ 547084 w 832973"/>
                  <a:gd name="connsiteY18" fmla="*/ 44034 h 324705"/>
                  <a:gd name="connsiteX19" fmla="*/ 544155 w 832973"/>
                  <a:gd name="connsiteY19" fmla="*/ 7910 h 324705"/>
                  <a:gd name="connsiteX20" fmla="*/ 544879 w 832973"/>
                  <a:gd name="connsiteY20" fmla="*/ 8023 h 324705"/>
                  <a:gd name="connsiteX21" fmla="*/ 544870 w 832973"/>
                  <a:gd name="connsiteY21" fmla="*/ 7910 h 324705"/>
                  <a:gd name="connsiteX22" fmla="*/ 727791 w 832973"/>
                  <a:gd name="connsiteY22" fmla="*/ 36430 h 324705"/>
                  <a:gd name="connsiteX23" fmla="*/ 756086 w 832973"/>
                  <a:gd name="connsiteY23" fmla="*/ 48877 h 324705"/>
                  <a:gd name="connsiteX24" fmla="*/ 756011 w 832973"/>
                  <a:gd name="connsiteY24" fmla="*/ 49158 h 324705"/>
                  <a:gd name="connsiteX25" fmla="*/ 802687 w 832973"/>
                  <a:gd name="connsiteY25" fmla="*/ 163428 h 324705"/>
                  <a:gd name="connsiteX26" fmla="*/ 832973 w 832973"/>
                  <a:gd name="connsiteY26" fmla="*/ 324705 h 324705"/>
                  <a:gd name="connsiteX27" fmla="*/ 731916 w 832973"/>
                  <a:gd name="connsiteY27" fmla="*/ 324705 h 324705"/>
                  <a:gd name="connsiteX28" fmla="*/ 628934 w 832973"/>
                  <a:gd name="connsiteY28" fmla="*/ 324705 h 324705"/>
                  <a:gd name="connsiteX29" fmla="*/ 628219 w 832973"/>
                  <a:gd name="connsiteY29" fmla="*/ 324705 h 324705"/>
                  <a:gd name="connsiteX30" fmla="*/ 460645 w 832973"/>
                  <a:gd name="connsiteY30" fmla="*/ 324705 h 324705"/>
                  <a:gd name="connsiteX31" fmla="*/ 459930 w 832973"/>
                  <a:gd name="connsiteY31" fmla="*/ 324705 h 324705"/>
                  <a:gd name="connsiteX32" fmla="*/ 416487 w 832973"/>
                  <a:gd name="connsiteY32" fmla="*/ 161055 h 324705"/>
                  <a:gd name="connsiteX33" fmla="*/ 373043 w 832973"/>
                  <a:gd name="connsiteY33" fmla="*/ 324705 h 324705"/>
                  <a:gd name="connsiteX34" fmla="*/ 372328 w 832973"/>
                  <a:gd name="connsiteY34" fmla="*/ 324705 h 324705"/>
                  <a:gd name="connsiteX35" fmla="*/ 204754 w 832973"/>
                  <a:gd name="connsiteY35" fmla="*/ 324705 h 324705"/>
                  <a:gd name="connsiteX36" fmla="*/ 204039 w 832973"/>
                  <a:gd name="connsiteY36" fmla="*/ 324705 h 324705"/>
                  <a:gd name="connsiteX37" fmla="*/ 101057 w 832973"/>
                  <a:gd name="connsiteY37" fmla="*/ 324705 h 324705"/>
                  <a:gd name="connsiteX38" fmla="*/ 0 w 832973"/>
                  <a:gd name="connsiteY38" fmla="*/ 324705 h 324705"/>
                  <a:gd name="connsiteX39" fmla="*/ 30286 w 832973"/>
                  <a:gd name="connsiteY39" fmla="*/ 163428 h 324705"/>
                  <a:gd name="connsiteX40" fmla="*/ 76963 w 832973"/>
                  <a:gd name="connsiteY40" fmla="*/ 49158 h 324705"/>
                  <a:gd name="connsiteX41" fmla="*/ 76887 w 832973"/>
                  <a:gd name="connsiteY41" fmla="*/ 48877 h 324705"/>
                  <a:gd name="connsiteX42" fmla="*/ 105182 w 832973"/>
                  <a:gd name="connsiteY42" fmla="*/ 36430 h 324705"/>
                  <a:gd name="connsiteX43" fmla="*/ 288103 w 832973"/>
                  <a:gd name="connsiteY43" fmla="*/ 7910 h 324705"/>
                  <a:gd name="connsiteX44" fmla="*/ 494142 w 832973"/>
                  <a:gd name="connsiteY44" fmla="*/ 0 h 324705"/>
                  <a:gd name="connsiteX45" fmla="*/ 494142 w 832973"/>
                  <a:gd name="connsiteY45" fmla="*/ 0 h 324705"/>
                  <a:gd name="connsiteX46" fmla="*/ 431594 w 832973"/>
                  <a:gd name="connsiteY46" fmla="*/ 34509 h 324705"/>
                  <a:gd name="connsiteX47" fmla="*/ 494142 w 832973"/>
                  <a:gd name="connsiteY47" fmla="*/ 0 h 324705"/>
                  <a:gd name="connsiteX0" fmla="*/ 431594 w 832973"/>
                  <a:gd name="connsiteY0" fmla="*/ 34509 h 324705"/>
                  <a:gd name="connsiteX1" fmla="*/ 438915 w 832973"/>
                  <a:gd name="connsiteY1" fmla="*/ 87848 h 324705"/>
                  <a:gd name="connsiteX2" fmla="*/ 438200 w 832973"/>
                  <a:gd name="connsiteY2" fmla="*/ 87848 h 324705"/>
                  <a:gd name="connsiteX3" fmla="*/ 431594 w 832973"/>
                  <a:gd name="connsiteY3" fmla="*/ 34509 h 324705"/>
                  <a:gd name="connsiteX4" fmla="*/ 288103 w 832973"/>
                  <a:gd name="connsiteY4" fmla="*/ 7910 h 324705"/>
                  <a:gd name="connsiteX5" fmla="*/ 288094 w 832973"/>
                  <a:gd name="connsiteY5" fmla="*/ 8023 h 324705"/>
                  <a:gd name="connsiteX6" fmla="*/ 288818 w 832973"/>
                  <a:gd name="connsiteY6" fmla="*/ 7910 h 324705"/>
                  <a:gd name="connsiteX7" fmla="*/ 285889 w 832973"/>
                  <a:gd name="connsiteY7" fmla="*/ 44034 h 324705"/>
                  <a:gd name="connsiteX8" fmla="*/ 388119 w 832973"/>
                  <a:gd name="connsiteY8" fmla="*/ 131119 h 324705"/>
                  <a:gd name="connsiteX9" fmla="*/ 390064 w 832973"/>
                  <a:gd name="connsiteY9" fmla="*/ 116946 h 324705"/>
                  <a:gd name="connsiteX10" fmla="*/ 390648 w 832973"/>
                  <a:gd name="connsiteY10" fmla="*/ 117904 h 324705"/>
                  <a:gd name="connsiteX11" fmla="*/ 390779 w 832973"/>
                  <a:gd name="connsiteY11" fmla="*/ 116946 h 324705"/>
                  <a:gd name="connsiteX12" fmla="*/ 416487 w 832973"/>
                  <a:gd name="connsiteY12" fmla="*/ 159121 h 324705"/>
                  <a:gd name="connsiteX13" fmla="*/ 442194 w 832973"/>
                  <a:gd name="connsiteY13" fmla="*/ 116946 h 324705"/>
                  <a:gd name="connsiteX14" fmla="*/ 442326 w 832973"/>
                  <a:gd name="connsiteY14" fmla="*/ 117904 h 324705"/>
                  <a:gd name="connsiteX15" fmla="*/ 442909 w 832973"/>
                  <a:gd name="connsiteY15" fmla="*/ 116946 h 324705"/>
                  <a:gd name="connsiteX16" fmla="*/ 444854 w 832973"/>
                  <a:gd name="connsiteY16" fmla="*/ 131119 h 324705"/>
                  <a:gd name="connsiteX17" fmla="*/ 547084 w 832973"/>
                  <a:gd name="connsiteY17" fmla="*/ 44034 h 324705"/>
                  <a:gd name="connsiteX18" fmla="*/ 544155 w 832973"/>
                  <a:gd name="connsiteY18" fmla="*/ 7910 h 324705"/>
                  <a:gd name="connsiteX19" fmla="*/ 544879 w 832973"/>
                  <a:gd name="connsiteY19" fmla="*/ 8023 h 324705"/>
                  <a:gd name="connsiteX20" fmla="*/ 544870 w 832973"/>
                  <a:gd name="connsiteY20" fmla="*/ 7910 h 324705"/>
                  <a:gd name="connsiteX21" fmla="*/ 727791 w 832973"/>
                  <a:gd name="connsiteY21" fmla="*/ 36430 h 324705"/>
                  <a:gd name="connsiteX22" fmla="*/ 756086 w 832973"/>
                  <a:gd name="connsiteY22" fmla="*/ 48877 h 324705"/>
                  <a:gd name="connsiteX23" fmla="*/ 756011 w 832973"/>
                  <a:gd name="connsiteY23" fmla="*/ 49158 h 324705"/>
                  <a:gd name="connsiteX24" fmla="*/ 802687 w 832973"/>
                  <a:gd name="connsiteY24" fmla="*/ 163428 h 324705"/>
                  <a:gd name="connsiteX25" fmla="*/ 832973 w 832973"/>
                  <a:gd name="connsiteY25" fmla="*/ 324705 h 324705"/>
                  <a:gd name="connsiteX26" fmla="*/ 731916 w 832973"/>
                  <a:gd name="connsiteY26" fmla="*/ 324705 h 324705"/>
                  <a:gd name="connsiteX27" fmla="*/ 628934 w 832973"/>
                  <a:gd name="connsiteY27" fmla="*/ 324705 h 324705"/>
                  <a:gd name="connsiteX28" fmla="*/ 628219 w 832973"/>
                  <a:gd name="connsiteY28" fmla="*/ 324705 h 324705"/>
                  <a:gd name="connsiteX29" fmla="*/ 460645 w 832973"/>
                  <a:gd name="connsiteY29" fmla="*/ 324705 h 324705"/>
                  <a:gd name="connsiteX30" fmla="*/ 459930 w 832973"/>
                  <a:gd name="connsiteY30" fmla="*/ 324705 h 324705"/>
                  <a:gd name="connsiteX31" fmla="*/ 416487 w 832973"/>
                  <a:gd name="connsiteY31" fmla="*/ 161055 h 324705"/>
                  <a:gd name="connsiteX32" fmla="*/ 373043 w 832973"/>
                  <a:gd name="connsiteY32" fmla="*/ 324705 h 324705"/>
                  <a:gd name="connsiteX33" fmla="*/ 372328 w 832973"/>
                  <a:gd name="connsiteY33" fmla="*/ 324705 h 324705"/>
                  <a:gd name="connsiteX34" fmla="*/ 204754 w 832973"/>
                  <a:gd name="connsiteY34" fmla="*/ 324705 h 324705"/>
                  <a:gd name="connsiteX35" fmla="*/ 204039 w 832973"/>
                  <a:gd name="connsiteY35" fmla="*/ 324705 h 324705"/>
                  <a:gd name="connsiteX36" fmla="*/ 101057 w 832973"/>
                  <a:gd name="connsiteY36" fmla="*/ 324705 h 324705"/>
                  <a:gd name="connsiteX37" fmla="*/ 0 w 832973"/>
                  <a:gd name="connsiteY37" fmla="*/ 324705 h 324705"/>
                  <a:gd name="connsiteX38" fmla="*/ 30286 w 832973"/>
                  <a:gd name="connsiteY38" fmla="*/ 163428 h 324705"/>
                  <a:gd name="connsiteX39" fmla="*/ 76963 w 832973"/>
                  <a:gd name="connsiteY39" fmla="*/ 49158 h 324705"/>
                  <a:gd name="connsiteX40" fmla="*/ 76887 w 832973"/>
                  <a:gd name="connsiteY40" fmla="*/ 48877 h 324705"/>
                  <a:gd name="connsiteX41" fmla="*/ 105182 w 832973"/>
                  <a:gd name="connsiteY41" fmla="*/ 36430 h 324705"/>
                  <a:gd name="connsiteX42" fmla="*/ 288103 w 832973"/>
                  <a:gd name="connsiteY42" fmla="*/ 7910 h 324705"/>
                  <a:gd name="connsiteX43" fmla="*/ 494142 w 832973"/>
                  <a:gd name="connsiteY43" fmla="*/ 0 h 324705"/>
                  <a:gd name="connsiteX44" fmla="*/ 494142 w 832973"/>
                  <a:gd name="connsiteY44" fmla="*/ 0 h 324705"/>
                  <a:gd name="connsiteX45" fmla="*/ 431594 w 832973"/>
                  <a:gd name="connsiteY45" fmla="*/ 34509 h 324705"/>
                  <a:gd name="connsiteX46" fmla="*/ 494142 w 832973"/>
                  <a:gd name="connsiteY46" fmla="*/ 0 h 324705"/>
                  <a:gd name="connsiteX0" fmla="*/ 431594 w 832973"/>
                  <a:gd name="connsiteY0" fmla="*/ 34509 h 324705"/>
                  <a:gd name="connsiteX1" fmla="*/ 438915 w 832973"/>
                  <a:gd name="connsiteY1" fmla="*/ 87848 h 324705"/>
                  <a:gd name="connsiteX2" fmla="*/ 431594 w 832973"/>
                  <a:gd name="connsiteY2" fmla="*/ 34509 h 324705"/>
                  <a:gd name="connsiteX3" fmla="*/ 288103 w 832973"/>
                  <a:gd name="connsiteY3" fmla="*/ 7910 h 324705"/>
                  <a:gd name="connsiteX4" fmla="*/ 288094 w 832973"/>
                  <a:gd name="connsiteY4" fmla="*/ 8023 h 324705"/>
                  <a:gd name="connsiteX5" fmla="*/ 288818 w 832973"/>
                  <a:gd name="connsiteY5" fmla="*/ 7910 h 324705"/>
                  <a:gd name="connsiteX6" fmla="*/ 285889 w 832973"/>
                  <a:gd name="connsiteY6" fmla="*/ 44034 h 324705"/>
                  <a:gd name="connsiteX7" fmla="*/ 388119 w 832973"/>
                  <a:gd name="connsiteY7" fmla="*/ 131119 h 324705"/>
                  <a:gd name="connsiteX8" fmla="*/ 390064 w 832973"/>
                  <a:gd name="connsiteY8" fmla="*/ 116946 h 324705"/>
                  <a:gd name="connsiteX9" fmla="*/ 390648 w 832973"/>
                  <a:gd name="connsiteY9" fmla="*/ 117904 h 324705"/>
                  <a:gd name="connsiteX10" fmla="*/ 390779 w 832973"/>
                  <a:gd name="connsiteY10" fmla="*/ 116946 h 324705"/>
                  <a:gd name="connsiteX11" fmla="*/ 416487 w 832973"/>
                  <a:gd name="connsiteY11" fmla="*/ 159121 h 324705"/>
                  <a:gd name="connsiteX12" fmla="*/ 442194 w 832973"/>
                  <a:gd name="connsiteY12" fmla="*/ 116946 h 324705"/>
                  <a:gd name="connsiteX13" fmla="*/ 442326 w 832973"/>
                  <a:gd name="connsiteY13" fmla="*/ 117904 h 324705"/>
                  <a:gd name="connsiteX14" fmla="*/ 442909 w 832973"/>
                  <a:gd name="connsiteY14" fmla="*/ 116946 h 324705"/>
                  <a:gd name="connsiteX15" fmla="*/ 444854 w 832973"/>
                  <a:gd name="connsiteY15" fmla="*/ 131119 h 324705"/>
                  <a:gd name="connsiteX16" fmla="*/ 547084 w 832973"/>
                  <a:gd name="connsiteY16" fmla="*/ 44034 h 324705"/>
                  <a:gd name="connsiteX17" fmla="*/ 544155 w 832973"/>
                  <a:gd name="connsiteY17" fmla="*/ 7910 h 324705"/>
                  <a:gd name="connsiteX18" fmla="*/ 544879 w 832973"/>
                  <a:gd name="connsiteY18" fmla="*/ 8023 h 324705"/>
                  <a:gd name="connsiteX19" fmla="*/ 544870 w 832973"/>
                  <a:gd name="connsiteY19" fmla="*/ 7910 h 324705"/>
                  <a:gd name="connsiteX20" fmla="*/ 727791 w 832973"/>
                  <a:gd name="connsiteY20" fmla="*/ 36430 h 324705"/>
                  <a:gd name="connsiteX21" fmla="*/ 756086 w 832973"/>
                  <a:gd name="connsiteY21" fmla="*/ 48877 h 324705"/>
                  <a:gd name="connsiteX22" fmla="*/ 756011 w 832973"/>
                  <a:gd name="connsiteY22" fmla="*/ 49158 h 324705"/>
                  <a:gd name="connsiteX23" fmla="*/ 802687 w 832973"/>
                  <a:gd name="connsiteY23" fmla="*/ 163428 h 324705"/>
                  <a:gd name="connsiteX24" fmla="*/ 832973 w 832973"/>
                  <a:gd name="connsiteY24" fmla="*/ 324705 h 324705"/>
                  <a:gd name="connsiteX25" fmla="*/ 731916 w 832973"/>
                  <a:gd name="connsiteY25" fmla="*/ 324705 h 324705"/>
                  <a:gd name="connsiteX26" fmla="*/ 628934 w 832973"/>
                  <a:gd name="connsiteY26" fmla="*/ 324705 h 324705"/>
                  <a:gd name="connsiteX27" fmla="*/ 628219 w 832973"/>
                  <a:gd name="connsiteY27" fmla="*/ 324705 h 324705"/>
                  <a:gd name="connsiteX28" fmla="*/ 460645 w 832973"/>
                  <a:gd name="connsiteY28" fmla="*/ 324705 h 324705"/>
                  <a:gd name="connsiteX29" fmla="*/ 459930 w 832973"/>
                  <a:gd name="connsiteY29" fmla="*/ 324705 h 324705"/>
                  <a:gd name="connsiteX30" fmla="*/ 416487 w 832973"/>
                  <a:gd name="connsiteY30" fmla="*/ 161055 h 324705"/>
                  <a:gd name="connsiteX31" fmla="*/ 373043 w 832973"/>
                  <a:gd name="connsiteY31" fmla="*/ 324705 h 324705"/>
                  <a:gd name="connsiteX32" fmla="*/ 372328 w 832973"/>
                  <a:gd name="connsiteY32" fmla="*/ 324705 h 324705"/>
                  <a:gd name="connsiteX33" fmla="*/ 204754 w 832973"/>
                  <a:gd name="connsiteY33" fmla="*/ 324705 h 324705"/>
                  <a:gd name="connsiteX34" fmla="*/ 204039 w 832973"/>
                  <a:gd name="connsiteY34" fmla="*/ 324705 h 324705"/>
                  <a:gd name="connsiteX35" fmla="*/ 101057 w 832973"/>
                  <a:gd name="connsiteY35" fmla="*/ 324705 h 324705"/>
                  <a:gd name="connsiteX36" fmla="*/ 0 w 832973"/>
                  <a:gd name="connsiteY36" fmla="*/ 324705 h 324705"/>
                  <a:gd name="connsiteX37" fmla="*/ 30286 w 832973"/>
                  <a:gd name="connsiteY37" fmla="*/ 163428 h 324705"/>
                  <a:gd name="connsiteX38" fmla="*/ 76963 w 832973"/>
                  <a:gd name="connsiteY38" fmla="*/ 49158 h 324705"/>
                  <a:gd name="connsiteX39" fmla="*/ 76887 w 832973"/>
                  <a:gd name="connsiteY39" fmla="*/ 48877 h 324705"/>
                  <a:gd name="connsiteX40" fmla="*/ 105182 w 832973"/>
                  <a:gd name="connsiteY40" fmla="*/ 36430 h 324705"/>
                  <a:gd name="connsiteX41" fmla="*/ 288103 w 832973"/>
                  <a:gd name="connsiteY41" fmla="*/ 7910 h 324705"/>
                  <a:gd name="connsiteX42" fmla="*/ 494142 w 832973"/>
                  <a:gd name="connsiteY42" fmla="*/ 0 h 324705"/>
                  <a:gd name="connsiteX43" fmla="*/ 494142 w 832973"/>
                  <a:gd name="connsiteY43" fmla="*/ 0 h 324705"/>
                  <a:gd name="connsiteX44" fmla="*/ 431594 w 832973"/>
                  <a:gd name="connsiteY44" fmla="*/ 34509 h 324705"/>
                  <a:gd name="connsiteX45" fmla="*/ 494142 w 832973"/>
                  <a:gd name="connsiteY45" fmla="*/ 0 h 324705"/>
                  <a:gd name="connsiteX0" fmla="*/ 288103 w 832973"/>
                  <a:gd name="connsiteY0" fmla="*/ 7910 h 324705"/>
                  <a:gd name="connsiteX1" fmla="*/ 288094 w 832973"/>
                  <a:gd name="connsiteY1" fmla="*/ 8023 h 324705"/>
                  <a:gd name="connsiteX2" fmla="*/ 288818 w 832973"/>
                  <a:gd name="connsiteY2" fmla="*/ 7910 h 324705"/>
                  <a:gd name="connsiteX3" fmla="*/ 285889 w 832973"/>
                  <a:gd name="connsiteY3" fmla="*/ 44034 h 324705"/>
                  <a:gd name="connsiteX4" fmla="*/ 388119 w 832973"/>
                  <a:gd name="connsiteY4" fmla="*/ 131119 h 324705"/>
                  <a:gd name="connsiteX5" fmla="*/ 390064 w 832973"/>
                  <a:gd name="connsiteY5" fmla="*/ 116946 h 324705"/>
                  <a:gd name="connsiteX6" fmla="*/ 390648 w 832973"/>
                  <a:gd name="connsiteY6" fmla="*/ 117904 h 324705"/>
                  <a:gd name="connsiteX7" fmla="*/ 390779 w 832973"/>
                  <a:gd name="connsiteY7" fmla="*/ 116946 h 324705"/>
                  <a:gd name="connsiteX8" fmla="*/ 416487 w 832973"/>
                  <a:gd name="connsiteY8" fmla="*/ 159121 h 324705"/>
                  <a:gd name="connsiteX9" fmla="*/ 442194 w 832973"/>
                  <a:gd name="connsiteY9" fmla="*/ 116946 h 324705"/>
                  <a:gd name="connsiteX10" fmla="*/ 442326 w 832973"/>
                  <a:gd name="connsiteY10" fmla="*/ 117904 h 324705"/>
                  <a:gd name="connsiteX11" fmla="*/ 442909 w 832973"/>
                  <a:gd name="connsiteY11" fmla="*/ 116946 h 324705"/>
                  <a:gd name="connsiteX12" fmla="*/ 444854 w 832973"/>
                  <a:gd name="connsiteY12" fmla="*/ 131119 h 324705"/>
                  <a:gd name="connsiteX13" fmla="*/ 547084 w 832973"/>
                  <a:gd name="connsiteY13" fmla="*/ 44034 h 324705"/>
                  <a:gd name="connsiteX14" fmla="*/ 544155 w 832973"/>
                  <a:gd name="connsiteY14" fmla="*/ 7910 h 324705"/>
                  <a:gd name="connsiteX15" fmla="*/ 544879 w 832973"/>
                  <a:gd name="connsiteY15" fmla="*/ 8023 h 324705"/>
                  <a:gd name="connsiteX16" fmla="*/ 544870 w 832973"/>
                  <a:gd name="connsiteY16" fmla="*/ 7910 h 324705"/>
                  <a:gd name="connsiteX17" fmla="*/ 727791 w 832973"/>
                  <a:gd name="connsiteY17" fmla="*/ 36430 h 324705"/>
                  <a:gd name="connsiteX18" fmla="*/ 756086 w 832973"/>
                  <a:gd name="connsiteY18" fmla="*/ 48877 h 324705"/>
                  <a:gd name="connsiteX19" fmla="*/ 756011 w 832973"/>
                  <a:gd name="connsiteY19" fmla="*/ 49158 h 324705"/>
                  <a:gd name="connsiteX20" fmla="*/ 802687 w 832973"/>
                  <a:gd name="connsiteY20" fmla="*/ 163428 h 324705"/>
                  <a:gd name="connsiteX21" fmla="*/ 832973 w 832973"/>
                  <a:gd name="connsiteY21" fmla="*/ 324705 h 324705"/>
                  <a:gd name="connsiteX22" fmla="*/ 731916 w 832973"/>
                  <a:gd name="connsiteY22" fmla="*/ 324705 h 324705"/>
                  <a:gd name="connsiteX23" fmla="*/ 628934 w 832973"/>
                  <a:gd name="connsiteY23" fmla="*/ 324705 h 324705"/>
                  <a:gd name="connsiteX24" fmla="*/ 628219 w 832973"/>
                  <a:gd name="connsiteY24" fmla="*/ 324705 h 324705"/>
                  <a:gd name="connsiteX25" fmla="*/ 460645 w 832973"/>
                  <a:gd name="connsiteY25" fmla="*/ 324705 h 324705"/>
                  <a:gd name="connsiteX26" fmla="*/ 459930 w 832973"/>
                  <a:gd name="connsiteY26" fmla="*/ 324705 h 324705"/>
                  <a:gd name="connsiteX27" fmla="*/ 416487 w 832973"/>
                  <a:gd name="connsiteY27" fmla="*/ 161055 h 324705"/>
                  <a:gd name="connsiteX28" fmla="*/ 373043 w 832973"/>
                  <a:gd name="connsiteY28" fmla="*/ 324705 h 324705"/>
                  <a:gd name="connsiteX29" fmla="*/ 372328 w 832973"/>
                  <a:gd name="connsiteY29" fmla="*/ 324705 h 324705"/>
                  <a:gd name="connsiteX30" fmla="*/ 204754 w 832973"/>
                  <a:gd name="connsiteY30" fmla="*/ 324705 h 324705"/>
                  <a:gd name="connsiteX31" fmla="*/ 204039 w 832973"/>
                  <a:gd name="connsiteY31" fmla="*/ 324705 h 324705"/>
                  <a:gd name="connsiteX32" fmla="*/ 101057 w 832973"/>
                  <a:gd name="connsiteY32" fmla="*/ 324705 h 324705"/>
                  <a:gd name="connsiteX33" fmla="*/ 0 w 832973"/>
                  <a:gd name="connsiteY33" fmla="*/ 324705 h 324705"/>
                  <a:gd name="connsiteX34" fmla="*/ 30286 w 832973"/>
                  <a:gd name="connsiteY34" fmla="*/ 163428 h 324705"/>
                  <a:gd name="connsiteX35" fmla="*/ 76963 w 832973"/>
                  <a:gd name="connsiteY35" fmla="*/ 49158 h 324705"/>
                  <a:gd name="connsiteX36" fmla="*/ 76887 w 832973"/>
                  <a:gd name="connsiteY36" fmla="*/ 48877 h 324705"/>
                  <a:gd name="connsiteX37" fmla="*/ 105182 w 832973"/>
                  <a:gd name="connsiteY37" fmla="*/ 36430 h 324705"/>
                  <a:gd name="connsiteX38" fmla="*/ 288103 w 832973"/>
                  <a:gd name="connsiteY38" fmla="*/ 7910 h 324705"/>
                  <a:gd name="connsiteX39" fmla="*/ 494142 w 832973"/>
                  <a:gd name="connsiteY39" fmla="*/ 0 h 324705"/>
                  <a:gd name="connsiteX40" fmla="*/ 494142 w 832973"/>
                  <a:gd name="connsiteY40" fmla="*/ 0 h 324705"/>
                  <a:gd name="connsiteX41" fmla="*/ 431594 w 832973"/>
                  <a:gd name="connsiteY41" fmla="*/ 34509 h 324705"/>
                  <a:gd name="connsiteX42" fmla="*/ 494142 w 832973"/>
                  <a:gd name="connsiteY42" fmla="*/ 0 h 324705"/>
                  <a:gd name="connsiteX0" fmla="*/ 288103 w 832973"/>
                  <a:gd name="connsiteY0" fmla="*/ 7910 h 324705"/>
                  <a:gd name="connsiteX1" fmla="*/ 288094 w 832973"/>
                  <a:gd name="connsiteY1" fmla="*/ 8023 h 324705"/>
                  <a:gd name="connsiteX2" fmla="*/ 288818 w 832973"/>
                  <a:gd name="connsiteY2" fmla="*/ 7910 h 324705"/>
                  <a:gd name="connsiteX3" fmla="*/ 285889 w 832973"/>
                  <a:gd name="connsiteY3" fmla="*/ 44034 h 324705"/>
                  <a:gd name="connsiteX4" fmla="*/ 388119 w 832973"/>
                  <a:gd name="connsiteY4" fmla="*/ 131119 h 324705"/>
                  <a:gd name="connsiteX5" fmla="*/ 390064 w 832973"/>
                  <a:gd name="connsiteY5" fmla="*/ 116946 h 324705"/>
                  <a:gd name="connsiteX6" fmla="*/ 390648 w 832973"/>
                  <a:gd name="connsiteY6" fmla="*/ 117904 h 324705"/>
                  <a:gd name="connsiteX7" fmla="*/ 390779 w 832973"/>
                  <a:gd name="connsiteY7" fmla="*/ 116946 h 324705"/>
                  <a:gd name="connsiteX8" fmla="*/ 416487 w 832973"/>
                  <a:gd name="connsiteY8" fmla="*/ 159121 h 324705"/>
                  <a:gd name="connsiteX9" fmla="*/ 442194 w 832973"/>
                  <a:gd name="connsiteY9" fmla="*/ 116946 h 324705"/>
                  <a:gd name="connsiteX10" fmla="*/ 442326 w 832973"/>
                  <a:gd name="connsiteY10" fmla="*/ 117904 h 324705"/>
                  <a:gd name="connsiteX11" fmla="*/ 442909 w 832973"/>
                  <a:gd name="connsiteY11" fmla="*/ 116946 h 324705"/>
                  <a:gd name="connsiteX12" fmla="*/ 444854 w 832973"/>
                  <a:gd name="connsiteY12" fmla="*/ 131119 h 324705"/>
                  <a:gd name="connsiteX13" fmla="*/ 547084 w 832973"/>
                  <a:gd name="connsiteY13" fmla="*/ 44034 h 324705"/>
                  <a:gd name="connsiteX14" fmla="*/ 544155 w 832973"/>
                  <a:gd name="connsiteY14" fmla="*/ 7910 h 324705"/>
                  <a:gd name="connsiteX15" fmla="*/ 544879 w 832973"/>
                  <a:gd name="connsiteY15" fmla="*/ 8023 h 324705"/>
                  <a:gd name="connsiteX16" fmla="*/ 544870 w 832973"/>
                  <a:gd name="connsiteY16" fmla="*/ 7910 h 324705"/>
                  <a:gd name="connsiteX17" fmla="*/ 727791 w 832973"/>
                  <a:gd name="connsiteY17" fmla="*/ 36430 h 324705"/>
                  <a:gd name="connsiteX18" fmla="*/ 756086 w 832973"/>
                  <a:gd name="connsiteY18" fmla="*/ 48877 h 324705"/>
                  <a:gd name="connsiteX19" fmla="*/ 756011 w 832973"/>
                  <a:gd name="connsiteY19" fmla="*/ 49158 h 324705"/>
                  <a:gd name="connsiteX20" fmla="*/ 802687 w 832973"/>
                  <a:gd name="connsiteY20" fmla="*/ 163428 h 324705"/>
                  <a:gd name="connsiteX21" fmla="*/ 832973 w 832973"/>
                  <a:gd name="connsiteY21" fmla="*/ 324705 h 324705"/>
                  <a:gd name="connsiteX22" fmla="*/ 731916 w 832973"/>
                  <a:gd name="connsiteY22" fmla="*/ 324705 h 324705"/>
                  <a:gd name="connsiteX23" fmla="*/ 628934 w 832973"/>
                  <a:gd name="connsiteY23" fmla="*/ 324705 h 324705"/>
                  <a:gd name="connsiteX24" fmla="*/ 628219 w 832973"/>
                  <a:gd name="connsiteY24" fmla="*/ 324705 h 324705"/>
                  <a:gd name="connsiteX25" fmla="*/ 460645 w 832973"/>
                  <a:gd name="connsiteY25" fmla="*/ 324705 h 324705"/>
                  <a:gd name="connsiteX26" fmla="*/ 459930 w 832973"/>
                  <a:gd name="connsiteY26" fmla="*/ 324705 h 324705"/>
                  <a:gd name="connsiteX27" fmla="*/ 416487 w 832973"/>
                  <a:gd name="connsiteY27" fmla="*/ 161055 h 324705"/>
                  <a:gd name="connsiteX28" fmla="*/ 373043 w 832973"/>
                  <a:gd name="connsiteY28" fmla="*/ 324705 h 324705"/>
                  <a:gd name="connsiteX29" fmla="*/ 372328 w 832973"/>
                  <a:gd name="connsiteY29" fmla="*/ 324705 h 324705"/>
                  <a:gd name="connsiteX30" fmla="*/ 204754 w 832973"/>
                  <a:gd name="connsiteY30" fmla="*/ 324705 h 324705"/>
                  <a:gd name="connsiteX31" fmla="*/ 204039 w 832973"/>
                  <a:gd name="connsiteY31" fmla="*/ 324705 h 324705"/>
                  <a:gd name="connsiteX32" fmla="*/ 101057 w 832973"/>
                  <a:gd name="connsiteY32" fmla="*/ 324705 h 324705"/>
                  <a:gd name="connsiteX33" fmla="*/ 0 w 832973"/>
                  <a:gd name="connsiteY33" fmla="*/ 324705 h 324705"/>
                  <a:gd name="connsiteX34" fmla="*/ 30286 w 832973"/>
                  <a:gd name="connsiteY34" fmla="*/ 163428 h 324705"/>
                  <a:gd name="connsiteX35" fmla="*/ 76963 w 832973"/>
                  <a:gd name="connsiteY35" fmla="*/ 49158 h 324705"/>
                  <a:gd name="connsiteX36" fmla="*/ 76887 w 832973"/>
                  <a:gd name="connsiteY36" fmla="*/ 48877 h 324705"/>
                  <a:gd name="connsiteX37" fmla="*/ 105182 w 832973"/>
                  <a:gd name="connsiteY37" fmla="*/ 36430 h 324705"/>
                  <a:gd name="connsiteX38" fmla="*/ 288103 w 832973"/>
                  <a:gd name="connsiteY38" fmla="*/ 7910 h 324705"/>
                  <a:gd name="connsiteX39" fmla="*/ 494142 w 832973"/>
                  <a:gd name="connsiteY39" fmla="*/ 0 h 324705"/>
                  <a:gd name="connsiteX40" fmla="*/ 494142 w 832973"/>
                  <a:gd name="connsiteY40" fmla="*/ 0 h 324705"/>
                  <a:gd name="connsiteX41" fmla="*/ 436895 w 832973"/>
                  <a:gd name="connsiteY41" fmla="*/ 11539 h 324705"/>
                  <a:gd name="connsiteX42" fmla="*/ 494142 w 832973"/>
                  <a:gd name="connsiteY42" fmla="*/ 0 h 324705"/>
                  <a:gd name="connsiteX0" fmla="*/ 288103 w 832973"/>
                  <a:gd name="connsiteY0" fmla="*/ 7910 h 324705"/>
                  <a:gd name="connsiteX1" fmla="*/ 288094 w 832973"/>
                  <a:gd name="connsiteY1" fmla="*/ 8023 h 324705"/>
                  <a:gd name="connsiteX2" fmla="*/ 288818 w 832973"/>
                  <a:gd name="connsiteY2" fmla="*/ 7910 h 324705"/>
                  <a:gd name="connsiteX3" fmla="*/ 285889 w 832973"/>
                  <a:gd name="connsiteY3" fmla="*/ 44034 h 324705"/>
                  <a:gd name="connsiteX4" fmla="*/ 388119 w 832973"/>
                  <a:gd name="connsiteY4" fmla="*/ 131119 h 324705"/>
                  <a:gd name="connsiteX5" fmla="*/ 390064 w 832973"/>
                  <a:gd name="connsiteY5" fmla="*/ 116946 h 324705"/>
                  <a:gd name="connsiteX6" fmla="*/ 390648 w 832973"/>
                  <a:gd name="connsiteY6" fmla="*/ 117904 h 324705"/>
                  <a:gd name="connsiteX7" fmla="*/ 390779 w 832973"/>
                  <a:gd name="connsiteY7" fmla="*/ 116946 h 324705"/>
                  <a:gd name="connsiteX8" fmla="*/ 416487 w 832973"/>
                  <a:gd name="connsiteY8" fmla="*/ 159121 h 324705"/>
                  <a:gd name="connsiteX9" fmla="*/ 442194 w 832973"/>
                  <a:gd name="connsiteY9" fmla="*/ 116946 h 324705"/>
                  <a:gd name="connsiteX10" fmla="*/ 442326 w 832973"/>
                  <a:gd name="connsiteY10" fmla="*/ 117904 h 324705"/>
                  <a:gd name="connsiteX11" fmla="*/ 442909 w 832973"/>
                  <a:gd name="connsiteY11" fmla="*/ 116946 h 324705"/>
                  <a:gd name="connsiteX12" fmla="*/ 444854 w 832973"/>
                  <a:gd name="connsiteY12" fmla="*/ 131119 h 324705"/>
                  <a:gd name="connsiteX13" fmla="*/ 547084 w 832973"/>
                  <a:gd name="connsiteY13" fmla="*/ 44034 h 324705"/>
                  <a:gd name="connsiteX14" fmla="*/ 544155 w 832973"/>
                  <a:gd name="connsiteY14" fmla="*/ 7910 h 324705"/>
                  <a:gd name="connsiteX15" fmla="*/ 544879 w 832973"/>
                  <a:gd name="connsiteY15" fmla="*/ 8023 h 324705"/>
                  <a:gd name="connsiteX16" fmla="*/ 544870 w 832973"/>
                  <a:gd name="connsiteY16" fmla="*/ 7910 h 324705"/>
                  <a:gd name="connsiteX17" fmla="*/ 727791 w 832973"/>
                  <a:gd name="connsiteY17" fmla="*/ 36430 h 324705"/>
                  <a:gd name="connsiteX18" fmla="*/ 756086 w 832973"/>
                  <a:gd name="connsiteY18" fmla="*/ 48877 h 324705"/>
                  <a:gd name="connsiteX19" fmla="*/ 756011 w 832973"/>
                  <a:gd name="connsiteY19" fmla="*/ 49158 h 324705"/>
                  <a:gd name="connsiteX20" fmla="*/ 802687 w 832973"/>
                  <a:gd name="connsiteY20" fmla="*/ 163428 h 324705"/>
                  <a:gd name="connsiteX21" fmla="*/ 832973 w 832973"/>
                  <a:gd name="connsiteY21" fmla="*/ 324705 h 324705"/>
                  <a:gd name="connsiteX22" fmla="*/ 731916 w 832973"/>
                  <a:gd name="connsiteY22" fmla="*/ 324705 h 324705"/>
                  <a:gd name="connsiteX23" fmla="*/ 628934 w 832973"/>
                  <a:gd name="connsiteY23" fmla="*/ 324705 h 324705"/>
                  <a:gd name="connsiteX24" fmla="*/ 628219 w 832973"/>
                  <a:gd name="connsiteY24" fmla="*/ 324705 h 324705"/>
                  <a:gd name="connsiteX25" fmla="*/ 460645 w 832973"/>
                  <a:gd name="connsiteY25" fmla="*/ 324705 h 324705"/>
                  <a:gd name="connsiteX26" fmla="*/ 459930 w 832973"/>
                  <a:gd name="connsiteY26" fmla="*/ 324705 h 324705"/>
                  <a:gd name="connsiteX27" fmla="*/ 416487 w 832973"/>
                  <a:gd name="connsiteY27" fmla="*/ 161055 h 324705"/>
                  <a:gd name="connsiteX28" fmla="*/ 373043 w 832973"/>
                  <a:gd name="connsiteY28" fmla="*/ 324705 h 324705"/>
                  <a:gd name="connsiteX29" fmla="*/ 372328 w 832973"/>
                  <a:gd name="connsiteY29" fmla="*/ 324705 h 324705"/>
                  <a:gd name="connsiteX30" fmla="*/ 204754 w 832973"/>
                  <a:gd name="connsiteY30" fmla="*/ 324705 h 324705"/>
                  <a:gd name="connsiteX31" fmla="*/ 204039 w 832973"/>
                  <a:gd name="connsiteY31" fmla="*/ 324705 h 324705"/>
                  <a:gd name="connsiteX32" fmla="*/ 101057 w 832973"/>
                  <a:gd name="connsiteY32" fmla="*/ 324705 h 324705"/>
                  <a:gd name="connsiteX33" fmla="*/ 0 w 832973"/>
                  <a:gd name="connsiteY33" fmla="*/ 324705 h 324705"/>
                  <a:gd name="connsiteX34" fmla="*/ 30286 w 832973"/>
                  <a:gd name="connsiteY34" fmla="*/ 163428 h 324705"/>
                  <a:gd name="connsiteX35" fmla="*/ 76963 w 832973"/>
                  <a:gd name="connsiteY35" fmla="*/ 49158 h 324705"/>
                  <a:gd name="connsiteX36" fmla="*/ 76887 w 832973"/>
                  <a:gd name="connsiteY36" fmla="*/ 48877 h 324705"/>
                  <a:gd name="connsiteX37" fmla="*/ 105182 w 832973"/>
                  <a:gd name="connsiteY37" fmla="*/ 36430 h 324705"/>
                  <a:gd name="connsiteX38" fmla="*/ 288103 w 832973"/>
                  <a:gd name="connsiteY38" fmla="*/ 7910 h 324705"/>
                  <a:gd name="connsiteX39" fmla="*/ 494142 w 832973"/>
                  <a:gd name="connsiteY39" fmla="*/ 0 h 324705"/>
                  <a:gd name="connsiteX40" fmla="*/ 494142 w 832973"/>
                  <a:gd name="connsiteY40" fmla="*/ 0 h 324705"/>
                  <a:gd name="connsiteX41" fmla="*/ 494142 w 832973"/>
                  <a:gd name="connsiteY41" fmla="*/ 0 h 324705"/>
                  <a:gd name="connsiteX0" fmla="*/ 288103 w 832973"/>
                  <a:gd name="connsiteY0" fmla="*/ 7910 h 324705"/>
                  <a:gd name="connsiteX1" fmla="*/ 288094 w 832973"/>
                  <a:gd name="connsiteY1" fmla="*/ 8023 h 324705"/>
                  <a:gd name="connsiteX2" fmla="*/ 288818 w 832973"/>
                  <a:gd name="connsiteY2" fmla="*/ 7910 h 324705"/>
                  <a:gd name="connsiteX3" fmla="*/ 285889 w 832973"/>
                  <a:gd name="connsiteY3" fmla="*/ 44034 h 324705"/>
                  <a:gd name="connsiteX4" fmla="*/ 388119 w 832973"/>
                  <a:gd name="connsiteY4" fmla="*/ 131119 h 324705"/>
                  <a:gd name="connsiteX5" fmla="*/ 390064 w 832973"/>
                  <a:gd name="connsiteY5" fmla="*/ 116946 h 324705"/>
                  <a:gd name="connsiteX6" fmla="*/ 390648 w 832973"/>
                  <a:gd name="connsiteY6" fmla="*/ 117904 h 324705"/>
                  <a:gd name="connsiteX7" fmla="*/ 390779 w 832973"/>
                  <a:gd name="connsiteY7" fmla="*/ 116946 h 324705"/>
                  <a:gd name="connsiteX8" fmla="*/ 416487 w 832973"/>
                  <a:gd name="connsiteY8" fmla="*/ 159121 h 324705"/>
                  <a:gd name="connsiteX9" fmla="*/ 442194 w 832973"/>
                  <a:gd name="connsiteY9" fmla="*/ 116946 h 324705"/>
                  <a:gd name="connsiteX10" fmla="*/ 442326 w 832973"/>
                  <a:gd name="connsiteY10" fmla="*/ 117904 h 324705"/>
                  <a:gd name="connsiteX11" fmla="*/ 442909 w 832973"/>
                  <a:gd name="connsiteY11" fmla="*/ 116946 h 324705"/>
                  <a:gd name="connsiteX12" fmla="*/ 444854 w 832973"/>
                  <a:gd name="connsiteY12" fmla="*/ 131119 h 324705"/>
                  <a:gd name="connsiteX13" fmla="*/ 547084 w 832973"/>
                  <a:gd name="connsiteY13" fmla="*/ 44034 h 324705"/>
                  <a:gd name="connsiteX14" fmla="*/ 544155 w 832973"/>
                  <a:gd name="connsiteY14" fmla="*/ 7910 h 324705"/>
                  <a:gd name="connsiteX15" fmla="*/ 544879 w 832973"/>
                  <a:gd name="connsiteY15" fmla="*/ 8023 h 324705"/>
                  <a:gd name="connsiteX16" fmla="*/ 544870 w 832973"/>
                  <a:gd name="connsiteY16" fmla="*/ 7910 h 324705"/>
                  <a:gd name="connsiteX17" fmla="*/ 727791 w 832973"/>
                  <a:gd name="connsiteY17" fmla="*/ 36430 h 324705"/>
                  <a:gd name="connsiteX18" fmla="*/ 756086 w 832973"/>
                  <a:gd name="connsiteY18" fmla="*/ 48877 h 324705"/>
                  <a:gd name="connsiteX19" fmla="*/ 756011 w 832973"/>
                  <a:gd name="connsiteY19" fmla="*/ 49158 h 324705"/>
                  <a:gd name="connsiteX20" fmla="*/ 802687 w 832973"/>
                  <a:gd name="connsiteY20" fmla="*/ 163428 h 324705"/>
                  <a:gd name="connsiteX21" fmla="*/ 832973 w 832973"/>
                  <a:gd name="connsiteY21" fmla="*/ 324705 h 324705"/>
                  <a:gd name="connsiteX22" fmla="*/ 731916 w 832973"/>
                  <a:gd name="connsiteY22" fmla="*/ 324705 h 324705"/>
                  <a:gd name="connsiteX23" fmla="*/ 628934 w 832973"/>
                  <a:gd name="connsiteY23" fmla="*/ 324705 h 324705"/>
                  <a:gd name="connsiteX24" fmla="*/ 628219 w 832973"/>
                  <a:gd name="connsiteY24" fmla="*/ 324705 h 324705"/>
                  <a:gd name="connsiteX25" fmla="*/ 460645 w 832973"/>
                  <a:gd name="connsiteY25" fmla="*/ 324705 h 324705"/>
                  <a:gd name="connsiteX26" fmla="*/ 459930 w 832973"/>
                  <a:gd name="connsiteY26" fmla="*/ 324705 h 324705"/>
                  <a:gd name="connsiteX27" fmla="*/ 416487 w 832973"/>
                  <a:gd name="connsiteY27" fmla="*/ 161055 h 324705"/>
                  <a:gd name="connsiteX28" fmla="*/ 373043 w 832973"/>
                  <a:gd name="connsiteY28" fmla="*/ 324705 h 324705"/>
                  <a:gd name="connsiteX29" fmla="*/ 372328 w 832973"/>
                  <a:gd name="connsiteY29" fmla="*/ 324705 h 324705"/>
                  <a:gd name="connsiteX30" fmla="*/ 204754 w 832973"/>
                  <a:gd name="connsiteY30" fmla="*/ 324705 h 324705"/>
                  <a:gd name="connsiteX31" fmla="*/ 204039 w 832973"/>
                  <a:gd name="connsiteY31" fmla="*/ 324705 h 324705"/>
                  <a:gd name="connsiteX32" fmla="*/ 101057 w 832973"/>
                  <a:gd name="connsiteY32" fmla="*/ 324705 h 324705"/>
                  <a:gd name="connsiteX33" fmla="*/ 0 w 832973"/>
                  <a:gd name="connsiteY33" fmla="*/ 324705 h 324705"/>
                  <a:gd name="connsiteX34" fmla="*/ 30286 w 832973"/>
                  <a:gd name="connsiteY34" fmla="*/ 163428 h 324705"/>
                  <a:gd name="connsiteX35" fmla="*/ 76963 w 832973"/>
                  <a:gd name="connsiteY35" fmla="*/ 49158 h 324705"/>
                  <a:gd name="connsiteX36" fmla="*/ 76887 w 832973"/>
                  <a:gd name="connsiteY36" fmla="*/ 48877 h 324705"/>
                  <a:gd name="connsiteX37" fmla="*/ 105182 w 832973"/>
                  <a:gd name="connsiteY37" fmla="*/ 36430 h 324705"/>
                  <a:gd name="connsiteX38" fmla="*/ 288103 w 832973"/>
                  <a:gd name="connsiteY38" fmla="*/ 7910 h 324705"/>
                  <a:gd name="connsiteX39" fmla="*/ 483541 w 832973"/>
                  <a:gd name="connsiteY39" fmla="*/ 33572 h 324705"/>
                  <a:gd name="connsiteX40" fmla="*/ 494142 w 832973"/>
                  <a:gd name="connsiteY40" fmla="*/ 0 h 324705"/>
                  <a:gd name="connsiteX41" fmla="*/ 483541 w 832973"/>
                  <a:gd name="connsiteY41" fmla="*/ 33572 h 324705"/>
                  <a:gd name="connsiteX0" fmla="*/ 288103 w 832973"/>
                  <a:gd name="connsiteY0" fmla="*/ 0 h 316795"/>
                  <a:gd name="connsiteX1" fmla="*/ 288094 w 832973"/>
                  <a:gd name="connsiteY1" fmla="*/ 113 h 316795"/>
                  <a:gd name="connsiteX2" fmla="*/ 288818 w 832973"/>
                  <a:gd name="connsiteY2" fmla="*/ 0 h 316795"/>
                  <a:gd name="connsiteX3" fmla="*/ 285889 w 832973"/>
                  <a:gd name="connsiteY3" fmla="*/ 36124 h 316795"/>
                  <a:gd name="connsiteX4" fmla="*/ 388119 w 832973"/>
                  <a:gd name="connsiteY4" fmla="*/ 123209 h 316795"/>
                  <a:gd name="connsiteX5" fmla="*/ 390064 w 832973"/>
                  <a:gd name="connsiteY5" fmla="*/ 109036 h 316795"/>
                  <a:gd name="connsiteX6" fmla="*/ 390648 w 832973"/>
                  <a:gd name="connsiteY6" fmla="*/ 109994 h 316795"/>
                  <a:gd name="connsiteX7" fmla="*/ 390779 w 832973"/>
                  <a:gd name="connsiteY7" fmla="*/ 109036 h 316795"/>
                  <a:gd name="connsiteX8" fmla="*/ 416487 w 832973"/>
                  <a:gd name="connsiteY8" fmla="*/ 151211 h 316795"/>
                  <a:gd name="connsiteX9" fmla="*/ 442194 w 832973"/>
                  <a:gd name="connsiteY9" fmla="*/ 109036 h 316795"/>
                  <a:gd name="connsiteX10" fmla="*/ 442326 w 832973"/>
                  <a:gd name="connsiteY10" fmla="*/ 109994 h 316795"/>
                  <a:gd name="connsiteX11" fmla="*/ 442909 w 832973"/>
                  <a:gd name="connsiteY11" fmla="*/ 109036 h 316795"/>
                  <a:gd name="connsiteX12" fmla="*/ 444854 w 832973"/>
                  <a:gd name="connsiteY12" fmla="*/ 123209 h 316795"/>
                  <a:gd name="connsiteX13" fmla="*/ 547084 w 832973"/>
                  <a:gd name="connsiteY13" fmla="*/ 36124 h 316795"/>
                  <a:gd name="connsiteX14" fmla="*/ 544155 w 832973"/>
                  <a:gd name="connsiteY14" fmla="*/ 0 h 316795"/>
                  <a:gd name="connsiteX15" fmla="*/ 544879 w 832973"/>
                  <a:gd name="connsiteY15" fmla="*/ 113 h 316795"/>
                  <a:gd name="connsiteX16" fmla="*/ 544870 w 832973"/>
                  <a:gd name="connsiteY16" fmla="*/ 0 h 316795"/>
                  <a:gd name="connsiteX17" fmla="*/ 727791 w 832973"/>
                  <a:gd name="connsiteY17" fmla="*/ 28520 h 316795"/>
                  <a:gd name="connsiteX18" fmla="*/ 756086 w 832973"/>
                  <a:gd name="connsiteY18" fmla="*/ 40967 h 316795"/>
                  <a:gd name="connsiteX19" fmla="*/ 756011 w 832973"/>
                  <a:gd name="connsiteY19" fmla="*/ 41248 h 316795"/>
                  <a:gd name="connsiteX20" fmla="*/ 802687 w 832973"/>
                  <a:gd name="connsiteY20" fmla="*/ 155518 h 316795"/>
                  <a:gd name="connsiteX21" fmla="*/ 832973 w 832973"/>
                  <a:gd name="connsiteY21" fmla="*/ 316795 h 316795"/>
                  <a:gd name="connsiteX22" fmla="*/ 731916 w 832973"/>
                  <a:gd name="connsiteY22" fmla="*/ 316795 h 316795"/>
                  <a:gd name="connsiteX23" fmla="*/ 628934 w 832973"/>
                  <a:gd name="connsiteY23" fmla="*/ 316795 h 316795"/>
                  <a:gd name="connsiteX24" fmla="*/ 628219 w 832973"/>
                  <a:gd name="connsiteY24" fmla="*/ 316795 h 316795"/>
                  <a:gd name="connsiteX25" fmla="*/ 460645 w 832973"/>
                  <a:gd name="connsiteY25" fmla="*/ 316795 h 316795"/>
                  <a:gd name="connsiteX26" fmla="*/ 459930 w 832973"/>
                  <a:gd name="connsiteY26" fmla="*/ 316795 h 316795"/>
                  <a:gd name="connsiteX27" fmla="*/ 416487 w 832973"/>
                  <a:gd name="connsiteY27" fmla="*/ 153145 h 316795"/>
                  <a:gd name="connsiteX28" fmla="*/ 373043 w 832973"/>
                  <a:gd name="connsiteY28" fmla="*/ 316795 h 316795"/>
                  <a:gd name="connsiteX29" fmla="*/ 372328 w 832973"/>
                  <a:gd name="connsiteY29" fmla="*/ 316795 h 316795"/>
                  <a:gd name="connsiteX30" fmla="*/ 204754 w 832973"/>
                  <a:gd name="connsiteY30" fmla="*/ 316795 h 316795"/>
                  <a:gd name="connsiteX31" fmla="*/ 204039 w 832973"/>
                  <a:gd name="connsiteY31" fmla="*/ 316795 h 316795"/>
                  <a:gd name="connsiteX32" fmla="*/ 101057 w 832973"/>
                  <a:gd name="connsiteY32" fmla="*/ 316795 h 316795"/>
                  <a:gd name="connsiteX33" fmla="*/ 0 w 832973"/>
                  <a:gd name="connsiteY33" fmla="*/ 316795 h 316795"/>
                  <a:gd name="connsiteX34" fmla="*/ 30286 w 832973"/>
                  <a:gd name="connsiteY34" fmla="*/ 155518 h 316795"/>
                  <a:gd name="connsiteX35" fmla="*/ 76963 w 832973"/>
                  <a:gd name="connsiteY35" fmla="*/ 41248 h 316795"/>
                  <a:gd name="connsiteX36" fmla="*/ 76887 w 832973"/>
                  <a:gd name="connsiteY36" fmla="*/ 40967 h 316795"/>
                  <a:gd name="connsiteX37" fmla="*/ 105182 w 832973"/>
                  <a:gd name="connsiteY37" fmla="*/ 28520 h 316795"/>
                  <a:gd name="connsiteX38" fmla="*/ 288103 w 832973"/>
                  <a:gd name="connsiteY38" fmla="*/ 0 h 316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32973" h="316795">
                    <a:moveTo>
                      <a:pt x="288103" y="0"/>
                    </a:moveTo>
                    <a:cubicBezTo>
                      <a:pt x="288100" y="38"/>
                      <a:pt x="288097" y="75"/>
                      <a:pt x="288094" y="113"/>
                    </a:cubicBezTo>
                    <a:lnTo>
                      <a:pt x="288818" y="0"/>
                    </a:lnTo>
                    <a:lnTo>
                      <a:pt x="285889" y="36124"/>
                    </a:lnTo>
                    <a:lnTo>
                      <a:pt x="388119" y="123209"/>
                    </a:lnTo>
                    <a:lnTo>
                      <a:pt x="390064" y="109036"/>
                    </a:lnTo>
                    <a:lnTo>
                      <a:pt x="390648" y="109994"/>
                    </a:lnTo>
                    <a:cubicBezTo>
                      <a:pt x="390692" y="109675"/>
                      <a:pt x="390735" y="109355"/>
                      <a:pt x="390779" y="109036"/>
                    </a:cubicBezTo>
                    <a:lnTo>
                      <a:pt x="416487" y="151211"/>
                    </a:lnTo>
                    <a:lnTo>
                      <a:pt x="442194" y="109036"/>
                    </a:lnTo>
                    <a:lnTo>
                      <a:pt x="442326" y="109994"/>
                    </a:lnTo>
                    <a:lnTo>
                      <a:pt x="442909" y="109036"/>
                    </a:lnTo>
                    <a:lnTo>
                      <a:pt x="444854" y="123209"/>
                    </a:lnTo>
                    <a:lnTo>
                      <a:pt x="547084" y="36124"/>
                    </a:lnTo>
                    <a:lnTo>
                      <a:pt x="544155" y="0"/>
                    </a:lnTo>
                    <a:lnTo>
                      <a:pt x="544879" y="113"/>
                    </a:lnTo>
                    <a:cubicBezTo>
                      <a:pt x="544876" y="75"/>
                      <a:pt x="544873" y="38"/>
                      <a:pt x="544870" y="0"/>
                    </a:cubicBezTo>
                    <a:lnTo>
                      <a:pt x="727791" y="28520"/>
                    </a:lnTo>
                    <a:lnTo>
                      <a:pt x="756086" y="40967"/>
                    </a:lnTo>
                    <a:cubicBezTo>
                      <a:pt x="756061" y="41061"/>
                      <a:pt x="756036" y="41154"/>
                      <a:pt x="756011" y="41248"/>
                    </a:cubicBezTo>
                    <a:cubicBezTo>
                      <a:pt x="788015" y="60586"/>
                      <a:pt x="792902" y="101660"/>
                      <a:pt x="802687" y="155518"/>
                    </a:cubicBezTo>
                    <a:cubicBezTo>
                      <a:pt x="806261" y="186545"/>
                      <a:pt x="821375" y="258559"/>
                      <a:pt x="832973" y="316795"/>
                    </a:cubicBezTo>
                    <a:lnTo>
                      <a:pt x="731916" y="316795"/>
                    </a:lnTo>
                    <a:lnTo>
                      <a:pt x="628934" y="316795"/>
                    </a:lnTo>
                    <a:lnTo>
                      <a:pt x="628219" y="316795"/>
                    </a:lnTo>
                    <a:lnTo>
                      <a:pt x="460645" y="316795"/>
                    </a:lnTo>
                    <a:lnTo>
                      <a:pt x="459930" y="316795"/>
                    </a:lnTo>
                    <a:lnTo>
                      <a:pt x="416487" y="153145"/>
                    </a:lnTo>
                    <a:lnTo>
                      <a:pt x="373043" y="316795"/>
                    </a:lnTo>
                    <a:lnTo>
                      <a:pt x="372328" y="316795"/>
                    </a:lnTo>
                    <a:lnTo>
                      <a:pt x="204754" y="316795"/>
                    </a:lnTo>
                    <a:lnTo>
                      <a:pt x="204039" y="316795"/>
                    </a:lnTo>
                    <a:lnTo>
                      <a:pt x="101057" y="316795"/>
                    </a:lnTo>
                    <a:lnTo>
                      <a:pt x="0" y="316795"/>
                    </a:lnTo>
                    <a:cubicBezTo>
                      <a:pt x="11598" y="258559"/>
                      <a:pt x="26712" y="186545"/>
                      <a:pt x="30286" y="155518"/>
                    </a:cubicBezTo>
                    <a:cubicBezTo>
                      <a:pt x="40071" y="101660"/>
                      <a:pt x="44958" y="60586"/>
                      <a:pt x="76963" y="41248"/>
                    </a:cubicBezTo>
                    <a:cubicBezTo>
                      <a:pt x="76938" y="41154"/>
                      <a:pt x="76912" y="41061"/>
                      <a:pt x="76887" y="40967"/>
                    </a:cubicBezTo>
                    <a:lnTo>
                      <a:pt x="105182" y="28520"/>
                    </a:lnTo>
                    <a:lnTo>
                      <a:pt x="288103" y="0"/>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32" name="Rounded Rectangular Callout 12"/>
            <p:cNvSpPr/>
            <p:nvPr/>
          </p:nvSpPr>
          <p:spPr bwMode="gray">
            <a:xfrm>
              <a:off x="1123583" y="4815799"/>
              <a:ext cx="3933953" cy="600509"/>
            </a:xfrm>
            <a:prstGeom prst="wedgeRoundRectCallout">
              <a:avLst>
                <a:gd name="adj1" fmla="val -57823"/>
                <a:gd name="adj2" fmla="val 33377"/>
                <a:gd name="adj3" fmla="val 16667"/>
              </a:avLst>
            </a:prstGeom>
            <a:solidFill>
              <a:srgbClr val="C00000"/>
            </a:solid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079"/>
                </a:spcBef>
                <a:buClr>
                  <a:schemeClr val="tx2"/>
                </a:buClr>
                <a:buSzPct val="70000"/>
              </a:pPr>
              <a:r>
                <a:rPr lang="en-US" sz="1600" dirty="0">
                  <a:solidFill>
                    <a:schemeClr val="bg1"/>
                  </a:solidFill>
                  <a:latin typeface="ABBvoice" panose="020D0603020503020204" pitchFamily="34" charset="0"/>
                  <a:ea typeface="ABBvoice" panose="020D0603020503020204" pitchFamily="34" charset="0"/>
                  <a:cs typeface="ABBvoice" panose="020D0603020503020204" pitchFamily="34" charset="0"/>
                </a:rPr>
                <a:t>I cannot access the type plate since the unit is in a cabinet…</a:t>
              </a:r>
            </a:p>
          </p:txBody>
        </p:sp>
      </p:grpSp>
      <p:grpSp>
        <p:nvGrpSpPr>
          <p:cNvPr id="91" name="Group 90">
            <a:extLst>
              <a:ext uri="{FF2B5EF4-FFF2-40B4-BE49-F238E27FC236}">
                <a16:creationId xmlns:a16="http://schemas.microsoft.com/office/drawing/2014/main" id="{8ECCFF2E-8B92-40CC-8CCE-2418A426D3E8}"/>
              </a:ext>
            </a:extLst>
          </p:cNvPr>
          <p:cNvGrpSpPr/>
          <p:nvPr/>
        </p:nvGrpSpPr>
        <p:grpSpPr bwMode="gray">
          <a:xfrm>
            <a:off x="6875969" y="2567036"/>
            <a:ext cx="4961868" cy="1074832"/>
            <a:chOff x="6875969" y="2567036"/>
            <a:chExt cx="4961868" cy="1074832"/>
          </a:xfrm>
        </p:grpSpPr>
        <p:grpSp>
          <p:nvGrpSpPr>
            <p:cNvPr id="73" name="Group 72">
              <a:extLst>
                <a:ext uri="{FF2B5EF4-FFF2-40B4-BE49-F238E27FC236}">
                  <a16:creationId xmlns:a16="http://schemas.microsoft.com/office/drawing/2014/main" id="{444C27D8-95A0-4E56-B441-74F61170AE00}"/>
                </a:ext>
              </a:extLst>
            </p:cNvPr>
            <p:cNvGrpSpPr>
              <a:grpSpLocks noChangeAspect="1"/>
            </p:cNvGrpSpPr>
            <p:nvPr/>
          </p:nvGrpSpPr>
          <p:grpSpPr bwMode="gray">
            <a:xfrm>
              <a:off x="11114730" y="2811863"/>
              <a:ext cx="723107" cy="830005"/>
              <a:chOff x="2742531" y="3003525"/>
              <a:chExt cx="834388" cy="957737"/>
            </a:xfrm>
          </p:grpSpPr>
          <p:sp>
            <p:nvSpPr>
              <p:cNvPr id="74" name="Rounded Rectangle 25">
                <a:extLst>
                  <a:ext uri="{FF2B5EF4-FFF2-40B4-BE49-F238E27FC236}">
                    <a16:creationId xmlns:a16="http://schemas.microsoft.com/office/drawing/2014/main" id="{EAA0AFA0-E52C-47B6-B1B8-65119AC308BB}"/>
                  </a:ext>
                </a:extLst>
              </p:cNvPr>
              <p:cNvSpPr/>
              <p:nvPr/>
            </p:nvSpPr>
            <p:spPr bwMode="gray">
              <a:xfrm rot="21372172" flipH="1">
                <a:off x="2958175" y="3329495"/>
                <a:ext cx="416828" cy="282223"/>
              </a:xfrm>
              <a:custGeom>
                <a:avLst/>
                <a:gdLst/>
                <a:ahLst/>
                <a:cxnLst/>
                <a:rect l="l" t="t" r="r" b="b"/>
                <a:pathLst>
                  <a:path w="416828" h="282223">
                    <a:moveTo>
                      <a:pt x="411436" y="0"/>
                    </a:moveTo>
                    <a:lnTo>
                      <a:pt x="393023" y="1222"/>
                    </a:lnTo>
                    <a:lnTo>
                      <a:pt x="360784" y="33807"/>
                    </a:lnTo>
                    <a:lnTo>
                      <a:pt x="215868" y="43425"/>
                    </a:lnTo>
                    <a:lnTo>
                      <a:pt x="202506" y="44312"/>
                    </a:lnTo>
                    <a:lnTo>
                      <a:pt x="57590" y="53930"/>
                    </a:lnTo>
                    <a:lnTo>
                      <a:pt x="21328" y="25891"/>
                    </a:lnTo>
                    <a:lnTo>
                      <a:pt x="3824" y="27053"/>
                    </a:lnTo>
                    <a:cubicBezTo>
                      <a:pt x="411" y="30721"/>
                      <a:pt x="-465" y="35670"/>
                      <a:pt x="214" y="40771"/>
                    </a:cubicBezTo>
                    <a:lnTo>
                      <a:pt x="10838" y="120449"/>
                    </a:lnTo>
                    <a:cubicBezTo>
                      <a:pt x="12697" y="134390"/>
                      <a:pt x="25478" y="144196"/>
                      <a:pt x="39407" y="142352"/>
                    </a:cubicBezTo>
                    <a:cubicBezTo>
                      <a:pt x="68984" y="228663"/>
                      <a:pt x="140489" y="287153"/>
                      <a:pt x="219703" y="281896"/>
                    </a:cubicBezTo>
                    <a:lnTo>
                      <a:pt x="225338" y="280363"/>
                    </a:lnTo>
                    <a:lnTo>
                      <a:pt x="231130" y="281139"/>
                    </a:lnTo>
                    <a:cubicBezTo>
                      <a:pt x="310346" y="275881"/>
                      <a:pt x="373493" y="208454"/>
                      <a:pt x="391404" y="118991"/>
                    </a:cubicBezTo>
                    <a:cubicBezTo>
                      <a:pt x="405455" y="118978"/>
                      <a:pt x="416828" y="107569"/>
                      <a:pt x="416828" y="93505"/>
                    </a:cubicBezTo>
                    <a:lnTo>
                      <a:pt x="416827" y="13122"/>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5" name="Rounded Rectangle 22">
                <a:extLst>
                  <a:ext uri="{FF2B5EF4-FFF2-40B4-BE49-F238E27FC236}">
                    <a16:creationId xmlns:a16="http://schemas.microsoft.com/office/drawing/2014/main" id="{F9D60611-9346-4492-9AFD-726BC7C2FCCD}"/>
                  </a:ext>
                </a:extLst>
              </p:cNvPr>
              <p:cNvSpPr/>
              <p:nvPr/>
            </p:nvSpPr>
            <p:spPr bwMode="gray">
              <a:xfrm flipH="1">
                <a:off x="3056802" y="3574901"/>
                <a:ext cx="205146" cy="148612"/>
              </a:xfrm>
              <a:custGeom>
                <a:avLst/>
                <a:gdLst/>
                <a:ahLst/>
                <a:cxnLst/>
                <a:rect l="l" t="t" r="r" b="b"/>
                <a:pathLst>
                  <a:path w="205146" h="148612">
                    <a:moveTo>
                      <a:pt x="0" y="0"/>
                    </a:moveTo>
                    <a:lnTo>
                      <a:pt x="0" y="46818"/>
                    </a:lnTo>
                    <a:lnTo>
                      <a:pt x="87823" y="95272"/>
                    </a:lnTo>
                    <a:lnTo>
                      <a:pt x="80601" y="147895"/>
                    </a:lnTo>
                    <a:cubicBezTo>
                      <a:pt x="82347" y="148514"/>
                      <a:pt x="83934" y="148612"/>
                      <a:pt x="85274" y="148612"/>
                    </a:cubicBezTo>
                    <a:cubicBezTo>
                      <a:pt x="92100" y="148612"/>
                      <a:pt x="97749" y="148525"/>
                      <a:pt x="102573" y="148298"/>
                    </a:cubicBezTo>
                    <a:cubicBezTo>
                      <a:pt x="107398" y="148525"/>
                      <a:pt x="113046" y="148612"/>
                      <a:pt x="119872" y="148612"/>
                    </a:cubicBezTo>
                    <a:lnTo>
                      <a:pt x="124546" y="147895"/>
                    </a:lnTo>
                    <a:lnTo>
                      <a:pt x="117323" y="95272"/>
                    </a:lnTo>
                    <a:lnTo>
                      <a:pt x="205146" y="46818"/>
                    </a:lnTo>
                    <a:lnTo>
                      <a:pt x="205146" y="580"/>
                    </a:lnTo>
                    <a:cubicBezTo>
                      <a:pt x="178051" y="24052"/>
                      <a:pt x="144619" y="36929"/>
                      <a:pt x="108755" y="36929"/>
                    </a:cubicBezTo>
                    <a:lnTo>
                      <a:pt x="103026" y="35771"/>
                    </a:lnTo>
                    <a:lnTo>
                      <a:pt x="97303" y="36928"/>
                    </a:lnTo>
                    <a:cubicBezTo>
                      <a:pt x="61078" y="36928"/>
                      <a:pt x="27334" y="23790"/>
                      <a:pt x="0" y="0"/>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6" name="Rounded Rectangle 43">
                <a:extLst>
                  <a:ext uri="{FF2B5EF4-FFF2-40B4-BE49-F238E27FC236}">
                    <a16:creationId xmlns:a16="http://schemas.microsoft.com/office/drawing/2014/main" id="{80EAC5BA-55B5-45BD-B45F-410F1E8FB915}"/>
                  </a:ext>
                </a:extLst>
              </p:cNvPr>
              <p:cNvSpPr/>
              <p:nvPr/>
            </p:nvSpPr>
            <p:spPr bwMode="gray">
              <a:xfrm flipH="1">
                <a:off x="2910058" y="3003525"/>
                <a:ext cx="498635" cy="370102"/>
              </a:xfrm>
              <a:custGeom>
                <a:avLst/>
                <a:gdLst/>
                <a:ahLst/>
                <a:cxnLst/>
                <a:rect l="l" t="t" r="r" b="b"/>
                <a:pathLst>
                  <a:path w="498635" h="370102">
                    <a:moveTo>
                      <a:pt x="315398" y="0"/>
                    </a:moveTo>
                    <a:lnTo>
                      <a:pt x="265574" y="0"/>
                    </a:lnTo>
                    <a:lnTo>
                      <a:pt x="233061" y="0"/>
                    </a:lnTo>
                    <a:lnTo>
                      <a:pt x="183237" y="0"/>
                    </a:lnTo>
                    <a:cubicBezTo>
                      <a:pt x="167265" y="5063"/>
                      <a:pt x="156511" y="10270"/>
                      <a:pt x="150690" y="30378"/>
                    </a:cubicBezTo>
                    <a:cubicBezTo>
                      <a:pt x="144869" y="50486"/>
                      <a:pt x="151882" y="119114"/>
                      <a:pt x="148311" y="120651"/>
                    </a:cubicBezTo>
                    <a:lnTo>
                      <a:pt x="148311" y="39598"/>
                    </a:lnTo>
                    <a:cubicBezTo>
                      <a:pt x="59773" y="77636"/>
                      <a:pt x="24574" y="146216"/>
                      <a:pt x="24574" y="229974"/>
                    </a:cubicBezTo>
                    <a:lnTo>
                      <a:pt x="0" y="256561"/>
                    </a:lnTo>
                    <a:lnTo>
                      <a:pt x="0" y="323091"/>
                    </a:lnTo>
                    <a:cubicBezTo>
                      <a:pt x="0" y="332277"/>
                      <a:pt x="7447" y="339724"/>
                      <a:pt x="16633" y="339724"/>
                    </a:cubicBezTo>
                    <a:lnTo>
                      <a:pt x="63061" y="339724"/>
                    </a:lnTo>
                    <a:lnTo>
                      <a:pt x="97387" y="370102"/>
                    </a:lnTo>
                    <a:lnTo>
                      <a:pt x="242622" y="370102"/>
                    </a:lnTo>
                    <a:lnTo>
                      <a:pt x="256013" y="370102"/>
                    </a:lnTo>
                    <a:lnTo>
                      <a:pt x="401248" y="370102"/>
                    </a:lnTo>
                    <a:lnTo>
                      <a:pt x="435574" y="339724"/>
                    </a:lnTo>
                    <a:lnTo>
                      <a:pt x="482002" y="339724"/>
                    </a:lnTo>
                    <a:cubicBezTo>
                      <a:pt x="491188" y="339724"/>
                      <a:pt x="498635" y="332277"/>
                      <a:pt x="498635" y="323091"/>
                    </a:cubicBezTo>
                    <a:lnTo>
                      <a:pt x="498635" y="256561"/>
                    </a:lnTo>
                    <a:lnTo>
                      <a:pt x="474061" y="229974"/>
                    </a:lnTo>
                    <a:cubicBezTo>
                      <a:pt x="474061" y="146216"/>
                      <a:pt x="438862" y="77636"/>
                      <a:pt x="350324" y="39598"/>
                    </a:cubicBezTo>
                    <a:lnTo>
                      <a:pt x="350324" y="120651"/>
                    </a:lnTo>
                    <a:cubicBezTo>
                      <a:pt x="346753" y="119114"/>
                      <a:pt x="353766" y="50486"/>
                      <a:pt x="347945" y="30378"/>
                    </a:cubicBezTo>
                    <a:cubicBezTo>
                      <a:pt x="342124" y="10270"/>
                      <a:pt x="331370" y="5063"/>
                      <a:pt x="315398" y="0"/>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7" name="Freeform 74">
                <a:extLst>
                  <a:ext uri="{FF2B5EF4-FFF2-40B4-BE49-F238E27FC236}">
                    <a16:creationId xmlns:a16="http://schemas.microsoft.com/office/drawing/2014/main" id="{B9892291-2317-4676-AB7B-6EA39FEF4EA7}"/>
                  </a:ext>
                </a:extLst>
              </p:cNvPr>
              <p:cNvSpPr/>
              <p:nvPr/>
            </p:nvSpPr>
            <p:spPr bwMode="gray">
              <a:xfrm>
                <a:off x="3028420" y="3609213"/>
                <a:ext cx="116205" cy="158115"/>
              </a:xfrm>
              <a:custGeom>
                <a:avLst/>
                <a:gdLst>
                  <a:gd name="connsiteX0" fmla="*/ 9525 w 123825"/>
                  <a:gd name="connsiteY0" fmla="*/ 0 h 131445"/>
                  <a:gd name="connsiteX1" fmla="*/ 123825 w 123825"/>
                  <a:gd name="connsiteY1" fmla="*/ 55245 h 131445"/>
                  <a:gd name="connsiteX2" fmla="*/ 120015 w 123825"/>
                  <a:gd name="connsiteY2" fmla="*/ 131445 h 131445"/>
                  <a:gd name="connsiteX3" fmla="*/ 0 w 123825"/>
                  <a:gd name="connsiteY3" fmla="*/ 72390 h 131445"/>
                  <a:gd name="connsiteX4" fmla="*/ 9525 w 123825"/>
                  <a:gd name="connsiteY4" fmla="*/ 0 h 131445"/>
                  <a:gd name="connsiteX0" fmla="*/ 9525 w 123825"/>
                  <a:gd name="connsiteY0" fmla="*/ 0 h 158115"/>
                  <a:gd name="connsiteX1" fmla="*/ 123825 w 123825"/>
                  <a:gd name="connsiteY1" fmla="*/ 55245 h 158115"/>
                  <a:gd name="connsiteX2" fmla="*/ 106680 w 123825"/>
                  <a:gd name="connsiteY2" fmla="*/ 158115 h 158115"/>
                  <a:gd name="connsiteX3" fmla="*/ 0 w 123825"/>
                  <a:gd name="connsiteY3" fmla="*/ 72390 h 158115"/>
                  <a:gd name="connsiteX4" fmla="*/ 9525 w 123825"/>
                  <a:gd name="connsiteY4" fmla="*/ 0 h 158115"/>
                  <a:gd name="connsiteX0" fmla="*/ 5715 w 120015"/>
                  <a:gd name="connsiteY0" fmla="*/ 0 h 158115"/>
                  <a:gd name="connsiteX1" fmla="*/ 120015 w 120015"/>
                  <a:gd name="connsiteY1" fmla="*/ 55245 h 158115"/>
                  <a:gd name="connsiteX2" fmla="*/ 102870 w 120015"/>
                  <a:gd name="connsiteY2" fmla="*/ 158115 h 158115"/>
                  <a:gd name="connsiteX3" fmla="*/ 0 w 120015"/>
                  <a:gd name="connsiteY3" fmla="*/ 70485 h 158115"/>
                  <a:gd name="connsiteX4" fmla="*/ 5715 w 120015"/>
                  <a:gd name="connsiteY4" fmla="*/ 0 h 158115"/>
                  <a:gd name="connsiteX0" fmla="*/ 5715 w 116205"/>
                  <a:gd name="connsiteY0" fmla="*/ 0 h 158115"/>
                  <a:gd name="connsiteX1" fmla="*/ 116205 w 116205"/>
                  <a:gd name="connsiteY1" fmla="*/ 60960 h 158115"/>
                  <a:gd name="connsiteX2" fmla="*/ 102870 w 116205"/>
                  <a:gd name="connsiteY2" fmla="*/ 158115 h 158115"/>
                  <a:gd name="connsiteX3" fmla="*/ 0 w 116205"/>
                  <a:gd name="connsiteY3" fmla="*/ 70485 h 158115"/>
                  <a:gd name="connsiteX4" fmla="*/ 5715 w 116205"/>
                  <a:gd name="connsiteY4" fmla="*/ 0 h 158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205" h="158115">
                    <a:moveTo>
                      <a:pt x="5715" y="0"/>
                    </a:moveTo>
                    <a:lnTo>
                      <a:pt x="116205" y="60960"/>
                    </a:lnTo>
                    <a:lnTo>
                      <a:pt x="102870" y="158115"/>
                    </a:lnTo>
                    <a:lnTo>
                      <a:pt x="0" y="70485"/>
                    </a:lnTo>
                    <a:lnTo>
                      <a:pt x="5715" y="0"/>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8" name="Freeform 75">
                <a:extLst>
                  <a:ext uri="{FF2B5EF4-FFF2-40B4-BE49-F238E27FC236}">
                    <a16:creationId xmlns:a16="http://schemas.microsoft.com/office/drawing/2014/main" id="{7858920C-DC89-422E-A191-58537E4D54AD}"/>
                  </a:ext>
                </a:extLst>
              </p:cNvPr>
              <p:cNvSpPr/>
              <p:nvPr/>
            </p:nvSpPr>
            <p:spPr bwMode="gray">
              <a:xfrm flipH="1">
                <a:off x="3174125" y="3609213"/>
                <a:ext cx="116205" cy="158115"/>
              </a:xfrm>
              <a:custGeom>
                <a:avLst/>
                <a:gdLst>
                  <a:gd name="connsiteX0" fmla="*/ 9525 w 123825"/>
                  <a:gd name="connsiteY0" fmla="*/ 0 h 131445"/>
                  <a:gd name="connsiteX1" fmla="*/ 123825 w 123825"/>
                  <a:gd name="connsiteY1" fmla="*/ 55245 h 131445"/>
                  <a:gd name="connsiteX2" fmla="*/ 120015 w 123825"/>
                  <a:gd name="connsiteY2" fmla="*/ 131445 h 131445"/>
                  <a:gd name="connsiteX3" fmla="*/ 0 w 123825"/>
                  <a:gd name="connsiteY3" fmla="*/ 72390 h 131445"/>
                  <a:gd name="connsiteX4" fmla="*/ 9525 w 123825"/>
                  <a:gd name="connsiteY4" fmla="*/ 0 h 131445"/>
                  <a:gd name="connsiteX0" fmla="*/ 9525 w 123825"/>
                  <a:gd name="connsiteY0" fmla="*/ 0 h 158115"/>
                  <a:gd name="connsiteX1" fmla="*/ 123825 w 123825"/>
                  <a:gd name="connsiteY1" fmla="*/ 55245 h 158115"/>
                  <a:gd name="connsiteX2" fmla="*/ 106680 w 123825"/>
                  <a:gd name="connsiteY2" fmla="*/ 158115 h 158115"/>
                  <a:gd name="connsiteX3" fmla="*/ 0 w 123825"/>
                  <a:gd name="connsiteY3" fmla="*/ 72390 h 158115"/>
                  <a:gd name="connsiteX4" fmla="*/ 9525 w 123825"/>
                  <a:gd name="connsiteY4" fmla="*/ 0 h 158115"/>
                  <a:gd name="connsiteX0" fmla="*/ 5715 w 120015"/>
                  <a:gd name="connsiteY0" fmla="*/ 0 h 158115"/>
                  <a:gd name="connsiteX1" fmla="*/ 120015 w 120015"/>
                  <a:gd name="connsiteY1" fmla="*/ 55245 h 158115"/>
                  <a:gd name="connsiteX2" fmla="*/ 102870 w 120015"/>
                  <a:gd name="connsiteY2" fmla="*/ 158115 h 158115"/>
                  <a:gd name="connsiteX3" fmla="*/ 0 w 120015"/>
                  <a:gd name="connsiteY3" fmla="*/ 70485 h 158115"/>
                  <a:gd name="connsiteX4" fmla="*/ 5715 w 120015"/>
                  <a:gd name="connsiteY4" fmla="*/ 0 h 158115"/>
                  <a:gd name="connsiteX0" fmla="*/ 5715 w 116205"/>
                  <a:gd name="connsiteY0" fmla="*/ 0 h 158115"/>
                  <a:gd name="connsiteX1" fmla="*/ 116205 w 116205"/>
                  <a:gd name="connsiteY1" fmla="*/ 60960 h 158115"/>
                  <a:gd name="connsiteX2" fmla="*/ 102870 w 116205"/>
                  <a:gd name="connsiteY2" fmla="*/ 158115 h 158115"/>
                  <a:gd name="connsiteX3" fmla="*/ 0 w 116205"/>
                  <a:gd name="connsiteY3" fmla="*/ 70485 h 158115"/>
                  <a:gd name="connsiteX4" fmla="*/ 5715 w 116205"/>
                  <a:gd name="connsiteY4" fmla="*/ 0 h 158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205" h="158115">
                    <a:moveTo>
                      <a:pt x="5715" y="0"/>
                    </a:moveTo>
                    <a:lnTo>
                      <a:pt x="116205" y="60960"/>
                    </a:lnTo>
                    <a:lnTo>
                      <a:pt x="102870" y="158115"/>
                    </a:lnTo>
                    <a:lnTo>
                      <a:pt x="0" y="70485"/>
                    </a:lnTo>
                    <a:lnTo>
                      <a:pt x="5715" y="0"/>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9" name="Isosceles Triangle 21">
                <a:extLst>
                  <a:ext uri="{FF2B5EF4-FFF2-40B4-BE49-F238E27FC236}">
                    <a16:creationId xmlns:a16="http://schemas.microsoft.com/office/drawing/2014/main" id="{1A62D553-2280-43DA-A97F-6F965925E5AA}"/>
                  </a:ext>
                </a:extLst>
              </p:cNvPr>
              <p:cNvSpPr/>
              <p:nvPr/>
            </p:nvSpPr>
            <p:spPr bwMode="gray">
              <a:xfrm>
                <a:off x="2742531" y="3643575"/>
                <a:ext cx="834388" cy="316795"/>
              </a:xfrm>
              <a:custGeom>
                <a:avLst/>
                <a:gdLst/>
                <a:ahLst/>
                <a:cxnLst/>
                <a:rect l="l" t="t" r="r" b="b"/>
                <a:pathLst>
                  <a:path w="834388" h="316795">
                    <a:moveTo>
                      <a:pt x="288818" y="0"/>
                    </a:moveTo>
                    <a:lnTo>
                      <a:pt x="288809" y="111"/>
                    </a:lnTo>
                    <a:lnTo>
                      <a:pt x="289518" y="0"/>
                    </a:lnTo>
                    <a:lnTo>
                      <a:pt x="286589" y="36124"/>
                    </a:lnTo>
                    <a:lnTo>
                      <a:pt x="388832" y="123220"/>
                    </a:lnTo>
                    <a:lnTo>
                      <a:pt x="394871" y="79222"/>
                    </a:lnTo>
                    <a:lnTo>
                      <a:pt x="395558" y="79327"/>
                    </a:lnTo>
                    <a:lnTo>
                      <a:pt x="395572" y="79222"/>
                    </a:lnTo>
                    <a:cubicBezTo>
                      <a:pt x="397286" y="79830"/>
                      <a:pt x="398847" y="79935"/>
                      <a:pt x="400171" y="79928"/>
                    </a:cubicBezTo>
                    <a:cubicBezTo>
                      <a:pt x="406717" y="79934"/>
                      <a:pt x="412167" y="79845"/>
                      <a:pt x="416844" y="79625"/>
                    </a:cubicBezTo>
                    <a:lnTo>
                      <a:pt x="417194" y="79631"/>
                    </a:lnTo>
                    <a:lnTo>
                      <a:pt x="417544" y="79625"/>
                    </a:lnTo>
                    <a:cubicBezTo>
                      <a:pt x="422221" y="79845"/>
                      <a:pt x="427671" y="79934"/>
                      <a:pt x="434217" y="79928"/>
                    </a:cubicBezTo>
                    <a:cubicBezTo>
                      <a:pt x="435541" y="79935"/>
                      <a:pt x="437102" y="79830"/>
                      <a:pt x="438816" y="79222"/>
                    </a:cubicBezTo>
                    <a:lnTo>
                      <a:pt x="431594" y="26599"/>
                    </a:lnTo>
                    <a:lnTo>
                      <a:pt x="438831" y="79327"/>
                    </a:lnTo>
                    <a:lnTo>
                      <a:pt x="439517" y="79222"/>
                    </a:lnTo>
                    <a:lnTo>
                      <a:pt x="445556" y="123220"/>
                    </a:lnTo>
                    <a:lnTo>
                      <a:pt x="547799" y="36124"/>
                    </a:lnTo>
                    <a:lnTo>
                      <a:pt x="544870" y="0"/>
                    </a:lnTo>
                    <a:lnTo>
                      <a:pt x="545579" y="111"/>
                    </a:lnTo>
                    <a:lnTo>
                      <a:pt x="545570" y="0"/>
                    </a:lnTo>
                    <a:lnTo>
                      <a:pt x="728491" y="28520"/>
                    </a:lnTo>
                    <a:cubicBezTo>
                      <a:pt x="787249" y="40395"/>
                      <a:pt x="791812" y="87873"/>
                      <a:pt x="804102" y="155518"/>
                    </a:cubicBezTo>
                    <a:cubicBezTo>
                      <a:pt x="807676" y="186545"/>
                      <a:pt x="822790" y="258559"/>
                      <a:pt x="834388" y="316795"/>
                    </a:cubicBezTo>
                    <a:lnTo>
                      <a:pt x="723366" y="316795"/>
                    </a:lnTo>
                    <a:lnTo>
                      <a:pt x="629634" y="316795"/>
                    </a:lnTo>
                    <a:lnTo>
                      <a:pt x="628934" y="316795"/>
                    </a:lnTo>
                    <a:lnTo>
                      <a:pt x="460920" y="316795"/>
                    </a:lnTo>
                    <a:lnTo>
                      <a:pt x="460220" y="316795"/>
                    </a:lnTo>
                    <a:lnTo>
                      <a:pt x="374168" y="316795"/>
                    </a:lnTo>
                    <a:lnTo>
                      <a:pt x="373468" y="316795"/>
                    </a:lnTo>
                    <a:lnTo>
                      <a:pt x="205454" y="316795"/>
                    </a:lnTo>
                    <a:lnTo>
                      <a:pt x="204754" y="316795"/>
                    </a:lnTo>
                    <a:lnTo>
                      <a:pt x="111022" y="316795"/>
                    </a:lnTo>
                    <a:lnTo>
                      <a:pt x="0" y="316795"/>
                    </a:lnTo>
                    <a:cubicBezTo>
                      <a:pt x="11598" y="258559"/>
                      <a:pt x="26712" y="186545"/>
                      <a:pt x="30286" y="155518"/>
                    </a:cubicBezTo>
                    <a:cubicBezTo>
                      <a:pt x="42576" y="87873"/>
                      <a:pt x="47139" y="40395"/>
                      <a:pt x="105897" y="28520"/>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0" name="Flowchart: Terminator 7">
                <a:extLst>
                  <a:ext uri="{FF2B5EF4-FFF2-40B4-BE49-F238E27FC236}">
                    <a16:creationId xmlns:a16="http://schemas.microsoft.com/office/drawing/2014/main" id="{63E6EF1D-CDFA-4B30-8BDF-8B5ACFECE1B5}"/>
                  </a:ext>
                </a:extLst>
              </p:cNvPr>
              <p:cNvSpPr/>
              <p:nvPr/>
            </p:nvSpPr>
            <p:spPr bwMode="gray">
              <a:xfrm rot="18900000">
                <a:off x="3231470" y="3776095"/>
                <a:ext cx="260079" cy="110256"/>
              </a:xfrm>
              <a:custGeom>
                <a:avLst/>
                <a:gdLst/>
                <a:ahLst/>
                <a:cxnLst/>
                <a:rect l="l" t="t" r="r" b="b"/>
                <a:pathLst>
                  <a:path w="520160" h="220512">
                    <a:moveTo>
                      <a:pt x="74941" y="95699"/>
                    </a:moveTo>
                    <a:cubicBezTo>
                      <a:pt x="71215" y="91973"/>
                      <a:pt x="66068" y="89668"/>
                      <a:pt x="60383" y="89668"/>
                    </a:cubicBezTo>
                    <a:cubicBezTo>
                      <a:pt x="49012" y="89669"/>
                      <a:pt x="39794" y="98886"/>
                      <a:pt x="39794" y="110257"/>
                    </a:cubicBezTo>
                    <a:cubicBezTo>
                      <a:pt x="39794" y="121628"/>
                      <a:pt x="49012" y="130845"/>
                      <a:pt x="60383" y="130845"/>
                    </a:cubicBezTo>
                    <a:cubicBezTo>
                      <a:pt x="71754" y="130845"/>
                      <a:pt x="80971" y="121628"/>
                      <a:pt x="80971" y="110257"/>
                    </a:cubicBezTo>
                    <a:cubicBezTo>
                      <a:pt x="80971" y="104571"/>
                      <a:pt x="78667" y="99424"/>
                      <a:pt x="74941" y="95699"/>
                    </a:cubicBezTo>
                    <a:close/>
                    <a:moveTo>
                      <a:pt x="245590" y="47298"/>
                    </a:moveTo>
                    <a:lnTo>
                      <a:pt x="245590" y="88951"/>
                    </a:lnTo>
                    <a:lnTo>
                      <a:pt x="213254" y="88951"/>
                    </a:lnTo>
                    <a:cubicBezTo>
                      <a:pt x="208807" y="88951"/>
                      <a:pt x="205203" y="92555"/>
                      <a:pt x="205203" y="97002"/>
                    </a:cubicBezTo>
                    <a:lnTo>
                      <a:pt x="205203" y="129205"/>
                    </a:lnTo>
                    <a:cubicBezTo>
                      <a:pt x="205203" y="133651"/>
                      <a:pt x="208807" y="137255"/>
                      <a:pt x="213254" y="137255"/>
                    </a:cubicBezTo>
                    <a:lnTo>
                      <a:pt x="229408" y="137255"/>
                    </a:lnTo>
                    <a:lnTo>
                      <a:pt x="229408" y="159660"/>
                    </a:lnTo>
                    <a:lnTo>
                      <a:pt x="223496" y="159660"/>
                    </a:lnTo>
                    <a:cubicBezTo>
                      <a:pt x="215164" y="159660"/>
                      <a:pt x="208132" y="165231"/>
                      <a:pt x="207167" y="173212"/>
                    </a:cubicBezTo>
                    <a:lnTo>
                      <a:pt x="70754" y="173212"/>
                    </a:lnTo>
                    <a:cubicBezTo>
                      <a:pt x="31682" y="173212"/>
                      <a:pt x="0" y="145027"/>
                      <a:pt x="0" y="110255"/>
                    </a:cubicBezTo>
                    <a:cubicBezTo>
                      <a:pt x="0" y="75483"/>
                      <a:pt x="31682" y="47299"/>
                      <a:pt x="70754" y="47299"/>
                    </a:cubicBezTo>
                    <a:close/>
                    <a:moveTo>
                      <a:pt x="503727" y="37952"/>
                    </a:moveTo>
                    <a:cubicBezTo>
                      <a:pt x="510373" y="45721"/>
                      <a:pt x="515929" y="54452"/>
                      <a:pt x="520159" y="63923"/>
                    </a:cubicBezTo>
                    <a:lnTo>
                      <a:pt x="411690" y="63923"/>
                    </a:lnTo>
                    <a:lnTo>
                      <a:pt x="411690" y="156588"/>
                    </a:lnTo>
                    <a:lnTo>
                      <a:pt x="520160" y="156588"/>
                    </a:lnTo>
                    <a:cubicBezTo>
                      <a:pt x="503241" y="194474"/>
                      <a:pt x="465097" y="220512"/>
                      <a:pt x="420871" y="220512"/>
                    </a:cubicBezTo>
                    <a:cubicBezTo>
                      <a:pt x="383894" y="220512"/>
                      <a:pt x="351168" y="202309"/>
                      <a:pt x="332790" y="173212"/>
                    </a:cubicBezTo>
                    <a:lnTo>
                      <a:pt x="312996" y="173212"/>
                    </a:lnTo>
                    <a:cubicBezTo>
                      <a:pt x="312030" y="165231"/>
                      <a:pt x="304999" y="159660"/>
                      <a:pt x="296667" y="159660"/>
                    </a:cubicBezTo>
                    <a:lnTo>
                      <a:pt x="290754" y="159660"/>
                    </a:lnTo>
                    <a:lnTo>
                      <a:pt x="290754" y="137255"/>
                    </a:lnTo>
                    <a:lnTo>
                      <a:pt x="306909" y="137255"/>
                    </a:lnTo>
                    <a:cubicBezTo>
                      <a:pt x="311355" y="137255"/>
                      <a:pt x="314959" y="133651"/>
                      <a:pt x="314959" y="129205"/>
                    </a:cubicBezTo>
                    <a:lnTo>
                      <a:pt x="314959" y="97002"/>
                    </a:lnTo>
                    <a:cubicBezTo>
                      <a:pt x="314959" y="92555"/>
                      <a:pt x="311355" y="88951"/>
                      <a:pt x="306909" y="88951"/>
                    </a:cubicBezTo>
                    <a:lnTo>
                      <a:pt x="274572" y="88951"/>
                    </a:lnTo>
                    <a:lnTo>
                      <a:pt x="274572" y="47299"/>
                    </a:lnTo>
                    <a:lnTo>
                      <a:pt x="332791" y="47299"/>
                    </a:lnTo>
                    <a:cubicBezTo>
                      <a:pt x="351169" y="18202"/>
                      <a:pt x="383894" y="0"/>
                      <a:pt x="420871" y="0"/>
                    </a:cubicBezTo>
                    <a:cubicBezTo>
                      <a:pt x="454040" y="0"/>
                      <a:pt x="483788" y="14647"/>
                      <a:pt x="503727" y="37952"/>
                    </a:cubicBezTo>
                    <a:close/>
                  </a:path>
                </a:pathLst>
              </a:custGeom>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1" name="Rounded Rectangle 6">
                <a:extLst>
                  <a:ext uri="{FF2B5EF4-FFF2-40B4-BE49-F238E27FC236}">
                    <a16:creationId xmlns:a16="http://schemas.microsoft.com/office/drawing/2014/main" id="{4D61A508-25C0-450F-8828-452028AECD91}"/>
                  </a:ext>
                </a:extLst>
              </p:cNvPr>
              <p:cNvSpPr/>
              <p:nvPr/>
            </p:nvSpPr>
            <p:spPr bwMode="gray">
              <a:xfrm rot="18900000">
                <a:off x="3334071" y="3701183"/>
                <a:ext cx="54878" cy="260079"/>
              </a:xfrm>
              <a:custGeom>
                <a:avLst/>
                <a:gdLst/>
                <a:ahLst/>
                <a:cxnLst/>
                <a:rect l="l" t="t" r="r" b="b"/>
                <a:pathLst>
                  <a:path w="81799" h="387666">
                    <a:moveTo>
                      <a:pt x="27975" y="0"/>
                    </a:moveTo>
                    <a:lnTo>
                      <a:pt x="53824" y="0"/>
                    </a:lnTo>
                    <a:lnTo>
                      <a:pt x="66749" y="68760"/>
                    </a:lnTo>
                    <a:lnTo>
                      <a:pt x="51699" y="68760"/>
                    </a:lnTo>
                    <a:lnTo>
                      <a:pt x="51699" y="177956"/>
                    </a:lnTo>
                    <a:lnTo>
                      <a:pt x="75799" y="177956"/>
                    </a:lnTo>
                    <a:cubicBezTo>
                      <a:pt x="79113" y="177956"/>
                      <a:pt x="81799" y="180642"/>
                      <a:pt x="81799" y="183956"/>
                    </a:cubicBezTo>
                    <a:lnTo>
                      <a:pt x="81799" y="207956"/>
                    </a:lnTo>
                    <a:cubicBezTo>
                      <a:pt x="81799" y="211270"/>
                      <a:pt x="79113" y="213956"/>
                      <a:pt x="75799" y="213956"/>
                    </a:cubicBezTo>
                    <a:lnTo>
                      <a:pt x="63759" y="213956"/>
                    </a:lnTo>
                    <a:lnTo>
                      <a:pt x="63759" y="230654"/>
                    </a:lnTo>
                    <a:lnTo>
                      <a:pt x="68166" y="230654"/>
                    </a:lnTo>
                    <a:cubicBezTo>
                      <a:pt x="75695" y="230654"/>
                      <a:pt x="81799" y="236758"/>
                      <a:pt x="81799" y="244287"/>
                    </a:cubicBezTo>
                    <a:lnTo>
                      <a:pt x="81799" y="374033"/>
                    </a:lnTo>
                    <a:cubicBezTo>
                      <a:pt x="81799" y="381562"/>
                      <a:pt x="75695" y="387666"/>
                      <a:pt x="68166" y="387666"/>
                    </a:cubicBezTo>
                    <a:lnTo>
                      <a:pt x="13633" y="387666"/>
                    </a:lnTo>
                    <a:cubicBezTo>
                      <a:pt x="6104" y="387666"/>
                      <a:pt x="0" y="381562"/>
                      <a:pt x="0" y="374033"/>
                    </a:cubicBezTo>
                    <a:lnTo>
                      <a:pt x="0" y="244287"/>
                    </a:lnTo>
                    <a:cubicBezTo>
                      <a:pt x="0" y="236758"/>
                      <a:pt x="6104" y="230654"/>
                      <a:pt x="13633" y="230654"/>
                    </a:cubicBezTo>
                    <a:lnTo>
                      <a:pt x="18039" y="230654"/>
                    </a:lnTo>
                    <a:lnTo>
                      <a:pt x="18039" y="213956"/>
                    </a:lnTo>
                    <a:lnTo>
                      <a:pt x="6000" y="213956"/>
                    </a:lnTo>
                    <a:cubicBezTo>
                      <a:pt x="2686" y="213956"/>
                      <a:pt x="0" y="211270"/>
                      <a:pt x="0" y="207956"/>
                    </a:cubicBezTo>
                    <a:lnTo>
                      <a:pt x="0" y="183956"/>
                    </a:lnTo>
                    <a:cubicBezTo>
                      <a:pt x="0" y="180642"/>
                      <a:pt x="2686" y="177956"/>
                      <a:pt x="6000" y="177956"/>
                    </a:cubicBezTo>
                    <a:lnTo>
                      <a:pt x="30099" y="177956"/>
                    </a:lnTo>
                    <a:lnTo>
                      <a:pt x="30099" y="68760"/>
                    </a:lnTo>
                    <a:lnTo>
                      <a:pt x="15050" y="68760"/>
                    </a:lnTo>
                    <a:close/>
                  </a:path>
                </a:pathLst>
              </a:custGeom>
              <a:solidFill>
                <a:schemeClr val="bg1"/>
              </a:solidFill>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solidFill>
                    <a:schemeClr val="tx1"/>
                  </a:solidFill>
                </a:endParaRPr>
              </a:p>
            </p:txBody>
          </p:sp>
        </p:grpSp>
        <p:sp>
          <p:nvSpPr>
            <p:cNvPr id="20" name="Rounded Rectangular Callout 8"/>
            <p:cNvSpPr/>
            <p:nvPr/>
          </p:nvSpPr>
          <p:spPr bwMode="gray">
            <a:xfrm flipH="1">
              <a:off x="6875969" y="2567036"/>
              <a:ext cx="4198088" cy="807042"/>
            </a:xfrm>
            <a:prstGeom prst="wedgeRoundRectCallout">
              <a:avLst>
                <a:gd name="adj1" fmla="val -57823"/>
                <a:gd name="adj2" fmla="val 33377"/>
                <a:gd name="adj3" fmla="val 16667"/>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079"/>
                </a:spcBef>
                <a:buClr>
                  <a:schemeClr val="tx2"/>
                </a:buClr>
                <a:buSzPct val="70000"/>
              </a:pPr>
              <a:r>
                <a:rPr lang="en-US" sz="1600" dirty="0">
                  <a:solidFill>
                    <a:schemeClr val="tx1"/>
                  </a:solidFill>
                  <a:latin typeface="ABBvoice" panose="020D0603020503020204" pitchFamily="34" charset="0"/>
                  <a:ea typeface="ABBvoice" panose="020D0603020503020204" pitchFamily="34" charset="0"/>
                  <a:cs typeface="ABBvoice" panose="020D0603020503020204" pitchFamily="34" charset="0"/>
                </a:rPr>
                <a:t>We would be glad to. Can you please provide some more information?</a:t>
              </a:r>
            </a:p>
          </p:txBody>
        </p:sp>
      </p:grpSp>
      <p:grpSp>
        <p:nvGrpSpPr>
          <p:cNvPr id="92" name="Group 91">
            <a:extLst>
              <a:ext uri="{FF2B5EF4-FFF2-40B4-BE49-F238E27FC236}">
                <a16:creationId xmlns:a16="http://schemas.microsoft.com/office/drawing/2014/main" id="{ED101FC9-20E7-4895-86DE-2F85C30E3702}"/>
              </a:ext>
            </a:extLst>
          </p:cNvPr>
          <p:cNvGrpSpPr/>
          <p:nvPr/>
        </p:nvGrpSpPr>
        <p:grpSpPr bwMode="gray">
          <a:xfrm>
            <a:off x="6842918" y="4064709"/>
            <a:ext cx="4993062" cy="1013945"/>
            <a:chOff x="6842918" y="4064709"/>
            <a:chExt cx="4993062" cy="1013945"/>
          </a:xfrm>
        </p:grpSpPr>
        <p:grpSp>
          <p:nvGrpSpPr>
            <p:cNvPr id="82" name="Group 81">
              <a:extLst>
                <a:ext uri="{FF2B5EF4-FFF2-40B4-BE49-F238E27FC236}">
                  <a16:creationId xmlns:a16="http://schemas.microsoft.com/office/drawing/2014/main" id="{2C0F67E9-A433-4A21-864A-64BC185EE043}"/>
                </a:ext>
              </a:extLst>
            </p:cNvPr>
            <p:cNvGrpSpPr>
              <a:grpSpLocks noChangeAspect="1"/>
            </p:cNvGrpSpPr>
            <p:nvPr/>
          </p:nvGrpSpPr>
          <p:grpSpPr bwMode="gray">
            <a:xfrm>
              <a:off x="11112873" y="4248649"/>
              <a:ext cx="723107" cy="830005"/>
              <a:chOff x="2742531" y="3003525"/>
              <a:chExt cx="834388" cy="957737"/>
            </a:xfrm>
          </p:grpSpPr>
          <p:sp>
            <p:nvSpPr>
              <p:cNvPr id="83" name="Rounded Rectangle 25">
                <a:extLst>
                  <a:ext uri="{FF2B5EF4-FFF2-40B4-BE49-F238E27FC236}">
                    <a16:creationId xmlns:a16="http://schemas.microsoft.com/office/drawing/2014/main" id="{30602F44-D4B2-431D-8CE0-C10EADDEF72C}"/>
                  </a:ext>
                </a:extLst>
              </p:cNvPr>
              <p:cNvSpPr/>
              <p:nvPr/>
            </p:nvSpPr>
            <p:spPr bwMode="gray">
              <a:xfrm rot="21372172" flipH="1">
                <a:off x="2958175" y="3329495"/>
                <a:ext cx="416828" cy="282223"/>
              </a:xfrm>
              <a:custGeom>
                <a:avLst/>
                <a:gdLst/>
                <a:ahLst/>
                <a:cxnLst/>
                <a:rect l="l" t="t" r="r" b="b"/>
                <a:pathLst>
                  <a:path w="416828" h="282223">
                    <a:moveTo>
                      <a:pt x="411436" y="0"/>
                    </a:moveTo>
                    <a:lnTo>
                      <a:pt x="393023" y="1222"/>
                    </a:lnTo>
                    <a:lnTo>
                      <a:pt x="360784" y="33807"/>
                    </a:lnTo>
                    <a:lnTo>
                      <a:pt x="215868" y="43425"/>
                    </a:lnTo>
                    <a:lnTo>
                      <a:pt x="202506" y="44312"/>
                    </a:lnTo>
                    <a:lnTo>
                      <a:pt x="57590" y="53930"/>
                    </a:lnTo>
                    <a:lnTo>
                      <a:pt x="21328" y="25891"/>
                    </a:lnTo>
                    <a:lnTo>
                      <a:pt x="3824" y="27053"/>
                    </a:lnTo>
                    <a:cubicBezTo>
                      <a:pt x="411" y="30721"/>
                      <a:pt x="-465" y="35670"/>
                      <a:pt x="214" y="40771"/>
                    </a:cubicBezTo>
                    <a:lnTo>
                      <a:pt x="10838" y="120449"/>
                    </a:lnTo>
                    <a:cubicBezTo>
                      <a:pt x="12697" y="134390"/>
                      <a:pt x="25478" y="144196"/>
                      <a:pt x="39407" y="142352"/>
                    </a:cubicBezTo>
                    <a:cubicBezTo>
                      <a:pt x="68984" y="228663"/>
                      <a:pt x="140489" y="287153"/>
                      <a:pt x="219703" y="281896"/>
                    </a:cubicBezTo>
                    <a:lnTo>
                      <a:pt x="225338" y="280363"/>
                    </a:lnTo>
                    <a:lnTo>
                      <a:pt x="231130" y="281139"/>
                    </a:lnTo>
                    <a:cubicBezTo>
                      <a:pt x="310346" y="275881"/>
                      <a:pt x="373493" y="208454"/>
                      <a:pt x="391404" y="118991"/>
                    </a:cubicBezTo>
                    <a:cubicBezTo>
                      <a:pt x="405455" y="118978"/>
                      <a:pt x="416828" y="107569"/>
                      <a:pt x="416828" y="93505"/>
                    </a:cubicBezTo>
                    <a:lnTo>
                      <a:pt x="416827" y="13122"/>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4" name="Rounded Rectangle 22">
                <a:extLst>
                  <a:ext uri="{FF2B5EF4-FFF2-40B4-BE49-F238E27FC236}">
                    <a16:creationId xmlns:a16="http://schemas.microsoft.com/office/drawing/2014/main" id="{0382B21D-6361-4D95-85C6-8B0FC0417360}"/>
                  </a:ext>
                </a:extLst>
              </p:cNvPr>
              <p:cNvSpPr/>
              <p:nvPr/>
            </p:nvSpPr>
            <p:spPr bwMode="gray">
              <a:xfrm flipH="1">
                <a:off x="3056802" y="3574901"/>
                <a:ext cx="205146" cy="148612"/>
              </a:xfrm>
              <a:custGeom>
                <a:avLst/>
                <a:gdLst/>
                <a:ahLst/>
                <a:cxnLst/>
                <a:rect l="l" t="t" r="r" b="b"/>
                <a:pathLst>
                  <a:path w="205146" h="148612">
                    <a:moveTo>
                      <a:pt x="0" y="0"/>
                    </a:moveTo>
                    <a:lnTo>
                      <a:pt x="0" y="46818"/>
                    </a:lnTo>
                    <a:lnTo>
                      <a:pt x="87823" y="95272"/>
                    </a:lnTo>
                    <a:lnTo>
                      <a:pt x="80601" y="147895"/>
                    </a:lnTo>
                    <a:cubicBezTo>
                      <a:pt x="82347" y="148514"/>
                      <a:pt x="83934" y="148612"/>
                      <a:pt x="85274" y="148612"/>
                    </a:cubicBezTo>
                    <a:cubicBezTo>
                      <a:pt x="92100" y="148612"/>
                      <a:pt x="97749" y="148525"/>
                      <a:pt x="102573" y="148298"/>
                    </a:cubicBezTo>
                    <a:cubicBezTo>
                      <a:pt x="107398" y="148525"/>
                      <a:pt x="113046" y="148612"/>
                      <a:pt x="119872" y="148612"/>
                    </a:cubicBezTo>
                    <a:lnTo>
                      <a:pt x="124546" y="147895"/>
                    </a:lnTo>
                    <a:lnTo>
                      <a:pt x="117323" y="95272"/>
                    </a:lnTo>
                    <a:lnTo>
                      <a:pt x="205146" y="46818"/>
                    </a:lnTo>
                    <a:lnTo>
                      <a:pt x="205146" y="580"/>
                    </a:lnTo>
                    <a:cubicBezTo>
                      <a:pt x="178051" y="24052"/>
                      <a:pt x="144619" y="36929"/>
                      <a:pt x="108755" y="36929"/>
                    </a:cubicBezTo>
                    <a:lnTo>
                      <a:pt x="103026" y="35771"/>
                    </a:lnTo>
                    <a:lnTo>
                      <a:pt x="97303" y="36928"/>
                    </a:lnTo>
                    <a:cubicBezTo>
                      <a:pt x="61078" y="36928"/>
                      <a:pt x="27334" y="23790"/>
                      <a:pt x="0" y="0"/>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5" name="Rounded Rectangle 43">
                <a:extLst>
                  <a:ext uri="{FF2B5EF4-FFF2-40B4-BE49-F238E27FC236}">
                    <a16:creationId xmlns:a16="http://schemas.microsoft.com/office/drawing/2014/main" id="{8D776909-C3EA-4632-9E9B-6260339C6C7C}"/>
                  </a:ext>
                </a:extLst>
              </p:cNvPr>
              <p:cNvSpPr/>
              <p:nvPr/>
            </p:nvSpPr>
            <p:spPr bwMode="gray">
              <a:xfrm flipH="1">
                <a:off x="2910058" y="3003525"/>
                <a:ext cx="498635" cy="370102"/>
              </a:xfrm>
              <a:custGeom>
                <a:avLst/>
                <a:gdLst/>
                <a:ahLst/>
                <a:cxnLst/>
                <a:rect l="l" t="t" r="r" b="b"/>
                <a:pathLst>
                  <a:path w="498635" h="370102">
                    <a:moveTo>
                      <a:pt x="315398" y="0"/>
                    </a:moveTo>
                    <a:lnTo>
                      <a:pt x="265574" y="0"/>
                    </a:lnTo>
                    <a:lnTo>
                      <a:pt x="233061" y="0"/>
                    </a:lnTo>
                    <a:lnTo>
                      <a:pt x="183237" y="0"/>
                    </a:lnTo>
                    <a:cubicBezTo>
                      <a:pt x="167265" y="5063"/>
                      <a:pt x="156511" y="10270"/>
                      <a:pt x="150690" y="30378"/>
                    </a:cubicBezTo>
                    <a:cubicBezTo>
                      <a:pt x="144869" y="50486"/>
                      <a:pt x="151882" y="119114"/>
                      <a:pt x="148311" y="120651"/>
                    </a:cubicBezTo>
                    <a:lnTo>
                      <a:pt x="148311" y="39598"/>
                    </a:lnTo>
                    <a:cubicBezTo>
                      <a:pt x="59773" y="77636"/>
                      <a:pt x="24574" y="146216"/>
                      <a:pt x="24574" y="229974"/>
                    </a:cubicBezTo>
                    <a:lnTo>
                      <a:pt x="0" y="256561"/>
                    </a:lnTo>
                    <a:lnTo>
                      <a:pt x="0" y="323091"/>
                    </a:lnTo>
                    <a:cubicBezTo>
                      <a:pt x="0" y="332277"/>
                      <a:pt x="7447" y="339724"/>
                      <a:pt x="16633" y="339724"/>
                    </a:cubicBezTo>
                    <a:lnTo>
                      <a:pt x="63061" y="339724"/>
                    </a:lnTo>
                    <a:lnTo>
                      <a:pt x="97387" y="370102"/>
                    </a:lnTo>
                    <a:lnTo>
                      <a:pt x="242622" y="370102"/>
                    </a:lnTo>
                    <a:lnTo>
                      <a:pt x="256013" y="370102"/>
                    </a:lnTo>
                    <a:lnTo>
                      <a:pt x="401248" y="370102"/>
                    </a:lnTo>
                    <a:lnTo>
                      <a:pt x="435574" y="339724"/>
                    </a:lnTo>
                    <a:lnTo>
                      <a:pt x="482002" y="339724"/>
                    </a:lnTo>
                    <a:cubicBezTo>
                      <a:pt x="491188" y="339724"/>
                      <a:pt x="498635" y="332277"/>
                      <a:pt x="498635" y="323091"/>
                    </a:cubicBezTo>
                    <a:lnTo>
                      <a:pt x="498635" y="256561"/>
                    </a:lnTo>
                    <a:lnTo>
                      <a:pt x="474061" y="229974"/>
                    </a:lnTo>
                    <a:cubicBezTo>
                      <a:pt x="474061" y="146216"/>
                      <a:pt x="438862" y="77636"/>
                      <a:pt x="350324" y="39598"/>
                    </a:cubicBezTo>
                    <a:lnTo>
                      <a:pt x="350324" y="120651"/>
                    </a:lnTo>
                    <a:cubicBezTo>
                      <a:pt x="346753" y="119114"/>
                      <a:pt x="353766" y="50486"/>
                      <a:pt x="347945" y="30378"/>
                    </a:cubicBezTo>
                    <a:cubicBezTo>
                      <a:pt x="342124" y="10270"/>
                      <a:pt x="331370" y="5063"/>
                      <a:pt x="315398" y="0"/>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6" name="Freeform 74">
                <a:extLst>
                  <a:ext uri="{FF2B5EF4-FFF2-40B4-BE49-F238E27FC236}">
                    <a16:creationId xmlns:a16="http://schemas.microsoft.com/office/drawing/2014/main" id="{5CE11E47-2CE0-43F2-A850-AFBDDCED1348}"/>
                  </a:ext>
                </a:extLst>
              </p:cNvPr>
              <p:cNvSpPr/>
              <p:nvPr/>
            </p:nvSpPr>
            <p:spPr bwMode="gray">
              <a:xfrm>
                <a:off x="3028420" y="3609213"/>
                <a:ext cx="116205" cy="158115"/>
              </a:xfrm>
              <a:custGeom>
                <a:avLst/>
                <a:gdLst>
                  <a:gd name="connsiteX0" fmla="*/ 9525 w 123825"/>
                  <a:gd name="connsiteY0" fmla="*/ 0 h 131445"/>
                  <a:gd name="connsiteX1" fmla="*/ 123825 w 123825"/>
                  <a:gd name="connsiteY1" fmla="*/ 55245 h 131445"/>
                  <a:gd name="connsiteX2" fmla="*/ 120015 w 123825"/>
                  <a:gd name="connsiteY2" fmla="*/ 131445 h 131445"/>
                  <a:gd name="connsiteX3" fmla="*/ 0 w 123825"/>
                  <a:gd name="connsiteY3" fmla="*/ 72390 h 131445"/>
                  <a:gd name="connsiteX4" fmla="*/ 9525 w 123825"/>
                  <a:gd name="connsiteY4" fmla="*/ 0 h 131445"/>
                  <a:gd name="connsiteX0" fmla="*/ 9525 w 123825"/>
                  <a:gd name="connsiteY0" fmla="*/ 0 h 158115"/>
                  <a:gd name="connsiteX1" fmla="*/ 123825 w 123825"/>
                  <a:gd name="connsiteY1" fmla="*/ 55245 h 158115"/>
                  <a:gd name="connsiteX2" fmla="*/ 106680 w 123825"/>
                  <a:gd name="connsiteY2" fmla="*/ 158115 h 158115"/>
                  <a:gd name="connsiteX3" fmla="*/ 0 w 123825"/>
                  <a:gd name="connsiteY3" fmla="*/ 72390 h 158115"/>
                  <a:gd name="connsiteX4" fmla="*/ 9525 w 123825"/>
                  <a:gd name="connsiteY4" fmla="*/ 0 h 158115"/>
                  <a:gd name="connsiteX0" fmla="*/ 5715 w 120015"/>
                  <a:gd name="connsiteY0" fmla="*/ 0 h 158115"/>
                  <a:gd name="connsiteX1" fmla="*/ 120015 w 120015"/>
                  <a:gd name="connsiteY1" fmla="*/ 55245 h 158115"/>
                  <a:gd name="connsiteX2" fmla="*/ 102870 w 120015"/>
                  <a:gd name="connsiteY2" fmla="*/ 158115 h 158115"/>
                  <a:gd name="connsiteX3" fmla="*/ 0 w 120015"/>
                  <a:gd name="connsiteY3" fmla="*/ 70485 h 158115"/>
                  <a:gd name="connsiteX4" fmla="*/ 5715 w 120015"/>
                  <a:gd name="connsiteY4" fmla="*/ 0 h 158115"/>
                  <a:gd name="connsiteX0" fmla="*/ 5715 w 116205"/>
                  <a:gd name="connsiteY0" fmla="*/ 0 h 158115"/>
                  <a:gd name="connsiteX1" fmla="*/ 116205 w 116205"/>
                  <a:gd name="connsiteY1" fmla="*/ 60960 h 158115"/>
                  <a:gd name="connsiteX2" fmla="*/ 102870 w 116205"/>
                  <a:gd name="connsiteY2" fmla="*/ 158115 h 158115"/>
                  <a:gd name="connsiteX3" fmla="*/ 0 w 116205"/>
                  <a:gd name="connsiteY3" fmla="*/ 70485 h 158115"/>
                  <a:gd name="connsiteX4" fmla="*/ 5715 w 116205"/>
                  <a:gd name="connsiteY4" fmla="*/ 0 h 158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205" h="158115">
                    <a:moveTo>
                      <a:pt x="5715" y="0"/>
                    </a:moveTo>
                    <a:lnTo>
                      <a:pt x="116205" y="60960"/>
                    </a:lnTo>
                    <a:lnTo>
                      <a:pt x="102870" y="158115"/>
                    </a:lnTo>
                    <a:lnTo>
                      <a:pt x="0" y="70485"/>
                    </a:lnTo>
                    <a:lnTo>
                      <a:pt x="5715" y="0"/>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7" name="Freeform 75">
                <a:extLst>
                  <a:ext uri="{FF2B5EF4-FFF2-40B4-BE49-F238E27FC236}">
                    <a16:creationId xmlns:a16="http://schemas.microsoft.com/office/drawing/2014/main" id="{DC9848B0-F2FD-43E0-ABF6-487A5AD2BF19}"/>
                  </a:ext>
                </a:extLst>
              </p:cNvPr>
              <p:cNvSpPr/>
              <p:nvPr/>
            </p:nvSpPr>
            <p:spPr bwMode="gray">
              <a:xfrm flipH="1">
                <a:off x="3174125" y="3609213"/>
                <a:ext cx="116205" cy="158115"/>
              </a:xfrm>
              <a:custGeom>
                <a:avLst/>
                <a:gdLst>
                  <a:gd name="connsiteX0" fmla="*/ 9525 w 123825"/>
                  <a:gd name="connsiteY0" fmla="*/ 0 h 131445"/>
                  <a:gd name="connsiteX1" fmla="*/ 123825 w 123825"/>
                  <a:gd name="connsiteY1" fmla="*/ 55245 h 131445"/>
                  <a:gd name="connsiteX2" fmla="*/ 120015 w 123825"/>
                  <a:gd name="connsiteY2" fmla="*/ 131445 h 131445"/>
                  <a:gd name="connsiteX3" fmla="*/ 0 w 123825"/>
                  <a:gd name="connsiteY3" fmla="*/ 72390 h 131445"/>
                  <a:gd name="connsiteX4" fmla="*/ 9525 w 123825"/>
                  <a:gd name="connsiteY4" fmla="*/ 0 h 131445"/>
                  <a:gd name="connsiteX0" fmla="*/ 9525 w 123825"/>
                  <a:gd name="connsiteY0" fmla="*/ 0 h 158115"/>
                  <a:gd name="connsiteX1" fmla="*/ 123825 w 123825"/>
                  <a:gd name="connsiteY1" fmla="*/ 55245 h 158115"/>
                  <a:gd name="connsiteX2" fmla="*/ 106680 w 123825"/>
                  <a:gd name="connsiteY2" fmla="*/ 158115 h 158115"/>
                  <a:gd name="connsiteX3" fmla="*/ 0 w 123825"/>
                  <a:gd name="connsiteY3" fmla="*/ 72390 h 158115"/>
                  <a:gd name="connsiteX4" fmla="*/ 9525 w 123825"/>
                  <a:gd name="connsiteY4" fmla="*/ 0 h 158115"/>
                  <a:gd name="connsiteX0" fmla="*/ 5715 w 120015"/>
                  <a:gd name="connsiteY0" fmla="*/ 0 h 158115"/>
                  <a:gd name="connsiteX1" fmla="*/ 120015 w 120015"/>
                  <a:gd name="connsiteY1" fmla="*/ 55245 h 158115"/>
                  <a:gd name="connsiteX2" fmla="*/ 102870 w 120015"/>
                  <a:gd name="connsiteY2" fmla="*/ 158115 h 158115"/>
                  <a:gd name="connsiteX3" fmla="*/ 0 w 120015"/>
                  <a:gd name="connsiteY3" fmla="*/ 70485 h 158115"/>
                  <a:gd name="connsiteX4" fmla="*/ 5715 w 120015"/>
                  <a:gd name="connsiteY4" fmla="*/ 0 h 158115"/>
                  <a:gd name="connsiteX0" fmla="*/ 5715 w 116205"/>
                  <a:gd name="connsiteY0" fmla="*/ 0 h 158115"/>
                  <a:gd name="connsiteX1" fmla="*/ 116205 w 116205"/>
                  <a:gd name="connsiteY1" fmla="*/ 60960 h 158115"/>
                  <a:gd name="connsiteX2" fmla="*/ 102870 w 116205"/>
                  <a:gd name="connsiteY2" fmla="*/ 158115 h 158115"/>
                  <a:gd name="connsiteX3" fmla="*/ 0 w 116205"/>
                  <a:gd name="connsiteY3" fmla="*/ 70485 h 158115"/>
                  <a:gd name="connsiteX4" fmla="*/ 5715 w 116205"/>
                  <a:gd name="connsiteY4" fmla="*/ 0 h 158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205" h="158115">
                    <a:moveTo>
                      <a:pt x="5715" y="0"/>
                    </a:moveTo>
                    <a:lnTo>
                      <a:pt x="116205" y="60960"/>
                    </a:lnTo>
                    <a:lnTo>
                      <a:pt x="102870" y="158115"/>
                    </a:lnTo>
                    <a:lnTo>
                      <a:pt x="0" y="70485"/>
                    </a:lnTo>
                    <a:lnTo>
                      <a:pt x="5715" y="0"/>
                    </a:ln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8" name="Isosceles Triangle 21">
                <a:extLst>
                  <a:ext uri="{FF2B5EF4-FFF2-40B4-BE49-F238E27FC236}">
                    <a16:creationId xmlns:a16="http://schemas.microsoft.com/office/drawing/2014/main" id="{4ECD1917-2283-4B30-A70F-AF4D4FE07539}"/>
                  </a:ext>
                </a:extLst>
              </p:cNvPr>
              <p:cNvSpPr/>
              <p:nvPr/>
            </p:nvSpPr>
            <p:spPr bwMode="gray">
              <a:xfrm>
                <a:off x="2742531" y="3643575"/>
                <a:ext cx="834388" cy="316795"/>
              </a:xfrm>
              <a:custGeom>
                <a:avLst/>
                <a:gdLst/>
                <a:ahLst/>
                <a:cxnLst/>
                <a:rect l="l" t="t" r="r" b="b"/>
                <a:pathLst>
                  <a:path w="834388" h="316795">
                    <a:moveTo>
                      <a:pt x="288818" y="0"/>
                    </a:moveTo>
                    <a:lnTo>
                      <a:pt x="288809" y="111"/>
                    </a:lnTo>
                    <a:lnTo>
                      <a:pt x="289518" y="0"/>
                    </a:lnTo>
                    <a:lnTo>
                      <a:pt x="286589" y="36124"/>
                    </a:lnTo>
                    <a:lnTo>
                      <a:pt x="388832" y="123220"/>
                    </a:lnTo>
                    <a:lnTo>
                      <a:pt x="394871" y="79222"/>
                    </a:lnTo>
                    <a:lnTo>
                      <a:pt x="395558" y="79327"/>
                    </a:lnTo>
                    <a:lnTo>
                      <a:pt x="395572" y="79222"/>
                    </a:lnTo>
                    <a:cubicBezTo>
                      <a:pt x="397286" y="79830"/>
                      <a:pt x="398847" y="79935"/>
                      <a:pt x="400171" y="79928"/>
                    </a:cubicBezTo>
                    <a:cubicBezTo>
                      <a:pt x="406717" y="79934"/>
                      <a:pt x="412167" y="79845"/>
                      <a:pt x="416844" y="79625"/>
                    </a:cubicBezTo>
                    <a:lnTo>
                      <a:pt x="417194" y="79631"/>
                    </a:lnTo>
                    <a:lnTo>
                      <a:pt x="417544" y="79625"/>
                    </a:lnTo>
                    <a:cubicBezTo>
                      <a:pt x="422221" y="79845"/>
                      <a:pt x="427671" y="79934"/>
                      <a:pt x="434217" y="79928"/>
                    </a:cubicBezTo>
                    <a:cubicBezTo>
                      <a:pt x="435541" y="79935"/>
                      <a:pt x="437102" y="79830"/>
                      <a:pt x="438816" y="79222"/>
                    </a:cubicBezTo>
                    <a:lnTo>
                      <a:pt x="431594" y="26599"/>
                    </a:lnTo>
                    <a:lnTo>
                      <a:pt x="438831" y="79327"/>
                    </a:lnTo>
                    <a:lnTo>
                      <a:pt x="439517" y="79222"/>
                    </a:lnTo>
                    <a:lnTo>
                      <a:pt x="445556" y="123220"/>
                    </a:lnTo>
                    <a:lnTo>
                      <a:pt x="547799" y="36124"/>
                    </a:lnTo>
                    <a:lnTo>
                      <a:pt x="544870" y="0"/>
                    </a:lnTo>
                    <a:lnTo>
                      <a:pt x="545579" y="111"/>
                    </a:lnTo>
                    <a:lnTo>
                      <a:pt x="545570" y="0"/>
                    </a:lnTo>
                    <a:lnTo>
                      <a:pt x="728491" y="28520"/>
                    </a:lnTo>
                    <a:cubicBezTo>
                      <a:pt x="787249" y="40395"/>
                      <a:pt x="791812" y="87873"/>
                      <a:pt x="804102" y="155518"/>
                    </a:cubicBezTo>
                    <a:cubicBezTo>
                      <a:pt x="807676" y="186545"/>
                      <a:pt x="822790" y="258559"/>
                      <a:pt x="834388" y="316795"/>
                    </a:cubicBezTo>
                    <a:lnTo>
                      <a:pt x="723366" y="316795"/>
                    </a:lnTo>
                    <a:lnTo>
                      <a:pt x="629634" y="316795"/>
                    </a:lnTo>
                    <a:lnTo>
                      <a:pt x="628934" y="316795"/>
                    </a:lnTo>
                    <a:lnTo>
                      <a:pt x="460920" y="316795"/>
                    </a:lnTo>
                    <a:lnTo>
                      <a:pt x="460220" y="316795"/>
                    </a:lnTo>
                    <a:lnTo>
                      <a:pt x="374168" y="316795"/>
                    </a:lnTo>
                    <a:lnTo>
                      <a:pt x="373468" y="316795"/>
                    </a:lnTo>
                    <a:lnTo>
                      <a:pt x="205454" y="316795"/>
                    </a:lnTo>
                    <a:lnTo>
                      <a:pt x="204754" y="316795"/>
                    </a:lnTo>
                    <a:lnTo>
                      <a:pt x="111022" y="316795"/>
                    </a:lnTo>
                    <a:lnTo>
                      <a:pt x="0" y="316795"/>
                    </a:lnTo>
                    <a:cubicBezTo>
                      <a:pt x="11598" y="258559"/>
                      <a:pt x="26712" y="186545"/>
                      <a:pt x="30286" y="155518"/>
                    </a:cubicBezTo>
                    <a:cubicBezTo>
                      <a:pt x="42576" y="87873"/>
                      <a:pt x="47139" y="40395"/>
                      <a:pt x="105897" y="28520"/>
                    </a:cubicBezTo>
                    <a:close/>
                  </a:path>
                </a:pathLst>
              </a:cu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9" name="Flowchart: Terminator 7">
                <a:extLst>
                  <a:ext uri="{FF2B5EF4-FFF2-40B4-BE49-F238E27FC236}">
                    <a16:creationId xmlns:a16="http://schemas.microsoft.com/office/drawing/2014/main" id="{B9383C55-11BF-4C14-992E-1CD0E1968474}"/>
                  </a:ext>
                </a:extLst>
              </p:cNvPr>
              <p:cNvSpPr/>
              <p:nvPr/>
            </p:nvSpPr>
            <p:spPr bwMode="gray">
              <a:xfrm rot="18900000">
                <a:off x="3231470" y="3776095"/>
                <a:ext cx="260079" cy="110256"/>
              </a:xfrm>
              <a:custGeom>
                <a:avLst/>
                <a:gdLst/>
                <a:ahLst/>
                <a:cxnLst/>
                <a:rect l="l" t="t" r="r" b="b"/>
                <a:pathLst>
                  <a:path w="520160" h="220512">
                    <a:moveTo>
                      <a:pt x="74941" y="95699"/>
                    </a:moveTo>
                    <a:cubicBezTo>
                      <a:pt x="71215" y="91973"/>
                      <a:pt x="66068" y="89668"/>
                      <a:pt x="60383" y="89668"/>
                    </a:cubicBezTo>
                    <a:cubicBezTo>
                      <a:pt x="49012" y="89669"/>
                      <a:pt x="39794" y="98886"/>
                      <a:pt x="39794" y="110257"/>
                    </a:cubicBezTo>
                    <a:cubicBezTo>
                      <a:pt x="39794" y="121628"/>
                      <a:pt x="49012" y="130845"/>
                      <a:pt x="60383" y="130845"/>
                    </a:cubicBezTo>
                    <a:cubicBezTo>
                      <a:pt x="71754" y="130845"/>
                      <a:pt x="80971" y="121628"/>
                      <a:pt x="80971" y="110257"/>
                    </a:cubicBezTo>
                    <a:cubicBezTo>
                      <a:pt x="80971" y="104571"/>
                      <a:pt x="78667" y="99424"/>
                      <a:pt x="74941" y="95699"/>
                    </a:cubicBezTo>
                    <a:close/>
                    <a:moveTo>
                      <a:pt x="245590" y="47298"/>
                    </a:moveTo>
                    <a:lnTo>
                      <a:pt x="245590" y="88951"/>
                    </a:lnTo>
                    <a:lnTo>
                      <a:pt x="213254" y="88951"/>
                    </a:lnTo>
                    <a:cubicBezTo>
                      <a:pt x="208807" y="88951"/>
                      <a:pt x="205203" y="92555"/>
                      <a:pt x="205203" y="97002"/>
                    </a:cubicBezTo>
                    <a:lnTo>
                      <a:pt x="205203" y="129205"/>
                    </a:lnTo>
                    <a:cubicBezTo>
                      <a:pt x="205203" y="133651"/>
                      <a:pt x="208807" y="137255"/>
                      <a:pt x="213254" y="137255"/>
                    </a:cubicBezTo>
                    <a:lnTo>
                      <a:pt x="229408" y="137255"/>
                    </a:lnTo>
                    <a:lnTo>
                      <a:pt x="229408" y="159660"/>
                    </a:lnTo>
                    <a:lnTo>
                      <a:pt x="223496" y="159660"/>
                    </a:lnTo>
                    <a:cubicBezTo>
                      <a:pt x="215164" y="159660"/>
                      <a:pt x="208132" y="165231"/>
                      <a:pt x="207167" y="173212"/>
                    </a:cubicBezTo>
                    <a:lnTo>
                      <a:pt x="70754" y="173212"/>
                    </a:lnTo>
                    <a:cubicBezTo>
                      <a:pt x="31682" y="173212"/>
                      <a:pt x="0" y="145027"/>
                      <a:pt x="0" y="110255"/>
                    </a:cubicBezTo>
                    <a:cubicBezTo>
                      <a:pt x="0" y="75483"/>
                      <a:pt x="31682" y="47299"/>
                      <a:pt x="70754" y="47299"/>
                    </a:cubicBezTo>
                    <a:close/>
                    <a:moveTo>
                      <a:pt x="503727" y="37952"/>
                    </a:moveTo>
                    <a:cubicBezTo>
                      <a:pt x="510373" y="45721"/>
                      <a:pt x="515929" y="54452"/>
                      <a:pt x="520159" y="63923"/>
                    </a:cubicBezTo>
                    <a:lnTo>
                      <a:pt x="411690" y="63923"/>
                    </a:lnTo>
                    <a:lnTo>
                      <a:pt x="411690" y="156588"/>
                    </a:lnTo>
                    <a:lnTo>
                      <a:pt x="520160" y="156588"/>
                    </a:lnTo>
                    <a:cubicBezTo>
                      <a:pt x="503241" y="194474"/>
                      <a:pt x="465097" y="220512"/>
                      <a:pt x="420871" y="220512"/>
                    </a:cubicBezTo>
                    <a:cubicBezTo>
                      <a:pt x="383894" y="220512"/>
                      <a:pt x="351168" y="202309"/>
                      <a:pt x="332790" y="173212"/>
                    </a:cubicBezTo>
                    <a:lnTo>
                      <a:pt x="312996" y="173212"/>
                    </a:lnTo>
                    <a:cubicBezTo>
                      <a:pt x="312030" y="165231"/>
                      <a:pt x="304999" y="159660"/>
                      <a:pt x="296667" y="159660"/>
                    </a:cubicBezTo>
                    <a:lnTo>
                      <a:pt x="290754" y="159660"/>
                    </a:lnTo>
                    <a:lnTo>
                      <a:pt x="290754" y="137255"/>
                    </a:lnTo>
                    <a:lnTo>
                      <a:pt x="306909" y="137255"/>
                    </a:lnTo>
                    <a:cubicBezTo>
                      <a:pt x="311355" y="137255"/>
                      <a:pt x="314959" y="133651"/>
                      <a:pt x="314959" y="129205"/>
                    </a:cubicBezTo>
                    <a:lnTo>
                      <a:pt x="314959" y="97002"/>
                    </a:lnTo>
                    <a:cubicBezTo>
                      <a:pt x="314959" y="92555"/>
                      <a:pt x="311355" y="88951"/>
                      <a:pt x="306909" y="88951"/>
                    </a:cubicBezTo>
                    <a:lnTo>
                      <a:pt x="274572" y="88951"/>
                    </a:lnTo>
                    <a:lnTo>
                      <a:pt x="274572" y="47299"/>
                    </a:lnTo>
                    <a:lnTo>
                      <a:pt x="332791" y="47299"/>
                    </a:lnTo>
                    <a:cubicBezTo>
                      <a:pt x="351169" y="18202"/>
                      <a:pt x="383894" y="0"/>
                      <a:pt x="420871" y="0"/>
                    </a:cubicBezTo>
                    <a:cubicBezTo>
                      <a:pt x="454040" y="0"/>
                      <a:pt x="483788" y="14647"/>
                      <a:pt x="503727" y="37952"/>
                    </a:cubicBezTo>
                    <a:close/>
                  </a:path>
                </a:pathLst>
              </a:custGeom>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90" name="Rounded Rectangle 6">
                <a:extLst>
                  <a:ext uri="{FF2B5EF4-FFF2-40B4-BE49-F238E27FC236}">
                    <a16:creationId xmlns:a16="http://schemas.microsoft.com/office/drawing/2014/main" id="{78316F20-4402-4C6D-8487-FA4E84D0D6DE}"/>
                  </a:ext>
                </a:extLst>
              </p:cNvPr>
              <p:cNvSpPr/>
              <p:nvPr/>
            </p:nvSpPr>
            <p:spPr bwMode="gray">
              <a:xfrm rot="18900000">
                <a:off x="3334071" y="3701183"/>
                <a:ext cx="54878" cy="260079"/>
              </a:xfrm>
              <a:custGeom>
                <a:avLst/>
                <a:gdLst/>
                <a:ahLst/>
                <a:cxnLst/>
                <a:rect l="l" t="t" r="r" b="b"/>
                <a:pathLst>
                  <a:path w="81799" h="387666">
                    <a:moveTo>
                      <a:pt x="27975" y="0"/>
                    </a:moveTo>
                    <a:lnTo>
                      <a:pt x="53824" y="0"/>
                    </a:lnTo>
                    <a:lnTo>
                      <a:pt x="66749" y="68760"/>
                    </a:lnTo>
                    <a:lnTo>
                      <a:pt x="51699" y="68760"/>
                    </a:lnTo>
                    <a:lnTo>
                      <a:pt x="51699" y="177956"/>
                    </a:lnTo>
                    <a:lnTo>
                      <a:pt x="75799" y="177956"/>
                    </a:lnTo>
                    <a:cubicBezTo>
                      <a:pt x="79113" y="177956"/>
                      <a:pt x="81799" y="180642"/>
                      <a:pt x="81799" y="183956"/>
                    </a:cubicBezTo>
                    <a:lnTo>
                      <a:pt x="81799" y="207956"/>
                    </a:lnTo>
                    <a:cubicBezTo>
                      <a:pt x="81799" y="211270"/>
                      <a:pt x="79113" y="213956"/>
                      <a:pt x="75799" y="213956"/>
                    </a:cubicBezTo>
                    <a:lnTo>
                      <a:pt x="63759" y="213956"/>
                    </a:lnTo>
                    <a:lnTo>
                      <a:pt x="63759" y="230654"/>
                    </a:lnTo>
                    <a:lnTo>
                      <a:pt x="68166" y="230654"/>
                    </a:lnTo>
                    <a:cubicBezTo>
                      <a:pt x="75695" y="230654"/>
                      <a:pt x="81799" y="236758"/>
                      <a:pt x="81799" y="244287"/>
                    </a:cubicBezTo>
                    <a:lnTo>
                      <a:pt x="81799" y="374033"/>
                    </a:lnTo>
                    <a:cubicBezTo>
                      <a:pt x="81799" y="381562"/>
                      <a:pt x="75695" y="387666"/>
                      <a:pt x="68166" y="387666"/>
                    </a:cubicBezTo>
                    <a:lnTo>
                      <a:pt x="13633" y="387666"/>
                    </a:lnTo>
                    <a:cubicBezTo>
                      <a:pt x="6104" y="387666"/>
                      <a:pt x="0" y="381562"/>
                      <a:pt x="0" y="374033"/>
                    </a:cubicBezTo>
                    <a:lnTo>
                      <a:pt x="0" y="244287"/>
                    </a:lnTo>
                    <a:cubicBezTo>
                      <a:pt x="0" y="236758"/>
                      <a:pt x="6104" y="230654"/>
                      <a:pt x="13633" y="230654"/>
                    </a:cubicBezTo>
                    <a:lnTo>
                      <a:pt x="18039" y="230654"/>
                    </a:lnTo>
                    <a:lnTo>
                      <a:pt x="18039" y="213956"/>
                    </a:lnTo>
                    <a:lnTo>
                      <a:pt x="6000" y="213956"/>
                    </a:lnTo>
                    <a:cubicBezTo>
                      <a:pt x="2686" y="213956"/>
                      <a:pt x="0" y="211270"/>
                      <a:pt x="0" y="207956"/>
                    </a:cubicBezTo>
                    <a:lnTo>
                      <a:pt x="0" y="183956"/>
                    </a:lnTo>
                    <a:cubicBezTo>
                      <a:pt x="0" y="180642"/>
                      <a:pt x="2686" y="177956"/>
                      <a:pt x="6000" y="177956"/>
                    </a:cubicBezTo>
                    <a:lnTo>
                      <a:pt x="30099" y="177956"/>
                    </a:lnTo>
                    <a:lnTo>
                      <a:pt x="30099" y="68760"/>
                    </a:lnTo>
                    <a:lnTo>
                      <a:pt x="15050" y="68760"/>
                    </a:lnTo>
                    <a:close/>
                  </a:path>
                </a:pathLst>
              </a:custGeom>
              <a:solidFill>
                <a:schemeClr val="bg1"/>
              </a:solidFill>
              <a:ln w="127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solidFill>
                    <a:schemeClr val="tx1"/>
                  </a:solidFill>
                </a:endParaRPr>
              </a:p>
            </p:txBody>
          </p:sp>
        </p:grpSp>
        <p:sp>
          <p:nvSpPr>
            <p:cNvPr id="41" name="Rounded Rectangular Callout 10"/>
            <p:cNvSpPr/>
            <p:nvPr/>
          </p:nvSpPr>
          <p:spPr bwMode="gray">
            <a:xfrm flipH="1">
              <a:off x="6842918" y="4064709"/>
              <a:ext cx="4233376" cy="727882"/>
            </a:xfrm>
            <a:prstGeom prst="wedgeRoundRectCallout">
              <a:avLst>
                <a:gd name="adj1" fmla="val -57823"/>
                <a:gd name="adj2" fmla="val 33377"/>
                <a:gd name="adj3" fmla="val 16667"/>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079"/>
                </a:spcBef>
                <a:buClr>
                  <a:schemeClr val="tx2"/>
                </a:buClr>
                <a:buSzPct val="70000"/>
              </a:pPr>
              <a:r>
                <a:rPr lang="en-US" sz="1600" dirty="0">
                  <a:solidFill>
                    <a:schemeClr val="tx1"/>
                  </a:solidFill>
                  <a:latin typeface="ABBvoice" panose="020D0603020503020204" pitchFamily="34" charset="0"/>
                  <a:ea typeface="ABBvoice" panose="020D0603020503020204" pitchFamily="34" charset="0"/>
                  <a:cs typeface="ABBvoice" panose="020D0603020503020204" pitchFamily="34" charset="0"/>
                </a:rPr>
                <a:t>The serial number is available on the type plate of the analyzer.</a:t>
              </a:r>
            </a:p>
          </p:txBody>
        </p:sp>
      </p:grpSp>
      <p:sp>
        <p:nvSpPr>
          <p:cNvPr id="94" name="AutoShape 6">
            <a:hlinkClick r:id="rId4" action="ppaction://hlinksldjump" highlightClick="1"/>
            <a:extLst>
              <a:ext uri="{FF2B5EF4-FFF2-40B4-BE49-F238E27FC236}">
                <a16:creationId xmlns:a16="http://schemas.microsoft.com/office/drawing/2014/main" id="{551448DA-0311-4DD2-843B-2B42DC1C8A50}"/>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1922595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91"/>
                                        </p:tgtEl>
                                        <p:attrNameLst>
                                          <p:attrName>style.visibility</p:attrName>
                                        </p:attrNameLst>
                                      </p:cBhvr>
                                      <p:to>
                                        <p:strVal val="visible"/>
                                      </p:to>
                                    </p:set>
                                    <p:anim calcmode="lin" valueType="num">
                                      <p:cBhvr additive="base">
                                        <p:cTn id="13" dur="500" fill="hold"/>
                                        <p:tgtEl>
                                          <p:spTgt spid="91"/>
                                        </p:tgtEl>
                                        <p:attrNameLst>
                                          <p:attrName>ppt_x</p:attrName>
                                        </p:attrNameLst>
                                      </p:cBhvr>
                                      <p:tavLst>
                                        <p:tav tm="0">
                                          <p:val>
                                            <p:strVal val="1+#ppt_w/2"/>
                                          </p:val>
                                        </p:tav>
                                        <p:tav tm="100000">
                                          <p:val>
                                            <p:strVal val="#ppt_x"/>
                                          </p:val>
                                        </p:tav>
                                      </p:tavLst>
                                    </p:anim>
                                    <p:anim calcmode="lin" valueType="num">
                                      <p:cBhvr additive="base">
                                        <p:cTn id="14" dur="500" fill="hold"/>
                                        <p:tgtEl>
                                          <p:spTgt spid="91"/>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8"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0-#ppt_w/2"/>
                                          </p:val>
                                        </p:tav>
                                        <p:tav tm="100000">
                                          <p:val>
                                            <p:strVal val="#ppt_x"/>
                                          </p:val>
                                        </p:tav>
                                      </p:tavLst>
                                    </p:anim>
                                    <p:anim calcmode="lin" valueType="num">
                                      <p:cBhvr additive="base">
                                        <p:cTn id="20" dur="500" fill="hold"/>
                                        <p:tgtEl>
                                          <p:spTgt spid="8"/>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nodeType="clickEffect">
                                  <p:stCondLst>
                                    <p:cond delay="0"/>
                                  </p:stCondLst>
                                  <p:childTnLst>
                                    <p:set>
                                      <p:cBhvr>
                                        <p:cTn id="24" dur="1" fill="hold">
                                          <p:stCondLst>
                                            <p:cond delay="0"/>
                                          </p:stCondLst>
                                        </p:cTn>
                                        <p:tgtEl>
                                          <p:spTgt spid="92"/>
                                        </p:tgtEl>
                                        <p:attrNameLst>
                                          <p:attrName>style.visibility</p:attrName>
                                        </p:attrNameLst>
                                      </p:cBhvr>
                                      <p:to>
                                        <p:strVal val="visible"/>
                                      </p:to>
                                    </p:set>
                                    <p:anim calcmode="lin" valueType="num">
                                      <p:cBhvr additive="base">
                                        <p:cTn id="25" dur="500" fill="hold"/>
                                        <p:tgtEl>
                                          <p:spTgt spid="92"/>
                                        </p:tgtEl>
                                        <p:attrNameLst>
                                          <p:attrName>ppt_x</p:attrName>
                                        </p:attrNameLst>
                                      </p:cBhvr>
                                      <p:tavLst>
                                        <p:tav tm="0">
                                          <p:val>
                                            <p:strVal val="1+#ppt_w/2"/>
                                          </p:val>
                                        </p:tav>
                                        <p:tav tm="100000">
                                          <p:val>
                                            <p:strVal val="#ppt_x"/>
                                          </p:val>
                                        </p:tav>
                                      </p:tavLst>
                                    </p:anim>
                                    <p:anim calcmode="lin" valueType="num">
                                      <p:cBhvr additive="base">
                                        <p:cTn id="26" dur="500" fill="hold"/>
                                        <p:tgtEl>
                                          <p:spTgt spid="92"/>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8"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fill="hold"/>
                                        <p:tgtEl>
                                          <p:spTgt spid="9"/>
                                        </p:tgtEl>
                                        <p:attrNameLst>
                                          <p:attrName>ppt_x</p:attrName>
                                        </p:attrNameLst>
                                      </p:cBhvr>
                                      <p:tavLst>
                                        <p:tav tm="0">
                                          <p:val>
                                            <p:strVal val="0-#ppt_w/2"/>
                                          </p:val>
                                        </p:tav>
                                        <p:tav tm="100000">
                                          <p:val>
                                            <p:strVal val="#ppt_x"/>
                                          </p:val>
                                        </p:tav>
                                      </p:tavLst>
                                    </p:anim>
                                    <p:anim calcmode="lin" valueType="num">
                                      <p:cBhvr additive="base">
                                        <p:cTn id="32"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Inhaltsplatzhalter 7"/>
          <p:cNvSpPr txBox="1">
            <a:spLocks/>
          </p:cNvSpPr>
          <p:nvPr/>
        </p:nvSpPr>
        <p:spPr bwMode="gray">
          <a:xfrm>
            <a:off x="8000634" y="5000263"/>
            <a:ext cx="3865929" cy="922700"/>
          </a:xfrm>
          <a:prstGeom prst="rect">
            <a:avLst/>
          </a:prstGeom>
        </p:spPr>
        <p:txBody>
          <a:bodyPr vert="horz" lIns="0" tIns="0" rIns="0" bIns="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r>
              <a:rPr lang="en-US" dirty="0"/>
              <a:t>Standard QR Code reader applications</a:t>
            </a:r>
          </a:p>
          <a:p>
            <a:pPr lvl="1"/>
            <a:r>
              <a:rPr lang="en-US" dirty="0"/>
              <a:t>ABB application “my Installed Base” (</a:t>
            </a:r>
            <a:r>
              <a:rPr lang="en-US" dirty="0" err="1"/>
              <a:t>myIB</a:t>
            </a:r>
            <a:r>
              <a:rPr lang="en-US" dirty="0"/>
              <a:t>)</a:t>
            </a:r>
          </a:p>
        </p:txBody>
      </p:sp>
      <p:sp>
        <p:nvSpPr>
          <p:cNvPr id="8" name="Inhaltsplatzhalter 7"/>
          <p:cNvSpPr>
            <a:spLocks noGrp="1"/>
          </p:cNvSpPr>
          <p:nvPr>
            <p:ph sz="quarter" idx="4294967295"/>
          </p:nvPr>
        </p:nvSpPr>
        <p:spPr bwMode="gray">
          <a:xfrm>
            <a:off x="332366" y="5000625"/>
            <a:ext cx="3859213" cy="922338"/>
          </a:xfrm>
        </p:spPr>
        <p:txBody>
          <a:bodyPr/>
          <a:lstStyle/>
          <a:p>
            <a:pPr lvl="1"/>
            <a:r>
              <a:rPr lang="en-US" b="1" dirty="0"/>
              <a:t>Static</a:t>
            </a:r>
            <a:r>
              <a:rPr lang="en-US" dirty="0"/>
              <a:t> information for system identification</a:t>
            </a:r>
          </a:p>
          <a:p>
            <a:pPr lvl="1"/>
            <a:r>
              <a:rPr lang="en-US" b="1" dirty="0"/>
              <a:t>Dynamic</a:t>
            </a:r>
            <a:r>
              <a:rPr lang="en-US" dirty="0"/>
              <a:t> information on system configuration and analyzer health status</a:t>
            </a:r>
          </a:p>
        </p:txBody>
      </p:sp>
      <p:sp>
        <p:nvSpPr>
          <p:cNvPr id="232" name="Rectangle 231"/>
          <p:cNvSpPr/>
          <p:nvPr/>
        </p:nvSpPr>
        <p:spPr bwMode="gray">
          <a:xfrm>
            <a:off x="0" y="6094413"/>
            <a:ext cx="12192000" cy="763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214" name="Group 213"/>
          <p:cNvGrpSpPr/>
          <p:nvPr/>
        </p:nvGrpSpPr>
        <p:grpSpPr bwMode="gray">
          <a:xfrm>
            <a:off x="334963" y="1848995"/>
            <a:ext cx="11531599" cy="379065"/>
            <a:chOff x="2538404" y="1848995"/>
            <a:chExt cx="2908126" cy="379065"/>
          </a:xfrm>
        </p:grpSpPr>
        <p:cxnSp>
          <p:nvCxnSpPr>
            <p:cNvPr id="211" name="Straight Connector 210"/>
            <p:cNvCxnSpPr/>
            <p:nvPr/>
          </p:nvCxnSpPr>
          <p:spPr bwMode="gray">
            <a:xfrm>
              <a:off x="2538404" y="2186113"/>
              <a:ext cx="2903451"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12" name="Text Placeholder 7"/>
            <p:cNvSpPr txBox="1">
              <a:spLocks/>
            </p:cNvSpPr>
            <p:nvPr/>
          </p:nvSpPr>
          <p:spPr bwMode="gray">
            <a:xfrm>
              <a:off x="2538404" y="1848995"/>
              <a:ext cx="2908126"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lgn="ctr">
                <a:spcBef>
                  <a:spcPts val="600"/>
                </a:spcBef>
              </a:pPr>
              <a:r>
                <a:rPr lang="en-US" dirty="0"/>
                <a:t>What are Dynamic QR Codes?</a:t>
              </a:r>
            </a:p>
          </p:txBody>
        </p:sp>
      </p:grpSp>
      <p:sp>
        <p:nvSpPr>
          <p:cNvPr id="213" name="Text Placeholder 5"/>
          <p:cNvSpPr txBox="1">
            <a:spLocks/>
          </p:cNvSpPr>
          <p:nvPr/>
        </p:nvSpPr>
        <p:spPr bwMode="gray">
          <a:xfrm>
            <a:off x="277495" y="2186113"/>
            <a:ext cx="11589068" cy="566620"/>
          </a:xfrm>
          <a:prstGeom prst="rect">
            <a:avLst/>
          </a:prstGeom>
        </p:spPr>
        <p:txBody>
          <a:bodyPr lIns="72000" tIns="72000" rIns="72000" bIns="72000"/>
          <a:lstStyle>
            <a:lvl1pPr marL="0" indent="0" algn="l" defTabSz="914400"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spcBef>
                <a:spcPct val="20000"/>
              </a:spcBef>
              <a:buFont typeface="ABBvoiceOffice" panose="020D0603020503020204" pitchFamily="34" charset="0"/>
              <a:buChar char="–"/>
              <a:defRPr sz="1400" kern="1200">
                <a:solidFill>
                  <a:schemeClr val="tx1"/>
                </a:solidFill>
                <a:latin typeface="+mn-lt"/>
                <a:ea typeface="+mn-ea"/>
                <a:cs typeface="+mn-cs"/>
              </a:defRPr>
            </a:lvl2pPr>
            <a:lvl3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9pPr>
          </a:lstStyle>
          <a:p>
            <a:pPr algn="ctr">
              <a:spcBef>
                <a:spcPts val="600"/>
              </a:spcBef>
            </a:pPr>
            <a:r>
              <a:rPr lang="en-US" dirty="0"/>
              <a:t>Integration of dynamically generated QR Codes on analyzer display</a:t>
            </a:r>
          </a:p>
        </p:txBody>
      </p:sp>
      <p:sp>
        <p:nvSpPr>
          <p:cNvPr id="170" name="Rechteck 87"/>
          <p:cNvSpPr/>
          <p:nvPr/>
        </p:nvSpPr>
        <p:spPr bwMode="gray">
          <a:xfrm>
            <a:off x="332366" y="3424123"/>
            <a:ext cx="3858999" cy="535500"/>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90000"/>
              </a:lnSpc>
              <a:spcBef>
                <a:spcPts val="1100"/>
              </a:spcBef>
              <a:buClr>
                <a:srgbClr val="002897"/>
              </a:buClr>
              <a:buSzPct val="70000"/>
            </a:pPr>
            <a:r>
              <a:rPr lang="en-US" sz="1600" b="1" dirty="0">
                <a:solidFill>
                  <a:schemeClr val="bg1"/>
                </a:solidFill>
              </a:rPr>
              <a:t>Contained information</a:t>
            </a:r>
          </a:p>
        </p:txBody>
      </p:sp>
      <p:sp>
        <p:nvSpPr>
          <p:cNvPr id="216" name="Isosceles Triangle 215"/>
          <p:cNvSpPr/>
          <p:nvPr/>
        </p:nvSpPr>
        <p:spPr bwMode="gray">
          <a:xfrm rot="16200000">
            <a:off x="4050416" y="3649419"/>
            <a:ext cx="196987" cy="8490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71" name="Rechteck 88"/>
          <p:cNvSpPr/>
          <p:nvPr/>
        </p:nvSpPr>
        <p:spPr bwMode="gray">
          <a:xfrm>
            <a:off x="8000634" y="3424123"/>
            <a:ext cx="3852630" cy="535500"/>
          </a:xfrm>
          <a:prstGeom prst="rect">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ct val="90000"/>
              </a:lnSpc>
              <a:spcBef>
                <a:spcPts val="1100"/>
              </a:spcBef>
              <a:buClr>
                <a:srgbClr val="002897"/>
              </a:buClr>
              <a:buSzPct val="70000"/>
            </a:pPr>
            <a:r>
              <a:rPr lang="en-US" sz="1600" b="1" dirty="0">
                <a:solidFill>
                  <a:schemeClr val="bg1"/>
                </a:solidFill>
              </a:rPr>
              <a:t>Compatible with mobile devices</a:t>
            </a:r>
          </a:p>
        </p:txBody>
      </p:sp>
      <p:sp>
        <p:nvSpPr>
          <p:cNvPr id="215" name="Isosceles Triangle 214"/>
          <p:cNvSpPr/>
          <p:nvPr/>
        </p:nvSpPr>
        <p:spPr bwMode="gray">
          <a:xfrm rot="5400000">
            <a:off x="7944595" y="3649419"/>
            <a:ext cx="196987" cy="8490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 name="Titel 1"/>
          <p:cNvSpPr>
            <a:spLocks noGrp="1"/>
          </p:cNvSpPr>
          <p:nvPr>
            <p:ph type="title"/>
          </p:nvPr>
        </p:nvSpPr>
        <p:spPr bwMode="gray"/>
        <p:txBody>
          <a:bodyPr/>
          <a:lstStyle/>
          <a:p>
            <a:r>
              <a:rPr lang="en-US" dirty="0"/>
              <a:t>Dynamic QR Codes</a:t>
            </a:r>
          </a:p>
        </p:txBody>
      </p:sp>
      <p:sp>
        <p:nvSpPr>
          <p:cNvPr id="241" name="Date Placeholder 3"/>
          <p:cNvSpPr>
            <a:spLocks noGrp="1"/>
          </p:cNvSpPr>
          <p:nvPr>
            <p:ph type="dt" sz="half" idx="14"/>
          </p:nvPr>
        </p:nvSpPr>
        <p:spPr bwMode="gray"/>
        <p:txBody>
          <a:bodyPr/>
          <a:lstStyle/>
          <a:p>
            <a:fld id="{FE64DAD5-E26A-488D-9652-839EE380C777}" type="datetime4">
              <a:rPr lang="en-US" smtClean="0"/>
              <a:t>September 8, 2019</a:t>
            </a:fld>
            <a:endParaRPr lang="en-US" dirty="0"/>
          </a:p>
        </p:txBody>
      </p:sp>
      <p:sp>
        <p:nvSpPr>
          <p:cNvPr id="3" name="Fußzeilenplatzhalter 2"/>
          <p:cNvSpPr>
            <a:spLocks noGrp="1"/>
          </p:cNvSpPr>
          <p:nvPr>
            <p:ph type="ftr" sz="quarter" idx="15"/>
          </p:nvPr>
        </p:nvSpPr>
        <p:spPr bwMode="gray"/>
        <p:txBody>
          <a:bodyPr/>
          <a:lstStyle/>
          <a:p>
            <a:pPr lvl="8"/>
            <a:endParaRPr lang="en-US" dirty="0"/>
          </a:p>
        </p:txBody>
      </p:sp>
      <p:sp>
        <p:nvSpPr>
          <p:cNvPr id="242" name="Slide Number Placeholder 4"/>
          <p:cNvSpPr>
            <a:spLocks noGrp="1"/>
          </p:cNvSpPr>
          <p:nvPr>
            <p:ph type="sldNum" sz="quarter" idx="16"/>
          </p:nvPr>
        </p:nvSpPr>
        <p:spPr bwMode="gray"/>
        <p:txBody>
          <a:bodyPr/>
          <a:lstStyle/>
          <a:p>
            <a:r>
              <a:rPr lang="en-US"/>
              <a:t>Slide </a:t>
            </a:r>
            <a:fld id="{619F89D8-7AE3-494A-97F3-03D680869632}" type="slidenum">
              <a:rPr lang="en-US" smtClean="0"/>
              <a:pPr/>
              <a:t>102</a:t>
            </a:fld>
            <a:endParaRPr lang="en-US" dirty="0"/>
          </a:p>
        </p:txBody>
      </p:sp>
      <p:sp>
        <p:nvSpPr>
          <p:cNvPr id="9" name="Untertitel 8"/>
          <p:cNvSpPr>
            <a:spLocks noGrp="1"/>
          </p:cNvSpPr>
          <p:nvPr>
            <p:ph type="subTitle" idx="13"/>
          </p:nvPr>
        </p:nvSpPr>
        <p:spPr bwMode="gray"/>
        <p:txBody>
          <a:bodyPr/>
          <a:lstStyle/>
          <a:p>
            <a:r>
              <a:rPr lang="en-US" dirty="0"/>
              <a:t>Introduction</a:t>
            </a:r>
          </a:p>
        </p:txBody>
      </p:sp>
      <p:grpSp>
        <p:nvGrpSpPr>
          <p:cNvPr id="18" name="Group 17"/>
          <p:cNvGrpSpPr/>
          <p:nvPr/>
        </p:nvGrpSpPr>
        <p:grpSpPr bwMode="gray">
          <a:xfrm>
            <a:off x="4191366" y="3069203"/>
            <a:ext cx="3809268" cy="1411717"/>
            <a:chOff x="2609850" y="3584103"/>
            <a:chExt cx="2131080" cy="789777"/>
          </a:xfrm>
          <a:solidFill>
            <a:schemeClr val="bg1"/>
          </a:solidFill>
        </p:grpSpPr>
        <p:sp>
          <p:nvSpPr>
            <p:cNvPr id="19" name="Rectangle 18"/>
            <p:cNvSpPr/>
            <p:nvPr/>
          </p:nvSpPr>
          <p:spPr bwMode="gray">
            <a:xfrm>
              <a:off x="2609850" y="3584103"/>
              <a:ext cx="92710" cy="789777"/>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0" name="Rectangle 19"/>
            <p:cNvSpPr/>
            <p:nvPr/>
          </p:nvSpPr>
          <p:spPr bwMode="gray">
            <a:xfrm>
              <a:off x="2702560" y="3584103"/>
              <a:ext cx="1945640" cy="789777"/>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1" name="Rectangle 20"/>
            <p:cNvSpPr/>
            <p:nvPr/>
          </p:nvSpPr>
          <p:spPr bwMode="gray">
            <a:xfrm>
              <a:off x="4648220" y="3584103"/>
              <a:ext cx="92710" cy="789777"/>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2" name="Rounded Rectangle 21"/>
            <p:cNvSpPr/>
            <p:nvPr/>
          </p:nvSpPr>
          <p:spPr bwMode="gray">
            <a:xfrm>
              <a:off x="2633346" y="3675319"/>
              <a:ext cx="45719" cy="607344"/>
            </a:xfrm>
            <a:prstGeom prst="roundRect">
              <a:avLst>
                <a:gd name="adj" fmla="val 47914"/>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 name="Rounded Rectangle 22"/>
            <p:cNvSpPr/>
            <p:nvPr/>
          </p:nvSpPr>
          <p:spPr bwMode="gray">
            <a:xfrm>
              <a:off x="4671716" y="3675319"/>
              <a:ext cx="45719" cy="607344"/>
            </a:xfrm>
            <a:prstGeom prst="roundRect">
              <a:avLst>
                <a:gd name="adj" fmla="val 47914"/>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4" name="Oval 23"/>
            <p:cNvSpPr/>
            <p:nvPr/>
          </p:nvSpPr>
          <p:spPr bwMode="gray">
            <a:xfrm>
              <a:off x="2753360" y="3645874"/>
              <a:ext cx="47286" cy="47286"/>
            </a:xfrm>
            <a:prstGeom prst="ellips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5" name="Oval 24"/>
            <p:cNvSpPr/>
            <p:nvPr/>
          </p:nvSpPr>
          <p:spPr bwMode="gray">
            <a:xfrm>
              <a:off x="2753360" y="4262172"/>
              <a:ext cx="47286" cy="47286"/>
            </a:xfrm>
            <a:prstGeom prst="ellips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6" name="Oval 25"/>
            <p:cNvSpPr/>
            <p:nvPr/>
          </p:nvSpPr>
          <p:spPr bwMode="gray">
            <a:xfrm>
              <a:off x="4547828" y="3645874"/>
              <a:ext cx="47286" cy="47286"/>
            </a:xfrm>
            <a:prstGeom prst="ellips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7" name="Oval 26"/>
            <p:cNvSpPr/>
            <p:nvPr/>
          </p:nvSpPr>
          <p:spPr bwMode="gray">
            <a:xfrm>
              <a:off x="4547828" y="4262172"/>
              <a:ext cx="47286" cy="47286"/>
            </a:xfrm>
            <a:prstGeom prst="ellips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8" name="Rectangle 27"/>
            <p:cNvSpPr/>
            <p:nvPr/>
          </p:nvSpPr>
          <p:spPr bwMode="gray">
            <a:xfrm>
              <a:off x="3647440" y="3717032"/>
              <a:ext cx="845361" cy="545140"/>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9" name="Rectangle 28"/>
            <p:cNvSpPr/>
            <p:nvPr/>
          </p:nvSpPr>
          <p:spPr bwMode="gray">
            <a:xfrm>
              <a:off x="3680460" y="3747956"/>
              <a:ext cx="511897" cy="364304"/>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0" name="Rectangle 29"/>
            <p:cNvSpPr/>
            <p:nvPr/>
          </p:nvSpPr>
          <p:spPr bwMode="gray">
            <a:xfrm>
              <a:off x="3680461"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1" name="Rectangle 30"/>
            <p:cNvSpPr/>
            <p:nvPr/>
          </p:nvSpPr>
          <p:spPr bwMode="gray">
            <a:xfrm>
              <a:off x="3769049"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2" name="Rectangle 31"/>
            <p:cNvSpPr/>
            <p:nvPr/>
          </p:nvSpPr>
          <p:spPr bwMode="gray">
            <a:xfrm>
              <a:off x="3857637"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3" name="Rectangle 32"/>
            <p:cNvSpPr/>
            <p:nvPr/>
          </p:nvSpPr>
          <p:spPr bwMode="gray">
            <a:xfrm>
              <a:off x="3946225"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4" name="Rectangle 33"/>
            <p:cNvSpPr/>
            <p:nvPr/>
          </p:nvSpPr>
          <p:spPr bwMode="gray">
            <a:xfrm>
              <a:off x="4034813"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5" name="Rectangle 34"/>
            <p:cNvSpPr/>
            <p:nvPr/>
          </p:nvSpPr>
          <p:spPr bwMode="gray">
            <a:xfrm>
              <a:off x="4123400"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6" name="Rectangle 35"/>
            <p:cNvSpPr/>
            <p:nvPr/>
          </p:nvSpPr>
          <p:spPr bwMode="gray">
            <a:xfrm>
              <a:off x="4229316" y="3838173"/>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7" name="Rectangle 36"/>
            <p:cNvSpPr/>
            <p:nvPr/>
          </p:nvSpPr>
          <p:spPr bwMode="gray">
            <a:xfrm>
              <a:off x="4306560" y="3838173"/>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8" name="Rectangle 37"/>
            <p:cNvSpPr/>
            <p:nvPr/>
          </p:nvSpPr>
          <p:spPr bwMode="gray">
            <a:xfrm>
              <a:off x="4383805" y="3838173"/>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9" name="Rectangle 38"/>
            <p:cNvSpPr/>
            <p:nvPr/>
          </p:nvSpPr>
          <p:spPr bwMode="gray">
            <a:xfrm>
              <a:off x="4229316" y="3911425"/>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0" name="Rectangle 39"/>
            <p:cNvSpPr/>
            <p:nvPr/>
          </p:nvSpPr>
          <p:spPr bwMode="gray">
            <a:xfrm>
              <a:off x="4306560" y="3911425"/>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1" name="Rectangle 40"/>
            <p:cNvSpPr/>
            <p:nvPr/>
          </p:nvSpPr>
          <p:spPr bwMode="gray">
            <a:xfrm>
              <a:off x="4383805" y="3911425"/>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2" name="Rectangle 41"/>
            <p:cNvSpPr/>
            <p:nvPr/>
          </p:nvSpPr>
          <p:spPr bwMode="gray">
            <a:xfrm>
              <a:off x="4229316" y="3984676"/>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3" name="Rectangle 42"/>
            <p:cNvSpPr/>
            <p:nvPr/>
          </p:nvSpPr>
          <p:spPr bwMode="gray">
            <a:xfrm>
              <a:off x="4306560" y="3984676"/>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4" name="Rectangle 43"/>
            <p:cNvSpPr/>
            <p:nvPr/>
          </p:nvSpPr>
          <p:spPr bwMode="gray">
            <a:xfrm>
              <a:off x="4383805" y="3984676"/>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5" name="Rectangle 44"/>
            <p:cNvSpPr/>
            <p:nvPr/>
          </p:nvSpPr>
          <p:spPr bwMode="gray">
            <a:xfrm>
              <a:off x="4229316" y="4057928"/>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6" name="Rectangle 45"/>
            <p:cNvSpPr/>
            <p:nvPr/>
          </p:nvSpPr>
          <p:spPr bwMode="gray">
            <a:xfrm>
              <a:off x="4306560" y="4057928"/>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7" name="Rectangle 46"/>
            <p:cNvSpPr/>
            <p:nvPr/>
          </p:nvSpPr>
          <p:spPr bwMode="gray">
            <a:xfrm>
              <a:off x="4383805" y="4057928"/>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8" name="Rectangle 47"/>
            <p:cNvSpPr/>
            <p:nvPr/>
          </p:nvSpPr>
          <p:spPr bwMode="gray">
            <a:xfrm>
              <a:off x="4356113" y="4164302"/>
              <a:ext cx="77245" cy="54316"/>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9" name="Rectangle 48"/>
            <p:cNvSpPr/>
            <p:nvPr/>
          </p:nvSpPr>
          <p:spPr bwMode="gray">
            <a:xfrm>
              <a:off x="4235031" y="4164302"/>
              <a:ext cx="77245" cy="54316"/>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 name="Rounded Rectangle 49"/>
            <p:cNvSpPr>
              <a:spLocks/>
            </p:cNvSpPr>
            <p:nvPr/>
          </p:nvSpPr>
          <p:spPr bwMode="gray">
            <a:xfrm>
              <a:off x="4302750" y="3801296"/>
              <a:ext cx="18000" cy="7200"/>
            </a:xfrm>
            <a:prstGeom prst="roundRect">
              <a:avLst>
                <a:gd name="adj" fmla="val 29360"/>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 name="Rounded Rectangle 50"/>
            <p:cNvSpPr>
              <a:spLocks/>
            </p:cNvSpPr>
            <p:nvPr/>
          </p:nvSpPr>
          <p:spPr bwMode="gray">
            <a:xfrm>
              <a:off x="4353281" y="3801296"/>
              <a:ext cx="18000" cy="7200"/>
            </a:xfrm>
            <a:prstGeom prst="roundRect">
              <a:avLst>
                <a:gd name="adj" fmla="val 29360"/>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2" name="Rounded Rectangle 51"/>
            <p:cNvSpPr>
              <a:spLocks/>
            </p:cNvSpPr>
            <p:nvPr/>
          </p:nvSpPr>
          <p:spPr bwMode="gray">
            <a:xfrm>
              <a:off x="4403812" y="3801296"/>
              <a:ext cx="18000" cy="7200"/>
            </a:xfrm>
            <a:prstGeom prst="roundRect">
              <a:avLst>
                <a:gd name="adj" fmla="val 29360"/>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76" name="Group 75"/>
          <p:cNvGrpSpPr/>
          <p:nvPr/>
        </p:nvGrpSpPr>
        <p:grpSpPr bwMode="gray">
          <a:xfrm>
            <a:off x="6307119" y="3424123"/>
            <a:ext cx="523096" cy="523097"/>
            <a:chOff x="1179628" y="-1706756"/>
            <a:chExt cx="465749" cy="465750"/>
          </a:xfrm>
        </p:grpSpPr>
        <p:grpSp>
          <p:nvGrpSpPr>
            <p:cNvPr id="77" name="Group 76"/>
            <p:cNvGrpSpPr/>
            <p:nvPr/>
          </p:nvGrpSpPr>
          <p:grpSpPr bwMode="gray">
            <a:xfrm>
              <a:off x="1179628" y="-1376691"/>
              <a:ext cx="135685" cy="135685"/>
              <a:chOff x="-4433548" y="0"/>
              <a:chExt cx="761570" cy="761570"/>
            </a:xfrm>
            <a:solidFill>
              <a:schemeClr val="bg1"/>
            </a:solidFill>
          </p:grpSpPr>
          <p:sp>
            <p:nvSpPr>
              <p:cNvPr id="88" name="Rectangle 87"/>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9" name="Rectangle 88"/>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78" name="Group 77"/>
            <p:cNvGrpSpPr/>
            <p:nvPr/>
          </p:nvGrpSpPr>
          <p:grpSpPr bwMode="gray">
            <a:xfrm>
              <a:off x="1179628" y="-1706756"/>
              <a:ext cx="135685" cy="135685"/>
              <a:chOff x="-4433548" y="0"/>
              <a:chExt cx="761570" cy="761570"/>
            </a:xfrm>
            <a:solidFill>
              <a:schemeClr val="bg1"/>
            </a:solidFill>
          </p:grpSpPr>
          <p:sp>
            <p:nvSpPr>
              <p:cNvPr id="86" name="Rectangle 85"/>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7" name="Rectangle 86"/>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79" name="Group 78"/>
            <p:cNvGrpSpPr/>
            <p:nvPr/>
          </p:nvGrpSpPr>
          <p:grpSpPr bwMode="gray">
            <a:xfrm>
              <a:off x="1509692" y="-1706756"/>
              <a:ext cx="135685" cy="135685"/>
              <a:chOff x="-4433548" y="0"/>
              <a:chExt cx="761570" cy="761570"/>
            </a:xfrm>
            <a:solidFill>
              <a:schemeClr val="bg1"/>
            </a:solidFill>
          </p:grpSpPr>
          <p:sp>
            <p:nvSpPr>
              <p:cNvPr id="84" name="Rectangle 83"/>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5" name="Rectangle 84"/>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sp>
          <p:nvSpPr>
            <p:cNvPr id="80" name="Rectangle 79"/>
            <p:cNvSpPr/>
            <p:nvPr/>
          </p:nvSpPr>
          <p:spPr bwMode="gray">
            <a:xfrm>
              <a:off x="1337475" y="-1548909"/>
              <a:ext cx="150055" cy="150056"/>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nvGrpSpPr>
            <p:cNvPr id="81" name="Group 80"/>
            <p:cNvGrpSpPr/>
            <p:nvPr/>
          </p:nvGrpSpPr>
          <p:grpSpPr bwMode="gray">
            <a:xfrm>
              <a:off x="1509692" y="-1376691"/>
              <a:ext cx="135685" cy="135685"/>
              <a:chOff x="-4433548" y="0"/>
              <a:chExt cx="761570" cy="761570"/>
            </a:xfrm>
            <a:solidFill>
              <a:schemeClr val="bg1"/>
            </a:solidFill>
          </p:grpSpPr>
          <p:sp>
            <p:nvSpPr>
              <p:cNvPr id="82" name="Rectangle 81"/>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3" name="Rectangle 82"/>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grpSp>
        <p:nvGrpSpPr>
          <p:cNvPr id="90" name="Group 89"/>
          <p:cNvGrpSpPr/>
          <p:nvPr/>
        </p:nvGrpSpPr>
        <p:grpSpPr bwMode="gray">
          <a:xfrm>
            <a:off x="9725366" y="4176021"/>
            <a:ext cx="403167" cy="687033"/>
            <a:chOff x="11582401" y="1955589"/>
            <a:chExt cx="269962" cy="460040"/>
          </a:xfrm>
          <a:solidFill>
            <a:schemeClr val="bg1"/>
          </a:solidFill>
        </p:grpSpPr>
        <p:sp>
          <p:nvSpPr>
            <p:cNvPr id="91" name="Rounded Rectangle 90"/>
            <p:cNvSpPr/>
            <p:nvPr/>
          </p:nvSpPr>
          <p:spPr bwMode="gray">
            <a:xfrm>
              <a:off x="11582401" y="1955589"/>
              <a:ext cx="269962" cy="460040"/>
            </a:xfrm>
            <a:prstGeom prst="roundRect">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2" name="Rounded Rectangle 91"/>
            <p:cNvSpPr/>
            <p:nvPr/>
          </p:nvSpPr>
          <p:spPr bwMode="gray">
            <a:xfrm>
              <a:off x="11612835" y="1988384"/>
              <a:ext cx="209094" cy="367822"/>
            </a:xfrm>
            <a:prstGeom prst="roundRect">
              <a:avLst>
                <a:gd name="adj" fmla="val 9634"/>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3" name="Oval 92"/>
            <p:cNvSpPr/>
            <p:nvPr/>
          </p:nvSpPr>
          <p:spPr bwMode="gray">
            <a:xfrm>
              <a:off x="11704001" y="2371419"/>
              <a:ext cx="26762" cy="26762"/>
            </a:xfrm>
            <a:prstGeom prst="ellips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180" name="Group 179"/>
          <p:cNvGrpSpPr/>
          <p:nvPr/>
        </p:nvGrpSpPr>
        <p:grpSpPr bwMode="gray">
          <a:xfrm>
            <a:off x="1932677" y="4182673"/>
            <a:ext cx="658377" cy="673728"/>
            <a:chOff x="5826919" y="2544110"/>
            <a:chExt cx="787240" cy="805596"/>
          </a:xfrm>
        </p:grpSpPr>
        <p:sp>
          <p:nvSpPr>
            <p:cNvPr id="186" name="Trapezoid 185"/>
            <p:cNvSpPr/>
            <p:nvPr/>
          </p:nvSpPr>
          <p:spPr bwMode="gray">
            <a:xfrm>
              <a:off x="5909061" y="2544110"/>
              <a:ext cx="365620" cy="805596"/>
            </a:xfrm>
            <a:prstGeom prst="trapezoid">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nvGrpSpPr>
            <p:cNvPr id="187" name="Group 186"/>
            <p:cNvGrpSpPr/>
            <p:nvPr/>
          </p:nvGrpSpPr>
          <p:grpSpPr bwMode="gray">
            <a:xfrm>
              <a:off x="5826919" y="2721544"/>
              <a:ext cx="328524" cy="118104"/>
              <a:chOff x="5728960" y="3586976"/>
              <a:chExt cx="330817" cy="118928"/>
            </a:xfrm>
            <a:solidFill>
              <a:schemeClr val="bg1"/>
            </a:solidFill>
          </p:grpSpPr>
          <p:sp>
            <p:nvSpPr>
              <p:cNvPr id="199" name="Snip Single Corner Rectangle 1"/>
              <p:cNvSpPr/>
              <p:nvPr/>
            </p:nvSpPr>
            <p:spPr bwMode="gray">
              <a:xfrm flipH="1" flipV="1">
                <a:off x="5728960" y="3586976"/>
                <a:ext cx="113030" cy="118928"/>
              </a:xfrm>
              <a:custGeom>
                <a:avLst/>
                <a:gdLst/>
                <a:ahLst/>
                <a:cxnLst/>
                <a:rect l="l" t="t" r="r" b="b"/>
                <a:pathLst>
                  <a:path w="83486" h="118928">
                    <a:moveTo>
                      <a:pt x="83486" y="118928"/>
                    </a:moveTo>
                    <a:lnTo>
                      <a:pt x="0" y="118928"/>
                    </a:lnTo>
                    <a:lnTo>
                      <a:pt x="0" y="0"/>
                    </a:lnTo>
                    <a:lnTo>
                      <a:pt x="58900" y="0"/>
                    </a:lnTo>
                    <a:lnTo>
                      <a:pt x="83486" y="42584"/>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nvGrpSpPr>
              <p:cNvPr id="200" name="Group 199"/>
              <p:cNvGrpSpPr/>
              <p:nvPr/>
            </p:nvGrpSpPr>
            <p:grpSpPr bwMode="gray">
              <a:xfrm>
                <a:off x="5841990" y="3597076"/>
                <a:ext cx="217787" cy="72000"/>
                <a:chOff x="5841990" y="3597076"/>
                <a:chExt cx="217787" cy="72000"/>
              </a:xfrm>
              <a:grpFill/>
            </p:grpSpPr>
            <p:sp>
              <p:nvSpPr>
                <p:cNvPr id="201" name="Rectangle 200"/>
                <p:cNvSpPr/>
                <p:nvPr/>
              </p:nvSpPr>
              <p:spPr bwMode="gray">
                <a:xfrm>
                  <a:off x="5841990" y="3606076"/>
                  <a:ext cx="10800" cy="54000"/>
                </a:xfrm>
                <a:prstGeom prst="rect">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202" name="Rectangle 201"/>
                <p:cNvSpPr/>
                <p:nvPr/>
              </p:nvSpPr>
              <p:spPr bwMode="gray">
                <a:xfrm>
                  <a:off x="5852790" y="3597076"/>
                  <a:ext cx="21600" cy="72000"/>
                </a:xfrm>
                <a:prstGeom prst="rect">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203" name="Rectangle 202"/>
                <p:cNvSpPr/>
                <p:nvPr/>
              </p:nvSpPr>
              <p:spPr bwMode="gray">
                <a:xfrm>
                  <a:off x="5874452" y="3615076"/>
                  <a:ext cx="185325" cy="36000"/>
                </a:xfrm>
                <a:prstGeom prst="rect">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grpSp>
          <p:nvGrpSpPr>
            <p:cNvPr id="188" name="Group 187"/>
            <p:cNvGrpSpPr/>
            <p:nvPr/>
          </p:nvGrpSpPr>
          <p:grpSpPr bwMode="gray">
            <a:xfrm>
              <a:off x="6032240" y="2941201"/>
              <a:ext cx="581919" cy="408505"/>
              <a:chOff x="6927340" y="4231102"/>
              <a:chExt cx="2136491" cy="1499809"/>
            </a:xfrm>
            <a:solidFill>
              <a:schemeClr val="bg1"/>
            </a:solidFill>
          </p:grpSpPr>
          <p:grpSp>
            <p:nvGrpSpPr>
              <p:cNvPr id="189" name="Group 188"/>
              <p:cNvGrpSpPr/>
              <p:nvPr/>
            </p:nvGrpSpPr>
            <p:grpSpPr bwMode="gray">
              <a:xfrm>
                <a:off x="6927340" y="4231102"/>
                <a:ext cx="869444" cy="359343"/>
                <a:chOff x="6927340" y="4242623"/>
                <a:chExt cx="869444" cy="359343"/>
              </a:xfrm>
              <a:grpFill/>
            </p:grpSpPr>
            <p:sp>
              <p:nvSpPr>
                <p:cNvPr id="197" name="Rectangle 196"/>
                <p:cNvSpPr/>
                <p:nvPr/>
              </p:nvSpPr>
              <p:spPr bwMode="gray">
                <a:xfrm>
                  <a:off x="6927340" y="4377294"/>
                  <a:ext cx="783688" cy="90000"/>
                </a:xfrm>
                <a:prstGeom prst="rect">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98" name="Rectangle 197"/>
                <p:cNvSpPr/>
                <p:nvPr/>
              </p:nvSpPr>
              <p:spPr bwMode="gray">
                <a:xfrm>
                  <a:off x="7709163" y="4242623"/>
                  <a:ext cx="87621" cy="359343"/>
                </a:xfrm>
                <a:prstGeom prst="rect">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sp>
            <p:nvSpPr>
              <p:cNvPr id="190" name="Rectangle 189"/>
              <p:cNvSpPr/>
              <p:nvPr/>
            </p:nvSpPr>
            <p:spPr bwMode="gray">
              <a:xfrm>
                <a:off x="8309039" y="4231102"/>
                <a:ext cx="754792" cy="1499809"/>
              </a:xfrm>
              <a:prstGeom prst="rect">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91" name="Rectangle 788"/>
              <p:cNvSpPr/>
              <p:nvPr/>
            </p:nvSpPr>
            <p:spPr bwMode="gray">
              <a:xfrm>
                <a:off x="8423682" y="4401108"/>
                <a:ext cx="552638" cy="252028"/>
              </a:xfrm>
              <a:custGeom>
                <a:avLst/>
                <a:gdLst/>
                <a:ahLst/>
                <a:cxnLst/>
                <a:rect l="l" t="t" r="r" b="b"/>
                <a:pathLst>
                  <a:path w="552638" h="252028">
                    <a:moveTo>
                      <a:pt x="336614" y="58941"/>
                    </a:moveTo>
                    <a:lnTo>
                      <a:pt x="336614" y="175364"/>
                    </a:lnTo>
                    <a:lnTo>
                      <a:pt x="480630" y="175364"/>
                    </a:lnTo>
                    <a:lnTo>
                      <a:pt x="480630" y="58941"/>
                    </a:lnTo>
                    <a:close/>
                    <a:moveTo>
                      <a:pt x="48582" y="43701"/>
                    </a:moveTo>
                    <a:lnTo>
                      <a:pt x="48582" y="50901"/>
                    </a:lnTo>
                    <a:lnTo>
                      <a:pt x="95523" y="50901"/>
                    </a:lnTo>
                    <a:lnTo>
                      <a:pt x="95523" y="43701"/>
                    </a:lnTo>
                    <a:close/>
                    <a:moveTo>
                      <a:pt x="0" y="0"/>
                    </a:moveTo>
                    <a:lnTo>
                      <a:pt x="552638" y="0"/>
                    </a:lnTo>
                    <a:lnTo>
                      <a:pt x="552638" y="252028"/>
                    </a:lnTo>
                    <a:lnTo>
                      <a:pt x="0" y="252028"/>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92" name="Rectangle 788"/>
              <p:cNvSpPr/>
              <p:nvPr/>
            </p:nvSpPr>
            <p:spPr bwMode="gray">
              <a:xfrm>
                <a:off x="8423682" y="4647095"/>
                <a:ext cx="552638" cy="252028"/>
              </a:xfrm>
              <a:custGeom>
                <a:avLst/>
                <a:gdLst>
                  <a:gd name="connsiteX0" fmla="*/ 336614 w 552638"/>
                  <a:gd name="connsiteY0" fmla="*/ 58941 h 252028"/>
                  <a:gd name="connsiteX1" fmla="*/ 336614 w 552638"/>
                  <a:gd name="connsiteY1" fmla="*/ 175364 h 252028"/>
                  <a:gd name="connsiteX2" fmla="*/ 480630 w 552638"/>
                  <a:gd name="connsiteY2" fmla="*/ 175364 h 252028"/>
                  <a:gd name="connsiteX3" fmla="*/ 336614 w 552638"/>
                  <a:gd name="connsiteY3" fmla="*/ 58941 h 252028"/>
                  <a:gd name="connsiteX4" fmla="*/ 48582 w 552638"/>
                  <a:gd name="connsiteY4" fmla="*/ 43701 h 252028"/>
                  <a:gd name="connsiteX5" fmla="*/ 48582 w 552638"/>
                  <a:gd name="connsiteY5" fmla="*/ 50901 h 252028"/>
                  <a:gd name="connsiteX6" fmla="*/ 95523 w 552638"/>
                  <a:gd name="connsiteY6" fmla="*/ 50901 h 252028"/>
                  <a:gd name="connsiteX7" fmla="*/ 95523 w 552638"/>
                  <a:gd name="connsiteY7" fmla="*/ 43701 h 252028"/>
                  <a:gd name="connsiteX8" fmla="*/ 48582 w 552638"/>
                  <a:gd name="connsiteY8" fmla="*/ 43701 h 252028"/>
                  <a:gd name="connsiteX9" fmla="*/ 0 w 552638"/>
                  <a:gd name="connsiteY9" fmla="*/ 0 h 252028"/>
                  <a:gd name="connsiteX10" fmla="*/ 552638 w 552638"/>
                  <a:gd name="connsiteY10" fmla="*/ 0 h 252028"/>
                  <a:gd name="connsiteX11" fmla="*/ 552638 w 552638"/>
                  <a:gd name="connsiteY11" fmla="*/ 252028 h 252028"/>
                  <a:gd name="connsiteX12" fmla="*/ 0 w 552638"/>
                  <a:gd name="connsiteY12" fmla="*/ 252028 h 252028"/>
                  <a:gd name="connsiteX13" fmla="*/ 0 w 552638"/>
                  <a:gd name="connsiteY13" fmla="*/ 0 h 252028"/>
                  <a:gd name="connsiteX0" fmla="*/ 480630 w 552638"/>
                  <a:gd name="connsiteY0" fmla="*/ 175364 h 252028"/>
                  <a:gd name="connsiteX1" fmla="*/ 336614 w 552638"/>
                  <a:gd name="connsiteY1" fmla="*/ 175364 h 252028"/>
                  <a:gd name="connsiteX2" fmla="*/ 480630 w 552638"/>
                  <a:gd name="connsiteY2" fmla="*/ 175364 h 252028"/>
                  <a:gd name="connsiteX3" fmla="*/ 48582 w 552638"/>
                  <a:gd name="connsiteY3" fmla="*/ 43701 h 252028"/>
                  <a:gd name="connsiteX4" fmla="*/ 48582 w 552638"/>
                  <a:gd name="connsiteY4" fmla="*/ 50901 h 252028"/>
                  <a:gd name="connsiteX5" fmla="*/ 95523 w 552638"/>
                  <a:gd name="connsiteY5" fmla="*/ 50901 h 252028"/>
                  <a:gd name="connsiteX6" fmla="*/ 95523 w 552638"/>
                  <a:gd name="connsiteY6" fmla="*/ 43701 h 252028"/>
                  <a:gd name="connsiteX7" fmla="*/ 48582 w 552638"/>
                  <a:gd name="connsiteY7" fmla="*/ 43701 h 252028"/>
                  <a:gd name="connsiteX8" fmla="*/ 0 w 552638"/>
                  <a:gd name="connsiteY8" fmla="*/ 0 h 252028"/>
                  <a:gd name="connsiteX9" fmla="*/ 552638 w 552638"/>
                  <a:gd name="connsiteY9" fmla="*/ 0 h 252028"/>
                  <a:gd name="connsiteX10" fmla="*/ 552638 w 552638"/>
                  <a:gd name="connsiteY10" fmla="*/ 252028 h 252028"/>
                  <a:gd name="connsiteX11" fmla="*/ 0 w 552638"/>
                  <a:gd name="connsiteY11" fmla="*/ 252028 h 252028"/>
                  <a:gd name="connsiteX12" fmla="*/ 0 w 552638"/>
                  <a:gd name="connsiteY12" fmla="*/ 0 h 252028"/>
                  <a:gd name="connsiteX0" fmla="*/ 48582 w 552638"/>
                  <a:gd name="connsiteY0" fmla="*/ 43701 h 252028"/>
                  <a:gd name="connsiteX1" fmla="*/ 48582 w 552638"/>
                  <a:gd name="connsiteY1" fmla="*/ 50901 h 252028"/>
                  <a:gd name="connsiteX2" fmla="*/ 95523 w 552638"/>
                  <a:gd name="connsiteY2" fmla="*/ 50901 h 252028"/>
                  <a:gd name="connsiteX3" fmla="*/ 95523 w 552638"/>
                  <a:gd name="connsiteY3" fmla="*/ 43701 h 252028"/>
                  <a:gd name="connsiteX4" fmla="*/ 48582 w 552638"/>
                  <a:gd name="connsiteY4" fmla="*/ 43701 h 252028"/>
                  <a:gd name="connsiteX5" fmla="*/ 0 w 552638"/>
                  <a:gd name="connsiteY5" fmla="*/ 0 h 252028"/>
                  <a:gd name="connsiteX6" fmla="*/ 552638 w 552638"/>
                  <a:gd name="connsiteY6" fmla="*/ 0 h 252028"/>
                  <a:gd name="connsiteX7" fmla="*/ 552638 w 552638"/>
                  <a:gd name="connsiteY7" fmla="*/ 252028 h 252028"/>
                  <a:gd name="connsiteX8" fmla="*/ 0 w 552638"/>
                  <a:gd name="connsiteY8" fmla="*/ 252028 h 252028"/>
                  <a:gd name="connsiteX9" fmla="*/ 0 w 552638"/>
                  <a:gd name="connsiteY9" fmla="*/ 0 h 25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638" h="252028">
                    <a:moveTo>
                      <a:pt x="48582" y="43701"/>
                    </a:moveTo>
                    <a:lnTo>
                      <a:pt x="48582" y="50901"/>
                    </a:lnTo>
                    <a:lnTo>
                      <a:pt x="95523" y="50901"/>
                    </a:lnTo>
                    <a:lnTo>
                      <a:pt x="95523" y="43701"/>
                    </a:lnTo>
                    <a:lnTo>
                      <a:pt x="48582" y="43701"/>
                    </a:lnTo>
                    <a:close/>
                    <a:moveTo>
                      <a:pt x="0" y="0"/>
                    </a:moveTo>
                    <a:lnTo>
                      <a:pt x="552638" y="0"/>
                    </a:lnTo>
                    <a:lnTo>
                      <a:pt x="552638" y="252028"/>
                    </a:lnTo>
                    <a:lnTo>
                      <a:pt x="0" y="252028"/>
                    </a:lnTo>
                    <a:lnTo>
                      <a:pt x="0" y="0"/>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93" name="Rectangle 788"/>
              <p:cNvSpPr/>
              <p:nvPr/>
            </p:nvSpPr>
            <p:spPr bwMode="gray">
              <a:xfrm>
                <a:off x="8423682" y="4899310"/>
                <a:ext cx="552638" cy="252028"/>
              </a:xfrm>
              <a:custGeom>
                <a:avLst/>
                <a:gdLst>
                  <a:gd name="connsiteX0" fmla="*/ 336614 w 552638"/>
                  <a:gd name="connsiteY0" fmla="*/ 58941 h 252028"/>
                  <a:gd name="connsiteX1" fmla="*/ 336614 w 552638"/>
                  <a:gd name="connsiteY1" fmla="*/ 175364 h 252028"/>
                  <a:gd name="connsiteX2" fmla="*/ 480630 w 552638"/>
                  <a:gd name="connsiteY2" fmla="*/ 175364 h 252028"/>
                  <a:gd name="connsiteX3" fmla="*/ 336614 w 552638"/>
                  <a:gd name="connsiteY3" fmla="*/ 58941 h 252028"/>
                  <a:gd name="connsiteX4" fmla="*/ 48582 w 552638"/>
                  <a:gd name="connsiteY4" fmla="*/ 43701 h 252028"/>
                  <a:gd name="connsiteX5" fmla="*/ 48582 w 552638"/>
                  <a:gd name="connsiteY5" fmla="*/ 50901 h 252028"/>
                  <a:gd name="connsiteX6" fmla="*/ 95523 w 552638"/>
                  <a:gd name="connsiteY6" fmla="*/ 50901 h 252028"/>
                  <a:gd name="connsiteX7" fmla="*/ 95523 w 552638"/>
                  <a:gd name="connsiteY7" fmla="*/ 43701 h 252028"/>
                  <a:gd name="connsiteX8" fmla="*/ 48582 w 552638"/>
                  <a:gd name="connsiteY8" fmla="*/ 43701 h 252028"/>
                  <a:gd name="connsiteX9" fmla="*/ 0 w 552638"/>
                  <a:gd name="connsiteY9" fmla="*/ 0 h 252028"/>
                  <a:gd name="connsiteX10" fmla="*/ 552638 w 552638"/>
                  <a:gd name="connsiteY10" fmla="*/ 0 h 252028"/>
                  <a:gd name="connsiteX11" fmla="*/ 552638 w 552638"/>
                  <a:gd name="connsiteY11" fmla="*/ 252028 h 252028"/>
                  <a:gd name="connsiteX12" fmla="*/ 0 w 552638"/>
                  <a:gd name="connsiteY12" fmla="*/ 252028 h 252028"/>
                  <a:gd name="connsiteX13" fmla="*/ 0 w 552638"/>
                  <a:gd name="connsiteY13" fmla="*/ 0 h 252028"/>
                  <a:gd name="connsiteX0" fmla="*/ 480630 w 552638"/>
                  <a:gd name="connsiteY0" fmla="*/ 175364 h 252028"/>
                  <a:gd name="connsiteX1" fmla="*/ 336614 w 552638"/>
                  <a:gd name="connsiteY1" fmla="*/ 175364 h 252028"/>
                  <a:gd name="connsiteX2" fmla="*/ 480630 w 552638"/>
                  <a:gd name="connsiteY2" fmla="*/ 175364 h 252028"/>
                  <a:gd name="connsiteX3" fmla="*/ 48582 w 552638"/>
                  <a:gd name="connsiteY3" fmla="*/ 43701 h 252028"/>
                  <a:gd name="connsiteX4" fmla="*/ 48582 w 552638"/>
                  <a:gd name="connsiteY4" fmla="*/ 50901 h 252028"/>
                  <a:gd name="connsiteX5" fmla="*/ 95523 w 552638"/>
                  <a:gd name="connsiteY5" fmla="*/ 50901 h 252028"/>
                  <a:gd name="connsiteX6" fmla="*/ 95523 w 552638"/>
                  <a:gd name="connsiteY6" fmla="*/ 43701 h 252028"/>
                  <a:gd name="connsiteX7" fmla="*/ 48582 w 552638"/>
                  <a:gd name="connsiteY7" fmla="*/ 43701 h 252028"/>
                  <a:gd name="connsiteX8" fmla="*/ 0 w 552638"/>
                  <a:gd name="connsiteY8" fmla="*/ 0 h 252028"/>
                  <a:gd name="connsiteX9" fmla="*/ 552638 w 552638"/>
                  <a:gd name="connsiteY9" fmla="*/ 0 h 252028"/>
                  <a:gd name="connsiteX10" fmla="*/ 552638 w 552638"/>
                  <a:gd name="connsiteY10" fmla="*/ 252028 h 252028"/>
                  <a:gd name="connsiteX11" fmla="*/ 0 w 552638"/>
                  <a:gd name="connsiteY11" fmla="*/ 252028 h 252028"/>
                  <a:gd name="connsiteX12" fmla="*/ 0 w 552638"/>
                  <a:gd name="connsiteY12" fmla="*/ 0 h 252028"/>
                  <a:gd name="connsiteX0" fmla="*/ 48582 w 552638"/>
                  <a:gd name="connsiteY0" fmla="*/ 43701 h 252028"/>
                  <a:gd name="connsiteX1" fmla="*/ 48582 w 552638"/>
                  <a:gd name="connsiteY1" fmla="*/ 50901 h 252028"/>
                  <a:gd name="connsiteX2" fmla="*/ 95523 w 552638"/>
                  <a:gd name="connsiteY2" fmla="*/ 50901 h 252028"/>
                  <a:gd name="connsiteX3" fmla="*/ 95523 w 552638"/>
                  <a:gd name="connsiteY3" fmla="*/ 43701 h 252028"/>
                  <a:gd name="connsiteX4" fmla="*/ 48582 w 552638"/>
                  <a:gd name="connsiteY4" fmla="*/ 43701 h 252028"/>
                  <a:gd name="connsiteX5" fmla="*/ 0 w 552638"/>
                  <a:gd name="connsiteY5" fmla="*/ 0 h 252028"/>
                  <a:gd name="connsiteX6" fmla="*/ 552638 w 552638"/>
                  <a:gd name="connsiteY6" fmla="*/ 0 h 252028"/>
                  <a:gd name="connsiteX7" fmla="*/ 552638 w 552638"/>
                  <a:gd name="connsiteY7" fmla="*/ 252028 h 252028"/>
                  <a:gd name="connsiteX8" fmla="*/ 0 w 552638"/>
                  <a:gd name="connsiteY8" fmla="*/ 252028 h 252028"/>
                  <a:gd name="connsiteX9" fmla="*/ 0 w 552638"/>
                  <a:gd name="connsiteY9" fmla="*/ 0 h 25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638" h="252028">
                    <a:moveTo>
                      <a:pt x="48582" y="43701"/>
                    </a:moveTo>
                    <a:lnTo>
                      <a:pt x="48582" y="50901"/>
                    </a:lnTo>
                    <a:lnTo>
                      <a:pt x="95523" y="50901"/>
                    </a:lnTo>
                    <a:lnTo>
                      <a:pt x="95523" y="43701"/>
                    </a:lnTo>
                    <a:lnTo>
                      <a:pt x="48582" y="43701"/>
                    </a:lnTo>
                    <a:close/>
                    <a:moveTo>
                      <a:pt x="0" y="0"/>
                    </a:moveTo>
                    <a:lnTo>
                      <a:pt x="552638" y="0"/>
                    </a:lnTo>
                    <a:lnTo>
                      <a:pt x="552638" y="252028"/>
                    </a:lnTo>
                    <a:lnTo>
                      <a:pt x="0" y="252028"/>
                    </a:lnTo>
                    <a:lnTo>
                      <a:pt x="0" y="0"/>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94" name="Rectangle 793"/>
              <p:cNvSpPr/>
              <p:nvPr/>
            </p:nvSpPr>
            <p:spPr bwMode="gray">
              <a:xfrm>
                <a:off x="8423701" y="5326730"/>
                <a:ext cx="262753" cy="241031"/>
              </a:xfrm>
              <a:custGeom>
                <a:avLst/>
                <a:gdLst/>
                <a:ahLst/>
                <a:cxnLst/>
                <a:rect l="l" t="t" r="r" b="b"/>
                <a:pathLst>
                  <a:path w="262753" h="241031">
                    <a:moveTo>
                      <a:pt x="178828" y="192226"/>
                    </a:moveTo>
                    <a:lnTo>
                      <a:pt x="178828" y="199426"/>
                    </a:lnTo>
                    <a:lnTo>
                      <a:pt x="224547" y="199426"/>
                    </a:lnTo>
                    <a:lnTo>
                      <a:pt x="224547" y="192226"/>
                    </a:lnTo>
                    <a:close/>
                    <a:moveTo>
                      <a:pt x="131377" y="18570"/>
                    </a:moveTo>
                    <a:cubicBezTo>
                      <a:pt x="101658" y="18570"/>
                      <a:pt x="77566" y="42662"/>
                      <a:pt x="77566" y="72381"/>
                    </a:cubicBezTo>
                    <a:cubicBezTo>
                      <a:pt x="77566" y="102100"/>
                      <a:pt x="101658" y="126192"/>
                      <a:pt x="131377" y="126192"/>
                    </a:cubicBezTo>
                    <a:cubicBezTo>
                      <a:pt x="161096" y="126192"/>
                      <a:pt x="185188" y="102100"/>
                      <a:pt x="185188" y="72381"/>
                    </a:cubicBezTo>
                    <a:cubicBezTo>
                      <a:pt x="185188" y="42662"/>
                      <a:pt x="161096" y="18570"/>
                      <a:pt x="131377" y="18570"/>
                    </a:cubicBezTo>
                    <a:close/>
                    <a:moveTo>
                      <a:pt x="0" y="0"/>
                    </a:moveTo>
                    <a:lnTo>
                      <a:pt x="262753" y="0"/>
                    </a:lnTo>
                    <a:lnTo>
                      <a:pt x="262753" y="241031"/>
                    </a:lnTo>
                    <a:lnTo>
                      <a:pt x="0" y="241031"/>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95" name="Rectangle 794"/>
              <p:cNvSpPr/>
              <p:nvPr/>
            </p:nvSpPr>
            <p:spPr bwMode="gray">
              <a:xfrm>
                <a:off x="8686417" y="5326730"/>
                <a:ext cx="262753" cy="241031"/>
              </a:xfrm>
              <a:custGeom>
                <a:avLst/>
                <a:gdLst/>
                <a:ahLst/>
                <a:cxnLst/>
                <a:rect l="l" t="t" r="r" b="b"/>
                <a:pathLst>
                  <a:path w="262753" h="241031">
                    <a:moveTo>
                      <a:pt x="181891" y="192226"/>
                    </a:moveTo>
                    <a:lnTo>
                      <a:pt x="181891" y="199426"/>
                    </a:lnTo>
                    <a:lnTo>
                      <a:pt x="227610" y="199426"/>
                    </a:lnTo>
                    <a:lnTo>
                      <a:pt x="227610" y="192226"/>
                    </a:lnTo>
                    <a:close/>
                    <a:moveTo>
                      <a:pt x="76455" y="37947"/>
                    </a:moveTo>
                    <a:lnTo>
                      <a:pt x="76455" y="106373"/>
                    </a:lnTo>
                    <a:lnTo>
                      <a:pt x="184003" y="106373"/>
                    </a:lnTo>
                    <a:lnTo>
                      <a:pt x="184003" y="37947"/>
                    </a:lnTo>
                    <a:close/>
                    <a:moveTo>
                      <a:pt x="0" y="0"/>
                    </a:moveTo>
                    <a:lnTo>
                      <a:pt x="262753" y="0"/>
                    </a:lnTo>
                    <a:lnTo>
                      <a:pt x="262753" y="241031"/>
                    </a:lnTo>
                    <a:lnTo>
                      <a:pt x="0" y="241031"/>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cxnSp>
            <p:nvCxnSpPr>
              <p:cNvPr id="196" name="Elbow Connector 195"/>
              <p:cNvCxnSpPr>
                <a:stCxn id="198" idx="3"/>
                <a:endCxn id="190" idx="1"/>
              </p:cNvCxnSpPr>
              <p:nvPr/>
            </p:nvCxnSpPr>
            <p:spPr bwMode="gray">
              <a:xfrm>
                <a:off x="7796784" y="4410774"/>
                <a:ext cx="512255" cy="570233"/>
              </a:xfrm>
              <a:prstGeom prst="bentConnector3">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sp>
        <p:nvSpPr>
          <p:cNvPr id="220" name="Snip Same Side Corner Rectangle 53"/>
          <p:cNvSpPr/>
          <p:nvPr/>
        </p:nvSpPr>
        <p:spPr bwMode="gray">
          <a:xfrm rot="8100000" flipH="1">
            <a:off x="2533415" y="4430307"/>
            <a:ext cx="185238" cy="369226"/>
          </a:xfrm>
          <a:custGeom>
            <a:avLst/>
            <a:gdLst/>
            <a:ahLst/>
            <a:cxnLst/>
            <a:rect l="l" t="t" r="r" b="b"/>
            <a:pathLst>
              <a:path w="436368" h="869804">
                <a:moveTo>
                  <a:pt x="58229" y="811577"/>
                </a:moveTo>
                <a:cubicBezTo>
                  <a:pt x="146570" y="899918"/>
                  <a:pt x="289800" y="899918"/>
                  <a:pt x="378141" y="811577"/>
                </a:cubicBezTo>
                <a:cubicBezTo>
                  <a:pt x="466482" y="723236"/>
                  <a:pt x="466482" y="580006"/>
                  <a:pt x="378141" y="491665"/>
                </a:cubicBezTo>
                <a:cubicBezTo>
                  <a:pt x="289800" y="403324"/>
                  <a:pt x="146570" y="403324"/>
                  <a:pt x="58229" y="491665"/>
                </a:cubicBezTo>
                <a:cubicBezTo>
                  <a:pt x="-30112" y="580006"/>
                  <a:pt x="-30112" y="723236"/>
                  <a:pt x="58229" y="811577"/>
                </a:cubicBezTo>
                <a:close/>
                <a:moveTo>
                  <a:pt x="0" y="869804"/>
                </a:moveTo>
                <a:cubicBezTo>
                  <a:pt x="-120499" y="749305"/>
                  <a:pt x="-120499" y="553935"/>
                  <a:pt x="0" y="433436"/>
                </a:cubicBezTo>
                <a:cubicBezTo>
                  <a:pt x="40846" y="392590"/>
                  <a:pt x="90294" y="365590"/>
                  <a:pt x="142803" y="353584"/>
                </a:cubicBezTo>
                <a:lnTo>
                  <a:pt x="142803" y="13739"/>
                </a:lnTo>
                <a:lnTo>
                  <a:pt x="156542" y="0"/>
                </a:lnTo>
                <a:lnTo>
                  <a:pt x="219743" y="0"/>
                </a:lnTo>
                <a:lnTo>
                  <a:pt x="233482" y="13739"/>
                </a:lnTo>
                <a:lnTo>
                  <a:pt x="233482" y="344527"/>
                </a:lnTo>
                <a:cubicBezTo>
                  <a:pt x="307311" y="347093"/>
                  <a:pt x="380024" y="377091"/>
                  <a:pt x="436368" y="433436"/>
                </a:cubicBezTo>
                <a:cubicBezTo>
                  <a:pt x="556868" y="553935"/>
                  <a:pt x="556868" y="749305"/>
                  <a:pt x="436368" y="869804"/>
                </a:cubicBezTo>
                <a:cubicBezTo>
                  <a:pt x="315869" y="990304"/>
                  <a:pt x="120500" y="990304"/>
                  <a:pt x="0" y="869804"/>
                </a:cubicBezTo>
                <a:close/>
              </a:path>
            </a:pathLst>
          </a:custGeom>
          <a:solidFill>
            <a:schemeClr val="bg1"/>
          </a:solidFill>
          <a:ln w="19050" cap="sq">
            <a:solidFill>
              <a:schemeClr val="tx2"/>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sp>
        <p:nvSpPr>
          <p:cNvPr id="231" name="L-Shape 497"/>
          <p:cNvSpPr/>
          <p:nvPr/>
        </p:nvSpPr>
        <p:spPr bwMode="gray">
          <a:xfrm rot="18900000">
            <a:off x="9845075" y="4482149"/>
            <a:ext cx="163748" cy="74777"/>
          </a:xfrm>
          <a:custGeom>
            <a:avLst/>
            <a:gdLst/>
            <a:ahLst/>
            <a:cxnLst/>
            <a:rect l="l" t="t" r="r" b="b"/>
            <a:pathLst>
              <a:path w="1084084" h="495058">
                <a:moveTo>
                  <a:pt x="1084084" y="425460"/>
                </a:moveTo>
                <a:lnTo>
                  <a:pt x="1084084" y="495058"/>
                </a:lnTo>
                <a:lnTo>
                  <a:pt x="0" y="495058"/>
                </a:lnTo>
                <a:lnTo>
                  <a:pt x="0" y="0"/>
                </a:lnTo>
                <a:lnTo>
                  <a:pt x="74683" y="0"/>
                </a:lnTo>
                <a:lnTo>
                  <a:pt x="74683" y="425460"/>
                </a:lnTo>
                <a:close/>
              </a:path>
            </a:pathLst>
          </a:custGeom>
          <a:noFill/>
          <a:ln w="19050">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nvGrpSpPr>
          <p:cNvPr id="233" name="Group 232"/>
          <p:cNvGrpSpPr/>
          <p:nvPr/>
        </p:nvGrpSpPr>
        <p:grpSpPr bwMode="gray">
          <a:xfrm>
            <a:off x="334271" y="6327549"/>
            <a:ext cx="337946" cy="88364"/>
            <a:chOff x="61913" y="5218113"/>
            <a:chExt cx="3138487" cy="820737"/>
          </a:xfrm>
          <a:solidFill>
            <a:schemeClr val="accent3"/>
          </a:solidFill>
        </p:grpSpPr>
        <p:sp>
          <p:nvSpPr>
            <p:cNvPr id="234"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5"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6"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37"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cxnSp>
        <p:nvCxnSpPr>
          <p:cNvPr id="238" name="Straight Connector 237"/>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pic>
        <p:nvPicPr>
          <p:cNvPr id="239" name="Picture 19"/>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gray">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cxnSp>
        <p:nvCxnSpPr>
          <p:cNvPr id="240" name="Straight Connector 239"/>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102" name="AutoShape 6">
            <a:hlinkClick r:id="rId5" action="ppaction://hlinksldjump" highlightClick="1"/>
            <a:extLst>
              <a:ext uri="{FF2B5EF4-FFF2-40B4-BE49-F238E27FC236}">
                <a16:creationId xmlns:a16="http://schemas.microsoft.com/office/drawing/2014/main" id="{A2553A87-EB80-47D4-974D-28C4C0D0D35D}"/>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1447763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14"/>
                                        </p:tgtEl>
                                        <p:attrNameLst>
                                          <p:attrName>style.visibility</p:attrName>
                                        </p:attrNameLst>
                                      </p:cBhvr>
                                      <p:to>
                                        <p:strVal val="visible"/>
                                      </p:to>
                                    </p:set>
                                    <p:animEffect transition="in" filter="fade">
                                      <p:cBhvr>
                                        <p:cTn id="7" dur="1000"/>
                                        <p:tgtEl>
                                          <p:spTgt spid="214"/>
                                        </p:tgtEl>
                                      </p:cBhvr>
                                    </p:animEffect>
                                    <p:anim calcmode="lin" valueType="num">
                                      <p:cBhvr>
                                        <p:cTn id="8" dur="1000" fill="hold"/>
                                        <p:tgtEl>
                                          <p:spTgt spid="214"/>
                                        </p:tgtEl>
                                        <p:attrNameLst>
                                          <p:attrName>ppt_x</p:attrName>
                                        </p:attrNameLst>
                                      </p:cBhvr>
                                      <p:tavLst>
                                        <p:tav tm="0">
                                          <p:val>
                                            <p:strVal val="#ppt_x"/>
                                          </p:val>
                                        </p:tav>
                                        <p:tav tm="100000">
                                          <p:val>
                                            <p:strVal val="#ppt_x"/>
                                          </p:val>
                                        </p:tav>
                                      </p:tavLst>
                                    </p:anim>
                                    <p:anim calcmode="lin" valueType="num">
                                      <p:cBhvr>
                                        <p:cTn id="9" dur="1000" fill="hold"/>
                                        <p:tgtEl>
                                          <p:spTgt spid="21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13"/>
                                        </p:tgtEl>
                                        <p:attrNameLst>
                                          <p:attrName>style.visibility</p:attrName>
                                        </p:attrNameLst>
                                      </p:cBhvr>
                                      <p:to>
                                        <p:strVal val="visible"/>
                                      </p:to>
                                    </p:set>
                                    <p:animEffect transition="in" filter="fade">
                                      <p:cBhvr>
                                        <p:cTn id="12" dur="1000"/>
                                        <p:tgtEl>
                                          <p:spTgt spid="213"/>
                                        </p:tgtEl>
                                      </p:cBhvr>
                                    </p:animEffect>
                                    <p:anim calcmode="lin" valueType="num">
                                      <p:cBhvr>
                                        <p:cTn id="13" dur="1000" fill="hold"/>
                                        <p:tgtEl>
                                          <p:spTgt spid="213"/>
                                        </p:tgtEl>
                                        <p:attrNameLst>
                                          <p:attrName>ppt_x</p:attrName>
                                        </p:attrNameLst>
                                      </p:cBhvr>
                                      <p:tavLst>
                                        <p:tav tm="0">
                                          <p:val>
                                            <p:strVal val="#ppt_x"/>
                                          </p:val>
                                        </p:tav>
                                        <p:tav tm="100000">
                                          <p:val>
                                            <p:strVal val="#ppt_x"/>
                                          </p:val>
                                        </p:tav>
                                      </p:tavLst>
                                    </p:anim>
                                    <p:anim calcmode="lin" valueType="num">
                                      <p:cBhvr>
                                        <p:cTn id="14" dur="1000" fill="hold"/>
                                        <p:tgtEl>
                                          <p:spTgt spid="213"/>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76"/>
                                        </p:tgtEl>
                                        <p:attrNameLst>
                                          <p:attrName>style.visibility</p:attrName>
                                        </p:attrNameLst>
                                      </p:cBhvr>
                                      <p:to>
                                        <p:strVal val="visible"/>
                                      </p:to>
                                    </p:set>
                                    <p:animEffect transition="in" filter="fade">
                                      <p:cBhvr>
                                        <p:cTn id="18" dur="500"/>
                                        <p:tgtEl>
                                          <p:spTgt spid="76"/>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2" fill="hold" grpId="0" nodeType="clickEffect">
                                  <p:stCondLst>
                                    <p:cond delay="0"/>
                                  </p:stCondLst>
                                  <p:childTnLst>
                                    <p:set>
                                      <p:cBhvr>
                                        <p:cTn id="22" dur="1" fill="hold">
                                          <p:stCondLst>
                                            <p:cond delay="0"/>
                                          </p:stCondLst>
                                        </p:cTn>
                                        <p:tgtEl>
                                          <p:spTgt spid="170"/>
                                        </p:tgtEl>
                                        <p:attrNameLst>
                                          <p:attrName>style.visibility</p:attrName>
                                        </p:attrNameLst>
                                      </p:cBhvr>
                                      <p:to>
                                        <p:strVal val="visible"/>
                                      </p:to>
                                    </p:set>
                                    <p:animEffect transition="in" filter="wipe(right)">
                                      <p:cBhvr>
                                        <p:cTn id="23" dur="500"/>
                                        <p:tgtEl>
                                          <p:spTgt spid="170"/>
                                        </p:tgtEl>
                                      </p:cBhvr>
                                    </p:animEffect>
                                  </p:childTnLst>
                                </p:cTn>
                              </p:par>
                            </p:childTnLst>
                          </p:cTn>
                        </p:par>
                        <p:par>
                          <p:cTn id="24" fill="hold">
                            <p:stCondLst>
                              <p:cond delay="500"/>
                            </p:stCondLst>
                            <p:childTnLst>
                              <p:par>
                                <p:cTn id="25" presetID="10" presetClass="entr" presetSubtype="0" fill="hold" nodeType="afterEffect">
                                  <p:stCondLst>
                                    <p:cond delay="0"/>
                                  </p:stCondLst>
                                  <p:childTnLst>
                                    <p:set>
                                      <p:cBhvr>
                                        <p:cTn id="26" dur="1" fill="hold">
                                          <p:stCondLst>
                                            <p:cond delay="0"/>
                                          </p:stCondLst>
                                        </p:cTn>
                                        <p:tgtEl>
                                          <p:spTgt spid="180"/>
                                        </p:tgtEl>
                                        <p:attrNameLst>
                                          <p:attrName>style.visibility</p:attrName>
                                        </p:attrNameLst>
                                      </p:cBhvr>
                                      <p:to>
                                        <p:strVal val="visible"/>
                                      </p:to>
                                    </p:set>
                                    <p:animEffect transition="in" filter="fade">
                                      <p:cBhvr>
                                        <p:cTn id="27" dur="500"/>
                                        <p:tgtEl>
                                          <p:spTgt spid="180"/>
                                        </p:tgtEl>
                                      </p:cBhvr>
                                    </p:animEffect>
                                  </p:childTnLst>
                                </p:cTn>
                              </p:par>
                            </p:childTnLst>
                          </p:cTn>
                        </p:par>
                        <p:par>
                          <p:cTn id="28" fill="hold">
                            <p:stCondLst>
                              <p:cond delay="1000"/>
                            </p:stCondLst>
                            <p:childTnLst>
                              <p:par>
                                <p:cTn id="29" presetID="10" presetClass="entr" presetSubtype="0" fill="hold" grpId="0" nodeType="afterEffect">
                                  <p:stCondLst>
                                    <p:cond delay="0"/>
                                  </p:stCondLst>
                                  <p:childTnLst>
                                    <p:set>
                                      <p:cBhvr>
                                        <p:cTn id="30" dur="1" fill="hold">
                                          <p:stCondLst>
                                            <p:cond delay="0"/>
                                          </p:stCondLst>
                                        </p:cTn>
                                        <p:tgtEl>
                                          <p:spTgt spid="220"/>
                                        </p:tgtEl>
                                        <p:attrNameLst>
                                          <p:attrName>style.visibility</p:attrName>
                                        </p:attrNameLst>
                                      </p:cBhvr>
                                      <p:to>
                                        <p:strVal val="visible"/>
                                      </p:to>
                                    </p:set>
                                    <p:animEffect transition="in" filter="fade">
                                      <p:cBhvr>
                                        <p:cTn id="31" dur="500"/>
                                        <p:tgtEl>
                                          <p:spTgt spid="220"/>
                                        </p:tgtEl>
                                      </p:cBhvr>
                                    </p:animEffect>
                                  </p:childTnLst>
                                </p:cTn>
                              </p:par>
                            </p:childTnLst>
                          </p:cTn>
                        </p:par>
                        <p:par>
                          <p:cTn id="32" fill="hold">
                            <p:stCondLst>
                              <p:cond delay="1500"/>
                            </p:stCondLst>
                            <p:childTnLst>
                              <p:par>
                                <p:cTn id="33" presetID="42" presetClass="entr" presetSubtype="0" fill="hold" nodeType="afterEffect">
                                  <p:stCondLst>
                                    <p:cond delay="0"/>
                                  </p:stCondLst>
                                  <p:childTnLst>
                                    <p:set>
                                      <p:cBhvr>
                                        <p:cTn id="34" dur="1" fill="hold">
                                          <p:stCondLst>
                                            <p:cond delay="0"/>
                                          </p:stCondLst>
                                        </p:cTn>
                                        <p:tgtEl>
                                          <p:spTgt spid="8">
                                            <p:txEl>
                                              <p:pRg st="0" end="0"/>
                                            </p:txEl>
                                          </p:spTgt>
                                        </p:tgtEl>
                                        <p:attrNameLst>
                                          <p:attrName>style.visibility</p:attrName>
                                        </p:attrNameLst>
                                      </p:cBhvr>
                                      <p:to>
                                        <p:strVal val="visible"/>
                                      </p:to>
                                    </p:set>
                                    <p:animEffect transition="in" filter="fade">
                                      <p:cBhvr>
                                        <p:cTn id="35" dur="1000"/>
                                        <p:tgtEl>
                                          <p:spTgt spid="8">
                                            <p:txEl>
                                              <p:pRg st="0" end="0"/>
                                            </p:txEl>
                                          </p:spTgt>
                                        </p:tgtEl>
                                      </p:cBhvr>
                                    </p:animEffect>
                                    <p:anim calcmode="lin" valueType="num">
                                      <p:cBhvr>
                                        <p:cTn id="36" dur="1000" fill="hold"/>
                                        <p:tgtEl>
                                          <p:spTgt spid="8">
                                            <p:txEl>
                                              <p:pRg st="0" end="0"/>
                                            </p:txEl>
                                          </p:spTgt>
                                        </p:tgtEl>
                                        <p:attrNameLst>
                                          <p:attrName>ppt_x</p:attrName>
                                        </p:attrNameLst>
                                      </p:cBhvr>
                                      <p:tavLst>
                                        <p:tav tm="0">
                                          <p:val>
                                            <p:strVal val="#ppt_x"/>
                                          </p:val>
                                        </p:tav>
                                        <p:tav tm="100000">
                                          <p:val>
                                            <p:strVal val="#ppt_x"/>
                                          </p:val>
                                        </p:tav>
                                      </p:tavLst>
                                    </p:anim>
                                    <p:anim calcmode="lin" valueType="num">
                                      <p:cBhvr>
                                        <p:cTn id="37" dur="1000" fill="hold"/>
                                        <p:tgtEl>
                                          <p:spTgt spid="8">
                                            <p:txEl>
                                              <p:pRg st="0" end="0"/>
                                            </p:txEl>
                                          </p:spTgt>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8">
                                            <p:txEl>
                                              <p:pRg st="1" end="1"/>
                                            </p:txEl>
                                          </p:spTgt>
                                        </p:tgtEl>
                                        <p:attrNameLst>
                                          <p:attrName>style.visibility</p:attrName>
                                        </p:attrNameLst>
                                      </p:cBhvr>
                                      <p:to>
                                        <p:strVal val="visible"/>
                                      </p:to>
                                    </p:set>
                                    <p:animEffect transition="in" filter="fade">
                                      <p:cBhvr>
                                        <p:cTn id="40" dur="1000"/>
                                        <p:tgtEl>
                                          <p:spTgt spid="8">
                                            <p:txEl>
                                              <p:pRg st="1" end="1"/>
                                            </p:txEl>
                                          </p:spTgt>
                                        </p:tgtEl>
                                      </p:cBhvr>
                                    </p:animEffect>
                                    <p:anim calcmode="lin" valueType="num">
                                      <p:cBhvr>
                                        <p:cTn id="41" dur="1000" fill="hold"/>
                                        <p:tgtEl>
                                          <p:spTgt spid="8">
                                            <p:txEl>
                                              <p:pRg st="1" end="1"/>
                                            </p:txEl>
                                          </p:spTgt>
                                        </p:tgtEl>
                                        <p:attrNameLst>
                                          <p:attrName>ppt_x</p:attrName>
                                        </p:attrNameLst>
                                      </p:cBhvr>
                                      <p:tavLst>
                                        <p:tav tm="0">
                                          <p:val>
                                            <p:strVal val="#ppt_x"/>
                                          </p:val>
                                        </p:tav>
                                        <p:tav tm="100000">
                                          <p:val>
                                            <p:strVal val="#ppt_x"/>
                                          </p:val>
                                        </p:tav>
                                      </p:tavLst>
                                    </p:anim>
                                    <p:anim calcmode="lin" valueType="num">
                                      <p:cBhvr>
                                        <p:cTn id="42" dur="1000" fill="hold"/>
                                        <p:tgtEl>
                                          <p:spTgt spid="8">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171"/>
                                        </p:tgtEl>
                                        <p:attrNameLst>
                                          <p:attrName>style.visibility</p:attrName>
                                        </p:attrNameLst>
                                      </p:cBhvr>
                                      <p:to>
                                        <p:strVal val="visible"/>
                                      </p:to>
                                    </p:set>
                                    <p:animEffect transition="in" filter="wipe(left)">
                                      <p:cBhvr>
                                        <p:cTn id="47" dur="500"/>
                                        <p:tgtEl>
                                          <p:spTgt spid="171"/>
                                        </p:tgtEl>
                                      </p:cBhvr>
                                    </p:animEffect>
                                  </p:childTnLst>
                                </p:cTn>
                              </p:par>
                            </p:childTnLst>
                          </p:cTn>
                        </p:par>
                        <p:par>
                          <p:cTn id="48" fill="hold">
                            <p:stCondLst>
                              <p:cond delay="500"/>
                            </p:stCondLst>
                            <p:childTnLst>
                              <p:par>
                                <p:cTn id="49" presetID="10" presetClass="entr" presetSubtype="0" fill="hold" nodeType="afterEffect">
                                  <p:stCondLst>
                                    <p:cond delay="0"/>
                                  </p:stCondLst>
                                  <p:childTnLst>
                                    <p:set>
                                      <p:cBhvr>
                                        <p:cTn id="50" dur="1" fill="hold">
                                          <p:stCondLst>
                                            <p:cond delay="0"/>
                                          </p:stCondLst>
                                        </p:cTn>
                                        <p:tgtEl>
                                          <p:spTgt spid="90"/>
                                        </p:tgtEl>
                                        <p:attrNameLst>
                                          <p:attrName>style.visibility</p:attrName>
                                        </p:attrNameLst>
                                      </p:cBhvr>
                                      <p:to>
                                        <p:strVal val="visible"/>
                                      </p:to>
                                    </p:set>
                                    <p:animEffect transition="in" filter="fade">
                                      <p:cBhvr>
                                        <p:cTn id="51" dur="500"/>
                                        <p:tgtEl>
                                          <p:spTgt spid="90"/>
                                        </p:tgtEl>
                                      </p:cBhvr>
                                    </p:animEffect>
                                  </p:childTnLst>
                                </p:cTn>
                              </p:par>
                            </p:childTnLst>
                          </p:cTn>
                        </p:par>
                        <p:par>
                          <p:cTn id="52" fill="hold">
                            <p:stCondLst>
                              <p:cond delay="1000"/>
                            </p:stCondLst>
                            <p:childTnLst>
                              <p:par>
                                <p:cTn id="53" presetID="10" presetClass="entr" presetSubtype="0" fill="hold" grpId="0" nodeType="afterEffect">
                                  <p:stCondLst>
                                    <p:cond delay="0"/>
                                  </p:stCondLst>
                                  <p:childTnLst>
                                    <p:set>
                                      <p:cBhvr>
                                        <p:cTn id="54" dur="1" fill="hold">
                                          <p:stCondLst>
                                            <p:cond delay="0"/>
                                          </p:stCondLst>
                                        </p:cTn>
                                        <p:tgtEl>
                                          <p:spTgt spid="231"/>
                                        </p:tgtEl>
                                        <p:attrNameLst>
                                          <p:attrName>style.visibility</p:attrName>
                                        </p:attrNameLst>
                                      </p:cBhvr>
                                      <p:to>
                                        <p:strVal val="visible"/>
                                      </p:to>
                                    </p:set>
                                    <p:animEffect transition="in" filter="fade">
                                      <p:cBhvr>
                                        <p:cTn id="55" dur="500"/>
                                        <p:tgtEl>
                                          <p:spTgt spid="231"/>
                                        </p:tgtEl>
                                      </p:cBhvr>
                                    </p:animEffect>
                                  </p:childTnLst>
                                </p:cTn>
                              </p:par>
                            </p:childTnLst>
                          </p:cTn>
                        </p:par>
                        <p:par>
                          <p:cTn id="56" fill="hold">
                            <p:stCondLst>
                              <p:cond delay="1500"/>
                            </p:stCondLst>
                            <p:childTnLst>
                              <p:par>
                                <p:cTn id="57" presetID="42" presetClass="entr" presetSubtype="0" fill="hold" nodeType="afterEffect">
                                  <p:stCondLst>
                                    <p:cond delay="0"/>
                                  </p:stCondLst>
                                  <p:childTnLst>
                                    <p:set>
                                      <p:cBhvr>
                                        <p:cTn id="58" dur="1" fill="hold">
                                          <p:stCondLst>
                                            <p:cond delay="0"/>
                                          </p:stCondLst>
                                        </p:cTn>
                                        <p:tgtEl>
                                          <p:spTgt spid="207">
                                            <p:txEl>
                                              <p:pRg st="0" end="0"/>
                                            </p:txEl>
                                          </p:spTgt>
                                        </p:tgtEl>
                                        <p:attrNameLst>
                                          <p:attrName>style.visibility</p:attrName>
                                        </p:attrNameLst>
                                      </p:cBhvr>
                                      <p:to>
                                        <p:strVal val="visible"/>
                                      </p:to>
                                    </p:set>
                                    <p:animEffect transition="in" filter="fade">
                                      <p:cBhvr>
                                        <p:cTn id="59" dur="1000"/>
                                        <p:tgtEl>
                                          <p:spTgt spid="207">
                                            <p:txEl>
                                              <p:pRg st="0" end="0"/>
                                            </p:txEl>
                                          </p:spTgt>
                                        </p:tgtEl>
                                      </p:cBhvr>
                                    </p:animEffect>
                                    <p:anim calcmode="lin" valueType="num">
                                      <p:cBhvr>
                                        <p:cTn id="60" dur="1000" fill="hold"/>
                                        <p:tgtEl>
                                          <p:spTgt spid="207">
                                            <p:txEl>
                                              <p:pRg st="0" end="0"/>
                                            </p:txEl>
                                          </p:spTgt>
                                        </p:tgtEl>
                                        <p:attrNameLst>
                                          <p:attrName>ppt_x</p:attrName>
                                        </p:attrNameLst>
                                      </p:cBhvr>
                                      <p:tavLst>
                                        <p:tav tm="0">
                                          <p:val>
                                            <p:strVal val="#ppt_x"/>
                                          </p:val>
                                        </p:tav>
                                        <p:tav tm="100000">
                                          <p:val>
                                            <p:strVal val="#ppt_x"/>
                                          </p:val>
                                        </p:tav>
                                      </p:tavLst>
                                    </p:anim>
                                    <p:anim calcmode="lin" valueType="num">
                                      <p:cBhvr>
                                        <p:cTn id="61" dur="1000" fill="hold"/>
                                        <p:tgtEl>
                                          <p:spTgt spid="207">
                                            <p:txEl>
                                              <p:pRg st="0" end="0"/>
                                            </p:txEl>
                                          </p:spTgt>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207">
                                            <p:txEl>
                                              <p:pRg st="1" end="1"/>
                                            </p:txEl>
                                          </p:spTgt>
                                        </p:tgtEl>
                                        <p:attrNameLst>
                                          <p:attrName>style.visibility</p:attrName>
                                        </p:attrNameLst>
                                      </p:cBhvr>
                                      <p:to>
                                        <p:strVal val="visible"/>
                                      </p:to>
                                    </p:set>
                                    <p:animEffect transition="in" filter="fade">
                                      <p:cBhvr>
                                        <p:cTn id="64" dur="1000"/>
                                        <p:tgtEl>
                                          <p:spTgt spid="207">
                                            <p:txEl>
                                              <p:pRg st="1" end="1"/>
                                            </p:txEl>
                                          </p:spTgt>
                                        </p:tgtEl>
                                      </p:cBhvr>
                                    </p:animEffect>
                                    <p:anim calcmode="lin" valueType="num">
                                      <p:cBhvr>
                                        <p:cTn id="65" dur="1000" fill="hold"/>
                                        <p:tgtEl>
                                          <p:spTgt spid="207">
                                            <p:txEl>
                                              <p:pRg st="1" end="1"/>
                                            </p:txEl>
                                          </p:spTgt>
                                        </p:tgtEl>
                                        <p:attrNameLst>
                                          <p:attrName>ppt_x</p:attrName>
                                        </p:attrNameLst>
                                      </p:cBhvr>
                                      <p:tavLst>
                                        <p:tav tm="0">
                                          <p:val>
                                            <p:strVal val="#ppt_x"/>
                                          </p:val>
                                        </p:tav>
                                        <p:tav tm="100000">
                                          <p:val>
                                            <p:strVal val="#ppt_x"/>
                                          </p:val>
                                        </p:tav>
                                      </p:tavLst>
                                    </p:anim>
                                    <p:anim calcmode="lin" valueType="num">
                                      <p:cBhvr>
                                        <p:cTn id="66" dur="1000" fill="hold"/>
                                        <p:tgtEl>
                                          <p:spTgt spid="207">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3" grpId="0"/>
      <p:bldP spid="170" grpId="0" animBg="1"/>
      <p:bldP spid="171" grpId="0" animBg="1"/>
      <p:bldP spid="220" grpId="0" animBg="1"/>
      <p:bldP spid="231" grpId="0" animBg="1"/>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Inhaltsplatzhalter 2"/>
          <p:cNvSpPr txBox="1">
            <a:spLocks/>
          </p:cNvSpPr>
          <p:nvPr/>
        </p:nvSpPr>
        <p:spPr bwMode="gray">
          <a:xfrm>
            <a:off x="8556517" y="2518212"/>
            <a:ext cx="3310047" cy="726353"/>
          </a:xfrm>
          <a:custGeom>
            <a:avLst/>
            <a:gdLst/>
            <a:ahLst/>
            <a:cxnLst/>
            <a:rect l="l" t="t" r="r" b="b"/>
            <a:pathLst>
              <a:path w="3310047" h="726353">
                <a:moveTo>
                  <a:pt x="121061" y="0"/>
                </a:moveTo>
                <a:lnTo>
                  <a:pt x="3188986" y="0"/>
                </a:lnTo>
                <a:cubicBezTo>
                  <a:pt x="3255846" y="0"/>
                  <a:pt x="3310047" y="54201"/>
                  <a:pt x="3310047" y="121061"/>
                </a:cubicBezTo>
                <a:lnTo>
                  <a:pt x="3310047" y="605292"/>
                </a:lnTo>
                <a:cubicBezTo>
                  <a:pt x="3310047" y="672152"/>
                  <a:pt x="3255846" y="726353"/>
                  <a:pt x="3188986" y="726353"/>
                </a:cubicBezTo>
                <a:lnTo>
                  <a:pt x="121061" y="726353"/>
                </a:lnTo>
                <a:cubicBezTo>
                  <a:pt x="54201" y="726353"/>
                  <a:pt x="0" y="672152"/>
                  <a:pt x="0" y="605292"/>
                </a:cubicBezTo>
                <a:lnTo>
                  <a:pt x="0" y="561176"/>
                </a:lnTo>
                <a:cubicBezTo>
                  <a:pt x="109352" y="561176"/>
                  <a:pt x="197999" y="472528"/>
                  <a:pt x="197999" y="363176"/>
                </a:cubicBezTo>
                <a:cubicBezTo>
                  <a:pt x="197999" y="253824"/>
                  <a:pt x="109352" y="165177"/>
                  <a:pt x="0" y="165176"/>
                </a:cubicBezTo>
                <a:lnTo>
                  <a:pt x="0" y="121061"/>
                </a:lnTo>
                <a:cubicBezTo>
                  <a:pt x="0" y="54201"/>
                  <a:pt x="54201" y="0"/>
                  <a:pt x="121061" y="0"/>
                </a:cubicBezTo>
                <a:close/>
              </a:path>
            </a:pathLst>
          </a:custGeom>
          <a:solidFill>
            <a:schemeClr val="tx2"/>
          </a:solidFill>
        </p:spPr>
        <p:txBody>
          <a:bodyPr lIns="288000" rIns="0" anchor="ct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chemeClr val="bg1"/>
                </a:solidFill>
              </a:rPr>
              <a:t>High simplicity:</a:t>
            </a:r>
            <a:br>
              <a:rPr lang="en-US" b="1" dirty="0">
                <a:solidFill>
                  <a:schemeClr val="bg1"/>
                </a:solidFill>
              </a:rPr>
            </a:br>
            <a:r>
              <a:rPr lang="en-US" dirty="0">
                <a:solidFill>
                  <a:schemeClr val="bg1"/>
                </a:solidFill>
              </a:rPr>
              <a:t>standardized, </a:t>
            </a:r>
            <a:br>
              <a:rPr lang="en-US" dirty="0">
                <a:solidFill>
                  <a:schemeClr val="bg1"/>
                </a:solidFill>
              </a:rPr>
            </a:br>
            <a:r>
              <a:rPr lang="en-US" dirty="0">
                <a:solidFill>
                  <a:schemeClr val="bg1"/>
                </a:solidFill>
              </a:rPr>
              <a:t>platform-independent</a:t>
            </a:r>
          </a:p>
        </p:txBody>
      </p:sp>
      <p:sp>
        <p:nvSpPr>
          <p:cNvPr id="25" name="Inhaltsplatzhalter 3"/>
          <p:cNvSpPr txBox="1">
            <a:spLocks/>
          </p:cNvSpPr>
          <p:nvPr/>
        </p:nvSpPr>
        <p:spPr bwMode="gray">
          <a:xfrm>
            <a:off x="8556517" y="3316282"/>
            <a:ext cx="3310047" cy="726353"/>
          </a:xfrm>
          <a:custGeom>
            <a:avLst/>
            <a:gdLst/>
            <a:ahLst/>
            <a:cxnLst/>
            <a:rect l="l" t="t" r="r" b="b"/>
            <a:pathLst>
              <a:path w="3310047" h="726353">
                <a:moveTo>
                  <a:pt x="121061" y="0"/>
                </a:moveTo>
                <a:lnTo>
                  <a:pt x="3188986" y="0"/>
                </a:lnTo>
                <a:cubicBezTo>
                  <a:pt x="3255846" y="0"/>
                  <a:pt x="3310047" y="54201"/>
                  <a:pt x="3310047" y="121061"/>
                </a:cubicBezTo>
                <a:lnTo>
                  <a:pt x="3310047" y="605292"/>
                </a:lnTo>
                <a:cubicBezTo>
                  <a:pt x="3310047" y="672152"/>
                  <a:pt x="3255846" y="726353"/>
                  <a:pt x="3188986" y="726353"/>
                </a:cubicBezTo>
                <a:lnTo>
                  <a:pt x="121061" y="726353"/>
                </a:lnTo>
                <a:cubicBezTo>
                  <a:pt x="54201" y="726353"/>
                  <a:pt x="0" y="672152"/>
                  <a:pt x="0" y="605292"/>
                </a:cubicBezTo>
                <a:lnTo>
                  <a:pt x="0" y="561176"/>
                </a:lnTo>
                <a:cubicBezTo>
                  <a:pt x="109352" y="561176"/>
                  <a:pt x="197999" y="472528"/>
                  <a:pt x="197999" y="363176"/>
                </a:cubicBezTo>
                <a:cubicBezTo>
                  <a:pt x="197999" y="253824"/>
                  <a:pt x="109352" y="165177"/>
                  <a:pt x="0" y="165176"/>
                </a:cubicBezTo>
                <a:lnTo>
                  <a:pt x="0" y="121061"/>
                </a:lnTo>
                <a:cubicBezTo>
                  <a:pt x="0" y="54201"/>
                  <a:pt x="54201" y="0"/>
                  <a:pt x="121061" y="0"/>
                </a:cubicBezTo>
                <a:close/>
              </a:path>
            </a:pathLst>
          </a:custGeom>
          <a:solidFill>
            <a:schemeClr val="tx2"/>
          </a:solidFill>
        </p:spPr>
        <p:txBody>
          <a:bodyPr lIns="288000" rIns="0" anchor="ct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chemeClr val="bg1"/>
                </a:solidFill>
              </a:rPr>
              <a:t>Increased availability:</a:t>
            </a:r>
            <a:br>
              <a:rPr lang="en-US" b="1" dirty="0">
                <a:solidFill>
                  <a:schemeClr val="bg1"/>
                </a:solidFill>
              </a:rPr>
            </a:br>
            <a:r>
              <a:rPr lang="en-US" dirty="0">
                <a:solidFill>
                  <a:schemeClr val="bg1"/>
                </a:solidFill>
              </a:rPr>
              <a:t>case-specific information </a:t>
            </a:r>
            <a:br>
              <a:rPr lang="en-US" dirty="0">
                <a:solidFill>
                  <a:schemeClr val="bg1"/>
                </a:solidFill>
              </a:rPr>
            </a:br>
            <a:r>
              <a:rPr lang="en-US" dirty="0">
                <a:solidFill>
                  <a:schemeClr val="bg1"/>
                </a:solidFill>
              </a:rPr>
              <a:t>and individual support</a:t>
            </a:r>
          </a:p>
        </p:txBody>
      </p:sp>
      <p:sp>
        <p:nvSpPr>
          <p:cNvPr id="26" name="Inhaltsplatzhalter 4"/>
          <p:cNvSpPr txBox="1">
            <a:spLocks/>
          </p:cNvSpPr>
          <p:nvPr/>
        </p:nvSpPr>
        <p:spPr bwMode="gray">
          <a:xfrm>
            <a:off x="8556517" y="4114353"/>
            <a:ext cx="3310046" cy="726353"/>
          </a:xfrm>
          <a:custGeom>
            <a:avLst/>
            <a:gdLst/>
            <a:ahLst/>
            <a:cxnLst/>
            <a:rect l="l" t="t" r="r" b="b"/>
            <a:pathLst>
              <a:path w="3310046" h="726353">
                <a:moveTo>
                  <a:pt x="121061" y="0"/>
                </a:moveTo>
                <a:lnTo>
                  <a:pt x="3188985" y="0"/>
                </a:lnTo>
                <a:cubicBezTo>
                  <a:pt x="3255845" y="0"/>
                  <a:pt x="3310046" y="54201"/>
                  <a:pt x="3310046" y="121061"/>
                </a:cubicBezTo>
                <a:lnTo>
                  <a:pt x="3310046" y="605292"/>
                </a:lnTo>
                <a:cubicBezTo>
                  <a:pt x="3310046" y="672152"/>
                  <a:pt x="3255845" y="726353"/>
                  <a:pt x="3188985" y="726353"/>
                </a:cubicBezTo>
                <a:lnTo>
                  <a:pt x="121061" y="726353"/>
                </a:lnTo>
                <a:cubicBezTo>
                  <a:pt x="54201" y="726353"/>
                  <a:pt x="0" y="672152"/>
                  <a:pt x="0" y="605292"/>
                </a:cubicBezTo>
                <a:lnTo>
                  <a:pt x="0" y="561176"/>
                </a:lnTo>
                <a:cubicBezTo>
                  <a:pt x="109352" y="561176"/>
                  <a:pt x="197999" y="472528"/>
                  <a:pt x="197999" y="363176"/>
                </a:cubicBezTo>
                <a:cubicBezTo>
                  <a:pt x="197999" y="253825"/>
                  <a:pt x="109352" y="165177"/>
                  <a:pt x="0" y="165176"/>
                </a:cubicBezTo>
                <a:lnTo>
                  <a:pt x="0" y="121061"/>
                </a:lnTo>
                <a:cubicBezTo>
                  <a:pt x="0" y="54201"/>
                  <a:pt x="54201" y="0"/>
                  <a:pt x="121061" y="0"/>
                </a:cubicBezTo>
                <a:close/>
              </a:path>
            </a:pathLst>
          </a:custGeom>
          <a:solidFill>
            <a:schemeClr val="tx2"/>
          </a:solidFill>
        </p:spPr>
        <p:txBody>
          <a:bodyPr lIns="288000" rIns="0" anchor="ct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chemeClr val="bg1"/>
                </a:solidFill>
              </a:rPr>
              <a:t>Improved installed </a:t>
            </a:r>
            <a:br>
              <a:rPr lang="en-US" b="1" dirty="0">
                <a:solidFill>
                  <a:schemeClr val="bg1"/>
                </a:solidFill>
              </a:rPr>
            </a:br>
            <a:r>
              <a:rPr lang="en-US" b="1" dirty="0">
                <a:solidFill>
                  <a:schemeClr val="bg1"/>
                </a:solidFill>
              </a:rPr>
              <a:t>base management</a:t>
            </a:r>
          </a:p>
        </p:txBody>
      </p:sp>
      <p:grpSp>
        <p:nvGrpSpPr>
          <p:cNvPr id="224" name="Group 223"/>
          <p:cNvGrpSpPr/>
          <p:nvPr/>
        </p:nvGrpSpPr>
        <p:grpSpPr bwMode="gray">
          <a:xfrm>
            <a:off x="4191366" y="3069203"/>
            <a:ext cx="3809268" cy="1411717"/>
            <a:chOff x="2609850" y="3584103"/>
            <a:chExt cx="2131080" cy="789777"/>
          </a:xfrm>
          <a:solidFill>
            <a:schemeClr val="bg1"/>
          </a:solidFill>
        </p:grpSpPr>
        <p:sp>
          <p:nvSpPr>
            <p:cNvPr id="225" name="Rectangle 224"/>
            <p:cNvSpPr/>
            <p:nvPr/>
          </p:nvSpPr>
          <p:spPr bwMode="gray">
            <a:xfrm>
              <a:off x="2609850" y="3584103"/>
              <a:ext cx="92710" cy="789777"/>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26" name="Rectangle 225"/>
            <p:cNvSpPr/>
            <p:nvPr/>
          </p:nvSpPr>
          <p:spPr bwMode="gray">
            <a:xfrm>
              <a:off x="2702560" y="3584103"/>
              <a:ext cx="1945640" cy="789777"/>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27" name="Rectangle 226"/>
            <p:cNvSpPr/>
            <p:nvPr/>
          </p:nvSpPr>
          <p:spPr bwMode="gray">
            <a:xfrm>
              <a:off x="4648220" y="3584103"/>
              <a:ext cx="92710" cy="789777"/>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28" name="Rounded Rectangle 227"/>
            <p:cNvSpPr/>
            <p:nvPr/>
          </p:nvSpPr>
          <p:spPr bwMode="gray">
            <a:xfrm>
              <a:off x="2633346" y="3675319"/>
              <a:ext cx="45719" cy="607344"/>
            </a:xfrm>
            <a:prstGeom prst="roundRect">
              <a:avLst>
                <a:gd name="adj" fmla="val 47914"/>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29" name="Rounded Rectangle 228"/>
            <p:cNvSpPr/>
            <p:nvPr/>
          </p:nvSpPr>
          <p:spPr bwMode="gray">
            <a:xfrm>
              <a:off x="4671716" y="3675319"/>
              <a:ext cx="45719" cy="607344"/>
            </a:xfrm>
            <a:prstGeom prst="roundRect">
              <a:avLst>
                <a:gd name="adj" fmla="val 47914"/>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0" name="Oval 229"/>
            <p:cNvSpPr/>
            <p:nvPr/>
          </p:nvSpPr>
          <p:spPr bwMode="gray">
            <a:xfrm>
              <a:off x="2753360" y="3645874"/>
              <a:ext cx="47286" cy="47286"/>
            </a:xfrm>
            <a:prstGeom prst="ellips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1" name="Oval 230"/>
            <p:cNvSpPr/>
            <p:nvPr/>
          </p:nvSpPr>
          <p:spPr bwMode="gray">
            <a:xfrm>
              <a:off x="2753360" y="4262172"/>
              <a:ext cx="47286" cy="47286"/>
            </a:xfrm>
            <a:prstGeom prst="ellips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2" name="Oval 231"/>
            <p:cNvSpPr/>
            <p:nvPr/>
          </p:nvSpPr>
          <p:spPr bwMode="gray">
            <a:xfrm>
              <a:off x="4547828" y="3645874"/>
              <a:ext cx="47286" cy="47286"/>
            </a:xfrm>
            <a:prstGeom prst="ellips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3" name="Oval 232"/>
            <p:cNvSpPr/>
            <p:nvPr/>
          </p:nvSpPr>
          <p:spPr bwMode="gray">
            <a:xfrm>
              <a:off x="4547828" y="4262172"/>
              <a:ext cx="47286" cy="47286"/>
            </a:xfrm>
            <a:prstGeom prst="ellips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4" name="Rectangle 233"/>
            <p:cNvSpPr/>
            <p:nvPr/>
          </p:nvSpPr>
          <p:spPr bwMode="gray">
            <a:xfrm>
              <a:off x="3647440" y="3717032"/>
              <a:ext cx="845361" cy="545140"/>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5" name="Rectangle 234"/>
            <p:cNvSpPr/>
            <p:nvPr/>
          </p:nvSpPr>
          <p:spPr bwMode="gray">
            <a:xfrm>
              <a:off x="3680460" y="3747956"/>
              <a:ext cx="511897" cy="364304"/>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6" name="Rectangle 235"/>
            <p:cNvSpPr/>
            <p:nvPr/>
          </p:nvSpPr>
          <p:spPr bwMode="gray">
            <a:xfrm>
              <a:off x="3680461"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7" name="Rectangle 236"/>
            <p:cNvSpPr/>
            <p:nvPr/>
          </p:nvSpPr>
          <p:spPr bwMode="gray">
            <a:xfrm>
              <a:off x="3769049"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8" name="Rectangle 237"/>
            <p:cNvSpPr/>
            <p:nvPr/>
          </p:nvSpPr>
          <p:spPr bwMode="gray">
            <a:xfrm>
              <a:off x="3857637"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9" name="Rectangle 238"/>
            <p:cNvSpPr/>
            <p:nvPr/>
          </p:nvSpPr>
          <p:spPr bwMode="gray">
            <a:xfrm>
              <a:off x="3946225"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40" name="Rectangle 239"/>
            <p:cNvSpPr/>
            <p:nvPr/>
          </p:nvSpPr>
          <p:spPr bwMode="gray">
            <a:xfrm>
              <a:off x="4034813"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41" name="Rectangle 240"/>
            <p:cNvSpPr/>
            <p:nvPr/>
          </p:nvSpPr>
          <p:spPr bwMode="gray">
            <a:xfrm>
              <a:off x="4123400"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42" name="Rectangle 241"/>
            <p:cNvSpPr/>
            <p:nvPr/>
          </p:nvSpPr>
          <p:spPr bwMode="gray">
            <a:xfrm>
              <a:off x="4229316" y="3838173"/>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43" name="Rectangle 242"/>
            <p:cNvSpPr/>
            <p:nvPr/>
          </p:nvSpPr>
          <p:spPr bwMode="gray">
            <a:xfrm>
              <a:off x="4306560" y="3838173"/>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44" name="Rectangle 243"/>
            <p:cNvSpPr/>
            <p:nvPr/>
          </p:nvSpPr>
          <p:spPr bwMode="gray">
            <a:xfrm>
              <a:off x="4383805" y="3838173"/>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45" name="Rectangle 244"/>
            <p:cNvSpPr/>
            <p:nvPr/>
          </p:nvSpPr>
          <p:spPr bwMode="gray">
            <a:xfrm>
              <a:off x="4229316" y="3911425"/>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46" name="Rectangle 245"/>
            <p:cNvSpPr/>
            <p:nvPr/>
          </p:nvSpPr>
          <p:spPr bwMode="gray">
            <a:xfrm>
              <a:off x="4306560" y="3911425"/>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47" name="Rectangle 246"/>
            <p:cNvSpPr/>
            <p:nvPr/>
          </p:nvSpPr>
          <p:spPr bwMode="gray">
            <a:xfrm>
              <a:off x="4383805" y="3911425"/>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48" name="Rectangle 247"/>
            <p:cNvSpPr/>
            <p:nvPr/>
          </p:nvSpPr>
          <p:spPr bwMode="gray">
            <a:xfrm>
              <a:off x="4229316" y="3984676"/>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49" name="Rectangle 248"/>
            <p:cNvSpPr/>
            <p:nvPr/>
          </p:nvSpPr>
          <p:spPr bwMode="gray">
            <a:xfrm>
              <a:off x="4306560" y="3984676"/>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50" name="Rectangle 249"/>
            <p:cNvSpPr/>
            <p:nvPr/>
          </p:nvSpPr>
          <p:spPr bwMode="gray">
            <a:xfrm>
              <a:off x="4383805" y="3984676"/>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51" name="Rectangle 250"/>
            <p:cNvSpPr/>
            <p:nvPr/>
          </p:nvSpPr>
          <p:spPr bwMode="gray">
            <a:xfrm>
              <a:off x="4229316" y="4057928"/>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52" name="Rectangle 251"/>
            <p:cNvSpPr/>
            <p:nvPr/>
          </p:nvSpPr>
          <p:spPr bwMode="gray">
            <a:xfrm>
              <a:off x="4306560" y="4057928"/>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53" name="Rectangle 252"/>
            <p:cNvSpPr/>
            <p:nvPr/>
          </p:nvSpPr>
          <p:spPr bwMode="gray">
            <a:xfrm>
              <a:off x="4383805" y="4057928"/>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54" name="Rectangle 253"/>
            <p:cNvSpPr/>
            <p:nvPr/>
          </p:nvSpPr>
          <p:spPr bwMode="gray">
            <a:xfrm>
              <a:off x="4356113" y="4164302"/>
              <a:ext cx="77245" cy="54316"/>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55" name="Rectangle 254"/>
            <p:cNvSpPr/>
            <p:nvPr/>
          </p:nvSpPr>
          <p:spPr bwMode="gray">
            <a:xfrm>
              <a:off x="4235031" y="4164302"/>
              <a:ext cx="77245" cy="54316"/>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56" name="Rounded Rectangle 255"/>
            <p:cNvSpPr>
              <a:spLocks/>
            </p:cNvSpPr>
            <p:nvPr/>
          </p:nvSpPr>
          <p:spPr bwMode="gray">
            <a:xfrm>
              <a:off x="4302750" y="3801296"/>
              <a:ext cx="18000" cy="7200"/>
            </a:xfrm>
            <a:prstGeom prst="roundRect">
              <a:avLst>
                <a:gd name="adj" fmla="val 29360"/>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57" name="Rounded Rectangle 256"/>
            <p:cNvSpPr>
              <a:spLocks/>
            </p:cNvSpPr>
            <p:nvPr/>
          </p:nvSpPr>
          <p:spPr bwMode="gray">
            <a:xfrm>
              <a:off x="4353281" y="3801296"/>
              <a:ext cx="18000" cy="7200"/>
            </a:xfrm>
            <a:prstGeom prst="roundRect">
              <a:avLst>
                <a:gd name="adj" fmla="val 29360"/>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58" name="Rounded Rectangle 257"/>
            <p:cNvSpPr>
              <a:spLocks/>
            </p:cNvSpPr>
            <p:nvPr/>
          </p:nvSpPr>
          <p:spPr bwMode="gray">
            <a:xfrm>
              <a:off x="4403812" y="3801296"/>
              <a:ext cx="18000" cy="7200"/>
            </a:xfrm>
            <a:prstGeom prst="roundRect">
              <a:avLst>
                <a:gd name="adj" fmla="val 29360"/>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259" name="Group 258"/>
          <p:cNvGrpSpPr/>
          <p:nvPr/>
        </p:nvGrpSpPr>
        <p:grpSpPr bwMode="gray">
          <a:xfrm>
            <a:off x="6307119" y="3424123"/>
            <a:ext cx="523096" cy="523097"/>
            <a:chOff x="1179628" y="-1706756"/>
            <a:chExt cx="465749" cy="465750"/>
          </a:xfrm>
        </p:grpSpPr>
        <p:grpSp>
          <p:nvGrpSpPr>
            <p:cNvPr id="260" name="Group 259"/>
            <p:cNvGrpSpPr/>
            <p:nvPr/>
          </p:nvGrpSpPr>
          <p:grpSpPr bwMode="gray">
            <a:xfrm>
              <a:off x="1179628" y="-1376691"/>
              <a:ext cx="135685" cy="135685"/>
              <a:chOff x="-4433548" y="0"/>
              <a:chExt cx="761570" cy="761570"/>
            </a:xfrm>
            <a:solidFill>
              <a:schemeClr val="bg1"/>
            </a:solidFill>
          </p:grpSpPr>
          <p:sp>
            <p:nvSpPr>
              <p:cNvPr id="271" name="Rectangle 270"/>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272" name="Rectangle 271"/>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261" name="Group 260"/>
            <p:cNvGrpSpPr/>
            <p:nvPr/>
          </p:nvGrpSpPr>
          <p:grpSpPr bwMode="gray">
            <a:xfrm>
              <a:off x="1179628" y="-1706756"/>
              <a:ext cx="135685" cy="135685"/>
              <a:chOff x="-4433548" y="0"/>
              <a:chExt cx="761570" cy="761570"/>
            </a:xfrm>
            <a:solidFill>
              <a:schemeClr val="bg1"/>
            </a:solidFill>
          </p:grpSpPr>
          <p:sp>
            <p:nvSpPr>
              <p:cNvPr id="269" name="Rectangle 268"/>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270" name="Rectangle 269"/>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262" name="Group 261"/>
            <p:cNvGrpSpPr/>
            <p:nvPr/>
          </p:nvGrpSpPr>
          <p:grpSpPr bwMode="gray">
            <a:xfrm>
              <a:off x="1509692" y="-1706756"/>
              <a:ext cx="135685" cy="135685"/>
              <a:chOff x="-4433548" y="0"/>
              <a:chExt cx="761570" cy="761570"/>
            </a:xfrm>
            <a:solidFill>
              <a:schemeClr val="bg1"/>
            </a:solidFill>
          </p:grpSpPr>
          <p:sp>
            <p:nvSpPr>
              <p:cNvPr id="267" name="Rectangle 266"/>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268" name="Rectangle 267"/>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sp>
          <p:nvSpPr>
            <p:cNvPr id="263" name="Rectangle 262"/>
            <p:cNvSpPr/>
            <p:nvPr/>
          </p:nvSpPr>
          <p:spPr bwMode="gray">
            <a:xfrm>
              <a:off x="1337475" y="-1548909"/>
              <a:ext cx="150055" cy="150056"/>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nvGrpSpPr>
            <p:cNvPr id="264" name="Group 263"/>
            <p:cNvGrpSpPr/>
            <p:nvPr/>
          </p:nvGrpSpPr>
          <p:grpSpPr bwMode="gray">
            <a:xfrm>
              <a:off x="1509692" y="-1376691"/>
              <a:ext cx="135685" cy="135685"/>
              <a:chOff x="-4433548" y="0"/>
              <a:chExt cx="761570" cy="761570"/>
            </a:xfrm>
            <a:solidFill>
              <a:schemeClr val="bg1"/>
            </a:solidFill>
          </p:grpSpPr>
          <p:sp>
            <p:nvSpPr>
              <p:cNvPr id="265" name="Rectangle 264"/>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266" name="Rectangle 265"/>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sp>
        <p:nvSpPr>
          <p:cNvPr id="20" name="Titel 19"/>
          <p:cNvSpPr>
            <a:spLocks noGrp="1"/>
          </p:cNvSpPr>
          <p:nvPr>
            <p:ph type="title"/>
          </p:nvPr>
        </p:nvSpPr>
        <p:spPr bwMode="gray"/>
        <p:txBody>
          <a:bodyPr/>
          <a:lstStyle/>
          <a:p>
            <a:r>
              <a:rPr lang="en-US" dirty="0"/>
              <a:t>Dynamic QR Codes</a:t>
            </a:r>
          </a:p>
        </p:txBody>
      </p:sp>
      <p:sp>
        <p:nvSpPr>
          <p:cNvPr id="12" name="Datumsplatzhalter 11"/>
          <p:cNvSpPr>
            <a:spLocks noGrp="1"/>
          </p:cNvSpPr>
          <p:nvPr>
            <p:ph type="dt" sz="half" idx="14"/>
          </p:nvPr>
        </p:nvSpPr>
        <p:spPr bwMode="gray"/>
        <p:txBody>
          <a:bodyPr/>
          <a:lstStyle/>
          <a:p>
            <a:fld id="{ED4418A7-E8E0-42C3-AC0C-9BF91949BA0B}" type="datetime4">
              <a:rPr lang="en-US" smtClean="0"/>
              <a:t>September 8, 2019</a:t>
            </a:fld>
            <a:endParaRPr lang="en-US" dirty="0"/>
          </a:p>
        </p:txBody>
      </p:sp>
      <p:sp>
        <p:nvSpPr>
          <p:cNvPr id="13" name="Fußzeilenplatzhalter 12"/>
          <p:cNvSpPr>
            <a:spLocks noGrp="1"/>
          </p:cNvSpPr>
          <p:nvPr>
            <p:ph type="ftr" sz="quarter" idx="15"/>
          </p:nvPr>
        </p:nvSpPr>
        <p:spPr bwMode="gray"/>
        <p:txBody>
          <a:bodyPr/>
          <a:lstStyle/>
          <a:p>
            <a:pPr lvl="8"/>
            <a:endParaRPr lang="en-US" dirty="0"/>
          </a:p>
        </p:txBody>
      </p:sp>
      <p:sp>
        <p:nvSpPr>
          <p:cNvPr id="14" name="Foliennummernplatzhalter 13"/>
          <p:cNvSpPr>
            <a:spLocks noGrp="1"/>
          </p:cNvSpPr>
          <p:nvPr>
            <p:ph type="sldNum" sz="quarter" idx="16"/>
          </p:nvPr>
        </p:nvSpPr>
        <p:spPr bwMode="gray"/>
        <p:txBody>
          <a:bodyPr/>
          <a:lstStyle/>
          <a:p>
            <a:r>
              <a:rPr lang="en-US" dirty="0"/>
              <a:t>Slide </a:t>
            </a:r>
            <a:fld id="{619F89D8-7AE3-494A-97F3-03D680869632}" type="slidenum">
              <a:rPr lang="en-US" smtClean="0"/>
              <a:pPr/>
              <a:t>103</a:t>
            </a:fld>
            <a:endParaRPr lang="en-US" dirty="0"/>
          </a:p>
        </p:txBody>
      </p:sp>
      <p:sp>
        <p:nvSpPr>
          <p:cNvPr id="21" name="Untertitel 20"/>
          <p:cNvSpPr>
            <a:spLocks noGrp="1"/>
          </p:cNvSpPr>
          <p:nvPr>
            <p:ph type="subTitle" idx="13"/>
          </p:nvPr>
        </p:nvSpPr>
        <p:spPr bwMode="gray"/>
        <p:txBody>
          <a:bodyPr/>
          <a:lstStyle/>
          <a:p>
            <a:r>
              <a:rPr lang="en-US" dirty="0"/>
              <a:t>Benefits</a:t>
            </a:r>
          </a:p>
        </p:txBody>
      </p:sp>
      <p:grpSp>
        <p:nvGrpSpPr>
          <p:cNvPr id="27" name="Group 26"/>
          <p:cNvGrpSpPr/>
          <p:nvPr/>
        </p:nvGrpSpPr>
        <p:grpSpPr bwMode="gray">
          <a:xfrm>
            <a:off x="4191366" y="1821944"/>
            <a:ext cx="3809268" cy="1411717"/>
            <a:chOff x="2609850" y="3584103"/>
            <a:chExt cx="2131080" cy="789777"/>
          </a:xfrm>
          <a:solidFill>
            <a:schemeClr val="bg1"/>
          </a:solidFill>
        </p:grpSpPr>
        <p:sp>
          <p:nvSpPr>
            <p:cNvPr id="29" name="Rectangle 28"/>
            <p:cNvSpPr/>
            <p:nvPr/>
          </p:nvSpPr>
          <p:spPr bwMode="gray">
            <a:xfrm>
              <a:off x="2609850" y="3584103"/>
              <a:ext cx="92710" cy="789777"/>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0" name="Rectangle 29"/>
            <p:cNvSpPr/>
            <p:nvPr/>
          </p:nvSpPr>
          <p:spPr bwMode="gray">
            <a:xfrm>
              <a:off x="2702560" y="3584103"/>
              <a:ext cx="1945640" cy="789777"/>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4" name="Rectangle 33"/>
            <p:cNvSpPr/>
            <p:nvPr/>
          </p:nvSpPr>
          <p:spPr bwMode="gray">
            <a:xfrm>
              <a:off x="4648220" y="3584103"/>
              <a:ext cx="92710" cy="789777"/>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5" name="Rounded Rectangle 34"/>
            <p:cNvSpPr/>
            <p:nvPr/>
          </p:nvSpPr>
          <p:spPr bwMode="gray">
            <a:xfrm>
              <a:off x="2633346" y="3675319"/>
              <a:ext cx="45719" cy="607344"/>
            </a:xfrm>
            <a:prstGeom prst="roundRect">
              <a:avLst>
                <a:gd name="adj" fmla="val 47914"/>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7" name="Rounded Rectangle 36"/>
            <p:cNvSpPr/>
            <p:nvPr/>
          </p:nvSpPr>
          <p:spPr bwMode="gray">
            <a:xfrm>
              <a:off x="4671716" y="3675319"/>
              <a:ext cx="45719" cy="607344"/>
            </a:xfrm>
            <a:prstGeom prst="roundRect">
              <a:avLst>
                <a:gd name="adj" fmla="val 47914"/>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9" name="Oval 38"/>
            <p:cNvSpPr/>
            <p:nvPr/>
          </p:nvSpPr>
          <p:spPr bwMode="gray">
            <a:xfrm>
              <a:off x="2753360" y="3645874"/>
              <a:ext cx="47286" cy="47286"/>
            </a:xfrm>
            <a:prstGeom prst="ellips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3" name="Oval 42"/>
            <p:cNvSpPr/>
            <p:nvPr/>
          </p:nvSpPr>
          <p:spPr bwMode="gray">
            <a:xfrm>
              <a:off x="2753360" y="4262172"/>
              <a:ext cx="47286" cy="47286"/>
            </a:xfrm>
            <a:prstGeom prst="ellips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4" name="Oval 43"/>
            <p:cNvSpPr/>
            <p:nvPr/>
          </p:nvSpPr>
          <p:spPr bwMode="gray">
            <a:xfrm>
              <a:off x="4547828" y="3645874"/>
              <a:ext cx="47286" cy="47286"/>
            </a:xfrm>
            <a:prstGeom prst="ellips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5" name="Oval 44"/>
            <p:cNvSpPr/>
            <p:nvPr/>
          </p:nvSpPr>
          <p:spPr bwMode="gray">
            <a:xfrm>
              <a:off x="4547828" y="4262172"/>
              <a:ext cx="47286" cy="47286"/>
            </a:xfrm>
            <a:prstGeom prst="ellips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6" name="Rectangle 45"/>
            <p:cNvSpPr/>
            <p:nvPr/>
          </p:nvSpPr>
          <p:spPr bwMode="gray">
            <a:xfrm>
              <a:off x="3647440" y="3717032"/>
              <a:ext cx="845361" cy="545140"/>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7" name="Rectangle 46"/>
            <p:cNvSpPr/>
            <p:nvPr/>
          </p:nvSpPr>
          <p:spPr bwMode="gray">
            <a:xfrm>
              <a:off x="3680460" y="3747956"/>
              <a:ext cx="511897" cy="364304"/>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8" name="Rectangle 47"/>
            <p:cNvSpPr/>
            <p:nvPr/>
          </p:nvSpPr>
          <p:spPr bwMode="gray">
            <a:xfrm>
              <a:off x="3680461"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9" name="Rectangle 48"/>
            <p:cNvSpPr/>
            <p:nvPr/>
          </p:nvSpPr>
          <p:spPr bwMode="gray">
            <a:xfrm>
              <a:off x="3769049"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 name="Rectangle 49"/>
            <p:cNvSpPr/>
            <p:nvPr/>
          </p:nvSpPr>
          <p:spPr bwMode="gray">
            <a:xfrm>
              <a:off x="3857637"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 name="Rectangle 50"/>
            <p:cNvSpPr/>
            <p:nvPr/>
          </p:nvSpPr>
          <p:spPr bwMode="gray">
            <a:xfrm>
              <a:off x="3946225"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2" name="Rectangle 51"/>
            <p:cNvSpPr/>
            <p:nvPr/>
          </p:nvSpPr>
          <p:spPr bwMode="gray">
            <a:xfrm>
              <a:off x="4034813"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3" name="Rectangle 52"/>
            <p:cNvSpPr/>
            <p:nvPr/>
          </p:nvSpPr>
          <p:spPr bwMode="gray">
            <a:xfrm>
              <a:off x="4123400" y="4163060"/>
              <a:ext cx="61200" cy="62292"/>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4" name="Rectangle 53"/>
            <p:cNvSpPr/>
            <p:nvPr/>
          </p:nvSpPr>
          <p:spPr bwMode="gray">
            <a:xfrm>
              <a:off x="4229316" y="3838173"/>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5" name="Rectangle 54"/>
            <p:cNvSpPr/>
            <p:nvPr/>
          </p:nvSpPr>
          <p:spPr bwMode="gray">
            <a:xfrm>
              <a:off x="4306560" y="3838173"/>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 name="Rectangle 55"/>
            <p:cNvSpPr/>
            <p:nvPr/>
          </p:nvSpPr>
          <p:spPr bwMode="gray">
            <a:xfrm>
              <a:off x="4383805" y="3838173"/>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7" name="Rectangle 56"/>
            <p:cNvSpPr/>
            <p:nvPr/>
          </p:nvSpPr>
          <p:spPr bwMode="gray">
            <a:xfrm>
              <a:off x="4229316" y="3911425"/>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8" name="Rectangle 57"/>
            <p:cNvSpPr/>
            <p:nvPr/>
          </p:nvSpPr>
          <p:spPr bwMode="gray">
            <a:xfrm>
              <a:off x="4306560" y="3911425"/>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9" name="Rectangle 58"/>
            <p:cNvSpPr/>
            <p:nvPr/>
          </p:nvSpPr>
          <p:spPr bwMode="gray">
            <a:xfrm>
              <a:off x="4383805" y="3911425"/>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0" name="Rectangle 59"/>
            <p:cNvSpPr/>
            <p:nvPr/>
          </p:nvSpPr>
          <p:spPr bwMode="gray">
            <a:xfrm>
              <a:off x="4229316" y="3984676"/>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1" name="Rectangle 60"/>
            <p:cNvSpPr/>
            <p:nvPr/>
          </p:nvSpPr>
          <p:spPr bwMode="gray">
            <a:xfrm>
              <a:off x="4306560" y="3984676"/>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2" name="Rectangle 61"/>
            <p:cNvSpPr/>
            <p:nvPr/>
          </p:nvSpPr>
          <p:spPr bwMode="gray">
            <a:xfrm>
              <a:off x="4383805" y="3984676"/>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3" name="Rectangle 62"/>
            <p:cNvSpPr/>
            <p:nvPr/>
          </p:nvSpPr>
          <p:spPr bwMode="gray">
            <a:xfrm>
              <a:off x="4229316" y="4057928"/>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4" name="Rectangle 63"/>
            <p:cNvSpPr/>
            <p:nvPr/>
          </p:nvSpPr>
          <p:spPr bwMode="gray">
            <a:xfrm>
              <a:off x="4306560" y="4057928"/>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5" name="Rectangle 64"/>
            <p:cNvSpPr/>
            <p:nvPr/>
          </p:nvSpPr>
          <p:spPr bwMode="gray">
            <a:xfrm>
              <a:off x="4383805" y="4057928"/>
              <a:ext cx="53363" cy="54315"/>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6" name="Rectangle 65"/>
            <p:cNvSpPr/>
            <p:nvPr/>
          </p:nvSpPr>
          <p:spPr bwMode="gray">
            <a:xfrm>
              <a:off x="4356113" y="4164302"/>
              <a:ext cx="77245" cy="54316"/>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7" name="Rectangle 66"/>
            <p:cNvSpPr/>
            <p:nvPr/>
          </p:nvSpPr>
          <p:spPr bwMode="gray">
            <a:xfrm>
              <a:off x="4235031" y="4164302"/>
              <a:ext cx="77245" cy="54316"/>
            </a:xfrm>
            <a:prstGeom prst="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8" name="Rounded Rectangle 67"/>
            <p:cNvSpPr>
              <a:spLocks/>
            </p:cNvSpPr>
            <p:nvPr/>
          </p:nvSpPr>
          <p:spPr bwMode="gray">
            <a:xfrm>
              <a:off x="4302750" y="3801296"/>
              <a:ext cx="18000" cy="7200"/>
            </a:xfrm>
            <a:prstGeom prst="roundRect">
              <a:avLst>
                <a:gd name="adj" fmla="val 29360"/>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9" name="Rounded Rectangle 68"/>
            <p:cNvSpPr>
              <a:spLocks/>
            </p:cNvSpPr>
            <p:nvPr/>
          </p:nvSpPr>
          <p:spPr bwMode="gray">
            <a:xfrm>
              <a:off x="4353281" y="3801296"/>
              <a:ext cx="18000" cy="7200"/>
            </a:xfrm>
            <a:prstGeom prst="roundRect">
              <a:avLst>
                <a:gd name="adj" fmla="val 29360"/>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0" name="Rounded Rectangle 69"/>
            <p:cNvSpPr>
              <a:spLocks/>
            </p:cNvSpPr>
            <p:nvPr/>
          </p:nvSpPr>
          <p:spPr bwMode="gray">
            <a:xfrm>
              <a:off x="4403812" y="3801296"/>
              <a:ext cx="18000" cy="7200"/>
            </a:xfrm>
            <a:prstGeom prst="roundRect">
              <a:avLst>
                <a:gd name="adj" fmla="val 29360"/>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71" name="Group 70"/>
          <p:cNvGrpSpPr/>
          <p:nvPr/>
        </p:nvGrpSpPr>
        <p:grpSpPr bwMode="gray">
          <a:xfrm>
            <a:off x="6307119" y="2177206"/>
            <a:ext cx="523096" cy="523097"/>
            <a:chOff x="1179628" y="-1706756"/>
            <a:chExt cx="465749" cy="465750"/>
          </a:xfrm>
        </p:grpSpPr>
        <p:grpSp>
          <p:nvGrpSpPr>
            <p:cNvPr id="72" name="Group 71"/>
            <p:cNvGrpSpPr/>
            <p:nvPr/>
          </p:nvGrpSpPr>
          <p:grpSpPr bwMode="gray">
            <a:xfrm>
              <a:off x="1179628" y="-1376691"/>
              <a:ext cx="135685" cy="135685"/>
              <a:chOff x="-4433548" y="0"/>
              <a:chExt cx="761570" cy="761570"/>
            </a:xfrm>
            <a:solidFill>
              <a:schemeClr val="bg1"/>
            </a:solidFill>
          </p:grpSpPr>
          <p:sp>
            <p:nvSpPr>
              <p:cNvPr id="83" name="Rectangle 82"/>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4" name="Rectangle 83"/>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73" name="Group 72"/>
            <p:cNvGrpSpPr/>
            <p:nvPr/>
          </p:nvGrpSpPr>
          <p:grpSpPr bwMode="gray">
            <a:xfrm>
              <a:off x="1179628" y="-1706756"/>
              <a:ext cx="135685" cy="135685"/>
              <a:chOff x="-4433548" y="0"/>
              <a:chExt cx="761570" cy="761570"/>
            </a:xfrm>
            <a:solidFill>
              <a:schemeClr val="bg1"/>
            </a:solidFill>
          </p:grpSpPr>
          <p:sp>
            <p:nvSpPr>
              <p:cNvPr id="81" name="Rectangle 80"/>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2" name="Rectangle 81"/>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74" name="Group 73"/>
            <p:cNvGrpSpPr/>
            <p:nvPr/>
          </p:nvGrpSpPr>
          <p:grpSpPr bwMode="gray">
            <a:xfrm>
              <a:off x="1509692" y="-1706756"/>
              <a:ext cx="135685" cy="135685"/>
              <a:chOff x="-4433548" y="0"/>
              <a:chExt cx="761570" cy="761570"/>
            </a:xfrm>
            <a:solidFill>
              <a:schemeClr val="bg1"/>
            </a:solidFill>
          </p:grpSpPr>
          <p:sp>
            <p:nvSpPr>
              <p:cNvPr id="79" name="Rectangle 78"/>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0" name="Rectangle 79"/>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sp>
          <p:nvSpPr>
            <p:cNvPr id="75" name="Rectangle 74"/>
            <p:cNvSpPr/>
            <p:nvPr/>
          </p:nvSpPr>
          <p:spPr bwMode="gray">
            <a:xfrm>
              <a:off x="1337475" y="-1548909"/>
              <a:ext cx="150055" cy="150056"/>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nvGrpSpPr>
            <p:cNvPr id="76" name="Group 75"/>
            <p:cNvGrpSpPr/>
            <p:nvPr/>
          </p:nvGrpSpPr>
          <p:grpSpPr bwMode="gray">
            <a:xfrm>
              <a:off x="1509692" y="-1376691"/>
              <a:ext cx="135685" cy="135685"/>
              <a:chOff x="-4433548" y="0"/>
              <a:chExt cx="761570" cy="761570"/>
            </a:xfrm>
            <a:solidFill>
              <a:schemeClr val="bg1"/>
            </a:solidFill>
          </p:grpSpPr>
          <p:sp>
            <p:nvSpPr>
              <p:cNvPr id="77" name="Rectangle 76"/>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78" name="Rectangle 77"/>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sp>
        <p:nvSpPr>
          <p:cNvPr id="31" name="Content Placeholder 6"/>
          <p:cNvSpPr txBox="1">
            <a:spLocks/>
          </p:cNvSpPr>
          <p:nvPr/>
        </p:nvSpPr>
        <p:spPr bwMode="gray">
          <a:xfrm>
            <a:off x="8358516" y="2683388"/>
            <a:ext cx="396000" cy="396000"/>
          </a:xfrm>
          <a:prstGeom prst="ellipse">
            <a:avLst/>
          </a:prstGeom>
          <a:solidFill>
            <a:schemeClr val="bg1"/>
          </a:solidFill>
          <a:ln w="57150">
            <a:solidFill>
              <a:schemeClr val="tx2"/>
            </a:solidFill>
          </a:ln>
        </p:spPr>
        <p:txBody>
          <a:bodyPr anchor="ctr" anchorCtr="0"/>
          <a:lstStyle>
            <a:lvl1pPr marL="0" indent="0" algn="ctr" defTabSz="914491" rtl="0" eaLnBrk="1" latinLnBrk="0" hangingPunct="1">
              <a:spcBef>
                <a:spcPts val="0"/>
              </a:spcBef>
              <a:buFont typeface="Arial" panose="020B0604020202020204" pitchFamily="34" charset="0"/>
              <a:buNone/>
              <a:defRPr sz="2000" b="1" kern="1200">
                <a:solidFill>
                  <a:schemeClr val="bg1"/>
                </a:solidFill>
                <a:latin typeface="ABBvoice" panose="020D0603020503020204" pitchFamily="34" charset="0"/>
                <a:ea typeface="ABBvoice" panose="020D0603020503020204" pitchFamily="34" charset="0"/>
                <a:cs typeface="ABBvoice" panose="020D0603020503020204" pitchFamily="34" charset="0"/>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dirty="0">
                <a:solidFill>
                  <a:schemeClr val="tx2"/>
                </a:solidFill>
              </a:rPr>
              <a:t>1</a:t>
            </a:r>
          </a:p>
        </p:txBody>
      </p:sp>
      <p:sp>
        <p:nvSpPr>
          <p:cNvPr id="32" name="Content Placeholder 6"/>
          <p:cNvSpPr txBox="1">
            <a:spLocks/>
          </p:cNvSpPr>
          <p:nvPr/>
        </p:nvSpPr>
        <p:spPr bwMode="gray">
          <a:xfrm>
            <a:off x="8358516" y="3481458"/>
            <a:ext cx="396000" cy="396000"/>
          </a:xfrm>
          <a:prstGeom prst="ellipse">
            <a:avLst/>
          </a:prstGeom>
          <a:solidFill>
            <a:schemeClr val="bg1"/>
          </a:solidFill>
          <a:ln w="57150">
            <a:solidFill>
              <a:schemeClr val="tx2"/>
            </a:solidFill>
          </a:ln>
        </p:spPr>
        <p:txBody>
          <a:bodyPr anchor="ctr" anchorCtr="0"/>
          <a:lstStyle>
            <a:lvl1pPr marL="0" indent="0" algn="ctr" defTabSz="914491" rtl="0" eaLnBrk="1" latinLnBrk="0" hangingPunct="1">
              <a:spcBef>
                <a:spcPts val="0"/>
              </a:spcBef>
              <a:buFont typeface="Arial" panose="020B0604020202020204" pitchFamily="34" charset="0"/>
              <a:buNone/>
              <a:defRPr sz="2000" b="1" kern="1200">
                <a:solidFill>
                  <a:schemeClr val="bg1"/>
                </a:solidFill>
                <a:latin typeface="ABBvoice" panose="020D0603020503020204" pitchFamily="34" charset="0"/>
                <a:ea typeface="ABBvoice" panose="020D0603020503020204" pitchFamily="34" charset="0"/>
                <a:cs typeface="ABBvoice" panose="020D0603020503020204" pitchFamily="34" charset="0"/>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dirty="0">
                <a:solidFill>
                  <a:schemeClr val="tx2"/>
                </a:solidFill>
              </a:rPr>
              <a:t>2</a:t>
            </a:r>
          </a:p>
        </p:txBody>
      </p:sp>
      <p:sp>
        <p:nvSpPr>
          <p:cNvPr id="33" name="Content Placeholder 6"/>
          <p:cNvSpPr txBox="1">
            <a:spLocks/>
          </p:cNvSpPr>
          <p:nvPr/>
        </p:nvSpPr>
        <p:spPr bwMode="gray">
          <a:xfrm>
            <a:off x="8358516" y="4279529"/>
            <a:ext cx="396000" cy="396000"/>
          </a:xfrm>
          <a:prstGeom prst="ellipse">
            <a:avLst/>
          </a:prstGeom>
          <a:solidFill>
            <a:schemeClr val="bg1"/>
          </a:solidFill>
          <a:ln w="57150">
            <a:solidFill>
              <a:schemeClr val="tx2"/>
            </a:solidFill>
          </a:ln>
        </p:spPr>
        <p:txBody>
          <a:bodyPr anchor="ctr" anchorCtr="0"/>
          <a:lstStyle>
            <a:lvl1pPr marL="0" indent="0" algn="ctr" defTabSz="914491" rtl="0" eaLnBrk="1" latinLnBrk="0" hangingPunct="1">
              <a:spcBef>
                <a:spcPts val="0"/>
              </a:spcBef>
              <a:buFont typeface="Arial" panose="020B0604020202020204" pitchFamily="34" charset="0"/>
              <a:buNone/>
              <a:defRPr sz="2000" b="1" kern="1200">
                <a:solidFill>
                  <a:schemeClr val="bg1"/>
                </a:solidFill>
                <a:latin typeface="ABBvoice" panose="020D0603020503020204" pitchFamily="34" charset="0"/>
                <a:ea typeface="ABBvoice" panose="020D0603020503020204" pitchFamily="34" charset="0"/>
                <a:cs typeface="ABBvoice" panose="020D0603020503020204" pitchFamily="34" charset="0"/>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dirty="0">
                <a:solidFill>
                  <a:schemeClr val="tx2"/>
                </a:solidFill>
              </a:rPr>
              <a:t>3</a:t>
            </a:r>
          </a:p>
        </p:txBody>
      </p:sp>
      <p:grpSp>
        <p:nvGrpSpPr>
          <p:cNvPr id="164" name="Group 163"/>
          <p:cNvGrpSpPr/>
          <p:nvPr/>
        </p:nvGrpSpPr>
        <p:grpSpPr bwMode="gray">
          <a:xfrm>
            <a:off x="11279288" y="4279529"/>
            <a:ext cx="396000" cy="396000"/>
            <a:chOff x="8918633" y="2472932"/>
            <a:chExt cx="712598" cy="712596"/>
          </a:xfrm>
        </p:grpSpPr>
        <p:grpSp>
          <p:nvGrpSpPr>
            <p:cNvPr id="165" name="Group 164"/>
            <p:cNvGrpSpPr/>
            <p:nvPr/>
          </p:nvGrpSpPr>
          <p:grpSpPr bwMode="gray">
            <a:xfrm>
              <a:off x="8918633" y="2472932"/>
              <a:ext cx="712598" cy="712596"/>
              <a:chOff x="-925025" y="-931748"/>
              <a:chExt cx="1494002" cy="1494001"/>
            </a:xfrm>
          </p:grpSpPr>
          <p:sp>
            <p:nvSpPr>
              <p:cNvPr id="167" name="Arc 166"/>
              <p:cNvSpPr>
                <a:spLocks noChangeAspect="1"/>
              </p:cNvSpPr>
              <p:nvPr/>
            </p:nvSpPr>
            <p:spPr bwMode="gray">
              <a:xfrm>
                <a:off x="-925023" y="-931748"/>
                <a:ext cx="1494000" cy="1494001"/>
              </a:xfrm>
              <a:prstGeom prst="arc">
                <a:avLst>
                  <a:gd name="adj1" fmla="val 11053418"/>
                  <a:gd name="adj2" fmla="val 411669"/>
                </a:avLst>
              </a:prstGeom>
              <a:grpFill/>
              <a:ln w="19050">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168" name="Arc 167"/>
              <p:cNvSpPr>
                <a:spLocks noChangeAspect="1"/>
              </p:cNvSpPr>
              <p:nvPr/>
            </p:nvSpPr>
            <p:spPr bwMode="gray">
              <a:xfrm rot="10800000">
                <a:off x="-925025" y="-931748"/>
                <a:ext cx="1494000" cy="1494001"/>
              </a:xfrm>
              <a:prstGeom prst="arc">
                <a:avLst>
                  <a:gd name="adj1" fmla="val 11186715"/>
                  <a:gd name="adj2" fmla="val 328021"/>
                </a:avLst>
              </a:prstGeom>
              <a:grpFill/>
              <a:ln w="19050">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grpSp>
        <p:sp>
          <p:nvSpPr>
            <p:cNvPr id="166" name="Oval 211"/>
            <p:cNvSpPr/>
            <p:nvPr/>
          </p:nvSpPr>
          <p:spPr bwMode="gray">
            <a:xfrm>
              <a:off x="9063014" y="2600909"/>
              <a:ext cx="428916" cy="456642"/>
            </a:xfrm>
            <a:custGeom>
              <a:avLst/>
              <a:gdLst/>
              <a:ahLst/>
              <a:cxnLst/>
              <a:rect l="l" t="t" r="r" b="b"/>
              <a:pathLst>
                <a:path w="335249" h="356920">
                  <a:moveTo>
                    <a:pt x="167625" y="108744"/>
                  </a:moveTo>
                  <a:cubicBezTo>
                    <a:pt x="129121" y="108744"/>
                    <a:pt x="97908" y="139957"/>
                    <a:pt x="97908" y="178461"/>
                  </a:cubicBezTo>
                  <a:cubicBezTo>
                    <a:pt x="97908" y="216965"/>
                    <a:pt x="129121" y="248178"/>
                    <a:pt x="167625" y="248178"/>
                  </a:cubicBezTo>
                  <a:cubicBezTo>
                    <a:pt x="206129" y="248178"/>
                    <a:pt x="237342" y="216965"/>
                    <a:pt x="237342" y="178461"/>
                  </a:cubicBezTo>
                  <a:cubicBezTo>
                    <a:pt x="237342" y="139957"/>
                    <a:pt x="206129" y="108744"/>
                    <a:pt x="167625" y="108744"/>
                  </a:cubicBezTo>
                  <a:close/>
                  <a:moveTo>
                    <a:pt x="141477" y="0"/>
                  </a:moveTo>
                  <a:lnTo>
                    <a:pt x="193771" y="0"/>
                  </a:lnTo>
                  <a:lnTo>
                    <a:pt x="203939" y="10168"/>
                  </a:lnTo>
                  <a:lnTo>
                    <a:pt x="203939" y="51960"/>
                  </a:lnTo>
                  <a:lnTo>
                    <a:pt x="202807" y="51960"/>
                  </a:lnTo>
                  <a:cubicBezTo>
                    <a:pt x="224922" y="57157"/>
                    <a:pt x="244686" y="68117"/>
                    <a:pt x="259405" y="84429"/>
                  </a:cubicBezTo>
                  <a:lnTo>
                    <a:pt x="259019" y="83760"/>
                  </a:lnTo>
                  <a:lnTo>
                    <a:pt x="295212" y="62864"/>
                  </a:lnTo>
                  <a:lnTo>
                    <a:pt x="309102" y="66586"/>
                  </a:lnTo>
                  <a:lnTo>
                    <a:pt x="335249" y="111874"/>
                  </a:lnTo>
                  <a:lnTo>
                    <a:pt x="331527" y="125764"/>
                  </a:lnTo>
                  <a:lnTo>
                    <a:pt x="295833" y="146372"/>
                  </a:lnTo>
                  <a:cubicBezTo>
                    <a:pt x="299850" y="156394"/>
                    <a:pt x="301227" y="167266"/>
                    <a:pt x="301227" y="178460"/>
                  </a:cubicBezTo>
                  <a:lnTo>
                    <a:pt x="295833" y="210548"/>
                  </a:lnTo>
                  <a:lnTo>
                    <a:pt x="331527" y="231156"/>
                  </a:lnTo>
                  <a:lnTo>
                    <a:pt x="335249" y="245046"/>
                  </a:lnTo>
                  <a:lnTo>
                    <a:pt x="309102" y="290334"/>
                  </a:lnTo>
                  <a:lnTo>
                    <a:pt x="295212" y="294056"/>
                  </a:lnTo>
                  <a:lnTo>
                    <a:pt x="259019" y="273160"/>
                  </a:lnTo>
                  <a:lnTo>
                    <a:pt x="259405" y="272492"/>
                  </a:lnTo>
                  <a:cubicBezTo>
                    <a:pt x="244687" y="288802"/>
                    <a:pt x="224924" y="299761"/>
                    <a:pt x="202811" y="304959"/>
                  </a:cubicBezTo>
                  <a:lnTo>
                    <a:pt x="203939" y="304959"/>
                  </a:lnTo>
                  <a:lnTo>
                    <a:pt x="203939" y="346751"/>
                  </a:lnTo>
                  <a:lnTo>
                    <a:pt x="193771" y="356920"/>
                  </a:lnTo>
                  <a:lnTo>
                    <a:pt x="141477" y="356920"/>
                  </a:lnTo>
                  <a:lnTo>
                    <a:pt x="131309" y="346751"/>
                  </a:lnTo>
                  <a:lnTo>
                    <a:pt x="131309" y="304959"/>
                  </a:lnTo>
                  <a:lnTo>
                    <a:pt x="132437" y="304959"/>
                  </a:lnTo>
                  <a:cubicBezTo>
                    <a:pt x="110326" y="299762"/>
                    <a:pt x="90565" y="288804"/>
                    <a:pt x="75848" y="272496"/>
                  </a:cubicBezTo>
                  <a:lnTo>
                    <a:pt x="76231" y="273159"/>
                  </a:lnTo>
                  <a:lnTo>
                    <a:pt x="40038" y="294055"/>
                  </a:lnTo>
                  <a:lnTo>
                    <a:pt x="26147" y="290334"/>
                  </a:lnTo>
                  <a:lnTo>
                    <a:pt x="0" y="245046"/>
                  </a:lnTo>
                  <a:lnTo>
                    <a:pt x="3723" y="231156"/>
                  </a:lnTo>
                  <a:lnTo>
                    <a:pt x="39415" y="210549"/>
                  </a:lnTo>
                  <a:cubicBezTo>
                    <a:pt x="35398" y="200527"/>
                    <a:pt x="34021" y="189654"/>
                    <a:pt x="34021" y="178460"/>
                  </a:cubicBezTo>
                  <a:lnTo>
                    <a:pt x="39415" y="146371"/>
                  </a:lnTo>
                  <a:lnTo>
                    <a:pt x="3723" y="125764"/>
                  </a:lnTo>
                  <a:lnTo>
                    <a:pt x="0" y="111874"/>
                  </a:lnTo>
                  <a:lnTo>
                    <a:pt x="26147" y="66586"/>
                  </a:lnTo>
                  <a:lnTo>
                    <a:pt x="40038" y="62865"/>
                  </a:lnTo>
                  <a:lnTo>
                    <a:pt x="76231" y="83761"/>
                  </a:lnTo>
                  <a:lnTo>
                    <a:pt x="75848" y="84425"/>
                  </a:lnTo>
                  <a:cubicBezTo>
                    <a:pt x="90566" y="68115"/>
                    <a:pt x="110329" y="57157"/>
                    <a:pt x="132441" y="51960"/>
                  </a:cubicBezTo>
                  <a:lnTo>
                    <a:pt x="131309" y="51960"/>
                  </a:lnTo>
                  <a:lnTo>
                    <a:pt x="131309" y="10168"/>
                  </a:lnTo>
                  <a:close/>
                </a:path>
              </a:pathLst>
            </a:cu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169" name="Group 168"/>
          <p:cNvGrpSpPr>
            <a:grpSpLocks/>
          </p:cNvGrpSpPr>
          <p:nvPr/>
        </p:nvGrpSpPr>
        <p:grpSpPr bwMode="gray">
          <a:xfrm>
            <a:off x="11279288" y="3481458"/>
            <a:ext cx="396000" cy="396000"/>
            <a:chOff x="6911723" y="-1444875"/>
            <a:chExt cx="690224" cy="695825"/>
          </a:xfrm>
        </p:grpSpPr>
        <p:sp>
          <p:nvSpPr>
            <p:cNvPr id="170" name="Snip Single Corner Rectangle 6"/>
            <p:cNvSpPr/>
            <p:nvPr/>
          </p:nvSpPr>
          <p:spPr bwMode="gray">
            <a:xfrm rot="5400000">
              <a:off x="6842338" y="-1112033"/>
              <a:ext cx="226800" cy="88029"/>
            </a:xfrm>
            <a:custGeom>
              <a:avLst/>
              <a:gdLst>
                <a:gd name="connsiteX0" fmla="*/ 0 w 226800"/>
                <a:gd name="connsiteY0" fmla="*/ 57188 h 88029"/>
                <a:gd name="connsiteX1" fmla="*/ 0 w 226800"/>
                <a:gd name="connsiteY1" fmla="*/ 45719 h 88029"/>
                <a:gd name="connsiteX2" fmla="*/ 0 w 226800"/>
                <a:gd name="connsiteY2" fmla="*/ 0 h 88029"/>
                <a:gd name="connsiteX3" fmla="*/ 30841 w 226800"/>
                <a:gd name="connsiteY3" fmla="*/ 0 h 88029"/>
                <a:gd name="connsiteX4" fmla="*/ 195959 w 226800"/>
                <a:gd name="connsiteY4" fmla="*/ 0 h 88029"/>
                <a:gd name="connsiteX5" fmla="*/ 212517 w 226800"/>
                <a:gd name="connsiteY5" fmla="*/ 0 h 88029"/>
                <a:gd name="connsiteX6" fmla="*/ 226800 w 226800"/>
                <a:gd name="connsiteY6" fmla="*/ 14283 h 88029"/>
                <a:gd name="connsiteX7" fmla="*/ 226800 w 226800"/>
                <a:gd name="connsiteY7" fmla="*/ 30841 h 88029"/>
                <a:gd name="connsiteX8" fmla="*/ 226800 w 226800"/>
                <a:gd name="connsiteY8" fmla="*/ 45719 h 88029"/>
                <a:gd name="connsiteX9" fmla="*/ 226800 w 226800"/>
                <a:gd name="connsiteY9" fmla="*/ 57188 h 88029"/>
                <a:gd name="connsiteX10" fmla="*/ 195959 w 226800"/>
                <a:gd name="connsiteY10" fmla="*/ 88029 h 88029"/>
                <a:gd name="connsiteX11" fmla="*/ 30841 w 226800"/>
                <a:gd name="connsiteY11" fmla="*/ 88029 h 88029"/>
                <a:gd name="connsiteX12" fmla="*/ 0 w 226800"/>
                <a:gd name="connsiteY12"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30841 h 88029"/>
                <a:gd name="connsiteX7" fmla="*/ 226800 w 226800"/>
                <a:gd name="connsiteY7" fmla="*/ 45719 h 88029"/>
                <a:gd name="connsiteX8" fmla="*/ 226800 w 226800"/>
                <a:gd name="connsiteY8" fmla="*/ 57188 h 88029"/>
                <a:gd name="connsiteX9" fmla="*/ 195959 w 226800"/>
                <a:gd name="connsiteY9" fmla="*/ 88029 h 88029"/>
                <a:gd name="connsiteX10" fmla="*/ 30841 w 226800"/>
                <a:gd name="connsiteY10" fmla="*/ 88029 h 88029"/>
                <a:gd name="connsiteX11" fmla="*/ 0 w 226800"/>
                <a:gd name="connsiteY11"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30841 h 88029"/>
                <a:gd name="connsiteX7" fmla="*/ 226800 w 226800"/>
                <a:gd name="connsiteY7" fmla="*/ 57188 h 88029"/>
                <a:gd name="connsiteX8" fmla="*/ 195959 w 226800"/>
                <a:gd name="connsiteY8" fmla="*/ 88029 h 88029"/>
                <a:gd name="connsiteX9" fmla="*/ 30841 w 226800"/>
                <a:gd name="connsiteY9" fmla="*/ 88029 h 88029"/>
                <a:gd name="connsiteX10" fmla="*/ 0 w 226800"/>
                <a:gd name="connsiteY10"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57188 h 88029"/>
                <a:gd name="connsiteX7" fmla="*/ 195959 w 226800"/>
                <a:gd name="connsiteY7" fmla="*/ 88029 h 88029"/>
                <a:gd name="connsiteX8" fmla="*/ 30841 w 226800"/>
                <a:gd name="connsiteY8" fmla="*/ 88029 h 88029"/>
                <a:gd name="connsiteX9" fmla="*/ 0 w 226800"/>
                <a:gd name="connsiteY9" fmla="*/ 57188 h 88029"/>
                <a:gd name="connsiteX0" fmla="*/ 0 w 226800"/>
                <a:gd name="connsiteY0" fmla="*/ 57188 h 88029"/>
                <a:gd name="connsiteX1" fmla="*/ 0 w 226800"/>
                <a:gd name="connsiteY1" fmla="*/ 0 h 88029"/>
                <a:gd name="connsiteX2" fmla="*/ 30841 w 226800"/>
                <a:gd name="connsiteY2" fmla="*/ 0 h 88029"/>
                <a:gd name="connsiteX3" fmla="*/ 212517 w 226800"/>
                <a:gd name="connsiteY3" fmla="*/ 0 h 88029"/>
                <a:gd name="connsiteX4" fmla="*/ 226800 w 226800"/>
                <a:gd name="connsiteY4" fmla="*/ 14283 h 88029"/>
                <a:gd name="connsiteX5" fmla="*/ 226800 w 226800"/>
                <a:gd name="connsiteY5" fmla="*/ 57188 h 88029"/>
                <a:gd name="connsiteX6" fmla="*/ 195959 w 226800"/>
                <a:gd name="connsiteY6" fmla="*/ 88029 h 88029"/>
                <a:gd name="connsiteX7" fmla="*/ 30841 w 226800"/>
                <a:gd name="connsiteY7" fmla="*/ 88029 h 88029"/>
                <a:gd name="connsiteX8" fmla="*/ 0 w 226800"/>
                <a:gd name="connsiteY8" fmla="*/ 57188 h 88029"/>
                <a:gd name="connsiteX0" fmla="*/ 0 w 226800"/>
                <a:gd name="connsiteY0" fmla="*/ 57188 h 88029"/>
                <a:gd name="connsiteX1" fmla="*/ 0 w 226800"/>
                <a:gd name="connsiteY1" fmla="*/ 0 h 88029"/>
                <a:gd name="connsiteX2" fmla="*/ 212517 w 226800"/>
                <a:gd name="connsiteY2" fmla="*/ 0 h 88029"/>
                <a:gd name="connsiteX3" fmla="*/ 226800 w 226800"/>
                <a:gd name="connsiteY3" fmla="*/ 14283 h 88029"/>
                <a:gd name="connsiteX4" fmla="*/ 226800 w 226800"/>
                <a:gd name="connsiteY4" fmla="*/ 57188 h 88029"/>
                <a:gd name="connsiteX5" fmla="*/ 195959 w 226800"/>
                <a:gd name="connsiteY5" fmla="*/ 88029 h 88029"/>
                <a:gd name="connsiteX6" fmla="*/ 30841 w 226800"/>
                <a:gd name="connsiteY6" fmla="*/ 88029 h 88029"/>
                <a:gd name="connsiteX7" fmla="*/ 0 w 226800"/>
                <a:gd name="connsiteY7" fmla="*/ 57188 h 8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800" h="88029">
                  <a:moveTo>
                    <a:pt x="0" y="57188"/>
                  </a:moveTo>
                  <a:lnTo>
                    <a:pt x="0" y="0"/>
                  </a:lnTo>
                  <a:lnTo>
                    <a:pt x="212517" y="0"/>
                  </a:lnTo>
                  <a:lnTo>
                    <a:pt x="226800" y="14283"/>
                  </a:lnTo>
                  <a:lnTo>
                    <a:pt x="226800" y="57188"/>
                  </a:lnTo>
                  <a:cubicBezTo>
                    <a:pt x="226800" y="74221"/>
                    <a:pt x="212992" y="88029"/>
                    <a:pt x="195959" y="88029"/>
                  </a:cubicBezTo>
                  <a:lnTo>
                    <a:pt x="30841" y="88029"/>
                  </a:lnTo>
                  <a:cubicBezTo>
                    <a:pt x="13808" y="88029"/>
                    <a:pt x="0" y="74221"/>
                    <a:pt x="0" y="57188"/>
                  </a:cubicBezTo>
                  <a:close/>
                </a:path>
              </a:pathLst>
            </a:custGeom>
            <a:noFill/>
            <a:ln w="19050" cap="sq">
              <a:solidFill>
                <a:schemeClr val="bg1"/>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sp>
          <p:nvSpPr>
            <p:cNvPr id="171" name="Snip Single Corner Rectangle 6"/>
            <p:cNvSpPr/>
            <p:nvPr/>
          </p:nvSpPr>
          <p:spPr bwMode="gray">
            <a:xfrm rot="16200000" flipH="1">
              <a:off x="7444533" y="-1112033"/>
              <a:ext cx="226800" cy="88029"/>
            </a:xfrm>
            <a:custGeom>
              <a:avLst/>
              <a:gdLst>
                <a:gd name="connsiteX0" fmla="*/ 0 w 226800"/>
                <a:gd name="connsiteY0" fmla="*/ 57188 h 88029"/>
                <a:gd name="connsiteX1" fmla="*/ 0 w 226800"/>
                <a:gd name="connsiteY1" fmla="*/ 45719 h 88029"/>
                <a:gd name="connsiteX2" fmla="*/ 0 w 226800"/>
                <a:gd name="connsiteY2" fmla="*/ 0 h 88029"/>
                <a:gd name="connsiteX3" fmla="*/ 30841 w 226800"/>
                <a:gd name="connsiteY3" fmla="*/ 0 h 88029"/>
                <a:gd name="connsiteX4" fmla="*/ 195959 w 226800"/>
                <a:gd name="connsiteY4" fmla="*/ 0 h 88029"/>
                <a:gd name="connsiteX5" fmla="*/ 212517 w 226800"/>
                <a:gd name="connsiteY5" fmla="*/ 0 h 88029"/>
                <a:gd name="connsiteX6" fmla="*/ 226800 w 226800"/>
                <a:gd name="connsiteY6" fmla="*/ 14283 h 88029"/>
                <a:gd name="connsiteX7" fmla="*/ 226800 w 226800"/>
                <a:gd name="connsiteY7" fmla="*/ 30841 h 88029"/>
                <a:gd name="connsiteX8" fmla="*/ 226800 w 226800"/>
                <a:gd name="connsiteY8" fmla="*/ 45719 h 88029"/>
                <a:gd name="connsiteX9" fmla="*/ 226800 w 226800"/>
                <a:gd name="connsiteY9" fmla="*/ 57188 h 88029"/>
                <a:gd name="connsiteX10" fmla="*/ 195959 w 226800"/>
                <a:gd name="connsiteY10" fmla="*/ 88029 h 88029"/>
                <a:gd name="connsiteX11" fmla="*/ 30841 w 226800"/>
                <a:gd name="connsiteY11" fmla="*/ 88029 h 88029"/>
                <a:gd name="connsiteX12" fmla="*/ 0 w 226800"/>
                <a:gd name="connsiteY12"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30841 h 88029"/>
                <a:gd name="connsiteX7" fmla="*/ 226800 w 226800"/>
                <a:gd name="connsiteY7" fmla="*/ 45719 h 88029"/>
                <a:gd name="connsiteX8" fmla="*/ 226800 w 226800"/>
                <a:gd name="connsiteY8" fmla="*/ 57188 h 88029"/>
                <a:gd name="connsiteX9" fmla="*/ 195959 w 226800"/>
                <a:gd name="connsiteY9" fmla="*/ 88029 h 88029"/>
                <a:gd name="connsiteX10" fmla="*/ 30841 w 226800"/>
                <a:gd name="connsiteY10" fmla="*/ 88029 h 88029"/>
                <a:gd name="connsiteX11" fmla="*/ 0 w 226800"/>
                <a:gd name="connsiteY11"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30841 h 88029"/>
                <a:gd name="connsiteX7" fmla="*/ 226800 w 226800"/>
                <a:gd name="connsiteY7" fmla="*/ 57188 h 88029"/>
                <a:gd name="connsiteX8" fmla="*/ 195959 w 226800"/>
                <a:gd name="connsiteY8" fmla="*/ 88029 h 88029"/>
                <a:gd name="connsiteX9" fmla="*/ 30841 w 226800"/>
                <a:gd name="connsiteY9" fmla="*/ 88029 h 88029"/>
                <a:gd name="connsiteX10" fmla="*/ 0 w 226800"/>
                <a:gd name="connsiteY10"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57188 h 88029"/>
                <a:gd name="connsiteX7" fmla="*/ 195959 w 226800"/>
                <a:gd name="connsiteY7" fmla="*/ 88029 h 88029"/>
                <a:gd name="connsiteX8" fmla="*/ 30841 w 226800"/>
                <a:gd name="connsiteY8" fmla="*/ 88029 h 88029"/>
                <a:gd name="connsiteX9" fmla="*/ 0 w 226800"/>
                <a:gd name="connsiteY9" fmla="*/ 57188 h 88029"/>
                <a:gd name="connsiteX0" fmla="*/ 0 w 226800"/>
                <a:gd name="connsiteY0" fmla="*/ 57188 h 88029"/>
                <a:gd name="connsiteX1" fmla="*/ 0 w 226800"/>
                <a:gd name="connsiteY1" fmla="*/ 0 h 88029"/>
                <a:gd name="connsiteX2" fmla="*/ 30841 w 226800"/>
                <a:gd name="connsiteY2" fmla="*/ 0 h 88029"/>
                <a:gd name="connsiteX3" fmla="*/ 212517 w 226800"/>
                <a:gd name="connsiteY3" fmla="*/ 0 h 88029"/>
                <a:gd name="connsiteX4" fmla="*/ 226800 w 226800"/>
                <a:gd name="connsiteY4" fmla="*/ 14283 h 88029"/>
                <a:gd name="connsiteX5" fmla="*/ 226800 w 226800"/>
                <a:gd name="connsiteY5" fmla="*/ 57188 h 88029"/>
                <a:gd name="connsiteX6" fmla="*/ 195959 w 226800"/>
                <a:gd name="connsiteY6" fmla="*/ 88029 h 88029"/>
                <a:gd name="connsiteX7" fmla="*/ 30841 w 226800"/>
                <a:gd name="connsiteY7" fmla="*/ 88029 h 88029"/>
                <a:gd name="connsiteX8" fmla="*/ 0 w 226800"/>
                <a:gd name="connsiteY8" fmla="*/ 57188 h 88029"/>
                <a:gd name="connsiteX0" fmla="*/ 0 w 226800"/>
                <a:gd name="connsiteY0" fmla="*/ 57188 h 88029"/>
                <a:gd name="connsiteX1" fmla="*/ 0 w 226800"/>
                <a:gd name="connsiteY1" fmla="*/ 0 h 88029"/>
                <a:gd name="connsiteX2" fmla="*/ 212517 w 226800"/>
                <a:gd name="connsiteY2" fmla="*/ 0 h 88029"/>
                <a:gd name="connsiteX3" fmla="*/ 226800 w 226800"/>
                <a:gd name="connsiteY3" fmla="*/ 14283 h 88029"/>
                <a:gd name="connsiteX4" fmla="*/ 226800 w 226800"/>
                <a:gd name="connsiteY4" fmla="*/ 57188 h 88029"/>
                <a:gd name="connsiteX5" fmla="*/ 195959 w 226800"/>
                <a:gd name="connsiteY5" fmla="*/ 88029 h 88029"/>
                <a:gd name="connsiteX6" fmla="*/ 30841 w 226800"/>
                <a:gd name="connsiteY6" fmla="*/ 88029 h 88029"/>
                <a:gd name="connsiteX7" fmla="*/ 0 w 226800"/>
                <a:gd name="connsiteY7" fmla="*/ 57188 h 8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800" h="88029">
                  <a:moveTo>
                    <a:pt x="0" y="57188"/>
                  </a:moveTo>
                  <a:lnTo>
                    <a:pt x="0" y="0"/>
                  </a:lnTo>
                  <a:lnTo>
                    <a:pt x="212517" y="0"/>
                  </a:lnTo>
                  <a:lnTo>
                    <a:pt x="226800" y="14283"/>
                  </a:lnTo>
                  <a:lnTo>
                    <a:pt x="226800" y="57188"/>
                  </a:lnTo>
                  <a:cubicBezTo>
                    <a:pt x="226800" y="74221"/>
                    <a:pt x="212992" y="88029"/>
                    <a:pt x="195959" y="88029"/>
                  </a:cubicBezTo>
                  <a:lnTo>
                    <a:pt x="30841" y="88029"/>
                  </a:lnTo>
                  <a:cubicBezTo>
                    <a:pt x="13808" y="88029"/>
                    <a:pt x="0" y="74221"/>
                    <a:pt x="0" y="57188"/>
                  </a:cubicBezTo>
                  <a:close/>
                </a:path>
              </a:pathLst>
            </a:custGeom>
            <a:noFill/>
            <a:ln w="19050" cap="sq">
              <a:solidFill>
                <a:schemeClr val="bg1"/>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sp>
          <p:nvSpPr>
            <p:cNvPr id="172" name="Oval 7"/>
            <p:cNvSpPr/>
            <p:nvPr/>
          </p:nvSpPr>
          <p:spPr bwMode="gray">
            <a:xfrm>
              <a:off x="6999910" y="-1444875"/>
              <a:ext cx="514674" cy="257337"/>
            </a:xfrm>
            <a:custGeom>
              <a:avLst/>
              <a:gdLst>
                <a:gd name="connsiteX0" fmla="*/ 0 w 514673"/>
                <a:gd name="connsiteY0" fmla="*/ 257337 h 514673"/>
                <a:gd name="connsiteX1" fmla="*/ 257337 w 514673"/>
                <a:gd name="connsiteY1" fmla="*/ 0 h 514673"/>
                <a:gd name="connsiteX2" fmla="*/ 514674 w 514673"/>
                <a:gd name="connsiteY2" fmla="*/ 257337 h 514673"/>
                <a:gd name="connsiteX3" fmla="*/ 257337 w 514673"/>
                <a:gd name="connsiteY3" fmla="*/ 514674 h 514673"/>
                <a:gd name="connsiteX4" fmla="*/ 0 w 514673"/>
                <a:gd name="connsiteY4" fmla="*/ 257337 h 514673"/>
                <a:gd name="connsiteX0" fmla="*/ 0 w 514674"/>
                <a:gd name="connsiteY0" fmla="*/ 257337 h 514674"/>
                <a:gd name="connsiteX1" fmla="*/ 257337 w 514674"/>
                <a:gd name="connsiteY1" fmla="*/ 0 h 514674"/>
                <a:gd name="connsiteX2" fmla="*/ 514674 w 514674"/>
                <a:gd name="connsiteY2" fmla="*/ 257337 h 514674"/>
                <a:gd name="connsiteX3" fmla="*/ 257337 w 514674"/>
                <a:gd name="connsiteY3" fmla="*/ 514674 h 514674"/>
                <a:gd name="connsiteX4" fmla="*/ 0 w 514674"/>
                <a:gd name="connsiteY4" fmla="*/ 257337 h 514674"/>
                <a:gd name="connsiteX0" fmla="*/ 0 w 514674"/>
                <a:gd name="connsiteY0" fmla="*/ 257337 h 514674"/>
                <a:gd name="connsiteX1" fmla="*/ 257337 w 514674"/>
                <a:gd name="connsiteY1" fmla="*/ 0 h 514674"/>
                <a:gd name="connsiteX2" fmla="*/ 514674 w 514674"/>
                <a:gd name="connsiteY2" fmla="*/ 257337 h 514674"/>
                <a:gd name="connsiteX3" fmla="*/ 257337 w 514674"/>
                <a:gd name="connsiteY3" fmla="*/ 514674 h 514674"/>
                <a:gd name="connsiteX4" fmla="*/ 0 w 514674"/>
                <a:gd name="connsiteY4" fmla="*/ 257337 h 514674"/>
                <a:gd name="connsiteX0" fmla="*/ 0 w 514674"/>
                <a:gd name="connsiteY0" fmla="*/ 257337 h 514674"/>
                <a:gd name="connsiteX1" fmla="*/ 257337 w 514674"/>
                <a:gd name="connsiteY1" fmla="*/ 0 h 514674"/>
                <a:gd name="connsiteX2" fmla="*/ 514674 w 514674"/>
                <a:gd name="connsiteY2" fmla="*/ 257337 h 514674"/>
                <a:gd name="connsiteX3" fmla="*/ 257337 w 514674"/>
                <a:gd name="connsiteY3" fmla="*/ 514674 h 514674"/>
                <a:gd name="connsiteX4" fmla="*/ 0 w 514674"/>
                <a:gd name="connsiteY4" fmla="*/ 257337 h 514674"/>
                <a:gd name="connsiteX0" fmla="*/ 0 w 514674"/>
                <a:gd name="connsiteY0" fmla="*/ 257337 h 514674"/>
                <a:gd name="connsiteX1" fmla="*/ 257337 w 514674"/>
                <a:gd name="connsiteY1" fmla="*/ 0 h 514674"/>
                <a:gd name="connsiteX2" fmla="*/ 514674 w 514674"/>
                <a:gd name="connsiteY2" fmla="*/ 257337 h 514674"/>
                <a:gd name="connsiteX3" fmla="*/ 257337 w 514674"/>
                <a:gd name="connsiteY3" fmla="*/ 514674 h 514674"/>
                <a:gd name="connsiteX4" fmla="*/ 0 w 514674"/>
                <a:gd name="connsiteY4" fmla="*/ 257337 h 514674"/>
                <a:gd name="connsiteX0" fmla="*/ 257337 w 514674"/>
                <a:gd name="connsiteY0" fmla="*/ 514674 h 606114"/>
                <a:gd name="connsiteX1" fmla="*/ 0 w 514674"/>
                <a:gd name="connsiteY1" fmla="*/ 257337 h 606114"/>
                <a:gd name="connsiteX2" fmla="*/ 257337 w 514674"/>
                <a:gd name="connsiteY2" fmla="*/ 0 h 606114"/>
                <a:gd name="connsiteX3" fmla="*/ 514674 w 514674"/>
                <a:gd name="connsiteY3" fmla="*/ 257337 h 606114"/>
                <a:gd name="connsiteX4" fmla="*/ 348777 w 514674"/>
                <a:gd name="connsiteY4" fmla="*/ 606114 h 606114"/>
                <a:gd name="connsiteX0" fmla="*/ 257337 w 514674"/>
                <a:gd name="connsiteY0" fmla="*/ 514674 h 514674"/>
                <a:gd name="connsiteX1" fmla="*/ 0 w 514674"/>
                <a:gd name="connsiteY1" fmla="*/ 257337 h 514674"/>
                <a:gd name="connsiteX2" fmla="*/ 257337 w 514674"/>
                <a:gd name="connsiteY2" fmla="*/ 0 h 514674"/>
                <a:gd name="connsiteX3" fmla="*/ 514674 w 514674"/>
                <a:gd name="connsiteY3" fmla="*/ 257337 h 514674"/>
                <a:gd name="connsiteX0" fmla="*/ 0 w 514674"/>
                <a:gd name="connsiteY0" fmla="*/ 257337 h 257337"/>
                <a:gd name="connsiteX1" fmla="*/ 257337 w 514674"/>
                <a:gd name="connsiteY1" fmla="*/ 0 h 257337"/>
                <a:gd name="connsiteX2" fmla="*/ 514674 w 514674"/>
                <a:gd name="connsiteY2" fmla="*/ 257337 h 257337"/>
              </a:gdLst>
              <a:ahLst/>
              <a:cxnLst>
                <a:cxn ang="0">
                  <a:pos x="connsiteX0" y="connsiteY0"/>
                </a:cxn>
                <a:cxn ang="0">
                  <a:pos x="connsiteX1" y="connsiteY1"/>
                </a:cxn>
                <a:cxn ang="0">
                  <a:pos x="connsiteX2" y="connsiteY2"/>
                </a:cxn>
              </a:cxnLst>
              <a:rect l="l" t="t" r="r" b="b"/>
              <a:pathLst>
                <a:path w="514674" h="257337">
                  <a:moveTo>
                    <a:pt x="0" y="257337"/>
                  </a:moveTo>
                  <a:cubicBezTo>
                    <a:pt x="0" y="115214"/>
                    <a:pt x="115214" y="0"/>
                    <a:pt x="257337" y="0"/>
                  </a:cubicBezTo>
                  <a:cubicBezTo>
                    <a:pt x="399460" y="0"/>
                    <a:pt x="514674" y="115214"/>
                    <a:pt x="514674" y="257337"/>
                  </a:cubicBezTo>
                </a:path>
              </a:pathLst>
            </a:custGeom>
            <a:noFill/>
            <a:ln w="19050" cap="sq">
              <a:solidFill>
                <a:schemeClr val="bg1"/>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sp>
          <p:nvSpPr>
            <p:cNvPr id="173" name="Rounded Rectangle 172"/>
            <p:cNvSpPr/>
            <p:nvPr/>
          </p:nvSpPr>
          <p:spPr bwMode="gray">
            <a:xfrm>
              <a:off x="7308678" y="-819539"/>
              <a:ext cx="70489" cy="70489"/>
            </a:xfrm>
            <a:prstGeom prst="roundRect">
              <a:avLst>
                <a:gd name="adj" fmla="val 27923"/>
              </a:avLst>
            </a:prstGeom>
            <a:noFill/>
            <a:ln w="19050" cap="sq">
              <a:solidFill>
                <a:schemeClr val="bg1"/>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sp>
          <p:nvSpPr>
            <p:cNvPr id="174" name="Snip Single Corner Rectangle 47"/>
            <p:cNvSpPr/>
            <p:nvPr/>
          </p:nvSpPr>
          <p:spPr bwMode="gray">
            <a:xfrm rot="5400000">
              <a:off x="7380433" y="-955882"/>
              <a:ext cx="170522" cy="173051"/>
            </a:xfrm>
            <a:custGeom>
              <a:avLst/>
              <a:gdLst>
                <a:gd name="connsiteX0" fmla="*/ 0 w 387244"/>
                <a:gd name="connsiteY0" fmla="*/ 387244 h 478684"/>
                <a:gd name="connsiteX1" fmla="*/ 0 w 387244"/>
                <a:gd name="connsiteY1" fmla="*/ 36394 h 478684"/>
                <a:gd name="connsiteX2" fmla="*/ 202439 w 387244"/>
                <a:gd name="connsiteY2" fmla="*/ 36394 h 478684"/>
                <a:gd name="connsiteX3" fmla="*/ 216722 w 387244"/>
                <a:gd name="connsiteY3" fmla="*/ 22111 h 478684"/>
                <a:gd name="connsiteX4" fmla="*/ 216722 w 387244"/>
                <a:gd name="connsiteY4" fmla="*/ 0 h 478684"/>
                <a:gd name="connsiteX5" fmla="*/ 301748 w 387244"/>
                <a:gd name="connsiteY5" fmla="*/ 0 h 478684"/>
                <a:gd name="connsiteX6" fmla="*/ 387244 w 387244"/>
                <a:gd name="connsiteY6" fmla="*/ 85496 h 478684"/>
                <a:gd name="connsiteX7" fmla="*/ 387244 w 387244"/>
                <a:gd name="connsiteY7" fmla="*/ 173051 h 478684"/>
                <a:gd name="connsiteX8" fmla="*/ 371484 w 387244"/>
                <a:gd name="connsiteY8" fmla="*/ 173051 h 478684"/>
                <a:gd name="connsiteX9" fmla="*/ 351801 w 387244"/>
                <a:gd name="connsiteY9" fmla="*/ 192734 h 478684"/>
                <a:gd name="connsiteX10" fmla="*/ 351801 w 387244"/>
                <a:gd name="connsiteY10" fmla="*/ 223857 h 478684"/>
                <a:gd name="connsiteX11" fmla="*/ 371484 w 387244"/>
                <a:gd name="connsiteY11" fmla="*/ 243540 h 478684"/>
                <a:gd name="connsiteX12" fmla="*/ 387244 w 387244"/>
                <a:gd name="connsiteY12" fmla="*/ 243540 h 478684"/>
                <a:gd name="connsiteX13" fmla="*/ 387244 w 387244"/>
                <a:gd name="connsiteY13" fmla="*/ 387244 h 478684"/>
                <a:gd name="connsiteX14" fmla="*/ 91440 w 387244"/>
                <a:gd name="connsiteY14" fmla="*/ 478684 h 478684"/>
                <a:gd name="connsiteX0" fmla="*/ 0 w 387244"/>
                <a:gd name="connsiteY0" fmla="*/ 36394 h 478684"/>
                <a:gd name="connsiteX1" fmla="*/ 202439 w 387244"/>
                <a:gd name="connsiteY1" fmla="*/ 36394 h 478684"/>
                <a:gd name="connsiteX2" fmla="*/ 216722 w 387244"/>
                <a:gd name="connsiteY2" fmla="*/ 22111 h 478684"/>
                <a:gd name="connsiteX3" fmla="*/ 216722 w 387244"/>
                <a:gd name="connsiteY3" fmla="*/ 0 h 478684"/>
                <a:gd name="connsiteX4" fmla="*/ 301748 w 387244"/>
                <a:gd name="connsiteY4" fmla="*/ 0 h 478684"/>
                <a:gd name="connsiteX5" fmla="*/ 387244 w 387244"/>
                <a:gd name="connsiteY5" fmla="*/ 85496 h 478684"/>
                <a:gd name="connsiteX6" fmla="*/ 387244 w 387244"/>
                <a:gd name="connsiteY6" fmla="*/ 173051 h 478684"/>
                <a:gd name="connsiteX7" fmla="*/ 371484 w 387244"/>
                <a:gd name="connsiteY7" fmla="*/ 173051 h 478684"/>
                <a:gd name="connsiteX8" fmla="*/ 351801 w 387244"/>
                <a:gd name="connsiteY8" fmla="*/ 192734 h 478684"/>
                <a:gd name="connsiteX9" fmla="*/ 351801 w 387244"/>
                <a:gd name="connsiteY9" fmla="*/ 223857 h 478684"/>
                <a:gd name="connsiteX10" fmla="*/ 371484 w 387244"/>
                <a:gd name="connsiteY10" fmla="*/ 243540 h 478684"/>
                <a:gd name="connsiteX11" fmla="*/ 387244 w 387244"/>
                <a:gd name="connsiteY11" fmla="*/ 243540 h 478684"/>
                <a:gd name="connsiteX12" fmla="*/ 387244 w 387244"/>
                <a:gd name="connsiteY12" fmla="*/ 387244 h 478684"/>
                <a:gd name="connsiteX13" fmla="*/ 91440 w 387244"/>
                <a:gd name="connsiteY13" fmla="*/ 478684 h 478684"/>
                <a:gd name="connsiteX0" fmla="*/ 0 w 387244"/>
                <a:gd name="connsiteY0" fmla="*/ 36394 h 387244"/>
                <a:gd name="connsiteX1" fmla="*/ 202439 w 387244"/>
                <a:gd name="connsiteY1" fmla="*/ 36394 h 387244"/>
                <a:gd name="connsiteX2" fmla="*/ 216722 w 387244"/>
                <a:gd name="connsiteY2" fmla="*/ 22111 h 387244"/>
                <a:gd name="connsiteX3" fmla="*/ 216722 w 387244"/>
                <a:gd name="connsiteY3" fmla="*/ 0 h 387244"/>
                <a:gd name="connsiteX4" fmla="*/ 301748 w 387244"/>
                <a:gd name="connsiteY4" fmla="*/ 0 h 387244"/>
                <a:gd name="connsiteX5" fmla="*/ 387244 w 387244"/>
                <a:gd name="connsiteY5" fmla="*/ 85496 h 387244"/>
                <a:gd name="connsiteX6" fmla="*/ 387244 w 387244"/>
                <a:gd name="connsiteY6" fmla="*/ 173051 h 387244"/>
                <a:gd name="connsiteX7" fmla="*/ 371484 w 387244"/>
                <a:gd name="connsiteY7" fmla="*/ 173051 h 387244"/>
                <a:gd name="connsiteX8" fmla="*/ 351801 w 387244"/>
                <a:gd name="connsiteY8" fmla="*/ 192734 h 387244"/>
                <a:gd name="connsiteX9" fmla="*/ 351801 w 387244"/>
                <a:gd name="connsiteY9" fmla="*/ 223857 h 387244"/>
                <a:gd name="connsiteX10" fmla="*/ 371484 w 387244"/>
                <a:gd name="connsiteY10" fmla="*/ 243540 h 387244"/>
                <a:gd name="connsiteX11" fmla="*/ 387244 w 387244"/>
                <a:gd name="connsiteY11" fmla="*/ 243540 h 387244"/>
                <a:gd name="connsiteX12" fmla="*/ 387244 w 387244"/>
                <a:gd name="connsiteY12" fmla="*/ 387244 h 387244"/>
                <a:gd name="connsiteX0" fmla="*/ 0 w 387244"/>
                <a:gd name="connsiteY0" fmla="*/ 36394 h 243540"/>
                <a:gd name="connsiteX1" fmla="*/ 202439 w 387244"/>
                <a:gd name="connsiteY1" fmla="*/ 36394 h 243540"/>
                <a:gd name="connsiteX2" fmla="*/ 216722 w 387244"/>
                <a:gd name="connsiteY2" fmla="*/ 22111 h 243540"/>
                <a:gd name="connsiteX3" fmla="*/ 216722 w 387244"/>
                <a:gd name="connsiteY3" fmla="*/ 0 h 243540"/>
                <a:gd name="connsiteX4" fmla="*/ 301748 w 387244"/>
                <a:gd name="connsiteY4" fmla="*/ 0 h 243540"/>
                <a:gd name="connsiteX5" fmla="*/ 387244 w 387244"/>
                <a:gd name="connsiteY5" fmla="*/ 85496 h 243540"/>
                <a:gd name="connsiteX6" fmla="*/ 387244 w 387244"/>
                <a:gd name="connsiteY6" fmla="*/ 173051 h 243540"/>
                <a:gd name="connsiteX7" fmla="*/ 371484 w 387244"/>
                <a:gd name="connsiteY7" fmla="*/ 173051 h 243540"/>
                <a:gd name="connsiteX8" fmla="*/ 351801 w 387244"/>
                <a:gd name="connsiteY8" fmla="*/ 192734 h 243540"/>
                <a:gd name="connsiteX9" fmla="*/ 351801 w 387244"/>
                <a:gd name="connsiteY9" fmla="*/ 223857 h 243540"/>
                <a:gd name="connsiteX10" fmla="*/ 371484 w 387244"/>
                <a:gd name="connsiteY10" fmla="*/ 243540 h 243540"/>
                <a:gd name="connsiteX11" fmla="*/ 387244 w 387244"/>
                <a:gd name="connsiteY11" fmla="*/ 243540 h 243540"/>
                <a:gd name="connsiteX0" fmla="*/ 0 w 387244"/>
                <a:gd name="connsiteY0" fmla="*/ 36394 h 243540"/>
                <a:gd name="connsiteX1" fmla="*/ 202439 w 387244"/>
                <a:gd name="connsiteY1" fmla="*/ 36394 h 243540"/>
                <a:gd name="connsiteX2" fmla="*/ 216722 w 387244"/>
                <a:gd name="connsiteY2" fmla="*/ 22111 h 243540"/>
                <a:gd name="connsiteX3" fmla="*/ 216722 w 387244"/>
                <a:gd name="connsiteY3" fmla="*/ 0 h 243540"/>
                <a:gd name="connsiteX4" fmla="*/ 301748 w 387244"/>
                <a:gd name="connsiteY4" fmla="*/ 0 h 243540"/>
                <a:gd name="connsiteX5" fmla="*/ 387244 w 387244"/>
                <a:gd name="connsiteY5" fmla="*/ 85496 h 243540"/>
                <a:gd name="connsiteX6" fmla="*/ 387244 w 387244"/>
                <a:gd name="connsiteY6" fmla="*/ 173051 h 243540"/>
                <a:gd name="connsiteX7" fmla="*/ 371484 w 387244"/>
                <a:gd name="connsiteY7" fmla="*/ 173051 h 243540"/>
                <a:gd name="connsiteX8" fmla="*/ 351801 w 387244"/>
                <a:gd name="connsiteY8" fmla="*/ 192734 h 243540"/>
                <a:gd name="connsiteX9" fmla="*/ 351801 w 387244"/>
                <a:gd name="connsiteY9" fmla="*/ 223857 h 243540"/>
                <a:gd name="connsiteX10" fmla="*/ 371484 w 387244"/>
                <a:gd name="connsiteY10" fmla="*/ 243540 h 243540"/>
                <a:gd name="connsiteX0" fmla="*/ 0 w 387244"/>
                <a:gd name="connsiteY0" fmla="*/ 36394 h 223857"/>
                <a:gd name="connsiteX1" fmla="*/ 202439 w 387244"/>
                <a:gd name="connsiteY1" fmla="*/ 36394 h 223857"/>
                <a:gd name="connsiteX2" fmla="*/ 216722 w 387244"/>
                <a:gd name="connsiteY2" fmla="*/ 22111 h 223857"/>
                <a:gd name="connsiteX3" fmla="*/ 216722 w 387244"/>
                <a:gd name="connsiteY3" fmla="*/ 0 h 223857"/>
                <a:gd name="connsiteX4" fmla="*/ 301748 w 387244"/>
                <a:gd name="connsiteY4" fmla="*/ 0 h 223857"/>
                <a:gd name="connsiteX5" fmla="*/ 387244 w 387244"/>
                <a:gd name="connsiteY5" fmla="*/ 85496 h 223857"/>
                <a:gd name="connsiteX6" fmla="*/ 387244 w 387244"/>
                <a:gd name="connsiteY6" fmla="*/ 173051 h 223857"/>
                <a:gd name="connsiteX7" fmla="*/ 371484 w 387244"/>
                <a:gd name="connsiteY7" fmla="*/ 173051 h 223857"/>
                <a:gd name="connsiteX8" fmla="*/ 351801 w 387244"/>
                <a:gd name="connsiteY8" fmla="*/ 192734 h 223857"/>
                <a:gd name="connsiteX9" fmla="*/ 351801 w 387244"/>
                <a:gd name="connsiteY9" fmla="*/ 223857 h 223857"/>
                <a:gd name="connsiteX0" fmla="*/ 0 w 387244"/>
                <a:gd name="connsiteY0" fmla="*/ 36394 h 192734"/>
                <a:gd name="connsiteX1" fmla="*/ 202439 w 387244"/>
                <a:gd name="connsiteY1" fmla="*/ 36394 h 192734"/>
                <a:gd name="connsiteX2" fmla="*/ 216722 w 387244"/>
                <a:gd name="connsiteY2" fmla="*/ 22111 h 192734"/>
                <a:gd name="connsiteX3" fmla="*/ 216722 w 387244"/>
                <a:gd name="connsiteY3" fmla="*/ 0 h 192734"/>
                <a:gd name="connsiteX4" fmla="*/ 301748 w 387244"/>
                <a:gd name="connsiteY4" fmla="*/ 0 h 192734"/>
                <a:gd name="connsiteX5" fmla="*/ 387244 w 387244"/>
                <a:gd name="connsiteY5" fmla="*/ 85496 h 192734"/>
                <a:gd name="connsiteX6" fmla="*/ 387244 w 387244"/>
                <a:gd name="connsiteY6" fmla="*/ 173051 h 192734"/>
                <a:gd name="connsiteX7" fmla="*/ 371484 w 387244"/>
                <a:gd name="connsiteY7" fmla="*/ 173051 h 192734"/>
                <a:gd name="connsiteX8" fmla="*/ 351801 w 387244"/>
                <a:gd name="connsiteY8" fmla="*/ 192734 h 192734"/>
                <a:gd name="connsiteX0" fmla="*/ 0 w 387244"/>
                <a:gd name="connsiteY0" fmla="*/ 36394 h 173051"/>
                <a:gd name="connsiteX1" fmla="*/ 202439 w 387244"/>
                <a:gd name="connsiteY1" fmla="*/ 36394 h 173051"/>
                <a:gd name="connsiteX2" fmla="*/ 216722 w 387244"/>
                <a:gd name="connsiteY2" fmla="*/ 22111 h 173051"/>
                <a:gd name="connsiteX3" fmla="*/ 216722 w 387244"/>
                <a:gd name="connsiteY3" fmla="*/ 0 h 173051"/>
                <a:gd name="connsiteX4" fmla="*/ 301748 w 387244"/>
                <a:gd name="connsiteY4" fmla="*/ 0 h 173051"/>
                <a:gd name="connsiteX5" fmla="*/ 387244 w 387244"/>
                <a:gd name="connsiteY5" fmla="*/ 85496 h 173051"/>
                <a:gd name="connsiteX6" fmla="*/ 387244 w 387244"/>
                <a:gd name="connsiteY6" fmla="*/ 173051 h 173051"/>
                <a:gd name="connsiteX7" fmla="*/ 371484 w 387244"/>
                <a:gd name="connsiteY7" fmla="*/ 173051 h 173051"/>
                <a:gd name="connsiteX0" fmla="*/ 0 w 387244"/>
                <a:gd name="connsiteY0" fmla="*/ 36394 h 173051"/>
                <a:gd name="connsiteX1" fmla="*/ 202439 w 387244"/>
                <a:gd name="connsiteY1" fmla="*/ 36394 h 173051"/>
                <a:gd name="connsiteX2" fmla="*/ 216722 w 387244"/>
                <a:gd name="connsiteY2" fmla="*/ 22111 h 173051"/>
                <a:gd name="connsiteX3" fmla="*/ 216722 w 387244"/>
                <a:gd name="connsiteY3" fmla="*/ 0 h 173051"/>
                <a:gd name="connsiteX4" fmla="*/ 301748 w 387244"/>
                <a:gd name="connsiteY4" fmla="*/ 0 h 173051"/>
                <a:gd name="connsiteX5" fmla="*/ 387244 w 387244"/>
                <a:gd name="connsiteY5" fmla="*/ 85496 h 173051"/>
                <a:gd name="connsiteX6" fmla="*/ 387244 w 387244"/>
                <a:gd name="connsiteY6" fmla="*/ 173051 h 173051"/>
                <a:gd name="connsiteX0" fmla="*/ 0 w 184805"/>
                <a:gd name="connsiteY0" fmla="*/ 36394 h 173051"/>
                <a:gd name="connsiteX1" fmla="*/ 14283 w 184805"/>
                <a:gd name="connsiteY1" fmla="*/ 22111 h 173051"/>
                <a:gd name="connsiteX2" fmla="*/ 14283 w 184805"/>
                <a:gd name="connsiteY2" fmla="*/ 0 h 173051"/>
                <a:gd name="connsiteX3" fmla="*/ 99309 w 184805"/>
                <a:gd name="connsiteY3" fmla="*/ 0 h 173051"/>
                <a:gd name="connsiteX4" fmla="*/ 184805 w 184805"/>
                <a:gd name="connsiteY4" fmla="*/ 85496 h 173051"/>
                <a:gd name="connsiteX5" fmla="*/ 184805 w 184805"/>
                <a:gd name="connsiteY5" fmla="*/ 173051 h 173051"/>
                <a:gd name="connsiteX0" fmla="*/ 0 w 170522"/>
                <a:gd name="connsiteY0" fmla="*/ 22111 h 173051"/>
                <a:gd name="connsiteX1" fmla="*/ 0 w 170522"/>
                <a:gd name="connsiteY1" fmla="*/ 0 h 173051"/>
                <a:gd name="connsiteX2" fmla="*/ 85026 w 170522"/>
                <a:gd name="connsiteY2" fmla="*/ 0 h 173051"/>
                <a:gd name="connsiteX3" fmla="*/ 170522 w 170522"/>
                <a:gd name="connsiteY3" fmla="*/ 85496 h 173051"/>
                <a:gd name="connsiteX4" fmla="*/ 170522 w 170522"/>
                <a:gd name="connsiteY4" fmla="*/ 173051 h 173051"/>
                <a:gd name="connsiteX0" fmla="*/ 0 w 170522"/>
                <a:gd name="connsiteY0" fmla="*/ 0 h 173051"/>
                <a:gd name="connsiteX1" fmla="*/ 85026 w 170522"/>
                <a:gd name="connsiteY1" fmla="*/ 0 h 173051"/>
                <a:gd name="connsiteX2" fmla="*/ 170522 w 170522"/>
                <a:gd name="connsiteY2" fmla="*/ 85496 h 173051"/>
                <a:gd name="connsiteX3" fmla="*/ 170522 w 170522"/>
                <a:gd name="connsiteY3" fmla="*/ 173051 h 173051"/>
              </a:gdLst>
              <a:ahLst/>
              <a:cxnLst>
                <a:cxn ang="0">
                  <a:pos x="connsiteX0" y="connsiteY0"/>
                </a:cxn>
                <a:cxn ang="0">
                  <a:pos x="connsiteX1" y="connsiteY1"/>
                </a:cxn>
                <a:cxn ang="0">
                  <a:pos x="connsiteX2" y="connsiteY2"/>
                </a:cxn>
                <a:cxn ang="0">
                  <a:pos x="connsiteX3" y="connsiteY3"/>
                </a:cxn>
              </a:cxnLst>
              <a:rect l="l" t="t" r="r" b="b"/>
              <a:pathLst>
                <a:path w="170522" h="173051">
                  <a:moveTo>
                    <a:pt x="0" y="0"/>
                  </a:moveTo>
                  <a:lnTo>
                    <a:pt x="85026" y="0"/>
                  </a:lnTo>
                  <a:lnTo>
                    <a:pt x="170522" y="85496"/>
                  </a:lnTo>
                  <a:lnTo>
                    <a:pt x="170522" y="173051"/>
                  </a:lnTo>
                </a:path>
              </a:pathLst>
            </a:custGeom>
            <a:noFill/>
            <a:ln w="19050" cap="sq">
              <a:solidFill>
                <a:schemeClr val="bg1"/>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grpSp>
      <p:sp>
        <p:nvSpPr>
          <p:cNvPr id="2" name="Trapezoid 1"/>
          <p:cNvSpPr/>
          <p:nvPr/>
        </p:nvSpPr>
        <p:spPr bwMode="gray">
          <a:xfrm>
            <a:off x="4028561" y="2052030"/>
            <a:ext cx="4134839" cy="224062"/>
          </a:xfrm>
          <a:custGeom>
            <a:avLst/>
            <a:gdLst>
              <a:gd name="connsiteX0" fmla="*/ 1308590 w 4134839"/>
              <a:gd name="connsiteY0" fmla="*/ 0 h 224062"/>
              <a:gd name="connsiteX1" fmla="*/ 2017909 w 4134839"/>
              <a:gd name="connsiteY1" fmla="*/ 1560 h 224062"/>
              <a:gd name="connsiteX2" fmla="*/ 2826249 w 4134839"/>
              <a:gd name="connsiteY2" fmla="*/ 0 h 224062"/>
              <a:gd name="connsiteX3" fmla="*/ 2833039 w 4134839"/>
              <a:gd name="connsiteY3" fmla="*/ 1163 h 224062"/>
              <a:gd name="connsiteX4" fmla="*/ 2836159 w 4134839"/>
              <a:gd name="connsiteY4" fmla="*/ 0 h 224062"/>
              <a:gd name="connsiteX5" fmla="*/ 3533533 w 4134839"/>
              <a:gd name="connsiteY5" fmla="*/ 0 h 224062"/>
              <a:gd name="connsiteX6" fmla="*/ 4134839 w 4134839"/>
              <a:gd name="connsiteY6" fmla="*/ 224062 h 224062"/>
              <a:gd name="connsiteX7" fmla="*/ 2234853 w 4134839"/>
              <a:gd name="connsiteY7" fmla="*/ 224062 h 224062"/>
              <a:gd name="connsiteX8" fmla="*/ 0 w 4134839"/>
              <a:gd name="connsiteY8" fmla="*/ 224062 h 224062"/>
              <a:gd name="connsiteX9" fmla="*/ 1308590 w 4134839"/>
              <a:gd name="connsiteY9" fmla="*/ 0 h 224062"/>
              <a:gd name="connsiteX0" fmla="*/ 0 w 4134839"/>
              <a:gd name="connsiteY0" fmla="*/ 224062 h 224062"/>
              <a:gd name="connsiteX1" fmla="*/ 2017909 w 4134839"/>
              <a:gd name="connsiteY1" fmla="*/ 1560 h 224062"/>
              <a:gd name="connsiteX2" fmla="*/ 2826249 w 4134839"/>
              <a:gd name="connsiteY2" fmla="*/ 0 h 224062"/>
              <a:gd name="connsiteX3" fmla="*/ 2833039 w 4134839"/>
              <a:gd name="connsiteY3" fmla="*/ 1163 h 224062"/>
              <a:gd name="connsiteX4" fmla="*/ 2836159 w 4134839"/>
              <a:gd name="connsiteY4" fmla="*/ 0 h 224062"/>
              <a:gd name="connsiteX5" fmla="*/ 3533533 w 4134839"/>
              <a:gd name="connsiteY5" fmla="*/ 0 h 224062"/>
              <a:gd name="connsiteX6" fmla="*/ 4134839 w 4134839"/>
              <a:gd name="connsiteY6" fmla="*/ 224062 h 224062"/>
              <a:gd name="connsiteX7" fmla="*/ 2234853 w 4134839"/>
              <a:gd name="connsiteY7" fmla="*/ 224062 h 224062"/>
              <a:gd name="connsiteX8" fmla="*/ 0 w 4134839"/>
              <a:gd name="connsiteY8" fmla="*/ 224062 h 224062"/>
              <a:gd name="connsiteX0" fmla="*/ 0 w 4134839"/>
              <a:gd name="connsiteY0" fmla="*/ 224062 h 224062"/>
              <a:gd name="connsiteX1" fmla="*/ 2017909 w 4134839"/>
              <a:gd name="connsiteY1" fmla="*/ 1560 h 224062"/>
              <a:gd name="connsiteX2" fmla="*/ 2826249 w 4134839"/>
              <a:gd name="connsiteY2" fmla="*/ 0 h 224062"/>
              <a:gd name="connsiteX3" fmla="*/ 2833039 w 4134839"/>
              <a:gd name="connsiteY3" fmla="*/ 1163 h 224062"/>
              <a:gd name="connsiteX4" fmla="*/ 3533533 w 4134839"/>
              <a:gd name="connsiteY4" fmla="*/ 0 h 224062"/>
              <a:gd name="connsiteX5" fmla="*/ 4134839 w 4134839"/>
              <a:gd name="connsiteY5" fmla="*/ 224062 h 224062"/>
              <a:gd name="connsiteX6" fmla="*/ 2234853 w 4134839"/>
              <a:gd name="connsiteY6" fmla="*/ 224062 h 224062"/>
              <a:gd name="connsiteX7" fmla="*/ 0 w 4134839"/>
              <a:gd name="connsiteY7" fmla="*/ 224062 h 224062"/>
              <a:gd name="connsiteX0" fmla="*/ 0 w 4134839"/>
              <a:gd name="connsiteY0" fmla="*/ 224062 h 224062"/>
              <a:gd name="connsiteX1" fmla="*/ 2017909 w 4134839"/>
              <a:gd name="connsiteY1" fmla="*/ 1560 h 224062"/>
              <a:gd name="connsiteX2" fmla="*/ 2826249 w 4134839"/>
              <a:gd name="connsiteY2" fmla="*/ 0 h 224062"/>
              <a:gd name="connsiteX3" fmla="*/ 3533533 w 4134839"/>
              <a:gd name="connsiteY3" fmla="*/ 0 h 224062"/>
              <a:gd name="connsiteX4" fmla="*/ 4134839 w 4134839"/>
              <a:gd name="connsiteY4" fmla="*/ 224062 h 224062"/>
              <a:gd name="connsiteX5" fmla="*/ 2234853 w 4134839"/>
              <a:gd name="connsiteY5" fmla="*/ 224062 h 224062"/>
              <a:gd name="connsiteX6" fmla="*/ 0 w 4134839"/>
              <a:gd name="connsiteY6" fmla="*/ 224062 h 224062"/>
              <a:gd name="connsiteX0" fmla="*/ 0 w 4134839"/>
              <a:gd name="connsiteY0" fmla="*/ 224062 h 224062"/>
              <a:gd name="connsiteX1" fmla="*/ 2017909 w 4134839"/>
              <a:gd name="connsiteY1" fmla="*/ 1560 h 224062"/>
              <a:gd name="connsiteX2" fmla="*/ 3533533 w 4134839"/>
              <a:gd name="connsiteY2" fmla="*/ 0 h 224062"/>
              <a:gd name="connsiteX3" fmla="*/ 4134839 w 4134839"/>
              <a:gd name="connsiteY3" fmla="*/ 224062 h 224062"/>
              <a:gd name="connsiteX4" fmla="*/ 2234853 w 4134839"/>
              <a:gd name="connsiteY4" fmla="*/ 224062 h 224062"/>
              <a:gd name="connsiteX5" fmla="*/ 0 w 4134839"/>
              <a:gd name="connsiteY5" fmla="*/ 224062 h 224062"/>
              <a:gd name="connsiteX0" fmla="*/ 0 w 4134839"/>
              <a:gd name="connsiteY0" fmla="*/ 224062 h 224062"/>
              <a:gd name="connsiteX1" fmla="*/ 2017909 w 4134839"/>
              <a:gd name="connsiteY1" fmla="*/ 1560 h 224062"/>
              <a:gd name="connsiteX2" fmla="*/ 3533533 w 4134839"/>
              <a:gd name="connsiteY2" fmla="*/ 0 h 224062"/>
              <a:gd name="connsiteX3" fmla="*/ 4134839 w 4134839"/>
              <a:gd name="connsiteY3" fmla="*/ 224062 h 224062"/>
              <a:gd name="connsiteX4" fmla="*/ 0 w 4134839"/>
              <a:gd name="connsiteY4" fmla="*/ 224062 h 224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4839" h="224062">
                <a:moveTo>
                  <a:pt x="0" y="224062"/>
                </a:moveTo>
                <a:lnTo>
                  <a:pt x="2017909" y="1560"/>
                </a:lnTo>
                <a:lnTo>
                  <a:pt x="3533533" y="0"/>
                </a:lnTo>
                <a:lnTo>
                  <a:pt x="4134839" y="224062"/>
                </a:lnTo>
                <a:lnTo>
                  <a:pt x="0" y="224062"/>
                </a:lnTo>
                <a:close/>
              </a:path>
            </a:pathLst>
          </a:custGeom>
          <a:solidFill>
            <a:srgbClr val="D9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7" name="Group 6"/>
          <p:cNvGrpSpPr/>
          <p:nvPr/>
        </p:nvGrpSpPr>
        <p:grpSpPr bwMode="gray">
          <a:xfrm>
            <a:off x="11279288" y="2683388"/>
            <a:ext cx="396001" cy="396001"/>
            <a:chOff x="8886382" y="2683388"/>
            <a:chExt cx="396001" cy="396001"/>
          </a:xfrm>
        </p:grpSpPr>
        <p:sp>
          <p:nvSpPr>
            <p:cNvPr id="278" name="Oval 15"/>
            <p:cNvSpPr/>
            <p:nvPr/>
          </p:nvSpPr>
          <p:spPr bwMode="gray">
            <a:xfrm>
              <a:off x="9053580" y="2779153"/>
              <a:ext cx="70956" cy="92932"/>
            </a:xfrm>
            <a:custGeom>
              <a:avLst/>
              <a:gdLst/>
              <a:ahLst/>
              <a:cxnLst/>
              <a:rect l="l" t="t" r="r" b="b"/>
              <a:pathLst>
                <a:path w="362848" h="475224">
                  <a:moveTo>
                    <a:pt x="180337" y="0"/>
                  </a:moveTo>
                  <a:cubicBezTo>
                    <a:pt x="180432" y="9"/>
                    <a:pt x="180526" y="19"/>
                    <a:pt x="180616" y="82"/>
                  </a:cubicBezTo>
                  <a:cubicBezTo>
                    <a:pt x="180885" y="1"/>
                    <a:pt x="181154" y="0"/>
                    <a:pt x="181424" y="0"/>
                  </a:cubicBezTo>
                  <a:cubicBezTo>
                    <a:pt x="281622" y="0"/>
                    <a:pt x="362848" y="81226"/>
                    <a:pt x="362848" y="181424"/>
                  </a:cubicBezTo>
                  <a:cubicBezTo>
                    <a:pt x="362848" y="207554"/>
                    <a:pt x="357324" y="232394"/>
                    <a:pt x="346861" y="254609"/>
                  </a:cubicBezTo>
                  <a:cubicBezTo>
                    <a:pt x="321955" y="319398"/>
                    <a:pt x="261993" y="402608"/>
                    <a:pt x="180337" y="475224"/>
                  </a:cubicBezTo>
                  <a:cubicBezTo>
                    <a:pt x="90217" y="395081"/>
                    <a:pt x="26520" y="302031"/>
                    <a:pt x="8852" y="234647"/>
                  </a:cubicBezTo>
                  <a:cubicBezTo>
                    <a:pt x="5629" y="227170"/>
                    <a:pt x="3749" y="219213"/>
                    <a:pt x="2969" y="210981"/>
                  </a:cubicBezTo>
                  <a:cubicBezTo>
                    <a:pt x="788" y="207406"/>
                    <a:pt x="440" y="203728"/>
                    <a:pt x="286" y="200188"/>
                  </a:cubicBezTo>
                  <a:lnTo>
                    <a:pt x="0" y="200188"/>
                  </a:lnTo>
                  <a:lnTo>
                    <a:pt x="83" y="199359"/>
                  </a:lnTo>
                  <a:cubicBezTo>
                    <a:pt x="8" y="199247"/>
                    <a:pt x="4" y="199132"/>
                    <a:pt x="0" y="199017"/>
                  </a:cubicBezTo>
                  <a:lnTo>
                    <a:pt x="118" y="199017"/>
                  </a:lnTo>
                  <a:lnTo>
                    <a:pt x="1202" y="193389"/>
                  </a:lnTo>
                  <a:cubicBezTo>
                    <a:pt x="132" y="189470"/>
                    <a:pt x="0" y="185462"/>
                    <a:pt x="0" y="181424"/>
                  </a:cubicBezTo>
                  <a:cubicBezTo>
                    <a:pt x="0" y="81784"/>
                    <a:pt x="80324" y="905"/>
                    <a:pt x="179753" y="171"/>
                  </a:cubicBezTo>
                  <a:cubicBezTo>
                    <a:pt x="179940" y="40"/>
                    <a:pt x="180139" y="20"/>
                    <a:pt x="180337" y="0"/>
                  </a:cubicBezTo>
                  <a:close/>
                </a:path>
              </a:pathLst>
            </a:cu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79" name="Oval 278"/>
            <p:cNvSpPr/>
            <p:nvPr/>
          </p:nvSpPr>
          <p:spPr bwMode="gray">
            <a:xfrm>
              <a:off x="9079746" y="2805204"/>
              <a:ext cx="18624" cy="18624"/>
            </a:xfrm>
            <a:prstGeom prst="ellipse">
              <a:avLst/>
            </a:prstGeom>
            <a:solidFill>
              <a:schemeClr val="tx2"/>
            </a:solid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280" name="Group 279"/>
            <p:cNvGrpSpPr/>
            <p:nvPr/>
          </p:nvGrpSpPr>
          <p:grpSpPr bwMode="gray">
            <a:xfrm>
              <a:off x="8986637" y="2876862"/>
              <a:ext cx="93109" cy="92734"/>
              <a:chOff x="5559286" y="3513466"/>
              <a:chExt cx="495234" cy="493240"/>
            </a:xfrm>
          </p:grpSpPr>
          <p:sp>
            <p:nvSpPr>
              <p:cNvPr id="291" name="Oval 290"/>
              <p:cNvSpPr/>
              <p:nvPr/>
            </p:nvSpPr>
            <p:spPr bwMode="gray">
              <a:xfrm>
                <a:off x="5648355" y="3600540"/>
                <a:ext cx="319090" cy="319090"/>
              </a:xfrm>
              <a:prstGeom prst="ellipse">
                <a:avLst/>
              </a:pr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292" name="Straight Connector 291"/>
              <p:cNvCxnSpPr/>
              <p:nvPr/>
            </p:nvCxnSpPr>
            <p:spPr bwMode="gray">
              <a:xfrm flipH="1">
                <a:off x="5967446" y="3760086"/>
                <a:ext cx="87074" cy="0"/>
              </a:xfrm>
              <a:prstGeom prst="line">
                <a:avLst/>
              </a:pr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3" name="Straight Connector 292"/>
              <p:cNvCxnSpPr/>
              <p:nvPr/>
            </p:nvCxnSpPr>
            <p:spPr bwMode="gray">
              <a:xfrm flipH="1">
                <a:off x="5559286" y="3760085"/>
                <a:ext cx="87074" cy="0"/>
              </a:xfrm>
              <a:prstGeom prst="line">
                <a:avLst/>
              </a:pr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4" name="Straight Connector 293"/>
              <p:cNvCxnSpPr/>
              <p:nvPr/>
            </p:nvCxnSpPr>
            <p:spPr bwMode="gray">
              <a:xfrm rot="2700000" flipH="1">
                <a:off x="5620763" y="3616484"/>
                <a:ext cx="87074" cy="0"/>
              </a:xfrm>
              <a:prstGeom prst="line">
                <a:avLst/>
              </a:pr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5" name="Straight Connector 294"/>
              <p:cNvCxnSpPr/>
              <p:nvPr/>
            </p:nvCxnSpPr>
            <p:spPr bwMode="gray">
              <a:xfrm rot="18900000">
                <a:off x="5907963" y="3616484"/>
                <a:ext cx="87074" cy="0"/>
              </a:xfrm>
              <a:prstGeom prst="line">
                <a:avLst/>
              </a:pr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6" name="Straight Connector 295"/>
              <p:cNvCxnSpPr/>
              <p:nvPr/>
            </p:nvCxnSpPr>
            <p:spPr bwMode="gray">
              <a:xfrm rot="5400000" flipH="1">
                <a:off x="5764856" y="3557003"/>
                <a:ext cx="87074" cy="0"/>
              </a:xfrm>
              <a:prstGeom prst="line">
                <a:avLst/>
              </a:pr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7" name="Straight Connector 296"/>
              <p:cNvCxnSpPr/>
              <p:nvPr/>
            </p:nvCxnSpPr>
            <p:spPr bwMode="gray">
              <a:xfrm rot="13500000" flipH="1">
                <a:off x="5905969" y="3903688"/>
                <a:ext cx="87074" cy="0"/>
              </a:xfrm>
              <a:prstGeom prst="line">
                <a:avLst/>
              </a:pr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8" name="Straight Connector 297"/>
              <p:cNvCxnSpPr/>
              <p:nvPr/>
            </p:nvCxnSpPr>
            <p:spPr bwMode="gray">
              <a:xfrm rot="8100000">
                <a:off x="5618769" y="3903688"/>
                <a:ext cx="87074" cy="0"/>
              </a:xfrm>
              <a:prstGeom prst="line">
                <a:avLst/>
              </a:pr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9" name="Straight Connector 298"/>
              <p:cNvCxnSpPr/>
              <p:nvPr/>
            </p:nvCxnSpPr>
            <p:spPr bwMode="gray">
              <a:xfrm rot="16200000" flipH="1">
                <a:off x="5761876" y="3963169"/>
                <a:ext cx="87074" cy="0"/>
              </a:xfrm>
              <a:prstGeom prst="line">
                <a:avLst/>
              </a:pr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281" name="Group 280"/>
            <p:cNvGrpSpPr/>
            <p:nvPr/>
          </p:nvGrpSpPr>
          <p:grpSpPr bwMode="gray">
            <a:xfrm>
              <a:off x="9112232" y="2882389"/>
              <a:ext cx="70455" cy="79499"/>
              <a:chOff x="6227309" y="3547942"/>
              <a:chExt cx="374741" cy="422846"/>
            </a:xfrm>
          </p:grpSpPr>
          <p:sp>
            <p:nvSpPr>
              <p:cNvPr id="288" name="Rectangle 49"/>
              <p:cNvSpPr/>
              <p:nvPr/>
            </p:nvSpPr>
            <p:spPr bwMode="gray">
              <a:xfrm>
                <a:off x="6227309" y="3547942"/>
                <a:ext cx="374741" cy="422846"/>
              </a:xfrm>
              <a:custGeom>
                <a:avLst/>
                <a:gdLst>
                  <a:gd name="connsiteX0" fmla="*/ 187370 w 374741"/>
                  <a:gd name="connsiteY0" fmla="*/ 0 h 422846"/>
                  <a:gd name="connsiteX1" fmla="*/ 374740 w 374741"/>
                  <a:gd name="connsiteY1" fmla="*/ 112815 h 422846"/>
                  <a:gd name="connsiteX2" fmla="*/ 251188 w 374741"/>
                  <a:gd name="connsiteY2" fmla="*/ 310031 h 422846"/>
                  <a:gd name="connsiteX3" fmla="*/ 374741 w 374741"/>
                  <a:gd name="connsiteY3" fmla="*/ 310031 h 422846"/>
                  <a:gd name="connsiteX4" fmla="*/ 187371 w 374741"/>
                  <a:gd name="connsiteY4" fmla="*/ 422846 h 422846"/>
                  <a:gd name="connsiteX5" fmla="*/ 1 w 374741"/>
                  <a:gd name="connsiteY5" fmla="*/ 310031 h 422846"/>
                  <a:gd name="connsiteX6" fmla="*/ 123553 w 374741"/>
                  <a:gd name="connsiteY6" fmla="*/ 310031 h 422846"/>
                  <a:gd name="connsiteX7" fmla="*/ 123553 w 374741"/>
                  <a:gd name="connsiteY7" fmla="*/ 112815 h 422846"/>
                  <a:gd name="connsiteX8" fmla="*/ 0 w 374741"/>
                  <a:gd name="connsiteY8" fmla="*/ 112815 h 422846"/>
                  <a:gd name="connsiteX9" fmla="*/ 187370 w 374741"/>
                  <a:gd name="connsiteY9"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123553 w 374741"/>
                  <a:gd name="connsiteY6" fmla="*/ 112815 h 422846"/>
                  <a:gd name="connsiteX7" fmla="*/ 0 w 374741"/>
                  <a:gd name="connsiteY7" fmla="*/ 112815 h 422846"/>
                  <a:gd name="connsiteX8" fmla="*/ 187370 w 374741"/>
                  <a:gd name="connsiteY8"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0 w 374741"/>
                  <a:gd name="connsiteY6" fmla="*/ 112815 h 422846"/>
                  <a:gd name="connsiteX7" fmla="*/ 187370 w 374741"/>
                  <a:gd name="connsiteY7"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0 w 374741"/>
                  <a:gd name="connsiteY5" fmla="*/ 112815 h 422846"/>
                  <a:gd name="connsiteX6" fmla="*/ 187370 w 374741"/>
                  <a:gd name="connsiteY6" fmla="*/ 0 h 42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741" h="422846">
                    <a:moveTo>
                      <a:pt x="187370" y="0"/>
                    </a:moveTo>
                    <a:lnTo>
                      <a:pt x="374740" y="112815"/>
                    </a:lnTo>
                    <a:cubicBezTo>
                      <a:pt x="374740" y="178554"/>
                      <a:pt x="374741" y="244292"/>
                      <a:pt x="374741" y="310031"/>
                    </a:cubicBezTo>
                    <a:lnTo>
                      <a:pt x="187371" y="422846"/>
                    </a:lnTo>
                    <a:lnTo>
                      <a:pt x="1" y="310031"/>
                    </a:lnTo>
                    <a:cubicBezTo>
                      <a:pt x="1" y="244292"/>
                      <a:pt x="0" y="178554"/>
                      <a:pt x="0" y="112815"/>
                    </a:cubicBezTo>
                    <a:lnTo>
                      <a:pt x="187370" y="0"/>
                    </a:lnTo>
                    <a:close/>
                  </a:path>
                </a:pathLst>
              </a:cu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89" name="Rectangle 49"/>
              <p:cNvSpPr/>
              <p:nvPr/>
            </p:nvSpPr>
            <p:spPr bwMode="gray">
              <a:xfrm rot="10800000">
                <a:off x="6227309" y="3659059"/>
                <a:ext cx="374740" cy="112815"/>
              </a:xfrm>
              <a:custGeom>
                <a:avLst/>
                <a:gdLst>
                  <a:gd name="connsiteX0" fmla="*/ 187370 w 374741"/>
                  <a:gd name="connsiteY0" fmla="*/ 0 h 422846"/>
                  <a:gd name="connsiteX1" fmla="*/ 374740 w 374741"/>
                  <a:gd name="connsiteY1" fmla="*/ 112815 h 422846"/>
                  <a:gd name="connsiteX2" fmla="*/ 251188 w 374741"/>
                  <a:gd name="connsiteY2" fmla="*/ 310031 h 422846"/>
                  <a:gd name="connsiteX3" fmla="*/ 374741 w 374741"/>
                  <a:gd name="connsiteY3" fmla="*/ 310031 h 422846"/>
                  <a:gd name="connsiteX4" fmla="*/ 187371 w 374741"/>
                  <a:gd name="connsiteY4" fmla="*/ 422846 h 422846"/>
                  <a:gd name="connsiteX5" fmla="*/ 1 w 374741"/>
                  <a:gd name="connsiteY5" fmla="*/ 310031 h 422846"/>
                  <a:gd name="connsiteX6" fmla="*/ 123553 w 374741"/>
                  <a:gd name="connsiteY6" fmla="*/ 310031 h 422846"/>
                  <a:gd name="connsiteX7" fmla="*/ 123553 w 374741"/>
                  <a:gd name="connsiteY7" fmla="*/ 112815 h 422846"/>
                  <a:gd name="connsiteX8" fmla="*/ 0 w 374741"/>
                  <a:gd name="connsiteY8" fmla="*/ 112815 h 422846"/>
                  <a:gd name="connsiteX9" fmla="*/ 187370 w 374741"/>
                  <a:gd name="connsiteY9"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123553 w 374741"/>
                  <a:gd name="connsiteY6" fmla="*/ 112815 h 422846"/>
                  <a:gd name="connsiteX7" fmla="*/ 0 w 374741"/>
                  <a:gd name="connsiteY7" fmla="*/ 112815 h 422846"/>
                  <a:gd name="connsiteX8" fmla="*/ 187370 w 374741"/>
                  <a:gd name="connsiteY8"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0 w 374741"/>
                  <a:gd name="connsiteY6" fmla="*/ 112815 h 422846"/>
                  <a:gd name="connsiteX7" fmla="*/ 187370 w 374741"/>
                  <a:gd name="connsiteY7"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0 w 374741"/>
                  <a:gd name="connsiteY5" fmla="*/ 112815 h 422846"/>
                  <a:gd name="connsiteX6" fmla="*/ 187370 w 374741"/>
                  <a:gd name="connsiteY6" fmla="*/ 0 h 422846"/>
                  <a:gd name="connsiteX0" fmla="*/ 187370 w 374740"/>
                  <a:gd name="connsiteY0" fmla="*/ 0 h 422846"/>
                  <a:gd name="connsiteX1" fmla="*/ 374740 w 374740"/>
                  <a:gd name="connsiteY1" fmla="*/ 112815 h 422846"/>
                  <a:gd name="connsiteX2" fmla="*/ 187371 w 374740"/>
                  <a:gd name="connsiteY2" fmla="*/ 422846 h 422846"/>
                  <a:gd name="connsiteX3" fmla="*/ 1 w 374740"/>
                  <a:gd name="connsiteY3" fmla="*/ 310031 h 422846"/>
                  <a:gd name="connsiteX4" fmla="*/ 0 w 374740"/>
                  <a:gd name="connsiteY4" fmla="*/ 112815 h 422846"/>
                  <a:gd name="connsiteX5" fmla="*/ 187370 w 374740"/>
                  <a:gd name="connsiteY5" fmla="*/ 0 h 422846"/>
                  <a:gd name="connsiteX0" fmla="*/ 187370 w 374740"/>
                  <a:gd name="connsiteY0" fmla="*/ 0 h 422846"/>
                  <a:gd name="connsiteX1" fmla="*/ 374740 w 374740"/>
                  <a:gd name="connsiteY1" fmla="*/ 112815 h 422846"/>
                  <a:gd name="connsiteX2" fmla="*/ 187371 w 374740"/>
                  <a:gd name="connsiteY2" fmla="*/ 422846 h 422846"/>
                  <a:gd name="connsiteX3" fmla="*/ 0 w 374740"/>
                  <a:gd name="connsiteY3" fmla="*/ 112815 h 422846"/>
                  <a:gd name="connsiteX4" fmla="*/ 187370 w 374740"/>
                  <a:gd name="connsiteY4" fmla="*/ 0 h 422846"/>
                  <a:gd name="connsiteX0" fmla="*/ 187371 w 374740"/>
                  <a:gd name="connsiteY0" fmla="*/ 422846 h 514286"/>
                  <a:gd name="connsiteX1" fmla="*/ 0 w 374740"/>
                  <a:gd name="connsiteY1" fmla="*/ 112815 h 514286"/>
                  <a:gd name="connsiteX2" fmla="*/ 187370 w 374740"/>
                  <a:gd name="connsiteY2" fmla="*/ 0 h 514286"/>
                  <a:gd name="connsiteX3" fmla="*/ 374740 w 374740"/>
                  <a:gd name="connsiteY3" fmla="*/ 112815 h 514286"/>
                  <a:gd name="connsiteX4" fmla="*/ 278811 w 374740"/>
                  <a:gd name="connsiteY4" fmla="*/ 514286 h 514286"/>
                  <a:gd name="connsiteX0" fmla="*/ 187371 w 374740"/>
                  <a:gd name="connsiteY0" fmla="*/ 422846 h 422846"/>
                  <a:gd name="connsiteX1" fmla="*/ 0 w 374740"/>
                  <a:gd name="connsiteY1" fmla="*/ 112815 h 422846"/>
                  <a:gd name="connsiteX2" fmla="*/ 187370 w 374740"/>
                  <a:gd name="connsiteY2" fmla="*/ 0 h 422846"/>
                  <a:gd name="connsiteX3" fmla="*/ 374740 w 374740"/>
                  <a:gd name="connsiteY3" fmla="*/ 112815 h 422846"/>
                  <a:gd name="connsiteX0" fmla="*/ 0 w 374740"/>
                  <a:gd name="connsiteY0" fmla="*/ 112815 h 112815"/>
                  <a:gd name="connsiteX1" fmla="*/ 187370 w 374740"/>
                  <a:gd name="connsiteY1" fmla="*/ 0 h 112815"/>
                  <a:gd name="connsiteX2" fmla="*/ 374740 w 374740"/>
                  <a:gd name="connsiteY2" fmla="*/ 112815 h 112815"/>
                </a:gdLst>
                <a:ahLst/>
                <a:cxnLst>
                  <a:cxn ang="0">
                    <a:pos x="connsiteX0" y="connsiteY0"/>
                  </a:cxn>
                  <a:cxn ang="0">
                    <a:pos x="connsiteX1" y="connsiteY1"/>
                  </a:cxn>
                  <a:cxn ang="0">
                    <a:pos x="connsiteX2" y="connsiteY2"/>
                  </a:cxn>
                </a:cxnLst>
                <a:rect l="l" t="t" r="r" b="b"/>
                <a:pathLst>
                  <a:path w="374740" h="112815">
                    <a:moveTo>
                      <a:pt x="0" y="112815"/>
                    </a:moveTo>
                    <a:lnTo>
                      <a:pt x="187370" y="0"/>
                    </a:lnTo>
                    <a:lnTo>
                      <a:pt x="374740" y="112815"/>
                    </a:lnTo>
                  </a:path>
                </a:pathLst>
              </a:cu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290" name="Straight Connector 289"/>
              <p:cNvCxnSpPr>
                <a:stCxn id="289" idx="1"/>
                <a:endCxn id="288" idx="3"/>
              </p:cNvCxnSpPr>
              <p:nvPr/>
            </p:nvCxnSpPr>
            <p:spPr bwMode="gray">
              <a:xfrm>
                <a:off x="6414679" y="3771874"/>
                <a:ext cx="1" cy="198914"/>
              </a:xfrm>
              <a:prstGeom prst="line">
                <a:avLst/>
              </a:prstGeom>
              <a:grp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grpSp>
          <p:nvGrpSpPr>
            <p:cNvPr id="282" name="Group 281"/>
            <p:cNvGrpSpPr/>
            <p:nvPr/>
          </p:nvGrpSpPr>
          <p:grpSpPr bwMode="gray">
            <a:xfrm>
              <a:off x="8928965" y="2726493"/>
              <a:ext cx="311379" cy="311378"/>
              <a:chOff x="-925025" y="-931749"/>
              <a:chExt cx="1494000" cy="1494000"/>
            </a:xfrm>
          </p:grpSpPr>
          <p:sp>
            <p:nvSpPr>
              <p:cNvPr id="286" name="Arc 285"/>
              <p:cNvSpPr>
                <a:spLocks noChangeAspect="1"/>
              </p:cNvSpPr>
              <p:nvPr/>
            </p:nvSpPr>
            <p:spPr bwMode="gray">
              <a:xfrm rot="10800000">
                <a:off x="-925025" y="-931749"/>
                <a:ext cx="1494000" cy="1494000"/>
              </a:xfrm>
              <a:prstGeom prst="arc">
                <a:avLst>
                  <a:gd name="adj1" fmla="val 8623613"/>
                  <a:gd name="adj2" fmla="val 18387609"/>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287" name="Arc 286"/>
              <p:cNvSpPr>
                <a:spLocks noChangeAspect="1"/>
              </p:cNvSpPr>
              <p:nvPr/>
            </p:nvSpPr>
            <p:spPr bwMode="gray">
              <a:xfrm rot="16200000">
                <a:off x="-925025" y="-931749"/>
                <a:ext cx="1494000" cy="1494000"/>
              </a:xfrm>
              <a:prstGeom prst="arc">
                <a:avLst>
                  <a:gd name="adj1" fmla="val 14184933"/>
                  <a:gd name="adj2" fmla="val 1926305"/>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grpSp>
        <p:sp>
          <p:nvSpPr>
            <p:cNvPr id="283" name="Arc 282"/>
            <p:cNvSpPr>
              <a:spLocks noChangeAspect="1"/>
            </p:cNvSpPr>
            <p:nvPr/>
          </p:nvSpPr>
          <p:spPr bwMode="gray">
            <a:xfrm rot="10800000">
              <a:off x="8886382" y="2683389"/>
              <a:ext cx="396000" cy="395999"/>
            </a:xfrm>
            <a:prstGeom prst="arc">
              <a:avLst>
                <a:gd name="adj1" fmla="val 11430481"/>
                <a:gd name="adj2" fmla="val 15581180"/>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284" name="Arc 283"/>
            <p:cNvSpPr>
              <a:spLocks noChangeAspect="1"/>
            </p:cNvSpPr>
            <p:nvPr/>
          </p:nvSpPr>
          <p:spPr bwMode="gray">
            <a:xfrm rot="16200000">
              <a:off x="8886383" y="2683388"/>
              <a:ext cx="395999" cy="396000"/>
            </a:xfrm>
            <a:prstGeom prst="arc">
              <a:avLst>
                <a:gd name="adj1" fmla="val 11437435"/>
                <a:gd name="adj2" fmla="val 20980401"/>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285" name="Arc 284"/>
            <p:cNvSpPr>
              <a:spLocks noChangeAspect="1"/>
            </p:cNvSpPr>
            <p:nvPr/>
          </p:nvSpPr>
          <p:spPr bwMode="gray">
            <a:xfrm rot="5400000">
              <a:off x="8886382" y="2683389"/>
              <a:ext cx="396000" cy="395999"/>
            </a:xfrm>
            <a:prstGeom prst="arc">
              <a:avLst>
                <a:gd name="adj1" fmla="val 11430481"/>
                <a:gd name="adj2" fmla="val 15581180"/>
              </a:avLst>
            </a:prstGeom>
            <a:grpFill/>
            <a:ln w="1905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grpSp>
      <p:pic>
        <p:nvPicPr>
          <p:cNvPr id="22" name="Grafik 2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gray">
          <a:xfrm>
            <a:off x="4028581" y="2263673"/>
            <a:ext cx="4134839" cy="2811252"/>
          </a:xfrm>
          <a:prstGeom prst="rect">
            <a:avLst/>
          </a:prstGeom>
        </p:spPr>
      </p:pic>
      <p:sp>
        <p:nvSpPr>
          <p:cNvPr id="148" name="Text Placeholder 7"/>
          <p:cNvSpPr txBox="1">
            <a:spLocks/>
          </p:cNvSpPr>
          <p:nvPr/>
        </p:nvSpPr>
        <p:spPr bwMode="gray">
          <a:xfrm>
            <a:off x="332362" y="5453066"/>
            <a:ext cx="11520000" cy="460375"/>
          </a:xfrm>
          <a:prstGeom prst="rect">
            <a:avLst/>
          </a:prstGeom>
          <a:solidFill>
            <a:schemeClr val="bg1">
              <a:lumMod val="65000"/>
            </a:schemeClr>
          </a:solidFill>
        </p:spPr>
        <p:txBody>
          <a:bodyPr vert="horz" lIns="72000" tIns="72000" rIns="72000" bIns="72000" rtlCol="0" anchor="ctr">
            <a:noAutofit/>
          </a:bodyPr>
          <a:lstStyle>
            <a:defPPr>
              <a:defRPr lang="en-US"/>
            </a:defPPr>
            <a:lvl1pPr indent="0" algn="ctr">
              <a:buFont typeface="Arial" panose="020B0604020202020204" pitchFamily="34" charset="0"/>
              <a:buNone/>
              <a:defRPr sz="1600" b="1">
                <a:solidFill>
                  <a:schemeClr val="bg1"/>
                </a:solidFill>
              </a:defRPr>
            </a:lvl1pPr>
            <a:lvl2pPr marL="0" indent="0" algn="ctr">
              <a:buNone/>
              <a:defRPr sz="1400">
                <a:solidFill>
                  <a:schemeClr val="bg1"/>
                </a:solidFill>
              </a:defRPr>
            </a:lvl2pPr>
            <a:lvl3pPr marL="0" indent="0" algn="ctr">
              <a:buNone/>
              <a:defRPr sz="1400">
                <a:solidFill>
                  <a:schemeClr val="bg1"/>
                </a:solidFill>
              </a:defRPr>
            </a:lvl3pPr>
            <a:lvl4pPr marL="0" indent="0" algn="ctr">
              <a:buNone/>
              <a:defRPr sz="1400">
                <a:solidFill>
                  <a:schemeClr val="bg1"/>
                </a:solidFill>
              </a:defRPr>
            </a:lvl4pPr>
            <a:lvl5pPr marL="0" indent="0" algn="ctr">
              <a:buNone/>
              <a:defRPr sz="1400">
                <a:solidFill>
                  <a:schemeClr val="bg1"/>
                </a:solidFill>
              </a:defRPr>
            </a:lvl5pPr>
            <a:lvl6pPr marL="0" indent="0" algn="ctr">
              <a:buNone/>
              <a:defRPr sz="1400">
                <a:solidFill>
                  <a:schemeClr val="bg1"/>
                </a:solidFill>
              </a:defRPr>
            </a:lvl6pPr>
            <a:lvl7pPr marL="0" indent="0" algn="ctr">
              <a:buNone/>
              <a:defRPr sz="1400">
                <a:solidFill>
                  <a:schemeClr val="bg1"/>
                </a:solidFill>
              </a:defRPr>
            </a:lvl7pPr>
            <a:lvl8pPr marL="0" indent="0" algn="ctr">
              <a:buNone/>
              <a:defRPr sz="1400">
                <a:solidFill>
                  <a:schemeClr val="bg1"/>
                </a:solidFill>
              </a:defRPr>
            </a:lvl8pPr>
            <a:lvl9pPr marL="0" indent="0" algn="ctr">
              <a:buNone/>
              <a:defRPr sz="1400">
                <a:solidFill>
                  <a:schemeClr val="bg1"/>
                </a:solidFill>
              </a:defRPr>
            </a:lvl9pPr>
          </a:lstStyle>
          <a:p>
            <a:r>
              <a:rPr lang="en-US" dirty="0"/>
              <a:t>Faster fault reporting, diagnosis and repair = increased availability</a:t>
            </a:r>
          </a:p>
        </p:txBody>
      </p:sp>
      <p:sp>
        <p:nvSpPr>
          <p:cNvPr id="149" name="AutoShape 6">
            <a:hlinkClick r:id="rId5" action="ppaction://hlinksldjump" highlightClick="1"/>
            <a:extLst>
              <a:ext uri="{FF2B5EF4-FFF2-40B4-BE49-F238E27FC236}">
                <a16:creationId xmlns:a16="http://schemas.microsoft.com/office/drawing/2014/main" id="{5BCA7933-D3D0-4215-8B81-880C951FA9F7}"/>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208696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decel="50000" fill="hold" nodeType="withEffect">
                                  <p:stCondLst>
                                    <p:cond delay="0"/>
                                  </p:stCondLst>
                                  <p:childTnLst>
                                    <p:animMotion origin="layout" path="M 0 -2.96296E-6 L 0 -0.18194 " pathEditMode="relative" rAng="0" ptsTypes="AA">
                                      <p:cBhvr>
                                        <p:cTn id="6" dur="1000" fill="hold"/>
                                        <p:tgtEl>
                                          <p:spTgt spid="224"/>
                                        </p:tgtEl>
                                        <p:attrNameLst>
                                          <p:attrName>ppt_x</p:attrName>
                                          <p:attrName>ppt_y</p:attrName>
                                        </p:attrNameLst>
                                      </p:cBhvr>
                                      <p:rCtr x="0" y="-9097"/>
                                    </p:animMotion>
                                  </p:childTnLst>
                                </p:cTn>
                              </p:par>
                              <p:par>
                                <p:cTn id="7" presetID="64" presetClass="path" presetSubtype="0" decel="50000" fill="hold" nodeType="withEffect">
                                  <p:stCondLst>
                                    <p:cond delay="0"/>
                                  </p:stCondLst>
                                  <p:childTnLst>
                                    <p:animMotion origin="layout" path="M 0 -2.96296E-6 L 0 -0.18194 " pathEditMode="relative" rAng="0" ptsTypes="AA">
                                      <p:cBhvr>
                                        <p:cTn id="8" dur="1000" fill="hold"/>
                                        <p:tgtEl>
                                          <p:spTgt spid="259"/>
                                        </p:tgtEl>
                                        <p:attrNameLst>
                                          <p:attrName>ppt_x</p:attrName>
                                          <p:attrName>ppt_y</p:attrName>
                                        </p:attrNameLst>
                                      </p:cBhvr>
                                      <p:rCtr x="0" y="-9097"/>
                                    </p:animMotion>
                                  </p:childTnLst>
                                </p:cTn>
                              </p:par>
                              <p:par>
                                <p:cTn id="9" presetID="1" presetClass="entr" presetSubtype="0" fill="hold" nodeType="withEffect">
                                  <p:stCondLst>
                                    <p:cond delay="1000"/>
                                  </p:stCondLst>
                                  <p:childTnLst>
                                    <p:set>
                                      <p:cBhvr>
                                        <p:cTn id="10" dur="1" fill="hold">
                                          <p:stCondLst>
                                            <p:cond delay="0"/>
                                          </p:stCondLst>
                                        </p:cTn>
                                        <p:tgtEl>
                                          <p:spTgt spid="27"/>
                                        </p:tgtEl>
                                        <p:attrNameLst>
                                          <p:attrName>style.visibility</p:attrName>
                                        </p:attrNameLst>
                                      </p:cBhvr>
                                      <p:to>
                                        <p:strVal val="visible"/>
                                      </p:to>
                                    </p:set>
                                  </p:childTnLst>
                                </p:cTn>
                              </p:par>
                              <p:par>
                                <p:cTn id="11" presetID="1" presetClass="entr" presetSubtype="0" fill="hold" nodeType="withEffect">
                                  <p:stCondLst>
                                    <p:cond delay="1000"/>
                                  </p:stCondLst>
                                  <p:childTnLst>
                                    <p:set>
                                      <p:cBhvr>
                                        <p:cTn id="12" dur="1" fill="hold">
                                          <p:stCondLst>
                                            <p:cond delay="0"/>
                                          </p:stCondLst>
                                        </p:cTn>
                                        <p:tgtEl>
                                          <p:spTgt spid="71"/>
                                        </p:tgtEl>
                                        <p:attrNameLst>
                                          <p:attrName>style.visibility</p:attrName>
                                        </p:attrNameLst>
                                      </p:cBhvr>
                                      <p:to>
                                        <p:strVal val="visible"/>
                                      </p:to>
                                    </p:set>
                                  </p:childTnLst>
                                </p:cTn>
                              </p:par>
                              <p:par>
                                <p:cTn id="13" presetID="1" presetClass="exit" presetSubtype="0" fill="hold" nodeType="withEffect">
                                  <p:stCondLst>
                                    <p:cond delay="1000"/>
                                  </p:stCondLst>
                                  <p:childTnLst>
                                    <p:set>
                                      <p:cBhvr>
                                        <p:cTn id="14" dur="1" fill="hold">
                                          <p:stCondLst>
                                            <p:cond delay="0"/>
                                          </p:stCondLst>
                                        </p:cTn>
                                        <p:tgtEl>
                                          <p:spTgt spid="224"/>
                                        </p:tgtEl>
                                        <p:attrNameLst>
                                          <p:attrName>style.visibility</p:attrName>
                                        </p:attrNameLst>
                                      </p:cBhvr>
                                      <p:to>
                                        <p:strVal val="hidden"/>
                                      </p:to>
                                    </p:set>
                                  </p:childTnLst>
                                </p:cTn>
                              </p:par>
                              <p:par>
                                <p:cTn id="15" presetID="1" presetClass="exit" presetSubtype="0" fill="hold" nodeType="withEffect">
                                  <p:stCondLst>
                                    <p:cond delay="1000"/>
                                  </p:stCondLst>
                                  <p:childTnLst>
                                    <p:set>
                                      <p:cBhvr>
                                        <p:cTn id="16" dur="1" fill="hold">
                                          <p:stCondLst>
                                            <p:cond delay="0"/>
                                          </p:stCondLst>
                                        </p:cTn>
                                        <p:tgtEl>
                                          <p:spTgt spid="259"/>
                                        </p:tgtEl>
                                        <p:attrNameLst>
                                          <p:attrName>style.visibility</p:attrName>
                                        </p:attrNameLst>
                                      </p:cBhvr>
                                      <p:to>
                                        <p:strVal val="hidden"/>
                                      </p:to>
                                    </p:set>
                                  </p:childTnLst>
                                </p:cTn>
                              </p:par>
                              <p:par>
                                <p:cTn id="17" presetID="23" presetClass="entr" presetSubtype="16" fill="hold" nodeType="withEffect">
                                  <p:stCondLst>
                                    <p:cond delay="1500"/>
                                  </p:stCondLst>
                                  <p:childTnLst>
                                    <p:set>
                                      <p:cBhvr>
                                        <p:cTn id="18" dur="1" fill="hold">
                                          <p:stCondLst>
                                            <p:cond delay="0"/>
                                          </p:stCondLst>
                                        </p:cTn>
                                        <p:tgtEl>
                                          <p:spTgt spid="22"/>
                                        </p:tgtEl>
                                        <p:attrNameLst>
                                          <p:attrName>style.visibility</p:attrName>
                                        </p:attrNameLst>
                                      </p:cBhvr>
                                      <p:to>
                                        <p:strVal val="visible"/>
                                      </p:to>
                                    </p:set>
                                    <p:anim calcmode="lin" valueType="num">
                                      <p:cBhvr>
                                        <p:cTn id="19" dur="1000" fill="hold"/>
                                        <p:tgtEl>
                                          <p:spTgt spid="22"/>
                                        </p:tgtEl>
                                        <p:attrNameLst>
                                          <p:attrName>ppt_w</p:attrName>
                                        </p:attrNameLst>
                                      </p:cBhvr>
                                      <p:tavLst>
                                        <p:tav tm="0">
                                          <p:val>
                                            <p:fltVal val="0"/>
                                          </p:val>
                                        </p:tav>
                                        <p:tav tm="100000">
                                          <p:val>
                                            <p:strVal val="#ppt_w"/>
                                          </p:val>
                                        </p:tav>
                                      </p:tavLst>
                                    </p:anim>
                                    <p:anim calcmode="lin" valueType="num">
                                      <p:cBhvr>
                                        <p:cTn id="20" dur="1000" fill="hold"/>
                                        <p:tgtEl>
                                          <p:spTgt spid="22"/>
                                        </p:tgtEl>
                                        <p:attrNameLst>
                                          <p:attrName>ppt_h</p:attrName>
                                        </p:attrNameLst>
                                      </p:cBhvr>
                                      <p:tavLst>
                                        <p:tav tm="0">
                                          <p:val>
                                            <p:fltVal val="0"/>
                                          </p:val>
                                        </p:tav>
                                        <p:tav tm="100000">
                                          <p:val>
                                            <p:strVal val="#ppt_h"/>
                                          </p:val>
                                        </p:tav>
                                      </p:tavLst>
                                    </p:anim>
                                  </p:childTnLst>
                                </p:cTn>
                              </p:par>
                              <p:par>
                                <p:cTn id="21" presetID="42" presetClass="path" presetSubtype="0" fill="hold" nodeType="withEffect">
                                  <p:stCondLst>
                                    <p:cond delay="1500"/>
                                  </p:stCondLst>
                                  <p:childTnLst>
                                    <p:animMotion origin="layout" path="M 0.03867 -0.17963 L 0.00013 0.00232 " pathEditMode="relative" rAng="0" ptsTypes="AA">
                                      <p:cBhvr>
                                        <p:cTn id="22" dur="1000" fill="hold"/>
                                        <p:tgtEl>
                                          <p:spTgt spid="22"/>
                                        </p:tgtEl>
                                        <p:attrNameLst>
                                          <p:attrName>ppt_x</p:attrName>
                                          <p:attrName>ppt_y</p:attrName>
                                        </p:attrNameLst>
                                      </p:cBhvr>
                                      <p:rCtr x="-1927" y="9097"/>
                                    </p:animMotion>
                                  </p:childTnLst>
                                </p:cTn>
                              </p:par>
                              <p:par>
                                <p:cTn id="23" presetID="22" presetClass="entr" presetSubtype="1" fill="hold" grpId="0" nodeType="withEffect">
                                  <p:stCondLst>
                                    <p:cond delay="1600"/>
                                  </p:stCondLst>
                                  <p:childTnLst>
                                    <p:set>
                                      <p:cBhvr>
                                        <p:cTn id="24" dur="1" fill="hold">
                                          <p:stCondLst>
                                            <p:cond delay="0"/>
                                          </p:stCondLst>
                                        </p:cTn>
                                        <p:tgtEl>
                                          <p:spTgt spid="2"/>
                                        </p:tgtEl>
                                        <p:attrNameLst>
                                          <p:attrName>style.visibility</p:attrName>
                                        </p:attrNameLst>
                                      </p:cBhvr>
                                      <p:to>
                                        <p:strVal val="visible"/>
                                      </p:to>
                                    </p:set>
                                    <p:animEffect transition="in" filter="wipe(up)">
                                      <p:cBhvr>
                                        <p:cTn id="25" dur="1000"/>
                                        <p:tgtEl>
                                          <p:spTgt spid="2"/>
                                        </p:tgtEl>
                                      </p:cBhvr>
                                    </p:animEffect>
                                  </p:childTnLst>
                                </p:cTn>
                              </p:par>
                            </p:childTnLst>
                          </p:cTn>
                        </p:par>
                        <p:par>
                          <p:cTn id="26" fill="hold">
                            <p:stCondLst>
                              <p:cond delay="2600"/>
                            </p:stCondLst>
                            <p:childTnLst>
                              <p:par>
                                <p:cTn id="27" presetID="42" presetClass="entr" presetSubtype="0" fill="hold" grpId="0" nodeType="after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1000"/>
                                        <p:tgtEl>
                                          <p:spTgt spid="24"/>
                                        </p:tgtEl>
                                      </p:cBhvr>
                                    </p:animEffect>
                                    <p:anim calcmode="lin" valueType="num">
                                      <p:cBhvr>
                                        <p:cTn id="30" dur="1000" fill="hold"/>
                                        <p:tgtEl>
                                          <p:spTgt spid="24"/>
                                        </p:tgtEl>
                                        <p:attrNameLst>
                                          <p:attrName>ppt_x</p:attrName>
                                        </p:attrNameLst>
                                      </p:cBhvr>
                                      <p:tavLst>
                                        <p:tav tm="0">
                                          <p:val>
                                            <p:strVal val="#ppt_x"/>
                                          </p:val>
                                        </p:tav>
                                        <p:tav tm="100000">
                                          <p:val>
                                            <p:strVal val="#ppt_x"/>
                                          </p:val>
                                        </p:tav>
                                      </p:tavLst>
                                    </p:anim>
                                    <p:anim calcmode="lin" valueType="num">
                                      <p:cBhvr>
                                        <p:cTn id="31" dur="1000" fill="hold"/>
                                        <p:tgtEl>
                                          <p:spTgt spid="24"/>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1000"/>
                                        <p:tgtEl>
                                          <p:spTgt spid="31"/>
                                        </p:tgtEl>
                                      </p:cBhvr>
                                    </p:animEffect>
                                    <p:anim calcmode="lin" valueType="num">
                                      <p:cBhvr>
                                        <p:cTn id="35" dur="1000" fill="hold"/>
                                        <p:tgtEl>
                                          <p:spTgt spid="31"/>
                                        </p:tgtEl>
                                        <p:attrNameLst>
                                          <p:attrName>ppt_x</p:attrName>
                                        </p:attrNameLst>
                                      </p:cBhvr>
                                      <p:tavLst>
                                        <p:tav tm="0">
                                          <p:val>
                                            <p:strVal val="#ppt_x"/>
                                          </p:val>
                                        </p:tav>
                                        <p:tav tm="100000">
                                          <p:val>
                                            <p:strVal val="#ppt_x"/>
                                          </p:val>
                                        </p:tav>
                                      </p:tavLst>
                                    </p:anim>
                                    <p:anim calcmode="lin" valueType="num">
                                      <p:cBhvr>
                                        <p:cTn id="36" dur="1000" fill="hold"/>
                                        <p:tgtEl>
                                          <p:spTgt spid="31"/>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1000"/>
                                        <p:tgtEl>
                                          <p:spTgt spid="7"/>
                                        </p:tgtEl>
                                      </p:cBhvr>
                                    </p:animEffect>
                                    <p:anim calcmode="lin" valueType="num">
                                      <p:cBhvr>
                                        <p:cTn id="40" dur="1000" fill="hold"/>
                                        <p:tgtEl>
                                          <p:spTgt spid="7"/>
                                        </p:tgtEl>
                                        <p:attrNameLst>
                                          <p:attrName>ppt_x</p:attrName>
                                        </p:attrNameLst>
                                      </p:cBhvr>
                                      <p:tavLst>
                                        <p:tav tm="0">
                                          <p:val>
                                            <p:strVal val="#ppt_x"/>
                                          </p:val>
                                        </p:tav>
                                        <p:tav tm="100000">
                                          <p:val>
                                            <p:strVal val="#ppt_x"/>
                                          </p:val>
                                        </p:tav>
                                      </p:tavLst>
                                    </p:anim>
                                    <p:anim calcmode="lin" valueType="num">
                                      <p:cBhvr>
                                        <p:cTn id="41" dur="1000" fill="hold"/>
                                        <p:tgtEl>
                                          <p:spTgt spid="7"/>
                                        </p:tgtEl>
                                        <p:attrNameLst>
                                          <p:attrName>ppt_y</p:attrName>
                                        </p:attrNameLst>
                                      </p:cBhvr>
                                      <p:tavLst>
                                        <p:tav tm="0">
                                          <p:val>
                                            <p:strVal val="#ppt_y+.1"/>
                                          </p:val>
                                        </p:tav>
                                        <p:tav tm="100000">
                                          <p:val>
                                            <p:strVal val="#ppt_y"/>
                                          </p:val>
                                        </p:tav>
                                      </p:tavLst>
                                    </p:anim>
                                  </p:childTnLst>
                                </p:cTn>
                              </p:par>
                            </p:childTnLst>
                          </p:cTn>
                        </p:par>
                        <p:par>
                          <p:cTn id="42" fill="hold">
                            <p:stCondLst>
                              <p:cond delay="3600"/>
                            </p:stCondLst>
                            <p:childTnLst>
                              <p:par>
                                <p:cTn id="43" presetID="42" presetClass="entr" presetSubtype="0" fill="hold" grpId="0"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1000"/>
                                        <p:tgtEl>
                                          <p:spTgt spid="25"/>
                                        </p:tgtEl>
                                      </p:cBhvr>
                                    </p:animEffect>
                                    <p:anim calcmode="lin" valueType="num">
                                      <p:cBhvr>
                                        <p:cTn id="46" dur="1000" fill="hold"/>
                                        <p:tgtEl>
                                          <p:spTgt spid="25"/>
                                        </p:tgtEl>
                                        <p:attrNameLst>
                                          <p:attrName>ppt_x</p:attrName>
                                        </p:attrNameLst>
                                      </p:cBhvr>
                                      <p:tavLst>
                                        <p:tav tm="0">
                                          <p:val>
                                            <p:strVal val="#ppt_x"/>
                                          </p:val>
                                        </p:tav>
                                        <p:tav tm="100000">
                                          <p:val>
                                            <p:strVal val="#ppt_x"/>
                                          </p:val>
                                        </p:tav>
                                      </p:tavLst>
                                    </p:anim>
                                    <p:anim calcmode="lin" valueType="num">
                                      <p:cBhvr>
                                        <p:cTn id="47" dur="1000" fill="hold"/>
                                        <p:tgtEl>
                                          <p:spTgt spid="25"/>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32"/>
                                        </p:tgtEl>
                                        <p:attrNameLst>
                                          <p:attrName>style.visibility</p:attrName>
                                        </p:attrNameLst>
                                      </p:cBhvr>
                                      <p:to>
                                        <p:strVal val="visible"/>
                                      </p:to>
                                    </p:set>
                                    <p:animEffect transition="in" filter="fade">
                                      <p:cBhvr>
                                        <p:cTn id="50" dur="1000"/>
                                        <p:tgtEl>
                                          <p:spTgt spid="32"/>
                                        </p:tgtEl>
                                      </p:cBhvr>
                                    </p:animEffect>
                                    <p:anim calcmode="lin" valueType="num">
                                      <p:cBhvr>
                                        <p:cTn id="51" dur="1000" fill="hold"/>
                                        <p:tgtEl>
                                          <p:spTgt spid="32"/>
                                        </p:tgtEl>
                                        <p:attrNameLst>
                                          <p:attrName>ppt_x</p:attrName>
                                        </p:attrNameLst>
                                      </p:cBhvr>
                                      <p:tavLst>
                                        <p:tav tm="0">
                                          <p:val>
                                            <p:strVal val="#ppt_x"/>
                                          </p:val>
                                        </p:tav>
                                        <p:tav tm="100000">
                                          <p:val>
                                            <p:strVal val="#ppt_x"/>
                                          </p:val>
                                        </p:tav>
                                      </p:tavLst>
                                    </p:anim>
                                    <p:anim calcmode="lin" valueType="num">
                                      <p:cBhvr>
                                        <p:cTn id="52" dur="1000" fill="hold"/>
                                        <p:tgtEl>
                                          <p:spTgt spid="32"/>
                                        </p:tgtEl>
                                        <p:attrNameLst>
                                          <p:attrName>ppt_y</p:attrName>
                                        </p:attrNameLst>
                                      </p:cBhvr>
                                      <p:tavLst>
                                        <p:tav tm="0">
                                          <p:val>
                                            <p:strVal val="#ppt_y+.1"/>
                                          </p:val>
                                        </p:tav>
                                        <p:tav tm="100000">
                                          <p:val>
                                            <p:strVal val="#ppt_y"/>
                                          </p:val>
                                        </p:tav>
                                      </p:tavLst>
                                    </p:anim>
                                  </p:childTnLst>
                                </p:cTn>
                              </p:par>
                              <p:par>
                                <p:cTn id="53" presetID="42" presetClass="entr" presetSubtype="0" fill="hold" nodeType="withEffect">
                                  <p:stCondLst>
                                    <p:cond delay="0"/>
                                  </p:stCondLst>
                                  <p:childTnLst>
                                    <p:set>
                                      <p:cBhvr>
                                        <p:cTn id="54" dur="1" fill="hold">
                                          <p:stCondLst>
                                            <p:cond delay="0"/>
                                          </p:stCondLst>
                                        </p:cTn>
                                        <p:tgtEl>
                                          <p:spTgt spid="169"/>
                                        </p:tgtEl>
                                        <p:attrNameLst>
                                          <p:attrName>style.visibility</p:attrName>
                                        </p:attrNameLst>
                                      </p:cBhvr>
                                      <p:to>
                                        <p:strVal val="visible"/>
                                      </p:to>
                                    </p:set>
                                    <p:animEffect transition="in" filter="fade">
                                      <p:cBhvr>
                                        <p:cTn id="55" dur="1000"/>
                                        <p:tgtEl>
                                          <p:spTgt spid="169"/>
                                        </p:tgtEl>
                                      </p:cBhvr>
                                    </p:animEffect>
                                    <p:anim calcmode="lin" valueType="num">
                                      <p:cBhvr>
                                        <p:cTn id="56" dur="1000" fill="hold"/>
                                        <p:tgtEl>
                                          <p:spTgt spid="169"/>
                                        </p:tgtEl>
                                        <p:attrNameLst>
                                          <p:attrName>ppt_x</p:attrName>
                                        </p:attrNameLst>
                                      </p:cBhvr>
                                      <p:tavLst>
                                        <p:tav tm="0">
                                          <p:val>
                                            <p:strVal val="#ppt_x"/>
                                          </p:val>
                                        </p:tav>
                                        <p:tav tm="100000">
                                          <p:val>
                                            <p:strVal val="#ppt_x"/>
                                          </p:val>
                                        </p:tav>
                                      </p:tavLst>
                                    </p:anim>
                                    <p:anim calcmode="lin" valueType="num">
                                      <p:cBhvr>
                                        <p:cTn id="57" dur="1000" fill="hold"/>
                                        <p:tgtEl>
                                          <p:spTgt spid="169"/>
                                        </p:tgtEl>
                                        <p:attrNameLst>
                                          <p:attrName>ppt_y</p:attrName>
                                        </p:attrNameLst>
                                      </p:cBhvr>
                                      <p:tavLst>
                                        <p:tav tm="0">
                                          <p:val>
                                            <p:strVal val="#ppt_y+.1"/>
                                          </p:val>
                                        </p:tav>
                                        <p:tav tm="100000">
                                          <p:val>
                                            <p:strVal val="#ppt_y"/>
                                          </p:val>
                                        </p:tav>
                                      </p:tavLst>
                                    </p:anim>
                                  </p:childTnLst>
                                </p:cTn>
                              </p:par>
                            </p:childTnLst>
                          </p:cTn>
                        </p:par>
                        <p:par>
                          <p:cTn id="58" fill="hold">
                            <p:stCondLst>
                              <p:cond delay="4600"/>
                            </p:stCondLst>
                            <p:childTnLst>
                              <p:par>
                                <p:cTn id="59" presetID="42" presetClass="entr" presetSubtype="0" fill="hold" grpId="0" nodeType="after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1000"/>
                                        <p:tgtEl>
                                          <p:spTgt spid="26"/>
                                        </p:tgtEl>
                                      </p:cBhvr>
                                    </p:animEffect>
                                    <p:anim calcmode="lin" valueType="num">
                                      <p:cBhvr>
                                        <p:cTn id="62" dur="1000" fill="hold"/>
                                        <p:tgtEl>
                                          <p:spTgt spid="26"/>
                                        </p:tgtEl>
                                        <p:attrNameLst>
                                          <p:attrName>ppt_x</p:attrName>
                                        </p:attrNameLst>
                                      </p:cBhvr>
                                      <p:tavLst>
                                        <p:tav tm="0">
                                          <p:val>
                                            <p:strVal val="#ppt_x"/>
                                          </p:val>
                                        </p:tav>
                                        <p:tav tm="100000">
                                          <p:val>
                                            <p:strVal val="#ppt_x"/>
                                          </p:val>
                                        </p:tav>
                                      </p:tavLst>
                                    </p:anim>
                                    <p:anim calcmode="lin" valueType="num">
                                      <p:cBhvr>
                                        <p:cTn id="63" dur="1000" fill="hold"/>
                                        <p:tgtEl>
                                          <p:spTgt spid="26"/>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33"/>
                                        </p:tgtEl>
                                        <p:attrNameLst>
                                          <p:attrName>style.visibility</p:attrName>
                                        </p:attrNameLst>
                                      </p:cBhvr>
                                      <p:to>
                                        <p:strVal val="visible"/>
                                      </p:to>
                                    </p:set>
                                    <p:animEffect transition="in" filter="fade">
                                      <p:cBhvr>
                                        <p:cTn id="66" dur="1000"/>
                                        <p:tgtEl>
                                          <p:spTgt spid="33"/>
                                        </p:tgtEl>
                                      </p:cBhvr>
                                    </p:animEffect>
                                    <p:anim calcmode="lin" valueType="num">
                                      <p:cBhvr>
                                        <p:cTn id="67" dur="1000" fill="hold"/>
                                        <p:tgtEl>
                                          <p:spTgt spid="33"/>
                                        </p:tgtEl>
                                        <p:attrNameLst>
                                          <p:attrName>ppt_x</p:attrName>
                                        </p:attrNameLst>
                                      </p:cBhvr>
                                      <p:tavLst>
                                        <p:tav tm="0">
                                          <p:val>
                                            <p:strVal val="#ppt_x"/>
                                          </p:val>
                                        </p:tav>
                                        <p:tav tm="100000">
                                          <p:val>
                                            <p:strVal val="#ppt_x"/>
                                          </p:val>
                                        </p:tav>
                                      </p:tavLst>
                                    </p:anim>
                                    <p:anim calcmode="lin" valueType="num">
                                      <p:cBhvr>
                                        <p:cTn id="68" dur="1000" fill="hold"/>
                                        <p:tgtEl>
                                          <p:spTgt spid="33"/>
                                        </p:tgtEl>
                                        <p:attrNameLst>
                                          <p:attrName>ppt_y</p:attrName>
                                        </p:attrNameLst>
                                      </p:cBhvr>
                                      <p:tavLst>
                                        <p:tav tm="0">
                                          <p:val>
                                            <p:strVal val="#ppt_y+.1"/>
                                          </p:val>
                                        </p:tav>
                                        <p:tav tm="100000">
                                          <p:val>
                                            <p:strVal val="#ppt_y"/>
                                          </p:val>
                                        </p:tav>
                                      </p:tavLst>
                                    </p:anim>
                                  </p:childTnLst>
                                </p:cTn>
                              </p:par>
                              <p:par>
                                <p:cTn id="69" presetID="42" presetClass="entr" presetSubtype="0" fill="hold" nodeType="withEffect">
                                  <p:stCondLst>
                                    <p:cond delay="0"/>
                                  </p:stCondLst>
                                  <p:childTnLst>
                                    <p:set>
                                      <p:cBhvr>
                                        <p:cTn id="70" dur="1" fill="hold">
                                          <p:stCondLst>
                                            <p:cond delay="0"/>
                                          </p:stCondLst>
                                        </p:cTn>
                                        <p:tgtEl>
                                          <p:spTgt spid="164"/>
                                        </p:tgtEl>
                                        <p:attrNameLst>
                                          <p:attrName>style.visibility</p:attrName>
                                        </p:attrNameLst>
                                      </p:cBhvr>
                                      <p:to>
                                        <p:strVal val="visible"/>
                                      </p:to>
                                    </p:set>
                                    <p:animEffect transition="in" filter="fade">
                                      <p:cBhvr>
                                        <p:cTn id="71" dur="1000"/>
                                        <p:tgtEl>
                                          <p:spTgt spid="164"/>
                                        </p:tgtEl>
                                      </p:cBhvr>
                                    </p:animEffect>
                                    <p:anim calcmode="lin" valueType="num">
                                      <p:cBhvr>
                                        <p:cTn id="72" dur="1000" fill="hold"/>
                                        <p:tgtEl>
                                          <p:spTgt spid="164"/>
                                        </p:tgtEl>
                                        <p:attrNameLst>
                                          <p:attrName>ppt_x</p:attrName>
                                        </p:attrNameLst>
                                      </p:cBhvr>
                                      <p:tavLst>
                                        <p:tav tm="0">
                                          <p:val>
                                            <p:strVal val="#ppt_x"/>
                                          </p:val>
                                        </p:tav>
                                        <p:tav tm="100000">
                                          <p:val>
                                            <p:strVal val="#ppt_x"/>
                                          </p:val>
                                        </p:tav>
                                      </p:tavLst>
                                    </p:anim>
                                    <p:anim calcmode="lin" valueType="num">
                                      <p:cBhvr>
                                        <p:cTn id="73" dur="1000" fill="hold"/>
                                        <p:tgtEl>
                                          <p:spTgt spid="164"/>
                                        </p:tgtEl>
                                        <p:attrNameLst>
                                          <p:attrName>ppt_y</p:attrName>
                                        </p:attrNameLst>
                                      </p:cBhvr>
                                      <p:tavLst>
                                        <p:tav tm="0">
                                          <p:val>
                                            <p:strVal val="#ppt_y+.1"/>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22" presetClass="entr" presetSubtype="8" fill="hold" grpId="0" nodeType="clickEffect">
                                  <p:stCondLst>
                                    <p:cond delay="0"/>
                                  </p:stCondLst>
                                  <p:childTnLst>
                                    <p:set>
                                      <p:cBhvr>
                                        <p:cTn id="77" dur="1" fill="hold">
                                          <p:stCondLst>
                                            <p:cond delay="0"/>
                                          </p:stCondLst>
                                        </p:cTn>
                                        <p:tgtEl>
                                          <p:spTgt spid="148"/>
                                        </p:tgtEl>
                                        <p:attrNameLst>
                                          <p:attrName>style.visibility</p:attrName>
                                        </p:attrNameLst>
                                      </p:cBhvr>
                                      <p:to>
                                        <p:strVal val="visible"/>
                                      </p:to>
                                    </p:set>
                                    <p:animEffect transition="in" filter="wipe(left)">
                                      <p:cBhvr>
                                        <p:cTn id="78" dur="500"/>
                                        <p:tgtEl>
                                          <p:spTgt spid="1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31" grpId="0" animBg="1"/>
      <p:bldP spid="32" grpId="0" animBg="1"/>
      <p:bldP spid="33" grpId="0" animBg="1"/>
      <p:bldP spid="2" grpId="0" animBg="1"/>
      <p:bldP spid="148"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2" name="Group 101"/>
          <p:cNvGrpSpPr/>
          <p:nvPr/>
        </p:nvGrpSpPr>
        <p:grpSpPr bwMode="gray">
          <a:xfrm>
            <a:off x="4610241" y="2604655"/>
            <a:ext cx="2915718" cy="2047104"/>
            <a:chOff x="6420519" y="3201880"/>
            <a:chExt cx="357117" cy="250729"/>
          </a:xfrm>
          <a:solidFill>
            <a:schemeClr val="bg1"/>
          </a:solidFill>
        </p:grpSpPr>
        <p:sp>
          <p:nvSpPr>
            <p:cNvPr id="103" name="Rounded Rectangle 24"/>
            <p:cNvSpPr/>
            <p:nvPr/>
          </p:nvSpPr>
          <p:spPr bwMode="gray">
            <a:xfrm>
              <a:off x="6420519" y="3378176"/>
              <a:ext cx="357117" cy="74433"/>
            </a:xfrm>
            <a:custGeom>
              <a:avLst/>
              <a:gdLst>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6079 w 2987325"/>
                <a:gd name="connsiteY9" fmla="*/ 446664 h 532759"/>
                <a:gd name="connsiteX10" fmla="*/ 2987325 w 2987325"/>
                <a:gd name="connsiteY10" fmla="*/ 452837 h 532759"/>
                <a:gd name="connsiteX11" fmla="*/ 2987324 w 2987325"/>
                <a:gd name="connsiteY11" fmla="*/ 452837 h 532759"/>
                <a:gd name="connsiteX12" fmla="*/ 2907402 w 2987325"/>
                <a:gd name="connsiteY12" fmla="*/ 532759 h 532759"/>
                <a:gd name="connsiteX13" fmla="*/ 79922 w 2987325"/>
                <a:gd name="connsiteY13" fmla="*/ 532758 h 532759"/>
                <a:gd name="connsiteX14" fmla="*/ 0 w 2987325"/>
                <a:gd name="connsiteY14" fmla="*/ 452837 h 532759"/>
                <a:gd name="connsiteX15" fmla="*/ 1247 w 2987325"/>
                <a:gd name="connsiteY15" fmla="*/ 446664 h 532759"/>
                <a:gd name="connsiteX16" fmla="*/ 249936 w 2987325"/>
                <a:gd name="connsiteY16" fmla="*/ 367416 h 532759"/>
                <a:gd name="connsiteX17" fmla="*/ 0 w 2987325"/>
                <a:gd name="connsiteY17" fmla="*/ 369634 h 532759"/>
                <a:gd name="connsiteX18" fmla="*/ 325705 w 2987325"/>
                <a:gd name="connsiteY18" fmla="*/ 43929 h 532759"/>
                <a:gd name="connsiteX19" fmla="*/ 415602 w 2987325"/>
                <a:gd name="connsiteY19"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6079 w 2987325"/>
                <a:gd name="connsiteY9" fmla="*/ 446664 h 532759"/>
                <a:gd name="connsiteX10" fmla="*/ 2987325 w 2987325"/>
                <a:gd name="connsiteY10" fmla="*/ 452837 h 532759"/>
                <a:gd name="connsiteX11" fmla="*/ 2987324 w 2987325"/>
                <a:gd name="connsiteY11" fmla="*/ 452837 h 532759"/>
                <a:gd name="connsiteX12" fmla="*/ 2907402 w 2987325"/>
                <a:gd name="connsiteY12" fmla="*/ 532759 h 532759"/>
                <a:gd name="connsiteX13" fmla="*/ 79922 w 2987325"/>
                <a:gd name="connsiteY13" fmla="*/ 532758 h 532759"/>
                <a:gd name="connsiteX14" fmla="*/ 0 w 2987325"/>
                <a:gd name="connsiteY14" fmla="*/ 452837 h 532759"/>
                <a:gd name="connsiteX15" fmla="*/ 1247 w 2987325"/>
                <a:gd name="connsiteY15" fmla="*/ 446664 h 532759"/>
                <a:gd name="connsiteX16" fmla="*/ 0 w 2987325"/>
                <a:gd name="connsiteY16" fmla="*/ 369634 h 532759"/>
                <a:gd name="connsiteX17" fmla="*/ 325705 w 2987325"/>
                <a:gd name="connsiteY17" fmla="*/ 43929 h 532759"/>
                <a:gd name="connsiteX18" fmla="*/ 415602 w 2987325"/>
                <a:gd name="connsiteY18" fmla="*/ 0 h 532759"/>
                <a:gd name="connsiteX0" fmla="*/ 0 w 3062292"/>
                <a:gd name="connsiteY0" fmla="*/ 452836 h 532759"/>
                <a:gd name="connsiteX1" fmla="*/ 0 w 3062292"/>
                <a:gd name="connsiteY1" fmla="*/ 452837 h 532759"/>
                <a:gd name="connsiteX2" fmla="*/ 0 w 3062292"/>
                <a:gd name="connsiteY2" fmla="*/ 452837 h 532759"/>
                <a:gd name="connsiteX3" fmla="*/ 0 w 3062292"/>
                <a:gd name="connsiteY3" fmla="*/ 452836 h 532759"/>
                <a:gd name="connsiteX4" fmla="*/ 415602 w 3062292"/>
                <a:gd name="connsiteY4" fmla="*/ 0 h 532759"/>
                <a:gd name="connsiteX5" fmla="*/ 2571722 w 3062292"/>
                <a:gd name="connsiteY5" fmla="*/ 0 h 532759"/>
                <a:gd name="connsiteX6" fmla="*/ 2661619 w 3062292"/>
                <a:gd name="connsiteY6" fmla="*/ 43929 h 532759"/>
                <a:gd name="connsiteX7" fmla="*/ 2987324 w 3062292"/>
                <a:gd name="connsiteY7" fmla="*/ 369634 h 532759"/>
                <a:gd name="connsiteX8" fmla="*/ 2987324 w 3062292"/>
                <a:gd name="connsiteY8" fmla="*/ 446664 h 532759"/>
                <a:gd name="connsiteX9" fmla="*/ 3062279 w 3062292"/>
                <a:gd name="connsiteY9" fmla="*/ 423804 h 532759"/>
                <a:gd name="connsiteX10" fmla="*/ 2987325 w 3062292"/>
                <a:gd name="connsiteY10" fmla="*/ 452837 h 532759"/>
                <a:gd name="connsiteX11" fmla="*/ 2987324 w 3062292"/>
                <a:gd name="connsiteY11" fmla="*/ 452837 h 532759"/>
                <a:gd name="connsiteX12" fmla="*/ 2907402 w 3062292"/>
                <a:gd name="connsiteY12" fmla="*/ 532759 h 532759"/>
                <a:gd name="connsiteX13" fmla="*/ 79922 w 3062292"/>
                <a:gd name="connsiteY13" fmla="*/ 532758 h 532759"/>
                <a:gd name="connsiteX14" fmla="*/ 0 w 3062292"/>
                <a:gd name="connsiteY14" fmla="*/ 452837 h 532759"/>
                <a:gd name="connsiteX15" fmla="*/ 1247 w 3062292"/>
                <a:gd name="connsiteY15" fmla="*/ 446664 h 532759"/>
                <a:gd name="connsiteX16" fmla="*/ 0 w 3062292"/>
                <a:gd name="connsiteY16" fmla="*/ 369634 h 532759"/>
                <a:gd name="connsiteX17" fmla="*/ 325705 w 3062292"/>
                <a:gd name="connsiteY17" fmla="*/ 43929 h 532759"/>
                <a:gd name="connsiteX18" fmla="*/ 415602 w 3062292"/>
                <a:gd name="connsiteY18"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7325 w 2987325"/>
                <a:gd name="connsiteY9" fmla="*/ 452837 h 532759"/>
                <a:gd name="connsiteX10" fmla="*/ 2987324 w 2987325"/>
                <a:gd name="connsiteY10" fmla="*/ 452837 h 532759"/>
                <a:gd name="connsiteX11" fmla="*/ 2907402 w 2987325"/>
                <a:gd name="connsiteY11" fmla="*/ 532759 h 532759"/>
                <a:gd name="connsiteX12" fmla="*/ 79922 w 2987325"/>
                <a:gd name="connsiteY12" fmla="*/ 532758 h 532759"/>
                <a:gd name="connsiteX13" fmla="*/ 0 w 2987325"/>
                <a:gd name="connsiteY13" fmla="*/ 452837 h 532759"/>
                <a:gd name="connsiteX14" fmla="*/ 1247 w 2987325"/>
                <a:gd name="connsiteY14" fmla="*/ 446664 h 532759"/>
                <a:gd name="connsiteX15" fmla="*/ 0 w 2987325"/>
                <a:gd name="connsiteY15" fmla="*/ 369634 h 532759"/>
                <a:gd name="connsiteX16" fmla="*/ 325705 w 2987325"/>
                <a:gd name="connsiteY16" fmla="*/ 43929 h 532759"/>
                <a:gd name="connsiteX17" fmla="*/ 415602 w 2987325"/>
                <a:gd name="connsiteY17"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71144 w 3071144"/>
                <a:gd name="connsiteY8" fmla="*/ 416184 h 532759"/>
                <a:gd name="connsiteX9" fmla="*/ 2987325 w 3071144"/>
                <a:gd name="connsiteY9" fmla="*/ 452837 h 532759"/>
                <a:gd name="connsiteX10" fmla="*/ 2987324 w 3071144"/>
                <a:gd name="connsiteY10" fmla="*/ 452837 h 532759"/>
                <a:gd name="connsiteX11" fmla="*/ 2907402 w 3071144"/>
                <a:gd name="connsiteY11" fmla="*/ 532759 h 532759"/>
                <a:gd name="connsiteX12" fmla="*/ 79922 w 3071144"/>
                <a:gd name="connsiteY12" fmla="*/ 532758 h 532759"/>
                <a:gd name="connsiteX13" fmla="*/ 0 w 3071144"/>
                <a:gd name="connsiteY13" fmla="*/ 452837 h 532759"/>
                <a:gd name="connsiteX14" fmla="*/ 1247 w 3071144"/>
                <a:gd name="connsiteY14" fmla="*/ 446664 h 532759"/>
                <a:gd name="connsiteX15" fmla="*/ 0 w 3071144"/>
                <a:gd name="connsiteY15" fmla="*/ 369634 h 532759"/>
                <a:gd name="connsiteX16" fmla="*/ 325705 w 3071144"/>
                <a:gd name="connsiteY16" fmla="*/ 43929 h 532759"/>
                <a:gd name="connsiteX17" fmla="*/ 415602 w 3071144"/>
                <a:gd name="connsiteY17"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50046 w 3071144"/>
                <a:gd name="connsiteY8" fmla="*/ 399674 h 532759"/>
                <a:gd name="connsiteX9" fmla="*/ 3071144 w 3071144"/>
                <a:gd name="connsiteY9" fmla="*/ 416184 h 532759"/>
                <a:gd name="connsiteX10" fmla="*/ 2987325 w 3071144"/>
                <a:gd name="connsiteY10" fmla="*/ 452837 h 532759"/>
                <a:gd name="connsiteX11" fmla="*/ 2987324 w 3071144"/>
                <a:gd name="connsiteY11" fmla="*/ 452837 h 532759"/>
                <a:gd name="connsiteX12" fmla="*/ 2907402 w 3071144"/>
                <a:gd name="connsiteY12" fmla="*/ 532759 h 532759"/>
                <a:gd name="connsiteX13" fmla="*/ 79922 w 3071144"/>
                <a:gd name="connsiteY13" fmla="*/ 532758 h 532759"/>
                <a:gd name="connsiteX14" fmla="*/ 0 w 3071144"/>
                <a:gd name="connsiteY14" fmla="*/ 452837 h 532759"/>
                <a:gd name="connsiteX15" fmla="*/ 1247 w 3071144"/>
                <a:gd name="connsiteY15" fmla="*/ 446664 h 532759"/>
                <a:gd name="connsiteX16" fmla="*/ 0 w 3071144"/>
                <a:gd name="connsiteY16" fmla="*/ 369634 h 532759"/>
                <a:gd name="connsiteX17" fmla="*/ 325705 w 3071144"/>
                <a:gd name="connsiteY17" fmla="*/ 43929 h 532759"/>
                <a:gd name="connsiteX18" fmla="*/ 415602 w 3071144"/>
                <a:gd name="connsiteY18"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71144 w 3071144"/>
                <a:gd name="connsiteY8" fmla="*/ 416184 h 532759"/>
                <a:gd name="connsiteX9" fmla="*/ 2987325 w 3071144"/>
                <a:gd name="connsiteY9" fmla="*/ 452837 h 532759"/>
                <a:gd name="connsiteX10" fmla="*/ 2987324 w 3071144"/>
                <a:gd name="connsiteY10" fmla="*/ 452837 h 532759"/>
                <a:gd name="connsiteX11" fmla="*/ 2907402 w 3071144"/>
                <a:gd name="connsiteY11" fmla="*/ 532759 h 532759"/>
                <a:gd name="connsiteX12" fmla="*/ 79922 w 3071144"/>
                <a:gd name="connsiteY12" fmla="*/ 532758 h 532759"/>
                <a:gd name="connsiteX13" fmla="*/ 0 w 3071144"/>
                <a:gd name="connsiteY13" fmla="*/ 452837 h 532759"/>
                <a:gd name="connsiteX14" fmla="*/ 1247 w 3071144"/>
                <a:gd name="connsiteY14" fmla="*/ 446664 h 532759"/>
                <a:gd name="connsiteX15" fmla="*/ 0 w 3071144"/>
                <a:gd name="connsiteY15" fmla="*/ 369634 h 532759"/>
                <a:gd name="connsiteX16" fmla="*/ 325705 w 3071144"/>
                <a:gd name="connsiteY16" fmla="*/ 43929 h 532759"/>
                <a:gd name="connsiteX17" fmla="*/ 415602 w 3071144"/>
                <a:gd name="connsiteY17"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5 w 2987325"/>
                <a:gd name="connsiteY8" fmla="*/ 452837 h 532759"/>
                <a:gd name="connsiteX9" fmla="*/ 2987324 w 2987325"/>
                <a:gd name="connsiteY9" fmla="*/ 452837 h 532759"/>
                <a:gd name="connsiteX10" fmla="*/ 2907402 w 2987325"/>
                <a:gd name="connsiteY10" fmla="*/ 532759 h 532759"/>
                <a:gd name="connsiteX11" fmla="*/ 79922 w 2987325"/>
                <a:gd name="connsiteY11" fmla="*/ 532758 h 532759"/>
                <a:gd name="connsiteX12" fmla="*/ 0 w 2987325"/>
                <a:gd name="connsiteY12" fmla="*/ 452837 h 532759"/>
                <a:gd name="connsiteX13" fmla="*/ 1247 w 2987325"/>
                <a:gd name="connsiteY13" fmla="*/ 446664 h 532759"/>
                <a:gd name="connsiteX14" fmla="*/ 0 w 2987325"/>
                <a:gd name="connsiteY14" fmla="*/ 369634 h 532759"/>
                <a:gd name="connsiteX15" fmla="*/ 325705 w 2987325"/>
                <a:gd name="connsiteY15" fmla="*/ 43929 h 532759"/>
                <a:gd name="connsiteX16" fmla="*/ 415602 w 2987325"/>
                <a:gd name="connsiteY16" fmla="*/ 0 h 532759"/>
                <a:gd name="connsiteX0" fmla="*/ 52095 w 3039420"/>
                <a:gd name="connsiteY0" fmla="*/ 452836 h 532759"/>
                <a:gd name="connsiteX1" fmla="*/ 52095 w 3039420"/>
                <a:gd name="connsiteY1" fmla="*/ 452837 h 532759"/>
                <a:gd name="connsiteX2" fmla="*/ 52095 w 3039420"/>
                <a:gd name="connsiteY2" fmla="*/ 452837 h 532759"/>
                <a:gd name="connsiteX3" fmla="*/ 52095 w 3039420"/>
                <a:gd name="connsiteY3" fmla="*/ 452836 h 532759"/>
                <a:gd name="connsiteX4" fmla="*/ 467697 w 3039420"/>
                <a:gd name="connsiteY4" fmla="*/ 0 h 532759"/>
                <a:gd name="connsiteX5" fmla="*/ 2623817 w 3039420"/>
                <a:gd name="connsiteY5" fmla="*/ 0 h 532759"/>
                <a:gd name="connsiteX6" fmla="*/ 2713714 w 3039420"/>
                <a:gd name="connsiteY6" fmla="*/ 43929 h 532759"/>
                <a:gd name="connsiteX7" fmla="*/ 3039419 w 3039420"/>
                <a:gd name="connsiteY7" fmla="*/ 369634 h 532759"/>
                <a:gd name="connsiteX8" fmla="*/ 3039420 w 3039420"/>
                <a:gd name="connsiteY8" fmla="*/ 452837 h 532759"/>
                <a:gd name="connsiteX9" fmla="*/ 3039419 w 3039420"/>
                <a:gd name="connsiteY9" fmla="*/ 452837 h 532759"/>
                <a:gd name="connsiteX10" fmla="*/ 2959497 w 3039420"/>
                <a:gd name="connsiteY10" fmla="*/ 532759 h 532759"/>
                <a:gd name="connsiteX11" fmla="*/ 132017 w 3039420"/>
                <a:gd name="connsiteY11" fmla="*/ 532758 h 532759"/>
                <a:gd name="connsiteX12" fmla="*/ 52095 w 3039420"/>
                <a:gd name="connsiteY12" fmla="*/ 452837 h 532759"/>
                <a:gd name="connsiteX13" fmla="*/ 2 w 3039420"/>
                <a:gd name="connsiteY13" fmla="*/ 414279 h 532759"/>
                <a:gd name="connsiteX14" fmla="*/ 52095 w 3039420"/>
                <a:gd name="connsiteY14" fmla="*/ 369634 h 532759"/>
                <a:gd name="connsiteX15" fmla="*/ 377800 w 3039420"/>
                <a:gd name="connsiteY15" fmla="*/ 43929 h 532759"/>
                <a:gd name="connsiteX16" fmla="*/ 467697 w 3039420"/>
                <a:gd name="connsiteY16"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5 w 2987325"/>
                <a:gd name="connsiteY8" fmla="*/ 452837 h 532759"/>
                <a:gd name="connsiteX9" fmla="*/ 2987324 w 2987325"/>
                <a:gd name="connsiteY9" fmla="*/ 452837 h 532759"/>
                <a:gd name="connsiteX10" fmla="*/ 2907402 w 2987325"/>
                <a:gd name="connsiteY10" fmla="*/ 532759 h 532759"/>
                <a:gd name="connsiteX11" fmla="*/ 79922 w 2987325"/>
                <a:gd name="connsiteY11" fmla="*/ 532758 h 532759"/>
                <a:gd name="connsiteX12" fmla="*/ 0 w 2987325"/>
                <a:gd name="connsiteY12" fmla="*/ 452837 h 532759"/>
                <a:gd name="connsiteX13" fmla="*/ 0 w 2987325"/>
                <a:gd name="connsiteY13" fmla="*/ 369634 h 532759"/>
                <a:gd name="connsiteX14" fmla="*/ 325705 w 2987325"/>
                <a:gd name="connsiteY14" fmla="*/ 43929 h 532759"/>
                <a:gd name="connsiteX15" fmla="*/ 415602 w 2987325"/>
                <a:gd name="connsiteY15" fmla="*/ 0 h 53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7325" h="532759">
                  <a:moveTo>
                    <a:pt x="0" y="452836"/>
                  </a:moveTo>
                  <a:lnTo>
                    <a:pt x="0" y="452837"/>
                  </a:lnTo>
                  <a:lnTo>
                    <a:pt x="0" y="452837"/>
                  </a:lnTo>
                  <a:lnTo>
                    <a:pt x="0" y="452836"/>
                  </a:lnTo>
                  <a:close/>
                  <a:moveTo>
                    <a:pt x="415602" y="0"/>
                  </a:moveTo>
                  <a:lnTo>
                    <a:pt x="2571722" y="0"/>
                  </a:lnTo>
                  <a:cubicBezTo>
                    <a:pt x="2608397" y="0"/>
                    <a:pt x="2641174" y="16692"/>
                    <a:pt x="2661619" y="43929"/>
                  </a:cubicBezTo>
                  <a:lnTo>
                    <a:pt x="2987324" y="369634"/>
                  </a:lnTo>
                  <a:cubicBezTo>
                    <a:pt x="2987324" y="397368"/>
                    <a:pt x="2987325" y="425103"/>
                    <a:pt x="2987325" y="452837"/>
                  </a:cubicBezTo>
                  <a:lnTo>
                    <a:pt x="2987324" y="452837"/>
                  </a:lnTo>
                  <a:cubicBezTo>
                    <a:pt x="2987324" y="496977"/>
                    <a:pt x="2951542" y="532759"/>
                    <a:pt x="2907402" y="532759"/>
                  </a:cubicBezTo>
                  <a:lnTo>
                    <a:pt x="79922" y="532758"/>
                  </a:lnTo>
                  <a:cubicBezTo>
                    <a:pt x="35782" y="532758"/>
                    <a:pt x="1" y="496977"/>
                    <a:pt x="0" y="452837"/>
                  </a:cubicBezTo>
                  <a:lnTo>
                    <a:pt x="0" y="369634"/>
                  </a:lnTo>
                  <a:lnTo>
                    <a:pt x="325705" y="43929"/>
                  </a:lnTo>
                  <a:cubicBezTo>
                    <a:pt x="346150" y="16692"/>
                    <a:pt x="378927" y="0"/>
                    <a:pt x="415602" y="0"/>
                  </a:cubicBezTo>
                  <a:close/>
                </a:path>
              </a:pathLst>
            </a:cu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lt1"/>
                </a:solidFill>
              </a:endParaRPr>
            </a:p>
          </p:txBody>
        </p:sp>
        <p:sp>
          <p:nvSpPr>
            <p:cNvPr id="104" name="Rounded Rectangle 103"/>
            <p:cNvSpPr/>
            <p:nvPr/>
          </p:nvSpPr>
          <p:spPr bwMode="gray">
            <a:xfrm>
              <a:off x="6464260" y="3201880"/>
              <a:ext cx="269634" cy="170853"/>
            </a:xfrm>
            <a:prstGeom prst="roundRect">
              <a:avLst>
                <a:gd name="adj" fmla="val 6562"/>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lt1"/>
                </a:solidFill>
              </a:endParaRPr>
            </a:p>
          </p:txBody>
        </p:sp>
        <p:sp>
          <p:nvSpPr>
            <p:cNvPr id="105" name="Rounded Rectangle 104"/>
            <p:cNvSpPr/>
            <p:nvPr/>
          </p:nvSpPr>
          <p:spPr bwMode="gray">
            <a:xfrm>
              <a:off x="6475373" y="3218276"/>
              <a:ext cx="247408" cy="139718"/>
            </a:xfrm>
            <a:prstGeom prst="roundRect">
              <a:avLst>
                <a:gd name="adj" fmla="val 3574"/>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lt1"/>
                </a:solidFill>
              </a:endParaRPr>
            </a:p>
          </p:txBody>
        </p:sp>
        <p:sp>
          <p:nvSpPr>
            <p:cNvPr id="106" name="Rounded Rectangle 24"/>
            <p:cNvSpPr/>
            <p:nvPr/>
          </p:nvSpPr>
          <p:spPr bwMode="gray">
            <a:xfrm flipH="1">
              <a:off x="6541718" y="3414663"/>
              <a:ext cx="114718" cy="19999"/>
            </a:xfrm>
            <a:custGeom>
              <a:avLst/>
              <a:gdLst/>
              <a:ahLst/>
              <a:cxnLst/>
              <a:rect l="l" t="t" r="r" b="b"/>
              <a:pathLst>
                <a:path w="1583620" h="236220">
                  <a:moveTo>
                    <a:pt x="768950" y="181801"/>
                  </a:moveTo>
                  <a:lnTo>
                    <a:pt x="24017" y="181801"/>
                  </a:lnTo>
                  <a:lnTo>
                    <a:pt x="0" y="236220"/>
                  </a:lnTo>
                  <a:lnTo>
                    <a:pt x="768950" y="236220"/>
                  </a:lnTo>
                  <a:close/>
                  <a:moveTo>
                    <a:pt x="1559604" y="181801"/>
                  </a:moveTo>
                  <a:lnTo>
                    <a:pt x="814669" y="181801"/>
                  </a:lnTo>
                  <a:lnTo>
                    <a:pt x="814669" y="236220"/>
                  </a:lnTo>
                  <a:lnTo>
                    <a:pt x="1583620" y="236220"/>
                  </a:lnTo>
                  <a:close/>
                  <a:moveTo>
                    <a:pt x="1479370" y="0"/>
                  </a:moveTo>
                  <a:lnTo>
                    <a:pt x="104252" y="0"/>
                  </a:lnTo>
                  <a:lnTo>
                    <a:pt x="44195" y="136082"/>
                  </a:lnTo>
                  <a:lnTo>
                    <a:pt x="1539427" y="136082"/>
                  </a:lnTo>
                  <a:close/>
                </a:path>
              </a:pathLst>
            </a:cu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solidFill>
                  <a:schemeClr val="lt1"/>
                </a:solidFill>
              </a:endParaRPr>
            </a:p>
          </p:txBody>
        </p:sp>
      </p:grpSp>
      <p:grpSp>
        <p:nvGrpSpPr>
          <p:cNvPr id="107" name="Group 106"/>
          <p:cNvGrpSpPr/>
          <p:nvPr/>
        </p:nvGrpSpPr>
        <p:grpSpPr bwMode="gray">
          <a:xfrm>
            <a:off x="5221087" y="2850655"/>
            <a:ext cx="1790583" cy="952279"/>
            <a:chOff x="5232662" y="2746828"/>
            <a:chExt cx="1790583" cy="952279"/>
          </a:xfrm>
        </p:grpSpPr>
        <p:grpSp>
          <p:nvGrpSpPr>
            <p:cNvPr id="140" name="Group 139"/>
            <p:cNvGrpSpPr/>
            <p:nvPr/>
          </p:nvGrpSpPr>
          <p:grpSpPr bwMode="gray">
            <a:xfrm>
              <a:off x="6260366" y="2807671"/>
              <a:ext cx="762879" cy="833689"/>
              <a:chOff x="3891745" y="-1887724"/>
              <a:chExt cx="315574" cy="655959"/>
            </a:xfrm>
          </p:grpSpPr>
          <p:cxnSp>
            <p:nvCxnSpPr>
              <p:cNvPr id="155" name="Straight Connector 154"/>
              <p:cNvCxnSpPr/>
              <p:nvPr/>
            </p:nvCxnSpPr>
            <p:spPr bwMode="gray">
              <a:xfrm>
                <a:off x="3891745" y="-1887724"/>
                <a:ext cx="315574" cy="0"/>
              </a:xfrm>
              <a:prstGeom prst="line">
                <a:avLst/>
              </a:prstGeom>
              <a:no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156" name="Straight Connector 155"/>
              <p:cNvCxnSpPr/>
              <p:nvPr/>
            </p:nvCxnSpPr>
            <p:spPr bwMode="gray">
              <a:xfrm>
                <a:off x="3891745" y="-1395754"/>
                <a:ext cx="315574" cy="0"/>
              </a:xfrm>
              <a:prstGeom prst="line">
                <a:avLst/>
              </a:prstGeom>
              <a:no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157" name="Straight Connector 156"/>
              <p:cNvCxnSpPr/>
              <p:nvPr/>
            </p:nvCxnSpPr>
            <p:spPr bwMode="gray">
              <a:xfrm>
                <a:off x="3891745" y="-1723734"/>
                <a:ext cx="315574" cy="0"/>
              </a:xfrm>
              <a:prstGeom prst="line">
                <a:avLst/>
              </a:prstGeom>
              <a:no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158" name="Straight Connector 157"/>
              <p:cNvCxnSpPr/>
              <p:nvPr/>
            </p:nvCxnSpPr>
            <p:spPr bwMode="gray">
              <a:xfrm>
                <a:off x="3891745" y="-1559744"/>
                <a:ext cx="315574" cy="0"/>
              </a:xfrm>
              <a:prstGeom prst="line">
                <a:avLst/>
              </a:prstGeom>
              <a:no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159" name="Straight Connector 158"/>
              <p:cNvCxnSpPr/>
              <p:nvPr/>
            </p:nvCxnSpPr>
            <p:spPr bwMode="gray">
              <a:xfrm>
                <a:off x="3891745" y="-1231765"/>
                <a:ext cx="315574" cy="0"/>
              </a:xfrm>
              <a:prstGeom prst="line">
                <a:avLst/>
              </a:prstGeom>
              <a:no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grpSp>
        <p:sp>
          <p:nvSpPr>
            <p:cNvPr id="141" name="Rectangle 140"/>
            <p:cNvSpPr/>
            <p:nvPr/>
          </p:nvSpPr>
          <p:spPr bwMode="gray">
            <a:xfrm>
              <a:off x="6050731" y="2749925"/>
              <a:ext cx="115492" cy="115492"/>
            </a:xfrm>
            <a:prstGeom prst="rect">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42" name="Rectangle 141"/>
            <p:cNvSpPr/>
            <p:nvPr/>
          </p:nvSpPr>
          <p:spPr bwMode="gray">
            <a:xfrm>
              <a:off x="6050731" y="2958348"/>
              <a:ext cx="115492" cy="115492"/>
            </a:xfrm>
            <a:prstGeom prst="rect">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43" name="Rectangle 142"/>
            <p:cNvSpPr/>
            <p:nvPr/>
          </p:nvSpPr>
          <p:spPr bwMode="gray">
            <a:xfrm>
              <a:off x="6050731" y="3166771"/>
              <a:ext cx="115492" cy="115492"/>
            </a:xfrm>
            <a:prstGeom prst="rect">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44" name="Rectangle 143"/>
            <p:cNvSpPr/>
            <p:nvPr/>
          </p:nvSpPr>
          <p:spPr bwMode="gray">
            <a:xfrm>
              <a:off x="6050731" y="3375193"/>
              <a:ext cx="115492" cy="115492"/>
            </a:xfrm>
            <a:prstGeom prst="rect">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45" name="Rectangle 144"/>
            <p:cNvSpPr/>
            <p:nvPr/>
          </p:nvSpPr>
          <p:spPr bwMode="gray">
            <a:xfrm>
              <a:off x="6050731" y="3583615"/>
              <a:ext cx="115492" cy="115492"/>
            </a:xfrm>
            <a:prstGeom prst="rect">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146" name="Group 145"/>
            <p:cNvGrpSpPr/>
            <p:nvPr/>
          </p:nvGrpSpPr>
          <p:grpSpPr bwMode="gray">
            <a:xfrm>
              <a:off x="6260366" y="2746828"/>
              <a:ext cx="762879" cy="833689"/>
              <a:chOff x="3891745" y="-1887724"/>
              <a:chExt cx="315574" cy="655959"/>
            </a:xfrm>
          </p:grpSpPr>
          <p:cxnSp>
            <p:nvCxnSpPr>
              <p:cNvPr id="150" name="Straight Connector 149"/>
              <p:cNvCxnSpPr/>
              <p:nvPr/>
            </p:nvCxnSpPr>
            <p:spPr bwMode="gray">
              <a:xfrm>
                <a:off x="3891745" y="-1887724"/>
                <a:ext cx="315574" cy="0"/>
              </a:xfrm>
              <a:prstGeom prst="line">
                <a:avLst/>
              </a:prstGeom>
              <a:no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151" name="Straight Connector 150"/>
              <p:cNvCxnSpPr/>
              <p:nvPr/>
            </p:nvCxnSpPr>
            <p:spPr bwMode="gray">
              <a:xfrm>
                <a:off x="3891745" y="-1395754"/>
                <a:ext cx="315574" cy="0"/>
              </a:xfrm>
              <a:prstGeom prst="line">
                <a:avLst/>
              </a:prstGeom>
              <a:no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152" name="Straight Connector 151"/>
              <p:cNvCxnSpPr/>
              <p:nvPr/>
            </p:nvCxnSpPr>
            <p:spPr bwMode="gray">
              <a:xfrm>
                <a:off x="3891745" y="-1723734"/>
                <a:ext cx="315574" cy="0"/>
              </a:xfrm>
              <a:prstGeom prst="line">
                <a:avLst/>
              </a:prstGeom>
              <a:no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153" name="Straight Connector 152"/>
              <p:cNvCxnSpPr/>
              <p:nvPr/>
            </p:nvCxnSpPr>
            <p:spPr bwMode="gray">
              <a:xfrm>
                <a:off x="3891745" y="-1559744"/>
                <a:ext cx="315574" cy="0"/>
              </a:xfrm>
              <a:prstGeom prst="line">
                <a:avLst/>
              </a:prstGeom>
              <a:no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154" name="Straight Connector 153"/>
              <p:cNvCxnSpPr/>
              <p:nvPr/>
            </p:nvCxnSpPr>
            <p:spPr bwMode="gray">
              <a:xfrm>
                <a:off x="3891745" y="-1231765"/>
                <a:ext cx="315574" cy="0"/>
              </a:xfrm>
              <a:prstGeom prst="line">
                <a:avLst/>
              </a:prstGeom>
              <a:no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grpSp>
        <p:grpSp>
          <p:nvGrpSpPr>
            <p:cNvPr id="147" name="Group 146"/>
            <p:cNvGrpSpPr/>
            <p:nvPr/>
          </p:nvGrpSpPr>
          <p:grpSpPr bwMode="gray">
            <a:xfrm>
              <a:off x="5232662" y="2749925"/>
              <a:ext cx="630002" cy="625268"/>
              <a:chOff x="7276543" y="-1883431"/>
              <a:chExt cx="837804" cy="831511"/>
            </a:xfrm>
          </p:grpSpPr>
          <p:sp>
            <p:nvSpPr>
              <p:cNvPr id="148" name="Right Triangle 73"/>
              <p:cNvSpPr/>
              <p:nvPr/>
            </p:nvSpPr>
            <p:spPr bwMode="gray">
              <a:xfrm flipH="1">
                <a:off x="7276543" y="-1551746"/>
                <a:ext cx="837804" cy="499826"/>
              </a:xfrm>
              <a:custGeom>
                <a:avLst/>
                <a:gdLst>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70564 h 245375"/>
                  <a:gd name="connsiteX12" fmla="*/ 0 w 411296"/>
                  <a:gd name="connsiteY12" fmla="*/ 80556 h 245375"/>
                  <a:gd name="connsiteX13" fmla="*/ 0 w 411296"/>
                  <a:gd name="connsiteY13" fmla="*/ 84950 h 245375"/>
                  <a:gd name="connsiteX14" fmla="*/ 0 w 411296"/>
                  <a:gd name="connsiteY14" fmla="*/ 89787 h 245375"/>
                  <a:gd name="connsiteX15" fmla="*/ 0 w 411296"/>
                  <a:gd name="connsiteY15" fmla="*/ 224008 h 245375"/>
                  <a:gd name="connsiteX16" fmla="*/ 21367 w 411296"/>
                  <a:gd name="connsiteY16" fmla="*/ 245375 h 245375"/>
                  <a:gd name="connsiteX17" fmla="*/ 389209 w 411296"/>
                  <a:gd name="connsiteY17" fmla="*/ 245375 h 245375"/>
                  <a:gd name="connsiteX18" fmla="*/ 410576 w 411296"/>
                  <a:gd name="connsiteY18" fmla="*/ 224008 h 245375"/>
                  <a:gd name="connsiteX19" fmla="*/ 410576 w 411296"/>
                  <a:gd name="connsiteY19" fmla="*/ 89787 h 245375"/>
                  <a:gd name="connsiteX20" fmla="*/ 410576 w 411296"/>
                  <a:gd name="connsiteY20" fmla="*/ 84950 h 245375"/>
                  <a:gd name="connsiteX21" fmla="*/ 410576 w 411296"/>
                  <a:gd name="connsiteY21" fmla="*/ 81914 h 245375"/>
                  <a:gd name="connsiteX22" fmla="*/ 411296 w 411296"/>
                  <a:gd name="connsiteY22" fmla="*/ 81980 h 245375"/>
                  <a:gd name="connsiteX23" fmla="*/ 410576 w 411296"/>
                  <a:gd name="connsiteY23" fmla="*/ 80883 h 245375"/>
                  <a:gd name="connsiteX24" fmla="*/ 410576 w 411296"/>
                  <a:gd name="connsiteY24" fmla="*/ 80556 h 245375"/>
                  <a:gd name="connsiteX25" fmla="*/ 409951 w 411296"/>
                  <a:gd name="connsiteY25" fmla="*/ 79931 h 245375"/>
                  <a:gd name="connsiteX26" fmla="*/ 398790 w 411296"/>
                  <a:gd name="connsiteY26" fmla="*/ 62929 h 245375"/>
                  <a:gd name="connsiteX27" fmla="*/ 303382 w 411296"/>
                  <a:gd name="connsiteY27"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84950 h 245375"/>
                  <a:gd name="connsiteX13" fmla="*/ 0 w 411296"/>
                  <a:gd name="connsiteY13" fmla="*/ 89787 h 245375"/>
                  <a:gd name="connsiteX14" fmla="*/ 0 w 411296"/>
                  <a:gd name="connsiteY14" fmla="*/ 224008 h 245375"/>
                  <a:gd name="connsiteX15" fmla="*/ 21367 w 411296"/>
                  <a:gd name="connsiteY15" fmla="*/ 245375 h 245375"/>
                  <a:gd name="connsiteX16" fmla="*/ 389209 w 411296"/>
                  <a:gd name="connsiteY16" fmla="*/ 245375 h 245375"/>
                  <a:gd name="connsiteX17" fmla="*/ 410576 w 411296"/>
                  <a:gd name="connsiteY17" fmla="*/ 224008 h 245375"/>
                  <a:gd name="connsiteX18" fmla="*/ 410576 w 411296"/>
                  <a:gd name="connsiteY18" fmla="*/ 89787 h 245375"/>
                  <a:gd name="connsiteX19" fmla="*/ 410576 w 411296"/>
                  <a:gd name="connsiteY19" fmla="*/ 84950 h 245375"/>
                  <a:gd name="connsiteX20" fmla="*/ 410576 w 411296"/>
                  <a:gd name="connsiteY20" fmla="*/ 81914 h 245375"/>
                  <a:gd name="connsiteX21" fmla="*/ 411296 w 411296"/>
                  <a:gd name="connsiteY21" fmla="*/ 81980 h 245375"/>
                  <a:gd name="connsiteX22" fmla="*/ 410576 w 411296"/>
                  <a:gd name="connsiteY22" fmla="*/ 80883 h 245375"/>
                  <a:gd name="connsiteX23" fmla="*/ 410576 w 411296"/>
                  <a:gd name="connsiteY23" fmla="*/ 80556 h 245375"/>
                  <a:gd name="connsiteX24" fmla="*/ 409951 w 411296"/>
                  <a:gd name="connsiteY24" fmla="*/ 79931 h 245375"/>
                  <a:gd name="connsiteX25" fmla="*/ 398790 w 411296"/>
                  <a:gd name="connsiteY25" fmla="*/ 62929 h 245375"/>
                  <a:gd name="connsiteX26" fmla="*/ 303382 w 411296"/>
                  <a:gd name="connsiteY26"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84950 h 245375"/>
                  <a:gd name="connsiteX13" fmla="*/ 0 w 411296"/>
                  <a:gd name="connsiteY13" fmla="*/ 224008 h 245375"/>
                  <a:gd name="connsiteX14" fmla="*/ 21367 w 411296"/>
                  <a:gd name="connsiteY14" fmla="*/ 245375 h 245375"/>
                  <a:gd name="connsiteX15" fmla="*/ 389209 w 411296"/>
                  <a:gd name="connsiteY15" fmla="*/ 245375 h 245375"/>
                  <a:gd name="connsiteX16" fmla="*/ 410576 w 411296"/>
                  <a:gd name="connsiteY16" fmla="*/ 224008 h 245375"/>
                  <a:gd name="connsiteX17" fmla="*/ 410576 w 411296"/>
                  <a:gd name="connsiteY17" fmla="*/ 89787 h 245375"/>
                  <a:gd name="connsiteX18" fmla="*/ 410576 w 411296"/>
                  <a:gd name="connsiteY18" fmla="*/ 84950 h 245375"/>
                  <a:gd name="connsiteX19" fmla="*/ 410576 w 411296"/>
                  <a:gd name="connsiteY19" fmla="*/ 81914 h 245375"/>
                  <a:gd name="connsiteX20" fmla="*/ 411296 w 411296"/>
                  <a:gd name="connsiteY20" fmla="*/ 81980 h 245375"/>
                  <a:gd name="connsiteX21" fmla="*/ 410576 w 411296"/>
                  <a:gd name="connsiteY21" fmla="*/ 80883 h 245375"/>
                  <a:gd name="connsiteX22" fmla="*/ 410576 w 411296"/>
                  <a:gd name="connsiteY22" fmla="*/ 80556 h 245375"/>
                  <a:gd name="connsiteX23" fmla="*/ 409951 w 411296"/>
                  <a:gd name="connsiteY23" fmla="*/ 79931 h 245375"/>
                  <a:gd name="connsiteX24" fmla="*/ 398790 w 411296"/>
                  <a:gd name="connsiteY24" fmla="*/ 62929 h 245375"/>
                  <a:gd name="connsiteX25" fmla="*/ 303382 w 411296"/>
                  <a:gd name="connsiteY25"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9787 h 245375"/>
                  <a:gd name="connsiteX17" fmla="*/ 410576 w 411296"/>
                  <a:gd name="connsiteY17" fmla="*/ 84950 h 245375"/>
                  <a:gd name="connsiteX18" fmla="*/ 410576 w 411296"/>
                  <a:gd name="connsiteY18" fmla="*/ 81914 h 245375"/>
                  <a:gd name="connsiteX19" fmla="*/ 411296 w 411296"/>
                  <a:gd name="connsiteY19" fmla="*/ 81980 h 245375"/>
                  <a:gd name="connsiteX20" fmla="*/ 410576 w 411296"/>
                  <a:gd name="connsiteY20" fmla="*/ 80883 h 245375"/>
                  <a:gd name="connsiteX21" fmla="*/ 410576 w 411296"/>
                  <a:gd name="connsiteY21" fmla="*/ 80556 h 245375"/>
                  <a:gd name="connsiteX22" fmla="*/ 409951 w 411296"/>
                  <a:gd name="connsiteY22" fmla="*/ 79931 h 245375"/>
                  <a:gd name="connsiteX23" fmla="*/ 398790 w 411296"/>
                  <a:gd name="connsiteY23" fmla="*/ 62929 h 245375"/>
                  <a:gd name="connsiteX24" fmla="*/ 303382 w 411296"/>
                  <a:gd name="connsiteY24"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9787 h 245375"/>
                  <a:gd name="connsiteX17" fmla="*/ 410576 w 411296"/>
                  <a:gd name="connsiteY17" fmla="*/ 81914 h 245375"/>
                  <a:gd name="connsiteX18" fmla="*/ 411296 w 411296"/>
                  <a:gd name="connsiteY18" fmla="*/ 81980 h 245375"/>
                  <a:gd name="connsiteX19" fmla="*/ 410576 w 411296"/>
                  <a:gd name="connsiteY19" fmla="*/ 80883 h 245375"/>
                  <a:gd name="connsiteX20" fmla="*/ 410576 w 411296"/>
                  <a:gd name="connsiteY20" fmla="*/ 80556 h 245375"/>
                  <a:gd name="connsiteX21" fmla="*/ 409951 w 411296"/>
                  <a:gd name="connsiteY21" fmla="*/ 79931 h 245375"/>
                  <a:gd name="connsiteX22" fmla="*/ 398790 w 411296"/>
                  <a:gd name="connsiteY22" fmla="*/ 62929 h 245375"/>
                  <a:gd name="connsiteX23" fmla="*/ 303382 w 411296"/>
                  <a:gd name="connsiteY23"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1914 h 245375"/>
                  <a:gd name="connsiteX17" fmla="*/ 411296 w 411296"/>
                  <a:gd name="connsiteY17" fmla="*/ 81980 h 245375"/>
                  <a:gd name="connsiteX18" fmla="*/ 410576 w 411296"/>
                  <a:gd name="connsiteY18" fmla="*/ 80883 h 245375"/>
                  <a:gd name="connsiteX19" fmla="*/ 410576 w 411296"/>
                  <a:gd name="connsiteY19" fmla="*/ 80556 h 245375"/>
                  <a:gd name="connsiteX20" fmla="*/ 409951 w 411296"/>
                  <a:gd name="connsiteY20" fmla="*/ 79931 h 245375"/>
                  <a:gd name="connsiteX21" fmla="*/ 398790 w 411296"/>
                  <a:gd name="connsiteY21" fmla="*/ 62929 h 245375"/>
                  <a:gd name="connsiteX22" fmla="*/ 303382 w 411296"/>
                  <a:gd name="connsiteY22"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1914 h 245375"/>
                  <a:gd name="connsiteX17" fmla="*/ 411296 w 411296"/>
                  <a:gd name="connsiteY17" fmla="*/ 81980 h 245375"/>
                  <a:gd name="connsiteX18" fmla="*/ 410576 w 411296"/>
                  <a:gd name="connsiteY18" fmla="*/ 80883 h 245375"/>
                  <a:gd name="connsiteX19" fmla="*/ 409951 w 411296"/>
                  <a:gd name="connsiteY19" fmla="*/ 79931 h 245375"/>
                  <a:gd name="connsiteX20" fmla="*/ 398790 w 411296"/>
                  <a:gd name="connsiteY20" fmla="*/ 62929 h 245375"/>
                  <a:gd name="connsiteX21" fmla="*/ 303382 w 411296"/>
                  <a:gd name="connsiteY21"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1914 h 245375"/>
                  <a:gd name="connsiteX17" fmla="*/ 411296 w 411296"/>
                  <a:gd name="connsiteY17" fmla="*/ 81980 h 245375"/>
                  <a:gd name="connsiteX18" fmla="*/ 410576 w 411296"/>
                  <a:gd name="connsiteY18" fmla="*/ 80883 h 245375"/>
                  <a:gd name="connsiteX19" fmla="*/ 398790 w 411296"/>
                  <a:gd name="connsiteY19" fmla="*/ 62929 h 245375"/>
                  <a:gd name="connsiteX20" fmla="*/ 303382 w 411296"/>
                  <a:gd name="connsiteY20"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1914 h 245375"/>
                  <a:gd name="connsiteX17" fmla="*/ 411296 w 411296"/>
                  <a:gd name="connsiteY17" fmla="*/ 81980 h 245375"/>
                  <a:gd name="connsiteX18" fmla="*/ 398790 w 411296"/>
                  <a:gd name="connsiteY18" fmla="*/ 62929 h 245375"/>
                  <a:gd name="connsiteX19" fmla="*/ 303382 w 411296"/>
                  <a:gd name="connsiteY19" fmla="*/ 0 h 24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1296" h="245375">
                    <a:moveTo>
                      <a:pt x="303382" y="0"/>
                    </a:moveTo>
                    <a:lnTo>
                      <a:pt x="286107" y="13334"/>
                    </a:lnTo>
                    <a:lnTo>
                      <a:pt x="286107" y="51509"/>
                    </a:lnTo>
                    <a:lnTo>
                      <a:pt x="208013" y="0"/>
                    </a:lnTo>
                    <a:lnTo>
                      <a:pt x="190738" y="13334"/>
                    </a:lnTo>
                    <a:lnTo>
                      <a:pt x="190738" y="51509"/>
                    </a:lnTo>
                    <a:lnTo>
                      <a:pt x="112644" y="0"/>
                    </a:lnTo>
                    <a:lnTo>
                      <a:pt x="95369" y="13334"/>
                    </a:lnTo>
                    <a:lnTo>
                      <a:pt x="95369" y="51509"/>
                    </a:lnTo>
                    <a:lnTo>
                      <a:pt x="17275" y="0"/>
                    </a:lnTo>
                    <a:lnTo>
                      <a:pt x="0" y="13334"/>
                    </a:lnTo>
                    <a:lnTo>
                      <a:pt x="0" y="80556"/>
                    </a:lnTo>
                    <a:lnTo>
                      <a:pt x="0" y="224008"/>
                    </a:lnTo>
                    <a:lnTo>
                      <a:pt x="21367" y="245375"/>
                    </a:lnTo>
                    <a:lnTo>
                      <a:pt x="389209" y="245375"/>
                    </a:lnTo>
                    <a:lnTo>
                      <a:pt x="410576" y="224008"/>
                    </a:lnTo>
                    <a:lnTo>
                      <a:pt x="410576" y="81914"/>
                    </a:lnTo>
                    <a:lnTo>
                      <a:pt x="411296" y="81980"/>
                    </a:lnTo>
                    <a:lnTo>
                      <a:pt x="398790" y="62929"/>
                    </a:lnTo>
                    <a:lnTo>
                      <a:pt x="303382" y="0"/>
                    </a:lnTo>
                    <a:close/>
                  </a:path>
                </a:pathLst>
              </a:cu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49" name="Snip Same Side Corner Rectangle 85"/>
              <p:cNvSpPr/>
              <p:nvPr/>
            </p:nvSpPr>
            <p:spPr bwMode="gray">
              <a:xfrm flipH="1">
                <a:off x="7782400" y="-1883431"/>
                <a:ext cx="232230" cy="436608"/>
              </a:xfrm>
              <a:custGeom>
                <a:avLst/>
                <a:gdLst/>
                <a:ahLst/>
                <a:cxnLst/>
                <a:rect l="l" t="t" r="r" b="b"/>
                <a:pathLst>
                  <a:path w="114006" h="214340">
                    <a:moveTo>
                      <a:pt x="74746" y="0"/>
                    </a:moveTo>
                    <a:lnTo>
                      <a:pt x="37660" y="0"/>
                    </a:lnTo>
                    <a:lnTo>
                      <a:pt x="21848" y="15812"/>
                    </a:lnTo>
                    <a:lnTo>
                      <a:pt x="0" y="183592"/>
                    </a:lnTo>
                    <a:lnTo>
                      <a:pt x="46618" y="214340"/>
                    </a:lnTo>
                    <a:lnTo>
                      <a:pt x="46618" y="176165"/>
                    </a:lnTo>
                    <a:lnTo>
                      <a:pt x="63893" y="162831"/>
                    </a:lnTo>
                    <a:lnTo>
                      <a:pt x="114006" y="195885"/>
                    </a:lnTo>
                    <a:lnTo>
                      <a:pt x="90558" y="15812"/>
                    </a:lnTo>
                    <a:close/>
                  </a:path>
                </a:pathLst>
              </a:cu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sp>
        <p:nvSpPr>
          <p:cNvPr id="6" name="Title 5"/>
          <p:cNvSpPr>
            <a:spLocks noGrp="1"/>
          </p:cNvSpPr>
          <p:nvPr>
            <p:ph type="title"/>
          </p:nvPr>
        </p:nvSpPr>
        <p:spPr bwMode="gray"/>
        <p:txBody>
          <a:bodyPr/>
          <a:lstStyle/>
          <a:p>
            <a:r>
              <a:rPr lang="en-US" dirty="0" err="1"/>
              <a:t>myIB</a:t>
            </a:r>
            <a:endParaRPr lang="en-US" dirty="0"/>
          </a:p>
        </p:txBody>
      </p:sp>
      <p:sp>
        <p:nvSpPr>
          <p:cNvPr id="3" name="Date Placeholder 2"/>
          <p:cNvSpPr>
            <a:spLocks noGrp="1"/>
          </p:cNvSpPr>
          <p:nvPr>
            <p:ph type="dt" sz="half" idx="14"/>
          </p:nvPr>
        </p:nvSpPr>
        <p:spPr bwMode="gray"/>
        <p:txBody>
          <a:bodyPr/>
          <a:lstStyle/>
          <a:p>
            <a:fld id="{E3EF050F-B85E-4E30-B69F-9970B4AED387}" type="datetime4">
              <a:rPr lang="en-US" smtClean="0"/>
              <a:t>September 8, 2019</a:t>
            </a:fld>
            <a:endParaRPr lang="en-US" dirty="0"/>
          </a:p>
        </p:txBody>
      </p:sp>
      <p:sp>
        <p:nvSpPr>
          <p:cNvPr id="4" name="Footer Placeholder 3"/>
          <p:cNvSpPr>
            <a:spLocks noGrp="1"/>
          </p:cNvSpPr>
          <p:nvPr>
            <p:ph type="ftr" sz="quarter" idx="15"/>
          </p:nvPr>
        </p:nvSpPr>
        <p:spPr bwMode="gray"/>
        <p:txBody>
          <a:bodyPr/>
          <a:lstStyle/>
          <a:p>
            <a:r>
              <a:rPr lang="de-DE" dirty="0"/>
              <a:t>* In </a:t>
            </a:r>
            <a:r>
              <a:rPr lang="de-DE" dirty="0" err="1"/>
              <a:t>the</a:t>
            </a:r>
            <a:r>
              <a:rPr lang="de-DE" dirty="0"/>
              <a:t> </a:t>
            </a:r>
            <a:r>
              <a:rPr lang="de-DE" dirty="0" err="1"/>
              <a:t>process</a:t>
            </a:r>
            <a:r>
              <a:rPr lang="de-DE" dirty="0"/>
              <a:t> </a:t>
            </a:r>
            <a:r>
              <a:rPr lang="de-DE" dirty="0" err="1"/>
              <a:t>of</a:t>
            </a:r>
            <a:r>
              <a:rPr lang="de-DE" dirty="0"/>
              <a:t> </a:t>
            </a:r>
            <a:r>
              <a:rPr lang="de-DE" dirty="0" err="1"/>
              <a:t>being</a:t>
            </a:r>
            <a:r>
              <a:rPr lang="de-DE" dirty="0"/>
              <a:t> </a:t>
            </a:r>
            <a:r>
              <a:rPr lang="de-DE" dirty="0" err="1"/>
              <a:t>rolled</a:t>
            </a:r>
            <a:r>
              <a:rPr lang="de-DE" dirty="0"/>
              <a:t> out </a:t>
            </a:r>
            <a:r>
              <a:rPr lang="de-DE" dirty="0" err="1"/>
              <a:t>globally</a:t>
            </a:r>
            <a:r>
              <a:rPr lang="de-DE" dirty="0"/>
              <a:t> so </a:t>
            </a:r>
            <a:r>
              <a:rPr lang="de-DE" dirty="0" err="1"/>
              <a:t>may</a:t>
            </a:r>
            <a:r>
              <a:rPr lang="de-DE" dirty="0"/>
              <a:t> not </a:t>
            </a:r>
            <a:r>
              <a:rPr lang="de-DE" dirty="0" err="1"/>
              <a:t>be</a:t>
            </a:r>
            <a:r>
              <a:rPr lang="de-DE" dirty="0"/>
              <a:t> </a:t>
            </a:r>
            <a:r>
              <a:rPr lang="de-DE" dirty="0" err="1"/>
              <a:t>available</a:t>
            </a:r>
            <a:r>
              <a:rPr lang="de-DE" dirty="0"/>
              <a:t> in </a:t>
            </a:r>
            <a:r>
              <a:rPr lang="de-DE" dirty="0" err="1"/>
              <a:t>some</a:t>
            </a:r>
            <a:r>
              <a:rPr lang="de-DE" dirty="0"/>
              <a:t> countries.</a:t>
            </a:r>
            <a:endParaRPr lang="en-US" dirty="0"/>
          </a:p>
        </p:txBody>
      </p:sp>
      <p:sp>
        <p:nvSpPr>
          <p:cNvPr id="5" name="Slide Number Placeholder 4"/>
          <p:cNvSpPr>
            <a:spLocks noGrp="1"/>
          </p:cNvSpPr>
          <p:nvPr>
            <p:ph type="sldNum" sz="quarter" idx="16"/>
          </p:nvPr>
        </p:nvSpPr>
        <p:spPr bwMode="gray"/>
        <p:txBody>
          <a:bodyPr/>
          <a:lstStyle/>
          <a:p>
            <a:r>
              <a:rPr lang="en-US" dirty="0"/>
              <a:t>Slide </a:t>
            </a:r>
            <a:fld id="{619F89D8-7AE3-494A-97F3-03D680869632}" type="slidenum">
              <a:rPr lang="en-US" smtClean="0"/>
              <a:pPr/>
              <a:t>104</a:t>
            </a:fld>
            <a:endParaRPr lang="en-US" dirty="0"/>
          </a:p>
        </p:txBody>
      </p:sp>
      <p:sp>
        <p:nvSpPr>
          <p:cNvPr id="7" name="Subtitle 6"/>
          <p:cNvSpPr>
            <a:spLocks noGrp="1"/>
          </p:cNvSpPr>
          <p:nvPr>
            <p:ph type="subTitle" idx="13"/>
          </p:nvPr>
        </p:nvSpPr>
        <p:spPr bwMode="gray"/>
        <p:txBody>
          <a:bodyPr/>
          <a:lstStyle/>
          <a:p>
            <a:r>
              <a:rPr lang="de-DE" dirty="0"/>
              <a:t>Mobile </a:t>
            </a:r>
            <a:r>
              <a:rPr lang="de-DE" dirty="0" err="1"/>
              <a:t>installed</a:t>
            </a:r>
            <a:r>
              <a:rPr lang="de-DE" dirty="0"/>
              <a:t> </a:t>
            </a:r>
            <a:r>
              <a:rPr lang="de-DE" dirty="0" err="1"/>
              <a:t>base</a:t>
            </a:r>
            <a:r>
              <a:rPr lang="de-DE" dirty="0"/>
              <a:t> </a:t>
            </a:r>
            <a:r>
              <a:rPr lang="de-DE" dirty="0" err="1"/>
              <a:t>management</a:t>
            </a:r>
            <a:r>
              <a:rPr lang="de-DE" dirty="0"/>
              <a:t> </a:t>
            </a:r>
            <a:r>
              <a:rPr lang="de-DE" dirty="0" err="1"/>
              <a:t>application</a:t>
            </a:r>
            <a:endParaRPr lang="en-US" dirty="0"/>
          </a:p>
        </p:txBody>
      </p:sp>
      <p:grpSp>
        <p:nvGrpSpPr>
          <p:cNvPr id="12" name="Group 11"/>
          <p:cNvGrpSpPr/>
          <p:nvPr/>
        </p:nvGrpSpPr>
        <p:grpSpPr bwMode="gray">
          <a:xfrm>
            <a:off x="1961888" y="2750360"/>
            <a:ext cx="775375" cy="775377"/>
            <a:chOff x="1179628" y="-1706756"/>
            <a:chExt cx="465749" cy="465750"/>
          </a:xfrm>
        </p:grpSpPr>
        <p:grpSp>
          <p:nvGrpSpPr>
            <p:cNvPr id="29" name="Group 28"/>
            <p:cNvGrpSpPr/>
            <p:nvPr/>
          </p:nvGrpSpPr>
          <p:grpSpPr bwMode="gray">
            <a:xfrm>
              <a:off x="1179628" y="-1376691"/>
              <a:ext cx="135685" cy="135685"/>
              <a:chOff x="-4433548" y="0"/>
              <a:chExt cx="761570" cy="761570"/>
            </a:xfrm>
            <a:solidFill>
              <a:schemeClr val="bg1"/>
            </a:solidFill>
          </p:grpSpPr>
          <p:sp>
            <p:nvSpPr>
              <p:cNvPr id="37" name="Rectangle 36"/>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38" name="Rectangle 37"/>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30" name="Group 29"/>
            <p:cNvGrpSpPr/>
            <p:nvPr/>
          </p:nvGrpSpPr>
          <p:grpSpPr bwMode="gray">
            <a:xfrm>
              <a:off x="1179628" y="-1706756"/>
              <a:ext cx="135685" cy="135685"/>
              <a:chOff x="-4433548" y="0"/>
              <a:chExt cx="761570" cy="761570"/>
            </a:xfrm>
            <a:solidFill>
              <a:schemeClr val="bg1"/>
            </a:solidFill>
          </p:grpSpPr>
          <p:sp>
            <p:nvSpPr>
              <p:cNvPr id="35" name="Rectangle 34"/>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36" name="Rectangle 35"/>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31" name="Group 30"/>
            <p:cNvGrpSpPr/>
            <p:nvPr/>
          </p:nvGrpSpPr>
          <p:grpSpPr bwMode="gray">
            <a:xfrm>
              <a:off x="1509692" y="-1706756"/>
              <a:ext cx="135685" cy="135685"/>
              <a:chOff x="-4433548" y="0"/>
              <a:chExt cx="761570" cy="761570"/>
            </a:xfrm>
            <a:solidFill>
              <a:schemeClr val="bg1"/>
            </a:solidFill>
          </p:grpSpPr>
          <p:sp>
            <p:nvSpPr>
              <p:cNvPr id="33" name="Rectangle 32"/>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34" name="Rectangle 33"/>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sp>
          <p:nvSpPr>
            <p:cNvPr id="32" name="Rectangle 31"/>
            <p:cNvSpPr/>
            <p:nvPr/>
          </p:nvSpPr>
          <p:spPr bwMode="gray">
            <a:xfrm>
              <a:off x="1337475" y="-1548909"/>
              <a:ext cx="150055" cy="150056"/>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nvGrpSpPr>
            <p:cNvPr id="95" name="Group 94"/>
            <p:cNvGrpSpPr/>
            <p:nvPr/>
          </p:nvGrpSpPr>
          <p:grpSpPr bwMode="gray">
            <a:xfrm>
              <a:off x="1509692" y="-1376691"/>
              <a:ext cx="135685" cy="135685"/>
              <a:chOff x="-4433548" y="0"/>
              <a:chExt cx="761570" cy="761570"/>
            </a:xfrm>
            <a:solidFill>
              <a:schemeClr val="bg1"/>
            </a:solidFill>
          </p:grpSpPr>
          <p:sp>
            <p:nvSpPr>
              <p:cNvPr id="96" name="Rectangle 95"/>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7" name="Rectangle 96"/>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grpSp>
        <p:nvGrpSpPr>
          <p:cNvPr id="25" name="Group 24"/>
          <p:cNvGrpSpPr/>
          <p:nvPr/>
        </p:nvGrpSpPr>
        <p:grpSpPr bwMode="gray">
          <a:xfrm>
            <a:off x="2311624" y="3093230"/>
            <a:ext cx="557095" cy="949340"/>
            <a:chOff x="11582401" y="1955589"/>
            <a:chExt cx="269962" cy="460040"/>
          </a:xfrm>
          <a:solidFill>
            <a:schemeClr val="bg1"/>
          </a:solidFill>
        </p:grpSpPr>
        <p:sp>
          <p:nvSpPr>
            <p:cNvPr id="26" name="Rounded Rectangle 25"/>
            <p:cNvSpPr/>
            <p:nvPr/>
          </p:nvSpPr>
          <p:spPr bwMode="gray">
            <a:xfrm>
              <a:off x="11582401" y="1955589"/>
              <a:ext cx="269962" cy="460040"/>
            </a:xfrm>
            <a:prstGeom prst="roundRect">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27" name="Rounded Rectangle 26"/>
            <p:cNvSpPr/>
            <p:nvPr/>
          </p:nvSpPr>
          <p:spPr bwMode="gray">
            <a:xfrm>
              <a:off x="11612835" y="1988384"/>
              <a:ext cx="209094" cy="367822"/>
            </a:xfrm>
            <a:prstGeom prst="roundRect">
              <a:avLst>
                <a:gd name="adj" fmla="val 9634"/>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28" name="Oval 27"/>
            <p:cNvSpPr/>
            <p:nvPr/>
          </p:nvSpPr>
          <p:spPr bwMode="gray">
            <a:xfrm>
              <a:off x="11704001" y="2371419"/>
              <a:ext cx="26762" cy="26762"/>
            </a:xfrm>
            <a:prstGeom prst="ellipse">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39" name="Group 38"/>
          <p:cNvGrpSpPr/>
          <p:nvPr/>
        </p:nvGrpSpPr>
        <p:grpSpPr bwMode="gray">
          <a:xfrm>
            <a:off x="8951616" y="2739809"/>
            <a:ext cx="1291870" cy="1656184"/>
            <a:chOff x="6435759" y="5100489"/>
            <a:chExt cx="274563" cy="351995"/>
          </a:xfrm>
          <a:noFill/>
        </p:grpSpPr>
        <p:sp>
          <p:nvSpPr>
            <p:cNvPr id="40" name="Rectangle 16"/>
            <p:cNvSpPr/>
            <p:nvPr/>
          </p:nvSpPr>
          <p:spPr bwMode="gray">
            <a:xfrm>
              <a:off x="6435759" y="5100489"/>
              <a:ext cx="274563" cy="351995"/>
            </a:xfrm>
            <a:custGeom>
              <a:avLst/>
              <a:gdLst/>
              <a:ahLst/>
              <a:cxnLst/>
              <a:rect l="l" t="t" r="r" b="b"/>
              <a:pathLst>
                <a:path w="410120" h="525780">
                  <a:moveTo>
                    <a:pt x="119031" y="0"/>
                  </a:moveTo>
                  <a:lnTo>
                    <a:pt x="410120" y="0"/>
                  </a:lnTo>
                  <a:lnTo>
                    <a:pt x="410120" y="525780"/>
                  </a:lnTo>
                  <a:lnTo>
                    <a:pt x="0" y="525780"/>
                  </a:lnTo>
                  <a:lnTo>
                    <a:pt x="0" y="119031"/>
                  </a:lnTo>
                  <a:close/>
                </a:path>
              </a:pathLst>
            </a:cu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a:solidFill>
                  <a:schemeClr val="bg1"/>
                </a:solidFill>
                <a:latin typeface="Arial" pitchFamily="34" charset="0"/>
                <a:cs typeface="Arial" pitchFamily="34" charset="0"/>
              </a:endParaRPr>
            </a:p>
          </p:txBody>
        </p:sp>
        <p:sp>
          <p:nvSpPr>
            <p:cNvPr id="41" name="Right Triangle 36"/>
            <p:cNvSpPr/>
            <p:nvPr/>
          </p:nvSpPr>
          <p:spPr bwMode="gray">
            <a:xfrm rot="16200000">
              <a:off x="6439693" y="5104363"/>
              <a:ext cx="71881" cy="71880"/>
            </a:xfrm>
            <a:custGeom>
              <a:avLst/>
              <a:gdLst/>
              <a:ahLst/>
              <a:cxnLst/>
              <a:rect l="l" t="t" r="r" b="b"/>
              <a:pathLst>
                <a:path w="107369" h="107369">
                  <a:moveTo>
                    <a:pt x="107369" y="107369"/>
                  </a:moveTo>
                  <a:lnTo>
                    <a:pt x="0" y="107369"/>
                  </a:lnTo>
                  <a:lnTo>
                    <a:pt x="0" y="0"/>
                  </a:lnTo>
                  <a:close/>
                </a:path>
              </a:pathLst>
            </a:cu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a:solidFill>
                  <a:schemeClr val="bg1"/>
                </a:solidFill>
                <a:latin typeface="Arial" pitchFamily="34" charset="0"/>
                <a:cs typeface="Arial" pitchFamily="34" charset="0"/>
              </a:endParaRPr>
            </a:p>
          </p:txBody>
        </p:sp>
        <p:grpSp>
          <p:nvGrpSpPr>
            <p:cNvPr id="42" name="Group 41"/>
            <p:cNvGrpSpPr/>
            <p:nvPr/>
          </p:nvGrpSpPr>
          <p:grpSpPr bwMode="gray">
            <a:xfrm>
              <a:off x="6555919" y="5203367"/>
              <a:ext cx="101503" cy="96301"/>
              <a:chOff x="-1395025" y="3639820"/>
              <a:chExt cx="213986" cy="143846"/>
            </a:xfrm>
            <a:grpFill/>
          </p:grpSpPr>
          <p:cxnSp>
            <p:nvCxnSpPr>
              <p:cNvPr id="50" name="Straight Connector 49"/>
              <p:cNvCxnSpPr/>
              <p:nvPr/>
            </p:nvCxnSpPr>
            <p:spPr bwMode="gray">
              <a:xfrm>
                <a:off x="-1395025" y="3639820"/>
                <a:ext cx="213986" cy="0"/>
              </a:xfrm>
              <a:prstGeom prst="line">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p:nvCxnSpPr>
            <p:spPr bwMode="gray">
              <a:xfrm>
                <a:off x="-1395025" y="3747706"/>
                <a:ext cx="213986" cy="0"/>
              </a:xfrm>
              <a:prstGeom prst="line">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p:nvCxnSpPr>
            <p:spPr bwMode="gray">
              <a:xfrm>
                <a:off x="-1395025" y="3675782"/>
                <a:ext cx="213986" cy="0"/>
              </a:xfrm>
              <a:prstGeom prst="line">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p:nvCxnSpPr>
            <p:spPr bwMode="gray">
              <a:xfrm>
                <a:off x="-1395025" y="3711744"/>
                <a:ext cx="213986" cy="0"/>
              </a:xfrm>
              <a:prstGeom prst="line">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p:nvCxnSpPr>
            <p:spPr bwMode="gray">
              <a:xfrm>
                <a:off x="-1395025" y="3783666"/>
                <a:ext cx="213986" cy="0"/>
              </a:xfrm>
              <a:prstGeom prst="line">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grpSp>
        <p:grpSp>
          <p:nvGrpSpPr>
            <p:cNvPr id="43" name="Group 42"/>
            <p:cNvGrpSpPr/>
            <p:nvPr/>
          </p:nvGrpSpPr>
          <p:grpSpPr bwMode="gray">
            <a:xfrm>
              <a:off x="6507712" y="5203367"/>
              <a:ext cx="30607" cy="96301"/>
              <a:chOff x="-1395025" y="3639820"/>
              <a:chExt cx="213986" cy="143846"/>
            </a:xfrm>
            <a:grpFill/>
          </p:grpSpPr>
          <p:cxnSp>
            <p:nvCxnSpPr>
              <p:cNvPr id="45" name="Straight Connector 44"/>
              <p:cNvCxnSpPr/>
              <p:nvPr/>
            </p:nvCxnSpPr>
            <p:spPr bwMode="gray">
              <a:xfrm>
                <a:off x="-1395025" y="3639820"/>
                <a:ext cx="213986" cy="0"/>
              </a:xfrm>
              <a:prstGeom prst="line">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p:nvCxnSpPr>
            <p:spPr bwMode="gray">
              <a:xfrm>
                <a:off x="-1395025" y="3747706"/>
                <a:ext cx="213986" cy="0"/>
              </a:xfrm>
              <a:prstGeom prst="line">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47" name="Straight Connector 46"/>
              <p:cNvCxnSpPr/>
              <p:nvPr/>
            </p:nvCxnSpPr>
            <p:spPr bwMode="gray">
              <a:xfrm>
                <a:off x="-1395025" y="3675782"/>
                <a:ext cx="213986" cy="0"/>
              </a:xfrm>
              <a:prstGeom prst="line">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47"/>
              <p:cNvCxnSpPr/>
              <p:nvPr/>
            </p:nvCxnSpPr>
            <p:spPr bwMode="gray">
              <a:xfrm>
                <a:off x="-1395025" y="3711744"/>
                <a:ext cx="213986" cy="0"/>
              </a:xfrm>
              <a:prstGeom prst="line">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p:cNvCxnSpPr/>
              <p:nvPr/>
            </p:nvCxnSpPr>
            <p:spPr bwMode="gray">
              <a:xfrm>
                <a:off x="-1395025" y="3783666"/>
                <a:ext cx="213986" cy="0"/>
              </a:xfrm>
              <a:prstGeom prst="line">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cxnSp>
        </p:grpSp>
        <p:sp>
          <p:nvSpPr>
            <p:cNvPr id="44" name="L-Shape 497"/>
            <p:cNvSpPr/>
            <p:nvPr/>
          </p:nvSpPr>
          <p:spPr bwMode="gray">
            <a:xfrm rot="18900000">
              <a:off x="6609425" y="5333796"/>
              <a:ext cx="50058" cy="22859"/>
            </a:xfrm>
            <a:custGeom>
              <a:avLst/>
              <a:gdLst/>
              <a:ahLst/>
              <a:cxnLst/>
              <a:rect l="l" t="t" r="r" b="b"/>
              <a:pathLst>
                <a:path w="1084084" h="495058">
                  <a:moveTo>
                    <a:pt x="1084084" y="425460"/>
                  </a:moveTo>
                  <a:lnTo>
                    <a:pt x="1084084" y="495058"/>
                  </a:lnTo>
                  <a:lnTo>
                    <a:pt x="0" y="495058"/>
                  </a:lnTo>
                  <a:lnTo>
                    <a:pt x="0" y="0"/>
                  </a:lnTo>
                  <a:lnTo>
                    <a:pt x="74683" y="0"/>
                  </a:lnTo>
                  <a:lnTo>
                    <a:pt x="74683" y="425460"/>
                  </a:lnTo>
                  <a:close/>
                </a:path>
              </a:pathLst>
            </a:custGeom>
            <a:grpFill/>
            <a:ln w="28575">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sp>
        <p:nvSpPr>
          <p:cNvPr id="13" name="Isosceles Triangle 12"/>
          <p:cNvSpPr/>
          <p:nvPr/>
        </p:nvSpPr>
        <p:spPr bwMode="gray">
          <a:xfrm rot="5400000">
            <a:off x="3569925" y="3449651"/>
            <a:ext cx="462000" cy="236500"/>
          </a:xfrm>
          <a:prstGeom prst="triangl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98" name="L-Shape 497"/>
          <p:cNvSpPr/>
          <p:nvPr/>
        </p:nvSpPr>
        <p:spPr bwMode="gray">
          <a:xfrm rot="18900000">
            <a:off x="2477038" y="3516237"/>
            <a:ext cx="226267" cy="103327"/>
          </a:xfrm>
          <a:custGeom>
            <a:avLst/>
            <a:gdLst/>
            <a:ahLst/>
            <a:cxnLst/>
            <a:rect l="l" t="t" r="r" b="b"/>
            <a:pathLst>
              <a:path w="1084084" h="495058">
                <a:moveTo>
                  <a:pt x="1084084" y="425460"/>
                </a:moveTo>
                <a:lnTo>
                  <a:pt x="1084084" y="495058"/>
                </a:lnTo>
                <a:lnTo>
                  <a:pt x="0" y="495058"/>
                </a:lnTo>
                <a:lnTo>
                  <a:pt x="0" y="0"/>
                </a:lnTo>
                <a:lnTo>
                  <a:pt x="74683" y="0"/>
                </a:lnTo>
                <a:lnTo>
                  <a:pt x="74683" y="425460"/>
                </a:lnTo>
                <a:close/>
              </a:path>
            </a:pathLst>
          </a:custGeom>
          <a:noFill/>
          <a:ln w="28575">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9" name="Isosceles Triangle 98"/>
          <p:cNvSpPr/>
          <p:nvPr/>
        </p:nvSpPr>
        <p:spPr bwMode="gray">
          <a:xfrm rot="5400000">
            <a:off x="7942998" y="3449654"/>
            <a:ext cx="461996" cy="236496"/>
          </a:xfrm>
          <a:prstGeom prst="triangl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108" name="Group 107"/>
          <p:cNvGrpSpPr/>
          <p:nvPr/>
        </p:nvGrpSpPr>
        <p:grpSpPr bwMode="gray">
          <a:xfrm>
            <a:off x="10413623" y="3971938"/>
            <a:ext cx="359062" cy="359004"/>
            <a:chOff x="4312614" y="2570832"/>
            <a:chExt cx="607076" cy="606978"/>
          </a:xfrm>
        </p:grpSpPr>
        <p:grpSp>
          <p:nvGrpSpPr>
            <p:cNvPr id="109" name="Group 108"/>
            <p:cNvGrpSpPr/>
            <p:nvPr/>
          </p:nvGrpSpPr>
          <p:grpSpPr bwMode="gray">
            <a:xfrm>
              <a:off x="4458612" y="2672916"/>
              <a:ext cx="315080" cy="402812"/>
              <a:chOff x="4227228" y="-3516112"/>
              <a:chExt cx="695117" cy="888671"/>
            </a:xfrm>
            <a:solidFill>
              <a:schemeClr val="bg1"/>
            </a:solidFill>
          </p:grpSpPr>
          <p:grpSp>
            <p:nvGrpSpPr>
              <p:cNvPr id="115" name="Group 114"/>
              <p:cNvGrpSpPr/>
              <p:nvPr/>
            </p:nvGrpSpPr>
            <p:grpSpPr bwMode="gray">
              <a:xfrm rot="18900000">
                <a:off x="4543651" y="-3516112"/>
                <a:ext cx="112716" cy="888671"/>
                <a:chOff x="4536031" y="-3565642"/>
                <a:chExt cx="112716" cy="888671"/>
              </a:xfrm>
              <a:grpFill/>
            </p:grpSpPr>
            <p:sp>
              <p:nvSpPr>
                <p:cNvPr id="120" name="Snip Same Side Corner Rectangle 60"/>
                <p:cNvSpPr/>
                <p:nvPr/>
              </p:nvSpPr>
              <p:spPr bwMode="gray">
                <a:xfrm>
                  <a:off x="4536031" y="-3565642"/>
                  <a:ext cx="112716" cy="513846"/>
                </a:xfrm>
                <a:custGeom>
                  <a:avLst/>
                  <a:gdLst/>
                  <a:ahLst/>
                  <a:cxnLst/>
                  <a:rect l="l" t="t" r="r" b="b"/>
                  <a:pathLst>
                    <a:path w="112716" h="513846">
                      <a:moveTo>
                        <a:pt x="10701" y="0"/>
                      </a:moveTo>
                      <a:lnTo>
                        <a:pt x="102015" y="0"/>
                      </a:lnTo>
                      <a:lnTo>
                        <a:pt x="112716" y="10701"/>
                      </a:lnTo>
                      <a:lnTo>
                        <a:pt x="112716" y="45216"/>
                      </a:lnTo>
                      <a:lnTo>
                        <a:pt x="112716" y="468630"/>
                      </a:lnTo>
                      <a:lnTo>
                        <a:pt x="112716" y="503145"/>
                      </a:lnTo>
                      <a:lnTo>
                        <a:pt x="102015" y="513846"/>
                      </a:lnTo>
                      <a:lnTo>
                        <a:pt x="10701" y="513846"/>
                      </a:lnTo>
                      <a:lnTo>
                        <a:pt x="0" y="503145"/>
                      </a:lnTo>
                      <a:lnTo>
                        <a:pt x="0" y="468630"/>
                      </a:lnTo>
                      <a:lnTo>
                        <a:pt x="0" y="45216"/>
                      </a:lnTo>
                      <a:lnTo>
                        <a:pt x="0" y="10701"/>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lt1"/>
                    </a:solidFill>
                  </a:endParaRPr>
                </a:p>
              </p:txBody>
            </p:sp>
            <p:cxnSp>
              <p:nvCxnSpPr>
                <p:cNvPr id="121" name="Straight Connector 120"/>
                <p:cNvCxnSpPr/>
                <p:nvPr/>
              </p:nvCxnSpPr>
              <p:spPr bwMode="gray">
                <a:xfrm>
                  <a:off x="4592389" y="-3521120"/>
                  <a:ext cx="0" cy="42480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122" name="Straight Connector 121"/>
                <p:cNvCxnSpPr/>
                <p:nvPr/>
              </p:nvCxnSpPr>
              <p:spPr bwMode="gray">
                <a:xfrm>
                  <a:off x="4592389" y="-3041571"/>
                  <a:ext cx="0" cy="23760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123" name="Snip Same Side Corner Rectangle 69"/>
                <p:cNvSpPr/>
                <p:nvPr/>
              </p:nvSpPr>
              <p:spPr bwMode="gray">
                <a:xfrm rot="10800000">
                  <a:off x="4560620" y="-2790458"/>
                  <a:ext cx="63538" cy="66860"/>
                </a:xfrm>
                <a:custGeom>
                  <a:avLst/>
                  <a:gdLst/>
                  <a:ahLst/>
                  <a:cxnLst/>
                  <a:rect l="l" t="t" r="r" b="b"/>
                  <a:pathLst>
                    <a:path w="63538" h="66860">
                      <a:moveTo>
                        <a:pt x="55918" y="66860"/>
                      </a:moveTo>
                      <a:lnTo>
                        <a:pt x="7620" y="66860"/>
                      </a:lnTo>
                      <a:lnTo>
                        <a:pt x="0" y="59240"/>
                      </a:lnTo>
                      <a:lnTo>
                        <a:pt x="0" y="45719"/>
                      </a:lnTo>
                      <a:lnTo>
                        <a:pt x="0" y="21141"/>
                      </a:lnTo>
                      <a:lnTo>
                        <a:pt x="0" y="7620"/>
                      </a:lnTo>
                      <a:lnTo>
                        <a:pt x="7620" y="0"/>
                      </a:lnTo>
                      <a:lnTo>
                        <a:pt x="55918" y="0"/>
                      </a:lnTo>
                      <a:lnTo>
                        <a:pt x="63538" y="7620"/>
                      </a:lnTo>
                      <a:lnTo>
                        <a:pt x="63538" y="21141"/>
                      </a:lnTo>
                      <a:lnTo>
                        <a:pt x="63538" y="45719"/>
                      </a:lnTo>
                      <a:lnTo>
                        <a:pt x="63538" y="59240"/>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lt1"/>
                    </a:solidFill>
                  </a:endParaRPr>
                </a:p>
              </p:txBody>
            </p:sp>
            <p:cxnSp>
              <p:nvCxnSpPr>
                <p:cNvPr id="124" name="Straight Connector 123"/>
                <p:cNvCxnSpPr/>
                <p:nvPr/>
              </p:nvCxnSpPr>
              <p:spPr bwMode="gray">
                <a:xfrm>
                  <a:off x="4592389" y="-2712971"/>
                  <a:ext cx="0" cy="3600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116" name="Oval 73"/>
              <p:cNvSpPr/>
              <p:nvPr/>
            </p:nvSpPr>
            <p:spPr bwMode="gray">
              <a:xfrm>
                <a:off x="4227228" y="-2948375"/>
                <a:ext cx="199701" cy="201640"/>
              </a:xfrm>
              <a:custGeom>
                <a:avLst/>
                <a:gdLst>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7" fmla="*/ 189584 w 201640"/>
                  <a:gd name="connsiteY7" fmla="*/ 192429 h 201640"/>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193986"/>
                  <a:gd name="connsiteY0" fmla="*/ 97179 h 201640"/>
                  <a:gd name="connsiteX1" fmla="*/ 93166 w 193986"/>
                  <a:gd name="connsiteY1" fmla="*/ 0 h 201640"/>
                  <a:gd name="connsiteX2" fmla="*/ 193986 w 193986"/>
                  <a:gd name="connsiteY2" fmla="*/ 100820 h 201640"/>
                  <a:gd name="connsiteX3" fmla="*/ 93166 w 193986"/>
                  <a:gd name="connsiteY3" fmla="*/ 201640 h 201640"/>
                  <a:gd name="connsiteX0" fmla="*/ 0 w 199701"/>
                  <a:gd name="connsiteY0" fmla="*/ 97179 h 201640"/>
                  <a:gd name="connsiteX1" fmla="*/ 98881 w 199701"/>
                  <a:gd name="connsiteY1" fmla="*/ 0 h 201640"/>
                  <a:gd name="connsiteX2" fmla="*/ 199701 w 199701"/>
                  <a:gd name="connsiteY2" fmla="*/ 100820 h 201640"/>
                  <a:gd name="connsiteX3" fmla="*/ 98881 w 199701"/>
                  <a:gd name="connsiteY3" fmla="*/ 201640 h 201640"/>
                </a:gdLst>
                <a:ahLst/>
                <a:cxnLst>
                  <a:cxn ang="0">
                    <a:pos x="connsiteX0" y="connsiteY0"/>
                  </a:cxn>
                  <a:cxn ang="0">
                    <a:pos x="connsiteX1" y="connsiteY1"/>
                  </a:cxn>
                  <a:cxn ang="0">
                    <a:pos x="connsiteX2" y="connsiteY2"/>
                  </a:cxn>
                  <a:cxn ang="0">
                    <a:pos x="connsiteX3" y="connsiteY3"/>
                  </a:cxn>
                </a:cxnLst>
                <a:rect l="l" t="t" r="r" b="b"/>
                <a:pathLst>
                  <a:path w="199701" h="201640">
                    <a:moveTo>
                      <a:pt x="0" y="97179"/>
                    </a:moveTo>
                    <a:cubicBezTo>
                      <a:pt x="42" y="38040"/>
                      <a:pt x="51945" y="28"/>
                      <a:pt x="98881" y="0"/>
                    </a:cubicBezTo>
                    <a:cubicBezTo>
                      <a:pt x="154562" y="0"/>
                      <a:pt x="199701" y="45139"/>
                      <a:pt x="199701" y="100820"/>
                    </a:cubicBezTo>
                    <a:cubicBezTo>
                      <a:pt x="199701" y="156501"/>
                      <a:pt x="154562" y="201640"/>
                      <a:pt x="98881" y="201640"/>
                    </a:cubicBez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lt1"/>
                  </a:solidFill>
                </a:endParaRPr>
              </a:p>
            </p:txBody>
          </p:sp>
          <p:cxnSp>
            <p:nvCxnSpPr>
              <p:cNvPr id="117" name="Straight Connector 116"/>
              <p:cNvCxnSpPr/>
              <p:nvPr/>
            </p:nvCxnSpPr>
            <p:spPr bwMode="gray">
              <a:xfrm rot="2700000" flipH="1">
                <a:off x="4465155" y="-3075854"/>
                <a:ext cx="0" cy="18000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118" name="Straight Connector 117"/>
              <p:cNvCxnSpPr/>
              <p:nvPr/>
            </p:nvCxnSpPr>
            <p:spPr bwMode="gray">
              <a:xfrm rot="2700000" flipH="1">
                <a:off x="4687107" y="-3298109"/>
                <a:ext cx="0" cy="18000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119" name="Oval 73"/>
              <p:cNvSpPr/>
              <p:nvPr/>
            </p:nvSpPr>
            <p:spPr bwMode="gray">
              <a:xfrm rot="10800000">
                <a:off x="4722644" y="-3443847"/>
                <a:ext cx="199701" cy="201640"/>
              </a:xfrm>
              <a:custGeom>
                <a:avLst/>
                <a:gdLst>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7" fmla="*/ 189584 w 201640"/>
                  <a:gd name="connsiteY7" fmla="*/ 192429 h 201640"/>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193986"/>
                  <a:gd name="connsiteY0" fmla="*/ 97179 h 201640"/>
                  <a:gd name="connsiteX1" fmla="*/ 93166 w 193986"/>
                  <a:gd name="connsiteY1" fmla="*/ 0 h 201640"/>
                  <a:gd name="connsiteX2" fmla="*/ 193986 w 193986"/>
                  <a:gd name="connsiteY2" fmla="*/ 100820 h 201640"/>
                  <a:gd name="connsiteX3" fmla="*/ 93166 w 193986"/>
                  <a:gd name="connsiteY3" fmla="*/ 201640 h 201640"/>
                  <a:gd name="connsiteX0" fmla="*/ 0 w 199701"/>
                  <a:gd name="connsiteY0" fmla="*/ 97179 h 201640"/>
                  <a:gd name="connsiteX1" fmla="*/ 98881 w 199701"/>
                  <a:gd name="connsiteY1" fmla="*/ 0 h 201640"/>
                  <a:gd name="connsiteX2" fmla="*/ 199701 w 199701"/>
                  <a:gd name="connsiteY2" fmla="*/ 100820 h 201640"/>
                  <a:gd name="connsiteX3" fmla="*/ 98881 w 199701"/>
                  <a:gd name="connsiteY3" fmla="*/ 201640 h 201640"/>
                </a:gdLst>
                <a:ahLst/>
                <a:cxnLst>
                  <a:cxn ang="0">
                    <a:pos x="connsiteX0" y="connsiteY0"/>
                  </a:cxn>
                  <a:cxn ang="0">
                    <a:pos x="connsiteX1" y="connsiteY1"/>
                  </a:cxn>
                  <a:cxn ang="0">
                    <a:pos x="connsiteX2" y="connsiteY2"/>
                  </a:cxn>
                  <a:cxn ang="0">
                    <a:pos x="connsiteX3" y="connsiteY3"/>
                  </a:cxn>
                </a:cxnLst>
                <a:rect l="l" t="t" r="r" b="b"/>
                <a:pathLst>
                  <a:path w="199701" h="201640">
                    <a:moveTo>
                      <a:pt x="0" y="97179"/>
                    </a:moveTo>
                    <a:cubicBezTo>
                      <a:pt x="42" y="38040"/>
                      <a:pt x="51945" y="28"/>
                      <a:pt x="98881" y="0"/>
                    </a:cubicBezTo>
                    <a:cubicBezTo>
                      <a:pt x="154562" y="0"/>
                      <a:pt x="199701" y="45139"/>
                      <a:pt x="199701" y="100820"/>
                    </a:cubicBezTo>
                    <a:cubicBezTo>
                      <a:pt x="199701" y="156501"/>
                      <a:pt x="154562" y="201640"/>
                      <a:pt x="98881" y="201640"/>
                    </a:cubicBez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lt1"/>
                  </a:solidFill>
                </a:endParaRPr>
              </a:p>
            </p:txBody>
          </p:sp>
        </p:grpSp>
        <p:grpSp>
          <p:nvGrpSpPr>
            <p:cNvPr id="110" name="Group 109"/>
            <p:cNvGrpSpPr/>
            <p:nvPr/>
          </p:nvGrpSpPr>
          <p:grpSpPr bwMode="gray">
            <a:xfrm rot="329135">
              <a:off x="4312614" y="2570832"/>
              <a:ext cx="607076" cy="606978"/>
              <a:chOff x="-925025" y="-931749"/>
              <a:chExt cx="1494241" cy="1494000"/>
            </a:xfrm>
          </p:grpSpPr>
          <p:sp>
            <p:nvSpPr>
              <p:cNvPr id="111" name="Arc 110"/>
              <p:cNvSpPr>
                <a:spLocks noChangeAspect="1"/>
              </p:cNvSpPr>
              <p:nvPr/>
            </p:nvSpPr>
            <p:spPr bwMode="gray">
              <a:xfrm>
                <a:off x="-925024" y="-931749"/>
                <a:ext cx="1494000" cy="1494000"/>
              </a:xfrm>
              <a:prstGeom prst="arc">
                <a:avLst/>
              </a:prstGeom>
              <a:grpFill/>
              <a:ln w="19050">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112" name="Arc 111"/>
              <p:cNvSpPr>
                <a:spLocks noChangeAspect="1"/>
              </p:cNvSpPr>
              <p:nvPr/>
            </p:nvSpPr>
            <p:spPr bwMode="gray">
              <a:xfrm rot="5400000">
                <a:off x="-924784" y="-931749"/>
                <a:ext cx="1494000" cy="1494000"/>
              </a:xfrm>
              <a:prstGeom prst="arc">
                <a:avLst/>
              </a:prstGeom>
              <a:grpFill/>
              <a:ln w="19050">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113" name="Arc 112"/>
              <p:cNvSpPr>
                <a:spLocks noChangeAspect="1"/>
              </p:cNvSpPr>
              <p:nvPr/>
            </p:nvSpPr>
            <p:spPr bwMode="gray">
              <a:xfrm rot="10800000">
                <a:off x="-925025" y="-931749"/>
                <a:ext cx="1494000" cy="1494000"/>
              </a:xfrm>
              <a:prstGeom prst="arc">
                <a:avLst/>
              </a:prstGeom>
              <a:grpFill/>
              <a:ln w="19050">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114" name="Arc 113"/>
              <p:cNvSpPr>
                <a:spLocks noChangeAspect="1"/>
              </p:cNvSpPr>
              <p:nvPr/>
            </p:nvSpPr>
            <p:spPr bwMode="gray">
              <a:xfrm rot="16200000">
                <a:off x="-925025" y="-931749"/>
                <a:ext cx="1494000" cy="1494000"/>
              </a:xfrm>
              <a:prstGeom prst="arc">
                <a:avLst/>
              </a:prstGeom>
              <a:grpFill/>
              <a:ln w="19050">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grpSp>
      </p:grpSp>
      <p:grpSp>
        <p:nvGrpSpPr>
          <p:cNvPr id="125" name="Group 124"/>
          <p:cNvGrpSpPr/>
          <p:nvPr/>
        </p:nvGrpSpPr>
        <p:grpSpPr bwMode="gray">
          <a:xfrm>
            <a:off x="10413652" y="3389794"/>
            <a:ext cx="359004" cy="359002"/>
            <a:chOff x="8918633" y="2472932"/>
            <a:chExt cx="712598" cy="712596"/>
          </a:xfrm>
        </p:grpSpPr>
        <p:grpSp>
          <p:nvGrpSpPr>
            <p:cNvPr id="126" name="Group 125"/>
            <p:cNvGrpSpPr/>
            <p:nvPr/>
          </p:nvGrpSpPr>
          <p:grpSpPr bwMode="gray">
            <a:xfrm>
              <a:off x="8918633" y="2472932"/>
              <a:ext cx="712598" cy="712596"/>
              <a:chOff x="-925025" y="-931748"/>
              <a:chExt cx="1494002" cy="1494001"/>
            </a:xfrm>
          </p:grpSpPr>
          <p:sp>
            <p:nvSpPr>
              <p:cNvPr id="128" name="Arc 127"/>
              <p:cNvSpPr>
                <a:spLocks noChangeAspect="1"/>
              </p:cNvSpPr>
              <p:nvPr/>
            </p:nvSpPr>
            <p:spPr bwMode="gray">
              <a:xfrm>
                <a:off x="-925023" y="-931748"/>
                <a:ext cx="1494000" cy="1494001"/>
              </a:xfrm>
              <a:prstGeom prst="arc">
                <a:avLst>
                  <a:gd name="adj1" fmla="val 11053418"/>
                  <a:gd name="adj2" fmla="val 411669"/>
                </a:avLst>
              </a:prstGeom>
              <a:grpFill/>
              <a:ln w="19050">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129" name="Arc 128"/>
              <p:cNvSpPr>
                <a:spLocks noChangeAspect="1"/>
              </p:cNvSpPr>
              <p:nvPr/>
            </p:nvSpPr>
            <p:spPr bwMode="gray">
              <a:xfrm rot="10800000">
                <a:off x="-925025" y="-931748"/>
                <a:ext cx="1494000" cy="1494001"/>
              </a:xfrm>
              <a:prstGeom prst="arc">
                <a:avLst>
                  <a:gd name="adj1" fmla="val 11186715"/>
                  <a:gd name="adj2" fmla="val 328021"/>
                </a:avLst>
              </a:prstGeom>
              <a:grpFill/>
              <a:ln w="19050">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grpSp>
        <p:sp>
          <p:nvSpPr>
            <p:cNvPr id="127" name="Oval 211"/>
            <p:cNvSpPr/>
            <p:nvPr/>
          </p:nvSpPr>
          <p:spPr bwMode="gray">
            <a:xfrm>
              <a:off x="9063014" y="2600909"/>
              <a:ext cx="428916" cy="456642"/>
            </a:xfrm>
            <a:custGeom>
              <a:avLst/>
              <a:gdLst/>
              <a:ahLst/>
              <a:cxnLst/>
              <a:rect l="l" t="t" r="r" b="b"/>
              <a:pathLst>
                <a:path w="335249" h="356920">
                  <a:moveTo>
                    <a:pt x="167625" y="108744"/>
                  </a:moveTo>
                  <a:cubicBezTo>
                    <a:pt x="129121" y="108744"/>
                    <a:pt x="97908" y="139957"/>
                    <a:pt x="97908" y="178461"/>
                  </a:cubicBezTo>
                  <a:cubicBezTo>
                    <a:pt x="97908" y="216965"/>
                    <a:pt x="129121" y="248178"/>
                    <a:pt x="167625" y="248178"/>
                  </a:cubicBezTo>
                  <a:cubicBezTo>
                    <a:pt x="206129" y="248178"/>
                    <a:pt x="237342" y="216965"/>
                    <a:pt x="237342" y="178461"/>
                  </a:cubicBezTo>
                  <a:cubicBezTo>
                    <a:pt x="237342" y="139957"/>
                    <a:pt x="206129" y="108744"/>
                    <a:pt x="167625" y="108744"/>
                  </a:cubicBezTo>
                  <a:close/>
                  <a:moveTo>
                    <a:pt x="141477" y="0"/>
                  </a:moveTo>
                  <a:lnTo>
                    <a:pt x="193771" y="0"/>
                  </a:lnTo>
                  <a:lnTo>
                    <a:pt x="203939" y="10168"/>
                  </a:lnTo>
                  <a:lnTo>
                    <a:pt x="203939" y="51960"/>
                  </a:lnTo>
                  <a:lnTo>
                    <a:pt x="202807" y="51960"/>
                  </a:lnTo>
                  <a:cubicBezTo>
                    <a:pt x="224922" y="57157"/>
                    <a:pt x="244686" y="68117"/>
                    <a:pt x="259405" y="84429"/>
                  </a:cubicBezTo>
                  <a:lnTo>
                    <a:pt x="259019" y="83760"/>
                  </a:lnTo>
                  <a:lnTo>
                    <a:pt x="295212" y="62864"/>
                  </a:lnTo>
                  <a:lnTo>
                    <a:pt x="309102" y="66586"/>
                  </a:lnTo>
                  <a:lnTo>
                    <a:pt x="335249" y="111874"/>
                  </a:lnTo>
                  <a:lnTo>
                    <a:pt x="331527" y="125764"/>
                  </a:lnTo>
                  <a:lnTo>
                    <a:pt x="295833" y="146372"/>
                  </a:lnTo>
                  <a:cubicBezTo>
                    <a:pt x="299850" y="156394"/>
                    <a:pt x="301227" y="167266"/>
                    <a:pt x="301227" y="178460"/>
                  </a:cubicBezTo>
                  <a:lnTo>
                    <a:pt x="295833" y="210548"/>
                  </a:lnTo>
                  <a:lnTo>
                    <a:pt x="331527" y="231156"/>
                  </a:lnTo>
                  <a:lnTo>
                    <a:pt x="335249" y="245046"/>
                  </a:lnTo>
                  <a:lnTo>
                    <a:pt x="309102" y="290334"/>
                  </a:lnTo>
                  <a:lnTo>
                    <a:pt x="295212" y="294056"/>
                  </a:lnTo>
                  <a:lnTo>
                    <a:pt x="259019" y="273160"/>
                  </a:lnTo>
                  <a:lnTo>
                    <a:pt x="259405" y="272492"/>
                  </a:lnTo>
                  <a:cubicBezTo>
                    <a:pt x="244687" y="288802"/>
                    <a:pt x="224924" y="299761"/>
                    <a:pt x="202811" y="304959"/>
                  </a:cubicBezTo>
                  <a:lnTo>
                    <a:pt x="203939" y="304959"/>
                  </a:lnTo>
                  <a:lnTo>
                    <a:pt x="203939" y="346751"/>
                  </a:lnTo>
                  <a:lnTo>
                    <a:pt x="193771" y="356920"/>
                  </a:lnTo>
                  <a:lnTo>
                    <a:pt x="141477" y="356920"/>
                  </a:lnTo>
                  <a:lnTo>
                    <a:pt x="131309" y="346751"/>
                  </a:lnTo>
                  <a:lnTo>
                    <a:pt x="131309" y="304959"/>
                  </a:lnTo>
                  <a:lnTo>
                    <a:pt x="132437" y="304959"/>
                  </a:lnTo>
                  <a:cubicBezTo>
                    <a:pt x="110326" y="299762"/>
                    <a:pt x="90565" y="288804"/>
                    <a:pt x="75848" y="272496"/>
                  </a:cubicBezTo>
                  <a:lnTo>
                    <a:pt x="76231" y="273159"/>
                  </a:lnTo>
                  <a:lnTo>
                    <a:pt x="40038" y="294055"/>
                  </a:lnTo>
                  <a:lnTo>
                    <a:pt x="26147" y="290334"/>
                  </a:lnTo>
                  <a:lnTo>
                    <a:pt x="0" y="245046"/>
                  </a:lnTo>
                  <a:lnTo>
                    <a:pt x="3723" y="231156"/>
                  </a:lnTo>
                  <a:lnTo>
                    <a:pt x="39415" y="210549"/>
                  </a:lnTo>
                  <a:cubicBezTo>
                    <a:pt x="35398" y="200527"/>
                    <a:pt x="34021" y="189654"/>
                    <a:pt x="34021" y="178460"/>
                  </a:cubicBezTo>
                  <a:lnTo>
                    <a:pt x="39415" y="146371"/>
                  </a:lnTo>
                  <a:lnTo>
                    <a:pt x="3723" y="125764"/>
                  </a:lnTo>
                  <a:lnTo>
                    <a:pt x="0" y="111874"/>
                  </a:lnTo>
                  <a:lnTo>
                    <a:pt x="26147" y="66586"/>
                  </a:lnTo>
                  <a:lnTo>
                    <a:pt x="40038" y="62865"/>
                  </a:lnTo>
                  <a:lnTo>
                    <a:pt x="76231" y="83761"/>
                  </a:lnTo>
                  <a:lnTo>
                    <a:pt x="75848" y="84425"/>
                  </a:lnTo>
                  <a:cubicBezTo>
                    <a:pt x="90566" y="68115"/>
                    <a:pt x="110329" y="57157"/>
                    <a:pt x="132441" y="51960"/>
                  </a:cubicBezTo>
                  <a:lnTo>
                    <a:pt x="131309" y="51960"/>
                  </a:lnTo>
                  <a:lnTo>
                    <a:pt x="131309" y="10168"/>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130" name="Group 129"/>
          <p:cNvGrpSpPr/>
          <p:nvPr/>
        </p:nvGrpSpPr>
        <p:grpSpPr bwMode="gray">
          <a:xfrm>
            <a:off x="10414082" y="2805232"/>
            <a:ext cx="358144" cy="361050"/>
            <a:chOff x="6911723" y="-1444875"/>
            <a:chExt cx="690224" cy="695825"/>
          </a:xfrm>
        </p:grpSpPr>
        <p:sp>
          <p:nvSpPr>
            <p:cNvPr id="131" name="Snip Single Corner Rectangle 6"/>
            <p:cNvSpPr/>
            <p:nvPr/>
          </p:nvSpPr>
          <p:spPr bwMode="gray">
            <a:xfrm rot="5400000">
              <a:off x="6842338" y="-1112033"/>
              <a:ext cx="226800" cy="88029"/>
            </a:xfrm>
            <a:custGeom>
              <a:avLst/>
              <a:gdLst>
                <a:gd name="connsiteX0" fmla="*/ 0 w 226800"/>
                <a:gd name="connsiteY0" fmla="*/ 57188 h 88029"/>
                <a:gd name="connsiteX1" fmla="*/ 0 w 226800"/>
                <a:gd name="connsiteY1" fmla="*/ 45719 h 88029"/>
                <a:gd name="connsiteX2" fmla="*/ 0 w 226800"/>
                <a:gd name="connsiteY2" fmla="*/ 0 h 88029"/>
                <a:gd name="connsiteX3" fmla="*/ 30841 w 226800"/>
                <a:gd name="connsiteY3" fmla="*/ 0 h 88029"/>
                <a:gd name="connsiteX4" fmla="*/ 195959 w 226800"/>
                <a:gd name="connsiteY4" fmla="*/ 0 h 88029"/>
                <a:gd name="connsiteX5" fmla="*/ 212517 w 226800"/>
                <a:gd name="connsiteY5" fmla="*/ 0 h 88029"/>
                <a:gd name="connsiteX6" fmla="*/ 226800 w 226800"/>
                <a:gd name="connsiteY6" fmla="*/ 14283 h 88029"/>
                <a:gd name="connsiteX7" fmla="*/ 226800 w 226800"/>
                <a:gd name="connsiteY7" fmla="*/ 30841 h 88029"/>
                <a:gd name="connsiteX8" fmla="*/ 226800 w 226800"/>
                <a:gd name="connsiteY8" fmla="*/ 45719 h 88029"/>
                <a:gd name="connsiteX9" fmla="*/ 226800 w 226800"/>
                <a:gd name="connsiteY9" fmla="*/ 57188 h 88029"/>
                <a:gd name="connsiteX10" fmla="*/ 195959 w 226800"/>
                <a:gd name="connsiteY10" fmla="*/ 88029 h 88029"/>
                <a:gd name="connsiteX11" fmla="*/ 30841 w 226800"/>
                <a:gd name="connsiteY11" fmla="*/ 88029 h 88029"/>
                <a:gd name="connsiteX12" fmla="*/ 0 w 226800"/>
                <a:gd name="connsiteY12"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30841 h 88029"/>
                <a:gd name="connsiteX7" fmla="*/ 226800 w 226800"/>
                <a:gd name="connsiteY7" fmla="*/ 45719 h 88029"/>
                <a:gd name="connsiteX8" fmla="*/ 226800 w 226800"/>
                <a:gd name="connsiteY8" fmla="*/ 57188 h 88029"/>
                <a:gd name="connsiteX9" fmla="*/ 195959 w 226800"/>
                <a:gd name="connsiteY9" fmla="*/ 88029 h 88029"/>
                <a:gd name="connsiteX10" fmla="*/ 30841 w 226800"/>
                <a:gd name="connsiteY10" fmla="*/ 88029 h 88029"/>
                <a:gd name="connsiteX11" fmla="*/ 0 w 226800"/>
                <a:gd name="connsiteY11"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30841 h 88029"/>
                <a:gd name="connsiteX7" fmla="*/ 226800 w 226800"/>
                <a:gd name="connsiteY7" fmla="*/ 57188 h 88029"/>
                <a:gd name="connsiteX8" fmla="*/ 195959 w 226800"/>
                <a:gd name="connsiteY8" fmla="*/ 88029 h 88029"/>
                <a:gd name="connsiteX9" fmla="*/ 30841 w 226800"/>
                <a:gd name="connsiteY9" fmla="*/ 88029 h 88029"/>
                <a:gd name="connsiteX10" fmla="*/ 0 w 226800"/>
                <a:gd name="connsiteY10"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57188 h 88029"/>
                <a:gd name="connsiteX7" fmla="*/ 195959 w 226800"/>
                <a:gd name="connsiteY7" fmla="*/ 88029 h 88029"/>
                <a:gd name="connsiteX8" fmla="*/ 30841 w 226800"/>
                <a:gd name="connsiteY8" fmla="*/ 88029 h 88029"/>
                <a:gd name="connsiteX9" fmla="*/ 0 w 226800"/>
                <a:gd name="connsiteY9" fmla="*/ 57188 h 88029"/>
                <a:gd name="connsiteX0" fmla="*/ 0 w 226800"/>
                <a:gd name="connsiteY0" fmla="*/ 57188 h 88029"/>
                <a:gd name="connsiteX1" fmla="*/ 0 w 226800"/>
                <a:gd name="connsiteY1" fmla="*/ 0 h 88029"/>
                <a:gd name="connsiteX2" fmla="*/ 30841 w 226800"/>
                <a:gd name="connsiteY2" fmla="*/ 0 h 88029"/>
                <a:gd name="connsiteX3" fmla="*/ 212517 w 226800"/>
                <a:gd name="connsiteY3" fmla="*/ 0 h 88029"/>
                <a:gd name="connsiteX4" fmla="*/ 226800 w 226800"/>
                <a:gd name="connsiteY4" fmla="*/ 14283 h 88029"/>
                <a:gd name="connsiteX5" fmla="*/ 226800 w 226800"/>
                <a:gd name="connsiteY5" fmla="*/ 57188 h 88029"/>
                <a:gd name="connsiteX6" fmla="*/ 195959 w 226800"/>
                <a:gd name="connsiteY6" fmla="*/ 88029 h 88029"/>
                <a:gd name="connsiteX7" fmla="*/ 30841 w 226800"/>
                <a:gd name="connsiteY7" fmla="*/ 88029 h 88029"/>
                <a:gd name="connsiteX8" fmla="*/ 0 w 226800"/>
                <a:gd name="connsiteY8" fmla="*/ 57188 h 88029"/>
                <a:gd name="connsiteX0" fmla="*/ 0 w 226800"/>
                <a:gd name="connsiteY0" fmla="*/ 57188 h 88029"/>
                <a:gd name="connsiteX1" fmla="*/ 0 w 226800"/>
                <a:gd name="connsiteY1" fmla="*/ 0 h 88029"/>
                <a:gd name="connsiteX2" fmla="*/ 212517 w 226800"/>
                <a:gd name="connsiteY2" fmla="*/ 0 h 88029"/>
                <a:gd name="connsiteX3" fmla="*/ 226800 w 226800"/>
                <a:gd name="connsiteY3" fmla="*/ 14283 h 88029"/>
                <a:gd name="connsiteX4" fmla="*/ 226800 w 226800"/>
                <a:gd name="connsiteY4" fmla="*/ 57188 h 88029"/>
                <a:gd name="connsiteX5" fmla="*/ 195959 w 226800"/>
                <a:gd name="connsiteY5" fmla="*/ 88029 h 88029"/>
                <a:gd name="connsiteX6" fmla="*/ 30841 w 226800"/>
                <a:gd name="connsiteY6" fmla="*/ 88029 h 88029"/>
                <a:gd name="connsiteX7" fmla="*/ 0 w 226800"/>
                <a:gd name="connsiteY7" fmla="*/ 57188 h 8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800" h="88029">
                  <a:moveTo>
                    <a:pt x="0" y="57188"/>
                  </a:moveTo>
                  <a:lnTo>
                    <a:pt x="0" y="0"/>
                  </a:lnTo>
                  <a:lnTo>
                    <a:pt x="212517" y="0"/>
                  </a:lnTo>
                  <a:lnTo>
                    <a:pt x="226800" y="14283"/>
                  </a:lnTo>
                  <a:lnTo>
                    <a:pt x="226800" y="57188"/>
                  </a:lnTo>
                  <a:cubicBezTo>
                    <a:pt x="226800" y="74221"/>
                    <a:pt x="212992" y="88029"/>
                    <a:pt x="195959" y="88029"/>
                  </a:cubicBezTo>
                  <a:lnTo>
                    <a:pt x="30841" y="88029"/>
                  </a:lnTo>
                  <a:cubicBezTo>
                    <a:pt x="13808" y="88029"/>
                    <a:pt x="0" y="74221"/>
                    <a:pt x="0" y="57188"/>
                  </a:cubicBezTo>
                  <a:close/>
                </a:path>
              </a:pathLst>
            </a:custGeom>
            <a:noFill/>
            <a:ln w="19050" cap="sq">
              <a:solidFill>
                <a:schemeClr val="tx2"/>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sp>
          <p:nvSpPr>
            <p:cNvPr id="132" name="Snip Single Corner Rectangle 6"/>
            <p:cNvSpPr/>
            <p:nvPr/>
          </p:nvSpPr>
          <p:spPr bwMode="gray">
            <a:xfrm rot="16200000" flipH="1">
              <a:off x="7444533" y="-1112033"/>
              <a:ext cx="226800" cy="88029"/>
            </a:xfrm>
            <a:custGeom>
              <a:avLst/>
              <a:gdLst>
                <a:gd name="connsiteX0" fmla="*/ 0 w 226800"/>
                <a:gd name="connsiteY0" fmla="*/ 57188 h 88029"/>
                <a:gd name="connsiteX1" fmla="*/ 0 w 226800"/>
                <a:gd name="connsiteY1" fmla="*/ 45719 h 88029"/>
                <a:gd name="connsiteX2" fmla="*/ 0 w 226800"/>
                <a:gd name="connsiteY2" fmla="*/ 0 h 88029"/>
                <a:gd name="connsiteX3" fmla="*/ 30841 w 226800"/>
                <a:gd name="connsiteY3" fmla="*/ 0 h 88029"/>
                <a:gd name="connsiteX4" fmla="*/ 195959 w 226800"/>
                <a:gd name="connsiteY4" fmla="*/ 0 h 88029"/>
                <a:gd name="connsiteX5" fmla="*/ 212517 w 226800"/>
                <a:gd name="connsiteY5" fmla="*/ 0 h 88029"/>
                <a:gd name="connsiteX6" fmla="*/ 226800 w 226800"/>
                <a:gd name="connsiteY6" fmla="*/ 14283 h 88029"/>
                <a:gd name="connsiteX7" fmla="*/ 226800 w 226800"/>
                <a:gd name="connsiteY7" fmla="*/ 30841 h 88029"/>
                <a:gd name="connsiteX8" fmla="*/ 226800 w 226800"/>
                <a:gd name="connsiteY8" fmla="*/ 45719 h 88029"/>
                <a:gd name="connsiteX9" fmla="*/ 226800 w 226800"/>
                <a:gd name="connsiteY9" fmla="*/ 57188 h 88029"/>
                <a:gd name="connsiteX10" fmla="*/ 195959 w 226800"/>
                <a:gd name="connsiteY10" fmla="*/ 88029 h 88029"/>
                <a:gd name="connsiteX11" fmla="*/ 30841 w 226800"/>
                <a:gd name="connsiteY11" fmla="*/ 88029 h 88029"/>
                <a:gd name="connsiteX12" fmla="*/ 0 w 226800"/>
                <a:gd name="connsiteY12"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30841 h 88029"/>
                <a:gd name="connsiteX7" fmla="*/ 226800 w 226800"/>
                <a:gd name="connsiteY7" fmla="*/ 45719 h 88029"/>
                <a:gd name="connsiteX8" fmla="*/ 226800 w 226800"/>
                <a:gd name="connsiteY8" fmla="*/ 57188 h 88029"/>
                <a:gd name="connsiteX9" fmla="*/ 195959 w 226800"/>
                <a:gd name="connsiteY9" fmla="*/ 88029 h 88029"/>
                <a:gd name="connsiteX10" fmla="*/ 30841 w 226800"/>
                <a:gd name="connsiteY10" fmla="*/ 88029 h 88029"/>
                <a:gd name="connsiteX11" fmla="*/ 0 w 226800"/>
                <a:gd name="connsiteY11"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30841 h 88029"/>
                <a:gd name="connsiteX7" fmla="*/ 226800 w 226800"/>
                <a:gd name="connsiteY7" fmla="*/ 57188 h 88029"/>
                <a:gd name="connsiteX8" fmla="*/ 195959 w 226800"/>
                <a:gd name="connsiteY8" fmla="*/ 88029 h 88029"/>
                <a:gd name="connsiteX9" fmla="*/ 30841 w 226800"/>
                <a:gd name="connsiteY9" fmla="*/ 88029 h 88029"/>
                <a:gd name="connsiteX10" fmla="*/ 0 w 226800"/>
                <a:gd name="connsiteY10"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57188 h 88029"/>
                <a:gd name="connsiteX7" fmla="*/ 195959 w 226800"/>
                <a:gd name="connsiteY7" fmla="*/ 88029 h 88029"/>
                <a:gd name="connsiteX8" fmla="*/ 30841 w 226800"/>
                <a:gd name="connsiteY8" fmla="*/ 88029 h 88029"/>
                <a:gd name="connsiteX9" fmla="*/ 0 w 226800"/>
                <a:gd name="connsiteY9" fmla="*/ 57188 h 88029"/>
                <a:gd name="connsiteX0" fmla="*/ 0 w 226800"/>
                <a:gd name="connsiteY0" fmla="*/ 57188 h 88029"/>
                <a:gd name="connsiteX1" fmla="*/ 0 w 226800"/>
                <a:gd name="connsiteY1" fmla="*/ 0 h 88029"/>
                <a:gd name="connsiteX2" fmla="*/ 30841 w 226800"/>
                <a:gd name="connsiteY2" fmla="*/ 0 h 88029"/>
                <a:gd name="connsiteX3" fmla="*/ 212517 w 226800"/>
                <a:gd name="connsiteY3" fmla="*/ 0 h 88029"/>
                <a:gd name="connsiteX4" fmla="*/ 226800 w 226800"/>
                <a:gd name="connsiteY4" fmla="*/ 14283 h 88029"/>
                <a:gd name="connsiteX5" fmla="*/ 226800 w 226800"/>
                <a:gd name="connsiteY5" fmla="*/ 57188 h 88029"/>
                <a:gd name="connsiteX6" fmla="*/ 195959 w 226800"/>
                <a:gd name="connsiteY6" fmla="*/ 88029 h 88029"/>
                <a:gd name="connsiteX7" fmla="*/ 30841 w 226800"/>
                <a:gd name="connsiteY7" fmla="*/ 88029 h 88029"/>
                <a:gd name="connsiteX8" fmla="*/ 0 w 226800"/>
                <a:gd name="connsiteY8" fmla="*/ 57188 h 88029"/>
                <a:gd name="connsiteX0" fmla="*/ 0 w 226800"/>
                <a:gd name="connsiteY0" fmla="*/ 57188 h 88029"/>
                <a:gd name="connsiteX1" fmla="*/ 0 w 226800"/>
                <a:gd name="connsiteY1" fmla="*/ 0 h 88029"/>
                <a:gd name="connsiteX2" fmla="*/ 212517 w 226800"/>
                <a:gd name="connsiteY2" fmla="*/ 0 h 88029"/>
                <a:gd name="connsiteX3" fmla="*/ 226800 w 226800"/>
                <a:gd name="connsiteY3" fmla="*/ 14283 h 88029"/>
                <a:gd name="connsiteX4" fmla="*/ 226800 w 226800"/>
                <a:gd name="connsiteY4" fmla="*/ 57188 h 88029"/>
                <a:gd name="connsiteX5" fmla="*/ 195959 w 226800"/>
                <a:gd name="connsiteY5" fmla="*/ 88029 h 88029"/>
                <a:gd name="connsiteX6" fmla="*/ 30841 w 226800"/>
                <a:gd name="connsiteY6" fmla="*/ 88029 h 88029"/>
                <a:gd name="connsiteX7" fmla="*/ 0 w 226800"/>
                <a:gd name="connsiteY7" fmla="*/ 57188 h 8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800" h="88029">
                  <a:moveTo>
                    <a:pt x="0" y="57188"/>
                  </a:moveTo>
                  <a:lnTo>
                    <a:pt x="0" y="0"/>
                  </a:lnTo>
                  <a:lnTo>
                    <a:pt x="212517" y="0"/>
                  </a:lnTo>
                  <a:lnTo>
                    <a:pt x="226800" y="14283"/>
                  </a:lnTo>
                  <a:lnTo>
                    <a:pt x="226800" y="57188"/>
                  </a:lnTo>
                  <a:cubicBezTo>
                    <a:pt x="226800" y="74221"/>
                    <a:pt x="212992" y="88029"/>
                    <a:pt x="195959" y="88029"/>
                  </a:cubicBezTo>
                  <a:lnTo>
                    <a:pt x="30841" y="88029"/>
                  </a:lnTo>
                  <a:cubicBezTo>
                    <a:pt x="13808" y="88029"/>
                    <a:pt x="0" y="74221"/>
                    <a:pt x="0" y="57188"/>
                  </a:cubicBezTo>
                  <a:close/>
                </a:path>
              </a:pathLst>
            </a:custGeom>
            <a:noFill/>
            <a:ln w="19050" cap="sq">
              <a:solidFill>
                <a:schemeClr val="tx2"/>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sp>
          <p:nvSpPr>
            <p:cNvPr id="133" name="Oval 7"/>
            <p:cNvSpPr/>
            <p:nvPr/>
          </p:nvSpPr>
          <p:spPr bwMode="gray">
            <a:xfrm>
              <a:off x="6999910" y="-1444875"/>
              <a:ext cx="514674" cy="257337"/>
            </a:xfrm>
            <a:custGeom>
              <a:avLst/>
              <a:gdLst>
                <a:gd name="connsiteX0" fmla="*/ 0 w 514673"/>
                <a:gd name="connsiteY0" fmla="*/ 257337 h 514673"/>
                <a:gd name="connsiteX1" fmla="*/ 257337 w 514673"/>
                <a:gd name="connsiteY1" fmla="*/ 0 h 514673"/>
                <a:gd name="connsiteX2" fmla="*/ 514674 w 514673"/>
                <a:gd name="connsiteY2" fmla="*/ 257337 h 514673"/>
                <a:gd name="connsiteX3" fmla="*/ 257337 w 514673"/>
                <a:gd name="connsiteY3" fmla="*/ 514674 h 514673"/>
                <a:gd name="connsiteX4" fmla="*/ 0 w 514673"/>
                <a:gd name="connsiteY4" fmla="*/ 257337 h 514673"/>
                <a:gd name="connsiteX0" fmla="*/ 0 w 514674"/>
                <a:gd name="connsiteY0" fmla="*/ 257337 h 514674"/>
                <a:gd name="connsiteX1" fmla="*/ 257337 w 514674"/>
                <a:gd name="connsiteY1" fmla="*/ 0 h 514674"/>
                <a:gd name="connsiteX2" fmla="*/ 514674 w 514674"/>
                <a:gd name="connsiteY2" fmla="*/ 257337 h 514674"/>
                <a:gd name="connsiteX3" fmla="*/ 257337 w 514674"/>
                <a:gd name="connsiteY3" fmla="*/ 514674 h 514674"/>
                <a:gd name="connsiteX4" fmla="*/ 0 w 514674"/>
                <a:gd name="connsiteY4" fmla="*/ 257337 h 514674"/>
                <a:gd name="connsiteX0" fmla="*/ 0 w 514674"/>
                <a:gd name="connsiteY0" fmla="*/ 257337 h 514674"/>
                <a:gd name="connsiteX1" fmla="*/ 257337 w 514674"/>
                <a:gd name="connsiteY1" fmla="*/ 0 h 514674"/>
                <a:gd name="connsiteX2" fmla="*/ 514674 w 514674"/>
                <a:gd name="connsiteY2" fmla="*/ 257337 h 514674"/>
                <a:gd name="connsiteX3" fmla="*/ 257337 w 514674"/>
                <a:gd name="connsiteY3" fmla="*/ 514674 h 514674"/>
                <a:gd name="connsiteX4" fmla="*/ 0 w 514674"/>
                <a:gd name="connsiteY4" fmla="*/ 257337 h 514674"/>
                <a:gd name="connsiteX0" fmla="*/ 0 w 514674"/>
                <a:gd name="connsiteY0" fmla="*/ 257337 h 514674"/>
                <a:gd name="connsiteX1" fmla="*/ 257337 w 514674"/>
                <a:gd name="connsiteY1" fmla="*/ 0 h 514674"/>
                <a:gd name="connsiteX2" fmla="*/ 514674 w 514674"/>
                <a:gd name="connsiteY2" fmla="*/ 257337 h 514674"/>
                <a:gd name="connsiteX3" fmla="*/ 257337 w 514674"/>
                <a:gd name="connsiteY3" fmla="*/ 514674 h 514674"/>
                <a:gd name="connsiteX4" fmla="*/ 0 w 514674"/>
                <a:gd name="connsiteY4" fmla="*/ 257337 h 514674"/>
                <a:gd name="connsiteX0" fmla="*/ 0 w 514674"/>
                <a:gd name="connsiteY0" fmla="*/ 257337 h 514674"/>
                <a:gd name="connsiteX1" fmla="*/ 257337 w 514674"/>
                <a:gd name="connsiteY1" fmla="*/ 0 h 514674"/>
                <a:gd name="connsiteX2" fmla="*/ 514674 w 514674"/>
                <a:gd name="connsiteY2" fmla="*/ 257337 h 514674"/>
                <a:gd name="connsiteX3" fmla="*/ 257337 w 514674"/>
                <a:gd name="connsiteY3" fmla="*/ 514674 h 514674"/>
                <a:gd name="connsiteX4" fmla="*/ 0 w 514674"/>
                <a:gd name="connsiteY4" fmla="*/ 257337 h 514674"/>
                <a:gd name="connsiteX0" fmla="*/ 257337 w 514674"/>
                <a:gd name="connsiteY0" fmla="*/ 514674 h 606114"/>
                <a:gd name="connsiteX1" fmla="*/ 0 w 514674"/>
                <a:gd name="connsiteY1" fmla="*/ 257337 h 606114"/>
                <a:gd name="connsiteX2" fmla="*/ 257337 w 514674"/>
                <a:gd name="connsiteY2" fmla="*/ 0 h 606114"/>
                <a:gd name="connsiteX3" fmla="*/ 514674 w 514674"/>
                <a:gd name="connsiteY3" fmla="*/ 257337 h 606114"/>
                <a:gd name="connsiteX4" fmla="*/ 348777 w 514674"/>
                <a:gd name="connsiteY4" fmla="*/ 606114 h 606114"/>
                <a:gd name="connsiteX0" fmla="*/ 257337 w 514674"/>
                <a:gd name="connsiteY0" fmla="*/ 514674 h 514674"/>
                <a:gd name="connsiteX1" fmla="*/ 0 w 514674"/>
                <a:gd name="connsiteY1" fmla="*/ 257337 h 514674"/>
                <a:gd name="connsiteX2" fmla="*/ 257337 w 514674"/>
                <a:gd name="connsiteY2" fmla="*/ 0 h 514674"/>
                <a:gd name="connsiteX3" fmla="*/ 514674 w 514674"/>
                <a:gd name="connsiteY3" fmla="*/ 257337 h 514674"/>
                <a:gd name="connsiteX0" fmla="*/ 0 w 514674"/>
                <a:gd name="connsiteY0" fmla="*/ 257337 h 257337"/>
                <a:gd name="connsiteX1" fmla="*/ 257337 w 514674"/>
                <a:gd name="connsiteY1" fmla="*/ 0 h 257337"/>
                <a:gd name="connsiteX2" fmla="*/ 514674 w 514674"/>
                <a:gd name="connsiteY2" fmla="*/ 257337 h 257337"/>
              </a:gdLst>
              <a:ahLst/>
              <a:cxnLst>
                <a:cxn ang="0">
                  <a:pos x="connsiteX0" y="connsiteY0"/>
                </a:cxn>
                <a:cxn ang="0">
                  <a:pos x="connsiteX1" y="connsiteY1"/>
                </a:cxn>
                <a:cxn ang="0">
                  <a:pos x="connsiteX2" y="connsiteY2"/>
                </a:cxn>
              </a:cxnLst>
              <a:rect l="l" t="t" r="r" b="b"/>
              <a:pathLst>
                <a:path w="514674" h="257337">
                  <a:moveTo>
                    <a:pt x="0" y="257337"/>
                  </a:moveTo>
                  <a:cubicBezTo>
                    <a:pt x="0" y="115214"/>
                    <a:pt x="115214" y="0"/>
                    <a:pt x="257337" y="0"/>
                  </a:cubicBezTo>
                  <a:cubicBezTo>
                    <a:pt x="399460" y="0"/>
                    <a:pt x="514674" y="115214"/>
                    <a:pt x="514674" y="257337"/>
                  </a:cubicBezTo>
                </a:path>
              </a:pathLst>
            </a:custGeom>
            <a:noFill/>
            <a:ln w="19050" cap="sq">
              <a:solidFill>
                <a:schemeClr val="tx2"/>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sp>
          <p:nvSpPr>
            <p:cNvPr id="134" name="Rounded Rectangle 133"/>
            <p:cNvSpPr/>
            <p:nvPr/>
          </p:nvSpPr>
          <p:spPr bwMode="gray">
            <a:xfrm>
              <a:off x="7308678" y="-819539"/>
              <a:ext cx="70489" cy="70489"/>
            </a:xfrm>
            <a:prstGeom prst="roundRect">
              <a:avLst>
                <a:gd name="adj" fmla="val 27923"/>
              </a:avLst>
            </a:prstGeom>
            <a:noFill/>
            <a:ln w="19050" cap="sq">
              <a:solidFill>
                <a:schemeClr val="tx2"/>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sp>
          <p:nvSpPr>
            <p:cNvPr id="135" name="Snip Single Corner Rectangle 47"/>
            <p:cNvSpPr/>
            <p:nvPr/>
          </p:nvSpPr>
          <p:spPr bwMode="gray">
            <a:xfrm rot="5400000">
              <a:off x="7380433" y="-955882"/>
              <a:ext cx="170522" cy="173051"/>
            </a:xfrm>
            <a:custGeom>
              <a:avLst/>
              <a:gdLst>
                <a:gd name="connsiteX0" fmla="*/ 0 w 387244"/>
                <a:gd name="connsiteY0" fmla="*/ 387244 h 478684"/>
                <a:gd name="connsiteX1" fmla="*/ 0 w 387244"/>
                <a:gd name="connsiteY1" fmla="*/ 36394 h 478684"/>
                <a:gd name="connsiteX2" fmla="*/ 202439 w 387244"/>
                <a:gd name="connsiteY2" fmla="*/ 36394 h 478684"/>
                <a:gd name="connsiteX3" fmla="*/ 216722 w 387244"/>
                <a:gd name="connsiteY3" fmla="*/ 22111 h 478684"/>
                <a:gd name="connsiteX4" fmla="*/ 216722 w 387244"/>
                <a:gd name="connsiteY4" fmla="*/ 0 h 478684"/>
                <a:gd name="connsiteX5" fmla="*/ 301748 w 387244"/>
                <a:gd name="connsiteY5" fmla="*/ 0 h 478684"/>
                <a:gd name="connsiteX6" fmla="*/ 387244 w 387244"/>
                <a:gd name="connsiteY6" fmla="*/ 85496 h 478684"/>
                <a:gd name="connsiteX7" fmla="*/ 387244 w 387244"/>
                <a:gd name="connsiteY7" fmla="*/ 173051 h 478684"/>
                <a:gd name="connsiteX8" fmla="*/ 371484 w 387244"/>
                <a:gd name="connsiteY8" fmla="*/ 173051 h 478684"/>
                <a:gd name="connsiteX9" fmla="*/ 351801 w 387244"/>
                <a:gd name="connsiteY9" fmla="*/ 192734 h 478684"/>
                <a:gd name="connsiteX10" fmla="*/ 351801 w 387244"/>
                <a:gd name="connsiteY10" fmla="*/ 223857 h 478684"/>
                <a:gd name="connsiteX11" fmla="*/ 371484 w 387244"/>
                <a:gd name="connsiteY11" fmla="*/ 243540 h 478684"/>
                <a:gd name="connsiteX12" fmla="*/ 387244 w 387244"/>
                <a:gd name="connsiteY12" fmla="*/ 243540 h 478684"/>
                <a:gd name="connsiteX13" fmla="*/ 387244 w 387244"/>
                <a:gd name="connsiteY13" fmla="*/ 387244 h 478684"/>
                <a:gd name="connsiteX14" fmla="*/ 91440 w 387244"/>
                <a:gd name="connsiteY14" fmla="*/ 478684 h 478684"/>
                <a:gd name="connsiteX0" fmla="*/ 0 w 387244"/>
                <a:gd name="connsiteY0" fmla="*/ 36394 h 478684"/>
                <a:gd name="connsiteX1" fmla="*/ 202439 w 387244"/>
                <a:gd name="connsiteY1" fmla="*/ 36394 h 478684"/>
                <a:gd name="connsiteX2" fmla="*/ 216722 w 387244"/>
                <a:gd name="connsiteY2" fmla="*/ 22111 h 478684"/>
                <a:gd name="connsiteX3" fmla="*/ 216722 w 387244"/>
                <a:gd name="connsiteY3" fmla="*/ 0 h 478684"/>
                <a:gd name="connsiteX4" fmla="*/ 301748 w 387244"/>
                <a:gd name="connsiteY4" fmla="*/ 0 h 478684"/>
                <a:gd name="connsiteX5" fmla="*/ 387244 w 387244"/>
                <a:gd name="connsiteY5" fmla="*/ 85496 h 478684"/>
                <a:gd name="connsiteX6" fmla="*/ 387244 w 387244"/>
                <a:gd name="connsiteY6" fmla="*/ 173051 h 478684"/>
                <a:gd name="connsiteX7" fmla="*/ 371484 w 387244"/>
                <a:gd name="connsiteY7" fmla="*/ 173051 h 478684"/>
                <a:gd name="connsiteX8" fmla="*/ 351801 w 387244"/>
                <a:gd name="connsiteY8" fmla="*/ 192734 h 478684"/>
                <a:gd name="connsiteX9" fmla="*/ 351801 w 387244"/>
                <a:gd name="connsiteY9" fmla="*/ 223857 h 478684"/>
                <a:gd name="connsiteX10" fmla="*/ 371484 w 387244"/>
                <a:gd name="connsiteY10" fmla="*/ 243540 h 478684"/>
                <a:gd name="connsiteX11" fmla="*/ 387244 w 387244"/>
                <a:gd name="connsiteY11" fmla="*/ 243540 h 478684"/>
                <a:gd name="connsiteX12" fmla="*/ 387244 w 387244"/>
                <a:gd name="connsiteY12" fmla="*/ 387244 h 478684"/>
                <a:gd name="connsiteX13" fmla="*/ 91440 w 387244"/>
                <a:gd name="connsiteY13" fmla="*/ 478684 h 478684"/>
                <a:gd name="connsiteX0" fmla="*/ 0 w 387244"/>
                <a:gd name="connsiteY0" fmla="*/ 36394 h 387244"/>
                <a:gd name="connsiteX1" fmla="*/ 202439 w 387244"/>
                <a:gd name="connsiteY1" fmla="*/ 36394 h 387244"/>
                <a:gd name="connsiteX2" fmla="*/ 216722 w 387244"/>
                <a:gd name="connsiteY2" fmla="*/ 22111 h 387244"/>
                <a:gd name="connsiteX3" fmla="*/ 216722 w 387244"/>
                <a:gd name="connsiteY3" fmla="*/ 0 h 387244"/>
                <a:gd name="connsiteX4" fmla="*/ 301748 w 387244"/>
                <a:gd name="connsiteY4" fmla="*/ 0 h 387244"/>
                <a:gd name="connsiteX5" fmla="*/ 387244 w 387244"/>
                <a:gd name="connsiteY5" fmla="*/ 85496 h 387244"/>
                <a:gd name="connsiteX6" fmla="*/ 387244 w 387244"/>
                <a:gd name="connsiteY6" fmla="*/ 173051 h 387244"/>
                <a:gd name="connsiteX7" fmla="*/ 371484 w 387244"/>
                <a:gd name="connsiteY7" fmla="*/ 173051 h 387244"/>
                <a:gd name="connsiteX8" fmla="*/ 351801 w 387244"/>
                <a:gd name="connsiteY8" fmla="*/ 192734 h 387244"/>
                <a:gd name="connsiteX9" fmla="*/ 351801 w 387244"/>
                <a:gd name="connsiteY9" fmla="*/ 223857 h 387244"/>
                <a:gd name="connsiteX10" fmla="*/ 371484 w 387244"/>
                <a:gd name="connsiteY10" fmla="*/ 243540 h 387244"/>
                <a:gd name="connsiteX11" fmla="*/ 387244 w 387244"/>
                <a:gd name="connsiteY11" fmla="*/ 243540 h 387244"/>
                <a:gd name="connsiteX12" fmla="*/ 387244 w 387244"/>
                <a:gd name="connsiteY12" fmla="*/ 387244 h 387244"/>
                <a:gd name="connsiteX0" fmla="*/ 0 w 387244"/>
                <a:gd name="connsiteY0" fmla="*/ 36394 h 243540"/>
                <a:gd name="connsiteX1" fmla="*/ 202439 w 387244"/>
                <a:gd name="connsiteY1" fmla="*/ 36394 h 243540"/>
                <a:gd name="connsiteX2" fmla="*/ 216722 w 387244"/>
                <a:gd name="connsiteY2" fmla="*/ 22111 h 243540"/>
                <a:gd name="connsiteX3" fmla="*/ 216722 w 387244"/>
                <a:gd name="connsiteY3" fmla="*/ 0 h 243540"/>
                <a:gd name="connsiteX4" fmla="*/ 301748 w 387244"/>
                <a:gd name="connsiteY4" fmla="*/ 0 h 243540"/>
                <a:gd name="connsiteX5" fmla="*/ 387244 w 387244"/>
                <a:gd name="connsiteY5" fmla="*/ 85496 h 243540"/>
                <a:gd name="connsiteX6" fmla="*/ 387244 w 387244"/>
                <a:gd name="connsiteY6" fmla="*/ 173051 h 243540"/>
                <a:gd name="connsiteX7" fmla="*/ 371484 w 387244"/>
                <a:gd name="connsiteY7" fmla="*/ 173051 h 243540"/>
                <a:gd name="connsiteX8" fmla="*/ 351801 w 387244"/>
                <a:gd name="connsiteY8" fmla="*/ 192734 h 243540"/>
                <a:gd name="connsiteX9" fmla="*/ 351801 w 387244"/>
                <a:gd name="connsiteY9" fmla="*/ 223857 h 243540"/>
                <a:gd name="connsiteX10" fmla="*/ 371484 w 387244"/>
                <a:gd name="connsiteY10" fmla="*/ 243540 h 243540"/>
                <a:gd name="connsiteX11" fmla="*/ 387244 w 387244"/>
                <a:gd name="connsiteY11" fmla="*/ 243540 h 243540"/>
                <a:gd name="connsiteX0" fmla="*/ 0 w 387244"/>
                <a:gd name="connsiteY0" fmla="*/ 36394 h 243540"/>
                <a:gd name="connsiteX1" fmla="*/ 202439 w 387244"/>
                <a:gd name="connsiteY1" fmla="*/ 36394 h 243540"/>
                <a:gd name="connsiteX2" fmla="*/ 216722 w 387244"/>
                <a:gd name="connsiteY2" fmla="*/ 22111 h 243540"/>
                <a:gd name="connsiteX3" fmla="*/ 216722 w 387244"/>
                <a:gd name="connsiteY3" fmla="*/ 0 h 243540"/>
                <a:gd name="connsiteX4" fmla="*/ 301748 w 387244"/>
                <a:gd name="connsiteY4" fmla="*/ 0 h 243540"/>
                <a:gd name="connsiteX5" fmla="*/ 387244 w 387244"/>
                <a:gd name="connsiteY5" fmla="*/ 85496 h 243540"/>
                <a:gd name="connsiteX6" fmla="*/ 387244 w 387244"/>
                <a:gd name="connsiteY6" fmla="*/ 173051 h 243540"/>
                <a:gd name="connsiteX7" fmla="*/ 371484 w 387244"/>
                <a:gd name="connsiteY7" fmla="*/ 173051 h 243540"/>
                <a:gd name="connsiteX8" fmla="*/ 351801 w 387244"/>
                <a:gd name="connsiteY8" fmla="*/ 192734 h 243540"/>
                <a:gd name="connsiteX9" fmla="*/ 351801 w 387244"/>
                <a:gd name="connsiteY9" fmla="*/ 223857 h 243540"/>
                <a:gd name="connsiteX10" fmla="*/ 371484 w 387244"/>
                <a:gd name="connsiteY10" fmla="*/ 243540 h 243540"/>
                <a:gd name="connsiteX0" fmla="*/ 0 w 387244"/>
                <a:gd name="connsiteY0" fmla="*/ 36394 h 223857"/>
                <a:gd name="connsiteX1" fmla="*/ 202439 w 387244"/>
                <a:gd name="connsiteY1" fmla="*/ 36394 h 223857"/>
                <a:gd name="connsiteX2" fmla="*/ 216722 w 387244"/>
                <a:gd name="connsiteY2" fmla="*/ 22111 h 223857"/>
                <a:gd name="connsiteX3" fmla="*/ 216722 w 387244"/>
                <a:gd name="connsiteY3" fmla="*/ 0 h 223857"/>
                <a:gd name="connsiteX4" fmla="*/ 301748 w 387244"/>
                <a:gd name="connsiteY4" fmla="*/ 0 h 223857"/>
                <a:gd name="connsiteX5" fmla="*/ 387244 w 387244"/>
                <a:gd name="connsiteY5" fmla="*/ 85496 h 223857"/>
                <a:gd name="connsiteX6" fmla="*/ 387244 w 387244"/>
                <a:gd name="connsiteY6" fmla="*/ 173051 h 223857"/>
                <a:gd name="connsiteX7" fmla="*/ 371484 w 387244"/>
                <a:gd name="connsiteY7" fmla="*/ 173051 h 223857"/>
                <a:gd name="connsiteX8" fmla="*/ 351801 w 387244"/>
                <a:gd name="connsiteY8" fmla="*/ 192734 h 223857"/>
                <a:gd name="connsiteX9" fmla="*/ 351801 w 387244"/>
                <a:gd name="connsiteY9" fmla="*/ 223857 h 223857"/>
                <a:gd name="connsiteX0" fmla="*/ 0 w 387244"/>
                <a:gd name="connsiteY0" fmla="*/ 36394 h 192734"/>
                <a:gd name="connsiteX1" fmla="*/ 202439 w 387244"/>
                <a:gd name="connsiteY1" fmla="*/ 36394 h 192734"/>
                <a:gd name="connsiteX2" fmla="*/ 216722 w 387244"/>
                <a:gd name="connsiteY2" fmla="*/ 22111 h 192734"/>
                <a:gd name="connsiteX3" fmla="*/ 216722 w 387244"/>
                <a:gd name="connsiteY3" fmla="*/ 0 h 192734"/>
                <a:gd name="connsiteX4" fmla="*/ 301748 w 387244"/>
                <a:gd name="connsiteY4" fmla="*/ 0 h 192734"/>
                <a:gd name="connsiteX5" fmla="*/ 387244 w 387244"/>
                <a:gd name="connsiteY5" fmla="*/ 85496 h 192734"/>
                <a:gd name="connsiteX6" fmla="*/ 387244 w 387244"/>
                <a:gd name="connsiteY6" fmla="*/ 173051 h 192734"/>
                <a:gd name="connsiteX7" fmla="*/ 371484 w 387244"/>
                <a:gd name="connsiteY7" fmla="*/ 173051 h 192734"/>
                <a:gd name="connsiteX8" fmla="*/ 351801 w 387244"/>
                <a:gd name="connsiteY8" fmla="*/ 192734 h 192734"/>
                <a:gd name="connsiteX0" fmla="*/ 0 w 387244"/>
                <a:gd name="connsiteY0" fmla="*/ 36394 h 173051"/>
                <a:gd name="connsiteX1" fmla="*/ 202439 w 387244"/>
                <a:gd name="connsiteY1" fmla="*/ 36394 h 173051"/>
                <a:gd name="connsiteX2" fmla="*/ 216722 w 387244"/>
                <a:gd name="connsiteY2" fmla="*/ 22111 h 173051"/>
                <a:gd name="connsiteX3" fmla="*/ 216722 w 387244"/>
                <a:gd name="connsiteY3" fmla="*/ 0 h 173051"/>
                <a:gd name="connsiteX4" fmla="*/ 301748 w 387244"/>
                <a:gd name="connsiteY4" fmla="*/ 0 h 173051"/>
                <a:gd name="connsiteX5" fmla="*/ 387244 w 387244"/>
                <a:gd name="connsiteY5" fmla="*/ 85496 h 173051"/>
                <a:gd name="connsiteX6" fmla="*/ 387244 w 387244"/>
                <a:gd name="connsiteY6" fmla="*/ 173051 h 173051"/>
                <a:gd name="connsiteX7" fmla="*/ 371484 w 387244"/>
                <a:gd name="connsiteY7" fmla="*/ 173051 h 173051"/>
                <a:gd name="connsiteX0" fmla="*/ 0 w 387244"/>
                <a:gd name="connsiteY0" fmla="*/ 36394 h 173051"/>
                <a:gd name="connsiteX1" fmla="*/ 202439 w 387244"/>
                <a:gd name="connsiteY1" fmla="*/ 36394 h 173051"/>
                <a:gd name="connsiteX2" fmla="*/ 216722 w 387244"/>
                <a:gd name="connsiteY2" fmla="*/ 22111 h 173051"/>
                <a:gd name="connsiteX3" fmla="*/ 216722 w 387244"/>
                <a:gd name="connsiteY3" fmla="*/ 0 h 173051"/>
                <a:gd name="connsiteX4" fmla="*/ 301748 w 387244"/>
                <a:gd name="connsiteY4" fmla="*/ 0 h 173051"/>
                <a:gd name="connsiteX5" fmla="*/ 387244 w 387244"/>
                <a:gd name="connsiteY5" fmla="*/ 85496 h 173051"/>
                <a:gd name="connsiteX6" fmla="*/ 387244 w 387244"/>
                <a:gd name="connsiteY6" fmla="*/ 173051 h 173051"/>
                <a:gd name="connsiteX0" fmla="*/ 0 w 184805"/>
                <a:gd name="connsiteY0" fmla="*/ 36394 h 173051"/>
                <a:gd name="connsiteX1" fmla="*/ 14283 w 184805"/>
                <a:gd name="connsiteY1" fmla="*/ 22111 h 173051"/>
                <a:gd name="connsiteX2" fmla="*/ 14283 w 184805"/>
                <a:gd name="connsiteY2" fmla="*/ 0 h 173051"/>
                <a:gd name="connsiteX3" fmla="*/ 99309 w 184805"/>
                <a:gd name="connsiteY3" fmla="*/ 0 h 173051"/>
                <a:gd name="connsiteX4" fmla="*/ 184805 w 184805"/>
                <a:gd name="connsiteY4" fmla="*/ 85496 h 173051"/>
                <a:gd name="connsiteX5" fmla="*/ 184805 w 184805"/>
                <a:gd name="connsiteY5" fmla="*/ 173051 h 173051"/>
                <a:gd name="connsiteX0" fmla="*/ 0 w 170522"/>
                <a:gd name="connsiteY0" fmla="*/ 22111 h 173051"/>
                <a:gd name="connsiteX1" fmla="*/ 0 w 170522"/>
                <a:gd name="connsiteY1" fmla="*/ 0 h 173051"/>
                <a:gd name="connsiteX2" fmla="*/ 85026 w 170522"/>
                <a:gd name="connsiteY2" fmla="*/ 0 h 173051"/>
                <a:gd name="connsiteX3" fmla="*/ 170522 w 170522"/>
                <a:gd name="connsiteY3" fmla="*/ 85496 h 173051"/>
                <a:gd name="connsiteX4" fmla="*/ 170522 w 170522"/>
                <a:gd name="connsiteY4" fmla="*/ 173051 h 173051"/>
                <a:gd name="connsiteX0" fmla="*/ 0 w 170522"/>
                <a:gd name="connsiteY0" fmla="*/ 0 h 173051"/>
                <a:gd name="connsiteX1" fmla="*/ 85026 w 170522"/>
                <a:gd name="connsiteY1" fmla="*/ 0 h 173051"/>
                <a:gd name="connsiteX2" fmla="*/ 170522 w 170522"/>
                <a:gd name="connsiteY2" fmla="*/ 85496 h 173051"/>
                <a:gd name="connsiteX3" fmla="*/ 170522 w 170522"/>
                <a:gd name="connsiteY3" fmla="*/ 173051 h 173051"/>
              </a:gdLst>
              <a:ahLst/>
              <a:cxnLst>
                <a:cxn ang="0">
                  <a:pos x="connsiteX0" y="connsiteY0"/>
                </a:cxn>
                <a:cxn ang="0">
                  <a:pos x="connsiteX1" y="connsiteY1"/>
                </a:cxn>
                <a:cxn ang="0">
                  <a:pos x="connsiteX2" y="connsiteY2"/>
                </a:cxn>
                <a:cxn ang="0">
                  <a:pos x="connsiteX3" y="connsiteY3"/>
                </a:cxn>
              </a:cxnLst>
              <a:rect l="l" t="t" r="r" b="b"/>
              <a:pathLst>
                <a:path w="170522" h="173051">
                  <a:moveTo>
                    <a:pt x="0" y="0"/>
                  </a:moveTo>
                  <a:lnTo>
                    <a:pt x="85026" y="0"/>
                  </a:lnTo>
                  <a:lnTo>
                    <a:pt x="170522" y="85496"/>
                  </a:lnTo>
                  <a:lnTo>
                    <a:pt x="170522" y="173051"/>
                  </a:lnTo>
                </a:path>
              </a:pathLst>
            </a:custGeom>
            <a:noFill/>
            <a:ln w="19050" cap="sq">
              <a:solidFill>
                <a:schemeClr val="tx2"/>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grpSp>
      <p:sp>
        <p:nvSpPr>
          <p:cNvPr id="64" name="L-Shape 497"/>
          <p:cNvSpPr/>
          <p:nvPr/>
        </p:nvSpPr>
        <p:spPr bwMode="gray">
          <a:xfrm rot="18900000">
            <a:off x="6074555" y="2843288"/>
            <a:ext cx="135403" cy="61833"/>
          </a:xfrm>
          <a:custGeom>
            <a:avLst/>
            <a:gdLst/>
            <a:ahLst/>
            <a:cxnLst/>
            <a:rect l="l" t="t" r="r" b="b"/>
            <a:pathLst>
              <a:path w="1084084" h="495058">
                <a:moveTo>
                  <a:pt x="1084084" y="425460"/>
                </a:moveTo>
                <a:lnTo>
                  <a:pt x="1084084" y="495058"/>
                </a:lnTo>
                <a:lnTo>
                  <a:pt x="0" y="495058"/>
                </a:lnTo>
                <a:lnTo>
                  <a:pt x="0" y="0"/>
                </a:lnTo>
                <a:lnTo>
                  <a:pt x="74683" y="0"/>
                </a:lnTo>
                <a:lnTo>
                  <a:pt x="74683" y="425460"/>
                </a:lnTo>
                <a:close/>
              </a:path>
            </a:pathLst>
          </a:custGeom>
          <a:noFill/>
          <a:ln w="28575">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3" name="L-Shape 497"/>
          <p:cNvSpPr/>
          <p:nvPr/>
        </p:nvSpPr>
        <p:spPr bwMode="gray">
          <a:xfrm rot="18900000">
            <a:off x="6074553" y="3051803"/>
            <a:ext cx="135403" cy="61833"/>
          </a:xfrm>
          <a:custGeom>
            <a:avLst/>
            <a:gdLst/>
            <a:ahLst/>
            <a:cxnLst/>
            <a:rect l="l" t="t" r="r" b="b"/>
            <a:pathLst>
              <a:path w="1084084" h="495058">
                <a:moveTo>
                  <a:pt x="1084084" y="425460"/>
                </a:moveTo>
                <a:lnTo>
                  <a:pt x="1084084" y="495058"/>
                </a:lnTo>
                <a:lnTo>
                  <a:pt x="0" y="495058"/>
                </a:lnTo>
                <a:lnTo>
                  <a:pt x="0" y="0"/>
                </a:lnTo>
                <a:lnTo>
                  <a:pt x="74683" y="0"/>
                </a:lnTo>
                <a:lnTo>
                  <a:pt x="74683" y="425460"/>
                </a:lnTo>
                <a:close/>
              </a:path>
            </a:pathLst>
          </a:custGeom>
          <a:noFill/>
          <a:ln w="28575">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94" name="L-Shape 497"/>
          <p:cNvSpPr/>
          <p:nvPr/>
        </p:nvSpPr>
        <p:spPr bwMode="gray">
          <a:xfrm rot="18900000">
            <a:off x="6074553" y="3259051"/>
            <a:ext cx="135403" cy="61833"/>
          </a:xfrm>
          <a:custGeom>
            <a:avLst/>
            <a:gdLst/>
            <a:ahLst/>
            <a:cxnLst/>
            <a:rect l="l" t="t" r="r" b="b"/>
            <a:pathLst>
              <a:path w="1084084" h="495058">
                <a:moveTo>
                  <a:pt x="1084084" y="425460"/>
                </a:moveTo>
                <a:lnTo>
                  <a:pt x="1084084" y="495058"/>
                </a:lnTo>
                <a:lnTo>
                  <a:pt x="0" y="495058"/>
                </a:lnTo>
                <a:lnTo>
                  <a:pt x="0" y="0"/>
                </a:lnTo>
                <a:lnTo>
                  <a:pt x="74683" y="0"/>
                </a:lnTo>
                <a:lnTo>
                  <a:pt x="74683" y="425460"/>
                </a:lnTo>
                <a:close/>
              </a:path>
            </a:pathLst>
          </a:custGeom>
          <a:noFill/>
          <a:ln w="28575">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62" name="Chevron 161"/>
          <p:cNvSpPr/>
          <p:nvPr/>
        </p:nvSpPr>
        <p:spPr bwMode="gray">
          <a:xfrm>
            <a:off x="4120535" y="4996051"/>
            <a:ext cx="3955568" cy="460375"/>
          </a:xfrm>
          <a:prstGeom prst="chevron">
            <a:avLst>
              <a:gd name="adj" fmla="val 5076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rPr>
              <a:t>Report a </a:t>
            </a:r>
            <a:r>
              <a:rPr lang="de-DE" sz="1600" b="1" dirty="0" err="1">
                <a:solidFill>
                  <a:schemeClr val="bg1"/>
                </a:solidFill>
              </a:rPr>
              <a:t>problem</a:t>
            </a:r>
            <a:endParaRPr lang="de-DE" sz="1600" b="1" dirty="0">
              <a:solidFill>
                <a:schemeClr val="bg1"/>
              </a:solidFill>
            </a:endParaRPr>
          </a:p>
        </p:txBody>
      </p:sp>
      <p:sp>
        <p:nvSpPr>
          <p:cNvPr id="163" name="Chevron 162"/>
          <p:cNvSpPr/>
          <p:nvPr/>
        </p:nvSpPr>
        <p:spPr bwMode="gray">
          <a:xfrm>
            <a:off x="7915869" y="4996051"/>
            <a:ext cx="3955568" cy="460375"/>
          </a:xfrm>
          <a:prstGeom prst="chevron">
            <a:avLst>
              <a:gd name="adj" fmla="val 5076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rPr>
              <a:t>Request </a:t>
            </a:r>
            <a:r>
              <a:rPr lang="de-DE" sz="1600" b="1" dirty="0" err="1">
                <a:solidFill>
                  <a:schemeClr val="bg1"/>
                </a:solidFill>
              </a:rPr>
              <a:t>for</a:t>
            </a:r>
            <a:r>
              <a:rPr lang="de-DE" sz="1600" b="1" dirty="0">
                <a:solidFill>
                  <a:schemeClr val="bg1"/>
                </a:solidFill>
              </a:rPr>
              <a:t> </a:t>
            </a:r>
            <a:r>
              <a:rPr lang="de-DE" sz="1600" b="1" dirty="0" err="1">
                <a:solidFill>
                  <a:schemeClr val="bg1"/>
                </a:solidFill>
              </a:rPr>
              <a:t>service</a:t>
            </a:r>
            <a:r>
              <a:rPr lang="de-DE" sz="1600" b="1" dirty="0">
                <a:solidFill>
                  <a:schemeClr val="bg1"/>
                </a:solidFill>
              </a:rPr>
              <a:t>*</a:t>
            </a:r>
          </a:p>
        </p:txBody>
      </p:sp>
      <p:sp>
        <p:nvSpPr>
          <p:cNvPr id="164" name="Chevron 163"/>
          <p:cNvSpPr/>
          <p:nvPr/>
        </p:nvSpPr>
        <p:spPr bwMode="gray">
          <a:xfrm>
            <a:off x="335361" y="4996051"/>
            <a:ext cx="3955568" cy="460375"/>
          </a:xfrm>
          <a:custGeom>
            <a:avLst/>
            <a:gdLst>
              <a:gd name="connsiteX0" fmla="*/ 0 w 3955568"/>
              <a:gd name="connsiteY0" fmla="*/ 0 h 460375"/>
              <a:gd name="connsiteX1" fmla="*/ 3721845 w 3955568"/>
              <a:gd name="connsiteY1" fmla="*/ 0 h 460375"/>
              <a:gd name="connsiteX2" fmla="*/ 3955568 w 3955568"/>
              <a:gd name="connsiteY2" fmla="*/ 230188 h 460375"/>
              <a:gd name="connsiteX3" fmla="*/ 3721845 w 3955568"/>
              <a:gd name="connsiteY3" fmla="*/ 460375 h 460375"/>
              <a:gd name="connsiteX4" fmla="*/ 0 w 3955568"/>
              <a:gd name="connsiteY4" fmla="*/ 460375 h 460375"/>
              <a:gd name="connsiteX5" fmla="*/ 233723 w 3955568"/>
              <a:gd name="connsiteY5" fmla="*/ 230188 h 460375"/>
              <a:gd name="connsiteX6" fmla="*/ 0 w 3955568"/>
              <a:gd name="connsiteY6" fmla="*/ 0 h 460375"/>
              <a:gd name="connsiteX0" fmla="*/ 0 w 3955568"/>
              <a:gd name="connsiteY0" fmla="*/ 0 h 460375"/>
              <a:gd name="connsiteX1" fmla="*/ 3721845 w 3955568"/>
              <a:gd name="connsiteY1" fmla="*/ 0 h 460375"/>
              <a:gd name="connsiteX2" fmla="*/ 3955568 w 3955568"/>
              <a:gd name="connsiteY2" fmla="*/ 230188 h 460375"/>
              <a:gd name="connsiteX3" fmla="*/ 3721845 w 3955568"/>
              <a:gd name="connsiteY3" fmla="*/ 460375 h 460375"/>
              <a:gd name="connsiteX4" fmla="*/ 0 w 3955568"/>
              <a:gd name="connsiteY4" fmla="*/ 460375 h 460375"/>
              <a:gd name="connsiteX5" fmla="*/ 0 w 3955568"/>
              <a:gd name="connsiteY5" fmla="*/ 0 h 46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55568" h="460375">
                <a:moveTo>
                  <a:pt x="0" y="0"/>
                </a:moveTo>
                <a:lnTo>
                  <a:pt x="3721845" y="0"/>
                </a:lnTo>
                <a:lnTo>
                  <a:pt x="3955568" y="230188"/>
                </a:lnTo>
                <a:lnTo>
                  <a:pt x="3721845" y="460375"/>
                </a:lnTo>
                <a:lnTo>
                  <a:pt x="0" y="460375"/>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rPr>
              <a:t>Register </a:t>
            </a:r>
            <a:r>
              <a:rPr lang="de-DE" sz="1600" b="1" dirty="0" err="1">
                <a:solidFill>
                  <a:schemeClr val="bg1"/>
                </a:solidFill>
              </a:rPr>
              <a:t>your</a:t>
            </a:r>
            <a:r>
              <a:rPr lang="de-DE" sz="1600" b="1" dirty="0">
                <a:solidFill>
                  <a:schemeClr val="bg1"/>
                </a:solidFill>
              </a:rPr>
              <a:t> </a:t>
            </a:r>
            <a:r>
              <a:rPr lang="de-DE" sz="1600" b="1" dirty="0" err="1">
                <a:solidFill>
                  <a:schemeClr val="bg1"/>
                </a:solidFill>
              </a:rPr>
              <a:t>device</a:t>
            </a:r>
            <a:endParaRPr lang="de-DE" sz="1600" b="1" dirty="0">
              <a:solidFill>
                <a:schemeClr val="bg1"/>
              </a:solidFill>
            </a:endParaRPr>
          </a:p>
        </p:txBody>
      </p:sp>
      <p:sp>
        <p:nvSpPr>
          <p:cNvPr id="136" name="AutoShape 6">
            <a:hlinkClick r:id="rId4" action="ppaction://hlinksldjump" highlightClick="1"/>
            <a:extLst>
              <a:ext uri="{FF2B5EF4-FFF2-40B4-BE49-F238E27FC236}">
                <a16:creationId xmlns:a16="http://schemas.microsoft.com/office/drawing/2014/main" id="{CE31581F-F9C3-4226-B54C-0653CD73F50B}"/>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99562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0-#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22" presetClass="entr" presetSubtype="8" fill="hold" grpId="0" nodeType="withEffect">
                                  <p:stCondLst>
                                    <p:cond delay="0"/>
                                  </p:stCondLst>
                                  <p:childTnLst>
                                    <p:set>
                                      <p:cBhvr>
                                        <p:cTn id="10" dur="1" fill="hold">
                                          <p:stCondLst>
                                            <p:cond delay="0"/>
                                          </p:stCondLst>
                                        </p:cTn>
                                        <p:tgtEl>
                                          <p:spTgt spid="164"/>
                                        </p:tgtEl>
                                        <p:attrNameLst>
                                          <p:attrName>style.visibility</p:attrName>
                                        </p:attrNameLst>
                                      </p:cBhvr>
                                      <p:to>
                                        <p:strVal val="visible"/>
                                      </p:to>
                                    </p:set>
                                    <p:animEffect transition="in" filter="wipe(left)">
                                      <p:cBhvr>
                                        <p:cTn id="11" dur="500"/>
                                        <p:tgtEl>
                                          <p:spTgt spid="164"/>
                                        </p:tgtEl>
                                      </p:cBhvr>
                                    </p:animEffect>
                                  </p:childTnLst>
                                </p:cTn>
                              </p:par>
                              <p:par>
                                <p:cTn id="12" presetID="10" presetClass="entr" presetSubtype="0" fill="hold" grpId="0" nodeType="withEffect">
                                  <p:stCondLst>
                                    <p:cond delay="500"/>
                                  </p:stCondLst>
                                  <p:childTnLst>
                                    <p:set>
                                      <p:cBhvr>
                                        <p:cTn id="13" dur="1" fill="hold">
                                          <p:stCondLst>
                                            <p:cond delay="0"/>
                                          </p:stCondLst>
                                        </p:cTn>
                                        <p:tgtEl>
                                          <p:spTgt spid="98"/>
                                        </p:tgtEl>
                                        <p:attrNameLst>
                                          <p:attrName>style.visibility</p:attrName>
                                        </p:attrNameLst>
                                      </p:cBhvr>
                                      <p:to>
                                        <p:strVal val="visible"/>
                                      </p:to>
                                    </p:set>
                                    <p:animEffect transition="in" filter="fade">
                                      <p:cBhvr>
                                        <p:cTn id="14" dur="500"/>
                                        <p:tgtEl>
                                          <p:spTgt spid="98"/>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wipe(left)">
                                      <p:cBhvr>
                                        <p:cTn id="18" dur="500"/>
                                        <p:tgtEl>
                                          <p:spTgt spid="13"/>
                                        </p:tgtEl>
                                      </p:cBhvr>
                                    </p:animEffect>
                                  </p:childTnLst>
                                </p:cTn>
                              </p:par>
                              <p:par>
                                <p:cTn id="19" presetID="22" presetClass="entr" presetSubtype="8" fill="hold" grpId="0" nodeType="withEffect">
                                  <p:stCondLst>
                                    <p:cond delay="0"/>
                                  </p:stCondLst>
                                  <p:childTnLst>
                                    <p:set>
                                      <p:cBhvr>
                                        <p:cTn id="20" dur="1" fill="hold">
                                          <p:stCondLst>
                                            <p:cond delay="0"/>
                                          </p:stCondLst>
                                        </p:cTn>
                                        <p:tgtEl>
                                          <p:spTgt spid="162"/>
                                        </p:tgtEl>
                                        <p:attrNameLst>
                                          <p:attrName>style.visibility</p:attrName>
                                        </p:attrNameLst>
                                      </p:cBhvr>
                                      <p:to>
                                        <p:strVal val="visible"/>
                                      </p:to>
                                    </p:set>
                                    <p:animEffect transition="in" filter="wipe(left)">
                                      <p:cBhvr>
                                        <p:cTn id="21" dur="500"/>
                                        <p:tgtEl>
                                          <p:spTgt spid="162"/>
                                        </p:tgtEl>
                                      </p:cBhvr>
                                    </p:animEffect>
                                  </p:childTnLst>
                                </p:cTn>
                              </p:par>
                              <p:par>
                                <p:cTn id="22" presetID="42" presetClass="entr" presetSubtype="0" fill="hold" nodeType="withEffect">
                                  <p:stCondLst>
                                    <p:cond delay="500"/>
                                  </p:stCondLst>
                                  <p:childTnLst>
                                    <p:set>
                                      <p:cBhvr>
                                        <p:cTn id="23" dur="1" fill="hold">
                                          <p:stCondLst>
                                            <p:cond delay="0"/>
                                          </p:stCondLst>
                                        </p:cTn>
                                        <p:tgtEl>
                                          <p:spTgt spid="102"/>
                                        </p:tgtEl>
                                        <p:attrNameLst>
                                          <p:attrName>style.visibility</p:attrName>
                                        </p:attrNameLst>
                                      </p:cBhvr>
                                      <p:to>
                                        <p:strVal val="visible"/>
                                      </p:to>
                                    </p:set>
                                    <p:animEffect transition="in" filter="fade">
                                      <p:cBhvr>
                                        <p:cTn id="24" dur="500"/>
                                        <p:tgtEl>
                                          <p:spTgt spid="102"/>
                                        </p:tgtEl>
                                      </p:cBhvr>
                                    </p:animEffect>
                                    <p:anim calcmode="lin" valueType="num">
                                      <p:cBhvr>
                                        <p:cTn id="25" dur="500" fill="hold"/>
                                        <p:tgtEl>
                                          <p:spTgt spid="102"/>
                                        </p:tgtEl>
                                        <p:attrNameLst>
                                          <p:attrName>ppt_x</p:attrName>
                                        </p:attrNameLst>
                                      </p:cBhvr>
                                      <p:tavLst>
                                        <p:tav tm="0">
                                          <p:val>
                                            <p:strVal val="#ppt_x"/>
                                          </p:val>
                                        </p:tav>
                                        <p:tav tm="100000">
                                          <p:val>
                                            <p:strVal val="#ppt_x"/>
                                          </p:val>
                                        </p:tav>
                                      </p:tavLst>
                                    </p:anim>
                                    <p:anim calcmode="lin" valueType="num">
                                      <p:cBhvr>
                                        <p:cTn id="26" dur="500" fill="hold"/>
                                        <p:tgtEl>
                                          <p:spTgt spid="102"/>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500"/>
                                  </p:stCondLst>
                                  <p:childTnLst>
                                    <p:set>
                                      <p:cBhvr>
                                        <p:cTn id="28" dur="1" fill="hold">
                                          <p:stCondLst>
                                            <p:cond delay="0"/>
                                          </p:stCondLst>
                                        </p:cTn>
                                        <p:tgtEl>
                                          <p:spTgt spid="107"/>
                                        </p:tgtEl>
                                        <p:attrNameLst>
                                          <p:attrName>style.visibility</p:attrName>
                                        </p:attrNameLst>
                                      </p:cBhvr>
                                      <p:to>
                                        <p:strVal val="visible"/>
                                      </p:to>
                                    </p:set>
                                    <p:animEffect transition="in" filter="fade">
                                      <p:cBhvr>
                                        <p:cTn id="29" dur="500"/>
                                        <p:tgtEl>
                                          <p:spTgt spid="107"/>
                                        </p:tgtEl>
                                      </p:cBhvr>
                                    </p:animEffect>
                                    <p:anim calcmode="lin" valueType="num">
                                      <p:cBhvr>
                                        <p:cTn id="30" dur="500" fill="hold"/>
                                        <p:tgtEl>
                                          <p:spTgt spid="107"/>
                                        </p:tgtEl>
                                        <p:attrNameLst>
                                          <p:attrName>ppt_x</p:attrName>
                                        </p:attrNameLst>
                                      </p:cBhvr>
                                      <p:tavLst>
                                        <p:tav tm="0">
                                          <p:val>
                                            <p:strVal val="#ppt_x"/>
                                          </p:val>
                                        </p:tav>
                                        <p:tav tm="100000">
                                          <p:val>
                                            <p:strVal val="#ppt_x"/>
                                          </p:val>
                                        </p:tav>
                                      </p:tavLst>
                                    </p:anim>
                                    <p:anim calcmode="lin" valueType="num">
                                      <p:cBhvr>
                                        <p:cTn id="31" dur="500" fill="hold"/>
                                        <p:tgtEl>
                                          <p:spTgt spid="107"/>
                                        </p:tgtEl>
                                        <p:attrNameLst>
                                          <p:attrName>ppt_y</p:attrName>
                                        </p:attrNameLst>
                                      </p:cBhvr>
                                      <p:tavLst>
                                        <p:tav tm="0">
                                          <p:val>
                                            <p:strVal val="#ppt_y+.1"/>
                                          </p:val>
                                        </p:tav>
                                        <p:tav tm="100000">
                                          <p:val>
                                            <p:strVal val="#ppt_y"/>
                                          </p:val>
                                        </p:tav>
                                      </p:tavLst>
                                    </p:anim>
                                  </p:childTnLst>
                                </p:cTn>
                              </p:par>
                              <p:par>
                                <p:cTn id="32" presetID="10" presetClass="entr" presetSubtype="0" fill="hold" grpId="0" nodeType="withEffect">
                                  <p:stCondLst>
                                    <p:cond delay="1000"/>
                                  </p:stCondLst>
                                  <p:childTnLst>
                                    <p:set>
                                      <p:cBhvr>
                                        <p:cTn id="33" dur="1" fill="hold">
                                          <p:stCondLst>
                                            <p:cond delay="0"/>
                                          </p:stCondLst>
                                        </p:cTn>
                                        <p:tgtEl>
                                          <p:spTgt spid="64"/>
                                        </p:tgtEl>
                                        <p:attrNameLst>
                                          <p:attrName>style.visibility</p:attrName>
                                        </p:attrNameLst>
                                      </p:cBhvr>
                                      <p:to>
                                        <p:strVal val="visible"/>
                                      </p:to>
                                    </p:set>
                                    <p:animEffect transition="in" filter="fade">
                                      <p:cBhvr>
                                        <p:cTn id="34" dur="500"/>
                                        <p:tgtEl>
                                          <p:spTgt spid="64"/>
                                        </p:tgtEl>
                                      </p:cBhvr>
                                    </p:animEffect>
                                  </p:childTnLst>
                                </p:cTn>
                              </p:par>
                              <p:par>
                                <p:cTn id="35" presetID="10" presetClass="entr" presetSubtype="0" fill="hold" grpId="0" nodeType="withEffect">
                                  <p:stCondLst>
                                    <p:cond delay="1500"/>
                                  </p:stCondLst>
                                  <p:childTnLst>
                                    <p:set>
                                      <p:cBhvr>
                                        <p:cTn id="36" dur="1" fill="hold">
                                          <p:stCondLst>
                                            <p:cond delay="0"/>
                                          </p:stCondLst>
                                        </p:cTn>
                                        <p:tgtEl>
                                          <p:spTgt spid="93"/>
                                        </p:tgtEl>
                                        <p:attrNameLst>
                                          <p:attrName>style.visibility</p:attrName>
                                        </p:attrNameLst>
                                      </p:cBhvr>
                                      <p:to>
                                        <p:strVal val="visible"/>
                                      </p:to>
                                    </p:set>
                                    <p:animEffect transition="in" filter="fade">
                                      <p:cBhvr>
                                        <p:cTn id="37" dur="500"/>
                                        <p:tgtEl>
                                          <p:spTgt spid="93"/>
                                        </p:tgtEl>
                                      </p:cBhvr>
                                    </p:animEffect>
                                  </p:childTnLst>
                                </p:cTn>
                              </p:par>
                              <p:par>
                                <p:cTn id="38" presetID="10" presetClass="entr" presetSubtype="0" fill="hold" grpId="0" nodeType="withEffect">
                                  <p:stCondLst>
                                    <p:cond delay="2000"/>
                                  </p:stCondLst>
                                  <p:childTnLst>
                                    <p:set>
                                      <p:cBhvr>
                                        <p:cTn id="39" dur="1" fill="hold">
                                          <p:stCondLst>
                                            <p:cond delay="0"/>
                                          </p:stCondLst>
                                        </p:cTn>
                                        <p:tgtEl>
                                          <p:spTgt spid="94"/>
                                        </p:tgtEl>
                                        <p:attrNameLst>
                                          <p:attrName>style.visibility</p:attrName>
                                        </p:attrNameLst>
                                      </p:cBhvr>
                                      <p:to>
                                        <p:strVal val="visible"/>
                                      </p:to>
                                    </p:set>
                                    <p:animEffect transition="in" filter="fade">
                                      <p:cBhvr>
                                        <p:cTn id="40" dur="500"/>
                                        <p:tgtEl>
                                          <p:spTgt spid="94"/>
                                        </p:tgtEl>
                                      </p:cBhvr>
                                    </p:animEffect>
                                  </p:childTnLst>
                                </p:cTn>
                              </p:par>
                            </p:childTnLst>
                          </p:cTn>
                        </p:par>
                        <p:par>
                          <p:cTn id="41" fill="hold">
                            <p:stCondLst>
                              <p:cond delay="3500"/>
                            </p:stCondLst>
                            <p:childTnLst>
                              <p:par>
                                <p:cTn id="42" presetID="22" presetClass="entr" presetSubtype="8" fill="hold" grpId="0" nodeType="afterEffect">
                                  <p:stCondLst>
                                    <p:cond delay="0"/>
                                  </p:stCondLst>
                                  <p:childTnLst>
                                    <p:set>
                                      <p:cBhvr>
                                        <p:cTn id="43" dur="1" fill="hold">
                                          <p:stCondLst>
                                            <p:cond delay="0"/>
                                          </p:stCondLst>
                                        </p:cTn>
                                        <p:tgtEl>
                                          <p:spTgt spid="99"/>
                                        </p:tgtEl>
                                        <p:attrNameLst>
                                          <p:attrName>style.visibility</p:attrName>
                                        </p:attrNameLst>
                                      </p:cBhvr>
                                      <p:to>
                                        <p:strVal val="visible"/>
                                      </p:to>
                                    </p:set>
                                    <p:animEffect transition="in" filter="wipe(left)">
                                      <p:cBhvr>
                                        <p:cTn id="44" dur="500"/>
                                        <p:tgtEl>
                                          <p:spTgt spid="99"/>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163"/>
                                        </p:tgtEl>
                                        <p:attrNameLst>
                                          <p:attrName>style.visibility</p:attrName>
                                        </p:attrNameLst>
                                      </p:cBhvr>
                                      <p:to>
                                        <p:strVal val="visible"/>
                                      </p:to>
                                    </p:set>
                                    <p:animEffect transition="in" filter="wipe(left)">
                                      <p:cBhvr>
                                        <p:cTn id="47" dur="500"/>
                                        <p:tgtEl>
                                          <p:spTgt spid="163"/>
                                        </p:tgtEl>
                                      </p:cBhvr>
                                    </p:animEffect>
                                  </p:childTnLst>
                                </p:cTn>
                              </p:par>
                              <p:par>
                                <p:cTn id="48" presetID="10" presetClass="entr" presetSubtype="0" fill="hold" nodeType="withEffect">
                                  <p:stCondLst>
                                    <p:cond delay="500"/>
                                  </p:stCondLst>
                                  <p:childTnLst>
                                    <p:set>
                                      <p:cBhvr>
                                        <p:cTn id="49" dur="1" fill="hold">
                                          <p:stCondLst>
                                            <p:cond delay="0"/>
                                          </p:stCondLst>
                                        </p:cTn>
                                        <p:tgtEl>
                                          <p:spTgt spid="39"/>
                                        </p:tgtEl>
                                        <p:attrNameLst>
                                          <p:attrName>style.visibility</p:attrName>
                                        </p:attrNameLst>
                                      </p:cBhvr>
                                      <p:to>
                                        <p:strVal val="visible"/>
                                      </p:to>
                                    </p:set>
                                    <p:animEffect transition="in" filter="fade">
                                      <p:cBhvr>
                                        <p:cTn id="50" dur="500"/>
                                        <p:tgtEl>
                                          <p:spTgt spid="39"/>
                                        </p:tgtEl>
                                      </p:cBhvr>
                                    </p:animEffect>
                                  </p:childTnLst>
                                </p:cTn>
                              </p:par>
                              <p:par>
                                <p:cTn id="51" presetID="22" presetClass="entr" presetSubtype="8" fill="hold" nodeType="withEffect">
                                  <p:stCondLst>
                                    <p:cond delay="500"/>
                                  </p:stCondLst>
                                  <p:childTnLst>
                                    <p:set>
                                      <p:cBhvr>
                                        <p:cTn id="52" dur="1" fill="hold">
                                          <p:stCondLst>
                                            <p:cond delay="0"/>
                                          </p:stCondLst>
                                        </p:cTn>
                                        <p:tgtEl>
                                          <p:spTgt spid="130"/>
                                        </p:tgtEl>
                                        <p:attrNameLst>
                                          <p:attrName>style.visibility</p:attrName>
                                        </p:attrNameLst>
                                      </p:cBhvr>
                                      <p:to>
                                        <p:strVal val="visible"/>
                                      </p:to>
                                    </p:set>
                                    <p:animEffect transition="in" filter="wipe(left)">
                                      <p:cBhvr>
                                        <p:cTn id="53" dur="500"/>
                                        <p:tgtEl>
                                          <p:spTgt spid="130"/>
                                        </p:tgtEl>
                                      </p:cBhvr>
                                    </p:animEffect>
                                  </p:childTnLst>
                                </p:cTn>
                              </p:par>
                              <p:par>
                                <p:cTn id="54" presetID="22" presetClass="entr" presetSubtype="8" fill="hold" nodeType="withEffect">
                                  <p:stCondLst>
                                    <p:cond delay="500"/>
                                  </p:stCondLst>
                                  <p:childTnLst>
                                    <p:set>
                                      <p:cBhvr>
                                        <p:cTn id="55" dur="1" fill="hold">
                                          <p:stCondLst>
                                            <p:cond delay="0"/>
                                          </p:stCondLst>
                                        </p:cTn>
                                        <p:tgtEl>
                                          <p:spTgt spid="125"/>
                                        </p:tgtEl>
                                        <p:attrNameLst>
                                          <p:attrName>style.visibility</p:attrName>
                                        </p:attrNameLst>
                                      </p:cBhvr>
                                      <p:to>
                                        <p:strVal val="visible"/>
                                      </p:to>
                                    </p:set>
                                    <p:animEffect transition="in" filter="wipe(left)">
                                      <p:cBhvr>
                                        <p:cTn id="56" dur="500"/>
                                        <p:tgtEl>
                                          <p:spTgt spid="125"/>
                                        </p:tgtEl>
                                      </p:cBhvr>
                                    </p:animEffect>
                                  </p:childTnLst>
                                </p:cTn>
                              </p:par>
                              <p:par>
                                <p:cTn id="57" presetID="22" presetClass="entr" presetSubtype="8" fill="hold" nodeType="withEffect">
                                  <p:stCondLst>
                                    <p:cond delay="500"/>
                                  </p:stCondLst>
                                  <p:childTnLst>
                                    <p:set>
                                      <p:cBhvr>
                                        <p:cTn id="58" dur="1" fill="hold">
                                          <p:stCondLst>
                                            <p:cond delay="0"/>
                                          </p:stCondLst>
                                        </p:cTn>
                                        <p:tgtEl>
                                          <p:spTgt spid="108"/>
                                        </p:tgtEl>
                                        <p:attrNameLst>
                                          <p:attrName>style.visibility</p:attrName>
                                        </p:attrNameLst>
                                      </p:cBhvr>
                                      <p:to>
                                        <p:strVal val="visible"/>
                                      </p:to>
                                    </p:set>
                                    <p:animEffect transition="in" filter="wipe(left)">
                                      <p:cBhvr>
                                        <p:cTn id="59" dur="500"/>
                                        <p:tgtEl>
                                          <p:spTgt spid="108"/>
                                        </p:tgtEl>
                                      </p:cBhvr>
                                    </p:animEffect>
                                  </p:childTnLst>
                                </p:cTn>
                              </p:par>
                              <p:par>
                                <p:cTn id="60" presetID="10" presetClass="entr" presetSubtype="0" fill="hold" grpId="0" nodeType="withEffect">
                                  <p:stCondLst>
                                    <p:cond delay="500"/>
                                  </p:stCondLst>
                                  <p:childTnLst>
                                    <p:set>
                                      <p:cBhvr>
                                        <p:cTn id="61" dur="1" fill="hold">
                                          <p:stCondLst>
                                            <p:cond delay="0"/>
                                          </p:stCondLst>
                                        </p:cTn>
                                        <p:tgtEl>
                                          <p:spTgt spid="4"/>
                                        </p:tgtEl>
                                        <p:attrNameLst>
                                          <p:attrName>style.visibility</p:attrName>
                                        </p:attrNameLst>
                                      </p:cBhvr>
                                      <p:to>
                                        <p:strVal val="visible"/>
                                      </p:to>
                                    </p:set>
                                    <p:animEffect transition="in" filter="fade">
                                      <p:cBhvr>
                                        <p:cTn id="6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 grpId="0" animBg="1"/>
      <p:bldP spid="98" grpId="0" animBg="1"/>
      <p:bldP spid="99" grpId="0" animBg="1"/>
      <p:bldP spid="64" grpId="0" animBg="1"/>
      <p:bldP spid="93" grpId="0" animBg="1"/>
      <p:bldP spid="94" grpId="0" animBg="1"/>
      <p:bldP spid="162" grpId="0" animBg="1"/>
      <p:bldP spid="163" grpId="0" animBg="1"/>
      <p:bldP spid="164"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80"/>
          <p:cNvGrpSpPr/>
          <p:nvPr/>
        </p:nvGrpSpPr>
        <p:grpSpPr bwMode="gray">
          <a:xfrm>
            <a:off x="4905890" y="1833366"/>
            <a:ext cx="2380220" cy="4056109"/>
            <a:chOff x="11582401" y="1955589"/>
            <a:chExt cx="269962" cy="460040"/>
          </a:xfrm>
          <a:solidFill>
            <a:schemeClr val="bg1"/>
          </a:solidFill>
        </p:grpSpPr>
        <p:sp>
          <p:nvSpPr>
            <p:cNvPr id="82" name="Rounded Rectangle 81"/>
            <p:cNvSpPr/>
            <p:nvPr/>
          </p:nvSpPr>
          <p:spPr bwMode="gray">
            <a:xfrm>
              <a:off x="11582401" y="1955589"/>
              <a:ext cx="269962" cy="460040"/>
            </a:xfrm>
            <a:prstGeom prst="roundRect">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3" name="Rounded Rectangle 82"/>
            <p:cNvSpPr/>
            <p:nvPr/>
          </p:nvSpPr>
          <p:spPr bwMode="gray">
            <a:xfrm>
              <a:off x="11612835" y="1988384"/>
              <a:ext cx="209094" cy="367822"/>
            </a:xfrm>
            <a:prstGeom prst="roundRect">
              <a:avLst>
                <a:gd name="adj" fmla="val 9634"/>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84" name="Oval 83"/>
            <p:cNvSpPr/>
            <p:nvPr/>
          </p:nvSpPr>
          <p:spPr bwMode="gray">
            <a:xfrm>
              <a:off x="11704001" y="2371419"/>
              <a:ext cx="26762" cy="26762"/>
            </a:xfrm>
            <a:prstGeom prst="ellipse">
              <a:avLst/>
            </a:prstGeom>
            <a:grp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sp>
        <p:nvSpPr>
          <p:cNvPr id="6" name="Title 5"/>
          <p:cNvSpPr>
            <a:spLocks noGrp="1"/>
          </p:cNvSpPr>
          <p:nvPr>
            <p:ph type="title"/>
          </p:nvPr>
        </p:nvSpPr>
        <p:spPr bwMode="gray"/>
        <p:txBody>
          <a:bodyPr/>
          <a:lstStyle/>
          <a:p>
            <a:r>
              <a:rPr lang="en-US" dirty="0"/>
              <a:t>You can easily download application from stores</a:t>
            </a:r>
          </a:p>
        </p:txBody>
      </p:sp>
      <p:sp>
        <p:nvSpPr>
          <p:cNvPr id="3" name="Date Placeholder 2"/>
          <p:cNvSpPr>
            <a:spLocks noGrp="1"/>
          </p:cNvSpPr>
          <p:nvPr>
            <p:ph type="dt" sz="half" idx="14"/>
          </p:nvPr>
        </p:nvSpPr>
        <p:spPr bwMode="gray"/>
        <p:txBody>
          <a:bodyPr/>
          <a:lstStyle/>
          <a:p>
            <a:fld id="{E3EF050F-B85E-4E30-B69F-9970B4AED387}" type="datetime4">
              <a:rPr lang="en-US" smtClean="0"/>
              <a:t>September 8, 2019</a:t>
            </a:fld>
            <a:endParaRPr lang="en-US" dirty="0"/>
          </a:p>
        </p:txBody>
      </p:sp>
      <p:sp>
        <p:nvSpPr>
          <p:cNvPr id="4" name="Footer Placeholder 3"/>
          <p:cNvSpPr>
            <a:spLocks noGrp="1"/>
          </p:cNvSpPr>
          <p:nvPr>
            <p:ph type="ftr" sz="quarter" idx="15"/>
          </p:nvPr>
        </p:nvSpPr>
        <p:spPr bwMode="gray"/>
        <p:txBody>
          <a:bodyPr/>
          <a:lstStyle/>
          <a:p>
            <a:endParaRPr lang="en-US" dirty="0"/>
          </a:p>
        </p:txBody>
      </p:sp>
      <p:sp>
        <p:nvSpPr>
          <p:cNvPr id="5" name="Slide Number Placeholder 4"/>
          <p:cNvSpPr>
            <a:spLocks noGrp="1"/>
          </p:cNvSpPr>
          <p:nvPr>
            <p:ph type="sldNum" sz="quarter" idx="16"/>
          </p:nvPr>
        </p:nvSpPr>
        <p:spPr bwMode="gray"/>
        <p:txBody>
          <a:bodyPr/>
          <a:lstStyle/>
          <a:p>
            <a:r>
              <a:rPr lang="en-US" dirty="0"/>
              <a:t>Slide </a:t>
            </a:r>
            <a:fld id="{619F89D8-7AE3-494A-97F3-03D680869632}" type="slidenum">
              <a:rPr lang="en-US" smtClean="0"/>
              <a:pPr/>
              <a:t>105</a:t>
            </a:fld>
            <a:endParaRPr lang="en-US" dirty="0"/>
          </a:p>
        </p:txBody>
      </p:sp>
      <p:sp>
        <p:nvSpPr>
          <p:cNvPr id="7" name="Subtitle 6"/>
          <p:cNvSpPr>
            <a:spLocks noGrp="1"/>
          </p:cNvSpPr>
          <p:nvPr>
            <p:ph type="subTitle" idx="13"/>
          </p:nvPr>
        </p:nvSpPr>
        <p:spPr bwMode="gray"/>
        <p:txBody>
          <a:bodyPr/>
          <a:lstStyle/>
          <a:p>
            <a:r>
              <a:rPr lang="de-DE" dirty="0"/>
              <a:t>D</a:t>
            </a:r>
            <a:r>
              <a:rPr lang="pl-PL" dirty="0"/>
              <a:t>ownload </a:t>
            </a:r>
            <a:r>
              <a:rPr lang="en-US" dirty="0"/>
              <a:t>my Installed Base app</a:t>
            </a:r>
            <a:r>
              <a:rPr lang="pl-PL" dirty="0"/>
              <a:t> from App Store and Google Play</a:t>
            </a:r>
            <a:endParaRPr lang="en-US" dirty="0"/>
          </a:p>
        </p:txBody>
      </p:sp>
      <p:sp>
        <p:nvSpPr>
          <p:cNvPr id="9" name="Rectangle 8"/>
          <p:cNvSpPr/>
          <p:nvPr/>
        </p:nvSpPr>
        <p:spPr bwMode="gray">
          <a:xfrm>
            <a:off x="5485061" y="3839520"/>
            <a:ext cx="1244250" cy="892552"/>
          </a:xfrm>
          <a:prstGeom prst="rect">
            <a:avLst/>
          </a:prstGeom>
        </p:spPr>
        <p:txBody>
          <a:bodyPr wrap="none">
            <a:spAutoFit/>
          </a:bodyPr>
          <a:lstStyle/>
          <a:p>
            <a:pPr algn="ctr"/>
            <a:r>
              <a:rPr lang="en-US" sz="2400" b="1" dirty="0"/>
              <a:t>ABB</a:t>
            </a:r>
            <a:r>
              <a:rPr lang="en-US" b="1" dirty="0"/>
              <a:t> </a:t>
            </a:r>
            <a:br>
              <a:rPr lang="en-US" dirty="0"/>
            </a:br>
            <a:r>
              <a:rPr lang="en-US" sz="1400" dirty="0"/>
              <a:t>Information </a:t>
            </a:r>
            <a:br>
              <a:rPr lang="en-US" sz="1400" dirty="0"/>
            </a:br>
            <a:r>
              <a:rPr lang="en-US" sz="1400" dirty="0"/>
              <a:t>System AG</a:t>
            </a:r>
          </a:p>
        </p:txBody>
      </p:sp>
      <p:grpSp>
        <p:nvGrpSpPr>
          <p:cNvPr id="87" name="Group 86"/>
          <p:cNvGrpSpPr/>
          <p:nvPr/>
        </p:nvGrpSpPr>
        <p:grpSpPr bwMode="gray">
          <a:xfrm>
            <a:off x="5364941" y="2354886"/>
            <a:ext cx="1462118" cy="1462118"/>
            <a:chOff x="5364941" y="2672916"/>
            <a:chExt cx="1462118" cy="1462118"/>
          </a:xfrm>
        </p:grpSpPr>
        <p:grpSp>
          <p:nvGrpSpPr>
            <p:cNvPr id="80" name="Group 79"/>
            <p:cNvGrpSpPr/>
            <p:nvPr/>
          </p:nvGrpSpPr>
          <p:grpSpPr bwMode="gray">
            <a:xfrm>
              <a:off x="5364941" y="2672916"/>
              <a:ext cx="1462118" cy="1462118"/>
              <a:chOff x="4470600" y="1778575"/>
              <a:chExt cx="3250800" cy="3250800"/>
            </a:xfrm>
          </p:grpSpPr>
          <p:sp>
            <p:nvSpPr>
              <p:cNvPr id="78" name="Rectangle 77"/>
              <p:cNvSpPr/>
              <p:nvPr/>
            </p:nvSpPr>
            <p:spPr bwMode="gray">
              <a:xfrm>
                <a:off x="4470600" y="1778575"/>
                <a:ext cx="3250800" cy="3250800"/>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76" name="Group 75"/>
              <p:cNvGrpSpPr/>
              <p:nvPr/>
            </p:nvGrpSpPr>
            <p:grpSpPr bwMode="gray">
              <a:xfrm>
                <a:off x="5042861" y="2484399"/>
                <a:ext cx="2106279" cy="2106279"/>
                <a:chOff x="5026040" y="2484399"/>
                <a:chExt cx="2106279" cy="2106279"/>
              </a:xfrm>
            </p:grpSpPr>
            <p:sp>
              <p:nvSpPr>
                <p:cNvPr id="16" name="Oval 15"/>
                <p:cNvSpPr/>
                <p:nvPr/>
              </p:nvSpPr>
              <p:spPr bwMode="gray">
                <a:xfrm>
                  <a:off x="5915346" y="2993761"/>
                  <a:ext cx="377408" cy="494293"/>
                </a:xfrm>
                <a:custGeom>
                  <a:avLst/>
                  <a:gdLst/>
                  <a:ahLst/>
                  <a:cxnLst/>
                  <a:rect l="l" t="t" r="r" b="b"/>
                  <a:pathLst>
                    <a:path w="362848" h="475224">
                      <a:moveTo>
                        <a:pt x="180337" y="0"/>
                      </a:moveTo>
                      <a:cubicBezTo>
                        <a:pt x="180432" y="9"/>
                        <a:pt x="180526" y="19"/>
                        <a:pt x="180616" y="82"/>
                      </a:cubicBezTo>
                      <a:cubicBezTo>
                        <a:pt x="180885" y="1"/>
                        <a:pt x="181154" y="0"/>
                        <a:pt x="181424" y="0"/>
                      </a:cubicBezTo>
                      <a:cubicBezTo>
                        <a:pt x="281622" y="0"/>
                        <a:pt x="362848" y="81226"/>
                        <a:pt x="362848" y="181424"/>
                      </a:cubicBezTo>
                      <a:cubicBezTo>
                        <a:pt x="362848" y="207554"/>
                        <a:pt x="357324" y="232394"/>
                        <a:pt x="346861" y="254609"/>
                      </a:cubicBezTo>
                      <a:cubicBezTo>
                        <a:pt x="321955" y="319398"/>
                        <a:pt x="261993" y="402608"/>
                        <a:pt x="180337" y="475224"/>
                      </a:cubicBezTo>
                      <a:cubicBezTo>
                        <a:pt x="90217" y="395081"/>
                        <a:pt x="26520" y="302031"/>
                        <a:pt x="8852" y="234647"/>
                      </a:cubicBezTo>
                      <a:cubicBezTo>
                        <a:pt x="5629" y="227170"/>
                        <a:pt x="3749" y="219213"/>
                        <a:pt x="2969" y="210981"/>
                      </a:cubicBezTo>
                      <a:cubicBezTo>
                        <a:pt x="788" y="207406"/>
                        <a:pt x="440" y="203728"/>
                        <a:pt x="286" y="200188"/>
                      </a:cubicBezTo>
                      <a:lnTo>
                        <a:pt x="0" y="200188"/>
                      </a:lnTo>
                      <a:lnTo>
                        <a:pt x="83" y="199359"/>
                      </a:lnTo>
                      <a:cubicBezTo>
                        <a:pt x="8" y="199247"/>
                        <a:pt x="4" y="199132"/>
                        <a:pt x="0" y="199017"/>
                      </a:cubicBezTo>
                      <a:lnTo>
                        <a:pt x="118" y="199017"/>
                      </a:lnTo>
                      <a:lnTo>
                        <a:pt x="1202" y="193389"/>
                      </a:lnTo>
                      <a:cubicBezTo>
                        <a:pt x="132" y="189470"/>
                        <a:pt x="0" y="185462"/>
                        <a:pt x="0" y="181424"/>
                      </a:cubicBezTo>
                      <a:cubicBezTo>
                        <a:pt x="0" y="81784"/>
                        <a:pt x="80324" y="905"/>
                        <a:pt x="179753" y="171"/>
                      </a:cubicBezTo>
                      <a:cubicBezTo>
                        <a:pt x="179940" y="40"/>
                        <a:pt x="180139" y="20"/>
                        <a:pt x="180337" y="0"/>
                      </a:cubicBezTo>
                      <a:close/>
                    </a:path>
                  </a:pathLst>
                </a:cu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7" name="Oval 16"/>
                <p:cNvSpPr/>
                <p:nvPr/>
              </p:nvSpPr>
              <p:spPr bwMode="gray">
                <a:xfrm>
                  <a:off x="6054520" y="3132322"/>
                  <a:ext cx="99060" cy="99060"/>
                </a:xfrm>
                <a:prstGeom prst="ellipse">
                  <a:avLst/>
                </a:prstGeom>
                <a:solidFill>
                  <a:schemeClr val="tx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47" name="Group 46"/>
                <p:cNvGrpSpPr/>
                <p:nvPr/>
              </p:nvGrpSpPr>
              <p:grpSpPr bwMode="gray">
                <a:xfrm>
                  <a:off x="5559286" y="3513466"/>
                  <a:ext cx="495234" cy="493240"/>
                  <a:chOff x="5559286" y="3513466"/>
                  <a:chExt cx="495234" cy="493240"/>
                </a:xfrm>
              </p:grpSpPr>
              <p:sp>
                <p:nvSpPr>
                  <p:cNvPr id="21" name="Oval 20"/>
                  <p:cNvSpPr/>
                  <p:nvPr/>
                </p:nvSpPr>
                <p:spPr bwMode="gray">
                  <a:xfrm>
                    <a:off x="5648355" y="3600540"/>
                    <a:ext cx="319090" cy="319090"/>
                  </a:xfrm>
                  <a:prstGeom prst="ellips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33" name="Straight Connector 32"/>
                  <p:cNvCxnSpPr/>
                  <p:nvPr/>
                </p:nvCxnSpPr>
                <p:spPr bwMode="gray">
                  <a:xfrm flipH="1">
                    <a:off x="5967446" y="3760086"/>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6" name="Straight Connector 35"/>
                  <p:cNvCxnSpPr/>
                  <p:nvPr/>
                </p:nvCxnSpPr>
                <p:spPr bwMode="gray">
                  <a:xfrm flipH="1">
                    <a:off x="5559286" y="3760085"/>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7" name="Straight Connector 36"/>
                  <p:cNvCxnSpPr/>
                  <p:nvPr/>
                </p:nvCxnSpPr>
                <p:spPr bwMode="gray">
                  <a:xfrm rot="2700000" flipH="1">
                    <a:off x="5620763" y="3616484"/>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37"/>
                  <p:cNvCxnSpPr/>
                  <p:nvPr/>
                </p:nvCxnSpPr>
                <p:spPr bwMode="gray">
                  <a:xfrm rot="18900000">
                    <a:off x="5907963" y="3616484"/>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9" name="Straight Connector 38"/>
                  <p:cNvCxnSpPr/>
                  <p:nvPr/>
                </p:nvCxnSpPr>
                <p:spPr bwMode="gray">
                  <a:xfrm rot="5400000" flipH="1">
                    <a:off x="5764856" y="3557003"/>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Straight Connector 43"/>
                  <p:cNvCxnSpPr/>
                  <p:nvPr/>
                </p:nvCxnSpPr>
                <p:spPr bwMode="gray">
                  <a:xfrm rot="13500000" flipH="1">
                    <a:off x="5905969" y="3903688"/>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44"/>
                  <p:cNvCxnSpPr/>
                  <p:nvPr/>
                </p:nvCxnSpPr>
                <p:spPr bwMode="gray">
                  <a:xfrm rot="8100000">
                    <a:off x="5618769" y="3903688"/>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45"/>
                  <p:cNvCxnSpPr/>
                  <p:nvPr/>
                </p:nvCxnSpPr>
                <p:spPr bwMode="gray">
                  <a:xfrm rot="16200000" flipH="1">
                    <a:off x="5761876" y="3963169"/>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4" name="Group 53"/>
                <p:cNvGrpSpPr/>
                <p:nvPr/>
              </p:nvGrpSpPr>
              <p:grpSpPr bwMode="gray">
                <a:xfrm>
                  <a:off x="6227309" y="3542862"/>
                  <a:ext cx="374741" cy="422846"/>
                  <a:chOff x="6227309" y="3547942"/>
                  <a:chExt cx="374741" cy="422846"/>
                </a:xfrm>
              </p:grpSpPr>
              <p:sp>
                <p:nvSpPr>
                  <p:cNvPr id="50" name="Rectangle 49"/>
                  <p:cNvSpPr/>
                  <p:nvPr/>
                </p:nvSpPr>
                <p:spPr bwMode="gray">
                  <a:xfrm>
                    <a:off x="6227309" y="3547942"/>
                    <a:ext cx="374741" cy="422846"/>
                  </a:xfrm>
                  <a:custGeom>
                    <a:avLst/>
                    <a:gdLst>
                      <a:gd name="connsiteX0" fmla="*/ 187370 w 374741"/>
                      <a:gd name="connsiteY0" fmla="*/ 0 h 422846"/>
                      <a:gd name="connsiteX1" fmla="*/ 374740 w 374741"/>
                      <a:gd name="connsiteY1" fmla="*/ 112815 h 422846"/>
                      <a:gd name="connsiteX2" fmla="*/ 251188 w 374741"/>
                      <a:gd name="connsiteY2" fmla="*/ 310031 h 422846"/>
                      <a:gd name="connsiteX3" fmla="*/ 374741 w 374741"/>
                      <a:gd name="connsiteY3" fmla="*/ 310031 h 422846"/>
                      <a:gd name="connsiteX4" fmla="*/ 187371 w 374741"/>
                      <a:gd name="connsiteY4" fmla="*/ 422846 h 422846"/>
                      <a:gd name="connsiteX5" fmla="*/ 1 w 374741"/>
                      <a:gd name="connsiteY5" fmla="*/ 310031 h 422846"/>
                      <a:gd name="connsiteX6" fmla="*/ 123553 w 374741"/>
                      <a:gd name="connsiteY6" fmla="*/ 310031 h 422846"/>
                      <a:gd name="connsiteX7" fmla="*/ 123553 w 374741"/>
                      <a:gd name="connsiteY7" fmla="*/ 112815 h 422846"/>
                      <a:gd name="connsiteX8" fmla="*/ 0 w 374741"/>
                      <a:gd name="connsiteY8" fmla="*/ 112815 h 422846"/>
                      <a:gd name="connsiteX9" fmla="*/ 187370 w 374741"/>
                      <a:gd name="connsiteY9"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123553 w 374741"/>
                      <a:gd name="connsiteY6" fmla="*/ 112815 h 422846"/>
                      <a:gd name="connsiteX7" fmla="*/ 0 w 374741"/>
                      <a:gd name="connsiteY7" fmla="*/ 112815 h 422846"/>
                      <a:gd name="connsiteX8" fmla="*/ 187370 w 374741"/>
                      <a:gd name="connsiteY8"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0 w 374741"/>
                      <a:gd name="connsiteY6" fmla="*/ 112815 h 422846"/>
                      <a:gd name="connsiteX7" fmla="*/ 187370 w 374741"/>
                      <a:gd name="connsiteY7"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0 w 374741"/>
                      <a:gd name="connsiteY5" fmla="*/ 112815 h 422846"/>
                      <a:gd name="connsiteX6" fmla="*/ 187370 w 374741"/>
                      <a:gd name="connsiteY6" fmla="*/ 0 h 42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741" h="422846">
                        <a:moveTo>
                          <a:pt x="187370" y="0"/>
                        </a:moveTo>
                        <a:lnTo>
                          <a:pt x="374740" y="112815"/>
                        </a:lnTo>
                        <a:cubicBezTo>
                          <a:pt x="374740" y="178554"/>
                          <a:pt x="374741" y="244292"/>
                          <a:pt x="374741" y="310031"/>
                        </a:cubicBezTo>
                        <a:lnTo>
                          <a:pt x="187371" y="422846"/>
                        </a:lnTo>
                        <a:lnTo>
                          <a:pt x="1" y="310031"/>
                        </a:lnTo>
                        <a:cubicBezTo>
                          <a:pt x="1" y="244292"/>
                          <a:pt x="0" y="178554"/>
                          <a:pt x="0" y="112815"/>
                        </a:cubicBezTo>
                        <a:lnTo>
                          <a:pt x="187370" y="0"/>
                        </a:lnTo>
                        <a:close/>
                      </a:path>
                    </a:pathLst>
                  </a:cu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 name="Rectangle 49"/>
                  <p:cNvSpPr/>
                  <p:nvPr/>
                </p:nvSpPr>
                <p:spPr bwMode="gray">
                  <a:xfrm rot="10800000">
                    <a:off x="6227309" y="3659059"/>
                    <a:ext cx="374740" cy="112815"/>
                  </a:xfrm>
                  <a:custGeom>
                    <a:avLst/>
                    <a:gdLst>
                      <a:gd name="connsiteX0" fmla="*/ 187370 w 374741"/>
                      <a:gd name="connsiteY0" fmla="*/ 0 h 422846"/>
                      <a:gd name="connsiteX1" fmla="*/ 374740 w 374741"/>
                      <a:gd name="connsiteY1" fmla="*/ 112815 h 422846"/>
                      <a:gd name="connsiteX2" fmla="*/ 251188 w 374741"/>
                      <a:gd name="connsiteY2" fmla="*/ 310031 h 422846"/>
                      <a:gd name="connsiteX3" fmla="*/ 374741 w 374741"/>
                      <a:gd name="connsiteY3" fmla="*/ 310031 h 422846"/>
                      <a:gd name="connsiteX4" fmla="*/ 187371 w 374741"/>
                      <a:gd name="connsiteY4" fmla="*/ 422846 h 422846"/>
                      <a:gd name="connsiteX5" fmla="*/ 1 w 374741"/>
                      <a:gd name="connsiteY5" fmla="*/ 310031 h 422846"/>
                      <a:gd name="connsiteX6" fmla="*/ 123553 w 374741"/>
                      <a:gd name="connsiteY6" fmla="*/ 310031 h 422846"/>
                      <a:gd name="connsiteX7" fmla="*/ 123553 w 374741"/>
                      <a:gd name="connsiteY7" fmla="*/ 112815 h 422846"/>
                      <a:gd name="connsiteX8" fmla="*/ 0 w 374741"/>
                      <a:gd name="connsiteY8" fmla="*/ 112815 h 422846"/>
                      <a:gd name="connsiteX9" fmla="*/ 187370 w 374741"/>
                      <a:gd name="connsiteY9"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123553 w 374741"/>
                      <a:gd name="connsiteY6" fmla="*/ 112815 h 422846"/>
                      <a:gd name="connsiteX7" fmla="*/ 0 w 374741"/>
                      <a:gd name="connsiteY7" fmla="*/ 112815 h 422846"/>
                      <a:gd name="connsiteX8" fmla="*/ 187370 w 374741"/>
                      <a:gd name="connsiteY8"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0 w 374741"/>
                      <a:gd name="connsiteY6" fmla="*/ 112815 h 422846"/>
                      <a:gd name="connsiteX7" fmla="*/ 187370 w 374741"/>
                      <a:gd name="connsiteY7"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0 w 374741"/>
                      <a:gd name="connsiteY5" fmla="*/ 112815 h 422846"/>
                      <a:gd name="connsiteX6" fmla="*/ 187370 w 374741"/>
                      <a:gd name="connsiteY6" fmla="*/ 0 h 422846"/>
                      <a:gd name="connsiteX0" fmla="*/ 187370 w 374740"/>
                      <a:gd name="connsiteY0" fmla="*/ 0 h 422846"/>
                      <a:gd name="connsiteX1" fmla="*/ 374740 w 374740"/>
                      <a:gd name="connsiteY1" fmla="*/ 112815 h 422846"/>
                      <a:gd name="connsiteX2" fmla="*/ 187371 w 374740"/>
                      <a:gd name="connsiteY2" fmla="*/ 422846 h 422846"/>
                      <a:gd name="connsiteX3" fmla="*/ 1 w 374740"/>
                      <a:gd name="connsiteY3" fmla="*/ 310031 h 422846"/>
                      <a:gd name="connsiteX4" fmla="*/ 0 w 374740"/>
                      <a:gd name="connsiteY4" fmla="*/ 112815 h 422846"/>
                      <a:gd name="connsiteX5" fmla="*/ 187370 w 374740"/>
                      <a:gd name="connsiteY5" fmla="*/ 0 h 422846"/>
                      <a:gd name="connsiteX0" fmla="*/ 187370 w 374740"/>
                      <a:gd name="connsiteY0" fmla="*/ 0 h 422846"/>
                      <a:gd name="connsiteX1" fmla="*/ 374740 w 374740"/>
                      <a:gd name="connsiteY1" fmla="*/ 112815 h 422846"/>
                      <a:gd name="connsiteX2" fmla="*/ 187371 w 374740"/>
                      <a:gd name="connsiteY2" fmla="*/ 422846 h 422846"/>
                      <a:gd name="connsiteX3" fmla="*/ 0 w 374740"/>
                      <a:gd name="connsiteY3" fmla="*/ 112815 h 422846"/>
                      <a:gd name="connsiteX4" fmla="*/ 187370 w 374740"/>
                      <a:gd name="connsiteY4" fmla="*/ 0 h 422846"/>
                      <a:gd name="connsiteX0" fmla="*/ 187371 w 374740"/>
                      <a:gd name="connsiteY0" fmla="*/ 422846 h 514286"/>
                      <a:gd name="connsiteX1" fmla="*/ 0 w 374740"/>
                      <a:gd name="connsiteY1" fmla="*/ 112815 h 514286"/>
                      <a:gd name="connsiteX2" fmla="*/ 187370 w 374740"/>
                      <a:gd name="connsiteY2" fmla="*/ 0 h 514286"/>
                      <a:gd name="connsiteX3" fmla="*/ 374740 w 374740"/>
                      <a:gd name="connsiteY3" fmla="*/ 112815 h 514286"/>
                      <a:gd name="connsiteX4" fmla="*/ 278811 w 374740"/>
                      <a:gd name="connsiteY4" fmla="*/ 514286 h 514286"/>
                      <a:gd name="connsiteX0" fmla="*/ 187371 w 374740"/>
                      <a:gd name="connsiteY0" fmla="*/ 422846 h 422846"/>
                      <a:gd name="connsiteX1" fmla="*/ 0 w 374740"/>
                      <a:gd name="connsiteY1" fmla="*/ 112815 h 422846"/>
                      <a:gd name="connsiteX2" fmla="*/ 187370 w 374740"/>
                      <a:gd name="connsiteY2" fmla="*/ 0 h 422846"/>
                      <a:gd name="connsiteX3" fmla="*/ 374740 w 374740"/>
                      <a:gd name="connsiteY3" fmla="*/ 112815 h 422846"/>
                      <a:gd name="connsiteX0" fmla="*/ 0 w 374740"/>
                      <a:gd name="connsiteY0" fmla="*/ 112815 h 112815"/>
                      <a:gd name="connsiteX1" fmla="*/ 187370 w 374740"/>
                      <a:gd name="connsiteY1" fmla="*/ 0 h 112815"/>
                      <a:gd name="connsiteX2" fmla="*/ 374740 w 374740"/>
                      <a:gd name="connsiteY2" fmla="*/ 112815 h 112815"/>
                    </a:gdLst>
                    <a:ahLst/>
                    <a:cxnLst>
                      <a:cxn ang="0">
                        <a:pos x="connsiteX0" y="connsiteY0"/>
                      </a:cxn>
                      <a:cxn ang="0">
                        <a:pos x="connsiteX1" y="connsiteY1"/>
                      </a:cxn>
                      <a:cxn ang="0">
                        <a:pos x="connsiteX2" y="connsiteY2"/>
                      </a:cxn>
                    </a:cxnLst>
                    <a:rect l="l" t="t" r="r" b="b"/>
                    <a:pathLst>
                      <a:path w="374740" h="112815">
                        <a:moveTo>
                          <a:pt x="0" y="112815"/>
                        </a:moveTo>
                        <a:lnTo>
                          <a:pt x="187370" y="0"/>
                        </a:lnTo>
                        <a:lnTo>
                          <a:pt x="374740" y="112815"/>
                        </a:lnTo>
                      </a:path>
                    </a:pathLst>
                  </a:cu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53" name="Straight Connector 52"/>
                  <p:cNvCxnSpPr>
                    <a:stCxn id="51" idx="1"/>
                    <a:endCxn id="50" idx="3"/>
                  </p:cNvCxnSpPr>
                  <p:nvPr/>
                </p:nvCxnSpPr>
                <p:spPr bwMode="gray">
                  <a:xfrm>
                    <a:off x="6414679" y="3771874"/>
                    <a:ext cx="1" cy="198914"/>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7" name="Group 56"/>
                <p:cNvGrpSpPr/>
                <p:nvPr/>
              </p:nvGrpSpPr>
              <p:grpSpPr bwMode="gray">
                <a:xfrm>
                  <a:off x="5252533" y="2713671"/>
                  <a:ext cx="1656188" cy="1656184"/>
                  <a:chOff x="-925025" y="-931749"/>
                  <a:chExt cx="1494000" cy="1494000"/>
                </a:xfrm>
              </p:grpSpPr>
              <p:sp>
                <p:nvSpPr>
                  <p:cNvPr id="60" name="Arc 59"/>
                  <p:cNvSpPr>
                    <a:spLocks noChangeAspect="1"/>
                  </p:cNvSpPr>
                  <p:nvPr/>
                </p:nvSpPr>
                <p:spPr bwMode="gray">
                  <a:xfrm rot="10800000">
                    <a:off x="-925025" y="-931749"/>
                    <a:ext cx="1494000" cy="1494000"/>
                  </a:xfrm>
                  <a:prstGeom prst="arc">
                    <a:avLst>
                      <a:gd name="adj1" fmla="val 8623613"/>
                      <a:gd name="adj2" fmla="val 18387609"/>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61" name="Arc 60"/>
                  <p:cNvSpPr>
                    <a:spLocks noChangeAspect="1"/>
                  </p:cNvSpPr>
                  <p:nvPr/>
                </p:nvSpPr>
                <p:spPr bwMode="gray">
                  <a:xfrm rot="16200000">
                    <a:off x="-925025" y="-931749"/>
                    <a:ext cx="1494000" cy="1494000"/>
                  </a:xfrm>
                  <a:prstGeom prst="arc">
                    <a:avLst>
                      <a:gd name="adj1" fmla="val 14184933"/>
                      <a:gd name="adj2" fmla="val 1926305"/>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grpSp>
            <p:sp>
              <p:nvSpPr>
                <p:cNvPr id="73" name="Arc 72"/>
                <p:cNvSpPr>
                  <a:spLocks noChangeAspect="1"/>
                </p:cNvSpPr>
                <p:nvPr/>
              </p:nvSpPr>
              <p:spPr bwMode="gray">
                <a:xfrm rot="10800000">
                  <a:off x="5026040" y="2484402"/>
                  <a:ext cx="2106279" cy="2106274"/>
                </a:xfrm>
                <a:prstGeom prst="arc">
                  <a:avLst>
                    <a:gd name="adj1" fmla="val 11430481"/>
                    <a:gd name="adj2" fmla="val 15581180"/>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74" name="Arc 73"/>
                <p:cNvSpPr>
                  <a:spLocks noChangeAspect="1"/>
                </p:cNvSpPr>
                <p:nvPr/>
              </p:nvSpPr>
              <p:spPr bwMode="gray">
                <a:xfrm rot="16200000">
                  <a:off x="5026043" y="2484400"/>
                  <a:ext cx="2106274" cy="2106279"/>
                </a:xfrm>
                <a:prstGeom prst="arc">
                  <a:avLst>
                    <a:gd name="adj1" fmla="val 11437435"/>
                    <a:gd name="adj2" fmla="val 20980401"/>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75" name="Arc 74"/>
                <p:cNvSpPr>
                  <a:spLocks noChangeAspect="1"/>
                </p:cNvSpPr>
                <p:nvPr/>
              </p:nvSpPr>
              <p:spPr bwMode="gray">
                <a:xfrm rot="5400000">
                  <a:off x="5026040" y="2484402"/>
                  <a:ext cx="2106279" cy="2106274"/>
                </a:xfrm>
                <a:prstGeom prst="arc">
                  <a:avLst>
                    <a:gd name="adj1" fmla="val 11430481"/>
                    <a:gd name="adj2" fmla="val 15581180"/>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grpSp>
        </p:grpSp>
        <p:cxnSp>
          <p:nvCxnSpPr>
            <p:cNvPr id="86" name="Straight Connector 85"/>
            <p:cNvCxnSpPr/>
            <p:nvPr/>
          </p:nvCxnSpPr>
          <p:spPr bwMode="gray">
            <a:xfrm>
              <a:off x="5940146" y="2817352"/>
              <a:ext cx="311708" cy="0"/>
            </a:xfrm>
            <a:prstGeom prst="line">
              <a:avLst/>
            </a:prstGeom>
            <a:grp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40" name="AutoShape 6">
            <a:hlinkClick r:id="rId4" action="ppaction://hlinksldjump" highlightClick="1"/>
            <a:extLst>
              <a:ext uri="{FF2B5EF4-FFF2-40B4-BE49-F238E27FC236}">
                <a16:creationId xmlns:a16="http://schemas.microsoft.com/office/drawing/2014/main" id="{29F90FA1-5998-4C82-AF6D-BD7448E472D2}"/>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2846162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1" name="Group 260"/>
          <p:cNvGrpSpPr/>
          <p:nvPr/>
        </p:nvGrpSpPr>
        <p:grpSpPr bwMode="gray">
          <a:xfrm>
            <a:off x="4498721" y="2143370"/>
            <a:ext cx="922276" cy="922126"/>
            <a:chOff x="4312614" y="2570832"/>
            <a:chExt cx="607076" cy="606978"/>
          </a:xfrm>
        </p:grpSpPr>
        <p:grpSp>
          <p:nvGrpSpPr>
            <p:cNvPr id="262" name="Group 261"/>
            <p:cNvGrpSpPr/>
            <p:nvPr/>
          </p:nvGrpSpPr>
          <p:grpSpPr bwMode="gray">
            <a:xfrm>
              <a:off x="4458612" y="2672916"/>
              <a:ext cx="315080" cy="402812"/>
              <a:chOff x="4227228" y="-3516112"/>
              <a:chExt cx="695117" cy="888671"/>
            </a:xfrm>
            <a:solidFill>
              <a:schemeClr val="bg1"/>
            </a:solidFill>
          </p:grpSpPr>
          <p:grpSp>
            <p:nvGrpSpPr>
              <p:cNvPr id="268" name="Group 267"/>
              <p:cNvGrpSpPr/>
              <p:nvPr/>
            </p:nvGrpSpPr>
            <p:grpSpPr bwMode="gray">
              <a:xfrm rot="18900000">
                <a:off x="4543651" y="-3516112"/>
                <a:ext cx="112716" cy="888671"/>
                <a:chOff x="4536031" y="-3565642"/>
                <a:chExt cx="112716" cy="888671"/>
              </a:xfrm>
              <a:grpFill/>
            </p:grpSpPr>
            <p:sp>
              <p:nvSpPr>
                <p:cNvPr id="273" name="Snip Same Side Corner Rectangle 60"/>
                <p:cNvSpPr/>
                <p:nvPr/>
              </p:nvSpPr>
              <p:spPr bwMode="gray">
                <a:xfrm>
                  <a:off x="4536031" y="-3565642"/>
                  <a:ext cx="112716" cy="513846"/>
                </a:xfrm>
                <a:custGeom>
                  <a:avLst/>
                  <a:gdLst/>
                  <a:ahLst/>
                  <a:cxnLst/>
                  <a:rect l="l" t="t" r="r" b="b"/>
                  <a:pathLst>
                    <a:path w="112716" h="513846">
                      <a:moveTo>
                        <a:pt x="10701" y="0"/>
                      </a:moveTo>
                      <a:lnTo>
                        <a:pt x="102015" y="0"/>
                      </a:lnTo>
                      <a:lnTo>
                        <a:pt x="112716" y="10701"/>
                      </a:lnTo>
                      <a:lnTo>
                        <a:pt x="112716" y="45216"/>
                      </a:lnTo>
                      <a:lnTo>
                        <a:pt x="112716" y="468630"/>
                      </a:lnTo>
                      <a:lnTo>
                        <a:pt x="112716" y="503145"/>
                      </a:lnTo>
                      <a:lnTo>
                        <a:pt x="102015" y="513846"/>
                      </a:lnTo>
                      <a:lnTo>
                        <a:pt x="10701" y="513846"/>
                      </a:lnTo>
                      <a:lnTo>
                        <a:pt x="0" y="503145"/>
                      </a:lnTo>
                      <a:lnTo>
                        <a:pt x="0" y="468630"/>
                      </a:lnTo>
                      <a:lnTo>
                        <a:pt x="0" y="45216"/>
                      </a:lnTo>
                      <a:lnTo>
                        <a:pt x="0" y="10701"/>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lt1"/>
                    </a:solidFill>
                  </a:endParaRPr>
                </a:p>
              </p:txBody>
            </p:sp>
            <p:cxnSp>
              <p:nvCxnSpPr>
                <p:cNvPr id="274" name="Straight Connector 273"/>
                <p:cNvCxnSpPr/>
                <p:nvPr/>
              </p:nvCxnSpPr>
              <p:spPr bwMode="gray">
                <a:xfrm>
                  <a:off x="4592389" y="-3521120"/>
                  <a:ext cx="0" cy="42480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75" name="Straight Connector 274"/>
                <p:cNvCxnSpPr/>
                <p:nvPr/>
              </p:nvCxnSpPr>
              <p:spPr bwMode="gray">
                <a:xfrm>
                  <a:off x="4592389" y="-3041571"/>
                  <a:ext cx="0" cy="23760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276" name="Snip Same Side Corner Rectangle 69"/>
                <p:cNvSpPr/>
                <p:nvPr/>
              </p:nvSpPr>
              <p:spPr bwMode="gray">
                <a:xfrm rot="10800000">
                  <a:off x="4560620" y="-2790458"/>
                  <a:ext cx="63538" cy="66860"/>
                </a:xfrm>
                <a:custGeom>
                  <a:avLst/>
                  <a:gdLst/>
                  <a:ahLst/>
                  <a:cxnLst/>
                  <a:rect l="l" t="t" r="r" b="b"/>
                  <a:pathLst>
                    <a:path w="63538" h="66860">
                      <a:moveTo>
                        <a:pt x="55918" y="66860"/>
                      </a:moveTo>
                      <a:lnTo>
                        <a:pt x="7620" y="66860"/>
                      </a:lnTo>
                      <a:lnTo>
                        <a:pt x="0" y="59240"/>
                      </a:lnTo>
                      <a:lnTo>
                        <a:pt x="0" y="45719"/>
                      </a:lnTo>
                      <a:lnTo>
                        <a:pt x="0" y="21141"/>
                      </a:lnTo>
                      <a:lnTo>
                        <a:pt x="0" y="7620"/>
                      </a:lnTo>
                      <a:lnTo>
                        <a:pt x="7620" y="0"/>
                      </a:lnTo>
                      <a:lnTo>
                        <a:pt x="55918" y="0"/>
                      </a:lnTo>
                      <a:lnTo>
                        <a:pt x="63538" y="7620"/>
                      </a:lnTo>
                      <a:lnTo>
                        <a:pt x="63538" y="21141"/>
                      </a:lnTo>
                      <a:lnTo>
                        <a:pt x="63538" y="45719"/>
                      </a:lnTo>
                      <a:lnTo>
                        <a:pt x="63538" y="59240"/>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lt1"/>
                    </a:solidFill>
                  </a:endParaRPr>
                </a:p>
              </p:txBody>
            </p:sp>
            <p:cxnSp>
              <p:nvCxnSpPr>
                <p:cNvPr id="277" name="Straight Connector 276"/>
                <p:cNvCxnSpPr/>
                <p:nvPr/>
              </p:nvCxnSpPr>
              <p:spPr bwMode="gray">
                <a:xfrm>
                  <a:off x="4592389" y="-2712971"/>
                  <a:ext cx="0" cy="3600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269" name="Oval 73"/>
              <p:cNvSpPr/>
              <p:nvPr/>
            </p:nvSpPr>
            <p:spPr bwMode="gray">
              <a:xfrm>
                <a:off x="4227228" y="-2948375"/>
                <a:ext cx="199701" cy="201640"/>
              </a:xfrm>
              <a:custGeom>
                <a:avLst/>
                <a:gdLst>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7" fmla="*/ 189584 w 201640"/>
                  <a:gd name="connsiteY7" fmla="*/ 192429 h 201640"/>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193986"/>
                  <a:gd name="connsiteY0" fmla="*/ 97179 h 201640"/>
                  <a:gd name="connsiteX1" fmla="*/ 93166 w 193986"/>
                  <a:gd name="connsiteY1" fmla="*/ 0 h 201640"/>
                  <a:gd name="connsiteX2" fmla="*/ 193986 w 193986"/>
                  <a:gd name="connsiteY2" fmla="*/ 100820 h 201640"/>
                  <a:gd name="connsiteX3" fmla="*/ 93166 w 193986"/>
                  <a:gd name="connsiteY3" fmla="*/ 201640 h 201640"/>
                  <a:gd name="connsiteX0" fmla="*/ 0 w 199701"/>
                  <a:gd name="connsiteY0" fmla="*/ 97179 h 201640"/>
                  <a:gd name="connsiteX1" fmla="*/ 98881 w 199701"/>
                  <a:gd name="connsiteY1" fmla="*/ 0 h 201640"/>
                  <a:gd name="connsiteX2" fmla="*/ 199701 w 199701"/>
                  <a:gd name="connsiteY2" fmla="*/ 100820 h 201640"/>
                  <a:gd name="connsiteX3" fmla="*/ 98881 w 199701"/>
                  <a:gd name="connsiteY3" fmla="*/ 201640 h 201640"/>
                </a:gdLst>
                <a:ahLst/>
                <a:cxnLst>
                  <a:cxn ang="0">
                    <a:pos x="connsiteX0" y="connsiteY0"/>
                  </a:cxn>
                  <a:cxn ang="0">
                    <a:pos x="connsiteX1" y="connsiteY1"/>
                  </a:cxn>
                  <a:cxn ang="0">
                    <a:pos x="connsiteX2" y="connsiteY2"/>
                  </a:cxn>
                  <a:cxn ang="0">
                    <a:pos x="connsiteX3" y="connsiteY3"/>
                  </a:cxn>
                </a:cxnLst>
                <a:rect l="l" t="t" r="r" b="b"/>
                <a:pathLst>
                  <a:path w="199701" h="201640">
                    <a:moveTo>
                      <a:pt x="0" y="97179"/>
                    </a:moveTo>
                    <a:cubicBezTo>
                      <a:pt x="42" y="38040"/>
                      <a:pt x="51945" y="28"/>
                      <a:pt x="98881" y="0"/>
                    </a:cubicBezTo>
                    <a:cubicBezTo>
                      <a:pt x="154562" y="0"/>
                      <a:pt x="199701" y="45139"/>
                      <a:pt x="199701" y="100820"/>
                    </a:cubicBezTo>
                    <a:cubicBezTo>
                      <a:pt x="199701" y="156501"/>
                      <a:pt x="154562" y="201640"/>
                      <a:pt x="98881" y="201640"/>
                    </a:cubicBez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lt1"/>
                  </a:solidFill>
                </a:endParaRPr>
              </a:p>
            </p:txBody>
          </p:sp>
          <p:cxnSp>
            <p:nvCxnSpPr>
              <p:cNvPr id="270" name="Straight Connector 269"/>
              <p:cNvCxnSpPr/>
              <p:nvPr/>
            </p:nvCxnSpPr>
            <p:spPr bwMode="gray">
              <a:xfrm rot="2700000" flipH="1">
                <a:off x="4465155" y="-3075854"/>
                <a:ext cx="0" cy="18000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271" name="Straight Connector 270"/>
              <p:cNvCxnSpPr/>
              <p:nvPr/>
            </p:nvCxnSpPr>
            <p:spPr bwMode="gray">
              <a:xfrm rot="2700000" flipH="1">
                <a:off x="4687107" y="-3298109"/>
                <a:ext cx="0" cy="18000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272" name="Oval 73"/>
              <p:cNvSpPr/>
              <p:nvPr/>
            </p:nvSpPr>
            <p:spPr bwMode="gray">
              <a:xfrm rot="10800000">
                <a:off x="4722644" y="-3443847"/>
                <a:ext cx="199701" cy="201640"/>
              </a:xfrm>
              <a:custGeom>
                <a:avLst/>
                <a:gdLst>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7" fmla="*/ 189584 w 201640"/>
                  <a:gd name="connsiteY7" fmla="*/ 192429 h 201640"/>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193986"/>
                  <a:gd name="connsiteY0" fmla="*/ 97179 h 201640"/>
                  <a:gd name="connsiteX1" fmla="*/ 93166 w 193986"/>
                  <a:gd name="connsiteY1" fmla="*/ 0 h 201640"/>
                  <a:gd name="connsiteX2" fmla="*/ 193986 w 193986"/>
                  <a:gd name="connsiteY2" fmla="*/ 100820 h 201640"/>
                  <a:gd name="connsiteX3" fmla="*/ 93166 w 193986"/>
                  <a:gd name="connsiteY3" fmla="*/ 201640 h 201640"/>
                  <a:gd name="connsiteX0" fmla="*/ 0 w 199701"/>
                  <a:gd name="connsiteY0" fmla="*/ 97179 h 201640"/>
                  <a:gd name="connsiteX1" fmla="*/ 98881 w 199701"/>
                  <a:gd name="connsiteY1" fmla="*/ 0 h 201640"/>
                  <a:gd name="connsiteX2" fmla="*/ 199701 w 199701"/>
                  <a:gd name="connsiteY2" fmla="*/ 100820 h 201640"/>
                  <a:gd name="connsiteX3" fmla="*/ 98881 w 199701"/>
                  <a:gd name="connsiteY3" fmla="*/ 201640 h 201640"/>
                </a:gdLst>
                <a:ahLst/>
                <a:cxnLst>
                  <a:cxn ang="0">
                    <a:pos x="connsiteX0" y="connsiteY0"/>
                  </a:cxn>
                  <a:cxn ang="0">
                    <a:pos x="connsiteX1" y="connsiteY1"/>
                  </a:cxn>
                  <a:cxn ang="0">
                    <a:pos x="connsiteX2" y="connsiteY2"/>
                  </a:cxn>
                  <a:cxn ang="0">
                    <a:pos x="connsiteX3" y="connsiteY3"/>
                  </a:cxn>
                </a:cxnLst>
                <a:rect l="l" t="t" r="r" b="b"/>
                <a:pathLst>
                  <a:path w="199701" h="201640">
                    <a:moveTo>
                      <a:pt x="0" y="97179"/>
                    </a:moveTo>
                    <a:cubicBezTo>
                      <a:pt x="42" y="38040"/>
                      <a:pt x="51945" y="28"/>
                      <a:pt x="98881" y="0"/>
                    </a:cubicBezTo>
                    <a:cubicBezTo>
                      <a:pt x="154562" y="0"/>
                      <a:pt x="199701" y="45139"/>
                      <a:pt x="199701" y="100820"/>
                    </a:cubicBezTo>
                    <a:cubicBezTo>
                      <a:pt x="199701" y="156501"/>
                      <a:pt x="154562" y="201640"/>
                      <a:pt x="98881" y="201640"/>
                    </a:cubicBez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lt1"/>
                  </a:solidFill>
                </a:endParaRPr>
              </a:p>
            </p:txBody>
          </p:sp>
        </p:grpSp>
        <p:grpSp>
          <p:nvGrpSpPr>
            <p:cNvPr id="263" name="Group 262"/>
            <p:cNvGrpSpPr/>
            <p:nvPr/>
          </p:nvGrpSpPr>
          <p:grpSpPr bwMode="gray">
            <a:xfrm rot="329135">
              <a:off x="4312614" y="2570832"/>
              <a:ext cx="607076" cy="606978"/>
              <a:chOff x="-925025" y="-931749"/>
              <a:chExt cx="1494241" cy="1494000"/>
            </a:xfrm>
          </p:grpSpPr>
          <p:sp>
            <p:nvSpPr>
              <p:cNvPr id="264" name="Arc 263"/>
              <p:cNvSpPr>
                <a:spLocks noChangeAspect="1"/>
              </p:cNvSpPr>
              <p:nvPr/>
            </p:nvSpPr>
            <p:spPr bwMode="gray">
              <a:xfrm>
                <a:off x="-925024" y="-931749"/>
                <a:ext cx="1494000" cy="1494000"/>
              </a:xfrm>
              <a:prstGeom prst="arc">
                <a:avLst/>
              </a:prstGeom>
              <a:grpFill/>
              <a:ln w="19050">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265" name="Arc 264"/>
              <p:cNvSpPr>
                <a:spLocks noChangeAspect="1"/>
              </p:cNvSpPr>
              <p:nvPr/>
            </p:nvSpPr>
            <p:spPr bwMode="gray">
              <a:xfrm rot="5400000">
                <a:off x="-924784" y="-931749"/>
                <a:ext cx="1494000" cy="1494000"/>
              </a:xfrm>
              <a:prstGeom prst="arc">
                <a:avLst/>
              </a:prstGeom>
              <a:grpFill/>
              <a:ln w="19050">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266" name="Arc 265"/>
              <p:cNvSpPr>
                <a:spLocks noChangeAspect="1"/>
              </p:cNvSpPr>
              <p:nvPr/>
            </p:nvSpPr>
            <p:spPr bwMode="gray">
              <a:xfrm rot="10800000">
                <a:off x="-925025" y="-931749"/>
                <a:ext cx="1494000" cy="1494000"/>
              </a:xfrm>
              <a:prstGeom prst="arc">
                <a:avLst/>
              </a:prstGeom>
              <a:grpFill/>
              <a:ln w="19050">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267" name="Arc 266"/>
              <p:cNvSpPr>
                <a:spLocks noChangeAspect="1"/>
              </p:cNvSpPr>
              <p:nvPr/>
            </p:nvSpPr>
            <p:spPr bwMode="gray">
              <a:xfrm rot="16200000">
                <a:off x="-925025" y="-931749"/>
                <a:ext cx="1494000" cy="1494000"/>
              </a:xfrm>
              <a:prstGeom prst="arc">
                <a:avLst/>
              </a:prstGeom>
              <a:grpFill/>
              <a:ln w="19050">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grpSp>
      </p:grpSp>
      <p:grpSp>
        <p:nvGrpSpPr>
          <p:cNvPr id="278" name="Group 277"/>
          <p:cNvGrpSpPr/>
          <p:nvPr/>
        </p:nvGrpSpPr>
        <p:grpSpPr bwMode="gray">
          <a:xfrm>
            <a:off x="6771079" y="2143371"/>
            <a:ext cx="922128" cy="922124"/>
            <a:chOff x="8918633" y="2472932"/>
            <a:chExt cx="712598" cy="712596"/>
          </a:xfrm>
        </p:grpSpPr>
        <p:grpSp>
          <p:nvGrpSpPr>
            <p:cNvPr id="279" name="Group 278"/>
            <p:cNvGrpSpPr/>
            <p:nvPr/>
          </p:nvGrpSpPr>
          <p:grpSpPr bwMode="gray">
            <a:xfrm>
              <a:off x="8918633" y="2472932"/>
              <a:ext cx="712598" cy="712596"/>
              <a:chOff x="-925025" y="-931748"/>
              <a:chExt cx="1494002" cy="1494001"/>
            </a:xfrm>
          </p:grpSpPr>
          <p:sp>
            <p:nvSpPr>
              <p:cNvPr id="281" name="Arc 280"/>
              <p:cNvSpPr>
                <a:spLocks noChangeAspect="1"/>
              </p:cNvSpPr>
              <p:nvPr/>
            </p:nvSpPr>
            <p:spPr bwMode="gray">
              <a:xfrm>
                <a:off x="-925023" y="-931748"/>
                <a:ext cx="1494000" cy="1494001"/>
              </a:xfrm>
              <a:prstGeom prst="arc">
                <a:avLst>
                  <a:gd name="adj1" fmla="val 11053418"/>
                  <a:gd name="adj2" fmla="val 411669"/>
                </a:avLst>
              </a:prstGeom>
              <a:grpFill/>
              <a:ln w="19050">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282" name="Arc 281"/>
              <p:cNvSpPr>
                <a:spLocks noChangeAspect="1"/>
              </p:cNvSpPr>
              <p:nvPr/>
            </p:nvSpPr>
            <p:spPr bwMode="gray">
              <a:xfrm rot="10800000">
                <a:off x="-925025" y="-931748"/>
                <a:ext cx="1494000" cy="1494001"/>
              </a:xfrm>
              <a:prstGeom prst="arc">
                <a:avLst>
                  <a:gd name="adj1" fmla="val 11186715"/>
                  <a:gd name="adj2" fmla="val 328021"/>
                </a:avLst>
              </a:prstGeom>
              <a:grpFill/>
              <a:ln w="19050">
                <a:solidFill>
                  <a:schemeClr val="tx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grpSp>
        <p:sp>
          <p:nvSpPr>
            <p:cNvPr id="280" name="Oval 211"/>
            <p:cNvSpPr/>
            <p:nvPr/>
          </p:nvSpPr>
          <p:spPr bwMode="gray">
            <a:xfrm>
              <a:off x="9063014" y="2600909"/>
              <a:ext cx="428916" cy="456642"/>
            </a:xfrm>
            <a:custGeom>
              <a:avLst/>
              <a:gdLst/>
              <a:ahLst/>
              <a:cxnLst/>
              <a:rect l="l" t="t" r="r" b="b"/>
              <a:pathLst>
                <a:path w="335249" h="356920">
                  <a:moveTo>
                    <a:pt x="167625" y="108744"/>
                  </a:moveTo>
                  <a:cubicBezTo>
                    <a:pt x="129121" y="108744"/>
                    <a:pt x="97908" y="139957"/>
                    <a:pt x="97908" y="178461"/>
                  </a:cubicBezTo>
                  <a:cubicBezTo>
                    <a:pt x="97908" y="216965"/>
                    <a:pt x="129121" y="248178"/>
                    <a:pt x="167625" y="248178"/>
                  </a:cubicBezTo>
                  <a:cubicBezTo>
                    <a:pt x="206129" y="248178"/>
                    <a:pt x="237342" y="216965"/>
                    <a:pt x="237342" y="178461"/>
                  </a:cubicBezTo>
                  <a:cubicBezTo>
                    <a:pt x="237342" y="139957"/>
                    <a:pt x="206129" y="108744"/>
                    <a:pt x="167625" y="108744"/>
                  </a:cubicBezTo>
                  <a:close/>
                  <a:moveTo>
                    <a:pt x="141477" y="0"/>
                  </a:moveTo>
                  <a:lnTo>
                    <a:pt x="193771" y="0"/>
                  </a:lnTo>
                  <a:lnTo>
                    <a:pt x="203939" y="10168"/>
                  </a:lnTo>
                  <a:lnTo>
                    <a:pt x="203939" y="51960"/>
                  </a:lnTo>
                  <a:lnTo>
                    <a:pt x="202807" y="51960"/>
                  </a:lnTo>
                  <a:cubicBezTo>
                    <a:pt x="224922" y="57157"/>
                    <a:pt x="244686" y="68117"/>
                    <a:pt x="259405" y="84429"/>
                  </a:cubicBezTo>
                  <a:lnTo>
                    <a:pt x="259019" y="83760"/>
                  </a:lnTo>
                  <a:lnTo>
                    <a:pt x="295212" y="62864"/>
                  </a:lnTo>
                  <a:lnTo>
                    <a:pt x="309102" y="66586"/>
                  </a:lnTo>
                  <a:lnTo>
                    <a:pt x="335249" y="111874"/>
                  </a:lnTo>
                  <a:lnTo>
                    <a:pt x="331527" y="125764"/>
                  </a:lnTo>
                  <a:lnTo>
                    <a:pt x="295833" y="146372"/>
                  </a:lnTo>
                  <a:cubicBezTo>
                    <a:pt x="299850" y="156394"/>
                    <a:pt x="301227" y="167266"/>
                    <a:pt x="301227" y="178460"/>
                  </a:cubicBezTo>
                  <a:lnTo>
                    <a:pt x="295833" y="210548"/>
                  </a:lnTo>
                  <a:lnTo>
                    <a:pt x="331527" y="231156"/>
                  </a:lnTo>
                  <a:lnTo>
                    <a:pt x="335249" y="245046"/>
                  </a:lnTo>
                  <a:lnTo>
                    <a:pt x="309102" y="290334"/>
                  </a:lnTo>
                  <a:lnTo>
                    <a:pt x="295212" y="294056"/>
                  </a:lnTo>
                  <a:lnTo>
                    <a:pt x="259019" y="273160"/>
                  </a:lnTo>
                  <a:lnTo>
                    <a:pt x="259405" y="272492"/>
                  </a:lnTo>
                  <a:cubicBezTo>
                    <a:pt x="244687" y="288802"/>
                    <a:pt x="224924" y="299761"/>
                    <a:pt x="202811" y="304959"/>
                  </a:cubicBezTo>
                  <a:lnTo>
                    <a:pt x="203939" y="304959"/>
                  </a:lnTo>
                  <a:lnTo>
                    <a:pt x="203939" y="346751"/>
                  </a:lnTo>
                  <a:lnTo>
                    <a:pt x="193771" y="356920"/>
                  </a:lnTo>
                  <a:lnTo>
                    <a:pt x="141477" y="356920"/>
                  </a:lnTo>
                  <a:lnTo>
                    <a:pt x="131309" y="346751"/>
                  </a:lnTo>
                  <a:lnTo>
                    <a:pt x="131309" y="304959"/>
                  </a:lnTo>
                  <a:lnTo>
                    <a:pt x="132437" y="304959"/>
                  </a:lnTo>
                  <a:cubicBezTo>
                    <a:pt x="110326" y="299762"/>
                    <a:pt x="90565" y="288804"/>
                    <a:pt x="75848" y="272496"/>
                  </a:cubicBezTo>
                  <a:lnTo>
                    <a:pt x="76231" y="273159"/>
                  </a:lnTo>
                  <a:lnTo>
                    <a:pt x="40038" y="294055"/>
                  </a:lnTo>
                  <a:lnTo>
                    <a:pt x="26147" y="290334"/>
                  </a:lnTo>
                  <a:lnTo>
                    <a:pt x="0" y="245046"/>
                  </a:lnTo>
                  <a:lnTo>
                    <a:pt x="3723" y="231156"/>
                  </a:lnTo>
                  <a:lnTo>
                    <a:pt x="39415" y="210549"/>
                  </a:lnTo>
                  <a:cubicBezTo>
                    <a:pt x="35398" y="200527"/>
                    <a:pt x="34021" y="189654"/>
                    <a:pt x="34021" y="178460"/>
                  </a:cubicBezTo>
                  <a:lnTo>
                    <a:pt x="39415" y="146371"/>
                  </a:lnTo>
                  <a:lnTo>
                    <a:pt x="3723" y="125764"/>
                  </a:lnTo>
                  <a:lnTo>
                    <a:pt x="0" y="111874"/>
                  </a:lnTo>
                  <a:lnTo>
                    <a:pt x="26147" y="66586"/>
                  </a:lnTo>
                  <a:lnTo>
                    <a:pt x="40038" y="62865"/>
                  </a:lnTo>
                  <a:lnTo>
                    <a:pt x="76231" y="83761"/>
                  </a:lnTo>
                  <a:lnTo>
                    <a:pt x="75848" y="84425"/>
                  </a:lnTo>
                  <a:cubicBezTo>
                    <a:pt x="90566" y="68115"/>
                    <a:pt x="110329" y="57157"/>
                    <a:pt x="132441" y="51960"/>
                  </a:cubicBezTo>
                  <a:lnTo>
                    <a:pt x="131309" y="51960"/>
                  </a:lnTo>
                  <a:lnTo>
                    <a:pt x="131309" y="10168"/>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283" name="Group 282"/>
          <p:cNvGrpSpPr/>
          <p:nvPr/>
        </p:nvGrpSpPr>
        <p:grpSpPr bwMode="gray">
          <a:xfrm>
            <a:off x="2240987" y="2154222"/>
            <a:ext cx="893176" cy="900422"/>
            <a:chOff x="6911723" y="-1444875"/>
            <a:chExt cx="690224" cy="695825"/>
          </a:xfrm>
        </p:grpSpPr>
        <p:sp>
          <p:nvSpPr>
            <p:cNvPr id="284" name="Snip Single Corner Rectangle 6"/>
            <p:cNvSpPr/>
            <p:nvPr/>
          </p:nvSpPr>
          <p:spPr bwMode="gray">
            <a:xfrm rot="5400000">
              <a:off x="6842338" y="-1112033"/>
              <a:ext cx="226800" cy="88029"/>
            </a:xfrm>
            <a:custGeom>
              <a:avLst/>
              <a:gdLst>
                <a:gd name="connsiteX0" fmla="*/ 0 w 226800"/>
                <a:gd name="connsiteY0" fmla="*/ 57188 h 88029"/>
                <a:gd name="connsiteX1" fmla="*/ 0 w 226800"/>
                <a:gd name="connsiteY1" fmla="*/ 45719 h 88029"/>
                <a:gd name="connsiteX2" fmla="*/ 0 w 226800"/>
                <a:gd name="connsiteY2" fmla="*/ 0 h 88029"/>
                <a:gd name="connsiteX3" fmla="*/ 30841 w 226800"/>
                <a:gd name="connsiteY3" fmla="*/ 0 h 88029"/>
                <a:gd name="connsiteX4" fmla="*/ 195959 w 226800"/>
                <a:gd name="connsiteY4" fmla="*/ 0 h 88029"/>
                <a:gd name="connsiteX5" fmla="*/ 212517 w 226800"/>
                <a:gd name="connsiteY5" fmla="*/ 0 h 88029"/>
                <a:gd name="connsiteX6" fmla="*/ 226800 w 226800"/>
                <a:gd name="connsiteY6" fmla="*/ 14283 h 88029"/>
                <a:gd name="connsiteX7" fmla="*/ 226800 w 226800"/>
                <a:gd name="connsiteY7" fmla="*/ 30841 h 88029"/>
                <a:gd name="connsiteX8" fmla="*/ 226800 w 226800"/>
                <a:gd name="connsiteY8" fmla="*/ 45719 h 88029"/>
                <a:gd name="connsiteX9" fmla="*/ 226800 w 226800"/>
                <a:gd name="connsiteY9" fmla="*/ 57188 h 88029"/>
                <a:gd name="connsiteX10" fmla="*/ 195959 w 226800"/>
                <a:gd name="connsiteY10" fmla="*/ 88029 h 88029"/>
                <a:gd name="connsiteX11" fmla="*/ 30841 w 226800"/>
                <a:gd name="connsiteY11" fmla="*/ 88029 h 88029"/>
                <a:gd name="connsiteX12" fmla="*/ 0 w 226800"/>
                <a:gd name="connsiteY12"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30841 h 88029"/>
                <a:gd name="connsiteX7" fmla="*/ 226800 w 226800"/>
                <a:gd name="connsiteY7" fmla="*/ 45719 h 88029"/>
                <a:gd name="connsiteX8" fmla="*/ 226800 w 226800"/>
                <a:gd name="connsiteY8" fmla="*/ 57188 h 88029"/>
                <a:gd name="connsiteX9" fmla="*/ 195959 w 226800"/>
                <a:gd name="connsiteY9" fmla="*/ 88029 h 88029"/>
                <a:gd name="connsiteX10" fmla="*/ 30841 w 226800"/>
                <a:gd name="connsiteY10" fmla="*/ 88029 h 88029"/>
                <a:gd name="connsiteX11" fmla="*/ 0 w 226800"/>
                <a:gd name="connsiteY11"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30841 h 88029"/>
                <a:gd name="connsiteX7" fmla="*/ 226800 w 226800"/>
                <a:gd name="connsiteY7" fmla="*/ 57188 h 88029"/>
                <a:gd name="connsiteX8" fmla="*/ 195959 w 226800"/>
                <a:gd name="connsiteY8" fmla="*/ 88029 h 88029"/>
                <a:gd name="connsiteX9" fmla="*/ 30841 w 226800"/>
                <a:gd name="connsiteY9" fmla="*/ 88029 h 88029"/>
                <a:gd name="connsiteX10" fmla="*/ 0 w 226800"/>
                <a:gd name="connsiteY10"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57188 h 88029"/>
                <a:gd name="connsiteX7" fmla="*/ 195959 w 226800"/>
                <a:gd name="connsiteY7" fmla="*/ 88029 h 88029"/>
                <a:gd name="connsiteX8" fmla="*/ 30841 w 226800"/>
                <a:gd name="connsiteY8" fmla="*/ 88029 h 88029"/>
                <a:gd name="connsiteX9" fmla="*/ 0 w 226800"/>
                <a:gd name="connsiteY9" fmla="*/ 57188 h 88029"/>
                <a:gd name="connsiteX0" fmla="*/ 0 w 226800"/>
                <a:gd name="connsiteY0" fmla="*/ 57188 h 88029"/>
                <a:gd name="connsiteX1" fmla="*/ 0 w 226800"/>
                <a:gd name="connsiteY1" fmla="*/ 0 h 88029"/>
                <a:gd name="connsiteX2" fmla="*/ 30841 w 226800"/>
                <a:gd name="connsiteY2" fmla="*/ 0 h 88029"/>
                <a:gd name="connsiteX3" fmla="*/ 212517 w 226800"/>
                <a:gd name="connsiteY3" fmla="*/ 0 h 88029"/>
                <a:gd name="connsiteX4" fmla="*/ 226800 w 226800"/>
                <a:gd name="connsiteY4" fmla="*/ 14283 h 88029"/>
                <a:gd name="connsiteX5" fmla="*/ 226800 w 226800"/>
                <a:gd name="connsiteY5" fmla="*/ 57188 h 88029"/>
                <a:gd name="connsiteX6" fmla="*/ 195959 w 226800"/>
                <a:gd name="connsiteY6" fmla="*/ 88029 h 88029"/>
                <a:gd name="connsiteX7" fmla="*/ 30841 w 226800"/>
                <a:gd name="connsiteY7" fmla="*/ 88029 h 88029"/>
                <a:gd name="connsiteX8" fmla="*/ 0 w 226800"/>
                <a:gd name="connsiteY8" fmla="*/ 57188 h 88029"/>
                <a:gd name="connsiteX0" fmla="*/ 0 w 226800"/>
                <a:gd name="connsiteY0" fmla="*/ 57188 h 88029"/>
                <a:gd name="connsiteX1" fmla="*/ 0 w 226800"/>
                <a:gd name="connsiteY1" fmla="*/ 0 h 88029"/>
                <a:gd name="connsiteX2" fmla="*/ 212517 w 226800"/>
                <a:gd name="connsiteY2" fmla="*/ 0 h 88029"/>
                <a:gd name="connsiteX3" fmla="*/ 226800 w 226800"/>
                <a:gd name="connsiteY3" fmla="*/ 14283 h 88029"/>
                <a:gd name="connsiteX4" fmla="*/ 226800 w 226800"/>
                <a:gd name="connsiteY4" fmla="*/ 57188 h 88029"/>
                <a:gd name="connsiteX5" fmla="*/ 195959 w 226800"/>
                <a:gd name="connsiteY5" fmla="*/ 88029 h 88029"/>
                <a:gd name="connsiteX6" fmla="*/ 30841 w 226800"/>
                <a:gd name="connsiteY6" fmla="*/ 88029 h 88029"/>
                <a:gd name="connsiteX7" fmla="*/ 0 w 226800"/>
                <a:gd name="connsiteY7" fmla="*/ 57188 h 8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800" h="88029">
                  <a:moveTo>
                    <a:pt x="0" y="57188"/>
                  </a:moveTo>
                  <a:lnTo>
                    <a:pt x="0" y="0"/>
                  </a:lnTo>
                  <a:lnTo>
                    <a:pt x="212517" y="0"/>
                  </a:lnTo>
                  <a:lnTo>
                    <a:pt x="226800" y="14283"/>
                  </a:lnTo>
                  <a:lnTo>
                    <a:pt x="226800" y="57188"/>
                  </a:lnTo>
                  <a:cubicBezTo>
                    <a:pt x="226800" y="74221"/>
                    <a:pt x="212992" y="88029"/>
                    <a:pt x="195959" y="88029"/>
                  </a:cubicBezTo>
                  <a:lnTo>
                    <a:pt x="30841" y="88029"/>
                  </a:lnTo>
                  <a:cubicBezTo>
                    <a:pt x="13808" y="88029"/>
                    <a:pt x="0" y="74221"/>
                    <a:pt x="0" y="57188"/>
                  </a:cubicBezTo>
                  <a:close/>
                </a:path>
              </a:pathLst>
            </a:custGeom>
            <a:noFill/>
            <a:ln w="19050" cap="sq">
              <a:solidFill>
                <a:schemeClr val="tx2"/>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sp>
          <p:nvSpPr>
            <p:cNvPr id="285" name="Snip Single Corner Rectangle 6"/>
            <p:cNvSpPr/>
            <p:nvPr/>
          </p:nvSpPr>
          <p:spPr bwMode="gray">
            <a:xfrm rot="16200000" flipH="1">
              <a:off x="7444533" y="-1112033"/>
              <a:ext cx="226800" cy="88029"/>
            </a:xfrm>
            <a:custGeom>
              <a:avLst/>
              <a:gdLst>
                <a:gd name="connsiteX0" fmla="*/ 0 w 226800"/>
                <a:gd name="connsiteY0" fmla="*/ 57188 h 88029"/>
                <a:gd name="connsiteX1" fmla="*/ 0 w 226800"/>
                <a:gd name="connsiteY1" fmla="*/ 45719 h 88029"/>
                <a:gd name="connsiteX2" fmla="*/ 0 w 226800"/>
                <a:gd name="connsiteY2" fmla="*/ 0 h 88029"/>
                <a:gd name="connsiteX3" fmla="*/ 30841 w 226800"/>
                <a:gd name="connsiteY3" fmla="*/ 0 h 88029"/>
                <a:gd name="connsiteX4" fmla="*/ 195959 w 226800"/>
                <a:gd name="connsiteY4" fmla="*/ 0 h 88029"/>
                <a:gd name="connsiteX5" fmla="*/ 212517 w 226800"/>
                <a:gd name="connsiteY5" fmla="*/ 0 h 88029"/>
                <a:gd name="connsiteX6" fmla="*/ 226800 w 226800"/>
                <a:gd name="connsiteY6" fmla="*/ 14283 h 88029"/>
                <a:gd name="connsiteX7" fmla="*/ 226800 w 226800"/>
                <a:gd name="connsiteY7" fmla="*/ 30841 h 88029"/>
                <a:gd name="connsiteX8" fmla="*/ 226800 w 226800"/>
                <a:gd name="connsiteY8" fmla="*/ 45719 h 88029"/>
                <a:gd name="connsiteX9" fmla="*/ 226800 w 226800"/>
                <a:gd name="connsiteY9" fmla="*/ 57188 h 88029"/>
                <a:gd name="connsiteX10" fmla="*/ 195959 w 226800"/>
                <a:gd name="connsiteY10" fmla="*/ 88029 h 88029"/>
                <a:gd name="connsiteX11" fmla="*/ 30841 w 226800"/>
                <a:gd name="connsiteY11" fmla="*/ 88029 h 88029"/>
                <a:gd name="connsiteX12" fmla="*/ 0 w 226800"/>
                <a:gd name="connsiteY12"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30841 h 88029"/>
                <a:gd name="connsiteX7" fmla="*/ 226800 w 226800"/>
                <a:gd name="connsiteY7" fmla="*/ 45719 h 88029"/>
                <a:gd name="connsiteX8" fmla="*/ 226800 w 226800"/>
                <a:gd name="connsiteY8" fmla="*/ 57188 h 88029"/>
                <a:gd name="connsiteX9" fmla="*/ 195959 w 226800"/>
                <a:gd name="connsiteY9" fmla="*/ 88029 h 88029"/>
                <a:gd name="connsiteX10" fmla="*/ 30841 w 226800"/>
                <a:gd name="connsiteY10" fmla="*/ 88029 h 88029"/>
                <a:gd name="connsiteX11" fmla="*/ 0 w 226800"/>
                <a:gd name="connsiteY11"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30841 h 88029"/>
                <a:gd name="connsiteX7" fmla="*/ 226800 w 226800"/>
                <a:gd name="connsiteY7" fmla="*/ 57188 h 88029"/>
                <a:gd name="connsiteX8" fmla="*/ 195959 w 226800"/>
                <a:gd name="connsiteY8" fmla="*/ 88029 h 88029"/>
                <a:gd name="connsiteX9" fmla="*/ 30841 w 226800"/>
                <a:gd name="connsiteY9" fmla="*/ 88029 h 88029"/>
                <a:gd name="connsiteX10" fmla="*/ 0 w 226800"/>
                <a:gd name="connsiteY10" fmla="*/ 57188 h 88029"/>
                <a:gd name="connsiteX0" fmla="*/ 0 w 226800"/>
                <a:gd name="connsiteY0" fmla="*/ 57188 h 88029"/>
                <a:gd name="connsiteX1" fmla="*/ 0 w 226800"/>
                <a:gd name="connsiteY1" fmla="*/ 0 h 88029"/>
                <a:gd name="connsiteX2" fmla="*/ 30841 w 226800"/>
                <a:gd name="connsiteY2" fmla="*/ 0 h 88029"/>
                <a:gd name="connsiteX3" fmla="*/ 195959 w 226800"/>
                <a:gd name="connsiteY3" fmla="*/ 0 h 88029"/>
                <a:gd name="connsiteX4" fmla="*/ 212517 w 226800"/>
                <a:gd name="connsiteY4" fmla="*/ 0 h 88029"/>
                <a:gd name="connsiteX5" fmla="*/ 226800 w 226800"/>
                <a:gd name="connsiteY5" fmla="*/ 14283 h 88029"/>
                <a:gd name="connsiteX6" fmla="*/ 226800 w 226800"/>
                <a:gd name="connsiteY6" fmla="*/ 57188 h 88029"/>
                <a:gd name="connsiteX7" fmla="*/ 195959 w 226800"/>
                <a:gd name="connsiteY7" fmla="*/ 88029 h 88029"/>
                <a:gd name="connsiteX8" fmla="*/ 30841 w 226800"/>
                <a:gd name="connsiteY8" fmla="*/ 88029 h 88029"/>
                <a:gd name="connsiteX9" fmla="*/ 0 w 226800"/>
                <a:gd name="connsiteY9" fmla="*/ 57188 h 88029"/>
                <a:gd name="connsiteX0" fmla="*/ 0 w 226800"/>
                <a:gd name="connsiteY0" fmla="*/ 57188 h 88029"/>
                <a:gd name="connsiteX1" fmla="*/ 0 w 226800"/>
                <a:gd name="connsiteY1" fmla="*/ 0 h 88029"/>
                <a:gd name="connsiteX2" fmla="*/ 30841 w 226800"/>
                <a:gd name="connsiteY2" fmla="*/ 0 h 88029"/>
                <a:gd name="connsiteX3" fmla="*/ 212517 w 226800"/>
                <a:gd name="connsiteY3" fmla="*/ 0 h 88029"/>
                <a:gd name="connsiteX4" fmla="*/ 226800 w 226800"/>
                <a:gd name="connsiteY4" fmla="*/ 14283 h 88029"/>
                <a:gd name="connsiteX5" fmla="*/ 226800 w 226800"/>
                <a:gd name="connsiteY5" fmla="*/ 57188 h 88029"/>
                <a:gd name="connsiteX6" fmla="*/ 195959 w 226800"/>
                <a:gd name="connsiteY6" fmla="*/ 88029 h 88029"/>
                <a:gd name="connsiteX7" fmla="*/ 30841 w 226800"/>
                <a:gd name="connsiteY7" fmla="*/ 88029 h 88029"/>
                <a:gd name="connsiteX8" fmla="*/ 0 w 226800"/>
                <a:gd name="connsiteY8" fmla="*/ 57188 h 88029"/>
                <a:gd name="connsiteX0" fmla="*/ 0 w 226800"/>
                <a:gd name="connsiteY0" fmla="*/ 57188 h 88029"/>
                <a:gd name="connsiteX1" fmla="*/ 0 w 226800"/>
                <a:gd name="connsiteY1" fmla="*/ 0 h 88029"/>
                <a:gd name="connsiteX2" fmla="*/ 212517 w 226800"/>
                <a:gd name="connsiteY2" fmla="*/ 0 h 88029"/>
                <a:gd name="connsiteX3" fmla="*/ 226800 w 226800"/>
                <a:gd name="connsiteY3" fmla="*/ 14283 h 88029"/>
                <a:gd name="connsiteX4" fmla="*/ 226800 w 226800"/>
                <a:gd name="connsiteY4" fmla="*/ 57188 h 88029"/>
                <a:gd name="connsiteX5" fmla="*/ 195959 w 226800"/>
                <a:gd name="connsiteY5" fmla="*/ 88029 h 88029"/>
                <a:gd name="connsiteX6" fmla="*/ 30841 w 226800"/>
                <a:gd name="connsiteY6" fmla="*/ 88029 h 88029"/>
                <a:gd name="connsiteX7" fmla="*/ 0 w 226800"/>
                <a:gd name="connsiteY7" fmla="*/ 57188 h 8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800" h="88029">
                  <a:moveTo>
                    <a:pt x="0" y="57188"/>
                  </a:moveTo>
                  <a:lnTo>
                    <a:pt x="0" y="0"/>
                  </a:lnTo>
                  <a:lnTo>
                    <a:pt x="212517" y="0"/>
                  </a:lnTo>
                  <a:lnTo>
                    <a:pt x="226800" y="14283"/>
                  </a:lnTo>
                  <a:lnTo>
                    <a:pt x="226800" y="57188"/>
                  </a:lnTo>
                  <a:cubicBezTo>
                    <a:pt x="226800" y="74221"/>
                    <a:pt x="212992" y="88029"/>
                    <a:pt x="195959" y="88029"/>
                  </a:cubicBezTo>
                  <a:lnTo>
                    <a:pt x="30841" y="88029"/>
                  </a:lnTo>
                  <a:cubicBezTo>
                    <a:pt x="13808" y="88029"/>
                    <a:pt x="0" y="74221"/>
                    <a:pt x="0" y="57188"/>
                  </a:cubicBezTo>
                  <a:close/>
                </a:path>
              </a:pathLst>
            </a:custGeom>
            <a:noFill/>
            <a:ln w="19050" cap="sq">
              <a:solidFill>
                <a:schemeClr val="tx2"/>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sp>
          <p:nvSpPr>
            <p:cNvPr id="286" name="Oval 7"/>
            <p:cNvSpPr/>
            <p:nvPr/>
          </p:nvSpPr>
          <p:spPr bwMode="gray">
            <a:xfrm>
              <a:off x="6999910" y="-1444875"/>
              <a:ext cx="514674" cy="257337"/>
            </a:xfrm>
            <a:custGeom>
              <a:avLst/>
              <a:gdLst>
                <a:gd name="connsiteX0" fmla="*/ 0 w 514673"/>
                <a:gd name="connsiteY0" fmla="*/ 257337 h 514673"/>
                <a:gd name="connsiteX1" fmla="*/ 257337 w 514673"/>
                <a:gd name="connsiteY1" fmla="*/ 0 h 514673"/>
                <a:gd name="connsiteX2" fmla="*/ 514674 w 514673"/>
                <a:gd name="connsiteY2" fmla="*/ 257337 h 514673"/>
                <a:gd name="connsiteX3" fmla="*/ 257337 w 514673"/>
                <a:gd name="connsiteY3" fmla="*/ 514674 h 514673"/>
                <a:gd name="connsiteX4" fmla="*/ 0 w 514673"/>
                <a:gd name="connsiteY4" fmla="*/ 257337 h 514673"/>
                <a:gd name="connsiteX0" fmla="*/ 0 w 514674"/>
                <a:gd name="connsiteY0" fmla="*/ 257337 h 514674"/>
                <a:gd name="connsiteX1" fmla="*/ 257337 w 514674"/>
                <a:gd name="connsiteY1" fmla="*/ 0 h 514674"/>
                <a:gd name="connsiteX2" fmla="*/ 514674 w 514674"/>
                <a:gd name="connsiteY2" fmla="*/ 257337 h 514674"/>
                <a:gd name="connsiteX3" fmla="*/ 257337 w 514674"/>
                <a:gd name="connsiteY3" fmla="*/ 514674 h 514674"/>
                <a:gd name="connsiteX4" fmla="*/ 0 w 514674"/>
                <a:gd name="connsiteY4" fmla="*/ 257337 h 514674"/>
                <a:gd name="connsiteX0" fmla="*/ 0 w 514674"/>
                <a:gd name="connsiteY0" fmla="*/ 257337 h 514674"/>
                <a:gd name="connsiteX1" fmla="*/ 257337 w 514674"/>
                <a:gd name="connsiteY1" fmla="*/ 0 h 514674"/>
                <a:gd name="connsiteX2" fmla="*/ 514674 w 514674"/>
                <a:gd name="connsiteY2" fmla="*/ 257337 h 514674"/>
                <a:gd name="connsiteX3" fmla="*/ 257337 w 514674"/>
                <a:gd name="connsiteY3" fmla="*/ 514674 h 514674"/>
                <a:gd name="connsiteX4" fmla="*/ 0 w 514674"/>
                <a:gd name="connsiteY4" fmla="*/ 257337 h 514674"/>
                <a:gd name="connsiteX0" fmla="*/ 0 w 514674"/>
                <a:gd name="connsiteY0" fmla="*/ 257337 h 514674"/>
                <a:gd name="connsiteX1" fmla="*/ 257337 w 514674"/>
                <a:gd name="connsiteY1" fmla="*/ 0 h 514674"/>
                <a:gd name="connsiteX2" fmla="*/ 514674 w 514674"/>
                <a:gd name="connsiteY2" fmla="*/ 257337 h 514674"/>
                <a:gd name="connsiteX3" fmla="*/ 257337 w 514674"/>
                <a:gd name="connsiteY3" fmla="*/ 514674 h 514674"/>
                <a:gd name="connsiteX4" fmla="*/ 0 w 514674"/>
                <a:gd name="connsiteY4" fmla="*/ 257337 h 514674"/>
                <a:gd name="connsiteX0" fmla="*/ 0 w 514674"/>
                <a:gd name="connsiteY0" fmla="*/ 257337 h 514674"/>
                <a:gd name="connsiteX1" fmla="*/ 257337 w 514674"/>
                <a:gd name="connsiteY1" fmla="*/ 0 h 514674"/>
                <a:gd name="connsiteX2" fmla="*/ 514674 w 514674"/>
                <a:gd name="connsiteY2" fmla="*/ 257337 h 514674"/>
                <a:gd name="connsiteX3" fmla="*/ 257337 w 514674"/>
                <a:gd name="connsiteY3" fmla="*/ 514674 h 514674"/>
                <a:gd name="connsiteX4" fmla="*/ 0 w 514674"/>
                <a:gd name="connsiteY4" fmla="*/ 257337 h 514674"/>
                <a:gd name="connsiteX0" fmla="*/ 257337 w 514674"/>
                <a:gd name="connsiteY0" fmla="*/ 514674 h 606114"/>
                <a:gd name="connsiteX1" fmla="*/ 0 w 514674"/>
                <a:gd name="connsiteY1" fmla="*/ 257337 h 606114"/>
                <a:gd name="connsiteX2" fmla="*/ 257337 w 514674"/>
                <a:gd name="connsiteY2" fmla="*/ 0 h 606114"/>
                <a:gd name="connsiteX3" fmla="*/ 514674 w 514674"/>
                <a:gd name="connsiteY3" fmla="*/ 257337 h 606114"/>
                <a:gd name="connsiteX4" fmla="*/ 348777 w 514674"/>
                <a:gd name="connsiteY4" fmla="*/ 606114 h 606114"/>
                <a:gd name="connsiteX0" fmla="*/ 257337 w 514674"/>
                <a:gd name="connsiteY0" fmla="*/ 514674 h 514674"/>
                <a:gd name="connsiteX1" fmla="*/ 0 w 514674"/>
                <a:gd name="connsiteY1" fmla="*/ 257337 h 514674"/>
                <a:gd name="connsiteX2" fmla="*/ 257337 w 514674"/>
                <a:gd name="connsiteY2" fmla="*/ 0 h 514674"/>
                <a:gd name="connsiteX3" fmla="*/ 514674 w 514674"/>
                <a:gd name="connsiteY3" fmla="*/ 257337 h 514674"/>
                <a:gd name="connsiteX0" fmla="*/ 0 w 514674"/>
                <a:gd name="connsiteY0" fmla="*/ 257337 h 257337"/>
                <a:gd name="connsiteX1" fmla="*/ 257337 w 514674"/>
                <a:gd name="connsiteY1" fmla="*/ 0 h 257337"/>
                <a:gd name="connsiteX2" fmla="*/ 514674 w 514674"/>
                <a:gd name="connsiteY2" fmla="*/ 257337 h 257337"/>
              </a:gdLst>
              <a:ahLst/>
              <a:cxnLst>
                <a:cxn ang="0">
                  <a:pos x="connsiteX0" y="connsiteY0"/>
                </a:cxn>
                <a:cxn ang="0">
                  <a:pos x="connsiteX1" y="connsiteY1"/>
                </a:cxn>
                <a:cxn ang="0">
                  <a:pos x="connsiteX2" y="connsiteY2"/>
                </a:cxn>
              </a:cxnLst>
              <a:rect l="l" t="t" r="r" b="b"/>
              <a:pathLst>
                <a:path w="514674" h="257337">
                  <a:moveTo>
                    <a:pt x="0" y="257337"/>
                  </a:moveTo>
                  <a:cubicBezTo>
                    <a:pt x="0" y="115214"/>
                    <a:pt x="115214" y="0"/>
                    <a:pt x="257337" y="0"/>
                  </a:cubicBezTo>
                  <a:cubicBezTo>
                    <a:pt x="399460" y="0"/>
                    <a:pt x="514674" y="115214"/>
                    <a:pt x="514674" y="257337"/>
                  </a:cubicBezTo>
                </a:path>
              </a:pathLst>
            </a:custGeom>
            <a:noFill/>
            <a:ln w="19050" cap="sq">
              <a:solidFill>
                <a:schemeClr val="tx2"/>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sp>
          <p:nvSpPr>
            <p:cNvPr id="287" name="Rounded Rectangle 286"/>
            <p:cNvSpPr/>
            <p:nvPr/>
          </p:nvSpPr>
          <p:spPr bwMode="gray">
            <a:xfrm>
              <a:off x="7308678" y="-819539"/>
              <a:ext cx="70489" cy="70489"/>
            </a:xfrm>
            <a:prstGeom prst="roundRect">
              <a:avLst>
                <a:gd name="adj" fmla="val 27923"/>
              </a:avLst>
            </a:prstGeom>
            <a:noFill/>
            <a:ln w="19050" cap="sq">
              <a:solidFill>
                <a:schemeClr val="tx2"/>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sp>
          <p:nvSpPr>
            <p:cNvPr id="288" name="Snip Single Corner Rectangle 47"/>
            <p:cNvSpPr/>
            <p:nvPr/>
          </p:nvSpPr>
          <p:spPr bwMode="gray">
            <a:xfrm rot="5400000">
              <a:off x="7380433" y="-955882"/>
              <a:ext cx="170522" cy="173051"/>
            </a:xfrm>
            <a:custGeom>
              <a:avLst/>
              <a:gdLst>
                <a:gd name="connsiteX0" fmla="*/ 0 w 387244"/>
                <a:gd name="connsiteY0" fmla="*/ 387244 h 478684"/>
                <a:gd name="connsiteX1" fmla="*/ 0 w 387244"/>
                <a:gd name="connsiteY1" fmla="*/ 36394 h 478684"/>
                <a:gd name="connsiteX2" fmla="*/ 202439 w 387244"/>
                <a:gd name="connsiteY2" fmla="*/ 36394 h 478684"/>
                <a:gd name="connsiteX3" fmla="*/ 216722 w 387244"/>
                <a:gd name="connsiteY3" fmla="*/ 22111 h 478684"/>
                <a:gd name="connsiteX4" fmla="*/ 216722 w 387244"/>
                <a:gd name="connsiteY4" fmla="*/ 0 h 478684"/>
                <a:gd name="connsiteX5" fmla="*/ 301748 w 387244"/>
                <a:gd name="connsiteY5" fmla="*/ 0 h 478684"/>
                <a:gd name="connsiteX6" fmla="*/ 387244 w 387244"/>
                <a:gd name="connsiteY6" fmla="*/ 85496 h 478684"/>
                <a:gd name="connsiteX7" fmla="*/ 387244 w 387244"/>
                <a:gd name="connsiteY7" fmla="*/ 173051 h 478684"/>
                <a:gd name="connsiteX8" fmla="*/ 371484 w 387244"/>
                <a:gd name="connsiteY8" fmla="*/ 173051 h 478684"/>
                <a:gd name="connsiteX9" fmla="*/ 351801 w 387244"/>
                <a:gd name="connsiteY9" fmla="*/ 192734 h 478684"/>
                <a:gd name="connsiteX10" fmla="*/ 351801 w 387244"/>
                <a:gd name="connsiteY10" fmla="*/ 223857 h 478684"/>
                <a:gd name="connsiteX11" fmla="*/ 371484 w 387244"/>
                <a:gd name="connsiteY11" fmla="*/ 243540 h 478684"/>
                <a:gd name="connsiteX12" fmla="*/ 387244 w 387244"/>
                <a:gd name="connsiteY12" fmla="*/ 243540 h 478684"/>
                <a:gd name="connsiteX13" fmla="*/ 387244 w 387244"/>
                <a:gd name="connsiteY13" fmla="*/ 387244 h 478684"/>
                <a:gd name="connsiteX14" fmla="*/ 91440 w 387244"/>
                <a:gd name="connsiteY14" fmla="*/ 478684 h 478684"/>
                <a:gd name="connsiteX0" fmla="*/ 0 w 387244"/>
                <a:gd name="connsiteY0" fmla="*/ 36394 h 478684"/>
                <a:gd name="connsiteX1" fmla="*/ 202439 w 387244"/>
                <a:gd name="connsiteY1" fmla="*/ 36394 h 478684"/>
                <a:gd name="connsiteX2" fmla="*/ 216722 w 387244"/>
                <a:gd name="connsiteY2" fmla="*/ 22111 h 478684"/>
                <a:gd name="connsiteX3" fmla="*/ 216722 w 387244"/>
                <a:gd name="connsiteY3" fmla="*/ 0 h 478684"/>
                <a:gd name="connsiteX4" fmla="*/ 301748 w 387244"/>
                <a:gd name="connsiteY4" fmla="*/ 0 h 478684"/>
                <a:gd name="connsiteX5" fmla="*/ 387244 w 387244"/>
                <a:gd name="connsiteY5" fmla="*/ 85496 h 478684"/>
                <a:gd name="connsiteX6" fmla="*/ 387244 w 387244"/>
                <a:gd name="connsiteY6" fmla="*/ 173051 h 478684"/>
                <a:gd name="connsiteX7" fmla="*/ 371484 w 387244"/>
                <a:gd name="connsiteY7" fmla="*/ 173051 h 478684"/>
                <a:gd name="connsiteX8" fmla="*/ 351801 w 387244"/>
                <a:gd name="connsiteY8" fmla="*/ 192734 h 478684"/>
                <a:gd name="connsiteX9" fmla="*/ 351801 w 387244"/>
                <a:gd name="connsiteY9" fmla="*/ 223857 h 478684"/>
                <a:gd name="connsiteX10" fmla="*/ 371484 w 387244"/>
                <a:gd name="connsiteY10" fmla="*/ 243540 h 478684"/>
                <a:gd name="connsiteX11" fmla="*/ 387244 w 387244"/>
                <a:gd name="connsiteY11" fmla="*/ 243540 h 478684"/>
                <a:gd name="connsiteX12" fmla="*/ 387244 w 387244"/>
                <a:gd name="connsiteY12" fmla="*/ 387244 h 478684"/>
                <a:gd name="connsiteX13" fmla="*/ 91440 w 387244"/>
                <a:gd name="connsiteY13" fmla="*/ 478684 h 478684"/>
                <a:gd name="connsiteX0" fmla="*/ 0 w 387244"/>
                <a:gd name="connsiteY0" fmla="*/ 36394 h 387244"/>
                <a:gd name="connsiteX1" fmla="*/ 202439 w 387244"/>
                <a:gd name="connsiteY1" fmla="*/ 36394 h 387244"/>
                <a:gd name="connsiteX2" fmla="*/ 216722 w 387244"/>
                <a:gd name="connsiteY2" fmla="*/ 22111 h 387244"/>
                <a:gd name="connsiteX3" fmla="*/ 216722 w 387244"/>
                <a:gd name="connsiteY3" fmla="*/ 0 h 387244"/>
                <a:gd name="connsiteX4" fmla="*/ 301748 w 387244"/>
                <a:gd name="connsiteY4" fmla="*/ 0 h 387244"/>
                <a:gd name="connsiteX5" fmla="*/ 387244 w 387244"/>
                <a:gd name="connsiteY5" fmla="*/ 85496 h 387244"/>
                <a:gd name="connsiteX6" fmla="*/ 387244 w 387244"/>
                <a:gd name="connsiteY6" fmla="*/ 173051 h 387244"/>
                <a:gd name="connsiteX7" fmla="*/ 371484 w 387244"/>
                <a:gd name="connsiteY7" fmla="*/ 173051 h 387244"/>
                <a:gd name="connsiteX8" fmla="*/ 351801 w 387244"/>
                <a:gd name="connsiteY8" fmla="*/ 192734 h 387244"/>
                <a:gd name="connsiteX9" fmla="*/ 351801 w 387244"/>
                <a:gd name="connsiteY9" fmla="*/ 223857 h 387244"/>
                <a:gd name="connsiteX10" fmla="*/ 371484 w 387244"/>
                <a:gd name="connsiteY10" fmla="*/ 243540 h 387244"/>
                <a:gd name="connsiteX11" fmla="*/ 387244 w 387244"/>
                <a:gd name="connsiteY11" fmla="*/ 243540 h 387244"/>
                <a:gd name="connsiteX12" fmla="*/ 387244 w 387244"/>
                <a:gd name="connsiteY12" fmla="*/ 387244 h 387244"/>
                <a:gd name="connsiteX0" fmla="*/ 0 w 387244"/>
                <a:gd name="connsiteY0" fmla="*/ 36394 h 243540"/>
                <a:gd name="connsiteX1" fmla="*/ 202439 w 387244"/>
                <a:gd name="connsiteY1" fmla="*/ 36394 h 243540"/>
                <a:gd name="connsiteX2" fmla="*/ 216722 w 387244"/>
                <a:gd name="connsiteY2" fmla="*/ 22111 h 243540"/>
                <a:gd name="connsiteX3" fmla="*/ 216722 w 387244"/>
                <a:gd name="connsiteY3" fmla="*/ 0 h 243540"/>
                <a:gd name="connsiteX4" fmla="*/ 301748 w 387244"/>
                <a:gd name="connsiteY4" fmla="*/ 0 h 243540"/>
                <a:gd name="connsiteX5" fmla="*/ 387244 w 387244"/>
                <a:gd name="connsiteY5" fmla="*/ 85496 h 243540"/>
                <a:gd name="connsiteX6" fmla="*/ 387244 w 387244"/>
                <a:gd name="connsiteY6" fmla="*/ 173051 h 243540"/>
                <a:gd name="connsiteX7" fmla="*/ 371484 w 387244"/>
                <a:gd name="connsiteY7" fmla="*/ 173051 h 243540"/>
                <a:gd name="connsiteX8" fmla="*/ 351801 w 387244"/>
                <a:gd name="connsiteY8" fmla="*/ 192734 h 243540"/>
                <a:gd name="connsiteX9" fmla="*/ 351801 w 387244"/>
                <a:gd name="connsiteY9" fmla="*/ 223857 h 243540"/>
                <a:gd name="connsiteX10" fmla="*/ 371484 w 387244"/>
                <a:gd name="connsiteY10" fmla="*/ 243540 h 243540"/>
                <a:gd name="connsiteX11" fmla="*/ 387244 w 387244"/>
                <a:gd name="connsiteY11" fmla="*/ 243540 h 243540"/>
                <a:gd name="connsiteX0" fmla="*/ 0 w 387244"/>
                <a:gd name="connsiteY0" fmla="*/ 36394 h 243540"/>
                <a:gd name="connsiteX1" fmla="*/ 202439 w 387244"/>
                <a:gd name="connsiteY1" fmla="*/ 36394 h 243540"/>
                <a:gd name="connsiteX2" fmla="*/ 216722 w 387244"/>
                <a:gd name="connsiteY2" fmla="*/ 22111 h 243540"/>
                <a:gd name="connsiteX3" fmla="*/ 216722 w 387244"/>
                <a:gd name="connsiteY3" fmla="*/ 0 h 243540"/>
                <a:gd name="connsiteX4" fmla="*/ 301748 w 387244"/>
                <a:gd name="connsiteY4" fmla="*/ 0 h 243540"/>
                <a:gd name="connsiteX5" fmla="*/ 387244 w 387244"/>
                <a:gd name="connsiteY5" fmla="*/ 85496 h 243540"/>
                <a:gd name="connsiteX6" fmla="*/ 387244 w 387244"/>
                <a:gd name="connsiteY6" fmla="*/ 173051 h 243540"/>
                <a:gd name="connsiteX7" fmla="*/ 371484 w 387244"/>
                <a:gd name="connsiteY7" fmla="*/ 173051 h 243540"/>
                <a:gd name="connsiteX8" fmla="*/ 351801 w 387244"/>
                <a:gd name="connsiteY8" fmla="*/ 192734 h 243540"/>
                <a:gd name="connsiteX9" fmla="*/ 351801 w 387244"/>
                <a:gd name="connsiteY9" fmla="*/ 223857 h 243540"/>
                <a:gd name="connsiteX10" fmla="*/ 371484 w 387244"/>
                <a:gd name="connsiteY10" fmla="*/ 243540 h 243540"/>
                <a:gd name="connsiteX0" fmla="*/ 0 w 387244"/>
                <a:gd name="connsiteY0" fmla="*/ 36394 h 223857"/>
                <a:gd name="connsiteX1" fmla="*/ 202439 w 387244"/>
                <a:gd name="connsiteY1" fmla="*/ 36394 h 223857"/>
                <a:gd name="connsiteX2" fmla="*/ 216722 w 387244"/>
                <a:gd name="connsiteY2" fmla="*/ 22111 h 223857"/>
                <a:gd name="connsiteX3" fmla="*/ 216722 w 387244"/>
                <a:gd name="connsiteY3" fmla="*/ 0 h 223857"/>
                <a:gd name="connsiteX4" fmla="*/ 301748 w 387244"/>
                <a:gd name="connsiteY4" fmla="*/ 0 h 223857"/>
                <a:gd name="connsiteX5" fmla="*/ 387244 w 387244"/>
                <a:gd name="connsiteY5" fmla="*/ 85496 h 223857"/>
                <a:gd name="connsiteX6" fmla="*/ 387244 w 387244"/>
                <a:gd name="connsiteY6" fmla="*/ 173051 h 223857"/>
                <a:gd name="connsiteX7" fmla="*/ 371484 w 387244"/>
                <a:gd name="connsiteY7" fmla="*/ 173051 h 223857"/>
                <a:gd name="connsiteX8" fmla="*/ 351801 w 387244"/>
                <a:gd name="connsiteY8" fmla="*/ 192734 h 223857"/>
                <a:gd name="connsiteX9" fmla="*/ 351801 w 387244"/>
                <a:gd name="connsiteY9" fmla="*/ 223857 h 223857"/>
                <a:gd name="connsiteX0" fmla="*/ 0 w 387244"/>
                <a:gd name="connsiteY0" fmla="*/ 36394 h 192734"/>
                <a:gd name="connsiteX1" fmla="*/ 202439 w 387244"/>
                <a:gd name="connsiteY1" fmla="*/ 36394 h 192734"/>
                <a:gd name="connsiteX2" fmla="*/ 216722 w 387244"/>
                <a:gd name="connsiteY2" fmla="*/ 22111 h 192734"/>
                <a:gd name="connsiteX3" fmla="*/ 216722 w 387244"/>
                <a:gd name="connsiteY3" fmla="*/ 0 h 192734"/>
                <a:gd name="connsiteX4" fmla="*/ 301748 w 387244"/>
                <a:gd name="connsiteY4" fmla="*/ 0 h 192734"/>
                <a:gd name="connsiteX5" fmla="*/ 387244 w 387244"/>
                <a:gd name="connsiteY5" fmla="*/ 85496 h 192734"/>
                <a:gd name="connsiteX6" fmla="*/ 387244 w 387244"/>
                <a:gd name="connsiteY6" fmla="*/ 173051 h 192734"/>
                <a:gd name="connsiteX7" fmla="*/ 371484 w 387244"/>
                <a:gd name="connsiteY7" fmla="*/ 173051 h 192734"/>
                <a:gd name="connsiteX8" fmla="*/ 351801 w 387244"/>
                <a:gd name="connsiteY8" fmla="*/ 192734 h 192734"/>
                <a:gd name="connsiteX0" fmla="*/ 0 w 387244"/>
                <a:gd name="connsiteY0" fmla="*/ 36394 h 173051"/>
                <a:gd name="connsiteX1" fmla="*/ 202439 w 387244"/>
                <a:gd name="connsiteY1" fmla="*/ 36394 h 173051"/>
                <a:gd name="connsiteX2" fmla="*/ 216722 w 387244"/>
                <a:gd name="connsiteY2" fmla="*/ 22111 h 173051"/>
                <a:gd name="connsiteX3" fmla="*/ 216722 w 387244"/>
                <a:gd name="connsiteY3" fmla="*/ 0 h 173051"/>
                <a:gd name="connsiteX4" fmla="*/ 301748 w 387244"/>
                <a:gd name="connsiteY4" fmla="*/ 0 h 173051"/>
                <a:gd name="connsiteX5" fmla="*/ 387244 w 387244"/>
                <a:gd name="connsiteY5" fmla="*/ 85496 h 173051"/>
                <a:gd name="connsiteX6" fmla="*/ 387244 w 387244"/>
                <a:gd name="connsiteY6" fmla="*/ 173051 h 173051"/>
                <a:gd name="connsiteX7" fmla="*/ 371484 w 387244"/>
                <a:gd name="connsiteY7" fmla="*/ 173051 h 173051"/>
                <a:gd name="connsiteX0" fmla="*/ 0 w 387244"/>
                <a:gd name="connsiteY0" fmla="*/ 36394 h 173051"/>
                <a:gd name="connsiteX1" fmla="*/ 202439 w 387244"/>
                <a:gd name="connsiteY1" fmla="*/ 36394 h 173051"/>
                <a:gd name="connsiteX2" fmla="*/ 216722 w 387244"/>
                <a:gd name="connsiteY2" fmla="*/ 22111 h 173051"/>
                <a:gd name="connsiteX3" fmla="*/ 216722 w 387244"/>
                <a:gd name="connsiteY3" fmla="*/ 0 h 173051"/>
                <a:gd name="connsiteX4" fmla="*/ 301748 w 387244"/>
                <a:gd name="connsiteY4" fmla="*/ 0 h 173051"/>
                <a:gd name="connsiteX5" fmla="*/ 387244 w 387244"/>
                <a:gd name="connsiteY5" fmla="*/ 85496 h 173051"/>
                <a:gd name="connsiteX6" fmla="*/ 387244 w 387244"/>
                <a:gd name="connsiteY6" fmla="*/ 173051 h 173051"/>
                <a:gd name="connsiteX0" fmla="*/ 0 w 184805"/>
                <a:gd name="connsiteY0" fmla="*/ 36394 h 173051"/>
                <a:gd name="connsiteX1" fmla="*/ 14283 w 184805"/>
                <a:gd name="connsiteY1" fmla="*/ 22111 h 173051"/>
                <a:gd name="connsiteX2" fmla="*/ 14283 w 184805"/>
                <a:gd name="connsiteY2" fmla="*/ 0 h 173051"/>
                <a:gd name="connsiteX3" fmla="*/ 99309 w 184805"/>
                <a:gd name="connsiteY3" fmla="*/ 0 h 173051"/>
                <a:gd name="connsiteX4" fmla="*/ 184805 w 184805"/>
                <a:gd name="connsiteY4" fmla="*/ 85496 h 173051"/>
                <a:gd name="connsiteX5" fmla="*/ 184805 w 184805"/>
                <a:gd name="connsiteY5" fmla="*/ 173051 h 173051"/>
                <a:gd name="connsiteX0" fmla="*/ 0 w 170522"/>
                <a:gd name="connsiteY0" fmla="*/ 22111 h 173051"/>
                <a:gd name="connsiteX1" fmla="*/ 0 w 170522"/>
                <a:gd name="connsiteY1" fmla="*/ 0 h 173051"/>
                <a:gd name="connsiteX2" fmla="*/ 85026 w 170522"/>
                <a:gd name="connsiteY2" fmla="*/ 0 h 173051"/>
                <a:gd name="connsiteX3" fmla="*/ 170522 w 170522"/>
                <a:gd name="connsiteY3" fmla="*/ 85496 h 173051"/>
                <a:gd name="connsiteX4" fmla="*/ 170522 w 170522"/>
                <a:gd name="connsiteY4" fmla="*/ 173051 h 173051"/>
                <a:gd name="connsiteX0" fmla="*/ 0 w 170522"/>
                <a:gd name="connsiteY0" fmla="*/ 0 h 173051"/>
                <a:gd name="connsiteX1" fmla="*/ 85026 w 170522"/>
                <a:gd name="connsiteY1" fmla="*/ 0 h 173051"/>
                <a:gd name="connsiteX2" fmla="*/ 170522 w 170522"/>
                <a:gd name="connsiteY2" fmla="*/ 85496 h 173051"/>
                <a:gd name="connsiteX3" fmla="*/ 170522 w 170522"/>
                <a:gd name="connsiteY3" fmla="*/ 173051 h 173051"/>
              </a:gdLst>
              <a:ahLst/>
              <a:cxnLst>
                <a:cxn ang="0">
                  <a:pos x="connsiteX0" y="connsiteY0"/>
                </a:cxn>
                <a:cxn ang="0">
                  <a:pos x="connsiteX1" y="connsiteY1"/>
                </a:cxn>
                <a:cxn ang="0">
                  <a:pos x="connsiteX2" y="connsiteY2"/>
                </a:cxn>
                <a:cxn ang="0">
                  <a:pos x="connsiteX3" y="connsiteY3"/>
                </a:cxn>
              </a:cxnLst>
              <a:rect l="l" t="t" r="r" b="b"/>
              <a:pathLst>
                <a:path w="170522" h="173051">
                  <a:moveTo>
                    <a:pt x="0" y="0"/>
                  </a:moveTo>
                  <a:lnTo>
                    <a:pt x="85026" y="0"/>
                  </a:lnTo>
                  <a:lnTo>
                    <a:pt x="170522" y="85496"/>
                  </a:lnTo>
                  <a:lnTo>
                    <a:pt x="170522" y="173051"/>
                  </a:lnTo>
                </a:path>
              </a:pathLst>
            </a:custGeom>
            <a:noFill/>
            <a:ln w="19050" cap="sq">
              <a:solidFill>
                <a:schemeClr val="tx2"/>
              </a:solidFill>
              <a:miter lim="800000"/>
              <a:headEnd/>
              <a:tailEnd/>
            </a:ln>
            <a:effectLst/>
          </p:spPr>
          <p:txBody>
            <a:bodyPr rot="0" spcFirstLastPara="0" vertOverflow="overflow" horzOverflow="overflow" vert="horz" wrap="square" lIns="108000" tIns="72000" rIns="108000" bIns="72000" numCol="1" spcCol="72000" rtlCol="0" fromWordArt="0" anchor="ctr" anchorCtr="0" forceAA="0" compatLnSpc="1">
              <a:prstTxWarp prst="textNoShape">
                <a:avLst/>
              </a:prstTxWarp>
              <a:noAutofit/>
            </a:bodyPr>
            <a:lstStyle/>
            <a:p>
              <a:pPr algn="ctr">
                <a:buFont typeface="Wingdings" charset="0"/>
                <a:buNone/>
              </a:pPr>
              <a:endParaRPr lang="de-DE" sz="1600" b="1" dirty="0" err="1">
                <a:solidFill>
                  <a:schemeClr val="tx1"/>
                </a:solidFill>
              </a:endParaRPr>
            </a:p>
          </p:txBody>
        </p:sp>
      </p:grpSp>
      <p:grpSp>
        <p:nvGrpSpPr>
          <p:cNvPr id="289" name="Group 288"/>
          <p:cNvGrpSpPr/>
          <p:nvPr/>
        </p:nvGrpSpPr>
        <p:grpSpPr bwMode="gray">
          <a:xfrm>
            <a:off x="8994314" y="2098153"/>
            <a:ext cx="1020227" cy="1012561"/>
            <a:chOff x="7276543" y="-1883431"/>
            <a:chExt cx="837804" cy="831511"/>
          </a:xfrm>
        </p:grpSpPr>
        <p:sp>
          <p:nvSpPr>
            <p:cNvPr id="290" name="Right Triangle 73"/>
            <p:cNvSpPr/>
            <p:nvPr/>
          </p:nvSpPr>
          <p:spPr bwMode="gray">
            <a:xfrm flipH="1">
              <a:off x="7276543" y="-1551746"/>
              <a:ext cx="837804" cy="499826"/>
            </a:xfrm>
            <a:custGeom>
              <a:avLst/>
              <a:gdLst>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70564 h 245375"/>
                <a:gd name="connsiteX12" fmla="*/ 0 w 411296"/>
                <a:gd name="connsiteY12" fmla="*/ 80556 h 245375"/>
                <a:gd name="connsiteX13" fmla="*/ 0 w 411296"/>
                <a:gd name="connsiteY13" fmla="*/ 84950 h 245375"/>
                <a:gd name="connsiteX14" fmla="*/ 0 w 411296"/>
                <a:gd name="connsiteY14" fmla="*/ 89787 h 245375"/>
                <a:gd name="connsiteX15" fmla="*/ 0 w 411296"/>
                <a:gd name="connsiteY15" fmla="*/ 224008 h 245375"/>
                <a:gd name="connsiteX16" fmla="*/ 21367 w 411296"/>
                <a:gd name="connsiteY16" fmla="*/ 245375 h 245375"/>
                <a:gd name="connsiteX17" fmla="*/ 389209 w 411296"/>
                <a:gd name="connsiteY17" fmla="*/ 245375 h 245375"/>
                <a:gd name="connsiteX18" fmla="*/ 410576 w 411296"/>
                <a:gd name="connsiteY18" fmla="*/ 224008 h 245375"/>
                <a:gd name="connsiteX19" fmla="*/ 410576 w 411296"/>
                <a:gd name="connsiteY19" fmla="*/ 89787 h 245375"/>
                <a:gd name="connsiteX20" fmla="*/ 410576 w 411296"/>
                <a:gd name="connsiteY20" fmla="*/ 84950 h 245375"/>
                <a:gd name="connsiteX21" fmla="*/ 410576 w 411296"/>
                <a:gd name="connsiteY21" fmla="*/ 81914 h 245375"/>
                <a:gd name="connsiteX22" fmla="*/ 411296 w 411296"/>
                <a:gd name="connsiteY22" fmla="*/ 81980 h 245375"/>
                <a:gd name="connsiteX23" fmla="*/ 410576 w 411296"/>
                <a:gd name="connsiteY23" fmla="*/ 80883 h 245375"/>
                <a:gd name="connsiteX24" fmla="*/ 410576 w 411296"/>
                <a:gd name="connsiteY24" fmla="*/ 80556 h 245375"/>
                <a:gd name="connsiteX25" fmla="*/ 409951 w 411296"/>
                <a:gd name="connsiteY25" fmla="*/ 79931 h 245375"/>
                <a:gd name="connsiteX26" fmla="*/ 398790 w 411296"/>
                <a:gd name="connsiteY26" fmla="*/ 62929 h 245375"/>
                <a:gd name="connsiteX27" fmla="*/ 303382 w 411296"/>
                <a:gd name="connsiteY27"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84950 h 245375"/>
                <a:gd name="connsiteX13" fmla="*/ 0 w 411296"/>
                <a:gd name="connsiteY13" fmla="*/ 89787 h 245375"/>
                <a:gd name="connsiteX14" fmla="*/ 0 w 411296"/>
                <a:gd name="connsiteY14" fmla="*/ 224008 h 245375"/>
                <a:gd name="connsiteX15" fmla="*/ 21367 w 411296"/>
                <a:gd name="connsiteY15" fmla="*/ 245375 h 245375"/>
                <a:gd name="connsiteX16" fmla="*/ 389209 w 411296"/>
                <a:gd name="connsiteY16" fmla="*/ 245375 h 245375"/>
                <a:gd name="connsiteX17" fmla="*/ 410576 w 411296"/>
                <a:gd name="connsiteY17" fmla="*/ 224008 h 245375"/>
                <a:gd name="connsiteX18" fmla="*/ 410576 w 411296"/>
                <a:gd name="connsiteY18" fmla="*/ 89787 h 245375"/>
                <a:gd name="connsiteX19" fmla="*/ 410576 w 411296"/>
                <a:gd name="connsiteY19" fmla="*/ 84950 h 245375"/>
                <a:gd name="connsiteX20" fmla="*/ 410576 w 411296"/>
                <a:gd name="connsiteY20" fmla="*/ 81914 h 245375"/>
                <a:gd name="connsiteX21" fmla="*/ 411296 w 411296"/>
                <a:gd name="connsiteY21" fmla="*/ 81980 h 245375"/>
                <a:gd name="connsiteX22" fmla="*/ 410576 w 411296"/>
                <a:gd name="connsiteY22" fmla="*/ 80883 h 245375"/>
                <a:gd name="connsiteX23" fmla="*/ 410576 w 411296"/>
                <a:gd name="connsiteY23" fmla="*/ 80556 h 245375"/>
                <a:gd name="connsiteX24" fmla="*/ 409951 w 411296"/>
                <a:gd name="connsiteY24" fmla="*/ 79931 h 245375"/>
                <a:gd name="connsiteX25" fmla="*/ 398790 w 411296"/>
                <a:gd name="connsiteY25" fmla="*/ 62929 h 245375"/>
                <a:gd name="connsiteX26" fmla="*/ 303382 w 411296"/>
                <a:gd name="connsiteY26"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84950 h 245375"/>
                <a:gd name="connsiteX13" fmla="*/ 0 w 411296"/>
                <a:gd name="connsiteY13" fmla="*/ 224008 h 245375"/>
                <a:gd name="connsiteX14" fmla="*/ 21367 w 411296"/>
                <a:gd name="connsiteY14" fmla="*/ 245375 h 245375"/>
                <a:gd name="connsiteX15" fmla="*/ 389209 w 411296"/>
                <a:gd name="connsiteY15" fmla="*/ 245375 h 245375"/>
                <a:gd name="connsiteX16" fmla="*/ 410576 w 411296"/>
                <a:gd name="connsiteY16" fmla="*/ 224008 h 245375"/>
                <a:gd name="connsiteX17" fmla="*/ 410576 w 411296"/>
                <a:gd name="connsiteY17" fmla="*/ 89787 h 245375"/>
                <a:gd name="connsiteX18" fmla="*/ 410576 w 411296"/>
                <a:gd name="connsiteY18" fmla="*/ 84950 h 245375"/>
                <a:gd name="connsiteX19" fmla="*/ 410576 w 411296"/>
                <a:gd name="connsiteY19" fmla="*/ 81914 h 245375"/>
                <a:gd name="connsiteX20" fmla="*/ 411296 w 411296"/>
                <a:gd name="connsiteY20" fmla="*/ 81980 h 245375"/>
                <a:gd name="connsiteX21" fmla="*/ 410576 w 411296"/>
                <a:gd name="connsiteY21" fmla="*/ 80883 h 245375"/>
                <a:gd name="connsiteX22" fmla="*/ 410576 w 411296"/>
                <a:gd name="connsiteY22" fmla="*/ 80556 h 245375"/>
                <a:gd name="connsiteX23" fmla="*/ 409951 w 411296"/>
                <a:gd name="connsiteY23" fmla="*/ 79931 h 245375"/>
                <a:gd name="connsiteX24" fmla="*/ 398790 w 411296"/>
                <a:gd name="connsiteY24" fmla="*/ 62929 h 245375"/>
                <a:gd name="connsiteX25" fmla="*/ 303382 w 411296"/>
                <a:gd name="connsiteY25"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9787 h 245375"/>
                <a:gd name="connsiteX17" fmla="*/ 410576 w 411296"/>
                <a:gd name="connsiteY17" fmla="*/ 84950 h 245375"/>
                <a:gd name="connsiteX18" fmla="*/ 410576 w 411296"/>
                <a:gd name="connsiteY18" fmla="*/ 81914 h 245375"/>
                <a:gd name="connsiteX19" fmla="*/ 411296 w 411296"/>
                <a:gd name="connsiteY19" fmla="*/ 81980 h 245375"/>
                <a:gd name="connsiteX20" fmla="*/ 410576 w 411296"/>
                <a:gd name="connsiteY20" fmla="*/ 80883 h 245375"/>
                <a:gd name="connsiteX21" fmla="*/ 410576 w 411296"/>
                <a:gd name="connsiteY21" fmla="*/ 80556 h 245375"/>
                <a:gd name="connsiteX22" fmla="*/ 409951 w 411296"/>
                <a:gd name="connsiteY22" fmla="*/ 79931 h 245375"/>
                <a:gd name="connsiteX23" fmla="*/ 398790 w 411296"/>
                <a:gd name="connsiteY23" fmla="*/ 62929 h 245375"/>
                <a:gd name="connsiteX24" fmla="*/ 303382 w 411296"/>
                <a:gd name="connsiteY24"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9787 h 245375"/>
                <a:gd name="connsiteX17" fmla="*/ 410576 w 411296"/>
                <a:gd name="connsiteY17" fmla="*/ 81914 h 245375"/>
                <a:gd name="connsiteX18" fmla="*/ 411296 w 411296"/>
                <a:gd name="connsiteY18" fmla="*/ 81980 h 245375"/>
                <a:gd name="connsiteX19" fmla="*/ 410576 w 411296"/>
                <a:gd name="connsiteY19" fmla="*/ 80883 h 245375"/>
                <a:gd name="connsiteX20" fmla="*/ 410576 w 411296"/>
                <a:gd name="connsiteY20" fmla="*/ 80556 h 245375"/>
                <a:gd name="connsiteX21" fmla="*/ 409951 w 411296"/>
                <a:gd name="connsiteY21" fmla="*/ 79931 h 245375"/>
                <a:gd name="connsiteX22" fmla="*/ 398790 w 411296"/>
                <a:gd name="connsiteY22" fmla="*/ 62929 h 245375"/>
                <a:gd name="connsiteX23" fmla="*/ 303382 w 411296"/>
                <a:gd name="connsiteY23"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1914 h 245375"/>
                <a:gd name="connsiteX17" fmla="*/ 411296 w 411296"/>
                <a:gd name="connsiteY17" fmla="*/ 81980 h 245375"/>
                <a:gd name="connsiteX18" fmla="*/ 410576 w 411296"/>
                <a:gd name="connsiteY18" fmla="*/ 80883 h 245375"/>
                <a:gd name="connsiteX19" fmla="*/ 410576 w 411296"/>
                <a:gd name="connsiteY19" fmla="*/ 80556 h 245375"/>
                <a:gd name="connsiteX20" fmla="*/ 409951 w 411296"/>
                <a:gd name="connsiteY20" fmla="*/ 79931 h 245375"/>
                <a:gd name="connsiteX21" fmla="*/ 398790 w 411296"/>
                <a:gd name="connsiteY21" fmla="*/ 62929 h 245375"/>
                <a:gd name="connsiteX22" fmla="*/ 303382 w 411296"/>
                <a:gd name="connsiteY22"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1914 h 245375"/>
                <a:gd name="connsiteX17" fmla="*/ 411296 w 411296"/>
                <a:gd name="connsiteY17" fmla="*/ 81980 h 245375"/>
                <a:gd name="connsiteX18" fmla="*/ 410576 w 411296"/>
                <a:gd name="connsiteY18" fmla="*/ 80883 h 245375"/>
                <a:gd name="connsiteX19" fmla="*/ 409951 w 411296"/>
                <a:gd name="connsiteY19" fmla="*/ 79931 h 245375"/>
                <a:gd name="connsiteX20" fmla="*/ 398790 w 411296"/>
                <a:gd name="connsiteY20" fmla="*/ 62929 h 245375"/>
                <a:gd name="connsiteX21" fmla="*/ 303382 w 411296"/>
                <a:gd name="connsiteY21"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1914 h 245375"/>
                <a:gd name="connsiteX17" fmla="*/ 411296 w 411296"/>
                <a:gd name="connsiteY17" fmla="*/ 81980 h 245375"/>
                <a:gd name="connsiteX18" fmla="*/ 410576 w 411296"/>
                <a:gd name="connsiteY18" fmla="*/ 80883 h 245375"/>
                <a:gd name="connsiteX19" fmla="*/ 398790 w 411296"/>
                <a:gd name="connsiteY19" fmla="*/ 62929 h 245375"/>
                <a:gd name="connsiteX20" fmla="*/ 303382 w 411296"/>
                <a:gd name="connsiteY20"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1914 h 245375"/>
                <a:gd name="connsiteX17" fmla="*/ 411296 w 411296"/>
                <a:gd name="connsiteY17" fmla="*/ 81980 h 245375"/>
                <a:gd name="connsiteX18" fmla="*/ 398790 w 411296"/>
                <a:gd name="connsiteY18" fmla="*/ 62929 h 245375"/>
                <a:gd name="connsiteX19" fmla="*/ 303382 w 411296"/>
                <a:gd name="connsiteY19" fmla="*/ 0 h 24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1296" h="245375">
                  <a:moveTo>
                    <a:pt x="303382" y="0"/>
                  </a:moveTo>
                  <a:lnTo>
                    <a:pt x="286107" y="13334"/>
                  </a:lnTo>
                  <a:lnTo>
                    <a:pt x="286107" y="51509"/>
                  </a:lnTo>
                  <a:lnTo>
                    <a:pt x="208013" y="0"/>
                  </a:lnTo>
                  <a:lnTo>
                    <a:pt x="190738" y="13334"/>
                  </a:lnTo>
                  <a:lnTo>
                    <a:pt x="190738" y="51509"/>
                  </a:lnTo>
                  <a:lnTo>
                    <a:pt x="112644" y="0"/>
                  </a:lnTo>
                  <a:lnTo>
                    <a:pt x="95369" y="13334"/>
                  </a:lnTo>
                  <a:lnTo>
                    <a:pt x="95369" y="51509"/>
                  </a:lnTo>
                  <a:lnTo>
                    <a:pt x="17275" y="0"/>
                  </a:lnTo>
                  <a:lnTo>
                    <a:pt x="0" y="13334"/>
                  </a:lnTo>
                  <a:lnTo>
                    <a:pt x="0" y="80556"/>
                  </a:lnTo>
                  <a:lnTo>
                    <a:pt x="0" y="224008"/>
                  </a:lnTo>
                  <a:lnTo>
                    <a:pt x="21367" y="245375"/>
                  </a:lnTo>
                  <a:lnTo>
                    <a:pt x="389209" y="245375"/>
                  </a:lnTo>
                  <a:lnTo>
                    <a:pt x="410576" y="224008"/>
                  </a:lnTo>
                  <a:lnTo>
                    <a:pt x="410576" y="81914"/>
                  </a:lnTo>
                  <a:lnTo>
                    <a:pt x="411296" y="81980"/>
                  </a:lnTo>
                  <a:lnTo>
                    <a:pt x="398790" y="62929"/>
                  </a:lnTo>
                  <a:lnTo>
                    <a:pt x="303382" y="0"/>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91" name="Right Triangle 73"/>
            <p:cNvSpPr/>
            <p:nvPr/>
          </p:nvSpPr>
          <p:spPr bwMode="gray">
            <a:xfrm flipH="1" flipV="1">
              <a:off x="7283929" y="-1369440"/>
              <a:ext cx="700041" cy="264511"/>
            </a:xfrm>
            <a:custGeom>
              <a:avLst/>
              <a:gdLst>
                <a:gd name="connsiteX0" fmla="*/ 738736 w 741694"/>
                <a:gd name="connsiteY0" fmla="*/ 0 h 268053"/>
                <a:gd name="connsiteX1" fmla="*/ 472098 w 741694"/>
                <a:gd name="connsiteY1" fmla="*/ 153943 h 268053"/>
                <a:gd name="connsiteX2" fmla="*/ 320171 w 741694"/>
                <a:gd name="connsiteY2" fmla="*/ 66998 h 268053"/>
                <a:gd name="connsiteX3" fmla="*/ 319792 w 741694"/>
                <a:gd name="connsiteY3" fmla="*/ 67649 h 268053"/>
                <a:gd name="connsiteX4" fmla="*/ 319312 w 741694"/>
                <a:gd name="connsiteY4" fmla="*/ 66818 h 268053"/>
                <a:gd name="connsiteX5" fmla="*/ 37302 w 741694"/>
                <a:gd name="connsiteY5" fmla="*/ 229636 h 268053"/>
                <a:gd name="connsiteX6" fmla="*/ 17815 w 741694"/>
                <a:gd name="connsiteY6" fmla="*/ 183034 h 268053"/>
                <a:gd name="connsiteX7" fmla="*/ 0 w 741694"/>
                <a:gd name="connsiteY7" fmla="*/ 268053 h 268053"/>
                <a:gd name="connsiteX8" fmla="*/ 59232 w 741694"/>
                <a:gd name="connsiteY8" fmla="*/ 267619 h 268053"/>
                <a:gd name="connsiteX9" fmla="*/ 51922 w 741694"/>
                <a:gd name="connsiteY9" fmla="*/ 254957 h 268053"/>
                <a:gd name="connsiteX10" fmla="*/ 319453 w 741694"/>
                <a:gd name="connsiteY10" fmla="*/ 100498 h 268053"/>
                <a:gd name="connsiteX11" fmla="*/ 468617 w 741694"/>
                <a:gd name="connsiteY11" fmla="*/ 185862 h 268053"/>
                <a:gd name="connsiteX12" fmla="*/ 470285 w 741694"/>
                <a:gd name="connsiteY12" fmla="*/ 188752 h 268053"/>
                <a:gd name="connsiteX13" fmla="*/ 741694 w 741694"/>
                <a:gd name="connsiteY13" fmla="*/ 32054 h 268053"/>
                <a:gd name="connsiteX14" fmla="*/ 741694 w 741694"/>
                <a:gd name="connsiteY14" fmla="*/ 5123 h 268053"/>
                <a:gd name="connsiteX15" fmla="*/ 738736 w 741694"/>
                <a:gd name="connsiteY15" fmla="*/ 0 h 268053"/>
                <a:gd name="connsiteX0" fmla="*/ 772224 w 775182"/>
                <a:gd name="connsiteY0" fmla="*/ 0 h 308781"/>
                <a:gd name="connsiteX1" fmla="*/ 505586 w 775182"/>
                <a:gd name="connsiteY1" fmla="*/ 153943 h 308781"/>
                <a:gd name="connsiteX2" fmla="*/ 353659 w 775182"/>
                <a:gd name="connsiteY2" fmla="*/ 66998 h 308781"/>
                <a:gd name="connsiteX3" fmla="*/ 353280 w 775182"/>
                <a:gd name="connsiteY3" fmla="*/ 67649 h 308781"/>
                <a:gd name="connsiteX4" fmla="*/ 352800 w 775182"/>
                <a:gd name="connsiteY4" fmla="*/ 66818 h 308781"/>
                <a:gd name="connsiteX5" fmla="*/ 70790 w 775182"/>
                <a:gd name="connsiteY5" fmla="*/ 229636 h 308781"/>
                <a:gd name="connsiteX6" fmla="*/ 51303 w 775182"/>
                <a:gd name="connsiteY6" fmla="*/ 183034 h 308781"/>
                <a:gd name="connsiteX7" fmla="*/ 0 w 775182"/>
                <a:gd name="connsiteY7" fmla="*/ 308781 h 308781"/>
                <a:gd name="connsiteX8" fmla="*/ 92720 w 775182"/>
                <a:gd name="connsiteY8" fmla="*/ 267619 h 308781"/>
                <a:gd name="connsiteX9" fmla="*/ 85410 w 775182"/>
                <a:gd name="connsiteY9" fmla="*/ 254957 h 308781"/>
                <a:gd name="connsiteX10" fmla="*/ 352941 w 775182"/>
                <a:gd name="connsiteY10" fmla="*/ 100498 h 308781"/>
                <a:gd name="connsiteX11" fmla="*/ 502105 w 775182"/>
                <a:gd name="connsiteY11" fmla="*/ 185862 h 308781"/>
                <a:gd name="connsiteX12" fmla="*/ 503773 w 775182"/>
                <a:gd name="connsiteY12" fmla="*/ 188752 h 308781"/>
                <a:gd name="connsiteX13" fmla="*/ 775182 w 775182"/>
                <a:gd name="connsiteY13" fmla="*/ 32054 h 308781"/>
                <a:gd name="connsiteX14" fmla="*/ 775182 w 775182"/>
                <a:gd name="connsiteY14" fmla="*/ 5123 h 308781"/>
                <a:gd name="connsiteX15" fmla="*/ 772224 w 775182"/>
                <a:gd name="connsiteY15" fmla="*/ 0 h 308781"/>
                <a:gd name="connsiteX0" fmla="*/ 772224 w 775182"/>
                <a:gd name="connsiteY0" fmla="*/ 0 h 308781"/>
                <a:gd name="connsiteX1" fmla="*/ 505586 w 775182"/>
                <a:gd name="connsiteY1" fmla="*/ 153943 h 308781"/>
                <a:gd name="connsiteX2" fmla="*/ 353659 w 775182"/>
                <a:gd name="connsiteY2" fmla="*/ 66998 h 308781"/>
                <a:gd name="connsiteX3" fmla="*/ 353280 w 775182"/>
                <a:gd name="connsiteY3" fmla="*/ 67649 h 308781"/>
                <a:gd name="connsiteX4" fmla="*/ 352800 w 775182"/>
                <a:gd name="connsiteY4" fmla="*/ 66818 h 308781"/>
                <a:gd name="connsiteX5" fmla="*/ 70790 w 775182"/>
                <a:gd name="connsiteY5" fmla="*/ 229636 h 308781"/>
                <a:gd name="connsiteX6" fmla="*/ 51303 w 775182"/>
                <a:gd name="connsiteY6" fmla="*/ 183034 h 308781"/>
                <a:gd name="connsiteX7" fmla="*/ 0 w 775182"/>
                <a:gd name="connsiteY7" fmla="*/ 308781 h 308781"/>
                <a:gd name="connsiteX8" fmla="*/ 92720 w 775182"/>
                <a:gd name="connsiteY8" fmla="*/ 267619 h 308781"/>
                <a:gd name="connsiteX9" fmla="*/ 88454 w 775182"/>
                <a:gd name="connsiteY9" fmla="*/ 261744 h 308781"/>
                <a:gd name="connsiteX10" fmla="*/ 352941 w 775182"/>
                <a:gd name="connsiteY10" fmla="*/ 100498 h 308781"/>
                <a:gd name="connsiteX11" fmla="*/ 502105 w 775182"/>
                <a:gd name="connsiteY11" fmla="*/ 185862 h 308781"/>
                <a:gd name="connsiteX12" fmla="*/ 503773 w 775182"/>
                <a:gd name="connsiteY12" fmla="*/ 188752 h 308781"/>
                <a:gd name="connsiteX13" fmla="*/ 775182 w 775182"/>
                <a:gd name="connsiteY13" fmla="*/ 32054 h 308781"/>
                <a:gd name="connsiteX14" fmla="*/ 775182 w 775182"/>
                <a:gd name="connsiteY14" fmla="*/ 5123 h 308781"/>
                <a:gd name="connsiteX15" fmla="*/ 772224 w 775182"/>
                <a:gd name="connsiteY15" fmla="*/ 0 h 308781"/>
                <a:gd name="connsiteX0" fmla="*/ 772224 w 775182"/>
                <a:gd name="connsiteY0" fmla="*/ 0 h 308781"/>
                <a:gd name="connsiteX1" fmla="*/ 505586 w 775182"/>
                <a:gd name="connsiteY1" fmla="*/ 153943 h 308781"/>
                <a:gd name="connsiteX2" fmla="*/ 353659 w 775182"/>
                <a:gd name="connsiteY2" fmla="*/ 66998 h 308781"/>
                <a:gd name="connsiteX3" fmla="*/ 353280 w 775182"/>
                <a:gd name="connsiteY3" fmla="*/ 67649 h 308781"/>
                <a:gd name="connsiteX4" fmla="*/ 352800 w 775182"/>
                <a:gd name="connsiteY4" fmla="*/ 66818 h 308781"/>
                <a:gd name="connsiteX5" fmla="*/ 70790 w 775182"/>
                <a:gd name="connsiteY5" fmla="*/ 229636 h 308781"/>
                <a:gd name="connsiteX6" fmla="*/ 51303 w 775182"/>
                <a:gd name="connsiteY6" fmla="*/ 183034 h 308781"/>
                <a:gd name="connsiteX7" fmla="*/ 0 w 775182"/>
                <a:gd name="connsiteY7" fmla="*/ 308781 h 308781"/>
                <a:gd name="connsiteX8" fmla="*/ 92720 w 775182"/>
                <a:gd name="connsiteY8" fmla="*/ 267619 h 308781"/>
                <a:gd name="connsiteX9" fmla="*/ 121941 w 775182"/>
                <a:gd name="connsiteY9" fmla="*/ 299078 h 308781"/>
                <a:gd name="connsiteX10" fmla="*/ 352941 w 775182"/>
                <a:gd name="connsiteY10" fmla="*/ 100498 h 308781"/>
                <a:gd name="connsiteX11" fmla="*/ 502105 w 775182"/>
                <a:gd name="connsiteY11" fmla="*/ 185862 h 308781"/>
                <a:gd name="connsiteX12" fmla="*/ 503773 w 775182"/>
                <a:gd name="connsiteY12" fmla="*/ 188752 h 308781"/>
                <a:gd name="connsiteX13" fmla="*/ 775182 w 775182"/>
                <a:gd name="connsiteY13" fmla="*/ 32054 h 308781"/>
                <a:gd name="connsiteX14" fmla="*/ 775182 w 775182"/>
                <a:gd name="connsiteY14" fmla="*/ 5123 h 308781"/>
                <a:gd name="connsiteX15" fmla="*/ 772224 w 775182"/>
                <a:gd name="connsiteY15" fmla="*/ 0 h 308781"/>
                <a:gd name="connsiteX0" fmla="*/ 772224 w 775182"/>
                <a:gd name="connsiteY0" fmla="*/ 0 h 315134"/>
                <a:gd name="connsiteX1" fmla="*/ 505586 w 775182"/>
                <a:gd name="connsiteY1" fmla="*/ 153943 h 315134"/>
                <a:gd name="connsiteX2" fmla="*/ 353659 w 775182"/>
                <a:gd name="connsiteY2" fmla="*/ 66998 h 315134"/>
                <a:gd name="connsiteX3" fmla="*/ 353280 w 775182"/>
                <a:gd name="connsiteY3" fmla="*/ 67649 h 315134"/>
                <a:gd name="connsiteX4" fmla="*/ 352800 w 775182"/>
                <a:gd name="connsiteY4" fmla="*/ 66818 h 315134"/>
                <a:gd name="connsiteX5" fmla="*/ 70790 w 775182"/>
                <a:gd name="connsiteY5" fmla="*/ 229636 h 315134"/>
                <a:gd name="connsiteX6" fmla="*/ 51303 w 775182"/>
                <a:gd name="connsiteY6" fmla="*/ 183034 h 315134"/>
                <a:gd name="connsiteX7" fmla="*/ 0 w 775182"/>
                <a:gd name="connsiteY7" fmla="*/ 308781 h 315134"/>
                <a:gd name="connsiteX8" fmla="*/ 114031 w 775182"/>
                <a:gd name="connsiteY8" fmla="*/ 315134 h 315134"/>
                <a:gd name="connsiteX9" fmla="*/ 121941 w 775182"/>
                <a:gd name="connsiteY9" fmla="*/ 299078 h 315134"/>
                <a:gd name="connsiteX10" fmla="*/ 352941 w 775182"/>
                <a:gd name="connsiteY10" fmla="*/ 100498 h 315134"/>
                <a:gd name="connsiteX11" fmla="*/ 502105 w 775182"/>
                <a:gd name="connsiteY11" fmla="*/ 185862 h 315134"/>
                <a:gd name="connsiteX12" fmla="*/ 503773 w 775182"/>
                <a:gd name="connsiteY12" fmla="*/ 188752 h 315134"/>
                <a:gd name="connsiteX13" fmla="*/ 775182 w 775182"/>
                <a:gd name="connsiteY13" fmla="*/ 32054 h 315134"/>
                <a:gd name="connsiteX14" fmla="*/ 775182 w 775182"/>
                <a:gd name="connsiteY14" fmla="*/ 5123 h 315134"/>
                <a:gd name="connsiteX15" fmla="*/ 772224 w 775182"/>
                <a:gd name="connsiteY15" fmla="*/ 0 h 315134"/>
                <a:gd name="connsiteX0" fmla="*/ 772224 w 775182"/>
                <a:gd name="connsiteY0" fmla="*/ 0 h 315134"/>
                <a:gd name="connsiteX1" fmla="*/ 505586 w 775182"/>
                <a:gd name="connsiteY1" fmla="*/ 153943 h 315134"/>
                <a:gd name="connsiteX2" fmla="*/ 353659 w 775182"/>
                <a:gd name="connsiteY2" fmla="*/ 66998 h 315134"/>
                <a:gd name="connsiteX3" fmla="*/ 353280 w 775182"/>
                <a:gd name="connsiteY3" fmla="*/ 67649 h 315134"/>
                <a:gd name="connsiteX4" fmla="*/ 352800 w 775182"/>
                <a:gd name="connsiteY4" fmla="*/ 66818 h 315134"/>
                <a:gd name="connsiteX5" fmla="*/ 70790 w 775182"/>
                <a:gd name="connsiteY5" fmla="*/ 229636 h 315134"/>
                <a:gd name="connsiteX6" fmla="*/ 51303 w 775182"/>
                <a:gd name="connsiteY6" fmla="*/ 183034 h 315134"/>
                <a:gd name="connsiteX7" fmla="*/ 0 w 775182"/>
                <a:gd name="connsiteY7" fmla="*/ 308781 h 315134"/>
                <a:gd name="connsiteX8" fmla="*/ 114031 w 775182"/>
                <a:gd name="connsiteY8" fmla="*/ 315134 h 315134"/>
                <a:gd name="connsiteX9" fmla="*/ 82365 w 775182"/>
                <a:gd name="connsiteY9" fmla="*/ 265138 h 315134"/>
                <a:gd name="connsiteX10" fmla="*/ 352941 w 775182"/>
                <a:gd name="connsiteY10" fmla="*/ 100498 h 315134"/>
                <a:gd name="connsiteX11" fmla="*/ 502105 w 775182"/>
                <a:gd name="connsiteY11" fmla="*/ 185862 h 315134"/>
                <a:gd name="connsiteX12" fmla="*/ 503773 w 775182"/>
                <a:gd name="connsiteY12" fmla="*/ 188752 h 315134"/>
                <a:gd name="connsiteX13" fmla="*/ 775182 w 775182"/>
                <a:gd name="connsiteY13" fmla="*/ 32054 h 315134"/>
                <a:gd name="connsiteX14" fmla="*/ 775182 w 775182"/>
                <a:gd name="connsiteY14" fmla="*/ 5123 h 315134"/>
                <a:gd name="connsiteX15" fmla="*/ 772224 w 775182"/>
                <a:gd name="connsiteY15" fmla="*/ 0 h 315134"/>
                <a:gd name="connsiteX0" fmla="*/ 772224 w 775182"/>
                <a:gd name="connsiteY0" fmla="*/ 0 h 315134"/>
                <a:gd name="connsiteX1" fmla="*/ 505586 w 775182"/>
                <a:gd name="connsiteY1" fmla="*/ 153943 h 315134"/>
                <a:gd name="connsiteX2" fmla="*/ 353659 w 775182"/>
                <a:gd name="connsiteY2" fmla="*/ 66998 h 315134"/>
                <a:gd name="connsiteX3" fmla="*/ 353280 w 775182"/>
                <a:gd name="connsiteY3" fmla="*/ 67649 h 315134"/>
                <a:gd name="connsiteX4" fmla="*/ 352800 w 775182"/>
                <a:gd name="connsiteY4" fmla="*/ 66818 h 315134"/>
                <a:gd name="connsiteX5" fmla="*/ 70790 w 775182"/>
                <a:gd name="connsiteY5" fmla="*/ 229636 h 315134"/>
                <a:gd name="connsiteX6" fmla="*/ 51303 w 775182"/>
                <a:gd name="connsiteY6" fmla="*/ 183034 h 315134"/>
                <a:gd name="connsiteX7" fmla="*/ 0 w 775182"/>
                <a:gd name="connsiteY7" fmla="*/ 308781 h 315134"/>
                <a:gd name="connsiteX8" fmla="*/ 114031 w 775182"/>
                <a:gd name="connsiteY8" fmla="*/ 315134 h 315134"/>
                <a:gd name="connsiteX9" fmla="*/ 79321 w 775182"/>
                <a:gd name="connsiteY9" fmla="*/ 251562 h 315134"/>
                <a:gd name="connsiteX10" fmla="*/ 352941 w 775182"/>
                <a:gd name="connsiteY10" fmla="*/ 100498 h 315134"/>
                <a:gd name="connsiteX11" fmla="*/ 502105 w 775182"/>
                <a:gd name="connsiteY11" fmla="*/ 185862 h 315134"/>
                <a:gd name="connsiteX12" fmla="*/ 503773 w 775182"/>
                <a:gd name="connsiteY12" fmla="*/ 188752 h 315134"/>
                <a:gd name="connsiteX13" fmla="*/ 775182 w 775182"/>
                <a:gd name="connsiteY13" fmla="*/ 32054 h 315134"/>
                <a:gd name="connsiteX14" fmla="*/ 775182 w 775182"/>
                <a:gd name="connsiteY14" fmla="*/ 5123 h 315134"/>
                <a:gd name="connsiteX15" fmla="*/ 772224 w 775182"/>
                <a:gd name="connsiteY15" fmla="*/ 0 h 315134"/>
                <a:gd name="connsiteX0" fmla="*/ 772224 w 775182"/>
                <a:gd name="connsiteY0" fmla="*/ 0 h 315134"/>
                <a:gd name="connsiteX1" fmla="*/ 505586 w 775182"/>
                <a:gd name="connsiteY1" fmla="*/ 153943 h 315134"/>
                <a:gd name="connsiteX2" fmla="*/ 353659 w 775182"/>
                <a:gd name="connsiteY2" fmla="*/ 66998 h 315134"/>
                <a:gd name="connsiteX3" fmla="*/ 353280 w 775182"/>
                <a:gd name="connsiteY3" fmla="*/ 67649 h 315134"/>
                <a:gd name="connsiteX4" fmla="*/ 352800 w 775182"/>
                <a:gd name="connsiteY4" fmla="*/ 66818 h 315134"/>
                <a:gd name="connsiteX5" fmla="*/ 70790 w 775182"/>
                <a:gd name="connsiteY5" fmla="*/ 229636 h 315134"/>
                <a:gd name="connsiteX6" fmla="*/ 51303 w 775182"/>
                <a:gd name="connsiteY6" fmla="*/ 183034 h 315134"/>
                <a:gd name="connsiteX7" fmla="*/ 0 w 775182"/>
                <a:gd name="connsiteY7" fmla="*/ 308781 h 315134"/>
                <a:gd name="connsiteX8" fmla="*/ 114031 w 775182"/>
                <a:gd name="connsiteY8" fmla="*/ 315134 h 315134"/>
                <a:gd name="connsiteX9" fmla="*/ 82365 w 775182"/>
                <a:gd name="connsiteY9" fmla="*/ 261744 h 315134"/>
                <a:gd name="connsiteX10" fmla="*/ 352941 w 775182"/>
                <a:gd name="connsiteY10" fmla="*/ 100498 h 315134"/>
                <a:gd name="connsiteX11" fmla="*/ 502105 w 775182"/>
                <a:gd name="connsiteY11" fmla="*/ 185862 h 315134"/>
                <a:gd name="connsiteX12" fmla="*/ 503773 w 775182"/>
                <a:gd name="connsiteY12" fmla="*/ 188752 h 315134"/>
                <a:gd name="connsiteX13" fmla="*/ 775182 w 775182"/>
                <a:gd name="connsiteY13" fmla="*/ 32054 h 315134"/>
                <a:gd name="connsiteX14" fmla="*/ 775182 w 775182"/>
                <a:gd name="connsiteY14" fmla="*/ 5123 h 315134"/>
                <a:gd name="connsiteX15" fmla="*/ 772224 w 775182"/>
                <a:gd name="connsiteY15" fmla="*/ 0 h 315134"/>
                <a:gd name="connsiteX0" fmla="*/ 772224 w 775182"/>
                <a:gd name="connsiteY0" fmla="*/ 0 h 315134"/>
                <a:gd name="connsiteX1" fmla="*/ 505586 w 775182"/>
                <a:gd name="connsiteY1" fmla="*/ 153943 h 315134"/>
                <a:gd name="connsiteX2" fmla="*/ 353659 w 775182"/>
                <a:gd name="connsiteY2" fmla="*/ 66998 h 315134"/>
                <a:gd name="connsiteX3" fmla="*/ 353280 w 775182"/>
                <a:gd name="connsiteY3" fmla="*/ 67649 h 315134"/>
                <a:gd name="connsiteX4" fmla="*/ 352800 w 775182"/>
                <a:gd name="connsiteY4" fmla="*/ 66818 h 315134"/>
                <a:gd name="connsiteX5" fmla="*/ 70790 w 775182"/>
                <a:gd name="connsiteY5" fmla="*/ 229636 h 315134"/>
                <a:gd name="connsiteX6" fmla="*/ 39126 w 775182"/>
                <a:gd name="connsiteY6" fmla="*/ 186428 h 315134"/>
                <a:gd name="connsiteX7" fmla="*/ 0 w 775182"/>
                <a:gd name="connsiteY7" fmla="*/ 308781 h 315134"/>
                <a:gd name="connsiteX8" fmla="*/ 114031 w 775182"/>
                <a:gd name="connsiteY8" fmla="*/ 315134 h 315134"/>
                <a:gd name="connsiteX9" fmla="*/ 82365 w 775182"/>
                <a:gd name="connsiteY9" fmla="*/ 261744 h 315134"/>
                <a:gd name="connsiteX10" fmla="*/ 352941 w 775182"/>
                <a:gd name="connsiteY10" fmla="*/ 100498 h 315134"/>
                <a:gd name="connsiteX11" fmla="*/ 502105 w 775182"/>
                <a:gd name="connsiteY11" fmla="*/ 185862 h 315134"/>
                <a:gd name="connsiteX12" fmla="*/ 503773 w 775182"/>
                <a:gd name="connsiteY12" fmla="*/ 188752 h 315134"/>
                <a:gd name="connsiteX13" fmla="*/ 775182 w 775182"/>
                <a:gd name="connsiteY13" fmla="*/ 32054 h 315134"/>
                <a:gd name="connsiteX14" fmla="*/ 775182 w 775182"/>
                <a:gd name="connsiteY14" fmla="*/ 5123 h 315134"/>
                <a:gd name="connsiteX15" fmla="*/ 772224 w 775182"/>
                <a:gd name="connsiteY15" fmla="*/ 0 h 315134"/>
                <a:gd name="connsiteX0" fmla="*/ 781357 w 784315"/>
                <a:gd name="connsiteY0" fmla="*/ 0 h 322357"/>
                <a:gd name="connsiteX1" fmla="*/ 514719 w 784315"/>
                <a:gd name="connsiteY1" fmla="*/ 153943 h 322357"/>
                <a:gd name="connsiteX2" fmla="*/ 362792 w 784315"/>
                <a:gd name="connsiteY2" fmla="*/ 66998 h 322357"/>
                <a:gd name="connsiteX3" fmla="*/ 362413 w 784315"/>
                <a:gd name="connsiteY3" fmla="*/ 67649 h 322357"/>
                <a:gd name="connsiteX4" fmla="*/ 361933 w 784315"/>
                <a:gd name="connsiteY4" fmla="*/ 66818 h 322357"/>
                <a:gd name="connsiteX5" fmla="*/ 79923 w 784315"/>
                <a:gd name="connsiteY5" fmla="*/ 229636 h 322357"/>
                <a:gd name="connsiteX6" fmla="*/ 48259 w 784315"/>
                <a:gd name="connsiteY6" fmla="*/ 186428 h 322357"/>
                <a:gd name="connsiteX7" fmla="*/ 0 w 784315"/>
                <a:gd name="connsiteY7" fmla="*/ 322357 h 322357"/>
                <a:gd name="connsiteX8" fmla="*/ 123164 w 784315"/>
                <a:gd name="connsiteY8" fmla="*/ 315134 h 322357"/>
                <a:gd name="connsiteX9" fmla="*/ 91498 w 784315"/>
                <a:gd name="connsiteY9" fmla="*/ 261744 h 322357"/>
                <a:gd name="connsiteX10" fmla="*/ 362074 w 784315"/>
                <a:gd name="connsiteY10" fmla="*/ 100498 h 322357"/>
                <a:gd name="connsiteX11" fmla="*/ 511238 w 784315"/>
                <a:gd name="connsiteY11" fmla="*/ 185862 h 322357"/>
                <a:gd name="connsiteX12" fmla="*/ 512906 w 784315"/>
                <a:gd name="connsiteY12" fmla="*/ 188752 h 322357"/>
                <a:gd name="connsiteX13" fmla="*/ 784315 w 784315"/>
                <a:gd name="connsiteY13" fmla="*/ 32054 h 322357"/>
                <a:gd name="connsiteX14" fmla="*/ 784315 w 784315"/>
                <a:gd name="connsiteY14" fmla="*/ 5123 h 322357"/>
                <a:gd name="connsiteX15" fmla="*/ 781357 w 784315"/>
                <a:gd name="connsiteY15" fmla="*/ 0 h 322357"/>
                <a:gd name="connsiteX0" fmla="*/ 781357 w 784315"/>
                <a:gd name="connsiteY0" fmla="*/ 0 h 322357"/>
                <a:gd name="connsiteX1" fmla="*/ 514719 w 784315"/>
                <a:gd name="connsiteY1" fmla="*/ 153943 h 322357"/>
                <a:gd name="connsiteX2" fmla="*/ 362792 w 784315"/>
                <a:gd name="connsiteY2" fmla="*/ 66998 h 322357"/>
                <a:gd name="connsiteX3" fmla="*/ 362413 w 784315"/>
                <a:gd name="connsiteY3" fmla="*/ 67649 h 322357"/>
                <a:gd name="connsiteX4" fmla="*/ 361933 w 784315"/>
                <a:gd name="connsiteY4" fmla="*/ 66818 h 322357"/>
                <a:gd name="connsiteX5" fmla="*/ 79923 w 784315"/>
                <a:gd name="connsiteY5" fmla="*/ 229636 h 322357"/>
                <a:gd name="connsiteX6" fmla="*/ 48259 w 784315"/>
                <a:gd name="connsiteY6" fmla="*/ 186428 h 322357"/>
                <a:gd name="connsiteX7" fmla="*/ 0 w 784315"/>
                <a:gd name="connsiteY7" fmla="*/ 322357 h 322357"/>
                <a:gd name="connsiteX8" fmla="*/ 123164 w 784315"/>
                <a:gd name="connsiteY8" fmla="*/ 315134 h 322357"/>
                <a:gd name="connsiteX9" fmla="*/ 103675 w 784315"/>
                <a:gd name="connsiteY9" fmla="*/ 268532 h 322357"/>
                <a:gd name="connsiteX10" fmla="*/ 362074 w 784315"/>
                <a:gd name="connsiteY10" fmla="*/ 100498 h 322357"/>
                <a:gd name="connsiteX11" fmla="*/ 511238 w 784315"/>
                <a:gd name="connsiteY11" fmla="*/ 185862 h 322357"/>
                <a:gd name="connsiteX12" fmla="*/ 512906 w 784315"/>
                <a:gd name="connsiteY12" fmla="*/ 188752 h 322357"/>
                <a:gd name="connsiteX13" fmla="*/ 784315 w 784315"/>
                <a:gd name="connsiteY13" fmla="*/ 32054 h 322357"/>
                <a:gd name="connsiteX14" fmla="*/ 784315 w 784315"/>
                <a:gd name="connsiteY14" fmla="*/ 5123 h 322357"/>
                <a:gd name="connsiteX15" fmla="*/ 781357 w 784315"/>
                <a:gd name="connsiteY15" fmla="*/ 0 h 322357"/>
                <a:gd name="connsiteX0" fmla="*/ 781357 w 784315"/>
                <a:gd name="connsiteY0" fmla="*/ 0 h 322357"/>
                <a:gd name="connsiteX1" fmla="*/ 514719 w 784315"/>
                <a:gd name="connsiteY1" fmla="*/ 153943 h 322357"/>
                <a:gd name="connsiteX2" fmla="*/ 362792 w 784315"/>
                <a:gd name="connsiteY2" fmla="*/ 66998 h 322357"/>
                <a:gd name="connsiteX3" fmla="*/ 362413 w 784315"/>
                <a:gd name="connsiteY3" fmla="*/ 67649 h 322357"/>
                <a:gd name="connsiteX4" fmla="*/ 361933 w 784315"/>
                <a:gd name="connsiteY4" fmla="*/ 66818 h 322357"/>
                <a:gd name="connsiteX5" fmla="*/ 73834 w 784315"/>
                <a:gd name="connsiteY5" fmla="*/ 226242 h 322357"/>
                <a:gd name="connsiteX6" fmla="*/ 48259 w 784315"/>
                <a:gd name="connsiteY6" fmla="*/ 186428 h 322357"/>
                <a:gd name="connsiteX7" fmla="*/ 0 w 784315"/>
                <a:gd name="connsiteY7" fmla="*/ 322357 h 322357"/>
                <a:gd name="connsiteX8" fmla="*/ 123164 w 784315"/>
                <a:gd name="connsiteY8" fmla="*/ 315134 h 322357"/>
                <a:gd name="connsiteX9" fmla="*/ 103675 w 784315"/>
                <a:gd name="connsiteY9" fmla="*/ 268532 h 322357"/>
                <a:gd name="connsiteX10" fmla="*/ 362074 w 784315"/>
                <a:gd name="connsiteY10" fmla="*/ 100498 h 322357"/>
                <a:gd name="connsiteX11" fmla="*/ 511238 w 784315"/>
                <a:gd name="connsiteY11" fmla="*/ 185862 h 322357"/>
                <a:gd name="connsiteX12" fmla="*/ 512906 w 784315"/>
                <a:gd name="connsiteY12" fmla="*/ 188752 h 322357"/>
                <a:gd name="connsiteX13" fmla="*/ 784315 w 784315"/>
                <a:gd name="connsiteY13" fmla="*/ 32054 h 322357"/>
                <a:gd name="connsiteX14" fmla="*/ 784315 w 784315"/>
                <a:gd name="connsiteY14" fmla="*/ 5123 h 322357"/>
                <a:gd name="connsiteX15" fmla="*/ 781357 w 784315"/>
                <a:gd name="connsiteY15" fmla="*/ 0 h 322357"/>
                <a:gd name="connsiteX0" fmla="*/ 781357 w 784315"/>
                <a:gd name="connsiteY0" fmla="*/ 0 h 322357"/>
                <a:gd name="connsiteX1" fmla="*/ 514719 w 784315"/>
                <a:gd name="connsiteY1" fmla="*/ 153943 h 322357"/>
                <a:gd name="connsiteX2" fmla="*/ 362792 w 784315"/>
                <a:gd name="connsiteY2" fmla="*/ 66998 h 322357"/>
                <a:gd name="connsiteX3" fmla="*/ 362413 w 784315"/>
                <a:gd name="connsiteY3" fmla="*/ 67649 h 322357"/>
                <a:gd name="connsiteX4" fmla="*/ 352800 w 784315"/>
                <a:gd name="connsiteY4" fmla="*/ 46454 h 322357"/>
                <a:gd name="connsiteX5" fmla="*/ 73834 w 784315"/>
                <a:gd name="connsiteY5" fmla="*/ 226242 h 322357"/>
                <a:gd name="connsiteX6" fmla="*/ 48259 w 784315"/>
                <a:gd name="connsiteY6" fmla="*/ 186428 h 322357"/>
                <a:gd name="connsiteX7" fmla="*/ 0 w 784315"/>
                <a:gd name="connsiteY7" fmla="*/ 322357 h 322357"/>
                <a:gd name="connsiteX8" fmla="*/ 123164 w 784315"/>
                <a:gd name="connsiteY8" fmla="*/ 315134 h 322357"/>
                <a:gd name="connsiteX9" fmla="*/ 103675 w 784315"/>
                <a:gd name="connsiteY9" fmla="*/ 268532 h 322357"/>
                <a:gd name="connsiteX10" fmla="*/ 362074 w 784315"/>
                <a:gd name="connsiteY10" fmla="*/ 100498 h 322357"/>
                <a:gd name="connsiteX11" fmla="*/ 511238 w 784315"/>
                <a:gd name="connsiteY11" fmla="*/ 185862 h 322357"/>
                <a:gd name="connsiteX12" fmla="*/ 512906 w 784315"/>
                <a:gd name="connsiteY12" fmla="*/ 188752 h 322357"/>
                <a:gd name="connsiteX13" fmla="*/ 784315 w 784315"/>
                <a:gd name="connsiteY13" fmla="*/ 32054 h 322357"/>
                <a:gd name="connsiteX14" fmla="*/ 784315 w 784315"/>
                <a:gd name="connsiteY14" fmla="*/ 5123 h 322357"/>
                <a:gd name="connsiteX15" fmla="*/ 781357 w 784315"/>
                <a:gd name="connsiteY15" fmla="*/ 0 h 322357"/>
                <a:gd name="connsiteX0" fmla="*/ 781357 w 784315"/>
                <a:gd name="connsiteY0" fmla="*/ 0 h 322357"/>
                <a:gd name="connsiteX1" fmla="*/ 514719 w 784315"/>
                <a:gd name="connsiteY1" fmla="*/ 153943 h 322357"/>
                <a:gd name="connsiteX2" fmla="*/ 362792 w 784315"/>
                <a:gd name="connsiteY2" fmla="*/ 66998 h 322357"/>
                <a:gd name="connsiteX3" fmla="*/ 352800 w 784315"/>
                <a:gd name="connsiteY3" fmla="*/ 46454 h 322357"/>
                <a:gd name="connsiteX4" fmla="*/ 73834 w 784315"/>
                <a:gd name="connsiteY4" fmla="*/ 226242 h 322357"/>
                <a:gd name="connsiteX5" fmla="*/ 48259 w 784315"/>
                <a:gd name="connsiteY5" fmla="*/ 186428 h 322357"/>
                <a:gd name="connsiteX6" fmla="*/ 0 w 784315"/>
                <a:gd name="connsiteY6" fmla="*/ 322357 h 322357"/>
                <a:gd name="connsiteX7" fmla="*/ 123164 w 784315"/>
                <a:gd name="connsiteY7" fmla="*/ 315134 h 322357"/>
                <a:gd name="connsiteX8" fmla="*/ 103675 w 784315"/>
                <a:gd name="connsiteY8" fmla="*/ 268532 h 322357"/>
                <a:gd name="connsiteX9" fmla="*/ 362074 w 784315"/>
                <a:gd name="connsiteY9" fmla="*/ 100498 h 322357"/>
                <a:gd name="connsiteX10" fmla="*/ 511238 w 784315"/>
                <a:gd name="connsiteY10" fmla="*/ 185862 h 322357"/>
                <a:gd name="connsiteX11" fmla="*/ 512906 w 784315"/>
                <a:gd name="connsiteY11" fmla="*/ 188752 h 322357"/>
                <a:gd name="connsiteX12" fmla="*/ 784315 w 784315"/>
                <a:gd name="connsiteY12" fmla="*/ 32054 h 322357"/>
                <a:gd name="connsiteX13" fmla="*/ 784315 w 784315"/>
                <a:gd name="connsiteY13" fmla="*/ 5123 h 322357"/>
                <a:gd name="connsiteX14" fmla="*/ 781357 w 784315"/>
                <a:gd name="connsiteY14" fmla="*/ 0 h 322357"/>
                <a:gd name="connsiteX0" fmla="*/ 781357 w 784315"/>
                <a:gd name="connsiteY0" fmla="*/ 0 h 322357"/>
                <a:gd name="connsiteX1" fmla="*/ 514719 w 784315"/>
                <a:gd name="connsiteY1" fmla="*/ 153943 h 322357"/>
                <a:gd name="connsiteX2" fmla="*/ 352800 w 784315"/>
                <a:gd name="connsiteY2" fmla="*/ 46454 h 322357"/>
                <a:gd name="connsiteX3" fmla="*/ 73834 w 784315"/>
                <a:gd name="connsiteY3" fmla="*/ 226242 h 322357"/>
                <a:gd name="connsiteX4" fmla="*/ 48259 w 784315"/>
                <a:gd name="connsiteY4" fmla="*/ 186428 h 322357"/>
                <a:gd name="connsiteX5" fmla="*/ 0 w 784315"/>
                <a:gd name="connsiteY5" fmla="*/ 322357 h 322357"/>
                <a:gd name="connsiteX6" fmla="*/ 123164 w 784315"/>
                <a:gd name="connsiteY6" fmla="*/ 315134 h 322357"/>
                <a:gd name="connsiteX7" fmla="*/ 103675 w 784315"/>
                <a:gd name="connsiteY7" fmla="*/ 268532 h 322357"/>
                <a:gd name="connsiteX8" fmla="*/ 362074 w 784315"/>
                <a:gd name="connsiteY8" fmla="*/ 100498 h 322357"/>
                <a:gd name="connsiteX9" fmla="*/ 511238 w 784315"/>
                <a:gd name="connsiteY9" fmla="*/ 185862 h 322357"/>
                <a:gd name="connsiteX10" fmla="*/ 512906 w 784315"/>
                <a:gd name="connsiteY10" fmla="*/ 188752 h 322357"/>
                <a:gd name="connsiteX11" fmla="*/ 784315 w 784315"/>
                <a:gd name="connsiteY11" fmla="*/ 32054 h 322357"/>
                <a:gd name="connsiteX12" fmla="*/ 784315 w 784315"/>
                <a:gd name="connsiteY12" fmla="*/ 5123 h 322357"/>
                <a:gd name="connsiteX13" fmla="*/ 781357 w 784315"/>
                <a:gd name="connsiteY13" fmla="*/ 0 h 322357"/>
                <a:gd name="connsiteX0" fmla="*/ 781357 w 784315"/>
                <a:gd name="connsiteY0" fmla="*/ 0 h 322357"/>
                <a:gd name="connsiteX1" fmla="*/ 514719 w 784315"/>
                <a:gd name="connsiteY1" fmla="*/ 153943 h 322357"/>
                <a:gd name="connsiteX2" fmla="*/ 352800 w 784315"/>
                <a:gd name="connsiteY2" fmla="*/ 46454 h 322357"/>
                <a:gd name="connsiteX3" fmla="*/ 73834 w 784315"/>
                <a:gd name="connsiteY3" fmla="*/ 226242 h 322357"/>
                <a:gd name="connsiteX4" fmla="*/ 48259 w 784315"/>
                <a:gd name="connsiteY4" fmla="*/ 186428 h 322357"/>
                <a:gd name="connsiteX5" fmla="*/ 0 w 784315"/>
                <a:gd name="connsiteY5" fmla="*/ 322357 h 322357"/>
                <a:gd name="connsiteX6" fmla="*/ 123164 w 784315"/>
                <a:gd name="connsiteY6" fmla="*/ 315134 h 322357"/>
                <a:gd name="connsiteX7" fmla="*/ 103675 w 784315"/>
                <a:gd name="connsiteY7" fmla="*/ 268532 h 322357"/>
                <a:gd name="connsiteX8" fmla="*/ 362074 w 784315"/>
                <a:gd name="connsiteY8" fmla="*/ 100498 h 322357"/>
                <a:gd name="connsiteX9" fmla="*/ 511238 w 784315"/>
                <a:gd name="connsiteY9" fmla="*/ 185862 h 322357"/>
                <a:gd name="connsiteX10" fmla="*/ 500729 w 784315"/>
                <a:gd name="connsiteY10" fmla="*/ 212511 h 322357"/>
                <a:gd name="connsiteX11" fmla="*/ 784315 w 784315"/>
                <a:gd name="connsiteY11" fmla="*/ 32054 h 322357"/>
                <a:gd name="connsiteX12" fmla="*/ 784315 w 784315"/>
                <a:gd name="connsiteY12" fmla="*/ 5123 h 322357"/>
                <a:gd name="connsiteX13" fmla="*/ 781357 w 784315"/>
                <a:gd name="connsiteY13" fmla="*/ 0 h 322357"/>
                <a:gd name="connsiteX0" fmla="*/ 781357 w 784315"/>
                <a:gd name="connsiteY0" fmla="*/ 0 h 322357"/>
                <a:gd name="connsiteX1" fmla="*/ 514719 w 784315"/>
                <a:gd name="connsiteY1" fmla="*/ 153943 h 322357"/>
                <a:gd name="connsiteX2" fmla="*/ 352800 w 784315"/>
                <a:gd name="connsiteY2" fmla="*/ 46454 h 322357"/>
                <a:gd name="connsiteX3" fmla="*/ 73834 w 784315"/>
                <a:gd name="connsiteY3" fmla="*/ 226242 h 322357"/>
                <a:gd name="connsiteX4" fmla="*/ 48259 w 784315"/>
                <a:gd name="connsiteY4" fmla="*/ 186428 h 322357"/>
                <a:gd name="connsiteX5" fmla="*/ 0 w 784315"/>
                <a:gd name="connsiteY5" fmla="*/ 322357 h 322357"/>
                <a:gd name="connsiteX6" fmla="*/ 123164 w 784315"/>
                <a:gd name="connsiteY6" fmla="*/ 315134 h 322357"/>
                <a:gd name="connsiteX7" fmla="*/ 103675 w 784315"/>
                <a:gd name="connsiteY7" fmla="*/ 268532 h 322357"/>
                <a:gd name="connsiteX8" fmla="*/ 362074 w 784315"/>
                <a:gd name="connsiteY8" fmla="*/ 100498 h 322357"/>
                <a:gd name="connsiteX9" fmla="*/ 500729 w 784315"/>
                <a:gd name="connsiteY9" fmla="*/ 212511 h 322357"/>
                <a:gd name="connsiteX10" fmla="*/ 784315 w 784315"/>
                <a:gd name="connsiteY10" fmla="*/ 32054 h 322357"/>
                <a:gd name="connsiteX11" fmla="*/ 784315 w 784315"/>
                <a:gd name="connsiteY11" fmla="*/ 5123 h 322357"/>
                <a:gd name="connsiteX12" fmla="*/ 781357 w 784315"/>
                <a:gd name="connsiteY12" fmla="*/ 0 h 322357"/>
                <a:gd name="connsiteX0" fmla="*/ 781357 w 784315"/>
                <a:gd name="connsiteY0" fmla="*/ 0 h 322357"/>
                <a:gd name="connsiteX1" fmla="*/ 502542 w 784315"/>
                <a:gd name="connsiteY1" fmla="*/ 167519 h 322357"/>
                <a:gd name="connsiteX2" fmla="*/ 352800 w 784315"/>
                <a:gd name="connsiteY2" fmla="*/ 46454 h 322357"/>
                <a:gd name="connsiteX3" fmla="*/ 73834 w 784315"/>
                <a:gd name="connsiteY3" fmla="*/ 226242 h 322357"/>
                <a:gd name="connsiteX4" fmla="*/ 48259 w 784315"/>
                <a:gd name="connsiteY4" fmla="*/ 186428 h 322357"/>
                <a:gd name="connsiteX5" fmla="*/ 0 w 784315"/>
                <a:gd name="connsiteY5" fmla="*/ 322357 h 322357"/>
                <a:gd name="connsiteX6" fmla="*/ 123164 w 784315"/>
                <a:gd name="connsiteY6" fmla="*/ 315134 h 322357"/>
                <a:gd name="connsiteX7" fmla="*/ 103675 w 784315"/>
                <a:gd name="connsiteY7" fmla="*/ 268532 h 322357"/>
                <a:gd name="connsiteX8" fmla="*/ 362074 w 784315"/>
                <a:gd name="connsiteY8" fmla="*/ 100498 h 322357"/>
                <a:gd name="connsiteX9" fmla="*/ 500729 w 784315"/>
                <a:gd name="connsiteY9" fmla="*/ 212511 h 322357"/>
                <a:gd name="connsiteX10" fmla="*/ 784315 w 784315"/>
                <a:gd name="connsiteY10" fmla="*/ 32054 h 322357"/>
                <a:gd name="connsiteX11" fmla="*/ 784315 w 784315"/>
                <a:gd name="connsiteY11" fmla="*/ 5123 h 322357"/>
                <a:gd name="connsiteX12" fmla="*/ 781357 w 784315"/>
                <a:gd name="connsiteY12" fmla="*/ 0 h 322357"/>
                <a:gd name="connsiteX0" fmla="*/ 781357 w 784315"/>
                <a:gd name="connsiteY0" fmla="*/ 0 h 322357"/>
                <a:gd name="connsiteX1" fmla="*/ 502542 w 784315"/>
                <a:gd name="connsiteY1" fmla="*/ 167519 h 322357"/>
                <a:gd name="connsiteX2" fmla="*/ 352800 w 784315"/>
                <a:gd name="connsiteY2" fmla="*/ 46454 h 322357"/>
                <a:gd name="connsiteX3" fmla="*/ 73834 w 784315"/>
                <a:gd name="connsiteY3" fmla="*/ 226242 h 322357"/>
                <a:gd name="connsiteX4" fmla="*/ 48259 w 784315"/>
                <a:gd name="connsiteY4" fmla="*/ 186428 h 322357"/>
                <a:gd name="connsiteX5" fmla="*/ 0 w 784315"/>
                <a:gd name="connsiteY5" fmla="*/ 322357 h 322357"/>
                <a:gd name="connsiteX6" fmla="*/ 123164 w 784315"/>
                <a:gd name="connsiteY6" fmla="*/ 315134 h 322357"/>
                <a:gd name="connsiteX7" fmla="*/ 103675 w 784315"/>
                <a:gd name="connsiteY7" fmla="*/ 268532 h 322357"/>
                <a:gd name="connsiteX8" fmla="*/ 362074 w 784315"/>
                <a:gd name="connsiteY8" fmla="*/ 100498 h 322357"/>
                <a:gd name="connsiteX9" fmla="*/ 500729 w 784315"/>
                <a:gd name="connsiteY9" fmla="*/ 212511 h 322357"/>
                <a:gd name="connsiteX10" fmla="*/ 778226 w 784315"/>
                <a:gd name="connsiteY10" fmla="*/ 59205 h 322357"/>
                <a:gd name="connsiteX11" fmla="*/ 784315 w 784315"/>
                <a:gd name="connsiteY11" fmla="*/ 5123 h 322357"/>
                <a:gd name="connsiteX12" fmla="*/ 781357 w 784315"/>
                <a:gd name="connsiteY12" fmla="*/ 0 h 322357"/>
                <a:gd name="connsiteX0" fmla="*/ 781357 w 781357"/>
                <a:gd name="connsiteY0" fmla="*/ 0 h 322357"/>
                <a:gd name="connsiteX1" fmla="*/ 502542 w 781357"/>
                <a:gd name="connsiteY1" fmla="*/ 167519 h 322357"/>
                <a:gd name="connsiteX2" fmla="*/ 352800 w 781357"/>
                <a:gd name="connsiteY2" fmla="*/ 46454 h 322357"/>
                <a:gd name="connsiteX3" fmla="*/ 73834 w 781357"/>
                <a:gd name="connsiteY3" fmla="*/ 226242 h 322357"/>
                <a:gd name="connsiteX4" fmla="*/ 48259 w 781357"/>
                <a:gd name="connsiteY4" fmla="*/ 186428 h 322357"/>
                <a:gd name="connsiteX5" fmla="*/ 0 w 781357"/>
                <a:gd name="connsiteY5" fmla="*/ 322357 h 322357"/>
                <a:gd name="connsiteX6" fmla="*/ 123164 w 781357"/>
                <a:gd name="connsiteY6" fmla="*/ 315134 h 322357"/>
                <a:gd name="connsiteX7" fmla="*/ 103675 w 781357"/>
                <a:gd name="connsiteY7" fmla="*/ 268532 h 322357"/>
                <a:gd name="connsiteX8" fmla="*/ 362074 w 781357"/>
                <a:gd name="connsiteY8" fmla="*/ 100498 h 322357"/>
                <a:gd name="connsiteX9" fmla="*/ 500729 w 781357"/>
                <a:gd name="connsiteY9" fmla="*/ 212511 h 322357"/>
                <a:gd name="connsiteX10" fmla="*/ 778226 w 781357"/>
                <a:gd name="connsiteY10" fmla="*/ 59205 h 322357"/>
                <a:gd name="connsiteX11" fmla="*/ 781357 w 781357"/>
                <a:gd name="connsiteY11" fmla="*/ 0 h 322357"/>
                <a:gd name="connsiteX0" fmla="*/ 781357 w 781357"/>
                <a:gd name="connsiteY0" fmla="*/ 0 h 322357"/>
                <a:gd name="connsiteX1" fmla="*/ 496453 w 781357"/>
                <a:gd name="connsiteY1" fmla="*/ 164125 h 322357"/>
                <a:gd name="connsiteX2" fmla="*/ 352800 w 781357"/>
                <a:gd name="connsiteY2" fmla="*/ 46454 h 322357"/>
                <a:gd name="connsiteX3" fmla="*/ 73834 w 781357"/>
                <a:gd name="connsiteY3" fmla="*/ 226242 h 322357"/>
                <a:gd name="connsiteX4" fmla="*/ 48259 w 781357"/>
                <a:gd name="connsiteY4" fmla="*/ 186428 h 322357"/>
                <a:gd name="connsiteX5" fmla="*/ 0 w 781357"/>
                <a:gd name="connsiteY5" fmla="*/ 322357 h 322357"/>
                <a:gd name="connsiteX6" fmla="*/ 123164 w 781357"/>
                <a:gd name="connsiteY6" fmla="*/ 315134 h 322357"/>
                <a:gd name="connsiteX7" fmla="*/ 103675 w 781357"/>
                <a:gd name="connsiteY7" fmla="*/ 268532 h 322357"/>
                <a:gd name="connsiteX8" fmla="*/ 362074 w 781357"/>
                <a:gd name="connsiteY8" fmla="*/ 100498 h 322357"/>
                <a:gd name="connsiteX9" fmla="*/ 500729 w 781357"/>
                <a:gd name="connsiteY9" fmla="*/ 212511 h 322357"/>
                <a:gd name="connsiteX10" fmla="*/ 778226 w 781357"/>
                <a:gd name="connsiteY10" fmla="*/ 59205 h 322357"/>
                <a:gd name="connsiteX11" fmla="*/ 781357 w 781357"/>
                <a:gd name="connsiteY11" fmla="*/ 0 h 322357"/>
                <a:gd name="connsiteX0" fmla="*/ 781357 w 781357"/>
                <a:gd name="connsiteY0" fmla="*/ 0 h 322357"/>
                <a:gd name="connsiteX1" fmla="*/ 496453 w 781357"/>
                <a:gd name="connsiteY1" fmla="*/ 164125 h 322357"/>
                <a:gd name="connsiteX2" fmla="*/ 352800 w 781357"/>
                <a:gd name="connsiteY2" fmla="*/ 46454 h 322357"/>
                <a:gd name="connsiteX3" fmla="*/ 73834 w 781357"/>
                <a:gd name="connsiteY3" fmla="*/ 226242 h 322357"/>
                <a:gd name="connsiteX4" fmla="*/ 48259 w 781357"/>
                <a:gd name="connsiteY4" fmla="*/ 186428 h 322357"/>
                <a:gd name="connsiteX5" fmla="*/ 0 w 781357"/>
                <a:gd name="connsiteY5" fmla="*/ 322357 h 322357"/>
                <a:gd name="connsiteX6" fmla="*/ 123164 w 781357"/>
                <a:gd name="connsiteY6" fmla="*/ 315134 h 322357"/>
                <a:gd name="connsiteX7" fmla="*/ 103675 w 781357"/>
                <a:gd name="connsiteY7" fmla="*/ 268532 h 322357"/>
                <a:gd name="connsiteX8" fmla="*/ 352941 w 781357"/>
                <a:gd name="connsiteY8" fmla="*/ 107286 h 322357"/>
                <a:gd name="connsiteX9" fmla="*/ 500729 w 781357"/>
                <a:gd name="connsiteY9" fmla="*/ 212511 h 322357"/>
                <a:gd name="connsiteX10" fmla="*/ 778226 w 781357"/>
                <a:gd name="connsiteY10" fmla="*/ 59205 h 322357"/>
                <a:gd name="connsiteX11" fmla="*/ 781357 w 781357"/>
                <a:gd name="connsiteY11" fmla="*/ 0 h 322357"/>
                <a:gd name="connsiteX0" fmla="*/ 781357 w 781357"/>
                <a:gd name="connsiteY0" fmla="*/ 0 h 322357"/>
                <a:gd name="connsiteX1" fmla="*/ 496453 w 781357"/>
                <a:gd name="connsiteY1" fmla="*/ 164125 h 322357"/>
                <a:gd name="connsiteX2" fmla="*/ 352800 w 781357"/>
                <a:gd name="connsiteY2" fmla="*/ 46454 h 322357"/>
                <a:gd name="connsiteX3" fmla="*/ 73834 w 781357"/>
                <a:gd name="connsiteY3" fmla="*/ 226242 h 322357"/>
                <a:gd name="connsiteX4" fmla="*/ 48259 w 781357"/>
                <a:gd name="connsiteY4" fmla="*/ 186428 h 322357"/>
                <a:gd name="connsiteX5" fmla="*/ 0 w 781357"/>
                <a:gd name="connsiteY5" fmla="*/ 322357 h 322357"/>
                <a:gd name="connsiteX6" fmla="*/ 123164 w 781357"/>
                <a:gd name="connsiteY6" fmla="*/ 315134 h 322357"/>
                <a:gd name="connsiteX7" fmla="*/ 103675 w 781357"/>
                <a:gd name="connsiteY7" fmla="*/ 268532 h 322357"/>
                <a:gd name="connsiteX8" fmla="*/ 352941 w 781357"/>
                <a:gd name="connsiteY8" fmla="*/ 107286 h 322357"/>
                <a:gd name="connsiteX9" fmla="*/ 488552 w 781357"/>
                <a:gd name="connsiteY9" fmla="*/ 219299 h 322357"/>
                <a:gd name="connsiteX10" fmla="*/ 778226 w 781357"/>
                <a:gd name="connsiteY10" fmla="*/ 59205 h 322357"/>
                <a:gd name="connsiteX11" fmla="*/ 781357 w 781357"/>
                <a:gd name="connsiteY11" fmla="*/ 0 h 322357"/>
                <a:gd name="connsiteX0" fmla="*/ 781357 w 781357"/>
                <a:gd name="connsiteY0" fmla="*/ 0 h 322357"/>
                <a:gd name="connsiteX1" fmla="*/ 487320 w 781357"/>
                <a:gd name="connsiteY1" fmla="*/ 164125 h 322357"/>
                <a:gd name="connsiteX2" fmla="*/ 352800 w 781357"/>
                <a:gd name="connsiteY2" fmla="*/ 46454 h 322357"/>
                <a:gd name="connsiteX3" fmla="*/ 73834 w 781357"/>
                <a:gd name="connsiteY3" fmla="*/ 226242 h 322357"/>
                <a:gd name="connsiteX4" fmla="*/ 48259 w 781357"/>
                <a:gd name="connsiteY4" fmla="*/ 186428 h 322357"/>
                <a:gd name="connsiteX5" fmla="*/ 0 w 781357"/>
                <a:gd name="connsiteY5" fmla="*/ 322357 h 322357"/>
                <a:gd name="connsiteX6" fmla="*/ 123164 w 781357"/>
                <a:gd name="connsiteY6" fmla="*/ 315134 h 322357"/>
                <a:gd name="connsiteX7" fmla="*/ 103675 w 781357"/>
                <a:gd name="connsiteY7" fmla="*/ 268532 h 322357"/>
                <a:gd name="connsiteX8" fmla="*/ 352941 w 781357"/>
                <a:gd name="connsiteY8" fmla="*/ 107286 h 322357"/>
                <a:gd name="connsiteX9" fmla="*/ 488552 w 781357"/>
                <a:gd name="connsiteY9" fmla="*/ 219299 h 322357"/>
                <a:gd name="connsiteX10" fmla="*/ 778226 w 781357"/>
                <a:gd name="connsiteY10" fmla="*/ 59205 h 322357"/>
                <a:gd name="connsiteX11" fmla="*/ 781357 w 781357"/>
                <a:gd name="connsiteY11" fmla="*/ 0 h 322357"/>
                <a:gd name="connsiteX0" fmla="*/ 781357 w 781357"/>
                <a:gd name="connsiteY0" fmla="*/ 0 h 329145"/>
                <a:gd name="connsiteX1" fmla="*/ 487320 w 781357"/>
                <a:gd name="connsiteY1" fmla="*/ 170913 h 329145"/>
                <a:gd name="connsiteX2" fmla="*/ 352800 w 781357"/>
                <a:gd name="connsiteY2" fmla="*/ 53242 h 329145"/>
                <a:gd name="connsiteX3" fmla="*/ 73834 w 781357"/>
                <a:gd name="connsiteY3" fmla="*/ 233030 h 329145"/>
                <a:gd name="connsiteX4" fmla="*/ 48259 w 781357"/>
                <a:gd name="connsiteY4" fmla="*/ 193216 h 329145"/>
                <a:gd name="connsiteX5" fmla="*/ 0 w 781357"/>
                <a:gd name="connsiteY5" fmla="*/ 329145 h 329145"/>
                <a:gd name="connsiteX6" fmla="*/ 123164 w 781357"/>
                <a:gd name="connsiteY6" fmla="*/ 321922 h 329145"/>
                <a:gd name="connsiteX7" fmla="*/ 103675 w 781357"/>
                <a:gd name="connsiteY7" fmla="*/ 275320 h 329145"/>
                <a:gd name="connsiteX8" fmla="*/ 352941 w 781357"/>
                <a:gd name="connsiteY8" fmla="*/ 114074 h 329145"/>
                <a:gd name="connsiteX9" fmla="*/ 488552 w 781357"/>
                <a:gd name="connsiteY9" fmla="*/ 226087 h 329145"/>
                <a:gd name="connsiteX10" fmla="*/ 778226 w 781357"/>
                <a:gd name="connsiteY10" fmla="*/ 65993 h 329145"/>
                <a:gd name="connsiteX11" fmla="*/ 781357 w 781357"/>
                <a:gd name="connsiteY11" fmla="*/ 0 h 329145"/>
                <a:gd name="connsiteX0" fmla="*/ 781357 w 781357"/>
                <a:gd name="connsiteY0" fmla="*/ 0 h 329145"/>
                <a:gd name="connsiteX1" fmla="*/ 487320 w 781357"/>
                <a:gd name="connsiteY1" fmla="*/ 170913 h 329145"/>
                <a:gd name="connsiteX2" fmla="*/ 352800 w 781357"/>
                <a:gd name="connsiteY2" fmla="*/ 53242 h 329145"/>
                <a:gd name="connsiteX3" fmla="*/ 76879 w 781357"/>
                <a:gd name="connsiteY3" fmla="*/ 243212 h 329145"/>
                <a:gd name="connsiteX4" fmla="*/ 48259 w 781357"/>
                <a:gd name="connsiteY4" fmla="*/ 193216 h 329145"/>
                <a:gd name="connsiteX5" fmla="*/ 0 w 781357"/>
                <a:gd name="connsiteY5" fmla="*/ 329145 h 329145"/>
                <a:gd name="connsiteX6" fmla="*/ 123164 w 781357"/>
                <a:gd name="connsiteY6" fmla="*/ 321922 h 329145"/>
                <a:gd name="connsiteX7" fmla="*/ 103675 w 781357"/>
                <a:gd name="connsiteY7" fmla="*/ 275320 h 329145"/>
                <a:gd name="connsiteX8" fmla="*/ 352941 w 781357"/>
                <a:gd name="connsiteY8" fmla="*/ 114074 h 329145"/>
                <a:gd name="connsiteX9" fmla="*/ 488552 w 781357"/>
                <a:gd name="connsiteY9" fmla="*/ 226087 h 329145"/>
                <a:gd name="connsiteX10" fmla="*/ 778226 w 781357"/>
                <a:gd name="connsiteY10" fmla="*/ 65993 h 329145"/>
                <a:gd name="connsiteX11" fmla="*/ 781357 w 781357"/>
                <a:gd name="connsiteY11" fmla="*/ 0 h 329145"/>
                <a:gd name="connsiteX0" fmla="*/ 781357 w 781357"/>
                <a:gd name="connsiteY0" fmla="*/ 0 h 329145"/>
                <a:gd name="connsiteX1" fmla="*/ 487320 w 781357"/>
                <a:gd name="connsiteY1" fmla="*/ 170913 h 329145"/>
                <a:gd name="connsiteX2" fmla="*/ 352800 w 781357"/>
                <a:gd name="connsiteY2" fmla="*/ 53242 h 329145"/>
                <a:gd name="connsiteX3" fmla="*/ 76879 w 781357"/>
                <a:gd name="connsiteY3" fmla="*/ 243212 h 329145"/>
                <a:gd name="connsiteX4" fmla="*/ 48259 w 781357"/>
                <a:gd name="connsiteY4" fmla="*/ 193216 h 329145"/>
                <a:gd name="connsiteX5" fmla="*/ 0 w 781357"/>
                <a:gd name="connsiteY5" fmla="*/ 329145 h 329145"/>
                <a:gd name="connsiteX6" fmla="*/ 123164 w 781357"/>
                <a:gd name="connsiteY6" fmla="*/ 321922 h 329145"/>
                <a:gd name="connsiteX7" fmla="*/ 103675 w 781357"/>
                <a:gd name="connsiteY7" fmla="*/ 275320 h 329145"/>
                <a:gd name="connsiteX8" fmla="*/ 352941 w 781357"/>
                <a:gd name="connsiteY8" fmla="*/ 103892 h 329145"/>
                <a:gd name="connsiteX9" fmla="*/ 488552 w 781357"/>
                <a:gd name="connsiteY9" fmla="*/ 226087 h 329145"/>
                <a:gd name="connsiteX10" fmla="*/ 778226 w 781357"/>
                <a:gd name="connsiteY10" fmla="*/ 65993 h 329145"/>
                <a:gd name="connsiteX11" fmla="*/ 781357 w 781357"/>
                <a:gd name="connsiteY11" fmla="*/ 0 h 329145"/>
                <a:gd name="connsiteX0" fmla="*/ 781357 w 781357"/>
                <a:gd name="connsiteY0" fmla="*/ 0 h 329145"/>
                <a:gd name="connsiteX1" fmla="*/ 487320 w 781357"/>
                <a:gd name="connsiteY1" fmla="*/ 170913 h 329145"/>
                <a:gd name="connsiteX2" fmla="*/ 352800 w 781357"/>
                <a:gd name="connsiteY2" fmla="*/ 53242 h 329145"/>
                <a:gd name="connsiteX3" fmla="*/ 76879 w 781357"/>
                <a:gd name="connsiteY3" fmla="*/ 243212 h 329145"/>
                <a:gd name="connsiteX4" fmla="*/ 48259 w 781357"/>
                <a:gd name="connsiteY4" fmla="*/ 193216 h 329145"/>
                <a:gd name="connsiteX5" fmla="*/ 0 w 781357"/>
                <a:gd name="connsiteY5" fmla="*/ 329145 h 329145"/>
                <a:gd name="connsiteX6" fmla="*/ 132297 w 781357"/>
                <a:gd name="connsiteY6" fmla="*/ 325316 h 329145"/>
                <a:gd name="connsiteX7" fmla="*/ 103675 w 781357"/>
                <a:gd name="connsiteY7" fmla="*/ 275320 h 329145"/>
                <a:gd name="connsiteX8" fmla="*/ 352941 w 781357"/>
                <a:gd name="connsiteY8" fmla="*/ 103892 h 329145"/>
                <a:gd name="connsiteX9" fmla="*/ 488552 w 781357"/>
                <a:gd name="connsiteY9" fmla="*/ 226087 h 329145"/>
                <a:gd name="connsiteX10" fmla="*/ 778226 w 781357"/>
                <a:gd name="connsiteY10" fmla="*/ 65993 h 329145"/>
                <a:gd name="connsiteX11" fmla="*/ 781357 w 781357"/>
                <a:gd name="connsiteY11" fmla="*/ 0 h 32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1357" h="329145">
                  <a:moveTo>
                    <a:pt x="781357" y="0"/>
                  </a:moveTo>
                  <a:lnTo>
                    <a:pt x="487320" y="170913"/>
                  </a:lnTo>
                  <a:lnTo>
                    <a:pt x="352800" y="53242"/>
                  </a:lnTo>
                  <a:lnTo>
                    <a:pt x="76879" y="243212"/>
                  </a:lnTo>
                  <a:lnTo>
                    <a:pt x="48259" y="193216"/>
                  </a:lnTo>
                  <a:lnTo>
                    <a:pt x="0" y="329145"/>
                  </a:lnTo>
                  <a:lnTo>
                    <a:pt x="132297" y="325316"/>
                  </a:lnTo>
                  <a:lnTo>
                    <a:pt x="103675" y="275320"/>
                  </a:lnTo>
                  <a:lnTo>
                    <a:pt x="352941" y="103892"/>
                  </a:lnTo>
                  <a:lnTo>
                    <a:pt x="488552" y="226087"/>
                  </a:lnTo>
                  <a:lnTo>
                    <a:pt x="778226" y="65993"/>
                  </a:lnTo>
                  <a:lnTo>
                    <a:pt x="781357" y="0"/>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92" name="Snip Same Side Corner Rectangle 85"/>
            <p:cNvSpPr/>
            <p:nvPr/>
          </p:nvSpPr>
          <p:spPr bwMode="gray">
            <a:xfrm flipH="1">
              <a:off x="7782400" y="-1883431"/>
              <a:ext cx="232230" cy="436608"/>
            </a:xfrm>
            <a:custGeom>
              <a:avLst/>
              <a:gdLst/>
              <a:ahLst/>
              <a:cxnLst/>
              <a:rect l="l" t="t" r="r" b="b"/>
              <a:pathLst>
                <a:path w="114006" h="214340">
                  <a:moveTo>
                    <a:pt x="74746" y="0"/>
                  </a:moveTo>
                  <a:lnTo>
                    <a:pt x="37660" y="0"/>
                  </a:lnTo>
                  <a:lnTo>
                    <a:pt x="21848" y="15812"/>
                  </a:lnTo>
                  <a:lnTo>
                    <a:pt x="0" y="183592"/>
                  </a:lnTo>
                  <a:lnTo>
                    <a:pt x="46618" y="214340"/>
                  </a:lnTo>
                  <a:lnTo>
                    <a:pt x="46618" y="176165"/>
                  </a:lnTo>
                  <a:lnTo>
                    <a:pt x="63893" y="162831"/>
                  </a:lnTo>
                  <a:lnTo>
                    <a:pt x="114006" y="195885"/>
                  </a:lnTo>
                  <a:lnTo>
                    <a:pt x="90558" y="15812"/>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298" name="Content Placeholder 6"/>
          <p:cNvSpPr txBox="1">
            <a:spLocks/>
          </p:cNvSpPr>
          <p:nvPr/>
        </p:nvSpPr>
        <p:spPr bwMode="gray">
          <a:xfrm>
            <a:off x="1580473" y="3263850"/>
            <a:ext cx="2214202" cy="617058"/>
          </a:xfrm>
          <a:prstGeom prst="rect">
            <a:avLst/>
          </a:prstGeom>
          <a:solidFill>
            <a:srgbClr val="FFFFFF">
              <a:alpha val="75000"/>
            </a:srgbClr>
          </a:solidFill>
        </p:spPr>
        <p:txBody>
          <a:bodyPr vert="horz" lIns="72000" tIns="72000" rIns="72000" bIns="72000" rtlCol="0" anchor="t" anchorCtr="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1600" b="1" dirty="0"/>
              <a:t>24/7 access </a:t>
            </a:r>
            <a:br>
              <a:rPr lang="en-US" sz="1600" b="1" dirty="0"/>
            </a:br>
            <a:r>
              <a:rPr lang="en-US" sz="1600" b="1" dirty="0"/>
              <a:t>to ABB </a:t>
            </a:r>
          </a:p>
          <a:p>
            <a:pPr algn="ctr"/>
            <a:r>
              <a:rPr lang="en-US" sz="1600" dirty="0"/>
              <a:t>Find the right information, saving time and money</a:t>
            </a:r>
          </a:p>
        </p:txBody>
      </p:sp>
      <p:sp>
        <p:nvSpPr>
          <p:cNvPr id="299" name="Content Placeholder 6"/>
          <p:cNvSpPr txBox="1">
            <a:spLocks/>
          </p:cNvSpPr>
          <p:nvPr/>
        </p:nvSpPr>
        <p:spPr bwMode="gray">
          <a:xfrm>
            <a:off x="3852758" y="3263850"/>
            <a:ext cx="2214202" cy="617058"/>
          </a:xfrm>
          <a:prstGeom prst="rect">
            <a:avLst/>
          </a:prstGeom>
          <a:solidFill>
            <a:srgbClr val="FFFFFF">
              <a:alpha val="75000"/>
            </a:srgbClr>
          </a:solidFill>
        </p:spPr>
        <p:txBody>
          <a:bodyPr vert="horz" lIns="72000" tIns="72000" rIns="72000" bIns="72000" rtlCol="0" anchor="t" anchorCtr="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1600" b="1" dirty="0"/>
              <a:t>Optimize lifecycle management </a:t>
            </a:r>
          </a:p>
          <a:p>
            <a:pPr algn="ctr"/>
            <a:r>
              <a:rPr lang="en-US" sz="1600" dirty="0"/>
              <a:t>Minimize capital outlays and optimize operational budgets </a:t>
            </a:r>
          </a:p>
        </p:txBody>
      </p:sp>
      <p:sp>
        <p:nvSpPr>
          <p:cNvPr id="300" name="Content Placeholder 6"/>
          <p:cNvSpPr txBox="1">
            <a:spLocks/>
          </p:cNvSpPr>
          <p:nvPr/>
        </p:nvSpPr>
        <p:spPr bwMode="gray">
          <a:xfrm>
            <a:off x="6125143" y="3263850"/>
            <a:ext cx="2214000" cy="617058"/>
          </a:xfrm>
          <a:prstGeom prst="rect">
            <a:avLst/>
          </a:prstGeom>
          <a:solidFill>
            <a:srgbClr val="FFFFFF">
              <a:alpha val="75000"/>
            </a:srgbClr>
          </a:solidFill>
        </p:spPr>
        <p:txBody>
          <a:bodyPr vert="horz" lIns="72000" tIns="72000" rIns="72000" bIns="72000" rtlCol="0" anchor="t" anchorCtr="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1600" b="1" dirty="0"/>
              <a:t>Improve assets performance</a:t>
            </a:r>
          </a:p>
          <a:p>
            <a:pPr algn="ctr"/>
            <a:r>
              <a:rPr lang="en-US" sz="1600" dirty="0"/>
              <a:t>Plan maintenance operations and minimize downtime</a:t>
            </a:r>
          </a:p>
        </p:txBody>
      </p:sp>
      <p:sp>
        <p:nvSpPr>
          <p:cNvPr id="301" name="Content Placeholder 6"/>
          <p:cNvSpPr txBox="1">
            <a:spLocks/>
          </p:cNvSpPr>
          <p:nvPr/>
        </p:nvSpPr>
        <p:spPr bwMode="gray">
          <a:xfrm>
            <a:off x="8397326" y="3263850"/>
            <a:ext cx="2214202" cy="617058"/>
          </a:xfrm>
          <a:prstGeom prst="rect">
            <a:avLst/>
          </a:prstGeom>
          <a:solidFill>
            <a:srgbClr val="FFFFFF">
              <a:alpha val="75000"/>
            </a:srgbClr>
          </a:solidFill>
        </p:spPr>
        <p:txBody>
          <a:bodyPr vert="horz" lIns="72000" tIns="72000" rIns="72000" bIns="72000" rtlCol="0" anchor="t" anchorCtr="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1600" b="1" dirty="0"/>
              <a:t>Boost operational efficiency</a:t>
            </a:r>
          </a:p>
          <a:p>
            <a:pPr algn="ctr"/>
            <a:r>
              <a:rPr lang="en-US" sz="1600" dirty="0"/>
              <a:t>Make the right operational decisions</a:t>
            </a:r>
          </a:p>
          <a:p>
            <a:pPr algn="ctr"/>
            <a:endParaRPr lang="en-US" sz="1600" dirty="0"/>
          </a:p>
        </p:txBody>
      </p:sp>
      <p:sp>
        <p:nvSpPr>
          <p:cNvPr id="3" name="Title 2"/>
          <p:cNvSpPr>
            <a:spLocks noGrp="1"/>
          </p:cNvSpPr>
          <p:nvPr>
            <p:ph type="title"/>
          </p:nvPr>
        </p:nvSpPr>
        <p:spPr bwMode="gray"/>
        <p:txBody>
          <a:bodyPr/>
          <a:lstStyle/>
          <a:p>
            <a:r>
              <a:rPr lang="en-US" dirty="0"/>
              <a:t>myABB</a:t>
            </a:r>
          </a:p>
        </p:txBody>
      </p:sp>
      <p:sp>
        <p:nvSpPr>
          <p:cNvPr id="4" name="Date Placeholder 3"/>
          <p:cNvSpPr>
            <a:spLocks noGrp="1"/>
          </p:cNvSpPr>
          <p:nvPr>
            <p:ph type="dt" sz="half" idx="14"/>
          </p:nvPr>
        </p:nvSpPr>
        <p:spPr bwMode="gray"/>
        <p:txBody>
          <a:bodyPr/>
          <a:lstStyle/>
          <a:p>
            <a:fld id="{604723B6-2C37-4C03-92C2-AA6C4A469955}" type="datetime4">
              <a:rPr lang="en-US" smtClean="0">
                <a:solidFill>
                  <a:srgbClr val="A0A0A0"/>
                </a:solidFill>
              </a:rPr>
              <a:pPr/>
              <a:t>September 8, 2019</a:t>
            </a:fld>
            <a:endParaRPr lang="en-US" dirty="0">
              <a:solidFill>
                <a:srgbClr val="A0A0A0"/>
              </a:solidFill>
            </a:endParaRPr>
          </a:p>
        </p:txBody>
      </p:sp>
      <p:sp>
        <p:nvSpPr>
          <p:cNvPr id="5" name="Footer Placeholder 4"/>
          <p:cNvSpPr>
            <a:spLocks noGrp="1"/>
          </p:cNvSpPr>
          <p:nvPr>
            <p:ph type="ftr" sz="quarter" idx="15"/>
          </p:nvPr>
        </p:nvSpPr>
        <p:spPr bwMode="gray"/>
        <p:txBody>
          <a:bodyPr/>
          <a:lstStyle/>
          <a:p>
            <a:r>
              <a:rPr lang="et-EE" dirty="0">
                <a:hlinkClick r:id="rId4"/>
              </a:rPr>
              <a:t>https://myportal.abb.com/home</a:t>
            </a:r>
            <a:endParaRPr lang="en-US" dirty="0">
              <a:solidFill>
                <a:srgbClr val="000000">
                  <a:tint val="75000"/>
                </a:srgbClr>
              </a:solidFill>
            </a:endParaRPr>
          </a:p>
        </p:txBody>
      </p:sp>
      <p:sp>
        <p:nvSpPr>
          <p:cNvPr id="6" name="Slide Number Placeholder 5"/>
          <p:cNvSpPr>
            <a:spLocks noGrp="1"/>
          </p:cNvSpPr>
          <p:nvPr>
            <p:ph type="sldNum" sz="quarter" idx="16"/>
          </p:nvPr>
        </p:nvSpPr>
        <p:spPr bwMode="gray"/>
        <p:txBody>
          <a:bodyPr/>
          <a:lstStyle/>
          <a:p>
            <a:r>
              <a:rPr lang="en-US" dirty="0">
                <a:solidFill>
                  <a:srgbClr val="A0A0A0"/>
                </a:solidFill>
              </a:rPr>
              <a:t>Slide </a:t>
            </a:r>
            <a:fld id="{619F89D8-7AE3-494A-97F3-03D680869632}" type="slidenum">
              <a:rPr lang="en-US" smtClean="0">
                <a:solidFill>
                  <a:srgbClr val="A0A0A0"/>
                </a:solidFill>
              </a:rPr>
              <a:pPr/>
              <a:t>106</a:t>
            </a:fld>
            <a:endParaRPr lang="en-US" dirty="0">
              <a:solidFill>
                <a:srgbClr val="A0A0A0"/>
              </a:solidFill>
            </a:endParaRPr>
          </a:p>
        </p:txBody>
      </p:sp>
      <p:sp>
        <p:nvSpPr>
          <p:cNvPr id="2" name="Subtitle 1"/>
          <p:cNvSpPr>
            <a:spLocks noGrp="1"/>
          </p:cNvSpPr>
          <p:nvPr>
            <p:ph type="subTitle" idx="13"/>
          </p:nvPr>
        </p:nvSpPr>
        <p:spPr bwMode="gray"/>
        <p:txBody>
          <a:bodyPr/>
          <a:lstStyle/>
          <a:p>
            <a:r>
              <a:rPr lang="en-US" dirty="0"/>
              <a:t>Your gateway to services</a:t>
            </a:r>
          </a:p>
        </p:txBody>
      </p:sp>
      <p:sp>
        <p:nvSpPr>
          <p:cNvPr id="333" name="Freeform 332"/>
          <p:cNvSpPr/>
          <p:nvPr/>
        </p:nvSpPr>
        <p:spPr bwMode="gray">
          <a:xfrm>
            <a:off x="332583" y="4627501"/>
            <a:ext cx="11521346" cy="1289121"/>
          </a:xfrm>
          <a:custGeom>
            <a:avLst/>
            <a:gdLst>
              <a:gd name="connsiteX0" fmla="*/ 9440666 w 11521346"/>
              <a:gd name="connsiteY0" fmla="*/ 128 h 1243492"/>
              <a:gd name="connsiteX1" fmla="*/ 9698262 w 11521346"/>
              <a:gd name="connsiteY1" fmla="*/ 19095 h 1243492"/>
              <a:gd name="connsiteX2" fmla="*/ 11521346 w 11521346"/>
              <a:gd name="connsiteY2" fmla="*/ 428951 h 1243492"/>
              <a:gd name="connsiteX3" fmla="*/ 11521346 w 11521346"/>
              <a:gd name="connsiteY3" fmla="*/ 1243492 h 1243492"/>
              <a:gd name="connsiteX4" fmla="*/ 0 w 11521346"/>
              <a:gd name="connsiteY4" fmla="*/ 1243492 h 1243492"/>
              <a:gd name="connsiteX5" fmla="*/ 0 w 11521346"/>
              <a:gd name="connsiteY5" fmla="*/ 272397 h 1243492"/>
              <a:gd name="connsiteX6" fmla="*/ 565836 w 11521346"/>
              <a:gd name="connsiteY6" fmla="*/ 490904 h 1243492"/>
              <a:gd name="connsiteX7" fmla="*/ 1295041 w 11521346"/>
              <a:gd name="connsiteY7" fmla="*/ 341912 h 1243492"/>
              <a:gd name="connsiteX8" fmla="*/ 1920074 w 11521346"/>
              <a:gd name="connsiteY8" fmla="*/ 503320 h 1243492"/>
              <a:gd name="connsiteX9" fmla="*/ 2498808 w 11521346"/>
              <a:gd name="connsiteY9" fmla="*/ 627480 h 1243492"/>
              <a:gd name="connsiteX10" fmla="*/ 3540530 w 11521346"/>
              <a:gd name="connsiteY10" fmla="*/ 515736 h 1243492"/>
              <a:gd name="connsiteX11" fmla="*/ 4177138 w 11521346"/>
              <a:gd name="connsiteY11" fmla="*/ 652313 h 1243492"/>
              <a:gd name="connsiteX12" fmla="*/ 5230434 w 11521346"/>
              <a:gd name="connsiteY12" fmla="*/ 751641 h 1243492"/>
              <a:gd name="connsiteX13" fmla="*/ 6839315 w 11521346"/>
              <a:gd name="connsiteY13" fmla="*/ 627480 h 1243492"/>
              <a:gd name="connsiteX14" fmla="*/ 7499072 w 11521346"/>
              <a:gd name="connsiteY14" fmla="*/ 453656 h 1243492"/>
              <a:gd name="connsiteX15" fmla="*/ 8205127 w 11521346"/>
              <a:gd name="connsiteY15" fmla="*/ 528151 h 1243492"/>
              <a:gd name="connsiteX16" fmla="*/ 9238940 w 11521346"/>
              <a:gd name="connsiteY16" fmla="*/ 135367 h 1243492"/>
              <a:gd name="connsiteX17" fmla="*/ 9440666 w 11521346"/>
              <a:gd name="connsiteY17" fmla="*/ 128 h 1243492"/>
              <a:gd name="connsiteX0" fmla="*/ 9440666 w 11521346"/>
              <a:gd name="connsiteY0" fmla="*/ 38 h 1243402"/>
              <a:gd name="connsiteX1" fmla="*/ 10064022 w 11521346"/>
              <a:gd name="connsiteY1" fmla="*/ 79965 h 1243402"/>
              <a:gd name="connsiteX2" fmla="*/ 11521346 w 11521346"/>
              <a:gd name="connsiteY2" fmla="*/ 428861 h 1243402"/>
              <a:gd name="connsiteX3" fmla="*/ 11521346 w 11521346"/>
              <a:gd name="connsiteY3" fmla="*/ 1243402 h 1243402"/>
              <a:gd name="connsiteX4" fmla="*/ 0 w 11521346"/>
              <a:gd name="connsiteY4" fmla="*/ 1243402 h 1243402"/>
              <a:gd name="connsiteX5" fmla="*/ 0 w 11521346"/>
              <a:gd name="connsiteY5" fmla="*/ 272307 h 1243402"/>
              <a:gd name="connsiteX6" fmla="*/ 565836 w 11521346"/>
              <a:gd name="connsiteY6" fmla="*/ 490814 h 1243402"/>
              <a:gd name="connsiteX7" fmla="*/ 1295041 w 11521346"/>
              <a:gd name="connsiteY7" fmla="*/ 341822 h 1243402"/>
              <a:gd name="connsiteX8" fmla="*/ 1920074 w 11521346"/>
              <a:gd name="connsiteY8" fmla="*/ 503230 h 1243402"/>
              <a:gd name="connsiteX9" fmla="*/ 2498808 w 11521346"/>
              <a:gd name="connsiteY9" fmla="*/ 627390 h 1243402"/>
              <a:gd name="connsiteX10" fmla="*/ 3540530 w 11521346"/>
              <a:gd name="connsiteY10" fmla="*/ 515646 h 1243402"/>
              <a:gd name="connsiteX11" fmla="*/ 4177138 w 11521346"/>
              <a:gd name="connsiteY11" fmla="*/ 652223 h 1243402"/>
              <a:gd name="connsiteX12" fmla="*/ 5230434 w 11521346"/>
              <a:gd name="connsiteY12" fmla="*/ 751551 h 1243402"/>
              <a:gd name="connsiteX13" fmla="*/ 6839315 w 11521346"/>
              <a:gd name="connsiteY13" fmla="*/ 627390 h 1243402"/>
              <a:gd name="connsiteX14" fmla="*/ 7499072 w 11521346"/>
              <a:gd name="connsiteY14" fmla="*/ 453566 h 1243402"/>
              <a:gd name="connsiteX15" fmla="*/ 8205127 w 11521346"/>
              <a:gd name="connsiteY15" fmla="*/ 528061 h 1243402"/>
              <a:gd name="connsiteX16" fmla="*/ 9238940 w 11521346"/>
              <a:gd name="connsiteY16" fmla="*/ 135277 h 1243402"/>
              <a:gd name="connsiteX17" fmla="*/ 9440666 w 11521346"/>
              <a:gd name="connsiteY17" fmla="*/ 38 h 1243402"/>
              <a:gd name="connsiteX0" fmla="*/ 9684506 w 11521346"/>
              <a:gd name="connsiteY0" fmla="*/ 319 h 1167483"/>
              <a:gd name="connsiteX1" fmla="*/ 10064022 w 11521346"/>
              <a:gd name="connsiteY1" fmla="*/ 4046 h 1167483"/>
              <a:gd name="connsiteX2" fmla="*/ 11521346 w 11521346"/>
              <a:gd name="connsiteY2" fmla="*/ 352942 h 1167483"/>
              <a:gd name="connsiteX3" fmla="*/ 11521346 w 11521346"/>
              <a:gd name="connsiteY3" fmla="*/ 1167483 h 1167483"/>
              <a:gd name="connsiteX4" fmla="*/ 0 w 11521346"/>
              <a:gd name="connsiteY4" fmla="*/ 1167483 h 1167483"/>
              <a:gd name="connsiteX5" fmla="*/ 0 w 11521346"/>
              <a:gd name="connsiteY5" fmla="*/ 196388 h 1167483"/>
              <a:gd name="connsiteX6" fmla="*/ 565836 w 11521346"/>
              <a:gd name="connsiteY6" fmla="*/ 414895 h 1167483"/>
              <a:gd name="connsiteX7" fmla="*/ 1295041 w 11521346"/>
              <a:gd name="connsiteY7" fmla="*/ 265903 h 1167483"/>
              <a:gd name="connsiteX8" fmla="*/ 1920074 w 11521346"/>
              <a:gd name="connsiteY8" fmla="*/ 427311 h 1167483"/>
              <a:gd name="connsiteX9" fmla="*/ 2498808 w 11521346"/>
              <a:gd name="connsiteY9" fmla="*/ 551471 h 1167483"/>
              <a:gd name="connsiteX10" fmla="*/ 3540530 w 11521346"/>
              <a:gd name="connsiteY10" fmla="*/ 439727 h 1167483"/>
              <a:gd name="connsiteX11" fmla="*/ 4177138 w 11521346"/>
              <a:gd name="connsiteY11" fmla="*/ 576304 h 1167483"/>
              <a:gd name="connsiteX12" fmla="*/ 5230434 w 11521346"/>
              <a:gd name="connsiteY12" fmla="*/ 675632 h 1167483"/>
              <a:gd name="connsiteX13" fmla="*/ 6839315 w 11521346"/>
              <a:gd name="connsiteY13" fmla="*/ 551471 h 1167483"/>
              <a:gd name="connsiteX14" fmla="*/ 7499072 w 11521346"/>
              <a:gd name="connsiteY14" fmla="*/ 377647 h 1167483"/>
              <a:gd name="connsiteX15" fmla="*/ 8205127 w 11521346"/>
              <a:gd name="connsiteY15" fmla="*/ 452142 h 1167483"/>
              <a:gd name="connsiteX16" fmla="*/ 9238940 w 11521346"/>
              <a:gd name="connsiteY16" fmla="*/ 59358 h 1167483"/>
              <a:gd name="connsiteX17" fmla="*/ 9684506 w 11521346"/>
              <a:gd name="connsiteY17" fmla="*/ 319 h 1167483"/>
              <a:gd name="connsiteX0" fmla="*/ 9684506 w 11521346"/>
              <a:gd name="connsiteY0" fmla="*/ 41993 h 1209157"/>
              <a:gd name="connsiteX1" fmla="*/ 10170702 w 11521346"/>
              <a:gd name="connsiteY1" fmla="*/ 0 h 1209157"/>
              <a:gd name="connsiteX2" fmla="*/ 11521346 w 11521346"/>
              <a:gd name="connsiteY2" fmla="*/ 394616 h 1209157"/>
              <a:gd name="connsiteX3" fmla="*/ 11521346 w 11521346"/>
              <a:gd name="connsiteY3" fmla="*/ 1209157 h 1209157"/>
              <a:gd name="connsiteX4" fmla="*/ 0 w 11521346"/>
              <a:gd name="connsiteY4" fmla="*/ 1209157 h 1209157"/>
              <a:gd name="connsiteX5" fmla="*/ 0 w 11521346"/>
              <a:gd name="connsiteY5" fmla="*/ 238062 h 1209157"/>
              <a:gd name="connsiteX6" fmla="*/ 565836 w 11521346"/>
              <a:gd name="connsiteY6" fmla="*/ 456569 h 1209157"/>
              <a:gd name="connsiteX7" fmla="*/ 1295041 w 11521346"/>
              <a:gd name="connsiteY7" fmla="*/ 307577 h 1209157"/>
              <a:gd name="connsiteX8" fmla="*/ 1920074 w 11521346"/>
              <a:gd name="connsiteY8" fmla="*/ 468985 h 1209157"/>
              <a:gd name="connsiteX9" fmla="*/ 2498808 w 11521346"/>
              <a:gd name="connsiteY9" fmla="*/ 593145 h 1209157"/>
              <a:gd name="connsiteX10" fmla="*/ 3540530 w 11521346"/>
              <a:gd name="connsiteY10" fmla="*/ 481401 h 1209157"/>
              <a:gd name="connsiteX11" fmla="*/ 4177138 w 11521346"/>
              <a:gd name="connsiteY11" fmla="*/ 617978 h 1209157"/>
              <a:gd name="connsiteX12" fmla="*/ 5230434 w 11521346"/>
              <a:gd name="connsiteY12" fmla="*/ 717306 h 1209157"/>
              <a:gd name="connsiteX13" fmla="*/ 6839315 w 11521346"/>
              <a:gd name="connsiteY13" fmla="*/ 593145 h 1209157"/>
              <a:gd name="connsiteX14" fmla="*/ 7499072 w 11521346"/>
              <a:gd name="connsiteY14" fmla="*/ 419321 h 1209157"/>
              <a:gd name="connsiteX15" fmla="*/ 8205127 w 11521346"/>
              <a:gd name="connsiteY15" fmla="*/ 493816 h 1209157"/>
              <a:gd name="connsiteX16" fmla="*/ 9238940 w 11521346"/>
              <a:gd name="connsiteY16" fmla="*/ 101032 h 1209157"/>
              <a:gd name="connsiteX17" fmla="*/ 9684506 w 11521346"/>
              <a:gd name="connsiteY17" fmla="*/ 41993 h 1209157"/>
              <a:gd name="connsiteX0" fmla="*/ 9684506 w 11521346"/>
              <a:gd name="connsiteY0" fmla="*/ 37 h 1289121"/>
              <a:gd name="connsiteX1" fmla="*/ 10170702 w 11521346"/>
              <a:gd name="connsiteY1" fmla="*/ 79964 h 1289121"/>
              <a:gd name="connsiteX2" fmla="*/ 11521346 w 11521346"/>
              <a:gd name="connsiteY2" fmla="*/ 474580 h 1289121"/>
              <a:gd name="connsiteX3" fmla="*/ 11521346 w 11521346"/>
              <a:gd name="connsiteY3" fmla="*/ 1289121 h 1289121"/>
              <a:gd name="connsiteX4" fmla="*/ 0 w 11521346"/>
              <a:gd name="connsiteY4" fmla="*/ 1289121 h 1289121"/>
              <a:gd name="connsiteX5" fmla="*/ 0 w 11521346"/>
              <a:gd name="connsiteY5" fmla="*/ 318026 h 1289121"/>
              <a:gd name="connsiteX6" fmla="*/ 565836 w 11521346"/>
              <a:gd name="connsiteY6" fmla="*/ 536533 h 1289121"/>
              <a:gd name="connsiteX7" fmla="*/ 1295041 w 11521346"/>
              <a:gd name="connsiteY7" fmla="*/ 387541 h 1289121"/>
              <a:gd name="connsiteX8" fmla="*/ 1920074 w 11521346"/>
              <a:gd name="connsiteY8" fmla="*/ 548949 h 1289121"/>
              <a:gd name="connsiteX9" fmla="*/ 2498808 w 11521346"/>
              <a:gd name="connsiteY9" fmla="*/ 673109 h 1289121"/>
              <a:gd name="connsiteX10" fmla="*/ 3540530 w 11521346"/>
              <a:gd name="connsiteY10" fmla="*/ 561365 h 1289121"/>
              <a:gd name="connsiteX11" fmla="*/ 4177138 w 11521346"/>
              <a:gd name="connsiteY11" fmla="*/ 697942 h 1289121"/>
              <a:gd name="connsiteX12" fmla="*/ 5230434 w 11521346"/>
              <a:gd name="connsiteY12" fmla="*/ 797270 h 1289121"/>
              <a:gd name="connsiteX13" fmla="*/ 6839315 w 11521346"/>
              <a:gd name="connsiteY13" fmla="*/ 673109 h 1289121"/>
              <a:gd name="connsiteX14" fmla="*/ 7499072 w 11521346"/>
              <a:gd name="connsiteY14" fmla="*/ 499285 h 1289121"/>
              <a:gd name="connsiteX15" fmla="*/ 8205127 w 11521346"/>
              <a:gd name="connsiteY15" fmla="*/ 573780 h 1289121"/>
              <a:gd name="connsiteX16" fmla="*/ 9238940 w 11521346"/>
              <a:gd name="connsiteY16" fmla="*/ 180996 h 1289121"/>
              <a:gd name="connsiteX17" fmla="*/ 9684506 w 11521346"/>
              <a:gd name="connsiteY17" fmla="*/ 37 h 1289121"/>
              <a:gd name="connsiteX0" fmla="*/ 9684506 w 11521346"/>
              <a:gd name="connsiteY0" fmla="*/ 37 h 1289121"/>
              <a:gd name="connsiteX1" fmla="*/ 10170702 w 11521346"/>
              <a:gd name="connsiteY1" fmla="*/ 79964 h 1289121"/>
              <a:gd name="connsiteX2" fmla="*/ 11521346 w 11521346"/>
              <a:gd name="connsiteY2" fmla="*/ 474580 h 1289121"/>
              <a:gd name="connsiteX3" fmla="*/ 11521346 w 11521346"/>
              <a:gd name="connsiteY3" fmla="*/ 1289121 h 1289121"/>
              <a:gd name="connsiteX4" fmla="*/ 0 w 11521346"/>
              <a:gd name="connsiteY4" fmla="*/ 1289121 h 1289121"/>
              <a:gd name="connsiteX5" fmla="*/ 0 w 11521346"/>
              <a:gd name="connsiteY5" fmla="*/ 318026 h 1289121"/>
              <a:gd name="connsiteX6" fmla="*/ 603936 w 11521346"/>
              <a:gd name="connsiteY6" fmla="*/ 216493 h 1289121"/>
              <a:gd name="connsiteX7" fmla="*/ 1295041 w 11521346"/>
              <a:gd name="connsiteY7" fmla="*/ 387541 h 1289121"/>
              <a:gd name="connsiteX8" fmla="*/ 1920074 w 11521346"/>
              <a:gd name="connsiteY8" fmla="*/ 548949 h 1289121"/>
              <a:gd name="connsiteX9" fmla="*/ 2498808 w 11521346"/>
              <a:gd name="connsiteY9" fmla="*/ 673109 h 1289121"/>
              <a:gd name="connsiteX10" fmla="*/ 3540530 w 11521346"/>
              <a:gd name="connsiteY10" fmla="*/ 561365 h 1289121"/>
              <a:gd name="connsiteX11" fmla="*/ 4177138 w 11521346"/>
              <a:gd name="connsiteY11" fmla="*/ 697942 h 1289121"/>
              <a:gd name="connsiteX12" fmla="*/ 5230434 w 11521346"/>
              <a:gd name="connsiteY12" fmla="*/ 797270 h 1289121"/>
              <a:gd name="connsiteX13" fmla="*/ 6839315 w 11521346"/>
              <a:gd name="connsiteY13" fmla="*/ 673109 h 1289121"/>
              <a:gd name="connsiteX14" fmla="*/ 7499072 w 11521346"/>
              <a:gd name="connsiteY14" fmla="*/ 499285 h 1289121"/>
              <a:gd name="connsiteX15" fmla="*/ 8205127 w 11521346"/>
              <a:gd name="connsiteY15" fmla="*/ 573780 h 1289121"/>
              <a:gd name="connsiteX16" fmla="*/ 9238940 w 11521346"/>
              <a:gd name="connsiteY16" fmla="*/ 180996 h 1289121"/>
              <a:gd name="connsiteX17" fmla="*/ 9684506 w 11521346"/>
              <a:gd name="connsiteY17" fmla="*/ 37 h 1289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521346" h="1289121">
                <a:moveTo>
                  <a:pt x="9684506" y="37"/>
                </a:moveTo>
                <a:cubicBezTo>
                  <a:pt x="9778293" y="-2052"/>
                  <a:pt x="10069846" y="83146"/>
                  <a:pt x="10170702" y="79964"/>
                </a:cubicBezTo>
                <a:lnTo>
                  <a:pt x="11521346" y="474580"/>
                </a:lnTo>
                <a:lnTo>
                  <a:pt x="11521346" y="1289121"/>
                </a:lnTo>
                <a:lnTo>
                  <a:pt x="0" y="1289121"/>
                </a:lnTo>
                <a:lnTo>
                  <a:pt x="0" y="318026"/>
                </a:lnTo>
                <a:lnTo>
                  <a:pt x="603936" y="216493"/>
                </a:lnTo>
                <a:lnTo>
                  <a:pt x="1295041" y="387541"/>
                </a:lnTo>
                <a:cubicBezTo>
                  <a:pt x="1603699" y="441344"/>
                  <a:pt x="1719446" y="501355"/>
                  <a:pt x="1920074" y="548949"/>
                </a:cubicBezTo>
                <a:cubicBezTo>
                  <a:pt x="2120702" y="596543"/>
                  <a:pt x="2278889" y="671040"/>
                  <a:pt x="2498808" y="673109"/>
                </a:cubicBezTo>
                <a:lnTo>
                  <a:pt x="3540530" y="561365"/>
                </a:lnTo>
                <a:lnTo>
                  <a:pt x="4177138" y="697942"/>
                </a:lnTo>
                <a:lnTo>
                  <a:pt x="5230434" y="797270"/>
                </a:lnTo>
                <a:lnTo>
                  <a:pt x="6839315" y="673109"/>
                </a:lnTo>
                <a:lnTo>
                  <a:pt x="7499072" y="499285"/>
                </a:lnTo>
                <a:cubicBezTo>
                  <a:pt x="7630252" y="515840"/>
                  <a:pt x="7915760" y="635860"/>
                  <a:pt x="8205127" y="573780"/>
                </a:cubicBezTo>
                <a:cubicBezTo>
                  <a:pt x="8494494" y="511701"/>
                  <a:pt x="8990084" y="265839"/>
                  <a:pt x="9238940" y="180996"/>
                </a:cubicBezTo>
                <a:cubicBezTo>
                  <a:pt x="9332261" y="149180"/>
                  <a:pt x="9628234" y="1290"/>
                  <a:pt x="9684506" y="37"/>
                </a:cubicBezTo>
                <a:close/>
              </a:path>
            </a:pathLst>
          </a:custGeom>
          <a:solidFill>
            <a:schemeClr val="accent5"/>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34" name="Freeform 333"/>
          <p:cNvSpPr/>
          <p:nvPr/>
        </p:nvSpPr>
        <p:spPr bwMode="gray">
          <a:xfrm>
            <a:off x="332583" y="4719427"/>
            <a:ext cx="11520000" cy="1197195"/>
          </a:xfrm>
          <a:custGeom>
            <a:avLst/>
            <a:gdLst>
              <a:gd name="connsiteX0" fmla="*/ 4200350 w 11538397"/>
              <a:gd name="connsiteY0" fmla="*/ 889117 h 1197195"/>
              <a:gd name="connsiteX1" fmla="*/ 4409285 w 11538397"/>
              <a:gd name="connsiteY1" fmla="*/ 949184 h 1197195"/>
              <a:gd name="connsiteX2" fmla="*/ 8272142 w 11538397"/>
              <a:gd name="connsiteY2" fmla="*/ 935388 h 1197195"/>
              <a:gd name="connsiteX3" fmla="*/ 4200350 w 11538397"/>
              <a:gd name="connsiteY3" fmla="*/ 889117 h 1197195"/>
              <a:gd name="connsiteX4" fmla="*/ 10736393 w 11538397"/>
              <a:gd name="connsiteY4" fmla="*/ 0 h 1197195"/>
              <a:gd name="connsiteX5" fmla="*/ 11538397 w 11538397"/>
              <a:gd name="connsiteY5" fmla="*/ 74576 h 1197195"/>
              <a:gd name="connsiteX6" fmla="*/ 11538397 w 11538397"/>
              <a:gd name="connsiteY6" fmla="*/ 382654 h 1197195"/>
              <a:gd name="connsiteX7" fmla="*/ 11538397 w 11538397"/>
              <a:gd name="connsiteY7" fmla="*/ 889117 h 1197195"/>
              <a:gd name="connsiteX8" fmla="*/ 11538397 w 11538397"/>
              <a:gd name="connsiteY8" fmla="*/ 1197195 h 1197195"/>
              <a:gd name="connsiteX9" fmla="*/ 17051 w 11538397"/>
              <a:gd name="connsiteY9" fmla="*/ 1197195 h 1197195"/>
              <a:gd name="connsiteX10" fmla="*/ 0 w 11538397"/>
              <a:gd name="connsiteY10" fmla="*/ 1073749 h 1197195"/>
              <a:gd name="connsiteX11" fmla="*/ 0 w 11538397"/>
              <a:gd name="connsiteY11" fmla="*/ 765671 h 1197195"/>
              <a:gd name="connsiteX12" fmla="*/ 0 w 11538397"/>
              <a:gd name="connsiteY12" fmla="*/ 564477 h 1197195"/>
              <a:gd name="connsiteX13" fmla="*/ 0 w 11538397"/>
              <a:gd name="connsiteY13" fmla="*/ 256399 h 1197195"/>
              <a:gd name="connsiteX14" fmla="*/ 582887 w 11538397"/>
              <a:gd name="connsiteY14" fmla="*/ 426089 h 1197195"/>
              <a:gd name="connsiteX15" fmla="*/ 1472402 w 11538397"/>
              <a:gd name="connsiteY15" fmla="*/ 256262 h 1197195"/>
              <a:gd name="connsiteX16" fmla="*/ 2561579 w 11538397"/>
              <a:gd name="connsiteY16" fmla="*/ 501705 h 1197195"/>
              <a:gd name="connsiteX17" fmla="*/ 3694741 w 11538397"/>
              <a:gd name="connsiteY17" fmla="*/ 435681 h 1197195"/>
              <a:gd name="connsiteX18" fmla="*/ 4409285 w 11538397"/>
              <a:gd name="connsiteY18" fmla="*/ 641106 h 1197195"/>
              <a:gd name="connsiteX19" fmla="*/ 8272142 w 11538397"/>
              <a:gd name="connsiteY19" fmla="*/ 627310 h 1197195"/>
              <a:gd name="connsiteX20" fmla="*/ 9212586 w 11538397"/>
              <a:gd name="connsiteY20" fmla="*/ 254590 h 1197195"/>
              <a:gd name="connsiteX21" fmla="*/ 10069053 w 11538397"/>
              <a:gd name="connsiteY21" fmla="*/ 370521 h 1197195"/>
              <a:gd name="connsiteX22" fmla="*/ 10736393 w 11538397"/>
              <a:gd name="connsiteY22" fmla="*/ 0 h 1197195"/>
              <a:gd name="connsiteX0" fmla="*/ 4200350 w 11538397"/>
              <a:gd name="connsiteY0" fmla="*/ 889117 h 1197195"/>
              <a:gd name="connsiteX1" fmla="*/ 4409285 w 11538397"/>
              <a:gd name="connsiteY1" fmla="*/ 949184 h 1197195"/>
              <a:gd name="connsiteX2" fmla="*/ 4200350 w 11538397"/>
              <a:gd name="connsiteY2" fmla="*/ 889117 h 1197195"/>
              <a:gd name="connsiteX3" fmla="*/ 10736393 w 11538397"/>
              <a:gd name="connsiteY3" fmla="*/ 0 h 1197195"/>
              <a:gd name="connsiteX4" fmla="*/ 11538397 w 11538397"/>
              <a:gd name="connsiteY4" fmla="*/ 74576 h 1197195"/>
              <a:gd name="connsiteX5" fmla="*/ 11538397 w 11538397"/>
              <a:gd name="connsiteY5" fmla="*/ 382654 h 1197195"/>
              <a:gd name="connsiteX6" fmla="*/ 11538397 w 11538397"/>
              <a:gd name="connsiteY6" fmla="*/ 889117 h 1197195"/>
              <a:gd name="connsiteX7" fmla="*/ 11538397 w 11538397"/>
              <a:gd name="connsiteY7" fmla="*/ 1197195 h 1197195"/>
              <a:gd name="connsiteX8" fmla="*/ 17051 w 11538397"/>
              <a:gd name="connsiteY8" fmla="*/ 1197195 h 1197195"/>
              <a:gd name="connsiteX9" fmla="*/ 0 w 11538397"/>
              <a:gd name="connsiteY9" fmla="*/ 1073749 h 1197195"/>
              <a:gd name="connsiteX10" fmla="*/ 0 w 11538397"/>
              <a:gd name="connsiteY10" fmla="*/ 765671 h 1197195"/>
              <a:gd name="connsiteX11" fmla="*/ 0 w 11538397"/>
              <a:gd name="connsiteY11" fmla="*/ 564477 h 1197195"/>
              <a:gd name="connsiteX12" fmla="*/ 0 w 11538397"/>
              <a:gd name="connsiteY12" fmla="*/ 256399 h 1197195"/>
              <a:gd name="connsiteX13" fmla="*/ 582887 w 11538397"/>
              <a:gd name="connsiteY13" fmla="*/ 426089 h 1197195"/>
              <a:gd name="connsiteX14" fmla="*/ 1472402 w 11538397"/>
              <a:gd name="connsiteY14" fmla="*/ 256262 h 1197195"/>
              <a:gd name="connsiteX15" fmla="*/ 2561579 w 11538397"/>
              <a:gd name="connsiteY15" fmla="*/ 501705 h 1197195"/>
              <a:gd name="connsiteX16" fmla="*/ 3694741 w 11538397"/>
              <a:gd name="connsiteY16" fmla="*/ 435681 h 1197195"/>
              <a:gd name="connsiteX17" fmla="*/ 4409285 w 11538397"/>
              <a:gd name="connsiteY17" fmla="*/ 641106 h 1197195"/>
              <a:gd name="connsiteX18" fmla="*/ 8272142 w 11538397"/>
              <a:gd name="connsiteY18" fmla="*/ 627310 h 1197195"/>
              <a:gd name="connsiteX19" fmla="*/ 9212586 w 11538397"/>
              <a:gd name="connsiteY19" fmla="*/ 254590 h 1197195"/>
              <a:gd name="connsiteX20" fmla="*/ 10069053 w 11538397"/>
              <a:gd name="connsiteY20" fmla="*/ 370521 h 1197195"/>
              <a:gd name="connsiteX21" fmla="*/ 10736393 w 11538397"/>
              <a:gd name="connsiteY21" fmla="*/ 0 h 1197195"/>
              <a:gd name="connsiteX0" fmla="*/ 10736393 w 11538397"/>
              <a:gd name="connsiteY0" fmla="*/ 0 h 1197195"/>
              <a:gd name="connsiteX1" fmla="*/ 11538397 w 11538397"/>
              <a:gd name="connsiteY1" fmla="*/ 74576 h 1197195"/>
              <a:gd name="connsiteX2" fmla="*/ 11538397 w 11538397"/>
              <a:gd name="connsiteY2" fmla="*/ 382654 h 1197195"/>
              <a:gd name="connsiteX3" fmla="*/ 11538397 w 11538397"/>
              <a:gd name="connsiteY3" fmla="*/ 889117 h 1197195"/>
              <a:gd name="connsiteX4" fmla="*/ 11538397 w 11538397"/>
              <a:gd name="connsiteY4" fmla="*/ 1197195 h 1197195"/>
              <a:gd name="connsiteX5" fmla="*/ 17051 w 11538397"/>
              <a:gd name="connsiteY5" fmla="*/ 1197195 h 1197195"/>
              <a:gd name="connsiteX6" fmla="*/ 0 w 11538397"/>
              <a:gd name="connsiteY6" fmla="*/ 1073749 h 1197195"/>
              <a:gd name="connsiteX7" fmla="*/ 0 w 11538397"/>
              <a:gd name="connsiteY7" fmla="*/ 765671 h 1197195"/>
              <a:gd name="connsiteX8" fmla="*/ 0 w 11538397"/>
              <a:gd name="connsiteY8" fmla="*/ 564477 h 1197195"/>
              <a:gd name="connsiteX9" fmla="*/ 0 w 11538397"/>
              <a:gd name="connsiteY9" fmla="*/ 256399 h 1197195"/>
              <a:gd name="connsiteX10" fmla="*/ 582887 w 11538397"/>
              <a:gd name="connsiteY10" fmla="*/ 426089 h 1197195"/>
              <a:gd name="connsiteX11" fmla="*/ 1472402 w 11538397"/>
              <a:gd name="connsiteY11" fmla="*/ 256262 h 1197195"/>
              <a:gd name="connsiteX12" fmla="*/ 2561579 w 11538397"/>
              <a:gd name="connsiteY12" fmla="*/ 501705 h 1197195"/>
              <a:gd name="connsiteX13" fmla="*/ 3694741 w 11538397"/>
              <a:gd name="connsiteY13" fmla="*/ 435681 h 1197195"/>
              <a:gd name="connsiteX14" fmla="*/ 4409285 w 11538397"/>
              <a:gd name="connsiteY14" fmla="*/ 641106 h 1197195"/>
              <a:gd name="connsiteX15" fmla="*/ 8272142 w 11538397"/>
              <a:gd name="connsiteY15" fmla="*/ 627310 h 1197195"/>
              <a:gd name="connsiteX16" fmla="*/ 9212586 w 11538397"/>
              <a:gd name="connsiteY16" fmla="*/ 254590 h 1197195"/>
              <a:gd name="connsiteX17" fmla="*/ 10069053 w 11538397"/>
              <a:gd name="connsiteY17" fmla="*/ 370521 h 1197195"/>
              <a:gd name="connsiteX18" fmla="*/ 10736393 w 11538397"/>
              <a:gd name="connsiteY18" fmla="*/ 0 h 119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538397" h="1197195">
                <a:moveTo>
                  <a:pt x="10736393" y="0"/>
                </a:moveTo>
                <a:lnTo>
                  <a:pt x="11538397" y="74576"/>
                </a:lnTo>
                <a:lnTo>
                  <a:pt x="11538397" y="382654"/>
                </a:lnTo>
                <a:lnTo>
                  <a:pt x="11538397" y="889117"/>
                </a:lnTo>
                <a:lnTo>
                  <a:pt x="11538397" y="1197195"/>
                </a:lnTo>
                <a:lnTo>
                  <a:pt x="17051" y="1197195"/>
                </a:lnTo>
                <a:cubicBezTo>
                  <a:pt x="16954" y="1152014"/>
                  <a:pt x="11136" y="1111234"/>
                  <a:pt x="0" y="1073749"/>
                </a:cubicBezTo>
                <a:lnTo>
                  <a:pt x="0" y="765671"/>
                </a:lnTo>
                <a:lnTo>
                  <a:pt x="0" y="564477"/>
                </a:lnTo>
                <a:lnTo>
                  <a:pt x="0" y="256399"/>
                </a:lnTo>
                <a:cubicBezTo>
                  <a:pt x="174289" y="308720"/>
                  <a:pt x="422266" y="425782"/>
                  <a:pt x="582887" y="426089"/>
                </a:cubicBezTo>
                <a:cubicBezTo>
                  <a:pt x="871675" y="315465"/>
                  <a:pt x="1183614" y="366886"/>
                  <a:pt x="1472402" y="256262"/>
                </a:cubicBezTo>
                <a:cubicBezTo>
                  <a:pt x="1802184" y="317125"/>
                  <a:pt x="2164471" y="427014"/>
                  <a:pt x="2561579" y="501705"/>
                </a:cubicBezTo>
                <a:lnTo>
                  <a:pt x="3694741" y="435681"/>
                </a:lnTo>
                <a:lnTo>
                  <a:pt x="4409285" y="641106"/>
                </a:lnTo>
                <a:lnTo>
                  <a:pt x="8272142" y="627310"/>
                </a:lnTo>
                <a:cubicBezTo>
                  <a:pt x="8561509" y="565231"/>
                  <a:pt x="8963730" y="339433"/>
                  <a:pt x="9212586" y="254590"/>
                </a:cubicBezTo>
                <a:cubicBezTo>
                  <a:pt x="9305907" y="222774"/>
                  <a:pt x="10012781" y="371774"/>
                  <a:pt x="10069053" y="370521"/>
                </a:cubicBezTo>
                <a:cubicBezTo>
                  <a:pt x="10162840" y="368432"/>
                  <a:pt x="10635537" y="3182"/>
                  <a:pt x="10736393" y="0"/>
                </a:cubicBezTo>
                <a:close/>
              </a:path>
            </a:pathLst>
          </a:custGeom>
          <a:solidFill>
            <a:schemeClr val="accent5">
              <a:lumMod val="90000"/>
            </a:schemeClr>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35" name="Freeform 334"/>
          <p:cNvSpPr/>
          <p:nvPr/>
        </p:nvSpPr>
        <p:spPr bwMode="gray">
          <a:xfrm>
            <a:off x="332583" y="5089862"/>
            <a:ext cx="11520000" cy="826760"/>
          </a:xfrm>
          <a:custGeom>
            <a:avLst/>
            <a:gdLst/>
            <a:ahLst/>
            <a:cxnLst/>
            <a:rect l="l" t="t" r="r" b="b"/>
            <a:pathLst>
              <a:path w="11523371" h="826760">
                <a:moveTo>
                  <a:pt x="11431861" y="204"/>
                </a:moveTo>
                <a:cubicBezTo>
                  <a:pt x="11466593" y="1084"/>
                  <a:pt x="11497258" y="4855"/>
                  <a:pt x="11523371" y="12219"/>
                </a:cubicBezTo>
                <a:lnTo>
                  <a:pt x="11523371" y="518682"/>
                </a:lnTo>
                <a:lnTo>
                  <a:pt x="11523371" y="826760"/>
                </a:lnTo>
                <a:lnTo>
                  <a:pt x="2025" y="826760"/>
                </a:lnTo>
                <a:lnTo>
                  <a:pt x="0" y="826631"/>
                </a:lnTo>
                <a:lnTo>
                  <a:pt x="0" y="194447"/>
                </a:lnTo>
                <a:lnTo>
                  <a:pt x="504361" y="208054"/>
                </a:lnTo>
                <a:cubicBezTo>
                  <a:pt x="793149" y="97430"/>
                  <a:pt x="1422588" y="415551"/>
                  <a:pt x="1711376" y="304927"/>
                </a:cubicBezTo>
                <a:cubicBezTo>
                  <a:pt x="2349109" y="340763"/>
                  <a:pt x="3260969" y="208830"/>
                  <a:pt x="4394259" y="270671"/>
                </a:cubicBezTo>
                <a:lnTo>
                  <a:pt x="8257116" y="256875"/>
                </a:lnTo>
                <a:cubicBezTo>
                  <a:pt x="9200411" y="211778"/>
                  <a:pt x="9859219" y="269738"/>
                  <a:pt x="10269927" y="165186"/>
                </a:cubicBezTo>
                <a:cubicBezTo>
                  <a:pt x="10746256" y="129507"/>
                  <a:pt x="11188733" y="-5957"/>
                  <a:pt x="11431861" y="204"/>
                </a:cubicBezTo>
                <a:close/>
              </a:path>
            </a:pathLst>
          </a:custGeom>
          <a:solidFill>
            <a:schemeClr val="accent4"/>
          </a:solid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336" name="Group 335"/>
          <p:cNvGrpSpPr/>
          <p:nvPr/>
        </p:nvGrpSpPr>
        <p:grpSpPr bwMode="gray">
          <a:xfrm>
            <a:off x="821584" y="3586638"/>
            <a:ext cx="388563" cy="2083256"/>
            <a:chOff x="821584" y="2528901"/>
            <a:chExt cx="429168" cy="2300958"/>
          </a:xfrm>
          <a:solidFill>
            <a:schemeClr val="bg1"/>
          </a:solidFill>
        </p:grpSpPr>
        <p:sp>
          <p:nvSpPr>
            <p:cNvPr id="337" name="Trapezoid 336"/>
            <p:cNvSpPr/>
            <p:nvPr/>
          </p:nvSpPr>
          <p:spPr bwMode="gray">
            <a:xfrm>
              <a:off x="957888" y="2528901"/>
              <a:ext cx="287150" cy="2300958"/>
            </a:xfrm>
            <a:prstGeom prst="trapezoid">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338" name="Group 337"/>
            <p:cNvGrpSpPr/>
            <p:nvPr/>
          </p:nvGrpSpPr>
          <p:grpSpPr bwMode="gray">
            <a:xfrm>
              <a:off x="821584" y="3429533"/>
              <a:ext cx="429168" cy="1392038"/>
              <a:chOff x="8592523" y="3101327"/>
              <a:chExt cx="721312" cy="2339631"/>
            </a:xfrm>
            <a:grpFill/>
          </p:grpSpPr>
          <p:grpSp>
            <p:nvGrpSpPr>
              <p:cNvPr id="339" name="Group 338"/>
              <p:cNvGrpSpPr/>
              <p:nvPr/>
            </p:nvGrpSpPr>
            <p:grpSpPr bwMode="gray">
              <a:xfrm>
                <a:off x="8781326" y="3247377"/>
                <a:ext cx="38118" cy="918000"/>
                <a:chOff x="5267904" y="3957186"/>
                <a:chExt cx="51265" cy="1101783"/>
              </a:xfrm>
              <a:grpFill/>
            </p:grpSpPr>
            <p:sp>
              <p:nvSpPr>
                <p:cNvPr id="418" name="Rounded Rectangle 417"/>
                <p:cNvSpPr/>
                <p:nvPr/>
              </p:nvSpPr>
              <p:spPr bwMode="gray">
                <a:xfrm rot="16200000">
                  <a:off x="4722412" y="4502678"/>
                  <a:ext cx="1101783"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19" name="Rounded Rectangle 418"/>
                <p:cNvSpPr/>
                <p:nvPr/>
              </p:nvSpPr>
              <p:spPr bwMode="gray">
                <a:xfrm>
                  <a:off x="5267908" y="4065706"/>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20" name="Rounded Rectangle 419"/>
                <p:cNvSpPr/>
                <p:nvPr/>
              </p:nvSpPr>
              <p:spPr bwMode="gray">
                <a:xfrm>
                  <a:off x="5267908" y="4017383"/>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21" name="Rounded Rectangle 420"/>
                <p:cNvSpPr/>
                <p:nvPr/>
              </p:nvSpPr>
              <p:spPr bwMode="gray">
                <a:xfrm>
                  <a:off x="5267908" y="3969060"/>
                  <a:ext cx="46800" cy="10801"/>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22" name="Rounded Rectangle 421"/>
                <p:cNvSpPr/>
                <p:nvPr/>
              </p:nvSpPr>
              <p:spPr bwMode="gray">
                <a:xfrm>
                  <a:off x="5267908" y="4210675"/>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23" name="Rounded Rectangle 422"/>
                <p:cNvSpPr/>
                <p:nvPr/>
              </p:nvSpPr>
              <p:spPr bwMode="gray">
                <a:xfrm>
                  <a:off x="5267908" y="4162352"/>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24" name="Rounded Rectangle 423"/>
                <p:cNvSpPr/>
                <p:nvPr/>
              </p:nvSpPr>
              <p:spPr bwMode="gray">
                <a:xfrm>
                  <a:off x="5267908" y="4114029"/>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25" name="Rounded Rectangle 424"/>
                <p:cNvSpPr/>
                <p:nvPr/>
              </p:nvSpPr>
              <p:spPr bwMode="gray">
                <a:xfrm>
                  <a:off x="5267908" y="4355644"/>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26" name="Rounded Rectangle 425"/>
                <p:cNvSpPr/>
                <p:nvPr/>
              </p:nvSpPr>
              <p:spPr bwMode="gray">
                <a:xfrm>
                  <a:off x="5267908" y="4307321"/>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27" name="Rounded Rectangle 426"/>
                <p:cNvSpPr/>
                <p:nvPr/>
              </p:nvSpPr>
              <p:spPr bwMode="gray">
                <a:xfrm>
                  <a:off x="5267908" y="4258998"/>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28" name="Rounded Rectangle 427"/>
                <p:cNvSpPr/>
                <p:nvPr/>
              </p:nvSpPr>
              <p:spPr bwMode="gray">
                <a:xfrm>
                  <a:off x="5267908" y="4500613"/>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29" name="Rounded Rectangle 428"/>
                <p:cNvSpPr/>
                <p:nvPr/>
              </p:nvSpPr>
              <p:spPr bwMode="gray">
                <a:xfrm>
                  <a:off x="5267908" y="4452290"/>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30" name="Rounded Rectangle 429"/>
                <p:cNvSpPr/>
                <p:nvPr/>
              </p:nvSpPr>
              <p:spPr bwMode="gray">
                <a:xfrm>
                  <a:off x="5267908" y="4403967"/>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31" name="Rounded Rectangle 430"/>
                <p:cNvSpPr/>
                <p:nvPr/>
              </p:nvSpPr>
              <p:spPr bwMode="gray">
                <a:xfrm>
                  <a:off x="5267908" y="4597259"/>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32" name="Rounded Rectangle 431"/>
                <p:cNvSpPr/>
                <p:nvPr/>
              </p:nvSpPr>
              <p:spPr bwMode="gray">
                <a:xfrm>
                  <a:off x="5267908" y="4548936"/>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33" name="Rounded Rectangle 432"/>
                <p:cNvSpPr/>
                <p:nvPr/>
              </p:nvSpPr>
              <p:spPr bwMode="gray">
                <a:xfrm>
                  <a:off x="5267908" y="4742228"/>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34" name="Rounded Rectangle 433"/>
                <p:cNvSpPr/>
                <p:nvPr/>
              </p:nvSpPr>
              <p:spPr bwMode="gray">
                <a:xfrm>
                  <a:off x="5267908" y="4693905"/>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35" name="Rounded Rectangle 434"/>
                <p:cNvSpPr/>
                <p:nvPr/>
              </p:nvSpPr>
              <p:spPr bwMode="gray">
                <a:xfrm>
                  <a:off x="5267908" y="4645582"/>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36" name="Rounded Rectangle 435"/>
                <p:cNvSpPr/>
                <p:nvPr/>
              </p:nvSpPr>
              <p:spPr bwMode="gray">
                <a:xfrm>
                  <a:off x="5267908" y="4887197"/>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37" name="Rounded Rectangle 436"/>
                <p:cNvSpPr/>
                <p:nvPr/>
              </p:nvSpPr>
              <p:spPr bwMode="gray">
                <a:xfrm>
                  <a:off x="5267908" y="4838874"/>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38" name="Rounded Rectangle 437"/>
                <p:cNvSpPr/>
                <p:nvPr/>
              </p:nvSpPr>
              <p:spPr bwMode="gray">
                <a:xfrm>
                  <a:off x="5267908" y="4790551"/>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39" name="Rounded Rectangle 438"/>
                <p:cNvSpPr/>
                <p:nvPr/>
              </p:nvSpPr>
              <p:spPr bwMode="gray">
                <a:xfrm>
                  <a:off x="5267908" y="5032166"/>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40" name="Rounded Rectangle 439"/>
                <p:cNvSpPr/>
                <p:nvPr/>
              </p:nvSpPr>
              <p:spPr bwMode="gray">
                <a:xfrm>
                  <a:off x="5267908" y="4983843"/>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41" name="Rounded Rectangle 440"/>
                <p:cNvSpPr/>
                <p:nvPr/>
              </p:nvSpPr>
              <p:spPr bwMode="gray">
                <a:xfrm>
                  <a:off x="5267908" y="4935520"/>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42" name="Rounded Rectangle 441"/>
                <p:cNvSpPr/>
                <p:nvPr/>
              </p:nvSpPr>
              <p:spPr bwMode="gray">
                <a:xfrm rot="16200000">
                  <a:off x="4762878" y="4502678"/>
                  <a:ext cx="1101783" cy="107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340" name="Group 339"/>
              <p:cNvGrpSpPr/>
              <p:nvPr/>
            </p:nvGrpSpPr>
            <p:grpSpPr bwMode="gray">
              <a:xfrm>
                <a:off x="8781326" y="4181165"/>
                <a:ext cx="38093" cy="1259793"/>
                <a:chOff x="5267908" y="3943849"/>
                <a:chExt cx="51232" cy="1512000"/>
              </a:xfrm>
              <a:grpFill/>
            </p:grpSpPr>
            <p:sp>
              <p:nvSpPr>
                <p:cNvPr id="385" name="Rounded Rectangle 384"/>
                <p:cNvSpPr/>
                <p:nvPr/>
              </p:nvSpPr>
              <p:spPr bwMode="gray">
                <a:xfrm rot="16200000">
                  <a:off x="4517308" y="4694449"/>
                  <a:ext cx="151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86" name="Rounded Rectangle 385"/>
                <p:cNvSpPr/>
                <p:nvPr/>
              </p:nvSpPr>
              <p:spPr bwMode="gray">
                <a:xfrm>
                  <a:off x="5267908" y="4065706"/>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87" name="Rounded Rectangle 386"/>
                <p:cNvSpPr/>
                <p:nvPr/>
              </p:nvSpPr>
              <p:spPr bwMode="gray">
                <a:xfrm>
                  <a:off x="5267908" y="4017383"/>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88" name="Rounded Rectangle 387"/>
                <p:cNvSpPr/>
                <p:nvPr/>
              </p:nvSpPr>
              <p:spPr bwMode="gray">
                <a:xfrm>
                  <a:off x="5267908" y="3969060"/>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89" name="Rounded Rectangle 388"/>
                <p:cNvSpPr/>
                <p:nvPr/>
              </p:nvSpPr>
              <p:spPr bwMode="gray">
                <a:xfrm>
                  <a:off x="5267908" y="4210675"/>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90" name="Rounded Rectangle 389"/>
                <p:cNvSpPr/>
                <p:nvPr/>
              </p:nvSpPr>
              <p:spPr bwMode="gray">
                <a:xfrm>
                  <a:off x="5267908" y="4162352"/>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91" name="Rounded Rectangle 390"/>
                <p:cNvSpPr/>
                <p:nvPr/>
              </p:nvSpPr>
              <p:spPr bwMode="gray">
                <a:xfrm>
                  <a:off x="5267908" y="4114029"/>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92" name="Rounded Rectangle 391"/>
                <p:cNvSpPr/>
                <p:nvPr/>
              </p:nvSpPr>
              <p:spPr bwMode="gray">
                <a:xfrm>
                  <a:off x="5267908" y="4355644"/>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93" name="Rounded Rectangle 392"/>
                <p:cNvSpPr/>
                <p:nvPr/>
              </p:nvSpPr>
              <p:spPr bwMode="gray">
                <a:xfrm>
                  <a:off x="5267908" y="4307321"/>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94" name="Rounded Rectangle 393"/>
                <p:cNvSpPr/>
                <p:nvPr/>
              </p:nvSpPr>
              <p:spPr bwMode="gray">
                <a:xfrm>
                  <a:off x="5267908" y="4258998"/>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95" name="Rounded Rectangle 394"/>
                <p:cNvSpPr/>
                <p:nvPr/>
              </p:nvSpPr>
              <p:spPr bwMode="gray">
                <a:xfrm>
                  <a:off x="5267908" y="4500613"/>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96" name="Rounded Rectangle 395"/>
                <p:cNvSpPr/>
                <p:nvPr/>
              </p:nvSpPr>
              <p:spPr bwMode="gray">
                <a:xfrm>
                  <a:off x="5267908" y="4452290"/>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97" name="Rounded Rectangle 396"/>
                <p:cNvSpPr/>
                <p:nvPr/>
              </p:nvSpPr>
              <p:spPr bwMode="gray">
                <a:xfrm>
                  <a:off x="5267908" y="4403967"/>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98" name="Rounded Rectangle 397"/>
                <p:cNvSpPr/>
                <p:nvPr/>
              </p:nvSpPr>
              <p:spPr bwMode="gray">
                <a:xfrm>
                  <a:off x="5267908" y="4597259"/>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99" name="Rounded Rectangle 398"/>
                <p:cNvSpPr/>
                <p:nvPr/>
              </p:nvSpPr>
              <p:spPr bwMode="gray">
                <a:xfrm>
                  <a:off x="5267908" y="4548936"/>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00" name="Rounded Rectangle 399"/>
                <p:cNvSpPr/>
                <p:nvPr/>
              </p:nvSpPr>
              <p:spPr bwMode="gray">
                <a:xfrm>
                  <a:off x="5267908" y="4742228"/>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01" name="Rounded Rectangle 400"/>
                <p:cNvSpPr/>
                <p:nvPr/>
              </p:nvSpPr>
              <p:spPr bwMode="gray">
                <a:xfrm>
                  <a:off x="5267908" y="4693905"/>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02" name="Rounded Rectangle 401"/>
                <p:cNvSpPr/>
                <p:nvPr/>
              </p:nvSpPr>
              <p:spPr bwMode="gray">
                <a:xfrm>
                  <a:off x="5267908" y="4645582"/>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03" name="Rounded Rectangle 402"/>
                <p:cNvSpPr/>
                <p:nvPr/>
              </p:nvSpPr>
              <p:spPr bwMode="gray">
                <a:xfrm>
                  <a:off x="5267908" y="4887197"/>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04" name="Rounded Rectangle 403"/>
                <p:cNvSpPr/>
                <p:nvPr/>
              </p:nvSpPr>
              <p:spPr bwMode="gray">
                <a:xfrm>
                  <a:off x="5267908" y="4838874"/>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05" name="Rounded Rectangle 404"/>
                <p:cNvSpPr/>
                <p:nvPr/>
              </p:nvSpPr>
              <p:spPr bwMode="gray">
                <a:xfrm>
                  <a:off x="5267908" y="4790551"/>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06" name="Rounded Rectangle 405"/>
                <p:cNvSpPr/>
                <p:nvPr/>
              </p:nvSpPr>
              <p:spPr bwMode="gray">
                <a:xfrm>
                  <a:off x="5267908" y="5032166"/>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07" name="Rounded Rectangle 406"/>
                <p:cNvSpPr/>
                <p:nvPr/>
              </p:nvSpPr>
              <p:spPr bwMode="gray">
                <a:xfrm>
                  <a:off x="5267908" y="4983843"/>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08" name="Rounded Rectangle 407"/>
                <p:cNvSpPr/>
                <p:nvPr/>
              </p:nvSpPr>
              <p:spPr bwMode="gray">
                <a:xfrm>
                  <a:off x="5267908" y="4935520"/>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09" name="Rounded Rectangle 408"/>
                <p:cNvSpPr/>
                <p:nvPr/>
              </p:nvSpPr>
              <p:spPr bwMode="gray">
                <a:xfrm>
                  <a:off x="5267908" y="5080489"/>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10" name="Rounded Rectangle 409"/>
                <p:cNvSpPr/>
                <p:nvPr/>
              </p:nvSpPr>
              <p:spPr bwMode="gray">
                <a:xfrm>
                  <a:off x="5267908" y="5225458"/>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11" name="Rounded Rectangle 410"/>
                <p:cNvSpPr/>
                <p:nvPr/>
              </p:nvSpPr>
              <p:spPr bwMode="gray">
                <a:xfrm>
                  <a:off x="5267908" y="5177135"/>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12" name="Rounded Rectangle 411"/>
                <p:cNvSpPr/>
                <p:nvPr/>
              </p:nvSpPr>
              <p:spPr bwMode="gray">
                <a:xfrm>
                  <a:off x="5267908" y="5128812"/>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13" name="Rounded Rectangle 412"/>
                <p:cNvSpPr/>
                <p:nvPr/>
              </p:nvSpPr>
              <p:spPr bwMode="gray">
                <a:xfrm>
                  <a:off x="5267908" y="5370427"/>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14" name="Rounded Rectangle 413"/>
                <p:cNvSpPr/>
                <p:nvPr/>
              </p:nvSpPr>
              <p:spPr bwMode="gray">
                <a:xfrm>
                  <a:off x="5267908" y="5322104"/>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15" name="Rounded Rectangle 414"/>
                <p:cNvSpPr/>
                <p:nvPr/>
              </p:nvSpPr>
              <p:spPr bwMode="gray">
                <a:xfrm>
                  <a:off x="5267908" y="5273781"/>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16" name="Rounded Rectangle 415"/>
                <p:cNvSpPr/>
                <p:nvPr/>
              </p:nvSpPr>
              <p:spPr bwMode="gray">
                <a:xfrm>
                  <a:off x="5267908" y="5418750"/>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17" name="Rounded Rectangle 416"/>
                <p:cNvSpPr/>
                <p:nvPr/>
              </p:nvSpPr>
              <p:spPr bwMode="gray">
                <a:xfrm rot="16200000">
                  <a:off x="4557740" y="4694449"/>
                  <a:ext cx="151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341" name="Rounded Rectangle 340"/>
              <p:cNvSpPr/>
              <p:nvPr/>
            </p:nvSpPr>
            <p:spPr bwMode="gray">
              <a:xfrm>
                <a:off x="8724509" y="3230132"/>
                <a:ext cx="586800"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42" name="Rounded Rectangle 341"/>
              <p:cNvSpPr/>
              <p:nvPr/>
            </p:nvSpPr>
            <p:spPr bwMode="gray">
              <a:xfrm>
                <a:off x="8724511" y="3323389"/>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43" name="Rounded Rectangle 342"/>
              <p:cNvSpPr/>
              <p:nvPr/>
            </p:nvSpPr>
            <p:spPr bwMode="gray">
              <a:xfrm>
                <a:off x="8724511" y="3416645"/>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44" name="Rounded Rectangle 343"/>
              <p:cNvSpPr/>
              <p:nvPr/>
            </p:nvSpPr>
            <p:spPr bwMode="gray">
              <a:xfrm>
                <a:off x="8724511" y="3509902"/>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45" name="Rounded Rectangle 344"/>
              <p:cNvSpPr/>
              <p:nvPr/>
            </p:nvSpPr>
            <p:spPr bwMode="gray">
              <a:xfrm>
                <a:off x="8724511" y="3882929"/>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46" name="Rounded Rectangle 345"/>
              <p:cNvSpPr/>
              <p:nvPr/>
            </p:nvSpPr>
            <p:spPr bwMode="gray">
              <a:xfrm>
                <a:off x="8724511" y="3789671"/>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47" name="Rounded Rectangle 346"/>
              <p:cNvSpPr/>
              <p:nvPr/>
            </p:nvSpPr>
            <p:spPr bwMode="gray">
              <a:xfrm>
                <a:off x="8724511" y="3696414"/>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48" name="Rounded Rectangle 347"/>
              <p:cNvSpPr/>
              <p:nvPr/>
            </p:nvSpPr>
            <p:spPr bwMode="gray">
              <a:xfrm>
                <a:off x="8724511" y="3603158"/>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49" name="Rounded Rectangle 348"/>
              <p:cNvSpPr/>
              <p:nvPr/>
            </p:nvSpPr>
            <p:spPr bwMode="gray">
              <a:xfrm>
                <a:off x="8724511" y="3136874"/>
                <a:ext cx="95984"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50" name="Rounded Rectangle 349"/>
              <p:cNvSpPr/>
              <p:nvPr/>
            </p:nvSpPr>
            <p:spPr bwMode="gray">
              <a:xfrm>
                <a:off x="8724510" y="3101327"/>
                <a:ext cx="530913"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51" name="Rounded Rectangle 350"/>
              <p:cNvSpPr/>
              <p:nvPr/>
            </p:nvSpPr>
            <p:spPr bwMode="gray">
              <a:xfrm>
                <a:off x="8807048" y="3158575"/>
                <a:ext cx="504000"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52" name="Rounded Rectangle 351"/>
              <p:cNvSpPr/>
              <p:nvPr/>
            </p:nvSpPr>
            <p:spPr bwMode="gray">
              <a:xfrm>
                <a:off x="8807048" y="3101327"/>
                <a:ext cx="504000"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53" name="Rounded Rectangle 352"/>
              <p:cNvSpPr/>
              <p:nvPr/>
            </p:nvSpPr>
            <p:spPr bwMode="gray">
              <a:xfrm rot="16200000">
                <a:off x="8336219" y="3492992"/>
                <a:ext cx="788871"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54" name="Rounded Rectangle 353"/>
              <p:cNvSpPr/>
              <p:nvPr/>
            </p:nvSpPr>
            <p:spPr bwMode="gray">
              <a:xfrm rot="16200000">
                <a:off x="8420040" y="3492992"/>
                <a:ext cx="788871"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55" name="Rounded Rectangle 354"/>
              <p:cNvSpPr/>
              <p:nvPr/>
            </p:nvSpPr>
            <p:spPr bwMode="gray">
              <a:xfrm rot="16200000">
                <a:off x="8378130" y="3492992"/>
                <a:ext cx="788871"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56" name="Rounded Rectangle 355"/>
              <p:cNvSpPr/>
              <p:nvPr/>
            </p:nvSpPr>
            <p:spPr bwMode="gray">
              <a:xfrm rot="16200000">
                <a:off x="8791111" y="3164317"/>
                <a:ext cx="134978"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57" name="Rounded Rectangle 356"/>
              <p:cNvSpPr/>
              <p:nvPr/>
            </p:nvSpPr>
            <p:spPr bwMode="gray">
              <a:xfrm rot="16200000">
                <a:off x="8971101" y="3164317"/>
                <a:ext cx="134978"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58" name="Rounded Rectangle 357"/>
              <p:cNvSpPr/>
              <p:nvPr/>
            </p:nvSpPr>
            <p:spPr bwMode="gray">
              <a:xfrm rot="16200000">
                <a:off x="9240274" y="3164317"/>
                <a:ext cx="134978"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59" name="Rounded Rectangle 358"/>
              <p:cNvSpPr/>
              <p:nvPr/>
            </p:nvSpPr>
            <p:spPr bwMode="gray">
              <a:xfrm rot="16200000">
                <a:off x="9151092" y="3164317"/>
                <a:ext cx="134978"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60" name="Rounded Rectangle 359"/>
              <p:cNvSpPr/>
              <p:nvPr/>
            </p:nvSpPr>
            <p:spPr bwMode="gray">
              <a:xfrm>
                <a:off x="8809835" y="3240046"/>
                <a:ext cx="504000" cy="14998"/>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61" name="Rounded Rectangle 360"/>
              <p:cNvSpPr/>
              <p:nvPr/>
            </p:nvSpPr>
            <p:spPr bwMode="gray">
              <a:xfrm>
                <a:off x="8721358" y="4276844"/>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62" name="Rounded Rectangle 361"/>
              <p:cNvSpPr/>
              <p:nvPr/>
            </p:nvSpPr>
            <p:spPr bwMode="gray">
              <a:xfrm>
                <a:off x="8721358" y="4370101"/>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63" name="Rounded Rectangle 362"/>
              <p:cNvSpPr/>
              <p:nvPr/>
            </p:nvSpPr>
            <p:spPr bwMode="gray">
              <a:xfrm>
                <a:off x="8721358" y="4463358"/>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64" name="Rounded Rectangle 363"/>
              <p:cNvSpPr/>
              <p:nvPr/>
            </p:nvSpPr>
            <p:spPr bwMode="gray">
              <a:xfrm>
                <a:off x="8721358" y="4556614"/>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65" name="Rounded Rectangle 364"/>
              <p:cNvSpPr/>
              <p:nvPr/>
            </p:nvSpPr>
            <p:spPr bwMode="gray">
              <a:xfrm>
                <a:off x="8721358" y="4929641"/>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66" name="Rounded Rectangle 365"/>
              <p:cNvSpPr/>
              <p:nvPr/>
            </p:nvSpPr>
            <p:spPr bwMode="gray">
              <a:xfrm>
                <a:off x="8721358" y="4836383"/>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67" name="Rounded Rectangle 366"/>
              <p:cNvSpPr/>
              <p:nvPr/>
            </p:nvSpPr>
            <p:spPr bwMode="gray">
              <a:xfrm>
                <a:off x="8721358" y="4743127"/>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68" name="Rounded Rectangle 367"/>
              <p:cNvSpPr/>
              <p:nvPr/>
            </p:nvSpPr>
            <p:spPr bwMode="gray">
              <a:xfrm>
                <a:off x="8721358" y="4649870"/>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69" name="Rounded Rectangle 368"/>
              <p:cNvSpPr/>
              <p:nvPr/>
            </p:nvSpPr>
            <p:spPr bwMode="gray">
              <a:xfrm>
                <a:off x="8721358" y="4183587"/>
                <a:ext cx="95984"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70" name="Rounded Rectangle 369"/>
              <p:cNvSpPr/>
              <p:nvPr/>
            </p:nvSpPr>
            <p:spPr bwMode="gray">
              <a:xfrm rot="16200000">
                <a:off x="8262577" y="4654119"/>
                <a:ext cx="929847"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71" name="Rounded Rectangle 370"/>
              <p:cNvSpPr/>
              <p:nvPr/>
            </p:nvSpPr>
            <p:spPr bwMode="gray">
              <a:xfrm rot="16200000">
                <a:off x="8346398" y="4654119"/>
                <a:ext cx="929847"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72" name="Rounded Rectangle 371"/>
              <p:cNvSpPr/>
              <p:nvPr/>
            </p:nvSpPr>
            <p:spPr bwMode="gray">
              <a:xfrm rot="16200000">
                <a:off x="8304488" y="4654119"/>
                <a:ext cx="929847"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73" name="Rounded Rectangle 372"/>
              <p:cNvSpPr/>
              <p:nvPr/>
            </p:nvSpPr>
            <p:spPr bwMode="gray">
              <a:xfrm>
                <a:off x="8721358" y="5115848"/>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74" name="Rounded Rectangle 373"/>
              <p:cNvSpPr/>
              <p:nvPr/>
            </p:nvSpPr>
            <p:spPr bwMode="gray">
              <a:xfrm>
                <a:off x="8721358" y="5022590"/>
                <a:ext cx="89985"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75" name="Rounded Rectangle 374"/>
              <p:cNvSpPr/>
              <p:nvPr/>
            </p:nvSpPr>
            <p:spPr bwMode="gray">
              <a:xfrm>
                <a:off x="8592523" y="4165823"/>
                <a:ext cx="269956" cy="14998"/>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76" name="Rounded Rectangle 375"/>
              <p:cNvSpPr/>
              <p:nvPr/>
            </p:nvSpPr>
            <p:spPr bwMode="gray">
              <a:xfrm>
                <a:off x="8592523" y="4090642"/>
                <a:ext cx="269956"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77" name="Rounded Rectangle 376"/>
              <p:cNvSpPr/>
              <p:nvPr/>
            </p:nvSpPr>
            <p:spPr bwMode="gray">
              <a:xfrm>
                <a:off x="8592523" y="4033394"/>
                <a:ext cx="269956"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78" name="Rounded Rectangle 377"/>
              <p:cNvSpPr/>
              <p:nvPr/>
            </p:nvSpPr>
            <p:spPr bwMode="gray">
              <a:xfrm rot="16200000">
                <a:off x="8532920" y="4096384"/>
                <a:ext cx="134978"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79" name="Rounded Rectangle 378"/>
              <p:cNvSpPr/>
              <p:nvPr/>
            </p:nvSpPr>
            <p:spPr bwMode="gray">
              <a:xfrm rot="16200000">
                <a:off x="8790490" y="4096384"/>
                <a:ext cx="134978"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80" name="Rounded Rectangle 379"/>
              <p:cNvSpPr/>
              <p:nvPr/>
            </p:nvSpPr>
            <p:spPr bwMode="gray">
              <a:xfrm rot="16200000">
                <a:off x="8605053" y="4096384"/>
                <a:ext cx="134978"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81" name="Rounded Rectangle 380"/>
              <p:cNvSpPr/>
              <p:nvPr/>
            </p:nvSpPr>
            <p:spPr bwMode="gray">
              <a:xfrm rot="16200000">
                <a:off x="8568987" y="4096384"/>
                <a:ext cx="134978"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82" name="Rounded Rectangle 381"/>
              <p:cNvSpPr/>
              <p:nvPr/>
            </p:nvSpPr>
            <p:spPr bwMode="gray">
              <a:xfrm rot="16200000">
                <a:off x="8641119" y="4096384"/>
                <a:ext cx="134978" cy="899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83" name="Rectangle 26"/>
              <p:cNvSpPr/>
              <p:nvPr/>
            </p:nvSpPr>
            <p:spPr bwMode="gray">
              <a:xfrm>
                <a:off x="8718781" y="4180419"/>
                <a:ext cx="155305" cy="31056"/>
              </a:xfrm>
              <a:custGeom>
                <a:avLst/>
                <a:gdLst/>
                <a:ahLst/>
                <a:cxnLst/>
                <a:rect l="l" t="t" r="r" b="b"/>
                <a:pathLst>
                  <a:path w="186397" h="37273">
                    <a:moveTo>
                      <a:pt x="0" y="0"/>
                    </a:moveTo>
                    <a:lnTo>
                      <a:pt x="35729" y="3415"/>
                    </a:lnTo>
                    <a:lnTo>
                      <a:pt x="186397" y="37273"/>
                    </a:lnTo>
                    <a:lnTo>
                      <a:pt x="165865" y="37273"/>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84" name="Rounded Rectangle 383"/>
              <p:cNvSpPr/>
              <p:nvPr/>
            </p:nvSpPr>
            <p:spPr bwMode="gray">
              <a:xfrm>
                <a:off x="8809835" y="5121188"/>
                <a:ext cx="504000" cy="14998"/>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grpSp>
        <p:nvGrpSpPr>
          <p:cNvPr id="443" name="Group 442"/>
          <p:cNvGrpSpPr/>
          <p:nvPr/>
        </p:nvGrpSpPr>
        <p:grpSpPr bwMode="gray">
          <a:xfrm>
            <a:off x="365111" y="4275491"/>
            <a:ext cx="2052647" cy="1414723"/>
            <a:chOff x="411393" y="534649"/>
            <a:chExt cx="3578703" cy="2466510"/>
          </a:xfrm>
          <a:solidFill>
            <a:schemeClr val="bg1"/>
          </a:solidFill>
        </p:grpSpPr>
        <p:sp>
          <p:nvSpPr>
            <p:cNvPr id="444" name="Rectangle 1117"/>
            <p:cNvSpPr/>
            <p:nvPr/>
          </p:nvSpPr>
          <p:spPr bwMode="gray">
            <a:xfrm rot="18900000">
              <a:off x="1269531" y="2138440"/>
              <a:ext cx="81093" cy="441215"/>
            </a:xfrm>
            <a:custGeom>
              <a:avLst/>
              <a:gdLst/>
              <a:ahLst/>
              <a:cxnLst/>
              <a:rect l="l" t="t" r="r" b="b"/>
              <a:pathLst>
                <a:path w="81093" h="441215">
                  <a:moveTo>
                    <a:pt x="81093" y="0"/>
                  </a:moveTo>
                  <a:lnTo>
                    <a:pt x="81093" y="441215"/>
                  </a:lnTo>
                  <a:lnTo>
                    <a:pt x="0" y="433744"/>
                  </a:lnTo>
                  <a:lnTo>
                    <a:pt x="0" y="0"/>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45" name="Rectangle 1116"/>
            <p:cNvSpPr/>
            <p:nvPr/>
          </p:nvSpPr>
          <p:spPr bwMode="gray">
            <a:xfrm>
              <a:off x="1432032" y="2484317"/>
              <a:ext cx="61749" cy="498870"/>
            </a:xfrm>
            <a:custGeom>
              <a:avLst/>
              <a:gdLst/>
              <a:ahLst/>
              <a:cxnLst/>
              <a:rect l="l" t="t" r="r" b="b"/>
              <a:pathLst>
                <a:path w="61749" h="498870">
                  <a:moveTo>
                    <a:pt x="61749" y="0"/>
                  </a:moveTo>
                  <a:lnTo>
                    <a:pt x="61749" y="498870"/>
                  </a:lnTo>
                  <a:lnTo>
                    <a:pt x="0" y="498870"/>
                  </a:lnTo>
                  <a:lnTo>
                    <a:pt x="0" y="51331"/>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446" name="Group 445"/>
            <p:cNvGrpSpPr/>
            <p:nvPr/>
          </p:nvGrpSpPr>
          <p:grpSpPr bwMode="gray">
            <a:xfrm>
              <a:off x="1134671" y="1500380"/>
              <a:ext cx="141812" cy="1490927"/>
              <a:chOff x="1134670" y="3946261"/>
              <a:chExt cx="141812" cy="1490927"/>
            </a:xfrm>
            <a:grpFill/>
          </p:grpSpPr>
          <p:grpSp>
            <p:nvGrpSpPr>
              <p:cNvPr id="645" name="Group 644"/>
              <p:cNvGrpSpPr/>
              <p:nvPr/>
            </p:nvGrpSpPr>
            <p:grpSpPr bwMode="gray">
              <a:xfrm>
                <a:off x="1136350" y="3948170"/>
                <a:ext cx="140132" cy="1489018"/>
                <a:chOff x="1460527" y="3826949"/>
                <a:chExt cx="140132" cy="1452232"/>
              </a:xfrm>
              <a:grpFill/>
            </p:grpSpPr>
            <p:sp>
              <p:nvSpPr>
                <p:cNvPr id="661" name="Rectangle 660"/>
                <p:cNvSpPr/>
                <p:nvPr/>
              </p:nvSpPr>
              <p:spPr bwMode="gray">
                <a:xfrm flipH="1">
                  <a:off x="1467391" y="4493049"/>
                  <a:ext cx="126402" cy="11963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62" name="Rectangle 661"/>
                <p:cNvSpPr/>
                <p:nvPr/>
              </p:nvSpPr>
              <p:spPr bwMode="gray">
                <a:xfrm flipH="1">
                  <a:off x="1467391" y="3969038"/>
                  <a:ext cx="126402" cy="11963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63" name="Rounded Rectangle 662"/>
                <p:cNvSpPr/>
                <p:nvPr/>
              </p:nvSpPr>
              <p:spPr bwMode="gray">
                <a:xfrm flipH="1">
                  <a:off x="1460527" y="3957557"/>
                  <a:ext cx="140132" cy="1159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64" name="Rounded Rectangle 663"/>
                <p:cNvSpPr/>
                <p:nvPr/>
              </p:nvSpPr>
              <p:spPr bwMode="gray">
                <a:xfrm flipH="1">
                  <a:off x="1460527" y="4088560"/>
                  <a:ext cx="140132" cy="1159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65" name="Rounded Rectangle 664"/>
                <p:cNvSpPr/>
                <p:nvPr/>
              </p:nvSpPr>
              <p:spPr bwMode="gray">
                <a:xfrm flipH="1">
                  <a:off x="1460527" y="4350565"/>
                  <a:ext cx="140132" cy="1159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66" name="Rounded Rectangle 665"/>
                <p:cNvSpPr/>
                <p:nvPr/>
              </p:nvSpPr>
              <p:spPr bwMode="gray">
                <a:xfrm flipH="1">
                  <a:off x="1460527" y="4612571"/>
                  <a:ext cx="140132" cy="1159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67" name="Rounded Rectangle 666"/>
                <p:cNvSpPr/>
                <p:nvPr/>
              </p:nvSpPr>
              <p:spPr bwMode="gray">
                <a:xfrm flipH="1">
                  <a:off x="1460527" y="4874576"/>
                  <a:ext cx="140132" cy="1159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68" name="Rounded Rectangle 667"/>
                <p:cNvSpPr/>
                <p:nvPr/>
              </p:nvSpPr>
              <p:spPr bwMode="gray">
                <a:xfrm flipH="1">
                  <a:off x="1460527" y="5136582"/>
                  <a:ext cx="140132" cy="1159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69" name="Rounded Rectangle 668"/>
                <p:cNvSpPr/>
                <p:nvPr/>
              </p:nvSpPr>
              <p:spPr bwMode="gray">
                <a:xfrm flipH="1">
                  <a:off x="1460527" y="5267588"/>
                  <a:ext cx="140132" cy="1159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70" name="Rounded Rectangle 669"/>
                <p:cNvSpPr/>
                <p:nvPr/>
              </p:nvSpPr>
              <p:spPr bwMode="gray">
                <a:xfrm flipH="1">
                  <a:off x="1460527" y="5005579"/>
                  <a:ext cx="140132" cy="1159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71" name="Rounded Rectangle 670"/>
                <p:cNvSpPr/>
                <p:nvPr/>
              </p:nvSpPr>
              <p:spPr bwMode="gray">
                <a:xfrm flipH="1">
                  <a:off x="1460527" y="4219563"/>
                  <a:ext cx="140132" cy="1159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72" name="Rounded Rectangle 671"/>
                <p:cNvSpPr/>
                <p:nvPr/>
              </p:nvSpPr>
              <p:spPr bwMode="gray">
                <a:xfrm flipH="1">
                  <a:off x="1460527" y="4481568"/>
                  <a:ext cx="140132" cy="1159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73" name="Rounded Rectangle 672"/>
                <p:cNvSpPr/>
                <p:nvPr/>
              </p:nvSpPr>
              <p:spPr bwMode="gray">
                <a:xfrm flipH="1">
                  <a:off x="1460527" y="4743574"/>
                  <a:ext cx="140132" cy="1159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74" name="Rectangle 673"/>
                <p:cNvSpPr/>
                <p:nvPr/>
              </p:nvSpPr>
              <p:spPr bwMode="gray">
                <a:xfrm flipH="1">
                  <a:off x="1467391" y="4100041"/>
                  <a:ext cx="126402" cy="11963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75" name="Rectangle 674"/>
                <p:cNvSpPr/>
                <p:nvPr/>
              </p:nvSpPr>
              <p:spPr bwMode="gray">
                <a:xfrm flipH="1">
                  <a:off x="1467391" y="4231044"/>
                  <a:ext cx="126402" cy="11963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76" name="Rectangle 675"/>
                <p:cNvSpPr/>
                <p:nvPr/>
              </p:nvSpPr>
              <p:spPr bwMode="gray">
                <a:xfrm flipH="1">
                  <a:off x="1467391" y="4362046"/>
                  <a:ext cx="126402" cy="11963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77" name="Rectangle 676"/>
                <p:cNvSpPr/>
                <p:nvPr/>
              </p:nvSpPr>
              <p:spPr bwMode="gray">
                <a:xfrm flipH="1">
                  <a:off x="1467391" y="4624052"/>
                  <a:ext cx="126402" cy="11963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78" name="Rectangle 677"/>
                <p:cNvSpPr/>
                <p:nvPr/>
              </p:nvSpPr>
              <p:spPr bwMode="gray">
                <a:xfrm flipH="1">
                  <a:off x="1467391" y="4755055"/>
                  <a:ext cx="126402" cy="11963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79" name="Rectangle 678"/>
                <p:cNvSpPr/>
                <p:nvPr/>
              </p:nvSpPr>
              <p:spPr bwMode="gray">
                <a:xfrm flipH="1">
                  <a:off x="1467391" y="4886057"/>
                  <a:ext cx="126402" cy="11963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80" name="Rectangle 679"/>
                <p:cNvSpPr/>
                <p:nvPr/>
              </p:nvSpPr>
              <p:spPr bwMode="gray">
                <a:xfrm flipH="1">
                  <a:off x="1467391" y="5017060"/>
                  <a:ext cx="126402" cy="11963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81" name="Rectangle 680"/>
                <p:cNvSpPr/>
                <p:nvPr/>
              </p:nvSpPr>
              <p:spPr bwMode="gray">
                <a:xfrm flipH="1">
                  <a:off x="1467391" y="5148063"/>
                  <a:ext cx="126402" cy="11963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82" name="Rectangle 681"/>
                <p:cNvSpPr/>
                <p:nvPr/>
              </p:nvSpPr>
              <p:spPr bwMode="gray">
                <a:xfrm flipH="1">
                  <a:off x="1467391" y="3838428"/>
                  <a:ext cx="126402" cy="11963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83" name="Rounded Rectangle 682"/>
                <p:cNvSpPr/>
                <p:nvPr/>
              </p:nvSpPr>
              <p:spPr bwMode="gray">
                <a:xfrm flipH="1">
                  <a:off x="1460527" y="3826949"/>
                  <a:ext cx="140132" cy="1159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646" name="Rounded Rectangle 645"/>
              <p:cNvSpPr/>
              <p:nvPr/>
            </p:nvSpPr>
            <p:spPr bwMode="gray">
              <a:xfrm rot="16200000">
                <a:off x="506054" y="4606861"/>
                <a:ext cx="133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47" name="Rounded Rectangle 646"/>
              <p:cNvSpPr/>
              <p:nvPr/>
            </p:nvSpPr>
            <p:spPr bwMode="gray">
              <a:xfrm>
                <a:off x="1134670" y="3994003"/>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48" name="Rounded Rectangle 647"/>
              <p:cNvSpPr/>
              <p:nvPr/>
            </p:nvSpPr>
            <p:spPr bwMode="gray">
              <a:xfrm>
                <a:off x="1134670" y="4185915"/>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49" name="Rounded Rectangle 648"/>
              <p:cNvSpPr/>
              <p:nvPr/>
            </p:nvSpPr>
            <p:spPr bwMode="gray">
              <a:xfrm>
                <a:off x="1134670" y="4089959"/>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50" name="Rounded Rectangle 649"/>
              <p:cNvSpPr/>
              <p:nvPr/>
            </p:nvSpPr>
            <p:spPr bwMode="gray">
              <a:xfrm>
                <a:off x="1134670" y="4281870"/>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51" name="Rounded Rectangle 650"/>
              <p:cNvSpPr/>
              <p:nvPr/>
            </p:nvSpPr>
            <p:spPr bwMode="gray">
              <a:xfrm>
                <a:off x="1134670" y="4377826"/>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52" name="Rounded Rectangle 651"/>
              <p:cNvSpPr/>
              <p:nvPr/>
            </p:nvSpPr>
            <p:spPr bwMode="gray">
              <a:xfrm>
                <a:off x="1134670" y="4569737"/>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53" name="Rounded Rectangle 652"/>
              <p:cNvSpPr/>
              <p:nvPr/>
            </p:nvSpPr>
            <p:spPr bwMode="gray">
              <a:xfrm>
                <a:off x="1134670" y="4473782"/>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54" name="Rounded Rectangle 653"/>
              <p:cNvSpPr/>
              <p:nvPr/>
            </p:nvSpPr>
            <p:spPr bwMode="gray">
              <a:xfrm>
                <a:off x="1134670" y="4665693"/>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55" name="Rounded Rectangle 654"/>
              <p:cNvSpPr/>
              <p:nvPr/>
            </p:nvSpPr>
            <p:spPr bwMode="gray">
              <a:xfrm>
                <a:off x="1134670" y="4857604"/>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56" name="Rounded Rectangle 655"/>
              <p:cNvSpPr/>
              <p:nvPr/>
            </p:nvSpPr>
            <p:spPr bwMode="gray">
              <a:xfrm>
                <a:off x="1134670" y="4761649"/>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57" name="Rounded Rectangle 656"/>
              <p:cNvSpPr/>
              <p:nvPr/>
            </p:nvSpPr>
            <p:spPr bwMode="gray">
              <a:xfrm>
                <a:off x="1134670" y="5049516"/>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58" name="Rounded Rectangle 657"/>
              <p:cNvSpPr/>
              <p:nvPr/>
            </p:nvSpPr>
            <p:spPr bwMode="gray">
              <a:xfrm>
                <a:off x="1134670" y="4953560"/>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59" name="Rounded Rectangle 658"/>
              <p:cNvSpPr/>
              <p:nvPr/>
            </p:nvSpPr>
            <p:spPr bwMode="gray">
              <a:xfrm>
                <a:off x="1134670" y="5145471"/>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60" name="Rounded Rectangle 659"/>
              <p:cNvSpPr/>
              <p:nvPr/>
            </p:nvSpPr>
            <p:spPr bwMode="gray">
              <a:xfrm>
                <a:off x="1134670" y="5241427"/>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447" name="Group 446"/>
            <p:cNvGrpSpPr/>
            <p:nvPr/>
          </p:nvGrpSpPr>
          <p:grpSpPr bwMode="gray">
            <a:xfrm>
              <a:off x="735969" y="2036918"/>
              <a:ext cx="684000" cy="946269"/>
              <a:chOff x="1490287" y="4479143"/>
              <a:chExt cx="684000" cy="946269"/>
            </a:xfrm>
            <a:grpFill/>
          </p:grpSpPr>
          <p:grpSp>
            <p:nvGrpSpPr>
              <p:cNvPr id="629" name="Group 628"/>
              <p:cNvGrpSpPr/>
              <p:nvPr/>
            </p:nvGrpSpPr>
            <p:grpSpPr bwMode="gray">
              <a:xfrm>
                <a:off x="1528474" y="5034433"/>
                <a:ext cx="607627" cy="390979"/>
                <a:chOff x="1552304" y="5034433"/>
                <a:chExt cx="607627" cy="390979"/>
              </a:xfrm>
              <a:grpFill/>
            </p:grpSpPr>
            <p:sp>
              <p:nvSpPr>
                <p:cNvPr id="643" name="Rectangle 642"/>
                <p:cNvSpPr/>
                <p:nvPr/>
              </p:nvSpPr>
              <p:spPr bwMode="gray">
                <a:xfrm>
                  <a:off x="1552304" y="5044954"/>
                  <a:ext cx="607627" cy="380458"/>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44" name="Trapezoid 643"/>
                <p:cNvSpPr/>
                <p:nvPr/>
              </p:nvSpPr>
              <p:spPr bwMode="gray">
                <a:xfrm>
                  <a:off x="1552304" y="5034433"/>
                  <a:ext cx="607627" cy="10800"/>
                </a:xfrm>
                <a:prstGeom prst="trapezoid">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630" name="Rounded Rectangle 629"/>
              <p:cNvSpPr/>
              <p:nvPr/>
            </p:nvSpPr>
            <p:spPr bwMode="gray">
              <a:xfrm>
                <a:off x="1490287" y="5024768"/>
                <a:ext cx="684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31" name="Rectangle 630"/>
              <p:cNvSpPr/>
              <p:nvPr/>
            </p:nvSpPr>
            <p:spPr bwMode="gray">
              <a:xfrm>
                <a:off x="1732906" y="4730240"/>
                <a:ext cx="236904" cy="294227"/>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632" name="Group 631"/>
              <p:cNvGrpSpPr/>
              <p:nvPr/>
            </p:nvGrpSpPr>
            <p:grpSpPr bwMode="gray">
              <a:xfrm>
                <a:off x="1811922" y="4479143"/>
                <a:ext cx="78873" cy="251097"/>
                <a:chOff x="1802220" y="4417371"/>
                <a:chExt cx="98277" cy="312869"/>
              </a:xfrm>
              <a:grpFill/>
            </p:grpSpPr>
            <p:sp>
              <p:nvSpPr>
                <p:cNvPr id="641" name="Rectangle 640"/>
                <p:cNvSpPr/>
                <p:nvPr/>
              </p:nvSpPr>
              <p:spPr bwMode="gray">
                <a:xfrm>
                  <a:off x="1802220" y="4463090"/>
                  <a:ext cx="98277" cy="26715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42" name="Trapezoid 641"/>
                <p:cNvSpPr/>
                <p:nvPr/>
              </p:nvSpPr>
              <p:spPr bwMode="gray">
                <a:xfrm>
                  <a:off x="1811087" y="4417371"/>
                  <a:ext cx="80542" cy="45719"/>
                </a:xfrm>
                <a:prstGeom prst="trapezoid">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633" name="Rectangle 632"/>
              <p:cNvSpPr/>
              <p:nvPr/>
            </p:nvSpPr>
            <p:spPr bwMode="gray">
              <a:xfrm>
                <a:off x="1929339" y="4937358"/>
                <a:ext cx="163765" cy="87109"/>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634" name="Group 633"/>
              <p:cNvGrpSpPr/>
              <p:nvPr/>
            </p:nvGrpSpPr>
            <p:grpSpPr bwMode="gray">
              <a:xfrm>
                <a:off x="1997566" y="4950849"/>
                <a:ext cx="77013" cy="474563"/>
                <a:chOff x="1997566" y="4968524"/>
                <a:chExt cx="77013" cy="455593"/>
              </a:xfrm>
              <a:grpFill/>
            </p:grpSpPr>
            <p:sp>
              <p:nvSpPr>
                <p:cNvPr id="639" name="Rounded Rectangle 1099"/>
                <p:cNvSpPr/>
                <p:nvPr/>
              </p:nvSpPr>
              <p:spPr bwMode="gray">
                <a:xfrm rot="18900000">
                  <a:off x="1997566" y="4968524"/>
                  <a:ext cx="66362" cy="83806"/>
                </a:xfrm>
                <a:custGeom>
                  <a:avLst/>
                  <a:gdLst>
                    <a:gd name="connsiteX0" fmla="*/ 63381 w 74199"/>
                    <a:gd name="connsiteY0" fmla="*/ 10818 h 540057"/>
                    <a:gd name="connsiteX1" fmla="*/ 74199 w 74199"/>
                    <a:gd name="connsiteY1" fmla="*/ 36935 h 540057"/>
                    <a:gd name="connsiteX2" fmla="*/ 74198 w 74199"/>
                    <a:gd name="connsiteY2" fmla="*/ 503122 h 540057"/>
                    <a:gd name="connsiteX3" fmla="*/ 37263 w 74199"/>
                    <a:gd name="connsiteY3" fmla="*/ 540057 h 540057"/>
                    <a:gd name="connsiteX4" fmla="*/ 37264 w 74199"/>
                    <a:gd name="connsiteY4" fmla="*/ 540056 h 540057"/>
                    <a:gd name="connsiteX5" fmla="*/ 329 w 74199"/>
                    <a:gd name="connsiteY5" fmla="*/ 157866 h 540057"/>
                    <a:gd name="connsiteX6" fmla="*/ 61675 w 74199"/>
                    <a:gd name="connsiteY6" fmla="*/ 96520 h 540057"/>
                    <a:gd name="connsiteX7" fmla="*/ 61675 w 74199"/>
                    <a:gd name="connsiteY7" fmla="*/ 44286 h 540057"/>
                    <a:gd name="connsiteX8" fmla="*/ 9441 w 74199"/>
                    <a:gd name="connsiteY8" fmla="*/ 44286 h 540057"/>
                    <a:gd name="connsiteX9" fmla="*/ 329 w 74199"/>
                    <a:gd name="connsiteY9" fmla="*/ 53399 h 540057"/>
                    <a:gd name="connsiteX10" fmla="*/ 329 w 74199"/>
                    <a:gd name="connsiteY10" fmla="*/ 36935 h 540057"/>
                    <a:gd name="connsiteX11" fmla="*/ 37264 w 74199"/>
                    <a:gd name="connsiteY11" fmla="*/ 0 h 540057"/>
                    <a:gd name="connsiteX12" fmla="*/ 63381 w 74199"/>
                    <a:gd name="connsiteY12" fmla="*/ 10818 h 540057"/>
                    <a:gd name="connsiteX0" fmla="*/ 63052 w 73870"/>
                    <a:gd name="connsiteY0" fmla="*/ 10818 h 540057"/>
                    <a:gd name="connsiteX1" fmla="*/ 73870 w 73870"/>
                    <a:gd name="connsiteY1" fmla="*/ 36935 h 540057"/>
                    <a:gd name="connsiteX2" fmla="*/ 73869 w 73870"/>
                    <a:gd name="connsiteY2" fmla="*/ 503122 h 540057"/>
                    <a:gd name="connsiteX3" fmla="*/ 36934 w 73870"/>
                    <a:gd name="connsiteY3" fmla="*/ 540057 h 540057"/>
                    <a:gd name="connsiteX4" fmla="*/ 36935 w 73870"/>
                    <a:gd name="connsiteY4" fmla="*/ 540056 h 540057"/>
                    <a:gd name="connsiteX5" fmla="*/ 61346 w 73870"/>
                    <a:gd name="connsiteY5" fmla="*/ 96520 h 540057"/>
                    <a:gd name="connsiteX6" fmla="*/ 61346 w 73870"/>
                    <a:gd name="connsiteY6" fmla="*/ 44286 h 540057"/>
                    <a:gd name="connsiteX7" fmla="*/ 9112 w 73870"/>
                    <a:gd name="connsiteY7" fmla="*/ 44286 h 540057"/>
                    <a:gd name="connsiteX8" fmla="*/ 0 w 73870"/>
                    <a:gd name="connsiteY8" fmla="*/ 53399 h 540057"/>
                    <a:gd name="connsiteX9" fmla="*/ 0 w 73870"/>
                    <a:gd name="connsiteY9" fmla="*/ 36935 h 540057"/>
                    <a:gd name="connsiteX10" fmla="*/ 36935 w 73870"/>
                    <a:gd name="connsiteY10" fmla="*/ 0 h 540057"/>
                    <a:gd name="connsiteX11" fmla="*/ 63052 w 73870"/>
                    <a:gd name="connsiteY11" fmla="*/ 10818 h 540057"/>
                    <a:gd name="connsiteX0" fmla="*/ 63052 w 73870"/>
                    <a:gd name="connsiteY0" fmla="*/ 10818 h 540057"/>
                    <a:gd name="connsiteX1" fmla="*/ 73870 w 73870"/>
                    <a:gd name="connsiteY1" fmla="*/ 36935 h 540057"/>
                    <a:gd name="connsiteX2" fmla="*/ 73869 w 73870"/>
                    <a:gd name="connsiteY2" fmla="*/ 503122 h 540057"/>
                    <a:gd name="connsiteX3" fmla="*/ 36934 w 73870"/>
                    <a:gd name="connsiteY3" fmla="*/ 540057 h 540057"/>
                    <a:gd name="connsiteX4" fmla="*/ 61346 w 73870"/>
                    <a:gd name="connsiteY4" fmla="*/ 96520 h 540057"/>
                    <a:gd name="connsiteX5" fmla="*/ 61346 w 73870"/>
                    <a:gd name="connsiteY5" fmla="*/ 44286 h 540057"/>
                    <a:gd name="connsiteX6" fmla="*/ 9112 w 73870"/>
                    <a:gd name="connsiteY6" fmla="*/ 44286 h 540057"/>
                    <a:gd name="connsiteX7" fmla="*/ 0 w 73870"/>
                    <a:gd name="connsiteY7" fmla="*/ 53399 h 540057"/>
                    <a:gd name="connsiteX8" fmla="*/ 0 w 73870"/>
                    <a:gd name="connsiteY8" fmla="*/ 36935 h 540057"/>
                    <a:gd name="connsiteX9" fmla="*/ 36935 w 73870"/>
                    <a:gd name="connsiteY9" fmla="*/ 0 h 540057"/>
                    <a:gd name="connsiteX10" fmla="*/ 63052 w 73870"/>
                    <a:gd name="connsiteY10" fmla="*/ 10818 h 540057"/>
                    <a:gd name="connsiteX0" fmla="*/ 63052 w 75061"/>
                    <a:gd name="connsiteY0" fmla="*/ 19256 h 548495"/>
                    <a:gd name="connsiteX1" fmla="*/ 73870 w 75061"/>
                    <a:gd name="connsiteY1" fmla="*/ 45373 h 548495"/>
                    <a:gd name="connsiteX2" fmla="*/ 36934 w 75061"/>
                    <a:gd name="connsiteY2" fmla="*/ 548495 h 548495"/>
                    <a:gd name="connsiteX3" fmla="*/ 61346 w 75061"/>
                    <a:gd name="connsiteY3" fmla="*/ 104958 h 548495"/>
                    <a:gd name="connsiteX4" fmla="*/ 61346 w 75061"/>
                    <a:gd name="connsiteY4" fmla="*/ 52724 h 548495"/>
                    <a:gd name="connsiteX5" fmla="*/ 9112 w 75061"/>
                    <a:gd name="connsiteY5" fmla="*/ 52724 h 548495"/>
                    <a:gd name="connsiteX6" fmla="*/ 0 w 75061"/>
                    <a:gd name="connsiteY6" fmla="*/ 61837 h 548495"/>
                    <a:gd name="connsiteX7" fmla="*/ 0 w 75061"/>
                    <a:gd name="connsiteY7" fmla="*/ 45373 h 548495"/>
                    <a:gd name="connsiteX8" fmla="*/ 36935 w 75061"/>
                    <a:gd name="connsiteY8" fmla="*/ 8438 h 548495"/>
                    <a:gd name="connsiteX9" fmla="*/ 63052 w 75061"/>
                    <a:gd name="connsiteY9" fmla="*/ 19256 h 548495"/>
                    <a:gd name="connsiteX0" fmla="*/ 63052 w 73882"/>
                    <a:gd name="connsiteY0" fmla="*/ 10818 h 96548"/>
                    <a:gd name="connsiteX1" fmla="*/ 73870 w 73882"/>
                    <a:gd name="connsiteY1" fmla="*/ 36935 h 96548"/>
                    <a:gd name="connsiteX2" fmla="*/ 61346 w 73882"/>
                    <a:gd name="connsiteY2" fmla="*/ 96520 h 96548"/>
                    <a:gd name="connsiteX3" fmla="*/ 61346 w 73882"/>
                    <a:gd name="connsiteY3" fmla="*/ 44286 h 96548"/>
                    <a:gd name="connsiteX4" fmla="*/ 9112 w 73882"/>
                    <a:gd name="connsiteY4" fmla="*/ 44286 h 96548"/>
                    <a:gd name="connsiteX5" fmla="*/ 0 w 73882"/>
                    <a:gd name="connsiteY5" fmla="*/ 53399 h 96548"/>
                    <a:gd name="connsiteX6" fmla="*/ 0 w 73882"/>
                    <a:gd name="connsiteY6" fmla="*/ 36935 h 96548"/>
                    <a:gd name="connsiteX7" fmla="*/ 36935 w 73882"/>
                    <a:gd name="connsiteY7" fmla="*/ 0 h 96548"/>
                    <a:gd name="connsiteX8" fmla="*/ 63052 w 73882"/>
                    <a:gd name="connsiteY8" fmla="*/ 10818 h 96548"/>
                    <a:gd name="connsiteX0" fmla="*/ 63052 w 74993"/>
                    <a:gd name="connsiteY0" fmla="*/ 10818 h 96548"/>
                    <a:gd name="connsiteX1" fmla="*/ 73870 w 74993"/>
                    <a:gd name="connsiteY1" fmla="*/ 36935 h 96548"/>
                    <a:gd name="connsiteX2" fmla="*/ 61346 w 74993"/>
                    <a:gd name="connsiteY2" fmla="*/ 96520 h 96548"/>
                    <a:gd name="connsiteX3" fmla="*/ 61346 w 74993"/>
                    <a:gd name="connsiteY3" fmla="*/ 44286 h 96548"/>
                    <a:gd name="connsiteX4" fmla="*/ 9112 w 74993"/>
                    <a:gd name="connsiteY4" fmla="*/ 44286 h 96548"/>
                    <a:gd name="connsiteX5" fmla="*/ 0 w 74993"/>
                    <a:gd name="connsiteY5" fmla="*/ 53399 h 96548"/>
                    <a:gd name="connsiteX6" fmla="*/ 0 w 74993"/>
                    <a:gd name="connsiteY6" fmla="*/ 36935 h 96548"/>
                    <a:gd name="connsiteX7" fmla="*/ 36935 w 74993"/>
                    <a:gd name="connsiteY7" fmla="*/ 0 h 96548"/>
                    <a:gd name="connsiteX8" fmla="*/ 63052 w 74993"/>
                    <a:gd name="connsiteY8" fmla="*/ 10818 h 96548"/>
                    <a:gd name="connsiteX0" fmla="*/ 63052 w 73985"/>
                    <a:gd name="connsiteY0" fmla="*/ 10818 h 96548"/>
                    <a:gd name="connsiteX1" fmla="*/ 73870 w 73985"/>
                    <a:gd name="connsiteY1" fmla="*/ 36935 h 96548"/>
                    <a:gd name="connsiteX2" fmla="*/ 61346 w 73985"/>
                    <a:gd name="connsiteY2" fmla="*/ 96520 h 96548"/>
                    <a:gd name="connsiteX3" fmla="*/ 61346 w 73985"/>
                    <a:gd name="connsiteY3" fmla="*/ 44286 h 96548"/>
                    <a:gd name="connsiteX4" fmla="*/ 9112 w 73985"/>
                    <a:gd name="connsiteY4" fmla="*/ 44286 h 96548"/>
                    <a:gd name="connsiteX5" fmla="*/ 0 w 73985"/>
                    <a:gd name="connsiteY5" fmla="*/ 53399 h 96548"/>
                    <a:gd name="connsiteX6" fmla="*/ 0 w 73985"/>
                    <a:gd name="connsiteY6" fmla="*/ 36935 h 96548"/>
                    <a:gd name="connsiteX7" fmla="*/ 36935 w 73985"/>
                    <a:gd name="connsiteY7" fmla="*/ 0 h 96548"/>
                    <a:gd name="connsiteX8" fmla="*/ 63052 w 73985"/>
                    <a:gd name="connsiteY8" fmla="*/ 10818 h 96548"/>
                    <a:gd name="connsiteX0" fmla="*/ 63052 w 73985"/>
                    <a:gd name="connsiteY0" fmla="*/ 10818 h 96520"/>
                    <a:gd name="connsiteX1" fmla="*/ 73870 w 73985"/>
                    <a:gd name="connsiteY1" fmla="*/ 36935 h 96520"/>
                    <a:gd name="connsiteX2" fmla="*/ 61346 w 73985"/>
                    <a:gd name="connsiteY2" fmla="*/ 96520 h 96520"/>
                    <a:gd name="connsiteX3" fmla="*/ 61346 w 73985"/>
                    <a:gd name="connsiteY3" fmla="*/ 44286 h 96520"/>
                    <a:gd name="connsiteX4" fmla="*/ 9112 w 73985"/>
                    <a:gd name="connsiteY4" fmla="*/ 44286 h 96520"/>
                    <a:gd name="connsiteX5" fmla="*/ 0 w 73985"/>
                    <a:gd name="connsiteY5" fmla="*/ 53399 h 96520"/>
                    <a:gd name="connsiteX6" fmla="*/ 0 w 73985"/>
                    <a:gd name="connsiteY6" fmla="*/ 36935 h 96520"/>
                    <a:gd name="connsiteX7" fmla="*/ 36935 w 73985"/>
                    <a:gd name="connsiteY7" fmla="*/ 0 h 96520"/>
                    <a:gd name="connsiteX8" fmla="*/ 63052 w 73985"/>
                    <a:gd name="connsiteY8" fmla="*/ 10818 h 96520"/>
                    <a:gd name="connsiteX0" fmla="*/ 63052 w 73985"/>
                    <a:gd name="connsiteY0" fmla="*/ 10818 h 96520"/>
                    <a:gd name="connsiteX1" fmla="*/ 73870 w 73985"/>
                    <a:gd name="connsiteY1" fmla="*/ 36935 h 96520"/>
                    <a:gd name="connsiteX2" fmla="*/ 61346 w 73985"/>
                    <a:gd name="connsiteY2" fmla="*/ 96520 h 96520"/>
                    <a:gd name="connsiteX3" fmla="*/ 61346 w 73985"/>
                    <a:gd name="connsiteY3" fmla="*/ 44286 h 96520"/>
                    <a:gd name="connsiteX4" fmla="*/ 9112 w 73985"/>
                    <a:gd name="connsiteY4" fmla="*/ 44286 h 96520"/>
                    <a:gd name="connsiteX5" fmla="*/ 0 w 73985"/>
                    <a:gd name="connsiteY5" fmla="*/ 53399 h 96520"/>
                    <a:gd name="connsiteX6" fmla="*/ 0 w 73985"/>
                    <a:gd name="connsiteY6" fmla="*/ 36935 h 96520"/>
                    <a:gd name="connsiteX7" fmla="*/ 36935 w 73985"/>
                    <a:gd name="connsiteY7" fmla="*/ 0 h 96520"/>
                    <a:gd name="connsiteX8" fmla="*/ 63052 w 73985"/>
                    <a:gd name="connsiteY8" fmla="*/ 10818 h 96520"/>
                    <a:gd name="connsiteX0" fmla="*/ 63052 w 75514"/>
                    <a:gd name="connsiteY0" fmla="*/ 10818 h 96520"/>
                    <a:gd name="connsiteX1" fmla="*/ 73870 w 75514"/>
                    <a:gd name="connsiteY1" fmla="*/ 36935 h 96520"/>
                    <a:gd name="connsiteX2" fmla="*/ 61346 w 75514"/>
                    <a:gd name="connsiteY2" fmla="*/ 96520 h 96520"/>
                    <a:gd name="connsiteX3" fmla="*/ 61346 w 75514"/>
                    <a:gd name="connsiteY3" fmla="*/ 44286 h 96520"/>
                    <a:gd name="connsiteX4" fmla="*/ 9112 w 75514"/>
                    <a:gd name="connsiteY4" fmla="*/ 44286 h 96520"/>
                    <a:gd name="connsiteX5" fmla="*/ 0 w 75514"/>
                    <a:gd name="connsiteY5" fmla="*/ 53399 h 96520"/>
                    <a:gd name="connsiteX6" fmla="*/ 0 w 75514"/>
                    <a:gd name="connsiteY6" fmla="*/ 36935 h 96520"/>
                    <a:gd name="connsiteX7" fmla="*/ 36935 w 75514"/>
                    <a:gd name="connsiteY7" fmla="*/ 0 h 96520"/>
                    <a:gd name="connsiteX8" fmla="*/ 63052 w 75514"/>
                    <a:gd name="connsiteY8" fmla="*/ 10818 h 96520"/>
                    <a:gd name="connsiteX0" fmla="*/ 63052 w 75514"/>
                    <a:gd name="connsiteY0" fmla="*/ 10818 h 96520"/>
                    <a:gd name="connsiteX1" fmla="*/ 73870 w 75514"/>
                    <a:gd name="connsiteY1" fmla="*/ 36935 h 96520"/>
                    <a:gd name="connsiteX2" fmla="*/ 61346 w 75514"/>
                    <a:gd name="connsiteY2" fmla="*/ 96520 h 96520"/>
                    <a:gd name="connsiteX3" fmla="*/ 61346 w 75514"/>
                    <a:gd name="connsiteY3" fmla="*/ 44286 h 96520"/>
                    <a:gd name="connsiteX4" fmla="*/ 9112 w 75514"/>
                    <a:gd name="connsiteY4" fmla="*/ 44286 h 96520"/>
                    <a:gd name="connsiteX5" fmla="*/ 0 w 75514"/>
                    <a:gd name="connsiteY5" fmla="*/ 53399 h 96520"/>
                    <a:gd name="connsiteX6" fmla="*/ 0 w 75514"/>
                    <a:gd name="connsiteY6" fmla="*/ 36935 h 96520"/>
                    <a:gd name="connsiteX7" fmla="*/ 36935 w 75514"/>
                    <a:gd name="connsiteY7" fmla="*/ 0 h 96520"/>
                    <a:gd name="connsiteX8" fmla="*/ 63052 w 75514"/>
                    <a:gd name="connsiteY8" fmla="*/ 10818 h 96520"/>
                    <a:gd name="connsiteX0" fmla="*/ 63052 w 76430"/>
                    <a:gd name="connsiteY0" fmla="*/ 10818 h 96520"/>
                    <a:gd name="connsiteX1" fmla="*/ 73870 w 76430"/>
                    <a:gd name="connsiteY1" fmla="*/ 36935 h 96520"/>
                    <a:gd name="connsiteX2" fmla="*/ 61346 w 76430"/>
                    <a:gd name="connsiteY2" fmla="*/ 96520 h 96520"/>
                    <a:gd name="connsiteX3" fmla="*/ 61346 w 76430"/>
                    <a:gd name="connsiteY3" fmla="*/ 44286 h 96520"/>
                    <a:gd name="connsiteX4" fmla="*/ 9112 w 76430"/>
                    <a:gd name="connsiteY4" fmla="*/ 44286 h 96520"/>
                    <a:gd name="connsiteX5" fmla="*/ 0 w 76430"/>
                    <a:gd name="connsiteY5" fmla="*/ 53399 h 96520"/>
                    <a:gd name="connsiteX6" fmla="*/ 0 w 76430"/>
                    <a:gd name="connsiteY6" fmla="*/ 36935 h 96520"/>
                    <a:gd name="connsiteX7" fmla="*/ 36935 w 76430"/>
                    <a:gd name="connsiteY7" fmla="*/ 0 h 96520"/>
                    <a:gd name="connsiteX8" fmla="*/ 63052 w 76430"/>
                    <a:gd name="connsiteY8" fmla="*/ 10818 h 9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430" h="96520">
                      <a:moveTo>
                        <a:pt x="63052" y="10818"/>
                      </a:moveTo>
                      <a:cubicBezTo>
                        <a:pt x="69736" y="17501"/>
                        <a:pt x="72459" y="26607"/>
                        <a:pt x="73870" y="36935"/>
                      </a:cubicBezTo>
                      <a:cubicBezTo>
                        <a:pt x="75804" y="51090"/>
                        <a:pt x="82554" y="79053"/>
                        <a:pt x="61346" y="96520"/>
                      </a:cubicBezTo>
                      <a:cubicBezTo>
                        <a:pt x="82034" y="75666"/>
                        <a:pt x="75771" y="58711"/>
                        <a:pt x="61346" y="44286"/>
                      </a:cubicBezTo>
                      <a:cubicBezTo>
                        <a:pt x="46922" y="29862"/>
                        <a:pt x="23537" y="29862"/>
                        <a:pt x="9112" y="44286"/>
                      </a:cubicBezTo>
                      <a:lnTo>
                        <a:pt x="0" y="53399"/>
                      </a:lnTo>
                      <a:lnTo>
                        <a:pt x="0" y="36935"/>
                      </a:lnTo>
                      <a:cubicBezTo>
                        <a:pt x="0" y="16536"/>
                        <a:pt x="16536" y="0"/>
                        <a:pt x="36935" y="0"/>
                      </a:cubicBezTo>
                      <a:cubicBezTo>
                        <a:pt x="47134" y="0"/>
                        <a:pt x="56368" y="4134"/>
                        <a:pt x="63052" y="10818"/>
                      </a:cubicBez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40" name="Rounded Rectangle 1098"/>
                <p:cNvSpPr/>
                <p:nvPr/>
              </p:nvSpPr>
              <p:spPr bwMode="gray">
                <a:xfrm>
                  <a:off x="2010441" y="4990744"/>
                  <a:ext cx="64138" cy="433373"/>
                </a:xfrm>
                <a:custGeom>
                  <a:avLst/>
                  <a:gdLst/>
                  <a:ahLst/>
                  <a:cxnLst/>
                  <a:rect l="l" t="t" r="r" b="b"/>
                  <a:pathLst>
                    <a:path w="64138" h="433373">
                      <a:moveTo>
                        <a:pt x="32069" y="0"/>
                      </a:moveTo>
                      <a:cubicBezTo>
                        <a:pt x="49780" y="0"/>
                        <a:pt x="64138" y="14358"/>
                        <a:pt x="64138" y="32069"/>
                      </a:cubicBezTo>
                      <a:lnTo>
                        <a:pt x="64138" y="433373"/>
                      </a:lnTo>
                      <a:lnTo>
                        <a:pt x="0" y="433373"/>
                      </a:lnTo>
                      <a:lnTo>
                        <a:pt x="0" y="32069"/>
                      </a:lnTo>
                      <a:cubicBezTo>
                        <a:pt x="0" y="14358"/>
                        <a:pt x="14358" y="0"/>
                        <a:pt x="32069" y="0"/>
                      </a:cubicBez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635" name="Rectangle 634"/>
              <p:cNvSpPr/>
              <p:nvPr/>
            </p:nvSpPr>
            <p:spPr bwMode="gray">
              <a:xfrm>
                <a:off x="1931243" y="4866397"/>
                <a:ext cx="10800" cy="7096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36" name="Rectangle 635"/>
              <p:cNvSpPr/>
              <p:nvPr/>
            </p:nvSpPr>
            <p:spPr bwMode="gray">
              <a:xfrm>
                <a:off x="1940490" y="4866397"/>
                <a:ext cx="45719" cy="7096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37" name="Rectangle 636"/>
              <p:cNvSpPr/>
              <p:nvPr/>
            </p:nvSpPr>
            <p:spPr bwMode="gray">
              <a:xfrm>
                <a:off x="1989866" y="4720917"/>
                <a:ext cx="28800" cy="2160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38" name="Rounded Rectangle 637"/>
              <p:cNvSpPr/>
              <p:nvPr/>
            </p:nvSpPr>
            <p:spPr bwMode="gray">
              <a:xfrm>
                <a:off x="1671358" y="4797152"/>
                <a:ext cx="360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448" name="Group 447"/>
            <p:cNvGrpSpPr/>
            <p:nvPr/>
          </p:nvGrpSpPr>
          <p:grpSpPr bwMode="gray">
            <a:xfrm>
              <a:off x="1902096" y="2491440"/>
              <a:ext cx="2088000" cy="496773"/>
              <a:chOff x="1902095" y="4937321"/>
              <a:chExt cx="2088000" cy="496773"/>
            </a:xfrm>
            <a:grpFill/>
          </p:grpSpPr>
          <p:sp>
            <p:nvSpPr>
              <p:cNvPr id="627" name="Rounded Rectangle 626"/>
              <p:cNvSpPr/>
              <p:nvPr/>
            </p:nvSpPr>
            <p:spPr bwMode="gray">
              <a:xfrm>
                <a:off x="1902095" y="4937321"/>
                <a:ext cx="2088000" cy="180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28" name="Rectangle 627"/>
              <p:cNvSpPr/>
              <p:nvPr/>
            </p:nvSpPr>
            <p:spPr bwMode="gray">
              <a:xfrm>
                <a:off x="1912829" y="4955170"/>
                <a:ext cx="2066532" cy="47892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449" name="Group 448"/>
            <p:cNvGrpSpPr/>
            <p:nvPr/>
          </p:nvGrpSpPr>
          <p:grpSpPr bwMode="gray">
            <a:xfrm>
              <a:off x="2300722" y="2540779"/>
              <a:ext cx="1047838" cy="459039"/>
              <a:chOff x="2328250" y="4517894"/>
              <a:chExt cx="1047838" cy="459039"/>
            </a:xfrm>
            <a:grpFill/>
          </p:grpSpPr>
          <p:grpSp>
            <p:nvGrpSpPr>
              <p:cNvPr id="606" name="Group 605"/>
              <p:cNvGrpSpPr/>
              <p:nvPr/>
            </p:nvGrpSpPr>
            <p:grpSpPr bwMode="gray">
              <a:xfrm>
                <a:off x="2802321" y="4517894"/>
                <a:ext cx="404602" cy="295865"/>
                <a:chOff x="2506050" y="3684159"/>
                <a:chExt cx="534792" cy="391067"/>
              </a:xfrm>
              <a:grpFill/>
            </p:grpSpPr>
            <p:sp>
              <p:nvSpPr>
                <p:cNvPr id="611" name="Rectangle 610"/>
                <p:cNvSpPr/>
                <p:nvPr/>
              </p:nvSpPr>
              <p:spPr bwMode="gray">
                <a:xfrm>
                  <a:off x="2917462" y="3694555"/>
                  <a:ext cx="36000" cy="380671"/>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12" name="Rectangle 611"/>
                <p:cNvSpPr/>
                <p:nvPr/>
              </p:nvSpPr>
              <p:spPr bwMode="gray">
                <a:xfrm>
                  <a:off x="2850811" y="3694555"/>
                  <a:ext cx="36000" cy="380671"/>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13" name="Rectangle 612"/>
                <p:cNvSpPr/>
                <p:nvPr/>
              </p:nvSpPr>
              <p:spPr bwMode="gray">
                <a:xfrm>
                  <a:off x="2784159" y="3694555"/>
                  <a:ext cx="36000" cy="380671"/>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614" name="Group 613"/>
                <p:cNvGrpSpPr/>
                <p:nvPr/>
              </p:nvGrpSpPr>
              <p:grpSpPr bwMode="gray">
                <a:xfrm>
                  <a:off x="2517551" y="3941531"/>
                  <a:ext cx="511791" cy="45719"/>
                  <a:chOff x="2517551" y="3941531"/>
                  <a:chExt cx="511791" cy="213164"/>
                </a:xfrm>
                <a:grpFill/>
              </p:grpSpPr>
              <p:sp>
                <p:nvSpPr>
                  <p:cNvPr id="625" name="Isosceles Triangle 13"/>
                  <p:cNvSpPr/>
                  <p:nvPr/>
                </p:nvSpPr>
                <p:spPr bwMode="gray">
                  <a:xfrm flipV="1">
                    <a:off x="2517551" y="3941531"/>
                    <a:ext cx="511791" cy="167445"/>
                  </a:xfrm>
                  <a:custGeom>
                    <a:avLst/>
                    <a:gdLst/>
                    <a:ahLst/>
                    <a:cxnLst/>
                    <a:rect l="l" t="t" r="r" b="b"/>
                    <a:pathLst>
                      <a:path w="511791" h="165942">
                        <a:moveTo>
                          <a:pt x="0" y="165942"/>
                        </a:moveTo>
                        <a:lnTo>
                          <a:pt x="511791" y="165942"/>
                        </a:lnTo>
                        <a:lnTo>
                          <a:pt x="355767" y="0"/>
                        </a:lnTo>
                        <a:lnTo>
                          <a:pt x="156025" y="0"/>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26" name="Rectangle 625"/>
                  <p:cNvSpPr/>
                  <p:nvPr/>
                </p:nvSpPr>
                <p:spPr bwMode="gray">
                  <a:xfrm>
                    <a:off x="2665446" y="4108976"/>
                    <a:ext cx="223022" cy="45719"/>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615" name="Rectangle 614"/>
                <p:cNvSpPr/>
                <p:nvPr/>
              </p:nvSpPr>
              <p:spPr bwMode="gray">
                <a:xfrm>
                  <a:off x="2517551" y="3691675"/>
                  <a:ext cx="511791" cy="11718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16" name="Rectangle 615"/>
                <p:cNvSpPr/>
                <p:nvPr/>
              </p:nvSpPr>
              <p:spPr bwMode="gray">
                <a:xfrm>
                  <a:off x="2517551" y="3816612"/>
                  <a:ext cx="511791" cy="11741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17" name="Rectangle 616"/>
                <p:cNvSpPr/>
                <p:nvPr/>
              </p:nvSpPr>
              <p:spPr bwMode="gray">
                <a:xfrm>
                  <a:off x="2584202" y="3694555"/>
                  <a:ext cx="36000" cy="380671"/>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18" name="Rectangle 617"/>
                <p:cNvSpPr/>
                <p:nvPr/>
              </p:nvSpPr>
              <p:spPr bwMode="gray">
                <a:xfrm>
                  <a:off x="2984115" y="3694555"/>
                  <a:ext cx="36000" cy="380671"/>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19" name="Rounded Rectangle 618"/>
                <p:cNvSpPr/>
                <p:nvPr/>
              </p:nvSpPr>
              <p:spPr bwMode="gray">
                <a:xfrm>
                  <a:off x="2506050" y="3684159"/>
                  <a:ext cx="534792" cy="7754"/>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20" name="Rounded Rectangle 619"/>
                <p:cNvSpPr/>
                <p:nvPr/>
              </p:nvSpPr>
              <p:spPr bwMode="gray">
                <a:xfrm>
                  <a:off x="2506050" y="3808858"/>
                  <a:ext cx="534792" cy="7754"/>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21" name="Rounded Rectangle 620"/>
                <p:cNvSpPr/>
                <p:nvPr/>
              </p:nvSpPr>
              <p:spPr bwMode="gray">
                <a:xfrm>
                  <a:off x="2506050" y="3933777"/>
                  <a:ext cx="534792" cy="7754"/>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22" name="Rectangle 621"/>
                <p:cNvSpPr/>
                <p:nvPr/>
              </p:nvSpPr>
              <p:spPr bwMode="gray">
                <a:xfrm>
                  <a:off x="2517551" y="3694555"/>
                  <a:ext cx="36000" cy="380671"/>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23" name="Rectangle 622"/>
                <p:cNvSpPr/>
                <p:nvPr/>
              </p:nvSpPr>
              <p:spPr bwMode="gray">
                <a:xfrm>
                  <a:off x="2650856" y="3694555"/>
                  <a:ext cx="36000" cy="380671"/>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24" name="Rectangle 623"/>
                <p:cNvSpPr/>
                <p:nvPr/>
              </p:nvSpPr>
              <p:spPr bwMode="gray">
                <a:xfrm>
                  <a:off x="2717507" y="3694555"/>
                  <a:ext cx="36000" cy="380671"/>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607" name="Group 606"/>
              <p:cNvGrpSpPr/>
              <p:nvPr/>
            </p:nvGrpSpPr>
            <p:grpSpPr bwMode="gray">
              <a:xfrm>
                <a:off x="2328250" y="4721736"/>
                <a:ext cx="1047838" cy="255197"/>
                <a:chOff x="2328250" y="4721736"/>
                <a:chExt cx="1047838" cy="255197"/>
              </a:xfrm>
              <a:grpFill/>
            </p:grpSpPr>
            <p:sp>
              <p:nvSpPr>
                <p:cNvPr id="608" name="Rectangle 607"/>
                <p:cNvSpPr/>
                <p:nvPr/>
              </p:nvSpPr>
              <p:spPr bwMode="gray">
                <a:xfrm>
                  <a:off x="2328250" y="4813759"/>
                  <a:ext cx="1047838" cy="16317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09" name="Rectangle 608"/>
                <p:cNvSpPr/>
                <p:nvPr/>
              </p:nvSpPr>
              <p:spPr bwMode="gray">
                <a:xfrm>
                  <a:off x="2450520" y="4729925"/>
                  <a:ext cx="260090" cy="8067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10" name="Rectangle 609"/>
                <p:cNvSpPr/>
                <p:nvPr/>
              </p:nvSpPr>
              <p:spPr bwMode="gray">
                <a:xfrm>
                  <a:off x="2455058" y="4721736"/>
                  <a:ext cx="251014" cy="72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grpSp>
          <p:nvGrpSpPr>
            <p:cNvPr id="450" name="Group 449"/>
            <p:cNvGrpSpPr/>
            <p:nvPr/>
          </p:nvGrpSpPr>
          <p:grpSpPr bwMode="gray">
            <a:xfrm>
              <a:off x="1703595" y="1515539"/>
              <a:ext cx="110958" cy="1476013"/>
              <a:chOff x="1959086" y="3969060"/>
              <a:chExt cx="110958" cy="1476013"/>
            </a:xfrm>
            <a:grpFill/>
          </p:grpSpPr>
          <p:sp>
            <p:nvSpPr>
              <p:cNvPr id="579" name="Rounded Rectangle 578"/>
              <p:cNvSpPr/>
              <p:nvPr/>
            </p:nvSpPr>
            <p:spPr bwMode="gray">
              <a:xfrm rot="16200000">
                <a:off x="1877561" y="4078875"/>
                <a:ext cx="216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80" name="Rectangle 579"/>
              <p:cNvSpPr/>
              <p:nvPr/>
            </p:nvSpPr>
            <p:spPr bwMode="gray">
              <a:xfrm>
                <a:off x="1964522" y="4700571"/>
                <a:ext cx="100087" cy="113298"/>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81" name="Rectangle 580"/>
              <p:cNvSpPr/>
              <p:nvPr/>
            </p:nvSpPr>
            <p:spPr bwMode="gray">
              <a:xfrm>
                <a:off x="1964522" y="4204309"/>
                <a:ext cx="100087" cy="113298"/>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82" name="Rounded Rectangle 581"/>
              <p:cNvSpPr/>
              <p:nvPr/>
            </p:nvSpPr>
            <p:spPr bwMode="gray">
              <a:xfrm>
                <a:off x="1959086" y="4193436"/>
                <a:ext cx="110958"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83" name="Rounded Rectangle 582"/>
              <p:cNvSpPr/>
              <p:nvPr/>
            </p:nvSpPr>
            <p:spPr bwMode="gray">
              <a:xfrm>
                <a:off x="1959086" y="4317501"/>
                <a:ext cx="110958"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84" name="Rounded Rectangle 583"/>
              <p:cNvSpPr/>
              <p:nvPr/>
            </p:nvSpPr>
            <p:spPr bwMode="gray">
              <a:xfrm>
                <a:off x="1959086" y="4565632"/>
                <a:ext cx="110958"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85" name="Rounded Rectangle 584"/>
              <p:cNvSpPr/>
              <p:nvPr/>
            </p:nvSpPr>
            <p:spPr bwMode="gray">
              <a:xfrm>
                <a:off x="1959086" y="4813763"/>
                <a:ext cx="110958"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86" name="Rounded Rectangle 585"/>
              <p:cNvSpPr/>
              <p:nvPr/>
            </p:nvSpPr>
            <p:spPr bwMode="gray">
              <a:xfrm>
                <a:off x="1959086" y="5061894"/>
                <a:ext cx="110958"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87" name="Rounded Rectangle 586"/>
              <p:cNvSpPr/>
              <p:nvPr/>
            </p:nvSpPr>
            <p:spPr bwMode="gray">
              <a:xfrm>
                <a:off x="1959086" y="5310025"/>
                <a:ext cx="110958"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88" name="Rounded Rectangle 587"/>
              <p:cNvSpPr/>
              <p:nvPr/>
            </p:nvSpPr>
            <p:spPr bwMode="gray">
              <a:xfrm>
                <a:off x="1959086" y="5434094"/>
                <a:ext cx="110958"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89" name="Rounded Rectangle 588"/>
              <p:cNvSpPr/>
              <p:nvPr/>
            </p:nvSpPr>
            <p:spPr bwMode="gray">
              <a:xfrm>
                <a:off x="1959086" y="5185960"/>
                <a:ext cx="110958"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90" name="Rounded Rectangle 589"/>
              <p:cNvSpPr/>
              <p:nvPr/>
            </p:nvSpPr>
            <p:spPr bwMode="gray">
              <a:xfrm>
                <a:off x="1959086" y="4441567"/>
                <a:ext cx="110958"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91" name="Rounded Rectangle 590"/>
              <p:cNvSpPr/>
              <p:nvPr/>
            </p:nvSpPr>
            <p:spPr bwMode="gray">
              <a:xfrm>
                <a:off x="1959086" y="4689698"/>
                <a:ext cx="110958"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92" name="Rounded Rectangle 591"/>
              <p:cNvSpPr/>
              <p:nvPr/>
            </p:nvSpPr>
            <p:spPr bwMode="gray">
              <a:xfrm>
                <a:off x="1959086" y="4937829"/>
                <a:ext cx="110958"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93" name="Rectangle 592"/>
              <p:cNvSpPr/>
              <p:nvPr/>
            </p:nvSpPr>
            <p:spPr bwMode="gray">
              <a:xfrm>
                <a:off x="1964522" y="4328374"/>
                <a:ext cx="100087" cy="113298"/>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94" name="Rectangle 593"/>
              <p:cNvSpPr/>
              <p:nvPr/>
            </p:nvSpPr>
            <p:spPr bwMode="gray">
              <a:xfrm>
                <a:off x="1964522" y="4452440"/>
                <a:ext cx="100087" cy="113298"/>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95" name="Rectangle 594"/>
              <p:cNvSpPr/>
              <p:nvPr/>
            </p:nvSpPr>
            <p:spPr bwMode="gray">
              <a:xfrm>
                <a:off x="1964522" y="4576505"/>
                <a:ext cx="100087" cy="113298"/>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96" name="Rectangle 595"/>
              <p:cNvSpPr/>
              <p:nvPr/>
            </p:nvSpPr>
            <p:spPr bwMode="gray">
              <a:xfrm>
                <a:off x="1964522" y="4824636"/>
                <a:ext cx="100087" cy="113298"/>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97" name="Rectangle 596"/>
              <p:cNvSpPr/>
              <p:nvPr/>
            </p:nvSpPr>
            <p:spPr bwMode="gray">
              <a:xfrm>
                <a:off x="1964522" y="4948702"/>
                <a:ext cx="100087" cy="113298"/>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98" name="Rectangle 597"/>
              <p:cNvSpPr/>
              <p:nvPr/>
            </p:nvSpPr>
            <p:spPr bwMode="gray">
              <a:xfrm>
                <a:off x="1964522" y="5072767"/>
                <a:ext cx="100087" cy="113298"/>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99" name="Rectangle 598"/>
              <p:cNvSpPr/>
              <p:nvPr/>
            </p:nvSpPr>
            <p:spPr bwMode="gray">
              <a:xfrm>
                <a:off x="1964522" y="5196833"/>
                <a:ext cx="100087" cy="113298"/>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00" name="Rectangle 599"/>
              <p:cNvSpPr/>
              <p:nvPr/>
            </p:nvSpPr>
            <p:spPr bwMode="gray">
              <a:xfrm>
                <a:off x="1964522" y="5320898"/>
                <a:ext cx="100087" cy="113298"/>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01" name="Rounded Rectangle 600"/>
              <p:cNvSpPr/>
              <p:nvPr/>
            </p:nvSpPr>
            <p:spPr bwMode="gray">
              <a:xfrm>
                <a:off x="1959086" y="3969060"/>
                <a:ext cx="110958"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02" name="Rounded Rectangle 601"/>
              <p:cNvSpPr/>
              <p:nvPr/>
            </p:nvSpPr>
            <p:spPr bwMode="gray">
              <a:xfrm>
                <a:off x="1959086" y="4077072"/>
                <a:ext cx="110958"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03" name="Rounded Rectangle 602"/>
              <p:cNvSpPr/>
              <p:nvPr/>
            </p:nvSpPr>
            <p:spPr bwMode="gray">
              <a:xfrm>
                <a:off x="1959086" y="4168130"/>
                <a:ext cx="72000"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04" name="Rounded Rectangle 603"/>
              <p:cNvSpPr/>
              <p:nvPr/>
            </p:nvSpPr>
            <p:spPr bwMode="gray">
              <a:xfrm>
                <a:off x="1959086" y="4052498"/>
                <a:ext cx="72000" cy="10979"/>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05" name="Rounded Rectangle 604"/>
              <p:cNvSpPr/>
              <p:nvPr/>
            </p:nvSpPr>
            <p:spPr bwMode="gray">
              <a:xfrm>
                <a:off x="1968611" y="4029638"/>
                <a:ext cx="54000" cy="72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451" name="Group 450"/>
            <p:cNvGrpSpPr/>
            <p:nvPr/>
          </p:nvGrpSpPr>
          <p:grpSpPr bwMode="gray">
            <a:xfrm>
              <a:off x="718471" y="534649"/>
              <a:ext cx="243463" cy="2465170"/>
              <a:chOff x="207953" y="2980530"/>
              <a:chExt cx="243463" cy="2465170"/>
            </a:xfrm>
            <a:grpFill/>
          </p:grpSpPr>
          <p:sp>
            <p:nvSpPr>
              <p:cNvPr id="524" name="Rectangle 523"/>
              <p:cNvSpPr/>
              <p:nvPr/>
            </p:nvSpPr>
            <p:spPr bwMode="gray">
              <a:xfrm>
                <a:off x="224336" y="2980530"/>
                <a:ext cx="36000" cy="97941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25" name="Rectangle 524"/>
              <p:cNvSpPr/>
              <p:nvPr/>
            </p:nvSpPr>
            <p:spPr bwMode="gray">
              <a:xfrm>
                <a:off x="222562" y="4469966"/>
                <a:ext cx="219610" cy="22271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26" name="Rectangle 525"/>
              <p:cNvSpPr/>
              <p:nvPr/>
            </p:nvSpPr>
            <p:spPr bwMode="gray">
              <a:xfrm>
                <a:off x="222562" y="4226086"/>
                <a:ext cx="219610" cy="22271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27" name="Rectangle 526"/>
              <p:cNvSpPr/>
              <p:nvPr/>
            </p:nvSpPr>
            <p:spPr bwMode="gray">
              <a:xfrm>
                <a:off x="222562" y="4957726"/>
                <a:ext cx="219610" cy="22271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28" name="Rectangle 527"/>
              <p:cNvSpPr/>
              <p:nvPr/>
            </p:nvSpPr>
            <p:spPr bwMode="gray">
              <a:xfrm>
                <a:off x="222562" y="4713846"/>
                <a:ext cx="219610" cy="22271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29" name="Rectangle 528"/>
              <p:cNvSpPr/>
              <p:nvPr/>
            </p:nvSpPr>
            <p:spPr bwMode="gray">
              <a:xfrm>
                <a:off x="222562" y="3982206"/>
                <a:ext cx="219607" cy="22271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30" name="Rectangle 529"/>
              <p:cNvSpPr/>
              <p:nvPr/>
            </p:nvSpPr>
            <p:spPr bwMode="gray">
              <a:xfrm>
                <a:off x="271968" y="3006688"/>
                <a:ext cx="170202" cy="22271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31" name="Rounded Rectangle 530"/>
              <p:cNvSpPr/>
              <p:nvPr/>
            </p:nvSpPr>
            <p:spPr bwMode="gray">
              <a:xfrm>
                <a:off x="262724" y="2985314"/>
                <a:ext cx="188689" cy="21582"/>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32" name="Rounded Rectangle 531"/>
              <p:cNvSpPr/>
              <p:nvPr/>
            </p:nvSpPr>
            <p:spPr bwMode="gray">
              <a:xfrm>
                <a:off x="262724" y="3229194"/>
                <a:ext cx="188689" cy="21582"/>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33" name="Rounded Rectangle 532"/>
              <p:cNvSpPr/>
              <p:nvPr/>
            </p:nvSpPr>
            <p:spPr bwMode="gray">
              <a:xfrm>
                <a:off x="262724" y="3716954"/>
                <a:ext cx="188689" cy="21582"/>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34" name="Rounded Rectangle 533"/>
              <p:cNvSpPr/>
              <p:nvPr/>
            </p:nvSpPr>
            <p:spPr bwMode="gray">
              <a:xfrm>
                <a:off x="210213" y="4204710"/>
                <a:ext cx="241199" cy="21582"/>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35" name="Rounded Rectangle 534"/>
              <p:cNvSpPr/>
              <p:nvPr/>
            </p:nvSpPr>
            <p:spPr bwMode="gray">
              <a:xfrm>
                <a:off x="210213" y="4692470"/>
                <a:ext cx="241199" cy="21582"/>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36" name="Rounded Rectangle 535"/>
              <p:cNvSpPr/>
              <p:nvPr/>
            </p:nvSpPr>
            <p:spPr bwMode="gray">
              <a:xfrm>
                <a:off x="210213" y="5180230"/>
                <a:ext cx="241199" cy="21582"/>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37" name="Rounded Rectangle 536"/>
              <p:cNvSpPr/>
              <p:nvPr/>
            </p:nvSpPr>
            <p:spPr bwMode="gray">
              <a:xfrm>
                <a:off x="207953" y="5424118"/>
                <a:ext cx="243463" cy="21582"/>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38" name="Rounded Rectangle 537"/>
              <p:cNvSpPr/>
              <p:nvPr/>
            </p:nvSpPr>
            <p:spPr bwMode="gray">
              <a:xfrm>
                <a:off x="210213" y="4936352"/>
                <a:ext cx="241199" cy="21582"/>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39" name="Rounded Rectangle 538"/>
              <p:cNvSpPr/>
              <p:nvPr/>
            </p:nvSpPr>
            <p:spPr bwMode="gray">
              <a:xfrm>
                <a:off x="262724" y="3473074"/>
                <a:ext cx="188689" cy="21582"/>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40" name="Rounded Rectangle 539"/>
              <p:cNvSpPr/>
              <p:nvPr/>
            </p:nvSpPr>
            <p:spPr bwMode="gray">
              <a:xfrm>
                <a:off x="210213" y="3960834"/>
                <a:ext cx="241199" cy="21582"/>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41" name="Rounded Rectangle 540"/>
              <p:cNvSpPr/>
              <p:nvPr/>
            </p:nvSpPr>
            <p:spPr bwMode="gray">
              <a:xfrm>
                <a:off x="210213" y="4448592"/>
                <a:ext cx="241199" cy="21582"/>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42" name="Rectangle 541"/>
              <p:cNvSpPr/>
              <p:nvPr/>
            </p:nvSpPr>
            <p:spPr bwMode="gray">
              <a:xfrm>
                <a:off x="271968" y="3250567"/>
                <a:ext cx="170202" cy="22271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43" name="Rectangle 542"/>
              <p:cNvSpPr/>
              <p:nvPr/>
            </p:nvSpPr>
            <p:spPr bwMode="gray">
              <a:xfrm>
                <a:off x="271968" y="3494447"/>
                <a:ext cx="170202" cy="22271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44" name="Rectangle 543"/>
              <p:cNvSpPr/>
              <p:nvPr/>
            </p:nvSpPr>
            <p:spPr bwMode="gray">
              <a:xfrm>
                <a:off x="271968" y="3738327"/>
                <a:ext cx="170202" cy="22271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45" name="Rectangle 544"/>
              <p:cNvSpPr/>
              <p:nvPr/>
            </p:nvSpPr>
            <p:spPr bwMode="gray">
              <a:xfrm>
                <a:off x="222562" y="5201607"/>
                <a:ext cx="219610" cy="22271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46" name="Rounded Rectangle 545"/>
              <p:cNvSpPr/>
              <p:nvPr/>
            </p:nvSpPr>
            <p:spPr bwMode="gray">
              <a:xfrm rot="16200000">
                <a:off x="-881531" y="4215379"/>
                <a:ext cx="244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47" name="Rounded Rectangle 546"/>
              <p:cNvSpPr/>
              <p:nvPr/>
            </p:nvSpPr>
            <p:spPr bwMode="gray">
              <a:xfrm>
                <a:off x="305085" y="4064566"/>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48" name="Rounded Rectangle 547"/>
              <p:cNvSpPr/>
              <p:nvPr/>
            </p:nvSpPr>
            <p:spPr bwMode="gray">
              <a:xfrm>
                <a:off x="305085" y="3968610"/>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49" name="Rounded Rectangle 548"/>
              <p:cNvSpPr/>
              <p:nvPr/>
            </p:nvSpPr>
            <p:spPr bwMode="gray">
              <a:xfrm>
                <a:off x="305085" y="4160521"/>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50" name="Rounded Rectangle 549"/>
              <p:cNvSpPr/>
              <p:nvPr/>
            </p:nvSpPr>
            <p:spPr bwMode="gray">
              <a:xfrm>
                <a:off x="305085" y="4352433"/>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51" name="Rounded Rectangle 550"/>
              <p:cNvSpPr/>
              <p:nvPr/>
            </p:nvSpPr>
            <p:spPr bwMode="gray">
              <a:xfrm>
                <a:off x="305085" y="4256477"/>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52" name="Rounded Rectangle 551"/>
              <p:cNvSpPr/>
              <p:nvPr/>
            </p:nvSpPr>
            <p:spPr bwMode="gray">
              <a:xfrm>
                <a:off x="305085" y="4448388"/>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53" name="Rounded Rectangle 552"/>
              <p:cNvSpPr/>
              <p:nvPr/>
            </p:nvSpPr>
            <p:spPr bwMode="gray">
              <a:xfrm>
                <a:off x="305085" y="4544344"/>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54" name="Rounded Rectangle 553"/>
              <p:cNvSpPr/>
              <p:nvPr/>
            </p:nvSpPr>
            <p:spPr bwMode="gray">
              <a:xfrm>
                <a:off x="305085" y="4736255"/>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55" name="Rounded Rectangle 554"/>
              <p:cNvSpPr/>
              <p:nvPr/>
            </p:nvSpPr>
            <p:spPr bwMode="gray">
              <a:xfrm>
                <a:off x="305085" y="4640300"/>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56" name="Rounded Rectangle 555"/>
              <p:cNvSpPr/>
              <p:nvPr/>
            </p:nvSpPr>
            <p:spPr bwMode="gray">
              <a:xfrm>
                <a:off x="305085" y="4832211"/>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57" name="Rounded Rectangle 556"/>
              <p:cNvSpPr/>
              <p:nvPr/>
            </p:nvSpPr>
            <p:spPr bwMode="gray">
              <a:xfrm>
                <a:off x="305085" y="5024122"/>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58" name="Rounded Rectangle 557"/>
              <p:cNvSpPr/>
              <p:nvPr/>
            </p:nvSpPr>
            <p:spPr bwMode="gray">
              <a:xfrm>
                <a:off x="305085" y="4928167"/>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59" name="Rounded Rectangle 558"/>
              <p:cNvSpPr/>
              <p:nvPr/>
            </p:nvSpPr>
            <p:spPr bwMode="gray">
              <a:xfrm>
                <a:off x="305085" y="5216034"/>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0" name="Rounded Rectangle 559"/>
              <p:cNvSpPr/>
              <p:nvPr/>
            </p:nvSpPr>
            <p:spPr bwMode="gray">
              <a:xfrm>
                <a:off x="305085" y="5120078"/>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1" name="Rounded Rectangle 560"/>
              <p:cNvSpPr/>
              <p:nvPr/>
            </p:nvSpPr>
            <p:spPr bwMode="gray">
              <a:xfrm>
                <a:off x="305085" y="5311989"/>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2" name="Rounded Rectangle 561"/>
              <p:cNvSpPr/>
              <p:nvPr/>
            </p:nvSpPr>
            <p:spPr bwMode="gray">
              <a:xfrm>
                <a:off x="305085" y="5407945"/>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3" name="Rounded Rectangle 562"/>
              <p:cNvSpPr/>
              <p:nvPr/>
            </p:nvSpPr>
            <p:spPr bwMode="gray">
              <a:xfrm>
                <a:off x="305085" y="3106509"/>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4" name="Rounded Rectangle 563"/>
              <p:cNvSpPr/>
              <p:nvPr/>
            </p:nvSpPr>
            <p:spPr bwMode="gray">
              <a:xfrm>
                <a:off x="305085" y="3010553"/>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5" name="Rounded Rectangle 564"/>
              <p:cNvSpPr/>
              <p:nvPr/>
            </p:nvSpPr>
            <p:spPr bwMode="gray">
              <a:xfrm>
                <a:off x="305085" y="3202464"/>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6" name="Rounded Rectangle 565"/>
              <p:cNvSpPr/>
              <p:nvPr/>
            </p:nvSpPr>
            <p:spPr bwMode="gray">
              <a:xfrm>
                <a:off x="305085" y="3394376"/>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7" name="Rounded Rectangle 566"/>
              <p:cNvSpPr/>
              <p:nvPr/>
            </p:nvSpPr>
            <p:spPr bwMode="gray">
              <a:xfrm>
                <a:off x="305085" y="3298420"/>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8" name="Rounded Rectangle 567"/>
              <p:cNvSpPr/>
              <p:nvPr/>
            </p:nvSpPr>
            <p:spPr bwMode="gray">
              <a:xfrm>
                <a:off x="305085" y="3490331"/>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9" name="Rounded Rectangle 568"/>
              <p:cNvSpPr/>
              <p:nvPr/>
            </p:nvSpPr>
            <p:spPr bwMode="gray">
              <a:xfrm>
                <a:off x="305085" y="3586287"/>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70" name="Rounded Rectangle 569"/>
              <p:cNvSpPr/>
              <p:nvPr/>
            </p:nvSpPr>
            <p:spPr bwMode="gray">
              <a:xfrm>
                <a:off x="305085" y="3778198"/>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71" name="Rounded Rectangle 570"/>
              <p:cNvSpPr/>
              <p:nvPr/>
            </p:nvSpPr>
            <p:spPr bwMode="gray">
              <a:xfrm>
                <a:off x="305085" y="3682243"/>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72" name="Rounded Rectangle 571"/>
              <p:cNvSpPr/>
              <p:nvPr/>
            </p:nvSpPr>
            <p:spPr bwMode="gray">
              <a:xfrm>
                <a:off x="305085" y="3874154"/>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73" name="Rounded Rectangle 572"/>
              <p:cNvSpPr/>
              <p:nvPr/>
            </p:nvSpPr>
            <p:spPr bwMode="gray">
              <a:xfrm>
                <a:off x="305085" y="3970110"/>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74" name="Rounded Rectangle 573"/>
              <p:cNvSpPr/>
              <p:nvPr/>
            </p:nvSpPr>
            <p:spPr bwMode="gray">
              <a:xfrm>
                <a:off x="222562" y="3106509"/>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75" name="Rounded Rectangle 574"/>
              <p:cNvSpPr/>
              <p:nvPr/>
            </p:nvSpPr>
            <p:spPr bwMode="gray">
              <a:xfrm>
                <a:off x="222562" y="3298420"/>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76" name="Rounded Rectangle 575"/>
              <p:cNvSpPr/>
              <p:nvPr/>
            </p:nvSpPr>
            <p:spPr bwMode="gray">
              <a:xfrm>
                <a:off x="222562" y="3490331"/>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77" name="Rounded Rectangle 576"/>
              <p:cNvSpPr/>
              <p:nvPr/>
            </p:nvSpPr>
            <p:spPr bwMode="gray">
              <a:xfrm>
                <a:off x="222562" y="3682243"/>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78" name="Rounded Rectangle 577"/>
              <p:cNvSpPr/>
              <p:nvPr/>
            </p:nvSpPr>
            <p:spPr bwMode="gray">
              <a:xfrm>
                <a:off x="222562" y="3874154"/>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452" name="Group 451"/>
            <p:cNvGrpSpPr/>
            <p:nvPr/>
          </p:nvGrpSpPr>
          <p:grpSpPr bwMode="gray">
            <a:xfrm>
              <a:off x="1929340" y="1331180"/>
              <a:ext cx="115200" cy="1502120"/>
              <a:chOff x="2320628" y="3771564"/>
              <a:chExt cx="115200" cy="1502120"/>
            </a:xfrm>
            <a:grpFill/>
          </p:grpSpPr>
          <p:sp>
            <p:nvSpPr>
              <p:cNvPr id="486" name="Rectangle 485"/>
              <p:cNvSpPr/>
              <p:nvPr/>
            </p:nvSpPr>
            <p:spPr bwMode="gray">
              <a:xfrm>
                <a:off x="2326272" y="4380189"/>
                <a:ext cx="103913" cy="13597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87" name="Rectangle 486"/>
              <p:cNvSpPr/>
              <p:nvPr/>
            </p:nvSpPr>
            <p:spPr bwMode="gray">
              <a:xfrm>
                <a:off x="2326272" y="3784613"/>
                <a:ext cx="103913" cy="13597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88" name="Rounded Rectangle 487"/>
              <p:cNvSpPr/>
              <p:nvPr/>
            </p:nvSpPr>
            <p:spPr bwMode="gray">
              <a:xfrm>
                <a:off x="2320628" y="3771564"/>
                <a:ext cx="115200" cy="13176"/>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89" name="Rounded Rectangle 488"/>
              <p:cNvSpPr/>
              <p:nvPr/>
            </p:nvSpPr>
            <p:spPr bwMode="gray">
              <a:xfrm>
                <a:off x="2320628" y="3920458"/>
                <a:ext cx="115200" cy="13176"/>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90" name="Rounded Rectangle 489"/>
              <p:cNvSpPr/>
              <p:nvPr/>
            </p:nvSpPr>
            <p:spPr bwMode="gray">
              <a:xfrm>
                <a:off x="2320628" y="4218246"/>
                <a:ext cx="115200" cy="13176"/>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91" name="Rounded Rectangle 490"/>
              <p:cNvSpPr/>
              <p:nvPr/>
            </p:nvSpPr>
            <p:spPr bwMode="gray">
              <a:xfrm>
                <a:off x="2320628" y="4516034"/>
                <a:ext cx="115200" cy="13176"/>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92" name="Rounded Rectangle 491"/>
              <p:cNvSpPr/>
              <p:nvPr/>
            </p:nvSpPr>
            <p:spPr bwMode="gray">
              <a:xfrm>
                <a:off x="2320628" y="4813822"/>
                <a:ext cx="115200" cy="13176"/>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93" name="Rounded Rectangle 492"/>
              <p:cNvSpPr/>
              <p:nvPr/>
            </p:nvSpPr>
            <p:spPr bwMode="gray">
              <a:xfrm>
                <a:off x="2320628" y="5111610"/>
                <a:ext cx="115200" cy="13176"/>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94" name="Rounded Rectangle 493"/>
              <p:cNvSpPr/>
              <p:nvPr/>
            </p:nvSpPr>
            <p:spPr bwMode="gray">
              <a:xfrm>
                <a:off x="2320628" y="5260508"/>
                <a:ext cx="115200" cy="13176"/>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95" name="Rounded Rectangle 494"/>
              <p:cNvSpPr/>
              <p:nvPr/>
            </p:nvSpPr>
            <p:spPr bwMode="gray">
              <a:xfrm>
                <a:off x="2320628" y="4962716"/>
                <a:ext cx="115200" cy="13176"/>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96" name="Rounded Rectangle 495"/>
              <p:cNvSpPr/>
              <p:nvPr/>
            </p:nvSpPr>
            <p:spPr bwMode="gray">
              <a:xfrm>
                <a:off x="2320628" y="4069352"/>
                <a:ext cx="115200" cy="13176"/>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97" name="Rounded Rectangle 496"/>
              <p:cNvSpPr/>
              <p:nvPr/>
            </p:nvSpPr>
            <p:spPr bwMode="gray">
              <a:xfrm>
                <a:off x="2320628" y="4367140"/>
                <a:ext cx="115200" cy="13176"/>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98" name="Rounded Rectangle 497"/>
              <p:cNvSpPr/>
              <p:nvPr/>
            </p:nvSpPr>
            <p:spPr bwMode="gray">
              <a:xfrm>
                <a:off x="2320628" y="4664928"/>
                <a:ext cx="115200" cy="13176"/>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99" name="Rectangle 498"/>
              <p:cNvSpPr/>
              <p:nvPr/>
            </p:nvSpPr>
            <p:spPr bwMode="gray">
              <a:xfrm>
                <a:off x="2326272" y="3933507"/>
                <a:ext cx="103913" cy="13597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0" name="Rectangle 499"/>
              <p:cNvSpPr/>
              <p:nvPr/>
            </p:nvSpPr>
            <p:spPr bwMode="gray">
              <a:xfrm>
                <a:off x="2326272" y="4082401"/>
                <a:ext cx="103913" cy="13597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1" name="Rectangle 500"/>
              <p:cNvSpPr/>
              <p:nvPr/>
            </p:nvSpPr>
            <p:spPr bwMode="gray">
              <a:xfrm>
                <a:off x="2326272" y="4231295"/>
                <a:ext cx="103913" cy="13597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2" name="Rectangle 501"/>
              <p:cNvSpPr/>
              <p:nvPr/>
            </p:nvSpPr>
            <p:spPr bwMode="gray">
              <a:xfrm>
                <a:off x="2326272" y="4529083"/>
                <a:ext cx="103913" cy="13597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3" name="Rectangle 502"/>
              <p:cNvSpPr/>
              <p:nvPr/>
            </p:nvSpPr>
            <p:spPr bwMode="gray">
              <a:xfrm>
                <a:off x="2326272" y="4677977"/>
                <a:ext cx="103913" cy="13597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4" name="Rectangle 503"/>
              <p:cNvSpPr/>
              <p:nvPr/>
            </p:nvSpPr>
            <p:spPr bwMode="gray">
              <a:xfrm>
                <a:off x="2326272" y="4826871"/>
                <a:ext cx="103913" cy="13597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5" name="Rectangle 504"/>
              <p:cNvSpPr/>
              <p:nvPr/>
            </p:nvSpPr>
            <p:spPr bwMode="gray">
              <a:xfrm>
                <a:off x="2326272" y="4975765"/>
                <a:ext cx="103913" cy="13597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6" name="Rectangle 505"/>
              <p:cNvSpPr/>
              <p:nvPr/>
            </p:nvSpPr>
            <p:spPr bwMode="gray">
              <a:xfrm>
                <a:off x="2326272" y="5124659"/>
                <a:ext cx="103913" cy="13597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7" name="Rounded Rectangle 506"/>
              <p:cNvSpPr/>
              <p:nvPr/>
            </p:nvSpPr>
            <p:spPr bwMode="gray">
              <a:xfrm rot="16200000">
                <a:off x="1649769" y="4516764"/>
                <a:ext cx="15012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8" name="Rounded Rectangle 507"/>
              <p:cNvSpPr/>
              <p:nvPr/>
            </p:nvSpPr>
            <p:spPr bwMode="gray">
              <a:xfrm>
                <a:off x="2362985" y="3892551"/>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9" name="Rounded Rectangle 508"/>
              <p:cNvSpPr/>
              <p:nvPr/>
            </p:nvSpPr>
            <p:spPr bwMode="gray">
              <a:xfrm>
                <a:off x="2362985" y="3796595"/>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0" name="Rounded Rectangle 509"/>
              <p:cNvSpPr/>
              <p:nvPr/>
            </p:nvSpPr>
            <p:spPr bwMode="gray">
              <a:xfrm>
                <a:off x="2362985" y="3988506"/>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1" name="Rounded Rectangle 510"/>
              <p:cNvSpPr/>
              <p:nvPr/>
            </p:nvSpPr>
            <p:spPr bwMode="gray">
              <a:xfrm>
                <a:off x="2362985" y="4180418"/>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2" name="Rounded Rectangle 511"/>
              <p:cNvSpPr/>
              <p:nvPr/>
            </p:nvSpPr>
            <p:spPr bwMode="gray">
              <a:xfrm>
                <a:off x="2362985" y="4084462"/>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3" name="Rounded Rectangle 512"/>
              <p:cNvSpPr/>
              <p:nvPr/>
            </p:nvSpPr>
            <p:spPr bwMode="gray">
              <a:xfrm>
                <a:off x="2362985" y="4276373"/>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4" name="Rounded Rectangle 513"/>
              <p:cNvSpPr/>
              <p:nvPr/>
            </p:nvSpPr>
            <p:spPr bwMode="gray">
              <a:xfrm>
                <a:off x="2362985" y="4372329"/>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5" name="Rounded Rectangle 514"/>
              <p:cNvSpPr/>
              <p:nvPr/>
            </p:nvSpPr>
            <p:spPr bwMode="gray">
              <a:xfrm>
                <a:off x="2362985" y="4564240"/>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6" name="Rounded Rectangle 515"/>
              <p:cNvSpPr/>
              <p:nvPr/>
            </p:nvSpPr>
            <p:spPr bwMode="gray">
              <a:xfrm>
                <a:off x="2362985" y="4468285"/>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7" name="Rounded Rectangle 516"/>
              <p:cNvSpPr/>
              <p:nvPr/>
            </p:nvSpPr>
            <p:spPr bwMode="gray">
              <a:xfrm>
                <a:off x="2362985" y="4660196"/>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8" name="Rounded Rectangle 517"/>
              <p:cNvSpPr/>
              <p:nvPr/>
            </p:nvSpPr>
            <p:spPr bwMode="gray">
              <a:xfrm>
                <a:off x="2362985" y="4852107"/>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9" name="Rounded Rectangle 518"/>
              <p:cNvSpPr/>
              <p:nvPr/>
            </p:nvSpPr>
            <p:spPr bwMode="gray">
              <a:xfrm>
                <a:off x="2362985" y="4756152"/>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20" name="Rounded Rectangle 519"/>
              <p:cNvSpPr/>
              <p:nvPr/>
            </p:nvSpPr>
            <p:spPr bwMode="gray">
              <a:xfrm>
                <a:off x="2362985" y="5044019"/>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21" name="Rounded Rectangle 520"/>
              <p:cNvSpPr/>
              <p:nvPr/>
            </p:nvSpPr>
            <p:spPr bwMode="gray">
              <a:xfrm>
                <a:off x="2362985" y="4948063"/>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22" name="Rounded Rectangle 521"/>
              <p:cNvSpPr/>
              <p:nvPr/>
            </p:nvSpPr>
            <p:spPr bwMode="gray">
              <a:xfrm>
                <a:off x="2362985" y="5139974"/>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23" name="Rounded Rectangle 522"/>
              <p:cNvSpPr/>
              <p:nvPr/>
            </p:nvSpPr>
            <p:spPr bwMode="gray">
              <a:xfrm>
                <a:off x="2362985" y="5235930"/>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453" name="Group 452"/>
            <p:cNvGrpSpPr/>
            <p:nvPr/>
          </p:nvGrpSpPr>
          <p:grpSpPr bwMode="gray">
            <a:xfrm>
              <a:off x="695401" y="2678213"/>
              <a:ext cx="1416855" cy="322946"/>
              <a:chOff x="695400" y="4811852"/>
              <a:chExt cx="1416855" cy="322946"/>
            </a:xfrm>
            <a:grpFill/>
          </p:grpSpPr>
          <p:grpSp>
            <p:nvGrpSpPr>
              <p:cNvPr id="465" name="Group 464"/>
              <p:cNvGrpSpPr/>
              <p:nvPr/>
            </p:nvGrpSpPr>
            <p:grpSpPr bwMode="gray">
              <a:xfrm>
                <a:off x="932296" y="4811852"/>
                <a:ext cx="1179959" cy="322946"/>
                <a:chOff x="1171602" y="5114524"/>
                <a:chExt cx="1179959" cy="322946"/>
              </a:xfrm>
              <a:grpFill/>
            </p:grpSpPr>
            <p:sp>
              <p:nvSpPr>
                <p:cNvPr id="470" name="Rectangle 469"/>
                <p:cNvSpPr/>
                <p:nvPr/>
              </p:nvSpPr>
              <p:spPr bwMode="gray">
                <a:xfrm>
                  <a:off x="1171602" y="5264781"/>
                  <a:ext cx="1071939" cy="180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71" name="Rectangle 470"/>
                <p:cNvSpPr/>
                <p:nvPr/>
              </p:nvSpPr>
              <p:spPr bwMode="gray">
                <a:xfrm>
                  <a:off x="1171602" y="5285854"/>
                  <a:ext cx="1071939" cy="180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472" name="Group 471"/>
                <p:cNvGrpSpPr/>
                <p:nvPr/>
              </p:nvGrpSpPr>
              <p:grpSpPr bwMode="gray">
                <a:xfrm>
                  <a:off x="1603650" y="5114524"/>
                  <a:ext cx="747911" cy="322946"/>
                  <a:chOff x="1535212" y="5141620"/>
                  <a:chExt cx="704216" cy="304079"/>
                </a:xfrm>
                <a:grpFill/>
              </p:grpSpPr>
              <p:sp>
                <p:nvSpPr>
                  <p:cNvPr id="478" name="Rectangle 477"/>
                  <p:cNvSpPr/>
                  <p:nvPr/>
                </p:nvSpPr>
                <p:spPr bwMode="gray">
                  <a:xfrm>
                    <a:off x="2163243" y="5312427"/>
                    <a:ext cx="64834" cy="13327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79" name="Rectangle 478"/>
                  <p:cNvSpPr/>
                  <p:nvPr/>
                </p:nvSpPr>
                <p:spPr bwMode="gray">
                  <a:xfrm>
                    <a:off x="2228628" y="5327667"/>
                    <a:ext cx="10800" cy="360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80" name="Round Same Side Corner Rectangle 479"/>
                  <p:cNvSpPr/>
                  <p:nvPr/>
                </p:nvSpPr>
                <p:spPr bwMode="gray">
                  <a:xfrm>
                    <a:off x="2192596" y="5141620"/>
                    <a:ext cx="28800" cy="170519"/>
                  </a:xfrm>
                  <a:prstGeom prst="round2Same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81" name="Rectangle 480"/>
                  <p:cNvSpPr/>
                  <p:nvPr/>
                </p:nvSpPr>
                <p:spPr bwMode="gray">
                  <a:xfrm>
                    <a:off x="2137748" y="5265699"/>
                    <a:ext cx="28800" cy="1800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82" name="Rounded Rectangle 481"/>
                  <p:cNvSpPr/>
                  <p:nvPr/>
                </p:nvSpPr>
                <p:spPr bwMode="gray">
                  <a:xfrm>
                    <a:off x="2166548" y="5282525"/>
                    <a:ext cx="72000" cy="10723"/>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83" name="Rectangle 482"/>
                  <p:cNvSpPr/>
                  <p:nvPr/>
                </p:nvSpPr>
                <p:spPr bwMode="gray">
                  <a:xfrm>
                    <a:off x="1535212" y="5265699"/>
                    <a:ext cx="43048" cy="1800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84" name="Round Same Side Corner Rectangle 483"/>
                  <p:cNvSpPr/>
                  <p:nvPr/>
                </p:nvSpPr>
                <p:spPr bwMode="gray">
                  <a:xfrm>
                    <a:off x="1539787" y="5145208"/>
                    <a:ext cx="33897" cy="119728"/>
                  </a:xfrm>
                  <a:prstGeom prst="round2Same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85" name="Round Same Side Corner Rectangle 484"/>
                  <p:cNvSpPr/>
                  <p:nvPr/>
                </p:nvSpPr>
                <p:spPr bwMode="gray">
                  <a:xfrm>
                    <a:off x="2022274" y="5141620"/>
                    <a:ext cx="30507" cy="139823"/>
                  </a:xfrm>
                  <a:prstGeom prst="round2Same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473" name="Rectangle 472"/>
                <p:cNvSpPr/>
                <p:nvPr/>
              </p:nvSpPr>
              <p:spPr bwMode="gray">
                <a:xfrm>
                  <a:off x="1171602" y="5306927"/>
                  <a:ext cx="1071939" cy="180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74" name="Rectangle 473"/>
                <p:cNvSpPr/>
                <p:nvPr/>
              </p:nvSpPr>
              <p:spPr bwMode="gray">
                <a:xfrm>
                  <a:off x="1171602" y="5327999"/>
                  <a:ext cx="1071939" cy="180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75" name="Rectangle 474"/>
                <p:cNvSpPr/>
                <p:nvPr/>
              </p:nvSpPr>
              <p:spPr bwMode="gray">
                <a:xfrm>
                  <a:off x="1171602" y="5391216"/>
                  <a:ext cx="1071939" cy="180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76" name="Rectangle 475"/>
                <p:cNvSpPr/>
                <p:nvPr/>
              </p:nvSpPr>
              <p:spPr bwMode="gray">
                <a:xfrm>
                  <a:off x="1171602" y="5349072"/>
                  <a:ext cx="1071939" cy="180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77" name="Rectangle 476"/>
                <p:cNvSpPr/>
                <p:nvPr/>
              </p:nvSpPr>
              <p:spPr bwMode="gray">
                <a:xfrm>
                  <a:off x="1171602" y="5370145"/>
                  <a:ext cx="1071939" cy="180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466" name="Rectangle 465"/>
              <p:cNvSpPr/>
              <p:nvPr/>
            </p:nvSpPr>
            <p:spPr bwMode="gray">
              <a:xfrm>
                <a:off x="847307" y="4852968"/>
                <a:ext cx="90390" cy="28183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67" name="Rectangle 466"/>
              <p:cNvSpPr/>
              <p:nvPr/>
            </p:nvSpPr>
            <p:spPr bwMode="gray">
              <a:xfrm>
                <a:off x="892502" y="4953724"/>
                <a:ext cx="73308" cy="18107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68" name="Rectangle 467"/>
              <p:cNvSpPr/>
              <p:nvPr/>
            </p:nvSpPr>
            <p:spPr bwMode="gray">
              <a:xfrm>
                <a:off x="695400" y="4953724"/>
                <a:ext cx="73308" cy="18107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69" name="Rectangle 468"/>
              <p:cNvSpPr/>
              <p:nvPr/>
            </p:nvSpPr>
            <p:spPr bwMode="gray">
              <a:xfrm>
                <a:off x="732708" y="4905884"/>
                <a:ext cx="36000" cy="45719"/>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454" name="Group 453"/>
            <p:cNvGrpSpPr/>
            <p:nvPr/>
          </p:nvGrpSpPr>
          <p:grpSpPr bwMode="gray">
            <a:xfrm rot="10800000">
              <a:off x="411393" y="2705294"/>
              <a:ext cx="284008" cy="295865"/>
              <a:chOff x="2506050" y="3684159"/>
              <a:chExt cx="534792" cy="391067"/>
            </a:xfrm>
            <a:grpFill/>
          </p:grpSpPr>
          <p:grpSp>
            <p:nvGrpSpPr>
              <p:cNvPr id="455" name="Group 454"/>
              <p:cNvGrpSpPr/>
              <p:nvPr/>
            </p:nvGrpSpPr>
            <p:grpSpPr bwMode="gray">
              <a:xfrm>
                <a:off x="2517551" y="3941531"/>
                <a:ext cx="511791" cy="45719"/>
                <a:chOff x="2517551" y="3941531"/>
                <a:chExt cx="511791" cy="213164"/>
              </a:xfrm>
              <a:grpFill/>
            </p:grpSpPr>
            <p:sp>
              <p:nvSpPr>
                <p:cNvPr id="463" name="Isosceles Triangle 13"/>
                <p:cNvSpPr/>
                <p:nvPr/>
              </p:nvSpPr>
              <p:spPr bwMode="gray">
                <a:xfrm flipV="1">
                  <a:off x="2517551" y="3941531"/>
                  <a:ext cx="511791" cy="167445"/>
                </a:xfrm>
                <a:custGeom>
                  <a:avLst/>
                  <a:gdLst/>
                  <a:ahLst/>
                  <a:cxnLst/>
                  <a:rect l="l" t="t" r="r" b="b"/>
                  <a:pathLst>
                    <a:path w="511791" h="165942">
                      <a:moveTo>
                        <a:pt x="0" y="165942"/>
                      </a:moveTo>
                      <a:lnTo>
                        <a:pt x="511791" y="165942"/>
                      </a:lnTo>
                      <a:lnTo>
                        <a:pt x="355767" y="0"/>
                      </a:lnTo>
                      <a:lnTo>
                        <a:pt x="156025" y="0"/>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64" name="Rectangle 463"/>
                <p:cNvSpPr/>
                <p:nvPr/>
              </p:nvSpPr>
              <p:spPr bwMode="gray">
                <a:xfrm>
                  <a:off x="2665446" y="4108976"/>
                  <a:ext cx="223022" cy="45719"/>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456" name="Rectangle 455"/>
              <p:cNvSpPr/>
              <p:nvPr/>
            </p:nvSpPr>
            <p:spPr bwMode="gray">
              <a:xfrm>
                <a:off x="2517551" y="3691675"/>
                <a:ext cx="511791" cy="11718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57" name="Rectangle 456"/>
              <p:cNvSpPr/>
              <p:nvPr/>
            </p:nvSpPr>
            <p:spPr bwMode="gray">
              <a:xfrm>
                <a:off x="2517551" y="3816612"/>
                <a:ext cx="511791" cy="11741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58" name="Rectangle 457"/>
              <p:cNvSpPr/>
              <p:nvPr/>
            </p:nvSpPr>
            <p:spPr bwMode="gray">
              <a:xfrm>
                <a:off x="2984115" y="3694555"/>
                <a:ext cx="36000" cy="380671"/>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59" name="Rounded Rectangle 458"/>
              <p:cNvSpPr/>
              <p:nvPr/>
            </p:nvSpPr>
            <p:spPr bwMode="gray">
              <a:xfrm>
                <a:off x="2506050" y="3684159"/>
                <a:ext cx="534792" cy="7754"/>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60" name="Rounded Rectangle 459"/>
              <p:cNvSpPr/>
              <p:nvPr/>
            </p:nvSpPr>
            <p:spPr bwMode="gray">
              <a:xfrm>
                <a:off x="2506050" y="3808858"/>
                <a:ext cx="534792" cy="7754"/>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61" name="Rounded Rectangle 460"/>
              <p:cNvSpPr/>
              <p:nvPr/>
            </p:nvSpPr>
            <p:spPr bwMode="gray">
              <a:xfrm>
                <a:off x="2506050" y="3933777"/>
                <a:ext cx="534792" cy="7754"/>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462" name="Rectangle 461"/>
              <p:cNvSpPr/>
              <p:nvPr/>
            </p:nvSpPr>
            <p:spPr bwMode="gray">
              <a:xfrm>
                <a:off x="2517551" y="3694555"/>
                <a:ext cx="36000" cy="380671"/>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grpSp>
        <p:nvGrpSpPr>
          <p:cNvPr id="684" name="Group 683"/>
          <p:cNvGrpSpPr/>
          <p:nvPr/>
        </p:nvGrpSpPr>
        <p:grpSpPr bwMode="gray">
          <a:xfrm>
            <a:off x="1100539" y="4023244"/>
            <a:ext cx="456342" cy="1676284"/>
            <a:chOff x="7083819" y="2533321"/>
            <a:chExt cx="795612" cy="2922528"/>
          </a:xfrm>
          <a:solidFill>
            <a:schemeClr val="bg1"/>
          </a:solidFill>
        </p:grpSpPr>
        <p:sp>
          <p:nvSpPr>
            <p:cNvPr id="685" name="U-Turn Arrow 541"/>
            <p:cNvSpPr/>
            <p:nvPr/>
          </p:nvSpPr>
          <p:spPr bwMode="gray">
            <a:xfrm>
              <a:off x="7417140" y="2533321"/>
              <a:ext cx="216259" cy="200022"/>
            </a:xfrm>
            <a:custGeom>
              <a:avLst/>
              <a:gdLst/>
              <a:ahLst/>
              <a:cxnLst/>
              <a:rect l="l" t="t" r="r" b="b"/>
              <a:pathLst>
                <a:path w="216259" h="200022">
                  <a:moveTo>
                    <a:pt x="55124" y="0"/>
                  </a:moveTo>
                  <a:lnTo>
                    <a:pt x="161135" y="0"/>
                  </a:lnTo>
                  <a:cubicBezTo>
                    <a:pt x="191579" y="0"/>
                    <a:pt x="216259" y="24680"/>
                    <a:pt x="216259" y="55124"/>
                  </a:cubicBezTo>
                  <a:lnTo>
                    <a:pt x="216259" y="55547"/>
                  </a:lnTo>
                  <a:lnTo>
                    <a:pt x="178779" y="55547"/>
                  </a:lnTo>
                  <a:lnTo>
                    <a:pt x="178779" y="55124"/>
                  </a:lnTo>
                  <a:cubicBezTo>
                    <a:pt x="178779" y="45379"/>
                    <a:pt x="170880" y="37480"/>
                    <a:pt x="161135" y="37480"/>
                  </a:cubicBezTo>
                  <a:lnTo>
                    <a:pt x="55124" y="37480"/>
                  </a:lnTo>
                  <a:cubicBezTo>
                    <a:pt x="45379" y="37480"/>
                    <a:pt x="37480" y="45379"/>
                    <a:pt x="37480" y="55124"/>
                  </a:cubicBezTo>
                  <a:lnTo>
                    <a:pt x="37480" y="200022"/>
                  </a:lnTo>
                  <a:lnTo>
                    <a:pt x="0" y="200022"/>
                  </a:lnTo>
                  <a:lnTo>
                    <a:pt x="0" y="55124"/>
                  </a:lnTo>
                  <a:cubicBezTo>
                    <a:pt x="0" y="24680"/>
                    <a:pt x="24680" y="0"/>
                    <a:pt x="55124" y="0"/>
                  </a:cubicBez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686" name="Group 685"/>
            <p:cNvGrpSpPr/>
            <p:nvPr/>
          </p:nvGrpSpPr>
          <p:grpSpPr bwMode="gray">
            <a:xfrm>
              <a:off x="7310420" y="3943849"/>
              <a:ext cx="45719" cy="1512000"/>
              <a:chOff x="5267908" y="3943849"/>
              <a:chExt cx="51232" cy="1512000"/>
            </a:xfrm>
            <a:grpFill/>
          </p:grpSpPr>
          <p:sp>
            <p:nvSpPr>
              <p:cNvPr id="762" name="Rounded Rectangle 761"/>
              <p:cNvSpPr/>
              <p:nvPr/>
            </p:nvSpPr>
            <p:spPr bwMode="gray">
              <a:xfrm rot="16200000">
                <a:off x="4517308" y="4694449"/>
                <a:ext cx="151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63" name="Rounded Rectangle 762"/>
              <p:cNvSpPr/>
              <p:nvPr/>
            </p:nvSpPr>
            <p:spPr bwMode="gray">
              <a:xfrm>
                <a:off x="5267908" y="4065706"/>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64" name="Rounded Rectangle 763"/>
              <p:cNvSpPr/>
              <p:nvPr/>
            </p:nvSpPr>
            <p:spPr bwMode="gray">
              <a:xfrm>
                <a:off x="5267908" y="4017383"/>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65" name="Rounded Rectangle 764"/>
              <p:cNvSpPr/>
              <p:nvPr/>
            </p:nvSpPr>
            <p:spPr bwMode="gray">
              <a:xfrm>
                <a:off x="5267908" y="3969060"/>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66" name="Rounded Rectangle 765"/>
              <p:cNvSpPr/>
              <p:nvPr/>
            </p:nvSpPr>
            <p:spPr bwMode="gray">
              <a:xfrm>
                <a:off x="5267908" y="4210675"/>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67" name="Rounded Rectangle 766"/>
              <p:cNvSpPr/>
              <p:nvPr/>
            </p:nvSpPr>
            <p:spPr bwMode="gray">
              <a:xfrm>
                <a:off x="5267908" y="4162352"/>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68" name="Rounded Rectangle 767"/>
              <p:cNvSpPr/>
              <p:nvPr/>
            </p:nvSpPr>
            <p:spPr bwMode="gray">
              <a:xfrm>
                <a:off x="5267908" y="4114029"/>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69" name="Rounded Rectangle 768"/>
              <p:cNvSpPr/>
              <p:nvPr/>
            </p:nvSpPr>
            <p:spPr bwMode="gray">
              <a:xfrm>
                <a:off x="5267908" y="4355644"/>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70" name="Rounded Rectangle 769"/>
              <p:cNvSpPr/>
              <p:nvPr/>
            </p:nvSpPr>
            <p:spPr bwMode="gray">
              <a:xfrm>
                <a:off x="5267908" y="4307321"/>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71" name="Rounded Rectangle 770"/>
              <p:cNvSpPr/>
              <p:nvPr/>
            </p:nvSpPr>
            <p:spPr bwMode="gray">
              <a:xfrm>
                <a:off x="5267908" y="4258998"/>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72" name="Rounded Rectangle 771"/>
              <p:cNvSpPr/>
              <p:nvPr/>
            </p:nvSpPr>
            <p:spPr bwMode="gray">
              <a:xfrm>
                <a:off x="5267908" y="4500613"/>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73" name="Rounded Rectangle 772"/>
              <p:cNvSpPr/>
              <p:nvPr/>
            </p:nvSpPr>
            <p:spPr bwMode="gray">
              <a:xfrm>
                <a:off x="5267908" y="4452290"/>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74" name="Rounded Rectangle 773"/>
              <p:cNvSpPr/>
              <p:nvPr/>
            </p:nvSpPr>
            <p:spPr bwMode="gray">
              <a:xfrm>
                <a:off x="5267908" y="4403967"/>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75" name="Rounded Rectangle 774"/>
              <p:cNvSpPr/>
              <p:nvPr/>
            </p:nvSpPr>
            <p:spPr bwMode="gray">
              <a:xfrm>
                <a:off x="5267908" y="4597259"/>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76" name="Rounded Rectangle 775"/>
              <p:cNvSpPr/>
              <p:nvPr/>
            </p:nvSpPr>
            <p:spPr bwMode="gray">
              <a:xfrm>
                <a:off x="5267908" y="4548936"/>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77" name="Rounded Rectangle 776"/>
              <p:cNvSpPr/>
              <p:nvPr/>
            </p:nvSpPr>
            <p:spPr bwMode="gray">
              <a:xfrm>
                <a:off x="5267908" y="4742228"/>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78" name="Rounded Rectangle 777"/>
              <p:cNvSpPr/>
              <p:nvPr/>
            </p:nvSpPr>
            <p:spPr bwMode="gray">
              <a:xfrm>
                <a:off x="5267908" y="4693905"/>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79" name="Rounded Rectangle 778"/>
              <p:cNvSpPr/>
              <p:nvPr/>
            </p:nvSpPr>
            <p:spPr bwMode="gray">
              <a:xfrm>
                <a:off x="5267908" y="4645582"/>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80" name="Rounded Rectangle 779"/>
              <p:cNvSpPr/>
              <p:nvPr/>
            </p:nvSpPr>
            <p:spPr bwMode="gray">
              <a:xfrm>
                <a:off x="5267908" y="4887197"/>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81" name="Rounded Rectangle 780"/>
              <p:cNvSpPr/>
              <p:nvPr/>
            </p:nvSpPr>
            <p:spPr bwMode="gray">
              <a:xfrm>
                <a:off x="5267908" y="4838874"/>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82" name="Rounded Rectangle 781"/>
              <p:cNvSpPr/>
              <p:nvPr/>
            </p:nvSpPr>
            <p:spPr bwMode="gray">
              <a:xfrm>
                <a:off x="5267908" y="4790551"/>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83" name="Rounded Rectangle 782"/>
              <p:cNvSpPr/>
              <p:nvPr/>
            </p:nvSpPr>
            <p:spPr bwMode="gray">
              <a:xfrm>
                <a:off x="5267908" y="5032166"/>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84" name="Rounded Rectangle 783"/>
              <p:cNvSpPr/>
              <p:nvPr/>
            </p:nvSpPr>
            <p:spPr bwMode="gray">
              <a:xfrm>
                <a:off x="5267908" y="4983843"/>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85" name="Rounded Rectangle 784"/>
              <p:cNvSpPr/>
              <p:nvPr/>
            </p:nvSpPr>
            <p:spPr bwMode="gray">
              <a:xfrm>
                <a:off x="5267908" y="4935520"/>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86" name="Rounded Rectangle 785"/>
              <p:cNvSpPr/>
              <p:nvPr/>
            </p:nvSpPr>
            <p:spPr bwMode="gray">
              <a:xfrm>
                <a:off x="5267908" y="5080489"/>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87" name="Rounded Rectangle 786"/>
              <p:cNvSpPr/>
              <p:nvPr/>
            </p:nvSpPr>
            <p:spPr bwMode="gray">
              <a:xfrm>
                <a:off x="5267908" y="5225458"/>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88" name="Rounded Rectangle 787"/>
              <p:cNvSpPr/>
              <p:nvPr/>
            </p:nvSpPr>
            <p:spPr bwMode="gray">
              <a:xfrm>
                <a:off x="5267908" y="5177135"/>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89" name="Rounded Rectangle 788"/>
              <p:cNvSpPr/>
              <p:nvPr/>
            </p:nvSpPr>
            <p:spPr bwMode="gray">
              <a:xfrm>
                <a:off x="5267908" y="5128812"/>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90" name="Rounded Rectangle 789"/>
              <p:cNvSpPr/>
              <p:nvPr/>
            </p:nvSpPr>
            <p:spPr bwMode="gray">
              <a:xfrm>
                <a:off x="5267908" y="5370427"/>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91" name="Rounded Rectangle 790"/>
              <p:cNvSpPr/>
              <p:nvPr/>
            </p:nvSpPr>
            <p:spPr bwMode="gray">
              <a:xfrm>
                <a:off x="5267908" y="5322104"/>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92" name="Rounded Rectangle 791"/>
              <p:cNvSpPr/>
              <p:nvPr/>
            </p:nvSpPr>
            <p:spPr bwMode="gray">
              <a:xfrm>
                <a:off x="5267908" y="5273781"/>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93" name="Rounded Rectangle 792"/>
              <p:cNvSpPr/>
              <p:nvPr/>
            </p:nvSpPr>
            <p:spPr bwMode="gray">
              <a:xfrm>
                <a:off x="5267908" y="5418750"/>
                <a:ext cx="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94" name="Rounded Rectangle 793"/>
              <p:cNvSpPr/>
              <p:nvPr/>
            </p:nvSpPr>
            <p:spPr bwMode="gray">
              <a:xfrm rot="16200000">
                <a:off x="4557740" y="4694449"/>
                <a:ext cx="151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687" name="Rectangle 686"/>
            <p:cNvSpPr/>
            <p:nvPr/>
          </p:nvSpPr>
          <p:spPr bwMode="gray">
            <a:xfrm>
              <a:off x="7516785" y="2606040"/>
              <a:ext cx="190500" cy="208281"/>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88" name="Rounded Rectangle 687"/>
            <p:cNvSpPr/>
            <p:nvPr/>
          </p:nvSpPr>
          <p:spPr bwMode="gray">
            <a:xfrm>
              <a:off x="7504035" y="2588868"/>
              <a:ext cx="216000" cy="180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89" name="Rectangle 688"/>
            <p:cNvSpPr/>
            <p:nvPr/>
          </p:nvSpPr>
          <p:spPr bwMode="gray">
            <a:xfrm>
              <a:off x="7732566" y="2753361"/>
              <a:ext cx="74123" cy="4906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90" name="Rounded Rectangle 689"/>
            <p:cNvSpPr/>
            <p:nvPr/>
          </p:nvSpPr>
          <p:spPr bwMode="gray">
            <a:xfrm>
              <a:off x="7715627" y="2734808"/>
              <a:ext cx="108000" cy="180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91" name="Rounded Rectangle 690"/>
            <p:cNvSpPr/>
            <p:nvPr/>
          </p:nvSpPr>
          <p:spPr bwMode="gray">
            <a:xfrm>
              <a:off x="7242231" y="2802422"/>
              <a:ext cx="6372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92" name="Rounded Rectangle 691"/>
            <p:cNvSpPr/>
            <p:nvPr/>
          </p:nvSpPr>
          <p:spPr bwMode="gray">
            <a:xfrm>
              <a:off x="7242231" y="2914349"/>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93" name="Rounded Rectangle 692"/>
            <p:cNvSpPr/>
            <p:nvPr/>
          </p:nvSpPr>
          <p:spPr bwMode="gray">
            <a:xfrm>
              <a:off x="7242231" y="3026275"/>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94" name="Rounded Rectangle 693"/>
            <p:cNvSpPr/>
            <p:nvPr/>
          </p:nvSpPr>
          <p:spPr bwMode="gray">
            <a:xfrm>
              <a:off x="7242231" y="3138201"/>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95" name="Rounded Rectangle 694"/>
            <p:cNvSpPr/>
            <p:nvPr/>
          </p:nvSpPr>
          <p:spPr bwMode="gray">
            <a:xfrm>
              <a:off x="7242231" y="3585907"/>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96" name="Rounded Rectangle 695"/>
            <p:cNvSpPr/>
            <p:nvPr/>
          </p:nvSpPr>
          <p:spPr bwMode="gray">
            <a:xfrm>
              <a:off x="7242231" y="3473979"/>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97" name="Rounded Rectangle 696"/>
            <p:cNvSpPr/>
            <p:nvPr/>
          </p:nvSpPr>
          <p:spPr bwMode="gray">
            <a:xfrm>
              <a:off x="7242231" y="3362053"/>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98" name="Rounded Rectangle 697"/>
            <p:cNvSpPr/>
            <p:nvPr/>
          </p:nvSpPr>
          <p:spPr bwMode="gray">
            <a:xfrm>
              <a:off x="7242231" y="3250127"/>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99" name="Rounded Rectangle 698"/>
            <p:cNvSpPr/>
            <p:nvPr/>
          </p:nvSpPr>
          <p:spPr bwMode="gray">
            <a:xfrm>
              <a:off x="7242231" y="2690495"/>
              <a:ext cx="1152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00" name="Rounded Rectangle 699"/>
            <p:cNvSpPr/>
            <p:nvPr/>
          </p:nvSpPr>
          <p:spPr bwMode="gray">
            <a:xfrm>
              <a:off x="7242230" y="2647831"/>
              <a:ext cx="6372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01" name="Rounded Rectangle 700"/>
            <p:cNvSpPr/>
            <p:nvPr/>
          </p:nvSpPr>
          <p:spPr bwMode="gray">
            <a:xfrm>
              <a:off x="7341291" y="2716540"/>
              <a:ext cx="5364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02" name="Rounded Rectangle 701"/>
            <p:cNvSpPr/>
            <p:nvPr/>
          </p:nvSpPr>
          <p:spPr bwMode="gray">
            <a:xfrm>
              <a:off x="7341291" y="2647831"/>
              <a:ext cx="5364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03" name="Isosceles Triangle 13"/>
            <p:cNvSpPr/>
            <p:nvPr/>
          </p:nvSpPr>
          <p:spPr bwMode="gray">
            <a:xfrm flipV="1">
              <a:off x="7356140" y="4867878"/>
              <a:ext cx="511791" cy="165942"/>
            </a:xfrm>
            <a:custGeom>
              <a:avLst/>
              <a:gdLst/>
              <a:ahLst/>
              <a:cxnLst/>
              <a:rect l="l" t="t" r="r" b="b"/>
              <a:pathLst>
                <a:path w="511791" h="165942">
                  <a:moveTo>
                    <a:pt x="0" y="165942"/>
                  </a:moveTo>
                  <a:lnTo>
                    <a:pt x="511791" y="165942"/>
                  </a:lnTo>
                  <a:lnTo>
                    <a:pt x="355767" y="0"/>
                  </a:lnTo>
                  <a:lnTo>
                    <a:pt x="156025" y="0"/>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04" name="Isosceles Triangle 13"/>
            <p:cNvSpPr/>
            <p:nvPr/>
          </p:nvSpPr>
          <p:spPr bwMode="gray">
            <a:xfrm flipV="1">
              <a:off x="7534806" y="5079040"/>
              <a:ext cx="154460" cy="61490"/>
            </a:xfrm>
            <a:custGeom>
              <a:avLst/>
              <a:gdLst/>
              <a:ahLst/>
              <a:cxnLst/>
              <a:rect l="l" t="t" r="r" b="b"/>
              <a:pathLst>
                <a:path w="154460" h="61490">
                  <a:moveTo>
                    <a:pt x="0" y="61490"/>
                  </a:moveTo>
                  <a:lnTo>
                    <a:pt x="154460" y="61490"/>
                  </a:lnTo>
                  <a:lnTo>
                    <a:pt x="122896" y="0"/>
                  </a:lnTo>
                  <a:lnTo>
                    <a:pt x="31565" y="0"/>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05" name="Rectangle 704"/>
            <p:cNvSpPr/>
            <p:nvPr/>
          </p:nvSpPr>
          <p:spPr bwMode="gray">
            <a:xfrm>
              <a:off x="7504035" y="5033820"/>
              <a:ext cx="223022" cy="45719"/>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06" name="Rectangle 705"/>
            <p:cNvSpPr/>
            <p:nvPr/>
          </p:nvSpPr>
          <p:spPr bwMode="gray">
            <a:xfrm>
              <a:off x="7589573" y="5139862"/>
              <a:ext cx="48106" cy="360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07" name="Rectangle 706"/>
            <p:cNvSpPr/>
            <p:nvPr/>
          </p:nvSpPr>
          <p:spPr bwMode="gray">
            <a:xfrm>
              <a:off x="7417140" y="4897120"/>
              <a:ext cx="45719" cy="46146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08" name="Rectangle 707"/>
            <p:cNvSpPr/>
            <p:nvPr/>
          </p:nvSpPr>
          <p:spPr bwMode="gray">
            <a:xfrm>
              <a:off x="7761212" y="4897120"/>
              <a:ext cx="45719" cy="461464"/>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09" name="Round Same Side Corner Rectangle 708"/>
            <p:cNvSpPr/>
            <p:nvPr/>
          </p:nvSpPr>
          <p:spPr bwMode="gray">
            <a:xfrm>
              <a:off x="7394414" y="5359575"/>
              <a:ext cx="91170" cy="96274"/>
            </a:xfrm>
            <a:prstGeom prst="round2Same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10" name="Round Same Side Corner Rectangle 709"/>
            <p:cNvSpPr/>
            <p:nvPr/>
          </p:nvSpPr>
          <p:spPr bwMode="gray">
            <a:xfrm>
              <a:off x="7739592" y="5358085"/>
              <a:ext cx="90000" cy="97764"/>
            </a:xfrm>
            <a:prstGeom prst="round2Same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11" name="Oval 710"/>
            <p:cNvSpPr>
              <a:spLocks/>
            </p:cNvSpPr>
            <p:nvPr/>
          </p:nvSpPr>
          <p:spPr bwMode="gray">
            <a:xfrm>
              <a:off x="7594035" y="2616393"/>
              <a:ext cx="36000" cy="18000"/>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12" name="Rounded Rectangle 711"/>
            <p:cNvSpPr/>
            <p:nvPr/>
          </p:nvSpPr>
          <p:spPr bwMode="gray">
            <a:xfrm rot="16200000">
              <a:off x="6776204" y="3117906"/>
              <a:ext cx="9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13" name="Rounded Rectangle 712"/>
            <p:cNvSpPr/>
            <p:nvPr/>
          </p:nvSpPr>
          <p:spPr bwMode="gray">
            <a:xfrm rot="16200000">
              <a:off x="6876806" y="3117906"/>
              <a:ext cx="9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14" name="Rounded Rectangle 713"/>
            <p:cNvSpPr/>
            <p:nvPr/>
          </p:nvSpPr>
          <p:spPr bwMode="gray">
            <a:xfrm rot="16200000">
              <a:off x="6826505" y="3117906"/>
              <a:ext cx="9468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15" name="Rounded Rectangle 714"/>
            <p:cNvSpPr/>
            <p:nvPr/>
          </p:nvSpPr>
          <p:spPr bwMode="gray">
            <a:xfrm rot="16200000">
              <a:off x="7322164" y="2723431"/>
              <a:ext cx="16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16" name="Rounded Rectangle 715"/>
            <p:cNvSpPr/>
            <p:nvPr/>
          </p:nvSpPr>
          <p:spPr bwMode="gray">
            <a:xfrm rot="16200000">
              <a:off x="7538188" y="2723431"/>
              <a:ext cx="16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17" name="Rounded Rectangle 716"/>
            <p:cNvSpPr/>
            <p:nvPr/>
          </p:nvSpPr>
          <p:spPr bwMode="gray">
            <a:xfrm rot="16200000">
              <a:off x="7790216" y="2723431"/>
              <a:ext cx="16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18" name="Rounded Rectangle 717"/>
            <p:cNvSpPr/>
            <p:nvPr/>
          </p:nvSpPr>
          <p:spPr bwMode="gray">
            <a:xfrm rot="16200000">
              <a:off x="7754212" y="2723431"/>
              <a:ext cx="16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19" name="Rounded Rectangle 718"/>
            <p:cNvSpPr/>
            <p:nvPr/>
          </p:nvSpPr>
          <p:spPr bwMode="gray">
            <a:xfrm>
              <a:off x="7504035" y="2704780"/>
              <a:ext cx="216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20" name="Rectangle 719"/>
            <p:cNvSpPr/>
            <p:nvPr/>
          </p:nvSpPr>
          <p:spPr bwMode="gray">
            <a:xfrm>
              <a:off x="7356140" y="2832210"/>
              <a:ext cx="511791" cy="272581"/>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21" name="Rounded Rectangle 720"/>
            <p:cNvSpPr/>
            <p:nvPr/>
          </p:nvSpPr>
          <p:spPr bwMode="gray">
            <a:xfrm>
              <a:off x="7344639" y="2814321"/>
              <a:ext cx="534792" cy="180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22" name="Rounded Rectangle 721"/>
            <p:cNvSpPr/>
            <p:nvPr/>
          </p:nvSpPr>
          <p:spPr bwMode="gray">
            <a:xfrm>
              <a:off x="7344639" y="3104680"/>
              <a:ext cx="534792" cy="180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23" name="Rounded Rectangle 722"/>
            <p:cNvSpPr/>
            <p:nvPr/>
          </p:nvSpPr>
          <p:spPr bwMode="gray">
            <a:xfrm>
              <a:off x="7344639" y="3395897"/>
              <a:ext cx="534792" cy="180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24" name="Rounded Rectangle 723"/>
            <p:cNvSpPr/>
            <p:nvPr/>
          </p:nvSpPr>
          <p:spPr bwMode="gray">
            <a:xfrm>
              <a:off x="7344639" y="3685705"/>
              <a:ext cx="534792" cy="180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25" name="Rounded Rectangle 724"/>
            <p:cNvSpPr/>
            <p:nvPr/>
          </p:nvSpPr>
          <p:spPr bwMode="gray">
            <a:xfrm>
              <a:off x="7344639" y="3981551"/>
              <a:ext cx="534792" cy="180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26" name="Rounded Rectangle 725"/>
            <p:cNvSpPr/>
            <p:nvPr/>
          </p:nvSpPr>
          <p:spPr bwMode="gray">
            <a:xfrm>
              <a:off x="7344639" y="4267149"/>
              <a:ext cx="534792" cy="180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27" name="Rounded Rectangle 726"/>
            <p:cNvSpPr/>
            <p:nvPr/>
          </p:nvSpPr>
          <p:spPr bwMode="gray">
            <a:xfrm>
              <a:off x="7344639" y="4557509"/>
              <a:ext cx="534792" cy="180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28" name="Rounded Rectangle 727"/>
            <p:cNvSpPr/>
            <p:nvPr/>
          </p:nvSpPr>
          <p:spPr bwMode="gray">
            <a:xfrm>
              <a:off x="7344639" y="4848396"/>
              <a:ext cx="534792" cy="180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29" name="Rectangle 728"/>
            <p:cNvSpPr/>
            <p:nvPr/>
          </p:nvSpPr>
          <p:spPr bwMode="gray">
            <a:xfrm>
              <a:off x="7356140" y="3122569"/>
              <a:ext cx="511791" cy="273439"/>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30" name="Rectangle 729"/>
            <p:cNvSpPr/>
            <p:nvPr/>
          </p:nvSpPr>
          <p:spPr bwMode="gray">
            <a:xfrm>
              <a:off x="7356140" y="3413786"/>
              <a:ext cx="511791" cy="27203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31" name="Rectangle 730"/>
            <p:cNvSpPr/>
            <p:nvPr/>
          </p:nvSpPr>
          <p:spPr bwMode="gray">
            <a:xfrm>
              <a:off x="7356140" y="3703594"/>
              <a:ext cx="511791" cy="278068"/>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32" name="Rectangle 731"/>
            <p:cNvSpPr/>
            <p:nvPr/>
          </p:nvSpPr>
          <p:spPr bwMode="gray">
            <a:xfrm>
              <a:off x="7356140" y="3999440"/>
              <a:ext cx="511791" cy="26782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33" name="Rectangle 732"/>
            <p:cNvSpPr/>
            <p:nvPr/>
          </p:nvSpPr>
          <p:spPr bwMode="gray">
            <a:xfrm>
              <a:off x="7356140" y="4285038"/>
              <a:ext cx="511791" cy="272582"/>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34" name="Rectangle 733"/>
            <p:cNvSpPr/>
            <p:nvPr/>
          </p:nvSpPr>
          <p:spPr bwMode="gray">
            <a:xfrm>
              <a:off x="7356140" y="4575398"/>
              <a:ext cx="511791" cy="273115"/>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35" name="Rectangle 26"/>
            <p:cNvSpPr/>
            <p:nvPr/>
          </p:nvSpPr>
          <p:spPr bwMode="gray">
            <a:xfrm>
              <a:off x="7437190" y="4885554"/>
              <a:ext cx="357632" cy="139214"/>
            </a:xfrm>
            <a:custGeom>
              <a:avLst/>
              <a:gdLst/>
              <a:ahLst/>
              <a:cxnLst/>
              <a:rect l="l" t="t" r="r" b="b"/>
              <a:pathLst>
                <a:path w="357632" h="139214">
                  <a:moveTo>
                    <a:pt x="0" y="0"/>
                  </a:moveTo>
                  <a:lnTo>
                    <a:pt x="29383" y="10399"/>
                  </a:lnTo>
                  <a:lnTo>
                    <a:pt x="170916" y="128159"/>
                  </a:lnTo>
                  <a:lnTo>
                    <a:pt x="170938" y="128415"/>
                  </a:lnTo>
                  <a:lnTo>
                    <a:pt x="173661" y="128415"/>
                  </a:lnTo>
                  <a:cubicBezTo>
                    <a:pt x="173584" y="128248"/>
                    <a:pt x="173633" y="128202"/>
                    <a:pt x="173683" y="128158"/>
                  </a:cubicBezTo>
                  <a:lnTo>
                    <a:pt x="311447" y="13535"/>
                  </a:lnTo>
                  <a:lnTo>
                    <a:pt x="340831" y="3135"/>
                  </a:lnTo>
                  <a:lnTo>
                    <a:pt x="190263" y="128415"/>
                  </a:lnTo>
                  <a:lnTo>
                    <a:pt x="357632" y="128414"/>
                  </a:lnTo>
                  <a:lnTo>
                    <a:pt x="357631" y="139214"/>
                  </a:lnTo>
                  <a:lnTo>
                    <a:pt x="1226" y="139214"/>
                  </a:lnTo>
                  <a:lnTo>
                    <a:pt x="1226" y="128413"/>
                  </a:lnTo>
                  <a:lnTo>
                    <a:pt x="154337" y="128414"/>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36" name="Rectangle 26"/>
            <p:cNvSpPr/>
            <p:nvPr/>
          </p:nvSpPr>
          <p:spPr bwMode="gray">
            <a:xfrm>
              <a:off x="7800178" y="4889364"/>
              <a:ext cx="56113" cy="135404"/>
            </a:xfrm>
            <a:custGeom>
              <a:avLst/>
              <a:gdLst>
                <a:gd name="connsiteX0" fmla="*/ 0 w 61048"/>
                <a:gd name="connsiteY0" fmla="*/ 0 h 139214"/>
                <a:gd name="connsiteX1" fmla="*/ 9124 w 61048"/>
                <a:gd name="connsiteY1" fmla="*/ 10399 h 139214"/>
                <a:gd name="connsiteX2" fmla="*/ 53071 w 61048"/>
                <a:gd name="connsiteY2" fmla="*/ 128159 h 139214"/>
                <a:gd name="connsiteX3" fmla="*/ 53078 w 61048"/>
                <a:gd name="connsiteY3" fmla="*/ 128414 h 139214"/>
                <a:gd name="connsiteX4" fmla="*/ 53447 w 61048"/>
                <a:gd name="connsiteY4" fmla="*/ 128414 h 139214"/>
                <a:gd name="connsiteX5" fmla="*/ 5524 w 61048"/>
                <a:gd name="connsiteY5" fmla="*/ 0 h 139214"/>
                <a:gd name="connsiteX6" fmla="*/ 14648 w 61048"/>
                <a:gd name="connsiteY6" fmla="*/ 10399 h 139214"/>
                <a:gd name="connsiteX7" fmla="*/ 58595 w 61048"/>
                <a:gd name="connsiteY7" fmla="*/ 128159 h 139214"/>
                <a:gd name="connsiteX8" fmla="*/ 58602 w 61048"/>
                <a:gd name="connsiteY8" fmla="*/ 128415 h 139214"/>
                <a:gd name="connsiteX9" fmla="*/ 59448 w 61048"/>
                <a:gd name="connsiteY9" fmla="*/ 128415 h 139214"/>
                <a:gd name="connsiteX10" fmla="*/ 59454 w 61048"/>
                <a:gd name="connsiteY10" fmla="*/ 128158 h 139214"/>
                <a:gd name="connsiteX11" fmla="*/ 61048 w 61048"/>
                <a:gd name="connsiteY11" fmla="*/ 139214 h 139214"/>
                <a:gd name="connsiteX12" fmla="*/ 55524 w 61048"/>
                <a:gd name="connsiteY12" fmla="*/ 139214 h 139214"/>
                <a:gd name="connsiteX13" fmla="*/ 5905 w 61048"/>
                <a:gd name="connsiteY13" fmla="*/ 139214 h 139214"/>
                <a:gd name="connsiteX14" fmla="*/ 381 w 61048"/>
                <a:gd name="connsiteY14" fmla="*/ 139214 h 139214"/>
                <a:gd name="connsiteX15" fmla="*/ 381 w 61048"/>
                <a:gd name="connsiteY15" fmla="*/ 128413 h 139214"/>
                <a:gd name="connsiteX16" fmla="*/ 5905 w 61048"/>
                <a:gd name="connsiteY16" fmla="*/ 128413 h 139214"/>
                <a:gd name="connsiteX17" fmla="*/ 5905 w 61048"/>
                <a:gd name="connsiteY17" fmla="*/ 128413 h 139214"/>
                <a:gd name="connsiteX18" fmla="*/ 47923 w 61048"/>
                <a:gd name="connsiteY18" fmla="*/ 128414 h 139214"/>
                <a:gd name="connsiteX19" fmla="*/ 0 w 61048"/>
                <a:gd name="connsiteY19" fmla="*/ 0 h 139214"/>
                <a:gd name="connsiteX0" fmla="*/ 0 w 61875"/>
                <a:gd name="connsiteY0" fmla="*/ 0 h 139214"/>
                <a:gd name="connsiteX1" fmla="*/ 9124 w 61875"/>
                <a:gd name="connsiteY1" fmla="*/ 10399 h 139214"/>
                <a:gd name="connsiteX2" fmla="*/ 53071 w 61875"/>
                <a:gd name="connsiteY2" fmla="*/ 128159 h 139214"/>
                <a:gd name="connsiteX3" fmla="*/ 53078 w 61875"/>
                <a:gd name="connsiteY3" fmla="*/ 128414 h 139214"/>
                <a:gd name="connsiteX4" fmla="*/ 53447 w 61875"/>
                <a:gd name="connsiteY4" fmla="*/ 128414 h 139214"/>
                <a:gd name="connsiteX5" fmla="*/ 5524 w 61875"/>
                <a:gd name="connsiteY5" fmla="*/ 0 h 139214"/>
                <a:gd name="connsiteX6" fmla="*/ 14648 w 61875"/>
                <a:gd name="connsiteY6" fmla="*/ 10399 h 139214"/>
                <a:gd name="connsiteX7" fmla="*/ 58595 w 61875"/>
                <a:gd name="connsiteY7" fmla="*/ 128159 h 139214"/>
                <a:gd name="connsiteX8" fmla="*/ 58602 w 61875"/>
                <a:gd name="connsiteY8" fmla="*/ 128415 h 139214"/>
                <a:gd name="connsiteX9" fmla="*/ 59448 w 61875"/>
                <a:gd name="connsiteY9" fmla="*/ 128415 h 139214"/>
                <a:gd name="connsiteX10" fmla="*/ 61875 w 61875"/>
                <a:gd name="connsiteY10" fmla="*/ 128158 h 139214"/>
                <a:gd name="connsiteX11" fmla="*/ 61048 w 61875"/>
                <a:gd name="connsiteY11" fmla="*/ 139214 h 139214"/>
                <a:gd name="connsiteX12" fmla="*/ 55524 w 61875"/>
                <a:gd name="connsiteY12" fmla="*/ 139214 h 139214"/>
                <a:gd name="connsiteX13" fmla="*/ 5905 w 61875"/>
                <a:gd name="connsiteY13" fmla="*/ 139214 h 139214"/>
                <a:gd name="connsiteX14" fmla="*/ 381 w 61875"/>
                <a:gd name="connsiteY14" fmla="*/ 139214 h 139214"/>
                <a:gd name="connsiteX15" fmla="*/ 381 w 61875"/>
                <a:gd name="connsiteY15" fmla="*/ 128413 h 139214"/>
                <a:gd name="connsiteX16" fmla="*/ 5905 w 61875"/>
                <a:gd name="connsiteY16" fmla="*/ 128413 h 139214"/>
                <a:gd name="connsiteX17" fmla="*/ 5905 w 61875"/>
                <a:gd name="connsiteY17" fmla="*/ 128413 h 139214"/>
                <a:gd name="connsiteX18" fmla="*/ 47923 w 61875"/>
                <a:gd name="connsiteY18" fmla="*/ 128414 h 139214"/>
                <a:gd name="connsiteX19" fmla="*/ 0 w 61875"/>
                <a:gd name="connsiteY19" fmla="*/ 0 h 139214"/>
                <a:gd name="connsiteX0" fmla="*/ 0 w 61099"/>
                <a:gd name="connsiteY0" fmla="*/ 0 h 139214"/>
                <a:gd name="connsiteX1" fmla="*/ 9124 w 61099"/>
                <a:gd name="connsiteY1" fmla="*/ 10399 h 139214"/>
                <a:gd name="connsiteX2" fmla="*/ 53071 w 61099"/>
                <a:gd name="connsiteY2" fmla="*/ 128159 h 139214"/>
                <a:gd name="connsiteX3" fmla="*/ 53078 w 61099"/>
                <a:gd name="connsiteY3" fmla="*/ 128414 h 139214"/>
                <a:gd name="connsiteX4" fmla="*/ 53447 w 61099"/>
                <a:gd name="connsiteY4" fmla="*/ 128414 h 139214"/>
                <a:gd name="connsiteX5" fmla="*/ 5524 w 61099"/>
                <a:gd name="connsiteY5" fmla="*/ 0 h 139214"/>
                <a:gd name="connsiteX6" fmla="*/ 14648 w 61099"/>
                <a:gd name="connsiteY6" fmla="*/ 10399 h 139214"/>
                <a:gd name="connsiteX7" fmla="*/ 58595 w 61099"/>
                <a:gd name="connsiteY7" fmla="*/ 128159 h 139214"/>
                <a:gd name="connsiteX8" fmla="*/ 58602 w 61099"/>
                <a:gd name="connsiteY8" fmla="*/ 128415 h 139214"/>
                <a:gd name="connsiteX9" fmla="*/ 59448 w 61099"/>
                <a:gd name="connsiteY9" fmla="*/ 128415 h 139214"/>
                <a:gd name="connsiteX10" fmla="*/ 60664 w 61099"/>
                <a:gd name="connsiteY10" fmla="*/ 128158 h 139214"/>
                <a:gd name="connsiteX11" fmla="*/ 61048 w 61099"/>
                <a:gd name="connsiteY11" fmla="*/ 139214 h 139214"/>
                <a:gd name="connsiteX12" fmla="*/ 55524 w 61099"/>
                <a:gd name="connsiteY12" fmla="*/ 139214 h 139214"/>
                <a:gd name="connsiteX13" fmla="*/ 5905 w 61099"/>
                <a:gd name="connsiteY13" fmla="*/ 139214 h 139214"/>
                <a:gd name="connsiteX14" fmla="*/ 381 w 61099"/>
                <a:gd name="connsiteY14" fmla="*/ 139214 h 139214"/>
                <a:gd name="connsiteX15" fmla="*/ 381 w 61099"/>
                <a:gd name="connsiteY15" fmla="*/ 128413 h 139214"/>
                <a:gd name="connsiteX16" fmla="*/ 5905 w 61099"/>
                <a:gd name="connsiteY16" fmla="*/ 128413 h 139214"/>
                <a:gd name="connsiteX17" fmla="*/ 5905 w 61099"/>
                <a:gd name="connsiteY17" fmla="*/ 128413 h 139214"/>
                <a:gd name="connsiteX18" fmla="*/ 47923 w 61099"/>
                <a:gd name="connsiteY18" fmla="*/ 128414 h 139214"/>
                <a:gd name="connsiteX19" fmla="*/ 0 w 61099"/>
                <a:gd name="connsiteY19" fmla="*/ 0 h 139214"/>
                <a:gd name="connsiteX0" fmla="*/ 0 w 61099"/>
                <a:gd name="connsiteY0" fmla="*/ 0 h 139214"/>
                <a:gd name="connsiteX1" fmla="*/ 9124 w 61099"/>
                <a:gd name="connsiteY1" fmla="*/ 10399 h 139214"/>
                <a:gd name="connsiteX2" fmla="*/ 53071 w 61099"/>
                <a:gd name="connsiteY2" fmla="*/ 128159 h 139214"/>
                <a:gd name="connsiteX3" fmla="*/ 53078 w 61099"/>
                <a:gd name="connsiteY3" fmla="*/ 128414 h 139214"/>
                <a:gd name="connsiteX4" fmla="*/ 5524 w 61099"/>
                <a:gd name="connsiteY4" fmla="*/ 0 h 139214"/>
                <a:gd name="connsiteX5" fmla="*/ 14648 w 61099"/>
                <a:gd name="connsiteY5" fmla="*/ 10399 h 139214"/>
                <a:gd name="connsiteX6" fmla="*/ 58595 w 61099"/>
                <a:gd name="connsiteY6" fmla="*/ 128159 h 139214"/>
                <a:gd name="connsiteX7" fmla="*/ 58602 w 61099"/>
                <a:gd name="connsiteY7" fmla="*/ 128415 h 139214"/>
                <a:gd name="connsiteX8" fmla="*/ 59448 w 61099"/>
                <a:gd name="connsiteY8" fmla="*/ 128415 h 139214"/>
                <a:gd name="connsiteX9" fmla="*/ 60664 w 61099"/>
                <a:gd name="connsiteY9" fmla="*/ 128158 h 139214"/>
                <a:gd name="connsiteX10" fmla="*/ 61048 w 61099"/>
                <a:gd name="connsiteY10" fmla="*/ 139214 h 139214"/>
                <a:gd name="connsiteX11" fmla="*/ 55524 w 61099"/>
                <a:gd name="connsiteY11" fmla="*/ 139214 h 139214"/>
                <a:gd name="connsiteX12" fmla="*/ 5905 w 61099"/>
                <a:gd name="connsiteY12" fmla="*/ 139214 h 139214"/>
                <a:gd name="connsiteX13" fmla="*/ 381 w 61099"/>
                <a:gd name="connsiteY13" fmla="*/ 139214 h 139214"/>
                <a:gd name="connsiteX14" fmla="*/ 381 w 61099"/>
                <a:gd name="connsiteY14" fmla="*/ 128413 h 139214"/>
                <a:gd name="connsiteX15" fmla="*/ 5905 w 61099"/>
                <a:gd name="connsiteY15" fmla="*/ 128413 h 139214"/>
                <a:gd name="connsiteX16" fmla="*/ 5905 w 61099"/>
                <a:gd name="connsiteY16" fmla="*/ 128413 h 139214"/>
                <a:gd name="connsiteX17" fmla="*/ 47923 w 61099"/>
                <a:gd name="connsiteY17" fmla="*/ 128414 h 139214"/>
                <a:gd name="connsiteX18" fmla="*/ 0 w 61099"/>
                <a:gd name="connsiteY18" fmla="*/ 0 h 139214"/>
                <a:gd name="connsiteX0" fmla="*/ 0 w 61099"/>
                <a:gd name="connsiteY0" fmla="*/ 0 h 139214"/>
                <a:gd name="connsiteX1" fmla="*/ 9124 w 61099"/>
                <a:gd name="connsiteY1" fmla="*/ 10399 h 139214"/>
                <a:gd name="connsiteX2" fmla="*/ 53071 w 61099"/>
                <a:gd name="connsiteY2" fmla="*/ 128159 h 139214"/>
                <a:gd name="connsiteX3" fmla="*/ 5524 w 61099"/>
                <a:gd name="connsiteY3" fmla="*/ 0 h 139214"/>
                <a:gd name="connsiteX4" fmla="*/ 14648 w 61099"/>
                <a:gd name="connsiteY4" fmla="*/ 10399 h 139214"/>
                <a:gd name="connsiteX5" fmla="*/ 58595 w 61099"/>
                <a:gd name="connsiteY5" fmla="*/ 128159 h 139214"/>
                <a:gd name="connsiteX6" fmla="*/ 58602 w 61099"/>
                <a:gd name="connsiteY6" fmla="*/ 128415 h 139214"/>
                <a:gd name="connsiteX7" fmla="*/ 59448 w 61099"/>
                <a:gd name="connsiteY7" fmla="*/ 128415 h 139214"/>
                <a:gd name="connsiteX8" fmla="*/ 60664 w 61099"/>
                <a:gd name="connsiteY8" fmla="*/ 128158 h 139214"/>
                <a:gd name="connsiteX9" fmla="*/ 61048 w 61099"/>
                <a:gd name="connsiteY9" fmla="*/ 139214 h 139214"/>
                <a:gd name="connsiteX10" fmla="*/ 55524 w 61099"/>
                <a:gd name="connsiteY10" fmla="*/ 139214 h 139214"/>
                <a:gd name="connsiteX11" fmla="*/ 5905 w 61099"/>
                <a:gd name="connsiteY11" fmla="*/ 139214 h 139214"/>
                <a:gd name="connsiteX12" fmla="*/ 381 w 61099"/>
                <a:gd name="connsiteY12" fmla="*/ 139214 h 139214"/>
                <a:gd name="connsiteX13" fmla="*/ 381 w 61099"/>
                <a:gd name="connsiteY13" fmla="*/ 128413 h 139214"/>
                <a:gd name="connsiteX14" fmla="*/ 5905 w 61099"/>
                <a:gd name="connsiteY14" fmla="*/ 128413 h 139214"/>
                <a:gd name="connsiteX15" fmla="*/ 5905 w 61099"/>
                <a:gd name="connsiteY15" fmla="*/ 128413 h 139214"/>
                <a:gd name="connsiteX16" fmla="*/ 47923 w 61099"/>
                <a:gd name="connsiteY16" fmla="*/ 128414 h 139214"/>
                <a:gd name="connsiteX17" fmla="*/ 0 w 61099"/>
                <a:gd name="connsiteY17" fmla="*/ 0 h 139214"/>
                <a:gd name="connsiteX0" fmla="*/ 0 w 61099"/>
                <a:gd name="connsiteY0" fmla="*/ 0 h 139214"/>
                <a:gd name="connsiteX1" fmla="*/ 9124 w 61099"/>
                <a:gd name="connsiteY1" fmla="*/ 10399 h 139214"/>
                <a:gd name="connsiteX2" fmla="*/ 5524 w 61099"/>
                <a:gd name="connsiteY2" fmla="*/ 0 h 139214"/>
                <a:gd name="connsiteX3" fmla="*/ 14648 w 61099"/>
                <a:gd name="connsiteY3" fmla="*/ 10399 h 139214"/>
                <a:gd name="connsiteX4" fmla="*/ 58595 w 61099"/>
                <a:gd name="connsiteY4" fmla="*/ 128159 h 139214"/>
                <a:gd name="connsiteX5" fmla="*/ 58602 w 61099"/>
                <a:gd name="connsiteY5" fmla="*/ 128415 h 139214"/>
                <a:gd name="connsiteX6" fmla="*/ 59448 w 61099"/>
                <a:gd name="connsiteY6" fmla="*/ 128415 h 139214"/>
                <a:gd name="connsiteX7" fmla="*/ 60664 w 61099"/>
                <a:gd name="connsiteY7" fmla="*/ 128158 h 139214"/>
                <a:gd name="connsiteX8" fmla="*/ 61048 w 61099"/>
                <a:gd name="connsiteY8" fmla="*/ 139214 h 139214"/>
                <a:gd name="connsiteX9" fmla="*/ 55524 w 61099"/>
                <a:gd name="connsiteY9" fmla="*/ 139214 h 139214"/>
                <a:gd name="connsiteX10" fmla="*/ 5905 w 61099"/>
                <a:gd name="connsiteY10" fmla="*/ 139214 h 139214"/>
                <a:gd name="connsiteX11" fmla="*/ 381 w 61099"/>
                <a:gd name="connsiteY11" fmla="*/ 139214 h 139214"/>
                <a:gd name="connsiteX12" fmla="*/ 381 w 61099"/>
                <a:gd name="connsiteY12" fmla="*/ 128413 h 139214"/>
                <a:gd name="connsiteX13" fmla="*/ 5905 w 61099"/>
                <a:gd name="connsiteY13" fmla="*/ 128413 h 139214"/>
                <a:gd name="connsiteX14" fmla="*/ 5905 w 61099"/>
                <a:gd name="connsiteY14" fmla="*/ 128413 h 139214"/>
                <a:gd name="connsiteX15" fmla="*/ 47923 w 61099"/>
                <a:gd name="connsiteY15" fmla="*/ 128414 h 139214"/>
                <a:gd name="connsiteX16" fmla="*/ 0 w 61099"/>
                <a:gd name="connsiteY16" fmla="*/ 0 h 139214"/>
                <a:gd name="connsiteX0" fmla="*/ 0 w 61099"/>
                <a:gd name="connsiteY0" fmla="*/ 0 h 139214"/>
                <a:gd name="connsiteX1" fmla="*/ 5524 w 61099"/>
                <a:gd name="connsiteY1" fmla="*/ 0 h 139214"/>
                <a:gd name="connsiteX2" fmla="*/ 14648 w 61099"/>
                <a:gd name="connsiteY2" fmla="*/ 10399 h 139214"/>
                <a:gd name="connsiteX3" fmla="*/ 58595 w 61099"/>
                <a:gd name="connsiteY3" fmla="*/ 128159 h 139214"/>
                <a:gd name="connsiteX4" fmla="*/ 58602 w 61099"/>
                <a:gd name="connsiteY4" fmla="*/ 128415 h 139214"/>
                <a:gd name="connsiteX5" fmla="*/ 59448 w 61099"/>
                <a:gd name="connsiteY5" fmla="*/ 128415 h 139214"/>
                <a:gd name="connsiteX6" fmla="*/ 60664 w 61099"/>
                <a:gd name="connsiteY6" fmla="*/ 128158 h 139214"/>
                <a:gd name="connsiteX7" fmla="*/ 61048 w 61099"/>
                <a:gd name="connsiteY7" fmla="*/ 139214 h 139214"/>
                <a:gd name="connsiteX8" fmla="*/ 55524 w 61099"/>
                <a:gd name="connsiteY8" fmla="*/ 139214 h 139214"/>
                <a:gd name="connsiteX9" fmla="*/ 5905 w 61099"/>
                <a:gd name="connsiteY9" fmla="*/ 139214 h 139214"/>
                <a:gd name="connsiteX10" fmla="*/ 381 w 61099"/>
                <a:gd name="connsiteY10" fmla="*/ 139214 h 139214"/>
                <a:gd name="connsiteX11" fmla="*/ 381 w 61099"/>
                <a:gd name="connsiteY11" fmla="*/ 128413 h 139214"/>
                <a:gd name="connsiteX12" fmla="*/ 5905 w 61099"/>
                <a:gd name="connsiteY12" fmla="*/ 128413 h 139214"/>
                <a:gd name="connsiteX13" fmla="*/ 5905 w 61099"/>
                <a:gd name="connsiteY13" fmla="*/ 128413 h 139214"/>
                <a:gd name="connsiteX14" fmla="*/ 47923 w 61099"/>
                <a:gd name="connsiteY14" fmla="*/ 128414 h 139214"/>
                <a:gd name="connsiteX15" fmla="*/ 0 w 61099"/>
                <a:gd name="connsiteY15" fmla="*/ 0 h 139214"/>
                <a:gd name="connsiteX0" fmla="*/ 0 w 61099"/>
                <a:gd name="connsiteY0" fmla="*/ 3632 h 142846"/>
                <a:gd name="connsiteX1" fmla="*/ 8752 w 61099"/>
                <a:gd name="connsiteY1" fmla="*/ 0 h 142846"/>
                <a:gd name="connsiteX2" fmla="*/ 14648 w 61099"/>
                <a:gd name="connsiteY2" fmla="*/ 14031 h 142846"/>
                <a:gd name="connsiteX3" fmla="*/ 58595 w 61099"/>
                <a:gd name="connsiteY3" fmla="*/ 131791 h 142846"/>
                <a:gd name="connsiteX4" fmla="*/ 58602 w 61099"/>
                <a:gd name="connsiteY4" fmla="*/ 132047 h 142846"/>
                <a:gd name="connsiteX5" fmla="*/ 59448 w 61099"/>
                <a:gd name="connsiteY5" fmla="*/ 132047 h 142846"/>
                <a:gd name="connsiteX6" fmla="*/ 60664 w 61099"/>
                <a:gd name="connsiteY6" fmla="*/ 131790 h 142846"/>
                <a:gd name="connsiteX7" fmla="*/ 61048 w 61099"/>
                <a:gd name="connsiteY7" fmla="*/ 142846 h 142846"/>
                <a:gd name="connsiteX8" fmla="*/ 55524 w 61099"/>
                <a:gd name="connsiteY8" fmla="*/ 142846 h 142846"/>
                <a:gd name="connsiteX9" fmla="*/ 5905 w 61099"/>
                <a:gd name="connsiteY9" fmla="*/ 142846 h 142846"/>
                <a:gd name="connsiteX10" fmla="*/ 381 w 61099"/>
                <a:gd name="connsiteY10" fmla="*/ 142846 h 142846"/>
                <a:gd name="connsiteX11" fmla="*/ 381 w 61099"/>
                <a:gd name="connsiteY11" fmla="*/ 132045 h 142846"/>
                <a:gd name="connsiteX12" fmla="*/ 5905 w 61099"/>
                <a:gd name="connsiteY12" fmla="*/ 132045 h 142846"/>
                <a:gd name="connsiteX13" fmla="*/ 5905 w 61099"/>
                <a:gd name="connsiteY13" fmla="*/ 132045 h 142846"/>
                <a:gd name="connsiteX14" fmla="*/ 47923 w 61099"/>
                <a:gd name="connsiteY14" fmla="*/ 132046 h 142846"/>
                <a:gd name="connsiteX15" fmla="*/ 0 w 61099"/>
                <a:gd name="connsiteY15" fmla="*/ 3632 h 142846"/>
                <a:gd name="connsiteX0" fmla="*/ 8496 w 60718"/>
                <a:gd name="connsiteY0" fmla="*/ 24211 h 142846"/>
                <a:gd name="connsiteX1" fmla="*/ 8371 w 60718"/>
                <a:gd name="connsiteY1" fmla="*/ 0 h 142846"/>
                <a:gd name="connsiteX2" fmla="*/ 14267 w 60718"/>
                <a:gd name="connsiteY2" fmla="*/ 14031 h 142846"/>
                <a:gd name="connsiteX3" fmla="*/ 58214 w 60718"/>
                <a:gd name="connsiteY3" fmla="*/ 131791 h 142846"/>
                <a:gd name="connsiteX4" fmla="*/ 58221 w 60718"/>
                <a:gd name="connsiteY4" fmla="*/ 132047 h 142846"/>
                <a:gd name="connsiteX5" fmla="*/ 59067 w 60718"/>
                <a:gd name="connsiteY5" fmla="*/ 132047 h 142846"/>
                <a:gd name="connsiteX6" fmla="*/ 60283 w 60718"/>
                <a:gd name="connsiteY6" fmla="*/ 131790 h 142846"/>
                <a:gd name="connsiteX7" fmla="*/ 60667 w 60718"/>
                <a:gd name="connsiteY7" fmla="*/ 142846 h 142846"/>
                <a:gd name="connsiteX8" fmla="*/ 55143 w 60718"/>
                <a:gd name="connsiteY8" fmla="*/ 142846 h 142846"/>
                <a:gd name="connsiteX9" fmla="*/ 5524 w 60718"/>
                <a:gd name="connsiteY9" fmla="*/ 142846 h 142846"/>
                <a:gd name="connsiteX10" fmla="*/ 0 w 60718"/>
                <a:gd name="connsiteY10" fmla="*/ 142846 h 142846"/>
                <a:gd name="connsiteX11" fmla="*/ 0 w 60718"/>
                <a:gd name="connsiteY11" fmla="*/ 132045 h 142846"/>
                <a:gd name="connsiteX12" fmla="*/ 5524 w 60718"/>
                <a:gd name="connsiteY12" fmla="*/ 132045 h 142846"/>
                <a:gd name="connsiteX13" fmla="*/ 5524 w 60718"/>
                <a:gd name="connsiteY13" fmla="*/ 132045 h 142846"/>
                <a:gd name="connsiteX14" fmla="*/ 47542 w 60718"/>
                <a:gd name="connsiteY14" fmla="*/ 132046 h 142846"/>
                <a:gd name="connsiteX15" fmla="*/ 8496 w 60718"/>
                <a:gd name="connsiteY15" fmla="*/ 24211 h 142846"/>
                <a:gd name="connsiteX0" fmla="*/ 10514 w 60718"/>
                <a:gd name="connsiteY0" fmla="*/ 27439 h 142846"/>
                <a:gd name="connsiteX1" fmla="*/ 8371 w 60718"/>
                <a:gd name="connsiteY1" fmla="*/ 0 h 142846"/>
                <a:gd name="connsiteX2" fmla="*/ 14267 w 60718"/>
                <a:gd name="connsiteY2" fmla="*/ 14031 h 142846"/>
                <a:gd name="connsiteX3" fmla="*/ 58214 w 60718"/>
                <a:gd name="connsiteY3" fmla="*/ 131791 h 142846"/>
                <a:gd name="connsiteX4" fmla="*/ 58221 w 60718"/>
                <a:gd name="connsiteY4" fmla="*/ 132047 h 142846"/>
                <a:gd name="connsiteX5" fmla="*/ 59067 w 60718"/>
                <a:gd name="connsiteY5" fmla="*/ 132047 h 142846"/>
                <a:gd name="connsiteX6" fmla="*/ 60283 w 60718"/>
                <a:gd name="connsiteY6" fmla="*/ 131790 h 142846"/>
                <a:gd name="connsiteX7" fmla="*/ 60667 w 60718"/>
                <a:gd name="connsiteY7" fmla="*/ 142846 h 142846"/>
                <a:gd name="connsiteX8" fmla="*/ 55143 w 60718"/>
                <a:gd name="connsiteY8" fmla="*/ 142846 h 142846"/>
                <a:gd name="connsiteX9" fmla="*/ 5524 w 60718"/>
                <a:gd name="connsiteY9" fmla="*/ 142846 h 142846"/>
                <a:gd name="connsiteX10" fmla="*/ 0 w 60718"/>
                <a:gd name="connsiteY10" fmla="*/ 142846 h 142846"/>
                <a:gd name="connsiteX11" fmla="*/ 0 w 60718"/>
                <a:gd name="connsiteY11" fmla="*/ 132045 h 142846"/>
                <a:gd name="connsiteX12" fmla="*/ 5524 w 60718"/>
                <a:gd name="connsiteY12" fmla="*/ 132045 h 142846"/>
                <a:gd name="connsiteX13" fmla="*/ 5524 w 60718"/>
                <a:gd name="connsiteY13" fmla="*/ 132045 h 142846"/>
                <a:gd name="connsiteX14" fmla="*/ 47542 w 60718"/>
                <a:gd name="connsiteY14" fmla="*/ 132046 h 142846"/>
                <a:gd name="connsiteX15" fmla="*/ 10514 w 60718"/>
                <a:gd name="connsiteY15" fmla="*/ 27439 h 142846"/>
                <a:gd name="connsiteX0" fmla="*/ 10110 w 60718"/>
                <a:gd name="connsiteY0" fmla="*/ 26228 h 142846"/>
                <a:gd name="connsiteX1" fmla="*/ 8371 w 60718"/>
                <a:gd name="connsiteY1" fmla="*/ 0 h 142846"/>
                <a:gd name="connsiteX2" fmla="*/ 14267 w 60718"/>
                <a:gd name="connsiteY2" fmla="*/ 14031 h 142846"/>
                <a:gd name="connsiteX3" fmla="*/ 58214 w 60718"/>
                <a:gd name="connsiteY3" fmla="*/ 131791 h 142846"/>
                <a:gd name="connsiteX4" fmla="*/ 58221 w 60718"/>
                <a:gd name="connsiteY4" fmla="*/ 132047 h 142846"/>
                <a:gd name="connsiteX5" fmla="*/ 59067 w 60718"/>
                <a:gd name="connsiteY5" fmla="*/ 132047 h 142846"/>
                <a:gd name="connsiteX6" fmla="*/ 60283 w 60718"/>
                <a:gd name="connsiteY6" fmla="*/ 131790 h 142846"/>
                <a:gd name="connsiteX7" fmla="*/ 60667 w 60718"/>
                <a:gd name="connsiteY7" fmla="*/ 142846 h 142846"/>
                <a:gd name="connsiteX8" fmla="*/ 55143 w 60718"/>
                <a:gd name="connsiteY8" fmla="*/ 142846 h 142846"/>
                <a:gd name="connsiteX9" fmla="*/ 5524 w 60718"/>
                <a:gd name="connsiteY9" fmla="*/ 142846 h 142846"/>
                <a:gd name="connsiteX10" fmla="*/ 0 w 60718"/>
                <a:gd name="connsiteY10" fmla="*/ 142846 h 142846"/>
                <a:gd name="connsiteX11" fmla="*/ 0 w 60718"/>
                <a:gd name="connsiteY11" fmla="*/ 132045 h 142846"/>
                <a:gd name="connsiteX12" fmla="*/ 5524 w 60718"/>
                <a:gd name="connsiteY12" fmla="*/ 132045 h 142846"/>
                <a:gd name="connsiteX13" fmla="*/ 5524 w 60718"/>
                <a:gd name="connsiteY13" fmla="*/ 132045 h 142846"/>
                <a:gd name="connsiteX14" fmla="*/ 47542 w 60718"/>
                <a:gd name="connsiteY14" fmla="*/ 132046 h 142846"/>
                <a:gd name="connsiteX15" fmla="*/ 10110 w 60718"/>
                <a:gd name="connsiteY15" fmla="*/ 26228 h 142846"/>
                <a:gd name="connsiteX0" fmla="*/ 8899 w 60718"/>
                <a:gd name="connsiteY0" fmla="*/ 24614 h 142846"/>
                <a:gd name="connsiteX1" fmla="*/ 8371 w 60718"/>
                <a:gd name="connsiteY1" fmla="*/ 0 h 142846"/>
                <a:gd name="connsiteX2" fmla="*/ 14267 w 60718"/>
                <a:gd name="connsiteY2" fmla="*/ 14031 h 142846"/>
                <a:gd name="connsiteX3" fmla="*/ 58214 w 60718"/>
                <a:gd name="connsiteY3" fmla="*/ 131791 h 142846"/>
                <a:gd name="connsiteX4" fmla="*/ 58221 w 60718"/>
                <a:gd name="connsiteY4" fmla="*/ 132047 h 142846"/>
                <a:gd name="connsiteX5" fmla="*/ 59067 w 60718"/>
                <a:gd name="connsiteY5" fmla="*/ 132047 h 142846"/>
                <a:gd name="connsiteX6" fmla="*/ 60283 w 60718"/>
                <a:gd name="connsiteY6" fmla="*/ 131790 h 142846"/>
                <a:gd name="connsiteX7" fmla="*/ 60667 w 60718"/>
                <a:gd name="connsiteY7" fmla="*/ 142846 h 142846"/>
                <a:gd name="connsiteX8" fmla="*/ 55143 w 60718"/>
                <a:gd name="connsiteY8" fmla="*/ 142846 h 142846"/>
                <a:gd name="connsiteX9" fmla="*/ 5524 w 60718"/>
                <a:gd name="connsiteY9" fmla="*/ 142846 h 142846"/>
                <a:gd name="connsiteX10" fmla="*/ 0 w 60718"/>
                <a:gd name="connsiteY10" fmla="*/ 142846 h 142846"/>
                <a:gd name="connsiteX11" fmla="*/ 0 w 60718"/>
                <a:gd name="connsiteY11" fmla="*/ 132045 h 142846"/>
                <a:gd name="connsiteX12" fmla="*/ 5524 w 60718"/>
                <a:gd name="connsiteY12" fmla="*/ 132045 h 142846"/>
                <a:gd name="connsiteX13" fmla="*/ 5524 w 60718"/>
                <a:gd name="connsiteY13" fmla="*/ 132045 h 142846"/>
                <a:gd name="connsiteX14" fmla="*/ 47542 w 60718"/>
                <a:gd name="connsiteY14" fmla="*/ 132046 h 142846"/>
                <a:gd name="connsiteX15" fmla="*/ 8899 w 60718"/>
                <a:gd name="connsiteY15" fmla="*/ 24614 h 142846"/>
                <a:gd name="connsiteX0" fmla="*/ 9706 w 60718"/>
                <a:gd name="connsiteY0" fmla="*/ 26632 h 142846"/>
                <a:gd name="connsiteX1" fmla="*/ 8371 w 60718"/>
                <a:gd name="connsiteY1" fmla="*/ 0 h 142846"/>
                <a:gd name="connsiteX2" fmla="*/ 14267 w 60718"/>
                <a:gd name="connsiteY2" fmla="*/ 14031 h 142846"/>
                <a:gd name="connsiteX3" fmla="*/ 58214 w 60718"/>
                <a:gd name="connsiteY3" fmla="*/ 131791 h 142846"/>
                <a:gd name="connsiteX4" fmla="*/ 58221 w 60718"/>
                <a:gd name="connsiteY4" fmla="*/ 132047 h 142846"/>
                <a:gd name="connsiteX5" fmla="*/ 59067 w 60718"/>
                <a:gd name="connsiteY5" fmla="*/ 132047 h 142846"/>
                <a:gd name="connsiteX6" fmla="*/ 60283 w 60718"/>
                <a:gd name="connsiteY6" fmla="*/ 131790 h 142846"/>
                <a:gd name="connsiteX7" fmla="*/ 60667 w 60718"/>
                <a:gd name="connsiteY7" fmla="*/ 142846 h 142846"/>
                <a:gd name="connsiteX8" fmla="*/ 55143 w 60718"/>
                <a:gd name="connsiteY8" fmla="*/ 142846 h 142846"/>
                <a:gd name="connsiteX9" fmla="*/ 5524 w 60718"/>
                <a:gd name="connsiteY9" fmla="*/ 142846 h 142846"/>
                <a:gd name="connsiteX10" fmla="*/ 0 w 60718"/>
                <a:gd name="connsiteY10" fmla="*/ 142846 h 142846"/>
                <a:gd name="connsiteX11" fmla="*/ 0 w 60718"/>
                <a:gd name="connsiteY11" fmla="*/ 132045 h 142846"/>
                <a:gd name="connsiteX12" fmla="*/ 5524 w 60718"/>
                <a:gd name="connsiteY12" fmla="*/ 132045 h 142846"/>
                <a:gd name="connsiteX13" fmla="*/ 5524 w 60718"/>
                <a:gd name="connsiteY13" fmla="*/ 132045 h 142846"/>
                <a:gd name="connsiteX14" fmla="*/ 47542 w 60718"/>
                <a:gd name="connsiteY14" fmla="*/ 132046 h 142846"/>
                <a:gd name="connsiteX15" fmla="*/ 9706 w 60718"/>
                <a:gd name="connsiteY15" fmla="*/ 26632 h 142846"/>
                <a:gd name="connsiteX0" fmla="*/ 9706 w 60718"/>
                <a:gd name="connsiteY0" fmla="*/ 26632 h 142846"/>
                <a:gd name="connsiteX1" fmla="*/ 8371 w 60718"/>
                <a:gd name="connsiteY1" fmla="*/ 0 h 142846"/>
                <a:gd name="connsiteX2" fmla="*/ 58214 w 60718"/>
                <a:gd name="connsiteY2" fmla="*/ 131791 h 142846"/>
                <a:gd name="connsiteX3" fmla="*/ 58221 w 60718"/>
                <a:gd name="connsiteY3" fmla="*/ 132047 h 142846"/>
                <a:gd name="connsiteX4" fmla="*/ 59067 w 60718"/>
                <a:gd name="connsiteY4" fmla="*/ 132047 h 142846"/>
                <a:gd name="connsiteX5" fmla="*/ 60283 w 60718"/>
                <a:gd name="connsiteY5" fmla="*/ 131790 h 142846"/>
                <a:gd name="connsiteX6" fmla="*/ 60667 w 60718"/>
                <a:gd name="connsiteY6" fmla="*/ 142846 h 142846"/>
                <a:gd name="connsiteX7" fmla="*/ 55143 w 60718"/>
                <a:gd name="connsiteY7" fmla="*/ 142846 h 142846"/>
                <a:gd name="connsiteX8" fmla="*/ 5524 w 60718"/>
                <a:gd name="connsiteY8" fmla="*/ 142846 h 142846"/>
                <a:gd name="connsiteX9" fmla="*/ 0 w 60718"/>
                <a:gd name="connsiteY9" fmla="*/ 142846 h 142846"/>
                <a:gd name="connsiteX10" fmla="*/ 0 w 60718"/>
                <a:gd name="connsiteY10" fmla="*/ 132045 h 142846"/>
                <a:gd name="connsiteX11" fmla="*/ 5524 w 60718"/>
                <a:gd name="connsiteY11" fmla="*/ 132045 h 142846"/>
                <a:gd name="connsiteX12" fmla="*/ 5524 w 60718"/>
                <a:gd name="connsiteY12" fmla="*/ 132045 h 142846"/>
                <a:gd name="connsiteX13" fmla="*/ 47542 w 60718"/>
                <a:gd name="connsiteY13" fmla="*/ 132046 h 142846"/>
                <a:gd name="connsiteX14" fmla="*/ 9706 w 60718"/>
                <a:gd name="connsiteY14" fmla="*/ 26632 h 142846"/>
                <a:gd name="connsiteX0" fmla="*/ 9706 w 60805"/>
                <a:gd name="connsiteY0" fmla="*/ 26632 h 142846"/>
                <a:gd name="connsiteX1" fmla="*/ 8371 w 60805"/>
                <a:gd name="connsiteY1" fmla="*/ 0 h 142846"/>
                <a:gd name="connsiteX2" fmla="*/ 58214 w 60805"/>
                <a:gd name="connsiteY2" fmla="*/ 131791 h 142846"/>
                <a:gd name="connsiteX3" fmla="*/ 58221 w 60805"/>
                <a:gd name="connsiteY3" fmla="*/ 132047 h 142846"/>
                <a:gd name="connsiteX4" fmla="*/ 59067 w 60805"/>
                <a:gd name="connsiteY4" fmla="*/ 132047 h 142846"/>
                <a:gd name="connsiteX5" fmla="*/ 60667 w 60805"/>
                <a:gd name="connsiteY5" fmla="*/ 142846 h 142846"/>
                <a:gd name="connsiteX6" fmla="*/ 55143 w 60805"/>
                <a:gd name="connsiteY6" fmla="*/ 142846 h 142846"/>
                <a:gd name="connsiteX7" fmla="*/ 5524 w 60805"/>
                <a:gd name="connsiteY7" fmla="*/ 142846 h 142846"/>
                <a:gd name="connsiteX8" fmla="*/ 0 w 60805"/>
                <a:gd name="connsiteY8" fmla="*/ 142846 h 142846"/>
                <a:gd name="connsiteX9" fmla="*/ 0 w 60805"/>
                <a:gd name="connsiteY9" fmla="*/ 132045 h 142846"/>
                <a:gd name="connsiteX10" fmla="*/ 5524 w 60805"/>
                <a:gd name="connsiteY10" fmla="*/ 132045 h 142846"/>
                <a:gd name="connsiteX11" fmla="*/ 5524 w 60805"/>
                <a:gd name="connsiteY11" fmla="*/ 132045 h 142846"/>
                <a:gd name="connsiteX12" fmla="*/ 47542 w 60805"/>
                <a:gd name="connsiteY12" fmla="*/ 132046 h 142846"/>
                <a:gd name="connsiteX13" fmla="*/ 9706 w 60805"/>
                <a:gd name="connsiteY13" fmla="*/ 26632 h 142846"/>
                <a:gd name="connsiteX0" fmla="*/ 9706 w 61076"/>
                <a:gd name="connsiteY0" fmla="*/ 26632 h 142846"/>
                <a:gd name="connsiteX1" fmla="*/ 8371 w 61076"/>
                <a:gd name="connsiteY1" fmla="*/ 0 h 142846"/>
                <a:gd name="connsiteX2" fmla="*/ 58214 w 61076"/>
                <a:gd name="connsiteY2" fmla="*/ 131791 h 142846"/>
                <a:gd name="connsiteX3" fmla="*/ 58221 w 61076"/>
                <a:gd name="connsiteY3" fmla="*/ 132047 h 142846"/>
                <a:gd name="connsiteX4" fmla="*/ 60681 w 61076"/>
                <a:gd name="connsiteY4" fmla="*/ 132451 h 142846"/>
                <a:gd name="connsiteX5" fmla="*/ 60667 w 61076"/>
                <a:gd name="connsiteY5" fmla="*/ 142846 h 142846"/>
                <a:gd name="connsiteX6" fmla="*/ 55143 w 61076"/>
                <a:gd name="connsiteY6" fmla="*/ 142846 h 142846"/>
                <a:gd name="connsiteX7" fmla="*/ 5524 w 61076"/>
                <a:gd name="connsiteY7" fmla="*/ 142846 h 142846"/>
                <a:gd name="connsiteX8" fmla="*/ 0 w 61076"/>
                <a:gd name="connsiteY8" fmla="*/ 142846 h 142846"/>
                <a:gd name="connsiteX9" fmla="*/ 0 w 61076"/>
                <a:gd name="connsiteY9" fmla="*/ 132045 h 142846"/>
                <a:gd name="connsiteX10" fmla="*/ 5524 w 61076"/>
                <a:gd name="connsiteY10" fmla="*/ 132045 h 142846"/>
                <a:gd name="connsiteX11" fmla="*/ 5524 w 61076"/>
                <a:gd name="connsiteY11" fmla="*/ 132045 h 142846"/>
                <a:gd name="connsiteX12" fmla="*/ 47542 w 61076"/>
                <a:gd name="connsiteY12" fmla="*/ 132046 h 142846"/>
                <a:gd name="connsiteX13" fmla="*/ 9706 w 61076"/>
                <a:gd name="connsiteY13" fmla="*/ 26632 h 142846"/>
                <a:gd name="connsiteX0" fmla="*/ 9706 w 61076"/>
                <a:gd name="connsiteY0" fmla="*/ 26632 h 142846"/>
                <a:gd name="connsiteX1" fmla="*/ 8371 w 61076"/>
                <a:gd name="connsiteY1" fmla="*/ 0 h 142846"/>
                <a:gd name="connsiteX2" fmla="*/ 58214 w 61076"/>
                <a:gd name="connsiteY2" fmla="*/ 131791 h 142846"/>
                <a:gd name="connsiteX3" fmla="*/ 58221 w 61076"/>
                <a:gd name="connsiteY3" fmla="*/ 132047 h 142846"/>
                <a:gd name="connsiteX4" fmla="*/ 60681 w 61076"/>
                <a:gd name="connsiteY4" fmla="*/ 130837 h 142846"/>
                <a:gd name="connsiteX5" fmla="*/ 60667 w 61076"/>
                <a:gd name="connsiteY5" fmla="*/ 142846 h 142846"/>
                <a:gd name="connsiteX6" fmla="*/ 55143 w 61076"/>
                <a:gd name="connsiteY6" fmla="*/ 142846 h 142846"/>
                <a:gd name="connsiteX7" fmla="*/ 5524 w 61076"/>
                <a:gd name="connsiteY7" fmla="*/ 142846 h 142846"/>
                <a:gd name="connsiteX8" fmla="*/ 0 w 61076"/>
                <a:gd name="connsiteY8" fmla="*/ 142846 h 142846"/>
                <a:gd name="connsiteX9" fmla="*/ 0 w 61076"/>
                <a:gd name="connsiteY9" fmla="*/ 132045 h 142846"/>
                <a:gd name="connsiteX10" fmla="*/ 5524 w 61076"/>
                <a:gd name="connsiteY10" fmla="*/ 132045 h 142846"/>
                <a:gd name="connsiteX11" fmla="*/ 5524 w 61076"/>
                <a:gd name="connsiteY11" fmla="*/ 132045 h 142846"/>
                <a:gd name="connsiteX12" fmla="*/ 47542 w 61076"/>
                <a:gd name="connsiteY12" fmla="*/ 132046 h 142846"/>
                <a:gd name="connsiteX13" fmla="*/ 9706 w 61076"/>
                <a:gd name="connsiteY13" fmla="*/ 26632 h 142846"/>
                <a:gd name="connsiteX0" fmla="*/ 9706 w 61076"/>
                <a:gd name="connsiteY0" fmla="*/ 26632 h 142846"/>
                <a:gd name="connsiteX1" fmla="*/ 8371 w 61076"/>
                <a:gd name="connsiteY1" fmla="*/ 0 h 142846"/>
                <a:gd name="connsiteX2" fmla="*/ 58214 w 61076"/>
                <a:gd name="connsiteY2" fmla="*/ 131791 h 142846"/>
                <a:gd name="connsiteX3" fmla="*/ 58221 w 61076"/>
                <a:gd name="connsiteY3" fmla="*/ 132047 h 142846"/>
                <a:gd name="connsiteX4" fmla="*/ 60681 w 61076"/>
                <a:gd name="connsiteY4" fmla="*/ 130837 h 142846"/>
                <a:gd name="connsiteX5" fmla="*/ 60667 w 61076"/>
                <a:gd name="connsiteY5" fmla="*/ 142846 h 142846"/>
                <a:gd name="connsiteX6" fmla="*/ 55143 w 61076"/>
                <a:gd name="connsiteY6" fmla="*/ 142846 h 142846"/>
                <a:gd name="connsiteX7" fmla="*/ 5524 w 61076"/>
                <a:gd name="connsiteY7" fmla="*/ 142846 h 142846"/>
                <a:gd name="connsiteX8" fmla="*/ 0 w 61076"/>
                <a:gd name="connsiteY8" fmla="*/ 142846 h 142846"/>
                <a:gd name="connsiteX9" fmla="*/ 0 w 61076"/>
                <a:gd name="connsiteY9" fmla="*/ 132045 h 142846"/>
                <a:gd name="connsiteX10" fmla="*/ 5524 w 61076"/>
                <a:gd name="connsiteY10" fmla="*/ 132045 h 142846"/>
                <a:gd name="connsiteX11" fmla="*/ 5524 w 61076"/>
                <a:gd name="connsiteY11" fmla="*/ 132045 h 142846"/>
                <a:gd name="connsiteX12" fmla="*/ 47542 w 61076"/>
                <a:gd name="connsiteY12" fmla="*/ 132046 h 142846"/>
                <a:gd name="connsiteX13" fmla="*/ 9706 w 61076"/>
                <a:gd name="connsiteY13" fmla="*/ 26632 h 142846"/>
                <a:gd name="connsiteX0" fmla="*/ 9706 w 61304"/>
                <a:gd name="connsiteY0" fmla="*/ 26632 h 142846"/>
                <a:gd name="connsiteX1" fmla="*/ 8371 w 61304"/>
                <a:gd name="connsiteY1" fmla="*/ 0 h 142846"/>
                <a:gd name="connsiteX2" fmla="*/ 58214 w 61304"/>
                <a:gd name="connsiteY2" fmla="*/ 131791 h 142846"/>
                <a:gd name="connsiteX3" fmla="*/ 58221 w 61304"/>
                <a:gd name="connsiteY3" fmla="*/ 132047 h 142846"/>
                <a:gd name="connsiteX4" fmla="*/ 61084 w 61304"/>
                <a:gd name="connsiteY4" fmla="*/ 132047 h 142846"/>
                <a:gd name="connsiteX5" fmla="*/ 60667 w 61304"/>
                <a:gd name="connsiteY5" fmla="*/ 142846 h 142846"/>
                <a:gd name="connsiteX6" fmla="*/ 55143 w 61304"/>
                <a:gd name="connsiteY6" fmla="*/ 142846 h 142846"/>
                <a:gd name="connsiteX7" fmla="*/ 5524 w 61304"/>
                <a:gd name="connsiteY7" fmla="*/ 142846 h 142846"/>
                <a:gd name="connsiteX8" fmla="*/ 0 w 61304"/>
                <a:gd name="connsiteY8" fmla="*/ 142846 h 142846"/>
                <a:gd name="connsiteX9" fmla="*/ 0 w 61304"/>
                <a:gd name="connsiteY9" fmla="*/ 132045 h 142846"/>
                <a:gd name="connsiteX10" fmla="*/ 5524 w 61304"/>
                <a:gd name="connsiteY10" fmla="*/ 132045 h 142846"/>
                <a:gd name="connsiteX11" fmla="*/ 5524 w 61304"/>
                <a:gd name="connsiteY11" fmla="*/ 132045 h 142846"/>
                <a:gd name="connsiteX12" fmla="*/ 47542 w 61304"/>
                <a:gd name="connsiteY12" fmla="*/ 132046 h 142846"/>
                <a:gd name="connsiteX13" fmla="*/ 9706 w 61304"/>
                <a:gd name="connsiteY13" fmla="*/ 26632 h 142846"/>
                <a:gd name="connsiteX0" fmla="*/ 9706 w 61075"/>
                <a:gd name="connsiteY0" fmla="*/ 26632 h 142846"/>
                <a:gd name="connsiteX1" fmla="*/ 8371 w 61075"/>
                <a:gd name="connsiteY1" fmla="*/ 0 h 142846"/>
                <a:gd name="connsiteX2" fmla="*/ 58214 w 61075"/>
                <a:gd name="connsiteY2" fmla="*/ 131791 h 142846"/>
                <a:gd name="connsiteX3" fmla="*/ 58221 w 61075"/>
                <a:gd name="connsiteY3" fmla="*/ 132047 h 142846"/>
                <a:gd name="connsiteX4" fmla="*/ 60680 w 61075"/>
                <a:gd name="connsiteY4" fmla="*/ 132047 h 142846"/>
                <a:gd name="connsiteX5" fmla="*/ 60667 w 61075"/>
                <a:gd name="connsiteY5" fmla="*/ 142846 h 142846"/>
                <a:gd name="connsiteX6" fmla="*/ 55143 w 61075"/>
                <a:gd name="connsiteY6" fmla="*/ 142846 h 142846"/>
                <a:gd name="connsiteX7" fmla="*/ 5524 w 61075"/>
                <a:gd name="connsiteY7" fmla="*/ 142846 h 142846"/>
                <a:gd name="connsiteX8" fmla="*/ 0 w 61075"/>
                <a:gd name="connsiteY8" fmla="*/ 142846 h 142846"/>
                <a:gd name="connsiteX9" fmla="*/ 0 w 61075"/>
                <a:gd name="connsiteY9" fmla="*/ 132045 h 142846"/>
                <a:gd name="connsiteX10" fmla="*/ 5524 w 61075"/>
                <a:gd name="connsiteY10" fmla="*/ 132045 h 142846"/>
                <a:gd name="connsiteX11" fmla="*/ 5524 w 61075"/>
                <a:gd name="connsiteY11" fmla="*/ 132045 h 142846"/>
                <a:gd name="connsiteX12" fmla="*/ 47542 w 61075"/>
                <a:gd name="connsiteY12" fmla="*/ 132046 h 142846"/>
                <a:gd name="connsiteX13" fmla="*/ 9706 w 61075"/>
                <a:gd name="connsiteY13" fmla="*/ 26632 h 14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075" h="142846">
                  <a:moveTo>
                    <a:pt x="9706" y="26632"/>
                  </a:moveTo>
                  <a:cubicBezTo>
                    <a:pt x="9664" y="18562"/>
                    <a:pt x="8413" y="8070"/>
                    <a:pt x="8371" y="0"/>
                  </a:cubicBezTo>
                  <a:lnTo>
                    <a:pt x="58214" y="131791"/>
                  </a:lnTo>
                  <a:cubicBezTo>
                    <a:pt x="58216" y="131876"/>
                    <a:pt x="58219" y="131962"/>
                    <a:pt x="58221" y="132047"/>
                  </a:cubicBezTo>
                  <a:lnTo>
                    <a:pt x="60680" y="132047"/>
                  </a:lnTo>
                  <a:cubicBezTo>
                    <a:pt x="61088" y="133847"/>
                    <a:pt x="61321" y="141046"/>
                    <a:pt x="60667" y="142846"/>
                  </a:cubicBezTo>
                  <a:lnTo>
                    <a:pt x="55143" y="142846"/>
                  </a:lnTo>
                  <a:lnTo>
                    <a:pt x="5524" y="142846"/>
                  </a:lnTo>
                  <a:lnTo>
                    <a:pt x="0" y="142846"/>
                  </a:lnTo>
                  <a:lnTo>
                    <a:pt x="0" y="132045"/>
                  </a:lnTo>
                  <a:lnTo>
                    <a:pt x="5524" y="132045"/>
                  </a:lnTo>
                  <a:lnTo>
                    <a:pt x="5524" y="132045"/>
                  </a:lnTo>
                  <a:lnTo>
                    <a:pt x="47542" y="132046"/>
                  </a:lnTo>
                  <a:lnTo>
                    <a:pt x="9706" y="26632"/>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37" name="Rectangle 26"/>
            <p:cNvSpPr/>
            <p:nvPr/>
          </p:nvSpPr>
          <p:spPr bwMode="gray">
            <a:xfrm flipH="1">
              <a:off x="7368649" y="4889364"/>
              <a:ext cx="57600" cy="135404"/>
            </a:xfrm>
            <a:custGeom>
              <a:avLst/>
              <a:gdLst>
                <a:gd name="connsiteX0" fmla="*/ 0 w 61048"/>
                <a:gd name="connsiteY0" fmla="*/ 0 h 139214"/>
                <a:gd name="connsiteX1" fmla="*/ 9124 w 61048"/>
                <a:gd name="connsiteY1" fmla="*/ 10399 h 139214"/>
                <a:gd name="connsiteX2" fmla="*/ 53071 w 61048"/>
                <a:gd name="connsiteY2" fmla="*/ 128159 h 139214"/>
                <a:gd name="connsiteX3" fmla="*/ 53078 w 61048"/>
                <a:gd name="connsiteY3" fmla="*/ 128414 h 139214"/>
                <a:gd name="connsiteX4" fmla="*/ 53447 w 61048"/>
                <a:gd name="connsiteY4" fmla="*/ 128414 h 139214"/>
                <a:gd name="connsiteX5" fmla="*/ 5524 w 61048"/>
                <a:gd name="connsiteY5" fmla="*/ 0 h 139214"/>
                <a:gd name="connsiteX6" fmla="*/ 14648 w 61048"/>
                <a:gd name="connsiteY6" fmla="*/ 10399 h 139214"/>
                <a:gd name="connsiteX7" fmla="*/ 58595 w 61048"/>
                <a:gd name="connsiteY7" fmla="*/ 128159 h 139214"/>
                <a:gd name="connsiteX8" fmla="*/ 58602 w 61048"/>
                <a:gd name="connsiteY8" fmla="*/ 128415 h 139214"/>
                <a:gd name="connsiteX9" fmla="*/ 59448 w 61048"/>
                <a:gd name="connsiteY9" fmla="*/ 128415 h 139214"/>
                <a:gd name="connsiteX10" fmla="*/ 59454 w 61048"/>
                <a:gd name="connsiteY10" fmla="*/ 128158 h 139214"/>
                <a:gd name="connsiteX11" fmla="*/ 61048 w 61048"/>
                <a:gd name="connsiteY11" fmla="*/ 139214 h 139214"/>
                <a:gd name="connsiteX12" fmla="*/ 55524 w 61048"/>
                <a:gd name="connsiteY12" fmla="*/ 139214 h 139214"/>
                <a:gd name="connsiteX13" fmla="*/ 5905 w 61048"/>
                <a:gd name="connsiteY13" fmla="*/ 139214 h 139214"/>
                <a:gd name="connsiteX14" fmla="*/ 381 w 61048"/>
                <a:gd name="connsiteY14" fmla="*/ 139214 h 139214"/>
                <a:gd name="connsiteX15" fmla="*/ 381 w 61048"/>
                <a:gd name="connsiteY15" fmla="*/ 128413 h 139214"/>
                <a:gd name="connsiteX16" fmla="*/ 5905 w 61048"/>
                <a:gd name="connsiteY16" fmla="*/ 128413 h 139214"/>
                <a:gd name="connsiteX17" fmla="*/ 5905 w 61048"/>
                <a:gd name="connsiteY17" fmla="*/ 128413 h 139214"/>
                <a:gd name="connsiteX18" fmla="*/ 47923 w 61048"/>
                <a:gd name="connsiteY18" fmla="*/ 128414 h 139214"/>
                <a:gd name="connsiteX19" fmla="*/ 0 w 61048"/>
                <a:gd name="connsiteY19" fmla="*/ 0 h 139214"/>
                <a:gd name="connsiteX0" fmla="*/ 0 w 61875"/>
                <a:gd name="connsiteY0" fmla="*/ 0 h 139214"/>
                <a:gd name="connsiteX1" fmla="*/ 9124 w 61875"/>
                <a:gd name="connsiteY1" fmla="*/ 10399 h 139214"/>
                <a:gd name="connsiteX2" fmla="*/ 53071 w 61875"/>
                <a:gd name="connsiteY2" fmla="*/ 128159 h 139214"/>
                <a:gd name="connsiteX3" fmla="*/ 53078 w 61875"/>
                <a:gd name="connsiteY3" fmla="*/ 128414 h 139214"/>
                <a:gd name="connsiteX4" fmla="*/ 53447 w 61875"/>
                <a:gd name="connsiteY4" fmla="*/ 128414 h 139214"/>
                <a:gd name="connsiteX5" fmla="*/ 5524 w 61875"/>
                <a:gd name="connsiteY5" fmla="*/ 0 h 139214"/>
                <a:gd name="connsiteX6" fmla="*/ 14648 w 61875"/>
                <a:gd name="connsiteY6" fmla="*/ 10399 h 139214"/>
                <a:gd name="connsiteX7" fmla="*/ 58595 w 61875"/>
                <a:gd name="connsiteY7" fmla="*/ 128159 h 139214"/>
                <a:gd name="connsiteX8" fmla="*/ 58602 w 61875"/>
                <a:gd name="connsiteY8" fmla="*/ 128415 h 139214"/>
                <a:gd name="connsiteX9" fmla="*/ 59448 w 61875"/>
                <a:gd name="connsiteY9" fmla="*/ 128415 h 139214"/>
                <a:gd name="connsiteX10" fmla="*/ 61875 w 61875"/>
                <a:gd name="connsiteY10" fmla="*/ 128158 h 139214"/>
                <a:gd name="connsiteX11" fmla="*/ 61048 w 61875"/>
                <a:gd name="connsiteY11" fmla="*/ 139214 h 139214"/>
                <a:gd name="connsiteX12" fmla="*/ 55524 w 61875"/>
                <a:gd name="connsiteY12" fmla="*/ 139214 h 139214"/>
                <a:gd name="connsiteX13" fmla="*/ 5905 w 61875"/>
                <a:gd name="connsiteY13" fmla="*/ 139214 h 139214"/>
                <a:gd name="connsiteX14" fmla="*/ 381 w 61875"/>
                <a:gd name="connsiteY14" fmla="*/ 139214 h 139214"/>
                <a:gd name="connsiteX15" fmla="*/ 381 w 61875"/>
                <a:gd name="connsiteY15" fmla="*/ 128413 h 139214"/>
                <a:gd name="connsiteX16" fmla="*/ 5905 w 61875"/>
                <a:gd name="connsiteY16" fmla="*/ 128413 h 139214"/>
                <a:gd name="connsiteX17" fmla="*/ 5905 w 61875"/>
                <a:gd name="connsiteY17" fmla="*/ 128413 h 139214"/>
                <a:gd name="connsiteX18" fmla="*/ 47923 w 61875"/>
                <a:gd name="connsiteY18" fmla="*/ 128414 h 139214"/>
                <a:gd name="connsiteX19" fmla="*/ 0 w 61875"/>
                <a:gd name="connsiteY19" fmla="*/ 0 h 139214"/>
                <a:gd name="connsiteX0" fmla="*/ 0 w 61099"/>
                <a:gd name="connsiteY0" fmla="*/ 0 h 139214"/>
                <a:gd name="connsiteX1" fmla="*/ 9124 w 61099"/>
                <a:gd name="connsiteY1" fmla="*/ 10399 h 139214"/>
                <a:gd name="connsiteX2" fmla="*/ 53071 w 61099"/>
                <a:gd name="connsiteY2" fmla="*/ 128159 h 139214"/>
                <a:gd name="connsiteX3" fmla="*/ 53078 w 61099"/>
                <a:gd name="connsiteY3" fmla="*/ 128414 h 139214"/>
                <a:gd name="connsiteX4" fmla="*/ 53447 w 61099"/>
                <a:gd name="connsiteY4" fmla="*/ 128414 h 139214"/>
                <a:gd name="connsiteX5" fmla="*/ 5524 w 61099"/>
                <a:gd name="connsiteY5" fmla="*/ 0 h 139214"/>
                <a:gd name="connsiteX6" fmla="*/ 14648 w 61099"/>
                <a:gd name="connsiteY6" fmla="*/ 10399 h 139214"/>
                <a:gd name="connsiteX7" fmla="*/ 58595 w 61099"/>
                <a:gd name="connsiteY7" fmla="*/ 128159 h 139214"/>
                <a:gd name="connsiteX8" fmla="*/ 58602 w 61099"/>
                <a:gd name="connsiteY8" fmla="*/ 128415 h 139214"/>
                <a:gd name="connsiteX9" fmla="*/ 59448 w 61099"/>
                <a:gd name="connsiteY9" fmla="*/ 128415 h 139214"/>
                <a:gd name="connsiteX10" fmla="*/ 60664 w 61099"/>
                <a:gd name="connsiteY10" fmla="*/ 128158 h 139214"/>
                <a:gd name="connsiteX11" fmla="*/ 61048 w 61099"/>
                <a:gd name="connsiteY11" fmla="*/ 139214 h 139214"/>
                <a:gd name="connsiteX12" fmla="*/ 55524 w 61099"/>
                <a:gd name="connsiteY12" fmla="*/ 139214 h 139214"/>
                <a:gd name="connsiteX13" fmla="*/ 5905 w 61099"/>
                <a:gd name="connsiteY13" fmla="*/ 139214 h 139214"/>
                <a:gd name="connsiteX14" fmla="*/ 381 w 61099"/>
                <a:gd name="connsiteY14" fmla="*/ 139214 h 139214"/>
                <a:gd name="connsiteX15" fmla="*/ 381 w 61099"/>
                <a:gd name="connsiteY15" fmla="*/ 128413 h 139214"/>
                <a:gd name="connsiteX16" fmla="*/ 5905 w 61099"/>
                <a:gd name="connsiteY16" fmla="*/ 128413 h 139214"/>
                <a:gd name="connsiteX17" fmla="*/ 5905 w 61099"/>
                <a:gd name="connsiteY17" fmla="*/ 128413 h 139214"/>
                <a:gd name="connsiteX18" fmla="*/ 47923 w 61099"/>
                <a:gd name="connsiteY18" fmla="*/ 128414 h 139214"/>
                <a:gd name="connsiteX19" fmla="*/ 0 w 61099"/>
                <a:gd name="connsiteY19" fmla="*/ 0 h 139214"/>
                <a:gd name="connsiteX0" fmla="*/ 0 w 61099"/>
                <a:gd name="connsiteY0" fmla="*/ 0 h 139214"/>
                <a:gd name="connsiteX1" fmla="*/ 9124 w 61099"/>
                <a:gd name="connsiteY1" fmla="*/ 10399 h 139214"/>
                <a:gd name="connsiteX2" fmla="*/ 53071 w 61099"/>
                <a:gd name="connsiteY2" fmla="*/ 128159 h 139214"/>
                <a:gd name="connsiteX3" fmla="*/ 53078 w 61099"/>
                <a:gd name="connsiteY3" fmla="*/ 128414 h 139214"/>
                <a:gd name="connsiteX4" fmla="*/ 5524 w 61099"/>
                <a:gd name="connsiteY4" fmla="*/ 0 h 139214"/>
                <a:gd name="connsiteX5" fmla="*/ 14648 w 61099"/>
                <a:gd name="connsiteY5" fmla="*/ 10399 h 139214"/>
                <a:gd name="connsiteX6" fmla="*/ 58595 w 61099"/>
                <a:gd name="connsiteY6" fmla="*/ 128159 h 139214"/>
                <a:gd name="connsiteX7" fmla="*/ 58602 w 61099"/>
                <a:gd name="connsiteY7" fmla="*/ 128415 h 139214"/>
                <a:gd name="connsiteX8" fmla="*/ 59448 w 61099"/>
                <a:gd name="connsiteY8" fmla="*/ 128415 h 139214"/>
                <a:gd name="connsiteX9" fmla="*/ 60664 w 61099"/>
                <a:gd name="connsiteY9" fmla="*/ 128158 h 139214"/>
                <a:gd name="connsiteX10" fmla="*/ 61048 w 61099"/>
                <a:gd name="connsiteY10" fmla="*/ 139214 h 139214"/>
                <a:gd name="connsiteX11" fmla="*/ 55524 w 61099"/>
                <a:gd name="connsiteY11" fmla="*/ 139214 h 139214"/>
                <a:gd name="connsiteX12" fmla="*/ 5905 w 61099"/>
                <a:gd name="connsiteY12" fmla="*/ 139214 h 139214"/>
                <a:gd name="connsiteX13" fmla="*/ 381 w 61099"/>
                <a:gd name="connsiteY13" fmla="*/ 139214 h 139214"/>
                <a:gd name="connsiteX14" fmla="*/ 381 w 61099"/>
                <a:gd name="connsiteY14" fmla="*/ 128413 h 139214"/>
                <a:gd name="connsiteX15" fmla="*/ 5905 w 61099"/>
                <a:gd name="connsiteY15" fmla="*/ 128413 h 139214"/>
                <a:gd name="connsiteX16" fmla="*/ 5905 w 61099"/>
                <a:gd name="connsiteY16" fmla="*/ 128413 h 139214"/>
                <a:gd name="connsiteX17" fmla="*/ 47923 w 61099"/>
                <a:gd name="connsiteY17" fmla="*/ 128414 h 139214"/>
                <a:gd name="connsiteX18" fmla="*/ 0 w 61099"/>
                <a:gd name="connsiteY18" fmla="*/ 0 h 139214"/>
                <a:gd name="connsiteX0" fmla="*/ 0 w 61099"/>
                <a:gd name="connsiteY0" fmla="*/ 0 h 139214"/>
                <a:gd name="connsiteX1" fmla="*/ 9124 w 61099"/>
                <a:gd name="connsiteY1" fmla="*/ 10399 h 139214"/>
                <a:gd name="connsiteX2" fmla="*/ 53071 w 61099"/>
                <a:gd name="connsiteY2" fmla="*/ 128159 h 139214"/>
                <a:gd name="connsiteX3" fmla="*/ 5524 w 61099"/>
                <a:gd name="connsiteY3" fmla="*/ 0 h 139214"/>
                <a:gd name="connsiteX4" fmla="*/ 14648 w 61099"/>
                <a:gd name="connsiteY4" fmla="*/ 10399 h 139214"/>
                <a:gd name="connsiteX5" fmla="*/ 58595 w 61099"/>
                <a:gd name="connsiteY5" fmla="*/ 128159 h 139214"/>
                <a:gd name="connsiteX6" fmla="*/ 58602 w 61099"/>
                <a:gd name="connsiteY6" fmla="*/ 128415 h 139214"/>
                <a:gd name="connsiteX7" fmla="*/ 59448 w 61099"/>
                <a:gd name="connsiteY7" fmla="*/ 128415 h 139214"/>
                <a:gd name="connsiteX8" fmla="*/ 60664 w 61099"/>
                <a:gd name="connsiteY8" fmla="*/ 128158 h 139214"/>
                <a:gd name="connsiteX9" fmla="*/ 61048 w 61099"/>
                <a:gd name="connsiteY9" fmla="*/ 139214 h 139214"/>
                <a:gd name="connsiteX10" fmla="*/ 55524 w 61099"/>
                <a:gd name="connsiteY10" fmla="*/ 139214 h 139214"/>
                <a:gd name="connsiteX11" fmla="*/ 5905 w 61099"/>
                <a:gd name="connsiteY11" fmla="*/ 139214 h 139214"/>
                <a:gd name="connsiteX12" fmla="*/ 381 w 61099"/>
                <a:gd name="connsiteY12" fmla="*/ 139214 h 139214"/>
                <a:gd name="connsiteX13" fmla="*/ 381 w 61099"/>
                <a:gd name="connsiteY13" fmla="*/ 128413 h 139214"/>
                <a:gd name="connsiteX14" fmla="*/ 5905 w 61099"/>
                <a:gd name="connsiteY14" fmla="*/ 128413 h 139214"/>
                <a:gd name="connsiteX15" fmla="*/ 5905 w 61099"/>
                <a:gd name="connsiteY15" fmla="*/ 128413 h 139214"/>
                <a:gd name="connsiteX16" fmla="*/ 47923 w 61099"/>
                <a:gd name="connsiteY16" fmla="*/ 128414 h 139214"/>
                <a:gd name="connsiteX17" fmla="*/ 0 w 61099"/>
                <a:gd name="connsiteY17" fmla="*/ 0 h 139214"/>
                <a:gd name="connsiteX0" fmla="*/ 0 w 61099"/>
                <a:gd name="connsiteY0" fmla="*/ 0 h 139214"/>
                <a:gd name="connsiteX1" fmla="*/ 9124 w 61099"/>
                <a:gd name="connsiteY1" fmla="*/ 10399 h 139214"/>
                <a:gd name="connsiteX2" fmla="*/ 5524 w 61099"/>
                <a:gd name="connsiteY2" fmla="*/ 0 h 139214"/>
                <a:gd name="connsiteX3" fmla="*/ 14648 w 61099"/>
                <a:gd name="connsiteY3" fmla="*/ 10399 h 139214"/>
                <a:gd name="connsiteX4" fmla="*/ 58595 w 61099"/>
                <a:gd name="connsiteY4" fmla="*/ 128159 h 139214"/>
                <a:gd name="connsiteX5" fmla="*/ 58602 w 61099"/>
                <a:gd name="connsiteY5" fmla="*/ 128415 h 139214"/>
                <a:gd name="connsiteX6" fmla="*/ 59448 w 61099"/>
                <a:gd name="connsiteY6" fmla="*/ 128415 h 139214"/>
                <a:gd name="connsiteX7" fmla="*/ 60664 w 61099"/>
                <a:gd name="connsiteY7" fmla="*/ 128158 h 139214"/>
                <a:gd name="connsiteX8" fmla="*/ 61048 w 61099"/>
                <a:gd name="connsiteY8" fmla="*/ 139214 h 139214"/>
                <a:gd name="connsiteX9" fmla="*/ 55524 w 61099"/>
                <a:gd name="connsiteY9" fmla="*/ 139214 h 139214"/>
                <a:gd name="connsiteX10" fmla="*/ 5905 w 61099"/>
                <a:gd name="connsiteY10" fmla="*/ 139214 h 139214"/>
                <a:gd name="connsiteX11" fmla="*/ 381 w 61099"/>
                <a:gd name="connsiteY11" fmla="*/ 139214 h 139214"/>
                <a:gd name="connsiteX12" fmla="*/ 381 w 61099"/>
                <a:gd name="connsiteY12" fmla="*/ 128413 h 139214"/>
                <a:gd name="connsiteX13" fmla="*/ 5905 w 61099"/>
                <a:gd name="connsiteY13" fmla="*/ 128413 h 139214"/>
                <a:gd name="connsiteX14" fmla="*/ 5905 w 61099"/>
                <a:gd name="connsiteY14" fmla="*/ 128413 h 139214"/>
                <a:gd name="connsiteX15" fmla="*/ 47923 w 61099"/>
                <a:gd name="connsiteY15" fmla="*/ 128414 h 139214"/>
                <a:gd name="connsiteX16" fmla="*/ 0 w 61099"/>
                <a:gd name="connsiteY16" fmla="*/ 0 h 139214"/>
                <a:gd name="connsiteX0" fmla="*/ 0 w 61099"/>
                <a:gd name="connsiteY0" fmla="*/ 0 h 139214"/>
                <a:gd name="connsiteX1" fmla="*/ 5524 w 61099"/>
                <a:gd name="connsiteY1" fmla="*/ 0 h 139214"/>
                <a:gd name="connsiteX2" fmla="*/ 14648 w 61099"/>
                <a:gd name="connsiteY2" fmla="*/ 10399 h 139214"/>
                <a:gd name="connsiteX3" fmla="*/ 58595 w 61099"/>
                <a:gd name="connsiteY3" fmla="*/ 128159 h 139214"/>
                <a:gd name="connsiteX4" fmla="*/ 58602 w 61099"/>
                <a:gd name="connsiteY4" fmla="*/ 128415 h 139214"/>
                <a:gd name="connsiteX5" fmla="*/ 59448 w 61099"/>
                <a:gd name="connsiteY5" fmla="*/ 128415 h 139214"/>
                <a:gd name="connsiteX6" fmla="*/ 60664 w 61099"/>
                <a:gd name="connsiteY6" fmla="*/ 128158 h 139214"/>
                <a:gd name="connsiteX7" fmla="*/ 61048 w 61099"/>
                <a:gd name="connsiteY7" fmla="*/ 139214 h 139214"/>
                <a:gd name="connsiteX8" fmla="*/ 55524 w 61099"/>
                <a:gd name="connsiteY8" fmla="*/ 139214 h 139214"/>
                <a:gd name="connsiteX9" fmla="*/ 5905 w 61099"/>
                <a:gd name="connsiteY9" fmla="*/ 139214 h 139214"/>
                <a:gd name="connsiteX10" fmla="*/ 381 w 61099"/>
                <a:gd name="connsiteY10" fmla="*/ 139214 h 139214"/>
                <a:gd name="connsiteX11" fmla="*/ 381 w 61099"/>
                <a:gd name="connsiteY11" fmla="*/ 128413 h 139214"/>
                <a:gd name="connsiteX12" fmla="*/ 5905 w 61099"/>
                <a:gd name="connsiteY12" fmla="*/ 128413 h 139214"/>
                <a:gd name="connsiteX13" fmla="*/ 5905 w 61099"/>
                <a:gd name="connsiteY13" fmla="*/ 128413 h 139214"/>
                <a:gd name="connsiteX14" fmla="*/ 47923 w 61099"/>
                <a:gd name="connsiteY14" fmla="*/ 128414 h 139214"/>
                <a:gd name="connsiteX15" fmla="*/ 0 w 61099"/>
                <a:gd name="connsiteY15" fmla="*/ 0 h 139214"/>
                <a:gd name="connsiteX0" fmla="*/ 0 w 61099"/>
                <a:gd name="connsiteY0" fmla="*/ 3632 h 142846"/>
                <a:gd name="connsiteX1" fmla="*/ 8752 w 61099"/>
                <a:gd name="connsiteY1" fmla="*/ 0 h 142846"/>
                <a:gd name="connsiteX2" fmla="*/ 14648 w 61099"/>
                <a:gd name="connsiteY2" fmla="*/ 14031 h 142846"/>
                <a:gd name="connsiteX3" fmla="*/ 58595 w 61099"/>
                <a:gd name="connsiteY3" fmla="*/ 131791 h 142846"/>
                <a:gd name="connsiteX4" fmla="*/ 58602 w 61099"/>
                <a:gd name="connsiteY4" fmla="*/ 132047 h 142846"/>
                <a:gd name="connsiteX5" fmla="*/ 59448 w 61099"/>
                <a:gd name="connsiteY5" fmla="*/ 132047 h 142846"/>
                <a:gd name="connsiteX6" fmla="*/ 60664 w 61099"/>
                <a:gd name="connsiteY6" fmla="*/ 131790 h 142846"/>
                <a:gd name="connsiteX7" fmla="*/ 61048 w 61099"/>
                <a:gd name="connsiteY7" fmla="*/ 142846 h 142846"/>
                <a:gd name="connsiteX8" fmla="*/ 55524 w 61099"/>
                <a:gd name="connsiteY8" fmla="*/ 142846 h 142846"/>
                <a:gd name="connsiteX9" fmla="*/ 5905 w 61099"/>
                <a:gd name="connsiteY9" fmla="*/ 142846 h 142846"/>
                <a:gd name="connsiteX10" fmla="*/ 381 w 61099"/>
                <a:gd name="connsiteY10" fmla="*/ 142846 h 142846"/>
                <a:gd name="connsiteX11" fmla="*/ 381 w 61099"/>
                <a:gd name="connsiteY11" fmla="*/ 132045 h 142846"/>
                <a:gd name="connsiteX12" fmla="*/ 5905 w 61099"/>
                <a:gd name="connsiteY12" fmla="*/ 132045 h 142846"/>
                <a:gd name="connsiteX13" fmla="*/ 5905 w 61099"/>
                <a:gd name="connsiteY13" fmla="*/ 132045 h 142846"/>
                <a:gd name="connsiteX14" fmla="*/ 47923 w 61099"/>
                <a:gd name="connsiteY14" fmla="*/ 132046 h 142846"/>
                <a:gd name="connsiteX15" fmla="*/ 0 w 61099"/>
                <a:gd name="connsiteY15" fmla="*/ 3632 h 142846"/>
                <a:gd name="connsiteX0" fmla="*/ 8496 w 60718"/>
                <a:gd name="connsiteY0" fmla="*/ 24211 h 142846"/>
                <a:gd name="connsiteX1" fmla="*/ 8371 w 60718"/>
                <a:gd name="connsiteY1" fmla="*/ 0 h 142846"/>
                <a:gd name="connsiteX2" fmla="*/ 14267 w 60718"/>
                <a:gd name="connsiteY2" fmla="*/ 14031 h 142846"/>
                <a:gd name="connsiteX3" fmla="*/ 58214 w 60718"/>
                <a:gd name="connsiteY3" fmla="*/ 131791 h 142846"/>
                <a:gd name="connsiteX4" fmla="*/ 58221 w 60718"/>
                <a:gd name="connsiteY4" fmla="*/ 132047 h 142846"/>
                <a:gd name="connsiteX5" fmla="*/ 59067 w 60718"/>
                <a:gd name="connsiteY5" fmla="*/ 132047 h 142846"/>
                <a:gd name="connsiteX6" fmla="*/ 60283 w 60718"/>
                <a:gd name="connsiteY6" fmla="*/ 131790 h 142846"/>
                <a:gd name="connsiteX7" fmla="*/ 60667 w 60718"/>
                <a:gd name="connsiteY7" fmla="*/ 142846 h 142846"/>
                <a:gd name="connsiteX8" fmla="*/ 55143 w 60718"/>
                <a:gd name="connsiteY8" fmla="*/ 142846 h 142846"/>
                <a:gd name="connsiteX9" fmla="*/ 5524 w 60718"/>
                <a:gd name="connsiteY9" fmla="*/ 142846 h 142846"/>
                <a:gd name="connsiteX10" fmla="*/ 0 w 60718"/>
                <a:gd name="connsiteY10" fmla="*/ 142846 h 142846"/>
                <a:gd name="connsiteX11" fmla="*/ 0 w 60718"/>
                <a:gd name="connsiteY11" fmla="*/ 132045 h 142846"/>
                <a:gd name="connsiteX12" fmla="*/ 5524 w 60718"/>
                <a:gd name="connsiteY12" fmla="*/ 132045 h 142846"/>
                <a:gd name="connsiteX13" fmla="*/ 5524 w 60718"/>
                <a:gd name="connsiteY13" fmla="*/ 132045 h 142846"/>
                <a:gd name="connsiteX14" fmla="*/ 47542 w 60718"/>
                <a:gd name="connsiteY14" fmla="*/ 132046 h 142846"/>
                <a:gd name="connsiteX15" fmla="*/ 8496 w 60718"/>
                <a:gd name="connsiteY15" fmla="*/ 24211 h 142846"/>
                <a:gd name="connsiteX0" fmla="*/ 10514 w 60718"/>
                <a:gd name="connsiteY0" fmla="*/ 27439 h 142846"/>
                <a:gd name="connsiteX1" fmla="*/ 8371 w 60718"/>
                <a:gd name="connsiteY1" fmla="*/ 0 h 142846"/>
                <a:gd name="connsiteX2" fmla="*/ 14267 w 60718"/>
                <a:gd name="connsiteY2" fmla="*/ 14031 h 142846"/>
                <a:gd name="connsiteX3" fmla="*/ 58214 w 60718"/>
                <a:gd name="connsiteY3" fmla="*/ 131791 h 142846"/>
                <a:gd name="connsiteX4" fmla="*/ 58221 w 60718"/>
                <a:gd name="connsiteY4" fmla="*/ 132047 h 142846"/>
                <a:gd name="connsiteX5" fmla="*/ 59067 w 60718"/>
                <a:gd name="connsiteY5" fmla="*/ 132047 h 142846"/>
                <a:gd name="connsiteX6" fmla="*/ 60283 w 60718"/>
                <a:gd name="connsiteY6" fmla="*/ 131790 h 142846"/>
                <a:gd name="connsiteX7" fmla="*/ 60667 w 60718"/>
                <a:gd name="connsiteY7" fmla="*/ 142846 h 142846"/>
                <a:gd name="connsiteX8" fmla="*/ 55143 w 60718"/>
                <a:gd name="connsiteY8" fmla="*/ 142846 h 142846"/>
                <a:gd name="connsiteX9" fmla="*/ 5524 w 60718"/>
                <a:gd name="connsiteY9" fmla="*/ 142846 h 142846"/>
                <a:gd name="connsiteX10" fmla="*/ 0 w 60718"/>
                <a:gd name="connsiteY10" fmla="*/ 142846 h 142846"/>
                <a:gd name="connsiteX11" fmla="*/ 0 w 60718"/>
                <a:gd name="connsiteY11" fmla="*/ 132045 h 142846"/>
                <a:gd name="connsiteX12" fmla="*/ 5524 w 60718"/>
                <a:gd name="connsiteY12" fmla="*/ 132045 h 142846"/>
                <a:gd name="connsiteX13" fmla="*/ 5524 w 60718"/>
                <a:gd name="connsiteY13" fmla="*/ 132045 h 142846"/>
                <a:gd name="connsiteX14" fmla="*/ 47542 w 60718"/>
                <a:gd name="connsiteY14" fmla="*/ 132046 h 142846"/>
                <a:gd name="connsiteX15" fmla="*/ 10514 w 60718"/>
                <a:gd name="connsiteY15" fmla="*/ 27439 h 142846"/>
                <a:gd name="connsiteX0" fmla="*/ 10110 w 60718"/>
                <a:gd name="connsiteY0" fmla="*/ 26228 h 142846"/>
                <a:gd name="connsiteX1" fmla="*/ 8371 w 60718"/>
                <a:gd name="connsiteY1" fmla="*/ 0 h 142846"/>
                <a:gd name="connsiteX2" fmla="*/ 14267 w 60718"/>
                <a:gd name="connsiteY2" fmla="*/ 14031 h 142846"/>
                <a:gd name="connsiteX3" fmla="*/ 58214 w 60718"/>
                <a:gd name="connsiteY3" fmla="*/ 131791 h 142846"/>
                <a:gd name="connsiteX4" fmla="*/ 58221 w 60718"/>
                <a:gd name="connsiteY4" fmla="*/ 132047 h 142846"/>
                <a:gd name="connsiteX5" fmla="*/ 59067 w 60718"/>
                <a:gd name="connsiteY5" fmla="*/ 132047 h 142846"/>
                <a:gd name="connsiteX6" fmla="*/ 60283 w 60718"/>
                <a:gd name="connsiteY6" fmla="*/ 131790 h 142846"/>
                <a:gd name="connsiteX7" fmla="*/ 60667 w 60718"/>
                <a:gd name="connsiteY7" fmla="*/ 142846 h 142846"/>
                <a:gd name="connsiteX8" fmla="*/ 55143 w 60718"/>
                <a:gd name="connsiteY8" fmla="*/ 142846 h 142846"/>
                <a:gd name="connsiteX9" fmla="*/ 5524 w 60718"/>
                <a:gd name="connsiteY9" fmla="*/ 142846 h 142846"/>
                <a:gd name="connsiteX10" fmla="*/ 0 w 60718"/>
                <a:gd name="connsiteY10" fmla="*/ 142846 h 142846"/>
                <a:gd name="connsiteX11" fmla="*/ 0 w 60718"/>
                <a:gd name="connsiteY11" fmla="*/ 132045 h 142846"/>
                <a:gd name="connsiteX12" fmla="*/ 5524 w 60718"/>
                <a:gd name="connsiteY12" fmla="*/ 132045 h 142846"/>
                <a:gd name="connsiteX13" fmla="*/ 5524 w 60718"/>
                <a:gd name="connsiteY13" fmla="*/ 132045 h 142846"/>
                <a:gd name="connsiteX14" fmla="*/ 47542 w 60718"/>
                <a:gd name="connsiteY14" fmla="*/ 132046 h 142846"/>
                <a:gd name="connsiteX15" fmla="*/ 10110 w 60718"/>
                <a:gd name="connsiteY15" fmla="*/ 26228 h 142846"/>
                <a:gd name="connsiteX0" fmla="*/ 8899 w 60718"/>
                <a:gd name="connsiteY0" fmla="*/ 24614 h 142846"/>
                <a:gd name="connsiteX1" fmla="*/ 8371 w 60718"/>
                <a:gd name="connsiteY1" fmla="*/ 0 h 142846"/>
                <a:gd name="connsiteX2" fmla="*/ 14267 w 60718"/>
                <a:gd name="connsiteY2" fmla="*/ 14031 h 142846"/>
                <a:gd name="connsiteX3" fmla="*/ 58214 w 60718"/>
                <a:gd name="connsiteY3" fmla="*/ 131791 h 142846"/>
                <a:gd name="connsiteX4" fmla="*/ 58221 w 60718"/>
                <a:gd name="connsiteY4" fmla="*/ 132047 h 142846"/>
                <a:gd name="connsiteX5" fmla="*/ 59067 w 60718"/>
                <a:gd name="connsiteY5" fmla="*/ 132047 h 142846"/>
                <a:gd name="connsiteX6" fmla="*/ 60283 w 60718"/>
                <a:gd name="connsiteY6" fmla="*/ 131790 h 142846"/>
                <a:gd name="connsiteX7" fmla="*/ 60667 w 60718"/>
                <a:gd name="connsiteY7" fmla="*/ 142846 h 142846"/>
                <a:gd name="connsiteX8" fmla="*/ 55143 w 60718"/>
                <a:gd name="connsiteY8" fmla="*/ 142846 h 142846"/>
                <a:gd name="connsiteX9" fmla="*/ 5524 w 60718"/>
                <a:gd name="connsiteY9" fmla="*/ 142846 h 142846"/>
                <a:gd name="connsiteX10" fmla="*/ 0 w 60718"/>
                <a:gd name="connsiteY10" fmla="*/ 142846 h 142846"/>
                <a:gd name="connsiteX11" fmla="*/ 0 w 60718"/>
                <a:gd name="connsiteY11" fmla="*/ 132045 h 142846"/>
                <a:gd name="connsiteX12" fmla="*/ 5524 w 60718"/>
                <a:gd name="connsiteY12" fmla="*/ 132045 h 142846"/>
                <a:gd name="connsiteX13" fmla="*/ 5524 w 60718"/>
                <a:gd name="connsiteY13" fmla="*/ 132045 h 142846"/>
                <a:gd name="connsiteX14" fmla="*/ 47542 w 60718"/>
                <a:gd name="connsiteY14" fmla="*/ 132046 h 142846"/>
                <a:gd name="connsiteX15" fmla="*/ 8899 w 60718"/>
                <a:gd name="connsiteY15" fmla="*/ 24614 h 142846"/>
                <a:gd name="connsiteX0" fmla="*/ 9706 w 60718"/>
                <a:gd name="connsiteY0" fmla="*/ 26632 h 142846"/>
                <a:gd name="connsiteX1" fmla="*/ 8371 w 60718"/>
                <a:gd name="connsiteY1" fmla="*/ 0 h 142846"/>
                <a:gd name="connsiteX2" fmla="*/ 14267 w 60718"/>
                <a:gd name="connsiteY2" fmla="*/ 14031 h 142846"/>
                <a:gd name="connsiteX3" fmla="*/ 58214 w 60718"/>
                <a:gd name="connsiteY3" fmla="*/ 131791 h 142846"/>
                <a:gd name="connsiteX4" fmla="*/ 58221 w 60718"/>
                <a:gd name="connsiteY4" fmla="*/ 132047 h 142846"/>
                <a:gd name="connsiteX5" fmla="*/ 59067 w 60718"/>
                <a:gd name="connsiteY5" fmla="*/ 132047 h 142846"/>
                <a:gd name="connsiteX6" fmla="*/ 60283 w 60718"/>
                <a:gd name="connsiteY6" fmla="*/ 131790 h 142846"/>
                <a:gd name="connsiteX7" fmla="*/ 60667 w 60718"/>
                <a:gd name="connsiteY7" fmla="*/ 142846 h 142846"/>
                <a:gd name="connsiteX8" fmla="*/ 55143 w 60718"/>
                <a:gd name="connsiteY8" fmla="*/ 142846 h 142846"/>
                <a:gd name="connsiteX9" fmla="*/ 5524 w 60718"/>
                <a:gd name="connsiteY9" fmla="*/ 142846 h 142846"/>
                <a:gd name="connsiteX10" fmla="*/ 0 w 60718"/>
                <a:gd name="connsiteY10" fmla="*/ 142846 h 142846"/>
                <a:gd name="connsiteX11" fmla="*/ 0 w 60718"/>
                <a:gd name="connsiteY11" fmla="*/ 132045 h 142846"/>
                <a:gd name="connsiteX12" fmla="*/ 5524 w 60718"/>
                <a:gd name="connsiteY12" fmla="*/ 132045 h 142846"/>
                <a:gd name="connsiteX13" fmla="*/ 5524 w 60718"/>
                <a:gd name="connsiteY13" fmla="*/ 132045 h 142846"/>
                <a:gd name="connsiteX14" fmla="*/ 47542 w 60718"/>
                <a:gd name="connsiteY14" fmla="*/ 132046 h 142846"/>
                <a:gd name="connsiteX15" fmla="*/ 9706 w 60718"/>
                <a:gd name="connsiteY15" fmla="*/ 26632 h 142846"/>
                <a:gd name="connsiteX0" fmla="*/ 9706 w 60718"/>
                <a:gd name="connsiteY0" fmla="*/ 26632 h 142846"/>
                <a:gd name="connsiteX1" fmla="*/ 8371 w 60718"/>
                <a:gd name="connsiteY1" fmla="*/ 0 h 142846"/>
                <a:gd name="connsiteX2" fmla="*/ 58214 w 60718"/>
                <a:gd name="connsiteY2" fmla="*/ 131791 h 142846"/>
                <a:gd name="connsiteX3" fmla="*/ 58221 w 60718"/>
                <a:gd name="connsiteY3" fmla="*/ 132047 h 142846"/>
                <a:gd name="connsiteX4" fmla="*/ 59067 w 60718"/>
                <a:gd name="connsiteY4" fmla="*/ 132047 h 142846"/>
                <a:gd name="connsiteX5" fmla="*/ 60283 w 60718"/>
                <a:gd name="connsiteY5" fmla="*/ 131790 h 142846"/>
                <a:gd name="connsiteX6" fmla="*/ 60667 w 60718"/>
                <a:gd name="connsiteY6" fmla="*/ 142846 h 142846"/>
                <a:gd name="connsiteX7" fmla="*/ 55143 w 60718"/>
                <a:gd name="connsiteY7" fmla="*/ 142846 h 142846"/>
                <a:gd name="connsiteX8" fmla="*/ 5524 w 60718"/>
                <a:gd name="connsiteY8" fmla="*/ 142846 h 142846"/>
                <a:gd name="connsiteX9" fmla="*/ 0 w 60718"/>
                <a:gd name="connsiteY9" fmla="*/ 142846 h 142846"/>
                <a:gd name="connsiteX10" fmla="*/ 0 w 60718"/>
                <a:gd name="connsiteY10" fmla="*/ 132045 h 142846"/>
                <a:gd name="connsiteX11" fmla="*/ 5524 w 60718"/>
                <a:gd name="connsiteY11" fmla="*/ 132045 h 142846"/>
                <a:gd name="connsiteX12" fmla="*/ 5524 w 60718"/>
                <a:gd name="connsiteY12" fmla="*/ 132045 h 142846"/>
                <a:gd name="connsiteX13" fmla="*/ 47542 w 60718"/>
                <a:gd name="connsiteY13" fmla="*/ 132046 h 142846"/>
                <a:gd name="connsiteX14" fmla="*/ 9706 w 60718"/>
                <a:gd name="connsiteY14" fmla="*/ 26632 h 142846"/>
                <a:gd name="connsiteX0" fmla="*/ 9706 w 60805"/>
                <a:gd name="connsiteY0" fmla="*/ 26632 h 142846"/>
                <a:gd name="connsiteX1" fmla="*/ 8371 w 60805"/>
                <a:gd name="connsiteY1" fmla="*/ 0 h 142846"/>
                <a:gd name="connsiteX2" fmla="*/ 58214 w 60805"/>
                <a:gd name="connsiteY2" fmla="*/ 131791 h 142846"/>
                <a:gd name="connsiteX3" fmla="*/ 58221 w 60805"/>
                <a:gd name="connsiteY3" fmla="*/ 132047 h 142846"/>
                <a:gd name="connsiteX4" fmla="*/ 59067 w 60805"/>
                <a:gd name="connsiteY4" fmla="*/ 132047 h 142846"/>
                <a:gd name="connsiteX5" fmla="*/ 60667 w 60805"/>
                <a:gd name="connsiteY5" fmla="*/ 142846 h 142846"/>
                <a:gd name="connsiteX6" fmla="*/ 55143 w 60805"/>
                <a:gd name="connsiteY6" fmla="*/ 142846 h 142846"/>
                <a:gd name="connsiteX7" fmla="*/ 5524 w 60805"/>
                <a:gd name="connsiteY7" fmla="*/ 142846 h 142846"/>
                <a:gd name="connsiteX8" fmla="*/ 0 w 60805"/>
                <a:gd name="connsiteY8" fmla="*/ 142846 h 142846"/>
                <a:gd name="connsiteX9" fmla="*/ 0 w 60805"/>
                <a:gd name="connsiteY9" fmla="*/ 132045 h 142846"/>
                <a:gd name="connsiteX10" fmla="*/ 5524 w 60805"/>
                <a:gd name="connsiteY10" fmla="*/ 132045 h 142846"/>
                <a:gd name="connsiteX11" fmla="*/ 5524 w 60805"/>
                <a:gd name="connsiteY11" fmla="*/ 132045 h 142846"/>
                <a:gd name="connsiteX12" fmla="*/ 47542 w 60805"/>
                <a:gd name="connsiteY12" fmla="*/ 132046 h 142846"/>
                <a:gd name="connsiteX13" fmla="*/ 9706 w 60805"/>
                <a:gd name="connsiteY13" fmla="*/ 26632 h 142846"/>
                <a:gd name="connsiteX0" fmla="*/ 9706 w 61076"/>
                <a:gd name="connsiteY0" fmla="*/ 26632 h 142846"/>
                <a:gd name="connsiteX1" fmla="*/ 8371 w 61076"/>
                <a:gd name="connsiteY1" fmla="*/ 0 h 142846"/>
                <a:gd name="connsiteX2" fmla="*/ 58214 w 61076"/>
                <a:gd name="connsiteY2" fmla="*/ 131791 h 142846"/>
                <a:gd name="connsiteX3" fmla="*/ 58221 w 61076"/>
                <a:gd name="connsiteY3" fmla="*/ 132047 h 142846"/>
                <a:gd name="connsiteX4" fmla="*/ 60681 w 61076"/>
                <a:gd name="connsiteY4" fmla="*/ 132451 h 142846"/>
                <a:gd name="connsiteX5" fmla="*/ 60667 w 61076"/>
                <a:gd name="connsiteY5" fmla="*/ 142846 h 142846"/>
                <a:gd name="connsiteX6" fmla="*/ 55143 w 61076"/>
                <a:gd name="connsiteY6" fmla="*/ 142846 h 142846"/>
                <a:gd name="connsiteX7" fmla="*/ 5524 w 61076"/>
                <a:gd name="connsiteY7" fmla="*/ 142846 h 142846"/>
                <a:gd name="connsiteX8" fmla="*/ 0 w 61076"/>
                <a:gd name="connsiteY8" fmla="*/ 142846 h 142846"/>
                <a:gd name="connsiteX9" fmla="*/ 0 w 61076"/>
                <a:gd name="connsiteY9" fmla="*/ 132045 h 142846"/>
                <a:gd name="connsiteX10" fmla="*/ 5524 w 61076"/>
                <a:gd name="connsiteY10" fmla="*/ 132045 h 142846"/>
                <a:gd name="connsiteX11" fmla="*/ 5524 w 61076"/>
                <a:gd name="connsiteY11" fmla="*/ 132045 h 142846"/>
                <a:gd name="connsiteX12" fmla="*/ 47542 w 61076"/>
                <a:gd name="connsiteY12" fmla="*/ 132046 h 142846"/>
                <a:gd name="connsiteX13" fmla="*/ 9706 w 61076"/>
                <a:gd name="connsiteY13" fmla="*/ 26632 h 142846"/>
                <a:gd name="connsiteX0" fmla="*/ 9706 w 61076"/>
                <a:gd name="connsiteY0" fmla="*/ 26632 h 142846"/>
                <a:gd name="connsiteX1" fmla="*/ 8371 w 61076"/>
                <a:gd name="connsiteY1" fmla="*/ 0 h 142846"/>
                <a:gd name="connsiteX2" fmla="*/ 58214 w 61076"/>
                <a:gd name="connsiteY2" fmla="*/ 131791 h 142846"/>
                <a:gd name="connsiteX3" fmla="*/ 58221 w 61076"/>
                <a:gd name="connsiteY3" fmla="*/ 132047 h 142846"/>
                <a:gd name="connsiteX4" fmla="*/ 60681 w 61076"/>
                <a:gd name="connsiteY4" fmla="*/ 130837 h 142846"/>
                <a:gd name="connsiteX5" fmla="*/ 60667 w 61076"/>
                <a:gd name="connsiteY5" fmla="*/ 142846 h 142846"/>
                <a:gd name="connsiteX6" fmla="*/ 55143 w 61076"/>
                <a:gd name="connsiteY6" fmla="*/ 142846 h 142846"/>
                <a:gd name="connsiteX7" fmla="*/ 5524 w 61076"/>
                <a:gd name="connsiteY7" fmla="*/ 142846 h 142846"/>
                <a:gd name="connsiteX8" fmla="*/ 0 w 61076"/>
                <a:gd name="connsiteY8" fmla="*/ 142846 h 142846"/>
                <a:gd name="connsiteX9" fmla="*/ 0 w 61076"/>
                <a:gd name="connsiteY9" fmla="*/ 132045 h 142846"/>
                <a:gd name="connsiteX10" fmla="*/ 5524 w 61076"/>
                <a:gd name="connsiteY10" fmla="*/ 132045 h 142846"/>
                <a:gd name="connsiteX11" fmla="*/ 5524 w 61076"/>
                <a:gd name="connsiteY11" fmla="*/ 132045 h 142846"/>
                <a:gd name="connsiteX12" fmla="*/ 47542 w 61076"/>
                <a:gd name="connsiteY12" fmla="*/ 132046 h 142846"/>
                <a:gd name="connsiteX13" fmla="*/ 9706 w 61076"/>
                <a:gd name="connsiteY13" fmla="*/ 26632 h 142846"/>
                <a:gd name="connsiteX0" fmla="*/ 9706 w 61076"/>
                <a:gd name="connsiteY0" fmla="*/ 26632 h 142846"/>
                <a:gd name="connsiteX1" fmla="*/ 8371 w 61076"/>
                <a:gd name="connsiteY1" fmla="*/ 0 h 142846"/>
                <a:gd name="connsiteX2" fmla="*/ 58214 w 61076"/>
                <a:gd name="connsiteY2" fmla="*/ 131791 h 142846"/>
                <a:gd name="connsiteX3" fmla="*/ 58221 w 61076"/>
                <a:gd name="connsiteY3" fmla="*/ 132047 h 142846"/>
                <a:gd name="connsiteX4" fmla="*/ 60681 w 61076"/>
                <a:gd name="connsiteY4" fmla="*/ 130837 h 142846"/>
                <a:gd name="connsiteX5" fmla="*/ 60667 w 61076"/>
                <a:gd name="connsiteY5" fmla="*/ 142846 h 142846"/>
                <a:gd name="connsiteX6" fmla="*/ 55143 w 61076"/>
                <a:gd name="connsiteY6" fmla="*/ 142846 h 142846"/>
                <a:gd name="connsiteX7" fmla="*/ 5524 w 61076"/>
                <a:gd name="connsiteY7" fmla="*/ 142846 h 142846"/>
                <a:gd name="connsiteX8" fmla="*/ 0 w 61076"/>
                <a:gd name="connsiteY8" fmla="*/ 142846 h 142846"/>
                <a:gd name="connsiteX9" fmla="*/ 0 w 61076"/>
                <a:gd name="connsiteY9" fmla="*/ 132045 h 142846"/>
                <a:gd name="connsiteX10" fmla="*/ 5524 w 61076"/>
                <a:gd name="connsiteY10" fmla="*/ 132045 h 142846"/>
                <a:gd name="connsiteX11" fmla="*/ 5524 w 61076"/>
                <a:gd name="connsiteY11" fmla="*/ 132045 h 142846"/>
                <a:gd name="connsiteX12" fmla="*/ 47542 w 61076"/>
                <a:gd name="connsiteY12" fmla="*/ 132046 h 142846"/>
                <a:gd name="connsiteX13" fmla="*/ 9706 w 61076"/>
                <a:gd name="connsiteY13" fmla="*/ 26632 h 142846"/>
                <a:gd name="connsiteX0" fmla="*/ 9706 w 61304"/>
                <a:gd name="connsiteY0" fmla="*/ 26632 h 142846"/>
                <a:gd name="connsiteX1" fmla="*/ 8371 w 61304"/>
                <a:gd name="connsiteY1" fmla="*/ 0 h 142846"/>
                <a:gd name="connsiteX2" fmla="*/ 58214 w 61304"/>
                <a:gd name="connsiteY2" fmla="*/ 131791 h 142846"/>
                <a:gd name="connsiteX3" fmla="*/ 58221 w 61304"/>
                <a:gd name="connsiteY3" fmla="*/ 132047 h 142846"/>
                <a:gd name="connsiteX4" fmla="*/ 61084 w 61304"/>
                <a:gd name="connsiteY4" fmla="*/ 132047 h 142846"/>
                <a:gd name="connsiteX5" fmla="*/ 60667 w 61304"/>
                <a:gd name="connsiteY5" fmla="*/ 142846 h 142846"/>
                <a:gd name="connsiteX6" fmla="*/ 55143 w 61304"/>
                <a:gd name="connsiteY6" fmla="*/ 142846 h 142846"/>
                <a:gd name="connsiteX7" fmla="*/ 5524 w 61304"/>
                <a:gd name="connsiteY7" fmla="*/ 142846 h 142846"/>
                <a:gd name="connsiteX8" fmla="*/ 0 w 61304"/>
                <a:gd name="connsiteY8" fmla="*/ 142846 h 142846"/>
                <a:gd name="connsiteX9" fmla="*/ 0 w 61304"/>
                <a:gd name="connsiteY9" fmla="*/ 132045 h 142846"/>
                <a:gd name="connsiteX10" fmla="*/ 5524 w 61304"/>
                <a:gd name="connsiteY10" fmla="*/ 132045 h 142846"/>
                <a:gd name="connsiteX11" fmla="*/ 5524 w 61304"/>
                <a:gd name="connsiteY11" fmla="*/ 132045 h 142846"/>
                <a:gd name="connsiteX12" fmla="*/ 47542 w 61304"/>
                <a:gd name="connsiteY12" fmla="*/ 132046 h 142846"/>
                <a:gd name="connsiteX13" fmla="*/ 9706 w 61304"/>
                <a:gd name="connsiteY13" fmla="*/ 26632 h 142846"/>
                <a:gd name="connsiteX0" fmla="*/ 9706 w 61075"/>
                <a:gd name="connsiteY0" fmla="*/ 26632 h 142846"/>
                <a:gd name="connsiteX1" fmla="*/ 8371 w 61075"/>
                <a:gd name="connsiteY1" fmla="*/ 0 h 142846"/>
                <a:gd name="connsiteX2" fmla="*/ 58214 w 61075"/>
                <a:gd name="connsiteY2" fmla="*/ 131791 h 142846"/>
                <a:gd name="connsiteX3" fmla="*/ 58221 w 61075"/>
                <a:gd name="connsiteY3" fmla="*/ 132047 h 142846"/>
                <a:gd name="connsiteX4" fmla="*/ 60680 w 61075"/>
                <a:gd name="connsiteY4" fmla="*/ 132047 h 142846"/>
                <a:gd name="connsiteX5" fmla="*/ 60667 w 61075"/>
                <a:gd name="connsiteY5" fmla="*/ 142846 h 142846"/>
                <a:gd name="connsiteX6" fmla="*/ 55143 w 61075"/>
                <a:gd name="connsiteY6" fmla="*/ 142846 h 142846"/>
                <a:gd name="connsiteX7" fmla="*/ 5524 w 61075"/>
                <a:gd name="connsiteY7" fmla="*/ 142846 h 142846"/>
                <a:gd name="connsiteX8" fmla="*/ 0 w 61075"/>
                <a:gd name="connsiteY8" fmla="*/ 142846 h 142846"/>
                <a:gd name="connsiteX9" fmla="*/ 0 w 61075"/>
                <a:gd name="connsiteY9" fmla="*/ 132045 h 142846"/>
                <a:gd name="connsiteX10" fmla="*/ 5524 w 61075"/>
                <a:gd name="connsiteY10" fmla="*/ 132045 h 142846"/>
                <a:gd name="connsiteX11" fmla="*/ 5524 w 61075"/>
                <a:gd name="connsiteY11" fmla="*/ 132045 h 142846"/>
                <a:gd name="connsiteX12" fmla="*/ 47542 w 61075"/>
                <a:gd name="connsiteY12" fmla="*/ 132046 h 142846"/>
                <a:gd name="connsiteX13" fmla="*/ 9706 w 61075"/>
                <a:gd name="connsiteY13" fmla="*/ 26632 h 14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075" h="142846">
                  <a:moveTo>
                    <a:pt x="9706" y="26632"/>
                  </a:moveTo>
                  <a:cubicBezTo>
                    <a:pt x="9664" y="18562"/>
                    <a:pt x="8413" y="8070"/>
                    <a:pt x="8371" y="0"/>
                  </a:cubicBezTo>
                  <a:lnTo>
                    <a:pt x="58214" y="131791"/>
                  </a:lnTo>
                  <a:cubicBezTo>
                    <a:pt x="58216" y="131876"/>
                    <a:pt x="58219" y="131962"/>
                    <a:pt x="58221" y="132047"/>
                  </a:cubicBezTo>
                  <a:lnTo>
                    <a:pt x="60680" y="132047"/>
                  </a:lnTo>
                  <a:cubicBezTo>
                    <a:pt x="61088" y="133847"/>
                    <a:pt x="61321" y="141046"/>
                    <a:pt x="60667" y="142846"/>
                  </a:cubicBezTo>
                  <a:lnTo>
                    <a:pt x="55143" y="142846"/>
                  </a:lnTo>
                  <a:lnTo>
                    <a:pt x="5524" y="142846"/>
                  </a:lnTo>
                  <a:lnTo>
                    <a:pt x="0" y="142846"/>
                  </a:lnTo>
                  <a:lnTo>
                    <a:pt x="0" y="132045"/>
                  </a:lnTo>
                  <a:lnTo>
                    <a:pt x="5524" y="132045"/>
                  </a:lnTo>
                  <a:lnTo>
                    <a:pt x="5524" y="132045"/>
                  </a:lnTo>
                  <a:lnTo>
                    <a:pt x="47542" y="132046"/>
                  </a:lnTo>
                  <a:lnTo>
                    <a:pt x="9706" y="26632"/>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38" name="Rounded Rectangle 737"/>
            <p:cNvSpPr/>
            <p:nvPr/>
          </p:nvSpPr>
          <p:spPr bwMode="gray">
            <a:xfrm>
              <a:off x="7238446" y="4058683"/>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39" name="Rounded Rectangle 738"/>
            <p:cNvSpPr/>
            <p:nvPr/>
          </p:nvSpPr>
          <p:spPr bwMode="gray">
            <a:xfrm>
              <a:off x="7238446" y="4170610"/>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40" name="Rounded Rectangle 739"/>
            <p:cNvSpPr/>
            <p:nvPr/>
          </p:nvSpPr>
          <p:spPr bwMode="gray">
            <a:xfrm>
              <a:off x="7238446" y="4282536"/>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41" name="Rounded Rectangle 740"/>
            <p:cNvSpPr/>
            <p:nvPr/>
          </p:nvSpPr>
          <p:spPr bwMode="gray">
            <a:xfrm>
              <a:off x="7238446" y="4394462"/>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42" name="Rounded Rectangle 741"/>
            <p:cNvSpPr/>
            <p:nvPr/>
          </p:nvSpPr>
          <p:spPr bwMode="gray">
            <a:xfrm>
              <a:off x="7238446" y="4842168"/>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43" name="Rounded Rectangle 742"/>
            <p:cNvSpPr/>
            <p:nvPr/>
          </p:nvSpPr>
          <p:spPr bwMode="gray">
            <a:xfrm>
              <a:off x="7238446" y="4730240"/>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44" name="Rounded Rectangle 743"/>
            <p:cNvSpPr/>
            <p:nvPr/>
          </p:nvSpPr>
          <p:spPr bwMode="gray">
            <a:xfrm>
              <a:off x="7238446" y="4618314"/>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45" name="Rounded Rectangle 744"/>
            <p:cNvSpPr/>
            <p:nvPr/>
          </p:nvSpPr>
          <p:spPr bwMode="gray">
            <a:xfrm>
              <a:off x="7238446" y="4506388"/>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46" name="Rounded Rectangle 745"/>
            <p:cNvSpPr/>
            <p:nvPr/>
          </p:nvSpPr>
          <p:spPr bwMode="gray">
            <a:xfrm>
              <a:off x="7238446" y="3946756"/>
              <a:ext cx="1152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47" name="Rounded Rectangle 746"/>
            <p:cNvSpPr/>
            <p:nvPr/>
          </p:nvSpPr>
          <p:spPr bwMode="gray">
            <a:xfrm rot="16200000">
              <a:off x="6687819" y="4511487"/>
              <a:ext cx="1116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48" name="Rounded Rectangle 747"/>
            <p:cNvSpPr/>
            <p:nvPr/>
          </p:nvSpPr>
          <p:spPr bwMode="gray">
            <a:xfrm rot="16200000">
              <a:off x="6788421" y="4511487"/>
              <a:ext cx="1116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49" name="Rounded Rectangle 748"/>
            <p:cNvSpPr/>
            <p:nvPr/>
          </p:nvSpPr>
          <p:spPr bwMode="gray">
            <a:xfrm rot="16200000">
              <a:off x="6738120" y="4511487"/>
              <a:ext cx="1116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50" name="Rounded Rectangle 749"/>
            <p:cNvSpPr/>
            <p:nvPr/>
          </p:nvSpPr>
          <p:spPr bwMode="gray">
            <a:xfrm>
              <a:off x="7238446" y="5065653"/>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51" name="Rounded Rectangle 750"/>
            <p:cNvSpPr/>
            <p:nvPr/>
          </p:nvSpPr>
          <p:spPr bwMode="gray">
            <a:xfrm>
              <a:off x="7238446" y="4953725"/>
              <a:ext cx="108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52" name="Rounded Rectangle 751"/>
            <p:cNvSpPr/>
            <p:nvPr/>
          </p:nvSpPr>
          <p:spPr bwMode="gray">
            <a:xfrm>
              <a:off x="7083819" y="3925436"/>
              <a:ext cx="324000" cy="180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53" name="Rounded Rectangle 752"/>
            <p:cNvSpPr/>
            <p:nvPr/>
          </p:nvSpPr>
          <p:spPr bwMode="gray">
            <a:xfrm>
              <a:off x="7083819" y="3835204"/>
              <a:ext cx="324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54" name="Rounded Rectangle 753"/>
            <p:cNvSpPr/>
            <p:nvPr/>
          </p:nvSpPr>
          <p:spPr bwMode="gray">
            <a:xfrm>
              <a:off x="7083819" y="3766495"/>
              <a:ext cx="324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55" name="Rounded Rectangle 754"/>
            <p:cNvSpPr/>
            <p:nvPr/>
          </p:nvSpPr>
          <p:spPr bwMode="gray">
            <a:xfrm rot="16200000">
              <a:off x="7012284" y="3842095"/>
              <a:ext cx="16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56" name="Rounded Rectangle 755"/>
            <p:cNvSpPr/>
            <p:nvPr/>
          </p:nvSpPr>
          <p:spPr bwMode="gray">
            <a:xfrm rot="16200000">
              <a:off x="7321419" y="3842095"/>
              <a:ext cx="16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57" name="Rounded Rectangle 756"/>
            <p:cNvSpPr/>
            <p:nvPr/>
          </p:nvSpPr>
          <p:spPr bwMode="gray">
            <a:xfrm rot="16200000">
              <a:off x="7098858" y="3842095"/>
              <a:ext cx="16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58" name="Rounded Rectangle 757"/>
            <p:cNvSpPr/>
            <p:nvPr/>
          </p:nvSpPr>
          <p:spPr bwMode="gray">
            <a:xfrm rot="16200000">
              <a:off x="7055571" y="3842095"/>
              <a:ext cx="16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59" name="Rounded Rectangle 758"/>
            <p:cNvSpPr/>
            <p:nvPr/>
          </p:nvSpPr>
          <p:spPr bwMode="gray">
            <a:xfrm rot="16200000">
              <a:off x="7142144" y="3842095"/>
              <a:ext cx="162000" cy="10800"/>
            </a:xfrm>
            <a:prstGeom prst="round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60" name="Rectangle 26"/>
            <p:cNvSpPr/>
            <p:nvPr/>
          </p:nvSpPr>
          <p:spPr bwMode="gray">
            <a:xfrm>
              <a:off x="7235353" y="3942954"/>
              <a:ext cx="186397" cy="37273"/>
            </a:xfrm>
            <a:custGeom>
              <a:avLst/>
              <a:gdLst/>
              <a:ahLst/>
              <a:cxnLst/>
              <a:rect l="l" t="t" r="r" b="b"/>
              <a:pathLst>
                <a:path w="186397" h="37273">
                  <a:moveTo>
                    <a:pt x="0" y="0"/>
                  </a:moveTo>
                  <a:lnTo>
                    <a:pt x="35729" y="3415"/>
                  </a:lnTo>
                  <a:lnTo>
                    <a:pt x="186397" y="37273"/>
                  </a:lnTo>
                  <a:lnTo>
                    <a:pt x="165865" y="37273"/>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61" name="U-Turn Arrow 191"/>
            <p:cNvSpPr/>
            <p:nvPr/>
          </p:nvSpPr>
          <p:spPr bwMode="gray">
            <a:xfrm flipH="1">
              <a:off x="7633475" y="2753361"/>
              <a:ext cx="100744" cy="2702488"/>
            </a:xfrm>
            <a:custGeom>
              <a:avLst/>
              <a:gdLst/>
              <a:ahLst/>
              <a:cxnLst/>
              <a:rect l="l" t="t" r="r" b="b"/>
              <a:pathLst>
                <a:path w="100744" h="2702488">
                  <a:moveTo>
                    <a:pt x="50519" y="0"/>
                  </a:moveTo>
                  <a:cubicBezTo>
                    <a:pt x="22618" y="0"/>
                    <a:pt x="0" y="22618"/>
                    <a:pt x="0" y="50519"/>
                  </a:cubicBezTo>
                  <a:lnTo>
                    <a:pt x="0" y="2702488"/>
                  </a:lnTo>
                  <a:lnTo>
                    <a:pt x="28868" y="2702488"/>
                  </a:lnTo>
                  <a:lnTo>
                    <a:pt x="28868" y="50519"/>
                  </a:lnTo>
                  <a:cubicBezTo>
                    <a:pt x="28868" y="38561"/>
                    <a:pt x="38561" y="28868"/>
                    <a:pt x="50519" y="28868"/>
                  </a:cubicBezTo>
                  <a:cubicBezTo>
                    <a:pt x="61974" y="28868"/>
                    <a:pt x="71351" y="37763"/>
                    <a:pt x="71566" y="49060"/>
                  </a:cubicBezTo>
                  <a:lnTo>
                    <a:pt x="100744" y="49060"/>
                  </a:lnTo>
                  <a:cubicBezTo>
                    <a:pt x="100241" y="21830"/>
                    <a:pt x="77930" y="0"/>
                    <a:pt x="50519" y="0"/>
                  </a:cubicBez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795" name="Group 794"/>
          <p:cNvGrpSpPr/>
          <p:nvPr/>
        </p:nvGrpSpPr>
        <p:grpSpPr bwMode="gray">
          <a:xfrm>
            <a:off x="9872410" y="5241033"/>
            <a:ext cx="770989" cy="372981"/>
            <a:chOff x="-2235082" y="4510420"/>
            <a:chExt cx="972000" cy="470224"/>
          </a:xfrm>
          <a:solidFill>
            <a:schemeClr val="bg1"/>
          </a:solidFill>
        </p:grpSpPr>
        <p:sp>
          <p:nvSpPr>
            <p:cNvPr id="796" name="Rectangle 795"/>
            <p:cNvSpPr/>
            <p:nvPr/>
          </p:nvSpPr>
          <p:spPr bwMode="gray">
            <a:xfrm>
              <a:off x="-2219594" y="4712315"/>
              <a:ext cx="941024" cy="266709"/>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97" name="Rectangle 796"/>
            <p:cNvSpPr/>
            <p:nvPr/>
          </p:nvSpPr>
          <p:spPr bwMode="gray">
            <a:xfrm>
              <a:off x="-2235082" y="4694417"/>
              <a:ext cx="972000" cy="180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98" name="Rectangle 797"/>
            <p:cNvSpPr/>
            <p:nvPr/>
          </p:nvSpPr>
          <p:spPr bwMode="gray">
            <a:xfrm>
              <a:off x="-1975885" y="4767191"/>
              <a:ext cx="129637" cy="213453"/>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99" name="Oval 798"/>
            <p:cNvSpPr/>
            <p:nvPr/>
          </p:nvSpPr>
          <p:spPr bwMode="gray">
            <a:xfrm rot="2377436">
              <a:off x="-1448719" y="4571715"/>
              <a:ext cx="139611" cy="55739"/>
            </a:xfrm>
            <a:prstGeom prst="ellips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800" name="Group 799"/>
            <p:cNvGrpSpPr/>
            <p:nvPr/>
          </p:nvGrpSpPr>
          <p:grpSpPr bwMode="gray">
            <a:xfrm>
              <a:off x="-1752872" y="4767192"/>
              <a:ext cx="129637" cy="95956"/>
              <a:chOff x="-1752872" y="4767192"/>
              <a:chExt cx="129637" cy="95956"/>
            </a:xfrm>
            <a:grpFill/>
          </p:grpSpPr>
          <p:sp>
            <p:nvSpPr>
              <p:cNvPr id="810" name="Rectangle 809"/>
              <p:cNvSpPr/>
              <p:nvPr/>
            </p:nvSpPr>
            <p:spPr bwMode="gray">
              <a:xfrm>
                <a:off x="-1752872" y="4767192"/>
                <a:ext cx="129637" cy="9595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811" name="Straight Connector 810"/>
              <p:cNvCxnSpPr/>
              <p:nvPr/>
            </p:nvCxnSpPr>
            <p:spPr bwMode="gray">
              <a:xfrm>
                <a:off x="-1666448" y="4767192"/>
                <a:ext cx="0" cy="95956"/>
              </a:xfrm>
              <a:prstGeom prst="lin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812" name="Straight Connector 811"/>
              <p:cNvCxnSpPr/>
              <p:nvPr/>
            </p:nvCxnSpPr>
            <p:spPr bwMode="gray">
              <a:xfrm>
                <a:off x="-1709660" y="4767192"/>
                <a:ext cx="0" cy="95956"/>
              </a:xfrm>
              <a:prstGeom prst="lin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801" name="Group 800"/>
            <p:cNvGrpSpPr/>
            <p:nvPr/>
          </p:nvGrpSpPr>
          <p:grpSpPr bwMode="gray">
            <a:xfrm>
              <a:off x="-1536848" y="4767192"/>
              <a:ext cx="129637" cy="95956"/>
              <a:chOff x="-1752872" y="4767192"/>
              <a:chExt cx="129637" cy="95956"/>
            </a:xfrm>
            <a:grpFill/>
          </p:grpSpPr>
          <p:sp>
            <p:nvSpPr>
              <p:cNvPr id="807" name="Rectangle 806"/>
              <p:cNvSpPr/>
              <p:nvPr/>
            </p:nvSpPr>
            <p:spPr bwMode="gray">
              <a:xfrm>
                <a:off x="-1752872" y="4767192"/>
                <a:ext cx="129637" cy="95956"/>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808" name="Straight Connector 807"/>
              <p:cNvCxnSpPr/>
              <p:nvPr/>
            </p:nvCxnSpPr>
            <p:spPr bwMode="gray">
              <a:xfrm>
                <a:off x="-1666448" y="4767192"/>
                <a:ext cx="0" cy="95956"/>
              </a:xfrm>
              <a:prstGeom prst="lin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809" name="Straight Connector 808"/>
              <p:cNvCxnSpPr/>
              <p:nvPr/>
            </p:nvCxnSpPr>
            <p:spPr bwMode="gray">
              <a:xfrm>
                <a:off x="-1709660" y="4767192"/>
                <a:ext cx="0" cy="95956"/>
              </a:xfrm>
              <a:prstGeom prst="lin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802" name="Straight Connector 801"/>
            <p:cNvCxnSpPr>
              <a:stCxn id="799" idx="2"/>
              <a:endCxn id="805" idx="2"/>
            </p:cNvCxnSpPr>
            <p:nvPr/>
          </p:nvCxnSpPr>
          <p:spPr bwMode="gray">
            <a:xfrm flipV="1">
              <a:off x="-1432681" y="4523238"/>
              <a:ext cx="115152" cy="31829"/>
            </a:xfrm>
            <a:prstGeom prst="lin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803" name="Straight Connector 802"/>
            <p:cNvCxnSpPr>
              <a:stCxn id="805" idx="2"/>
              <a:endCxn id="799" idx="4"/>
            </p:cNvCxnSpPr>
            <p:nvPr/>
          </p:nvCxnSpPr>
          <p:spPr bwMode="gray">
            <a:xfrm flipH="1">
              <a:off x="-1396687" y="4523238"/>
              <a:ext cx="79158" cy="97813"/>
            </a:xfrm>
            <a:prstGeom prst="lin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cxnSp>
          <p:nvCxnSpPr>
            <p:cNvPr id="804" name="Straight Connector 803"/>
            <p:cNvCxnSpPr>
              <a:stCxn id="805" idx="2"/>
              <a:endCxn id="799" idx="7"/>
            </p:cNvCxnSpPr>
            <p:nvPr/>
          </p:nvCxnSpPr>
          <p:spPr bwMode="gray">
            <a:xfrm flipH="1">
              <a:off x="-1328327" y="4523238"/>
              <a:ext cx="10798" cy="92646"/>
            </a:xfrm>
            <a:prstGeom prst="line">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cxnSp>
        <p:sp>
          <p:nvSpPr>
            <p:cNvPr id="805" name="Rectangle 804"/>
            <p:cNvSpPr/>
            <p:nvPr/>
          </p:nvSpPr>
          <p:spPr bwMode="gray">
            <a:xfrm rot="2700000">
              <a:off x="-1322711" y="4514020"/>
              <a:ext cx="18000" cy="10800"/>
            </a:xfrm>
            <a:prstGeom prst="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06" name="Round Same Side Corner Rectangle 805"/>
            <p:cNvSpPr/>
            <p:nvPr/>
          </p:nvSpPr>
          <p:spPr bwMode="gray">
            <a:xfrm>
              <a:off x="-1397029" y="4625482"/>
              <a:ext cx="10800" cy="67859"/>
            </a:xfrm>
            <a:prstGeom prst="round2SameRect">
              <a:avLst/>
            </a:pr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813" name="Group 812"/>
          <p:cNvGrpSpPr/>
          <p:nvPr/>
        </p:nvGrpSpPr>
        <p:grpSpPr bwMode="gray">
          <a:xfrm>
            <a:off x="10771673" y="5035372"/>
            <a:ext cx="756714" cy="535361"/>
            <a:chOff x="10771673" y="4903226"/>
            <a:chExt cx="835792" cy="591307"/>
          </a:xfrm>
          <a:solidFill>
            <a:schemeClr val="bg1"/>
          </a:solidFill>
        </p:grpSpPr>
        <p:grpSp>
          <p:nvGrpSpPr>
            <p:cNvPr id="814" name="Group 813"/>
            <p:cNvGrpSpPr/>
            <p:nvPr/>
          </p:nvGrpSpPr>
          <p:grpSpPr bwMode="gray">
            <a:xfrm>
              <a:off x="11256767" y="4964565"/>
              <a:ext cx="350698" cy="529967"/>
              <a:chOff x="-1744995" y="1629965"/>
              <a:chExt cx="1359751" cy="2054823"/>
            </a:xfrm>
            <a:grpFill/>
          </p:grpSpPr>
          <p:sp>
            <p:nvSpPr>
              <p:cNvPr id="821" name="Cloud 1179"/>
              <p:cNvSpPr/>
              <p:nvPr/>
            </p:nvSpPr>
            <p:spPr bwMode="gray">
              <a:xfrm rot="11964891">
                <a:off x="-1744995" y="1629965"/>
                <a:ext cx="1359751" cy="1170703"/>
              </a:xfrm>
              <a:custGeom>
                <a:avLst/>
                <a:gdLst/>
                <a:ahLst/>
                <a:cxnLst/>
                <a:rect l="l" t="t" r="r" b="b"/>
                <a:pathLst>
                  <a:path w="1528032" h="977696">
                    <a:moveTo>
                      <a:pt x="1200568" y="732"/>
                    </a:moveTo>
                    <a:cubicBezTo>
                      <a:pt x="1218647" y="2066"/>
                      <a:pt x="1236689" y="5916"/>
                      <a:pt x="1254016" y="12419"/>
                    </a:cubicBezTo>
                    <a:cubicBezTo>
                      <a:pt x="1284671" y="23922"/>
                      <a:pt x="1310291" y="42727"/>
                      <a:pt x="1327535" y="66765"/>
                    </a:cubicBezTo>
                    <a:cubicBezTo>
                      <a:pt x="1365022" y="81912"/>
                      <a:pt x="1396218" y="110586"/>
                      <a:pt x="1413703" y="148559"/>
                    </a:cubicBezTo>
                    <a:cubicBezTo>
                      <a:pt x="1446747" y="167553"/>
                      <a:pt x="1471529" y="196342"/>
                      <a:pt x="1484299" y="230222"/>
                    </a:cubicBezTo>
                    <a:cubicBezTo>
                      <a:pt x="1492823" y="252808"/>
                      <a:pt x="1495573" y="276549"/>
                      <a:pt x="1490783" y="299582"/>
                    </a:cubicBezTo>
                    <a:cubicBezTo>
                      <a:pt x="1515175" y="329377"/>
                      <a:pt x="1528032" y="368445"/>
                      <a:pt x="1528032" y="410731"/>
                    </a:cubicBezTo>
                    <a:lnTo>
                      <a:pt x="1523450" y="435043"/>
                    </a:lnTo>
                    <a:cubicBezTo>
                      <a:pt x="1530224" y="464242"/>
                      <a:pt x="1529366" y="494745"/>
                      <a:pt x="1520825" y="524395"/>
                    </a:cubicBezTo>
                    <a:cubicBezTo>
                      <a:pt x="1506698" y="573436"/>
                      <a:pt x="1473089" y="615128"/>
                      <a:pt x="1426664" y="641457"/>
                    </a:cubicBezTo>
                    <a:cubicBezTo>
                      <a:pt x="1411001" y="712588"/>
                      <a:pt x="1355617" y="766384"/>
                      <a:pt x="1287012" y="777650"/>
                    </a:cubicBezTo>
                    <a:cubicBezTo>
                      <a:pt x="1277597" y="791145"/>
                      <a:pt x="1265514" y="803047"/>
                      <a:pt x="1251614" y="813478"/>
                    </a:cubicBezTo>
                    <a:cubicBezTo>
                      <a:pt x="1200172" y="852086"/>
                      <a:pt x="1131379" y="865161"/>
                      <a:pt x="1068086" y="850881"/>
                    </a:cubicBezTo>
                    <a:cubicBezTo>
                      <a:pt x="1045737" y="863519"/>
                      <a:pt x="1020157" y="869956"/>
                      <a:pt x="993173" y="869956"/>
                    </a:cubicBezTo>
                    <a:lnTo>
                      <a:pt x="989317" y="869540"/>
                    </a:lnTo>
                    <a:cubicBezTo>
                      <a:pt x="958319" y="920808"/>
                      <a:pt x="903131" y="958155"/>
                      <a:pt x="837325" y="971943"/>
                    </a:cubicBezTo>
                    <a:cubicBezTo>
                      <a:pt x="740281" y="992274"/>
                      <a:pt x="639001" y="957644"/>
                      <a:pt x="583505" y="885133"/>
                    </a:cubicBezTo>
                    <a:lnTo>
                      <a:pt x="583236" y="885162"/>
                    </a:lnTo>
                    <a:cubicBezTo>
                      <a:pt x="452288" y="953897"/>
                      <a:pt x="282297" y="915172"/>
                      <a:pt x="206317" y="799249"/>
                    </a:cubicBezTo>
                    <a:cubicBezTo>
                      <a:pt x="131640" y="806872"/>
                      <a:pt x="61521" y="766493"/>
                      <a:pt x="40502" y="703740"/>
                    </a:cubicBezTo>
                    <a:cubicBezTo>
                      <a:pt x="25277" y="658338"/>
                      <a:pt x="38736" y="609339"/>
                      <a:pt x="75933" y="574819"/>
                    </a:cubicBezTo>
                    <a:cubicBezTo>
                      <a:pt x="23158" y="547740"/>
                      <a:pt x="-6233" y="495778"/>
                      <a:pt x="1115" y="442549"/>
                    </a:cubicBezTo>
                    <a:cubicBezTo>
                      <a:pt x="9464" y="382184"/>
                      <a:pt x="62950" y="334488"/>
                      <a:pt x="131192" y="326593"/>
                    </a:cubicBezTo>
                    <a:lnTo>
                      <a:pt x="138848" y="314428"/>
                    </a:lnTo>
                    <a:cubicBezTo>
                      <a:pt x="131313" y="255586"/>
                      <a:pt x="153736" y="196796"/>
                      <a:pt x="199923" y="153059"/>
                    </a:cubicBezTo>
                    <a:cubicBezTo>
                      <a:pt x="275942" y="81099"/>
                      <a:pt x="399191" y="65060"/>
                      <a:pt x="496016" y="114489"/>
                    </a:cubicBezTo>
                    <a:cubicBezTo>
                      <a:pt x="551025" y="24093"/>
                      <a:pt x="684477" y="454"/>
                      <a:pt x="774415" y="60867"/>
                    </a:cubicBezTo>
                    <a:cubicBezTo>
                      <a:pt x="780595" y="59181"/>
                      <a:pt x="786985" y="58811"/>
                      <a:pt x="793455" y="58811"/>
                    </a:cubicBezTo>
                    <a:lnTo>
                      <a:pt x="805429" y="60104"/>
                    </a:lnTo>
                    <a:cubicBezTo>
                      <a:pt x="828785" y="28032"/>
                      <a:pt x="867299" y="6715"/>
                      <a:pt x="910871" y="1335"/>
                    </a:cubicBezTo>
                    <a:cubicBezTo>
                      <a:pt x="952869" y="-3859"/>
                      <a:pt x="994827" y="6295"/>
                      <a:pt x="1027290" y="28632"/>
                    </a:cubicBezTo>
                    <a:cubicBezTo>
                      <a:pt x="1032560" y="27149"/>
                      <a:pt x="1037991" y="26883"/>
                      <a:pt x="1043481" y="26883"/>
                    </a:cubicBezTo>
                    <a:cubicBezTo>
                      <a:pt x="1056629" y="26883"/>
                      <a:pt x="1069444" y="28411"/>
                      <a:pt x="1081723" y="31551"/>
                    </a:cubicBezTo>
                    <a:cubicBezTo>
                      <a:pt x="1115514" y="8324"/>
                      <a:pt x="1158144" y="-2399"/>
                      <a:pt x="1200568" y="732"/>
                    </a:cubicBez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22" name="Freeform 821"/>
              <p:cNvSpPr/>
              <p:nvPr/>
            </p:nvSpPr>
            <p:spPr bwMode="gray">
              <a:xfrm>
                <a:off x="-1534157" y="2128455"/>
                <a:ext cx="773008" cy="1556333"/>
              </a:xfrm>
              <a:custGeom>
                <a:avLst/>
                <a:gdLst>
                  <a:gd name="connsiteX0" fmla="*/ 457200 w 906780"/>
                  <a:gd name="connsiteY0" fmla="*/ 1546860 h 1546860"/>
                  <a:gd name="connsiteX1" fmla="*/ 541020 w 906780"/>
                  <a:gd name="connsiteY1" fmla="*/ 115062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620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784860 w 906780"/>
                  <a:gd name="connsiteY28" fmla="*/ 670560 h 1546860"/>
                  <a:gd name="connsiteX29" fmla="*/ 746760 w 906780"/>
                  <a:gd name="connsiteY29" fmla="*/ 662940 h 1546860"/>
                  <a:gd name="connsiteX30" fmla="*/ 632460 w 906780"/>
                  <a:gd name="connsiteY30" fmla="*/ 845820 h 1546860"/>
                  <a:gd name="connsiteX31" fmla="*/ 640080 w 906780"/>
                  <a:gd name="connsiteY31" fmla="*/ 1188720 h 1546860"/>
                  <a:gd name="connsiteX32" fmla="*/ 640080 w 906780"/>
                  <a:gd name="connsiteY32" fmla="*/ 1546860 h 1546860"/>
                  <a:gd name="connsiteX33" fmla="*/ 457200 w 906780"/>
                  <a:gd name="connsiteY33" fmla="*/ 1546860 h 1546860"/>
                  <a:gd name="connsiteX0" fmla="*/ 457200 w 906780"/>
                  <a:gd name="connsiteY0" fmla="*/ 1546860 h 1546860"/>
                  <a:gd name="connsiteX1" fmla="*/ 515620 w 906780"/>
                  <a:gd name="connsiteY1" fmla="*/ 114554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620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784860 w 906780"/>
                  <a:gd name="connsiteY28" fmla="*/ 670560 h 1546860"/>
                  <a:gd name="connsiteX29" fmla="*/ 746760 w 906780"/>
                  <a:gd name="connsiteY29" fmla="*/ 662940 h 1546860"/>
                  <a:gd name="connsiteX30" fmla="*/ 632460 w 906780"/>
                  <a:gd name="connsiteY30" fmla="*/ 845820 h 1546860"/>
                  <a:gd name="connsiteX31" fmla="*/ 640080 w 906780"/>
                  <a:gd name="connsiteY31" fmla="*/ 1188720 h 1546860"/>
                  <a:gd name="connsiteX32" fmla="*/ 640080 w 906780"/>
                  <a:gd name="connsiteY32" fmla="*/ 1546860 h 1546860"/>
                  <a:gd name="connsiteX33" fmla="*/ 457200 w 906780"/>
                  <a:gd name="connsiteY33" fmla="*/ 1546860 h 1546860"/>
                  <a:gd name="connsiteX0" fmla="*/ 457200 w 906780"/>
                  <a:gd name="connsiteY0" fmla="*/ 1546860 h 1546860"/>
                  <a:gd name="connsiteX1" fmla="*/ 515620 w 906780"/>
                  <a:gd name="connsiteY1" fmla="*/ 114554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366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784860 w 906780"/>
                  <a:gd name="connsiteY28" fmla="*/ 670560 h 1546860"/>
                  <a:gd name="connsiteX29" fmla="*/ 746760 w 906780"/>
                  <a:gd name="connsiteY29" fmla="*/ 662940 h 1546860"/>
                  <a:gd name="connsiteX30" fmla="*/ 632460 w 906780"/>
                  <a:gd name="connsiteY30" fmla="*/ 845820 h 1546860"/>
                  <a:gd name="connsiteX31" fmla="*/ 640080 w 906780"/>
                  <a:gd name="connsiteY31" fmla="*/ 1188720 h 1546860"/>
                  <a:gd name="connsiteX32" fmla="*/ 640080 w 906780"/>
                  <a:gd name="connsiteY32" fmla="*/ 1546860 h 1546860"/>
                  <a:gd name="connsiteX33" fmla="*/ 457200 w 906780"/>
                  <a:gd name="connsiteY33" fmla="*/ 1546860 h 1546860"/>
                  <a:gd name="connsiteX0" fmla="*/ 457200 w 906780"/>
                  <a:gd name="connsiteY0" fmla="*/ 1546860 h 1546860"/>
                  <a:gd name="connsiteX1" fmla="*/ 515620 w 906780"/>
                  <a:gd name="connsiteY1" fmla="*/ 114554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366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746760 w 906780"/>
                  <a:gd name="connsiteY28" fmla="*/ 662940 h 1546860"/>
                  <a:gd name="connsiteX29" fmla="*/ 632460 w 906780"/>
                  <a:gd name="connsiteY29" fmla="*/ 845820 h 1546860"/>
                  <a:gd name="connsiteX30" fmla="*/ 640080 w 906780"/>
                  <a:gd name="connsiteY30" fmla="*/ 1188720 h 1546860"/>
                  <a:gd name="connsiteX31" fmla="*/ 640080 w 906780"/>
                  <a:gd name="connsiteY31" fmla="*/ 1546860 h 1546860"/>
                  <a:gd name="connsiteX32" fmla="*/ 457200 w 906780"/>
                  <a:gd name="connsiteY32" fmla="*/ 1546860 h 1546860"/>
                  <a:gd name="connsiteX0" fmla="*/ 457200 w 906780"/>
                  <a:gd name="connsiteY0" fmla="*/ 1546860 h 1546860"/>
                  <a:gd name="connsiteX1" fmla="*/ 515620 w 906780"/>
                  <a:gd name="connsiteY1" fmla="*/ 114554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366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850900 w 906780"/>
                  <a:gd name="connsiteY28" fmla="*/ 614680 h 1546860"/>
                  <a:gd name="connsiteX29" fmla="*/ 746760 w 906780"/>
                  <a:gd name="connsiteY29" fmla="*/ 662940 h 1546860"/>
                  <a:gd name="connsiteX30" fmla="*/ 632460 w 906780"/>
                  <a:gd name="connsiteY30" fmla="*/ 845820 h 1546860"/>
                  <a:gd name="connsiteX31" fmla="*/ 640080 w 906780"/>
                  <a:gd name="connsiteY31" fmla="*/ 1188720 h 1546860"/>
                  <a:gd name="connsiteX32" fmla="*/ 640080 w 906780"/>
                  <a:gd name="connsiteY32" fmla="*/ 1546860 h 1546860"/>
                  <a:gd name="connsiteX33" fmla="*/ 457200 w 906780"/>
                  <a:gd name="connsiteY33" fmla="*/ 1546860 h 1546860"/>
                  <a:gd name="connsiteX0" fmla="*/ 457200 w 1003300"/>
                  <a:gd name="connsiteY0" fmla="*/ 1546860 h 1546860"/>
                  <a:gd name="connsiteX1" fmla="*/ 515620 w 1003300"/>
                  <a:gd name="connsiteY1" fmla="*/ 1145540 h 1546860"/>
                  <a:gd name="connsiteX2" fmla="*/ 541020 w 1003300"/>
                  <a:gd name="connsiteY2" fmla="*/ 861060 h 1546860"/>
                  <a:gd name="connsiteX3" fmla="*/ 533400 w 1003300"/>
                  <a:gd name="connsiteY3" fmla="*/ 624840 h 1546860"/>
                  <a:gd name="connsiteX4" fmla="*/ 266700 w 1003300"/>
                  <a:gd name="connsiteY4" fmla="*/ 472440 h 1546860"/>
                  <a:gd name="connsiteX5" fmla="*/ 190500 w 1003300"/>
                  <a:gd name="connsiteY5" fmla="*/ 342900 h 1546860"/>
                  <a:gd name="connsiteX6" fmla="*/ 0 w 1003300"/>
                  <a:gd name="connsiteY6" fmla="*/ 243840 h 1546860"/>
                  <a:gd name="connsiteX7" fmla="*/ 190500 w 1003300"/>
                  <a:gd name="connsiteY7" fmla="*/ 304800 h 1546860"/>
                  <a:gd name="connsiteX8" fmla="*/ 182880 w 1003300"/>
                  <a:gd name="connsiteY8" fmla="*/ 129540 h 1546860"/>
                  <a:gd name="connsiteX9" fmla="*/ 205740 w 1003300"/>
                  <a:gd name="connsiteY9" fmla="*/ 327660 h 1546860"/>
                  <a:gd name="connsiteX10" fmla="*/ 297180 w 1003300"/>
                  <a:gd name="connsiteY10" fmla="*/ 434340 h 1546860"/>
                  <a:gd name="connsiteX11" fmla="*/ 525780 w 1003300"/>
                  <a:gd name="connsiteY11" fmla="*/ 548640 h 1546860"/>
                  <a:gd name="connsiteX12" fmla="*/ 563880 w 1003300"/>
                  <a:gd name="connsiteY12" fmla="*/ 327660 h 1546860"/>
                  <a:gd name="connsiteX13" fmla="*/ 449580 w 1003300"/>
                  <a:gd name="connsiteY13" fmla="*/ 53340 h 1546860"/>
                  <a:gd name="connsiteX14" fmla="*/ 365760 w 1003300"/>
                  <a:gd name="connsiteY14" fmla="*/ 0 h 1546860"/>
                  <a:gd name="connsiteX15" fmla="*/ 419100 w 1003300"/>
                  <a:gd name="connsiteY15" fmla="*/ 0 h 1546860"/>
                  <a:gd name="connsiteX16" fmla="*/ 495300 w 1003300"/>
                  <a:gd name="connsiteY16" fmla="*/ 60960 h 1546860"/>
                  <a:gd name="connsiteX17" fmla="*/ 594360 w 1003300"/>
                  <a:gd name="connsiteY17" fmla="*/ 304800 h 1546860"/>
                  <a:gd name="connsiteX18" fmla="*/ 723900 w 1003300"/>
                  <a:gd name="connsiteY18" fmla="*/ 60960 h 1546860"/>
                  <a:gd name="connsiteX19" fmla="*/ 739140 w 1003300"/>
                  <a:gd name="connsiteY19" fmla="*/ 121920 h 1546860"/>
                  <a:gd name="connsiteX20" fmla="*/ 632460 w 1003300"/>
                  <a:gd name="connsiteY20" fmla="*/ 342900 h 1546860"/>
                  <a:gd name="connsiteX21" fmla="*/ 594360 w 1003300"/>
                  <a:gd name="connsiteY21" fmla="*/ 533400 h 1546860"/>
                  <a:gd name="connsiteX22" fmla="*/ 609600 w 1003300"/>
                  <a:gd name="connsiteY22" fmla="*/ 736600 h 1546860"/>
                  <a:gd name="connsiteX23" fmla="*/ 838200 w 1003300"/>
                  <a:gd name="connsiteY23" fmla="*/ 457200 h 1546860"/>
                  <a:gd name="connsiteX24" fmla="*/ 868680 w 1003300"/>
                  <a:gd name="connsiteY24" fmla="*/ 495300 h 1546860"/>
                  <a:gd name="connsiteX25" fmla="*/ 792480 w 1003300"/>
                  <a:gd name="connsiteY25" fmla="*/ 609600 h 1546860"/>
                  <a:gd name="connsiteX26" fmla="*/ 906780 w 1003300"/>
                  <a:gd name="connsiteY26" fmla="*/ 579120 h 1546860"/>
                  <a:gd name="connsiteX27" fmla="*/ 906780 w 1003300"/>
                  <a:gd name="connsiteY27" fmla="*/ 579120 h 1546860"/>
                  <a:gd name="connsiteX28" fmla="*/ 1003300 w 1003300"/>
                  <a:gd name="connsiteY28" fmla="*/ 604520 h 1546860"/>
                  <a:gd name="connsiteX29" fmla="*/ 746760 w 1003300"/>
                  <a:gd name="connsiteY29" fmla="*/ 662940 h 1546860"/>
                  <a:gd name="connsiteX30" fmla="*/ 632460 w 1003300"/>
                  <a:gd name="connsiteY30" fmla="*/ 845820 h 1546860"/>
                  <a:gd name="connsiteX31" fmla="*/ 640080 w 1003300"/>
                  <a:gd name="connsiteY31" fmla="*/ 1188720 h 1546860"/>
                  <a:gd name="connsiteX32" fmla="*/ 640080 w 1003300"/>
                  <a:gd name="connsiteY32" fmla="*/ 1546860 h 1546860"/>
                  <a:gd name="connsiteX33" fmla="*/ 457200 w 1003300"/>
                  <a:gd name="connsiteY33" fmla="*/ 1546860 h 1546860"/>
                  <a:gd name="connsiteX0" fmla="*/ 457200 w 1003300"/>
                  <a:gd name="connsiteY0" fmla="*/ 1546860 h 1546860"/>
                  <a:gd name="connsiteX1" fmla="*/ 515620 w 1003300"/>
                  <a:gd name="connsiteY1" fmla="*/ 1145540 h 1546860"/>
                  <a:gd name="connsiteX2" fmla="*/ 541020 w 1003300"/>
                  <a:gd name="connsiteY2" fmla="*/ 861060 h 1546860"/>
                  <a:gd name="connsiteX3" fmla="*/ 533400 w 1003300"/>
                  <a:gd name="connsiteY3" fmla="*/ 624840 h 1546860"/>
                  <a:gd name="connsiteX4" fmla="*/ 266700 w 1003300"/>
                  <a:gd name="connsiteY4" fmla="*/ 472440 h 1546860"/>
                  <a:gd name="connsiteX5" fmla="*/ 190500 w 1003300"/>
                  <a:gd name="connsiteY5" fmla="*/ 342900 h 1546860"/>
                  <a:gd name="connsiteX6" fmla="*/ 0 w 1003300"/>
                  <a:gd name="connsiteY6" fmla="*/ 243840 h 1546860"/>
                  <a:gd name="connsiteX7" fmla="*/ 190500 w 1003300"/>
                  <a:gd name="connsiteY7" fmla="*/ 304800 h 1546860"/>
                  <a:gd name="connsiteX8" fmla="*/ 182880 w 1003300"/>
                  <a:gd name="connsiteY8" fmla="*/ 129540 h 1546860"/>
                  <a:gd name="connsiteX9" fmla="*/ 205740 w 1003300"/>
                  <a:gd name="connsiteY9" fmla="*/ 327660 h 1546860"/>
                  <a:gd name="connsiteX10" fmla="*/ 297180 w 1003300"/>
                  <a:gd name="connsiteY10" fmla="*/ 434340 h 1546860"/>
                  <a:gd name="connsiteX11" fmla="*/ 525780 w 1003300"/>
                  <a:gd name="connsiteY11" fmla="*/ 548640 h 1546860"/>
                  <a:gd name="connsiteX12" fmla="*/ 563880 w 1003300"/>
                  <a:gd name="connsiteY12" fmla="*/ 327660 h 1546860"/>
                  <a:gd name="connsiteX13" fmla="*/ 449580 w 1003300"/>
                  <a:gd name="connsiteY13" fmla="*/ 53340 h 1546860"/>
                  <a:gd name="connsiteX14" fmla="*/ 365760 w 1003300"/>
                  <a:gd name="connsiteY14" fmla="*/ 0 h 1546860"/>
                  <a:gd name="connsiteX15" fmla="*/ 419100 w 1003300"/>
                  <a:gd name="connsiteY15" fmla="*/ 0 h 1546860"/>
                  <a:gd name="connsiteX16" fmla="*/ 495300 w 1003300"/>
                  <a:gd name="connsiteY16" fmla="*/ 60960 h 1546860"/>
                  <a:gd name="connsiteX17" fmla="*/ 594360 w 1003300"/>
                  <a:gd name="connsiteY17" fmla="*/ 304800 h 1546860"/>
                  <a:gd name="connsiteX18" fmla="*/ 723900 w 1003300"/>
                  <a:gd name="connsiteY18" fmla="*/ 60960 h 1546860"/>
                  <a:gd name="connsiteX19" fmla="*/ 739140 w 1003300"/>
                  <a:gd name="connsiteY19" fmla="*/ 121920 h 1546860"/>
                  <a:gd name="connsiteX20" fmla="*/ 632460 w 1003300"/>
                  <a:gd name="connsiteY20" fmla="*/ 342900 h 1546860"/>
                  <a:gd name="connsiteX21" fmla="*/ 594360 w 1003300"/>
                  <a:gd name="connsiteY21" fmla="*/ 533400 h 1546860"/>
                  <a:gd name="connsiteX22" fmla="*/ 609600 w 1003300"/>
                  <a:gd name="connsiteY22" fmla="*/ 736600 h 1546860"/>
                  <a:gd name="connsiteX23" fmla="*/ 838200 w 1003300"/>
                  <a:gd name="connsiteY23" fmla="*/ 457200 h 1546860"/>
                  <a:gd name="connsiteX24" fmla="*/ 868680 w 1003300"/>
                  <a:gd name="connsiteY24" fmla="*/ 495300 h 1546860"/>
                  <a:gd name="connsiteX25" fmla="*/ 792480 w 1003300"/>
                  <a:gd name="connsiteY25" fmla="*/ 609600 h 1546860"/>
                  <a:gd name="connsiteX26" fmla="*/ 906780 w 1003300"/>
                  <a:gd name="connsiteY26" fmla="*/ 579120 h 1546860"/>
                  <a:gd name="connsiteX27" fmla="*/ 927100 w 1003300"/>
                  <a:gd name="connsiteY27" fmla="*/ 528320 h 1546860"/>
                  <a:gd name="connsiteX28" fmla="*/ 1003300 w 1003300"/>
                  <a:gd name="connsiteY28" fmla="*/ 604520 h 1546860"/>
                  <a:gd name="connsiteX29" fmla="*/ 746760 w 1003300"/>
                  <a:gd name="connsiteY29" fmla="*/ 662940 h 1546860"/>
                  <a:gd name="connsiteX30" fmla="*/ 632460 w 1003300"/>
                  <a:gd name="connsiteY30" fmla="*/ 845820 h 1546860"/>
                  <a:gd name="connsiteX31" fmla="*/ 640080 w 1003300"/>
                  <a:gd name="connsiteY31" fmla="*/ 1188720 h 1546860"/>
                  <a:gd name="connsiteX32" fmla="*/ 640080 w 1003300"/>
                  <a:gd name="connsiteY32" fmla="*/ 1546860 h 1546860"/>
                  <a:gd name="connsiteX33" fmla="*/ 457200 w 1003300"/>
                  <a:gd name="connsiteY33" fmla="*/ 1546860 h 1546860"/>
                  <a:gd name="connsiteX0" fmla="*/ 457200 w 982980"/>
                  <a:gd name="connsiteY0" fmla="*/ 1546860 h 1546860"/>
                  <a:gd name="connsiteX1" fmla="*/ 515620 w 982980"/>
                  <a:gd name="connsiteY1" fmla="*/ 1145540 h 1546860"/>
                  <a:gd name="connsiteX2" fmla="*/ 541020 w 982980"/>
                  <a:gd name="connsiteY2" fmla="*/ 861060 h 1546860"/>
                  <a:gd name="connsiteX3" fmla="*/ 533400 w 982980"/>
                  <a:gd name="connsiteY3" fmla="*/ 624840 h 1546860"/>
                  <a:gd name="connsiteX4" fmla="*/ 266700 w 982980"/>
                  <a:gd name="connsiteY4" fmla="*/ 472440 h 1546860"/>
                  <a:gd name="connsiteX5" fmla="*/ 190500 w 982980"/>
                  <a:gd name="connsiteY5" fmla="*/ 342900 h 1546860"/>
                  <a:gd name="connsiteX6" fmla="*/ 0 w 982980"/>
                  <a:gd name="connsiteY6" fmla="*/ 243840 h 1546860"/>
                  <a:gd name="connsiteX7" fmla="*/ 190500 w 982980"/>
                  <a:gd name="connsiteY7" fmla="*/ 304800 h 1546860"/>
                  <a:gd name="connsiteX8" fmla="*/ 182880 w 982980"/>
                  <a:gd name="connsiteY8" fmla="*/ 129540 h 1546860"/>
                  <a:gd name="connsiteX9" fmla="*/ 205740 w 982980"/>
                  <a:gd name="connsiteY9" fmla="*/ 327660 h 1546860"/>
                  <a:gd name="connsiteX10" fmla="*/ 297180 w 982980"/>
                  <a:gd name="connsiteY10" fmla="*/ 434340 h 1546860"/>
                  <a:gd name="connsiteX11" fmla="*/ 525780 w 982980"/>
                  <a:gd name="connsiteY11" fmla="*/ 548640 h 1546860"/>
                  <a:gd name="connsiteX12" fmla="*/ 563880 w 982980"/>
                  <a:gd name="connsiteY12" fmla="*/ 327660 h 1546860"/>
                  <a:gd name="connsiteX13" fmla="*/ 449580 w 982980"/>
                  <a:gd name="connsiteY13" fmla="*/ 53340 h 1546860"/>
                  <a:gd name="connsiteX14" fmla="*/ 365760 w 982980"/>
                  <a:gd name="connsiteY14" fmla="*/ 0 h 1546860"/>
                  <a:gd name="connsiteX15" fmla="*/ 419100 w 982980"/>
                  <a:gd name="connsiteY15" fmla="*/ 0 h 1546860"/>
                  <a:gd name="connsiteX16" fmla="*/ 495300 w 982980"/>
                  <a:gd name="connsiteY16" fmla="*/ 60960 h 1546860"/>
                  <a:gd name="connsiteX17" fmla="*/ 594360 w 982980"/>
                  <a:gd name="connsiteY17" fmla="*/ 304800 h 1546860"/>
                  <a:gd name="connsiteX18" fmla="*/ 723900 w 982980"/>
                  <a:gd name="connsiteY18" fmla="*/ 60960 h 1546860"/>
                  <a:gd name="connsiteX19" fmla="*/ 739140 w 982980"/>
                  <a:gd name="connsiteY19" fmla="*/ 121920 h 1546860"/>
                  <a:gd name="connsiteX20" fmla="*/ 632460 w 982980"/>
                  <a:gd name="connsiteY20" fmla="*/ 342900 h 1546860"/>
                  <a:gd name="connsiteX21" fmla="*/ 594360 w 982980"/>
                  <a:gd name="connsiteY21" fmla="*/ 533400 h 1546860"/>
                  <a:gd name="connsiteX22" fmla="*/ 609600 w 982980"/>
                  <a:gd name="connsiteY22" fmla="*/ 736600 h 1546860"/>
                  <a:gd name="connsiteX23" fmla="*/ 838200 w 982980"/>
                  <a:gd name="connsiteY23" fmla="*/ 457200 h 1546860"/>
                  <a:gd name="connsiteX24" fmla="*/ 868680 w 982980"/>
                  <a:gd name="connsiteY24" fmla="*/ 495300 h 1546860"/>
                  <a:gd name="connsiteX25" fmla="*/ 792480 w 982980"/>
                  <a:gd name="connsiteY25" fmla="*/ 609600 h 1546860"/>
                  <a:gd name="connsiteX26" fmla="*/ 906780 w 982980"/>
                  <a:gd name="connsiteY26" fmla="*/ 579120 h 1546860"/>
                  <a:gd name="connsiteX27" fmla="*/ 927100 w 982980"/>
                  <a:gd name="connsiteY27" fmla="*/ 528320 h 1546860"/>
                  <a:gd name="connsiteX28" fmla="*/ 982980 w 982980"/>
                  <a:gd name="connsiteY28" fmla="*/ 589280 h 1546860"/>
                  <a:gd name="connsiteX29" fmla="*/ 746760 w 982980"/>
                  <a:gd name="connsiteY29" fmla="*/ 662940 h 1546860"/>
                  <a:gd name="connsiteX30" fmla="*/ 632460 w 982980"/>
                  <a:gd name="connsiteY30" fmla="*/ 845820 h 1546860"/>
                  <a:gd name="connsiteX31" fmla="*/ 640080 w 982980"/>
                  <a:gd name="connsiteY31" fmla="*/ 1188720 h 1546860"/>
                  <a:gd name="connsiteX32" fmla="*/ 640080 w 982980"/>
                  <a:gd name="connsiteY32" fmla="*/ 1546860 h 1546860"/>
                  <a:gd name="connsiteX33" fmla="*/ 457200 w 982980"/>
                  <a:gd name="connsiteY33" fmla="*/ 1546860 h 1546860"/>
                  <a:gd name="connsiteX0" fmla="*/ 457200 w 988845"/>
                  <a:gd name="connsiteY0" fmla="*/ 1546860 h 1546860"/>
                  <a:gd name="connsiteX1" fmla="*/ 515620 w 988845"/>
                  <a:gd name="connsiteY1" fmla="*/ 1145540 h 1546860"/>
                  <a:gd name="connsiteX2" fmla="*/ 541020 w 988845"/>
                  <a:gd name="connsiteY2" fmla="*/ 861060 h 1546860"/>
                  <a:gd name="connsiteX3" fmla="*/ 533400 w 988845"/>
                  <a:gd name="connsiteY3" fmla="*/ 624840 h 1546860"/>
                  <a:gd name="connsiteX4" fmla="*/ 266700 w 988845"/>
                  <a:gd name="connsiteY4" fmla="*/ 472440 h 1546860"/>
                  <a:gd name="connsiteX5" fmla="*/ 190500 w 988845"/>
                  <a:gd name="connsiteY5" fmla="*/ 342900 h 1546860"/>
                  <a:gd name="connsiteX6" fmla="*/ 0 w 988845"/>
                  <a:gd name="connsiteY6" fmla="*/ 243840 h 1546860"/>
                  <a:gd name="connsiteX7" fmla="*/ 190500 w 988845"/>
                  <a:gd name="connsiteY7" fmla="*/ 304800 h 1546860"/>
                  <a:gd name="connsiteX8" fmla="*/ 182880 w 988845"/>
                  <a:gd name="connsiteY8" fmla="*/ 129540 h 1546860"/>
                  <a:gd name="connsiteX9" fmla="*/ 205740 w 988845"/>
                  <a:gd name="connsiteY9" fmla="*/ 327660 h 1546860"/>
                  <a:gd name="connsiteX10" fmla="*/ 297180 w 988845"/>
                  <a:gd name="connsiteY10" fmla="*/ 434340 h 1546860"/>
                  <a:gd name="connsiteX11" fmla="*/ 525780 w 988845"/>
                  <a:gd name="connsiteY11" fmla="*/ 548640 h 1546860"/>
                  <a:gd name="connsiteX12" fmla="*/ 563880 w 988845"/>
                  <a:gd name="connsiteY12" fmla="*/ 327660 h 1546860"/>
                  <a:gd name="connsiteX13" fmla="*/ 449580 w 988845"/>
                  <a:gd name="connsiteY13" fmla="*/ 53340 h 1546860"/>
                  <a:gd name="connsiteX14" fmla="*/ 365760 w 988845"/>
                  <a:gd name="connsiteY14" fmla="*/ 0 h 1546860"/>
                  <a:gd name="connsiteX15" fmla="*/ 419100 w 988845"/>
                  <a:gd name="connsiteY15" fmla="*/ 0 h 1546860"/>
                  <a:gd name="connsiteX16" fmla="*/ 495300 w 988845"/>
                  <a:gd name="connsiteY16" fmla="*/ 60960 h 1546860"/>
                  <a:gd name="connsiteX17" fmla="*/ 594360 w 988845"/>
                  <a:gd name="connsiteY17" fmla="*/ 304800 h 1546860"/>
                  <a:gd name="connsiteX18" fmla="*/ 723900 w 988845"/>
                  <a:gd name="connsiteY18" fmla="*/ 60960 h 1546860"/>
                  <a:gd name="connsiteX19" fmla="*/ 739140 w 988845"/>
                  <a:gd name="connsiteY19" fmla="*/ 121920 h 1546860"/>
                  <a:gd name="connsiteX20" fmla="*/ 632460 w 988845"/>
                  <a:gd name="connsiteY20" fmla="*/ 342900 h 1546860"/>
                  <a:gd name="connsiteX21" fmla="*/ 594360 w 988845"/>
                  <a:gd name="connsiteY21" fmla="*/ 533400 h 1546860"/>
                  <a:gd name="connsiteX22" fmla="*/ 609600 w 988845"/>
                  <a:gd name="connsiteY22" fmla="*/ 736600 h 1546860"/>
                  <a:gd name="connsiteX23" fmla="*/ 838200 w 988845"/>
                  <a:gd name="connsiteY23" fmla="*/ 457200 h 1546860"/>
                  <a:gd name="connsiteX24" fmla="*/ 868680 w 988845"/>
                  <a:gd name="connsiteY24" fmla="*/ 495300 h 1546860"/>
                  <a:gd name="connsiteX25" fmla="*/ 792480 w 988845"/>
                  <a:gd name="connsiteY25" fmla="*/ 609600 h 1546860"/>
                  <a:gd name="connsiteX26" fmla="*/ 906780 w 988845"/>
                  <a:gd name="connsiteY26" fmla="*/ 579120 h 1546860"/>
                  <a:gd name="connsiteX27" fmla="*/ 982980 w 988845"/>
                  <a:gd name="connsiteY27" fmla="*/ 589280 h 1546860"/>
                  <a:gd name="connsiteX28" fmla="*/ 746760 w 988845"/>
                  <a:gd name="connsiteY28" fmla="*/ 662940 h 1546860"/>
                  <a:gd name="connsiteX29" fmla="*/ 632460 w 988845"/>
                  <a:gd name="connsiteY29" fmla="*/ 845820 h 1546860"/>
                  <a:gd name="connsiteX30" fmla="*/ 640080 w 988845"/>
                  <a:gd name="connsiteY30" fmla="*/ 1188720 h 1546860"/>
                  <a:gd name="connsiteX31" fmla="*/ 640080 w 988845"/>
                  <a:gd name="connsiteY31" fmla="*/ 1546860 h 1546860"/>
                  <a:gd name="connsiteX32" fmla="*/ 457200 w 988845"/>
                  <a:gd name="connsiteY32" fmla="*/ 1546860 h 1546860"/>
                  <a:gd name="connsiteX0" fmla="*/ 457200 w 996675"/>
                  <a:gd name="connsiteY0" fmla="*/ 1546860 h 1546860"/>
                  <a:gd name="connsiteX1" fmla="*/ 515620 w 996675"/>
                  <a:gd name="connsiteY1" fmla="*/ 1145540 h 1546860"/>
                  <a:gd name="connsiteX2" fmla="*/ 541020 w 996675"/>
                  <a:gd name="connsiteY2" fmla="*/ 861060 h 1546860"/>
                  <a:gd name="connsiteX3" fmla="*/ 533400 w 996675"/>
                  <a:gd name="connsiteY3" fmla="*/ 624840 h 1546860"/>
                  <a:gd name="connsiteX4" fmla="*/ 266700 w 996675"/>
                  <a:gd name="connsiteY4" fmla="*/ 472440 h 1546860"/>
                  <a:gd name="connsiteX5" fmla="*/ 190500 w 996675"/>
                  <a:gd name="connsiteY5" fmla="*/ 342900 h 1546860"/>
                  <a:gd name="connsiteX6" fmla="*/ 0 w 996675"/>
                  <a:gd name="connsiteY6" fmla="*/ 243840 h 1546860"/>
                  <a:gd name="connsiteX7" fmla="*/ 190500 w 996675"/>
                  <a:gd name="connsiteY7" fmla="*/ 304800 h 1546860"/>
                  <a:gd name="connsiteX8" fmla="*/ 182880 w 996675"/>
                  <a:gd name="connsiteY8" fmla="*/ 129540 h 1546860"/>
                  <a:gd name="connsiteX9" fmla="*/ 205740 w 996675"/>
                  <a:gd name="connsiteY9" fmla="*/ 327660 h 1546860"/>
                  <a:gd name="connsiteX10" fmla="*/ 297180 w 996675"/>
                  <a:gd name="connsiteY10" fmla="*/ 434340 h 1546860"/>
                  <a:gd name="connsiteX11" fmla="*/ 525780 w 996675"/>
                  <a:gd name="connsiteY11" fmla="*/ 548640 h 1546860"/>
                  <a:gd name="connsiteX12" fmla="*/ 563880 w 996675"/>
                  <a:gd name="connsiteY12" fmla="*/ 327660 h 1546860"/>
                  <a:gd name="connsiteX13" fmla="*/ 449580 w 996675"/>
                  <a:gd name="connsiteY13" fmla="*/ 53340 h 1546860"/>
                  <a:gd name="connsiteX14" fmla="*/ 365760 w 996675"/>
                  <a:gd name="connsiteY14" fmla="*/ 0 h 1546860"/>
                  <a:gd name="connsiteX15" fmla="*/ 419100 w 996675"/>
                  <a:gd name="connsiteY15" fmla="*/ 0 h 1546860"/>
                  <a:gd name="connsiteX16" fmla="*/ 495300 w 996675"/>
                  <a:gd name="connsiteY16" fmla="*/ 60960 h 1546860"/>
                  <a:gd name="connsiteX17" fmla="*/ 594360 w 996675"/>
                  <a:gd name="connsiteY17" fmla="*/ 304800 h 1546860"/>
                  <a:gd name="connsiteX18" fmla="*/ 723900 w 996675"/>
                  <a:gd name="connsiteY18" fmla="*/ 60960 h 1546860"/>
                  <a:gd name="connsiteX19" fmla="*/ 739140 w 996675"/>
                  <a:gd name="connsiteY19" fmla="*/ 121920 h 1546860"/>
                  <a:gd name="connsiteX20" fmla="*/ 632460 w 996675"/>
                  <a:gd name="connsiteY20" fmla="*/ 342900 h 1546860"/>
                  <a:gd name="connsiteX21" fmla="*/ 594360 w 996675"/>
                  <a:gd name="connsiteY21" fmla="*/ 533400 h 1546860"/>
                  <a:gd name="connsiteX22" fmla="*/ 609600 w 996675"/>
                  <a:gd name="connsiteY22" fmla="*/ 736600 h 1546860"/>
                  <a:gd name="connsiteX23" fmla="*/ 838200 w 996675"/>
                  <a:gd name="connsiteY23" fmla="*/ 457200 h 1546860"/>
                  <a:gd name="connsiteX24" fmla="*/ 868680 w 996675"/>
                  <a:gd name="connsiteY24" fmla="*/ 495300 h 1546860"/>
                  <a:gd name="connsiteX25" fmla="*/ 792480 w 996675"/>
                  <a:gd name="connsiteY25" fmla="*/ 609600 h 1546860"/>
                  <a:gd name="connsiteX26" fmla="*/ 962660 w 996675"/>
                  <a:gd name="connsiteY26" fmla="*/ 523240 h 1546860"/>
                  <a:gd name="connsiteX27" fmla="*/ 982980 w 996675"/>
                  <a:gd name="connsiteY27" fmla="*/ 589280 h 1546860"/>
                  <a:gd name="connsiteX28" fmla="*/ 746760 w 996675"/>
                  <a:gd name="connsiteY28" fmla="*/ 662940 h 1546860"/>
                  <a:gd name="connsiteX29" fmla="*/ 632460 w 996675"/>
                  <a:gd name="connsiteY29" fmla="*/ 845820 h 1546860"/>
                  <a:gd name="connsiteX30" fmla="*/ 640080 w 996675"/>
                  <a:gd name="connsiteY30" fmla="*/ 1188720 h 1546860"/>
                  <a:gd name="connsiteX31" fmla="*/ 640080 w 996675"/>
                  <a:gd name="connsiteY31" fmla="*/ 1546860 h 1546860"/>
                  <a:gd name="connsiteX32" fmla="*/ 457200 w 996675"/>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05740 w 1008838"/>
                  <a:gd name="connsiteY9" fmla="*/ 32766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97180 w 1008838"/>
                  <a:gd name="connsiteY9" fmla="*/ 434340 h 1546860"/>
                  <a:gd name="connsiteX10" fmla="*/ 525780 w 1008838"/>
                  <a:gd name="connsiteY10" fmla="*/ 548640 h 1546860"/>
                  <a:gd name="connsiteX11" fmla="*/ 563880 w 1008838"/>
                  <a:gd name="connsiteY11" fmla="*/ 327660 h 1546860"/>
                  <a:gd name="connsiteX12" fmla="*/ 449580 w 1008838"/>
                  <a:gd name="connsiteY12" fmla="*/ 53340 h 1546860"/>
                  <a:gd name="connsiteX13" fmla="*/ 365760 w 1008838"/>
                  <a:gd name="connsiteY13" fmla="*/ 0 h 1546860"/>
                  <a:gd name="connsiteX14" fmla="*/ 419100 w 1008838"/>
                  <a:gd name="connsiteY14" fmla="*/ 0 h 1546860"/>
                  <a:gd name="connsiteX15" fmla="*/ 495300 w 1008838"/>
                  <a:gd name="connsiteY15" fmla="*/ 60960 h 1546860"/>
                  <a:gd name="connsiteX16" fmla="*/ 594360 w 1008838"/>
                  <a:gd name="connsiteY16" fmla="*/ 304800 h 1546860"/>
                  <a:gd name="connsiteX17" fmla="*/ 723900 w 1008838"/>
                  <a:gd name="connsiteY17" fmla="*/ 60960 h 1546860"/>
                  <a:gd name="connsiteX18" fmla="*/ 739140 w 1008838"/>
                  <a:gd name="connsiteY18" fmla="*/ 121920 h 1546860"/>
                  <a:gd name="connsiteX19" fmla="*/ 632460 w 1008838"/>
                  <a:gd name="connsiteY19" fmla="*/ 342900 h 1546860"/>
                  <a:gd name="connsiteX20" fmla="*/ 594360 w 1008838"/>
                  <a:gd name="connsiteY20" fmla="*/ 533400 h 1546860"/>
                  <a:gd name="connsiteX21" fmla="*/ 609600 w 1008838"/>
                  <a:gd name="connsiteY21" fmla="*/ 736600 h 1546860"/>
                  <a:gd name="connsiteX22" fmla="*/ 838200 w 1008838"/>
                  <a:gd name="connsiteY22" fmla="*/ 457200 h 1546860"/>
                  <a:gd name="connsiteX23" fmla="*/ 868680 w 1008838"/>
                  <a:gd name="connsiteY23" fmla="*/ 495300 h 1546860"/>
                  <a:gd name="connsiteX24" fmla="*/ 792480 w 1008838"/>
                  <a:gd name="connsiteY24" fmla="*/ 609600 h 1546860"/>
                  <a:gd name="connsiteX25" fmla="*/ 962660 w 1008838"/>
                  <a:gd name="connsiteY25" fmla="*/ 523240 h 1546860"/>
                  <a:gd name="connsiteX26" fmla="*/ 998220 w 1008838"/>
                  <a:gd name="connsiteY26" fmla="*/ 533400 h 1546860"/>
                  <a:gd name="connsiteX27" fmla="*/ 746760 w 1008838"/>
                  <a:gd name="connsiteY27" fmla="*/ 662940 h 1546860"/>
                  <a:gd name="connsiteX28" fmla="*/ 632460 w 1008838"/>
                  <a:gd name="connsiteY28" fmla="*/ 845820 h 1546860"/>
                  <a:gd name="connsiteX29" fmla="*/ 640080 w 1008838"/>
                  <a:gd name="connsiteY29" fmla="*/ 1188720 h 1546860"/>
                  <a:gd name="connsiteX30" fmla="*/ 640080 w 1008838"/>
                  <a:gd name="connsiteY30" fmla="*/ 1546860 h 1546860"/>
                  <a:gd name="connsiteX31" fmla="*/ 457200 w 1008838"/>
                  <a:gd name="connsiteY31"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41299 w 1008838"/>
                  <a:gd name="connsiteY9" fmla="*/ 28956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41299 w 1008838"/>
                  <a:gd name="connsiteY9" fmla="*/ 32004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41299 w 1008838"/>
                  <a:gd name="connsiteY9" fmla="*/ 32004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31139 w 1008838"/>
                  <a:gd name="connsiteY9" fmla="*/ 34544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10819 w 1008838"/>
                  <a:gd name="connsiteY9" fmla="*/ 30988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10819 w 1008838"/>
                  <a:gd name="connsiteY9" fmla="*/ 30988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30859 w 1008838"/>
                  <a:gd name="connsiteY17" fmla="*/ 137160 h 1546860"/>
                  <a:gd name="connsiteX18" fmla="*/ 594360 w 1008838"/>
                  <a:gd name="connsiteY18" fmla="*/ 304800 h 1546860"/>
                  <a:gd name="connsiteX19" fmla="*/ 723900 w 1008838"/>
                  <a:gd name="connsiteY19" fmla="*/ 60960 h 1546860"/>
                  <a:gd name="connsiteX20" fmla="*/ 739140 w 1008838"/>
                  <a:gd name="connsiteY20" fmla="*/ 121920 h 1546860"/>
                  <a:gd name="connsiteX21" fmla="*/ 632460 w 1008838"/>
                  <a:gd name="connsiteY21" fmla="*/ 342900 h 1546860"/>
                  <a:gd name="connsiteX22" fmla="*/ 594360 w 1008838"/>
                  <a:gd name="connsiteY22" fmla="*/ 533400 h 1546860"/>
                  <a:gd name="connsiteX23" fmla="*/ 609600 w 1008838"/>
                  <a:gd name="connsiteY23" fmla="*/ 736600 h 1546860"/>
                  <a:gd name="connsiteX24" fmla="*/ 838200 w 1008838"/>
                  <a:gd name="connsiteY24" fmla="*/ 457200 h 1546860"/>
                  <a:gd name="connsiteX25" fmla="*/ 868680 w 1008838"/>
                  <a:gd name="connsiteY25" fmla="*/ 495300 h 1546860"/>
                  <a:gd name="connsiteX26" fmla="*/ 792480 w 1008838"/>
                  <a:gd name="connsiteY26" fmla="*/ 609600 h 1546860"/>
                  <a:gd name="connsiteX27" fmla="*/ 962660 w 1008838"/>
                  <a:gd name="connsiteY27" fmla="*/ 523240 h 1546860"/>
                  <a:gd name="connsiteX28" fmla="*/ 998220 w 1008838"/>
                  <a:gd name="connsiteY28" fmla="*/ 533400 h 1546860"/>
                  <a:gd name="connsiteX29" fmla="*/ 746760 w 1008838"/>
                  <a:gd name="connsiteY29" fmla="*/ 662940 h 1546860"/>
                  <a:gd name="connsiteX30" fmla="*/ 632460 w 1008838"/>
                  <a:gd name="connsiteY30" fmla="*/ 845820 h 1546860"/>
                  <a:gd name="connsiteX31" fmla="*/ 640080 w 1008838"/>
                  <a:gd name="connsiteY31" fmla="*/ 1188720 h 1546860"/>
                  <a:gd name="connsiteX32" fmla="*/ 640080 w 1008838"/>
                  <a:gd name="connsiteY32" fmla="*/ 1546860 h 1546860"/>
                  <a:gd name="connsiteX33" fmla="*/ 457200 w 1008838"/>
                  <a:gd name="connsiteY33"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10819 w 1008838"/>
                  <a:gd name="connsiteY9" fmla="*/ 30988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30859 w 1008838"/>
                  <a:gd name="connsiteY17" fmla="*/ 137160 h 1546860"/>
                  <a:gd name="connsiteX18" fmla="*/ 571499 w 1008838"/>
                  <a:gd name="connsiteY18" fmla="*/ 228600 h 1546860"/>
                  <a:gd name="connsiteX19" fmla="*/ 594360 w 1008838"/>
                  <a:gd name="connsiteY19" fmla="*/ 304800 h 1546860"/>
                  <a:gd name="connsiteX20" fmla="*/ 723900 w 1008838"/>
                  <a:gd name="connsiteY20" fmla="*/ 60960 h 1546860"/>
                  <a:gd name="connsiteX21" fmla="*/ 739140 w 1008838"/>
                  <a:gd name="connsiteY21" fmla="*/ 121920 h 1546860"/>
                  <a:gd name="connsiteX22" fmla="*/ 632460 w 1008838"/>
                  <a:gd name="connsiteY22" fmla="*/ 342900 h 1546860"/>
                  <a:gd name="connsiteX23" fmla="*/ 594360 w 1008838"/>
                  <a:gd name="connsiteY23" fmla="*/ 533400 h 1546860"/>
                  <a:gd name="connsiteX24" fmla="*/ 609600 w 1008838"/>
                  <a:gd name="connsiteY24" fmla="*/ 736600 h 1546860"/>
                  <a:gd name="connsiteX25" fmla="*/ 838200 w 1008838"/>
                  <a:gd name="connsiteY25" fmla="*/ 457200 h 1546860"/>
                  <a:gd name="connsiteX26" fmla="*/ 868680 w 1008838"/>
                  <a:gd name="connsiteY26" fmla="*/ 495300 h 1546860"/>
                  <a:gd name="connsiteX27" fmla="*/ 792480 w 1008838"/>
                  <a:gd name="connsiteY27" fmla="*/ 609600 h 1546860"/>
                  <a:gd name="connsiteX28" fmla="*/ 962660 w 1008838"/>
                  <a:gd name="connsiteY28" fmla="*/ 523240 h 1546860"/>
                  <a:gd name="connsiteX29" fmla="*/ 998220 w 1008838"/>
                  <a:gd name="connsiteY29" fmla="*/ 533400 h 1546860"/>
                  <a:gd name="connsiteX30" fmla="*/ 746760 w 1008838"/>
                  <a:gd name="connsiteY30" fmla="*/ 662940 h 1546860"/>
                  <a:gd name="connsiteX31" fmla="*/ 632460 w 1008838"/>
                  <a:gd name="connsiteY31" fmla="*/ 845820 h 1546860"/>
                  <a:gd name="connsiteX32" fmla="*/ 640080 w 1008838"/>
                  <a:gd name="connsiteY32" fmla="*/ 1188720 h 1546860"/>
                  <a:gd name="connsiteX33" fmla="*/ 640080 w 1008838"/>
                  <a:gd name="connsiteY33" fmla="*/ 1546860 h 1546860"/>
                  <a:gd name="connsiteX34" fmla="*/ 457200 w 1008838"/>
                  <a:gd name="connsiteY34"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10819 w 1008838"/>
                  <a:gd name="connsiteY9" fmla="*/ 30988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30859 w 1008838"/>
                  <a:gd name="connsiteY17" fmla="*/ 137160 h 1546860"/>
                  <a:gd name="connsiteX18" fmla="*/ 541019 w 1008838"/>
                  <a:gd name="connsiteY18" fmla="*/ 172720 h 1546860"/>
                  <a:gd name="connsiteX19" fmla="*/ 571499 w 1008838"/>
                  <a:gd name="connsiteY19" fmla="*/ 228600 h 1546860"/>
                  <a:gd name="connsiteX20" fmla="*/ 594360 w 1008838"/>
                  <a:gd name="connsiteY20" fmla="*/ 304800 h 1546860"/>
                  <a:gd name="connsiteX21" fmla="*/ 723900 w 1008838"/>
                  <a:gd name="connsiteY21" fmla="*/ 60960 h 1546860"/>
                  <a:gd name="connsiteX22" fmla="*/ 739140 w 1008838"/>
                  <a:gd name="connsiteY22" fmla="*/ 121920 h 1546860"/>
                  <a:gd name="connsiteX23" fmla="*/ 632460 w 1008838"/>
                  <a:gd name="connsiteY23" fmla="*/ 342900 h 1546860"/>
                  <a:gd name="connsiteX24" fmla="*/ 594360 w 1008838"/>
                  <a:gd name="connsiteY24" fmla="*/ 533400 h 1546860"/>
                  <a:gd name="connsiteX25" fmla="*/ 609600 w 1008838"/>
                  <a:gd name="connsiteY25" fmla="*/ 736600 h 1546860"/>
                  <a:gd name="connsiteX26" fmla="*/ 838200 w 1008838"/>
                  <a:gd name="connsiteY26" fmla="*/ 457200 h 1546860"/>
                  <a:gd name="connsiteX27" fmla="*/ 868680 w 1008838"/>
                  <a:gd name="connsiteY27" fmla="*/ 495300 h 1546860"/>
                  <a:gd name="connsiteX28" fmla="*/ 792480 w 1008838"/>
                  <a:gd name="connsiteY28" fmla="*/ 609600 h 1546860"/>
                  <a:gd name="connsiteX29" fmla="*/ 962660 w 1008838"/>
                  <a:gd name="connsiteY29" fmla="*/ 523240 h 1546860"/>
                  <a:gd name="connsiteX30" fmla="*/ 998220 w 1008838"/>
                  <a:gd name="connsiteY30" fmla="*/ 533400 h 1546860"/>
                  <a:gd name="connsiteX31" fmla="*/ 746760 w 1008838"/>
                  <a:gd name="connsiteY31" fmla="*/ 662940 h 1546860"/>
                  <a:gd name="connsiteX32" fmla="*/ 632460 w 1008838"/>
                  <a:gd name="connsiteY32" fmla="*/ 845820 h 1546860"/>
                  <a:gd name="connsiteX33" fmla="*/ 640080 w 1008838"/>
                  <a:gd name="connsiteY33" fmla="*/ 1188720 h 1546860"/>
                  <a:gd name="connsiteX34" fmla="*/ 640080 w 1008838"/>
                  <a:gd name="connsiteY34" fmla="*/ 1546860 h 1546860"/>
                  <a:gd name="connsiteX35" fmla="*/ 457200 w 1008838"/>
                  <a:gd name="connsiteY35" fmla="*/ 1546860 h 154686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71499 w 1008838"/>
                  <a:gd name="connsiteY19" fmla="*/ 259080 h 1577340"/>
                  <a:gd name="connsiteX20" fmla="*/ 594360 w 1008838"/>
                  <a:gd name="connsiteY20" fmla="*/ 335280 h 1577340"/>
                  <a:gd name="connsiteX21" fmla="*/ 723900 w 1008838"/>
                  <a:gd name="connsiteY21" fmla="*/ 91440 h 1577340"/>
                  <a:gd name="connsiteX22" fmla="*/ 739140 w 1008838"/>
                  <a:gd name="connsiteY22" fmla="*/ 152400 h 1577340"/>
                  <a:gd name="connsiteX23" fmla="*/ 632460 w 1008838"/>
                  <a:gd name="connsiteY23" fmla="*/ 373380 h 1577340"/>
                  <a:gd name="connsiteX24" fmla="*/ 594360 w 1008838"/>
                  <a:gd name="connsiteY24" fmla="*/ 563880 h 1577340"/>
                  <a:gd name="connsiteX25" fmla="*/ 609600 w 1008838"/>
                  <a:gd name="connsiteY25" fmla="*/ 767080 h 1577340"/>
                  <a:gd name="connsiteX26" fmla="*/ 838200 w 1008838"/>
                  <a:gd name="connsiteY26" fmla="*/ 487680 h 1577340"/>
                  <a:gd name="connsiteX27" fmla="*/ 868680 w 1008838"/>
                  <a:gd name="connsiteY27" fmla="*/ 525780 h 1577340"/>
                  <a:gd name="connsiteX28" fmla="*/ 792480 w 1008838"/>
                  <a:gd name="connsiteY28" fmla="*/ 640080 h 1577340"/>
                  <a:gd name="connsiteX29" fmla="*/ 962660 w 1008838"/>
                  <a:gd name="connsiteY29" fmla="*/ 553720 h 1577340"/>
                  <a:gd name="connsiteX30" fmla="*/ 998220 w 1008838"/>
                  <a:gd name="connsiteY30" fmla="*/ 563880 h 1577340"/>
                  <a:gd name="connsiteX31" fmla="*/ 746760 w 1008838"/>
                  <a:gd name="connsiteY31" fmla="*/ 693420 h 1577340"/>
                  <a:gd name="connsiteX32" fmla="*/ 632460 w 1008838"/>
                  <a:gd name="connsiteY32" fmla="*/ 876300 h 1577340"/>
                  <a:gd name="connsiteX33" fmla="*/ 640080 w 1008838"/>
                  <a:gd name="connsiteY33" fmla="*/ 1219200 h 1577340"/>
                  <a:gd name="connsiteX34" fmla="*/ 640080 w 1008838"/>
                  <a:gd name="connsiteY34" fmla="*/ 1577340 h 1577340"/>
                  <a:gd name="connsiteX35" fmla="*/ 457200 w 1008838"/>
                  <a:gd name="connsiteY35"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739140 w 1008838"/>
                  <a:gd name="connsiteY22" fmla="*/ 152400 h 1577340"/>
                  <a:gd name="connsiteX23" fmla="*/ 632460 w 1008838"/>
                  <a:gd name="connsiteY23" fmla="*/ 373380 h 1577340"/>
                  <a:gd name="connsiteX24" fmla="*/ 594360 w 1008838"/>
                  <a:gd name="connsiteY24" fmla="*/ 563880 h 1577340"/>
                  <a:gd name="connsiteX25" fmla="*/ 609600 w 1008838"/>
                  <a:gd name="connsiteY25" fmla="*/ 767080 h 1577340"/>
                  <a:gd name="connsiteX26" fmla="*/ 838200 w 1008838"/>
                  <a:gd name="connsiteY26" fmla="*/ 487680 h 1577340"/>
                  <a:gd name="connsiteX27" fmla="*/ 868680 w 1008838"/>
                  <a:gd name="connsiteY27" fmla="*/ 525780 h 1577340"/>
                  <a:gd name="connsiteX28" fmla="*/ 792480 w 1008838"/>
                  <a:gd name="connsiteY28" fmla="*/ 640080 h 1577340"/>
                  <a:gd name="connsiteX29" fmla="*/ 962660 w 1008838"/>
                  <a:gd name="connsiteY29" fmla="*/ 553720 h 1577340"/>
                  <a:gd name="connsiteX30" fmla="*/ 998220 w 1008838"/>
                  <a:gd name="connsiteY30" fmla="*/ 563880 h 1577340"/>
                  <a:gd name="connsiteX31" fmla="*/ 746760 w 1008838"/>
                  <a:gd name="connsiteY31" fmla="*/ 693420 h 1577340"/>
                  <a:gd name="connsiteX32" fmla="*/ 632460 w 1008838"/>
                  <a:gd name="connsiteY32" fmla="*/ 876300 h 1577340"/>
                  <a:gd name="connsiteX33" fmla="*/ 640080 w 1008838"/>
                  <a:gd name="connsiteY33" fmla="*/ 1219200 h 1577340"/>
                  <a:gd name="connsiteX34" fmla="*/ 640080 w 1008838"/>
                  <a:gd name="connsiteY34" fmla="*/ 1577340 h 1577340"/>
                  <a:gd name="connsiteX35" fmla="*/ 457200 w 1008838"/>
                  <a:gd name="connsiteY35"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947420 w 1008838"/>
                  <a:gd name="connsiteY22" fmla="*/ 15240 h 1577340"/>
                  <a:gd name="connsiteX23" fmla="*/ 632460 w 1008838"/>
                  <a:gd name="connsiteY23" fmla="*/ 373380 h 1577340"/>
                  <a:gd name="connsiteX24" fmla="*/ 594360 w 1008838"/>
                  <a:gd name="connsiteY24" fmla="*/ 563880 h 1577340"/>
                  <a:gd name="connsiteX25" fmla="*/ 609600 w 1008838"/>
                  <a:gd name="connsiteY25" fmla="*/ 767080 h 1577340"/>
                  <a:gd name="connsiteX26" fmla="*/ 838200 w 1008838"/>
                  <a:gd name="connsiteY26" fmla="*/ 487680 h 1577340"/>
                  <a:gd name="connsiteX27" fmla="*/ 868680 w 1008838"/>
                  <a:gd name="connsiteY27" fmla="*/ 525780 h 1577340"/>
                  <a:gd name="connsiteX28" fmla="*/ 792480 w 1008838"/>
                  <a:gd name="connsiteY28" fmla="*/ 640080 h 1577340"/>
                  <a:gd name="connsiteX29" fmla="*/ 962660 w 1008838"/>
                  <a:gd name="connsiteY29" fmla="*/ 553720 h 1577340"/>
                  <a:gd name="connsiteX30" fmla="*/ 998220 w 1008838"/>
                  <a:gd name="connsiteY30" fmla="*/ 563880 h 1577340"/>
                  <a:gd name="connsiteX31" fmla="*/ 746760 w 1008838"/>
                  <a:gd name="connsiteY31" fmla="*/ 693420 h 1577340"/>
                  <a:gd name="connsiteX32" fmla="*/ 632460 w 1008838"/>
                  <a:gd name="connsiteY32" fmla="*/ 876300 h 1577340"/>
                  <a:gd name="connsiteX33" fmla="*/ 640080 w 1008838"/>
                  <a:gd name="connsiteY33" fmla="*/ 1219200 h 1577340"/>
                  <a:gd name="connsiteX34" fmla="*/ 640080 w 1008838"/>
                  <a:gd name="connsiteY34" fmla="*/ 1577340 h 1577340"/>
                  <a:gd name="connsiteX35" fmla="*/ 457200 w 1008838"/>
                  <a:gd name="connsiteY35"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947420 w 1008838"/>
                  <a:gd name="connsiteY22" fmla="*/ 15240 h 1577340"/>
                  <a:gd name="connsiteX23" fmla="*/ 810259 w 1008838"/>
                  <a:gd name="connsiteY23" fmla="*/ 177800 h 1577340"/>
                  <a:gd name="connsiteX24" fmla="*/ 632460 w 1008838"/>
                  <a:gd name="connsiteY24" fmla="*/ 373380 h 1577340"/>
                  <a:gd name="connsiteX25" fmla="*/ 594360 w 1008838"/>
                  <a:gd name="connsiteY25" fmla="*/ 563880 h 1577340"/>
                  <a:gd name="connsiteX26" fmla="*/ 609600 w 1008838"/>
                  <a:gd name="connsiteY26" fmla="*/ 767080 h 1577340"/>
                  <a:gd name="connsiteX27" fmla="*/ 838200 w 1008838"/>
                  <a:gd name="connsiteY27" fmla="*/ 487680 h 1577340"/>
                  <a:gd name="connsiteX28" fmla="*/ 868680 w 1008838"/>
                  <a:gd name="connsiteY28" fmla="*/ 525780 h 1577340"/>
                  <a:gd name="connsiteX29" fmla="*/ 792480 w 1008838"/>
                  <a:gd name="connsiteY29" fmla="*/ 640080 h 1577340"/>
                  <a:gd name="connsiteX30" fmla="*/ 962660 w 1008838"/>
                  <a:gd name="connsiteY30" fmla="*/ 553720 h 1577340"/>
                  <a:gd name="connsiteX31" fmla="*/ 998220 w 1008838"/>
                  <a:gd name="connsiteY31" fmla="*/ 563880 h 1577340"/>
                  <a:gd name="connsiteX32" fmla="*/ 746760 w 1008838"/>
                  <a:gd name="connsiteY32" fmla="*/ 693420 h 1577340"/>
                  <a:gd name="connsiteX33" fmla="*/ 632460 w 1008838"/>
                  <a:gd name="connsiteY33" fmla="*/ 876300 h 1577340"/>
                  <a:gd name="connsiteX34" fmla="*/ 640080 w 1008838"/>
                  <a:gd name="connsiteY34" fmla="*/ 1219200 h 1577340"/>
                  <a:gd name="connsiteX35" fmla="*/ 640080 w 1008838"/>
                  <a:gd name="connsiteY35" fmla="*/ 1577340 h 1577340"/>
                  <a:gd name="connsiteX36" fmla="*/ 457200 w 1008838"/>
                  <a:gd name="connsiteY36"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947420 w 1008838"/>
                  <a:gd name="connsiteY22" fmla="*/ 15240 h 1577340"/>
                  <a:gd name="connsiteX23" fmla="*/ 769619 w 1008838"/>
                  <a:gd name="connsiteY23" fmla="*/ 116840 h 1577340"/>
                  <a:gd name="connsiteX24" fmla="*/ 632460 w 1008838"/>
                  <a:gd name="connsiteY24" fmla="*/ 373380 h 1577340"/>
                  <a:gd name="connsiteX25" fmla="*/ 594360 w 1008838"/>
                  <a:gd name="connsiteY25" fmla="*/ 563880 h 1577340"/>
                  <a:gd name="connsiteX26" fmla="*/ 609600 w 1008838"/>
                  <a:gd name="connsiteY26" fmla="*/ 767080 h 1577340"/>
                  <a:gd name="connsiteX27" fmla="*/ 838200 w 1008838"/>
                  <a:gd name="connsiteY27" fmla="*/ 487680 h 1577340"/>
                  <a:gd name="connsiteX28" fmla="*/ 868680 w 1008838"/>
                  <a:gd name="connsiteY28" fmla="*/ 525780 h 1577340"/>
                  <a:gd name="connsiteX29" fmla="*/ 792480 w 1008838"/>
                  <a:gd name="connsiteY29" fmla="*/ 640080 h 1577340"/>
                  <a:gd name="connsiteX30" fmla="*/ 962660 w 1008838"/>
                  <a:gd name="connsiteY30" fmla="*/ 553720 h 1577340"/>
                  <a:gd name="connsiteX31" fmla="*/ 998220 w 1008838"/>
                  <a:gd name="connsiteY31" fmla="*/ 563880 h 1577340"/>
                  <a:gd name="connsiteX32" fmla="*/ 746760 w 1008838"/>
                  <a:gd name="connsiteY32" fmla="*/ 693420 h 1577340"/>
                  <a:gd name="connsiteX33" fmla="*/ 632460 w 1008838"/>
                  <a:gd name="connsiteY33" fmla="*/ 876300 h 1577340"/>
                  <a:gd name="connsiteX34" fmla="*/ 640080 w 1008838"/>
                  <a:gd name="connsiteY34" fmla="*/ 1219200 h 1577340"/>
                  <a:gd name="connsiteX35" fmla="*/ 640080 w 1008838"/>
                  <a:gd name="connsiteY35" fmla="*/ 1577340 h 1577340"/>
                  <a:gd name="connsiteX36" fmla="*/ 457200 w 1008838"/>
                  <a:gd name="connsiteY36"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769619 w 1008838"/>
                  <a:gd name="connsiteY22" fmla="*/ 81280 h 1577340"/>
                  <a:gd name="connsiteX23" fmla="*/ 947420 w 1008838"/>
                  <a:gd name="connsiteY23" fmla="*/ 15240 h 1577340"/>
                  <a:gd name="connsiteX24" fmla="*/ 769619 w 1008838"/>
                  <a:gd name="connsiteY24" fmla="*/ 116840 h 1577340"/>
                  <a:gd name="connsiteX25" fmla="*/ 632460 w 1008838"/>
                  <a:gd name="connsiteY25" fmla="*/ 373380 h 1577340"/>
                  <a:gd name="connsiteX26" fmla="*/ 594360 w 1008838"/>
                  <a:gd name="connsiteY26" fmla="*/ 563880 h 1577340"/>
                  <a:gd name="connsiteX27" fmla="*/ 609600 w 1008838"/>
                  <a:gd name="connsiteY27" fmla="*/ 767080 h 1577340"/>
                  <a:gd name="connsiteX28" fmla="*/ 838200 w 1008838"/>
                  <a:gd name="connsiteY28" fmla="*/ 487680 h 1577340"/>
                  <a:gd name="connsiteX29" fmla="*/ 868680 w 1008838"/>
                  <a:gd name="connsiteY29" fmla="*/ 525780 h 1577340"/>
                  <a:gd name="connsiteX30" fmla="*/ 792480 w 1008838"/>
                  <a:gd name="connsiteY30" fmla="*/ 640080 h 1577340"/>
                  <a:gd name="connsiteX31" fmla="*/ 962660 w 1008838"/>
                  <a:gd name="connsiteY31" fmla="*/ 553720 h 1577340"/>
                  <a:gd name="connsiteX32" fmla="*/ 998220 w 1008838"/>
                  <a:gd name="connsiteY32" fmla="*/ 563880 h 1577340"/>
                  <a:gd name="connsiteX33" fmla="*/ 746760 w 1008838"/>
                  <a:gd name="connsiteY33" fmla="*/ 693420 h 1577340"/>
                  <a:gd name="connsiteX34" fmla="*/ 632460 w 1008838"/>
                  <a:gd name="connsiteY34" fmla="*/ 876300 h 1577340"/>
                  <a:gd name="connsiteX35" fmla="*/ 640080 w 1008838"/>
                  <a:gd name="connsiteY35" fmla="*/ 1219200 h 1577340"/>
                  <a:gd name="connsiteX36" fmla="*/ 640080 w 1008838"/>
                  <a:gd name="connsiteY36" fmla="*/ 1577340 h 1577340"/>
                  <a:gd name="connsiteX37" fmla="*/ 457200 w 1008838"/>
                  <a:gd name="connsiteY37"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698499 w 1008838"/>
                  <a:gd name="connsiteY21" fmla="*/ 132080 h 1577340"/>
                  <a:gd name="connsiteX22" fmla="*/ 723900 w 1008838"/>
                  <a:gd name="connsiteY22" fmla="*/ 91440 h 1577340"/>
                  <a:gd name="connsiteX23" fmla="*/ 769619 w 1008838"/>
                  <a:gd name="connsiteY23" fmla="*/ 81280 h 1577340"/>
                  <a:gd name="connsiteX24" fmla="*/ 947420 w 1008838"/>
                  <a:gd name="connsiteY24" fmla="*/ 15240 h 1577340"/>
                  <a:gd name="connsiteX25" fmla="*/ 769619 w 1008838"/>
                  <a:gd name="connsiteY25" fmla="*/ 116840 h 1577340"/>
                  <a:gd name="connsiteX26" fmla="*/ 632460 w 1008838"/>
                  <a:gd name="connsiteY26" fmla="*/ 373380 h 1577340"/>
                  <a:gd name="connsiteX27" fmla="*/ 594360 w 1008838"/>
                  <a:gd name="connsiteY27" fmla="*/ 563880 h 1577340"/>
                  <a:gd name="connsiteX28" fmla="*/ 609600 w 1008838"/>
                  <a:gd name="connsiteY28" fmla="*/ 767080 h 1577340"/>
                  <a:gd name="connsiteX29" fmla="*/ 838200 w 1008838"/>
                  <a:gd name="connsiteY29" fmla="*/ 487680 h 1577340"/>
                  <a:gd name="connsiteX30" fmla="*/ 868680 w 1008838"/>
                  <a:gd name="connsiteY30" fmla="*/ 525780 h 1577340"/>
                  <a:gd name="connsiteX31" fmla="*/ 792480 w 1008838"/>
                  <a:gd name="connsiteY31" fmla="*/ 640080 h 1577340"/>
                  <a:gd name="connsiteX32" fmla="*/ 962660 w 1008838"/>
                  <a:gd name="connsiteY32" fmla="*/ 553720 h 1577340"/>
                  <a:gd name="connsiteX33" fmla="*/ 998220 w 1008838"/>
                  <a:gd name="connsiteY33" fmla="*/ 563880 h 1577340"/>
                  <a:gd name="connsiteX34" fmla="*/ 746760 w 1008838"/>
                  <a:gd name="connsiteY34" fmla="*/ 693420 h 1577340"/>
                  <a:gd name="connsiteX35" fmla="*/ 632460 w 1008838"/>
                  <a:gd name="connsiteY35" fmla="*/ 876300 h 1577340"/>
                  <a:gd name="connsiteX36" fmla="*/ 640080 w 1008838"/>
                  <a:gd name="connsiteY36" fmla="*/ 1219200 h 1577340"/>
                  <a:gd name="connsiteX37" fmla="*/ 640080 w 1008838"/>
                  <a:gd name="connsiteY37" fmla="*/ 1577340 h 1577340"/>
                  <a:gd name="connsiteX38" fmla="*/ 457200 w 1008838"/>
                  <a:gd name="connsiteY38"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698499 w 1008838"/>
                  <a:gd name="connsiteY21" fmla="*/ 132080 h 1577340"/>
                  <a:gd name="connsiteX22" fmla="*/ 693420 w 1008838"/>
                  <a:gd name="connsiteY22" fmla="*/ 10160 h 1577340"/>
                  <a:gd name="connsiteX23" fmla="*/ 769619 w 1008838"/>
                  <a:gd name="connsiteY23" fmla="*/ 81280 h 1577340"/>
                  <a:gd name="connsiteX24" fmla="*/ 947420 w 1008838"/>
                  <a:gd name="connsiteY24" fmla="*/ 15240 h 1577340"/>
                  <a:gd name="connsiteX25" fmla="*/ 769619 w 1008838"/>
                  <a:gd name="connsiteY25" fmla="*/ 116840 h 1577340"/>
                  <a:gd name="connsiteX26" fmla="*/ 632460 w 1008838"/>
                  <a:gd name="connsiteY26" fmla="*/ 373380 h 1577340"/>
                  <a:gd name="connsiteX27" fmla="*/ 594360 w 1008838"/>
                  <a:gd name="connsiteY27" fmla="*/ 563880 h 1577340"/>
                  <a:gd name="connsiteX28" fmla="*/ 609600 w 1008838"/>
                  <a:gd name="connsiteY28" fmla="*/ 767080 h 1577340"/>
                  <a:gd name="connsiteX29" fmla="*/ 838200 w 1008838"/>
                  <a:gd name="connsiteY29" fmla="*/ 487680 h 1577340"/>
                  <a:gd name="connsiteX30" fmla="*/ 868680 w 1008838"/>
                  <a:gd name="connsiteY30" fmla="*/ 525780 h 1577340"/>
                  <a:gd name="connsiteX31" fmla="*/ 792480 w 1008838"/>
                  <a:gd name="connsiteY31" fmla="*/ 640080 h 1577340"/>
                  <a:gd name="connsiteX32" fmla="*/ 962660 w 1008838"/>
                  <a:gd name="connsiteY32" fmla="*/ 553720 h 1577340"/>
                  <a:gd name="connsiteX33" fmla="*/ 998220 w 1008838"/>
                  <a:gd name="connsiteY33" fmla="*/ 563880 h 1577340"/>
                  <a:gd name="connsiteX34" fmla="*/ 746760 w 1008838"/>
                  <a:gd name="connsiteY34" fmla="*/ 693420 h 1577340"/>
                  <a:gd name="connsiteX35" fmla="*/ 632460 w 1008838"/>
                  <a:gd name="connsiteY35" fmla="*/ 876300 h 1577340"/>
                  <a:gd name="connsiteX36" fmla="*/ 640080 w 1008838"/>
                  <a:gd name="connsiteY36" fmla="*/ 1219200 h 1577340"/>
                  <a:gd name="connsiteX37" fmla="*/ 640080 w 1008838"/>
                  <a:gd name="connsiteY37" fmla="*/ 1577340 h 1577340"/>
                  <a:gd name="connsiteX38" fmla="*/ 457200 w 1008838"/>
                  <a:gd name="connsiteY38"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899 w 1008838"/>
                  <a:gd name="connsiteY21" fmla="*/ 111760 h 1577340"/>
                  <a:gd name="connsiteX22" fmla="*/ 693420 w 1008838"/>
                  <a:gd name="connsiteY22" fmla="*/ 10160 h 1577340"/>
                  <a:gd name="connsiteX23" fmla="*/ 769619 w 1008838"/>
                  <a:gd name="connsiteY23" fmla="*/ 81280 h 1577340"/>
                  <a:gd name="connsiteX24" fmla="*/ 947420 w 1008838"/>
                  <a:gd name="connsiteY24" fmla="*/ 15240 h 1577340"/>
                  <a:gd name="connsiteX25" fmla="*/ 769619 w 1008838"/>
                  <a:gd name="connsiteY25" fmla="*/ 116840 h 1577340"/>
                  <a:gd name="connsiteX26" fmla="*/ 632460 w 1008838"/>
                  <a:gd name="connsiteY26" fmla="*/ 373380 h 1577340"/>
                  <a:gd name="connsiteX27" fmla="*/ 594360 w 1008838"/>
                  <a:gd name="connsiteY27" fmla="*/ 563880 h 1577340"/>
                  <a:gd name="connsiteX28" fmla="*/ 609600 w 1008838"/>
                  <a:gd name="connsiteY28" fmla="*/ 767080 h 1577340"/>
                  <a:gd name="connsiteX29" fmla="*/ 838200 w 1008838"/>
                  <a:gd name="connsiteY29" fmla="*/ 487680 h 1577340"/>
                  <a:gd name="connsiteX30" fmla="*/ 868680 w 1008838"/>
                  <a:gd name="connsiteY30" fmla="*/ 525780 h 1577340"/>
                  <a:gd name="connsiteX31" fmla="*/ 792480 w 1008838"/>
                  <a:gd name="connsiteY31" fmla="*/ 640080 h 1577340"/>
                  <a:gd name="connsiteX32" fmla="*/ 962660 w 1008838"/>
                  <a:gd name="connsiteY32" fmla="*/ 553720 h 1577340"/>
                  <a:gd name="connsiteX33" fmla="*/ 998220 w 1008838"/>
                  <a:gd name="connsiteY33" fmla="*/ 563880 h 1577340"/>
                  <a:gd name="connsiteX34" fmla="*/ 746760 w 1008838"/>
                  <a:gd name="connsiteY34" fmla="*/ 693420 h 1577340"/>
                  <a:gd name="connsiteX35" fmla="*/ 632460 w 1008838"/>
                  <a:gd name="connsiteY35" fmla="*/ 876300 h 1577340"/>
                  <a:gd name="connsiteX36" fmla="*/ 640080 w 1008838"/>
                  <a:gd name="connsiteY36" fmla="*/ 1219200 h 1577340"/>
                  <a:gd name="connsiteX37" fmla="*/ 640080 w 1008838"/>
                  <a:gd name="connsiteY37" fmla="*/ 1577340 h 1577340"/>
                  <a:gd name="connsiteX38" fmla="*/ 457200 w 1008838"/>
                  <a:gd name="connsiteY38"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899 w 1008838"/>
                  <a:gd name="connsiteY21" fmla="*/ 111760 h 1577340"/>
                  <a:gd name="connsiteX22" fmla="*/ 693420 w 1008838"/>
                  <a:gd name="connsiteY22" fmla="*/ 10160 h 1577340"/>
                  <a:gd name="connsiteX23" fmla="*/ 728979 w 1008838"/>
                  <a:gd name="connsiteY23" fmla="*/ 50800 h 1577340"/>
                  <a:gd name="connsiteX24" fmla="*/ 769619 w 1008838"/>
                  <a:gd name="connsiteY24" fmla="*/ 81280 h 1577340"/>
                  <a:gd name="connsiteX25" fmla="*/ 947420 w 1008838"/>
                  <a:gd name="connsiteY25" fmla="*/ 15240 h 1577340"/>
                  <a:gd name="connsiteX26" fmla="*/ 769619 w 1008838"/>
                  <a:gd name="connsiteY26" fmla="*/ 116840 h 1577340"/>
                  <a:gd name="connsiteX27" fmla="*/ 632460 w 1008838"/>
                  <a:gd name="connsiteY27" fmla="*/ 373380 h 1577340"/>
                  <a:gd name="connsiteX28" fmla="*/ 594360 w 1008838"/>
                  <a:gd name="connsiteY28" fmla="*/ 563880 h 1577340"/>
                  <a:gd name="connsiteX29" fmla="*/ 609600 w 1008838"/>
                  <a:gd name="connsiteY29" fmla="*/ 767080 h 1577340"/>
                  <a:gd name="connsiteX30" fmla="*/ 838200 w 1008838"/>
                  <a:gd name="connsiteY30" fmla="*/ 487680 h 1577340"/>
                  <a:gd name="connsiteX31" fmla="*/ 868680 w 1008838"/>
                  <a:gd name="connsiteY31" fmla="*/ 525780 h 1577340"/>
                  <a:gd name="connsiteX32" fmla="*/ 792480 w 1008838"/>
                  <a:gd name="connsiteY32" fmla="*/ 640080 h 1577340"/>
                  <a:gd name="connsiteX33" fmla="*/ 962660 w 1008838"/>
                  <a:gd name="connsiteY33" fmla="*/ 553720 h 1577340"/>
                  <a:gd name="connsiteX34" fmla="*/ 998220 w 1008838"/>
                  <a:gd name="connsiteY34" fmla="*/ 563880 h 1577340"/>
                  <a:gd name="connsiteX35" fmla="*/ 746760 w 1008838"/>
                  <a:gd name="connsiteY35" fmla="*/ 693420 h 1577340"/>
                  <a:gd name="connsiteX36" fmla="*/ 632460 w 1008838"/>
                  <a:gd name="connsiteY36" fmla="*/ 876300 h 1577340"/>
                  <a:gd name="connsiteX37" fmla="*/ 640080 w 1008838"/>
                  <a:gd name="connsiteY37" fmla="*/ 1219200 h 1577340"/>
                  <a:gd name="connsiteX38" fmla="*/ 640080 w 1008838"/>
                  <a:gd name="connsiteY38" fmla="*/ 1577340 h 1577340"/>
                  <a:gd name="connsiteX39" fmla="*/ 457200 w 1008838"/>
                  <a:gd name="connsiteY39" fmla="*/ 1577340 h 157734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9619 w 1008838"/>
                  <a:gd name="connsiteY24" fmla="*/ 101600 h 1597660"/>
                  <a:gd name="connsiteX25" fmla="*/ 947420 w 1008838"/>
                  <a:gd name="connsiteY25" fmla="*/ 35560 h 1597660"/>
                  <a:gd name="connsiteX26" fmla="*/ 769619 w 1008838"/>
                  <a:gd name="connsiteY26" fmla="*/ 137160 h 1597660"/>
                  <a:gd name="connsiteX27" fmla="*/ 632460 w 1008838"/>
                  <a:gd name="connsiteY27" fmla="*/ 393700 h 1597660"/>
                  <a:gd name="connsiteX28" fmla="*/ 594360 w 1008838"/>
                  <a:gd name="connsiteY28" fmla="*/ 584200 h 1597660"/>
                  <a:gd name="connsiteX29" fmla="*/ 609600 w 1008838"/>
                  <a:gd name="connsiteY29" fmla="*/ 78740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9619 w 1008838"/>
                  <a:gd name="connsiteY24" fmla="*/ 10160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594360 w 1008838"/>
                  <a:gd name="connsiteY28" fmla="*/ 584200 h 1597660"/>
                  <a:gd name="connsiteX29" fmla="*/ 609600 w 1008838"/>
                  <a:gd name="connsiteY29" fmla="*/ 78740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594360 w 1008838"/>
                  <a:gd name="connsiteY28" fmla="*/ 584200 h 1597660"/>
                  <a:gd name="connsiteX29" fmla="*/ 609600 w 1008838"/>
                  <a:gd name="connsiteY29" fmla="*/ 78740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594360 w 1008838"/>
                  <a:gd name="connsiteY28" fmla="*/ 584200 h 1597660"/>
                  <a:gd name="connsiteX29" fmla="*/ 624840 w 1008838"/>
                  <a:gd name="connsiteY29" fmla="*/ 78994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38200 w 1008838"/>
                  <a:gd name="connsiteY31" fmla="*/ 508000 h 1597660"/>
                  <a:gd name="connsiteX32" fmla="*/ 868680 w 1008838"/>
                  <a:gd name="connsiteY32" fmla="*/ 546100 h 1597660"/>
                  <a:gd name="connsiteX33" fmla="*/ 792480 w 1008838"/>
                  <a:gd name="connsiteY33" fmla="*/ 660400 h 1597660"/>
                  <a:gd name="connsiteX34" fmla="*/ 962660 w 1008838"/>
                  <a:gd name="connsiteY34" fmla="*/ 574040 h 1597660"/>
                  <a:gd name="connsiteX35" fmla="*/ 998220 w 1008838"/>
                  <a:gd name="connsiteY35" fmla="*/ 584200 h 1597660"/>
                  <a:gd name="connsiteX36" fmla="*/ 746760 w 1008838"/>
                  <a:gd name="connsiteY36" fmla="*/ 713740 h 1597660"/>
                  <a:gd name="connsiteX37" fmla="*/ 632460 w 1008838"/>
                  <a:gd name="connsiteY37" fmla="*/ 896620 h 1597660"/>
                  <a:gd name="connsiteX38" fmla="*/ 640080 w 1008838"/>
                  <a:gd name="connsiteY38" fmla="*/ 1239520 h 1597660"/>
                  <a:gd name="connsiteX39" fmla="*/ 640080 w 1008838"/>
                  <a:gd name="connsiteY39" fmla="*/ 1597660 h 1597660"/>
                  <a:gd name="connsiteX40" fmla="*/ 457200 w 1008838"/>
                  <a:gd name="connsiteY40"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68680 w 1008838"/>
                  <a:gd name="connsiteY32" fmla="*/ 546100 h 1597660"/>
                  <a:gd name="connsiteX33" fmla="*/ 792480 w 1008838"/>
                  <a:gd name="connsiteY33" fmla="*/ 660400 h 1597660"/>
                  <a:gd name="connsiteX34" fmla="*/ 962660 w 1008838"/>
                  <a:gd name="connsiteY34" fmla="*/ 574040 h 1597660"/>
                  <a:gd name="connsiteX35" fmla="*/ 998220 w 1008838"/>
                  <a:gd name="connsiteY35" fmla="*/ 584200 h 1597660"/>
                  <a:gd name="connsiteX36" fmla="*/ 746760 w 1008838"/>
                  <a:gd name="connsiteY36" fmla="*/ 713740 h 1597660"/>
                  <a:gd name="connsiteX37" fmla="*/ 632460 w 1008838"/>
                  <a:gd name="connsiteY37" fmla="*/ 896620 h 1597660"/>
                  <a:gd name="connsiteX38" fmla="*/ 640080 w 1008838"/>
                  <a:gd name="connsiteY38" fmla="*/ 1239520 h 1597660"/>
                  <a:gd name="connsiteX39" fmla="*/ 640080 w 1008838"/>
                  <a:gd name="connsiteY39" fmla="*/ 1597660 h 1597660"/>
                  <a:gd name="connsiteX40" fmla="*/ 457200 w 1008838"/>
                  <a:gd name="connsiteY40"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990600 w 1008838"/>
                  <a:gd name="connsiteY32" fmla="*/ 370840 h 1597660"/>
                  <a:gd name="connsiteX33" fmla="*/ 792480 w 1008838"/>
                  <a:gd name="connsiteY33" fmla="*/ 660400 h 1597660"/>
                  <a:gd name="connsiteX34" fmla="*/ 962660 w 1008838"/>
                  <a:gd name="connsiteY34" fmla="*/ 574040 h 1597660"/>
                  <a:gd name="connsiteX35" fmla="*/ 998220 w 1008838"/>
                  <a:gd name="connsiteY35" fmla="*/ 584200 h 1597660"/>
                  <a:gd name="connsiteX36" fmla="*/ 746760 w 1008838"/>
                  <a:gd name="connsiteY36" fmla="*/ 713740 h 1597660"/>
                  <a:gd name="connsiteX37" fmla="*/ 632460 w 1008838"/>
                  <a:gd name="connsiteY37" fmla="*/ 896620 h 1597660"/>
                  <a:gd name="connsiteX38" fmla="*/ 640080 w 1008838"/>
                  <a:gd name="connsiteY38" fmla="*/ 1239520 h 1597660"/>
                  <a:gd name="connsiteX39" fmla="*/ 640080 w 1008838"/>
                  <a:gd name="connsiteY39" fmla="*/ 1597660 h 1597660"/>
                  <a:gd name="connsiteX40" fmla="*/ 457200 w 1008838"/>
                  <a:gd name="connsiteY40"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91539 w 1008838"/>
                  <a:gd name="connsiteY32" fmla="*/ 327660 h 1597660"/>
                  <a:gd name="connsiteX33" fmla="*/ 990600 w 1008838"/>
                  <a:gd name="connsiteY33" fmla="*/ 370840 h 1597660"/>
                  <a:gd name="connsiteX34" fmla="*/ 792480 w 1008838"/>
                  <a:gd name="connsiteY34" fmla="*/ 660400 h 1597660"/>
                  <a:gd name="connsiteX35" fmla="*/ 962660 w 1008838"/>
                  <a:gd name="connsiteY35" fmla="*/ 574040 h 1597660"/>
                  <a:gd name="connsiteX36" fmla="*/ 998220 w 1008838"/>
                  <a:gd name="connsiteY36" fmla="*/ 584200 h 1597660"/>
                  <a:gd name="connsiteX37" fmla="*/ 746760 w 1008838"/>
                  <a:gd name="connsiteY37" fmla="*/ 713740 h 1597660"/>
                  <a:gd name="connsiteX38" fmla="*/ 632460 w 1008838"/>
                  <a:gd name="connsiteY38" fmla="*/ 896620 h 1597660"/>
                  <a:gd name="connsiteX39" fmla="*/ 640080 w 1008838"/>
                  <a:gd name="connsiteY39" fmla="*/ 1239520 h 1597660"/>
                  <a:gd name="connsiteX40" fmla="*/ 640080 w 1008838"/>
                  <a:gd name="connsiteY40" fmla="*/ 1597660 h 1597660"/>
                  <a:gd name="connsiteX41" fmla="*/ 457200 w 1008838"/>
                  <a:gd name="connsiteY41"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78839 w 1008838"/>
                  <a:gd name="connsiteY32" fmla="*/ 322580 h 1597660"/>
                  <a:gd name="connsiteX33" fmla="*/ 990600 w 1008838"/>
                  <a:gd name="connsiteY33" fmla="*/ 370840 h 1597660"/>
                  <a:gd name="connsiteX34" fmla="*/ 792480 w 1008838"/>
                  <a:gd name="connsiteY34" fmla="*/ 660400 h 1597660"/>
                  <a:gd name="connsiteX35" fmla="*/ 962660 w 1008838"/>
                  <a:gd name="connsiteY35" fmla="*/ 574040 h 1597660"/>
                  <a:gd name="connsiteX36" fmla="*/ 998220 w 1008838"/>
                  <a:gd name="connsiteY36" fmla="*/ 584200 h 1597660"/>
                  <a:gd name="connsiteX37" fmla="*/ 746760 w 1008838"/>
                  <a:gd name="connsiteY37" fmla="*/ 713740 h 1597660"/>
                  <a:gd name="connsiteX38" fmla="*/ 632460 w 1008838"/>
                  <a:gd name="connsiteY38" fmla="*/ 896620 h 1597660"/>
                  <a:gd name="connsiteX39" fmla="*/ 640080 w 1008838"/>
                  <a:gd name="connsiteY39" fmla="*/ 1239520 h 1597660"/>
                  <a:gd name="connsiteX40" fmla="*/ 640080 w 1008838"/>
                  <a:gd name="connsiteY40" fmla="*/ 1597660 h 1597660"/>
                  <a:gd name="connsiteX41" fmla="*/ 457200 w 1008838"/>
                  <a:gd name="connsiteY41"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78839 w 1008838"/>
                  <a:gd name="connsiteY32" fmla="*/ 322580 h 1597660"/>
                  <a:gd name="connsiteX33" fmla="*/ 942339 w 1008838"/>
                  <a:gd name="connsiteY33" fmla="*/ 347980 h 1597660"/>
                  <a:gd name="connsiteX34" fmla="*/ 990600 w 1008838"/>
                  <a:gd name="connsiteY34" fmla="*/ 370840 h 1597660"/>
                  <a:gd name="connsiteX35" fmla="*/ 792480 w 1008838"/>
                  <a:gd name="connsiteY35" fmla="*/ 660400 h 1597660"/>
                  <a:gd name="connsiteX36" fmla="*/ 962660 w 1008838"/>
                  <a:gd name="connsiteY36" fmla="*/ 574040 h 1597660"/>
                  <a:gd name="connsiteX37" fmla="*/ 998220 w 1008838"/>
                  <a:gd name="connsiteY37" fmla="*/ 584200 h 1597660"/>
                  <a:gd name="connsiteX38" fmla="*/ 746760 w 1008838"/>
                  <a:gd name="connsiteY38" fmla="*/ 713740 h 1597660"/>
                  <a:gd name="connsiteX39" fmla="*/ 632460 w 1008838"/>
                  <a:gd name="connsiteY39" fmla="*/ 896620 h 1597660"/>
                  <a:gd name="connsiteX40" fmla="*/ 640080 w 1008838"/>
                  <a:gd name="connsiteY40" fmla="*/ 1239520 h 1597660"/>
                  <a:gd name="connsiteX41" fmla="*/ 640080 w 1008838"/>
                  <a:gd name="connsiteY41" fmla="*/ 1597660 h 1597660"/>
                  <a:gd name="connsiteX42" fmla="*/ 457200 w 1008838"/>
                  <a:gd name="connsiteY42"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78839 w 1008838"/>
                  <a:gd name="connsiteY32" fmla="*/ 322580 h 1597660"/>
                  <a:gd name="connsiteX33" fmla="*/ 835659 w 1008838"/>
                  <a:gd name="connsiteY33" fmla="*/ 530860 h 1597660"/>
                  <a:gd name="connsiteX34" fmla="*/ 990600 w 1008838"/>
                  <a:gd name="connsiteY34" fmla="*/ 370840 h 1597660"/>
                  <a:gd name="connsiteX35" fmla="*/ 792480 w 1008838"/>
                  <a:gd name="connsiteY35" fmla="*/ 660400 h 1597660"/>
                  <a:gd name="connsiteX36" fmla="*/ 962660 w 1008838"/>
                  <a:gd name="connsiteY36" fmla="*/ 574040 h 1597660"/>
                  <a:gd name="connsiteX37" fmla="*/ 998220 w 1008838"/>
                  <a:gd name="connsiteY37" fmla="*/ 584200 h 1597660"/>
                  <a:gd name="connsiteX38" fmla="*/ 746760 w 1008838"/>
                  <a:gd name="connsiteY38" fmla="*/ 713740 h 1597660"/>
                  <a:gd name="connsiteX39" fmla="*/ 632460 w 1008838"/>
                  <a:gd name="connsiteY39" fmla="*/ 896620 h 1597660"/>
                  <a:gd name="connsiteX40" fmla="*/ 640080 w 1008838"/>
                  <a:gd name="connsiteY40" fmla="*/ 1239520 h 1597660"/>
                  <a:gd name="connsiteX41" fmla="*/ 640080 w 1008838"/>
                  <a:gd name="connsiteY41" fmla="*/ 1597660 h 1597660"/>
                  <a:gd name="connsiteX42" fmla="*/ 457200 w 1008838"/>
                  <a:gd name="connsiteY42"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78839 w 1008838"/>
                  <a:gd name="connsiteY32" fmla="*/ 322580 h 1597660"/>
                  <a:gd name="connsiteX33" fmla="*/ 835659 w 1008838"/>
                  <a:gd name="connsiteY33" fmla="*/ 530860 h 1597660"/>
                  <a:gd name="connsiteX34" fmla="*/ 990600 w 1008838"/>
                  <a:gd name="connsiteY34" fmla="*/ 370840 h 1597660"/>
                  <a:gd name="connsiteX35" fmla="*/ 929639 w 1008838"/>
                  <a:gd name="connsiteY35" fmla="*/ 462280 h 1597660"/>
                  <a:gd name="connsiteX36" fmla="*/ 792480 w 1008838"/>
                  <a:gd name="connsiteY36" fmla="*/ 660400 h 1597660"/>
                  <a:gd name="connsiteX37" fmla="*/ 962660 w 1008838"/>
                  <a:gd name="connsiteY37" fmla="*/ 574040 h 1597660"/>
                  <a:gd name="connsiteX38" fmla="*/ 998220 w 1008838"/>
                  <a:gd name="connsiteY38" fmla="*/ 584200 h 1597660"/>
                  <a:gd name="connsiteX39" fmla="*/ 746760 w 1008838"/>
                  <a:gd name="connsiteY39" fmla="*/ 713740 h 1597660"/>
                  <a:gd name="connsiteX40" fmla="*/ 632460 w 1008838"/>
                  <a:gd name="connsiteY40" fmla="*/ 896620 h 1597660"/>
                  <a:gd name="connsiteX41" fmla="*/ 640080 w 1008838"/>
                  <a:gd name="connsiteY41" fmla="*/ 1239520 h 1597660"/>
                  <a:gd name="connsiteX42" fmla="*/ 640080 w 1008838"/>
                  <a:gd name="connsiteY42" fmla="*/ 1597660 h 1597660"/>
                  <a:gd name="connsiteX43" fmla="*/ 457200 w 1008838"/>
                  <a:gd name="connsiteY43"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53440 w 1026159"/>
                  <a:gd name="connsiteY31" fmla="*/ 314960 h 1597660"/>
                  <a:gd name="connsiteX32" fmla="*/ 878839 w 1026159"/>
                  <a:gd name="connsiteY32" fmla="*/ 322580 h 1597660"/>
                  <a:gd name="connsiteX33" fmla="*/ 835659 w 1026159"/>
                  <a:gd name="connsiteY33" fmla="*/ 530860 h 1597660"/>
                  <a:gd name="connsiteX34" fmla="*/ 990600 w 1026159"/>
                  <a:gd name="connsiteY34" fmla="*/ 370840 h 1597660"/>
                  <a:gd name="connsiteX35" fmla="*/ 1026159 w 1026159"/>
                  <a:gd name="connsiteY35" fmla="*/ 370840 h 1597660"/>
                  <a:gd name="connsiteX36" fmla="*/ 792480 w 1026159"/>
                  <a:gd name="connsiteY36" fmla="*/ 660400 h 1597660"/>
                  <a:gd name="connsiteX37" fmla="*/ 962660 w 1026159"/>
                  <a:gd name="connsiteY37" fmla="*/ 574040 h 1597660"/>
                  <a:gd name="connsiteX38" fmla="*/ 998220 w 1026159"/>
                  <a:gd name="connsiteY38" fmla="*/ 584200 h 1597660"/>
                  <a:gd name="connsiteX39" fmla="*/ 746760 w 1026159"/>
                  <a:gd name="connsiteY39" fmla="*/ 713740 h 1597660"/>
                  <a:gd name="connsiteX40" fmla="*/ 632460 w 1026159"/>
                  <a:gd name="connsiteY40" fmla="*/ 896620 h 1597660"/>
                  <a:gd name="connsiteX41" fmla="*/ 640080 w 1026159"/>
                  <a:gd name="connsiteY41" fmla="*/ 1239520 h 1597660"/>
                  <a:gd name="connsiteX42" fmla="*/ 640080 w 1026159"/>
                  <a:gd name="connsiteY42" fmla="*/ 1597660 h 1597660"/>
                  <a:gd name="connsiteX43" fmla="*/ 457200 w 1026159"/>
                  <a:gd name="connsiteY43"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53440 w 1026159"/>
                  <a:gd name="connsiteY31" fmla="*/ 314960 h 1597660"/>
                  <a:gd name="connsiteX32" fmla="*/ 878839 w 1026159"/>
                  <a:gd name="connsiteY32" fmla="*/ 322580 h 1597660"/>
                  <a:gd name="connsiteX33" fmla="*/ 835659 w 1026159"/>
                  <a:gd name="connsiteY33" fmla="*/ 530860 h 1597660"/>
                  <a:gd name="connsiteX34" fmla="*/ 990600 w 1026159"/>
                  <a:gd name="connsiteY34" fmla="*/ 370840 h 1597660"/>
                  <a:gd name="connsiteX35" fmla="*/ 1026159 w 1026159"/>
                  <a:gd name="connsiteY35" fmla="*/ 370840 h 1597660"/>
                  <a:gd name="connsiteX36" fmla="*/ 878839 w 1026159"/>
                  <a:gd name="connsiteY36" fmla="*/ 551180 h 1597660"/>
                  <a:gd name="connsiteX37" fmla="*/ 792480 w 1026159"/>
                  <a:gd name="connsiteY37" fmla="*/ 660400 h 1597660"/>
                  <a:gd name="connsiteX38" fmla="*/ 962660 w 1026159"/>
                  <a:gd name="connsiteY38" fmla="*/ 574040 h 1597660"/>
                  <a:gd name="connsiteX39" fmla="*/ 998220 w 1026159"/>
                  <a:gd name="connsiteY39" fmla="*/ 584200 h 1597660"/>
                  <a:gd name="connsiteX40" fmla="*/ 746760 w 1026159"/>
                  <a:gd name="connsiteY40" fmla="*/ 713740 h 1597660"/>
                  <a:gd name="connsiteX41" fmla="*/ 632460 w 1026159"/>
                  <a:gd name="connsiteY41" fmla="*/ 896620 h 1597660"/>
                  <a:gd name="connsiteX42" fmla="*/ 640080 w 1026159"/>
                  <a:gd name="connsiteY42" fmla="*/ 1239520 h 1597660"/>
                  <a:gd name="connsiteX43" fmla="*/ 640080 w 1026159"/>
                  <a:gd name="connsiteY43" fmla="*/ 1597660 h 1597660"/>
                  <a:gd name="connsiteX44" fmla="*/ 457200 w 1026159"/>
                  <a:gd name="connsiteY44"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53440 w 1026159"/>
                  <a:gd name="connsiteY31" fmla="*/ 314960 h 1597660"/>
                  <a:gd name="connsiteX32" fmla="*/ 878839 w 1026159"/>
                  <a:gd name="connsiteY32" fmla="*/ 322580 h 1597660"/>
                  <a:gd name="connsiteX33" fmla="*/ 835659 w 1026159"/>
                  <a:gd name="connsiteY33" fmla="*/ 530860 h 1597660"/>
                  <a:gd name="connsiteX34" fmla="*/ 990600 w 1026159"/>
                  <a:gd name="connsiteY34" fmla="*/ 370840 h 1597660"/>
                  <a:gd name="connsiteX35" fmla="*/ 1026159 w 1026159"/>
                  <a:gd name="connsiteY35" fmla="*/ 370840 h 1597660"/>
                  <a:gd name="connsiteX36" fmla="*/ 858519 w 1026159"/>
                  <a:gd name="connsiteY36" fmla="*/ 551180 h 1597660"/>
                  <a:gd name="connsiteX37" fmla="*/ 792480 w 1026159"/>
                  <a:gd name="connsiteY37" fmla="*/ 660400 h 1597660"/>
                  <a:gd name="connsiteX38" fmla="*/ 962660 w 1026159"/>
                  <a:gd name="connsiteY38" fmla="*/ 574040 h 1597660"/>
                  <a:gd name="connsiteX39" fmla="*/ 998220 w 1026159"/>
                  <a:gd name="connsiteY39" fmla="*/ 584200 h 1597660"/>
                  <a:gd name="connsiteX40" fmla="*/ 746760 w 1026159"/>
                  <a:gd name="connsiteY40" fmla="*/ 713740 h 1597660"/>
                  <a:gd name="connsiteX41" fmla="*/ 632460 w 1026159"/>
                  <a:gd name="connsiteY41" fmla="*/ 896620 h 1597660"/>
                  <a:gd name="connsiteX42" fmla="*/ 640080 w 1026159"/>
                  <a:gd name="connsiteY42" fmla="*/ 1239520 h 1597660"/>
                  <a:gd name="connsiteX43" fmla="*/ 640080 w 1026159"/>
                  <a:gd name="connsiteY43" fmla="*/ 1597660 h 1597660"/>
                  <a:gd name="connsiteX44" fmla="*/ 457200 w 1026159"/>
                  <a:gd name="connsiteY44"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43279 w 1026159"/>
                  <a:gd name="connsiteY31" fmla="*/ 375920 h 1597660"/>
                  <a:gd name="connsiteX32" fmla="*/ 853440 w 1026159"/>
                  <a:gd name="connsiteY32" fmla="*/ 314960 h 1597660"/>
                  <a:gd name="connsiteX33" fmla="*/ 878839 w 1026159"/>
                  <a:gd name="connsiteY33" fmla="*/ 322580 h 1597660"/>
                  <a:gd name="connsiteX34" fmla="*/ 835659 w 1026159"/>
                  <a:gd name="connsiteY34" fmla="*/ 530860 h 1597660"/>
                  <a:gd name="connsiteX35" fmla="*/ 990600 w 1026159"/>
                  <a:gd name="connsiteY35" fmla="*/ 370840 h 1597660"/>
                  <a:gd name="connsiteX36" fmla="*/ 1026159 w 1026159"/>
                  <a:gd name="connsiteY36" fmla="*/ 370840 h 1597660"/>
                  <a:gd name="connsiteX37" fmla="*/ 858519 w 1026159"/>
                  <a:gd name="connsiteY37" fmla="*/ 551180 h 1597660"/>
                  <a:gd name="connsiteX38" fmla="*/ 792480 w 1026159"/>
                  <a:gd name="connsiteY38" fmla="*/ 660400 h 1597660"/>
                  <a:gd name="connsiteX39" fmla="*/ 962660 w 1026159"/>
                  <a:gd name="connsiteY39" fmla="*/ 574040 h 1597660"/>
                  <a:gd name="connsiteX40" fmla="*/ 998220 w 1026159"/>
                  <a:gd name="connsiteY40" fmla="*/ 584200 h 1597660"/>
                  <a:gd name="connsiteX41" fmla="*/ 746760 w 1026159"/>
                  <a:gd name="connsiteY41" fmla="*/ 713740 h 1597660"/>
                  <a:gd name="connsiteX42" fmla="*/ 632460 w 1026159"/>
                  <a:gd name="connsiteY42" fmla="*/ 896620 h 1597660"/>
                  <a:gd name="connsiteX43" fmla="*/ 640080 w 1026159"/>
                  <a:gd name="connsiteY43" fmla="*/ 1239520 h 1597660"/>
                  <a:gd name="connsiteX44" fmla="*/ 640080 w 1026159"/>
                  <a:gd name="connsiteY44" fmla="*/ 1597660 h 1597660"/>
                  <a:gd name="connsiteX45" fmla="*/ 457200 w 1026159"/>
                  <a:gd name="connsiteY45"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20419 w 1026159"/>
                  <a:gd name="connsiteY31" fmla="*/ 4775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20419 w 1026159"/>
                  <a:gd name="connsiteY31" fmla="*/ 477520 h 1597660"/>
                  <a:gd name="connsiteX32" fmla="*/ 833119 w 1026159"/>
                  <a:gd name="connsiteY32" fmla="*/ 408940 h 1597660"/>
                  <a:gd name="connsiteX33" fmla="*/ 843279 w 1026159"/>
                  <a:gd name="connsiteY33" fmla="*/ 375920 h 1597660"/>
                  <a:gd name="connsiteX34" fmla="*/ 853440 w 1026159"/>
                  <a:gd name="connsiteY34" fmla="*/ 314960 h 1597660"/>
                  <a:gd name="connsiteX35" fmla="*/ 878839 w 1026159"/>
                  <a:gd name="connsiteY35" fmla="*/ 322580 h 1597660"/>
                  <a:gd name="connsiteX36" fmla="*/ 835659 w 1026159"/>
                  <a:gd name="connsiteY36" fmla="*/ 530860 h 1597660"/>
                  <a:gd name="connsiteX37" fmla="*/ 990600 w 1026159"/>
                  <a:gd name="connsiteY37" fmla="*/ 370840 h 1597660"/>
                  <a:gd name="connsiteX38" fmla="*/ 1026159 w 1026159"/>
                  <a:gd name="connsiteY38" fmla="*/ 3708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20419 w 1026159"/>
                  <a:gd name="connsiteY31" fmla="*/ 477520 h 1597660"/>
                  <a:gd name="connsiteX32" fmla="*/ 792479 w 1026159"/>
                  <a:gd name="connsiteY32" fmla="*/ 337820 h 1597660"/>
                  <a:gd name="connsiteX33" fmla="*/ 843279 w 1026159"/>
                  <a:gd name="connsiteY33" fmla="*/ 375920 h 1597660"/>
                  <a:gd name="connsiteX34" fmla="*/ 853440 w 1026159"/>
                  <a:gd name="connsiteY34" fmla="*/ 314960 h 1597660"/>
                  <a:gd name="connsiteX35" fmla="*/ 878839 w 1026159"/>
                  <a:gd name="connsiteY35" fmla="*/ 322580 h 1597660"/>
                  <a:gd name="connsiteX36" fmla="*/ 835659 w 1026159"/>
                  <a:gd name="connsiteY36" fmla="*/ 530860 h 1597660"/>
                  <a:gd name="connsiteX37" fmla="*/ 990600 w 1026159"/>
                  <a:gd name="connsiteY37" fmla="*/ 370840 h 1597660"/>
                  <a:gd name="connsiteX38" fmla="*/ 1026159 w 1026159"/>
                  <a:gd name="connsiteY38" fmla="*/ 3708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40739 w 1026159"/>
                  <a:gd name="connsiteY31" fmla="*/ 396240 h 1597660"/>
                  <a:gd name="connsiteX32" fmla="*/ 792479 w 1026159"/>
                  <a:gd name="connsiteY32" fmla="*/ 337820 h 1597660"/>
                  <a:gd name="connsiteX33" fmla="*/ 843279 w 1026159"/>
                  <a:gd name="connsiteY33" fmla="*/ 375920 h 1597660"/>
                  <a:gd name="connsiteX34" fmla="*/ 853440 w 1026159"/>
                  <a:gd name="connsiteY34" fmla="*/ 314960 h 1597660"/>
                  <a:gd name="connsiteX35" fmla="*/ 878839 w 1026159"/>
                  <a:gd name="connsiteY35" fmla="*/ 322580 h 1597660"/>
                  <a:gd name="connsiteX36" fmla="*/ 835659 w 1026159"/>
                  <a:gd name="connsiteY36" fmla="*/ 530860 h 1597660"/>
                  <a:gd name="connsiteX37" fmla="*/ 990600 w 1026159"/>
                  <a:gd name="connsiteY37" fmla="*/ 370840 h 1597660"/>
                  <a:gd name="connsiteX38" fmla="*/ 1026159 w 1026159"/>
                  <a:gd name="connsiteY38" fmla="*/ 3708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6096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40739 w 1026159"/>
                  <a:gd name="connsiteY31" fmla="*/ 396240 h 1597660"/>
                  <a:gd name="connsiteX32" fmla="*/ 792479 w 1026159"/>
                  <a:gd name="connsiteY32" fmla="*/ 337820 h 1597660"/>
                  <a:gd name="connsiteX33" fmla="*/ 843279 w 1026159"/>
                  <a:gd name="connsiteY33" fmla="*/ 375920 h 1597660"/>
                  <a:gd name="connsiteX34" fmla="*/ 853440 w 1026159"/>
                  <a:gd name="connsiteY34" fmla="*/ 314960 h 1597660"/>
                  <a:gd name="connsiteX35" fmla="*/ 878839 w 1026159"/>
                  <a:gd name="connsiteY35" fmla="*/ 322580 h 1597660"/>
                  <a:gd name="connsiteX36" fmla="*/ 835659 w 1026159"/>
                  <a:gd name="connsiteY36" fmla="*/ 530860 h 1597660"/>
                  <a:gd name="connsiteX37" fmla="*/ 990600 w 1026159"/>
                  <a:gd name="connsiteY37" fmla="*/ 370840 h 1597660"/>
                  <a:gd name="connsiteX38" fmla="*/ 1026159 w 1026159"/>
                  <a:gd name="connsiteY38" fmla="*/ 3708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64539 w 1026159"/>
                  <a:gd name="connsiteY23" fmla="*/ 106680 h 1597660"/>
                  <a:gd name="connsiteX24" fmla="*/ 896620 w 1026159"/>
                  <a:gd name="connsiteY24" fmla="*/ 30480 h 1597660"/>
                  <a:gd name="connsiteX25" fmla="*/ 769619 w 1026159"/>
                  <a:gd name="connsiteY25" fmla="*/ 13716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85140 w 1026159"/>
                  <a:gd name="connsiteY13" fmla="*/ 12700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64539 w 1026159"/>
                  <a:gd name="connsiteY23" fmla="*/ 106680 h 1597660"/>
                  <a:gd name="connsiteX24" fmla="*/ 896620 w 1026159"/>
                  <a:gd name="connsiteY24" fmla="*/ 30480 h 1597660"/>
                  <a:gd name="connsiteX25" fmla="*/ 769619 w 1026159"/>
                  <a:gd name="connsiteY25" fmla="*/ 13716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85140 w 1026159"/>
                  <a:gd name="connsiteY13" fmla="*/ 12700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51839 w 1026159"/>
                  <a:gd name="connsiteY23" fmla="*/ 127000 h 1597660"/>
                  <a:gd name="connsiteX24" fmla="*/ 896620 w 1026159"/>
                  <a:gd name="connsiteY24" fmla="*/ 30480 h 1597660"/>
                  <a:gd name="connsiteX25" fmla="*/ 769619 w 1026159"/>
                  <a:gd name="connsiteY25" fmla="*/ 13716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85140 w 1026159"/>
                  <a:gd name="connsiteY13" fmla="*/ 12700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51839 w 1026159"/>
                  <a:gd name="connsiteY23" fmla="*/ 127000 h 1597660"/>
                  <a:gd name="connsiteX24" fmla="*/ 896620 w 1026159"/>
                  <a:gd name="connsiteY24" fmla="*/ 30480 h 1597660"/>
                  <a:gd name="connsiteX25" fmla="*/ 772159 w 1026159"/>
                  <a:gd name="connsiteY25" fmla="*/ 14478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85140 w 1026159"/>
                  <a:gd name="connsiteY13" fmla="*/ 12700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51839 w 1026159"/>
                  <a:gd name="connsiteY23" fmla="*/ 127000 h 1597660"/>
                  <a:gd name="connsiteX24" fmla="*/ 896620 w 1026159"/>
                  <a:gd name="connsiteY24" fmla="*/ 30480 h 1597660"/>
                  <a:gd name="connsiteX25" fmla="*/ 772159 w 1026159"/>
                  <a:gd name="connsiteY25" fmla="*/ 14478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995679 w 1026159"/>
                  <a:gd name="connsiteY38" fmla="*/ 3962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90600 w 1214119"/>
                  <a:gd name="connsiteY36" fmla="*/ 370840 h 1597660"/>
                  <a:gd name="connsiteX37" fmla="*/ 1214119 w 1214119"/>
                  <a:gd name="connsiteY37" fmla="*/ 292100 h 1597660"/>
                  <a:gd name="connsiteX38" fmla="*/ 995679 w 1214119"/>
                  <a:gd name="connsiteY38" fmla="*/ 396240 h 1597660"/>
                  <a:gd name="connsiteX39" fmla="*/ 858519 w 1214119"/>
                  <a:gd name="connsiteY39" fmla="*/ 551180 h 1597660"/>
                  <a:gd name="connsiteX40" fmla="*/ 792480 w 1214119"/>
                  <a:gd name="connsiteY40" fmla="*/ 660400 h 1597660"/>
                  <a:gd name="connsiteX41" fmla="*/ 962660 w 1214119"/>
                  <a:gd name="connsiteY41" fmla="*/ 574040 h 1597660"/>
                  <a:gd name="connsiteX42" fmla="*/ 998220 w 1214119"/>
                  <a:gd name="connsiteY42" fmla="*/ 584200 h 1597660"/>
                  <a:gd name="connsiteX43" fmla="*/ 746760 w 1214119"/>
                  <a:gd name="connsiteY43" fmla="*/ 713740 h 1597660"/>
                  <a:gd name="connsiteX44" fmla="*/ 632460 w 1214119"/>
                  <a:gd name="connsiteY44" fmla="*/ 896620 h 1597660"/>
                  <a:gd name="connsiteX45" fmla="*/ 640080 w 1214119"/>
                  <a:gd name="connsiteY45" fmla="*/ 1239520 h 1597660"/>
                  <a:gd name="connsiteX46" fmla="*/ 640080 w 1214119"/>
                  <a:gd name="connsiteY46" fmla="*/ 1597660 h 1597660"/>
                  <a:gd name="connsiteX47" fmla="*/ 457200 w 1214119"/>
                  <a:gd name="connsiteY4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90600 w 1214119"/>
                  <a:gd name="connsiteY36" fmla="*/ 370840 h 1597660"/>
                  <a:gd name="connsiteX37" fmla="*/ 1021079 w 1214119"/>
                  <a:gd name="connsiteY37" fmla="*/ 360680 h 1597660"/>
                  <a:gd name="connsiteX38" fmla="*/ 1214119 w 1214119"/>
                  <a:gd name="connsiteY38" fmla="*/ 292100 h 1597660"/>
                  <a:gd name="connsiteX39" fmla="*/ 995679 w 1214119"/>
                  <a:gd name="connsiteY39" fmla="*/ 396240 h 1597660"/>
                  <a:gd name="connsiteX40" fmla="*/ 858519 w 1214119"/>
                  <a:gd name="connsiteY40" fmla="*/ 551180 h 1597660"/>
                  <a:gd name="connsiteX41" fmla="*/ 792480 w 1214119"/>
                  <a:gd name="connsiteY41" fmla="*/ 660400 h 1597660"/>
                  <a:gd name="connsiteX42" fmla="*/ 962660 w 1214119"/>
                  <a:gd name="connsiteY42" fmla="*/ 574040 h 1597660"/>
                  <a:gd name="connsiteX43" fmla="*/ 998220 w 1214119"/>
                  <a:gd name="connsiteY43" fmla="*/ 584200 h 1597660"/>
                  <a:gd name="connsiteX44" fmla="*/ 746760 w 1214119"/>
                  <a:gd name="connsiteY44" fmla="*/ 713740 h 1597660"/>
                  <a:gd name="connsiteX45" fmla="*/ 632460 w 1214119"/>
                  <a:gd name="connsiteY45" fmla="*/ 896620 h 1597660"/>
                  <a:gd name="connsiteX46" fmla="*/ 640080 w 1214119"/>
                  <a:gd name="connsiteY46" fmla="*/ 1239520 h 1597660"/>
                  <a:gd name="connsiteX47" fmla="*/ 640080 w 1214119"/>
                  <a:gd name="connsiteY47" fmla="*/ 1597660 h 1597660"/>
                  <a:gd name="connsiteX48" fmla="*/ 457200 w 1214119"/>
                  <a:gd name="connsiteY48"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72819 w 1214119"/>
                  <a:gd name="connsiteY36" fmla="*/ 386080 h 1597660"/>
                  <a:gd name="connsiteX37" fmla="*/ 990600 w 1214119"/>
                  <a:gd name="connsiteY37" fmla="*/ 370840 h 1597660"/>
                  <a:gd name="connsiteX38" fmla="*/ 10210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72819 w 1214119"/>
                  <a:gd name="connsiteY36" fmla="*/ 386080 h 1597660"/>
                  <a:gd name="connsiteX37" fmla="*/ 955040 w 1214119"/>
                  <a:gd name="connsiteY37" fmla="*/ 190500 h 1597660"/>
                  <a:gd name="connsiteX38" fmla="*/ 10210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95679 w 1214119"/>
                  <a:gd name="connsiteY36" fmla="*/ 373380 h 1597660"/>
                  <a:gd name="connsiteX37" fmla="*/ 955040 w 1214119"/>
                  <a:gd name="connsiteY37" fmla="*/ 190500 h 1597660"/>
                  <a:gd name="connsiteX38" fmla="*/ 10210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95679 w 1214119"/>
                  <a:gd name="connsiteY36" fmla="*/ 373380 h 1597660"/>
                  <a:gd name="connsiteX37" fmla="*/ 955040 w 1214119"/>
                  <a:gd name="connsiteY37" fmla="*/ 190500 h 1597660"/>
                  <a:gd name="connsiteX38" fmla="*/ 10083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214119 w 1214119"/>
                  <a:gd name="connsiteY40" fmla="*/ 292100 h 1597660"/>
                  <a:gd name="connsiteX41" fmla="*/ 995679 w 1214119"/>
                  <a:gd name="connsiteY41" fmla="*/ 396240 h 1597660"/>
                  <a:gd name="connsiteX42" fmla="*/ 858519 w 1214119"/>
                  <a:gd name="connsiteY42" fmla="*/ 551180 h 1597660"/>
                  <a:gd name="connsiteX43" fmla="*/ 792480 w 1214119"/>
                  <a:gd name="connsiteY43" fmla="*/ 660400 h 1597660"/>
                  <a:gd name="connsiteX44" fmla="*/ 962660 w 1214119"/>
                  <a:gd name="connsiteY44" fmla="*/ 574040 h 1597660"/>
                  <a:gd name="connsiteX45" fmla="*/ 998220 w 1214119"/>
                  <a:gd name="connsiteY45" fmla="*/ 584200 h 1597660"/>
                  <a:gd name="connsiteX46" fmla="*/ 746760 w 1214119"/>
                  <a:gd name="connsiteY46" fmla="*/ 713740 h 1597660"/>
                  <a:gd name="connsiteX47" fmla="*/ 632460 w 1214119"/>
                  <a:gd name="connsiteY47" fmla="*/ 896620 h 1597660"/>
                  <a:gd name="connsiteX48" fmla="*/ 640080 w 1214119"/>
                  <a:gd name="connsiteY48" fmla="*/ 1239520 h 1597660"/>
                  <a:gd name="connsiteX49" fmla="*/ 640080 w 1214119"/>
                  <a:gd name="connsiteY49" fmla="*/ 1597660 h 1597660"/>
                  <a:gd name="connsiteX50" fmla="*/ 457200 w 1214119"/>
                  <a:gd name="connsiteY50"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089659 w 1214119"/>
                  <a:gd name="connsiteY40" fmla="*/ 332740 h 1597660"/>
                  <a:gd name="connsiteX41" fmla="*/ 1214119 w 1214119"/>
                  <a:gd name="connsiteY41" fmla="*/ 292100 h 1597660"/>
                  <a:gd name="connsiteX42" fmla="*/ 995679 w 1214119"/>
                  <a:gd name="connsiteY42" fmla="*/ 396240 h 1597660"/>
                  <a:gd name="connsiteX43" fmla="*/ 858519 w 1214119"/>
                  <a:gd name="connsiteY43" fmla="*/ 551180 h 1597660"/>
                  <a:gd name="connsiteX44" fmla="*/ 792480 w 1214119"/>
                  <a:gd name="connsiteY44" fmla="*/ 660400 h 1597660"/>
                  <a:gd name="connsiteX45" fmla="*/ 962660 w 1214119"/>
                  <a:gd name="connsiteY45" fmla="*/ 574040 h 1597660"/>
                  <a:gd name="connsiteX46" fmla="*/ 998220 w 1214119"/>
                  <a:gd name="connsiteY46" fmla="*/ 584200 h 1597660"/>
                  <a:gd name="connsiteX47" fmla="*/ 746760 w 1214119"/>
                  <a:gd name="connsiteY47" fmla="*/ 713740 h 1597660"/>
                  <a:gd name="connsiteX48" fmla="*/ 632460 w 1214119"/>
                  <a:gd name="connsiteY48" fmla="*/ 896620 h 1597660"/>
                  <a:gd name="connsiteX49" fmla="*/ 640080 w 1214119"/>
                  <a:gd name="connsiteY49" fmla="*/ 1239520 h 1597660"/>
                  <a:gd name="connsiteX50" fmla="*/ 640080 w 1214119"/>
                  <a:gd name="connsiteY50" fmla="*/ 1597660 h 1597660"/>
                  <a:gd name="connsiteX51" fmla="*/ 457200 w 1214119"/>
                  <a:gd name="connsiteY51"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214119 w 1214119"/>
                  <a:gd name="connsiteY41" fmla="*/ 292100 h 1597660"/>
                  <a:gd name="connsiteX42" fmla="*/ 995679 w 1214119"/>
                  <a:gd name="connsiteY42" fmla="*/ 396240 h 1597660"/>
                  <a:gd name="connsiteX43" fmla="*/ 858519 w 1214119"/>
                  <a:gd name="connsiteY43" fmla="*/ 551180 h 1597660"/>
                  <a:gd name="connsiteX44" fmla="*/ 792480 w 1214119"/>
                  <a:gd name="connsiteY44" fmla="*/ 660400 h 1597660"/>
                  <a:gd name="connsiteX45" fmla="*/ 962660 w 1214119"/>
                  <a:gd name="connsiteY45" fmla="*/ 574040 h 1597660"/>
                  <a:gd name="connsiteX46" fmla="*/ 998220 w 1214119"/>
                  <a:gd name="connsiteY46" fmla="*/ 584200 h 1597660"/>
                  <a:gd name="connsiteX47" fmla="*/ 746760 w 1214119"/>
                  <a:gd name="connsiteY47" fmla="*/ 713740 h 1597660"/>
                  <a:gd name="connsiteX48" fmla="*/ 632460 w 1214119"/>
                  <a:gd name="connsiteY48" fmla="*/ 896620 h 1597660"/>
                  <a:gd name="connsiteX49" fmla="*/ 640080 w 1214119"/>
                  <a:gd name="connsiteY49" fmla="*/ 1239520 h 1597660"/>
                  <a:gd name="connsiteX50" fmla="*/ 640080 w 1214119"/>
                  <a:gd name="connsiteY50" fmla="*/ 1597660 h 1597660"/>
                  <a:gd name="connsiteX51" fmla="*/ 457200 w 1214119"/>
                  <a:gd name="connsiteY51"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127759 w 1214119"/>
                  <a:gd name="connsiteY41" fmla="*/ 24384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62660 w 1214119"/>
                  <a:gd name="connsiteY46" fmla="*/ 574040 h 1597660"/>
                  <a:gd name="connsiteX47" fmla="*/ 998220 w 1214119"/>
                  <a:gd name="connsiteY47" fmla="*/ 58420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62660 w 1214119"/>
                  <a:gd name="connsiteY46" fmla="*/ 574040 h 1597660"/>
                  <a:gd name="connsiteX47" fmla="*/ 998220 w 1214119"/>
                  <a:gd name="connsiteY47" fmla="*/ 58420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72820 w 1214119"/>
                  <a:gd name="connsiteY37" fmla="*/ 27432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62660 w 1214119"/>
                  <a:gd name="connsiteY46" fmla="*/ 574040 h 1597660"/>
                  <a:gd name="connsiteX47" fmla="*/ 998220 w 1214119"/>
                  <a:gd name="connsiteY47" fmla="*/ 58420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72820 w 1214119"/>
                  <a:gd name="connsiteY37" fmla="*/ 27432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32180 w 1214119"/>
                  <a:gd name="connsiteY46" fmla="*/ 566420 h 1597660"/>
                  <a:gd name="connsiteX47" fmla="*/ 998220 w 1214119"/>
                  <a:gd name="connsiteY47" fmla="*/ 58420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72820 w 1214119"/>
                  <a:gd name="connsiteY37" fmla="*/ 27432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32180 w 1214119"/>
                  <a:gd name="connsiteY46" fmla="*/ 566420 h 1597660"/>
                  <a:gd name="connsiteX47" fmla="*/ 970280 w 1214119"/>
                  <a:gd name="connsiteY47" fmla="*/ 56896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72820 w 1214119"/>
                  <a:gd name="connsiteY37" fmla="*/ 27432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32180 w 1214119"/>
                  <a:gd name="connsiteY46" fmla="*/ 566420 h 1597660"/>
                  <a:gd name="connsiteX47" fmla="*/ 970280 w 1214119"/>
                  <a:gd name="connsiteY47" fmla="*/ 568960 h 1597660"/>
                  <a:gd name="connsiteX48" fmla="*/ 772160 w 1214119"/>
                  <a:gd name="connsiteY48" fmla="*/ 7010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525780 w 1214119"/>
                  <a:gd name="connsiteY12" fmla="*/ 599440 h 1597660"/>
                  <a:gd name="connsiteX13" fmla="*/ 563880 w 1214119"/>
                  <a:gd name="connsiteY13" fmla="*/ 378460 h 1597660"/>
                  <a:gd name="connsiteX14" fmla="*/ 485140 w 1214119"/>
                  <a:gd name="connsiteY14" fmla="*/ 127000 h 1597660"/>
                  <a:gd name="connsiteX15" fmla="*/ 419100 w 1214119"/>
                  <a:gd name="connsiteY15" fmla="*/ 60960 h 1597660"/>
                  <a:gd name="connsiteX16" fmla="*/ 495300 w 1214119"/>
                  <a:gd name="connsiteY16" fmla="*/ 111760 h 1597660"/>
                  <a:gd name="connsiteX17" fmla="*/ 530859 w 1214119"/>
                  <a:gd name="connsiteY17" fmla="*/ 187960 h 1597660"/>
                  <a:gd name="connsiteX18" fmla="*/ 622299 w 1214119"/>
                  <a:gd name="connsiteY18" fmla="*/ 20320 h 1597660"/>
                  <a:gd name="connsiteX19" fmla="*/ 546099 w 1214119"/>
                  <a:gd name="connsiteY19" fmla="*/ 223520 h 1597660"/>
                  <a:gd name="connsiteX20" fmla="*/ 594360 w 1214119"/>
                  <a:gd name="connsiteY20" fmla="*/ 355600 h 1597660"/>
                  <a:gd name="connsiteX21" fmla="*/ 723899 w 1214119"/>
                  <a:gd name="connsiteY21" fmla="*/ 132080 h 1597660"/>
                  <a:gd name="connsiteX22" fmla="*/ 693420 w 1214119"/>
                  <a:gd name="connsiteY22" fmla="*/ 30480 h 1597660"/>
                  <a:gd name="connsiteX23" fmla="*/ 708659 w 1214119"/>
                  <a:gd name="connsiteY23" fmla="*/ 0 h 1597660"/>
                  <a:gd name="connsiteX24" fmla="*/ 751839 w 1214119"/>
                  <a:gd name="connsiteY24" fmla="*/ 127000 h 1597660"/>
                  <a:gd name="connsiteX25" fmla="*/ 896620 w 1214119"/>
                  <a:gd name="connsiteY25" fmla="*/ 30480 h 1597660"/>
                  <a:gd name="connsiteX26" fmla="*/ 772159 w 1214119"/>
                  <a:gd name="connsiteY26" fmla="*/ 144780 h 1597660"/>
                  <a:gd name="connsiteX27" fmla="*/ 632460 w 1214119"/>
                  <a:gd name="connsiteY27" fmla="*/ 393700 h 1597660"/>
                  <a:gd name="connsiteX28" fmla="*/ 604520 w 1214119"/>
                  <a:gd name="connsiteY28" fmla="*/ 591820 h 1597660"/>
                  <a:gd name="connsiteX29" fmla="*/ 624840 w 1214119"/>
                  <a:gd name="connsiteY29" fmla="*/ 789940 h 1597660"/>
                  <a:gd name="connsiteX30" fmla="*/ 807719 w 1214119"/>
                  <a:gd name="connsiteY30" fmla="*/ 548640 h 1597660"/>
                  <a:gd name="connsiteX31" fmla="*/ 840739 w 1214119"/>
                  <a:gd name="connsiteY31" fmla="*/ 396240 h 1597660"/>
                  <a:gd name="connsiteX32" fmla="*/ 792479 w 1214119"/>
                  <a:gd name="connsiteY32" fmla="*/ 337820 h 1597660"/>
                  <a:gd name="connsiteX33" fmla="*/ 843279 w 1214119"/>
                  <a:gd name="connsiteY33" fmla="*/ 375920 h 1597660"/>
                  <a:gd name="connsiteX34" fmla="*/ 853440 w 1214119"/>
                  <a:gd name="connsiteY34" fmla="*/ 314960 h 1597660"/>
                  <a:gd name="connsiteX35" fmla="*/ 878839 w 1214119"/>
                  <a:gd name="connsiteY35" fmla="*/ 322580 h 1597660"/>
                  <a:gd name="connsiteX36" fmla="*/ 835659 w 1214119"/>
                  <a:gd name="connsiteY36" fmla="*/ 530860 h 1597660"/>
                  <a:gd name="connsiteX37" fmla="*/ 985519 w 1214119"/>
                  <a:gd name="connsiteY37" fmla="*/ 360680 h 1597660"/>
                  <a:gd name="connsiteX38" fmla="*/ 972820 w 1214119"/>
                  <a:gd name="connsiteY38" fmla="*/ 274320 h 1597660"/>
                  <a:gd name="connsiteX39" fmla="*/ 1008379 w 1214119"/>
                  <a:gd name="connsiteY39" fmla="*/ 360680 h 1597660"/>
                  <a:gd name="connsiteX40" fmla="*/ 1069339 w 1214119"/>
                  <a:gd name="connsiteY40" fmla="*/ 337820 h 1597660"/>
                  <a:gd name="connsiteX41" fmla="*/ 1084579 w 1214119"/>
                  <a:gd name="connsiteY41" fmla="*/ 220980 h 1597660"/>
                  <a:gd name="connsiteX42" fmla="*/ 1089659 w 1214119"/>
                  <a:gd name="connsiteY42" fmla="*/ 335280 h 1597660"/>
                  <a:gd name="connsiteX43" fmla="*/ 1214119 w 1214119"/>
                  <a:gd name="connsiteY43" fmla="*/ 292100 h 1597660"/>
                  <a:gd name="connsiteX44" fmla="*/ 995679 w 1214119"/>
                  <a:gd name="connsiteY44" fmla="*/ 396240 h 1597660"/>
                  <a:gd name="connsiteX45" fmla="*/ 858519 w 1214119"/>
                  <a:gd name="connsiteY45" fmla="*/ 551180 h 1597660"/>
                  <a:gd name="connsiteX46" fmla="*/ 792480 w 1214119"/>
                  <a:gd name="connsiteY46" fmla="*/ 660400 h 1597660"/>
                  <a:gd name="connsiteX47" fmla="*/ 932180 w 1214119"/>
                  <a:gd name="connsiteY47" fmla="*/ 566420 h 1597660"/>
                  <a:gd name="connsiteX48" fmla="*/ 970280 w 1214119"/>
                  <a:gd name="connsiteY48" fmla="*/ 568960 h 1597660"/>
                  <a:gd name="connsiteX49" fmla="*/ 772160 w 1214119"/>
                  <a:gd name="connsiteY49" fmla="*/ 701040 h 1597660"/>
                  <a:gd name="connsiteX50" fmla="*/ 632460 w 1214119"/>
                  <a:gd name="connsiteY50" fmla="*/ 896620 h 1597660"/>
                  <a:gd name="connsiteX51" fmla="*/ 640080 w 1214119"/>
                  <a:gd name="connsiteY51" fmla="*/ 1239520 h 1597660"/>
                  <a:gd name="connsiteX52" fmla="*/ 640080 w 1214119"/>
                  <a:gd name="connsiteY52" fmla="*/ 1597660 h 1597660"/>
                  <a:gd name="connsiteX53" fmla="*/ 457200 w 1214119"/>
                  <a:gd name="connsiteY53"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454659 w 1214119"/>
                  <a:gd name="connsiteY12" fmla="*/ 561340 h 1597660"/>
                  <a:gd name="connsiteX13" fmla="*/ 525780 w 1214119"/>
                  <a:gd name="connsiteY13" fmla="*/ 599440 h 1597660"/>
                  <a:gd name="connsiteX14" fmla="*/ 563880 w 1214119"/>
                  <a:gd name="connsiteY14" fmla="*/ 378460 h 1597660"/>
                  <a:gd name="connsiteX15" fmla="*/ 485140 w 1214119"/>
                  <a:gd name="connsiteY15" fmla="*/ 127000 h 1597660"/>
                  <a:gd name="connsiteX16" fmla="*/ 419100 w 1214119"/>
                  <a:gd name="connsiteY16" fmla="*/ 60960 h 1597660"/>
                  <a:gd name="connsiteX17" fmla="*/ 495300 w 1214119"/>
                  <a:gd name="connsiteY17" fmla="*/ 111760 h 1597660"/>
                  <a:gd name="connsiteX18" fmla="*/ 530859 w 1214119"/>
                  <a:gd name="connsiteY18" fmla="*/ 187960 h 1597660"/>
                  <a:gd name="connsiteX19" fmla="*/ 622299 w 1214119"/>
                  <a:gd name="connsiteY19" fmla="*/ 20320 h 1597660"/>
                  <a:gd name="connsiteX20" fmla="*/ 546099 w 1214119"/>
                  <a:gd name="connsiteY20" fmla="*/ 223520 h 1597660"/>
                  <a:gd name="connsiteX21" fmla="*/ 594360 w 1214119"/>
                  <a:gd name="connsiteY21" fmla="*/ 355600 h 1597660"/>
                  <a:gd name="connsiteX22" fmla="*/ 723899 w 1214119"/>
                  <a:gd name="connsiteY22" fmla="*/ 132080 h 1597660"/>
                  <a:gd name="connsiteX23" fmla="*/ 693420 w 1214119"/>
                  <a:gd name="connsiteY23" fmla="*/ 30480 h 1597660"/>
                  <a:gd name="connsiteX24" fmla="*/ 708659 w 1214119"/>
                  <a:gd name="connsiteY24" fmla="*/ 0 h 1597660"/>
                  <a:gd name="connsiteX25" fmla="*/ 751839 w 1214119"/>
                  <a:gd name="connsiteY25" fmla="*/ 127000 h 1597660"/>
                  <a:gd name="connsiteX26" fmla="*/ 896620 w 1214119"/>
                  <a:gd name="connsiteY26" fmla="*/ 30480 h 1597660"/>
                  <a:gd name="connsiteX27" fmla="*/ 772159 w 1214119"/>
                  <a:gd name="connsiteY27" fmla="*/ 144780 h 1597660"/>
                  <a:gd name="connsiteX28" fmla="*/ 632460 w 1214119"/>
                  <a:gd name="connsiteY28" fmla="*/ 393700 h 1597660"/>
                  <a:gd name="connsiteX29" fmla="*/ 604520 w 1214119"/>
                  <a:gd name="connsiteY29" fmla="*/ 591820 h 1597660"/>
                  <a:gd name="connsiteX30" fmla="*/ 624840 w 1214119"/>
                  <a:gd name="connsiteY30" fmla="*/ 789940 h 1597660"/>
                  <a:gd name="connsiteX31" fmla="*/ 807719 w 1214119"/>
                  <a:gd name="connsiteY31" fmla="*/ 548640 h 1597660"/>
                  <a:gd name="connsiteX32" fmla="*/ 840739 w 1214119"/>
                  <a:gd name="connsiteY32" fmla="*/ 396240 h 1597660"/>
                  <a:gd name="connsiteX33" fmla="*/ 792479 w 1214119"/>
                  <a:gd name="connsiteY33" fmla="*/ 337820 h 1597660"/>
                  <a:gd name="connsiteX34" fmla="*/ 843279 w 1214119"/>
                  <a:gd name="connsiteY34" fmla="*/ 375920 h 1597660"/>
                  <a:gd name="connsiteX35" fmla="*/ 853440 w 1214119"/>
                  <a:gd name="connsiteY35" fmla="*/ 314960 h 1597660"/>
                  <a:gd name="connsiteX36" fmla="*/ 878839 w 1214119"/>
                  <a:gd name="connsiteY36" fmla="*/ 322580 h 1597660"/>
                  <a:gd name="connsiteX37" fmla="*/ 835659 w 1214119"/>
                  <a:gd name="connsiteY37" fmla="*/ 530860 h 1597660"/>
                  <a:gd name="connsiteX38" fmla="*/ 985519 w 1214119"/>
                  <a:gd name="connsiteY38" fmla="*/ 360680 h 1597660"/>
                  <a:gd name="connsiteX39" fmla="*/ 972820 w 1214119"/>
                  <a:gd name="connsiteY39" fmla="*/ 274320 h 1597660"/>
                  <a:gd name="connsiteX40" fmla="*/ 1008379 w 1214119"/>
                  <a:gd name="connsiteY40" fmla="*/ 360680 h 1597660"/>
                  <a:gd name="connsiteX41" fmla="*/ 1069339 w 1214119"/>
                  <a:gd name="connsiteY41" fmla="*/ 337820 h 1597660"/>
                  <a:gd name="connsiteX42" fmla="*/ 1084579 w 1214119"/>
                  <a:gd name="connsiteY42" fmla="*/ 220980 h 1597660"/>
                  <a:gd name="connsiteX43" fmla="*/ 1089659 w 1214119"/>
                  <a:gd name="connsiteY43" fmla="*/ 335280 h 1597660"/>
                  <a:gd name="connsiteX44" fmla="*/ 1214119 w 1214119"/>
                  <a:gd name="connsiteY44" fmla="*/ 292100 h 1597660"/>
                  <a:gd name="connsiteX45" fmla="*/ 995679 w 1214119"/>
                  <a:gd name="connsiteY45" fmla="*/ 396240 h 1597660"/>
                  <a:gd name="connsiteX46" fmla="*/ 858519 w 1214119"/>
                  <a:gd name="connsiteY46" fmla="*/ 551180 h 1597660"/>
                  <a:gd name="connsiteX47" fmla="*/ 792480 w 1214119"/>
                  <a:gd name="connsiteY47" fmla="*/ 660400 h 1597660"/>
                  <a:gd name="connsiteX48" fmla="*/ 932180 w 1214119"/>
                  <a:gd name="connsiteY48" fmla="*/ 566420 h 1597660"/>
                  <a:gd name="connsiteX49" fmla="*/ 970280 w 1214119"/>
                  <a:gd name="connsiteY49" fmla="*/ 568960 h 1597660"/>
                  <a:gd name="connsiteX50" fmla="*/ 772160 w 1214119"/>
                  <a:gd name="connsiteY50" fmla="*/ 701040 h 1597660"/>
                  <a:gd name="connsiteX51" fmla="*/ 632460 w 1214119"/>
                  <a:gd name="connsiteY51" fmla="*/ 896620 h 1597660"/>
                  <a:gd name="connsiteX52" fmla="*/ 640080 w 1214119"/>
                  <a:gd name="connsiteY52" fmla="*/ 1239520 h 1597660"/>
                  <a:gd name="connsiteX53" fmla="*/ 640080 w 1214119"/>
                  <a:gd name="connsiteY53" fmla="*/ 1597660 h 1597660"/>
                  <a:gd name="connsiteX54" fmla="*/ 457200 w 1214119"/>
                  <a:gd name="connsiteY54"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408939 w 1214119"/>
                  <a:gd name="connsiteY12" fmla="*/ 541020 h 1597660"/>
                  <a:gd name="connsiteX13" fmla="*/ 454659 w 1214119"/>
                  <a:gd name="connsiteY13" fmla="*/ 561340 h 1597660"/>
                  <a:gd name="connsiteX14" fmla="*/ 525780 w 1214119"/>
                  <a:gd name="connsiteY14" fmla="*/ 599440 h 1597660"/>
                  <a:gd name="connsiteX15" fmla="*/ 563880 w 1214119"/>
                  <a:gd name="connsiteY15" fmla="*/ 378460 h 1597660"/>
                  <a:gd name="connsiteX16" fmla="*/ 485140 w 1214119"/>
                  <a:gd name="connsiteY16" fmla="*/ 127000 h 1597660"/>
                  <a:gd name="connsiteX17" fmla="*/ 419100 w 1214119"/>
                  <a:gd name="connsiteY17" fmla="*/ 60960 h 1597660"/>
                  <a:gd name="connsiteX18" fmla="*/ 495300 w 1214119"/>
                  <a:gd name="connsiteY18" fmla="*/ 111760 h 1597660"/>
                  <a:gd name="connsiteX19" fmla="*/ 530859 w 1214119"/>
                  <a:gd name="connsiteY19" fmla="*/ 187960 h 1597660"/>
                  <a:gd name="connsiteX20" fmla="*/ 622299 w 1214119"/>
                  <a:gd name="connsiteY20" fmla="*/ 20320 h 1597660"/>
                  <a:gd name="connsiteX21" fmla="*/ 546099 w 1214119"/>
                  <a:gd name="connsiteY21" fmla="*/ 223520 h 1597660"/>
                  <a:gd name="connsiteX22" fmla="*/ 594360 w 1214119"/>
                  <a:gd name="connsiteY22" fmla="*/ 355600 h 1597660"/>
                  <a:gd name="connsiteX23" fmla="*/ 723899 w 1214119"/>
                  <a:gd name="connsiteY23" fmla="*/ 132080 h 1597660"/>
                  <a:gd name="connsiteX24" fmla="*/ 693420 w 1214119"/>
                  <a:gd name="connsiteY24" fmla="*/ 30480 h 1597660"/>
                  <a:gd name="connsiteX25" fmla="*/ 708659 w 1214119"/>
                  <a:gd name="connsiteY25" fmla="*/ 0 h 1597660"/>
                  <a:gd name="connsiteX26" fmla="*/ 751839 w 1214119"/>
                  <a:gd name="connsiteY26" fmla="*/ 127000 h 1597660"/>
                  <a:gd name="connsiteX27" fmla="*/ 896620 w 1214119"/>
                  <a:gd name="connsiteY27" fmla="*/ 30480 h 1597660"/>
                  <a:gd name="connsiteX28" fmla="*/ 772159 w 1214119"/>
                  <a:gd name="connsiteY28" fmla="*/ 144780 h 1597660"/>
                  <a:gd name="connsiteX29" fmla="*/ 632460 w 1214119"/>
                  <a:gd name="connsiteY29" fmla="*/ 393700 h 1597660"/>
                  <a:gd name="connsiteX30" fmla="*/ 604520 w 1214119"/>
                  <a:gd name="connsiteY30" fmla="*/ 591820 h 1597660"/>
                  <a:gd name="connsiteX31" fmla="*/ 624840 w 1214119"/>
                  <a:gd name="connsiteY31" fmla="*/ 789940 h 1597660"/>
                  <a:gd name="connsiteX32" fmla="*/ 807719 w 1214119"/>
                  <a:gd name="connsiteY32" fmla="*/ 548640 h 1597660"/>
                  <a:gd name="connsiteX33" fmla="*/ 840739 w 1214119"/>
                  <a:gd name="connsiteY33" fmla="*/ 396240 h 1597660"/>
                  <a:gd name="connsiteX34" fmla="*/ 792479 w 1214119"/>
                  <a:gd name="connsiteY34" fmla="*/ 337820 h 1597660"/>
                  <a:gd name="connsiteX35" fmla="*/ 843279 w 1214119"/>
                  <a:gd name="connsiteY35" fmla="*/ 375920 h 1597660"/>
                  <a:gd name="connsiteX36" fmla="*/ 853440 w 1214119"/>
                  <a:gd name="connsiteY36" fmla="*/ 314960 h 1597660"/>
                  <a:gd name="connsiteX37" fmla="*/ 878839 w 1214119"/>
                  <a:gd name="connsiteY37" fmla="*/ 322580 h 1597660"/>
                  <a:gd name="connsiteX38" fmla="*/ 835659 w 1214119"/>
                  <a:gd name="connsiteY38" fmla="*/ 530860 h 1597660"/>
                  <a:gd name="connsiteX39" fmla="*/ 985519 w 1214119"/>
                  <a:gd name="connsiteY39" fmla="*/ 360680 h 1597660"/>
                  <a:gd name="connsiteX40" fmla="*/ 972820 w 1214119"/>
                  <a:gd name="connsiteY40" fmla="*/ 274320 h 1597660"/>
                  <a:gd name="connsiteX41" fmla="*/ 1008379 w 1214119"/>
                  <a:gd name="connsiteY41" fmla="*/ 360680 h 1597660"/>
                  <a:gd name="connsiteX42" fmla="*/ 1069339 w 1214119"/>
                  <a:gd name="connsiteY42" fmla="*/ 337820 h 1597660"/>
                  <a:gd name="connsiteX43" fmla="*/ 1084579 w 1214119"/>
                  <a:gd name="connsiteY43" fmla="*/ 220980 h 1597660"/>
                  <a:gd name="connsiteX44" fmla="*/ 1089659 w 1214119"/>
                  <a:gd name="connsiteY44" fmla="*/ 335280 h 1597660"/>
                  <a:gd name="connsiteX45" fmla="*/ 1214119 w 1214119"/>
                  <a:gd name="connsiteY45" fmla="*/ 292100 h 1597660"/>
                  <a:gd name="connsiteX46" fmla="*/ 995679 w 1214119"/>
                  <a:gd name="connsiteY46" fmla="*/ 396240 h 1597660"/>
                  <a:gd name="connsiteX47" fmla="*/ 858519 w 1214119"/>
                  <a:gd name="connsiteY47" fmla="*/ 551180 h 1597660"/>
                  <a:gd name="connsiteX48" fmla="*/ 792480 w 1214119"/>
                  <a:gd name="connsiteY48" fmla="*/ 660400 h 1597660"/>
                  <a:gd name="connsiteX49" fmla="*/ 932180 w 1214119"/>
                  <a:gd name="connsiteY49" fmla="*/ 566420 h 1597660"/>
                  <a:gd name="connsiteX50" fmla="*/ 970280 w 1214119"/>
                  <a:gd name="connsiteY50" fmla="*/ 568960 h 1597660"/>
                  <a:gd name="connsiteX51" fmla="*/ 772160 w 1214119"/>
                  <a:gd name="connsiteY51" fmla="*/ 701040 h 1597660"/>
                  <a:gd name="connsiteX52" fmla="*/ 632460 w 1214119"/>
                  <a:gd name="connsiteY52" fmla="*/ 896620 h 1597660"/>
                  <a:gd name="connsiteX53" fmla="*/ 640080 w 1214119"/>
                  <a:gd name="connsiteY53" fmla="*/ 1239520 h 1597660"/>
                  <a:gd name="connsiteX54" fmla="*/ 640080 w 1214119"/>
                  <a:gd name="connsiteY54" fmla="*/ 1597660 h 1597660"/>
                  <a:gd name="connsiteX55" fmla="*/ 457200 w 1214119"/>
                  <a:gd name="connsiteY55"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454659 w 1214119"/>
                  <a:gd name="connsiteY13" fmla="*/ 561340 h 1597660"/>
                  <a:gd name="connsiteX14" fmla="*/ 525780 w 1214119"/>
                  <a:gd name="connsiteY14" fmla="*/ 599440 h 1597660"/>
                  <a:gd name="connsiteX15" fmla="*/ 563880 w 1214119"/>
                  <a:gd name="connsiteY15" fmla="*/ 378460 h 1597660"/>
                  <a:gd name="connsiteX16" fmla="*/ 485140 w 1214119"/>
                  <a:gd name="connsiteY16" fmla="*/ 127000 h 1597660"/>
                  <a:gd name="connsiteX17" fmla="*/ 419100 w 1214119"/>
                  <a:gd name="connsiteY17" fmla="*/ 60960 h 1597660"/>
                  <a:gd name="connsiteX18" fmla="*/ 495300 w 1214119"/>
                  <a:gd name="connsiteY18" fmla="*/ 111760 h 1597660"/>
                  <a:gd name="connsiteX19" fmla="*/ 530859 w 1214119"/>
                  <a:gd name="connsiteY19" fmla="*/ 187960 h 1597660"/>
                  <a:gd name="connsiteX20" fmla="*/ 622299 w 1214119"/>
                  <a:gd name="connsiteY20" fmla="*/ 20320 h 1597660"/>
                  <a:gd name="connsiteX21" fmla="*/ 546099 w 1214119"/>
                  <a:gd name="connsiteY21" fmla="*/ 223520 h 1597660"/>
                  <a:gd name="connsiteX22" fmla="*/ 594360 w 1214119"/>
                  <a:gd name="connsiteY22" fmla="*/ 355600 h 1597660"/>
                  <a:gd name="connsiteX23" fmla="*/ 723899 w 1214119"/>
                  <a:gd name="connsiteY23" fmla="*/ 132080 h 1597660"/>
                  <a:gd name="connsiteX24" fmla="*/ 693420 w 1214119"/>
                  <a:gd name="connsiteY24" fmla="*/ 30480 h 1597660"/>
                  <a:gd name="connsiteX25" fmla="*/ 708659 w 1214119"/>
                  <a:gd name="connsiteY25" fmla="*/ 0 h 1597660"/>
                  <a:gd name="connsiteX26" fmla="*/ 751839 w 1214119"/>
                  <a:gd name="connsiteY26" fmla="*/ 127000 h 1597660"/>
                  <a:gd name="connsiteX27" fmla="*/ 896620 w 1214119"/>
                  <a:gd name="connsiteY27" fmla="*/ 30480 h 1597660"/>
                  <a:gd name="connsiteX28" fmla="*/ 772159 w 1214119"/>
                  <a:gd name="connsiteY28" fmla="*/ 144780 h 1597660"/>
                  <a:gd name="connsiteX29" fmla="*/ 632460 w 1214119"/>
                  <a:gd name="connsiteY29" fmla="*/ 393700 h 1597660"/>
                  <a:gd name="connsiteX30" fmla="*/ 604520 w 1214119"/>
                  <a:gd name="connsiteY30" fmla="*/ 591820 h 1597660"/>
                  <a:gd name="connsiteX31" fmla="*/ 624840 w 1214119"/>
                  <a:gd name="connsiteY31" fmla="*/ 789940 h 1597660"/>
                  <a:gd name="connsiteX32" fmla="*/ 807719 w 1214119"/>
                  <a:gd name="connsiteY32" fmla="*/ 548640 h 1597660"/>
                  <a:gd name="connsiteX33" fmla="*/ 840739 w 1214119"/>
                  <a:gd name="connsiteY33" fmla="*/ 396240 h 1597660"/>
                  <a:gd name="connsiteX34" fmla="*/ 792479 w 1214119"/>
                  <a:gd name="connsiteY34" fmla="*/ 337820 h 1597660"/>
                  <a:gd name="connsiteX35" fmla="*/ 843279 w 1214119"/>
                  <a:gd name="connsiteY35" fmla="*/ 375920 h 1597660"/>
                  <a:gd name="connsiteX36" fmla="*/ 853440 w 1214119"/>
                  <a:gd name="connsiteY36" fmla="*/ 314960 h 1597660"/>
                  <a:gd name="connsiteX37" fmla="*/ 878839 w 1214119"/>
                  <a:gd name="connsiteY37" fmla="*/ 322580 h 1597660"/>
                  <a:gd name="connsiteX38" fmla="*/ 835659 w 1214119"/>
                  <a:gd name="connsiteY38" fmla="*/ 530860 h 1597660"/>
                  <a:gd name="connsiteX39" fmla="*/ 985519 w 1214119"/>
                  <a:gd name="connsiteY39" fmla="*/ 360680 h 1597660"/>
                  <a:gd name="connsiteX40" fmla="*/ 972820 w 1214119"/>
                  <a:gd name="connsiteY40" fmla="*/ 274320 h 1597660"/>
                  <a:gd name="connsiteX41" fmla="*/ 1008379 w 1214119"/>
                  <a:gd name="connsiteY41" fmla="*/ 360680 h 1597660"/>
                  <a:gd name="connsiteX42" fmla="*/ 1069339 w 1214119"/>
                  <a:gd name="connsiteY42" fmla="*/ 337820 h 1597660"/>
                  <a:gd name="connsiteX43" fmla="*/ 1084579 w 1214119"/>
                  <a:gd name="connsiteY43" fmla="*/ 220980 h 1597660"/>
                  <a:gd name="connsiteX44" fmla="*/ 1089659 w 1214119"/>
                  <a:gd name="connsiteY44" fmla="*/ 335280 h 1597660"/>
                  <a:gd name="connsiteX45" fmla="*/ 1214119 w 1214119"/>
                  <a:gd name="connsiteY45" fmla="*/ 292100 h 1597660"/>
                  <a:gd name="connsiteX46" fmla="*/ 995679 w 1214119"/>
                  <a:gd name="connsiteY46" fmla="*/ 396240 h 1597660"/>
                  <a:gd name="connsiteX47" fmla="*/ 858519 w 1214119"/>
                  <a:gd name="connsiteY47" fmla="*/ 551180 h 1597660"/>
                  <a:gd name="connsiteX48" fmla="*/ 792480 w 1214119"/>
                  <a:gd name="connsiteY48" fmla="*/ 660400 h 1597660"/>
                  <a:gd name="connsiteX49" fmla="*/ 932180 w 1214119"/>
                  <a:gd name="connsiteY49" fmla="*/ 566420 h 1597660"/>
                  <a:gd name="connsiteX50" fmla="*/ 970280 w 1214119"/>
                  <a:gd name="connsiteY50" fmla="*/ 568960 h 1597660"/>
                  <a:gd name="connsiteX51" fmla="*/ 772160 w 1214119"/>
                  <a:gd name="connsiteY51" fmla="*/ 701040 h 1597660"/>
                  <a:gd name="connsiteX52" fmla="*/ 632460 w 1214119"/>
                  <a:gd name="connsiteY52" fmla="*/ 896620 h 1597660"/>
                  <a:gd name="connsiteX53" fmla="*/ 640080 w 1214119"/>
                  <a:gd name="connsiteY53" fmla="*/ 1239520 h 1597660"/>
                  <a:gd name="connsiteX54" fmla="*/ 640080 w 1214119"/>
                  <a:gd name="connsiteY54" fmla="*/ 1597660 h 1597660"/>
                  <a:gd name="connsiteX55" fmla="*/ 457200 w 1214119"/>
                  <a:gd name="connsiteY55"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393699 w 1214119"/>
                  <a:gd name="connsiteY13" fmla="*/ 528320 h 1597660"/>
                  <a:gd name="connsiteX14" fmla="*/ 525780 w 1214119"/>
                  <a:gd name="connsiteY14" fmla="*/ 599440 h 1597660"/>
                  <a:gd name="connsiteX15" fmla="*/ 563880 w 1214119"/>
                  <a:gd name="connsiteY15" fmla="*/ 378460 h 1597660"/>
                  <a:gd name="connsiteX16" fmla="*/ 485140 w 1214119"/>
                  <a:gd name="connsiteY16" fmla="*/ 127000 h 1597660"/>
                  <a:gd name="connsiteX17" fmla="*/ 419100 w 1214119"/>
                  <a:gd name="connsiteY17" fmla="*/ 60960 h 1597660"/>
                  <a:gd name="connsiteX18" fmla="*/ 495300 w 1214119"/>
                  <a:gd name="connsiteY18" fmla="*/ 111760 h 1597660"/>
                  <a:gd name="connsiteX19" fmla="*/ 530859 w 1214119"/>
                  <a:gd name="connsiteY19" fmla="*/ 187960 h 1597660"/>
                  <a:gd name="connsiteX20" fmla="*/ 622299 w 1214119"/>
                  <a:gd name="connsiteY20" fmla="*/ 20320 h 1597660"/>
                  <a:gd name="connsiteX21" fmla="*/ 546099 w 1214119"/>
                  <a:gd name="connsiteY21" fmla="*/ 223520 h 1597660"/>
                  <a:gd name="connsiteX22" fmla="*/ 594360 w 1214119"/>
                  <a:gd name="connsiteY22" fmla="*/ 355600 h 1597660"/>
                  <a:gd name="connsiteX23" fmla="*/ 723899 w 1214119"/>
                  <a:gd name="connsiteY23" fmla="*/ 132080 h 1597660"/>
                  <a:gd name="connsiteX24" fmla="*/ 693420 w 1214119"/>
                  <a:gd name="connsiteY24" fmla="*/ 30480 h 1597660"/>
                  <a:gd name="connsiteX25" fmla="*/ 708659 w 1214119"/>
                  <a:gd name="connsiteY25" fmla="*/ 0 h 1597660"/>
                  <a:gd name="connsiteX26" fmla="*/ 751839 w 1214119"/>
                  <a:gd name="connsiteY26" fmla="*/ 127000 h 1597660"/>
                  <a:gd name="connsiteX27" fmla="*/ 896620 w 1214119"/>
                  <a:gd name="connsiteY27" fmla="*/ 30480 h 1597660"/>
                  <a:gd name="connsiteX28" fmla="*/ 772159 w 1214119"/>
                  <a:gd name="connsiteY28" fmla="*/ 144780 h 1597660"/>
                  <a:gd name="connsiteX29" fmla="*/ 632460 w 1214119"/>
                  <a:gd name="connsiteY29" fmla="*/ 393700 h 1597660"/>
                  <a:gd name="connsiteX30" fmla="*/ 604520 w 1214119"/>
                  <a:gd name="connsiteY30" fmla="*/ 591820 h 1597660"/>
                  <a:gd name="connsiteX31" fmla="*/ 624840 w 1214119"/>
                  <a:gd name="connsiteY31" fmla="*/ 789940 h 1597660"/>
                  <a:gd name="connsiteX32" fmla="*/ 807719 w 1214119"/>
                  <a:gd name="connsiteY32" fmla="*/ 548640 h 1597660"/>
                  <a:gd name="connsiteX33" fmla="*/ 840739 w 1214119"/>
                  <a:gd name="connsiteY33" fmla="*/ 396240 h 1597660"/>
                  <a:gd name="connsiteX34" fmla="*/ 792479 w 1214119"/>
                  <a:gd name="connsiteY34" fmla="*/ 337820 h 1597660"/>
                  <a:gd name="connsiteX35" fmla="*/ 843279 w 1214119"/>
                  <a:gd name="connsiteY35" fmla="*/ 375920 h 1597660"/>
                  <a:gd name="connsiteX36" fmla="*/ 853440 w 1214119"/>
                  <a:gd name="connsiteY36" fmla="*/ 314960 h 1597660"/>
                  <a:gd name="connsiteX37" fmla="*/ 878839 w 1214119"/>
                  <a:gd name="connsiteY37" fmla="*/ 322580 h 1597660"/>
                  <a:gd name="connsiteX38" fmla="*/ 835659 w 1214119"/>
                  <a:gd name="connsiteY38" fmla="*/ 530860 h 1597660"/>
                  <a:gd name="connsiteX39" fmla="*/ 985519 w 1214119"/>
                  <a:gd name="connsiteY39" fmla="*/ 360680 h 1597660"/>
                  <a:gd name="connsiteX40" fmla="*/ 972820 w 1214119"/>
                  <a:gd name="connsiteY40" fmla="*/ 274320 h 1597660"/>
                  <a:gd name="connsiteX41" fmla="*/ 1008379 w 1214119"/>
                  <a:gd name="connsiteY41" fmla="*/ 360680 h 1597660"/>
                  <a:gd name="connsiteX42" fmla="*/ 1069339 w 1214119"/>
                  <a:gd name="connsiteY42" fmla="*/ 337820 h 1597660"/>
                  <a:gd name="connsiteX43" fmla="*/ 1084579 w 1214119"/>
                  <a:gd name="connsiteY43" fmla="*/ 220980 h 1597660"/>
                  <a:gd name="connsiteX44" fmla="*/ 1089659 w 1214119"/>
                  <a:gd name="connsiteY44" fmla="*/ 335280 h 1597660"/>
                  <a:gd name="connsiteX45" fmla="*/ 1214119 w 1214119"/>
                  <a:gd name="connsiteY45" fmla="*/ 292100 h 1597660"/>
                  <a:gd name="connsiteX46" fmla="*/ 995679 w 1214119"/>
                  <a:gd name="connsiteY46" fmla="*/ 396240 h 1597660"/>
                  <a:gd name="connsiteX47" fmla="*/ 858519 w 1214119"/>
                  <a:gd name="connsiteY47" fmla="*/ 551180 h 1597660"/>
                  <a:gd name="connsiteX48" fmla="*/ 792480 w 1214119"/>
                  <a:gd name="connsiteY48" fmla="*/ 660400 h 1597660"/>
                  <a:gd name="connsiteX49" fmla="*/ 932180 w 1214119"/>
                  <a:gd name="connsiteY49" fmla="*/ 566420 h 1597660"/>
                  <a:gd name="connsiteX50" fmla="*/ 970280 w 1214119"/>
                  <a:gd name="connsiteY50" fmla="*/ 568960 h 1597660"/>
                  <a:gd name="connsiteX51" fmla="*/ 772160 w 1214119"/>
                  <a:gd name="connsiteY51" fmla="*/ 701040 h 1597660"/>
                  <a:gd name="connsiteX52" fmla="*/ 632460 w 1214119"/>
                  <a:gd name="connsiteY52" fmla="*/ 896620 h 1597660"/>
                  <a:gd name="connsiteX53" fmla="*/ 640080 w 1214119"/>
                  <a:gd name="connsiteY53" fmla="*/ 1239520 h 1597660"/>
                  <a:gd name="connsiteX54" fmla="*/ 640080 w 1214119"/>
                  <a:gd name="connsiteY54" fmla="*/ 1597660 h 1597660"/>
                  <a:gd name="connsiteX55" fmla="*/ 457200 w 1214119"/>
                  <a:gd name="connsiteY55"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388619 w 1214119"/>
                  <a:gd name="connsiteY13" fmla="*/ 462280 h 1597660"/>
                  <a:gd name="connsiteX14" fmla="*/ 393699 w 1214119"/>
                  <a:gd name="connsiteY14" fmla="*/ 528320 h 1597660"/>
                  <a:gd name="connsiteX15" fmla="*/ 525780 w 1214119"/>
                  <a:gd name="connsiteY15" fmla="*/ 599440 h 1597660"/>
                  <a:gd name="connsiteX16" fmla="*/ 563880 w 1214119"/>
                  <a:gd name="connsiteY16" fmla="*/ 378460 h 1597660"/>
                  <a:gd name="connsiteX17" fmla="*/ 485140 w 1214119"/>
                  <a:gd name="connsiteY17" fmla="*/ 127000 h 1597660"/>
                  <a:gd name="connsiteX18" fmla="*/ 419100 w 1214119"/>
                  <a:gd name="connsiteY18" fmla="*/ 60960 h 1597660"/>
                  <a:gd name="connsiteX19" fmla="*/ 495300 w 1214119"/>
                  <a:gd name="connsiteY19" fmla="*/ 111760 h 1597660"/>
                  <a:gd name="connsiteX20" fmla="*/ 530859 w 1214119"/>
                  <a:gd name="connsiteY20" fmla="*/ 187960 h 1597660"/>
                  <a:gd name="connsiteX21" fmla="*/ 622299 w 1214119"/>
                  <a:gd name="connsiteY21" fmla="*/ 20320 h 1597660"/>
                  <a:gd name="connsiteX22" fmla="*/ 546099 w 1214119"/>
                  <a:gd name="connsiteY22" fmla="*/ 223520 h 1597660"/>
                  <a:gd name="connsiteX23" fmla="*/ 594360 w 1214119"/>
                  <a:gd name="connsiteY23" fmla="*/ 355600 h 1597660"/>
                  <a:gd name="connsiteX24" fmla="*/ 723899 w 1214119"/>
                  <a:gd name="connsiteY24" fmla="*/ 132080 h 1597660"/>
                  <a:gd name="connsiteX25" fmla="*/ 693420 w 1214119"/>
                  <a:gd name="connsiteY25" fmla="*/ 30480 h 1597660"/>
                  <a:gd name="connsiteX26" fmla="*/ 708659 w 1214119"/>
                  <a:gd name="connsiteY26" fmla="*/ 0 h 1597660"/>
                  <a:gd name="connsiteX27" fmla="*/ 751839 w 1214119"/>
                  <a:gd name="connsiteY27" fmla="*/ 127000 h 1597660"/>
                  <a:gd name="connsiteX28" fmla="*/ 896620 w 1214119"/>
                  <a:gd name="connsiteY28" fmla="*/ 30480 h 1597660"/>
                  <a:gd name="connsiteX29" fmla="*/ 772159 w 1214119"/>
                  <a:gd name="connsiteY29" fmla="*/ 144780 h 1597660"/>
                  <a:gd name="connsiteX30" fmla="*/ 632460 w 1214119"/>
                  <a:gd name="connsiteY30" fmla="*/ 393700 h 1597660"/>
                  <a:gd name="connsiteX31" fmla="*/ 604520 w 1214119"/>
                  <a:gd name="connsiteY31" fmla="*/ 591820 h 1597660"/>
                  <a:gd name="connsiteX32" fmla="*/ 624840 w 1214119"/>
                  <a:gd name="connsiteY32" fmla="*/ 789940 h 1597660"/>
                  <a:gd name="connsiteX33" fmla="*/ 807719 w 1214119"/>
                  <a:gd name="connsiteY33" fmla="*/ 548640 h 1597660"/>
                  <a:gd name="connsiteX34" fmla="*/ 840739 w 1214119"/>
                  <a:gd name="connsiteY34" fmla="*/ 396240 h 1597660"/>
                  <a:gd name="connsiteX35" fmla="*/ 792479 w 1214119"/>
                  <a:gd name="connsiteY35" fmla="*/ 337820 h 1597660"/>
                  <a:gd name="connsiteX36" fmla="*/ 843279 w 1214119"/>
                  <a:gd name="connsiteY36" fmla="*/ 375920 h 1597660"/>
                  <a:gd name="connsiteX37" fmla="*/ 853440 w 1214119"/>
                  <a:gd name="connsiteY37" fmla="*/ 314960 h 1597660"/>
                  <a:gd name="connsiteX38" fmla="*/ 878839 w 1214119"/>
                  <a:gd name="connsiteY38" fmla="*/ 322580 h 1597660"/>
                  <a:gd name="connsiteX39" fmla="*/ 835659 w 1214119"/>
                  <a:gd name="connsiteY39" fmla="*/ 530860 h 1597660"/>
                  <a:gd name="connsiteX40" fmla="*/ 985519 w 1214119"/>
                  <a:gd name="connsiteY40" fmla="*/ 360680 h 1597660"/>
                  <a:gd name="connsiteX41" fmla="*/ 972820 w 1214119"/>
                  <a:gd name="connsiteY41" fmla="*/ 274320 h 1597660"/>
                  <a:gd name="connsiteX42" fmla="*/ 1008379 w 1214119"/>
                  <a:gd name="connsiteY42" fmla="*/ 360680 h 1597660"/>
                  <a:gd name="connsiteX43" fmla="*/ 1069339 w 1214119"/>
                  <a:gd name="connsiteY43" fmla="*/ 337820 h 1597660"/>
                  <a:gd name="connsiteX44" fmla="*/ 1084579 w 1214119"/>
                  <a:gd name="connsiteY44" fmla="*/ 220980 h 1597660"/>
                  <a:gd name="connsiteX45" fmla="*/ 1089659 w 1214119"/>
                  <a:gd name="connsiteY45" fmla="*/ 335280 h 1597660"/>
                  <a:gd name="connsiteX46" fmla="*/ 1214119 w 1214119"/>
                  <a:gd name="connsiteY46" fmla="*/ 292100 h 1597660"/>
                  <a:gd name="connsiteX47" fmla="*/ 995679 w 1214119"/>
                  <a:gd name="connsiteY47" fmla="*/ 396240 h 1597660"/>
                  <a:gd name="connsiteX48" fmla="*/ 858519 w 1214119"/>
                  <a:gd name="connsiteY48" fmla="*/ 551180 h 1597660"/>
                  <a:gd name="connsiteX49" fmla="*/ 792480 w 1214119"/>
                  <a:gd name="connsiteY49" fmla="*/ 660400 h 1597660"/>
                  <a:gd name="connsiteX50" fmla="*/ 932180 w 1214119"/>
                  <a:gd name="connsiteY50" fmla="*/ 566420 h 1597660"/>
                  <a:gd name="connsiteX51" fmla="*/ 970280 w 1214119"/>
                  <a:gd name="connsiteY51" fmla="*/ 568960 h 1597660"/>
                  <a:gd name="connsiteX52" fmla="*/ 772160 w 1214119"/>
                  <a:gd name="connsiteY52" fmla="*/ 701040 h 1597660"/>
                  <a:gd name="connsiteX53" fmla="*/ 632460 w 1214119"/>
                  <a:gd name="connsiteY53" fmla="*/ 896620 h 1597660"/>
                  <a:gd name="connsiteX54" fmla="*/ 640080 w 1214119"/>
                  <a:gd name="connsiteY54" fmla="*/ 1239520 h 1597660"/>
                  <a:gd name="connsiteX55" fmla="*/ 640080 w 1214119"/>
                  <a:gd name="connsiteY55" fmla="*/ 1597660 h 1597660"/>
                  <a:gd name="connsiteX56" fmla="*/ 457200 w 1214119"/>
                  <a:gd name="connsiteY56"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447039 w 1214119"/>
                  <a:gd name="connsiteY13" fmla="*/ 284480 h 1597660"/>
                  <a:gd name="connsiteX14" fmla="*/ 393699 w 1214119"/>
                  <a:gd name="connsiteY14" fmla="*/ 528320 h 1597660"/>
                  <a:gd name="connsiteX15" fmla="*/ 525780 w 1214119"/>
                  <a:gd name="connsiteY15" fmla="*/ 599440 h 1597660"/>
                  <a:gd name="connsiteX16" fmla="*/ 563880 w 1214119"/>
                  <a:gd name="connsiteY16" fmla="*/ 378460 h 1597660"/>
                  <a:gd name="connsiteX17" fmla="*/ 485140 w 1214119"/>
                  <a:gd name="connsiteY17" fmla="*/ 127000 h 1597660"/>
                  <a:gd name="connsiteX18" fmla="*/ 419100 w 1214119"/>
                  <a:gd name="connsiteY18" fmla="*/ 60960 h 1597660"/>
                  <a:gd name="connsiteX19" fmla="*/ 495300 w 1214119"/>
                  <a:gd name="connsiteY19" fmla="*/ 111760 h 1597660"/>
                  <a:gd name="connsiteX20" fmla="*/ 530859 w 1214119"/>
                  <a:gd name="connsiteY20" fmla="*/ 187960 h 1597660"/>
                  <a:gd name="connsiteX21" fmla="*/ 622299 w 1214119"/>
                  <a:gd name="connsiteY21" fmla="*/ 20320 h 1597660"/>
                  <a:gd name="connsiteX22" fmla="*/ 546099 w 1214119"/>
                  <a:gd name="connsiteY22" fmla="*/ 223520 h 1597660"/>
                  <a:gd name="connsiteX23" fmla="*/ 594360 w 1214119"/>
                  <a:gd name="connsiteY23" fmla="*/ 355600 h 1597660"/>
                  <a:gd name="connsiteX24" fmla="*/ 723899 w 1214119"/>
                  <a:gd name="connsiteY24" fmla="*/ 132080 h 1597660"/>
                  <a:gd name="connsiteX25" fmla="*/ 693420 w 1214119"/>
                  <a:gd name="connsiteY25" fmla="*/ 30480 h 1597660"/>
                  <a:gd name="connsiteX26" fmla="*/ 708659 w 1214119"/>
                  <a:gd name="connsiteY26" fmla="*/ 0 h 1597660"/>
                  <a:gd name="connsiteX27" fmla="*/ 751839 w 1214119"/>
                  <a:gd name="connsiteY27" fmla="*/ 127000 h 1597660"/>
                  <a:gd name="connsiteX28" fmla="*/ 896620 w 1214119"/>
                  <a:gd name="connsiteY28" fmla="*/ 30480 h 1597660"/>
                  <a:gd name="connsiteX29" fmla="*/ 772159 w 1214119"/>
                  <a:gd name="connsiteY29" fmla="*/ 144780 h 1597660"/>
                  <a:gd name="connsiteX30" fmla="*/ 632460 w 1214119"/>
                  <a:gd name="connsiteY30" fmla="*/ 393700 h 1597660"/>
                  <a:gd name="connsiteX31" fmla="*/ 604520 w 1214119"/>
                  <a:gd name="connsiteY31" fmla="*/ 591820 h 1597660"/>
                  <a:gd name="connsiteX32" fmla="*/ 624840 w 1214119"/>
                  <a:gd name="connsiteY32" fmla="*/ 789940 h 1597660"/>
                  <a:gd name="connsiteX33" fmla="*/ 807719 w 1214119"/>
                  <a:gd name="connsiteY33" fmla="*/ 548640 h 1597660"/>
                  <a:gd name="connsiteX34" fmla="*/ 840739 w 1214119"/>
                  <a:gd name="connsiteY34" fmla="*/ 396240 h 1597660"/>
                  <a:gd name="connsiteX35" fmla="*/ 792479 w 1214119"/>
                  <a:gd name="connsiteY35" fmla="*/ 337820 h 1597660"/>
                  <a:gd name="connsiteX36" fmla="*/ 843279 w 1214119"/>
                  <a:gd name="connsiteY36" fmla="*/ 375920 h 1597660"/>
                  <a:gd name="connsiteX37" fmla="*/ 853440 w 1214119"/>
                  <a:gd name="connsiteY37" fmla="*/ 314960 h 1597660"/>
                  <a:gd name="connsiteX38" fmla="*/ 878839 w 1214119"/>
                  <a:gd name="connsiteY38" fmla="*/ 322580 h 1597660"/>
                  <a:gd name="connsiteX39" fmla="*/ 835659 w 1214119"/>
                  <a:gd name="connsiteY39" fmla="*/ 530860 h 1597660"/>
                  <a:gd name="connsiteX40" fmla="*/ 985519 w 1214119"/>
                  <a:gd name="connsiteY40" fmla="*/ 360680 h 1597660"/>
                  <a:gd name="connsiteX41" fmla="*/ 972820 w 1214119"/>
                  <a:gd name="connsiteY41" fmla="*/ 274320 h 1597660"/>
                  <a:gd name="connsiteX42" fmla="*/ 1008379 w 1214119"/>
                  <a:gd name="connsiteY42" fmla="*/ 360680 h 1597660"/>
                  <a:gd name="connsiteX43" fmla="*/ 1069339 w 1214119"/>
                  <a:gd name="connsiteY43" fmla="*/ 337820 h 1597660"/>
                  <a:gd name="connsiteX44" fmla="*/ 1084579 w 1214119"/>
                  <a:gd name="connsiteY44" fmla="*/ 220980 h 1597660"/>
                  <a:gd name="connsiteX45" fmla="*/ 1089659 w 1214119"/>
                  <a:gd name="connsiteY45" fmla="*/ 335280 h 1597660"/>
                  <a:gd name="connsiteX46" fmla="*/ 1214119 w 1214119"/>
                  <a:gd name="connsiteY46" fmla="*/ 292100 h 1597660"/>
                  <a:gd name="connsiteX47" fmla="*/ 995679 w 1214119"/>
                  <a:gd name="connsiteY47" fmla="*/ 396240 h 1597660"/>
                  <a:gd name="connsiteX48" fmla="*/ 858519 w 1214119"/>
                  <a:gd name="connsiteY48" fmla="*/ 551180 h 1597660"/>
                  <a:gd name="connsiteX49" fmla="*/ 792480 w 1214119"/>
                  <a:gd name="connsiteY49" fmla="*/ 660400 h 1597660"/>
                  <a:gd name="connsiteX50" fmla="*/ 932180 w 1214119"/>
                  <a:gd name="connsiteY50" fmla="*/ 566420 h 1597660"/>
                  <a:gd name="connsiteX51" fmla="*/ 970280 w 1214119"/>
                  <a:gd name="connsiteY51" fmla="*/ 568960 h 1597660"/>
                  <a:gd name="connsiteX52" fmla="*/ 772160 w 1214119"/>
                  <a:gd name="connsiteY52" fmla="*/ 701040 h 1597660"/>
                  <a:gd name="connsiteX53" fmla="*/ 632460 w 1214119"/>
                  <a:gd name="connsiteY53" fmla="*/ 896620 h 1597660"/>
                  <a:gd name="connsiteX54" fmla="*/ 640080 w 1214119"/>
                  <a:gd name="connsiteY54" fmla="*/ 1239520 h 1597660"/>
                  <a:gd name="connsiteX55" fmla="*/ 640080 w 1214119"/>
                  <a:gd name="connsiteY55" fmla="*/ 1597660 h 1597660"/>
                  <a:gd name="connsiteX56" fmla="*/ 457200 w 1214119"/>
                  <a:gd name="connsiteY56"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403859 w 1214119"/>
                  <a:gd name="connsiteY13" fmla="*/ 350520 h 1597660"/>
                  <a:gd name="connsiteX14" fmla="*/ 447039 w 1214119"/>
                  <a:gd name="connsiteY14" fmla="*/ 284480 h 1597660"/>
                  <a:gd name="connsiteX15" fmla="*/ 393699 w 1214119"/>
                  <a:gd name="connsiteY15" fmla="*/ 52832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353059 w 1214119"/>
                  <a:gd name="connsiteY13" fmla="*/ 269240 h 1597660"/>
                  <a:gd name="connsiteX14" fmla="*/ 447039 w 1214119"/>
                  <a:gd name="connsiteY14" fmla="*/ 284480 h 1597660"/>
                  <a:gd name="connsiteX15" fmla="*/ 393699 w 1214119"/>
                  <a:gd name="connsiteY15" fmla="*/ 52832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353059 w 1214119"/>
                  <a:gd name="connsiteY13" fmla="*/ 269240 h 1597660"/>
                  <a:gd name="connsiteX14" fmla="*/ 447039 w 1214119"/>
                  <a:gd name="connsiteY14" fmla="*/ 284480 h 1597660"/>
                  <a:gd name="connsiteX15" fmla="*/ 416559 w 1214119"/>
                  <a:gd name="connsiteY15" fmla="*/ 55118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23240 h 1597660"/>
                  <a:gd name="connsiteX12" fmla="*/ 378459 w 1214119"/>
                  <a:gd name="connsiteY12" fmla="*/ 391160 h 1597660"/>
                  <a:gd name="connsiteX13" fmla="*/ 353059 w 1214119"/>
                  <a:gd name="connsiteY13" fmla="*/ 269240 h 1597660"/>
                  <a:gd name="connsiteX14" fmla="*/ 447039 w 1214119"/>
                  <a:gd name="connsiteY14" fmla="*/ 284480 h 1597660"/>
                  <a:gd name="connsiteX15" fmla="*/ 416559 w 1214119"/>
                  <a:gd name="connsiteY15" fmla="*/ 55118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53059 w 1214119"/>
                  <a:gd name="connsiteY13" fmla="*/ 269240 h 1597660"/>
                  <a:gd name="connsiteX14" fmla="*/ 447039 w 1214119"/>
                  <a:gd name="connsiteY14" fmla="*/ 284480 h 1597660"/>
                  <a:gd name="connsiteX15" fmla="*/ 416559 w 1214119"/>
                  <a:gd name="connsiteY15" fmla="*/ 55118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447039 w 1214119"/>
                  <a:gd name="connsiteY14" fmla="*/ 284480 h 1597660"/>
                  <a:gd name="connsiteX15" fmla="*/ 416559 w 1214119"/>
                  <a:gd name="connsiteY15" fmla="*/ 55118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401319 w 1214119"/>
                  <a:gd name="connsiteY14" fmla="*/ 289560 h 1597660"/>
                  <a:gd name="connsiteX15" fmla="*/ 447039 w 1214119"/>
                  <a:gd name="connsiteY15" fmla="*/ 284480 h 1597660"/>
                  <a:gd name="connsiteX16" fmla="*/ 416559 w 1214119"/>
                  <a:gd name="connsiteY16" fmla="*/ 551180 h 1597660"/>
                  <a:gd name="connsiteX17" fmla="*/ 525780 w 1214119"/>
                  <a:gd name="connsiteY17" fmla="*/ 599440 h 1597660"/>
                  <a:gd name="connsiteX18" fmla="*/ 563880 w 1214119"/>
                  <a:gd name="connsiteY18" fmla="*/ 378460 h 1597660"/>
                  <a:gd name="connsiteX19" fmla="*/ 485140 w 1214119"/>
                  <a:gd name="connsiteY19" fmla="*/ 127000 h 1597660"/>
                  <a:gd name="connsiteX20" fmla="*/ 419100 w 1214119"/>
                  <a:gd name="connsiteY20" fmla="*/ 60960 h 1597660"/>
                  <a:gd name="connsiteX21" fmla="*/ 495300 w 1214119"/>
                  <a:gd name="connsiteY21" fmla="*/ 111760 h 1597660"/>
                  <a:gd name="connsiteX22" fmla="*/ 530859 w 1214119"/>
                  <a:gd name="connsiteY22" fmla="*/ 187960 h 1597660"/>
                  <a:gd name="connsiteX23" fmla="*/ 622299 w 1214119"/>
                  <a:gd name="connsiteY23" fmla="*/ 20320 h 1597660"/>
                  <a:gd name="connsiteX24" fmla="*/ 546099 w 1214119"/>
                  <a:gd name="connsiteY24" fmla="*/ 223520 h 1597660"/>
                  <a:gd name="connsiteX25" fmla="*/ 594360 w 1214119"/>
                  <a:gd name="connsiteY25" fmla="*/ 355600 h 1597660"/>
                  <a:gd name="connsiteX26" fmla="*/ 723899 w 1214119"/>
                  <a:gd name="connsiteY26" fmla="*/ 132080 h 1597660"/>
                  <a:gd name="connsiteX27" fmla="*/ 693420 w 1214119"/>
                  <a:gd name="connsiteY27" fmla="*/ 30480 h 1597660"/>
                  <a:gd name="connsiteX28" fmla="*/ 708659 w 1214119"/>
                  <a:gd name="connsiteY28" fmla="*/ 0 h 1597660"/>
                  <a:gd name="connsiteX29" fmla="*/ 751839 w 1214119"/>
                  <a:gd name="connsiteY29" fmla="*/ 127000 h 1597660"/>
                  <a:gd name="connsiteX30" fmla="*/ 896620 w 1214119"/>
                  <a:gd name="connsiteY30" fmla="*/ 30480 h 1597660"/>
                  <a:gd name="connsiteX31" fmla="*/ 772159 w 1214119"/>
                  <a:gd name="connsiteY31" fmla="*/ 144780 h 1597660"/>
                  <a:gd name="connsiteX32" fmla="*/ 632460 w 1214119"/>
                  <a:gd name="connsiteY32" fmla="*/ 393700 h 1597660"/>
                  <a:gd name="connsiteX33" fmla="*/ 604520 w 1214119"/>
                  <a:gd name="connsiteY33" fmla="*/ 591820 h 1597660"/>
                  <a:gd name="connsiteX34" fmla="*/ 624840 w 1214119"/>
                  <a:gd name="connsiteY34" fmla="*/ 789940 h 1597660"/>
                  <a:gd name="connsiteX35" fmla="*/ 807719 w 1214119"/>
                  <a:gd name="connsiteY35" fmla="*/ 548640 h 1597660"/>
                  <a:gd name="connsiteX36" fmla="*/ 840739 w 1214119"/>
                  <a:gd name="connsiteY36" fmla="*/ 396240 h 1597660"/>
                  <a:gd name="connsiteX37" fmla="*/ 792479 w 1214119"/>
                  <a:gd name="connsiteY37" fmla="*/ 337820 h 1597660"/>
                  <a:gd name="connsiteX38" fmla="*/ 843279 w 1214119"/>
                  <a:gd name="connsiteY38" fmla="*/ 375920 h 1597660"/>
                  <a:gd name="connsiteX39" fmla="*/ 853440 w 1214119"/>
                  <a:gd name="connsiteY39" fmla="*/ 314960 h 1597660"/>
                  <a:gd name="connsiteX40" fmla="*/ 878839 w 1214119"/>
                  <a:gd name="connsiteY40" fmla="*/ 322580 h 1597660"/>
                  <a:gd name="connsiteX41" fmla="*/ 835659 w 1214119"/>
                  <a:gd name="connsiteY41" fmla="*/ 530860 h 1597660"/>
                  <a:gd name="connsiteX42" fmla="*/ 985519 w 1214119"/>
                  <a:gd name="connsiteY42" fmla="*/ 360680 h 1597660"/>
                  <a:gd name="connsiteX43" fmla="*/ 972820 w 1214119"/>
                  <a:gd name="connsiteY43" fmla="*/ 274320 h 1597660"/>
                  <a:gd name="connsiteX44" fmla="*/ 1008379 w 1214119"/>
                  <a:gd name="connsiteY44" fmla="*/ 360680 h 1597660"/>
                  <a:gd name="connsiteX45" fmla="*/ 1069339 w 1214119"/>
                  <a:gd name="connsiteY45" fmla="*/ 337820 h 1597660"/>
                  <a:gd name="connsiteX46" fmla="*/ 1084579 w 1214119"/>
                  <a:gd name="connsiteY46" fmla="*/ 220980 h 1597660"/>
                  <a:gd name="connsiteX47" fmla="*/ 1089659 w 1214119"/>
                  <a:gd name="connsiteY47" fmla="*/ 335280 h 1597660"/>
                  <a:gd name="connsiteX48" fmla="*/ 1214119 w 1214119"/>
                  <a:gd name="connsiteY48" fmla="*/ 292100 h 1597660"/>
                  <a:gd name="connsiteX49" fmla="*/ 995679 w 1214119"/>
                  <a:gd name="connsiteY49" fmla="*/ 396240 h 1597660"/>
                  <a:gd name="connsiteX50" fmla="*/ 858519 w 1214119"/>
                  <a:gd name="connsiteY50" fmla="*/ 551180 h 1597660"/>
                  <a:gd name="connsiteX51" fmla="*/ 792480 w 1214119"/>
                  <a:gd name="connsiteY51" fmla="*/ 660400 h 1597660"/>
                  <a:gd name="connsiteX52" fmla="*/ 932180 w 1214119"/>
                  <a:gd name="connsiteY52" fmla="*/ 566420 h 1597660"/>
                  <a:gd name="connsiteX53" fmla="*/ 970280 w 1214119"/>
                  <a:gd name="connsiteY53" fmla="*/ 568960 h 1597660"/>
                  <a:gd name="connsiteX54" fmla="*/ 772160 w 1214119"/>
                  <a:gd name="connsiteY54" fmla="*/ 701040 h 1597660"/>
                  <a:gd name="connsiteX55" fmla="*/ 632460 w 1214119"/>
                  <a:gd name="connsiteY55" fmla="*/ 896620 h 1597660"/>
                  <a:gd name="connsiteX56" fmla="*/ 640080 w 1214119"/>
                  <a:gd name="connsiteY56" fmla="*/ 1239520 h 1597660"/>
                  <a:gd name="connsiteX57" fmla="*/ 640080 w 1214119"/>
                  <a:gd name="connsiteY57" fmla="*/ 1597660 h 1597660"/>
                  <a:gd name="connsiteX58" fmla="*/ 457200 w 1214119"/>
                  <a:gd name="connsiteY58"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8779 w 1214119"/>
                  <a:gd name="connsiteY14" fmla="*/ 378460 h 1597660"/>
                  <a:gd name="connsiteX15" fmla="*/ 447039 w 1214119"/>
                  <a:gd name="connsiteY15" fmla="*/ 284480 h 1597660"/>
                  <a:gd name="connsiteX16" fmla="*/ 416559 w 1214119"/>
                  <a:gd name="connsiteY16" fmla="*/ 551180 h 1597660"/>
                  <a:gd name="connsiteX17" fmla="*/ 525780 w 1214119"/>
                  <a:gd name="connsiteY17" fmla="*/ 599440 h 1597660"/>
                  <a:gd name="connsiteX18" fmla="*/ 563880 w 1214119"/>
                  <a:gd name="connsiteY18" fmla="*/ 378460 h 1597660"/>
                  <a:gd name="connsiteX19" fmla="*/ 485140 w 1214119"/>
                  <a:gd name="connsiteY19" fmla="*/ 127000 h 1597660"/>
                  <a:gd name="connsiteX20" fmla="*/ 419100 w 1214119"/>
                  <a:gd name="connsiteY20" fmla="*/ 60960 h 1597660"/>
                  <a:gd name="connsiteX21" fmla="*/ 495300 w 1214119"/>
                  <a:gd name="connsiteY21" fmla="*/ 111760 h 1597660"/>
                  <a:gd name="connsiteX22" fmla="*/ 530859 w 1214119"/>
                  <a:gd name="connsiteY22" fmla="*/ 187960 h 1597660"/>
                  <a:gd name="connsiteX23" fmla="*/ 622299 w 1214119"/>
                  <a:gd name="connsiteY23" fmla="*/ 20320 h 1597660"/>
                  <a:gd name="connsiteX24" fmla="*/ 546099 w 1214119"/>
                  <a:gd name="connsiteY24" fmla="*/ 223520 h 1597660"/>
                  <a:gd name="connsiteX25" fmla="*/ 594360 w 1214119"/>
                  <a:gd name="connsiteY25" fmla="*/ 355600 h 1597660"/>
                  <a:gd name="connsiteX26" fmla="*/ 723899 w 1214119"/>
                  <a:gd name="connsiteY26" fmla="*/ 132080 h 1597660"/>
                  <a:gd name="connsiteX27" fmla="*/ 693420 w 1214119"/>
                  <a:gd name="connsiteY27" fmla="*/ 30480 h 1597660"/>
                  <a:gd name="connsiteX28" fmla="*/ 708659 w 1214119"/>
                  <a:gd name="connsiteY28" fmla="*/ 0 h 1597660"/>
                  <a:gd name="connsiteX29" fmla="*/ 751839 w 1214119"/>
                  <a:gd name="connsiteY29" fmla="*/ 127000 h 1597660"/>
                  <a:gd name="connsiteX30" fmla="*/ 896620 w 1214119"/>
                  <a:gd name="connsiteY30" fmla="*/ 30480 h 1597660"/>
                  <a:gd name="connsiteX31" fmla="*/ 772159 w 1214119"/>
                  <a:gd name="connsiteY31" fmla="*/ 144780 h 1597660"/>
                  <a:gd name="connsiteX32" fmla="*/ 632460 w 1214119"/>
                  <a:gd name="connsiteY32" fmla="*/ 393700 h 1597660"/>
                  <a:gd name="connsiteX33" fmla="*/ 604520 w 1214119"/>
                  <a:gd name="connsiteY33" fmla="*/ 591820 h 1597660"/>
                  <a:gd name="connsiteX34" fmla="*/ 624840 w 1214119"/>
                  <a:gd name="connsiteY34" fmla="*/ 789940 h 1597660"/>
                  <a:gd name="connsiteX35" fmla="*/ 807719 w 1214119"/>
                  <a:gd name="connsiteY35" fmla="*/ 548640 h 1597660"/>
                  <a:gd name="connsiteX36" fmla="*/ 840739 w 1214119"/>
                  <a:gd name="connsiteY36" fmla="*/ 396240 h 1597660"/>
                  <a:gd name="connsiteX37" fmla="*/ 792479 w 1214119"/>
                  <a:gd name="connsiteY37" fmla="*/ 337820 h 1597660"/>
                  <a:gd name="connsiteX38" fmla="*/ 843279 w 1214119"/>
                  <a:gd name="connsiteY38" fmla="*/ 375920 h 1597660"/>
                  <a:gd name="connsiteX39" fmla="*/ 853440 w 1214119"/>
                  <a:gd name="connsiteY39" fmla="*/ 314960 h 1597660"/>
                  <a:gd name="connsiteX40" fmla="*/ 878839 w 1214119"/>
                  <a:gd name="connsiteY40" fmla="*/ 322580 h 1597660"/>
                  <a:gd name="connsiteX41" fmla="*/ 835659 w 1214119"/>
                  <a:gd name="connsiteY41" fmla="*/ 530860 h 1597660"/>
                  <a:gd name="connsiteX42" fmla="*/ 985519 w 1214119"/>
                  <a:gd name="connsiteY42" fmla="*/ 360680 h 1597660"/>
                  <a:gd name="connsiteX43" fmla="*/ 972820 w 1214119"/>
                  <a:gd name="connsiteY43" fmla="*/ 274320 h 1597660"/>
                  <a:gd name="connsiteX44" fmla="*/ 1008379 w 1214119"/>
                  <a:gd name="connsiteY44" fmla="*/ 360680 h 1597660"/>
                  <a:gd name="connsiteX45" fmla="*/ 1069339 w 1214119"/>
                  <a:gd name="connsiteY45" fmla="*/ 337820 h 1597660"/>
                  <a:gd name="connsiteX46" fmla="*/ 1084579 w 1214119"/>
                  <a:gd name="connsiteY46" fmla="*/ 220980 h 1597660"/>
                  <a:gd name="connsiteX47" fmla="*/ 1089659 w 1214119"/>
                  <a:gd name="connsiteY47" fmla="*/ 335280 h 1597660"/>
                  <a:gd name="connsiteX48" fmla="*/ 1214119 w 1214119"/>
                  <a:gd name="connsiteY48" fmla="*/ 292100 h 1597660"/>
                  <a:gd name="connsiteX49" fmla="*/ 995679 w 1214119"/>
                  <a:gd name="connsiteY49" fmla="*/ 396240 h 1597660"/>
                  <a:gd name="connsiteX50" fmla="*/ 858519 w 1214119"/>
                  <a:gd name="connsiteY50" fmla="*/ 551180 h 1597660"/>
                  <a:gd name="connsiteX51" fmla="*/ 792480 w 1214119"/>
                  <a:gd name="connsiteY51" fmla="*/ 660400 h 1597660"/>
                  <a:gd name="connsiteX52" fmla="*/ 932180 w 1214119"/>
                  <a:gd name="connsiteY52" fmla="*/ 566420 h 1597660"/>
                  <a:gd name="connsiteX53" fmla="*/ 970280 w 1214119"/>
                  <a:gd name="connsiteY53" fmla="*/ 568960 h 1597660"/>
                  <a:gd name="connsiteX54" fmla="*/ 772160 w 1214119"/>
                  <a:gd name="connsiteY54" fmla="*/ 701040 h 1597660"/>
                  <a:gd name="connsiteX55" fmla="*/ 632460 w 1214119"/>
                  <a:gd name="connsiteY55" fmla="*/ 896620 h 1597660"/>
                  <a:gd name="connsiteX56" fmla="*/ 640080 w 1214119"/>
                  <a:gd name="connsiteY56" fmla="*/ 1239520 h 1597660"/>
                  <a:gd name="connsiteX57" fmla="*/ 640080 w 1214119"/>
                  <a:gd name="connsiteY57" fmla="*/ 1597660 h 1597660"/>
                  <a:gd name="connsiteX58" fmla="*/ 457200 w 1214119"/>
                  <a:gd name="connsiteY58"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8779 w 1214119"/>
                  <a:gd name="connsiteY14" fmla="*/ 378460 h 1597660"/>
                  <a:gd name="connsiteX15" fmla="*/ 447039 w 1214119"/>
                  <a:gd name="connsiteY15" fmla="*/ 284480 h 1597660"/>
                  <a:gd name="connsiteX16" fmla="*/ 436879 w 1214119"/>
                  <a:gd name="connsiteY16" fmla="*/ 408940 h 1597660"/>
                  <a:gd name="connsiteX17" fmla="*/ 416559 w 1214119"/>
                  <a:gd name="connsiteY17" fmla="*/ 55118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8779 w 1214119"/>
                  <a:gd name="connsiteY14" fmla="*/ 378460 h 1597660"/>
                  <a:gd name="connsiteX15" fmla="*/ 447039 w 1214119"/>
                  <a:gd name="connsiteY15" fmla="*/ 284480 h 1597660"/>
                  <a:gd name="connsiteX16" fmla="*/ 398779 w 1214119"/>
                  <a:gd name="connsiteY16" fmla="*/ 396240 h 1597660"/>
                  <a:gd name="connsiteX17" fmla="*/ 416559 w 1214119"/>
                  <a:gd name="connsiteY17" fmla="*/ 55118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1159 w 1214119"/>
                  <a:gd name="connsiteY14" fmla="*/ 365760 h 1597660"/>
                  <a:gd name="connsiteX15" fmla="*/ 447039 w 1214119"/>
                  <a:gd name="connsiteY15" fmla="*/ 284480 h 1597660"/>
                  <a:gd name="connsiteX16" fmla="*/ 398779 w 1214119"/>
                  <a:gd name="connsiteY16" fmla="*/ 396240 h 1597660"/>
                  <a:gd name="connsiteX17" fmla="*/ 416559 w 1214119"/>
                  <a:gd name="connsiteY17" fmla="*/ 55118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1159 w 1214119"/>
                  <a:gd name="connsiteY14" fmla="*/ 365760 h 1597660"/>
                  <a:gd name="connsiteX15" fmla="*/ 447039 w 1214119"/>
                  <a:gd name="connsiteY15" fmla="*/ 284480 h 1597660"/>
                  <a:gd name="connsiteX16" fmla="*/ 398779 w 1214119"/>
                  <a:gd name="connsiteY16" fmla="*/ 396240 h 1597660"/>
                  <a:gd name="connsiteX17" fmla="*/ 403859 w 1214119"/>
                  <a:gd name="connsiteY17" fmla="*/ 54864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31139 w 1214119"/>
                  <a:gd name="connsiteY9" fmla="*/ 4241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1159 w 1214119"/>
                  <a:gd name="connsiteY14" fmla="*/ 365760 h 1597660"/>
                  <a:gd name="connsiteX15" fmla="*/ 447039 w 1214119"/>
                  <a:gd name="connsiteY15" fmla="*/ 284480 h 1597660"/>
                  <a:gd name="connsiteX16" fmla="*/ 398779 w 1214119"/>
                  <a:gd name="connsiteY16" fmla="*/ 396240 h 1597660"/>
                  <a:gd name="connsiteX17" fmla="*/ 403859 w 1214119"/>
                  <a:gd name="connsiteY17" fmla="*/ 54864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215900 w 1214119"/>
                  <a:gd name="connsiteY5" fmla="*/ 439420 h 1597660"/>
                  <a:gd name="connsiteX6" fmla="*/ 0 w 1214119"/>
                  <a:gd name="connsiteY6" fmla="*/ 294640 h 1597660"/>
                  <a:gd name="connsiteX7" fmla="*/ 190500 w 1214119"/>
                  <a:gd name="connsiteY7" fmla="*/ 355600 h 1597660"/>
                  <a:gd name="connsiteX8" fmla="*/ 182880 w 1214119"/>
                  <a:gd name="connsiteY8" fmla="*/ 180340 h 1597660"/>
                  <a:gd name="connsiteX9" fmla="*/ 231139 w 1214119"/>
                  <a:gd name="connsiteY9" fmla="*/ 4241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1159 w 1214119"/>
                  <a:gd name="connsiteY14" fmla="*/ 365760 h 1597660"/>
                  <a:gd name="connsiteX15" fmla="*/ 447039 w 1214119"/>
                  <a:gd name="connsiteY15" fmla="*/ 284480 h 1597660"/>
                  <a:gd name="connsiteX16" fmla="*/ 398779 w 1214119"/>
                  <a:gd name="connsiteY16" fmla="*/ 396240 h 1597660"/>
                  <a:gd name="connsiteX17" fmla="*/ 403859 w 1214119"/>
                  <a:gd name="connsiteY17" fmla="*/ 54864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71120 w 1094739"/>
                  <a:gd name="connsiteY7" fmla="*/ 355600 h 1597660"/>
                  <a:gd name="connsiteX8" fmla="*/ 63500 w 1094739"/>
                  <a:gd name="connsiteY8" fmla="*/ 180340 h 1597660"/>
                  <a:gd name="connsiteX9" fmla="*/ 111759 w 1094739"/>
                  <a:gd name="connsiteY9" fmla="*/ 42418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77240 w 1094739"/>
                  <a:gd name="connsiteY31" fmla="*/ 30480 h 1597660"/>
                  <a:gd name="connsiteX32" fmla="*/ 652779 w 1094739"/>
                  <a:gd name="connsiteY32" fmla="*/ 144780 h 1597660"/>
                  <a:gd name="connsiteX33" fmla="*/ 513080 w 1094739"/>
                  <a:gd name="connsiteY33" fmla="*/ 393700 h 1597660"/>
                  <a:gd name="connsiteX34" fmla="*/ 485140 w 1094739"/>
                  <a:gd name="connsiteY34" fmla="*/ 591820 h 1597660"/>
                  <a:gd name="connsiteX35" fmla="*/ 505460 w 1094739"/>
                  <a:gd name="connsiteY35" fmla="*/ 789940 h 1597660"/>
                  <a:gd name="connsiteX36" fmla="*/ 688339 w 1094739"/>
                  <a:gd name="connsiteY36" fmla="*/ 548640 h 1597660"/>
                  <a:gd name="connsiteX37" fmla="*/ 721359 w 1094739"/>
                  <a:gd name="connsiteY37" fmla="*/ 396240 h 1597660"/>
                  <a:gd name="connsiteX38" fmla="*/ 673099 w 1094739"/>
                  <a:gd name="connsiteY38" fmla="*/ 337820 h 1597660"/>
                  <a:gd name="connsiteX39" fmla="*/ 723899 w 1094739"/>
                  <a:gd name="connsiteY39" fmla="*/ 375920 h 1597660"/>
                  <a:gd name="connsiteX40" fmla="*/ 734060 w 1094739"/>
                  <a:gd name="connsiteY40" fmla="*/ 314960 h 1597660"/>
                  <a:gd name="connsiteX41" fmla="*/ 759459 w 1094739"/>
                  <a:gd name="connsiteY41" fmla="*/ 322580 h 1597660"/>
                  <a:gd name="connsiteX42" fmla="*/ 716279 w 1094739"/>
                  <a:gd name="connsiteY42" fmla="*/ 530860 h 1597660"/>
                  <a:gd name="connsiteX43" fmla="*/ 866139 w 1094739"/>
                  <a:gd name="connsiteY43" fmla="*/ 360680 h 1597660"/>
                  <a:gd name="connsiteX44" fmla="*/ 853440 w 1094739"/>
                  <a:gd name="connsiteY44" fmla="*/ 274320 h 1597660"/>
                  <a:gd name="connsiteX45" fmla="*/ 888999 w 1094739"/>
                  <a:gd name="connsiteY45" fmla="*/ 360680 h 1597660"/>
                  <a:gd name="connsiteX46" fmla="*/ 949959 w 1094739"/>
                  <a:gd name="connsiteY46" fmla="*/ 337820 h 1597660"/>
                  <a:gd name="connsiteX47" fmla="*/ 965199 w 1094739"/>
                  <a:gd name="connsiteY47" fmla="*/ 220980 h 1597660"/>
                  <a:gd name="connsiteX48" fmla="*/ 970279 w 1094739"/>
                  <a:gd name="connsiteY48" fmla="*/ 335280 h 1597660"/>
                  <a:gd name="connsiteX49" fmla="*/ 1094739 w 1094739"/>
                  <a:gd name="connsiteY49" fmla="*/ 292100 h 1597660"/>
                  <a:gd name="connsiteX50" fmla="*/ 876299 w 1094739"/>
                  <a:gd name="connsiteY50" fmla="*/ 396240 h 1597660"/>
                  <a:gd name="connsiteX51" fmla="*/ 739139 w 1094739"/>
                  <a:gd name="connsiteY51" fmla="*/ 551180 h 1597660"/>
                  <a:gd name="connsiteX52" fmla="*/ 673100 w 1094739"/>
                  <a:gd name="connsiteY52" fmla="*/ 660400 h 1597660"/>
                  <a:gd name="connsiteX53" fmla="*/ 812800 w 1094739"/>
                  <a:gd name="connsiteY53" fmla="*/ 566420 h 1597660"/>
                  <a:gd name="connsiteX54" fmla="*/ 850900 w 1094739"/>
                  <a:gd name="connsiteY54" fmla="*/ 568960 h 1597660"/>
                  <a:gd name="connsiteX55" fmla="*/ 652780 w 1094739"/>
                  <a:gd name="connsiteY55" fmla="*/ 701040 h 1597660"/>
                  <a:gd name="connsiteX56" fmla="*/ 513080 w 1094739"/>
                  <a:gd name="connsiteY56" fmla="*/ 896620 h 1597660"/>
                  <a:gd name="connsiteX57" fmla="*/ 520700 w 1094739"/>
                  <a:gd name="connsiteY57" fmla="*/ 1239520 h 1597660"/>
                  <a:gd name="connsiteX58" fmla="*/ 520700 w 1094739"/>
                  <a:gd name="connsiteY58" fmla="*/ 1597660 h 1597660"/>
                  <a:gd name="connsiteX59" fmla="*/ 337820 w 109473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63500 w 1094739"/>
                  <a:gd name="connsiteY8" fmla="*/ 180340 h 1597660"/>
                  <a:gd name="connsiteX9" fmla="*/ 111759 w 1094739"/>
                  <a:gd name="connsiteY9" fmla="*/ 42418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77240 w 1094739"/>
                  <a:gd name="connsiteY31" fmla="*/ 30480 h 1597660"/>
                  <a:gd name="connsiteX32" fmla="*/ 652779 w 1094739"/>
                  <a:gd name="connsiteY32" fmla="*/ 144780 h 1597660"/>
                  <a:gd name="connsiteX33" fmla="*/ 513080 w 1094739"/>
                  <a:gd name="connsiteY33" fmla="*/ 393700 h 1597660"/>
                  <a:gd name="connsiteX34" fmla="*/ 485140 w 1094739"/>
                  <a:gd name="connsiteY34" fmla="*/ 591820 h 1597660"/>
                  <a:gd name="connsiteX35" fmla="*/ 505460 w 1094739"/>
                  <a:gd name="connsiteY35" fmla="*/ 789940 h 1597660"/>
                  <a:gd name="connsiteX36" fmla="*/ 688339 w 1094739"/>
                  <a:gd name="connsiteY36" fmla="*/ 548640 h 1597660"/>
                  <a:gd name="connsiteX37" fmla="*/ 721359 w 1094739"/>
                  <a:gd name="connsiteY37" fmla="*/ 396240 h 1597660"/>
                  <a:gd name="connsiteX38" fmla="*/ 673099 w 1094739"/>
                  <a:gd name="connsiteY38" fmla="*/ 337820 h 1597660"/>
                  <a:gd name="connsiteX39" fmla="*/ 723899 w 1094739"/>
                  <a:gd name="connsiteY39" fmla="*/ 375920 h 1597660"/>
                  <a:gd name="connsiteX40" fmla="*/ 734060 w 1094739"/>
                  <a:gd name="connsiteY40" fmla="*/ 314960 h 1597660"/>
                  <a:gd name="connsiteX41" fmla="*/ 759459 w 1094739"/>
                  <a:gd name="connsiteY41" fmla="*/ 322580 h 1597660"/>
                  <a:gd name="connsiteX42" fmla="*/ 716279 w 1094739"/>
                  <a:gd name="connsiteY42" fmla="*/ 530860 h 1597660"/>
                  <a:gd name="connsiteX43" fmla="*/ 866139 w 1094739"/>
                  <a:gd name="connsiteY43" fmla="*/ 360680 h 1597660"/>
                  <a:gd name="connsiteX44" fmla="*/ 853440 w 1094739"/>
                  <a:gd name="connsiteY44" fmla="*/ 274320 h 1597660"/>
                  <a:gd name="connsiteX45" fmla="*/ 888999 w 1094739"/>
                  <a:gd name="connsiteY45" fmla="*/ 360680 h 1597660"/>
                  <a:gd name="connsiteX46" fmla="*/ 949959 w 1094739"/>
                  <a:gd name="connsiteY46" fmla="*/ 337820 h 1597660"/>
                  <a:gd name="connsiteX47" fmla="*/ 965199 w 1094739"/>
                  <a:gd name="connsiteY47" fmla="*/ 220980 h 1597660"/>
                  <a:gd name="connsiteX48" fmla="*/ 970279 w 1094739"/>
                  <a:gd name="connsiteY48" fmla="*/ 335280 h 1597660"/>
                  <a:gd name="connsiteX49" fmla="*/ 1094739 w 1094739"/>
                  <a:gd name="connsiteY49" fmla="*/ 292100 h 1597660"/>
                  <a:gd name="connsiteX50" fmla="*/ 876299 w 1094739"/>
                  <a:gd name="connsiteY50" fmla="*/ 396240 h 1597660"/>
                  <a:gd name="connsiteX51" fmla="*/ 739139 w 1094739"/>
                  <a:gd name="connsiteY51" fmla="*/ 551180 h 1597660"/>
                  <a:gd name="connsiteX52" fmla="*/ 673100 w 1094739"/>
                  <a:gd name="connsiteY52" fmla="*/ 660400 h 1597660"/>
                  <a:gd name="connsiteX53" fmla="*/ 812800 w 1094739"/>
                  <a:gd name="connsiteY53" fmla="*/ 566420 h 1597660"/>
                  <a:gd name="connsiteX54" fmla="*/ 850900 w 1094739"/>
                  <a:gd name="connsiteY54" fmla="*/ 568960 h 1597660"/>
                  <a:gd name="connsiteX55" fmla="*/ 652780 w 1094739"/>
                  <a:gd name="connsiteY55" fmla="*/ 701040 h 1597660"/>
                  <a:gd name="connsiteX56" fmla="*/ 513080 w 1094739"/>
                  <a:gd name="connsiteY56" fmla="*/ 896620 h 1597660"/>
                  <a:gd name="connsiteX57" fmla="*/ 520700 w 1094739"/>
                  <a:gd name="connsiteY57" fmla="*/ 1239520 h 1597660"/>
                  <a:gd name="connsiteX58" fmla="*/ 520700 w 1094739"/>
                  <a:gd name="connsiteY58" fmla="*/ 1597660 h 1597660"/>
                  <a:gd name="connsiteX59" fmla="*/ 337820 w 109473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109220 w 1094739"/>
                  <a:gd name="connsiteY8" fmla="*/ 279400 h 1597660"/>
                  <a:gd name="connsiteX9" fmla="*/ 111759 w 1094739"/>
                  <a:gd name="connsiteY9" fmla="*/ 42418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77240 w 1094739"/>
                  <a:gd name="connsiteY31" fmla="*/ 30480 h 1597660"/>
                  <a:gd name="connsiteX32" fmla="*/ 652779 w 1094739"/>
                  <a:gd name="connsiteY32" fmla="*/ 144780 h 1597660"/>
                  <a:gd name="connsiteX33" fmla="*/ 513080 w 1094739"/>
                  <a:gd name="connsiteY33" fmla="*/ 393700 h 1597660"/>
                  <a:gd name="connsiteX34" fmla="*/ 485140 w 1094739"/>
                  <a:gd name="connsiteY34" fmla="*/ 591820 h 1597660"/>
                  <a:gd name="connsiteX35" fmla="*/ 505460 w 1094739"/>
                  <a:gd name="connsiteY35" fmla="*/ 789940 h 1597660"/>
                  <a:gd name="connsiteX36" fmla="*/ 688339 w 1094739"/>
                  <a:gd name="connsiteY36" fmla="*/ 548640 h 1597660"/>
                  <a:gd name="connsiteX37" fmla="*/ 721359 w 1094739"/>
                  <a:gd name="connsiteY37" fmla="*/ 396240 h 1597660"/>
                  <a:gd name="connsiteX38" fmla="*/ 673099 w 1094739"/>
                  <a:gd name="connsiteY38" fmla="*/ 337820 h 1597660"/>
                  <a:gd name="connsiteX39" fmla="*/ 723899 w 1094739"/>
                  <a:gd name="connsiteY39" fmla="*/ 375920 h 1597660"/>
                  <a:gd name="connsiteX40" fmla="*/ 734060 w 1094739"/>
                  <a:gd name="connsiteY40" fmla="*/ 314960 h 1597660"/>
                  <a:gd name="connsiteX41" fmla="*/ 759459 w 1094739"/>
                  <a:gd name="connsiteY41" fmla="*/ 322580 h 1597660"/>
                  <a:gd name="connsiteX42" fmla="*/ 716279 w 1094739"/>
                  <a:gd name="connsiteY42" fmla="*/ 530860 h 1597660"/>
                  <a:gd name="connsiteX43" fmla="*/ 866139 w 1094739"/>
                  <a:gd name="connsiteY43" fmla="*/ 360680 h 1597660"/>
                  <a:gd name="connsiteX44" fmla="*/ 853440 w 1094739"/>
                  <a:gd name="connsiteY44" fmla="*/ 274320 h 1597660"/>
                  <a:gd name="connsiteX45" fmla="*/ 888999 w 1094739"/>
                  <a:gd name="connsiteY45" fmla="*/ 360680 h 1597660"/>
                  <a:gd name="connsiteX46" fmla="*/ 949959 w 1094739"/>
                  <a:gd name="connsiteY46" fmla="*/ 337820 h 1597660"/>
                  <a:gd name="connsiteX47" fmla="*/ 965199 w 1094739"/>
                  <a:gd name="connsiteY47" fmla="*/ 220980 h 1597660"/>
                  <a:gd name="connsiteX48" fmla="*/ 970279 w 1094739"/>
                  <a:gd name="connsiteY48" fmla="*/ 335280 h 1597660"/>
                  <a:gd name="connsiteX49" fmla="*/ 1094739 w 1094739"/>
                  <a:gd name="connsiteY49" fmla="*/ 292100 h 1597660"/>
                  <a:gd name="connsiteX50" fmla="*/ 876299 w 1094739"/>
                  <a:gd name="connsiteY50" fmla="*/ 396240 h 1597660"/>
                  <a:gd name="connsiteX51" fmla="*/ 739139 w 1094739"/>
                  <a:gd name="connsiteY51" fmla="*/ 551180 h 1597660"/>
                  <a:gd name="connsiteX52" fmla="*/ 673100 w 1094739"/>
                  <a:gd name="connsiteY52" fmla="*/ 660400 h 1597660"/>
                  <a:gd name="connsiteX53" fmla="*/ 812800 w 1094739"/>
                  <a:gd name="connsiteY53" fmla="*/ 566420 h 1597660"/>
                  <a:gd name="connsiteX54" fmla="*/ 850900 w 1094739"/>
                  <a:gd name="connsiteY54" fmla="*/ 568960 h 1597660"/>
                  <a:gd name="connsiteX55" fmla="*/ 652780 w 1094739"/>
                  <a:gd name="connsiteY55" fmla="*/ 701040 h 1597660"/>
                  <a:gd name="connsiteX56" fmla="*/ 513080 w 1094739"/>
                  <a:gd name="connsiteY56" fmla="*/ 896620 h 1597660"/>
                  <a:gd name="connsiteX57" fmla="*/ 520700 w 1094739"/>
                  <a:gd name="connsiteY57" fmla="*/ 1239520 h 1597660"/>
                  <a:gd name="connsiteX58" fmla="*/ 520700 w 1094739"/>
                  <a:gd name="connsiteY58" fmla="*/ 1597660 h 1597660"/>
                  <a:gd name="connsiteX59" fmla="*/ 337820 w 109473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109220 w 1094739"/>
                  <a:gd name="connsiteY8" fmla="*/ 279400 h 1597660"/>
                  <a:gd name="connsiteX9" fmla="*/ 119379 w 1094739"/>
                  <a:gd name="connsiteY9" fmla="*/ 41656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77240 w 1094739"/>
                  <a:gd name="connsiteY31" fmla="*/ 30480 h 1597660"/>
                  <a:gd name="connsiteX32" fmla="*/ 652779 w 1094739"/>
                  <a:gd name="connsiteY32" fmla="*/ 144780 h 1597660"/>
                  <a:gd name="connsiteX33" fmla="*/ 513080 w 1094739"/>
                  <a:gd name="connsiteY33" fmla="*/ 393700 h 1597660"/>
                  <a:gd name="connsiteX34" fmla="*/ 485140 w 1094739"/>
                  <a:gd name="connsiteY34" fmla="*/ 591820 h 1597660"/>
                  <a:gd name="connsiteX35" fmla="*/ 505460 w 1094739"/>
                  <a:gd name="connsiteY35" fmla="*/ 789940 h 1597660"/>
                  <a:gd name="connsiteX36" fmla="*/ 688339 w 1094739"/>
                  <a:gd name="connsiteY36" fmla="*/ 548640 h 1597660"/>
                  <a:gd name="connsiteX37" fmla="*/ 721359 w 1094739"/>
                  <a:gd name="connsiteY37" fmla="*/ 396240 h 1597660"/>
                  <a:gd name="connsiteX38" fmla="*/ 673099 w 1094739"/>
                  <a:gd name="connsiteY38" fmla="*/ 337820 h 1597660"/>
                  <a:gd name="connsiteX39" fmla="*/ 723899 w 1094739"/>
                  <a:gd name="connsiteY39" fmla="*/ 375920 h 1597660"/>
                  <a:gd name="connsiteX40" fmla="*/ 734060 w 1094739"/>
                  <a:gd name="connsiteY40" fmla="*/ 314960 h 1597660"/>
                  <a:gd name="connsiteX41" fmla="*/ 759459 w 1094739"/>
                  <a:gd name="connsiteY41" fmla="*/ 322580 h 1597660"/>
                  <a:gd name="connsiteX42" fmla="*/ 716279 w 1094739"/>
                  <a:gd name="connsiteY42" fmla="*/ 530860 h 1597660"/>
                  <a:gd name="connsiteX43" fmla="*/ 866139 w 1094739"/>
                  <a:gd name="connsiteY43" fmla="*/ 360680 h 1597660"/>
                  <a:gd name="connsiteX44" fmla="*/ 853440 w 1094739"/>
                  <a:gd name="connsiteY44" fmla="*/ 274320 h 1597660"/>
                  <a:gd name="connsiteX45" fmla="*/ 888999 w 1094739"/>
                  <a:gd name="connsiteY45" fmla="*/ 360680 h 1597660"/>
                  <a:gd name="connsiteX46" fmla="*/ 949959 w 1094739"/>
                  <a:gd name="connsiteY46" fmla="*/ 337820 h 1597660"/>
                  <a:gd name="connsiteX47" fmla="*/ 965199 w 1094739"/>
                  <a:gd name="connsiteY47" fmla="*/ 220980 h 1597660"/>
                  <a:gd name="connsiteX48" fmla="*/ 970279 w 1094739"/>
                  <a:gd name="connsiteY48" fmla="*/ 335280 h 1597660"/>
                  <a:gd name="connsiteX49" fmla="*/ 1094739 w 1094739"/>
                  <a:gd name="connsiteY49" fmla="*/ 292100 h 1597660"/>
                  <a:gd name="connsiteX50" fmla="*/ 876299 w 1094739"/>
                  <a:gd name="connsiteY50" fmla="*/ 396240 h 1597660"/>
                  <a:gd name="connsiteX51" fmla="*/ 739139 w 1094739"/>
                  <a:gd name="connsiteY51" fmla="*/ 551180 h 1597660"/>
                  <a:gd name="connsiteX52" fmla="*/ 673100 w 1094739"/>
                  <a:gd name="connsiteY52" fmla="*/ 660400 h 1597660"/>
                  <a:gd name="connsiteX53" fmla="*/ 812800 w 1094739"/>
                  <a:gd name="connsiteY53" fmla="*/ 566420 h 1597660"/>
                  <a:gd name="connsiteX54" fmla="*/ 850900 w 1094739"/>
                  <a:gd name="connsiteY54" fmla="*/ 568960 h 1597660"/>
                  <a:gd name="connsiteX55" fmla="*/ 652780 w 1094739"/>
                  <a:gd name="connsiteY55" fmla="*/ 701040 h 1597660"/>
                  <a:gd name="connsiteX56" fmla="*/ 513080 w 1094739"/>
                  <a:gd name="connsiteY56" fmla="*/ 896620 h 1597660"/>
                  <a:gd name="connsiteX57" fmla="*/ 520700 w 1094739"/>
                  <a:gd name="connsiteY57" fmla="*/ 1239520 h 1597660"/>
                  <a:gd name="connsiteX58" fmla="*/ 520700 w 1094739"/>
                  <a:gd name="connsiteY58" fmla="*/ 1597660 h 1597660"/>
                  <a:gd name="connsiteX59" fmla="*/ 337820 w 109473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109220 w 1094739"/>
                  <a:gd name="connsiteY8" fmla="*/ 279400 h 1597660"/>
                  <a:gd name="connsiteX9" fmla="*/ 119379 w 1094739"/>
                  <a:gd name="connsiteY9" fmla="*/ 41656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03579 w 1094739"/>
                  <a:gd name="connsiteY31" fmla="*/ 69850 h 1597660"/>
                  <a:gd name="connsiteX32" fmla="*/ 777240 w 1094739"/>
                  <a:gd name="connsiteY32" fmla="*/ 30480 h 1597660"/>
                  <a:gd name="connsiteX33" fmla="*/ 652779 w 1094739"/>
                  <a:gd name="connsiteY33" fmla="*/ 144780 h 1597660"/>
                  <a:gd name="connsiteX34" fmla="*/ 513080 w 1094739"/>
                  <a:gd name="connsiteY34" fmla="*/ 393700 h 1597660"/>
                  <a:gd name="connsiteX35" fmla="*/ 485140 w 1094739"/>
                  <a:gd name="connsiteY35" fmla="*/ 591820 h 1597660"/>
                  <a:gd name="connsiteX36" fmla="*/ 505460 w 1094739"/>
                  <a:gd name="connsiteY36" fmla="*/ 789940 h 1597660"/>
                  <a:gd name="connsiteX37" fmla="*/ 688339 w 1094739"/>
                  <a:gd name="connsiteY37" fmla="*/ 548640 h 1597660"/>
                  <a:gd name="connsiteX38" fmla="*/ 721359 w 1094739"/>
                  <a:gd name="connsiteY38" fmla="*/ 396240 h 1597660"/>
                  <a:gd name="connsiteX39" fmla="*/ 673099 w 1094739"/>
                  <a:gd name="connsiteY39" fmla="*/ 337820 h 1597660"/>
                  <a:gd name="connsiteX40" fmla="*/ 723899 w 1094739"/>
                  <a:gd name="connsiteY40" fmla="*/ 375920 h 1597660"/>
                  <a:gd name="connsiteX41" fmla="*/ 734060 w 1094739"/>
                  <a:gd name="connsiteY41" fmla="*/ 314960 h 1597660"/>
                  <a:gd name="connsiteX42" fmla="*/ 759459 w 1094739"/>
                  <a:gd name="connsiteY42" fmla="*/ 322580 h 1597660"/>
                  <a:gd name="connsiteX43" fmla="*/ 716279 w 1094739"/>
                  <a:gd name="connsiteY43" fmla="*/ 530860 h 1597660"/>
                  <a:gd name="connsiteX44" fmla="*/ 866139 w 1094739"/>
                  <a:gd name="connsiteY44" fmla="*/ 360680 h 1597660"/>
                  <a:gd name="connsiteX45" fmla="*/ 853440 w 1094739"/>
                  <a:gd name="connsiteY45" fmla="*/ 274320 h 1597660"/>
                  <a:gd name="connsiteX46" fmla="*/ 888999 w 1094739"/>
                  <a:gd name="connsiteY46" fmla="*/ 360680 h 1597660"/>
                  <a:gd name="connsiteX47" fmla="*/ 949959 w 1094739"/>
                  <a:gd name="connsiteY47" fmla="*/ 337820 h 1597660"/>
                  <a:gd name="connsiteX48" fmla="*/ 965199 w 1094739"/>
                  <a:gd name="connsiteY48" fmla="*/ 220980 h 1597660"/>
                  <a:gd name="connsiteX49" fmla="*/ 970279 w 1094739"/>
                  <a:gd name="connsiteY49" fmla="*/ 335280 h 1597660"/>
                  <a:gd name="connsiteX50" fmla="*/ 1094739 w 1094739"/>
                  <a:gd name="connsiteY50" fmla="*/ 292100 h 1597660"/>
                  <a:gd name="connsiteX51" fmla="*/ 876299 w 1094739"/>
                  <a:gd name="connsiteY51" fmla="*/ 396240 h 1597660"/>
                  <a:gd name="connsiteX52" fmla="*/ 739139 w 1094739"/>
                  <a:gd name="connsiteY52" fmla="*/ 551180 h 1597660"/>
                  <a:gd name="connsiteX53" fmla="*/ 673100 w 1094739"/>
                  <a:gd name="connsiteY53" fmla="*/ 660400 h 1597660"/>
                  <a:gd name="connsiteX54" fmla="*/ 812800 w 1094739"/>
                  <a:gd name="connsiteY54" fmla="*/ 566420 h 1597660"/>
                  <a:gd name="connsiteX55" fmla="*/ 850900 w 1094739"/>
                  <a:gd name="connsiteY55" fmla="*/ 568960 h 1597660"/>
                  <a:gd name="connsiteX56" fmla="*/ 652780 w 1094739"/>
                  <a:gd name="connsiteY56" fmla="*/ 701040 h 1597660"/>
                  <a:gd name="connsiteX57" fmla="*/ 513080 w 1094739"/>
                  <a:gd name="connsiteY57" fmla="*/ 896620 h 1597660"/>
                  <a:gd name="connsiteX58" fmla="*/ 520700 w 1094739"/>
                  <a:gd name="connsiteY58" fmla="*/ 1239520 h 1597660"/>
                  <a:gd name="connsiteX59" fmla="*/ 520700 w 1094739"/>
                  <a:gd name="connsiteY59" fmla="*/ 1597660 h 1597660"/>
                  <a:gd name="connsiteX60" fmla="*/ 337820 w 1094739"/>
                  <a:gd name="connsiteY60" fmla="*/ 1597660 h 1597660"/>
                  <a:gd name="connsiteX0" fmla="*/ 337820 w 1094739"/>
                  <a:gd name="connsiteY0" fmla="*/ 1601470 h 1601470"/>
                  <a:gd name="connsiteX1" fmla="*/ 396240 w 1094739"/>
                  <a:gd name="connsiteY1" fmla="*/ 1200150 h 1601470"/>
                  <a:gd name="connsiteX2" fmla="*/ 421640 w 1094739"/>
                  <a:gd name="connsiteY2" fmla="*/ 915670 h 1601470"/>
                  <a:gd name="connsiteX3" fmla="*/ 414020 w 1094739"/>
                  <a:gd name="connsiteY3" fmla="*/ 679450 h 1601470"/>
                  <a:gd name="connsiteX4" fmla="*/ 147320 w 1094739"/>
                  <a:gd name="connsiteY4" fmla="*/ 527050 h 1601470"/>
                  <a:gd name="connsiteX5" fmla="*/ 96520 w 1094739"/>
                  <a:gd name="connsiteY5" fmla="*/ 443230 h 1601470"/>
                  <a:gd name="connsiteX6" fmla="*/ 0 w 1094739"/>
                  <a:gd name="connsiteY6" fmla="*/ 364490 h 1601470"/>
                  <a:gd name="connsiteX7" fmla="*/ 96520 w 1094739"/>
                  <a:gd name="connsiteY7" fmla="*/ 407670 h 1601470"/>
                  <a:gd name="connsiteX8" fmla="*/ 109220 w 1094739"/>
                  <a:gd name="connsiteY8" fmla="*/ 283210 h 1601470"/>
                  <a:gd name="connsiteX9" fmla="*/ 119379 w 1094739"/>
                  <a:gd name="connsiteY9" fmla="*/ 420370 h 1601470"/>
                  <a:gd name="connsiteX10" fmla="*/ 177800 w 1094739"/>
                  <a:gd name="connsiteY10" fmla="*/ 509270 h 1601470"/>
                  <a:gd name="connsiteX11" fmla="*/ 256539 w 1094739"/>
                  <a:gd name="connsiteY11" fmla="*/ 542290 h 1601470"/>
                  <a:gd name="connsiteX12" fmla="*/ 259079 w 1094739"/>
                  <a:gd name="connsiteY12" fmla="*/ 394970 h 1601470"/>
                  <a:gd name="connsiteX13" fmla="*/ 210819 w 1094739"/>
                  <a:gd name="connsiteY13" fmla="*/ 300990 h 1601470"/>
                  <a:gd name="connsiteX14" fmla="*/ 271779 w 1094739"/>
                  <a:gd name="connsiteY14" fmla="*/ 369570 h 1601470"/>
                  <a:gd name="connsiteX15" fmla="*/ 327659 w 1094739"/>
                  <a:gd name="connsiteY15" fmla="*/ 288290 h 1601470"/>
                  <a:gd name="connsiteX16" fmla="*/ 279399 w 1094739"/>
                  <a:gd name="connsiteY16" fmla="*/ 400050 h 1601470"/>
                  <a:gd name="connsiteX17" fmla="*/ 284479 w 1094739"/>
                  <a:gd name="connsiteY17" fmla="*/ 552450 h 1601470"/>
                  <a:gd name="connsiteX18" fmla="*/ 406400 w 1094739"/>
                  <a:gd name="connsiteY18" fmla="*/ 603250 h 1601470"/>
                  <a:gd name="connsiteX19" fmla="*/ 444500 w 1094739"/>
                  <a:gd name="connsiteY19" fmla="*/ 382270 h 1601470"/>
                  <a:gd name="connsiteX20" fmla="*/ 365760 w 1094739"/>
                  <a:gd name="connsiteY20" fmla="*/ 130810 h 1601470"/>
                  <a:gd name="connsiteX21" fmla="*/ 299720 w 1094739"/>
                  <a:gd name="connsiteY21" fmla="*/ 64770 h 1601470"/>
                  <a:gd name="connsiteX22" fmla="*/ 375920 w 1094739"/>
                  <a:gd name="connsiteY22" fmla="*/ 115570 h 1601470"/>
                  <a:gd name="connsiteX23" fmla="*/ 411479 w 1094739"/>
                  <a:gd name="connsiteY23" fmla="*/ 191770 h 1601470"/>
                  <a:gd name="connsiteX24" fmla="*/ 502919 w 1094739"/>
                  <a:gd name="connsiteY24" fmla="*/ 24130 h 1601470"/>
                  <a:gd name="connsiteX25" fmla="*/ 426719 w 1094739"/>
                  <a:gd name="connsiteY25" fmla="*/ 227330 h 1601470"/>
                  <a:gd name="connsiteX26" fmla="*/ 474980 w 1094739"/>
                  <a:gd name="connsiteY26" fmla="*/ 359410 h 1601470"/>
                  <a:gd name="connsiteX27" fmla="*/ 604519 w 1094739"/>
                  <a:gd name="connsiteY27" fmla="*/ 135890 h 1601470"/>
                  <a:gd name="connsiteX28" fmla="*/ 574040 w 1094739"/>
                  <a:gd name="connsiteY28" fmla="*/ 34290 h 1601470"/>
                  <a:gd name="connsiteX29" fmla="*/ 589279 w 1094739"/>
                  <a:gd name="connsiteY29" fmla="*/ 3810 h 1601470"/>
                  <a:gd name="connsiteX30" fmla="*/ 632459 w 1094739"/>
                  <a:gd name="connsiteY30" fmla="*/ 130810 h 1601470"/>
                  <a:gd name="connsiteX31" fmla="*/ 703579 w 1094739"/>
                  <a:gd name="connsiteY31" fmla="*/ 73660 h 1601470"/>
                  <a:gd name="connsiteX32" fmla="*/ 918210 w 1094739"/>
                  <a:gd name="connsiteY32" fmla="*/ 0 h 1601470"/>
                  <a:gd name="connsiteX33" fmla="*/ 652779 w 1094739"/>
                  <a:gd name="connsiteY33" fmla="*/ 148590 h 1601470"/>
                  <a:gd name="connsiteX34" fmla="*/ 513080 w 1094739"/>
                  <a:gd name="connsiteY34" fmla="*/ 397510 h 1601470"/>
                  <a:gd name="connsiteX35" fmla="*/ 485140 w 1094739"/>
                  <a:gd name="connsiteY35" fmla="*/ 595630 h 1601470"/>
                  <a:gd name="connsiteX36" fmla="*/ 505460 w 1094739"/>
                  <a:gd name="connsiteY36" fmla="*/ 793750 h 1601470"/>
                  <a:gd name="connsiteX37" fmla="*/ 688339 w 1094739"/>
                  <a:gd name="connsiteY37" fmla="*/ 552450 h 1601470"/>
                  <a:gd name="connsiteX38" fmla="*/ 721359 w 1094739"/>
                  <a:gd name="connsiteY38" fmla="*/ 400050 h 1601470"/>
                  <a:gd name="connsiteX39" fmla="*/ 673099 w 1094739"/>
                  <a:gd name="connsiteY39" fmla="*/ 341630 h 1601470"/>
                  <a:gd name="connsiteX40" fmla="*/ 723899 w 1094739"/>
                  <a:gd name="connsiteY40" fmla="*/ 379730 h 1601470"/>
                  <a:gd name="connsiteX41" fmla="*/ 734060 w 1094739"/>
                  <a:gd name="connsiteY41" fmla="*/ 318770 h 1601470"/>
                  <a:gd name="connsiteX42" fmla="*/ 759459 w 1094739"/>
                  <a:gd name="connsiteY42" fmla="*/ 326390 h 1601470"/>
                  <a:gd name="connsiteX43" fmla="*/ 716279 w 1094739"/>
                  <a:gd name="connsiteY43" fmla="*/ 534670 h 1601470"/>
                  <a:gd name="connsiteX44" fmla="*/ 866139 w 1094739"/>
                  <a:gd name="connsiteY44" fmla="*/ 364490 h 1601470"/>
                  <a:gd name="connsiteX45" fmla="*/ 853440 w 1094739"/>
                  <a:gd name="connsiteY45" fmla="*/ 278130 h 1601470"/>
                  <a:gd name="connsiteX46" fmla="*/ 888999 w 1094739"/>
                  <a:gd name="connsiteY46" fmla="*/ 364490 h 1601470"/>
                  <a:gd name="connsiteX47" fmla="*/ 949959 w 1094739"/>
                  <a:gd name="connsiteY47" fmla="*/ 341630 h 1601470"/>
                  <a:gd name="connsiteX48" fmla="*/ 965199 w 1094739"/>
                  <a:gd name="connsiteY48" fmla="*/ 224790 h 1601470"/>
                  <a:gd name="connsiteX49" fmla="*/ 970279 w 1094739"/>
                  <a:gd name="connsiteY49" fmla="*/ 339090 h 1601470"/>
                  <a:gd name="connsiteX50" fmla="*/ 1094739 w 1094739"/>
                  <a:gd name="connsiteY50" fmla="*/ 295910 h 1601470"/>
                  <a:gd name="connsiteX51" fmla="*/ 876299 w 1094739"/>
                  <a:gd name="connsiteY51" fmla="*/ 400050 h 1601470"/>
                  <a:gd name="connsiteX52" fmla="*/ 739139 w 1094739"/>
                  <a:gd name="connsiteY52" fmla="*/ 554990 h 1601470"/>
                  <a:gd name="connsiteX53" fmla="*/ 673100 w 1094739"/>
                  <a:gd name="connsiteY53" fmla="*/ 664210 h 1601470"/>
                  <a:gd name="connsiteX54" fmla="*/ 812800 w 1094739"/>
                  <a:gd name="connsiteY54" fmla="*/ 570230 h 1601470"/>
                  <a:gd name="connsiteX55" fmla="*/ 850900 w 1094739"/>
                  <a:gd name="connsiteY55" fmla="*/ 572770 h 1601470"/>
                  <a:gd name="connsiteX56" fmla="*/ 652780 w 1094739"/>
                  <a:gd name="connsiteY56" fmla="*/ 704850 h 1601470"/>
                  <a:gd name="connsiteX57" fmla="*/ 513080 w 1094739"/>
                  <a:gd name="connsiteY57" fmla="*/ 900430 h 1601470"/>
                  <a:gd name="connsiteX58" fmla="*/ 520700 w 1094739"/>
                  <a:gd name="connsiteY58" fmla="*/ 1243330 h 1601470"/>
                  <a:gd name="connsiteX59" fmla="*/ 520700 w 1094739"/>
                  <a:gd name="connsiteY59" fmla="*/ 1601470 h 1601470"/>
                  <a:gd name="connsiteX60" fmla="*/ 337820 w 1094739"/>
                  <a:gd name="connsiteY60" fmla="*/ 1601470 h 1601470"/>
                  <a:gd name="connsiteX0" fmla="*/ 337820 w 1094739"/>
                  <a:gd name="connsiteY0" fmla="*/ 1601470 h 1601470"/>
                  <a:gd name="connsiteX1" fmla="*/ 396240 w 1094739"/>
                  <a:gd name="connsiteY1" fmla="*/ 1200150 h 1601470"/>
                  <a:gd name="connsiteX2" fmla="*/ 421640 w 1094739"/>
                  <a:gd name="connsiteY2" fmla="*/ 915670 h 1601470"/>
                  <a:gd name="connsiteX3" fmla="*/ 414020 w 1094739"/>
                  <a:gd name="connsiteY3" fmla="*/ 679450 h 1601470"/>
                  <a:gd name="connsiteX4" fmla="*/ 147320 w 1094739"/>
                  <a:gd name="connsiteY4" fmla="*/ 527050 h 1601470"/>
                  <a:gd name="connsiteX5" fmla="*/ 96520 w 1094739"/>
                  <a:gd name="connsiteY5" fmla="*/ 443230 h 1601470"/>
                  <a:gd name="connsiteX6" fmla="*/ 0 w 1094739"/>
                  <a:gd name="connsiteY6" fmla="*/ 364490 h 1601470"/>
                  <a:gd name="connsiteX7" fmla="*/ 96520 w 1094739"/>
                  <a:gd name="connsiteY7" fmla="*/ 407670 h 1601470"/>
                  <a:gd name="connsiteX8" fmla="*/ 109220 w 1094739"/>
                  <a:gd name="connsiteY8" fmla="*/ 283210 h 1601470"/>
                  <a:gd name="connsiteX9" fmla="*/ 119379 w 1094739"/>
                  <a:gd name="connsiteY9" fmla="*/ 420370 h 1601470"/>
                  <a:gd name="connsiteX10" fmla="*/ 177800 w 1094739"/>
                  <a:gd name="connsiteY10" fmla="*/ 509270 h 1601470"/>
                  <a:gd name="connsiteX11" fmla="*/ 256539 w 1094739"/>
                  <a:gd name="connsiteY11" fmla="*/ 542290 h 1601470"/>
                  <a:gd name="connsiteX12" fmla="*/ 259079 w 1094739"/>
                  <a:gd name="connsiteY12" fmla="*/ 394970 h 1601470"/>
                  <a:gd name="connsiteX13" fmla="*/ 210819 w 1094739"/>
                  <a:gd name="connsiteY13" fmla="*/ 300990 h 1601470"/>
                  <a:gd name="connsiteX14" fmla="*/ 271779 w 1094739"/>
                  <a:gd name="connsiteY14" fmla="*/ 369570 h 1601470"/>
                  <a:gd name="connsiteX15" fmla="*/ 327659 w 1094739"/>
                  <a:gd name="connsiteY15" fmla="*/ 288290 h 1601470"/>
                  <a:gd name="connsiteX16" fmla="*/ 279399 w 1094739"/>
                  <a:gd name="connsiteY16" fmla="*/ 400050 h 1601470"/>
                  <a:gd name="connsiteX17" fmla="*/ 284479 w 1094739"/>
                  <a:gd name="connsiteY17" fmla="*/ 552450 h 1601470"/>
                  <a:gd name="connsiteX18" fmla="*/ 406400 w 1094739"/>
                  <a:gd name="connsiteY18" fmla="*/ 603250 h 1601470"/>
                  <a:gd name="connsiteX19" fmla="*/ 444500 w 1094739"/>
                  <a:gd name="connsiteY19" fmla="*/ 382270 h 1601470"/>
                  <a:gd name="connsiteX20" fmla="*/ 365760 w 1094739"/>
                  <a:gd name="connsiteY20" fmla="*/ 130810 h 1601470"/>
                  <a:gd name="connsiteX21" fmla="*/ 299720 w 1094739"/>
                  <a:gd name="connsiteY21" fmla="*/ 64770 h 1601470"/>
                  <a:gd name="connsiteX22" fmla="*/ 375920 w 1094739"/>
                  <a:gd name="connsiteY22" fmla="*/ 115570 h 1601470"/>
                  <a:gd name="connsiteX23" fmla="*/ 411479 w 1094739"/>
                  <a:gd name="connsiteY23" fmla="*/ 191770 h 1601470"/>
                  <a:gd name="connsiteX24" fmla="*/ 502919 w 1094739"/>
                  <a:gd name="connsiteY24" fmla="*/ 24130 h 1601470"/>
                  <a:gd name="connsiteX25" fmla="*/ 426719 w 1094739"/>
                  <a:gd name="connsiteY25" fmla="*/ 227330 h 1601470"/>
                  <a:gd name="connsiteX26" fmla="*/ 474980 w 1094739"/>
                  <a:gd name="connsiteY26" fmla="*/ 359410 h 1601470"/>
                  <a:gd name="connsiteX27" fmla="*/ 604519 w 1094739"/>
                  <a:gd name="connsiteY27" fmla="*/ 135890 h 1601470"/>
                  <a:gd name="connsiteX28" fmla="*/ 574040 w 1094739"/>
                  <a:gd name="connsiteY28" fmla="*/ 34290 h 1601470"/>
                  <a:gd name="connsiteX29" fmla="*/ 589279 w 1094739"/>
                  <a:gd name="connsiteY29" fmla="*/ 3810 h 1601470"/>
                  <a:gd name="connsiteX30" fmla="*/ 632459 w 1094739"/>
                  <a:gd name="connsiteY30" fmla="*/ 130810 h 1601470"/>
                  <a:gd name="connsiteX31" fmla="*/ 703579 w 1094739"/>
                  <a:gd name="connsiteY31" fmla="*/ 73660 h 1601470"/>
                  <a:gd name="connsiteX32" fmla="*/ 756919 w 1094739"/>
                  <a:gd name="connsiteY32" fmla="*/ 54610 h 1601470"/>
                  <a:gd name="connsiteX33" fmla="*/ 918210 w 1094739"/>
                  <a:gd name="connsiteY33" fmla="*/ 0 h 1601470"/>
                  <a:gd name="connsiteX34" fmla="*/ 652779 w 1094739"/>
                  <a:gd name="connsiteY34" fmla="*/ 148590 h 1601470"/>
                  <a:gd name="connsiteX35" fmla="*/ 513080 w 1094739"/>
                  <a:gd name="connsiteY35" fmla="*/ 397510 h 1601470"/>
                  <a:gd name="connsiteX36" fmla="*/ 485140 w 1094739"/>
                  <a:gd name="connsiteY36" fmla="*/ 595630 h 1601470"/>
                  <a:gd name="connsiteX37" fmla="*/ 505460 w 1094739"/>
                  <a:gd name="connsiteY37" fmla="*/ 793750 h 1601470"/>
                  <a:gd name="connsiteX38" fmla="*/ 688339 w 1094739"/>
                  <a:gd name="connsiteY38" fmla="*/ 552450 h 1601470"/>
                  <a:gd name="connsiteX39" fmla="*/ 721359 w 1094739"/>
                  <a:gd name="connsiteY39" fmla="*/ 400050 h 1601470"/>
                  <a:gd name="connsiteX40" fmla="*/ 673099 w 1094739"/>
                  <a:gd name="connsiteY40" fmla="*/ 341630 h 1601470"/>
                  <a:gd name="connsiteX41" fmla="*/ 723899 w 1094739"/>
                  <a:gd name="connsiteY41" fmla="*/ 379730 h 1601470"/>
                  <a:gd name="connsiteX42" fmla="*/ 734060 w 1094739"/>
                  <a:gd name="connsiteY42" fmla="*/ 318770 h 1601470"/>
                  <a:gd name="connsiteX43" fmla="*/ 759459 w 1094739"/>
                  <a:gd name="connsiteY43" fmla="*/ 326390 h 1601470"/>
                  <a:gd name="connsiteX44" fmla="*/ 716279 w 1094739"/>
                  <a:gd name="connsiteY44" fmla="*/ 534670 h 1601470"/>
                  <a:gd name="connsiteX45" fmla="*/ 866139 w 1094739"/>
                  <a:gd name="connsiteY45" fmla="*/ 364490 h 1601470"/>
                  <a:gd name="connsiteX46" fmla="*/ 853440 w 1094739"/>
                  <a:gd name="connsiteY46" fmla="*/ 278130 h 1601470"/>
                  <a:gd name="connsiteX47" fmla="*/ 888999 w 1094739"/>
                  <a:gd name="connsiteY47" fmla="*/ 364490 h 1601470"/>
                  <a:gd name="connsiteX48" fmla="*/ 949959 w 1094739"/>
                  <a:gd name="connsiteY48" fmla="*/ 341630 h 1601470"/>
                  <a:gd name="connsiteX49" fmla="*/ 965199 w 1094739"/>
                  <a:gd name="connsiteY49" fmla="*/ 224790 h 1601470"/>
                  <a:gd name="connsiteX50" fmla="*/ 970279 w 1094739"/>
                  <a:gd name="connsiteY50" fmla="*/ 339090 h 1601470"/>
                  <a:gd name="connsiteX51" fmla="*/ 1094739 w 1094739"/>
                  <a:gd name="connsiteY51" fmla="*/ 295910 h 1601470"/>
                  <a:gd name="connsiteX52" fmla="*/ 876299 w 1094739"/>
                  <a:gd name="connsiteY52" fmla="*/ 400050 h 1601470"/>
                  <a:gd name="connsiteX53" fmla="*/ 739139 w 1094739"/>
                  <a:gd name="connsiteY53" fmla="*/ 554990 h 1601470"/>
                  <a:gd name="connsiteX54" fmla="*/ 673100 w 1094739"/>
                  <a:gd name="connsiteY54" fmla="*/ 664210 h 1601470"/>
                  <a:gd name="connsiteX55" fmla="*/ 812800 w 1094739"/>
                  <a:gd name="connsiteY55" fmla="*/ 570230 h 1601470"/>
                  <a:gd name="connsiteX56" fmla="*/ 850900 w 1094739"/>
                  <a:gd name="connsiteY56" fmla="*/ 572770 h 1601470"/>
                  <a:gd name="connsiteX57" fmla="*/ 652780 w 1094739"/>
                  <a:gd name="connsiteY57" fmla="*/ 704850 h 1601470"/>
                  <a:gd name="connsiteX58" fmla="*/ 513080 w 1094739"/>
                  <a:gd name="connsiteY58" fmla="*/ 900430 h 1601470"/>
                  <a:gd name="connsiteX59" fmla="*/ 520700 w 1094739"/>
                  <a:gd name="connsiteY59" fmla="*/ 1243330 h 1601470"/>
                  <a:gd name="connsiteX60" fmla="*/ 520700 w 1094739"/>
                  <a:gd name="connsiteY60" fmla="*/ 1601470 h 1601470"/>
                  <a:gd name="connsiteX61" fmla="*/ 337820 w 1094739"/>
                  <a:gd name="connsiteY61" fmla="*/ 1601470 h 160147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918210 w 1094739"/>
                  <a:gd name="connsiteY33" fmla="*/ 17780 h 1619250"/>
                  <a:gd name="connsiteX34" fmla="*/ 652779 w 1094739"/>
                  <a:gd name="connsiteY34" fmla="*/ 166370 h 1619250"/>
                  <a:gd name="connsiteX35" fmla="*/ 513080 w 1094739"/>
                  <a:gd name="connsiteY35" fmla="*/ 415290 h 1619250"/>
                  <a:gd name="connsiteX36" fmla="*/ 485140 w 1094739"/>
                  <a:gd name="connsiteY36" fmla="*/ 613410 h 1619250"/>
                  <a:gd name="connsiteX37" fmla="*/ 505460 w 1094739"/>
                  <a:gd name="connsiteY37" fmla="*/ 811530 h 1619250"/>
                  <a:gd name="connsiteX38" fmla="*/ 688339 w 1094739"/>
                  <a:gd name="connsiteY38" fmla="*/ 570230 h 1619250"/>
                  <a:gd name="connsiteX39" fmla="*/ 721359 w 1094739"/>
                  <a:gd name="connsiteY39" fmla="*/ 417830 h 1619250"/>
                  <a:gd name="connsiteX40" fmla="*/ 673099 w 1094739"/>
                  <a:gd name="connsiteY40" fmla="*/ 359410 h 1619250"/>
                  <a:gd name="connsiteX41" fmla="*/ 723899 w 1094739"/>
                  <a:gd name="connsiteY41" fmla="*/ 397510 h 1619250"/>
                  <a:gd name="connsiteX42" fmla="*/ 734060 w 1094739"/>
                  <a:gd name="connsiteY42" fmla="*/ 336550 h 1619250"/>
                  <a:gd name="connsiteX43" fmla="*/ 759459 w 1094739"/>
                  <a:gd name="connsiteY43" fmla="*/ 344170 h 1619250"/>
                  <a:gd name="connsiteX44" fmla="*/ 716279 w 1094739"/>
                  <a:gd name="connsiteY44" fmla="*/ 552450 h 1619250"/>
                  <a:gd name="connsiteX45" fmla="*/ 866139 w 1094739"/>
                  <a:gd name="connsiteY45" fmla="*/ 382270 h 1619250"/>
                  <a:gd name="connsiteX46" fmla="*/ 853440 w 1094739"/>
                  <a:gd name="connsiteY46" fmla="*/ 295910 h 1619250"/>
                  <a:gd name="connsiteX47" fmla="*/ 888999 w 1094739"/>
                  <a:gd name="connsiteY47" fmla="*/ 382270 h 1619250"/>
                  <a:gd name="connsiteX48" fmla="*/ 949959 w 1094739"/>
                  <a:gd name="connsiteY48" fmla="*/ 359410 h 1619250"/>
                  <a:gd name="connsiteX49" fmla="*/ 965199 w 1094739"/>
                  <a:gd name="connsiteY49" fmla="*/ 242570 h 1619250"/>
                  <a:gd name="connsiteX50" fmla="*/ 970279 w 1094739"/>
                  <a:gd name="connsiteY50" fmla="*/ 356870 h 1619250"/>
                  <a:gd name="connsiteX51" fmla="*/ 1094739 w 1094739"/>
                  <a:gd name="connsiteY51" fmla="*/ 313690 h 1619250"/>
                  <a:gd name="connsiteX52" fmla="*/ 876299 w 1094739"/>
                  <a:gd name="connsiteY52" fmla="*/ 417830 h 1619250"/>
                  <a:gd name="connsiteX53" fmla="*/ 739139 w 1094739"/>
                  <a:gd name="connsiteY53" fmla="*/ 572770 h 1619250"/>
                  <a:gd name="connsiteX54" fmla="*/ 673100 w 1094739"/>
                  <a:gd name="connsiteY54" fmla="*/ 681990 h 1619250"/>
                  <a:gd name="connsiteX55" fmla="*/ 812800 w 1094739"/>
                  <a:gd name="connsiteY55" fmla="*/ 588010 h 1619250"/>
                  <a:gd name="connsiteX56" fmla="*/ 850900 w 1094739"/>
                  <a:gd name="connsiteY56" fmla="*/ 590550 h 1619250"/>
                  <a:gd name="connsiteX57" fmla="*/ 652780 w 1094739"/>
                  <a:gd name="connsiteY57" fmla="*/ 722630 h 1619250"/>
                  <a:gd name="connsiteX58" fmla="*/ 513080 w 1094739"/>
                  <a:gd name="connsiteY58" fmla="*/ 918210 h 1619250"/>
                  <a:gd name="connsiteX59" fmla="*/ 520700 w 1094739"/>
                  <a:gd name="connsiteY59" fmla="*/ 1261110 h 1619250"/>
                  <a:gd name="connsiteX60" fmla="*/ 520700 w 1094739"/>
                  <a:gd name="connsiteY60" fmla="*/ 1619250 h 1619250"/>
                  <a:gd name="connsiteX61" fmla="*/ 337820 w 1094739"/>
                  <a:gd name="connsiteY61"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844549 w 1094739"/>
                  <a:gd name="connsiteY33" fmla="*/ 11430 h 1619250"/>
                  <a:gd name="connsiteX34" fmla="*/ 918210 w 1094739"/>
                  <a:gd name="connsiteY34" fmla="*/ 17780 h 1619250"/>
                  <a:gd name="connsiteX35" fmla="*/ 652779 w 1094739"/>
                  <a:gd name="connsiteY35" fmla="*/ 166370 h 1619250"/>
                  <a:gd name="connsiteX36" fmla="*/ 513080 w 1094739"/>
                  <a:gd name="connsiteY36" fmla="*/ 415290 h 1619250"/>
                  <a:gd name="connsiteX37" fmla="*/ 485140 w 1094739"/>
                  <a:gd name="connsiteY37" fmla="*/ 613410 h 1619250"/>
                  <a:gd name="connsiteX38" fmla="*/ 505460 w 1094739"/>
                  <a:gd name="connsiteY38" fmla="*/ 811530 h 1619250"/>
                  <a:gd name="connsiteX39" fmla="*/ 688339 w 1094739"/>
                  <a:gd name="connsiteY39" fmla="*/ 570230 h 1619250"/>
                  <a:gd name="connsiteX40" fmla="*/ 721359 w 1094739"/>
                  <a:gd name="connsiteY40" fmla="*/ 417830 h 1619250"/>
                  <a:gd name="connsiteX41" fmla="*/ 673099 w 1094739"/>
                  <a:gd name="connsiteY41" fmla="*/ 359410 h 1619250"/>
                  <a:gd name="connsiteX42" fmla="*/ 723899 w 1094739"/>
                  <a:gd name="connsiteY42" fmla="*/ 397510 h 1619250"/>
                  <a:gd name="connsiteX43" fmla="*/ 734060 w 1094739"/>
                  <a:gd name="connsiteY43" fmla="*/ 336550 h 1619250"/>
                  <a:gd name="connsiteX44" fmla="*/ 759459 w 1094739"/>
                  <a:gd name="connsiteY44" fmla="*/ 344170 h 1619250"/>
                  <a:gd name="connsiteX45" fmla="*/ 716279 w 1094739"/>
                  <a:gd name="connsiteY45" fmla="*/ 552450 h 1619250"/>
                  <a:gd name="connsiteX46" fmla="*/ 866139 w 1094739"/>
                  <a:gd name="connsiteY46" fmla="*/ 382270 h 1619250"/>
                  <a:gd name="connsiteX47" fmla="*/ 853440 w 1094739"/>
                  <a:gd name="connsiteY47" fmla="*/ 295910 h 1619250"/>
                  <a:gd name="connsiteX48" fmla="*/ 888999 w 1094739"/>
                  <a:gd name="connsiteY48" fmla="*/ 382270 h 1619250"/>
                  <a:gd name="connsiteX49" fmla="*/ 949959 w 1094739"/>
                  <a:gd name="connsiteY49" fmla="*/ 359410 h 1619250"/>
                  <a:gd name="connsiteX50" fmla="*/ 965199 w 1094739"/>
                  <a:gd name="connsiteY50" fmla="*/ 242570 h 1619250"/>
                  <a:gd name="connsiteX51" fmla="*/ 970279 w 1094739"/>
                  <a:gd name="connsiteY51" fmla="*/ 356870 h 1619250"/>
                  <a:gd name="connsiteX52" fmla="*/ 1094739 w 1094739"/>
                  <a:gd name="connsiteY52" fmla="*/ 313690 h 1619250"/>
                  <a:gd name="connsiteX53" fmla="*/ 876299 w 1094739"/>
                  <a:gd name="connsiteY53" fmla="*/ 417830 h 1619250"/>
                  <a:gd name="connsiteX54" fmla="*/ 739139 w 1094739"/>
                  <a:gd name="connsiteY54" fmla="*/ 572770 h 1619250"/>
                  <a:gd name="connsiteX55" fmla="*/ 673100 w 1094739"/>
                  <a:gd name="connsiteY55" fmla="*/ 681990 h 1619250"/>
                  <a:gd name="connsiteX56" fmla="*/ 812800 w 1094739"/>
                  <a:gd name="connsiteY56" fmla="*/ 588010 h 1619250"/>
                  <a:gd name="connsiteX57" fmla="*/ 850900 w 1094739"/>
                  <a:gd name="connsiteY57" fmla="*/ 590550 h 1619250"/>
                  <a:gd name="connsiteX58" fmla="*/ 652780 w 1094739"/>
                  <a:gd name="connsiteY58" fmla="*/ 722630 h 1619250"/>
                  <a:gd name="connsiteX59" fmla="*/ 513080 w 1094739"/>
                  <a:gd name="connsiteY59" fmla="*/ 918210 h 1619250"/>
                  <a:gd name="connsiteX60" fmla="*/ 520700 w 1094739"/>
                  <a:gd name="connsiteY60" fmla="*/ 1261110 h 1619250"/>
                  <a:gd name="connsiteX61" fmla="*/ 520700 w 1094739"/>
                  <a:gd name="connsiteY61" fmla="*/ 1619250 h 1619250"/>
                  <a:gd name="connsiteX62" fmla="*/ 337820 w 1094739"/>
                  <a:gd name="connsiteY62"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52779 w 1094739"/>
                  <a:gd name="connsiteY35" fmla="*/ 166370 h 1619250"/>
                  <a:gd name="connsiteX36" fmla="*/ 513080 w 1094739"/>
                  <a:gd name="connsiteY36" fmla="*/ 415290 h 1619250"/>
                  <a:gd name="connsiteX37" fmla="*/ 485140 w 1094739"/>
                  <a:gd name="connsiteY37" fmla="*/ 613410 h 1619250"/>
                  <a:gd name="connsiteX38" fmla="*/ 505460 w 1094739"/>
                  <a:gd name="connsiteY38" fmla="*/ 811530 h 1619250"/>
                  <a:gd name="connsiteX39" fmla="*/ 688339 w 1094739"/>
                  <a:gd name="connsiteY39" fmla="*/ 570230 h 1619250"/>
                  <a:gd name="connsiteX40" fmla="*/ 721359 w 1094739"/>
                  <a:gd name="connsiteY40" fmla="*/ 417830 h 1619250"/>
                  <a:gd name="connsiteX41" fmla="*/ 673099 w 1094739"/>
                  <a:gd name="connsiteY41" fmla="*/ 359410 h 1619250"/>
                  <a:gd name="connsiteX42" fmla="*/ 723899 w 1094739"/>
                  <a:gd name="connsiteY42" fmla="*/ 397510 h 1619250"/>
                  <a:gd name="connsiteX43" fmla="*/ 734060 w 1094739"/>
                  <a:gd name="connsiteY43" fmla="*/ 336550 h 1619250"/>
                  <a:gd name="connsiteX44" fmla="*/ 759459 w 1094739"/>
                  <a:gd name="connsiteY44" fmla="*/ 344170 h 1619250"/>
                  <a:gd name="connsiteX45" fmla="*/ 716279 w 1094739"/>
                  <a:gd name="connsiteY45" fmla="*/ 552450 h 1619250"/>
                  <a:gd name="connsiteX46" fmla="*/ 866139 w 1094739"/>
                  <a:gd name="connsiteY46" fmla="*/ 382270 h 1619250"/>
                  <a:gd name="connsiteX47" fmla="*/ 853440 w 1094739"/>
                  <a:gd name="connsiteY47" fmla="*/ 295910 h 1619250"/>
                  <a:gd name="connsiteX48" fmla="*/ 888999 w 1094739"/>
                  <a:gd name="connsiteY48" fmla="*/ 382270 h 1619250"/>
                  <a:gd name="connsiteX49" fmla="*/ 949959 w 1094739"/>
                  <a:gd name="connsiteY49" fmla="*/ 359410 h 1619250"/>
                  <a:gd name="connsiteX50" fmla="*/ 965199 w 1094739"/>
                  <a:gd name="connsiteY50" fmla="*/ 242570 h 1619250"/>
                  <a:gd name="connsiteX51" fmla="*/ 970279 w 1094739"/>
                  <a:gd name="connsiteY51" fmla="*/ 356870 h 1619250"/>
                  <a:gd name="connsiteX52" fmla="*/ 1094739 w 1094739"/>
                  <a:gd name="connsiteY52" fmla="*/ 313690 h 1619250"/>
                  <a:gd name="connsiteX53" fmla="*/ 876299 w 1094739"/>
                  <a:gd name="connsiteY53" fmla="*/ 417830 h 1619250"/>
                  <a:gd name="connsiteX54" fmla="*/ 739139 w 1094739"/>
                  <a:gd name="connsiteY54" fmla="*/ 572770 h 1619250"/>
                  <a:gd name="connsiteX55" fmla="*/ 673100 w 1094739"/>
                  <a:gd name="connsiteY55" fmla="*/ 681990 h 1619250"/>
                  <a:gd name="connsiteX56" fmla="*/ 812800 w 1094739"/>
                  <a:gd name="connsiteY56" fmla="*/ 588010 h 1619250"/>
                  <a:gd name="connsiteX57" fmla="*/ 850900 w 1094739"/>
                  <a:gd name="connsiteY57" fmla="*/ 590550 h 1619250"/>
                  <a:gd name="connsiteX58" fmla="*/ 652780 w 1094739"/>
                  <a:gd name="connsiteY58" fmla="*/ 722630 h 1619250"/>
                  <a:gd name="connsiteX59" fmla="*/ 513080 w 1094739"/>
                  <a:gd name="connsiteY59" fmla="*/ 918210 h 1619250"/>
                  <a:gd name="connsiteX60" fmla="*/ 520700 w 1094739"/>
                  <a:gd name="connsiteY60" fmla="*/ 1261110 h 1619250"/>
                  <a:gd name="connsiteX61" fmla="*/ 520700 w 1094739"/>
                  <a:gd name="connsiteY61" fmla="*/ 1619250 h 1619250"/>
                  <a:gd name="connsiteX62" fmla="*/ 337820 w 1094739"/>
                  <a:gd name="connsiteY62"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52779 w 1094739"/>
                  <a:gd name="connsiteY35" fmla="*/ 166370 h 1619250"/>
                  <a:gd name="connsiteX36" fmla="*/ 627379 w 1094739"/>
                  <a:gd name="connsiteY36" fmla="*/ 21717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12800 w 1094739"/>
                  <a:gd name="connsiteY57" fmla="*/ 588010 h 1619250"/>
                  <a:gd name="connsiteX58" fmla="*/ 850900 w 1094739"/>
                  <a:gd name="connsiteY58" fmla="*/ 590550 h 1619250"/>
                  <a:gd name="connsiteX59" fmla="*/ 652780 w 1094739"/>
                  <a:gd name="connsiteY59" fmla="*/ 722630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27379 w 1094739"/>
                  <a:gd name="connsiteY36" fmla="*/ 21717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12800 w 1094739"/>
                  <a:gd name="connsiteY57" fmla="*/ 588010 h 1619250"/>
                  <a:gd name="connsiteX58" fmla="*/ 850900 w 1094739"/>
                  <a:gd name="connsiteY58" fmla="*/ 590550 h 1619250"/>
                  <a:gd name="connsiteX59" fmla="*/ 652780 w 1094739"/>
                  <a:gd name="connsiteY59" fmla="*/ 722630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12800 w 1094739"/>
                  <a:gd name="connsiteY57" fmla="*/ 588010 h 1619250"/>
                  <a:gd name="connsiteX58" fmla="*/ 850900 w 1094739"/>
                  <a:gd name="connsiteY58" fmla="*/ 590550 h 1619250"/>
                  <a:gd name="connsiteX59" fmla="*/ 652780 w 1094739"/>
                  <a:gd name="connsiteY59" fmla="*/ 722630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671829 w 1094739"/>
                  <a:gd name="connsiteY34" fmla="*/ 166370 h 1619250"/>
                  <a:gd name="connsiteX35" fmla="*/ 631189 w 1094739"/>
                  <a:gd name="connsiteY35" fmla="*/ 205740 h 1619250"/>
                  <a:gd name="connsiteX36" fmla="*/ 513080 w 1094739"/>
                  <a:gd name="connsiteY36" fmla="*/ 415290 h 1619250"/>
                  <a:gd name="connsiteX37" fmla="*/ 485140 w 1094739"/>
                  <a:gd name="connsiteY37" fmla="*/ 613410 h 1619250"/>
                  <a:gd name="connsiteX38" fmla="*/ 505460 w 1094739"/>
                  <a:gd name="connsiteY38" fmla="*/ 811530 h 1619250"/>
                  <a:gd name="connsiteX39" fmla="*/ 688339 w 1094739"/>
                  <a:gd name="connsiteY39" fmla="*/ 570230 h 1619250"/>
                  <a:gd name="connsiteX40" fmla="*/ 721359 w 1094739"/>
                  <a:gd name="connsiteY40" fmla="*/ 417830 h 1619250"/>
                  <a:gd name="connsiteX41" fmla="*/ 673099 w 1094739"/>
                  <a:gd name="connsiteY41" fmla="*/ 359410 h 1619250"/>
                  <a:gd name="connsiteX42" fmla="*/ 723899 w 1094739"/>
                  <a:gd name="connsiteY42" fmla="*/ 397510 h 1619250"/>
                  <a:gd name="connsiteX43" fmla="*/ 734060 w 1094739"/>
                  <a:gd name="connsiteY43" fmla="*/ 336550 h 1619250"/>
                  <a:gd name="connsiteX44" fmla="*/ 759459 w 1094739"/>
                  <a:gd name="connsiteY44" fmla="*/ 344170 h 1619250"/>
                  <a:gd name="connsiteX45" fmla="*/ 716279 w 1094739"/>
                  <a:gd name="connsiteY45" fmla="*/ 552450 h 1619250"/>
                  <a:gd name="connsiteX46" fmla="*/ 866139 w 1094739"/>
                  <a:gd name="connsiteY46" fmla="*/ 382270 h 1619250"/>
                  <a:gd name="connsiteX47" fmla="*/ 853440 w 1094739"/>
                  <a:gd name="connsiteY47" fmla="*/ 295910 h 1619250"/>
                  <a:gd name="connsiteX48" fmla="*/ 888999 w 1094739"/>
                  <a:gd name="connsiteY48" fmla="*/ 382270 h 1619250"/>
                  <a:gd name="connsiteX49" fmla="*/ 949959 w 1094739"/>
                  <a:gd name="connsiteY49" fmla="*/ 359410 h 1619250"/>
                  <a:gd name="connsiteX50" fmla="*/ 965199 w 1094739"/>
                  <a:gd name="connsiteY50" fmla="*/ 242570 h 1619250"/>
                  <a:gd name="connsiteX51" fmla="*/ 970279 w 1094739"/>
                  <a:gd name="connsiteY51" fmla="*/ 356870 h 1619250"/>
                  <a:gd name="connsiteX52" fmla="*/ 1094739 w 1094739"/>
                  <a:gd name="connsiteY52" fmla="*/ 313690 h 1619250"/>
                  <a:gd name="connsiteX53" fmla="*/ 876299 w 1094739"/>
                  <a:gd name="connsiteY53" fmla="*/ 417830 h 1619250"/>
                  <a:gd name="connsiteX54" fmla="*/ 739139 w 1094739"/>
                  <a:gd name="connsiteY54" fmla="*/ 572770 h 1619250"/>
                  <a:gd name="connsiteX55" fmla="*/ 673100 w 1094739"/>
                  <a:gd name="connsiteY55" fmla="*/ 681990 h 1619250"/>
                  <a:gd name="connsiteX56" fmla="*/ 812800 w 1094739"/>
                  <a:gd name="connsiteY56" fmla="*/ 588010 h 1619250"/>
                  <a:gd name="connsiteX57" fmla="*/ 850900 w 1094739"/>
                  <a:gd name="connsiteY57" fmla="*/ 590550 h 1619250"/>
                  <a:gd name="connsiteX58" fmla="*/ 652780 w 1094739"/>
                  <a:gd name="connsiteY58" fmla="*/ 722630 h 1619250"/>
                  <a:gd name="connsiteX59" fmla="*/ 513080 w 1094739"/>
                  <a:gd name="connsiteY59" fmla="*/ 918210 h 1619250"/>
                  <a:gd name="connsiteX60" fmla="*/ 520700 w 1094739"/>
                  <a:gd name="connsiteY60" fmla="*/ 1261110 h 1619250"/>
                  <a:gd name="connsiteX61" fmla="*/ 520700 w 1094739"/>
                  <a:gd name="connsiteY61" fmla="*/ 1619250 h 1619250"/>
                  <a:gd name="connsiteX62" fmla="*/ 337820 w 1094739"/>
                  <a:gd name="connsiteY62"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671829 w 1094739"/>
                  <a:gd name="connsiteY33" fmla="*/ 166370 h 1619250"/>
                  <a:gd name="connsiteX34" fmla="*/ 631189 w 1094739"/>
                  <a:gd name="connsiteY34" fmla="*/ 205740 h 1619250"/>
                  <a:gd name="connsiteX35" fmla="*/ 513080 w 1094739"/>
                  <a:gd name="connsiteY35" fmla="*/ 415290 h 1619250"/>
                  <a:gd name="connsiteX36" fmla="*/ 485140 w 1094739"/>
                  <a:gd name="connsiteY36" fmla="*/ 613410 h 1619250"/>
                  <a:gd name="connsiteX37" fmla="*/ 505460 w 1094739"/>
                  <a:gd name="connsiteY37" fmla="*/ 811530 h 1619250"/>
                  <a:gd name="connsiteX38" fmla="*/ 688339 w 1094739"/>
                  <a:gd name="connsiteY38" fmla="*/ 570230 h 1619250"/>
                  <a:gd name="connsiteX39" fmla="*/ 721359 w 1094739"/>
                  <a:gd name="connsiteY39" fmla="*/ 417830 h 1619250"/>
                  <a:gd name="connsiteX40" fmla="*/ 673099 w 1094739"/>
                  <a:gd name="connsiteY40" fmla="*/ 359410 h 1619250"/>
                  <a:gd name="connsiteX41" fmla="*/ 723899 w 1094739"/>
                  <a:gd name="connsiteY41" fmla="*/ 397510 h 1619250"/>
                  <a:gd name="connsiteX42" fmla="*/ 734060 w 1094739"/>
                  <a:gd name="connsiteY42" fmla="*/ 336550 h 1619250"/>
                  <a:gd name="connsiteX43" fmla="*/ 759459 w 1094739"/>
                  <a:gd name="connsiteY43" fmla="*/ 344170 h 1619250"/>
                  <a:gd name="connsiteX44" fmla="*/ 716279 w 1094739"/>
                  <a:gd name="connsiteY44" fmla="*/ 552450 h 1619250"/>
                  <a:gd name="connsiteX45" fmla="*/ 866139 w 1094739"/>
                  <a:gd name="connsiteY45" fmla="*/ 382270 h 1619250"/>
                  <a:gd name="connsiteX46" fmla="*/ 853440 w 1094739"/>
                  <a:gd name="connsiteY46" fmla="*/ 295910 h 1619250"/>
                  <a:gd name="connsiteX47" fmla="*/ 888999 w 1094739"/>
                  <a:gd name="connsiteY47" fmla="*/ 382270 h 1619250"/>
                  <a:gd name="connsiteX48" fmla="*/ 949959 w 1094739"/>
                  <a:gd name="connsiteY48" fmla="*/ 359410 h 1619250"/>
                  <a:gd name="connsiteX49" fmla="*/ 965199 w 1094739"/>
                  <a:gd name="connsiteY49" fmla="*/ 242570 h 1619250"/>
                  <a:gd name="connsiteX50" fmla="*/ 970279 w 1094739"/>
                  <a:gd name="connsiteY50" fmla="*/ 356870 h 1619250"/>
                  <a:gd name="connsiteX51" fmla="*/ 1094739 w 1094739"/>
                  <a:gd name="connsiteY51" fmla="*/ 313690 h 1619250"/>
                  <a:gd name="connsiteX52" fmla="*/ 876299 w 1094739"/>
                  <a:gd name="connsiteY52" fmla="*/ 417830 h 1619250"/>
                  <a:gd name="connsiteX53" fmla="*/ 739139 w 1094739"/>
                  <a:gd name="connsiteY53" fmla="*/ 572770 h 1619250"/>
                  <a:gd name="connsiteX54" fmla="*/ 673100 w 1094739"/>
                  <a:gd name="connsiteY54" fmla="*/ 681990 h 1619250"/>
                  <a:gd name="connsiteX55" fmla="*/ 812800 w 1094739"/>
                  <a:gd name="connsiteY55" fmla="*/ 588010 h 1619250"/>
                  <a:gd name="connsiteX56" fmla="*/ 850900 w 1094739"/>
                  <a:gd name="connsiteY56" fmla="*/ 590550 h 1619250"/>
                  <a:gd name="connsiteX57" fmla="*/ 652780 w 1094739"/>
                  <a:gd name="connsiteY57" fmla="*/ 722630 h 1619250"/>
                  <a:gd name="connsiteX58" fmla="*/ 513080 w 1094739"/>
                  <a:gd name="connsiteY58" fmla="*/ 918210 h 1619250"/>
                  <a:gd name="connsiteX59" fmla="*/ 520700 w 1094739"/>
                  <a:gd name="connsiteY59" fmla="*/ 1261110 h 1619250"/>
                  <a:gd name="connsiteX60" fmla="*/ 520700 w 1094739"/>
                  <a:gd name="connsiteY60" fmla="*/ 1619250 h 1619250"/>
                  <a:gd name="connsiteX61" fmla="*/ 337820 w 1094739"/>
                  <a:gd name="connsiteY61" fmla="*/ 1619250 h 161925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109220 w 1094739"/>
                  <a:gd name="connsiteY8" fmla="*/ 279400 h 1597660"/>
                  <a:gd name="connsiteX9" fmla="*/ 119379 w 1094739"/>
                  <a:gd name="connsiteY9" fmla="*/ 41656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03579 w 1094739"/>
                  <a:gd name="connsiteY31" fmla="*/ 69850 h 1597660"/>
                  <a:gd name="connsiteX32" fmla="*/ 671829 w 1094739"/>
                  <a:gd name="connsiteY32" fmla="*/ 144780 h 1597660"/>
                  <a:gd name="connsiteX33" fmla="*/ 631189 w 1094739"/>
                  <a:gd name="connsiteY33" fmla="*/ 184150 h 1597660"/>
                  <a:gd name="connsiteX34" fmla="*/ 513080 w 1094739"/>
                  <a:gd name="connsiteY34" fmla="*/ 393700 h 1597660"/>
                  <a:gd name="connsiteX35" fmla="*/ 485140 w 1094739"/>
                  <a:gd name="connsiteY35" fmla="*/ 591820 h 1597660"/>
                  <a:gd name="connsiteX36" fmla="*/ 505460 w 1094739"/>
                  <a:gd name="connsiteY36" fmla="*/ 789940 h 1597660"/>
                  <a:gd name="connsiteX37" fmla="*/ 688339 w 1094739"/>
                  <a:gd name="connsiteY37" fmla="*/ 548640 h 1597660"/>
                  <a:gd name="connsiteX38" fmla="*/ 721359 w 1094739"/>
                  <a:gd name="connsiteY38" fmla="*/ 396240 h 1597660"/>
                  <a:gd name="connsiteX39" fmla="*/ 673099 w 1094739"/>
                  <a:gd name="connsiteY39" fmla="*/ 337820 h 1597660"/>
                  <a:gd name="connsiteX40" fmla="*/ 723899 w 1094739"/>
                  <a:gd name="connsiteY40" fmla="*/ 375920 h 1597660"/>
                  <a:gd name="connsiteX41" fmla="*/ 734060 w 1094739"/>
                  <a:gd name="connsiteY41" fmla="*/ 314960 h 1597660"/>
                  <a:gd name="connsiteX42" fmla="*/ 759459 w 1094739"/>
                  <a:gd name="connsiteY42" fmla="*/ 322580 h 1597660"/>
                  <a:gd name="connsiteX43" fmla="*/ 716279 w 1094739"/>
                  <a:gd name="connsiteY43" fmla="*/ 530860 h 1597660"/>
                  <a:gd name="connsiteX44" fmla="*/ 866139 w 1094739"/>
                  <a:gd name="connsiteY44" fmla="*/ 360680 h 1597660"/>
                  <a:gd name="connsiteX45" fmla="*/ 853440 w 1094739"/>
                  <a:gd name="connsiteY45" fmla="*/ 274320 h 1597660"/>
                  <a:gd name="connsiteX46" fmla="*/ 888999 w 1094739"/>
                  <a:gd name="connsiteY46" fmla="*/ 360680 h 1597660"/>
                  <a:gd name="connsiteX47" fmla="*/ 949959 w 1094739"/>
                  <a:gd name="connsiteY47" fmla="*/ 337820 h 1597660"/>
                  <a:gd name="connsiteX48" fmla="*/ 965199 w 1094739"/>
                  <a:gd name="connsiteY48" fmla="*/ 220980 h 1597660"/>
                  <a:gd name="connsiteX49" fmla="*/ 970279 w 1094739"/>
                  <a:gd name="connsiteY49" fmla="*/ 335280 h 1597660"/>
                  <a:gd name="connsiteX50" fmla="*/ 1094739 w 1094739"/>
                  <a:gd name="connsiteY50" fmla="*/ 292100 h 1597660"/>
                  <a:gd name="connsiteX51" fmla="*/ 876299 w 1094739"/>
                  <a:gd name="connsiteY51" fmla="*/ 396240 h 1597660"/>
                  <a:gd name="connsiteX52" fmla="*/ 739139 w 1094739"/>
                  <a:gd name="connsiteY52" fmla="*/ 551180 h 1597660"/>
                  <a:gd name="connsiteX53" fmla="*/ 673100 w 1094739"/>
                  <a:gd name="connsiteY53" fmla="*/ 660400 h 1597660"/>
                  <a:gd name="connsiteX54" fmla="*/ 812800 w 1094739"/>
                  <a:gd name="connsiteY54" fmla="*/ 566420 h 1597660"/>
                  <a:gd name="connsiteX55" fmla="*/ 850900 w 1094739"/>
                  <a:gd name="connsiteY55" fmla="*/ 568960 h 1597660"/>
                  <a:gd name="connsiteX56" fmla="*/ 652780 w 1094739"/>
                  <a:gd name="connsiteY56" fmla="*/ 701040 h 1597660"/>
                  <a:gd name="connsiteX57" fmla="*/ 513080 w 1094739"/>
                  <a:gd name="connsiteY57" fmla="*/ 896620 h 1597660"/>
                  <a:gd name="connsiteX58" fmla="*/ 520700 w 1094739"/>
                  <a:gd name="connsiteY58" fmla="*/ 1239520 h 1597660"/>
                  <a:gd name="connsiteX59" fmla="*/ 520700 w 1094739"/>
                  <a:gd name="connsiteY59" fmla="*/ 1597660 h 1597660"/>
                  <a:gd name="connsiteX60" fmla="*/ 337820 w 1094739"/>
                  <a:gd name="connsiteY60"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109220 w 1094739"/>
                  <a:gd name="connsiteY8" fmla="*/ 279400 h 1597660"/>
                  <a:gd name="connsiteX9" fmla="*/ 119379 w 1094739"/>
                  <a:gd name="connsiteY9" fmla="*/ 41656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671829 w 1094739"/>
                  <a:gd name="connsiteY31" fmla="*/ 144780 h 1597660"/>
                  <a:gd name="connsiteX32" fmla="*/ 631189 w 1094739"/>
                  <a:gd name="connsiteY32" fmla="*/ 184150 h 1597660"/>
                  <a:gd name="connsiteX33" fmla="*/ 513080 w 1094739"/>
                  <a:gd name="connsiteY33" fmla="*/ 393700 h 1597660"/>
                  <a:gd name="connsiteX34" fmla="*/ 485140 w 1094739"/>
                  <a:gd name="connsiteY34" fmla="*/ 591820 h 1597660"/>
                  <a:gd name="connsiteX35" fmla="*/ 505460 w 1094739"/>
                  <a:gd name="connsiteY35" fmla="*/ 789940 h 1597660"/>
                  <a:gd name="connsiteX36" fmla="*/ 688339 w 1094739"/>
                  <a:gd name="connsiteY36" fmla="*/ 548640 h 1597660"/>
                  <a:gd name="connsiteX37" fmla="*/ 721359 w 1094739"/>
                  <a:gd name="connsiteY37" fmla="*/ 396240 h 1597660"/>
                  <a:gd name="connsiteX38" fmla="*/ 673099 w 1094739"/>
                  <a:gd name="connsiteY38" fmla="*/ 337820 h 1597660"/>
                  <a:gd name="connsiteX39" fmla="*/ 723899 w 1094739"/>
                  <a:gd name="connsiteY39" fmla="*/ 375920 h 1597660"/>
                  <a:gd name="connsiteX40" fmla="*/ 734060 w 1094739"/>
                  <a:gd name="connsiteY40" fmla="*/ 314960 h 1597660"/>
                  <a:gd name="connsiteX41" fmla="*/ 759459 w 1094739"/>
                  <a:gd name="connsiteY41" fmla="*/ 322580 h 1597660"/>
                  <a:gd name="connsiteX42" fmla="*/ 716279 w 1094739"/>
                  <a:gd name="connsiteY42" fmla="*/ 530860 h 1597660"/>
                  <a:gd name="connsiteX43" fmla="*/ 866139 w 1094739"/>
                  <a:gd name="connsiteY43" fmla="*/ 360680 h 1597660"/>
                  <a:gd name="connsiteX44" fmla="*/ 853440 w 1094739"/>
                  <a:gd name="connsiteY44" fmla="*/ 274320 h 1597660"/>
                  <a:gd name="connsiteX45" fmla="*/ 888999 w 1094739"/>
                  <a:gd name="connsiteY45" fmla="*/ 360680 h 1597660"/>
                  <a:gd name="connsiteX46" fmla="*/ 949959 w 1094739"/>
                  <a:gd name="connsiteY46" fmla="*/ 337820 h 1597660"/>
                  <a:gd name="connsiteX47" fmla="*/ 965199 w 1094739"/>
                  <a:gd name="connsiteY47" fmla="*/ 220980 h 1597660"/>
                  <a:gd name="connsiteX48" fmla="*/ 970279 w 1094739"/>
                  <a:gd name="connsiteY48" fmla="*/ 335280 h 1597660"/>
                  <a:gd name="connsiteX49" fmla="*/ 1094739 w 1094739"/>
                  <a:gd name="connsiteY49" fmla="*/ 292100 h 1597660"/>
                  <a:gd name="connsiteX50" fmla="*/ 876299 w 1094739"/>
                  <a:gd name="connsiteY50" fmla="*/ 396240 h 1597660"/>
                  <a:gd name="connsiteX51" fmla="*/ 739139 w 1094739"/>
                  <a:gd name="connsiteY51" fmla="*/ 551180 h 1597660"/>
                  <a:gd name="connsiteX52" fmla="*/ 673100 w 1094739"/>
                  <a:gd name="connsiteY52" fmla="*/ 660400 h 1597660"/>
                  <a:gd name="connsiteX53" fmla="*/ 812800 w 1094739"/>
                  <a:gd name="connsiteY53" fmla="*/ 566420 h 1597660"/>
                  <a:gd name="connsiteX54" fmla="*/ 850900 w 1094739"/>
                  <a:gd name="connsiteY54" fmla="*/ 568960 h 1597660"/>
                  <a:gd name="connsiteX55" fmla="*/ 652780 w 1094739"/>
                  <a:gd name="connsiteY55" fmla="*/ 701040 h 1597660"/>
                  <a:gd name="connsiteX56" fmla="*/ 513080 w 1094739"/>
                  <a:gd name="connsiteY56" fmla="*/ 896620 h 1597660"/>
                  <a:gd name="connsiteX57" fmla="*/ 520700 w 1094739"/>
                  <a:gd name="connsiteY57" fmla="*/ 1239520 h 1597660"/>
                  <a:gd name="connsiteX58" fmla="*/ 520700 w 1094739"/>
                  <a:gd name="connsiteY58" fmla="*/ 1597660 h 1597660"/>
                  <a:gd name="connsiteX59" fmla="*/ 337820 w 1094739"/>
                  <a:gd name="connsiteY59" fmla="*/ 1597660 h 1597660"/>
                  <a:gd name="connsiteX0" fmla="*/ 337820 w 1094739"/>
                  <a:gd name="connsiteY0" fmla="*/ 1577340 h 1577340"/>
                  <a:gd name="connsiteX1" fmla="*/ 396240 w 1094739"/>
                  <a:gd name="connsiteY1" fmla="*/ 1176020 h 1577340"/>
                  <a:gd name="connsiteX2" fmla="*/ 421640 w 1094739"/>
                  <a:gd name="connsiteY2" fmla="*/ 891540 h 1577340"/>
                  <a:gd name="connsiteX3" fmla="*/ 414020 w 1094739"/>
                  <a:gd name="connsiteY3" fmla="*/ 655320 h 1577340"/>
                  <a:gd name="connsiteX4" fmla="*/ 147320 w 1094739"/>
                  <a:gd name="connsiteY4" fmla="*/ 502920 h 1577340"/>
                  <a:gd name="connsiteX5" fmla="*/ 96520 w 1094739"/>
                  <a:gd name="connsiteY5" fmla="*/ 419100 h 1577340"/>
                  <a:gd name="connsiteX6" fmla="*/ 0 w 1094739"/>
                  <a:gd name="connsiteY6" fmla="*/ 340360 h 1577340"/>
                  <a:gd name="connsiteX7" fmla="*/ 96520 w 1094739"/>
                  <a:gd name="connsiteY7" fmla="*/ 383540 h 1577340"/>
                  <a:gd name="connsiteX8" fmla="*/ 109220 w 1094739"/>
                  <a:gd name="connsiteY8" fmla="*/ 259080 h 1577340"/>
                  <a:gd name="connsiteX9" fmla="*/ 119379 w 1094739"/>
                  <a:gd name="connsiteY9" fmla="*/ 396240 h 1577340"/>
                  <a:gd name="connsiteX10" fmla="*/ 177800 w 1094739"/>
                  <a:gd name="connsiteY10" fmla="*/ 485140 h 1577340"/>
                  <a:gd name="connsiteX11" fmla="*/ 256539 w 1094739"/>
                  <a:gd name="connsiteY11" fmla="*/ 518160 h 1577340"/>
                  <a:gd name="connsiteX12" fmla="*/ 259079 w 1094739"/>
                  <a:gd name="connsiteY12" fmla="*/ 370840 h 1577340"/>
                  <a:gd name="connsiteX13" fmla="*/ 210819 w 1094739"/>
                  <a:gd name="connsiteY13" fmla="*/ 276860 h 1577340"/>
                  <a:gd name="connsiteX14" fmla="*/ 271779 w 1094739"/>
                  <a:gd name="connsiteY14" fmla="*/ 345440 h 1577340"/>
                  <a:gd name="connsiteX15" fmla="*/ 327659 w 1094739"/>
                  <a:gd name="connsiteY15" fmla="*/ 264160 h 1577340"/>
                  <a:gd name="connsiteX16" fmla="*/ 279399 w 1094739"/>
                  <a:gd name="connsiteY16" fmla="*/ 375920 h 1577340"/>
                  <a:gd name="connsiteX17" fmla="*/ 284479 w 1094739"/>
                  <a:gd name="connsiteY17" fmla="*/ 528320 h 1577340"/>
                  <a:gd name="connsiteX18" fmla="*/ 406400 w 1094739"/>
                  <a:gd name="connsiteY18" fmla="*/ 579120 h 1577340"/>
                  <a:gd name="connsiteX19" fmla="*/ 444500 w 1094739"/>
                  <a:gd name="connsiteY19" fmla="*/ 358140 h 1577340"/>
                  <a:gd name="connsiteX20" fmla="*/ 365760 w 1094739"/>
                  <a:gd name="connsiteY20" fmla="*/ 106680 h 1577340"/>
                  <a:gd name="connsiteX21" fmla="*/ 299720 w 1094739"/>
                  <a:gd name="connsiteY21" fmla="*/ 40640 h 1577340"/>
                  <a:gd name="connsiteX22" fmla="*/ 375920 w 1094739"/>
                  <a:gd name="connsiteY22" fmla="*/ 91440 h 1577340"/>
                  <a:gd name="connsiteX23" fmla="*/ 411479 w 1094739"/>
                  <a:gd name="connsiteY23" fmla="*/ 167640 h 1577340"/>
                  <a:gd name="connsiteX24" fmla="*/ 502919 w 1094739"/>
                  <a:gd name="connsiteY24" fmla="*/ 0 h 1577340"/>
                  <a:gd name="connsiteX25" fmla="*/ 426719 w 1094739"/>
                  <a:gd name="connsiteY25" fmla="*/ 203200 h 1577340"/>
                  <a:gd name="connsiteX26" fmla="*/ 474980 w 1094739"/>
                  <a:gd name="connsiteY26" fmla="*/ 335280 h 1577340"/>
                  <a:gd name="connsiteX27" fmla="*/ 604519 w 1094739"/>
                  <a:gd name="connsiteY27" fmla="*/ 111760 h 1577340"/>
                  <a:gd name="connsiteX28" fmla="*/ 574040 w 1094739"/>
                  <a:gd name="connsiteY28" fmla="*/ 10160 h 1577340"/>
                  <a:gd name="connsiteX29" fmla="*/ 632459 w 1094739"/>
                  <a:gd name="connsiteY29" fmla="*/ 106680 h 1577340"/>
                  <a:gd name="connsiteX30" fmla="*/ 671829 w 1094739"/>
                  <a:gd name="connsiteY30" fmla="*/ 124460 h 1577340"/>
                  <a:gd name="connsiteX31" fmla="*/ 631189 w 1094739"/>
                  <a:gd name="connsiteY31" fmla="*/ 163830 h 1577340"/>
                  <a:gd name="connsiteX32" fmla="*/ 513080 w 1094739"/>
                  <a:gd name="connsiteY32" fmla="*/ 373380 h 1577340"/>
                  <a:gd name="connsiteX33" fmla="*/ 485140 w 1094739"/>
                  <a:gd name="connsiteY33" fmla="*/ 571500 h 1577340"/>
                  <a:gd name="connsiteX34" fmla="*/ 505460 w 1094739"/>
                  <a:gd name="connsiteY34" fmla="*/ 769620 h 1577340"/>
                  <a:gd name="connsiteX35" fmla="*/ 688339 w 1094739"/>
                  <a:gd name="connsiteY35" fmla="*/ 528320 h 1577340"/>
                  <a:gd name="connsiteX36" fmla="*/ 721359 w 1094739"/>
                  <a:gd name="connsiteY36" fmla="*/ 375920 h 1577340"/>
                  <a:gd name="connsiteX37" fmla="*/ 673099 w 1094739"/>
                  <a:gd name="connsiteY37" fmla="*/ 317500 h 1577340"/>
                  <a:gd name="connsiteX38" fmla="*/ 723899 w 1094739"/>
                  <a:gd name="connsiteY38" fmla="*/ 355600 h 1577340"/>
                  <a:gd name="connsiteX39" fmla="*/ 734060 w 1094739"/>
                  <a:gd name="connsiteY39" fmla="*/ 294640 h 1577340"/>
                  <a:gd name="connsiteX40" fmla="*/ 759459 w 1094739"/>
                  <a:gd name="connsiteY40" fmla="*/ 302260 h 1577340"/>
                  <a:gd name="connsiteX41" fmla="*/ 716279 w 1094739"/>
                  <a:gd name="connsiteY41" fmla="*/ 510540 h 1577340"/>
                  <a:gd name="connsiteX42" fmla="*/ 866139 w 1094739"/>
                  <a:gd name="connsiteY42" fmla="*/ 340360 h 1577340"/>
                  <a:gd name="connsiteX43" fmla="*/ 853440 w 1094739"/>
                  <a:gd name="connsiteY43" fmla="*/ 254000 h 1577340"/>
                  <a:gd name="connsiteX44" fmla="*/ 888999 w 1094739"/>
                  <a:gd name="connsiteY44" fmla="*/ 340360 h 1577340"/>
                  <a:gd name="connsiteX45" fmla="*/ 949959 w 1094739"/>
                  <a:gd name="connsiteY45" fmla="*/ 317500 h 1577340"/>
                  <a:gd name="connsiteX46" fmla="*/ 965199 w 1094739"/>
                  <a:gd name="connsiteY46" fmla="*/ 200660 h 1577340"/>
                  <a:gd name="connsiteX47" fmla="*/ 970279 w 1094739"/>
                  <a:gd name="connsiteY47" fmla="*/ 314960 h 1577340"/>
                  <a:gd name="connsiteX48" fmla="*/ 1094739 w 1094739"/>
                  <a:gd name="connsiteY48" fmla="*/ 271780 h 1577340"/>
                  <a:gd name="connsiteX49" fmla="*/ 876299 w 1094739"/>
                  <a:gd name="connsiteY49" fmla="*/ 375920 h 1577340"/>
                  <a:gd name="connsiteX50" fmla="*/ 739139 w 1094739"/>
                  <a:gd name="connsiteY50" fmla="*/ 530860 h 1577340"/>
                  <a:gd name="connsiteX51" fmla="*/ 673100 w 1094739"/>
                  <a:gd name="connsiteY51" fmla="*/ 640080 h 1577340"/>
                  <a:gd name="connsiteX52" fmla="*/ 812800 w 1094739"/>
                  <a:gd name="connsiteY52" fmla="*/ 546100 h 1577340"/>
                  <a:gd name="connsiteX53" fmla="*/ 850900 w 1094739"/>
                  <a:gd name="connsiteY53" fmla="*/ 548640 h 1577340"/>
                  <a:gd name="connsiteX54" fmla="*/ 652780 w 1094739"/>
                  <a:gd name="connsiteY54" fmla="*/ 680720 h 1577340"/>
                  <a:gd name="connsiteX55" fmla="*/ 513080 w 1094739"/>
                  <a:gd name="connsiteY55" fmla="*/ 876300 h 1577340"/>
                  <a:gd name="connsiteX56" fmla="*/ 520700 w 1094739"/>
                  <a:gd name="connsiteY56" fmla="*/ 1219200 h 1577340"/>
                  <a:gd name="connsiteX57" fmla="*/ 520700 w 1094739"/>
                  <a:gd name="connsiteY57" fmla="*/ 1577340 h 1577340"/>
                  <a:gd name="connsiteX58" fmla="*/ 337820 w 1094739"/>
                  <a:gd name="connsiteY58" fmla="*/ 1577340 h 1577340"/>
                  <a:gd name="connsiteX0" fmla="*/ 337820 w 1094739"/>
                  <a:gd name="connsiteY0" fmla="*/ 1577340 h 1577340"/>
                  <a:gd name="connsiteX1" fmla="*/ 396240 w 1094739"/>
                  <a:gd name="connsiteY1" fmla="*/ 1176020 h 1577340"/>
                  <a:gd name="connsiteX2" fmla="*/ 421640 w 1094739"/>
                  <a:gd name="connsiteY2" fmla="*/ 891540 h 1577340"/>
                  <a:gd name="connsiteX3" fmla="*/ 414020 w 1094739"/>
                  <a:gd name="connsiteY3" fmla="*/ 655320 h 1577340"/>
                  <a:gd name="connsiteX4" fmla="*/ 147320 w 1094739"/>
                  <a:gd name="connsiteY4" fmla="*/ 502920 h 1577340"/>
                  <a:gd name="connsiteX5" fmla="*/ 96520 w 1094739"/>
                  <a:gd name="connsiteY5" fmla="*/ 419100 h 1577340"/>
                  <a:gd name="connsiteX6" fmla="*/ 0 w 1094739"/>
                  <a:gd name="connsiteY6" fmla="*/ 340360 h 1577340"/>
                  <a:gd name="connsiteX7" fmla="*/ 96520 w 1094739"/>
                  <a:gd name="connsiteY7" fmla="*/ 383540 h 1577340"/>
                  <a:gd name="connsiteX8" fmla="*/ 109220 w 1094739"/>
                  <a:gd name="connsiteY8" fmla="*/ 259080 h 1577340"/>
                  <a:gd name="connsiteX9" fmla="*/ 119379 w 1094739"/>
                  <a:gd name="connsiteY9" fmla="*/ 396240 h 1577340"/>
                  <a:gd name="connsiteX10" fmla="*/ 177800 w 1094739"/>
                  <a:gd name="connsiteY10" fmla="*/ 485140 h 1577340"/>
                  <a:gd name="connsiteX11" fmla="*/ 256539 w 1094739"/>
                  <a:gd name="connsiteY11" fmla="*/ 518160 h 1577340"/>
                  <a:gd name="connsiteX12" fmla="*/ 259079 w 1094739"/>
                  <a:gd name="connsiteY12" fmla="*/ 370840 h 1577340"/>
                  <a:gd name="connsiteX13" fmla="*/ 210819 w 1094739"/>
                  <a:gd name="connsiteY13" fmla="*/ 276860 h 1577340"/>
                  <a:gd name="connsiteX14" fmla="*/ 271779 w 1094739"/>
                  <a:gd name="connsiteY14" fmla="*/ 345440 h 1577340"/>
                  <a:gd name="connsiteX15" fmla="*/ 327659 w 1094739"/>
                  <a:gd name="connsiteY15" fmla="*/ 264160 h 1577340"/>
                  <a:gd name="connsiteX16" fmla="*/ 279399 w 1094739"/>
                  <a:gd name="connsiteY16" fmla="*/ 375920 h 1577340"/>
                  <a:gd name="connsiteX17" fmla="*/ 284479 w 1094739"/>
                  <a:gd name="connsiteY17" fmla="*/ 528320 h 1577340"/>
                  <a:gd name="connsiteX18" fmla="*/ 406400 w 1094739"/>
                  <a:gd name="connsiteY18" fmla="*/ 579120 h 1577340"/>
                  <a:gd name="connsiteX19" fmla="*/ 444500 w 1094739"/>
                  <a:gd name="connsiteY19" fmla="*/ 358140 h 1577340"/>
                  <a:gd name="connsiteX20" fmla="*/ 365760 w 1094739"/>
                  <a:gd name="connsiteY20" fmla="*/ 106680 h 1577340"/>
                  <a:gd name="connsiteX21" fmla="*/ 299720 w 1094739"/>
                  <a:gd name="connsiteY21" fmla="*/ 40640 h 1577340"/>
                  <a:gd name="connsiteX22" fmla="*/ 375920 w 1094739"/>
                  <a:gd name="connsiteY22" fmla="*/ 91440 h 1577340"/>
                  <a:gd name="connsiteX23" fmla="*/ 411479 w 1094739"/>
                  <a:gd name="connsiteY23" fmla="*/ 167640 h 1577340"/>
                  <a:gd name="connsiteX24" fmla="*/ 502919 w 1094739"/>
                  <a:gd name="connsiteY24" fmla="*/ 0 h 1577340"/>
                  <a:gd name="connsiteX25" fmla="*/ 426719 w 1094739"/>
                  <a:gd name="connsiteY25" fmla="*/ 203200 h 1577340"/>
                  <a:gd name="connsiteX26" fmla="*/ 474980 w 1094739"/>
                  <a:gd name="connsiteY26" fmla="*/ 335280 h 1577340"/>
                  <a:gd name="connsiteX27" fmla="*/ 604519 w 1094739"/>
                  <a:gd name="connsiteY27" fmla="*/ 111760 h 1577340"/>
                  <a:gd name="connsiteX28" fmla="*/ 632459 w 1094739"/>
                  <a:gd name="connsiteY28" fmla="*/ 106680 h 1577340"/>
                  <a:gd name="connsiteX29" fmla="*/ 671829 w 1094739"/>
                  <a:gd name="connsiteY29" fmla="*/ 124460 h 1577340"/>
                  <a:gd name="connsiteX30" fmla="*/ 631189 w 1094739"/>
                  <a:gd name="connsiteY30" fmla="*/ 163830 h 1577340"/>
                  <a:gd name="connsiteX31" fmla="*/ 513080 w 1094739"/>
                  <a:gd name="connsiteY31" fmla="*/ 373380 h 1577340"/>
                  <a:gd name="connsiteX32" fmla="*/ 485140 w 1094739"/>
                  <a:gd name="connsiteY32" fmla="*/ 571500 h 1577340"/>
                  <a:gd name="connsiteX33" fmla="*/ 505460 w 1094739"/>
                  <a:gd name="connsiteY33" fmla="*/ 769620 h 1577340"/>
                  <a:gd name="connsiteX34" fmla="*/ 688339 w 1094739"/>
                  <a:gd name="connsiteY34" fmla="*/ 528320 h 1577340"/>
                  <a:gd name="connsiteX35" fmla="*/ 721359 w 1094739"/>
                  <a:gd name="connsiteY35" fmla="*/ 375920 h 1577340"/>
                  <a:gd name="connsiteX36" fmla="*/ 673099 w 1094739"/>
                  <a:gd name="connsiteY36" fmla="*/ 317500 h 1577340"/>
                  <a:gd name="connsiteX37" fmla="*/ 723899 w 1094739"/>
                  <a:gd name="connsiteY37" fmla="*/ 355600 h 1577340"/>
                  <a:gd name="connsiteX38" fmla="*/ 734060 w 1094739"/>
                  <a:gd name="connsiteY38" fmla="*/ 294640 h 1577340"/>
                  <a:gd name="connsiteX39" fmla="*/ 759459 w 1094739"/>
                  <a:gd name="connsiteY39" fmla="*/ 302260 h 1577340"/>
                  <a:gd name="connsiteX40" fmla="*/ 716279 w 1094739"/>
                  <a:gd name="connsiteY40" fmla="*/ 510540 h 1577340"/>
                  <a:gd name="connsiteX41" fmla="*/ 866139 w 1094739"/>
                  <a:gd name="connsiteY41" fmla="*/ 340360 h 1577340"/>
                  <a:gd name="connsiteX42" fmla="*/ 853440 w 1094739"/>
                  <a:gd name="connsiteY42" fmla="*/ 254000 h 1577340"/>
                  <a:gd name="connsiteX43" fmla="*/ 888999 w 1094739"/>
                  <a:gd name="connsiteY43" fmla="*/ 340360 h 1577340"/>
                  <a:gd name="connsiteX44" fmla="*/ 949959 w 1094739"/>
                  <a:gd name="connsiteY44" fmla="*/ 317500 h 1577340"/>
                  <a:gd name="connsiteX45" fmla="*/ 965199 w 1094739"/>
                  <a:gd name="connsiteY45" fmla="*/ 200660 h 1577340"/>
                  <a:gd name="connsiteX46" fmla="*/ 970279 w 1094739"/>
                  <a:gd name="connsiteY46" fmla="*/ 314960 h 1577340"/>
                  <a:gd name="connsiteX47" fmla="*/ 1094739 w 1094739"/>
                  <a:gd name="connsiteY47" fmla="*/ 271780 h 1577340"/>
                  <a:gd name="connsiteX48" fmla="*/ 876299 w 1094739"/>
                  <a:gd name="connsiteY48" fmla="*/ 375920 h 1577340"/>
                  <a:gd name="connsiteX49" fmla="*/ 739139 w 1094739"/>
                  <a:gd name="connsiteY49" fmla="*/ 530860 h 1577340"/>
                  <a:gd name="connsiteX50" fmla="*/ 673100 w 1094739"/>
                  <a:gd name="connsiteY50" fmla="*/ 640080 h 1577340"/>
                  <a:gd name="connsiteX51" fmla="*/ 812800 w 1094739"/>
                  <a:gd name="connsiteY51" fmla="*/ 546100 h 1577340"/>
                  <a:gd name="connsiteX52" fmla="*/ 850900 w 1094739"/>
                  <a:gd name="connsiteY52" fmla="*/ 548640 h 1577340"/>
                  <a:gd name="connsiteX53" fmla="*/ 652780 w 1094739"/>
                  <a:gd name="connsiteY53" fmla="*/ 680720 h 1577340"/>
                  <a:gd name="connsiteX54" fmla="*/ 513080 w 1094739"/>
                  <a:gd name="connsiteY54" fmla="*/ 876300 h 1577340"/>
                  <a:gd name="connsiteX55" fmla="*/ 520700 w 1094739"/>
                  <a:gd name="connsiteY55" fmla="*/ 1219200 h 1577340"/>
                  <a:gd name="connsiteX56" fmla="*/ 520700 w 1094739"/>
                  <a:gd name="connsiteY56" fmla="*/ 1577340 h 1577340"/>
                  <a:gd name="connsiteX57" fmla="*/ 337820 w 1094739"/>
                  <a:gd name="connsiteY57" fmla="*/ 1577340 h 1577340"/>
                  <a:gd name="connsiteX0" fmla="*/ 337820 w 1094739"/>
                  <a:gd name="connsiteY0" fmla="*/ 1577340 h 1577340"/>
                  <a:gd name="connsiteX1" fmla="*/ 396240 w 1094739"/>
                  <a:gd name="connsiteY1" fmla="*/ 1176020 h 1577340"/>
                  <a:gd name="connsiteX2" fmla="*/ 421640 w 1094739"/>
                  <a:gd name="connsiteY2" fmla="*/ 891540 h 1577340"/>
                  <a:gd name="connsiteX3" fmla="*/ 414020 w 1094739"/>
                  <a:gd name="connsiteY3" fmla="*/ 655320 h 1577340"/>
                  <a:gd name="connsiteX4" fmla="*/ 147320 w 1094739"/>
                  <a:gd name="connsiteY4" fmla="*/ 502920 h 1577340"/>
                  <a:gd name="connsiteX5" fmla="*/ 96520 w 1094739"/>
                  <a:gd name="connsiteY5" fmla="*/ 419100 h 1577340"/>
                  <a:gd name="connsiteX6" fmla="*/ 0 w 1094739"/>
                  <a:gd name="connsiteY6" fmla="*/ 340360 h 1577340"/>
                  <a:gd name="connsiteX7" fmla="*/ 96520 w 1094739"/>
                  <a:gd name="connsiteY7" fmla="*/ 383540 h 1577340"/>
                  <a:gd name="connsiteX8" fmla="*/ 109220 w 1094739"/>
                  <a:gd name="connsiteY8" fmla="*/ 259080 h 1577340"/>
                  <a:gd name="connsiteX9" fmla="*/ 119379 w 1094739"/>
                  <a:gd name="connsiteY9" fmla="*/ 396240 h 1577340"/>
                  <a:gd name="connsiteX10" fmla="*/ 177800 w 1094739"/>
                  <a:gd name="connsiteY10" fmla="*/ 485140 h 1577340"/>
                  <a:gd name="connsiteX11" fmla="*/ 256539 w 1094739"/>
                  <a:gd name="connsiteY11" fmla="*/ 518160 h 1577340"/>
                  <a:gd name="connsiteX12" fmla="*/ 259079 w 1094739"/>
                  <a:gd name="connsiteY12" fmla="*/ 370840 h 1577340"/>
                  <a:gd name="connsiteX13" fmla="*/ 210819 w 1094739"/>
                  <a:gd name="connsiteY13" fmla="*/ 276860 h 1577340"/>
                  <a:gd name="connsiteX14" fmla="*/ 271779 w 1094739"/>
                  <a:gd name="connsiteY14" fmla="*/ 345440 h 1577340"/>
                  <a:gd name="connsiteX15" fmla="*/ 327659 w 1094739"/>
                  <a:gd name="connsiteY15" fmla="*/ 264160 h 1577340"/>
                  <a:gd name="connsiteX16" fmla="*/ 279399 w 1094739"/>
                  <a:gd name="connsiteY16" fmla="*/ 375920 h 1577340"/>
                  <a:gd name="connsiteX17" fmla="*/ 284479 w 1094739"/>
                  <a:gd name="connsiteY17" fmla="*/ 528320 h 1577340"/>
                  <a:gd name="connsiteX18" fmla="*/ 406400 w 1094739"/>
                  <a:gd name="connsiteY18" fmla="*/ 579120 h 1577340"/>
                  <a:gd name="connsiteX19" fmla="*/ 444500 w 1094739"/>
                  <a:gd name="connsiteY19" fmla="*/ 358140 h 1577340"/>
                  <a:gd name="connsiteX20" fmla="*/ 365760 w 1094739"/>
                  <a:gd name="connsiteY20" fmla="*/ 106680 h 1577340"/>
                  <a:gd name="connsiteX21" fmla="*/ 299720 w 1094739"/>
                  <a:gd name="connsiteY21" fmla="*/ 40640 h 1577340"/>
                  <a:gd name="connsiteX22" fmla="*/ 375920 w 1094739"/>
                  <a:gd name="connsiteY22" fmla="*/ 91440 h 1577340"/>
                  <a:gd name="connsiteX23" fmla="*/ 411479 w 1094739"/>
                  <a:gd name="connsiteY23" fmla="*/ 167640 h 1577340"/>
                  <a:gd name="connsiteX24" fmla="*/ 502919 w 1094739"/>
                  <a:gd name="connsiteY24" fmla="*/ 0 h 1577340"/>
                  <a:gd name="connsiteX25" fmla="*/ 426719 w 1094739"/>
                  <a:gd name="connsiteY25" fmla="*/ 203200 h 1577340"/>
                  <a:gd name="connsiteX26" fmla="*/ 474980 w 1094739"/>
                  <a:gd name="connsiteY26" fmla="*/ 335280 h 1577340"/>
                  <a:gd name="connsiteX27" fmla="*/ 632459 w 1094739"/>
                  <a:gd name="connsiteY27" fmla="*/ 106680 h 1577340"/>
                  <a:gd name="connsiteX28" fmla="*/ 671829 w 1094739"/>
                  <a:gd name="connsiteY28" fmla="*/ 124460 h 1577340"/>
                  <a:gd name="connsiteX29" fmla="*/ 631189 w 1094739"/>
                  <a:gd name="connsiteY29" fmla="*/ 163830 h 1577340"/>
                  <a:gd name="connsiteX30" fmla="*/ 513080 w 1094739"/>
                  <a:gd name="connsiteY30" fmla="*/ 373380 h 1577340"/>
                  <a:gd name="connsiteX31" fmla="*/ 485140 w 1094739"/>
                  <a:gd name="connsiteY31" fmla="*/ 571500 h 1577340"/>
                  <a:gd name="connsiteX32" fmla="*/ 505460 w 1094739"/>
                  <a:gd name="connsiteY32" fmla="*/ 769620 h 1577340"/>
                  <a:gd name="connsiteX33" fmla="*/ 688339 w 1094739"/>
                  <a:gd name="connsiteY33" fmla="*/ 528320 h 1577340"/>
                  <a:gd name="connsiteX34" fmla="*/ 721359 w 1094739"/>
                  <a:gd name="connsiteY34" fmla="*/ 375920 h 1577340"/>
                  <a:gd name="connsiteX35" fmla="*/ 673099 w 1094739"/>
                  <a:gd name="connsiteY35" fmla="*/ 317500 h 1577340"/>
                  <a:gd name="connsiteX36" fmla="*/ 723899 w 1094739"/>
                  <a:gd name="connsiteY36" fmla="*/ 355600 h 1577340"/>
                  <a:gd name="connsiteX37" fmla="*/ 734060 w 1094739"/>
                  <a:gd name="connsiteY37" fmla="*/ 294640 h 1577340"/>
                  <a:gd name="connsiteX38" fmla="*/ 759459 w 1094739"/>
                  <a:gd name="connsiteY38" fmla="*/ 302260 h 1577340"/>
                  <a:gd name="connsiteX39" fmla="*/ 716279 w 1094739"/>
                  <a:gd name="connsiteY39" fmla="*/ 510540 h 1577340"/>
                  <a:gd name="connsiteX40" fmla="*/ 866139 w 1094739"/>
                  <a:gd name="connsiteY40" fmla="*/ 340360 h 1577340"/>
                  <a:gd name="connsiteX41" fmla="*/ 853440 w 1094739"/>
                  <a:gd name="connsiteY41" fmla="*/ 254000 h 1577340"/>
                  <a:gd name="connsiteX42" fmla="*/ 888999 w 1094739"/>
                  <a:gd name="connsiteY42" fmla="*/ 340360 h 1577340"/>
                  <a:gd name="connsiteX43" fmla="*/ 949959 w 1094739"/>
                  <a:gd name="connsiteY43" fmla="*/ 317500 h 1577340"/>
                  <a:gd name="connsiteX44" fmla="*/ 965199 w 1094739"/>
                  <a:gd name="connsiteY44" fmla="*/ 200660 h 1577340"/>
                  <a:gd name="connsiteX45" fmla="*/ 970279 w 1094739"/>
                  <a:gd name="connsiteY45" fmla="*/ 314960 h 1577340"/>
                  <a:gd name="connsiteX46" fmla="*/ 1094739 w 1094739"/>
                  <a:gd name="connsiteY46" fmla="*/ 271780 h 1577340"/>
                  <a:gd name="connsiteX47" fmla="*/ 876299 w 1094739"/>
                  <a:gd name="connsiteY47" fmla="*/ 375920 h 1577340"/>
                  <a:gd name="connsiteX48" fmla="*/ 739139 w 1094739"/>
                  <a:gd name="connsiteY48" fmla="*/ 530860 h 1577340"/>
                  <a:gd name="connsiteX49" fmla="*/ 673100 w 1094739"/>
                  <a:gd name="connsiteY49" fmla="*/ 640080 h 1577340"/>
                  <a:gd name="connsiteX50" fmla="*/ 812800 w 1094739"/>
                  <a:gd name="connsiteY50" fmla="*/ 546100 h 1577340"/>
                  <a:gd name="connsiteX51" fmla="*/ 850900 w 1094739"/>
                  <a:gd name="connsiteY51" fmla="*/ 548640 h 1577340"/>
                  <a:gd name="connsiteX52" fmla="*/ 652780 w 1094739"/>
                  <a:gd name="connsiteY52" fmla="*/ 680720 h 1577340"/>
                  <a:gd name="connsiteX53" fmla="*/ 513080 w 1094739"/>
                  <a:gd name="connsiteY53" fmla="*/ 876300 h 1577340"/>
                  <a:gd name="connsiteX54" fmla="*/ 520700 w 1094739"/>
                  <a:gd name="connsiteY54" fmla="*/ 1219200 h 1577340"/>
                  <a:gd name="connsiteX55" fmla="*/ 520700 w 1094739"/>
                  <a:gd name="connsiteY55" fmla="*/ 1577340 h 1577340"/>
                  <a:gd name="connsiteX56" fmla="*/ 337820 w 1094739"/>
                  <a:gd name="connsiteY56" fmla="*/ 1577340 h 1577340"/>
                  <a:gd name="connsiteX0" fmla="*/ 337820 w 1094739"/>
                  <a:gd name="connsiteY0" fmla="*/ 1577340 h 1577340"/>
                  <a:gd name="connsiteX1" fmla="*/ 396240 w 1094739"/>
                  <a:gd name="connsiteY1" fmla="*/ 1176020 h 1577340"/>
                  <a:gd name="connsiteX2" fmla="*/ 421640 w 1094739"/>
                  <a:gd name="connsiteY2" fmla="*/ 891540 h 1577340"/>
                  <a:gd name="connsiteX3" fmla="*/ 414020 w 1094739"/>
                  <a:gd name="connsiteY3" fmla="*/ 655320 h 1577340"/>
                  <a:gd name="connsiteX4" fmla="*/ 147320 w 1094739"/>
                  <a:gd name="connsiteY4" fmla="*/ 502920 h 1577340"/>
                  <a:gd name="connsiteX5" fmla="*/ 96520 w 1094739"/>
                  <a:gd name="connsiteY5" fmla="*/ 419100 h 1577340"/>
                  <a:gd name="connsiteX6" fmla="*/ 0 w 1094739"/>
                  <a:gd name="connsiteY6" fmla="*/ 340360 h 1577340"/>
                  <a:gd name="connsiteX7" fmla="*/ 96520 w 1094739"/>
                  <a:gd name="connsiteY7" fmla="*/ 383540 h 1577340"/>
                  <a:gd name="connsiteX8" fmla="*/ 109220 w 1094739"/>
                  <a:gd name="connsiteY8" fmla="*/ 259080 h 1577340"/>
                  <a:gd name="connsiteX9" fmla="*/ 119379 w 1094739"/>
                  <a:gd name="connsiteY9" fmla="*/ 396240 h 1577340"/>
                  <a:gd name="connsiteX10" fmla="*/ 177800 w 1094739"/>
                  <a:gd name="connsiteY10" fmla="*/ 485140 h 1577340"/>
                  <a:gd name="connsiteX11" fmla="*/ 256539 w 1094739"/>
                  <a:gd name="connsiteY11" fmla="*/ 518160 h 1577340"/>
                  <a:gd name="connsiteX12" fmla="*/ 259079 w 1094739"/>
                  <a:gd name="connsiteY12" fmla="*/ 370840 h 1577340"/>
                  <a:gd name="connsiteX13" fmla="*/ 210819 w 1094739"/>
                  <a:gd name="connsiteY13" fmla="*/ 276860 h 1577340"/>
                  <a:gd name="connsiteX14" fmla="*/ 271779 w 1094739"/>
                  <a:gd name="connsiteY14" fmla="*/ 345440 h 1577340"/>
                  <a:gd name="connsiteX15" fmla="*/ 327659 w 1094739"/>
                  <a:gd name="connsiteY15" fmla="*/ 264160 h 1577340"/>
                  <a:gd name="connsiteX16" fmla="*/ 279399 w 1094739"/>
                  <a:gd name="connsiteY16" fmla="*/ 375920 h 1577340"/>
                  <a:gd name="connsiteX17" fmla="*/ 284479 w 1094739"/>
                  <a:gd name="connsiteY17" fmla="*/ 528320 h 1577340"/>
                  <a:gd name="connsiteX18" fmla="*/ 406400 w 1094739"/>
                  <a:gd name="connsiteY18" fmla="*/ 579120 h 1577340"/>
                  <a:gd name="connsiteX19" fmla="*/ 444500 w 1094739"/>
                  <a:gd name="connsiteY19" fmla="*/ 358140 h 1577340"/>
                  <a:gd name="connsiteX20" fmla="*/ 365760 w 1094739"/>
                  <a:gd name="connsiteY20" fmla="*/ 106680 h 1577340"/>
                  <a:gd name="connsiteX21" fmla="*/ 299720 w 1094739"/>
                  <a:gd name="connsiteY21" fmla="*/ 40640 h 1577340"/>
                  <a:gd name="connsiteX22" fmla="*/ 375920 w 1094739"/>
                  <a:gd name="connsiteY22" fmla="*/ 91440 h 1577340"/>
                  <a:gd name="connsiteX23" fmla="*/ 411479 w 1094739"/>
                  <a:gd name="connsiteY23" fmla="*/ 167640 h 1577340"/>
                  <a:gd name="connsiteX24" fmla="*/ 502919 w 1094739"/>
                  <a:gd name="connsiteY24" fmla="*/ 0 h 1577340"/>
                  <a:gd name="connsiteX25" fmla="*/ 426719 w 1094739"/>
                  <a:gd name="connsiteY25" fmla="*/ 203200 h 1577340"/>
                  <a:gd name="connsiteX26" fmla="*/ 474980 w 1094739"/>
                  <a:gd name="connsiteY26" fmla="*/ 335280 h 1577340"/>
                  <a:gd name="connsiteX27" fmla="*/ 671829 w 1094739"/>
                  <a:gd name="connsiteY27" fmla="*/ 124460 h 1577340"/>
                  <a:gd name="connsiteX28" fmla="*/ 631189 w 1094739"/>
                  <a:gd name="connsiteY28" fmla="*/ 163830 h 1577340"/>
                  <a:gd name="connsiteX29" fmla="*/ 513080 w 1094739"/>
                  <a:gd name="connsiteY29" fmla="*/ 373380 h 1577340"/>
                  <a:gd name="connsiteX30" fmla="*/ 485140 w 1094739"/>
                  <a:gd name="connsiteY30" fmla="*/ 571500 h 1577340"/>
                  <a:gd name="connsiteX31" fmla="*/ 505460 w 1094739"/>
                  <a:gd name="connsiteY31" fmla="*/ 769620 h 1577340"/>
                  <a:gd name="connsiteX32" fmla="*/ 688339 w 1094739"/>
                  <a:gd name="connsiteY32" fmla="*/ 528320 h 1577340"/>
                  <a:gd name="connsiteX33" fmla="*/ 721359 w 1094739"/>
                  <a:gd name="connsiteY33" fmla="*/ 375920 h 1577340"/>
                  <a:gd name="connsiteX34" fmla="*/ 673099 w 1094739"/>
                  <a:gd name="connsiteY34" fmla="*/ 317500 h 1577340"/>
                  <a:gd name="connsiteX35" fmla="*/ 723899 w 1094739"/>
                  <a:gd name="connsiteY35" fmla="*/ 355600 h 1577340"/>
                  <a:gd name="connsiteX36" fmla="*/ 734060 w 1094739"/>
                  <a:gd name="connsiteY36" fmla="*/ 294640 h 1577340"/>
                  <a:gd name="connsiteX37" fmla="*/ 759459 w 1094739"/>
                  <a:gd name="connsiteY37" fmla="*/ 302260 h 1577340"/>
                  <a:gd name="connsiteX38" fmla="*/ 716279 w 1094739"/>
                  <a:gd name="connsiteY38" fmla="*/ 510540 h 1577340"/>
                  <a:gd name="connsiteX39" fmla="*/ 866139 w 1094739"/>
                  <a:gd name="connsiteY39" fmla="*/ 340360 h 1577340"/>
                  <a:gd name="connsiteX40" fmla="*/ 853440 w 1094739"/>
                  <a:gd name="connsiteY40" fmla="*/ 254000 h 1577340"/>
                  <a:gd name="connsiteX41" fmla="*/ 888999 w 1094739"/>
                  <a:gd name="connsiteY41" fmla="*/ 340360 h 1577340"/>
                  <a:gd name="connsiteX42" fmla="*/ 949959 w 1094739"/>
                  <a:gd name="connsiteY42" fmla="*/ 317500 h 1577340"/>
                  <a:gd name="connsiteX43" fmla="*/ 965199 w 1094739"/>
                  <a:gd name="connsiteY43" fmla="*/ 200660 h 1577340"/>
                  <a:gd name="connsiteX44" fmla="*/ 970279 w 1094739"/>
                  <a:gd name="connsiteY44" fmla="*/ 314960 h 1577340"/>
                  <a:gd name="connsiteX45" fmla="*/ 1094739 w 1094739"/>
                  <a:gd name="connsiteY45" fmla="*/ 271780 h 1577340"/>
                  <a:gd name="connsiteX46" fmla="*/ 876299 w 1094739"/>
                  <a:gd name="connsiteY46" fmla="*/ 375920 h 1577340"/>
                  <a:gd name="connsiteX47" fmla="*/ 739139 w 1094739"/>
                  <a:gd name="connsiteY47" fmla="*/ 530860 h 1577340"/>
                  <a:gd name="connsiteX48" fmla="*/ 673100 w 1094739"/>
                  <a:gd name="connsiteY48" fmla="*/ 640080 h 1577340"/>
                  <a:gd name="connsiteX49" fmla="*/ 812800 w 1094739"/>
                  <a:gd name="connsiteY49" fmla="*/ 546100 h 1577340"/>
                  <a:gd name="connsiteX50" fmla="*/ 850900 w 1094739"/>
                  <a:gd name="connsiteY50" fmla="*/ 548640 h 1577340"/>
                  <a:gd name="connsiteX51" fmla="*/ 652780 w 1094739"/>
                  <a:gd name="connsiteY51" fmla="*/ 680720 h 1577340"/>
                  <a:gd name="connsiteX52" fmla="*/ 513080 w 1094739"/>
                  <a:gd name="connsiteY52" fmla="*/ 876300 h 1577340"/>
                  <a:gd name="connsiteX53" fmla="*/ 520700 w 1094739"/>
                  <a:gd name="connsiteY53" fmla="*/ 1219200 h 1577340"/>
                  <a:gd name="connsiteX54" fmla="*/ 520700 w 1094739"/>
                  <a:gd name="connsiteY54" fmla="*/ 1577340 h 1577340"/>
                  <a:gd name="connsiteX55" fmla="*/ 337820 w 1094739"/>
                  <a:gd name="connsiteY55" fmla="*/ 1577340 h 1577340"/>
                  <a:gd name="connsiteX0" fmla="*/ 337820 w 1094739"/>
                  <a:gd name="connsiteY0" fmla="*/ 1577340 h 1577340"/>
                  <a:gd name="connsiteX1" fmla="*/ 396240 w 1094739"/>
                  <a:gd name="connsiteY1" fmla="*/ 1176020 h 1577340"/>
                  <a:gd name="connsiteX2" fmla="*/ 421640 w 1094739"/>
                  <a:gd name="connsiteY2" fmla="*/ 891540 h 1577340"/>
                  <a:gd name="connsiteX3" fmla="*/ 414020 w 1094739"/>
                  <a:gd name="connsiteY3" fmla="*/ 655320 h 1577340"/>
                  <a:gd name="connsiteX4" fmla="*/ 147320 w 1094739"/>
                  <a:gd name="connsiteY4" fmla="*/ 502920 h 1577340"/>
                  <a:gd name="connsiteX5" fmla="*/ 96520 w 1094739"/>
                  <a:gd name="connsiteY5" fmla="*/ 419100 h 1577340"/>
                  <a:gd name="connsiteX6" fmla="*/ 0 w 1094739"/>
                  <a:gd name="connsiteY6" fmla="*/ 340360 h 1577340"/>
                  <a:gd name="connsiteX7" fmla="*/ 96520 w 1094739"/>
                  <a:gd name="connsiteY7" fmla="*/ 383540 h 1577340"/>
                  <a:gd name="connsiteX8" fmla="*/ 109220 w 1094739"/>
                  <a:gd name="connsiteY8" fmla="*/ 259080 h 1577340"/>
                  <a:gd name="connsiteX9" fmla="*/ 119379 w 1094739"/>
                  <a:gd name="connsiteY9" fmla="*/ 396240 h 1577340"/>
                  <a:gd name="connsiteX10" fmla="*/ 177800 w 1094739"/>
                  <a:gd name="connsiteY10" fmla="*/ 485140 h 1577340"/>
                  <a:gd name="connsiteX11" fmla="*/ 256539 w 1094739"/>
                  <a:gd name="connsiteY11" fmla="*/ 518160 h 1577340"/>
                  <a:gd name="connsiteX12" fmla="*/ 259079 w 1094739"/>
                  <a:gd name="connsiteY12" fmla="*/ 370840 h 1577340"/>
                  <a:gd name="connsiteX13" fmla="*/ 210819 w 1094739"/>
                  <a:gd name="connsiteY13" fmla="*/ 276860 h 1577340"/>
                  <a:gd name="connsiteX14" fmla="*/ 271779 w 1094739"/>
                  <a:gd name="connsiteY14" fmla="*/ 345440 h 1577340"/>
                  <a:gd name="connsiteX15" fmla="*/ 327659 w 1094739"/>
                  <a:gd name="connsiteY15" fmla="*/ 264160 h 1577340"/>
                  <a:gd name="connsiteX16" fmla="*/ 279399 w 1094739"/>
                  <a:gd name="connsiteY16" fmla="*/ 375920 h 1577340"/>
                  <a:gd name="connsiteX17" fmla="*/ 284479 w 1094739"/>
                  <a:gd name="connsiteY17" fmla="*/ 528320 h 1577340"/>
                  <a:gd name="connsiteX18" fmla="*/ 406400 w 1094739"/>
                  <a:gd name="connsiteY18" fmla="*/ 579120 h 1577340"/>
                  <a:gd name="connsiteX19" fmla="*/ 444500 w 1094739"/>
                  <a:gd name="connsiteY19" fmla="*/ 358140 h 1577340"/>
                  <a:gd name="connsiteX20" fmla="*/ 365760 w 1094739"/>
                  <a:gd name="connsiteY20" fmla="*/ 106680 h 1577340"/>
                  <a:gd name="connsiteX21" fmla="*/ 299720 w 1094739"/>
                  <a:gd name="connsiteY21" fmla="*/ 40640 h 1577340"/>
                  <a:gd name="connsiteX22" fmla="*/ 375920 w 1094739"/>
                  <a:gd name="connsiteY22" fmla="*/ 91440 h 1577340"/>
                  <a:gd name="connsiteX23" fmla="*/ 411479 w 1094739"/>
                  <a:gd name="connsiteY23" fmla="*/ 167640 h 1577340"/>
                  <a:gd name="connsiteX24" fmla="*/ 502919 w 1094739"/>
                  <a:gd name="connsiteY24" fmla="*/ 0 h 1577340"/>
                  <a:gd name="connsiteX25" fmla="*/ 426719 w 1094739"/>
                  <a:gd name="connsiteY25" fmla="*/ 203200 h 1577340"/>
                  <a:gd name="connsiteX26" fmla="*/ 474980 w 1094739"/>
                  <a:gd name="connsiteY26" fmla="*/ 335280 h 1577340"/>
                  <a:gd name="connsiteX27" fmla="*/ 631189 w 1094739"/>
                  <a:gd name="connsiteY27" fmla="*/ 163830 h 1577340"/>
                  <a:gd name="connsiteX28" fmla="*/ 513080 w 1094739"/>
                  <a:gd name="connsiteY28" fmla="*/ 373380 h 1577340"/>
                  <a:gd name="connsiteX29" fmla="*/ 485140 w 1094739"/>
                  <a:gd name="connsiteY29" fmla="*/ 571500 h 1577340"/>
                  <a:gd name="connsiteX30" fmla="*/ 505460 w 1094739"/>
                  <a:gd name="connsiteY30" fmla="*/ 769620 h 1577340"/>
                  <a:gd name="connsiteX31" fmla="*/ 688339 w 1094739"/>
                  <a:gd name="connsiteY31" fmla="*/ 528320 h 1577340"/>
                  <a:gd name="connsiteX32" fmla="*/ 721359 w 1094739"/>
                  <a:gd name="connsiteY32" fmla="*/ 375920 h 1577340"/>
                  <a:gd name="connsiteX33" fmla="*/ 673099 w 1094739"/>
                  <a:gd name="connsiteY33" fmla="*/ 317500 h 1577340"/>
                  <a:gd name="connsiteX34" fmla="*/ 723899 w 1094739"/>
                  <a:gd name="connsiteY34" fmla="*/ 355600 h 1577340"/>
                  <a:gd name="connsiteX35" fmla="*/ 734060 w 1094739"/>
                  <a:gd name="connsiteY35" fmla="*/ 294640 h 1577340"/>
                  <a:gd name="connsiteX36" fmla="*/ 759459 w 1094739"/>
                  <a:gd name="connsiteY36" fmla="*/ 302260 h 1577340"/>
                  <a:gd name="connsiteX37" fmla="*/ 716279 w 1094739"/>
                  <a:gd name="connsiteY37" fmla="*/ 510540 h 1577340"/>
                  <a:gd name="connsiteX38" fmla="*/ 866139 w 1094739"/>
                  <a:gd name="connsiteY38" fmla="*/ 340360 h 1577340"/>
                  <a:gd name="connsiteX39" fmla="*/ 853440 w 1094739"/>
                  <a:gd name="connsiteY39" fmla="*/ 254000 h 1577340"/>
                  <a:gd name="connsiteX40" fmla="*/ 888999 w 1094739"/>
                  <a:gd name="connsiteY40" fmla="*/ 340360 h 1577340"/>
                  <a:gd name="connsiteX41" fmla="*/ 949959 w 1094739"/>
                  <a:gd name="connsiteY41" fmla="*/ 317500 h 1577340"/>
                  <a:gd name="connsiteX42" fmla="*/ 965199 w 1094739"/>
                  <a:gd name="connsiteY42" fmla="*/ 200660 h 1577340"/>
                  <a:gd name="connsiteX43" fmla="*/ 970279 w 1094739"/>
                  <a:gd name="connsiteY43" fmla="*/ 314960 h 1577340"/>
                  <a:gd name="connsiteX44" fmla="*/ 1094739 w 1094739"/>
                  <a:gd name="connsiteY44" fmla="*/ 271780 h 1577340"/>
                  <a:gd name="connsiteX45" fmla="*/ 876299 w 1094739"/>
                  <a:gd name="connsiteY45" fmla="*/ 375920 h 1577340"/>
                  <a:gd name="connsiteX46" fmla="*/ 739139 w 1094739"/>
                  <a:gd name="connsiteY46" fmla="*/ 530860 h 1577340"/>
                  <a:gd name="connsiteX47" fmla="*/ 673100 w 1094739"/>
                  <a:gd name="connsiteY47" fmla="*/ 640080 h 1577340"/>
                  <a:gd name="connsiteX48" fmla="*/ 812800 w 1094739"/>
                  <a:gd name="connsiteY48" fmla="*/ 546100 h 1577340"/>
                  <a:gd name="connsiteX49" fmla="*/ 850900 w 1094739"/>
                  <a:gd name="connsiteY49" fmla="*/ 548640 h 1577340"/>
                  <a:gd name="connsiteX50" fmla="*/ 652780 w 1094739"/>
                  <a:gd name="connsiteY50" fmla="*/ 680720 h 1577340"/>
                  <a:gd name="connsiteX51" fmla="*/ 513080 w 1094739"/>
                  <a:gd name="connsiteY51" fmla="*/ 876300 h 1577340"/>
                  <a:gd name="connsiteX52" fmla="*/ 520700 w 1094739"/>
                  <a:gd name="connsiteY52" fmla="*/ 1219200 h 1577340"/>
                  <a:gd name="connsiteX53" fmla="*/ 520700 w 1094739"/>
                  <a:gd name="connsiteY53" fmla="*/ 1577340 h 1577340"/>
                  <a:gd name="connsiteX54" fmla="*/ 337820 w 1094739"/>
                  <a:gd name="connsiteY54" fmla="*/ 1577340 h 1577340"/>
                  <a:gd name="connsiteX0" fmla="*/ 337820 w 1094739"/>
                  <a:gd name="connsiteY0" fmla="*/ 1577340 h 1577340"/>
                  <a:gd name="connsiteX1" fmla="*/ 396240 w 1094739"/>
                  <a:gd name="connsiteY1" fmla="*/ 1176020 h 1577340"/>
                  <a:gd name="connsiteX2" fmla="*/ 421640 w 1094739"/>
                  <a:gd name="connsiteY2" fmla="*/ 891540 h 1577340"/>
                  <a:gd name="connsiteX3" fmla="*/ 414020 w 1094739"/>
                  <a:gd name="connsiteY3" fmla="*/ 655320 h 1577340"/>
                  <a:gd name="connsiteX4" fmla="*/ 147320 w 1094739"/>
                  <a:gd name="connsiteY4" fmla="*/ 502920 h 1577340"/>
                  <a:gd name="connsiteX5" fmla="*/ 96520 w 1094739"/>
                  <a:gd name="connsiteY5" fmla="*/ 419100 h 1577340"/>
                  <a:gd name="connsiteX6" fmla="*/ 0 w 1094739"/>
                  <a:gd name="connsiteY6" fmla="*/ 340360 h 1577340"/>
                  <a:gd name="connsiteX7" fmla="*/ 96520 w 1094739"/>
                  <a:gd name="connsiteY7" fmla="*/ 383540 h 1577340"/>
                  <a:gd name="connsiteX8" fmla="*/ 109220 w 1094739"/>
                  <a:gd name="connsiteY8" fmla="*/ 259080 h 1577340"/>
                  <a:gd name="connsiteX9" fmla="*/ 119379 w 1094739"/>
                  <a:gd name="connsiteY9" fmla="*/ 396240 h 1577340"/>
                  <a:gd name="connsiteX10" fmla="*/ 177800 w 1094739"/>
                  <a:gd name="connsiteY10" fmla="*/ 485140 h 1577340"/>
                  <a:gd name="connsiteX11" fmla="*/ 256539 w 1094739"/>
                  <a:gd name="connsiteY11" fmla="*/ 518160 h 1577340"/>
                  <a:gd name="connsiteX12" fmla="*/ 259079 w 1094739"/>
                  <a:gd name="connsiteY12" fmla="*/ 370840 h 1577340"/>
                  <a:gd name="connsiteX13" fmla="*/ 210819 w 1094739"/>
                  <a:gd name="connsiteY13" fmla="*/ 276860 h 1577340"/>
                  <a:gd name="connsiteX14" fmla="*/ 271779 w 1094739"/>
                  <a:gd name="connsiteY14" fmla="*/ 345440 h 1577340"/>
                  <a:gd name="connsiteX15" fmla="*/ 327659 w 1094739"/>
                  <a:gd name="connsiteY15" fmla="*/ 264160 h 1577340"/>
                  <a:gd name="connsiteX16" fmla="*/ 279399 w 1094739"/>
                  <a:gd name="connsiteY16" fmla="*/ 375920 h 1577340"/>
                  <a:gd name="connsiteX17" fmla="*/ 284479 w 1094739"/>
                  <a:gd name="connsiteY17" fmla="*/ 528320 h 1577340"/>
                  <a:gd name="connsiteX18" fmla="*/ 406400 w 1094739"/>
                  <a:gd name="connsiteY18" fmla="*/ 579120 h 1577340"/>
                  <a:gd name="connsiteX19" fmla="*/ 444500 w 1094739"/>
                  <a:gd name="connsiteY19" fmla="*/ 358140 h 1577340"/>
                  <a:gd name="connsiteX20" fmla="*/ 365760 w 1094739"/>
                  <a:gd name="connsiteY20" fmla="*/ 106680 h 1577340"/>
                  <a:gd name="connsiteX21" fmla="*/ 299720 w 1094739"/>
                  <a:gd name="connsiteY21" fmla="*/ 40640 h 1577340"/>
                  <a:gd name="connsiteX22" fmla="*/ 375920 w 1094739"/>
                  <a:gd name="connsiteY22" fmla="*/ 91440 h 1577340"/>
                  <a:gd name="connsiteX23" fmla="*/ 411479 w 1094739"/>
                  <a:gd name="connsiteY23" fmla="*/ 167640 h 1577340"/>
                  <a:gd name="connsiteX24" fmla="*/ 502919 w 1094739"/>
                  <a:gd name="connsiteY24" fmla="*/ 0 h 1577340"/>
                  <a:gd name="connsiteX25" fmla="*/ 426719 w 1094739"/>
                  <a:gd name="connsiteY25" fmla="*/ 203200 h 1577340"/>
                  <a:gd name="connsiteX26" fmla="*/ 509605 w 1094739"/>
                  <a:gd name="connsiteY26" fmla="*/ 326624 h 1577340"/>
                  <a:gd name="connsiteX27" fmla="*/ 631189 w 1094739"/>
                  <a:gd name="connsiteY27" fmla="*/ 163830 h 1577340"/>
                  <a:gd name="connsiteX28" fmla="*/ 513080 w 1094739"/>
                  <a:gd name="connsiteY28" fmla="*/ 373380 h 1577340"/>
                  <a:gd name="connsiteX29" fmla="*/ 485140 w 1094739"/>
                  <a:gd name="connsiteY29" fmla="*/ 571500 h 1577340"/>
                  <a:gd name="connsiteX30" fmla="*/ 505460 w 1094739"/>
                  <a:gd name="connsiteY30" fmla="*/ 769620 h 1577340"/>
                  <a:gd name="connsiteX31" fmla="*/ 688339 w 1094739"/>
                  <a:gd name="connsiteY31" fmla="*/ 528320 h 1577340"/>
                  <a:gd name="connsiteX32" fmla="*/ 721359 w 1094739"/>
                  <a:gd name="connsiteY32" fmla="*/ 375920 h 1577340"/>
                  <a:gd name="connsiteX33" fmla="*/ 673099 w 1094739"/>
                  <a:gd name="connsiteY33" fmla="*/ 317500 h 1577340"/>
                  <a:gd name="connsiteX34" fmla="*/ 723899 w 1094739"/>
                  <a:gd name="connsiteY34" fmla="*/ 355600 h 1577340"/>
                  <a:gd name="connsiteX35" fmla="*/ 734060 w 1094739"/>
                  <a:gd name="connsiteY35" fmla="*/ 294640 h 1577340"/>
                  <a:gd name="connsiteX36" fmla="*/ 759459 w 1094739"/>
                  <a:gd name="connsiteY36" fmla="*/ 302260 h 1577340"/>
                  <a:gd name="connsiteX37" fmla="*/ 716279 w 1094739"/>
                  <a:gd name="connsiteY37" fmla="*/ 510540 h 1577340"/>
                  <a:gd name="connsiteX38" fmla="*/ 866139 w 1094739"/>
                  <a:gd name="connsiteY38" fmla="*/ 340360 h 1577340"/>
                  <a:gd name="connsiteX39" fmla="*/ 853440 w 1094739"/>
                  <a:gd name="connsiteY39" fmla="*/ 254000 h 1577340"/>
                  <a:gd name="connsiteX40" fmla="*/ 888999 w 1094739"/>
                  <a:gd name="connsiteY40" fmla="*/ 340360 h 1577340"/>
                  <a:gd name="connsiteX41" fmla="*/ 949959 w 1094739"/>
                  <a:gd name="connsiteY41" fmla="*/ 317500 h 1577340"/>
                  <a:gd name="connsiteX42" fmla="*/ 965199 w 1094739"/>
                  <a:gd name="connsiteY42" fmla="*/ 200660 h 1577340"/>
                  <a:gd name="connsiteX43" fmla="*/ 970279 w 1094739"/>
                  <a:gd name="connsiteY43" fmla="*/ 314960 h 1577340"/>
                  <a:gd name="connsiteX44" fmla="*/ 1094739 w 1094739"/>
                  <a:gd name="connsiteY44" fmla="*/ 271780 h 1577340"/>
                  <a:gd name="connsiteX45" fmla="*/ 876299 w 1094739"/>
                  <a:gd name="connsiteY45" fmla="*/ 375920 h 1577340"/>
                  <a:gd name="connsiteX46" fmla="*/ 739139 w 1094739"/>
                  <a:gd name="connsiteY46" fmla="*/ 530860 h 1577340"/>
                  <a:gd name="connsiteX47" fmla="*/ 673100 w 1094739"/>
                  <a:gd name="connsiteY47" fmla="*/ 640080 h 1577340"/>
                  <a:gd name="connsiteX48" fmla="*/ 812800 w 1094739"/>
                  <a:gd name="connsiteY48" fmla="*/ 546100 h 1577340"/>
                  <a:gd name="connsiteX49" fmla="*/ 850900 w 1094739"/>
                  <a:gd name="connsiteY49" fmla="*/ 548640 h 1577340"/>
                  <a:gd name="connsiteX50" fmla="*/ 652780 w 1094739"/>
                  <a:gd name="connsiteY50" fmla="*/ 680720 h 1577340"/>
                  <a:gd name="connsiteX51" fmla="*/ 513080 w 1094739"/>
                  <a:gd name="connsiteY51" fmla="*/ 876300 h 1577340"/>
                  <a:gd name="connsiteX52" fmla="*/ 520700 w 1094739"/>
                  <a:gd name="connsiteY52" fmla="*/ 1219200 h 1577340"/>
                  <a:gd name="connsiteX53" fmla="*/ 520700 w 1094739"/>
                  <a:gd name="connsiteY53" fmla="*/ 1577340 h 1577340"/>
                  <a:gd name="connsiteX54" fmla="*/ 337820 w 1094739"/>
                  <a:gd name="connsiteY54" fmla="*/ 1577340 h 1577340"/>
                  <a:gd name="connsiteX0" fmla="*/ 337820 w 1094739"/>
                  <a:gd name="connsiteY0" fmla="*/ 1577340 h 1577340"/>
                  <a:gd name="connsiteX1" fmla="*/ 396240 w 1094739"/>
                  <a:gd name="connsiteY1" fmla="*/ 1176020 h 1577340"/>
                  <a:gd name="connsiteX2" fmla="*/ 421640 w 1094739"/>
                  <a:gd name="connsiteY2" fmla="*/ 891540 h 1577340"/>
                  <a:gd name="connsiteX3" fmla="*/ 414020 w 1094739"/>
                  <a:gd name="connsiteY3" fmla="*/ 655320 h 1577340"/>
                  <a:gd name="connsiteX4" fmla="*/ 147320 w 1094739"/>
                  <a:gd name="connsiteY4" fmla="*/ 502920 h 1577340"/>
                  <a:gd name="connsiteX5" fmla="*/ 96520 w 1094739"/>
                  <a:gd name="connsiteY5" fmla="*/ 419100 h 1577340"/>
                  <a:gd name="connsiteX6" fmla="*/ 0 w 1094739"/>
                  <a:gd name="connsiteY6" fmla="*/ 340360 h 1577340"/>
                  <a:gd name="connsiteX7" fmla="*/ 96520 w 1094739"/>
                  <a:gd name="connsiteY7" fmla="*/ 383540 h 1577340"/>
                  <a:gd name="connsiteX8" fmla="*/ 109220 w 1094739"/>
                  <a:gd name="connsiteY8" fmla="*/ 259080 h 1577340"/>
                  <a:gd name="connsiteX9" fmla="*/ 119379 w 1094739"/>
                  <a:gd name="connsiteY9" fmla="*/ 396240 h 1577340"/>
                  <a:gd name="connsiteX10" fmla="*/ 177800 w 1094739"/>
                  <a:gd name="connsiteY10" fmla="*/ 485140 h 1577340"/>
                  <a:gd name="connsiteX11" fmla="*/ 256539 w 1094739"/>
                  <a:gd name="connsiteY11" fmla="*/ 518160 h 1577340"/>
                  <a:gd name="connsiteX12" fmla="*/ 259079 w 1094739"/>
                  <a:gd name="connsiteY12" fmla="*/ 370840 h 1577340"/>
                  <a:gd name="connsiteX13" fmla="*/ 210819 w 1094739"/>
                  <a:gd name="connsiteY13" fmla="*/ 276860 h 1577340"/>
                  <a:gd name="connsiteX14" fmla="*/ 271779 w 1094739"/>
                  <a:gd name="connsiteY14" fmla="*/ 345440 h 1577340"/>
                  <a:gd name="connsiteX15" fmla="*/ 327659 w 1094739"/>
                  <a:gd name="connsiteY15" fmla="*/ 264160 h 1577340"/>
                  <a:gd name="connsiteX16" fmla="*/ 279399 w 1094739"/>
                  <a:gd name="connsiteY16" fmla="*/ 375920 h 1577340"/>
                  <a:gd name="connsiteX17" fmla="*/ 284479 w 1094739"/>
                  <a:gd name="connsiteY17" fmla="*/ 528320 h 1577340"/>
                  <a:gd name="connsiteX18" fmla="*/ 406400 w 1094739"/>
                  <a:gd name="connsiteY18" fmla="*/ 579120 h 1577340"/>
                  <a:gd name="connsiteX19" fmla="*/ 487781 w 1094739"/>
                  <a:gd name="connsiteY19" fmla="*/ 353813 h 1577340"/>
                  <a:gd name="connsiteX20" fmla="*/ 365760 w 1094739"/>
                  <a:gd name="connsiteY20" fmla="*/ 106680 h 1577340"/>
                  <a:gd name="connsiteX21" fmla="*/ 299720 w 1094739"/>
                  <a:gd name="connsiteY21" fmla="*/ 40640 h 1577340"/>
                  <a:gd name="connsiteX22" fmla="*/ 375920 w 1094739"/>
                  <a:gd name="connsiteY22" fmla="*/ 91440 h 1577340"/>
                  <a:gd name="connsiteX23" fmla="*/ 411479 w 1094739"/>
                  <a:gd name="connsiteY23" fmla="*/ 167640 h 1577340"/>
                  <a:gd name="connsiteX24" fmla="*/ 502919 w 1094739"/>
                  <a:gd name="connsiteY24" fmla="*/ 0 h 1577340"/>
                  <a:gd name="connsiteX25" fmla="*/ 426719 w 1094739"/>
                  <a:gd name="connsiteY25" fmla="*/ 203200 h 1577340"/>
                  <a:gd name="connsiteX26" fmla="*/ 509605 w 1094739"/>
                  <a:gd name="connsiteY26" fmla="*/ 326624 h 1577340"/>
                  <a:gd name="connsiteX27" fmla="*/ 631189 w 1094739"/>
                  <a:gd name="connsiteY27" fmla="*/ 163830 h 1577340"/>
                  <a:gd name="connsiteX28" fmla="*/ 513080 w 1094739"/>
                  <a:gd name="connsiteY28" fmla="*/ 373380 h 1577340"/>
                  <a:gd name="connsiteX29" fmla="*/ 485140 w 1094739"/>
                  <a:gd name="connsiteY29" fmla="*/ 571500 h 1577340"/>
                  <a:gd name="connsiteX30" fmla="*/ 505460 w 1094739"/>
                  <a:gd name="connsiteY30" fmla="*/ 769620 h 1577340"/>
                  <a:gd name="connsiteX31" fmla="*/ 688339 w 1094739"/>
                  <a:gd name="connsiteY31" fmla="*/ 528320 h 1577340"/>
                  <a:gd name="connsiteX32" fmla="*/ 721359 w 1094739"/>
                  <a:gd name="connsiteY32" fmla="*/ 375920 h 1577340"/>
                  <a:gd name="connsiteX33" fmla="*/ 673099 w 1094739"/>
                  <a:gd name="connsiteY33" fmla="*/ 317500 h 1577340"/>
                  <a:gd name="connsiteX34" fmla="*/ 723899 w 1094739"/>
                  <a:gd name="connsiteY34" fmla="*/ 355600 h 1577340"/>
                  <a:gd name="connsiteX35" fmla="*/ 734060 w 1094739"/>
                  <a:gd name="connsiteY35" fmla="*/ 294640 h 1577340"/>
                  <a:gd name="connsiteX36" fmla="*/ 759459 w 1094739"/>
                  <a:gd name="connsiteY36" fmla="*/ 302260 h 1577340"/>
                  <a:gd name="connsiteX37" fmla="*/ 716279 w 1094739"/>
                  <a:gd name="connsiteY37" fmla="*/ 510540 h 1577340"/>
                  <a:gd name="connsiteX38" fmla="*/ 866139 w 1094739"/>
                  <a:gd name="connsiteY38" fmla="*/ 340360 h 1577340"/>
                  <a:gd name="connsiteX39" fmla="*/ 853440 w 1094739"/>
                  <a:gd name="connsiteY39" fmla="*/ 254000 h 1577340"/>
                  <a:gd name="connsiteX40" fmla="*/ 888999 w 1094739"/>
                  <a:gd name="connsiteY40" fmla="*/ 340360 h 1577340"/>
                  <a:gd name="connsiteX41" fmla="*/ 949959 w 1094739"/>
                  <a:gd name="connsiteY41" fmla="*/ 317500 h 1577340"/>
                  <a:gd name="connsiteX42" fmla="*/ 965199 w 1094739"/>
                  <a:gd name="connsiteY42" fmla="*/ 200660 h 1577340"/>
                  <a:gd name="connsiteX43" fmla="*/ 970279 w 1094739"/>
                  <a:gd name="connsiteY43" fmla="*/ 314960 h 1577340"/>
                  <a:gd name="connsiteX44" fmla="*/ 1094739 w 1094739"/>
                  <a:gd name="connsiteY44" fmla="*/ 271780 h 1577340"/>
                  <a:gd name="connsiteX45" fmla="*/ 876299 w 1094739"/>
                  <a:gd name="connsiteY45" fmla="*/ 375920 h 1577340"/>
                  <a:gd name="connsiteX46" fmla="*/ 739139 w 1094739"/>
                  <a:gd name="connsiteY46" fmla="*/ 530860 h 1577340"/>
                  <a:gd name="connsiteX47" fmla="*/ 673100 w 1094739"/>
                  <a:gd name="connsiteY47" fmla="*/ 640080 h 1577340"/>
                  <a:gd name="connsiteX48" fmla="*/ 812800 w 1094739"/>
                  <a:gd name="connsiteY48" fmla="*/ 546100 h 1577340"/>
                  <a:gd name="connsiteX49" fmla="*/ 850900 w 1094739"/>
                  <a:gd name="connsiteY49" fmla="*/ 548640 h 1577340"/>
                  <a:gd name="connsiteX50" fmla="*/ 652780 w 1094739"/>
                  <a:gd name="connsiteY50" fmla="*/ 680720 h 1577340"/>
                  <a:gd name="connsiteX51" fmla="*/ 513080 w 1094739"/>
                  <a:gd name="connsiteY51" fmla="*/ 876300 h 1577340"/>
                  <a:gd name="connsiteX52" fmla="*/ 520700 w 1094739"/>
                  <a:gd name="connsiteY52" fmla="*/ 1219200 h 1577340"/>
                  <a:gd name="connsiteX53" fmla="*/ 520700 w 1094739"/>
                  <a:gd name="connsiteY53" fmla="*/ 1577340 h 1577340"/>
                  <a:gd name="connsiteX54" fmla="*/ 337820 w 1094739"/>
                  <a:gd name="connsiteY54" fmla="*/ 1577340 h 1577340"/>
                  <a:gd name="connsiteX0" fmla="*/ 337820 w 1094739"/>
                  <a:gd name="connsiteY0" fmla="*/ 1636244 h 1636244"/>
                  <a:gd name="connsiteX1" fmla="*/ 396240 w 1094739"/>
                  <a:gd name="connsiteY1" fmla="*/ 1234924 h 1636244"/>
                  <a:gd name="connsiteX2" fmla="*/ 421640 w 1094739"/>
                  <a:gd name="connsiteY2" fmla="*/ 950444 h 1636244"/>
                  <a:gd name="connsiteX3" fmla="*/ 414020 w 1094739"/>
                  <a:gd name="connsiteY3" fmla="*/ 714224 h 1636244"/>
                  <a:gd name="connsiteX4" fmla="*/ 147320 w 1094739"/>
                  <a:gd name="connsiteY4" fmla="*/ 561824 h 1636244"/>
                  <a:gd name="connsiteX5" fmla="*/ 96520 w 1094739"/>
                  <a:gd name="connsiteY5" fmla="*/ 478004 h 1636244"/>
                  <a:gd name="connsiteX6" fmla="*/ 0 w 1094739"/>
                  <a:gd name="connsiteY6" fmla="*/ 399264 h 1636244"/>
                  <a:gd name="connsiteX7" fmla="*/ 96520 w 1094739"/>
                  <a:gd name="connsiteY7" fmla="*/ 442444 h 1636244"/>
                  <a:gd name="connsiteX8" fmla="*/ 109220 w 1094739"/>
                  <a:gd name="connsiteY8" fmla="*/ 317984 h 1636244"/>
                  <a:gd name="connsiteX9" fmla="*/ 119379 w 1094739"/>
                  <a:gd name="connsiteY9" fmla="*/ 455144 h 1636244"/>
                  <a:gd name="connsiteX10" fmla="*/ 177800 w 1094739"/>
                  <a:gd name="connsiteY10" fmla="*/ 544044 h 1636244"/>
                  <a:gd name="connsiteX11" fmla="*/ 256539 w 1094739"/>
                  <a:gd name="connsiteY11" fmla="*/ 577064 h 1636244"/>
                  <a:gd name="connsiteX12" fmla="*/ 259079 w 1094739"/>
                  <a:gd name="connsiteY12" fmla="*/ 429744 h 1636244"/>
                  <a:gd name="connsiteX13" fmla="*/ 210819 w 1094739"/>
                  <a:gd name="connsiteY13" fmla="*/ 335764 h 1636244"/>
                  <a:gd name="connsiteX14" fmla="*/ 271779 w 1094739"/>
                  <a:gd name="connsiteY14" fmla="*/ 404344 h 1636244"/>
                  <a:gd name="connsiteX15" fmla="*/ 327659 w 1094739"/>
                  <a:gd name="connsiteY15" fmla="*/ 323064 h 1636244"/>
                  <a:gd name="connsiteX16" fmla="*/ 279399 w 1094739"/>
                  <a:gd name="connsiteY16" fmla="*/ 434824 h 1636244"/>
                  <a:gd name="connsiteX17" fmla="*/ 284479 w 1094739"/>
                  <a:gd name="connsiteY17" fmla="*/ 587224 h 1636244"/>
                  <a:gd name="connsiteX18" fmla="*/ 406400 w 1094739"/>
                  <a:gd name="connsiteY18" fmla="*/ 638024 h 1636244"/>
                  <a:gd name="connsiteX19" fmla="*/ 487781 w 1094739"/>
                  <a:gd name="connsiteY19" fmla="*/ 412717 h 1636244"/>
                  <a:gd name="connsiteX20" fmla="*/ 365760 w 1094739"/>
                  <a:gd name="connsiteY20" fmla="*/ 165584 h 1636244"/>
                  <a:gd name="connsiteX21" fmla="*/ 338672 w 1094739"/>
                  <a:gd name="connsiteY21" fmla="*/ 0 h 1636244"/>
                  <a:gd name="connsiteX22" fmla="*/ 375920 w 1094739"/>
                  <a:gd name="connsiteY22" fmla="*/ 150344 h 1636244"/>
                  <a:gd name="connsiteX23" fmla="*/ 411479 w 1094739"/>
                  <a:gd name="connsiteY23" fmla="*/ 226544 h 1636244"/>
                  <a:gd name="connsiteX24" fmla="*/ 502919 w 1094739"/>
                  <a:gd name="connsiteY24" fmla="*/ 58904 h 1636244"/>
                  <a:gd name="connsiteX25" fmla="*/ 426719 w 1094739"/>
                  <a:gd name="connsiteY25" fmla="*/ 262104 h 1636244"/>
                  <a:gd name="connsiteX26" fmla="*/ 509605 w 1094739"/>
                  <a:gd name="connsiteY26" fmla="*/ 385528 h 1636244"/>
                  <a:gd name="connsiteX27" fmla="*/ 631189 w 1094739"/>
                  <a:gd name="connsiteY27" fmla="*/ 222734 h 1636244"/>
                  <a:gd name="connsiteX28" fmla="*/ 513080 w 1094739"/>
                  <a:gd name="connsiteY28" fmla="*/ 432284 h 1636244"/>
                  <a:gd name="connsiteX29" fmla="*/ 485140 w 1094739"/>
                  <a:gd name="connsiteY29" fmla="*/ 630404 h 1636244"/>
                  <a:gd name="connsiteX30" fmla="*/ 505460 w 1094739"/>
                  <a:gd name="connsiteY30" fmla="*/ 828524 h 1636244"/>
                  <a:gd name="connsiteX31" fmla="*/ 688339 w 1094739"/>
                  <a:gd name="connsiteY31" fmla="*/ 587224 h 1636244"/>
                  <a:gd name="connsiteX32" fmla="*/ 721359 w 1094739"/>
                  <a:gd name="connsiteY32" fmla="*/ 434824 h 1636244"/>
                  <a:gd name="connsiteX33" fmla="*/ 673099 w 1094739"/>
                  <a:gd name="connsiteY33" fmla="*/ 376404 h 1636244"/>
                  <a:gd name="connsiteX34" fmla="*/ 723899 w 1094739"/>
                  <a:gd name="connsiteY34" fmla="*/ 414504 h 1636244"/>
                  <a:gd name="connsiteX35" fmla="*/ 734060 w 1094739"/>
                  <a:gd name="connsiteY35" fmla="*/ 353544 h 1636244"/>
                  <a:gd name="connsiteX36" fmla="*/ 759459 w 1094739"/>
                  <a:gd name="connsiteY36" fmla="*/ 361164 h 1636244"/>
                  <a:gd name="connsiteX37" fmla="*/ 716279 w 1094739"/>
                  <a:gd name="connsiteY37" fmla="*/ 569444 h 1636244"/>
                  <a:gd name="connsiteX38" fmla="*/ 866139 w 1094739"/>
                  <a:gd name="connsiteY38" fmla="*/ 399264 h 1636244"/>
                  <a:gd name="connsiteX39" fmla="*/ 853440 w 1094739"/>
                  <a:gd name="connsiteY39" fmla="*/ 312904 h 1636244"/>
                  <a:gd name="connsiteX40" fmla="*/ 888999 w 1094739"/>
                  <a:gd name="connsiteY40" fmla="*/ 399264 h 1636244"/>
                  <a:gd name="connsiteX41" fmla="*/ 949959 w 1094739"/>
                  <a:gd name="connsiteY41" fmla="*/ 376404 h 1636244"/>
                  <a:gd name="connsiteX42" fmla="*/ 965199 w 1094739"/>
                  <a:gd name="connsiteY42" fmla="*/ 259564 h 1636244"/>
                  <a:gd name="connsiteX43" fmla="*/ 970279 w 1094739"/>
                  <a:gd name="connsiteY43" fmla="*/ 373864 h 1636244"/>
                  <a:gd name="connsiteX44" fmla="*/ 1094739 w 1094739"/>
                  <a:gd name="connsiteY44" fmla="*/ 330684 h 1636244"/>
                  <a:gd name="connsiteX45" fmla="*/ 876299 w 1094739"/>
                  <a:gd name="connsiteY45" fmla="*/ 434824 h 1636244"/>
                  <a:gd name="connsiteX46" fmla="*/ 739139 w 1094739"/>
                  <a:gd name="connsiteY46" fmla="*/ 589764 h 1636244"/>
                  <a:gd name="connsiteX47" fmla="*/ 673100 w 1094739"/>
                  <a:gd name="connsiteY47" fmla="*/ 698984 h 1636244"/>
                  <a:gd name="connsiteX48" fmla="*/ 812800 w 1094739"/>
                  <a:gd name="connsiteY48" fmla="*/ 605004 h 1636244"/>
                  <a:gd name="connsiteX49" fmla="*/ 850900 w 1094739"/>
                  <a:gd name="connsiteY49" fmla="*/ 607544 h 1636244"/>
                  <a:gd name="connsiteX50" fmla="*/ 652780 w 1094739"/>
                  <a:gd name="connsiteY50" fmla="*/ 739624 h 1636244"/>
                  <a:gd name="connsiteX51" fmla="*/ 513080 w 1094739"/>
                  <a:gd name="connsiteY51" fmla="*/ 935204 h 1636244"/>
                  <a:gd name="connsiteX52" fmla="*/ 520700 w 1094739"/>
                  <a:gd name="connsiteY52" fmla="*/ 1278104 h 1636244"/>
                  <a:gd name="connsiteX53" fmla="*/ 520700 w 1094739"/>
                  <a:gd name="connsiteY53" fmla="*/ 1636244 h 1636244"/>
                  <a:gd name="connsiteX54" fmla="*/ 337820 w 1094739"/>
                  <a:gd name="connsiteY54" fmla="*/ 1636244 h 1636244"/>
                  <a:gd name="connsiteX0" fmla="*/ 337820 w 1094739"/>
                  <a:gd name="connsiteY0" fmla="*/ 1636244 h 1636244"/>
                  <a:gd name="connsiteX1" fmla="*/ 396240 w 1094739"/>
                  <a:gd name="connsiteY1" fmla="*/ 1234924 h 1636244"/>
                  <a:gd name="connsiteX2" fmla="*/ 421640 w 1094739"/>
                  <a:gd name="connsiteY2" fmla="*/ 950444 h 1636244"/>
                  <a:gd name="connsiteX3" fmla="*/ 414020 w 1094739"/>
                  <a:gd name="connsiteY3" fmla="*/ 714224 h 1636244"/>
                  <a:gd name="connsiteX4" fmla="*/ 147320 w 1094739"/>
                  <a:gd name="connsiteY4" fmla="*/ 561824 h 1636244"/>
                  <a:gd name="connsiteX5" fmla="*/ 96520 w 1094739"/>
                  <a:gd name="connsiteY5" fmla="*/ 478004 h 1636244"/>
                  <a:gd name="connsiteX6" fmla="*/ 0 w 1094739"/>
                  <a:gd name="connsiteY6" fmla="*/ 399264 h 1636244"/>
                  <a:gd name="connsiteX7" fmla="*/ 96520 w 1094739"/>
                  <a:gd name="connsiteY7" fmla="*/ 442444 h 1636244"/>
                  <a:gd name="connsiteX8" fmla="*/ 109220 w 1094739"/>
                  <a:gd name="connsiteY8" fmla="*/ 317984 h 1636244"/>
                  <a:gd name="connsiteX9" fmla="*/ 119379 w 1094739"/>
                  <a:gd name="connsiteY9" fmla="*/ 455144 h 1636244"/>
                  <a:gd name="connsiteX10" fmla="*/ 177800 w 1094739"/>
                  <a:gd name="connsiteY10" fmla="*/ 544044 h 1636244"/>
                  <a:gd name="connsiteX11" fmla="*/ 256539 w 1094739"/>
                  <a:gd name="connsiteY11" fmla="*/ 577064 h 1636244"/>
                  <a:gd name="connsiteX12" fmla="*/ 259079 w 1094739"/>
                  <a:gd name="connsiteY12" fmla="*/ 429744 h 1636244"/>
                  <a:gd name="connsiteX13" fmla="*/ 210819 w 1094739"/>
                  <a:gd name="connsiteY13" fmla="*/ 335764 h 1636244"/>
                  <a:gd name="connsiteX14" fmla="*/ 271779 w 1094739"/>
                  <a:gd name="connsiteY14" fmla="*/ 404344 h 1636244"/>
                  <a:gd name="connsiteX15" fmla="*/ 327659 w 1094739"/>
                  <a:gd name="connsiteY15" fmla="*/ 323064 h 1636244"/>
                  <a:gd name="connsiteX16" fmla="*/ 279399 w 1094739"/>
                  <a:gd name="connsiteY16" fmla="*/ 434824 h 1636244"/>
                  <a:gd name="connsiteX17" fmla="*/ 284479 w 1094739"/>
                  <a:gd name="connsiteY17" fmla="*/ 587224 h 1636244"/>
                  <a:gd name="connsiteX18" fmla="*/ 406400 w 1094739"/>
                  <a:gd name="connsiteY18" fmla="*/ 638024 h 1636244"/>
                  <a:gd name="connsiteX19" fmla="*/ 487781 w 1094739"/>
                  <a:gd name="connsiteY19" fmla="*/ 412717 h 1636244"/>
                  <a:gd name="connsiteX20" fmla="*/ 365760 w 1094739"/>
                  <a:gd name="connsiteY20" fmla="*/ 165584 h 1636244"/>
                  <a:gd name="connsiteX21" fmla="*/ 338672 w 1094739"/>
                  <a:gd name="connsiteY21" fmla="*/ 0 h 1636244"/>
                  <a:gd name="connsiteX22" fmla="*/ 393232 w 1094739"/>
                  <a:gd name="connsiteY22" fmla="*/ 150344 h 1636244"/>
                  <a:gd name="connsiteX23" fmla="*/ 411479 w 1094739"/>
                  <a:gd name="connsiteY23" fmla="*/ 226544 h 1636244"/>
                  <a:gd name="connsiteX24" fmla="*/ 502919 w 1094739"/>
                  <a:gd name="connsiteY24" fmla="*/ 58904 h 1636244"/>
                  <a:gd name="connsiteX25" fmla="*/ 426719 w 1094739"/>
                  <a:gd name="connsiteY25" fmla="*/ 262104 h 1636244"/>
                  <a:gd name="connsiteX26" fmla="*/ 509605 w 1094739"/>
                  <a:gd name="connsiteY26" fmla="*/ 385528 h 1636244"/>
                  <a:gd name="connsiteX27" fmla="*/ 631189 w 1094739"/>
                  <a:gd name="connsiteY27" fmla="*/ 222734 h 1636244"/>
                  <a:gd name="connsiteX28" fmla="*/ 513080 w 1094739"/>
                  <a:gd name="connsiteY28" fmla="*/ 432284 h 1636244"/>
                  <a:gd name="connsiteX29" fmla="*/ 485140 w 1094739"/>
                  <a:gd name="connsiteY29" fmla="*/ 630404 h 1636244"/>
                  <a:gd name="connsiteX30" fmla="*/ 505460 w 1094739"/>
                  <a:gd name="connsiteY30" fmla="*/ 828524 h 1636244"/>
                  <a:gd name="connsiteX31" fmla="*/ 688339 w 1094739"/>
                  <a:gd name="connsiteY31" fmla="*/ 587224 h 1636244"/>
                  <a:gd name="connsiteX32" fmla="*/ 721359 w 1094739"/>
                  <a:gd name="connsiteY32" fmla="*/ 434824 h 1636244"/>
                  <a:gd name="connsiteX33" fmla="*/ 673099 w 1094739"/>
                  <a:gd name="connsiteY33" fmla="*/ 376404 h 1636244"/>
                  <a:gd name="connsiteX34" fmla="*/ 723899 w 1094739"/>
                  <a:gd name="connsiteY34" fmla="*/ 414504 h 1636244"/>
                  <a:gd name="connsiteX35" fmla="*/ 734060 w 1094739"/>
                  <a:gd name="connsiteY35" fmla="*/ 353544 h 1636244"/>
                  <a:gd name="connsiteX36" fmla="*/ 759459 w 1094739"/>
                  <a:gd name="connsiteY36" fmla="*/ 361164 h 1636244"/>
                  <a:gd name="connsiteX37" fmla="*/ 716279 w 1094739"/>
                  <a:gd name="connsiteY37" fmla="*/ 569444 h 1636244"/>
                  <a:gd name="connsiteX38" fmla="*/ 866139 w 1094739"/>
                  <a:gd name="connsiteY38" fmla="*/ 399264 h 1636244"/>
                  <a:gd name="connsiteX39" fmla="*/ 853440 w 1094739"/>
                  <a:gd name="connsiteY39" fmla="*/ 312904 h 1636244"/>
                  <a:gd name="connsiteX40" fmla="*/ 888999 w 1094739"/>
                  <a:gd name="connsiteY40" fmla="*/ 399264 h 1636244"/>
                  <a:gd name="connsiteX41" fmla="*/ 949959 w 1094739"/>
                  <a:gd name="connsiteY41" fmla="*/ 376404 h 1636244"/>
                  <a:gd name="connsiteX42" fmla="*/ 965199 w 1094739"/>
                  <a:gd name="connsiteY42" fmla="*/ 259564 h 1636244"/>
                  <a:gd name="connsiteX43" fmla="*/ 970279 w 1094739"/>
                  <a:gd name="connsiteY43" fmla="*/ 373864 h 1636244"/>
                  <a:gd name="connsiteX44" fmla="*/ 1094739 w 1094739"/>
                  <a:gd name="connsiteY44" fmla="*/ 330684 h 1636244"/>
                  <a:gd name="connsiteX45" fmla="*/ 876299 w 1094739"/>
                  <a:gd name="connsiteY45" fmla="*/ 434824 h 1636244"/>
                  <a:gd name="connsiteX46" fmla="*/ 739139 w 1094739"/>
                  <a:gd name="connsiteY46" fmla="*/ 589764 h 1636244"/>
                  <a:gd name="connsiteX47" fmla="*/ 673100 w 1094739"/>
                  <a:gd name="connsiteY47" fmla="*/ 698984 h 1636244"/>
                  <a:gd name="connsiteX48" fmla="*/ 812800 w 1094739"/>
                  <a:gd name="connsiteY48" fmla="*/ 605004 h 1636244"/>
                  <a:gd name="connsiteX49" fmla="*/ 850900 w 1094739"/>
                  <a:gd name="connsiteY49" fmla="*/ 607544 h 1636244"/>
                  <a:gd name="connsiteX50" fmla="*/ 652780 w 1094739"/>
                  <a:gd name="connsiteY50" fmla="*/ 739624 h 1636244"/>
                  <a:gd name="connsiteX51" fmla="*/ 513080 w 1094739"/>
                  <a:gd name="connsiteY51" fmla="*/ 935204 h 1636244"/>
                  <a:gd name="connsiteX52" fmla="*/ 520700 w 1094739"/>
                  <a:gd name="connsiteY52" fmla="*/ 1278104 h 1636244"/>
                  <a:gd name="connsiteX53" fmla="*/ 520700 w 1094739"/>
                  <a:gd name="connsiteY53" fmla="*/ 1636244 h 1636244"/>
                  <a:gd name="connsiteX54" fmla="*/ 337820 w 1094739"/>
                  <a:gd name="connsiteY54" fmla="*/ 1636244 h 1636244"/>
                  <a:gd name="connsiteX0" fmla="*/ 337820 w 1094739"/>
                  <a:gd name="connsiteY0" fmla="*/ 1636244 h 1636244"/>
                  <a:gd name="connsiteX1" fmla="*/ 396240 w 1094739"/>
                  <a:gd name="connsiteY1" fmla="*/ 1234924 h 1636244"/>
                  <a:gd name="connsiteX2" fmla="*/ 421640 w 1094739"/>
                  <a:gd name="connsiteY2" fmla="*/ 950444 h 1636244"/>
                  <a:gd name="connsiteX3" fmla="*/ 414020 w 1094739"/>
                  <a:gd name="connsiteY3" fmla="*/ 714224 h 1636244"/>
                  <a:gd name="connsiteX4" fmla="*/ 147320 w 1094739"/>
                  <a:gd name="connsiteY4" fmla="*/ 561824 h 1636244"/>
                  <a:gd name="connsiteX5" fmla="*/ 96520 w 1094739"/>
                  <a:gd name="connsiteY5" fmla="*/ 478004 h 1636244"/>
                  <a:gd name="connsiteX6" fmla="*/ 0 w 1094739"/>
                  <a:gd name="connsiteY6" fmla="*/ 399264 h 1636244"/>
                  <a:gd name="connsiteX7" fmla="*/ 96520 w 1094739"/>
                  <a:gd name="connsiteY7" fmla="*/ 442444 h 1636244"/>
                  <a:gd name="connsiteX8" fmla="*/ 109220 w 1094739"/>
                  <a:gd name="connsiteY8" fmla="*/ 317984 h 1636244"/>
                  <a:gd name="connsiteX9" fmla="*/ 119379 w 1094739"/>
                  <a:gd name="connsiteY9" fmla="*/ 455144 h 1636244"/>
                  <a:gd name="connsiteX10" fmla="*/ 177800 w 1094739"/>
                  <a:gd name="connsiteY10" fmla="*/ 544044 h 1636244"/>
                  <a:gd name="connsiteX11" fmla="*/ 256539 w 1094739"/>
                  <a:gd name="connsiteY11" fmla="*/ 577064 h 1636244"/>
                  <a:gd name="connsiteX12" fmla="*/ 259079 w 1094739"/>
                  <a:gd name="connsiteY12" fmla="*/ 429744 h 1636244"/>
                  <a:gd name="connsiteX13" fmla="*/ 210819 w 1094739"/>
                  <a:gd name="connsiteY13" fmla="*/ 335764 h 1636244"/>
                  <a:gd name="connsiteX14" fmla="*/ 271779 w 1094739"/>
                  <a:gd name="connsiteY14" fmla="*/ 404344 h 1636244"/>
                  <a:gd name="connsiteX15" fmla="*/ 327659 w 1094739"/>
                  <a:gd name="connsiteY15" fmla="*/ 323064 h 1636244"/>
                  <a:gd name="connsiteX16" fmla="*/ 279399 w 1094739"/>
                  <a:gd name="connsiteY16" fmla="*/ 434824 h 1636244"/>
                  <a:gd name="connsiteX17" fmla="*/ 284479 w 1094739"/>
                  <a:gd name="connsiteY17" fmla="*/ 587224 h 1636244"/>
                  <a:gd name="connsiteX18" fmla="*/ 406400 w 1094739"/>
                  <a:gd name="connsiteY18" fmla="*/ 638024 h 1636244"/>
                  <a:gd name="connsiteX19" fmla="*/ 487781 w 1094739"/>
                  <a:gd name="connsiteY19" fmla="*/ 412717 h 1636244"/>
                  <a:gd name="connsiteX20" fmla="*/ 365760 w 1094739"/>
                  <a:gd name="connsiteY20" fmla="*/ 165584 h 1636244"/>
                  <a:gd name="connsiteX21" fmla="*/ 338672 w 1094739"/>
                  <a:gd name="connsiteY21" fmla="*/ 0 h 1636244"/>
                  <a:gd name="connsiteX22" fmla="*/ 384576 w 1094739"/>
                  <a:gd name="connsiteY22" fmla="*/ 159000 h 1636244"/>
                  <a:gd name="connsiteX23" fmla="*/ 411479 w 1094739"/>
                  <a:gd name="connsiteY23" fmla="*/ 226544 h 1636244"/>
                  <a:gd name="connsiteX24" fmla="*/ 502919 w 1094739"/>
                  <a:gd name="connsiteY24" fmla="*/ 58904 h 1636244"/>
                  <a:gd name="connsiteX25" fmla="*/ 426719 w 1094739"/>
                  <a:gd name="connsiteY25" fmla="*/ 262104 h 1636244"/>
                  <a:gd name="connsiteX26" fmla="*/ 509605 w 1094739"/>
                  <a:gd name="connsiteY26" fmla="*/ 385528 h 1636244"/>
                  <a:gd name="connsiteX27" fmla="*/ 631189 w 1094739"/>
                  <a:gd name="connsiteY27" fmla="*/ 222734 h 1636244"/>
                  <a:gd name="connsiteX28" fmla="*/ 513080 w 1094739"/>
                  <a:gd name="connsiteY28" fmla="*/ 432284 h 1636244"/>
                  <a:gd name="connsiteX29" fmla="*/ 485140 w 1094739"/>
                  <a:gd name="connsiteY29" fmla="*/ 630404 h 1636244"/>
                  <a:gd name="connsiteX30" fmla="*/ 505460 w 1094739"/>
                  <a:gd name="connsiteY30" fmla="*/ 828524 h 1636244"/>
                  <a:gd name="connsiteX31" fmla="*/ 688339 w 1094739"/>
                  <a:gd name="connsiteY31" fmla="*/ 587224 h 1636244"/>
                  <a:gd name="connsiteX32" fmla="*/ 721359 w 1094739"/>
                  <a:gd name="connsiteY32" fmla="*/ 434824 h 1636244"/>
                  <a:gd name="connsiteX33" fmla="*/ 673099 w 1094739"/>
                  <a:gd name="connsiteY33" fmla="*/ 376404 h 1636244"/>
                  <a:gd name="connsiteX34" fmla="*/ 723899 w 1094739"/>
                  <a:gd name="connsiteY34" fmla="*/ 414504 h 1636244"/>
                  <a:gd name="connsiteX35" fmla="*/ 734060 w 1094739"/>
                  <a:gd name="connsiteY35" fmla="*/ 353544 h 1636244"/>
                  <a:gd name="connsiteX36" fmla="*/ 759459 w 1094739"/>
                  <a:gd name="connsiteY36" fmla="*/ 361164 h 1636244"/>
                  <a:gd name="connsiteX37" fmla="*/ 716279 w 1094739"/>
                  <a:gd name="connsiteY37" fmla="*/ 569444 h 1636244"/>
                  <a:gd name="connsiteX38" fmla="*/ 866139 w 1094739"/>
                  <a:gd name="connsiteY38" fmla="*/ 399264 h 1636244"/>
                  <a:gd name="connsiteX39" fmla="*/ 853440 w 1094739"/>
                  <a:gd name="connsiteY39" fmla="*/ 312904 h 1636244"/>
                  <a:gd name="connsiteX40" fmla="*/ 888999 w 1094739"/>
                  <a:gd name="connsiteY40" fmla="*/ 399264 h 1636244"/>
                  <a:gd name="connsiteX41" fmla="*/ 949959 w 1094739"/>
                  <a:gd name="connsiteY41" fmla="*/ 376404 h 1636244"/>
                  <a:gd name="connsiteX42" fmla="*/ 965199 w 1094739"/>
                  <a:gd name="connsiteY42" fmla="*/ 259564 h 1636244"/>
                  <a:gd name="connsiteX43" fmla="*/ 970279 w 1094739"/>
                  <a:gd name="connsiteY43" fmla="*/ 373864 h 1636244"/>
                  <a:gd name="connsiteX44" fmla="*/ 1094739 w 1094739"/>
                  <a:gd name="connsiteY44" fmla="*/ 330684 h 1636244"/>
                  <a:gd name="connsiteX45" fmla="*/ 876299 w 1094739"/>
                  <a:gd name="connsiteY45" fmla="*/ 434824 h 1636244"/>
                  <a:gd name="connsiteX46" fmla="*/ 739139 w 1094739"/>
                  <a:gd name="connsiteY46" fmla="*/ 589764 h 1636244"/>
                  <a:gd name="connsiteX47" fmla="*/ 673100 w 1094739"/>
                  <a:gd name="connsiteY47" fmla="*/ 698984 h 1636244"/>
                  <a:gd name="connsiteX48" fmla="*/ 812800 w 1094739"/>
                  <a:gd name="connsiteY48" fmla="*/ 605004 h 1636244"/>
                  <a:gd name="connsiteX49" fmla="*/ 850900 w 1094739"/>
                  <a:gd name="connsiteY49" fmla="*/ 607544 h 1636244"/>
                  <a:gd name="connsiteX50" fmla="*/ 652780 w 1094739"/>
                  <a:gd name="connsiteY50" fmla="*/ 739624 h 1636244"/>
                  <a:gd name="connsiteX51" fmla="*/ 513080 w 1094739"/>
                  <a:gd name="connsiteY51" fmla="*/ 935204 h 1636244"/>
                  <a:gd name="connsiteX52" fmla="*/ 520700 w 1094739"/>
                  <a:gd name="connsiteY52" fmla="*/ 1278104 h 1636244"/>
                  <a:gd name="connsiteX53" fmla="*/ 520700 w 1094739"/>
                  <a:gd name="connsiteY53" fmla="*/ 1636244 h 1636244"/>
                  <a:gd name="connsiteX54" fmla="*/ 337820 w 1094739"/>
                  <a:gd name="connsiteY54" fmla="*/ 1636244 h 1636244"/>
                  <a:gd name="connsiteX0" fmla="*/ 337820 w 1094739"/>
                  <a:gd name="connsiteY0" fmla="*/ 1636244 h 1636244"/>
                  <a:gd name="connsiteX1" fmla="*/ 396240 w 1094739"/>
                  <a:gd name="connsiteY1" fmla="*/ 1234924 h 1636244"/>
                  <a:gd name="connsiteX2" fmla="*/ 400000 w 1094739"/>
                  <a:gd name="connsiteY2" fmla="*/ 954771 h 1636244"/>
                  <a:gd name="connsiteX3" fmla="*/ 414020 w 1094739"/>
                  <a:gd name="connsiteY3" fmla="*/ 714224 h 1636244"/>
                  <a:gd name="connsiteX4" fmla="*/ 147320 w 1094739"/>
                  <a:gd name="connsiteY4" fmla="*/ 561824 h 1636244"/>
                  <a:gd name="connsiteX5" fmla="*/ 96520 w 1094739"/>
                  <a:gd name="connsiteY5" fmla="*/ 478004 h 1636244"/>
                  <a:gd name="connsiteX6" fmla="*/ 0 w 1094739"/>
                  <a:gd name="connsiteY6" fmla="*/ 399264 h 1636244"/>
                  <a:gd name="connsiteX7" fmla="*/ 96520 w 1094739"/>
                  <a:gd name="connsiteY7" fmla="*/ 442444 h 1636244"/>
                  <a:gd name="connsiteX8" fmla="*/ 109220 w 1094739"/>
                  <a:gd name="connsiteY8" fmla="*/ 317984 h 1636244"/>
                  <a:gd name="connsiteX9" fmla="*/ 119379 w 1094739"/>
                  <a:gd name="connsiteY9" fmla="*/ 455144 h 1636244"/>
                  <a:gd name="connsiteX10" fmla="*/ 177800 w 1094739"/>
                  <a:gd name="connsiteY10" fmla="*/ 544044 h 1636244"/>
                  <a:gd name="connsiteX11" fmla="*/ 256539 w 1094739"/>
                  <a:gd name="connsiteY11" fmla="*/ 577064 h 1636244"/>
                  <a:gd name="connsiteX12" fmla="*/ 259079 w 1094739"/>
                  <a:gd name="connsiteY12" fmla="*/ 429744 h 1636244"/>
                  <a:gd name="connsiteX13" fmla="*/ 210819 w 1094739"/>
                  <a:gd name="connsiteY13" fmla="*/ 335764 h 1636244"/>
                  <a:gd name="connsiteX14" fmla="*/ 271779 w 1094739"/>
                  <a:gd name="connsiteY14" fmla="*/ 404344 h 1636244"/>
                  <a:gd name="connsiteX15" fmla="*/ 327659 w 1094739"/>
                  <a:gd name="connsiteY15" fmla="*/ 323064 h 1636244"/>
                  <a:gd name="connsiteX16" fmla="*/ 279399 w 1094739"/>
                  <a:gd name="connsiteY16" fmla="*/ 434824 h 1636244"/>
                  <a:gd name="connsiteX17" fmla="*/ 284479 w 1094739"/>
                  <a:gd name="connsiteY17" fmla="*/ 587224 h 1636244"/>
                  <a:gd name="connsiteX18" fmla="*/ 406400 w 1094739"/>
                  <a:gd name="connsiteY18" fmla="*/ 638024 h 1636244"/>
                  <a:gd name="connsiteX19" fmla="*/ 487781 w 1094739"/>
                  <a:gd name="connsiteY19" fmla="*/ 412717 h 1636244"/>
                  <a:gd name="connsiteX20" fmla="*/ 365760 w 1094739"/>
                  <a:gd name="connsiteY20" fmla="*/ 165584 h 1636244"/>
                  <a:gd name="connsiteX21" fmla="*/ 338672 w 1094739"/>
                  <a:gd name="connsiteY21" fmla="*/ 0 h 1636244"/>
                  <a:gd name="connsiteX22" fmla="*/ 384576 w 1094739"/>
                  <a:gd name="connsiteY22" fmla="*/ 159000 h 1636244"/>
                  <a:gd name="connsiteX23" fmla="*/ 411479 w 1094739"/>
                  <a:gd name="connsiteY23" fmla="*/ 226544 h 1636244"/>
                  <a:gd name="connsiteX24" fmla="*/ 502919 w 1094739"/>
                  <a:gd name="connsiteY24" fmla="*/ 58904 h 1636244"/>
                  <a:gd name="connsiteX25" fmla="*/ 426719 w 1094739"/>
                  <a:gd name="connsiteY25" fmla="*/ 262104 h 1636244"/>
                  <a:gd name="connsiteX26" fmla="*/ 509605 w 1094739"/>
                  <a:gd name="connsiteY26" fmla="*/ 385528 h 1636244"/>
                  <a:gd name="connsiteX27" fmla="*/ 631189 w 1094739"/>
                  <a:gd name="connsiteY27" fmla="*/ 222734 h 1636244"/>
                  <a:gd name="connsiteX28" fmla="*/ 513080 w 1094739"/>
                  <a:gd name="connsiteY28" fmla="*/ 432284 h 1636244"/>
                  <a:gd name="connsiteX29" fmla="*/ 485140 w 1094739"/>
                  <a:gd name="connsiteY29" fmla="*/ 630404 h 1636244"/>
                  <a:gd name="connsiteX30" fmla="*/ 505460 w 1094739"/>
                  <a:gd name="connsiteY30" fmla="*/ 828524 h 1636244"/>
                  <a:gd name="connsiteX31" fmla="*/ 688339 w 1094739"/>
                  <a:gd name="connsiteY31" fmla="*/ 587224 h 1636244"/>
                  <a:gd name="connsiteX32" fmla="*/ 721359 w 1094739"/>
                  <a:gd name="connsiteY32" fmla="*/ 434824 h 1636244"/>
                  <a:gd name="connsiteX33" fmla="*/ 673099 w 1094739"/>
                  <a:gd name="connsiteY33" fmla="*/ 376404 h 1636244"/>
                  <a:gd name="connsiteX34" fmla="*/ 723899 w 1094739"/>
                  <a:gd name="connsiteY34" fmla="*/ 414504 h 1636244"/>
                  <a:gd name="connsiteX35" fmla="*/ 734060 w 1094739"/>
                  <a:gd name="connsiteY35" fmla="*/ 353544 h 1636244"/>
                  <a:gd name="connsiteX36" fmla="*/ 759459 w 1094739"/>
                  <a:gd name="connsiteY36" fmla="*/ 361164 h 1636244"/>
                  <a:gd name="connsiteX37" fmla="*/ 716279 w 1094739"/>
                  <a:gd name="connsiteY37" fmla="*/ 569444 h 1636244"/>
                  <a:gd name="connsiteX38" fmla="*/ 866139 w 1094739"/>
                  <a:gd name="connsiteY38" fmla="*/ 399264 h 1636244"/>
                  <a:gd name="connsiteX39" fmla="*/ 853440 w 1094739"/>
                  <a:gd name="connsiteY39" fmla="*/ 312904 h 1636244"/>
                  <a:gd name="connsiteX40" fmla="*/ 888999 w 1094739"/>
                  <a:gd name="connsiteY40" fmla="*/ 399264 h 1636244"/>
                  <a:gd name="connsiteX41" fmla="*/ 949959 w 1094739"/>
                  <a:gd name="connsiteY41" fmla="*/ 376404 h 1636244"/>
                  <a:gd name="connsiteX42" fmla="*/ 965199 w 1094739"/>
                  <a:gd name="connsiteY42" fmla="*/ 259564 h 1636244"/>
                  <a:gd name="connsiteX43" fmla="*/ 970279 w 1094739"/>
                  <a:gd name="connsiteY43" fmla="*/ 373864 h 1636244"/>
                  <a:gd name="connsiteX44" fmla="*/ 1094739 w 1094739"/>
                  <a:gd name="connsiteY44" fmla="*/ 330684 h 1636244"/>
                  <a:gd name="connsiteX45" fmla="*/ 876299 w 1094739"/>
                  <a:gd name="connsiteY45" fmla="*/ 434824 h 1636244"/>
                  <a:gd name="connsiteX46" fmla="*/ 739139 w 1094739"/>
                  <a:gd name="connsiteY46" fmla="*/ 589764 h 1636244"/>
                  <a:gd name="connsiteX47" fmla="*/ 673100 w 1094739"/>
                  <a:gd name="connsiteY47" fmla="*/ 698984 h 1636244"/>
                  <a:gd name="connsiteX48" fmla="*/ 812800 w 1094739"/>
                  <a:gd name="connsiteY48" fmla="*/ 605004 h 1636244"/>
                  <a:gd name="connsiteX49" fmla="*/ 850900 w 1094739"/>
                  <a:gd name="connsiteY49" fmla="*/ 607544 h 1636244"/>
                  <a:gd name="connsiteX50" fmla="*/ 652780 w 1094739"/>
                  <a:gd name="connsiteY50" fmla="*/ 739624 h 1636244"/>
                  <a:gd name="connsiteX51" fmla="*/ 513080 w 1094739"/>
                  <a:gd name="connsiteY51" fmla="*/ 935204 h 1636244"/>
                  <a:gd name="connsiteX52" fmla="*/ 520700 w 1094739"/>
                  <a:gd name="connsiteY52" fmla="*/ 1278104 h 1636244"/>
                  <a:gd name="connsiteX53" fmla="*/ 520700 w 1094739"/>
                  <a:gd name="connsiteY53" fmla="*/ 1636244 h 1636244"/>
                  <a:gd name="connsiteX54" fmla="*/ 337820 w 1094739"/>
                  <a:gd name="connsiteY54" fmla="*/ 1636244 h 1636244"/>
                  <a:gd name="connsiteX0" fmla="*/ 337820 w 1094739"/>
                  <a:gd name="connsiteY0" fmla="*/ 1636244 h 1636244"/>
                  <a:gd name="connsiteX1" fmla="*/ 396240 w 1094739"/>
                  <a:gd name="connsiteY1" fmla="*/ 1234924 h 1636244"/>
                  <a:gd name="connsiteX2" fmla="*/ 400000 w 1094739"/>
                  <a:gd name="connsiteY2" fmla="*/ 954771 h 1636244"/>
                  <a:gd name="connsiteX3" fmla="*/ 414020 w 1094739"/>
                  <a:gd name="connsiteY3" fmla="*/ 714224 h 1636244"/>
                  <a:gd name="connsiteX4" fmla="*/ 147320 w 1094739"/>
                  <a:gd name="connsiteY4" fmla="*/ 561824 h 1636244"/>
                  <a:gd name="connsiteX5" fmla="*/ 96520 w 1094739"/>
                  <a:gd name="connsiteY5" fmla="*/ 478004 h 1636244"/>
                  <a:gd name="connsiteX6" fmla="*/ 0 w 1094739"/>
                  <a:gd name="connsiteY6" fmla="*/ 399264 h 1636244"/>
                  <a:gd name="connsiteX7" fmla="*/ 96520 w 1094739"/>
                  <a:gd name="connsiteY7" fmla="*/ 442444 h 1636244"/>
                  <a:gd name="connsiteX8" fmla="*/ 109220 w 1094739"/>
                  <a:gd name="connsiteY8" fmla="*/ 317984 h 1636244"/>
                  <a:gd name="connsiteX9" fmla="*/ 119379 w 1094739"/>
                  <a:gd name="connsiteY9" fmla="*/ 455144 h 1636244"/>
                  <a:gd name="connsiteX10" fmla="*/ 177800 w 1094739"/>
                  <a:gd name="connsiteY10" fmla="*/ 544044 h 1636244"/>
                  <a:gd name="connsiteX11" fmla="*/ 256539 w 1094739"/>
                  <a:gd name="connsiteY11" fmla="*/ 577064 h 1636244"/>
                  <a:gd name="connsiteX12" fmla="*/ 259079 w 1094739"/>
                  <a:gd name="connsiteY12" fmla="*/ 429744 h 1636244"/>
                  <a:gd name="connsiteX13" fmla="*/ 210819 w 1094739"/>
                  <a:gd name="connsiteY13" fmla="*/ 335764 h 1636244"/>
                  <a:gd name="connsiteX14" fmla="*/ 271779 w 1094739"/>
                  <a:gd name="connsiteY14" fmla="*/ 404344 h 1636244"/>
                  <a:gd name="connsiteX15" fmla="*/ 327659 w 1094739"/>
                  <a:gd name="connsiteY15" fmla="*/ 323064 h 1636244"/>
                  <a:gd name="connsiteX16" fmla="*/ 279399 w 1094739"/>
                  <a:gd name="connsiteY16" fmla="*/ 434824 h 1636244"/>
                  <a:gd name="connsiteX17" fmla="*/ 284479 w 1094739"/>
                  <a:gd name="connsiteY17" fmla="*/ 587224 h 1636244"/>
                  <a:gd name="connsiteX18" fmla="*/ 406400 w 1094739"/>
                  <a:gd name="connsiteY18" fmla="*/ 638024 h 1636244"/>
                  <a:gd name="connsiteX19" fmla="*/ 487781 w 1094739"/>
                  <a:gd name="connsiteY19" fmla="*/ 412717 h 1636244"/>
                  <a:gd name="connsiteX20" fmla="*/ 365760 w 1094739"/>
                  <a:gd name="connsiteY20" fmla="*/ 165584 h 1636244"/>
                  <a:gd name="connsiteX21" fmla="*/ 338672 w 1094739"/>
                  <a:gd name="connsiteY21" fmla="*/ 0 h 1636244"/>
                  <a:gd name="connsiteX22" fmla="*/ 384576 w 1094739"/>
                  <a:gd name="connsiteY22" fmla="*/ 159000 h 1636244"/>
                  <a:gd name="connsiteX23" fmla="*/ 411479 w 1094739"/>
                  <a:gd name="connsiteY23" fmla="*/ 226544 h 1636244"/>
                  <a:gd name="connsiteX24" fmla="*/ 502919 w 1094739"/>
                  <a:gd name="connsiteY24" fmla="*/ 58904 h 1636244"/>
                  <a:gd name="connsiteX25" fmla="*/ 426719 w 1094739"/>
                  <a:gd name="connsiteY25" fmla="*/ 262104 h 1636244"/>
                  <a:gd name="connsiteX26" fmla="*/ 509605 w 1094739"/>
                  <a:gd name="connsiteY26" fmla="*/ 385528 h 1636244"/>
                  <a:gd name="connsiteX27" fmla="*/ 631189 w 1094739"/>
                  <a:gd name="connsiteY27" fmla="*/ 222734 h 1636244"/>
                  <a:gd name="connsiteX28" fmla="*/ 513080 w 1094739"/>
                  <a:gd name="connsiteY28" fmla="*/ 432284 h 1636244"/>
                  <a:gd name="connsiteX29" fmla="*/ 485140 w 1094739"/>
                  <a:gd name="connsiteY29" fmla="*/ 630404 h 1636244"/>
                  <a:gd name="connsiteX30" fmla="*/ 505460 w 1094739"/>
                  <a:gd name="connsiteY30" fmla="*/ 828524 h 1636244"/>
                  <a:gd name="connsiteX31" fmla="*/ 688339 w 1094739"/>
                  <a:gd name="connsiteY31" fmla="*/ 587224 h 1636244"/>
                  <a:gd name="connsiteX32" fmla="*/ 721359 w 1094739"/>
                  <a:gd name="connsiteY32" fmla="*/ 434824 h 1636244"/>
                  <a:gd name="connsiteX33" fmla="*/ 673099 w 1094739"/>
                  <a:gd name="connsiteY33" fmla="*/ 376404 h 1636244"/>
                  <a:gd name="connsiteX34" fmla="*/ 723899 w 1094739"/>
                  <a:gd name="connsiteY34" fmla="*/ 414504 h 1636244"/>
                  <a:gd name="connsiteX35" fmla="*/ 734060 w 1094739"/>
                  <a:gd name="connsiteY35" fmla="*/ 353544 h 1636244"/>
                  <a:gd name="connsiteX36" fmla="*/ 759459 w 1094739"/>
                  <a:gd name="connsiteY36" fmla="*/ 361164 h 1636244"/>
                  <a:gd name="connsiteX37" fmla="*/ 716279 w 1094739"/>
                  <a:gd name="connsiteY37" fmla="*/ 569444 h 1636244"/>
                  <a:gd name="connsiteX38" fmla="*/ 866139 w 1094739"/>
                  <a:gd name="connsiteY38" fmla="*/ 399264 h 1636244"/>
                  <a:gd name="connsiteX39" fmla="*/ 853440 w 1094739"/>
                  <a:gd name="connsiteY39" fmla="*/ 312904 h 1636244"/>
                  <a:gd name="connsiteX40" fmla="*/ 888999 w 1094739"/>
                  <a:gd name="connsiteY40" fmla="*/ 399264 h 1636244"/>
                  <a:gd name="connsiteX41" fmla="*/ 949959 w 1094739"/>
                  <a:gd name="connsiteY41" fmla="*/ 376404 h 1636244"/>
                  <a:gd name="connsiteX42" fmla="*/ 965199 w 1094739"/>
                  <a:gd name="connsiteY42" fmla="*/ 259564 h 1636244"/>
                  <a:gd name="connsiteX43" fmla="*/ 970279 w 1094739"/>
                  <a:gd name="connsiteY43" fmla="*/ 373864 h 1636244"/>
                  <a:gd name="connsiteX44" fmla="*/ 1094739 w 1094739"/>
                  <a:gd name="connsiteY44" fmla="*/ 330684 h 1636244"/>
                  <a:gd name="connsiteX45" fmla="*/ 876299 w 1094739"/>
                  <a:gd name="connsiteY45" fmla="*/ 434824 h 1636244"/>
                  <a:gd name="connsiteX46" fmla="*/ 739139 w 1094739"/>
                  <a:gd name="connsiteY46" fmla="*/ 589764 h 1636244"/>
                  <a:gd name="connsiteX47" fmla="*/ 673100 w 1094739"/>
                  <a:gd name="connsiteY47" fmla="*/ 698984 h 1636244"/>
                  <a:gd name="connsiteX48" fmla="*/ 812800 w 1094739"/>
                  <a:gd name="connsiteY48" fmla="*/ 605004 h 1636244"/>
                  <a:gd name="connsiteX49" fmla="*/ 850900 w 1094739"/>
                  <a:gd name="connsiteY49" fmla="*/ 607544 h 1636244"/>
                  <a:gd name="connsiteX50" fmla="*/ 652780 w 1094739"/>
                  <a:gd name="connsiteY50" fmla="*/ 739624 h 1636244"/>
                  <a:gd name="connsiteX51" fmla="*/ 495769 w 1094739"/>
                  <a:gd name="connsiteY51" fmla="*/ 926547 h 1636244"/>
                  <a:gd name="connsiteX52" fmla="*/ 520700 w 1094739"/>
                  <a:gd name="connsiteY52" fmla="*/ 1278104 h 1636244"/>
                  <a:gd name="connsiteX53" fmla="*/ 520700 w 1094739"/>
                  <a:gd name="connsiteY53" fmla="*/ 1636244 h 1636244"/>
                  <a:gd name="connsiteX54" fmla="*/ 337820 w 1094739"/>
                  <a:gd name="connsiteY54" fmla="*/ 1636244 h 1636244"/>
                  <a:gd name="connsiteX0" fmla="*/ 363788 w 1094739"/>
                  <a:gd name="connsiteY0" fmla="*/ 1640572 h 1640572"/>
                  <a:gd name="connsiteX1" fmla="*/ 396240 w 1094739"/>
                  <a:gd name="connsiteY1" fmla="*/ 1234924 h 1640572"/>
                  <a:gd name="connsiteX2" fmla="*/ 400000 w 1094739"/>
                  <a:gd name="connsiteY2" fmla="*/ 954771 h 1640572"/>
                  <a:gd name="connsiteX3" fmla="*/ 414020 w 1094739"/>
                  <a:gd name="connsiteY3" fmla="*/ 714224 h 1640572"/>
                  <a:gd name="connsiteX4" fmla="*/ 147320 w 1094739"/>
                  <a:gd name="connsiteY4" fmla="*/ 561824 h 1640572"/>
                  <a:gd name="connsiteX5" fmla="*/ 96520 w 1094739"/>
                  <a:gd name="connsiteY5" fmla="*/ 478004 h 1640572"/>
                  <a:gd name="connsiteX6" fmla="*/ 0 w 1094739"/>
                  <a:gd name="connsiteY6" fmla="*/ 399264 h 1640572"/>
                  <a:gd name="connsiteX7" fmla="*/ 96520 w 1094739"/>
                  <a:gd name="connsiteY7" fmla="*/ 442444 h 1640572"/>
                  <a:gd name="connsiteX8" fmla="*/ 109220 w 1094739"/>
                  <a:gd name="connsiteY8" fmla="*/ 317984 h 1640572"/>
                  <a:gd name="connsiteX9" fmla="*/ 119379 w 1094739"/>
                  <a:gd name="connsiteY9" fmla="*/ 455144 h 1640572"/>
                  <a:gd name="connsiteX10" fmla="*/ 177800 w 1094739"/>
                  <a:gd name="connsiteY10" fmla="*/ 544044 h 1640572"/>
                  <a:gd name="connsiteX11" fmla="*/ 256539 w 1094739"/>
                  <a:gd name="connsiteY11" fmla="*/ 577064 h 1640572"/>
                  <a:gd name="connsiteX12" fmla="*/ 259079 w 1094739"/>
                  <a:gd name="connsiteY12" fmla="*/ 429744 h 1640572"/>
                  <a:gd name="connsiteX13" fmla="*/ 210819 w 1094739"/>
                  <a:gd name="connsiteY13" fmla="*/ 335764 h 1640572"/>
                  <a:gd name="connsiteX14" fmla="*/ 271779 w 1094739"/>
                  <a:gd name="connsiteY14" fmla="*/ 404344 h 1640572"/>
                  <a:gd name="connsiteX15" fmla="*/ 327659 w 1094739"/>
                  <a:gd name="connsiteY15" fmla="*/ 323064 h 1640572"/>
                  <a:gd name="connsiteX16" fmla="*/ 279399 w 1094739"/>
                  <a:gd name="connsiteY16" fmla="*/ 434824 h 1640572"/>
                  <a:gd name="connsiteX17" fmla="*/ 284479 w 1094739"/>
                  <a:gd name="connsiteY17" fmla="*/ 587224 h 1640572"/>
                  <a:gd name="connsiteX18" fmla="*/ 406400 w 1094739"/>
                  <a:gd name="connsiteY18" fmla="*/ 638024 h 1640572"/>
                  <a:gd name="connsiteX19" fmla="*/ 487781 w 1094739"/>
                  <a:gd name="connsiteY19" fmla="*/ 412717 h 1640572"/>
                  <a:gd name="connsiteX20" fmla="*/ 365760 w 1094739"/>
                  <a:gd name="connsiteY20" fmla="*/ 165584 h 1640572"/>
                  <a:gd name="connsiteX21" fmla="*/ 338672 w 1094739"/>
                  <a:gd name="connsiteY21" fmla="*/ 0 h 1640572"/>
                  <a:gd name="connsiteX22" fmla="*/ 384576 w 1094739"/>
                  <a:gd name="connsiteY22" fmla="*/ 159000 h 1640572"/>
                  <a:gd name="connsiteX23" fmla="*/ 411479 w 1094739"/>
                  <a:gd name="connsiteY23" fmla="*/ 226544 h 1640572"/>
                  <a:gd name="connsiteX24" fmla="*/ 502919 w 1094739"/>
                  <a:gd name="connsiteY24" fmla="*/ 58904 h 1640572"/>
                  <a:gd name="connsiteX25" fmla="*/ 426719 w 1094739"/>
                  <a:gd name="connsiteY25" fmla="*/ 262104 h 1640572"/>
                  <a:gd name="connsiteX26" fmla="*/ 509605 w 1094739"/>
                  <a:gd name="connsiteY26" fmla="*/ 385528 h 1640572"/>
                  <a:gd name="connsiteX27" fmla="*/ 631189 w 1094739"/>
                  <a:gd name="connsiteY27" fmla="*/ 222734 h 1640572"/>
                  <a:gd name="connsiteX28" fmla="*/ 513080 w 1094739"/>
                  <a:gd name="connsiteY28" fmla="*/ 432284 h 1640572"/>
                  <a:gd name="connsiteX29" fmla="*/ 485140 w 1094739"/>
                  <a:gd name="connsiteY29" fmla="*/ 630404 h 1640572"/>
                  <a:gd name="connsiteX30" fmla="*/ 505460 w 1094739"/>
                  <a:gd name="connsiteY30" fmla="*/ 828524 h 1640572"/>
                  <a:gd name="connsiteX31" fmla="*/ 688339 w 1094739"/>
                  <a:gd name="connsiteY31" fmla="*/ 587224 h 1640572"/>
                  <a:gd name="connsiteX32" fmla="*/ 721359 w 1094739"/>
                  <a:gd name="connsiteY32" fmla="*/ 434824 h 1640572"/>
                  <a:gd name="connsiteX33" fmla="*/ 673099 w 1094739"/>
                  <a:gd name="connsiteY33" fmla="*/ 376404 h 1640572"/>
                  <a:gd name="connsiteX34" fmla="*/ 723899 w 1094739"/>
                  <a:gd name="connsiteY34" fmla="*/ 414504 h 1640572"/>
                  <a:gd name="connsiteX35" fmla="*/ 734060 w 1094739"/>
                  <a:gd name="connsiteY35" fmla="*/ 353544 h 1640572"/>
                  <a:gd name="connsiteX36" fmla="*/ 759459 w 1094739"/>
                  <a:gd name="connsiteY36" fmla="*/ 361164 h 1640572"/>
                  <a:gd name="connsiteX37" fmla="*/ 716279 w 1094739"/>
                  <a:gd name="connsiteY37" fmla="*/ 569444 h 1640572"/>
                  <a:gd name="connsiteX38" fmla="*/ 866139 w 1094739"/>
                  <a:gd name="connsiteY38" fmla="*/ 399264 h 1640572"/>
                  <a:gd name="connsiteX39" fmla="*/ 853440 w 1094739"/>
                  <a:gd name="connsiteY39" fmla="*/ 312904 h 1640572"/>
                  <a:gd name="connsiteX40" fmla="*/ 888999 w 1094739"/>
                  <a:gd name="connsiteY40" fmla="*/ 399264 h 1640572"/>
                  <a:gd name="connsiteX41" fmla="*/ 949959 w 1094739"/>
                  <a:gd name="connsiteY41" fmla="*/ 376404 h 1640572"/>
                  <a:gd name="connsiteX42" fmla="*/ 965199 w 1094739"/>
                  <a:gd name="connsiteY42" fmla="*/ 259564 h 1640572"/>
                  <a:gd name="connsiteX43" fmla="*/ 970279 w 1094739"/>
                  <a:gd name="connsiteY43" fmla="*/ 373864 h 1640572"/>
                  <a:gd name="connsiteX44" fmla="*/ 1094739 w 1094739"/>
                  <a:gd name="connsiteY44" fmla="*/ 330684 h 1640572"/>
                  <a:gd name="connsiteX45" fmla="*/ 876299 w 1094739"/>
                  <a:gd name="connsiteY45" fmla="*/ 434824 h 1640572"/>
                  <a:gd name="connsiteX46" fmla="*/ 739139 w 1094739"/>
                  <a:gd name="connsiteY46" fmla="*/ 589764 h 1640572"/>
                  <a:gd name="connsiteX47" fmla="*/ 673100 w 1094739"/>
                  <a:gd name="connsiteY47" fmla="*/ 698984 h 1640572"/>
                  <a:gd name="connsiteX48" fmla="*/ 812800 w 1094739"/>
                  <a:gd name="connsiteY48" fmla="*/ 605004 h 1640572"/>
                  <a:gd name="connsiteX49" fmla="*/ 850900 w 1094739"/>
                  <a:gd name="connsiteY49" fmla="*/ 607544 h 1640572"/>
                  <a:gd name="connsiteX50" fmla="*/ 652780 w 1094739"/>
                  <a:gd name="connsiteY50" fmla="*/ 739624 h 1640572"/>
                  <a:gd name="connsiteX51" fmla="*/ 495769 w 1094739"/>
                  <a:gd name="connsiteY51" fmla="*/ 926547 h 1640572"/>
                  <a:gd name="connsiteX52" fmla="*/ 520700 w 1094739"/>
                  <a:gd name="connsiteY52" fmla="*/ 1278104 h 1640572"/>
                  <a:gd name="connsiteX53" fmla="*/ 520700 w 1094739"/>
                  <a:gd name="connsiteY53" fmla="*/ 1636244 h 1640572"/>
                  <a:gd name="connsiteX54" fmla="*/ 363788 w 1094739"/>
                  <a:gd name="connsiteY54" fmla="*/ 1640572 h 1640572"/>
                  <a:gd name="connsiteX0" fmla="*/ 363788 w 1094739"/>
                  <a:gd name="connsiteY0" fmla="*/ 1640572 h 1640572"/>
                  <a:gd name="connsiteX1" fmla="*/ 396240 w 1094739"/>
                  <a:gd name="connsiteY1" fmla="*/ 1234924 h 1640572"/>
                  <a:gd name="connsiteX2" fmla="*/ 400000 w 1094739"/>
                  <a:gd name="connsiteY2" fmla="*/ 954771 h 1640572"/>
                  <a:gd name="connsiteX3" fmla="*/ 414020 w 1094739"/>
                  <a:gd name="connsiteY3" fmla="*/ 714224 h 1640572"/>
                  <a:gd name="connsiteX4" fmla="*/ 147320 w 1094739"/>
                  <a:gd name="connsiteY4" fmla="*/ 561824 h 1640572"/>
                  <a:gd name="connsiteX5" fmla="*/ 96520 w 1094739"/>
                  <a:gd name="connsiteY5" fmla="*/ 478004 h 1640572"/>
                  <a:gd name="connsiteX6" fmla="*/ 0 w 1094739"/>
                  <a:gd name="connsiteY6" fmla="*/ 399264 h 1640572"/>
                  <a:gd name="connsiteX7" fmla="*/ 96520 w 1094739"/>
                  <a:gd name="connsiteY7" fmla="*/ 442444 h 1640572"/>
                  <a:gd name="connsiteX8" fmla="*/ 109220 w 1094739"/>
                  <a:gd name="connsiteY8" fmla="*/ 317984 h 1640572"/>
                  <a:gd name="connsiteX9" fmla="*/ 119379 w 1094739"/>
                  <a:gd name="connsiteY9" fmla="*/ 455144 h 1640572"/>
                  <a:gd name="connsiteX10" fmla="*/ 177800 w 1094739"/>
                  <a:gd name="connsiteY10" fmla="*/ 544044 h 1640572"/>
                  <a:gd name="connsiteX11" fmla="*/ 256539 w 1094739"/>
                  <a:gd name="connsiteY11" fmla="*/ 577064 h 1640572"/>
                  <a:gd name="connsiteX12" fmla="*/ 259079 w 1094739"/>
                  <a:gd name="connsiteY12" fmla="*/ 429744 h 1640572"/>
                  <a:gd name="connsiteX13" fmla="*/ 210819 w 1094739"/>
                  <a:gd name="connsiteY13" fmla="*/ 335764 h 1640572"/>
                  <a:gd name="connsiteX14" fmla="*/ 271779 w 1094739"/>
                  <a:gd name="connsiteY14" fmla="*/ 404344 h 1640572"/>
                  <a:gd name="connsiteX15" fmla="*/ 327659 w 1094739"/>
                  <a:gd name="connsiteY15" fmla="*/ 323064 h 1640572"/>
                  <a:gd name="connsiteX16" fmla="*/ 279399 w 1094739"/>
                  <a:gd name="connsiteY16" fmla="*/ 434824 h 1640572"/>
                  <a:gd name="connsiteX17" fmla="*/ 284479 w 1094739"/>
                  <a:gd name="connsiteY17" fmla="*/ 587224 h 1640572"/>
                  <a:gd name="connsiteX18" fmla="*/ 406400 w 1094739"/>
                  <a:gd name="connsiteY18" fmla="*/ 638024 h 1640572"/>
                  <a:gd name="connsiteX19" fmla="*/ 487781 w 1094739"/>
                  <a:gd name="connsiteY19" fmla="*/ 412717 h 1640572"/>
                  <a:gd name="connsiteX20" fmla="*/ 365760 w 1094739"/>
                  <a:gd name="connsiteY20" fmla="*/ 165584 h 1640572"/>
                  <a:gd name="connsiteX21" fmla="*/ 338672 w 1094739"/>
                  <a:gd name="connsiteY21" fmla="*/ 0 h 1640572"/>
                  <a:gd name="connsiteX22" fmla="*/ 384576 w 1094739"/>
                  <a:gd name="connsiteY22" fmla="*/ 159000 h 1640572"/>
                  <a:gd name="connsiteX23" fmla="*/ 411479 w 1094739"/>
                  <a:gd name="connsiteY23" fmla="*/ 226544 h 1640572"/>
                  <a:gd name="connsiteX24" fmla="*/ 502919 w 1094739"/>
                  <a:gd name="connsiteY24" fmla="*/ 58904 h 1640572"/>
                  <a:gd name="connsiteX25" fmla="*/ 426719 w 1094739"/>
                  <a:gd name="connsiteY25" fmla="*/ 262104 h 1640572"/>
                  <a:gd name="connsiteX26" fmla="*/ 509605 w 1094739"/>
                  <a:gd name="connsiteY26" fmla="*/ 385528 h 1640572"/>
                  <a:gd name="connsiteX27" fmla="*/ 631189 w 1094739"/>
                  <a:gd name="connsiteY27" fmla="*/ 222734 h 1640572"/>
                  <a:gd name="connsiteX28" fmla="*/ 513080 w 1094739"/>
                  <a:gd name="connsiteY28" fmla="*/ 432284 h 1640572"/>
                  <a:gd name="connsiteX29" fmla="*/ 485140 w 1094739"/>
                  <a:gd name="connsiteY29" fmla="*/ 630404 h 1640572"/>
                  <a:gd name="connsiteX30" fmla="*/ 488149 w 1094739"/>
                  <a:gd name="connsiteY30" fmla="*/ 845837 h 1640572"/>
                  <a:gd name="connsiteX31" fmla="*/ 688339 w 1094739"/>
                  <a:gd name="connsiteY31" fmla="*/ 587224 h 1640572"/>
                  <a:gd name="connsiteX32" fmla="*/ 721359 w 1094739"/>
                  <a:gd name="connsiteY32" fmla="*/ 434824 h 1640572"/>
                  <a:gd name="connsiteX33" fmla="*/ 673099 w 1094739"/>
                  <a:gd name="connsiteY33" fmla="*/ 376404 h 1640572"/>
                  <a:gd name="connsiteX34" fmla="*/ 723899 w 1094739"/>
                  <a:gd name="connsiteY34" fmla="*/ 414504 h 1640572"/>
                  <a:gd name="connsiteX35" fmla="*/ 734060 w 1094739"/>
                  <a:gd name="connsiteY35" fmla="*/ 353544 h 1640572"/>
                  <a:gd name="connsiteX36" fmla="*/ 759459 w 1094739"/>
                  <a:gd name="connsiteY36" fmla="*/ 361164 h 1640572"/>
                  <a:gd name="connsiteX37" fmla="*/ 716279 w 1094739"/>
                  <a:gd name="connsiteY37" fmla="*/ 569444 h 1640572"/>
                  <a:gd name="connsiteX38" fmla="*/ 866139 w 1094739"/>
                  <a:gd name="connsiteY38" fmla="*/ 399264 h 1640572"/>
                  <a:gd name="connsiteX39" fmla="*/ 853440 w 1094739"/>
                  <a:gd name="connsiteY39" fmla="*/ 312904 h 1640572"/>
                  <a:gd name="connsiteX40" fmla="*/ 888999 w 1094739"/>
                  <a:gd name="connsiteY40" fmla="*/ 399264 h 1640572"/>
                  <a:gd name="connsiteX41" fmla="*/ 949959 w 1094739"/>
                  <a:gd name="connsiteY41" fmla="*/ 376404 h 1640572"/>
                  <a:gd name="connsiteX42" fmla="*/ 965199 w 1094739"/>
                  <a:gd name="connsiteY42" fmla="*/ 259564 h 1640572"/>
                  <a:gd name="connsiteX43" fmla="*/ 970279 w 1094739"/>
                  <a:gd name="connsiteY43" fmla="*/ 373864 h 1640572"/>
                  <a:gd name="connsiteX44" fmla="*/ 1094739 w 1094739"/>
                  <a:gd name="connsiteY44" fmla="*/ 330684 h 1640572"/>
                  <a:gd name="connsiteX45" fmla="*/ 876299 w 1094739"/>
                  <a:gd name="connsiteY45" fmla="*/ 434824 h 1640572"/>
                  <a:gd name="connsiteX46" fmla="*/ 739139 w 1094739"/>
                  <a:gd name="connsiteY46" fmla="*/ 589764 h 1640572"/>
                  <a:gd name="connsiteX47" fmla="*/ 673100 w 1094739"/>
                  <a:gd name="connsiteY47" fmla="*/ 698984 h 1640572"/>
                  <a:gd name="connsiteX48" fmla="*/ 812800 w 1094739"/>
                  <a:gd name="connsiteY48" fmla="*/ 605004 h 1640572"/>
                  <a:gd name="connsiteX49" fmla="*/ 850900 w 1094739"/>
                  <a:gd name="connsiteY49" fmla="*/ 607544 h 1640572"/>
                  <a:gd name="connsiteX50" fmla="*/ 652780 w 1094739"/>
                  <a:gd name="connsiteY50" fmla="*/ 739624 h 1640572"/>
                  <a:gd name="connsiteX51" fmla="*/ 495769 w 1094739"/>
                  <a:gd name="connsiteY51" fmla="*/ 926547 h 1640572"/>
                  <a:gd name="connsiteX52" fmla="*/ 520700 w 1094739"/>
                  <a:gd name="connsiteY52" fmla="*/ 1278104 h 1640572"/>
                  <a:gd name="connsiteX53" fmla="*/ 520700 w 1094739"/>
                  <a:gd name="connsiteY53" fmla="*/ 1636244 h 1640572"/>
                  <a:gd name="connsiteX54" fmla="*/ 363788 w 1094739"/>
                  <a:gd name="connsiteY54" fmla="*/ 1640572 h 1640572"/>
                  <a:gd name="connsiteX0" fmla="*/ 363788 w 1094739"/>
                  <a:gd name="connsiteY0" fmla="*/ 1640572 h 1640572"/>
                  <a:gd name="connsiteX1" fmla="*/ 396240 w 1094739"/>
                  <a:gd name="connsiteY1" fmla="*/ 1234924 h 1640572"/>
                  <a:gd name="connsiteX2" fmla="*/ 400000 w 1094739"/>
                  <a:gd name="connsiteY2" fmla="*/ 954771 h 1640572"/>
                  <a:gd name="connsiteX3" fmla="*/ 414020 w 1094739"/>
                  <a:gd name="connsiteY3" fmla="*/ 714224 h 1640572"/>
                  <a:gd name="connsiteX4" fmla="*/ 147320 w 1094739"/>
                  <a:gd name="connsiteY4" fmla="*/ 561824 h 1640572"/>
                  <a:gd name="connsiteX5" fmla="*/ 96520 w 1094739"/>
                  <a:gd name="connsiteY5" fmla="*/ 478004 h 1640572"/>
                  <a:gd name="connsiteX6" fmla="*/ 0 w 1094739"/>
                  <a:gd name="connsiteY6" fmla="*/ 399264 h 1640572"/>
                  <a:gd name="connsiteX7" fmla="*/ 96520 w 1094739"/>
                  <a:gd name="connsiteY7" fmla="*/ 442444 h 1640572"/>
                  <a:gd name="connsiteX8" fmla="*/ 109220 w 1094739"/>
                  <a:gd name="connsiteY8" fmla="*/ 317984 h 1640572"/>
                  <a:gd name="connsiteX9" fmla="*/ 119379 w 1094739"/>
                  <a:gd name="connsiteY9" fmla="*/ 455144 h 1640572"/>
                  <a:gd name="connsiteX10" fmla="*/ 177800 w 1094739"/>
                  <a:gd name="connsiteY10" fmla="*/ 544044 h 1640572"/>
                  <a:gd name="connsiteX11" fmla="*/ 256539 w 1094739"/>
                  <a:gd name="connsiteY11" fmla="*/ 577064 h 1640572"/>
                  <a:gd name="connsiteX12" fmla="*/ 259079 w 1094739"/>
                  <a:gd name="connsiteY12" fmla="*/ 429744 h 1640572"/>
                  <a:gd name="connsiteX13" fmla="*/ 210819 w 1094739"/>
                  <a:gd name="connsiteY13" fmla="*/ 335764 h 1640572"/>
                  <a:gd name="connsiteX14" fmla="*/ 271779 w 1094739"/>
                  <a:gd name="connsiteY14" fmla="*/ 404344 h 1640572"/>
                  <a:gd name="connsiteX15" fmla="*/ 327659 w 1094739"/>
                  <a:gd name="connsiteY15" fmla="*/ 323064 h 1640572"/>
                  <a:gd name="connsiteX16" fmla="*/ 279399 w 1094739"/>
                  <a:gd name="connsiteY16" fmla="*/ 434824 h 1640572"/>
                  <a:gd name="connsiteX17" fmla="*/ 284479 w 1094739"/>
                  <a:gd name="connsiteY17" fmla="*/ 587224 h 1640572"/>
                  <a:gd name="connsiteX18" fmla="*/ 432368 w 1094739"/>
                  <a:gd name="connsiteY18" fmla="*/ 646681 h 1640572"/>
                  <a:gd name="connsiteX19" fmla="*/ 487781 w 1094739"/>
                  <a:gd name="connsiteY19" fmla="*/ 412717 h 1640572"/>
                  <a:gd name="connsiteX20" fmla="*/ 365760 w 1094739"/>
                  <a:gd name="connsiteY20" fmla="*/ 165584 h 1640572"/>
                  <a:gd name="connsiteX21" fmla="*/ 338672 w 1094739"/>
                  <a:gd name="connsiteY21" fmla="*/ 0 h 1640572"/>
                  <a:gd name="connsiteX22" fmla="*/ 384576 w 1094739"/>
                  <a:gd name="connsiteY22" fmla="*/ 159000 h 1640572"/>
                  <a:gd name="connsiteX23" fmla="*/ 411479 w 1094739"/>
                  <a:gd name="connsiteY23" fmla="*/ 226544 h 1640572"/>
                  <a:gd name="connsiteX24" fmla="*/ 502919 w 1094739"/>
                  <a:gd name="connsiteY24" fmla="*/ 58904 h 1640572"/>
                  <a:gd name="connsiteX25" fmla="*/ 426719 w 1094739"/>
                  <a:gd name="connsiteY25" fmla="*/ 262104 h 1640572"/>
                  <a:gd name="connsiteX26" fmla="*/ 509605 w 1094739"/>
                  <a:gd name="connsiteY26" fmla="*/ 385528 h 1640572"/>
                  <a:gd name="connsiteX27" fmla="*/ 631189 w 1094739"/>
                  <a:gd name="connsiteY27" fmla="*/ 222734 h 1640572"/>
                  <a:gd name="connsiteX28" fmla="*/ 513080 w 1094739"/>
                  <a:gd name="connsiteY28" fmla="*/ 432284 h 1640572"/>
                  <a:gd name="connsiteX29" fmla="*/ 485140 w 1094739"/>
                  <a:gd name="connsiteY29" fmla="*/ 630404 h 1640572"/>
                  <a:gd name="connsiteX30" fmla="*/ 488149 w 1094739"/>
                  <a:gd name="connsiteY30" fmla="*/ 845837 h 1640572"/>
                  <a:gd name="connsiteX31" fmla="*/ 688339 w 1094739"/>
                  <a:gd name="connsiteY31" fmla="*/ 587224 h 1640572"/>
                  <a:gd name="connsiteX32" fmla="*/ 721359 w 1094739"/>
                  <a:gd name="connsiteY32" fmla="*/ 434824 h 1640572"/>
                  <a:gd name="connsiteX33" fmla="*/ 673099 w 1094739"/>
                  <a:gd name="connsiteY33" fmla="*/ 376404 h 1640572"/>
                  <a:gd name="connsiteX34" fmla="*/ 723899 w 1094739"/>
                  <a:gd name="connsiteY34" fmla="*/ 414504 h 1640572"/>
                  <a:gd name="connsiteX35" fmla="*/ 734060 w 1094739"/>
                  <a:gd name="connsiteY35" fmla="*/ 353544 h 1640572"/>
                  <a:gd name="connsiteX36" fmla="*/ 759459 w 1094739"/>
                  <a:gd name="connsiteY36" fmla="*/ 361164 h 1640572"/>
                  <a:gd name="connsiteX37" fmla="*/ 716279 w 1094739"/>
                  <a:gd name="connsiteY37" fmla="*/ 569444 h 1640572"/>
                  <a:gd name="connsiteX38" fmla="*/ 866139 w 1094739"/>
                  <a:gd name="connsiteY38" fmla="*/ 399264 h 1640572"/>
                  <a:gd name="connsiteX39" fmla="*/ 853440 w 1094739"/>
                  <a:gd name="connsiteY39" fmla="*/ 312904 h 1640572"/>
                  <a:gd name="connsiteX40" fmla="*/ 888999 w 1094739"/>
                  <a:gd name="connsiteY40" fmla="*/ 399264 h 1640572"/>
                  <a:gd name="connsiteX41" fmla="*/ 949959 w 1094739"/>
                  <a:gd name="connsiteY41" fmla="*/ 376404 h 1640572"/>
                  <a:gd name="connsiteX42" fmla="*/ 965199 w 1094739"/>
                  <a:gd name="connsiteY42" fmla="*/ 259564 h 1640572"/>
                  <a:gd name="connsiteX43" fmla="*/ 970279 w 1094739"/>
                  <a:gd name="connsiteY43" fmla="*/ 373864 h 1640572"/>
                  <a:gd name="connsiteX44" fmla="*/ 1094739 w 1094739"/>
                  <a:gd name="connsiteY44" fmla="*/ 330684 h 1640572"/>
                  <a:gd name="connsiteX45" fmla="*/ 876299 w 1094739"/>
                  <a:gd name="connsiteY45" fmla="*/ 434824 h 1640572"/>
                  <a:gd name="connsiteX46" fmla="*/ 739139 w 1094739"/>
                  <a:gd name="connsiteY46" fmla="*/ 589764 h 1640572"/>
                  <a:gd name="connsiteX47" fmla="*/ 673100 w 1094739"/>
                  <a:gd name="connsiteY47" fmla="*/ 698984 h 1640572"/>
                  <a:gd name="connsiteX48" fmla="*/ 812800 w 1094739"/>
                  <a:gd name="connsiteY48" fmla="*/ 605004 h 1640572"/>
                  <a:gd name="connsiteX49" fmla="*/ 850900 w 1094739"/>
                  <a:gd name="connsiteY49" fmla="*/ 607544 h 1640572"/>
                  <a:gd name="connsiteX50" fmla="*/ 652780 w 1094739"/>
                  <a:gd name="connsiteY50" fmla="*/ 739624 h 1640572"/>
                  <a:gd name="connsiteX51" fmla="*/ 495769 w 1094739"/>
                  <a:gd name="connsiteY51" fmla="*/ 926547 h 1640572"/>
                  <a:gd name="connsiteX52" fmla="*/ 520700 w 1094739"/>
                  <a:gd name="connsiteY52" fmla="*/ 1278104 h 1640572"/>
                  <a:gd name="connsiteX53" fmla="*/ 520700 w 1094739"/>
                  <a:gd name="connsiteY53" fmla="*/ 1636244 h 1640572"/>
                  <a:gd name="connsiteX54" fmla="*/ 363788 w 1094739"/>
                  <a:gd name="connsiteY54" fmla="*/ 1640572 h 1640572"/>
                  <a:gd name="connsiteX0" fmla="*/ 363788 w 1094739"/>
                  <a:gd name="connsiteY0" fmla="*/ 1640572 h 1640572"/>
                  <a:gd name="connsiteX1" fmla="*/ 396240 w 1094739"/>
                  <a:gd name="connsiteY1" fmla="*/ 1234924 h 1640572"/>
                  <a:gd name="connsiteX2" fmla="*/ 400000 w 1094739"/>
                  <a:gd name="connsiteY2" fmla="*/ 954771 h 1640572"/>
                  <a:gd name="connsiteX3" fmla="*/ 414020 w 1094739"/>
                  <a:gd name="connsiteY3" fmla="*/ 714224 h 1640572"/>
                  <a:gd name="connsiteX4" fmla="*/ 147320 w 1094739"/>
                  <a:gd name="connsiteY4" fmla="*/ 561824 h 1640572"/>
                  <a:gd name="connsiteX5" fmla="*/ 96520 w 1094739"/>
                  <a:gd name="connsiteY5" fmla="*/ 478004 h 1640572"/>
                  <a:gd name="connsiteX6" fmla="*/ 0 w 1094739"/>
                  <a:gd name="connsiteY6" fmla="*/ 399264 h 1640572"/>
                  <a:gd name="connsiteX7" fmla="*/ 96520 w 1094739"/>
                  <a:gd name="connsiteY7" fmla="*/ 442444 h 1640572"/>
                  <a:gd name="connsiteX8" fmla="*/ 109220 w 1094739"/>
                  <a:gd name="connsiteY8" fmla="*/ 317984 h 1640572"/>
                  <a:gd name="connsiteX9" fmla="*/ 119379 w 1094739"/>
                  <a:gd name="connsiteY9" fmla="*/ 455144 h 1640572"/>
                  <a:gd name="connsiteX10" fmla="*/ 203768 w 1094739"/>
                  <a:gd name="connsiteY10" fmla="*/ 539717 h 1640572"/>
                  <a:gd name="connsiteX11" fmla="*/ 256539 w 1094739"/>
                  <a:gd name="connsiteY11" fmla="*/ 577064 h 1640572"/>
                  <a:gd name="connsiteX12" fmla="*/ 259079 w 1094739"/>
                  <a:gd name="connsiteY12" fmla="*/ 429744 h 1640572"/>
                  <a:gd name="connsiteX13" fmla="*/ 210819 w 1094739"/>
                  <a:gd name="connsiteY13" fmla="*/ 335764 h 1640572"/>
                  <a:gd name="connsiteX14" fmla="*/ 271779 w 1094739"/>
                  <a:gd name="connsiteY14" fmla="*/ 404344 h 1640572"/>
                  <a:gd name="connsiteX15" fmla="*/ 327659 w 1094739"/>
                  <a:gd name="connsiteY15" fmla="*/ 323064 h 1640572"/>
                  <a:gd name="connsiteX16" fmla="*/ 279399 w 1094739"/>
                  <a:gd name="connsiteY16" fmla="*/ 434824 h 1640572"/>
                  <a:gd name="connsiteX17" fmla="*/ 284479 w 1094739"/>
                  <a:gd name="connsiteY17" fmla="*/ 587224 h 1640572"/>
                  <a:gd name="connsiteX18" fmla="*/ 432368 w 1094739"/>
                  <a:gd name="connsiteY18" fmla="*/ 646681 h 1640572"/>
                  <a:gd name="connsiteX19" fmla="*/ 487781 w 1094739"/>
                  <a:gd name="connsiteY19" fmla="*/ 412717 h 1640572"/>
                  <a:gd name="connsiteX20" fmla="*/ 365760 w 1094739"/>
                  <a:gd name="connsiteY20" fmla="*/ 165584 h 1640572"/>
                  <a:gd name="connsiteX21" fmla="*/ 338672 w 1094739"/>
                  <a:gd name="connsiteY21" fmla="*/ 0 h 1640572"/>
                  <a:gd name="connsiteX22" fmla="*/ 384576 w 1094739"/>
                  <a:gd name="connsiteY22" fmla="*/ 159000 h 1640572"/>
                  <a:gd name="connsiteX23" fmla="*/ 411479 w 1094739"/>
                  <a:gd name="connsiteY23" fmla="*/ 226544 h 1640572"/>
                  <a:gd name="connsiteX24" fmla="*/ 502919 w 1094739"/>
                  <a:gd name="connsiteY24" fmla="*/ 58904 h 1640572"/>
                  <a:gd name="connsiteX25" fmla="*/ 426719 w 1094739"/>
                  <a:gd name="connsiteY25" fmla="*/ 262104 h 1640572"/>
                  <a:gd name="connsiteX26" fmla="*/ 509605 w 1094739"/>
                  <a:gd name="connsiteY26" fmla="*/ 385528 h 1640572"/>
                  <a:gd name="connsiteX27" fmla="*/ 631189 w 1094739"/>
                  <a:gd name="connsiteY27" fmla="*/ 222734 h 1640572"/>
                  <a:gd name="connsiteX28" fmla="*/ 513080 w 1094739"/>
                  <a:gd name="connsiteY28" fmla="*/ 432284 h 1640572"/>
                  <a:gd name="connsiteX29" fmla="*/ 485140 w 1094739"/>
                  <a:gd name="connsiteY29" fmla="*/ 630404 h 1640572"/>
                  <a:gd name="connsiteX30" fmla="*/ 488149 w 1094739"/>
                  <a:gd name="connsiteY30" fmla="*/ 845837 h 1640572"/>
                  <a:gd name="connsiteX31" fmla="*/ 688339 w 1094739"/>
                  <a:gd name="connsiteY31" fmla="*/ 587224 h 1640572"/>
                  <a:gd name="connsiteX32" fmla="*/ 721359 w 1094739"/>
                  <a:gd name="connsiteY32" fmla="*/ 434824 h 1640572"/>
                  <a:gd name="connsiteX33" fmla="*/ 673099 w 1094739"/>
                  <a:gd name="connsiteY33" fmla="*/ 376404 h 1640572"/>
                  <a:gd name="connsiteX34" fmla="*/ 723899 w 1094739"/>
                  <a:gd name="connsiteY34" fmla="*/ 414504 h 1640572"/>
                  <a:gd name="connsiteX35" fmla="*/ 734060 w 1094739"/>
                  <a:gd name="connsiteY35" fmla="*/ 353544 h 1640572"/>
                  <a:gd name="connsiteX36" fmla="*/ 759459 w 1094739"/>
                  <a:gd name="connsiteY36" fmla="*/ 361164 h 1640572"/>
                  <a:gd name="connsiteX37" fmla="*/ 716279 w 1094739"/>
                  <a:gd name="connsiteY37" fmla="*/ 569444 h 1640572"/>
                  <a:gd name="connsiteX38" fmla="*/ 866139 w 1094739"/>
                  <a:gd name="connsiteY38" fmla="*/ 399264 h 1640572"/>
                  <a:gd name="connsiteX39" fmla="*/ 853440 w 1094739"/>
                  <a:gd name="connsiteY39" fmla="*/ 312904 h 1640572"/>
                  <a:gd name="connsiteX40" fmla="*/ 888999 w 1094739"/>
                  <a:gd name="connsiteY40" fmla="*/ 399264 h 1640572"/>
                  <a:gd name="connsiteX41" fmla="*/ 949959 w 1094739"/>
                  <a:gd name="connsiteY41" fmla="*/ 376404 h 1640572"/>
                  <a:gd name="connsiteX42" fmla="*/ 965199 w 1094739"/>
                  <a:gd name="connsiteY42" fmla="*/ 259564 h 1640572"/>
                  <a:gd name="connsiteX43" fmla="*/ 970279 w 1094739"/>
                  <a:gd name="connsiteY43" fmla="*/ 373864 h 1640572"/>
                  <a:gd name="connsiteX44" fmla="*/ 1094739 w 1094739"/>
                  <a:gd name="connsiteY44" fmla="*/ 330684 h 1640572"/>
                  <a:gd name="connsiteX45" fmla="*/ 876299 w 1094739"/>
                  <a:gd name="connsiteY45" fmla="*/ 434824 h 1640572"/>
                  <a:gd name="connsiteX46" fmla="*/ 739139 w 1094739"/>
                  <a:gd name="connsiteY46" fmla="*/ 589764 h 1640572"/>
                  <a:gd name="connsiteX47" fmla="*/ 673100 w 1094739"/>
                  <a:gd name="connsiteY47" fmla="*/ 698984 h 1640572"/>
                  <a:gd name="connsiteX48" fmla="*/ 812800 w 1094739"/>
                  <a:gd name="connsiteY48" fmla="*/ 605004 h 1640572"/>
                  <a:gd name="connsiteX49" fmla="*/ 850900 w 1094739"/>
                  <a:gd name="connsiteY49" fmla="*/ 607544 h 1640572"/>
                  <a:gd name="connsiteX50" fmla="*/ 652780 w 1094739"/>
                  <a:gd name="connsiteY50" fmla="*/ 739624 h 1640572"/>
                  <a:gd name="connsiteX51" fmla="*/ 495769 w 1094739"/>
                  <a:gd name="connsiteY51" fmla="*/ 926547 h 1640572"/>
                  <a:gd name="connsiteX52" fmla="*/ 520700 w 1094739"/>
                  <a:gd name="connsiteY52" fmla="*/ 1278104 h 1640572"/>
                  <a:gd name="connsiteX53" fmla="*/ 520700 w 1094739"/>
                  <a:gd name="connsiteY53" fmla="*/ 1636244 h 1640572"/>
                  <a:gd name="connsiteX54" fmla="*/ 363788 w 1094739"/>
                  <a:gd name="connsiteY54" fmla="*/ 1640572 h 1640572"/>
                  <a:gd name="connsiteX0" fmla="*/ 363788 w 1094739"/>
                  <a:gd name="connsiteY0" fmla="*/ 1640572 h 1640572"/>
                  <a:gd name="connsiteX1" fmla="*/ 396240 w 1094739"/>
                  <a:gd name="connsiteY1" fmla="*/ 1234924 h 1640572"/>
                  <a:gd name="connsiteX2" fmla="*/ 400000 w 1094739"/>
                  <a:gd name="connsiteY2" fmla="*/ 954771 h 1640572"/>
                  <a:gd name="connsiteX3" fmla="*/ 414020 w 1094739"/>
                  <a:gd name="connsiteY3" fmla="*/ 714224 h 1640572"/>
                  <a:gd name="connsiteX4" fmla="*/ 190600 w 1094739"/>
                  <a:gd name="connsiteY4" fmla="*/ 574809 h 1640572"/>
                  <a:gd name="connsiteX5" fmla="*/ 96520 w 1094739"/>
                  <a:gd name="connsiteY5" fmla="*/ 478004 h 1640572"/>
                  <a:gd name="connsiteX6" fmla="*/ 0 w 1094739"/>
                  <a:gd name="connsiteY6" fmla="*/ 399264 h 1640572"/>
                  <a:gd name="connsiteX7" fmla="*/ 96520 w 1094739"/>
                  <a:gd name="connsiteY7" fmla="*/ 442444 h 1640572"/>
                  <a:gd name="connsiteX8" fmla="*/ 109220 w 1094739"/>
                  <a:gd name="connsiteY8" fmla="*/ 317984 h 1640572"/>
                  <a:gd name="connsiteX9" fmla="*/ 119379 w 1094739"/>
                  <a:gd name="connsiteY9" fmla="*/ 455144 h 1640572"/>
                  <a:gd name="connsiteX10" fmla="*/ 203768 w 1094739"/>
                  <a:gd name="connsiteY10" fmla="*/ 539717 h 1640572"/>
                  <a:gd name="connsiteX11" fmla="*/ 256539 w 1094739"/>
                  <a:gd name="connsiteY11" fmla="*/ 577064 h 1640572"/>
                  <a:gd name="connsiteX12" fmla="*/ 259079 w 1094739"/>
                  <a:gd name="connsiteY12" fmla="*/ 429744 h 1640572"/>
                  <a:gd name="connsiteX13" fmla="*/ 210819 w 1094739"/>
                  <a:gd name="connsiteY13" fmla="*/ 335764 h 1640572"/>
                  <a:gd name="connsiteX14" fmla="*/ 271779 w 1094739"/>
                  <a:gd name="connsiteY14" fmla="*/ 404344 h 1640572"/>
                  <a:gd name="connsiteX15" fmla="*/ 327659 w 1094739"/>
                  <a:gd name="connsiteY15" fmla="*/ 323064 h 1640572"/>
                  <a:gd name="connsiteX16" fmla="*/ 279399 w 1094739"/>
                  <a:gd name="connsiteY16" fmla="*/ 434824 h 1640572"/>
                  <a:gd name="connsiteX17" fmla="*/ 284479 w 1094739"/>
                  <a:gd name="connsiteY17" fmla="*/ 587224 h 1640572"/>
                  <a:gd name="connsiteX18" fmla="*/ 432368 w 1094739"/>
                  <a:gd name="connsiteY18" fmla="*/ 646681 h 1640572"/>
                  <a:gd name="connsiteX19" fmla="*/ 487781 w 1094739"/>
                  <a:gd name="connsiteY19" fmla="*/ 412717 h 1640572"/>
                  <a:gd name="connsiteX20" fmla="*/ 365760 w 1094739"/>
                  <a:gd name="connsiteY20" fmla="*/ 165584 h 1640572"/>
                  <a:gd name="connsiteX21" fmla="*/ 338672 w 1094739"/>
                  <a:gd name="connsiteY21" fmla="*/ 0 h 1640572"/>
                  <a:gd name="connsiteX22" fmla="*/ 384576 w 1094739"/>
                  <a:gd name="connsiteY22" fmla="*/ 159000 h 1640572"/>
                  <a:gd name="connsiteX23" fmla="*/ 411479 w 1094739"/>
                  <a:gd name="connsiteY23" fmla="*/ 226544 h 1640572"/>
                  <a:gd name="connsiteX24" fmla="*/ 502919 w 1094739"/>
                  <a:gd name="connsiteY24" fmla="*/ 58904 h 1640572"/>
                  <a:gd name="connsiteX25" fmla="*/ 426719 w 1094739"/>
                  <a:gd name="connsiteY25" fmla="*/ 262104 h 1640572"/>
                  <a:gd name="connsiteX26" fmla="*/ 509605 w 1094739"/>
                  <a:gd name="connsiteY26" fmla="*/ 385528 h 1640572"/>
                  <a:gd name="connsiteX27" fmla="*/ 631189 w 1094739"/>
                  <a:gd name="connsiteY27" fmla="*/ 222734 h 1640572"/>
                  <a:gd name="connsiteX28" fmla="*/ 513080 w 1094739"/>
                  <a:gd name="connsiteY28" fmla="*/ 432284 h 1640572"/>
                  <a:gd name="connsiteX29" fmla="*/ 485140 w 1094739"/>
                  <a:gd name="connsiteY29" fmla="*/ 630404 h 1640572"/>
                  <a:gd name="connsiteX30" fmla="*/ 488149 w 1094739"/>
                  <a:gd name="connsiteY30" fmla="*/ 845837 h 1640572"/>
                  <a:gd name="connsiteX31" fmla="*/ 688339 w 1094739"/>
                  <a:gd name="connsiteY31" fmla="*/ 587224 h 1640572"/>
                  <a:gd name="connsiteX32" fmla="*/ 721359 w 1094739"/>
                  <a:gd name="connsiteY32" fmla="*/ 434824 h 1640572"/>
                  <a:gd name="connsiteX33" fmla="*/ 673099 w 1094739"/>
                  <a:gd name="connsiteY33" fmla="*/ 376404 h 1640572"/>
                  <a:gd name="connsiteX34" fmla="*/ 723899 w 1094739"/>
                  <a:gd name="connsiteY34" fmla="*/ 414504 h 1640572"/>
                  <a:gd name="connsiteX35" fmla="*/ 734060 w 1094739"/>
                  <a:gd name="connsiteY35" fmla="*/ 353544 h 1640572"/>
                  <a:gd name="connsiteX36" fmla="*/ 759459 w 1094739"/>
                  <a:gd name="connsiteY36" fmla="*/ 361164 h 1640572"/>
                  <a:gd name="connsiteX37" fmla="*/ 716279 w 1094739"/>
                  <a:gd name="connsiteY37" fmla="*/ 569444 h 1640572"/>
                  <a:gd name="connsiteX38" fmla="*/ 866139 w 1094739"/>
                  <a:gd name="connsiteY38" fmla="*/ 399264 h 1640572"/>
                  <a:gd name="connsiteX39" fmla="*/ 853440 w 1094739"/>
                  <a:gd name="connsiteY39" fmla="*/ 312904 h 1640572"/>
                  <a:gd name="connsiteX40" fmla="*/ 888999 w 1094739"/>
                  <a:gd name="connsiteY40" fmla="*/ 399264 h 1640572"/>
                  <a:gd name="connsiteX41" fmla="*/ 949959 w 1094739"/>
                  <a:gd name="connsiteY41" fmla="*/ 376404 h 1640572"/>
                  <a:gd name="connsiteX42" fmla="*/ 965199 w 1094739"/>
                  <a:gd name="connsiteY42" fmla="*/ 259564 h 1640572"/>
                  <a:gd name="connsiteX43" fmla="*/ 970279 w 1094739"/>
                  <a:gd name="connsiteY43" fmla="*/ 373864 h 1640572"/>
                  <a:gd name="connsiteX44" fmla="*/ 1094739 w 1094739"/>
                  <a:gd name="connsiteY44" fmla="*/ 330684 h 1640572"/>
                  <a:gd name="connsiteX45" fmla="*/ 876299 w 1094739"/>
                  <a:gd name="connsiteY45" fmla="*/ 434824 h 1640572"/>
                  <a:gd name="connsiteX46" fmla="*/ 739139 w 1094739"/>
                  <a:gd name="connsiteY46" fmla="*/ 589764 h 1640572"/>
                  <a:gd name="connsiteX47" fmla="*/ 673100 w 1094739"/>
                  <a:gd name="connsiteY47" fmla="*/ 698984 h 1640572"/>
                  <a:gd name="connsiteX48" fmla="*/ 812800 w 1094739"/>
                  <a:gd name="connsiteY48" fmla="*/ 605004 h 1640572"/>
                  <a:gd name="connsiteX49" fmla="*/ 850900 w 1094739"/>
                  <a:gd name="connsiteY49" fmla="*/ 607544 h 1640572"/>
                  <a:gd name="connsiteX50" fmla="*/ 652780 w 1094739"/>
                  <a:gd name="connsiteY50" fmla="*/ 739624 h 1640572"/>
                  <a:gd name="connsiteX51" fmla="*/ 495769 w 1094739"/>
                  <a:gd name="connsiteY51" fmla="*/ 926547 h 1640572"/>
                  <a:gd name="connsiteX52" fmla="*/ 520700 w 1094739"/>
                  <a:gd name="connsiteY52" fmla="*/ 1278104 h 1640572"/>
                  <a:gd name="connsiteX53" fmla="*/ 520700 w 1094739"/>
                  <a:gd name="connsiteY53" fmla="*/ 1636244 h 1640572"/>
                  <a:gd name="connsiteX54" fmla="*/ 363788 w 1094739"/>
                  <a:gd name="connsiteY54" fmla="*/ 1640572 h 1640572"/>
                  <a:gd name="connsiteX0" fmla="*/ 363788 w 1094739"/>
                  <a:gd name="connsiteY0" fmla="*/ 1640572 h 1640572"/>
                  <a:gd name="connsiteX1" fmla="*/ 396240 w 1094739"/>
                  <a:gd name="connsiteY1" fmla="*/ 1234924 h 1640572"/>
                  <a:gd name="connsiteX2" fmla="*/ 400000 w 1094739"/>
                  <a:gd name="connsiteY2" fmla="*/ 954771 h 1640572"/>
                  <a:gd name="connsiteX3" fmla="*/ 414020 w 1094739"/>
                  <a:gd name="connsiteY3" fmla="*/ 714224 h 1640572"/>
                  <a:gd name="connsiteX4" fmla="*/ 190600 w 1094739"/>
                  <a:gd name="connsiteY4" fmla="*/ 574809 h 1640572"/>
                  <a:gd name="connsiteX5" fmla="*/ 96520 w 1094739"/>
                  <a:gd name="connsiteY5" fmla="*/ 478004 h 1640572"/>
                  <a:gd name="connsiteX6" fmla="*/ 0 w 1094739"/>
                  <a:gd name="connsiteY6" fmla="*/ 399264 h 1640572"/>
                  <a:gd name="connsiteX7" fmla="*/ 96520 w 1094739"/>
                  <a:gd name="connsiteY7" fmla="*/ 442444 h 1640572"/>
                  <a:gd name="connsiteX8" fmla="*/ 109220 w 1094739"/>
                  <a:gd name="connsiteY8" fmla="*/ 317984 h 1640572"/>
                  <a:gd name="connsiteX9" fmla="*/ 119379 w 1094739"/>
                  <a:gd name="connsiteY9" fmla="*/ 455144 h 1640572"/>
                  <a:gd name="connsiteX10" fmla="*/ 203768 w 1094739"/>
                  <a:gd name="connsiteY10" fmla="*/ 539717 h 1640572"/>
                  <a:gd name="connsiteX11" fmla="*/ 256539 w 1094739"/>
                  <a:gd name="connsiteY11" fmla="*/ 577064 h 1640572"/>
                  <a:gd name="connsiteX12" fmla="*/ 259079 w 1094739"/>
                  <a:gd name="connsiteY12" fmla="*/ 429744 h 1640572"/>
                  <a:gd name="connsiteX13" fmla="*/ 210819 w 1094739"/>
                  <a:gd name="connsiteY13" fmla="*/ 335764 h 1640572"/>
                  <a:gd name="connsiteX14" fmla="*/ 271779 w 1094739"/>
                  <a:gd name="connsiteY14" fmla="*/ 404344 h 1640572"/>
                  <a:gd name="connsiteX15" fmla="*/ 279399 w 1094739"/>
                  <a:gd name="connsiteY15" fmla="*/ 434824 h 1640572"/>
                  <a:gd name="connsiteX16" fmla="*/ 284479 w 1094739"/>
                  <a:gd name="connsiteY16" fmla="*/ 587224 h 1640572"/>
                  <a:gd name="connsiteX17" fmla="*/ 432368 w 1094739"/>
                  <a:gd name="connsiteY17" fmla="*/ 646681 h 1640572"/>
                  <a:gd name="connsiteX18" fmla="*/ 487781 w 1094739"/>
                  <a:gd name="connsiteY18" fmla="*/ 412717 h 1640572"/>
                  <a:gd name="connsiteX19" fmla="*/ 365760 w 1094739"/>
                  <a:gd name="connsiteY19" fmla="*/ 165584 h 1640572"/>
                  <a:gd name="connsiteX20" fmla="*/ 338672 w 1094739"/>
                  <a:gd name="connsiteY20" fmla="*/ 0 h 1640572"/>
                  <a:gd name="connsiteX21" fmla="*/ 384576 w 1094739"/>
                  <a:gd name="connsiteY21" fmla="*/ 159000 h 1640572"/>
                  <a:gd name="connsiteX22" fmla="*/ 411479 w 1094739"/>
                  <a:gd name="connsiteY22" fmla="*/ 226544 h 1640572"/>
                  <a:gd name="connsiteX23" fmla="*/ 502919 w 1094739"/>
                  <a:gd name="connsiteY23" fmla="*/ 58904 h 1640572"/>
                  <a:gd name="connsiteX24" fmla="*/ 426719 w 1094739"/>
                  <a:gd name="connsiteY24" fmla="*/ 262104 h 1640572"/>
                  <a:gd name="connsiteX25" fmla="*/ 509605 w 1094739"/>
                  <a:gd name="connsiteY25" fmla="*/ 385528 h 1640572"/>
                  <a:gd name="connsiteX26" fmla="*/ 631189 w 1094739"/>
                  <a:gd name="connsiteY26" fmla="*/ 222734 h 1640572"/>
                  <a:gd name="connsiteX27" fmla="*/ 513080 w 1094739"/>
                  <a:gd name="connsiteY27" fmla="*/ 432284 h 1640572"/>
                  <a:gd name="connsiteX28" fmla="*/ 485140 w 1094739"/>
                  <a:gd name="connsiteY28" fmla="*/ 630404 h 1640572"/>
                  <a:gd name="connsiteX29" fmla="*/ 488149 w 1094739"/>
                  <a:gd name="connsiteY29" fmla="*/ 845837 h 1640572"/>
                  <a:gd name="connsiteX30" fmla="*/ 688339 w 1094739"/>
                  <a:gd name="connsiteY30" fmla="*/ 587224 h 1640572"/>
                  <a:gd name="connsiteX31" fmla="*/ 721359 w 1094739"/>
                  <a:gd name="connsiteY31" fmla="*/ 434824 h 1640572"/>
                  <a:gd name="connsiteX32" fmla="*/ 673099 w 1094739"/>
                  <a:gd name="connsiteY32" fmla="*/ 376404 h 1640572"/>
                  <a:gd name="connsiteX33" fmla="*/ 723899 w 1094739"/>
                  <a:gd name="connsiteY33" fmla="*/ 414504 h 1640572"/>
                  <a:gd name="connsiteX34" fmla="*/ 734060 w 1094739"/>
                  <a:gd name="connsiteY34" fmla="*/ 353544 h 1640572"/>
                  <a:gd name="connsiteX35" fmla="*/ 759459 w 1094739"/>
                  <a:gd name="connsiteY35" fmla="*/ 361164 h 1640572"/>
                  <a:gd name="connsiteX36" fmla="*/ 716279 w 1094739"/>
                  <a:gd name="connsiteY36" fmla="*/ 569444 h 1640572"/>
                  <a:gd name="connsiteX37" fmla="*/ 866139 w 1094739"/>
                  <a:gd name="connsiteY37" fmla="*/ 399264 h 1640572"/>
                  <a:gd name="connsiteX38" fmla="*/ 853440 w 1094739"/>
                  <a:gd name="connsiteY38" fmla="*/ 312904 h 1640572"/>
                  <a:gd name="connsiteX39" fmla="*/ 888999 w 1094739"/>
                  <a:gd name="connsiteY39" fmla="*/ 399264 h 1640572"/>
                  <a:gd name="connsiteX40" fmla="*/ 949959 w 1094739"/>
                  <a:gd name="connsiteY40" fmla="*/ 376404 h 1640572"/>
                  <a:gd name="connsiteX41" fmla="*/ 965199 w 1094739"/>
                  <a:gd name="connsiteY41" fmla="*/ 259564 h 1640572"/>
                  <a:gd name="connsiteX42" fmla="*/ 970279 w 1094739"/>
                  <a:gd name="connsiteY42" fmla="*/ 373864 h 1640572"/>
                  <a:gd name="connsiteX43" fmla="*/ 1094739 w 1094739"/>
                  <a:gd name="connsiteY43" fmla="*/ 330684 h 1640572"/>
                  <a:gd name="connsiteX44" fmla="*/ 876299 w 1094739"/>
                  <a:gd name="connsiteY44" fmla="*/ 434824 h 1640572"/>
                  <a:gd name="connsiteX45" fmla="*/ 739139 w 1094739"/>
                  <a:gd name="connsiteY45" fmla="*/ 589764 h 1640572"/>
                  <a:gd name="connsiteX46" fmla="*/ 673100 w 1094739"/>
                  <a:gd name="connsiteY46" fmla="*/ 698984 h 1640572"/>
                  <a:gd name="connsiteX47" fmla="*/ 812800 w 1094739"/>
                  <a:gd name="connsiteY47" fmla="*/ 605004 h 1640572"/>
                  <a:gd name="connsiteX48" fmla="*/ 850900 w 1094739"/>
                  <a:gd name="connsiteY48" fmla="*/ 607544 h 1640572"/>
                  <a:gd name="connsiteX49" fmla="*/ 652780 w 1094739"/>
                  <a:gd name="connsiteY49" fmla="*/ 739624 h 1640572"/>
                  <a:gd name="connsiteX50" fmla="*/ 495769 w 1094739"/>
                  <a:gd name="connsiteY50" fmla="*/ 926547 h 1640572"/>
                  <a:gd name="connsiteX51" fmla="*/ 520700 w 1094739"/>
                  <a:gd name="connsiteY51" fmla="*/ 1278104 h 1640572"/>
                  <a:gd name="connsiteX52" fmla="*/ 520700 w 1094739"/>
                  <a:gd name="connsiteY52" fmla="*/ 1636244 h 1640572"/>
                  <a:gd name="connsiteX53" fmla="*/ 363788 w 1094739"/>
                  <a:gd name="connsiteY53" fmla="*/ 1640572 h 1640572"/>
                  <a:gd name="connsiteX0" fmla="*/ 363788 w 1094739"/>
                  <a:gd name="connsiteY0" fmla="*/ 1640572 h 1640572"/>
                  <a:gd name="connsiteX1" fmla="*/ 396240 w 1094739"/>
                  <a:gd name="connsiteY1" fmla="*/ 1234924 h 1640572"/>
                  <a:gd name="connsiteX2" fmla="*/ 400000 w 1094739"/>
                  <a:gd name="connsiteY2" fmla="*/ 954771 h 1640572"/>
                  <a:gd name="connsiteX3" fmla="*/ 414020 w 1094739"/>
                  <a:gd name="connsiteY3" fmla="*/ 714224 h 1640572"/>
                  <a:gd name="connsiteX4" fmla="*/ 190600 w 1094739"/>
                  <a:gd name="connsiteY4" fmla="*/ 574809 h 1640572"/>
                  <a:gd name="connsiteX5" fmla="*/ 96520 w 1094739"/>
                  <a:gd name="connsiteY5" fmla="*/ 478004 h 1640572"/>
                  <a:gd name="connsiteX6" fmla="*/ 0 w 1094739"/>
                  <a:gd name="connsiteY6" fmla="*/ 399264 h 1640572"/>
                  <a:gd name="connsiteX7" fmla="*/ 96520 w 1094739"/>
                  <a:gd name="connsiteY7" fmla="*/ 442444 h 1640572"/>
                  <a:gd name="connsiteX8" fmla="*/ 109220 w 1094739"/>
                  <a:gd name="connsiteY8" fmla="*/ 317984 h 1640572"/>
                  <a:gd name="connsiteX9" fmla="*/ 119379 w 1094739"/>
                  <a:gd name="connsiteY9" fmla="*/ 455144 h 1640572"/>
                  <a:gd name="connsiteX10" fmla="*/ 203768 w 1094739"/>
                  <a:gd name="connsiteY10" fmla="*/ 539717 h 1640572"/>
                  <a:gd name="connsiteX11" fmla="*/ 256539 w 1094739"/>
                  <a:gd name="connsiteY11" fmla="*/ 577064 h 1640572"/>
                  <a:gd name="connsiteX12" fmla="*/ 259079 w 1094739"/>
                  <a:gd name="connsiteY12" fmla="*/ 429744 h 1640572"/>
                  <a:gd name="connsiteX13" fmla="*/ 210819 w 1094739"/>
                  <a:gd name="connsiteY13" fmla="*/ 335764 h 1640572"/>
                  <a:gd name="connsiteX14" fmla="*/ 279399 w 1094739"/>
                  <a:gd name="connsiteY14" fmla="*/ 434824 h 1640572"/>
                  <a:gd name="connsiteX15" fmla="*/ 284479 w 1094739"/>
                  <a:gd name="connsiteY15" fmla="*/ 587224 h 1640572"/>
                  <a:gd name="connsiteX16" fmla="*/ 432368 w 1094739"/>
                  <a:gd name="connsiteY16" fmla="*/ 646681 h 1640572"/>
                  <a:gd name="connsiteX17" fmla="*/ 487781 w 1094739"/>
                  <a:gd name="connsiteY17" fmla="*/ 412717 h 1640572"/>
                  <a:gd name="connsiteX18" fmla="*/ 365760 w 1094739"/>
                  <a:gd name="connsiteY18" fmla="*/ 165584 h 1640572"/>
                  <a:gd name="connsiteX19" fmla="*/ 338672 w 1094739"/>
                  <a:gd name="connsiteY19" fmla="*/ 0 h 1640572"/>
                  <a:gd name="connsiteX20" fmla="*/ 384576 w 1094739"/>
                  <a:gd name="connsiteY20" fmla="*/ 159000 h 1640572"/>
                  <a:gd name="connsiteX21" fmla="*/ 411479 w 1094739"/>
                  <a:gd name="connsiteY21" fmla="*/ 226544 h 1640572"/>
                  <a:gd name="connsiteX22" fmla="*/ 502919 w 1094739"/>
                  <a:gd name="connsiteY22" fmla="*/ 58904 h 1640572"/>
                  <a:gd name="connsiteX23" fmla="*/ 426719 w 1094739"/>
                  <a:gd name="connsiteY23" fmla="*/ 262104 h 1640572"/>
                  <a:gd name="connsiteX24" fmla="*/ 509605 w 1094739"/>
                  <a:gd name="connsiteY24" fmla="*/ 385528 h 1640572"/>
                  <a:gd name="connsiteX25" fmla="*/ 631189 w 1094739"/>
                  <a:gd name="connsiteY25" fmla="*/ 222734 h 1640572"/>
                  <a:gd name="connsiteX26" fmla="*/ 513080 w 1094739"/>
                  <a:gd name="connsiteY26" fmla="*/ 432284 h 1640572"/>
                  <a:gd name="connsiteX27" fmla="*/ 485140 w 1094739"/>
                  <a:gd name="connsiteY27" fmla="*/ 630404 h 1640572"/>
                  <a:gd name="connsiteX28" fmla="*/ 488149 w 1094739"/>
                  <a:gd name="connsiteY28" fmla="*/ 845837 h 1640572"/>
                  <a:gd name="connsiteX29" fmla="*/ 688339 w 1094739"/>
                  <a:gd name="connsiteY29" fmla="*/ 587224 h 1640572"/>
                  <a:gd name="connsiteX30" fmla="*/ 721359 w 1094739"/>
                  <a:gd name="connsiteY30" fmla="*/ 434824 h 1640572"/>
                  <a:gd name="connsiteX31" fmla="*/ 673099 w 1094739"/>
                  <a:gd name="connsiteY31" fmla="*/ 376404 h 1640572"/>
                  <a:gd name="connsiteX32" fmla="*/ 723899 w 1094739"/>
                  <a:gd name="connsiteY32" fmla="*/ 414504 h 1640572"/>
                  <a:gd name="connsiteX33" fmla="*/ 734060 w 1094739"/>
                  <a:gd name="connsiteY33" fmla="*/ 353544 h 1640572"/>
                  <a:gd name="connsiteX34" fmla="*/ 759459 w 1094739"/>
                  <a:gd name="connsiteY34" fmla="*/ 361164 h 1640572"/>
                  <a:gd name="connsiteX35" fmla="*/ 716279 w 1094739"/>
                  <a:gd name="connsiteY35" fmla="*/ 569444 h 1640572"/>
                  <a:gd name="connsiteX36" fmla="*/ 866139 w 1094739"/>
                  <a:gd name="connsiteY36" fmla="*/ 399264 h 1640572"/>
                  <a:gd name="connsiteX37" fmla="*/ 853440 w 1094739"/>
                  <a:gd name="connsiteY37" fmla="*/ 312904 h 1640572"/>
                  <a:gd name="connsiteX38" fmla="*/ 888999 w 1094739"/>
                  <a:gd name="connsiteY38" fmla="*/ 399264 h 1640572"/>
                  <a:gd name="connsiteX39" fmla="*/ 949959 w 1094739"/>
                  <a:gd name="connsiteY39" fmla="*/ 376404 h 1640572"/>
                  <a:gd name="connsiteX40" fmla="*/ 965199 w 1094739"/>
                  <a:gd name="connsiteY40" fmla="*/ 259564 h 1640572"/>
                  <a:gd name="connsiteX41" fmla="*/ 970279 w 1094739"/>
                  <a:gd name="connsiteY41" fmla="*/ 373864 h 1640572"/>
                  <a:gd name="connsiteX42" fmla="*/ 1094739 w 1094739"/>
                  <a:gd name="connsiteY42" fmla="*/ 330684 h 1640572"/>
                  <a:gd name="connsiteX43" fmla="*/ 876299 w 1094739"/>
                  <a:gd name="connsiteY43" fmla="*/ 434824 h 1640572"/>
                  <a:gd name="connsiteX44" fmla="*/ 739139 w 1094739"/>
                  <a:gd name="connsiteY44" fmla="*/ 589764 h 1640572"/>
                  <a:gd name="connsiteX45" fmla="*/ 673100 w 1094739"/>
                  <a:gd name="connsiteY45" fmla="*/ 698984 h 1640572"/>
                  <a:gd name="connsiteX46" fmla="*/ 812800 w 1094739"/>
                  <a:gd name="connsiteY46" fmla="*/ 605004 h 1640572"/>
                  <a:gd name="connsiteX47" fmla="*/ 850900 w 1094739"/>
                  <a:gd name="connsiteY47" fmla="*/ 607544 h 1640572"/>
                  <a:gd name="connsiteX48" fmla="*/ 652780 w 1094739"/>
                  <a:gd name="connsiteY48" fmla="*/ 739624 h 1640572"/>
                  <a:gd name="connsiteX49" fmla="*/ 495769 w 1094739"/>
                  <a:gd name="connsiteY49" fmla="*/ 926547 h 1640572"/>
                  <a:gd name="connsiteX50" fmla="*/ 520700 w 1094739"/>
                  <a:gd name="connsiteY50" fmla="*/ 1278104 h 1640572"/>
                  <a:gd name="connsiteX51" fmla="*/ 520700 w 1094739"/>
                  <a:gd name="connsiteY51" fmla="*/ 1636244 h 1640572"/>
                  <a:gd name="connsiteX52" fmla="*/ 363788 w 1094739"/>
                  <a:gd name="connsiteY52" fmla="*/ 1640572 h 1640572"/>
                  <a:gd name="connsiteX0" fmla="*/ 363788 w 1094739"/>
                  <a:gd name="connsiteY0" fmla="*/ 1640572 h 1640572"/>
                  <a:gd name="connsiteX1" fmla="*/ 396240 w 1094739"/>
                  <a:gd name="connsiteY1" fmla="*/ 1234924 h 1640572"/>
                  <a:gd name="connsiteX2" fmla="*/ 400000 w 1094739"/>
                  <a:gd name="connsiteY2" fmla="*/ 954771 h 1640572"/>
                  <a:gd name="connsiteX3" fmla="*/ 414020 w 1094739"/>
                  <a:gd name="connsiteY3" fmla="*/ 714224 h 1640572"/>
                  <a:gd name="connsiteX4" fmla="*/ 190600 w 1094739"/>
                  <a:gd name="connsiteY4" fmla="*/ 574809 h 1640572"/>
                  <a:gd name="connsiteX5" fmla="*/ 96520 w 1094739"/>
                  <a:gd name="connsiteY5" fmla="*/ 478004 h 1640572"/>
                  <a:gd name="connsiteX6" fmla="*/ 0 w 1094739"/>
                  <a:gd name="connsiteY6" fmla="*/ 399264 h 1640572"/>
                  <a:gd name="connsiteX7" fmla="*/ 96520 w 1094739"/>
                  <a:gd name="connsiteY7" fmla="*/ 442444 h 1640572"/>
                  <a:gd name="connsiteX8" fmla="*/ 109220 w 1094739"/>
                  <a:gd name="connsiteY8" fmla="*/ 317984 h 1640572"/>
                  <a:gd name="connsiteX9" fmla="*/ 119379 w 1094739"/>
                  <a:gd name="connsiteY9" fmla="*/ 455144 h 1640572"/>
                  <a:gd name="connsiteX10" fmla="*/ 203768 w 1094739"/>
                  <a:gd name="connsiteY10" fmla="*/ 539717 h 1640572"/>
                  <a:gd name="connsiteX11" fmla="*/ 256539 w 1094739"/>
                  <a:gd name="connsiteY11" fmla="*/ 577064 h 1640572"/>
                  <a:gd name="connsiteX12" fmla="*/ 259079 w 1094739"/>
                  <a:gd name="connsiteY12" fmla="*/ 429744 h 1640572"/>
                  <a:gd name="connsiteX13" fmla="*/ 279399 w 1094739"/>
                  <a:gd name="connsiteY13" fmla="*/ 434824 h 1640572"/>
                  <a:gd name="connsiteX14" fmla="*/ 284479 w 1094739"/>
                  <a:gd name="connsiteY14" fmla="*/ 587224 h 1640572"/>
                  <a:gd name="connsiteX15" fmla="*/ 432368 w 1094739"/>
                  <a:gd name="connsiteY15" fmla="*/ 646681 h 1640572"/>
                  <a:gd name="connsiteX16" fmla="*/ 487781 w 1094739"/>
                  <a:gd name="connsiteY16" fmla="*/ 412717 h 1640572"/>
                  <a:gd name="connsiteX17" fmla="*/ 365760 w 1094739"/>
                  <a:gd name="connsiteY17" fmla="*/ 165584 h 1640572"/>
                  <a:gd name="connsiteX18" fmla="*/ 338672 w 1094739"/>
                  <a:gd name="connsiteY18" fmla="*/ 0 h 1640572"/>
                  <a:gd name="connsiteX19" fmla="*/ 384576 w 1094739"/>
                  <a:gd name="connsiteY19" fmla="*/ 159000 h 1640572"/>
                  <a:gd name="connsiteX20" fmla="*/ 411479 w 1094739"/>
                  <a:gd name="connsiteY20" fmla="*/ 226544 h 1640572"/>
                  <a:gd name="connsiteX21" fmla="*/ 502919 w 1094739"/>
                  <a:gd name="connsiteY21" fmla="*/ 58904 h 1640572"/>
                  <a:gd name="connsiteX22" fmla="*/ 426719 w 1094739"/>
                  <a:gd name="connsiteY22" fmla="*/ 262104 h 1640572"/>
                  <a:gd name="connsiteX23" fmla="*/ 509605 w 1094739"/>
                  <a:gd name="connsiteY23" fmla="*/ 385528 h 1640572"/>
                  <a:gd name="connsiteX24" fmla="*/ 631189 w 1094739"/>
                  <a:gd name="connsiteY24" fmla="*/ 222734 h 1640572"/>
                  <a:gd name="connsiteX25" fmla="*/ 513080 w 1094739"/>
                  <a:gd name="connsiteY25" fmla="*/ 432284 h 1640572"/>
                  <a:gd name="connsiteX26" fmla="*/ 485140 w 1094739"/>
                  <a:gd name="connsiteY26" fmla="*/ 630404 h 1640572"/>
                  <a:gd name="connsiteX27" fmla="*/ 488149 w 1094739"/>
                  <a:gd name="connsiteY27" fmla="*/ 845837 h 1640572"/>
                  <a:gd name="connsiteX28" fmla="*/ 688339 w 1094739"/>
                  <a:gd name="connsiteY28" fmla="*/ 587224 h 1640572"/>
                  <a:gd name="connsiteX29" fmla="*/ 721359 w 1094739"/>
                  <a:gd name="connsiteY29" fmla="*/ 434824 h 1640572"/>
                  <a:gd name="connsiteX30" fmla="*/ 673099 w 1094739"/>
                  <a:gd name="connsiteY30" fmla="*/ 376404 h 1640572"/>
                  <a:gd name="connsiteX31" fmla="*/ 723899 w 1094739"/>
                  <a:gd name="connsiteY31" fmla="*/ 414504 h 1640572"/>
                  <a:gd name="connsiteX32" fmla="*/ 734060 w 1094739"/>
                  <a:gd name="connsiteY32" fmla="*/ 353544 h 1640572"/>
                  <a:gd name="connsiteX33" fmla="*/ 759459 w 1094739"/>
                  <a:gd name="connsiteY33" fmla="*/ 361164 h 1640572"/>
                  <a:gd name="connsiteX34" fmla="*/ 716279 w 1094739"/>
                  <a:gd name="connsiteY34" fmla="*/ 569444 h 1640572"/>
                  <a:gd name="connsiteX35" fmla="*/ 866139 w 1094739"/>
                  <a:gd name="connsiteY35" fmla="*/ 399264 h 1640572"/>
                  <a:gd name="connsiteX36" fmla="*/ 853440 w 1094739"/>
                  <a:gd name="connsiteY36" fmla="*/ 312904 h 1640572"/>
                  <a:gd name="connsiteX37" fmla="*/ 888999 w 1094739"/>
                  <a:gd name="connsiteY37" fmla="*/ 399264 h 1640572"/>
                  <a:gd name="connsiteX38" fmla="*/ 949959 w 1094739"/>
                  <a:gd name="connsiteY38" fmla="*/ 376404 h 1640572"/>
                  <a:gd name="connsiteX39" fmla="*/ 965199 w 1094739"/>
                  <a:gd name="connsiteY39" fmla="*/ 259564 h 1640572"/>
                  <a:gd name="connsiteX40" fmla="*/ 970279 w 1094739"/>
                  <a:gd name="connsiteY40" fmla="*/ 373864 h 1640572"/>
                  <a:gd name="connsiteX41" fmla="*/ 1094739 w 1094739"/>
                  <a:gd name="connsiteY41" fmla="*/ 330684 h 1640572"/>
                  <a:gd name="connsiteX42" fmla="*/ 876299 w 1094739"/>
                  <a:gd name="connsiteY42" fmla="*/ 434824 h 1640572"/>
                  <a:gd name="connsiteX43" fmla="*/ 739139 w 1094739"/>
                  <a:gd name="connsiteY43" fmla="*/ 589764 h 1640572"/>
                  <a:gd name="connsiteX44" fmla="*/ 673100 w 1094739"/>
                  <a:gd name="connsiteY44" fmla="*/ 698984 h 1640572"/>
                  <a:gd name="connsiteX45" fmla="*/ 812800 w 1094739"/>
                  <a:gd name="connsiteY45" fmla="*/ 605004 h 1640572"/>
                  <a:gd name="connsiteX46" fmla="*/ 850900 w 1094739"/>
                  <a:gd name="connsiteY46" fmla="*/ 607544 h 1640572"/>
                  <a:gd name="connsiteX47" fmla="*/ 652780 w 1094739"/>
                  <a:gd name="connsiteY47" fmla="*/ 739624 h 1640572"/>
                  <a:gd name="connsiteX48" fmla="*/ 495769 w 1094739"/>
                  <a:gd name="connsiteY48" fmla="*/ 926547 h 1640572"/>
                  <a:gd name="connsiteX49" fmla="*/ 520700 w 1094739"/>
                  <a:gd name="connsiteY49" fmla="*/ 1278104 h 1640572"/>
                  <a:gd name="connsiteX50" fmla="*/ 520700 w 1094739"/>
                  <a:gd name="connsiteY50" fmla="*/ 1636244 h 1640572"/>
                  <a:gd name="connsiteX51" fmla="*/ 363788 w 1094739"/>
                  <a:gd name="connsiteY51" fmla="*/ 1640572 h 1640572"/>
                  <a:gd name="connsiteX0" fmla="*/ 363788 w 1094739"/>
                  <a:gd name="connsiteY0" fmla="*/ 1640572 h 1640572"/>
                  <a:gd name="connsiteX1" fmla="*/ 396240 w 1094739"/>
                  <a:gd name="connsiteY1" fmla="*/ 1234924 h 1640572"/>
                  <a:gd name="connsiteX2" fmla="*/ 400000 w 1094739"/>
                  <a:gd name="connsiteY2" fmla="*/ 954771 h 1640572"/>
                  <a:gd name="connsiteX3" fmla="*/ 414020 w 1094739"/>
                  <a:gd name="connsiteY3" fmla="*/ 714224 h 1640572"/>
                  <a:gd name="connsiteX4" fmla="*/ 190600 w 1094739"/>
                  <a:gd name="connsiteY4" fmla="*/ 574809 h 1640572"/>
                  <a:gd name="connsiteX5" fmla="*/ 96520 w 1094739"/>
                  <a:gd name="connsiteY5" fmla="*/ 478004 h 1640572"/>
                  <a:gd name="connsiteX6" fmla="*/ 0 w 1094739"/>
                  <a:gd name="connsiteY6" fmla="*/ 399264 h 1640572"/>
                  <a:gd name="connsiteX7" fmla="*/ 96520 w 1094739"/>
                  <a:gd name="connsiteY7" fmla="*/ 442444 h 1640572"/>
                  <a:gd name="connsiteX8" fmla="*/ 109220 w 1094739"/>
                  <a:gd name="connsiteY8" fmla="*/ 317984 h 1640572"/>
                  <a:gd name="connsiteX9" fmla="*/ 119379 w 1094739"/>
                  <a:gd name="connsiteY9" fmla="*/ 455144 h 1640572"/>
                  <a:gd name="connsiteX10" fmla="*/ 203768 w 1094739"/>
                  <a:gd name="connsiteY10" fmla="*/ 539717 h 1640572"/>
                  <a:gd name="connsiteX11" fmla="*/ 256539 w 1094739"/>
                  <a:gd name="connsiteY11" fmla="*/ 577064 h 1640572"/>
                  <a:gd name="connsiteX12" fmla="*/ 259079 w 1094739"/>
                  <a:gd name="connsiteY12" fmla="*/ 429744 h 1640572"/>
                  <a:gd name="connsiteX13" fmla="*/ 284479 w 1094739"/>
                  <a:gd name="connsiteY13" fmla="*/ 587224 h 1640572"/>
                  <a:gd name="connsiteX14" fmla="*/ 432368 w 1094739"/>
                  <a:gd name="connsiteY14" fmla="*/ 646681 h 1640572"/>
                  <a:gd name="connsiteX15" fmla="*/ 487781 w 1094739"/>
                  <a:gd name="connsiteY15" fmla="*/ 412717 h 1640572"/>
                  <a:gd name="connsiteX16" fmla="*/ 365760 w 1094739"/>
                  <a:gd name="connsiteY16" fmla="*/ 165584 h 1640572"/>
                  <a:gd name="connsiteX17" fmla="*/ 338672 w 1094739"/>
                  <a:gd name="connsiteY17" fmla="*/ 0 h 1640572"/>
                  <a:gd name="connsiteX18" fmla="*/ 384576 w 1094739"/>
                  <a:gd name="connsiteY18" fmla="*/ 159000 h 1640572"/>
                  <a:gd name="connsiteX19" fmla="*/ 411479 w 1094739"/>
                  <a:gd name="connsiteY19" fmla="*/ 226544 h 1640572"/>
                  <a:gd name="connsiteX20" fmla="*/ 502919 w 1094739"/>
                  <a:gd name="connsiteY20" fmla="*/ 58904 h 1640572"/>
                  <a:gd name="connsiteX21" fmla="*/ 426719 w 1094739"/>
                  <a:gd name="connsiteY21" fmla="*/ 262104 h 1640572"/>
                  <a:gd name="connsiteX22" fmla="*/ 509605 w 1094739"/>
                  <a:gd name="connsiteY22" fmla="*/ 385528 h 1640572"/>
                  <a:gd name="connsiteX23" fmla="*/ 631189 w 1094739"/>
                  <a:gd name="connsiteY23" fmla="*/ 222734 h 1640572"/>
                  <a:gd name="connsiteX24" fmla="*/ 513080 w 1094739"/>
                  <a:gd name="connsiteY24" fmla="*/ 432284 h 1640572"/>
                  <a:gd name="connsiteX25" fmla="*/ 485140 w 1094739"/>
                  <a:gd name="connsiteY25" fmla="*/ 630404 h 1640572"/>
                  <a:gd name="connsiteX26" fmla="*/ 488149 w 1094739"/>
                  <a:gd name="connsiteY26" fmla="*/ 845837 h 1640572"/>
                  <a:gd name="connsiteX27" fmla="*/ 688339 w 1094739"/>
                  <a:gd name="connsiteY27" fmla="*/ 587224 h 1640572"/>
                  <a:gd name="connsiteX28" fmla="*/ 721359 w 1094739"/>
                  <a:gd name="connsiteY28" fmla="*/ 434824 h 1640572"/>
                  <a:gd name="connsiteX29" fmla="*/ 673099 w 1094739"/>
                  <a:gd name="connsiteY29" fmla="*/ 376404 h 1640572"/>
                  <a:gd name="connsiteX30" fmla="*/ 723899 w 1094739"/>
                  <a:gd name="connsiteY30" fmla="*/ 414504 h 1640572"/>
                  <a:gd name="connsiteX31" fmla="*/ 734060 w 1094739"/>
                  <a:gd name="connsiteY31" fmla="*/ 353544 h 1640572"/>
                  <a:gd name="connsiteX32" fmla="*/ 759459 w 1094739"/>
                  <a:gd name="connsiteY32" fmla="*/ 361164 h 1640572"/>
                  <a:gd name="connsiteX33" fmla="*/ 716279 w 1094739"/>
                  <a:gd name="connsiteY33" fmla="*/ 569444 h 1640572"/>
                  <a:gd name="connsiteX34" fmla="*/ 866139 w 1094739"/>
                  <a:gd name="connsiteY34" fmla="*/ 399264 h 1640572"/>
                  <a:gd name="connsiteX35" fmla="*/ 853440 w 1094739"/>
                  <a:gd name="connsiteY35" fmla="*/ 312904 h 1640572"/>
                  <a:gd name="connsiteX36" fmla="*/ 888999 w 1094739"/>
                  <a:gd name="connsiteY36" fmla="*/ 399264 h 1640572"/>
                  <a:gd name="connsiteX37" fmla="*/ 949959 w 1094739"/>
                  <a:gd name="connsiteY37" fmla="*/ 376404 h 1640572"/>
                  <a:gd name="connsiteX38" fmla="*/ 965199 w 1094739"/>
                  <a:gd name="connsiteY38" fmla="*/ 259564 h 1640572"/>
                  <a:gd name="connsiteX39" fmla="*/ 970279 w 1094739"/>
                  <a:gd name="connsiteY39" fmla="*/ 373864 h 1640572"/>
                  <a:gd name="connsiteX40" fmla="*/ 1094739 w 1094739"/>
                  <a:gd name="connsiteY40" fmla="*/ 330684 h 1640572"/>
                  <a:gd name="connsiteX41" fmla="*/ 876299 w 1094739"/>
                  <a:gd name="connsiteY41" fmla="*/ 434824 h 1640572"/>
                  <a:gd name="connsiteX42" fmla="*/ 739139 w 1094739"/>
                  <a:gd name="connsiteY42" fmla="*/ 589764 h 1640572"/>
                  <a:gd name="connsiteX43" fmla="*/ 673100 w 1094739"/>
                  <a:gd name="connsiteY43" fmla="*/ 698984 h 1640572"/>
                  <a:gd name="connsiteX44" fmla="*/ 812800 w 1094739"/>
                  <a:gd name="connsiteY44" fmla="*/ 605004 h 1640572"/>
                  <a:gd name="connsiteX45" fmla="*/ 850900 w 1094739"/>
                  <a:gd name="connsiteY45" fmla="*/ 607544 h 1640572"/>
                  <a:gd name="connsiteX46" fmla="*/ 652780 w 1094739"/>
                  <a:gd name="connsiteY46" fmla="*/ 739624 h 1640572"/>
                  <a:gd name="connsiteX47" fmla="*/ 495769 w 1094739"/>
                  <a:gd name="connsiteY47" fmla="*/ 926547 h 1640572"/>
                  <a:gd name="connsiteX48" fmla="*/ 520700 w 1094739"/>
                  <a:gd name="connsiteY48" fmla="*/ 1278104 h 1640572"/>
                  <a:gd name="connsiteX49" fmla="*/ 520700 w 1094739"/>
                  <a:gd name="connsiteY49" fmla="*/ 1636244 h 1640572"/>
                  <a:gd name="connsiteX50" fmla="*/ 363788 w 1094739"/>
                  <a:gd name="connsiteY50" fmla="*/ 1640572 h 1640572"/>
                  <a:gd name="connsiteX0" fmla="*/ 363788 w 1094739"/>
                  <a:gd name="connsiteY0" fmla="*/ 1640572 h 1640572"/>
                  <a:gd name="connsiteX1" fmla="*/ 396240 w 1094739"/>
                  <a:gd name="connsiteY1" fmla="*/ 1234924 h 1640572"/>
                  <a:gd name="connsiteX2" fmla="*/ 400000 w 1094739"/>
                  <a:gd name="connsiteY2" fmla="*/ 954771 h 1640572"/>
                  <a:gd name="connsiteX3" fmla="*/ 414020 w 1094739"/>
                  <a:gd name="connsiteY3" fmla="*/ 714224 h 1640572"/>
                  <a:gd name="connsiteX4" fmla="*/ 190600 w 1094739"/>
                  <a:gd name="connsiteY4" fmla="*/ 574809 h 1640572"/>
                  <a:gd name="connsiteX5" fmla="*/ 96520 w 1094739"/>
                  <a:gd name="connsiteY5" fmla="*/ 478004 h 1640572"/>
                  <a:gd name="connsiteX6" fmla="*/ 0 w 1094739"/>
                  <a:gd name="connsiteY6" fmla="*/ 399264 h 1640572"/>
                  <a:gd name="connsiteX7" fmla="*/ 96520 w 1094739"/>
                  <a:gd name="connsiteY7" fmla="*/ 442444 h 1640572"/>
                  <a:gd name="connsiteX8" fmla="*/ 109220 w 1094739"/>
                  <a:gd name="connsiteY8" fmla="*/ 317984 h 1640572"/>
                  <a:gd name="connsiteX9" fmla="*/ 119379 w 1094739"/>
                  <a:gd name="connsiteY9" fmla="*/ 455144 h 1640572"/>
                  <a:gd name="connsiteX10" fmla="*/ 203768 w 1094739"/>
                  <a:gd name="connsiteY10" fmla="*/ 539717 h 1640572"/>
                  <a:gd name="connsiteX11" fmla="*/ 256539 w 1094739"/>
                  <a:gd name="connsiteY11" fmla="*/ 577064 h 1640572"/>
                  <a:gd name="connsiteX12" fmla="*/ 259079 w 1094739"/>
                  <a:gd name="connsiteY12" fmla="*/ 429744 h 1640572"/>
                  <a:gd name="connsiteX13" fmla="*/ 284479 w 1094739"/>
                  <a:gd name="connsiteY13" fmla="*/ 587224 h 1640572"/>
                  <a:gd name="connsiteX14" fmla="*/ 432368 w 1094739"/>
                  <a:gd name="connsiteY14" fmla="*/ 646681 h 1640572"/>
                  <a:gd name="connsiteX15" fmla="*/ 487781 w 1094739"/>
                  <a:gd name="connsiteY15" fmla="*/ 412717 h 1640572"/>
                  <a:gd name="connsiteX16" fmla="*/ 365760 w 1094739"/>
                  <a:gd name="connsiteY16" fmla="*/ 165584 h 1640572"/>
                  <a:gd name="connsiteX17" fmla="*/ 338672 w 1094739"/>
                  <a:gd name="connsiteY17" fmla="*/ 0 h 1640572"/>
                  <a:gd name="connsiteX18" fmla="*/ 384576 w 1094739"/>
                  <a:gd name="connsiteY18" fmla="*/ 159000 h 1640572"/>
                  <a:gd name="connsiteX19" fmla="*/ 411479 w 1094739"/>
                  <a:gd name="connsiteY19" fmla="*/ 226544 h 1640572"/>
                  <a:gd name="connsiteX20" fmla="*/ 502919 w 1094739"/>
                  <a:gd name="connsiteY20" fmla="*/ 58904 h 1640572"/>
                  <a:gd name="connsiteX21" fmla="*/ 426719 w 1094739"/>
                  <a:gd name="connsiteY21" fmla="*/ 262104 h 1640572"/>
                  <a:gd name="connsiteX22" fmla="*/ 509605 w 1094739"/>
                  <a:gd name="connsiteY22" fmla="*/ 385528 h 1640572"/>
                  <a:gd name="connsiteX23" fmla="*/ 631189 w 1094739"/>
                  <a:gd name="connsiteY23" fmla="*/ 222734 h 1640572"/>
                  <a:gd name="connsiteX24" fmla="*/ 513080 w 1094739"/>
                  <a:gd name="connsiteY24" fmla="*/ 432284 h 1640572"/>
                  <a:gd name="connsiteX25" fmla="*/ 485140 w 1094739"/>
                  <a:gd name="connsiteY25" fmla="*/ 630404 h 1640572"/>
                  <a:gd name="connsiteX26" fmla="*/ 488149 w 1094739"/>
                  <a:gd name="connsiteY26" fmla="*/ 845837 h 1640572"/>
                  <a:gd name="connsiteX27" fmla="*/ 688339 w 1094739"/>
                  <a:gd name="connsiteY27" fmla="*/ 587224 h 1640572"/>
                  <a:gd name="connsiteX28" fmla="*/ 721359 w 1094739"/>
                  <a:gd name="connsiteY28" fmla="*/ 434824 h 1640572"/>
                  <a:gd name="connsiteX29" fmla="*/ 673099 w 1094739"/>
                  <a:gd name="connsiteY29" fmla="*/ 376404 h 1640572"/>
                  <a:gd name="connsiteX30" fmla="*/ 723899 w 1094739"/>
                  <a:gd name="connsiteY30" fmla="*/ 414504 h 1640572"/>
                  <a:gd name="connsiteX31" fmla="*/ 734060 w 1094739"/>
                  <a:gd name="connsiteY31" fmla="*/ 353544 h 1640572"/>
                  <a:gd name="connsiteX32" fmla="*/ 759459 w 1094739"/>
                  <a:gd name="connsiteY32" fmla="*/ 361164 h 1640572"/>
                  <a:gd name="connsiteX33" fmla="*/ 716279 w 1094739"/>
                  <a:gd name="connsiteY33" fmla="*/ 569444 h 1640572"/>
                  <a:gd name="connsiteX34" fmla="*/ 866139 w 1094739"/>
                  <a:gd name="connsiteY34" fmla="*/ 399264 h 1640572"/>
                  <a:gd name="connsiteX35" fmla="*/ 853440 w 1094739"/>
                  <a:gd name="connsiteY35" fmla="*/ 312904 h 1640572"/>
                  <a:gd name="connsiteX36" fmla="*/ 888999 w 1094739"/>
                  <a:gd name="connsiteY36" fmla="*/ 399264 h 1640572"/>
                  <a:gd name="connsiteX37" fmla="*/ 949959 w 1094739"/>
                  <a:gd name="connsiteY37" fmla="*/ 376404 h 1640572"/>
                  <a:gd name="connsiteX38" fmla="*/ 965199 w 1094739"/>
                  <a:gd name="connsiteY38" fmla="*/ 259564 h 1640572"/>
                  <a:gd name="connsiteX39" fmla="*/ 970279 w 1094739"/>
                  <a:gd name="connsiteY39" fmla="*/ 373864 h 1640572"/>
                  <a:gd name="connsiteX40" fmla="*/ 1094739 w 1094739"/>
                  <a:gd name="connsiteY40" fmla="*/ 330684 h 1640572"/>
                  <a:gd name="connsiteX41" fmla="*/ 876299 w 1094739"/>
                  <a:gd name="connsiteY41" fmla="*/ 434824 h 1640572"/>
                  <a:gd name="connsiteX42" fmla="*/ 739139 w 1094739"/>
                  <a:gd name="connsiteY42" fmla="*/ 589764 h 1640572"/>
                  <a:gd name="connsiteX43" fmla="*/ 673100 w 1094739"/>
                  <a:gd name="connsiteY43" fmla="*/ 698984 h 1640572"/>
                  <a:gd name="connsiteX44" fmla="*/ 812800 w 1094739"/>
                  <a:gd name="connsiteY44" fmla="*/ 605004 h 1640572"/>
                  <a:gd name="connsiteX45" fmla="*/ 652780 w 1094739"/>
                  <a:gd name="connsiteY45" fmla="*/ 739624 h 1640572"/>
                  <a:gd name="connsiteX46" fmla="*/ 495769 w 1094739"/>
                  <a:gd name="connsiteY46" fmla="*/ 926547 h 1640572"/>
                  <a:gd name="connsiteX47" fmla="*/ 520700 w 1094739"/>
                  <a:gd name="connsiteY47" fmla="*/ 1278104 h 1640572"/>
                  <a:gd name="connsiteX48" fmla="*/ 520700 w 1094739"/>
                  <a:gd name="connsiteY48" fmla="*/ 1636244 h 1640572"/>
                  <a:gd name="connsiteX49" fmla="*/ 363788 w 1094739"/>
                  <a:gd name="connsiteY49" fmla="*/ 1640572 h 1640572"/>
                  <a:gd name="connsiteX0" fmla="*/ 363788 w 1094739"/>
                  <a:gd name="connsiteY0" fmla="*/ 1640572 h 1640572"/>
                  <a:gd name="connsiteX1" fmla="*/ 396240 w 1094739"/>
                  <a:gd name="connsiteY1" fmla="*/ 1234924 h 1640572"/>
                  <a:gd name="connsiteX2" fmla="*/ 400000 w 1094739"/>
                  <a:gd name="connsiteY2" fmla="*/ 954771 h 1640572"/>
                  <a:gd name="connsiteX3" fmla="*/ 414020 w 1094739"/>
                  <a:gd name="connsiteY3" fmla="*/ 714224 h 1640572"/>
                  <a:gd name="connsiteX4" fmla="*/ 190600 w 1094739"/>
                  <a:gd name="connsiteY4" fmla="*/ 574809 h 1640572"/>
                  <a:gd name="connsiteX5" fmla="*/ 96520 w 1094739"/>
                  <a:gd name="connsiteY5" fmla="*/ 478004 h 1640572"/>
                  <a:gd name="connsiteX6" fmla="*/ 0 w 1094739"/>
                  <a:gd name="connsiteY6" fmla="*/ 399264 h 1640572"/>
                  <a:gd name="connsiteX7" fmla="*/ 96520 w 1094739"/>
                  <a:gd name="connsiteY7" fmla="*/ 442444 h 1640572"/>
                  <a:gd name="connsiteX8" fmla="*/ 109220 w 1094739"/>
                  <a:gd name="connsiteY8" fmla="*/ 317984 h 1640572"/>
                  <a:gd name="connsiteX9" fmla="*/ 119379 w 1094739"/>
                  <a:gd name="connsiteY9" fmla="*/ 455144 h 1640572"/>
                  <a:gd name="connsiteX10" fmla="*/ 203768 w 1094739"/>
                  <a:gd name="connsiteY10" fmla="*/ 539717 h 1640572"/>
                  <a:gd name="connsiteX11" fmla="*/ 256539 w 1094739"/>
                  <a:gd name="connsiteY11" fmla="*/ 577064 h 1640572"/>
                  <a:gd name="connsiteX12" fmla="*/ 259079 w 1094739"/>
                  <a:gd name="connsiteY12" fmla="*/ 429744 h 1640572"/>
                  <a:gd name="connsiteX13" fmla="*/ 284479 w 1094739"/>
                  <a:gd name="connsiteY13" fmla="*/ 587224 h 1640572"/>
                  <a:gd name="connsiteX14" fmla="*/ 432368 w 1094739"/>
                  <a:gd name="connsiteY14" fmla="*/ 646681 h 1640572"/>
                  <a:gd name="connsiteX15" fmla="*/ 487781 w 1094739"/>
                  <a:gd name="connsiteY15" fmla="*/ 412717 h 1640572"/>
                  <a:gd name="connsiteX16" fmla="*/ 365760 w 1094739"/>
                  <a:gd name="connsiteY16" fmla="*/ 165584 h 1640572"/>
                  <a:gd name="connsiteX17" fmla="*/ 338672 w 1094739"/>
                  <a:gd name="connsiteY17" fmla="*/ 0 h 1640572"/>
                  <a:gd name="connsiteX18" fmla="*/ 384576 w 1094739"/>
                  <a:gd name="connsiteY18" fmla="*/ 159000 h 1640572"/>
                  <a:gd name="connsiteX19" fmla="*/ 411479 w 1094739"/>
                  <a:gd name="connsiteY19" fmla="*/ 226544 h 1640572"/>
                  <a:gd name="connsiteX20" fmla="*/ 502919 w 1094739"/>
                  <a:gd name="connsiteY20" fmla="*/ 58904 h 1640572"/>
                  <a:gd name="connsiteX21" fmla="*/ 426719 w 1094739"/>
                  <a:gd name="connsiteY21" fmla="*/ 262104 h 1640572"/>
                  <a:gd name="connsiteX22" fmla="*/ 509605 w 1094739"/>
                  <a:gd name="connsiteY22" fmla="*/ 385528 h 1640572"/>
                  <a:gd name="connsiteX23" fmla="*/ 631189 w 1094739"/>
                  <a:gd name="connsiteY23" fmla="*/ 222734 h 1640572"/>
                  <a:gd name="connsiteX24" fmla="*/ 513080 w 1094739"/>
                  <a:gd name="connsiteY24" fmla="*/ 432284 h 1640572"/>
                  <a:gd name="connsiteX25" fmla="*/ 485140 w 1094739"/>
                  <a:gd name="connsiteY25" fmla="*/ 630404 h 1640572"/>
                  <a:gd name="connsiteX26" fmla="*/ 488149 w 1094739"/>
                  <a:gd name="connsiteY26" fmla="*/ 845837 h 1640572"/>
                  <a:gd name="connsiteX27" fmla="*/ 688339 w 1094739"/>
                  <a:gd name="connsiteY27" fmla="*/ 587224 h 1640572"/>
                  <a:gd name="connsiteX28" fmla="*/ 721359 w 1094739"/>
                  <a:gd name="connsiteY28" fmla="*/ 434824 h 1640572"/>
                  <a:gd name="connsiteX29" fmla="*/ 673099 w 1094739"/>
                  <a:gd name="connsiteY29" fmla="*/ 376404 h 1640572"/>
                  <a:gd name="connsiteX30" fmla="*/ 723899 w 1094739"/>
                  <a:gd name="connsiteY30" fmla="*/ 414504 h 1640572"/>
                  <a:gd name="connsiteX31" fmla="*/ 734060 w 1094739"/>
                  <a:gd name="connsiteY31" fmla="*/ 353544 h 1640572"/>
                  <a:gd name="connsiteX32" fmla="*/ 759459 w 1094739"/>
                  <a:gd name="connsiteY32" fmla="*/ 361164 h 1640572"/>
                  <a:gd name="connsiteX33" fmla="*/ 716279 w 1094739"/>
                  <a:gd name="connsiteY33" fmla="*/ 569444 h 1640572"/>
                  <a:gd name="connsiteX34" fmla="*/ 866139 w 1094739"/>
                  <a:gd name="connsiteY34" fmla="*/ 399264 h 1640572"/>
                  <a:gd name="connsiteX35" fmla="*/ 853440 w 1094739"/>
                  <a:gd name="connsiteY35" fmla="*/ 312904 h 1640572"/>
                  <a:gd name="connsiteX36" fmla="*/ 888999 w 1094739"/>
                  <a:gd name="connsiteY36" fmla="*/ 399264 h 1640572"/>
                  <a:gd name="connsiteX37" fmla="*/ 949959 w 1094739"/>
                  <a:gd name="connsiteY37" fmla="*/ 376404 h 1640572"/>
                  <a:gd name="connsiteX38" fmla="*/ 965199 w 1094739"/>
                  <a:gd name="connsiteY38" fmla="*/ 259564 h 1640572"/>
                  <a:gd name="connsiteX39" fmla="*/ 970279 w 1094739"/>
                  <a:gd name="connsiteY39" fmla="*/ 373864 h 1640572"/>
                  <a:gd name="connsiteX40" fmla="*/ 1094739 w 1094739"/>
                  <a:gd name="connsiteY40" fmla="*/ 330684 h 1640572"/>
                  <a:gd name="connsiteX41" fmla="*/ 876299 w 1094739"/>
                  <a:gd name="connsiteY41" fmla="*/ 434824 h 1640572"/>
                  <a:gd name="connsiteX42" fmla="*/ 739139 w 1094739"/>
                  <a:gd name="connsiteY42" fmla="*/ 589764 h 1640572"/>
                  <a:gd name="connsiteX43" fmla="*/ 673100 w 1094739"/>
                  <a:gd name="connsiteY43" fmla="*/ 698984 h 1640572"/>
                  <a:gd name="connsiteX44" fmla="*/ 652780 w 1094739"/>
                  <a:gd name="connsiteY44" fmla="*/ 739624 h 1640572"/>
                  <a:gd name="connsiteX45" fmla="*/ 495769 w 1094739"/>
                  <a:gd name="connsiteY45" fmla="*/ 926547 h 1640572"/>
                  <a:gd name="connsiteX46" fmla="*/ 520700 w 1094739"/>
                  <a:gd name="connsiteY46" fmla="*/ 1278104 h 1640572"/>
                  <a:gd name="connsiteX47" fmla="*/ 520700 w 1094739"/>
                  <a:gd name="connsiteY47" fmla="*/ 1636244 h 1640572"/>
                  <a:gd name="connsiteX48" fmla="*/ 363788 w 1094739"/>
                  <a:gd name="connsiteY48" fmla="*/ 1640572 h 1640572"/>
                  <a:gd name="connsiteX0" fmla="*/ 363788 w 1094739"/>
                  <a:gd name="connsiteY0" fmla="*/ 1640572 h 1640572"/>
                  <a:gd name="connsiteX1" fmla="*/ 396240 w 1094739"/>
                  <a:gd name="connsiteY1" fmla="*/ 1234924 h 1640572"/>
                  <a:gd name="connsiteX2" fmla="*/ 400000 w 1094739"/>
                  <a:gd name="connsiteY2" fmla="*/ 954771 h 1640572"/>
                  <a:gd name="connsiteX3" fmla="*/ 414020 w 1094739"/>
                  <a:gd name="connsiteY3" fmla="*/ 714224 h 1640572"/>
                  <a:gd name="connsiteX4" fmla="*/ 190600 w 1094739"/>
                  <a:gd name="connsiteY4" fmla="*/ 574809 h 1640572"/>
                  <a:gd name="connsiteX5" fmla="*/ 96520 w 1094739"/>
                  <a:gd name="connsiteY5" fmla="*/ 478004 h 1640572"/>
                  <a:gd name="connsiteX6" fmla="*/ 0 w 1094739"/>
                  <a:gd name="connsiteY6" fmla="*/ 399264 h 1640572"/>
                  <a:gd name="connsiteX7" fmla="*/ 96520 w 1094739"/>
                  <a:gd name="connsiteY7" fmla="*/ 442444 h 1640572"/>
                  <a:gd name="connsiteX8" fmla="*/ 109220 w 1094739"/>
                  <a:gd name="connsiteY8" fmla="*/ 317984 h 1640572"/>
                  <a:gd name="connsiteX9" fmla="*/ 119379 w 1094739"/>
                  <a:gd name="connsiteY9" fmla="*/ 455144 h 1640572"/>
                  <a:gd name="connsiteX10" fmla="*/ 203768 w 1094739"/>
                  <a:gd name="connsiteY10" fmla="*/ 539717 h 1640572"/>
                  <a:gd name="connsiteX11" fmla="*/ 256539 w 1094739"/>
                  <a:gd name="connsiteY11" fmla="*/ 577064 h 1640572"/>
                  <a:gd name="connsiteX12" fmla="*/ 259079 w 1094739"/>
                  <a:gd name="connsiteY12" fmla="*/ 429744 h 1640572"/>
                  <a:gd name="connsiteX13" fmla="*/ 284479 w 1094739"/>
                  <a:gd name="connsiteY13" fmla="*/ 587224 h 1640572"/>
                  <a:gd name="connsiteX14" fmla="*/ 432368 w 1094739"/>
                  <a:gd name="connsiteY14" fmla="*/ 646681 h 1640572"/>
                  <a:gd name="connsiteX15" fmla="*/ 487781 w 1094739"/>
                  <a:gd name="connsiteY15" fmla="*/ 412717 h 1640572"/>
                  <a:gd name="connsiteX16" fmla="*/ 365760 w 1094739"/>
                  <a:gd name="connsiteY16" fmla="*/ 165584 h 1640572"/>
                  <a:gd name="connsiteX17" fmla="*/ 338672 w 1094739"/>
                  <a:gd name="connsiteY17" fmla="*/ 0 h 1640572"/>
                  <a:gd name="connsiteX18" fmla="*/ 384576 w 1094739"/>
                  <a:gd name="connsiteY18" fmla="*/ 159000 h 1640572"/>
                  <a:gd name="connsiteX19" fmla="*/ 411479 w 1094739"/>
                  <a:gd name="connsiteY19" fmla="*/ 226544 h 1640572"/>
                  <a:gd name="connsiteX20" fmla="*/ 502919 w 1094739"/>
                  <a:gd name="connsiteY20" fmla="*/ 58904 h 1640572"/>
                  <a:gd name="connsiteX21" fmla="*/ 426719 w 1094739"/>
                  <a:gd name="connsiteY21" fmla="*/ 262104 h 1640572"/>
                  <a:gd name="connsiteX22" fmla="*/ 509605 w 1094739"/>
                  <a:gd name="connsiteY22" fmla="*/ 385528 h 1640572"/>
                  <a:gd name="connsiteX23" fmla="*/ 631189 w 1094739"/>
                  <a:gd name="connsiteY23" fmla="*/ 222734 h 1640572"/>
                  <a:gd name="connsiteX24" fmla="*/ 513080 w 1094739"/>
                  <a:gd name="connsiteY24" fmla="*/ 432284 h 1640572"/>
                  <a:gd name="connsiteX25" fmla="*/ 485140 w 1094739"/>
                  <a:gd name="connsiteY25" fmla="*/ 630404 h 1640572"/>
                  <a:gd name="connsiteX26" fmla="*/ 488149 w 1094739"/>
                  <a:gd name="connsiteY26" fmla="*/ 845837 h 1640572"/>
                  <a:gd name="connsiteX27" fmla="*/ 688339 w 1094739"/>
                  <a:gd name="connsiteY27" fmla="*/ 587224 h 1640572"/>
                  <a:gd name="connsiteX28" fmla="*/ 721359 w 1094739"/>
                  <a:gd name="connsiteY28" fmla="*/ 434824 h 1640572"/>
                  <a:gd name="connsiteX29" fmla="*/ 673099 w 1094739"/>
                  <a:gd name="connsiteY29" fmla="*/ 376404 h 1640572"/>
                  <a:gd name="connsiteX30" fmla="*/ 723899 w 1094739"/>
                  <a:gd name="connsiteY30" fmla="*/ 414504 h 1640572"/>
                  <a:gd name="connsiteX31" fmla="*/ 734060 w 1094739"/>
                  <a:gd name="connsiteY31" fmla="*/ 353544 h 1640572"/>
                  <a:gd name="connsiteX32" fmla="*/ 759459 w 1094739"/>
                  <a:gd name="connsiteY32" fmla="*/ 361164 h 1640572"/>
                  <a:gd name="connsiteX33" fmla="*/ 716279 w 1094739"/>
                  <a:gd name="connsiteY33" fmla="*/ 569444 h 1640572"/>
                  <a:gd name="connsiteX34" fmla="*/ 866139 w 1094739"/>
                  <a:gd name="connsiteY34" fmla="*/ 399264 h 1640572"/>
                  <a:gd name="connsiteX35" fmla="*/ 853440 w 1094739"/>
                  <a:gd name="connsiteY35" fmla="*/ 312904 h 1640572"/>
                  <a:gd name="connsiteX36" fmla="*/ 888999 w 1094739"/>
                  <a:gd name="connsiteY36" fmla="*/ 399264 h 1640572"/>
                  <a:gd name="connsiteX37" fmla="*/ 949959 w 1094739"/>
                  <a:gd name="connsiteY37" fmla="*/ 376404 h 1640572"/>
                  <a:gd name="connsiteX38" fmla="*/ 965199 w 1094739"/>
                  <a:gd name="connsiteY38" fmla="*/ 259564 h 1640572"/>
                  <a:gd name="connsiteX39" fmla="*/ 970279 w 1094739"/>
                  <a:gd name="connsiteY39" fmla="*/ 373864 h 1640572"/>
                  <a:gd name="connsiteX40" fmla="*/ 1094739 w 1094739"/>
                  <a:gd name="connsiteY40" fmla="*/ 330684 h 1640572"/>
                  <a:gd name="connsiteX41" fmla="*/ 876299 w 1094739"/>
                  <a:gd name="connsiteY41" fmla="*/ 434824 h 1640572"/>
                  <a:gd name="connsiteX42" fmla="*/ 739139 w 1094739"/>
                  <a:gd name="connsiteY42" fmla="*/ 589764 h 1640572"/>
                  <a:gd name="connsiteX43" fmla="*/ 673100 w 1094739"/>
                  <a:gd name="connsiteY43" fmla="*/ 698984 h 1640572"/>
                  <a:gd name="connsiteX44" fmla="*/ 495769 w 1094739"/>
                  <a:gd name="connsiteY44" fmla="*/ 926547 h 1640572"/>
                  <a:gd name="connsiteX45" fmla="*/ 520700 w 1094739"/>
                  <a:gd name="connsiteY45" fmla="*/ 1278104 h 1640572"/>
                  <a:gd name="connsiteX46" fmla="*/ 520700 w 1094739"/>
                  <a:gd name="connsiteY46" fmla="*/ 1636244 h 1640572"/>
                  <a:gd name="connsiteX47" fmla="*/ 363788 w 1094739"/>
                  <a:gd name="connsiteY47" fmla="*/ 1640572 h 1640572"/>
                  <a:gd name="connsiteX0" fmla="*/ 363788 w 1094739"/>
                  <a:gd name="connsiteY0" fmla="*/ 1640572 h 1640572"/>
                  <a:gd name="connsiteX1" fmla="*/ 396240 w 1094739"/>
                  <a:gd name="connsiteY1" fmla="*/ 1234924 h 1640572"/>
                  <a:gd name="connsiteX2" fmla="*/ 400000 w 1094739"/>
                  <a:gd name="connsiteY2" fmla="*/ 954771 h 1640572"/>
                  <a:gd name="connsiteX3" fmla="*/ 414020 w 1094739"/>
                  <a:gd name="connsiteY3" fmla="*/ 714224 h 1640572"/>
                  <a:gd name="connsiteX4" fmla="*/ 190600 w 1094739"/>
                  <a:gd name="connsiteY4" fmla="*/ 574809 h 1640572"/>
                  <a:gd name="connsiteX5" fmla="*/ 96520 w 1094739"/>
                  <a:gd name="connsiteY5" fmla="*/ 478004 h 1640572"/>
                  <a:gd name="connsiteX6" fmla="*/ 0 w 1094739"/>
                  <a:gd name="connsiteY6" fmla="*/ 399264 h 1640572"/>
                  <a:gd name="connsiteX7" fmla="*/ 96520 w 1094739"/>
                  <a:gd name="connsiteY7" fmla="*/ 442444 h 1640572"/>
                  <a:gd name="connsiteX8" fmla="*/ 109220 w 1094739"/>
                  <a:gd name="connsiteY8" fmla="*/ 317984 h 1640572"/>
                  <a:gd name="connsiteX9" fmla="*/ 119379 w 1094739"/>
                  <a:gd name="connsiteY9" fmla="*/ 455144 h 1640572"/>
                  <a:gd name="connsiteX10" fmla="*/ 203768 w 1094739"/>
                  <a:gd name="connsiteY10" fmla="*/ 539717 h 1640572"/>
                  <a:gd name="connsiteX11" fmla="*/ 256539 w 1094739"/>
                  <a:gd name="connsiteY11" fmla="*/ 577064 h 1640572"/>
                  <a:gd name="connsiteX12" fmla="*/ 259079 w 1094739"/>
                  <a:gd name="connsiteY12" fmla="*/ 429744 h 1640572"/>
                  <a:gd name="connsiteX13" fmla="*/ 284479 w 1094739"/>
                  <a:gd name="connsiteY13" fmla="*/ 587224 h 1640572"/>
                  <a:gd name="connsiteX14" fmla="*/ 432368 w 1094739"/>
                  <a:gd name="connsiteY14" fmla="*/ 646681 h 1640572"/>
                  <a:gd name="connsiteX15" fmla="*/ 487781 w 1094739"/>
                  <a:gd name="connsiteY15" fmla="*/ 412717 h 1640572"/>
                  <a:gd name="connsiteX16" fmla="*/ 365760 w 1094739"/>
                  <a:gd name="connsiteY16" fmla="*/ 165584 h 1640572"/>
                  <a:gd name="connsiteX17" fmla="*/ 338672 w 1094739"/>
                  <a:gd name="connsiteY17" fmla="*/ 0 h 1640572"/>
                  <a:gd name="connsiteX18" fmla="*/ 384576 w 1094739"/>
                  <a:gd name="connsiteY18" fmla="*/ 159000 h 1640572"/>
                  <a:gd name="connsiteX19" fmla="*/ 411479 w 1094739"/>
                  <a:gd name="connsiteY19" fmla="*/ 226544 h 1640572"/>
                  <a:gd name="connsiteX20" fmla="*/ 502919 w 1094739"/>
                  <a:gd name="connsiteY20" fmla="*/ 58904 h 1640572"/>
                  <a:gd name="connsiteX21" fmla="*/ 426719 w 1094739"/>
                  <a:gd name="connsiteY21" fmla="*/ 262104 h 1640572"/>
                  <a:gd name="connsiteX22" fmla="*/ 509605 w 1094739"/>
                  <a:gd name="connsiteY22" fmla="*/ 385528 h 1640572"/>
                  <a:gd name="connsiteX23" fmla="*/ 631189 w 1094739"/>
                  <a:gd name="connsiteY23" fmla="*/ 222734 h 1640572"/>
                  <a:gd name="connsiteX24" fmla="*/ 513080 w 1094739"/>
                  <a:gd name="connsiteY24" fmla="*/ 432284 h 1640572"/>
                  <a:gd name="connsiteX25" fmla="*/ 485140 w 1094739"/>
                  <a:gd name="connsiteY25" fmla="*/ 630404 h 1640572"/>
                  <a:gd name="connsiteX26" fmla="*/ 488149 w 1094739"/>
                  <a:gd name="connsiteY26" fmla="*/ 845837 h 1640572"/>
                  <a:gd name="connsiteX27" fmla="*/ 688339 w 1094739"/>
                  <a:gd name="connsiteY27" fmla="*/ 587224 h 1640572"/>
                  <a:gd name="connsiteX28" fmla="*/ 721359 w 1094739"/>
                  <a:gd name="connsiteY28" fmla="*/ 434824 h 1640572"/>
                  <a:gd name="connsiteX29" fmla="*/ 673099 w 1094739"/>
                  <a:gd name="connsiteY29" fmla="*/ 376404 h 1640572"/>
                  <a:gd name="connsiteX30" fmla="*/ 723899 w 1094739"/>
                  <a:gd name="connsiteY30" fmla="*/ 414504 h 1640572"/>
                  <a:gd name="connsiteX31" fmla="*/ 734060 w 1094739"/>
                  <a:gd name="connsiteY31" fmla="*/ 353544 h 1640572"/>
                  <a:gd name="connsiteX32" fmla="*/ 759459 w 1094739"/>
                  <a:gd name="connsiteY32" fmla="*/ 361164 h 1640572"/>
                  <a:gd name="connsiteX33" fmla="*/ 716279 w 1094739"/>
                  <a:gd name="connsiteY33" fmla="*/ 569444 h 1640572"/>
                  <a:gd name="connsiteX34" fmla="*/ 866139 w 1094739"/>
                  <a:gd name="connsiteY34" fmla="*/ 399264 h 1640572"/>
                  <a:gd name="connsiteX35" fmla="*/ 853440 w 1094739"/>
                  <a:gd name="connsiteY35" fmla="*/ 312904 h 1640572"/>
                  <a:gd name="connsiteX36" fmla="*/ 888999 w 1094739"/>
                  <a:gd name="connsiteY36" fmla="*/ 399264 h 1640572"/>
                  <a:gd name="connsiteX37" fmla="*/ 949959 w 1094739"/>
                  <a:gd name="connsiteY37" fmla="*/ 376404 h 1640572"/>
                  <a:gd name="connsiteX38" fmla="*/ 965199 w 1094739"/>
                  <a:gd name="connsiteY38" fmla="*/ 259564 h 1640572"/>
                  <a:gd name="connsiteX39" fmla="*/ 970279 w 1094739"/>
                  <a:gd name="connsiteY39" fmla="*/ 373864 h 1640572"/>
                  <a:gd name="connsiteX40" fmla="*/ 1094739 w 1094739"/>
                  <a:gd name="connsiteY40" fmla="*/ 330684 h 1640572"/>
                  <a:gd name="connsiteX41" fmla="*/ 876299 w 1094739"/>
                  <a:gd name="connsiteY41" fmla="*/ 434824 h 1640572"/>
                  <a:gd name="connsiteX42" fmla="*/ 739139 w 1094739"/>
                  <a:gd name="connsiteY42" fmla="*/ 589764 h 1640572"/>
                  <a:gd name="connsiteX43" fmla="*/ 495769 w 1094739"/>
                  <a:gd name="connsiteY43" fmla="*/ 926547 h 1640572"/>
                  <a:gd name="connsiteX44" fmla="*/ 520700 w 1094739"/>
                  <a:gd name="connsiteY44" fmla="*/ 1278104 h 1640572"/>
                  <a:gd name="connsiteX45" fmla="*/ 520700 w 1094739"/>
                  <a:gd name="connsiteY45" fmla="*/ 1636244 h 1640572"/>
                  <a:gd name="connsiteX46" fmla="*/ 363788 w 1094739"/>
                  <a:gd name="connsiteY46" fmla="*/ 1640572 h 1640572"/>
                  <a:gd name="connsiteX0" fmla="*/ 363788 w 970279"/>
                  <a:gd name="connsiteY0" fmla="*/ 1640572 h 1640572"/>
                  <a:gd name="connsiteX1" fmla="*/ 396240 w 970279"/>
                  <a:gd name="connsiteY1" fmla="*/ 1234924 h 1640572"/>
                  <a:gd name="connsiteX2" fmla="*/ 400000 w 970279"/>
                  <a:gd name="connsiteY2" fmla="*/ 954771 h 1640572"/>
                  <a:gd name="connsiteX3" fmla="*/ 414020 w 970279"/>
                  <a:gd name="connsiteY3" fmla="*/ 714224 h 1640572"/>
                  <a:gd name="connsiteX4" fmla="*/ 190600 w 970279"/>
                  <a:gd name="connsiteY4" fmla="*/ 574809 h 1640572"/>
                  <a:gd name="connsiteX5" fmla="*/ 96520 w 970279"/>
                  <a:gd name="connsiteY5" fmla="*/ 478004 h 1640572"/>
                  <a:gd name="connsiteX6" fmla="*/ 0 w 970279"/>
                  <a:gd name="connsiteY6" fmla="*/ 399264 h 1640572"/>
                  <a:gd name="connsiteX7" fmla="*/ 96520 w 970279"/>
                  <a:gd name="connsiteY7" fmla="*/ 442444 h 1640572"/>
                  <a:gd name="connsiteX8" fmla="*/ 109220 w 970279"/>
                  <a:gd name="connsiteY8" fmla="*/ 317984 h 1640572"/>
                  <a:gd name="connsiteX9" fmla="*/ 119379 w 970279"/>
                  <a:gd name="connsiteY9" fmla="*/ 455144 h 1640572"/>
                  <a:gd name="connsiteX10" fmla="*/ 203768 w 970279"/>
                  <a:gd name="connsiteY10" fmla="*/ 539717 h 1640572"/>
                  <a:gd name="connsiteX11" fmla="*/ 256539 w 970279"/>
                  <a:gd name="connsiteY11" fmla="*/ 577064 h 1640572"/>
                  <a:gd name="connsiteX12" fmla="*/ 259079 w 970279"/>
                  <a:gd name="connsiteY12" fmla="*/ 429744 h 1640572"/>
                  <a:gd name="connsiteX13" fmla="*/ 284479 w 970279"/>
                  <a:gd name="connsiteY13" fmla="*/ 587224 h 1640572"/>
                  <a:gd name="connsiteX14" fmla="*/ 432368 w 970279"/>
                  <a:gd name="connsiteY14" fmla="*/ 646681 h 1640572"/>
                  <a:gd name="connsiteX15" fmla="*/ 487781 w 970279"/>
                  <a:gd name="connsiteY15" fmla="*/ 412717 h 1640572"/>
                  <a:gd name="connsiteX16" fmla="*/ 365760 w 970279"/>
                  <a:gd name="connsiteY16" fmla="*/ 165584 h 1640572"/>
                  <a:gd name="connsiteX17" fmla="*/ 338672 w 970279"/>
                  <a:gd name="connsiteY17" fmla="*/ 0 h 1640572"/>
                  <a:gd name="connsiteX18" fmla="*/ 384576 w 970279"/>
                  <a:gd name="connsiteY18" fmla="*/ 159000 h 1640572"/>
                  <a:gd name="connsiteX19" fmla="*/ 411479 w 970279"/>
                  <a:gd name="connsiteY19" fmla="*/ 226544 h 1640572"/>
                  <a:gd name="connsiteX20" fmla="*/ 502919 w 970279"/>
                  <a:gd name="connsiteY20" fmla="*/ 58904 h 1640572"/>
                  <a:gd name="connsiteX21" fmla="*/ 426719 w 970279"/>
                  <a:gd name="connsiteY21" fmla="*/ 262104 h 1640572"/>
                  <a:gd name="connsiteX22" fmla="*/ 509605 w 970279"/>
                  <a:gd name="connsiteY22" fmla="*/ 385528 h 1640572"/>
                  <a:gd name="connsiteX23" fmla="*/ 631189 w 970279"/>
                  <a:gd name="connsiteY23" fmla="*/ 222734 h 1640572"/>
                  <a:gd name="connsiteX24" fmla="*/ 513080 w 970279"/>
                  <a:gd name="connsiteY24" fmla="*/ 432284 h 1640572"/>
                  <a:gd name="connsiteX25" fmla="*/ 485140 w 970279"/>
                  <a:gd name="connsiteY25" fmla="*/ 630404 h 1640572"/>
                  <a:gd name="connsiteX26" fmla="*/ 488149 w 970279"/>
                  <a:gd name="connsiteY26" fmla="*/ 845837 h 1640572"/>
                  <a:gd name="connsiteX27" fmla="*/ 688339 w 970279"/>
                  <a:gd name="connsiteY27" fmla="*/ 587224 h 1640572"/>
                  <a:gd name="connsiteX28" fmla="*/ 721359 w 970279"/>
                  <a:gd name="connsiteY28" fmla="*/ 434824 h 1640572"/>
                  <a:gd name="connsiteX29" fmla="*/ 673099 w 970279"/>
                  <a:gd name="connsiteY29" fmla="*/ 376404 h 1640572"/>
                  <a:gd name="connsiteX30" fmla="*/ 723899 w 970279"/>
                  <a:gd name="connsiteY30" fmla="*/ 414504 h 1640572"/>
                  <a:gd name="connsiteX31" fmla="*/ 734060 w 970279"/>
                  <a:gd name="connsiteY31" fmla="*/ 353544 h 1640572"/>
                  <a:gd name="connsiteX32" fmla="*/ 759459 w 970279"/>
                  <a:gd name="connsiteY32" fmla="*/ 361164 h 1640572"/>
                  <a:gd name="connsiteX33" fmla="*/ 716279 w 970279"/>
                  <a:gd name="connsiteY33" fmla="*/ 569444 h 1640572"/>
                  <a:gd name="connsiteX34" fmla="*/ 866139 w 970279"/>
                  <a:gd name="connsiteY34" fmla="*/ 399264 h 1640572"/>
                  <a:gd name="connsiteX35" fmla="*/ 853440 w 970279"/>
                  <a:gd name="connsiteY35" fmla="*/ 312904 h 1640572"/>
                  <a:gd name="connsiteX36" fmla="*/ 888999 w 970279"/>
                  <a:gd name="connsiteY36" fmla="*/ 399264 h 1640572"/>
                  <a:gd name="connsiteX37" fmla="*/ 949959 w 970279"/>
                  <a:gd name="connsiteY37" fmla="*/ 376404 h 1640572"/>
                  <a:gd name="connsiteX38" fmla="*/ 965199 w 970279"/>
                  <a:gd name="connsiteY38" fmla="*/ 259564 h 1640572"/>
                  <a:gd name="connsiteX39" fmla="*/ 970279 w 970279"/>
                  <a:gd name="connsiteY39" fmla="*/ 373864 h 1640572"/>
                  <a:gd name="connsiteX40" fmla="*/ 876299 w 970279"/>
                  <a:gd name="connsiteY40" fmla="*/ 434824 h 1640572"/>
                  <a:gd name="connsiteX41" fmla="*/ 739139 w 970279"/>
                  <a:gd name="connsiteY41" fmla="*/ 589764 h 1640572"/>
                  <a:gd name="connsiteX42" fmla="*/ 495769 w 970279"/>
                  <a:gd name="connsiteY42" fmla="*/ 926547 h 1640572"/>
                  <a:gd name="connsiteX43" fmla="*/ 520700 w 970279"/>
                  <a:gd name="connsiteY43" fmla="*/ 1278104 h 1640572"/>
                  <a:gd name="connsiteX44" fmla="*/ 520700 w 970279"/>
                  <a:gd name="connsiteY44" fmla="*/ 1636244 h 1640572"/>
                  <a:gd name="connsiteX45" fmla="*/ 363788 w 970279"/>
                  <a:gd name="connsiteY45" fmla="*/ 1640572 h 1640572"/>
                  <a:gd name="connsiteX0" fmla="*/ 363788 w 970279"/>
                  <a:gd name="connsiteY0" fmla="*/ 1640572 h 1640572"/>
                  <a:gd name="connsiteX1" fmla="*/ 396240 w 970279"/>
                  <a:gd name="connsiteY1" fmla="*/ 1234924 h 1640572"/>
                  <a:gd name="connsiteX2" fmla="*/ 400000 w 970279"/>
                  <a:gd name="connsiteY2" fmla="*/ 954771 h 1640572"/>
                  <a:gd name="connsiteX3" fmla="*/ 414020 w 970279"/>
                  <a:gd name="connsiteY3" fmla="*/ 714224 h 1640572"/>
                  <a:gd name="connsiteX4" fmla="*/ 190600 w 970279"/>
                  <a:gd name="connsiteY4" fmla="*/ 574809 h 1640572"/>
                  <a:gd name="connsiteX5" fmla="*/ 96520 w 970279"/>
                  <a:gd name="connsiteY5" fmla="*/ 478004 h 1640572"/>
                  <a:gd name="connsiteX6" fmla="*/ 0 w 970279"/>
                  <a:gd name="connsiteY6" fmla="*/ 399264 h 1640572"/>
                  <a:gd name="connsiteX7" fmla="*/ 96520 w 970279"/>
                  <a:gd name="connsiteY7" fmla="*/ 442444 h 1640572"/>
                  <a:gd name="connsiteX8" fmla="*/ 109220 w 970279"/>
                  <a:gd name="connsiteY8" fmla="*/ 317984 h 1640572"/>
                  <a:gd name="connsiteX9" fmla="*/ 119379 w 970279"/>
                  <a:gd name="connsiteY9" fmla="*/ 455144 h 1640572"/>
                  <a:gd name="connsiteX10" fmla="*/ 203768 w 970279"/>
                  <a:gd name="connsiteY10" fmla="*/ 539717 h 1640572"/>
                  <a:gd name="connsiteX11" fmla="*/ 256539 w 970279"/>
                  <a:gd name="connsiteY11" fmla="*/ 577064 h 1640572"/>
                  <a:gd name="connsiteX12" fmla="*/ 259079 w 970279"/>
                  <a:gd name="connsiteY12" fmla="*/ 429744 h 1640572"/>
                  <a:gd name="connsiteX13" fmla="*/ 284479 w 970279"/>
                  <a:gd name="connsiteY13" fmla="*/ 587224 h 1640572"/>
                  <a:gd name="connsiteX14" fmla="*/ 432368 w 970279"/>
                  <a:gd name="connsiteY14" fmla="*/ 646681 h 1640572"/>
                  <a:gd name="connsiteX15" fmla="*/ 487781 w 970279"/>
                  <a:gd name="connsiteY15" fmla="*/ 412717 h 1640572"/>
                  <a:gd name="connsiteX16" fmla="*/ 365760 w 970279"/>
                  <a:gd name="connsiteY16" fmla="*/ 165584 h 1640572"/>
                  <a:gd name="connsiteX17" fmla="*/ 338672 w 970279"/>
                  <a:gd name="connsiteY17" fmla="*/ 0 h 1640572"/>
                  <a:gd name="connsiteX18" fmla="*/ 384576 w 970279"/>
                  <a:gd name="connsiteY18" fmla="*/ 159000 h 1640572"/>
                  <a:gd name="connsiteX19" fmla="*/ 411479 w 970279"/>
                  <a:gd name="connsiteY19" fmla="*/ 226544 h 1640572"/>
                  <a:gd name="connsiteX20" fmla="*/ 502919 w 970279"/>
                  <a:gd name="connsiteY20" fmla="*/ 58904 h 1640572"/>
                  <a:gd name="connsiteX21" fmla="*/ 426719 w 970279"/>
                  <a:gd name="connsiteY21" fmla="*/ 262104 h 1640572"/>
                  <a:gd name="connsiteX22" fmla="*/ 509605 w 970279"/>
                  <a:gd name="connsiteY22" fmla="*/ 385528 h 1640572"/>
                  <a:gd name="connsiteX23" fmla="*/ 631189 w 970279"/>
                  <a:gd name="connsiteY23" fmla="*/ 222734 h 1640572"/>
                  <a:gd name="connsiteX24" fmla="*/ 513080 w 970279"/>
                  <a:gd name="connsiteY24" fmla="*/ 432284 h 1640572"/>
                  <a:gd name="connsiteX25" fmla="*/ 485140 w 970279"/>
                  <a:gd name="connsiteY25" fmla="*/ 630404 h 1640572"/>
                  <a:gd name="connsiteX26" fmla="*/ 488149 w 970279"/>
                  <a:gd name="connsiteY26" fmla="*/ 845837 h 1640572"/>
                  <a:gd name="connsiteX27" fmla="*/ 688339 w 970279"/>
                  <a:gd name="connsiteY27" fmla="*/ 587224 h 1640572"/>
                  <a:gd name="connsiteX28" fmla="*/ 721359 w 970279"/>
                  <a:gd name="connsiteY28" fmla="*/ 434824 h 1640572"/>
                  <a:gd name="connsiteX29" fmla="*/ 673099 w 970279"/>
                  <a:gd name="connsiteY29" fmla="*/ 376404 h 1640572"/>
                  <a:gd name="connsiteX30" fmla="*/ 723899 w 970279"/>
                  <a:gd name="connsiteY30" fmla="*/ 414504 h 1640572"/>
                  <a:gd name="connsiteX31" fmla="*/ 734060 w 970279"/>
                  <a:gd name="connsiteY31" fmla="*/ 353544 h 1640572"/>
                  <a:gd name="connsiteX32" fmla="*/ 759459 w 970279"/>
                  <a:gd name="connsiteY32" fmla="*/ 361164 h 1640572"/>
                  <a:gd name="connsiteX33" fmla="*/ 716279 w 970279"/>
                  <a:gd name="connsiteY33" fmla="*/ 569444 h 1640572"/>
                  <a:gd name="connsiteX34" fmla="*/ 866139 w 970279"/>
                  <a:gd name="connsiteY34" fmla="*/ 399264 h 1640572"/>
                  <a:gd name="connsiteX35" fmla="*/ 853440 w 970279"/>
                  <a:gd name="connsiteY35" fmla="*/ 312904 h 1640572"/>
                  <a:gd name="connsiteX36" fmla="*/ 888999 w 970279"/>
                  <a:gd name="connsiteY36" fmla="*/ 399264 h 1640572"/>
                  <a:gd name="connsiteX37" fmla="*/ 949959 w 970279"/>
                  <a:gd name="connsiteY37" fmla="*/ 376404 h 1640572"/>
                  <a:gd name="connsiteX38" fmla="*/ 970279 w 970279"/>
                  <a:gd name="connsiteY38" fmla="*/ 373864 h 1640572"/>
                  <a:gd name="connsiteX39" fmla="*/ 876299 w 970279"/>
                  <a:gd name="connsiteY39" fmla="*/ 434824 h 1640572"/>
                  <a:gd name="connsiteX40" fmla="*/ 739139 w 970279"/>
                  <a:gd name="connsiteY40" fmla="*/ 589764 h 1640572"/>
                  <a:gd name="connsiteX41" fmla="*/ 495769 w 970279"/>
                  <a:gd name="connsiteY41" fmla="*/ 926547 h 1640572"/>
                  <a:gd name="connsiteX42" fmla="*/ 520700 w 970279"/>
                  <a:gd name="connsiteY42" fmla="*/ 1278104 h 1640572"/>
                  <a:gd name="connsiteX43" fmla="*/ 520700 w 970279"/>
                  <a:gd name="connsiteY43" fmla="*/ 1636244 h 1640572"/>
                  <a:gd name="connsiteX44" fmla="*/ 363788 w 970279"/>
                  <a:gd name="connsiteY44" fmla="*/ 1640572 h 1640572"/>
                  <a:gd name="connsiteX0" fmla="*/ 363788 w 949959"/>
                  <a:gd name="connsiteY0" fmla="*/ 1640572 h 1640572"/>
                  <a:gd name="connsiteX1" fmla="*/ 396240 w 949959"/>
                  <a:gd name="connsiteY1" fmla="*/ 1234924 h 1640572"/>
                  <a:gd name="connsiteX2" fmla="*/ 400000 w 949959"/>
                  <a:gd name="connsiteY2" fmla="*/ 954771 h 1640572"/>
                  <a:gd name="connsiteX3" fmla="*/ 414020 w 949959"/>
                  <a:gd name="connsiteY3" fmla="*/ 714224 h 1640572"/>
                  <a:gd name="connsiteX4" fmla="*/ 190600 w 949959"/>
                  <a:gd name="connsiteY4" fmla="*/ 574809 h 1640572"/>
                  <a:gd name="connsiteX5" fmla="*/ 96520 w 949959"/>
                  <a:gd name="connsiteY5" fmla="*/ 478004 h 1640572"/>
                  <a:gd name="connsiteX6" fmla="*/ 0 w 949959"/>
                  <a:gd name="connsiteY6" fmla="*/ 399264 h 1640572"/>
                  <a:gd name="connsiteX7" fmla="*/ 96520 w 949959"/>
                  <a:gd name="connsiteY7" fmla="*/ 442444 h 1640572"/>
                  <a:gd name="connsiteX8" fmla="*/ 109220 w 949959"/>
                  <a:gd name="connsiteY8" fmla="*/ 317984 h 1640572"/>
                  <a:gd name="connsiteX9" fmla="*/ 119379 w 949959"/>
                  <a:gd name="connsiteY9" fmla="*/ 455144 h 1640572"/>
                  <a:gd name="connsiteX10" fmla="*/ 203768 w 949959"/>
                  <a:gd name="connsiteY10" fmla="*/ 539717 h 1640572"/>
                  <a:gd name="connsiteX11" fmla="*/ 256539 w 949959"/>
                  <a:gd name="connsiteY11" fmla="*/ 577064 h 1640572"/>
                  <a:gd name="connsiteX12" fmla="*/ 259079 w 949959"/>
                  <a:gd name="connsiteY12" fmla="*/ 429744 h 1640572"/>
                  <a:gd name="connsiteX13" fmla="*/ 284479 w 949959"/>
                  <a:gd name="connsiteY13" fmla="*/ 587224 h 1640572"/>
                  <a:gd name="connsiteX14" fmla="*/ 432368 w 949959"/>
                  <a:gd name="connsiteY14" fmla="*/ 646681 h 1640572"/>
                  <a:gd name="connsiteX15" fmla="*/ 487781 w 949959"/>
                  <a:gd name="connsiteY15" fmla="*/ 412717 h 1640572"/>
                  <a:gd name="connsiteX16" fmla="*/ 365760 w 949959"/>
                  <a:gd name="connsiteY16" fmla="*/ 165584 h 1640572"/>
                  <a:gd name="connsiteX17" fmla="*/ 338672 w 949959"/>
                  <a:gd name="connsiteY17" fmla="*/ 0 h 1640572"/>
                  <a:gd name="connsiteX18" fmla="*/ 384576 w 949959"/>
                  <a:gd name="connsiteY18" fmla="*/ 159000 h 1640572"/>
                  <a:gd name="connsiteX19" fmla="*/ 411479 w 949959"/>
                  <a:gd name="connsiteY19" fmla="*/ 226544 h 1640572"/>
                  <a:gd name="connsiteX20" fmla="*/ 502919 w 949959"/>
                  <a:gd name="connsiteY20" fmla="*/ 58904 h 1640572"/>
                  <a:gd name="connsiteX21" fmla="*/ 426719 w 949959"/>
                  <a:gd name="connsiteY21" fmla="*/ 262104 h 1640572"/>
                  <a:gd name="connsiteX22" fmla="*/ 509605 w 949959"/>
                  <a:gd name="connsiteY22" fmla="*/ 385528 h 1640572"/>
                  <a:gd name="connsiteX23" fmla="*/ 631189 w 949959"/>
                  <a:gd name="connsiteY23" fmla="*/ 222734 h 1640572"/>
                  <a:gd name="connsiteX24" fmla="*/ 513080 w 949959"/>
                  <a:gd name="connsiteY24" fmla="*/ 432284 h 1640572"/>
                  <a:gd name="connsiteX25" fmla="*/ 485140 w 949959"/>
                  <a:gd name="connsiteY25" fmla="*/ 630404 h 1640572"/>
                  <a:gd name="connsiteX26" fmla="*/ 488149 w 949959"/>
                  <a:gd name="connsiteY26" fmla="*/ 845837 h 1640572"/>
                  <a:gd name="connsiteX27" fmla="*/ 688339 w 949959"/>
                  <a:gd name="connsiteY27" fmla="*/ 587224 h 1640572"/>
                  <a:gd name="connsiteX28" fmla="*/ 721359 w 949959"/>
                  <a:gd name="connsiteY28" fmla="*/ 434824 h 1640572"/>
                  <a:gd name="connsiteX29" fmla="*/ 673099 w 949959"/>
                  <a:gd name="connsiteY29" fmla="*/ 376404 h 1640572"/>
                  <a:gd name="connsiteX30" fmla="*/ 723899 w 949959"/>
                  <a:gd name="connsiteY30" fmla="*/ 414504 h 1640572"/>
                  <a:gd name="connsiteX31" fmla="*/ 734060 w 949959"/>
                  <a:gd name="connsiteY31" fmla="*/ 353544 h 1640572"/>
                  <a:gd name="connsiteX32" fmla="*/ 759459 w 949959"/>
                  <a:gd name="connsiteY32" fmla="*/ 361164 h 1640572"/>
                  <a:gd name="connsiteX33" fmla="*/ 716279 w 949959"/>
                  <a:gd name="connsiteY33" fmla="*/ 569444 h 1640572"/>
                  <a:gd name="connsiteX34" fmla="*/ 866139 w 949959"/>
                  <a:gd name="connsiteY34" fmla="*/ 399264 h 1640572"/>
                  <a:gd name="connsiteX35" fmla="*/ 853440 w 949959"/>
                  <a:gd name="connsiteY35" fmla="*/ 312904 h 1640572"/>
                  <a:gd name="connsiteX36" fmla="*/ 888999 w 949959"/>
                  <a:gd name="connsiteY36" fmla="*/ 399264 h 1640572"/>
                  <a:gd name="connsiteX37" fmla="*/ 949959 w 949959"/>
                  <a:gd name="connsiteY37" fmla="*/ 376404 h 1640572"/>
                  <a:gd name="connsiteX38" fmla="*/ 876299 w 949959"/>
                  <a:gd name="connsiteY38" fmla="*/ 434824 h 1640572"/>
                  <a:gd name="connsiteX39" fmla="*/ 739139 w 949959"/>
                  <a:gd name="connsiteY39" fmla="*/ 589764 h 1640572"/>
                  <a:gd name="connsiteX40" fmla="*/ 495769 w 949959"/>
                  <a:gd name="connsiteY40" fmla="*/ 926547 h 1640572"/>
                  <a:gd name="connsiteX41" fmla="*/ 520700 w 949959"/>
                  <a:gd name="connsiteY41" fmla="*/ 1278104 h 1640572"/>
                  <a:gd name="connsiteX42" fmla="*/ 520700 w 949959"/>
                  <a:gd name="connsiteY42" fmla="*/ 1636244 h 1640572"/>
                  <a:gd name="connsiteX43" fmla="*/ 363788 w 949959"/>
                  <a:gd name="connsiteY43" fmla="*/ 1640572 h 1640572"/>
                  <a:gd name="connsiteX0" fmla="*/ 363788 w 949959"/>
                  <a:gd name="connsiteY0" fmla="*/ 1640572 h 1640572"/>
                  <a:gd name="connsiteX1" fmla="*/ 396240 w 949959"/>
                  <a:gd name="connsiteY1" fmla="*/ 1234924 h 1640572"/>
                  <a:gd name="connsiteX2" fmla="*/ 400000 w 949959"/>
                  <a:gd name="connsiteY2" fmla="*/ 954771 h 1640572"/>
                  <a:gd name="connsiteX3" fmla="*/ 414020 w 949959"/>
                  <a:gd name="connsiteY3" fmla="*/ 714224 h 1640572"/>
                  <a:gd name="connsiteX4" fmla="*/ 190600 w 949959"/>
                  <a:gd name="connsiteY4" fmla="*/ 574809 h 1640572"/>
                  <a:gd name="connsiteX5" fmla="*/ 96520 w 949959"/>
                  <a:gd name="connsiteY5" fmla="*/ 478004 h 1640572"/>
                  <a:gd name="connsiteX6" fmla="*/ 0 w 949959"/>
                  <a:gd name="connsiteY6" fmla="*/ 399264 h 1640572"/>
                  <a:gd name="connsiteX7" fmla="*/ 96520 w 949959"/>
                  <a:gd name="connsiteY7" fmla="*/ 442444 h 1640572"/>
                  <a:gd name="connsiteX8" fmla="*/ 109220 w 949959"/>
                  <a:gd name="connsiteY8" fmla="*/ 317984 h 1640572"/>
                  <a:gd name="connsiteX9" fmla="*/ 119379 w 949959"/>
                  <a:gd name="connsiteY9" fmla="*/ 455144 h 1640572"/>
                  <a:gd name="connsiteX10" fmla="*/ 203768 w 949959"/>
                  <a:gd name="connsiteY10" fmla="*/ 539717 h 1640572"/>
                  <a:gd name="connsiteX11" fmla="*/ 256539 w 949959"/>
                  <a:gd name="connsiteY11" fmla="*/ 577064 h 1640572"/>
                  <a:gd name="connsiteX12" fmla="*/ 259079 w 949959"/>
                  <a:gd name="connsiteY12" fmla="*/ 429744 h 1640572"/>
                  <a:gd name="connsiteX13" fmla="*/ 284479 w 949959"/>
                  <a:gd name="connsiteY13" fmla="*/ 587224 h 1640572"/>
                  <a:gd name="connsiteX14" fmla="*/ 432368 w 949959"/>
                  <a:gd name="connsiteY14" fmla="*/ 646681 h 1640572"/>
                  <a:gd name="connsiteX15" fmla="*/ 487781 w 949959"/>
                  <a:gd name="connsiteY15" fmla="*/ 412717 h 1640572"/>
                  <a:gd name="connsiteX16" fmla="*/ 365760 w 949959"/>
                  <a:gd name="connsiteY16" fmla="*/ 165584 h 1640572"/>
                  <a:gd name="connsiteX17" fmla="*/ 338672 w 949959"/>
                  <a:gd name="connsiteY17" fmla="*/ 0 h 1640572"/>
                  <a:gd name="connsiteX18" fmla="*/ 384576 w 949959"/>
                  <a:gd name="connsiteY18" fmla="*/ 159000 h 1640572"/>
                  <a:gd name="connsiteX19" fmla="*/ 411479 w 949959"/>
                  <a:gd name="connsiteY19" fmla="*/ 226544 h 1640572"/>
                  <a:gd name="connsiteX20" fmla="*/ 502919 w 949959"/>
                  <a:gd name="connsiteY20" fmla="*/ 58904 h 1640572"/>
                  <a:gd name="connsiteX21" fmla="*/ 426719 w 949959"/>
                  <a:gd name="connsiteY21" fmla="*/ 262104 h 1640572"/>
                  <a:gd name="connsiteX22" fmla="*/ 509605 w 949959"/>
                  <a:gd name="connsiteY22" fmla="*/ 385528 h 1640572"/>
                  <a:gd name="connsiteX23" fmla="*/ 631189 w 949959"/>
                  <a:gd name="connsiteY23" fmla="*/ 222734 h 1640572"/>
                  <a:gd name="connsiteX24" fmla="*/ 513080 w 949959"/>
                  <a:gd name="connsiteY24" fmla="*/ 432284 h 1640572"/>
                  <a:gd name="connsiteX25" fmla="*/ 485140 w 949959"/>
                  <a:gd name="connsiteY25" fmla="*/ 630404 h 1640572"/>
                  <a:gd name="connsiteX26" fmla="*/ 488149 w 949959"/>
                  <a:gd name="connsiteY26" fmla="*/ 845837 h 1640572"/>
                  <a:gd name="connsiteX27" fmla="*/ 688339 w 949959"/>
                  <a:gd name="connsiteY27" fmla="*/ 587224 h 1640572"/>
                  <a:gd name="connsiteX28" fmla="*/ 721359 w 949959"/>
                  <a:gd name="connsiteY28" fmla="*/ 434824 h 1640572"/>
                  <a:gd name="connsiteX29" fmla="*/ 673099 w 949959"/>
                  <a:gd name="connsiteY29" fmla="*/ 376404 h 1640572"/>
                  <a:gd name="connsiteX30" fmla="*/ 723899 w 949959"/>
                  <a:gd name="connsiteY30" fmla="*/ 414504 h 1640572"/>
                  <a:gd name="connsiteX31" fmla="*/ 734060 w 949959"/>
                  <a:gd name="connsiteY31" fmla="*/ 353544 h 1640572"/>
                  <a:gd name="connsiteX32" fmla="*/ 759459 w 949959"/>
                  <a:gd name="connsiteY32" fmla="*/ 361164 h 1640572"/>
                  <a:gd name="connsiteX33" fmla="*/ 716279 w 949959"/>
                  <a:gd name="connsiteY33" fmla="*/ 569444 h 1640572"/>
                  <a:gd name="connsiteX34" fmla="*/ 866139 w 949959"/>
                  <a:gd name="connsiteY34" fmla="*/ 399264 h 1640572"/>
                  <a:gd name="connsiteX35" fmla="*/ 853440 w 949959"/>
                  <a:gd name="connsiteY35" fmla="*/ 312904 h 1640572"/>
                  <a:gd name="connsiteX36" fmla="*/ 888999 w 949959"/>
                  <a:gd name="connsiteY36" fmla="*/ 399264 h 1640572"/>
                  <a:gd name="connsiteX37" fmla="*/ 949959 w 949959"/>
                  <a:gd name="connsiteY37" fmla="*/ 376404 h 1640572"/>
                  <a:gd name="connsiteX38" fmla="*/ 794067 w 949959"/>
                  <a:gd name="connsiteY38" fmla="*/ 534369 h 1640572"/>
                  <a:gd name="connsiteX39" fmla="*/ 739139 w 949959"/>
                  <a:gd name="connsiteY39" fmla="*/ 589764 h 1640572"/>
                  <a:gd name="connsiteX40" fmla="*/ 495769 w 949959"/>
                  <a:gd name="connsiteY40" fmla="*/ 926547 h 1640572"/>
                  <a:gd name="connsiteX41" fmla="*/ 520700 w 949959"/>
                  <a:gd name="connsiteY41" fmla="*/ 1278104 h 1640572"/>
                  <a:gd name="connsiteX42" fmla="*/ 520700 w 949959"/>
                  <a:gd name="connsiteY42" fmla="*/ 1636244 h 1640572"/>
                  <a:gd name="connsiteX43" fmla="*/ 363788 w 949959"/>
                  <a:gd name="connsiteY43" fmla="*/ 1640572 h 1640572"/>
                  <a:gd name="connsiteX0" fmla="*/ 363788 w 888999"/>
                  <a:gd name="connsiteY0" fmla="*/ 1640572 h 1640572"/>
                  <a:gd name="connsiteX1" fmla="*/ 396240 w 888999"/>
                  <a:gd name="connsiteY1" fmla="*/ 1234924 h 1640572"/>
                  <a:gd name="connsiteX2" fmla="*/ 400000 w 888999"/>
                  <a:gd name="connsiteY2" fmla="*/ 954771 h 1640572"/>
                  <a:gd name="connsiteX3" fmla="*/ 414020 w 888999"/>
                  <a:gd name="connsiteY3" fmla="*/ 714224 h 1640572"/>
                  <a:gd name="connsiteX4" fmla="*/ 190600 w 888999"/>
                  <a:gd name="connsiteY4" fmla="*/ 574809 h 1640572"/>
                  <a:gd name="connsiteX5" fmla="*/ 96520 w 888999"/>
                  <a:gd name="connsiteY5" fmla="*/ 478004 h 1640572"/>
                  <a:gd name="connsiteX6" fmla="*/ 0 w 888999"/>
                  <a:gd name="connsiteY6" fmla="*/ 399264 h 1640572"/>
                  <a:gd name="connsiteX7" fmla="*/ 96520 w 888999"/>
                  <a:gd name="connsiteY7" fmla="*/ 442444 h 1640572"/>
                  <a:gd name="connsiteX8" fmla="*/ 109220 w 888999"/>
                  <a:gd name="connsiteY8" fmla="*/ 317984 h 1640572"/>
                  <a:gd name="connsiteX9" fmla="*/ 119379 w 888999"/>
                  <a:gd name="connsiteY9" fmla="*/ 455144 h 1640572"/>
                  <a:gd name="connsiteX10" fmla="*/ 203768 w 888999"/>
                  <a:gd name="connsiteY10" fmla="*/ 539717 h 1640572"/>
                  <a:gd name="connsiteX11" fmla="*/ 256539 w 888999"/>
                  <a:gd name="connsiteY11" fmla="*/ 577064 h 1640572"/>
                  <a:gd name="connsiteX12" fmla="*/ 259079 w 888999"/>
                  <a:gd name="connsiteY12" fmla="*/ 429744 h 1640572"/>
                  <a:gd name="connsiteX13" fmla="*/ 284479 w 888999"/>
                  <a:gd name="connsiteY13" fmla="*/ 587224 h 1640572"/>
                  <a:gd name="connsiteX14" fmla="*/ 432368 w 888999"/>
                  <a:gd name="connsiteY14" fmla="*/ 646681 h 1640572"/>
                  <a:gd name="connsiteX15" fmla="*/ 487781 w 888999"/>
                  <a:gd name="connsiteY15" fmla="*/ 412717 h 1640572"/>
                  <a:gd name="connsiteX16" fmla="*/ 365760 w 888999"/>
                  <a:gd name="connsiteY16" fmla="*/ 165584 h 1640572"/>
                  <a:gd name="connsiteX17" fmla="*/ 338672 w 888999"/>
                  <a:gd name="connsiteY17" fmla="*/ 0 h 1640572"/>
                  <a:gd name="connsiteX18" fmla="*/ 384576 w 888999"/>
                  <a:gd name="connsiteY18" fmla="*/ 159000 h 1640572"/>
                  <a:gd name="connsiteX19" fmla="*/ 411479 w 888999"/>
                  <a:gd name="connsiteY19" fmla="*/ 226544 h 1640572"/>
                  <a:gd name="connsiteX20" fmla="*/ 502919 w 888999"/>
                  <a:gd name="connsiteY20" fmla="*/ 58904 h 1640572"/>
                  <a:gd name="connsiteX21" fmla="*/ 426719 w 888999"/>
                  <a:gd name="connsiteY21" fmla="*/ 262104 h 1640572"/>
                  <a:gd name="connsiteX22" fmla="*/ 509605 w 888999"/>
                  <a:gd name="connsiteY22" fmla="*/ 385528 h 1640572"/>
                  <a:gd name="connsiteX23" fmla="*/ 631189 w 888999"/>
                  <a:gd name="connsiteY23" fmla="*/ 222734 h 1640572"/>
                  <a:gd name="connsiteX24" fmla="*/ 513080 w 888999"/>
                  <a:gd name="connsiteY24" fmla="*/ 432284 h 1640572"/>
                  <a:gd name="connsiteX25" fmla="*/ 485140 w 888999"/>
                  <a:gd name="connsiteY25" fmla="*/ 630404 h 1640572"/>
                  <a:gd name="connsiteX26" fmla="*/ 488149 w 888999"/>
                  <a:gd name="connsiteY26" fmla="*/ 845837 h 1640572"/>
                  <a:gd name="connsiteX27" fmla="*/ 688339 w 888999"/>
                  <a:gd name="connsiteY27" fmla="*/ 587224 h 1640572"/>
                  <a:gd name="connsiteX28" fmla="*/ 721359 w 888999"/>
                  <a:gd name="connsiteY28" fmla="*/ 434824 h 1640572"/>
                  <a:gd name="connsiteX29" fmla="*/ 673099 w 888999"/>
                  <a:gd name="connsiteY29" fmla="*/ 376404 h 1640572"/>
                  <a:gd name="connsiteX30" fmla="*/ 723899 w 888999"/>
                  <a:gd name="connsiteY30" fmla="*/ 414504 h 1640572"/>
                  <a:gd name="connsiteX31" fmla="*/ 734060 w 888999"/>
                  <a:gd name="connsiteY31" fmla="*/ 353544 h 1640572"/>
                  <a:gd name="connsiteX32" fmla="*/ 759459 w 888999"/>
                  <a:gd name="connsiteY32" fmla="*/ 361164 h 1640572"/>
                  <a:gd name="connsiteX33" fmla="*/ 716279 w 888999"/>
                  <a:gd name="connsiteY33" fmla="*/ 569444 h 1640572"/>
                  <a:gd name="connsiteX34" fmla="*/ 866139 w 888999"/>
                  <a:gd name="connsiteY34" fmla="*/ 399264 h 1640572"/>
                  <a:gd name="connsiteX35" fmla="*/ 853440 w 888999"/>
                  <a:gd name="connsiteY35" fmla="*/ 312904 h 1640572"/>
                  <a:gd name="connsiteX36" fmla="*/ 888999 w 888999"/>
                  <a:gd name="connsiteY36" fmla="*/ 399264 h 1640572"/>
                  <a:gd name="connsiteX37" fmla="*/ 794067 w 888999"/>
                  <a:gd name="connsiteY37" fmla="*/ 534369 h 1640572"/>
                  <a:gd name="connsiteX38" fmla="*/ 739139 w 888999"/>
                  <a:gd name="connsiteY38" fmla="*/ 589764 h 1640572"/>
                  <a:gd name="connsiteX39" fmla="*/ 495769 w 888999"/>
                  <a:gd name="connsiteY39" fmla="*/ 926547 h 1640572"/>
                  <a:gd name="connsiteX40" fmla="*/ 520700 w 888999"/>
                  <a:gd name="connsiteY40" fmla="*/ 1278104 h 1640572"/>
                  <a:gd name="connsiteX41" fmla="*/ 520700 w 888999"/>
                  <a:gd name="connsiteY41" fmla="*/ 1636244 h 1640572"/>
                  <a:gd name="connsiteX42" fmla="*/ 363788 w 888999"/>
                  <a:gd name="connsiteY42" fmla="*/ 1640572 h 1640572"/>
                  <a:gd name="connsiteX0" fmla="*/ 363788 w 866139"/>
                  <a:gd name="connsiteY0" fmla="*/ 1640572 h 1640572"/>
                  <a:gd name="connsiteX1" fmla="*/ 396240 w 866139"/>
                  <a:gd name="connsiteY1" fmla="*/ 1234924 h 1640572"/>
                  <a:gd name="connsiteX2" fmla="*/ 400000 w 866139"/>
                  <a:gd name="connsiteY2" fmla="*/ 954771 h 1640572"/>
                  <a:gd name="connsiteX3" fmla="*/ 414020 w 866139"/>
                  <a:gd name="connsiteY3" fmla="*/ 714224 h 1640572"/>
                  <a:gd name="connsiteX4" fmla="*/ 190600 w 866139"/>
                  <a:gd name="connsiteY4" fmla="*/ 574809 h 1640572"/>
                  <a:gd name="connsiteX5" fmla="*/ 96520 w 866139"/>
                  <a:gd name="connsiteY5" fmla="*/ 478004 h 1640572"/>
                  <a:gd name="connsiteX6" fmla="*/ 0 w 866139"/>
                  <a:gd name="connsiteY6" fmla="*/ 399264 h 1640572"/>
                  <a:gd name="connsiteX7" fmla="*/ 96520 w 866139"/>
                  <a:gd name="connsiteY7" fmla="*/ 442444 h 1640572"/>
                  <a:gd name="connsiteX8" fmla="*/ 109220 w 866139"/>
                  <a:gd name="connsiteY8" fmla="*/ 317984 h 1640572"/>
                  <a:gd name="connsiteX9" fmla="*/ 119379 w 866139"/>
                  <a:gd name="connsiteY9" fmla="*/ 455144 h 1640572"/>
                  <a:gd name="connsiteX10" fmla="*/ 203768 w 866139"/>
                  <a:gd name="connsiteY10" fmla="*/ 539717 h 1640572"/>
                  <a:gd name="connsiteX11" fmla="*/ 256539 w 866139"/>
                  <a:gd name="connsiteY11" fmla="*/ 577064 h 1640572"/>
                  <a:gd name="connsiteX12" fmla="*/ 259079 w 866139"/>
                  <a:gd name="connsiteY12" fmla="*/ 429744 h 1640572"/>
                  <a:gd name="connsiteX13" fmla="*/ 284479 w 866139"/>
                  <a:gd name="connsiteY13" fmla="*/ 587224 h 1640572"/>
                  <a:gd name="connsiteX14" fmla="*/ 432368 w 866139"/>
                  <a:gd name="connsiteY14" fmla="*/ 646681 h 1640572"/>
                  <a:gd name="connsiteX15" fmla="*/ 487781 w 866139"/>
                  <a:gd name="connsiteY15" fmla="*/ 412717 h 1640572"/>
                  <a:gd name="connsiteX16" fmla="*/ 365760 w 866139"/>
                  <a:gd name="connsiteY16" fmla="*/ 165584 h 1640572"/>
                  <a:gd name="connsiteX17" fmla="*/ 338672 w 866139"/>
                  <a:gd name="connsiteY17" fmla="*/ 0 h 1640572"/>
                  <a:gd name="connsiteX18" fmla="*/ 384576 w 866139"/>
                  <a:gd name="connsiteY18" fmla="*/ 159000 h 1640572"/>
                  <a:gd name="connsiteX19" fmla="*/ 411479 w 866139"/>
                  <a:gd name="connsiteY19" fmla="*/ 226544 h 1640572"/>
                  <a:gd name="connsiteX20" fmla="*/ 502919 w 866139"/>
                  <a:gd name="connsiteY20" fmla="*/ 58904 h 1640572"/>
                  <a:gd name="connsiteX21" fmla="*/ 426719 w 866139"/>
                  <a:gd name="connsiteY21" fmla="*/ 262104 h 1640572"/>
                  <a:gd name="connsiteX22" fmla="*/ 509605 w 866139"/>
                  <a:gd name="connsiteY22" fmla="*/ 385528 h 1640572"/>
                  <a:gd name="connsiteX23" fmla="*/ 631189 w 866139"/>
                  <a:gd name="connsiteY23" fmla="*/ 222734 h 1640572"/>
                  <a:gd name="connsiteX24" fmla="*/ 513080 w 866139"/>
                  <a:gd name="connsiteY24" fmla="*/ 432284 h 1640572"/>
                  <a:gd name="connsiteX25" fmla="*/ 485140 w 866139"/>
                  <a:gd name="connsiteY25" fmla="*/ 630404 h 1640572"/>
                  <a:gd name="connsiteX26" fmla="*/ 488149 w 866139"/>
                  <a:gd name="connsiteY26" fmla="*/ 845837 h 1640572"/>
                  <a:gd name="connsiteX27" fmla="*/ 688339 w 866139"/>
                  <a:gd name="connsiteY27" fmla="*/ 587224 h 1640572"/>
                  <a:gd name="connsiteX28" fmla="*/ 721359 w 866139"/>
                  <a:gd name="connsiteY28" fmla="*/ 434824 h 1640572"/>
                  <a:gd name="connsiteX29" fmla="*/ 673099 w 866139"/>
                  <a:gd name="connsiteY29" fmla="*/ 376404 h 1640572"/>
                  <a:gd name="connsiteX30" fmla="*/ 723899 w 866139"/>
                  <a:gd name="connsiteY30" fmla="*/ 414504 h 1640572"/>
                  <a:gd name="connsiteX31" fmla="*/ 734060 w 866139"/>
                  <a:gd name="connsiteY31" fmla="*/ 353544 h 1640572"/>
                  <a:gd name="connsiteX32" fmla="*/ 759459 w 866139"/>
                  <a:gd name="connsiteY32" fmla="*/ 361164 h 1640572"/>
                  <a:gd name="connsiteX33" fmla="*/ 716279 w 866139"/>
                  <a:gd name="connsiteY33" fmla="*/ 569444 h 1640572"/>
                  <a:gd name="connsiteX34" fmla="*/ 866139 w 866139"/>
                  <a:gd name="connsiteY34" fmla="*/ 399264 h 1640572"/>
                  <a:gd name="connsiteX35" fmla="*/ 853440 w 866139"/>
                  <a:gd name="connsiteY35" fmla="*/ 312904 h 1640572"/>
                  <a:gd name="connsiteX36" fmla="*/ 794067 w 866139"/>
                  <a:gd name="connsiteY36" fmla="*/ 534369 h 1640572"/>
                  <a:gd name="connsiteX37" fmla="*/ 739139 w 866139"/>
                  <a:gd name="connsiteY37" fmla="*/ 589764 h 1640572"/>
                  <a:gd name="connsiteX38" fmla="*/ 495769 w 866139"/>
                  <a:gd name="connsiteY38" fmla="*/ 926547 h 1640572"/>
                  <a:gd name="connsiteX39" fmla="*/ 520700 w 866139"/>
                  <a:gd name="connsiteY39" fmla="*/ 1278104 h 1640572"/>
                  <a:gd name="connsiteX40" fmla="*/ 520700 w 866139"/>
                  <a:gd name="connsiteY40" fmla="*/ 1636244 h 1640572"/>
                  <a:gd name="connsiteX41" fmla="*/ 363788 w 866139"/>
                  <a:gd name="connsiteY41" fmla="*/ 1640572 h 1640572"/>
                  <a:gd name="connsiteX0" fmla="*/ 363788 w 853439"/>
                  <a:gd name="connsiteY0" fmla="*/ 1640572 h 1640572"/>
                  <a:gd name="connsiteX1" fmla="*/ 396240 w 853439"/>
                  <a:gd name="connsiteY1" fmla="*/ 1234924 h 1640572"/>
                  <a:gd name="connsiteX2" fmla="*/ 400000 w 853439"/>
                  <a:gd name="connsiteY2" fmla="*/ 954771 h 1640572"/>
                  <a:gd name="connsiteX3" fmla="*/ 414020 w 853439"/>
                  <a:gd name="connsiteY3" fmla="*/ 714224 h 1640572"/>
                  <a:gd name="connsiteX4" fmla="*/ 190600 w 853439"/>
                  <a:gd name="connsiteY4" fmla="*/ 574809 h 1640572"/>
                  <a:gd name="connsiteX5" fmla="*/ 96520 w 853439"/>
                  <a:gd name="connsiteY5" fmla="*/ 478004 h 1640572"/>
                  <a:gd name="connsiteX6" fmla="*/ 0 w 853439"/>
                  <a:gd name="connsiteY6" fmla="*/ 399264 h 1640572"/>
                  <a:gd name="connsiteX7" fmla="*/ 96520 w 853439"/>
                  <a:gd name="connsiteY7" fmla="*/ 442444 h 1640572"/>
                  <a:gd name="connsiteX8" fmla="*/ 109220 w 853439"/>
                  <a:gd name="connsiteY8" fmla="*/ 317984 h 1640572"/>
                  <a:gd name="connsiteX9" fmla="*/ 119379 w 853439"/>
                  <a:gd name="connsiteY9" fmla="*/ 455144 h 1640572"/>
                  <a:gd name="connsiteX10" fmla="*/ 203768 w 853439"/>
                  <a:gd name="connsiteY10" fmla="*/ 539717 h 1640572"/>
                  <a:gd name="connsiteX11" fmla="*/ 256539 w 853439"/>
                  <a:gd name="connsiteY11" fmla="*/ 577064 h 1640572"/>
                  <a:gd name="connsiteX12" fmla="*/ 259079 w 853439"/>
                  <a:gd name="connsiteY12" fmla="*/ 429744 h 1640572"/>
                  <a:gd name="connsiteX13" fmla="*/ 284479 w 853439"/>
                  <a:gd name="connsiteY13" fmla="*/ 587224 h 1640572"/>
                  <a:gd name="connsiteX14" fmla="*/ 432368 w 853439"/>
                  <a:gd name="connsiteY14" fmla="*/ 646681 h 1640572"/>
                  <a:gd name="connsiteX15" fmla="*/ 487781 w 853439"/>
                  <a:gd name="connsiteY15" fmla="*/ 412717 h 1640572"/>
                  <a:gd name="connsiteX16" fmla="*/ 365760 w 853439"/>
                  <a:gd name="connsiteY16" fmla="*/ 165584 h 1640572"/>
                  <a:gd name="connsiteX17" fmla="*/ 338672 w 853439"/>
                  <a:gd name="connsiteY17" fmla="*/ 0 h 1640572"/>
                  <a:gd name="connsiteX18" fmla="*/ 384576 w 853439"/>
                  <a:gd name="connsiteY18" fmla="*/ 159000 h 1640572"/>
                  <a:gd name="connsiteX19" fmla="*/ 411479 w 853439"/>
                  <a:gd name="connsiteY19" fmla="*/ 226544 h 1640572"/>
                  <a:gd name="connsiteX20" fmla="*/ 502919 w 853439"/>
                  <a:gd name="connsiteY20" fmla="*/ 58904 h 1640572"/>
                  <a:gd name="connsiteX21" fmla="*/ 426719 w 853439"/>
                  <a:gd name="connsiteY21" fmla="*/ 262104 h 1640572"/>
                  <a:gd name="connsiteX22" fmla="*/ 509605 w 853439"/>
                  <a:gd name="connsiteY22" fmla="*/ 385528 h 1640572"/>
                  <a:gd name="connsiteX23" fmla="*/ 631189 w 853439"/>
                  <a:gd name="connsiteY23" fmla="*/ 222734 h 1640572"/>
                  <a:gd name="connsiteX24" fmla="*/ 513080 w 853439"/>
                  <a:gd name="connsiteY24" fmla="*/ 432284 h 1640572"/>
                  <a:gd name="connsiteX25" fmla="*/ 485140 w 853439"/>
                  <a:gd name="connsiteY25" fmla="*/ 630404 h 1640572"/>
                  <a:gd name="connsiteX26" fmla="*/ 488149 w 853439"/>
                  <a:gd name="connsiteY26" fmla="*/ 845837 h 1640572"/>
                  <a:gd name="connsiteX27" fmla="*/ 688339 w 853439"/>
                  <a:gd name="connsiteY27" fmla="*/ 587224 h 1640572"/>
                  <a:gd name="connsiteX28" fmla="*/ 721359 w 853439"/>
                  <a:gd name="connsiteY28" fmla="*/ 434824 h 1640572"/>
                  <a:gd name="connsiteX29" fmla="*/ 673099 w 853439"/>
                  <a:gd name="connsiteY29" fmla="*/ 376404 h 1640572"/>
                  <a:gd name="connsiteX30" fmla="*/ 723899 w 853439"/>
                  <a:gd name="connsiteY30" fmla="*/ 414504 h 1640572"/>
                  <a:gd name="connsiteX31" fmla="*/ 734060 w 853439"/>
                  <a:gd name="connsiteY31" fmla="*/ 353544 h 1640572"/>
                  <a:gd name="connsiteX32" fmla="*/ 759459 w 853439"/>
                  <a:gd name="connsiteY32" fmla="*/ 361164 h 1640572"/>
                  <a:gd name="connsiteX33" fmla="*/ 716279 w 853439"/>
                  <a:gd name="connsiteY33" fmla="*/ 569444 h 1640572"/>
                  <a:gd name="connsiteX34" fmla="*/ 853440 w 853439"/>
                  <a:gd name="connsiteY34" fmla="*/ 312904 h 1640572"/>
                  <a:gd name="connsiteX35" fmla="*/ 794067 w 853439"/>
                  <a:gd name="connsiteY35" fmla="*/ 534369 h 1640572"/>
                  <a:gd name="connsiteX36" fmla="*/ 739139 w 853439"/>
                  <a:gd name="connsiteY36" fmla="*/ 589764 h 1640572"/>
                  <a:gd name="connsiteX37" fmla="*/ 495769 w 853439"/>
                  <a:gd name="connsiteY37" fmla="*/ 926547 h 1640572"/>
                  <a:gd name="connsiteX38" fmla="*/ 520700 w 853439"/>
                  <a:gd name="connsiteY38" fmla="*/ 1278104 h 1640572"/>
                  <a:gd name="connsiteX39" fmla="*/ 520700 w 853439"/>
                  <a:gd name="connsiteY39" fmla="*/ 1636244 h 1640572"/>
                  <a:gd name="connsiteX40" fmla="*/ 363788 w 853439"/>
                  <a:gd name="connsiteY40" fmla="*/ 1640572 h 1640572"/>
                  <a:gd name="connsiteX0" fmla="*/ 363788 w 794067"/>
                  <a:gd name="connsiteY0" fmla="*/ 1640572 h 1640572"/>
                  <a:gd name="connsiteX1" fmla="*/ 396240 w 794067"/>
                  <a:gd name="connsiteY1" fmla="*/ 1234924 h 1640572"/>
                  <a:gd name="connsiteX2" fmla="*/ 400000 w 794067"/>
                  <a:gd name="connsiteY2" fmla="*/ 954771 h 1640572"/>
                  <a:gd name="connsiteX3" fmla="*/ 414020 w 794067"/>
                  <a:gd name="connsiteY3" fmla="*/ 714224 h 1640572"/>
                  <a:gd name="connsiteX4" fmla="*/ 190600 w 794067"/>
                  <a:gd name="connsiteY4" fmla="*/ 574809 h 1640572"/>
                  <a:gd name="connsiteX5" fmla="*/ 96520 w 794067"/>
                  <a:gd name="connsiteY5" fmla="*/ 478004 h 1640572"/>
                  <a:gd name="connsiteX6" fmla="*/ 0 w 794067"/>
                  <a:gd name="connsiteY6" fmla="*/ 399264 h 1640572"/>
                  <a:gd name="connsiteX7" fmla="*/ 96520 w 794067"/>
                  <a:gd name="connsiteY7" fmla="*/ 442444 h 1640572"/>
                  <a:gd name="connsiteX8" fmla="*/ 109220 w 794067"/>
                  <a:gd name="connsiteY8" fmla="*/ 317984 h 1640572"/>
                  <a:gd name="connsiteX9" fmla="*/ 119379 w 794067"/>
                  <a:gd name="connsiteY9" fmla="*/ 455144 h 1640572"/>
                  <a:gd name="connsiteX10" fmla="*/ 203768 w 794067"/>
                  <a:gd name="connsiteY10" fmla="*/ 539717 h 1640572"/>
                  <a:gd name="connsiteX11" fmla="*/ 256539 w 794067"/>
                  <a:gd name="connsiteY11" fmla="*/ 577064 h 1640572"/>
                  <a:gd name="connsiteX12" fmla="*/ 259079 w 794067"/>
                  <a:gd name="connsiteY12" fmla="*/ 429744 h 1640572"/>
                  <a:gd name="connsiteX13" fmla="*/ 284479 w 794067"/>
                  <a:gd name="connsiteY13" fmla="*/ 587224 h 1640572"/>
                  <a:gd name="connsiteX14" fmla="*/ 432368 w 794067"/>
                  <a:gd name="connsiteY14" fmla="*/ 646681 h 1640572"/>
                  <a:gd name="connsiteX15" fmla="*/ 487781 w 794067"/>
                  <a:gd name="connsiteY15" fmla="*/ 412717 h 1640572"/>
                  <a:gd name="connsiteX16" fmla="*/ 365760 w 794067"/>
                  <a:gd name="connsiteY16" fmla="*/ 165584 h 1640572"/>
                  <a:gd name="connsiteX17" fmla="*/ 338672 w 794067"/>
                  <a:gd name="connsiteY17" fmla="*/ 0 h 1640572"/>
                  <a:gd name="connsiteX18" fmla="*/ 384576 w 794067"/>
                  <a:gd name="connsiteY18" fmla="*/ 159000 h 1640572"/>
                  <a:gd name="connsiteX19" fmla="*/ 411479 w 794067"/>
                  <a:gd name="connsiteY19" fmla="*/ 226544 h 1640572"/>
                  <a:gd name="connsiteX20" fmla="*/ 502919 w 794067"/>
                  <a:gd name="connsiteY20" fmla="*/ 58904 h 1640572"/>
                  <a:gd name="connsiteX21" fmla="*/ 426719 w 794067"/>
                  <a:gd name="connsiteY21" fmla="*/ 262104 h 1640572"/>
                  <a:gd name="connsiteX22" fmla="*/ 509605 w 794067"/>
                  <a:gd name="connsiteY22" fmla="*/ 385528 h 1640572"/>
                  <a:gd name="connsiteX23" fmla="*/ 631189 w 794067"/>
                  <a:gd name="connsiteY23" fmla="*/ 222734 h 1640572"/>
                  <a:gd name="connsiteX24" fmla="*/ 513080 w 794067"/>
                  <a:gd name="connsiteY24" fmla="*/ 432284 h 1640572"/>
                  <a:gd name="connsiteX25" fmla="*/ 485140 w 794067"/>
                  <a:gd name="connsiteY25" fmla="*/ 630404 h 1640572"/>
                  <a:gd name="connsiteX26" fmla="*/ 488149 w 794067"/>
                  <a:gd name="connsiteY26" fmla="*/ 845837 h 1640572"/>
                  <a:gd name="connsiteX27" fmla="*/ 688339 w 794067"/>
                  <a:gd name="connsiteY27" fmla="*/ 587224 h 1640572"/>
                  <a:gd name="connsiteX28" fmla="*/ 721359 w 794067"/>
                  <a:gd name="connsiteY28" fmla="*/ 434824 h 1640572"/>
                  <a:gd name="connsiteX29" fmla="*/ 673099 w 794067"/>
                  <a:gd name="connsiteY29" fmla="*/ 376404 h 1640572"/>
                  <a:gd name="connsiteX30" fmla="*/ 723899 w 794067"/>
                  <a:gd name="connsiteY30" fmla="*/ 414504 h 1640572"/>
                  <a:gd name="connsiteX31" fmla="*/ 734060 w 794067"/>
                  <a:gd name="connsiteY31" fmla="*/ 353544 h 1640572"/>
                  <a:gd name="connsiteX32" fmla="*/ 759459 w 794067"/>
                  <a:gd name="connsiteY32" fmla="*/ 361164 h 1640572"/>
                  <a:gd name="connsiteX33" fmla="*/ 716279 w 794067"/>
                  <a:gd name="connsiteY33" fmla="*/ 569444 h 1640572"/>
                  <a:gd name="connsiteX34" fmla="*/ 794067 w 794067"/>
                  <a:gd name="connsiteY34" fmla="*/ 534369 h 1640572"/>
                  <a:gd name="connsiteX35" fmla="*/ 739139 w 794067"/>
                  <a:gd name="connsiteY35" fmla="*/ 589764 h 1640572"/>
                  <a:gd name="connsiteX36" fmla="*/ 495769 w 794067"/>
                  <a:gd name="connsiteY36" fmla="*/ 926547 h 1640572"/>
                  <a:gd name="connsiteX37" fmla="*/ 520700 w 794067"/>
                  <a:gd name="connsiteY37" fmla="*/ 1278104 h 1640572"/>
                  <a:gd name="connsiteX38" fmla="*/ 520700 w 794067"/>
                  <a:gd name="connsiteY38" fmla="*/ 1636244 h 1640572"/>
                  <a:gd name="connsiteX39" fmla="*/ 363788 w 794067"/>
                  <a:gd name="connsiteY39" fmla="*/ 1640572 h 1640572"/>
                  <a:gd name="connsiteX0" fmla="*/ 363788 w 794067"/>
                  <a:gd name="connsiteY0" fmla="*/ 1640572 h 1640572"/>
                  <a:gd name="connsiteX1" fmla="*/ 396240 w 794067"/>
                  <a:gd name="connsiteY1" fmla="*/ 1234924 h 1640572"/>
                  <a:gd name="connsiteX2" fmla="*/ 400000 w 794067"/>
                  <a:gd name="connsiteY2" fmla="*/ 954771 h 1640572"/>
                  <a:gd name="connsiteX3" fmla="*/ 414020 w 794067"/>
                  <a:gd name="connsiteY3" fmla="*/ 714224 h 1640572"/>
                  <a:gd name="connsiteX4" fmla="*/ 190600 w 794067"/>
                  <a:gd name="connsiteY4" fmla="*/ 574809 h 1640572"/>
                  <a:gd name="connsiteX5" fmla="*/ 96520 w 794067"/>
                  <a:gd name="connsiteY5" fmla="*/ 478004 h 1640572"/>
                  <a:gd name="connsiteX6" fmla="*/ 0 w 794067"/>
                  <a:gd name="connsiteY6" fmla="*/ 399264 h 1640572"/>
                  <a:gd name="connsiteX7" fmla="*/ 96520 w 794067"/>
                  <a:gd name="connsiteY7" fmla="*/ 442444 h 1640572"/>
                  <a:gd name="connsiteX8" fmla="*/ 109220 w 794067"/>
                  <a:gd name="connsiteY8" fmla="*/ 317984 h 1640572"/>
                  <a:gd name="connsiteX9" fmla="*/ 119379 w 794067"/>
                  <a:gd name="connsiteY9" fmla="*/ 455144 h 1640572"/>
                  <a:gd name="connsiteX10" fmla="*/ 203768 w 794067"/>
                  <a:gd name="connsiteY10" fmla="*/ 539717 h 1640572"/>
                  <a:gd name="connsiteX11" fmla="*/ 256539 w 794067"/>
                  <a:gd name="connsiteY11" fmla="*/ 577064 h 1640572"/>
                  <a:gd name="connsiteX12" fmla="*/ 259079 w 794067"/>
                  <a:gd name="connsiteY12" fmla="*/ 429744 h 1640572"/>
                  <a:gd name="connsiteX13" fmla="*/ 284479 w 794067"/>
                  <a:gd name="connsiteY13" fmla="*/ 587224 h 1640572"/>
                  <a:gd name="connsiteX14" fmla="*/ 432368 w 794067"/>
                  <a:gd name="connsiteY14" fmla="*/ 646681 h 1640572"/>
                  <a:gd name="connsiteX15" fmla="*/ 487781 w 794067"/>
                  <a:gd name="connsiteY15" fmla="*/ 412717 h 1640572"/>
                  <a:gd name="connsiteX16" fmla="*/ 365760 w 794067"/>
                  <a:gd name="connsiteY16" fmla="*/ 165584 h 1640572"/>
                  <a:gd name="connsiteX17" fmla="*/ 338672 w 794067"/>
                  <a:gd name="connsiteY17" fmla="*/ 0 h 1640572"/>
                  <a:gd name="connsiteX18" fmla="*/ 384576 w 794067"/>
                  <a:gd name="connsiteY18" fmla="*/ 159000 h 1640572"/>
                  <a:gd name="connsiteX19" fmla="*/ 411479 w 794067"/>
                  <a:gd name="connsiteY19" fmla="*/ 226544 h 1640572"/>
                  <a:gd name="connsiteX20" fmla="*/ 502919 w 794067"/>
                  <a:gd name="connsiteY20" fmla="*/ 58904 h 1640572"/>
                  <a:gd name="connsiteX21" fmla="*/ 426719 w 794067"/>
                  <a:gd name="connsiteY21" fmla="*/ 262104 h 1640572"/>
                  <a:gd name="connsiteX22" fmla="*/ 509605 w 794067"/>
                  <a:gd name="connsiteY22" fmla="*/ 385528 h 1640572"/>
                  <a:gd name="connsiteX23" fmla="*/ 631189 w 794067"/>
                  <a:gd name="connsiteY23" fmla="*/ 222734 h 1640572"/>
                  <a:gd name="connsiteX24" fmla="*/ 513080 w 794067"/>
                  <a:gd name="connsiteY24" fmla="*/ 432284 h 1640572"/>
                  <a:gd name="connsiteX25" fmla="*/ 485140 w 794067"/>
                  <a:gd name="connsiteY25" fmla="*/ 630404 h 1640572"/>
                  <a:gd name="connsiteX26" fmla="*/ 488149 w 794067"/>
                  <a:gd name="connsiteY26" fmla="*/ 845837 h 1640572"/>
                  <a:gd name="connsiteX27" fmla="*/ 610435 w 794067"/>
                  <a:gd name="connsiteY27" fmla="*/ 734377 h 1640572"/>
                  <a:gd name="connsiteX28" fmla="*/ 721359 w 794067"/>
                  <a:gd name="connsiteY28" fmla="*/ 434824 h 1640572"/>
                  <a:gd name="connsiteX29" fmla="*/ 673099 w 794067"/>
                  <a:gd name="connsiteY29" fmla="*/ 376404 h 1640572"/>
                  <a:gd name="connsiteX30" fmla="*/ 723899 w 794067"/>
                  <a:gd name="connsiteY30" fmla="*/ 414504 h 1640572"/>
                  <a:gd name="connsiteX31" fmla="*/ 734060 w 794067"/>
                  <a:gd name="connsiteY31" fmla="*/ 353544 h 1640572"/>
                  <a:gd name="connsiteX32" fmla="*/ 759459 w 794067"/>
                  <a:gd name="connsiteY32" fmla="*/ 361164 h 1640572"/>
                  <a:gd name="connsiteX33" fmla="*/ 716279 w 794067"/>
                  <a:gd name="connsiteY33" fmla="*/ 569444 h 1640572"/>
                  <a:gd name="connsiteX34" fmla="*/ 794067 w 794067"/>
                  <a:gd name="connsiteY34" fmla="*/ 534369 h 1640572"/>
                  <a:gd name="connsiteX35" fmla="*/ 739139 w 794067"/>
                  <a:gd name="connsiteY35" fmla="*/ 589764 h 1640572"/>
                  <a:gd name="connsiteX36" fmla="*/ 495769 w 794067"/>
                  <a:gd name="connsiteY36" fmla="*/ 926547 h 1640572"/>
                  <a:gd name="connsiteX37" fmla="*/ 520700 w 794067"/>
                  <a:gd name="connsiteY37" fmla="*/ 1278104 h 1640572"/>
                  <a:gd name="connsiteX38" fmla="*/ 520700 w 794067"/>
                  <a:gd name="connsiteY38" fmla="*/ 1636244 h 1640572"/>
                  <a:gd name="connsiteX39" fmla="*/ 363788 w 794067"/>
                  <a:gd name="connsiteY39" fmla="*/ 1640572 h 1640572"/>
                  <a:gd name="connsiteX0" fmla="*/ 363788 w 794067"/>
                  <a:gd name="connsiteY0" fmla="*/ 1640572 h 1640572"/>
                  <a:gd name="connsiteX1" fmla="*/ 396240 w 794067"/>
                  <a:gd name="connsiteY1" fmla="*/ 1234924 h 1640572"/>
                  <a:gd name="connsiteX2" fmla="*/ 400000 w 794067"/>
                  <a:gd name="connsiteY2" fmla="*/ 954771 h 1640572"/>
                  <a:gd name="connsiteX3" fmla="*/ 414020 w 794067"/>
                  <a:gd name="connsiteY3" fmla="*/ 714224 h 1640572"/>
                  <a:gd name="connsiteX4" fmla="*/ 190600 w 794067"/>
                  <a:gd name="connsiteY4" fmla="*/ 574809 h 1640572"/>
                  <a:gd name="connsiteX5" fmla="*/ 96520 w 794067"/>
                  <a:gd name="connsiteY5" fmla="*/ 478004 h 1640572"/>
                  <a:gd name="connsiteX6" fmla="*/ 0 w 794067"/>
                  <a:gd name="connsiteY6" fmla="*/ 399264 h 1640572"/>
                  <a:gd name="connsiteX7" fmla="*/ 96520 w 794067"/>
                  <a:gd name="connsiteY7" fmla="*/ 442444 h 1640572"/>
                  <a:gd name="connsiteX8" fmla="*/ 109220 w 794067"/>
                  <a:gd name="connsiteY8" fmla="*/ 317984 h 1640572"/>
                  <a:gd name="connsiteX9" fmla="*/ 119379 w 794067"/>
                  <a:gd name="connsiteY9" fmla="*/ 455144 h 1640572"/>
                  <a:gd name="connsiteX10" fmla="*/ 203768 w 794067"/>
                  <a:gd name="connsiteY10" fmla="*/ 539717 h 1640572"/>
                  <a:gd name="connsiteX11" fmla="*/ 256539 w 794067"/>
                  <a:gd name="connsiteY11" fmla="*/ 577064 h 1640572"/>
                  <a:gd name="connsiteX12" fmla="*/ 259079 w 794067"/>
                  <a:gd name="connsiteY12" fmla="*/ 429744 h 1640572"/>
                  <a:gd name="connsiteX13" fmla="*/ 284479 w 794067"/>
                  <a:gd name="connsiteY13" fmla="*/ 587224 h 1640572"/>
                  <a:gd name="connsiteX14" fmla="*/ 432368 w 794067"/>
                  <a:gd name="connsiteY14" fmla="*/ 646681 h 1640572"/>
                  <a:gd name="connsiteX15" fmla="*/ 487781 w 794067"/>
                  <a:gd name="connsiteY15" fmla="*/ 412717 h 1640572"/>
                  <a:gd name="connsiteX16" fmla="*/ 365760 w 794067"/>
                  <a:gd name="connsiteY16" fmla="*/ 165584 h 1640572"/>
                  <a:gd name="connsiteX17" fmla="*/ 338672 w 794067"/>
                  <a:gd name="connsiteY17" fmla="*/ 0 h 1640572"/>
                  <a:gd name="connsiteX18" fmla="*/ 384576 w 794067"/>
                  <a:gd name="connsiteY18" fmla="*/ 159000 h 1640572"/>
                  <a:gd name="connsiteX19" fmla="*/ 411479 w 794067"/>
                  <a:gd name="connsiteY19" fmla="*/ 226544 h 1640572"/>
                  <a:gd name="connsiteX20" fmla="*/ 502919 w 794067"/>
                  <a:gd name="connsiteY20" fmla="*/ 58904 h 1640572"/>
                  <a:gd name="connsiteX21" fmla="*/ 426719 w 794067"/>
                  <a:gd name="connsiteY21" fmla="*/ 262104 h 1640572"/>
                  <a:gd name="connsiteX22" fmla="*/ 509605 w 794067"/>
                  <a:gd name="connsiteY22" fmla="*/ 385528 h 1640572"/>
                  <a:gd name="connsiteX23" fmla="*/ 631189 w 794067"/>
                  <a:gd name="connsiteY23" fmla="*/ 222734 h 1640572"/>
                  <a:gd name="connsiteX24" fmla="*/ 513080 w 794067"/>
                  <a:gd name="connsiteY24" fmla="*/ 432284 h 1640572"/>
                  <a:gd name="connsiteX25" fmla="*/ 485140 w 794067"/>
                  <a:gd name="connsiteY25" fmla="*/ 630404 h 1640572"/>
                  <a:gd name="connsiteX26" fmla="*/ 488149 w 794067"/>
                  <a:gd name="connsiteY26" fmla="*/ 845837 h 1640572"/>
                  <a:gd name="connsiteX27" fmla="*/ 610435 w 794067"/>
                  <a:gd name="connsiteY27" fmla="*/ 734377 h 1640572"/>
                  <a:gd name="connsiteX28" fmla="*/ 721359 w 794067"/>
                  <a:gd name="connsiteY28" fmla="*/ 434824 h 1640572"/>
                  <a:gd name="connsiteX29" fmla="*/ 723899 w 794067"/>
                  <a:gd name="connsiteY29" fmla="*/ 414504 h 1640572"/>
                  <a:gd name="connsiteX30" fmla="*/ 734060 w 794067"/>
                  <a:gd name="connsiteY30" fmla="*/ 353544 h 1640572"/>
                  <a:gd name="connsiteX31" fmla="*/ 759459 w 794067"/>
                  <a:gd name="connsiteY31" fmla="*/ 361164 h 1640572"/>
                  <a:gd name="connsiteX32" fmla="*/ 716279 w 794067"/>
                  <a:gd name="connsiteY32" fmla="*/ 569444 h 1640572"/>
                  <a:gd name="connsiteX33" fmla="*/ 794067 w 794067"/>
                  <a:gd name="connsiteY33" fmla="*/ 534369 h 1640572"/>
                  <a:gd name="connsiteX34" fmla="*/ 739139 w 794067"/>
                  <a:gd name="connsiteY34" fmla="*/ 589764 h 1640572"/>
                  <a:gd name="connsiteX35" fmla="*/ 495769 w 794067"/>
                  <a:gd name="connsiteY35" fmla="*/ 926547 h 1640572"/>
                  <a:gd name="connsiteX36" fmla="*/ 520700 w 794067"/>
                  <a:gd name="connsiteY36" fmla="*/ 1278104 h 1640572"/>
                  <a:gd name="connsiteX37" fmla="*/ 520700 w 794067"/>
                  <a:gd name="connsiteY37" fmla="*/ 1636244 h 1640572"/>
                  <a:gd name="connsiteX38" fmla="*/ 363788 w 794067"/>
                  <a:gd name="connsiteY38" fmla="*/ 1640572 h 1640572"/>
                  <a:gd name="connsiteX0" fmla="*/ 363788 w 794067"/>
                  <a:gd name="connsiteY0" fmla="*/ 1640572 h 1640572"/>
                  <a:gd name="connsiteX1" fmla="*/ 396240 w 794067"/>
                  <a:gd name="connsiteY1" fmla="*/ 1234924 h 1640572"/>
                  <a:gd name="connsiteX2" fmla="*/ 400000 w 794067"/>
                  <a:gd name="connsiteY2" fmla="*/ 954771 h 1640572"/>
                  <a:gd name="connsiteX3" fmla="*/ 414020 w 794067"/>
                  <a:gd name="connsiteY3" fmla="*/ 714224 h 1640572"/>
                  <a:gd name="connsiteX4" fmla="*/ 190600 w 794067"/>
                  <a:gd name="connsiteY4" fmla="*/ 574809 h 1640572"/>
                  <a:gd name="connsiteX5" fmla="*/ 96520 w 794067"/>
                  <a:gd name="connsiteY5" fmla="*/ 478004 h 1640572"/>
                  <a:gd name="connsiteX6" fmla="*/ 0 w 794067"/>
                  <a:gd name="connsiteY6" fmla="*/ 399264 h 1640572"/>
                  <a:gd name="connsiteX7" fmla="*/ 96520 w 794067"/>
                  <a:gd name="connsiteY7" fmla="*/ 442444 h 1640572"/>
                  <a:gd name="connsiteX8" fmla="*/ 109220 w 794067"/>
                  <a:gd name="connsiteY8" fmla="*/ 317984 h 1640572"/>
                  <a:gd name="connsiteX9" fmla="*/ 119379 w 794067"/>
                  <a:gd name="connsiteY9" fmla="*/ 455144 h 1640572"/>
                  <a:gd name="connsiteX10" fmla="*/ 203768 w 794067"/>
                  <a:gd name="connsiteY10" fmla="*/ 539717 h 1640572"/>
                  <a:gd name="connsiteX11" fmla="*/ 256539 w 794067"/>
                  <a:gd name="connsiteY11" fmla="*/ 577064 h 1640572"/>
                  <a:gd name="connsiteX12" fmla="*/ 259079 w 794067"/>
                  <a:gd name="connsiteY12" fmla="*/ 429744 h 1640572"/>
                  <a:gd name="connsiteX13" fmla="*/ 284479 w 794067"/>
                  <a:gd name="connsiteY13" fmla="*/ 587224 h 1640572"/>
                  <a:gd name="connsiteX14" fmla="*/ 432368 w 794067"/>
                  <a:gd name="connsiteY14" fmla="*/ 646681 h 1640572"/>
                  <a:gd name="connsiteX15" fmla="*/ 487781 w 794067"/>
                  <a:gd name="connsiteY15" fmla="*/ 412717 h 1640572"/>
                  <a:gd name="connsiteX16" fmla="*/ 365760 w 794067"/>
                  <a:gd name="connsiteY16" fmla="*/ 165584 h 1640572"/>
                  <a:gd name="connsiteX17" fmla="*/ 338672 w 794067"/>
                  <a:gd name="connsiteY17" fmla="*/ 0 h 1640572"/>
                  <a:gd name="connsiteX18" fmla="*/ 384576 w 794067"/>
                  <a:gd name="connsiteY18" fmla="*/ 159000 h 1640572"/>
                  <a:gd name="connsiteX19" fmla="*/ 411479 w 794067"/>
                  <a:gd name="connsiteY19" fmla="*/ 226544 h 1640572"/>
                  <a:gd name="connsiteX20" fmla="*/ 502919 w 794067"/>
                  <a:gd name="connsiteY20" fmla="*/ 58904 h 1640572"/>
                  <a:gd name="connsiteX21" fmla="*/ 426719 w 794067"/>
                  <a:gd name="connsiteY21" fmla="*/ 262104 h 1640572"/>
                  <a:gd name="connsiteX22" fmla="*/ 509605 w 794067"/>
                  <a:gd name="connsiteY22" fmla="*/ 385528 h 1640572"/>
                  <a:gd name="connsiteX23" fmla="*/ 631189 w 794067"/>
                  <a:gd name="connsiteY23" fmla="*/ 222734 h 1640572"/>
                  <a:gd name="connsiteX24" fmla="*/ 513080 w 794067"/>
                  <a:gd name="connsiteY24" fmla="*/ 432284 h 1640572"/>
                  <a:gd name="connsiteX25" fmla="*/ 485140 w 794067"/>
                  <a:gd name="connsiteY25" fmla="*/ 630404 h 1640572"/>
                  <a:gd name="connsiteX26" fmla="*/ 488149 w 794067"/>
                  <a:gd name="connsiteY26" fmla="*/ 845837 h 1640572"/>
                  <a:gd name="connsiteX27" fmla="*/ 610435 w 794067"/>
                  <a:gd name="connsiteY27" fmla="*/ 734377 h 1640572"/>
                  <a:gd name="connsiteX28" fmla="*/ 721359 w 794067"/>
                  <a:gd name="connsiteY28" fmla="*/ 434824 h 1640572"/>
                  <a:gd name="connsiteX29" fmla="*/ 723899 w 794067"/>
                  <a:gd name="connsiteY29" fmla="*/ 414504 h 1640572"/>
                  <a:gd name="connsiteX30" fmla="*/ 734060 w 794067"/>
                  <a:gd name="connsiteY30" fmla="*/ 353544 h 1640572"/>
                  <a:gd name="connsiteX31" fmla="*/ 716279 w 794067"/>
                  <a:gd name="connsiteY31" fmla="*/ 569444 h 1640572"/>
                  <a:gd name="connsiteX32" fmla="*/ 794067 w 794067"/>
                  <a:gd name="connsiteY32" fmla="*/ 534369 h 1640572"/>
                  <a:gd name="connsiteX33" fmla="*/ 739139 w 794067"/>
                  <a:gd name="connsiteY33" fmla="*/ 589764 h 1640572"/>
                  <a:gd name="connsiteX34" fmla="*/ 495769 w 794067"/>
                  <a:gd name="connsiteY34" fmla="*/ 926547 h 1640572"/>
                  <a:gd name="connsiteX35" fmla="*/ 520700 w 794067"/>
                  <a:gd name="connsiteY35" fmla="*/ 1278104 h 1640572"/>
                  <a:gd name="connsiteX36" fmla="*/ 520700 w 794067"/>
                  <a:gd name="connsiteY36" fmla="*/ 1636244 h 1640572"/>
                  <a:gd name="connsiteX37" fmla="*/ 363788 w 794067"/>
                  <a:gd name="connsiteY37" fmla="*/ 1640572 h 1640572"/>
                  <a:gd name="connsiteX0" fmla="*/ 363788 w 794067"/>
                  <a:gd name="connsiteY0" fmla="*/ 1640572 h 1640572"/>
                  <a:gd name="connsiteX1" fmla="*/ 396240 w 794067"/>
                  <a:gd name="connsiteY1" fmla="*/ 1234924 h 1640572"/>
                  <a:gd name="connsiteX2" fmla="*/ 400000 w 794067"/>
                  <a:gd name="connsiteY2" fmla="*/ 954771 h 1640572"/>
                  <a:gd name="connsiteX3" fmla="*/ 414020 w 794067"/>
                  <a:gd name="connsiteY3" fmla="*/ 714224 h 1640572"/>
                  <a:gd name="connsiteX4" fmla="*/ 190600 w 794067"/>
                  <a:gd name="connsiteY4" fmla="*/ 574809 h 1640572"/>
                  <a:gd name="connsiteX5" fmla="*/ 96520 w 794067"/>
                  <a:gd name="connsiteY5" fmla="*/ 478004 h 1640572"/>
                  <a:gd name="connsiteX6" fmla="*/ 0 w 794067"/>
                  <a:gd name="connsiteY6" fmla="*/ 399264 h 1640572"/>
                  <a:gd name="connsiteX7" fmla="*/ 96520 w 794067"/>
                  <a:gd name="connsiteY7" fmla="*/ 442444 h 1640572"/>
                  <a:gd name="connsiteX8" fmla="*/ 109220 w 794067"/>
                  <a:gd name="connsiteY8" fmla="*/ 317984 h 1640572"/>
                  <a:gd name="connsiteX9" fmla="*/ 119379 w 794067"/>
                  <a:gd name="connsiteY9" fmla="*/ 455144 h 1640572"/>
                  <a:gd name="connsiteX10" fmla="*/ 203768 w 794067"/>
                  <a:gd name="connsiteY10" fmla="*/ 539717 h 1640572"/>
                  <a:gd name="connsiteX11" fmla="*/ 256539 w 794067"/>
                  <a:gd name="connsiteY11" fmla="*/ 577064 h 1640572"/>
                  <a:gd name="connsiteX12" fmla="*/ 259079 w 794067"/>
                  <a:gd name="connsiteY12" fmla="*/ 429744 h 1640572"/>
                  <a:gd name="connsiteX13" fmla="*/ 284479 w 794067"/>
                  <a:gd name="connsiteY13" fmla="*/ 587224 h 1640572"/>
                  <a:gd name="connsiteX14" fmla="*/ 432368 w 794067"/>
                  <a:gd name="connsiteY14" fmla="*/ 646681 h 1640572"/>
                  <a:gd name="connsiteX15" fmla="*/ 487781 w 794067"/>
                  <a:gd name="connsiteY15" fmla="*/ 412717 h 1640572"/>
                  <a:gd name="connsiteX16" fmla="*/ 365760 w 794067"/>
                  <a:gd name="connsiteY16" fmla="*/ 165584 h 1640572"/>
                  <a:gd name="connsiteX17" fmla="*/ 338672 w 794067"/>
                  <a:gd name="connsiteY17" fmla="*/ 0 h 1640572"/>
                  <a:gd name="connsiteX18" fmla="*/ 384576 w 794067"/>
                  <a:gd name="connsiteY18" fmla="*/ 159000 h 1640572"/>
                  <a:gd name="connsiteX19" fmla="*/ 411479 w 794067"/>
                  <a:gd name="connsiteY19" fmla="*/ 226544 h 1640572"/>
                  <a:gd name="connsiteX20" fmla="*/ 502919 w 794067"/>
                  <a:gd name="connsiteY20" fmla="*/ 58904 h 1640572"/>
                  <a:gd name="connsiteX21" fmla="*/ 426719 w 794067"/>
                  <a:gd name="connsiteY21" fmla="*/ 262104 h 1640572"/>
                  <a:gd name="connsiteX22" fmla="*/ 509605 w 794067"/>
                  <a:gd name="connsiteY22" fmla="*/ 385528 h 1640572"/>
                  <a:gd name="connsiteX23" fmla="*/ 631189 w 794067"/>
                  <a:gd name="connsiteY23" fmla="*/ 222734 h 1640572"/>
                  <a:gd name="connsiteX24" fmla="*/ 513080 w 794067"/>
                  <a:gd name="connsiteY24" fmla="*/ 432284 h 1640572"/>
                  <a:gd name="connsiteX25" fmla="*/ 485140 w 794067"/>
                  <a:gd name="connsiteY25" fmla="*/ 630404 h 1640572"/>
                  <a:gd name="connsiteX26" fmla="*/ 488149 w 794067"/>
                  <a:gd name="connsiteY26" fmla="*/ 845837 h 1640572"/>
                  <a:gd name="connsiteX27" fmla="*/ 610435 w 794067"/>
                  <a:gd name="connsiteY27" fmla="*/ 734377 h 1640572"/>
                  <a:gd name="connsiteX28" fmla="*/ 721359 w 794067"/>
                  <a:gd name="connsiteY28" fmla="*/ 434824 h 1640572"/>
                  <a:gd name="connsiteX29" fmla="*/ 723899 w 794067"/>
                  <a:gd name="connsiteY29" fmla="*/ 414504 h 1640572"/>
                  <a:gd name="connsiteX30" fmla="*/ 716279 w 794067"/>
                  <a:gd name="connsiteY30" fmla="*/ 569444 h 1640572"/>
                  <a:gd name="connsiteX31" fmla="*/ 794067 w 794067"/>
                  <a:gd name="connsiteY31" fmla="*/ 534369 h 1640572"/>
                  <a:gd name="connsiteX32" fmla="*/ 739139 w 794067"/>
                  <a:gd name="connsiteY32" fmla="*/ 589764 h 1640572"/>
                  <a:gd name="connsiteX33" fmla="*/ 495769 w 794067"/>
                  <a:gd name="connsiteY33" fmla="*/ 926547 h 1640572"/>
                  <a:gd name="connsiteX34" fmla="*/ 520700 w 794067"/>
                  <a:gd name="connsiteY34" fmla="*/ 1278104 h 1640572"/>
                  <a:gd name="connsiteX35" fmla="*/ 520700 w 794067"/>
                  <a:gd name="connsiteY35" fmla="*/ 1636244 h 1640572"/>
                  <a:gd name="connsiteX36" fmla="*/ 363788 w 794067"/>
                  <a:gd name="connsiteY36" fmla="*/ 1640572 h 1640572"/>
                  <a:gd name="connsiteX0" fmla="*/ 363788 w 794067"/>
                  <a:gd name="connsiteY0" fmla="*/ 1640572 h 1640572"/>
                  <a:gd name="connsiteX1" fmla="*/ 396240 w 794067"/>
                  <a:gd name="connsiteY1" fmla="*/ 1234924 h 1640572"/>
                  <a:gd name="connsiteX2" fmla="*/ 400000 w 794067"/>
                  <a:gd name="connsiteY2" fmla="*/ 954771 h 1640572"/>
                  <a:gd name="connsiteX3" fmla="*/ 414020 w 794067"/>
                  <a:gd name="connsiteY3" fmla="*/ 714224 h 1640572"/>
                  <a:gd name="connsiteX4" fmla="*/ 190600 w 794067"/>
                  <a:gd name="connsiteY4" fmla="*/ 574809 h 1640572"/>
                  <a:gd name="connsiteX5" fmla="*/ 96520 w 794067"/>
                  <a:gd name="connsiteY5" fmla="*/ 478004 h 1640572"/>
                  <a:gd name="connsiteX6" fmla="*/ 0 w 794067"/>
                  <a:gd name="connsiteY6" fmla="*/ 399264 h 1640572"/>
                  <a:gd name="connsiteX7" fmla="*/ 96520 w 794067"/>
                  <a:gd name="connsiteY7" fmla="*/ 442444 h 1640572"/>
                  <a:gd name="connsiteX8" fmla="*/ 109220 w 794067"/>
                  <a:gd name="connsiteY8" fmla="*/ 317984 h 1640572"/>
                  <a:gd name="connsiteX9" fmla="*/ 119379 w 794067"/>
                  <a:gd name="connsiteY9" fmla="*/ 455144 h 1640572"/>
                  <a:gd name="connsiteX10" fmla="*/ 203768 w 794067"/>
                  <a:gd name="connsiteY10" fmla="*/ 539717 h 1640572"/>
                  <a:gd name="connsiteX11" fmla="*/ 256539 w 794067"/>
                  <a:gd name="connsiteY11" fmla="*/ 577064 h 1640572"/>
                  <a:gd name="connsiteX12" fmla="*/ 259079 w 794067"/>
                  <a:gd name="connsiteY12" fmla="*/ 429744 h 1640572"/>
                  <a:gd name="connsiteX13" fmla="*/ 284479 w 794067"/>
                  <a:gd name="connsiteY13" fmla="*/ 587224 h 1640572"/>
                  <a:gd name="connsiteX14" fmla="*/ 432368 w 794067"/>
                  <a:gd name="connsiteY14" fmla="*/ 646681 h 1640572"/>
                  <a:gd name="connsiteX15" fmla="*/ 487781 w 794067"/>
                  <a:gd name="connsiteY15" fmla="*/ 412717 h 1640572"/>
                  <a:gd name="connsiteX16" fmla="*/ 365760 w 794067"/>
                  <a:gd name="connsiteY16" fmla="*/ 165584 h 1640572"/>
                  <a:gd name="connsiteX17" fmla="*/ 338672 w 794067"/>
                  <a:gd name="connsiteY17" fmla="*/ 0 h 1640572"/>
                  <a:gd name="connsiteX18" fmla="*/ 384576 w 794067"/>
                  <a:gd name="connsiteY18" fmla="*/ 159000 h 1640572"/>
                  <a:gd name="connsiteX19" fmla="*/ 411479 w 794067"/>
                  <a:gd name="connsiteY19" fmla="*/ 226544 h 1640572"/>
                  <a:gd name="connsiteX20" fmla="*/ 502919 w 794067"/>
                  <a:gd name="connsiteY20" fmla="*/ 58904 h 1640572"/>
                  <a:gd name="connsiteX21" fmla="*/ 426719 w 794067"/>
                  <a:gd name="connsiteY21" fmla="*/ 262104 h 1640572"/>
                  <a:gd name="connsiteX22" fmla="*/ 509605 w 794067"/>
                  <a:gd name="connsiteY22" fmla="*/ 385528 h 1640572"/>
                  <a:gd name="connsiteX23" fmla="*/ 631189 w 794067"/>
                  <a:gd name="connsiteY23" fmla="*/ 222734 h 1640572"/>
                  <a:gd name="connsiteX24" fmla="*/ 513080 w 794067"/>
                  <a:gd name="connsiteY24" fmla="*/ 432284 h 1640572"/>
                  <a:gd name="connsiteX25" fmla="*/ 485140 w 794067"/>
                  <a:gd name="connsiteY25" fmla="*/ 630404 h 1640572"/>
                  <a:gd name="connsiteX26" fmla="*/ 488149 w 794067"/>
                  <a:gd name="connsiteY26" fmla="*/ 845837 h 1640572"/>
                  <a:gd name="connsiteX27" fmla="*/ 610435 w 794067"/>
                  <a:gd name="connsiteY27" fmla="*/ 734377 h 1640572"/>
                  <a:gd name="connsiteX28" fmla="*/ 721359 w 794067"/>
                  <a:gd name="connsiteY28" fmla="*/ 434824 h 1640572"/>
                  <a:gd name="connsiteX29" fmla="*/ 716279 w 794067"/>
                  <a:gd name="connsiteY29" fmla="*/ 569444 h 1640572"/>
                  <a:gd name="connsiteX30" fmla="*/ 794067 w 794067"/>
                  <a:gd name="connsiteY30" fmla="*/ 534369 h 1640572"/>
                  <a:gd name="connsiteX31" fmla="*/ 739139 w 794067"/>
                  <a:gd name="connsiteY31" fmla="*/ 589764 h 1640572"/>
                  <a:gd name="connsiteX32" fmla="*/ 495769 w 794067"/>
                  <a:gd name="connsiteY32" fmla="*/ 926547 h 1640572"/>
                  <a:gd name="connsiteX33" fmla="*/ 520700 w 794067"/>
                  <a:gd name="connsiteY33" fmla="*/ 1278104 h 1640572"/>
                  <a:gd name="connsiteX34" fmla="*/ 520700 w 794067"/>
                  <a:gd name="connsiteY34" fmla="*/ 1636244 h 1640572"/>
                  <a:gd name="connsiteX35" fmla="*/ 363788 w 794067"/>
                  <a:gd name="connsiteY35" fmla="*/ 1640572 h 1640572"/>
                  <a:gd name="connsiteX0" fmla="*/ 363788 w 794067"/>
                  <a:gd name="connsiteY0" fmla="*/ 1640572 h 1640572"/>
                  <a:gd name="connsiteX1" fmla="*/ 396240 w 794067"/>
                  <a:gd name="connsiteY1" fmla="*/ 1234924 h 1640572"/>
                  <a:gd name="connsiteX2" fmla="*/ 400000 w 794067"/>
                  <a:gd name="connsiteY2" fmla="*/ 954771 h 1640572"/>
                  <a:gd name="connsiteX3" fmla="*/ 414020 w 794067"/>
                  <a:gd name="connsiteY3" fmla="*/ 714224 h 1640572"/>
                  <a:gd name="connsiteX4" fmla="*/ 190600 w 794067"/>
                  <a:gd name="connsiteY4" fmla="*/ 574809 h 1640572"/>
                  <a:gd name="connsiteX5" fmla="*/ 96520 w 794067"/>
                  <a:gd name="connsiteY5" fmla="*/ 478004 h 1640572"/>
                  <a:gd name="connsiteX6" fmla="*/ 0 w 794067"/>
                  <a:gd name="connsiteY6" fmla="*/ 399264 h 1640572"/>
                  <a:gd name="connsiteX7" fmla="*/ 96520 w 794067"/>
                  <a:gd name="connsiteY7" fmla="*/ 442444 h 1640572"/>
                  <a:gd name="connsiteX8" fmla="*/ 109220 w 794067"/>
                  <a:gd name="connsiteY8" fmla="*/ 317984 h 1640572"/>
                  <a:gd name="connsiteX9" fmla="*/ 119379 w 794067"/>
                  <a:gd name="connsiteY9" fmla="*/ 455144 h 1640572"/>
                  <a:gd name="connsiteX10" fmla="*/ 203768 w 794067"/>
                  <a:gd name="connsiteY10" fmla="*/ 539717 h 1640572"/>
                  <a:gd name="connsiteX11" fmla="*/ 256539 w 794067"/>
                  <a:gd name="connsiteY11" fmla="*/ 577064 h 1640572"/>
                  <a:gd name="connsiteX12" fmla="*/ 259079 w 794067"/>
                  <a:gd name="connsiteY12" fmla="*/ 429744 h 1640572"/>
                  <a:gd name="connsiteX13" fmla="*/ 284479 w 794067"/>
                  <a:gd name="connsiteY13" fmla="*/ 587224 h 1640572"/>
                  <a:gd name="connsiteX14" fmla="*/ 432368 w 794067"/>
                  <a:gd name="connsiteY14" fmla="*/ 646681 h 1640572"/>
                  <a:gd name="connsiteX15" fmla="*/ 487781 w 794067"/>
                  <a:gd name="connsiteY15" fmla="*/ 412717 h 1640572"/>
                  <a:gd name="connsiteX16" fmla="*/ 365760 w 794067"/>
                  <a:gd name="connsiteY16" fmla="*/ 165584 h 1640572"/>
                  <a:gd name="connsiteX17" fmla="*/ 338672 w 794067"/>
                  <a:gd name="connsiteY17" fmla="*/ 0 h 1640572"/>
                  <a:gd name="connsiteX18" fmla="*/ 384576 w 794067"/>
                  <a:gd name="connsiteY18" fmla="*/ 159000 h 1640572"/>
                  <a:gd name="connsiteX19" fmla="*/ 411479 w 794067"/>
                  <a:gd name="connsiteY19" fmla="*/ 226544 h 1640572"/>
                  <a:gd name="connsiteX20" fmla="*/ 502919 w 794067"/>
                  <a:gd name="connsiteY20" fmla="*/ 58904 h 1640572"/>
                  <a:gd name="connsiteX21" fmla="*/ 426719 w 794067"/>
                  <a:gd name="connsiteY21" fmla="*/ 262104 h 1640572"/>
                  <a:gd name="connsiteX22" fmla="*/ 509605 w 794067"/>
                  <a:gd name="connsiteY22" fmla="*/ 385528 h 1640572"/>
                  <a:gd name="connsiteX23" fmla="*/ 631189 w 794067"/>
                  <a:gd name="connsiteY23" fmla="*/ 222734 h 1640572"/>
                  <a:gd name="connsiteX24" fmla="*/ 513080 w 794067"/>
                  <a:gd name="connsiteY24" fmla="*/ 432284 h 1640572"/>
                  <a:gd name="connsiteX25" fmla="*/ 485140 w 794067"/>
                  <a:gd name="connsiteY25" fmla="*/ 630404 h 1640572"/>
                  <a:gd name="connsiteX26" fmla="*/ 488149 w 794067"/>
                  <a:gd name="connsiteY26" fmla="*/ 845837 h 1640572"/>
                  <a:gd name="connsiteX27" fmla="*/ 610435 w 794067"/>
                  <a:gd name="connsiteY27" fmla="*/ 734377 h 1640572"/>
                  <a:gd name="connsiteX28" fmla="*/ 716279 w 794067"/>
                  <a:gd name="connsiteY28" fmla="*/ 569444 h 1640572"/>
                  <a:gd name="connsiteX29" fmla="*/ 794067 w 794067"/>
                  <a:gd name="connsiteY29" fmla="*/ 534369 h 1640572"/>
                  <a:gd name="connsiteX30" fmla="*/ 739139 w 794067"/>
                  <a:gd name="connsiteY30" fmla="*/ 589764 h 1640572"/>
                  <a:gd name="connsiteX31" fmla="*/ 495769 w 794067"/>
                  <a:gd name="connsiteY31" fmla="*/ 926547 h 1640572"/>
                  <a:gd name="connsiteX32" fmla="*/ 520700 w 794067"/>
                  <a:gd name="connsiteY32" fmla="*/ 1278104 h 1640572"/>
                  <a:gd name="connsiteX33" fmla="*/ 520700 w 794067"/>
                  <a:gd name="connsiteY33" fmla="*/ 1636244 h 1640572"/>
                  <a:gd name="connsiteX34" fmla="*/ 363788 w 794067"/>
                  <a:gd name="connsiteY34" fmla="*/ 1640572 h 1640572"/>
                  <a:gd name="connsiteX0" fmla="*/ 363788 w 794067"/>
                  <a:gd name="connsiteY0" fmla="*/ 1640572 h 1640572"/>
                  <a:gd name="connsiteX1" fmla="*/ 396240 w 794067"/>
                  <a:gd name="connsiteY1" fmla="*/ 1234924 h 1640572"/>
                  <a:gd name="connsiteX2" fmla="*/ 400000 w 794067"/>
                  <a:gd name="connsiteY2" fmla="*/ 954771 h 1640572"/>
                  <a:gd name="connsiteX3" fmla="*/ 414020 w 794067"/>
                  <a:gd name="connsiteY3" fmla="*/ 714224 h 1640572"/>
                  <a:gd name="connsiteX4" fmla="*/ 190600 w 794067"/>
                  <a:gd name="connsiteY4" fmla="*/ 574809 h 1640572"/>
                  <a:gd name="connsiteX5" fmla="*/ 96520 w 794067"/>
                  <a:gd name="connsiteY5" fmla="*/ 478004 h 1640572"/>
                  <a:gd name="connsiteX6" fmla="*/ 0 w 794067"/>
                  <a:gd name="connsiteY6" fmla="*/ 399264 h 1640572"/>
                  <a:gd name="connsiteX7" fmla="*/ 96520 w 794067"/>
                  <a:gd name="connsiteY7" fmla="*/ 442444 h 1640572"/>
                  <a:gd name="connsiteX8" fmla="*/ 109220 w 794067"/>
                  <a:gd name="connsiteY8" fmla="*/ 317984 h 1640572"/>
                  <a:gd name="connsiteX9" fmla="*/ 119379 w 794067"/>
                  <a:gd name="connsiteY9" fmla="*/ 455144 h 1640572"/>
                  <a:gd name="connsiteX10" fmla="*/ 203768 w 794067"/>
                  <a:gd name="connsiteY10" fmla="*/ 539717 h 1640572"/>
                  <a:gd name="connsiteX11" fmla="*/ 256539 w 794067"/>
                  <a:gd name="connsiteY11" fmla="*/ 577064 h 1640572"/>
                  <a:gd name="connsiteX12" fmla="*/ 259079 w 794067"/>
                  <a:gd name="connsiteY12" fmla="*/ 429744 h 1640572"/>
                  <a:gd name="connsiteX13" fmla="*/ 284479 w 794067"/>
                  <a:gd name="connsiteY13" fmla="*/ 587224 h 1640572"/>
                  <a:gd name="connsiteX14" fmla="*/ 432368 w 794067"/>
                  <a:gd name="connsiteY14" fmla="*/ 646681 h 1640572"/>
                  <a:gd name="connsiteX15" fmla="*/ 487781 w 794067"/>
                  <a:gd name="connsiteY15" fmla="*/ 412717 h 1640572"/>
                  <a:gd name="connsiteX16" fmla="*/ 365760 w 794067"/>
                  <a:gd name="connsiteY16" fmla="*/ 165584 h 1640572"/>
                  <a:gd name="connsiteX17" fmla="*/ 338672 w 794067"/>
                  <a:gd name="connsiteY17" fmla="*/ 0 h 1640572"/>
                  <a:gd name="connsiteX18" fmla="*/ 384576 w 794067"/>
                  <a:gd name="connsiteY18" fmla="*/ 159000 h 1640572"/>
                  <a:gd name="connsiteX19" fmla="*/ 411479 w 794067"/>
                  <a:gd name="connsiteY19" fmla="*/ 226544 h 1640572"/>
                  <a:gd name="connsiteX20" fmla="*/ 502919 w 794067"/>
                  <a:gd name="connsiteY20" fmla="*/ 58904 h 1640572"/>
                  <a:gd name="connsiteX21" fmla="*/ 426719 w 794067"/>
                  <a:gd name="connsiteY21" fmla="*/ 262104 h 1640572"/>
                  <a:gd name="connsiteX22" fmla="*/ 509605 w 794067"/>
                  <a:gd name="connsiteY22" fmla="*/ 385528 h 1640572"/>
                  <a:gd name="connsiteX23" fmla="*/ 631189 w 794067"/>
                  <a:gd name="connsiteY23" fmla="*/ 222734 h 1640572"/>
                  <a:gd name="connsiteX24" fmla="*/ 513080 w 794067"/>
                  <a:gd name="connsiteY24" fmla="*/ 432284 h 1640572"/>
                  <a:gd name="connsiteX25" fmla="*/ 485140 w 794067"/>
                  <a:gd name="connsiteY25" fmla="*/ 630404 h 1640572"/>
                  <a:gd name="connsiteX26" fmla="*/ 488149 w 794067"/>
                  <a:gd name="connsiteY26" fmla="*/ 845837 h 1640572"/>
                  <a:gd name="connsiteX27" fmla="*/ 610435 w 794067"/>
                  <a:gd name="connsiteY27" fmla="*/ 734377 h 1640572"/>
                  <a:gd name="connsiteX28" fmla="*/ 794067 w 794067"/>
                  <a:gd name="connsiteY28" fmla="*/ 534369 h 1640572"/>
                  <a:gd name="connsiteX29" fmla="*/ 739139 w 794067"/>
                  <a:gd name="connsiteY29" fmla="*/ 589764 h 1640572"/>
                  <a:gd name="connsiteX30" fmla="*/ 495769 w 794067"/>
                  <a:gd name="connsiteY30" fmla="*/ 926547 h 1640572"/>
                  <a:gd name="connsiteX31" fmla="*/ 520700 w 794067"/>
                  <a:gd name="connsiteY31" fmla="*/ 1278104 h 1640572"/>
                  <a:gd name="connsiteX32" fmla="*/ 520700 w 794067"/>
                  <a:gd name="connsiteY32" fmla="*/ 1636244 h 1640572"/>
                  <a:gd name="connsiteX33" fmla="*/ 363788 w 794067"/>
                  <a:gd name="connsiteY33" fmla="*/ 1640572 h 1640572"/>
                  <a:gd name="connsiteX0" fmla="*/ 363788 w 794067"/>
                  <a:gd name="connsiteY0" fmla="*/ 1640572 h 1640572"/>
                  <a:gd name="connsiteX1" fmla="*/ 396240 w 794067"/>
                  <a:gd name="connsiteY1" fmla="*/ 1234924 h 1640572"/>
                  <a:gd name="connsiteX2" fmla="*/ 400000 w 794067"/>
                  <a:gd name="connsiteY2" fmla="*/ 954771 h 1640572"/>
                  <a:gd name="connsiteX3" fmla="*/ 414020 w 794067"/>
                  <a:gd name="connsiteY3" fmla="*/ 714224 h 1640572"/>
                  <a:gd name="connsiteX4" fmla="*/ 190600 w 794067"/>
                  <a:gd name="connsiteY4" fmla="*/ 574809 h 1640572"/>
                  <a:gd name="connsiteX5" fmla="*/ 96520 w 794067"/>
                  <a:gd name="connsiteY5" fmla="*/ 478004 h 1640572"/>
                  <a:gd name="connsiteX6" fmla="*/ 0 w 794067"/>
                  <a:gd name="connsiteY6" fmla="*/ 399264 h 1640572"/>
                  <a:gd name="connsiteX7" fmla="*/ 96520 w 794067"/>
                  <a:gd name="connsiteY7" fmla="*/ 442444 h 1640572"/>
                  <a:gd name="connsiteX8" fmla="*/ 109220 w 794067"/>
                  <a:gd name="connsiteY8" fmla="*/ 317984 h 1640572"/>
                  <a:gd name="connsiteX9" fmla="*/ 119379 w 794067"/>
                  <a:gd name="connsiteY9" fmla="*/ 455144 h 1640572"/>
                  <a:gd name="connsiteX10" fmla="*/ 203768 w 794067"/>
                  <a:gd name="connsiteY10" fmla="*/ 539717 h 1640572"/>
                  <a:gd name="connsiteX11" fmla="*/ 256539 w 794067"/>
                  <a:gd name="connsiteY11" fmla="*/ 577064 h 1640572"/>
                  <a:gd name="connsiteX12" fmla="*/ 259079 w 794067"/>
                  <a:gd name="connsiteY12" fmla="*/ 429744 h 1640572"/>
                  <a:gd name="connsiteX13" fmla="*/ 284479 w 794067"/>
                  <a:gd name="connsiteY13" fmla="*/ 587224 h 1640572"/>
                  <a:gd name="connsiteX14" fmla="*/ 432368 w 794067"/>
                  <a:gd name="connsiteY14" fmla="*/ 646681 h 1640572"/>
                  <a:gd name="connsiteX15" fmla="*/ 487781 w 794067"/>
                  <a:gd name="connsiteY15" fmla="*/ 412717 h 1640572"/>
                  <a:gd name="connsiteX16" fmla="*/ 365760 w 794067"/>
                  <a:gd name="connsiteY16" fmla="*/ 165584 h 1640572"/>
                  <a:gd name="connsiteX17" fmla="*/ 338672 w 794067"/>
                  <a:gd name="connsiteY17" fmla="*/ 0 h 1640572"/>
                  <a:gd name="connsiteX18" fmla="*/ 384576 w 794067"/>
                  <a:gd name="connsiteY18" fmla="*/ 159000 h 1640572"/>
                  <a:gd name="connsiteX19" fmla="*/ 411479 w 794067"/>
                  <a:gd name="connsiteY19" fmla="*/ 226544 h 1640572"/>
                  <a:gd name="connsiteX20" fmla="*/ 502919 w 794067"/>
                  <a:gd name="connsiteY20" fmla="*/ 58904 h 1640572"/>
                  <a:gd name="connsiteX21" fmla="*/ 426719 w 794067"/>
                  <a:gd name="connsiteY21" fmla="*/ 262104 h 1640572"/>
                  <a:gd name="connsiteX22" fmla="*/ 509605 w 794067"/>
                  <a:gd name="connsiteY22" fmla="*/ 385528 h 1640572"/>
                  <a:gd name="connsiteX23" fmla="*/ 631189 w 794067"/>
                  <a:gd name="connsiteY23" fmla="*/ 222734 h 1640572"/>
                  <a:gd name="connsiteX24" fmla="*/ 513080 w 794067"/>
                  <a:gd name="connsiteY24" fmla="*/ 432284 h 1640572"/>
                  <a:gd name="connsiteX25" fmla="*/ 485140 w 794067"/>
                  <a:gd name="connsiteY25" fmla="*/ 630404 h 1640572"/>
                  <a:gd name="connsiteX26" fmla="*/ 488149 w 794067"/>
                  <a:gd name="connsiteY26" fmla="*/ 845837 h 1640572"/>
                  <a:gd name="connsiteX27" fmla="*/ 610435 w 794067"/>
                  <a:gd name="connsiteY27" fmla="*/ 734377 h 1640572"/>
                  <a:gd name="connsiteX28" fmla="*/ 794067 w 794067"/>
                  <a:gd name="connsiteY28" fmla="*/ 534369 h 1640572"/>
                  <a:gd name="connsiteX29" fmla="*/ 495769 w 794067"/>
                  <a:gd name="connsiteY29" fmla="*/ 926547 h 1640572"/>
                  <a:gd name="connsiteX30" fmla="*/ 520700 w 794067"/>
                  <a:gd name="connsiteY30" fmla="*/ 1278104 h 1640572"/>
                  <a:gd name="connsiteX31" fmla="*/ 520700 w 794067"/>
                  <a:gd name="connsiteY31" fmla="*/ 1636244 h 1640572"/>
                  <a:gd name="connsiteX32" fmla="*/ 363788 w 794067"/>
                  <a:gd name="connsiteY32" fmla="*/ 1640572 h 1640572"/>
                  <a:gd name="connsiteX0" fmla="*/ 363788 w 794067"/>
                  <a:gd name="connsiteY0" fmla="*/ 1640572 h 1640572"/>
                  <a:gd name="connsiteX1" fmla="*/ 396240 w 794067"/>
                  <a:gd name="connsiteY1" fmla="*/ 1234924 h 1640572"/>
                  <a:gd name="connsiteX2" fmla="*/ 400000 w 794067"/>
                  <a:gd name="connsiteY2" fmla="*/ 954771 h 1640572"/>
                  <a:gd name="connsiteX3" fmla="*/ 414020 w 794067"/>
                  <a:gd name="connsiteY3" fmla="*/ 714224 h 1640572"/>
                  <a:gd name="connsiteX4" fmla="*/ 190600 w 794067"/>
                  <a:gd name="connsiteY4" fmla="*/ 574809 h 1640572"/>
                  <a:gd name="connsiteX5" fmla="*/ 96520 w 794067"/>
                  <a:gd name="connsiteY5" fmla="*/ 478004 h 1640572"/>
                  <a:gd name="connsiteX6" fmla="*/ 0 w 794067"/>
                  <a:gd name="connsiteY6" fmla="*/ 399264 h 1640572"/>
                  <a:gd name="connsiteX7" fmla="*/ 96520 w 794067"/>
                  <a:gd name="connsiteY7" fmla="*/ 442444 h 1640572"/>
                  <a:gd name="connsiteX8" fmla="*/ 109220 w 794067"/>
                  <a:gd name="connsiteY8" fmla="*/ 317984 h 1640572"/>
                  <a:gd name="connsiteX9" fmla="*/ 119379 w 794067"/>
                  <a:gd name="connsiteY9" fmla="*/ 455144 h 1640572"/>
                  <a:gd name="connsiteX10" fmla="*/ 203768 w 794067"/>
                  <a:gd name="connsiteY10" fmla="*/ 539717 h 1640572"/>
                  <a:gd name="connsiteX11" fmla="*/ 256539 w 794067"/>
                  <a:gd name="connsiteY11" fmla="*/ 577064 h 1640572"/>
                  <a:gd name="connsiteX12" fmla="*/ 259079 w 794067"/>
                  <a:gd name="connsiteY12" fmla="*/ 429744 h 1640572"/>
                  <a:gd name="connsiteX13" fmla="*/ 284479 w 794067"/>
                  <a:gd name="connsiteY13" fmla="*/ 587224 h 1640572"/>
                  <a:gd name="connsiteX14" fmla="*/ 432368 w 794067"/>
                  <a:gd name="connsiteY14" fmla="*/ 646681 h 1640572"/>
                  <a:gd name="connsiteX15" fmla="*/ 487781 w 794067"/>
                  <a:gd name="connsiteY15" fmla="*/ 412717 h 1640572"/>
                  <a:gd name="connsiteX16" fmla="*/ 365760 w 794067"/>
                  <a:gd name="connsiteY16" fmla="*/ 165584 h 1640572"/>
                  <a:gd name="connsiteX17" fmla="*/ 338672 w 794067"/>
                  <a:gd name="connsiteY17" fmla="*/ 0 h 1640572"/>
                  <a:gd name="connsiteX18" fmla="*/ 384576 w 794067"/>
                  <a:gd name="connsiteY18" fmla="*/ 159000 h 1640572"/>
                  <a:gd name="connsiteX19" fmla="*/ 411479 w 794067"/>
                  <a:gd name="connsiteY19" fmla="*/ 226544 h 1640572"/>
                  <a:gd name="connsiteX20" fmla="*/ 502919 w 794067"/>
                  <a:gd name="connsiteY20" fmla="*/ 58904 h 1640572"/>
                  <a:gd name="connsiteX21" fmla="*/ 426719 w 794067"/>
                  <a:gd name="connsiteY21" fmla="*/ 262104 h 1640572"/>
                  <a:gd name="connsiteX22" fmla="*/ 509605 w 794067"/>
                  <a:gd name="connsiteY22" fmla="*/ 385528 h 1640572"/>
                  <a:gd name="connsiteX23" fmla="*/ 631189 w 794067"/>
                  <a:gd name="connsiteY23" fmla="*/ 222734 h 1640572"/>
                  <a:gd name="connsiteX24" fmla="*/ 513080 w 794067"/>
                  <a:gd name="connsiteY24" fmla="*/ 432284 h 1640572"/>
                  <a:gd name="connsiteX25" fmla="*/ 485140 w 794067"/>
                  <a:gd name="connsiteY25" fmla="*/ 630404 h 1640572"/>
                  <a:gd name="connsiteX26" fmla="*/ 488149 w 794067"/>
                  <a:gd name="connsiteY26" fmla="*/ 845837 h 1640572"/>
                  <a:gd name="connsiteX27" fmla="*/ 610435 w 794067"/>
                  <a:gd name="connsiteY27" fmla="*/ 734377 h 1640572"/>
                  <a:gd name="connsiteX28" fmla="*/ 794067 w 794067"/>
                  <a:gd name="connsiteY28" fmla="*/ 534369 h 1640572"/>
                  <a:gd name="connsiteX29" fmla="*/ 755699 w 794067"/>
                  <a:gd name="connsiteY29" fmla="*/ 592030 h 1640572"/>
                  <a:gd name="connsiteX30" fmla="*/ 495769 w 794067"/>
                  <a:gd name="connsiteY30" fmla="*/ 926547 h 1640572"/>
                  <a:gd name="connsiteX31" fmla="*/ 520700 w 794067"/>
                  <a:gd name="connsiteY31" fmla="*/ 1278104 h 1640572"/>
                  <a:gd name="connsiteX32" fmla="*/ 520700 w 794067"/>
                  <a:gd name="connsiteY32" fmla="*/ 1636244 h 1640572"/>
                  <a:gd name="connsiteX33" fmla="*/ 363788 w 794067"/>
                  <a:gd name="connsiteY33" fmla="*/ 1640572 h 1640572"/>
                  <a:gd name="connsiteX0" fmla="*/ 363788 w 755699"/>
                  <a:gd name="connsiteY0" fmla="*/ 1640572 h 1640572"/>
                  <a:gd name="connsiteX1" fmla="*/ 396240 w 755699"/>
                  <a:gd name="connsiteY1" fmla="*/ 1234924 h 1640572"/>
                  <a:gd name="connsiteX2" fmla="*/ 400000 w 755699"/>
                  <a:gd name="connsiteY2" fmla="*/ 954771 h 1640572"/>
                  <a:gd name="connsiteX3" fmla="*/ 414020 w 755699"/>
                  <a:gd name="connsiteY3" fmla="*/ 714224 h 1640572"/>
                  <a:gd name="connsiteX4" fmla="*/ 190600 w 755699"/>
                  <a:gd name="connsiteY4" fmla="*/ 574809 h 1640572"/>
                  <a:gd name="connsiteX5" fmla="*/ 96520 w 755699"/>
                  <a:gd name="connsiteY5" fmla="*/ 478004 h 1640572"/>
                  <a:gd name="connsiteX6" fmla="*/ 0 w 755699"/>
                  <a:gd name="connsiteY6" fmla="*/ 399264 h 1640572"/>
                  <a:gd name="connsiteX7" fmla="*/ 96520 w 755699"/>
                  <a:gd name="connsiteY7" fmla="*/ 442444 h 1640572"/>
                  <a:gd name="connsiteX8" fmla="*/ 109220 w 755699"/>
                  <a:gd name="connsiteY8" fmla="*/ 317984 h 1640572"/>
                  <a:gd name="connsiteX9" fmla="*/ 119379 w 755699"/>
                  <a:gd name="connsiteY9" fmla="*/ 455144 h 1640572"/>
                  <a:gd name="connsiteX10" fmla="*/ 203768 w 755699"/>
                  <a:gd name="connsiteY10" fmla="*/ 539717 h 1640572"/>
                  <a:gd name="connsiteX11" fmla="*/ 256539 w 755699"/>
                  <a:gd name="connsiteY11" fmla="*/ 577064 h 1640572"/>
                  <a:gd name="connsiteX12" fmla="*/ 259079 w 755699"/>
                  <a:gd name="connsiteY12" fmla="*/ 429744 h 1640572"/>
                  <a:gd name="connsiteX13" fmla="*/ 284479 w 755699"/>
                  <a:gd name="connsiteY13" fmla="*/ 587224 h 1640572"/>
                  <a:gd name="connsiteX14" fmla="*/ 432368 w 755699"/>
                  <a:gd name="connsiteY14" fmla="*/ 646681 h 1640572"/>
                  <a:gd name="connsiteX15" fmla="*/ 487781 w 755699"/>
                  <a:gd name="connsiteY15" fmla="*/ 412717 h 1640572"/>
                  <a:gd name="connsiteX16" fmla="*/ 365760 w 755699"/>
                  <a:gd name="connsiteY16" fmla="*/ 165584 h 1640572"/>
                  <a:gd name="connsiteX17" fmla="*/ 338672 w 755699"/>
                  <a:gd name="connsiteY17" fmla="*/ 0 h 1640572"/>
                  <a:gd name="connsiteX18" fmla="*/ 384576 w 755699"/>
                  <a:gd name="connsiteY18" fmla="*/ 159000 h 1640572"/>
                  <a:gd name="connsiteX19" fmla="*/ 411479 w 755699"/>
                  <a:gd name="connsiteY19" fmla="*/ 226544 h 1640572"/>
                  <a:gd name="connsiteX20" fmla="*/ 502919 w 755699"/>
                  <a:gd name="connsiteY20" fmla="*/ 58904 h 1640572"/>
                  <a:gd name="connsiteX21" fmla="*/ 426719 w 755699"/>
                  <a:gd name="connsiteY21" fmla="*/ 262104 h 1640572"/>
                  <a:gd name="connsiteX22" fmla="*/ 509605 w 755699"/>
                  <a:gd name="connsiteY22" fmla="*/ 385528 h 1640572"/>
                  <a:gd name="connsiteX23" fmla="*/ 631189 w 755699"/>
                  <a:gd name="connsiteY23" fmla="*/ 222734 h 1640572"/>
                  <a:gd name="connsiteX24" fmla="*/ 513080 w 755699"/>
                  <a:gd name="connsiteY24" fmla="*/ 432284 h 1640572"/>
                  <a:gd name="connsiteX25" fmla="*/ 485140 w 755699"/>
                  <a:gd name="connsiteY25" fmla="*/ 630404 h 1640572"/>
                  <a:gd name="connsiteX26" fmla="*/ 488149 w 755699"/>
                  <a:gd name="connsiteY26" fmla="*/ 845837 h 1640572"/>
                  <a:gd name="connsiteX27" fmla="*/ 610435 w 755699"/>
                  <a:gd name="connsiteY27" fmla="*/ 734377 h 1640572"/>
                  <a:gd name="connsiteX28" fmla="*/ 755699 w 755699"/>
                  <a:gd name="connsiteY28" fmla="*/ 592030 h 1640572"/>
                  <a:gd name="connsiteX29" fmla="*/ 495769 w 755699"/>
                  <a:gd name="connsiteY29" fmla="*/ 926547 h 1640572"/>
                  <a:gd name="connsiteX30" fmla="*/ 520700 w 755699"/>
                  <a:gd name="connsiteY30" fmla="*/ 1278104 h 1640572"/>
                  <a:gd name="connsiteX31" fmla="*/ 520700 w 755699"/>
                  <a:gd name="connsiteY31" fmla="*/ 1636244 h 1640572"/>
                  <a:gd name="connsiteX32" fmla="*/ 363788 w 755699"/>
                  <a:gd name="connsiteY32" fmla="*/ 1640572 h 1640572"/>
                  <a:gd name="connsiteX0" fmla="*/ 363788 w 631189"/>
                  <a:gd name="connsiteY0" fmla="*/ 1640572 h 1640572"/>
                  <a:gd name="connsiteX1" fmla="*/ 396240 w 631189"/>
                  <a:gd name="connsiteY1" fmla="*/ 1234924 h 1640572"/>
                  <a:gd name="connsiteX2" fmla="*/ 400000 w 631189"/>
                  <a:gd name="connsiteY2" fmla="*/ 954771 h 1640572"/>
                  <a:gd name="connsiteX3" fmla="*/ 414020 w 631189"/>
                  <a:gd name="connsiteY3" fmla="*/ 714224 h 1640572"/>
                  <a:gd name="connsiteX4" fmla="*/ 190600 w 631189"/>
                  <a:gd name="connsiteY4" fmla="*/ 574809 h 1640572"/>
                  <a:gd name="connsiteX5" fmla="*/ 96520 w 631189"/>
                  <a:gd name="connsiteY5" fmla="*/ 478004 h 1640572"/>
                  <a:gd name="connsiteX6" fmla="*/ 0 w 631189"/>
                  <a:gd name="connsiteY6" fmla="*/ 399264 h 1640572"/>
                  <a:gd name="connsiteX7" fmla="*/ 96520 w 631189"/>
                  <a:gd name="connsiteY7" fmla="*/ 442444 h 1640572"/>
                  <a:gd name="connsiteX8" fmla="*/ 109220 w 631189"/>
                  <a:gd name="connsiteY8" fmla="*/ 317984 h 1640572"/>
                  <a:gd name="connsiteX9" fmla="*/ 119379 w 631189"/>
                  <a:gd name="connsiteY9" fmla="*/ 455144 h 1640572"/>
                  <a:gd name="connsiteX10" fmla="*/ 203768 w 631189"/>
                  <a:gd name="connsiteY10" fmla="*/ 539717 h 1640572"/>
                  <a:gd name="connsiteX11" fmla="*/ 256539 w 631189"/>
                  <a:gd name="connsiteY11" fmla="*/ 577064 h 1640572"/>
                  <a:gd name="connsiteX12" fmla="*/ 259079 w 631189"/>
                  <a:gd name="connsiteY12" fmla="*/ 429744 h 1640572"/>
                  <a:gd name="connsiteX13" fmla="*/ 284479 w 631189"/>
                  <a:gd name="connsiteY13" fmla="*/ 587224 h 1640572"/>
                  <a:gd name="connsiteX14" fmla="*/ 432368 w 631189"/>
                  <a:gd name="connsiteY14" fmla="*/ 646681 h 1640572"/>
                  <a:gd name="connsiteX15" fmla="*/ 487781 w 631189"/>
                  <a:gd name="connsiteY15" fmla="*/ 412717 h 1640572"/>
                  <a:gd name="connsiteX16" fmla="*/ 365760 w 631189"/>
                  <a:gd name="connsiteY16" fmla="*/ 165584 h 1640572"/>
                  <a:gd name="connsiteX17" fmla="*/ 338672 w 631189"/>
                  <a:gd name="connsiteY17" fmla="*/ 0 h 1640572"/>
                  <a:gd name="connsiteX18" fmla="*/ 384576 w 631189"/>
                  <a:gd name="connsiteY18" fmla="*/ 159000 h 1640572"/>
                  <a:gd name="connsiteX19" fmla="*/ 411479 w 631189"/>
                  <a:gd name="connsiteY19" fmla="*/ 226544 h 1640572"/>
                  <a:gd name="connsiteX20" fmla="*/ 502919 w 631189"/>
                  <a:gd name="connsiteY20" fmla="*/ 58904 h 1640572"/>
                  <a:gd name="connsiteX21" fmla="*/ 426719 w 631189"/>
                  <a:gd name="connsiteY21" fmla="*/ 262104 h 1640572"/>
                  <a:gd name="connsiteX22" fmla="*/ 509605 w 631189"/>
                  <a:gd name="connsiteY22" fmla="*/ 385528 h 1640572"/>
                  <a:gd name="connsiteX23" fmla="*/ 631189 w 631189"/>
                  <a:gd name="connsiteY23" fmla="*/ 222734 h 1640572"/>
                  <a:gd name="connsiteX24" fmla="*/ 513080 w 631189"/>
                  <a:gd name="connsiteY24" fmla="*/ 432284 h 1640572"/>
                  <a:gd name="connsiteX25" fmla="*/ 485140 w 631189"/>
                  <a:gd name="connsiteY25" fmla="*/ 630404 h 1640572"/>
                  <a:gd name="connsiteX26" fmla="*/ 488149 w 631189"/>
                  <a:gd name="connsiteY26" fmla="*/ 845837 h 1640572"/>
                  <a:gd name="connsiteX27" fmla="*/ 610435 w 631189"/>
                  <a:gd name="connsiteY27" fmla="*/ 734377 h 1640572"/>
                  <a:gd name="connsiteX28" fmla="*/ 495769 w 631189"/>
                  <a:gd name="connsiteY28" fmla="*/ 926547 h 1640572"/>
                  <a:gd name="connsiteX29" fmla="*/ 520700 w 631189"/>
                  <a:gd name="connsiteY29" fmla="*/ 1278104 h 1640572"/>
                  <a:gd name="connsiteX30" fmla="*/ 520700 w 631189"/>
                  <a:gd name="connsiteY30" fmla="*/ 1636244 h 1640572"/>
                  <a:gd name="connsiteX31" fmla="*/ 363788 w 631189"/>
                  <a:gd name="connsiteY31" fmla="*/ 1640572 h 1640572"/>
                  <a:gd name="connsiteX0" fmla="*/ 363788 w 631189"/>
                  <a:gd name="connsiteY0" fmla="*/ 1640572 h 1640572"/>
                  <a:gd name="connsiteX1" fmla="*/ 396240 w 631189"/>
                  <a:gd name="connsiteY1" fmla="*/ 1234924 h 1640572"/>
                  <a:gd name="connsiteX2" fmla="*/ 400000 w 631189"/>
                  <a:gd name="connsiteY2" fmla="*/ 954771 h 1640572"/>
                  <a:gd name="connsiteX3" fmla="*/ 414020 w 631189"/>
                  <a:gd name="connsiteY3" fmla="*/ 714224 h 1640572"/>
                  <a:gd name="connsiteX4" fmla="*/ 190600 w 631189"/>
                  <a:gd name="connsiteY4" fmla="*/ 574809 h 1640572"/>
                  <a:gd name="connsiteX5" fmla="*/ 96520 w 631189"/>
                  <a:gd name="connsiteY5" fmla="*/ 478004 h 1640572"/>
                  <a:gd name="connsiteX6" fmla="*/ 0 w 631189"/>
                  <a:gd name="connsiteY6" fmla="*/ 399264 h 1640572"/>
                  <a:gd name="connsiteX7" fmla="*/ 96520 w 631189"/>
                  <a:gd name="connsiteY7" fmla="*/ 442444 h 1640572"/>
                  <a:gd name="connsiteX8" fmla="*/ 109220 w 631189"/>
                  <a:gd name="connsiteY8" fmla="*/ 317984 h 1640572"/>
                  <a:gd name="connsiteX9" fmla="*/ 119379 w 631189"/>
                  <a:gd name="connsiteY9" fmla="*/ 455144 h 1640572"/>
                  <a:gd name="connsiteX10" fmla="*/ 203768 w 631189"/>
                  <a:gd name="connsiteY10" fmla="*/ 539717 h 1640572"/>
                  <a:gd name="connsiteX11" fmla="*/ 256539 w 631189"/>
                  <a:gd name="connsiteY11" fmla="*/ 577064 h 1640572"/>
                  <a:gd name="connsiteX12" fmla="*/ 259079 w 631189"/>
                  <a:gd name="connsiteY12" fmla="*/ 429744 h 1640572"/>
                  <a:gd name="connsiteX13" fmla="*/ 284479 w 631189"/>
                  <a:gd name="connsiteY13" fmla="*/ 587224 h 1640572"/>
                  <a:gd name="connsiteX14" fmla="*/ 432368 w 631189"/>
                  <a:gd name="connsiteY14" fmla="*/ 646681 h 1640572"/>
                  <a:gd name="connsiteX15" fmla="*/ 487781 w 631189"/>
                  <a:gd name="connsiteY15" fmla="*/ 412717 h 1640572"/>
                  <a:gd name="connsiteX16" fmla="*/ 365760 w 631189"/>
                  <a:gd name="connsiteY16" fmla="*/ 165584 h 1640572"/>
                  <a:gd name="connsiteX17" fmla="*/ 338672 w 631189"/>
                  <a:gd name="connsiteY17" fmla="*/ 0 h 1640572"/>
                  <a:gd name="connsiteX18" fmla="*/ 384576 w 631189"/>
                  <a:gd name="connsiteY18" fmla="*/ 159000 h 1640572"/>
                  <a:gd name="connsiteX19" fmla="*/ 411479 w 631189"/>
                  <a:gd name="connsiteY19" fmla="*/ 226544 h 1640572"/>
                  <a:gd name="connsiteX20" fmla="*/ 502919 w 631189"/>
                  <a:gd name="connsiteY20" fmla="*/ 58904 h 1640572"/>
                  <a:gd name="connsiteX21" fmla="*/ 426719 w 631189"/>
                  <a:gd name="connsiteY21" fmla="*/ 262104 h 1640572"/>
                  <a:gd name="connsiteX22" fmla="*/ 509605 w 631189"/>
                  <a:gd name="connsiteY22" fmla="*/ 385528 h 1640572"/>
                  <a:gd name="connsiteX23" fmla="*/ 631189 w 631189"/>
                  <a:gd name="connsiteY23" fmla="*/ 222734 h 1640572"/>
                  <a:gd name="connsiteX24" fmla="*/ 513080 w 631189"/>
                  <a:gd name="connsiteY24" fmla="*/ 432284 h 1640572"/>
                  <a:gd name="connsiteX25" fmla="*/ 485140 w 631189"/>
                  <a:gd name="connsiteY25" fmla="*/ 630404 h 1640572"/>
                  <a:gd name="connsiteX26" fmla="*/ 488149 w 631189"/>
                  <a:gd name="connsiteY26" fmla="*/ 845837 h 1640572"/>
                  <a:gd name="connsiteX27" fmla="*/ 610435 w 631189"/>
                  <a:gd name="connsiteY27" fmla="*/ 734377 h 1640572"/>
                  <a:gd name="connsiteX28" fmla="*/ 560939 w 631189"/>
                  <a:gd name="connsiteY28" fmla="*/ 817086 h 1640572"/>
                  <a:gd name="connsiteX29" fmla="*/ 495769 w 631189"/>
                  <a:gd name="connsiteY29" fmla="*/ 926547 h 1640572"/>
                  <a:gd name="connsiteX30" fmla="*/ 520700 w 631189"/>
                  <a:gd name="connsiteY30" fmla="*/ 1278104 h 1640572"/>
                  <a:gd name="connsiteX31" fmla="*/ 520700 w 631189"/>
                  <a:gd name="connsiteY31" fmla="*/ 1636244 h 1640572"/>
                  <a:gd name="connsiteX32" fmla="*/ 363788 w 631189"/>
                  <a:gd name="connsiteY32" fmla="*/ 1640572 h 1640572"/>
                  <a:gd name="connsiteX0" fmla="*/ 363788 w 656155"/>
                  <a:gd name="connsiteY0" fmla="*/ 1640572 h 1640572"/>
                  <a:gd name="connsiteX1" fmla="*/ 396240 w 656155"/>
                  <a:gd name="connsiteY1" fmla="*/ 1234924 h 1640572"/>
                  <a:gd name="connsiteX2" fmla="*/ 400000 w 656155"/>
                  <a:gd name="connsiteY2" fmla="*/ 954771 h 1640572"/>
                  <a:gd name="connsiteX3" fmla="*/ 414020 w 656155"/>
                  <a:gd name="connsiteY3" fmla="*/ 714224 h 1640572"/>
                  <a:gd name="connsiteX4" fmla="*/ 190600 w 656155"/>
                  <a:gd name="connsiteY4" fmla="*/ 574809 h 1640572"/>
                  <a:gd name="connsiteX5" fmla="*/ 96520 w 656155"/>
                  <a:gd name="connsiteY5" fmla="*/ 478004 h 1640572"/>
                  <a:gd name="connsiteX6" fmla="*/ 0 w 656155"/>
                  <a:gd name="connsiteY6" fmla="*/ 399264 h 1640572"/>
                  <a:gd name="connsiteX7" fmla="*/ 96520 w 656155"/>
                  <a:gd name="connsiteY7" fmla="*/ 442444 h 1640572"/>
                  <a:gd name="connsiteX8" fmla="*/ 109220 w 656155"/>
                  <a:gd name="connsiteY8" fmla="*/ 317984 h 1640572"/>
                  <a:gd name="connsiteX9" fmla="*/ 119379 w 656155"/>
                  <a:gd name="connsiteY9" fmla="*/ 455144 h 1640572"/>
                  <a:gd name="connsiteX10" fmla="*/ 203768 w 656155"/>
                  <a:gd name="connsiteY10" fmla="*/ 539717 h 1640572"/>
                  <a:gd name="connsiteX11" fmla="*/ 256539 w 656155"/>
                  <a:gd name="connsiteY11" fmla="*/ 577064 h 1640572"/>
                  <a:gd name="connsiteX12" fmla="*/ 259079 w 656155"/>
                  <a:gd name="connsiteY12" fmla="*/ 429744 h 1640572"/>
                  <a:gd name="connsiteX13" fmla="*/ 284479 w 656155"/>
                  <a:gd name="connsiteY13" fmla="*/ 587224 h 1640572"/>
                  <a:gd name="connsiteX14" fmla="*/ 432368 w 656155"/>
                  <a:gd name="connsiteY14" fmla="*/ 646681 h 1640572"/>
                  <a:gd name="connsiteX15" fmla="*/ 487781 w 656155"/>
                  <a:gd name="connsiteY15" fmla="*/ 412717 h 1640572"/>
                  <a:gd name="connsiteX16" fmla="*/ 365760 w 656155"/>
                  <a:gd name="connsiteY16" fmla="*/ 165584 h 1640572"/>
                  <a:gd name="connsiteX17" fmla="*/ 338672 w 656155"/>
                  <a:gd name="connsiteY17" fmla="*/ 0 h 1640572"/>
                  <a:gd name="connsiteX18" fmla="*/ 384576 w 656155"/>
                  <a:gd name="connsiteY18" fmla="*/ 159000 h 1640572"/>
                  <a:gd name="connsiteX19" fmla="*/ 411479 w 656155"/>
                  <a:gd name="connsiteY19" fmla="*/ 226544 h 1640572"/>
                  <a:gd name="connsiteX20" fmla="*/ 502919 w 656155"/>
                  <a:gd name="connsiteY20" fmla="*/ 58904 h 1640572"/>
                  <a:gd name="connsiteX21" fmla="*/ 426719 w 656155"/>
                  <a:gd name="connsiteY21" fmla="*/ 262104 h 1640572"/>
                  <a:gd name="connsiteX22" fmla="*/ 509605 w 656155"/>
                  <a:gd name="connsiteY22" fmla="*/ 385528 h 1640572"/>
                  <a:gd name="connsiteX23" fmla="*/ 631189 w 656155"/>
                  <a:gd name="connsiteY23" fmla="*/ 222734 h 1640572"/>
                  <a:gd name="connsiteX24" fmla="*/ 513080 w 656155"/>
                  <a:gd name="connsiteY24" fmla="*/ 432284 h 1640572"/>
                  <a:gd name="connsiteX25" fmla="*/ 485140 w 656155"/>
                  <a:gd name="connsiteY25" fmla="*/ 630404 h 1640572"/>
                  <a:gd name="connsiteX26" fmla="*/ 488149 w 656155"/>
                  <a:gd name="connsiteY26" fmla="*/ 845837 h 1640572"/>
                  <a:gd name="connsiteX27" fmla="*/ 610435 w 656155"/>
                  <a:gd name="connsiteY27" fmla="*/ 734377 h 1640572"/>
                  <a:gd name="connsiteX28" fmla="*/ 656155 w 656155"/>
                  <a:gd name="connsiteY28" fmla="*/ 747838 h 1640572"/>
                  <a:gd name="connsiteX29" fmla="*/ 495769 w 656155"/>
                  <a:gd name="connsiteY29" fmla="*/ 926547 h 1640572"/>
                  <a:gd name="connsiteX30" fmla="*/ 520700 w 656155"/>
                  <a:gd name="connsiteY30" fmla="*/ 1278104 h 1640572"/>
                  <a:gd name="connsiteX31" fmla="*/ 520700 w 656155"/>
                  <a:gd name="connsiteY31" fmla="*/ 1636244 h 1640572"/>
                  <a:gd name="connsiteX32" fmla="*/ 363788 w 656155"/>
                  <a:gd name="connsiteY32" fmla="*/ 1640572 h 1640572"/>
                  <a:gd name="connsiteX0" fmla="*/ 363788 w 735061"/>
                  <a:gd name="connsiteY0" fmla="*/ 1640572 h 1640572"/>
                  <a:gd name="connsiteX1" fmla="*/ 396240 w 735061"/>
                  <a:gd name="connsiteY1" fmla="*/ 1234924 h 1640572"/>
                  <a:gd name="connsiteX2" fmla="*/ 400000 w 735061"/>
                  <a:gd name="connsiteY2" fmla="*/ 954771 h 1640572"/>
                  <a:gd name="connsiteX3" fmla="*/ 414020 w 735061"/>
                  <a:gd name="connsiteY3" fmla="*/ 714224 h 1640572"/>
                  <a:gd name="connsiteX4" fmla="*/ 190600 w 735061"/>
                  <a:gd name="connsiteY4" fmla="*/ 574809 h 1640572"/>
                  <a:gd name="connsiteX5" fmla="*/ 96520 w 735061"/>
                  <a:gd name="connsiteY5" fmla="*/ 478004 h 1640572"/>
                  <a:gd name="connsiteX6" fmla="*/ 0 w 735061"/>
                  <a:gd name="connsiteY6" fmla="*/ 399264 h 1640572"/>
                  <a:gd name="connsiteX7" fmla="*/ 96520 w 735061"/>
                  <a:gd name="connsiteY7" fmla="*/ 442444 h 1640572"/>
                  <a:gd name="connsiteX8" fmla="*/ 109220 w 735061"/>
                  <a:gd name="connsiteY8" fmla="*/ 317984 h 1640572"/>
                  <a:gd name="connsiteX9" fmla="*/ 119379 w 735061"/>
                  <a:gd name="connsiteY9" fmla="*/ 455144 h 1640572"/>
                  <a:gd name="connsiteX10" fmla="*/ 203768 w 735061"/>
                  <a:gd name="connsiteY10" fmla="*/ 539717 h 1640572"/>
                  <a:gd name="connsiteX11" fmla="*/ 256539 w 735061"/>
                  <a:gd name="connsiteY11" fmla="*/ 577064 h 1640572"/>
                  <a:gd name="connsiteX12" fmla="*/ 259079 w 735061"/>
                  <a:gd name="connsiteY12" fmla="*/ 429744 h 1640572"/>
                  <a:gd name="connsiteX13" fmla="*/ 284479 w 735061"/>
                  <a:gd name="connsiteY13" fmla="*/ 587224 h 1640572"/>
                  <a:gd name="connsiteX14" fmla="*/ 432368 w 735061"/>
                  <a:gd name="connsiteY14" fmla="*/ 646681 h 1640572"/>
                  <a:gd name="connsiteX15" fmla="*/ 487781 w 735061"/>
                  <a:gd name="connsiteY15" fmla="*/ 412717 h 1640572"/>
                  <a:gd name="connsiteX16" fmla="*/ 365760 w 735061"/>
                  <a:gd name="connsiteY16" fmla="*/ 165584 h 1640572"/>
                  <a:gd name="connsiteX17" fmla="*/ 338672 w 735061"/>
                  <a:gd name="connsiteY17" fmla="*/ 0 h 1640572"/>
                  <a:gd name="connsiteX18" fmla="*/ 384576 w 735061"/>
                  <a:gd name="connsiteY18" fmla="*/ 159000 h 1640572"/>
                  <a:gd name="connsiteX19" fmla="*/ 411479 w 735061"/>
                  <a:gd name="connsiteY19" fmla="*/ 226544 h 1640572"/>
                  <a:gd name="connsiteX20" fmla="*/ 502919 w 735061"/>
                  <a:gd name="connsiteY20" fmla="*/ 58904 h 1640572"/>
                  <a:gd name="connsiteX21" fmla="*/ 426719 w 735061"/>
                  <a:gd name="connsiteY21" fmla="*/ 262104 h 1640572"/>
                  <a:gd name="connsiteX22" fmla="*/ 509605 w 735061"/>
                  <a:gd name="connsiteY22" fmla="*/ 385528 h 1640572"/>
                  <a:gd name="connsiteX23" fmla="*/ 735061 w 735061"/>
                  <a:gd name="connsiteY23" fmla="*/ 84238 h 1640572"/>
                  <a:gd name="connsiteX24" fmla="*/ 513080 w 735061"/>
                  <a:gd name="connsiteY24" fmla="*/ 432284 h 1640572"/>
                  <a:gd name="connsiteX25" fmla="*/ 485140 w 735061"/>
                  <a:gd name="connsiteY25" fmla="*/ 630404 h 1640572"/>
                  <a:gd name="connsiteX26" fmla="*/ 488149 w 735061"/>
                  <a:gd name="connsiteY26" fmla="*/ 845837 h 1640572"/>
                  <a:gd name="connsiteX27" fmla="*/ 610435 w 735061"/>
                  <a:gd name="connsiteY27" fmla="*/ 734377 h 1640572"/>
                  <a:gd name="connsiteX28" fmla="*/ 656155 w 735061"/>
                  <a:gd name="connsiteY28" fmla="*/ 747838 h 1640572"/>
                  <a:gd name="connsiteX29" fmla="*/ 495769 w 735061"/>
                  <a:gd name="connsiteY29" fmla="*/ 926547 h 1640572"/>
                  <a:gd name="connsiteX30" fmla="*/ 520700 w 735061"/>
                  <a:gd name="connsiteY30" fmla="*/ 1278104 h 1640572"/>
                  <a:gd name="connsiteX31" fmla="*/ 520700 w 735061"/>
                  <a:gd name="connsiteY31" fmla="*/ 1636244 h 1640572"/>
                  <a:gd name="connsiteX32" fmla="*/ 363788 w 735061"/>
                  <a:gd name="connsiteY32" fmla="*/ 1640572 h 1640572"/>
                  <a:gd name="connsiteX0" fmla="*/ 363788 w 735061"/>
                  <a:gd name="connsiteY0" fmla="*/ 1640572 h 1640572"/>
                  <a:gd name="connsiteX1" fmla="*/ 396240 w 735061"/>
                  <a:gd name="connsiteY1" fmla="*/ 1234924 h 1640572"/>
                  <a:gd name="connsiteX2" fmla="*/ 400000 w 735061"/>
                  <a:gd name="connsiteY2" fmla="*/ 954771 h 1640572"/>
                  <a:gd name="connsiteX3" fmla="*/ 414020 w 735061"/>
                  <a:gd name="connsiteY3" fmla="*/ 714224 h 1640572"/>
                  <a:gd name="connsiteX4" fmla="*/ 190600 w 735061"/>
                  <a:gd name="connsiteY4" fmla="*/ 574809 h 1640572"/>
                  <a:gd name="connsiteX5" fmla="*/ 96520 w 735061"/>
                  <a:gd name="connsiteY5" fmla="*/ 478004 h 1640572"/>
                  <a:gd name="connsiteX6" fmla="*/ 0 w 735061"/>
                  <a:gd name="connsiteY6" fmla="*/ 399264 h 1640572"/>
                  <a:gd name="connsiteX7" fmla="*/ 96520 w 735061"/>
                  <a:gd name="connsiteY7" fmla="*/ 442444 h 1640572"/>
                  <a:gd name="connsiteX8" fmla="*/ 109220 w 735061"/>
                  <a:gd name="connsiteY8" fmla="*/ 317984 h 1640572"/>
                  <a:gd name="connsiteX9" fmla="*/ 119379 w 735061"/>
                  <a:gd name="connsiteY9" fmla="*/ 455144 h 1640572"/>
                  <a:gd name="connsiteX10" fmla="*/ 203768 w 735061"/>
                  <a:gd name="connsiteY10" fmla="*/ 539717 h 1640572"/>
                  <a:gd name="connsiteX11" fmla="*/ 256539 w 735061"/>
                  <a:gd name="connsiteY11" fmla="*/ 577064 h 1640572"/>
                  <a:gd name="connsiteX12" fmla="*/ 259079 w 735061"/>
                  <a:gd name="connsiteY12" fmla="*/ 429744 h 1640572"/>
                  <a:gd name="connsiteX13" fmla="*/ 284479 w 735061"/>
                  <a:gd name="connsiteY13" fmla="*/ 587224 h 1640572"/>
                  <a:gd name="connsiteX14" fmla="*/ 432368 w 735061"/>
                  <a:gd name="connsiteY14" fmla="*/ 646681 h 1640572"/>
                  <a:gd name="connsiteX15" fmla="*/ 487781 w 735061"/>
                  <a:gd name="connsiteY15" fmla="*/ 412717 h 1640572"/>
                  <a:gd name="connsiteX16" fmla="*/ 365760 w 735061"/>
                  <a:gd name="connsiteY16" fmla="*/ 165584 h 1640572"/>
                  <a:gd name="connsiteX17" fmla="*/ 338672 w 735061"/>
                  <a:gd name="connsiteY17" fmla="*/ 0 h 1640572"/>
                  <a:gd name="connsiteX18" fmla="*/ 384576 w 735061"/>
                  <a:gd name="connsiteY18" fmla="*/ 159000 h 1640572"/>
                  <a:gd name="connsiteX19" fmla="*/ 411479 w 735061"/>
                  <a:gd name="connsiteY19" fmla="*/ 226544 h 1640572"/>
                  <a:gd name="connsiteX20" fmla="*/ 502919 w 735061"/>
                  <a:gd name="connsiteY20" fmla="*/ 58904 h 1640572"/>
                  <a:gd name="connsiteX21" fmla="*/ 426719 w 735061"/>
                  <a:gd name="connsiteY21" fmla="*/ 262104 h 1640572"/>
                  <a:gd name="connsiteX22" fmla="*/ 509605 w 735061"/>
                  <a:gd name="connsiteY22" fmla="*/ 385528 h 1640572"/>
                  <a:gd name="connsiteX23" fmla="*/ 735061 w 735061"/>
                  <a:gd name="connsiteY23" fmla="*/ 84238 h 1640572"/>
                  <a:gd name="connsiteX24" fmla="*/ 530393 w 735061"/>
                  <a:gd name="connsiteY24" fmla="*/ 432285 h 1640572"/>
                  <a:gd name="connsiteX25" fmla="*/ 485140 w 735061"/>
                  <a:gd name="connsiteY25" fmla="*/ 630404 h 1640572"/>
                  <a:gd name="connsiteX26" fmla="*/ 488149 w 735061"/>
                  <a:gd name="connsiteY26" fmla="*/ 845837 h 1640572"/>
                  <a:gd name="connsiteX27" fmla="*/ 610435 w 735061"/>
                  <a:gd name="connsiteY27" fmla="*/ 734377 h 1640572"/>
                  <a:gd name="connsiteX28" fmla="*/ 656155 w 735061"/>
                  <a:gd name="connsiteY28" fmla="*/ 747838 h 1640572"/>
                  <a:gd name="connsiteX29" fmla="*/ 495769 w 735061"/>
                  <a:gd name="connsiteY29" fmla="*/ 926547 h 1640572"/>
                  <a:gd name="connsiteX30" fmla="*/ 520700 w 735061"/>
                  <a:gd name="connsiteY30" fmla="*/ 1278104 h 1640572"/>
                  <a:gd name="connsiteX31" fmla="*/ 520700 w 735061"/>
                  <a:gd name="connsiteY31" fmla="*/ 1636244 h 1640572"/>
                  <a:gd name="connsiteX32" fmla="*/ 363788 w 735061"/>
                  <a:gd name="connsiteY32" fmla="*/ 1640572 h 1640572"/>
                  <a:gd name="connsiteX0" fmla="*/ 363788 w 735061"/>
                  <a:gd name="connsiteY0" fmla="*/ 1640572 h 1640572"/>
                  <a:gd name="connsiteX1" fmla="*/ 396240 w 735061"/>
                  <a:gd name="connsiteY1" fmla="*/ 1234924 h 1640572"/>
                  <a:gd name="connsiteX2" fmla="*/ 400000 w 735061"/>
                  <a:gd name="connsiteY2" fmla="*/ 954771 h 1640572"/>
                  <a:gd name="connsiteX3" fmla="*/ 414020 w 735061"/>
                  <a:gd name="connsiteY3" fmla="*/ 714224 h 1640572"/>
                  <a:gd name="connsiteX4" fmla="*/ 190600 w 735061"/>
                  <a:gd name="connsiteY4" fmla="*/ 574809 h 1640572"/>
                  <a:gd name="connsiteX5" fmla="*/ 96520 w 735061"/>
                  <a:gd name="connsiteY5" fmla="*/ 478004 h 1640572"/>
                  <a:gd name="connsiteX6" fmla="*/ 0 w 735061"/>
                  <a:gd name="connsiteY6" fmla="*/ 399264 h 1640572"/>
                  <a:gd name="connsiteX7" fmla="*/ 96520 w 735061"/>
                  <a:gd name="connsiteY7" fmla="*/ 442444 h 1640572"/>
                  <a:gd name="connsiteX8" fmla="*/ 109220 w 735061"/>
                  <a:gd name="connsiteY8" fmla="*/ 317984 h 1640572"/>
                  <a:gd name="connsiteX9" fmla="*/ 119379 w 735061"/>
                  <a:gd name="connsiteY9" fmla="*/ 455144 h 1640572"/>
                  <a:gd name="connsiteX10" fmla="*/ 203768 w 735061"/>
                  <a:gd name="connsiteY10" fmla="*/ 539717 h 1640572"/>
                  <a:gd name="connsiteX11" fmla="*/ 256539 w 735061"/>
                  <a:gd name="connsiteY11" fmla="*/ 577064 h 1640572"/>
                  <a:gd name="connsiteX12" fmla="*/ 259079 w 735061"/>
                  <a:gd name="connsiteY12" fmla="*/ 429744 h 1640572"/>
                  <a:gd name="connsiteX13" fmla="*/ 284479 w 735061"/>
                  <a:gd name="connsiteY13" fmla="*/ 587224 h 1640572"/>
                  <a:gd name="connsiteX14" fmla="*/ 432368 w 735061"/>
                  <a:gd name="connsiteY14" fmla="*/ 646681 h 1640572"/>
                  <a:gd name="connsiteX15" fmla="*/ 487781 w 735061"/>
                  <a:gd name="connsiteY15" fmla="*/ 412717 h 1640572"/>
                  <a:gd name="connsiteX16" fmla="*/ 365760 w 735061"/>
                  <a:gd name="connsiteY16" fmla="*/ 165584 h 1640572"/>
                  <a:gd name="connsiteX17" fmla="*/ 338672 w 735061"/>
                  <a:gd name="connsiteY17" fmla="*/ 0 h 1640572"/>
                  <a:gd name="connsiteX18" fmla="*/ 384576 w 735061"/>
                  <a:gd name="connsiteY18" fmla="*/ 159000 h 1640572"/>
                  <a:gd name="connsiteX19" fmla="*/ 411479 w 735061"/>
                  <a:gd name="connsiteY19" fmla="*/ 226544 h 1640572"/>
                  <a:gd name="connsiteX20" fmla="*/ 502919 w 735061"/>
                  <a:gd name="connsiteY20" fmla="*/ 58904 h 1640572"/>
                  <a:gd name="connsiteX21" fmla="*/ 426719 w 735061"/>
                  <a:gd name="connsiteY21" fmla="*/ 262104 h 1640572"/>
                  <a:gd name="connsiteX22" fmla="*/ 509605 w 735061"/>
                  <a:gd name="connsiteY22" fmla="*/ 385528 h 1640572"/>
                  <a:gd name="connsiteX23" fmla="*/ 735061 w 735061"/>
                  <a:gd name="connsiteY23" fmla="*/ 84238 h 1640572"/>
                  <a:gd name="connsiteX24" fmla="*/ 647497 w 735061"/>
                  <a:gd name="connsiteY24" fmla="*/ 245790 h 1640572"/>
                  <a:gd name="connsiteX25" fmla="*/ 530393 w 735061"/>
                  <a:gd name="connsiteY25" fmla="*/ 432285 h 1640572"/>
                  <a:gd name="connsiteX26" fmla="*/ 485140 w 735061"/>
                  <a:gd name="connsiteY26" fmla="*/ 630404 h 1640572"/>
                  <a:gd name="connsiteX27" fmla="*/ 488149 w 735061"/>
                  <a:gd name="connsiteY27" fmla="*/ 845837 h 1640572"/>
                  <a:gd name="connsiteX28" fmla="*/ 610435 w 735061"/>
                  <a:gd name="connsiteY28" fmla="*/ 734377 h 1640572"/>
                  <a:gd name="connsiteX29" fmla="*/ 656155 w 735061"/>
                  <a:gd name="connsiteY29" fmla="*/ 747838 h 1640572"/>
                  <a:gd name="connsiteX30" fmla="*/ 495769 w 735061"/>
                  <a:gd name="connsiteY30" fmla="*/ 926547 h 1640572"/>
                  <a:gd name="connsiteX31" fmla="*/ 520700 w 735061"/>
                  <a:gd name="connsiteY31" fmla="*/ 1278104 h 1640572"/>
                  <a:gd name="connsiteX32" fmla="*/ 520700 w 735061"/>
                  <a:gd name="connsiteY32" fmla="*/ 1636244 h 1640572"/>
                  <a:gd name="connsiteX33" fmla="*/ 363788 w 735061"/>
                  <a:gd name="connsiteY33" fmla="*/ 1640572 h 1640572"/>
                  <a:gd name="connsiteX0" fmla="*/ 363788 w 773009"/>
                  <a:gd name="connsiteY0" fmla="*/ 1640572 h 1640572"/>
                  <a:gd name="connsiteX1" fmla="*/ 396240 w 773009"/>
                  <a:gd name="connsiteY1" fmla="*/ 1234924 h 1640572"/>
                  <a:gd name="connsiteX2" fmla="*/ 400000 w 773009"/>
                  <a:gd name="connsiteY2" fmla="*/ 954771 h 1640572"/>
                  <a:gd name="connsiteX3" fmla="*/ 414020 w 773009"/>
                  <a:gd name="connsiteY3" fmla="*/ 714224 h 1640572"/>
                  <a:gd name="connsiteX4" fmla="*/ 190600 w 773009"/>
                  <a:gd name="connsiteY4" fmla="*/ 574809 h 1640572"/>
                  <a:gd name="connsiteX5" fmla="*/ 96520 w 773009"/>
                  <a:gd name="connsiteY5" fmla="*/ 478004 h 1640572"/>
                  <a:gd name="connsiteX6" fmla="*/ 0 w 773009"/>
                  <a:gd name="connsiteY6" fmla="*/ 399264 h 1640572"/>
                  <a:gd name="connsiteX7" fmla="*/ 96520 w 773009"/>
                  <a:gd name="connsiteY7" fmla="*/ 442444 h 1640572"/>
                  <a:gd name="connsiteX8" fmla="*/ 109220 w 773009"/>
                  <a:gd name="connsiteY8" fmla="*/ 317984 h 1640572"/>
                  <a:gd name="connsiteX9" fmla="*/ 119379 w 773009"/>
                  <a:gd name="connsiteY9" fmla="*/ 455144 h 1640572"/>
                  <a:gd name="connsiteX10" fmla="*/ 203768 w 773009"/>
                  <a:gd name="connsiteY10" fmla="*/ 539717 h 1640572"/>
                  <a:gd name="connsiteX11" fmla="*/ 256539 w 773009"/>
                  <a:gd name="connsiteY11" fmla="*/ 577064 h 1640572"/>
                  <a:gd name="connsiteX12" fmla="*/ 259079 w 773009"/>
                  <a:gd name="connsiteY12" fmla="*/ 429744 h 1640572"/>
                  <a:gd name="connsiteX13" fmla="*/ 284479 w 773009"/>
                  <a:gd name="connsiteY13" fmla="*/ 587224 h 1640572"/>
                  <a:gd name="connsiteX14" fmla="*/ 432368 w 773009"/>
                  <a:gd name="connsiteY14" fmla="*/ 646681 h 1640572"/>
                  <a:gd name="connsiteX15" fmla="*/ 487781 w 773009"/>
                  <a:gd name="connsiteY15" fmla="*/ 412717 h 1640572"/>
                  <a:gd name="connsiteX16" fmla="*/ 365760 w 773009"/>
                  <a:gd name="connsiteY16" fmla="*/ 165584 h 1640572"/>
                  <a:gd name="connsiteX17" fmla="*/ 338672 w 773009"/>
                  <a:gd name="connsiteY17" fmla="*/ 0 h 1640572"/>
                  <a:gd name="connsiteX18" fmla="*/ 384576 w 773009"/>
                  <a:gd name="connsiteY18" fmla="*/ 159000 h 1640572"/>
                  <a:gd name="connsiteX19" fmla="*/ 411479 w 773009"/>
                  <a:gd name="connsiteY19" fmla="*/ 226544 h 1640572"/>
                  <a:gd name="connsiteX20" fmla="*/ 502919 w 773009"/>
                  <a:gd name="connsiteY20" fmla="*/ 58904 h 1640572"/>
                  <a:gd name="connsiteX21" fmla="*/ 426719 w 773009"/>
                  <a:gd name="connsiteY21" fmla="*/ 262104 h 1640572"/>
                  <a:gd name="connsiteX22" fmla="*/ 509605 w 773009"/>
                  <a:gd name="connsiteY22" fmla="*/ 385528 h 1640572"/>
                  <a:gd name="connsiteX23" fmla="*/ 735061 w 773009"/>
                  <a:gd name="connsiteY23" fmla="*/ 84238 h 1640572"/>
                  <a:gd name="connsiteX24" fmla="*/ 773009 w 773009"/>
                  <a:gd name="connsiteY24" fmla="*/ 219822 h 1640572"/>
                  <a:gd name="connsiteX25" fmla="*/ 530393 w 773009"/>
                  <a:gd name="connsiteY25" fmla="*/ 432285 h 1640572"/>
                  <a:gd name="connsiteX26" fmla="*/ 485140 w 773009"/>
                  <a:gd name="connsiteY26" fmla="*/ 630404 h 1640572"/>
                  <a:gd name="connsiteX27" fmla="*/ 488149 w 773009"/>
                  <a:gd name="connsiteY27" fmla="*/ 845837 h 1640572"/>
                  <a:gd name="connsiteX28" fmla="*/ 610435 w 773009"/>
                  <a:gd name="connsiteY28" fmla="*/ 734377 h 1640572"/>
                  <a:gd name="connsiteX29" fmla="*/ 656155 w 773009"/>
                  <a:gd name="connsiteY29" fmla="*/ 747838 h 1640572"/>
                  <a:gd name="connsiteX30" fmla="*/ 495769 w 773009"/>
                  <a:gd name="connsiteY30" fmla="*/ 926547 h 1640572"/>
                  <a:gd name="connsiteX31" fmla="*/ 520700 w 773009"/>
                  <a:gd name="connsiteY31" fmla="*/ 1278104 h 1640572"/>
                  <a:gd name="connsiteX32" fmla="*/ 520700 w 773009"/>
                  <a:gd name="connsiteY32" fmla="*/ 1636244 h 1640572"/>
                  <a:gd name="connsiteX33" fmla="*/ 363788 w 773009"/>
                  <a:gd name="connsiteY33" fmla="*/ 1640572 h 1640572"/>
                  <a:gd name="connsiteX0" fmla="*/ 363788 w 773009"/>
                  <a:gd name="connsiteY0" fmla="*/ 1640572 h 1640572"/>
                  <a:gd name="connsiteX1" fmla="*/ 396240 w 773009"/>
                  <a:gd name="connsiteY1" fmla="*/ 1234924 h 1640572"/>
                  <a:gd name="connsiteX2" fmla="*/ 400000 w 773009"/>
                  <a:gd name="connsiteY2" fmla="*/ 954771 h 1640572"/>
                  <a:gd name="connsiteX3" fmla="*/ 414020 w 773009"/>
                  <a:gd name="connsiteY3" fmla="*/ 714224 h 1640572"/>
                  <a:gd name="connsiteX4" fmla="*/ 190600 w 773009"/>
                  <a:gd name="connsiteY4" fmla="*/ 574809 h 1640572"/>
                  <a:gd name="connsiteX5" fmla="*/ 96520 w 773009"/>
                  <a:gd name="connsiteY5" fmla="*/ 478004 h 1640572"/>
                  <a:gd name="connsiteX6" fmla="*/ 0 w 773009"/>
                  <a:gd name="connsiteY6" fmla="*/ 399264 h 1640572"/>
                  <a:gd name="connsiteX7" fmla="*/ 96520 w 773009"/>
                  <a:gd name="connsiteY7" fmla="*/ 442444 h 1640572"/>
                  <a:gd name="connsiteX8" fmla="*/ 109220 w 773009"/>
                  <a:gd name="connsiteY8" fmla="*/ 317984 h 1640572"/>
                  <a:gd name="connsiteX9" fmla="*/ 119379 w 773009"/>
                  <a:gd name="connsiteY9" fmla="*/ 455144 h 1640572"/>
                  <a:gd name="connsiteX10" fmla="*/ 203768 w 773009"/>
                  <a:gd name="connsiteY10" fmla="*/ 539717 h 1640572"/>
                  <a:gd name="connsiteX11" fmla="*/ 256539 w 773009"/>
                  <a:gd name="connsiteY11" fmla="*/ 577064 h 1640572"/>
                  <a:gd name="connsiteX12" fmla="*/ 259079 w 773009"/>
                  <a:gd name="connsiteY12" fmla="*/ 429744 h 1640572"/>
                  <a:gd name="connsiteX13" fmla="*/ 284479 w 773009"/>
                  <a:gd name="connsiteY13" fmla="*/ 587224 h 1640572"/>
                  <a:gd name="connsiteX14" fmla="*/ 432368 w 773009"/>
                  <a:gd name="connsiteY14" fmla="*/ 646681 h 1640572"/>
                  <a:gd name="connsiteX15" fmla="*/ 487781 w 773009"/>
                  <a:gd name="connsiteY15" fmla="*/ 412717 h 1640572"/>
                  <a:gd name="connsiteX16" fmla="*/ 365760 w 773009"/>
                  <a:gd name="connsiteY16" fmla="*/ 165584 h 1640572"/>
                  <a:gd name="connsiteX17" fmla="*/ 338672 w 773009"/>
                  <a:gd name="connsiteY17" fmla="*/ 0 h 1640572"/>
                  <a:gd name="connsiteX18" fmla="*/ 384576 w 773009"/>
                  <a:gd name="connsiteY18" fmla="*/ 159000 h 1640572"/>
                  <a:gd name="connsiteX19" fmla="*/ 411479 w 773009"/>
                  <a:gd name="connsiteY19" fmla="*/ 226544 h 1640572"/>
                  <a:gd name="connsiteX20" fmla="*/ 502919 w 773009"/>
                  <a:gd name="connsiteY20" fmla="*/ 58904 h 1640572"/>
                  <a:gd name="connsiteX21" fmla="*/ 426719 w 773009"/>
                  <a:gd name="connsiteY21" fmla="*/ 262104 h 1640572"/>
                  <a:gd name="connsiteX22" fmla="*/ 509605 w 773009"/>
                  <a:gd name="connsiteY22" fmla="*/ 385528 h 1640572"/>
                  <a:gd name="connsiteX23" fmla="*/ 735061 w 773009"/>
                  <a:gd name="connsiteY23" fmla="*/ 84238 h 1640572"/>
                  <a:gd name="connsiteX24" fmla="*/ 747041 w 773009"/>
                  <a:gd name="connsiteY24" fmla="*/ 146246 h 1640572"/>
                  <a:gd name="connsiteX25" fmla="*/ 773009 w 773009"/>
                  <a:gd name="connsiteY25" fmla="*/ 219822 h 1640572"/>
                  <a:gd name="connsiteX26" fmla="*/ 530393 w 773009"/>
                  <a:gd name="connsiteY26" fmla="*/ 432285 h 1640572"/>
                  <a:gd name="connsiteX27" fmla="*/ 485140 w 773009"/>
                  <a:gd name="connsiteY27" fmla="*/ 630404 h 1640572"/>
                  <a:gd name="connsiteX28" fmla="*/ 488149 w 773009"/>
                  <a:gd name="connsiteY28" fmla="*/ 845837 h 1640572"/>
                  <a:gd name="connsiteX29" fmla="*/ 610435 w 773009"/>
                  <a:gd name="connsiteY29" fmla="*/ 734377 h 1640572"/>
                  <a:gd name="connsiteX30" fmla="*/ 656155 w 773009"/>
                  <a:gd name="connsiteY30" fmla="*/ 747838 h 1640572"/>
                  <a:gd name="connsiteX31" fmla="*/ 495769 w 773009"/>
                  <a:gd name="connsiteY31" fmla="*/ 926547 h 1640572"/>
                  <a:gd name="connsiteX32" fmla="*/ 520700 w 773009"/>
                  <a:gd name="connsiteY32" fmla="*/ 1278104 h 1640572"/>
                  <a:gd name="connsiteX33" fmla="*/ 520700 w 773009"/>
                  <a:gd name="connsiteY33" fmla="*/ 1636244 h 1640572"/>
                  <a:gd name="connsiteX34" fmla="*/ 363788 w 773009"/>
                  <a:gd name="connsiteY34" fmla="*/ 1640572 h 1640572"/>
                  <a:gd name="connsiteX0" fmla="*/ 363788 w 773009"/>
                  <a:gd name="connsiteY0" fmla="*/ 1640572 h 1640572"/>
                  <a:gd name="connsiteX1" fmla="*/ 396240 w 773009"/>
                  <a:gd name="connsiteY1" fmla="*/ 1234924 h 1640572"/>
                  <a:gd name="connsiteX2" fmla="*/ 400000 w 773009"/>
                  <a:gd name="connsiteY2" fmla="*/ 954771 h 1640572"/>
                  <a:gd name="connsiteX3" fmla="*/ 414020 w 773009"/>
                  <a:gd name="connsiteY3" fmla="*/ 714224 h 1640572"/>
                  <a:gd name="connsiteX4" fmla="*/ 190600 w 773009"/>
                  <a:gd name="connsiteY4" fmla="*/ 574809 h 1640572"/>
                  <a:gd name="connsiteX5" fmla="*/ 96520 w 773009"/>
                  <a:gd name="connsiteY5" fmla="*/ 478004 h 1640572"/>
                  <a:gd name="connsiteX6" fmla="*/ 0 w 773009"/>
                  <a:gd name="connsiteY6" fmla="*/ 399264 h 1640572"/>
                  <a:gd name="connsiteX7" fmla="*/ 96520 w 773009"/>
                  <a:gd name="connsiteY7" fmla="*/ 442444 h 1640572"/>
                  <a:gd name="connsiteX8" fmla="*/ 109220 w 773009"/>
                  <a:gd name="connsiteY8" fmla="*/ 317984 h 1640572"/>
                  <a:gd name="connsiteX9" fmla="*/ 119379 w 773009"/>
                  <a:gd name="connsiteY9" fmla="*/ 455144 h 1640572"/>
                  <a:gd name="connsiteX10" fmla="*/ 203768 w 773009"/>
                  <a:gd name="connsiteY10" fmla="*/ 539717 h 1640572"/>
                  <a:gd name="connsiteX11" fmla="*/ 256539 w 773009"/>
                  <a:gd name="connsiteY11" fmla="*/ 577064 h 1640572"/>
                  <a:gd name="connsiteX12" fmla="*/ 259079 w 773009"/>
                  <a:gd name="connsiteY12" fmla="*/ 429744 h 1640572"/>
                  <a:gd name="connsiteX13" fmla="*/ 284479 w 773009"/>
                  <a:gd name="connsiteY13" fmla="*/ 587224 h 1640572"/>
                  <a:gd name="connsiteX14" fmla="*/ 432368 w 773009"/>
                  <a:gd name="connsiteY14" fmla="*/ 646681 h 1640572"/>
                  <a:gd name="connsiteX15" fmla="*/ 487781 w 773009"/>
                  <a:gd name="connsiteY15" fmla="*/ 412717 h 1640572"/>
                  <a:gd name="connsiteX16" fmla="*/ 365760 w 773009"/>
                  <a:gd name="connsiteY16" fmla="*/ 165584 h 1640572"/>
                  <a:gd name="connsiteX17" fmla="*/ 338672 w 773009"/>
                  <a:gd name="connsiteY17" fmla="*/ 0 h 1640572"/>
                  <a:gd name="connsiteX18" fmla="*/ 384576 w 773009"/>
                  <a:gd name="connsiteY18" fmla="*/ 159000 h 1640572"/>
                  <a:gd name="connsiteX19" fmla="*/ 411479 w 773009"/>
                  <a:gd name="connsiteY19" fmla="*/ 226544 h 1640572"/>
                  <a:gd name="connsiteX20" fmla="*/ 502919 w 773009"/>
                  <a:gd name="connsiteY20" fmla="*/ 58904 h 1640572"/>
                  <a:gd name="connsiteX21" fmla="*/ 426719 w 773009"/>
                  <a:gd name="connsiteY21" fmla="*/ 262104 h 1640572"/>
                  <a:gd name="connsiteX22" fmla="*/ 509605 w 773009"/>
                  <a:gd name="connsiteY22" fmla="*/ 385528 h 1640572"/>
                  <a:gd name="connsiteX23" fmla="*/ 735061 w 773009"/>
                  <a:gd name="connsiteY23" fmla="*/ 84238 h 1640572"/>
                  <a:gd name="connsiteX24" fmla="*/ 660481 w 773009"/>
                  <a:gd name="connsiteY24" fmla="*/ 245790 h 1640572"/>
                  <a:gd name="connsiteX25" fmla="*/ 773009 w 773009"/>
                  <a:gd name="connsiteY25" fmla="*/ 219822 h 1640572"/>
                  <a:gd name="connsiteX26" fmla="*/ 530393 w 773009"/>
                  <a:gd name="connsiteY26" fmla="*/ 432285 h 1640572"/>
                  <a:gd name="connsiteX27" fmla="*/ 485140 w 773009"/>
                  <a:gd name="connsiteY27" fmla="*/ 630404 h 1640572"/>
                  <a:gd name="connsiteX28" fmla="*/ 488149 w 773009"/>
                  <a:gd name="connsiteY28" fmla="*/ 845837 h 1640572"/>
                  <a:gd name="connsiteX29" fmla="*/ 610435 w 773009"/>
                  <a:gd name="connsiteY29" fmla="*/ 734377 h 1640572"/>
                  <a:gd name="connsiteX30" fmla="*/ 656155 w 773009"/>
                  <a:gd name="connsiteY30" fmla="*/ 747838 h 1640572"/>
                  <a:gd name="connsiteX31" fmla="*/ 495769 w 773009"/>
                  <a:gd name="connsiteY31" fmla="*/ 926547 h 1640572"/>
                  <a:gd name="connsiteX32" fmla="*/ 520700 w 773009"/>
                  <a:gd name="connsiteY32" fmla="*/ 1278104 h 1640572"/>
                  <a:gd name="connsiteX33" fmla="*/ 520700 w 773009"/>
                  <a:gd name="connsiteY33" fmla="*/ 1636244 h 1640572"/>
                  <a:gd name="connsiteX34" fmla="*/ 363788 w 773009"/>
                  <a:gd name="connsiteY34" fmla="*/ 1640572 h 1640572"/>
                  <a:gd name="connsiteX0" fmla="*/ 363788 w 773009"/>
                  <a:gd name="connsiteY0" fmla="*/ 1640572 h 1640572"/>
                  <a:gd name="connsiteX1" fmla="*/ 396240 w 773009"/>
                  <a:gd name="connsiteY1" fmla="*/ 1234924 h 1640572"/>
                  <a:gd name="connsiteX2" fmla="*/ 400000 w 773009"/>
                  <a:gd name="connsiteY2" fmla="*/ 954771 h 1640572"/>
                  <a:gd name="connsiteX3" fmla="*/ 414020 w 773009"/>
                  <a:gd name="connsiteY3" fmla="*/ 714224 h 1640572"/>
                  <a:gd name="connsiteX4" fmla="*/ 190600 w 773009"/>
                  <a:gd name="connsiteY4" fmla="*/ 574809 h 1640572"/>
                  <a:gd name="connsiteX5" fmla="*/ 96520 w 773009"/>
                  <a:gd name="connsiteY5" fmla="*/ 478004 h 1640572"/>
                  <a:gd name="connsiteX6" fmla="*/ 0 w 773009"/>
                  <a:gd name="connsiteY6" fmla="*/ 399264 h 1640572"/>
                  <a:gd name="connsiteX7" fmla="*/ 96520 w 773009"/>
                  <a:gd name="connsiteY7" fmla="*/ 442444 h 1640572"/>
                  <a:gd name="connsiteX8" fmla="*/ 109220 w 773009"/>
                  <a:gd name="connsiteY8" fmla="*/ 317984 h 1640572"/>
                  <a:gd name="connsiteX9" fmla="*/ 119379 w 773009"/>
                  <a:gd name="connsiteY9" fmla="*/ 455144 h 1640572"/>
                  <a:gd name="connsiteX10" fmla="*/ 203768 w 773009"/>
                  <a:gd name="connsiteY10" fmla="*/ 539717 h 1640572"/>
                  <a:gd name="connsiteX11" fmla="*/ 256539 w 773009"/>
                  <a:gd name="connsiteY11" fmla="*/ 577064 h 1640572"/>
                  <a:gd name="connsiteX12" fmla="*/ 259079 w 773009"/>
                  <a:gd name="connsiteY12" fmla="*/ 429744 h 1640572"/>
                  <a:gd name="connsiteX13" fmla="*/ 284479 w 773009"/>
                  <a:gd name="connsiteY13" fmla="*/ 587224 h 1640572"/>
                  <a:gd name="connsiteX14" fmla="*/ 432368 w 773009"/>
                  <a:gd name="connsiteY14" fmla="*/ 646681 h 1640572"/>
                  <a:gd name="connsiteX15" fmla="*/ 487781 w 773009"/>
                  <a:gd name="connsiteY15" fmla="*/ 412717 h 1640572"/>
                  <a:gd name="connsiteX16" fmla="*/ 365760 w 773009"/>
                  <a:gd name="connsiteY16" fmla="*/ 165584 h 1640572"/>
                  <a:gd name="connsiteX17" fmla="*/ 338672 w 773009"/>
                  <a:gd name="connsiteY17" fmla="*/ 0 h 1640572"/>
                  <a:gd name="connsiteX18" fmla="*/ 384576 w 773009"/>
                  <a:gd name="connsiteY18" fmla="*/ 159000 h 1640572"/>
                  <a:gd name="connsiteX19" fmla="*/ 411479 w 773009"/>
                  <a:gd name="connsiteY19" fmla="*/ 226544 h 1640572"/>
                  <a:gd name="connsiteX20" fmla="*/ 502919 w 773009"/>
                  <a:gd name="connsiteY20" fmla="*/ 58904 h 1640572"/>
                  <a:gd name="connsiteX21" fmla="*/ 426719 w 773009"/>
                  <a:gd name="connsiteY21" fmla="*/ 262104 h 1640572"/>
                  <a:gd name="connsiteX22" fmla="*/ 509605 w 773009"/>
                  <a:gd name="connsiteY22" fmla="*/ 385528 h 1640572"/>
                  <a:gd name="connsiteX23" fmla="*/ 735061 w 773009"/>
                  <a:gd name="connsiteY23" fmla="*/ 84238 h 1640572"/>
                  <a:gd name="connsiteX24" fmla="*/ 660481 w 773009"/>
                  <a:gd name="connsiteY24" fmla="*/ 245790 h 1640572"/>
                  <a:gd name="connsiteX25" fmla="*/ 773009 w 773009"/>
                  <a:gd name="connsiteY25" fmla="*/ 219822 h 1640572"/>
                  <a:gd name="connsiteX26" fmla="*/ 669137 w 773009"/>
                  <a:gd name="connsiteY26" fmla="*/ 310710 h 1640572"/>
                  <a:gd name="connsiteX27" fmla="*/ 530393 w 773009"/>
                  <a:gd name="connsiteY27" fmla="*/ 432285 h 1640572"/>
                  <a:gd name="connsiteX28" fmla="*/ 485140 w 773009"/>
                  <a:gd name="connsiteY28" fmla="*/ 630404 h 1640572"/>
                  <a:gd name="connsiteX29" fmla="*/ 488149 w 773009"/>
                  <a:gd name="connsiteY29" fmla="*/ 845837 h 1640572"/>
                  <a:gd name="connsiteX30" fmla="*/ 610435 w 773009"/>
                  <a:gd name="connsiteY30" fmla="*/ 734377 h 1640572"/>
                  <a:gd name="connsiteX31" fmla="*/ 656155 w 773009"/>
                  <a:gd name="connsiteY31" fmla="*/ 747838 h 1640572"/>
                  <a:gd name="connsiteX32" fmla="*/ 495769 w 773009"/>
                  <a:gd name="connsiteY32" fmla="*/ 926547 h 1640572"/>
                  <a:gd name="connsiteX33" fmla="*/ 520700 w 773009"/>
                  <a:gd name="connsiteY33" fmla="*/ 1278104 h 1640572"/>
                  <a:gd name="connsiteX34" fmla="*/ 520700 w 773009"/>
                  <a:gd name="connsiteY34" fmla="*/ 1636244 h 1640572"/>
                  <a:gd name="connsiteX35" fmla="*/ 363788 w 773009"/>
                  <a:gd name="connsiteY35" fmla="*/ 1640572 h 1640572"/>
                  <a:gd name="connsiteX0" fmla="*/ 363788 w 773009"/>
                  <a:gd name="connsiteY0" fmla="*/ 1640572 h 1640572"/>
                  <a:gd name="connsiteX1" fmla="*/ 396240 w 773009"/>
                  <a:gd name="connsiteY1" fmla="*/ 1234924 h 1640572"/>
                  <a:gd name="connsiteX2" fmla="*/ 400000 w 773009"/>
                  <a:gd name="connsiteY2" fmla="*/ 954771 h 1640572"/>
                  <a:gd name="connsiteX3" fmla="*/ 414020 w 773009"/>
                  <a:gd name="connsiteY3" fmla="*/ 714224 h 1640572"/>
                  <a:gd name="connsiteX4" fmla="*/ 190600 w 773009"/>
                  <a:gd name="connsiteY4" fmla="*/ 574809 h 1640572"/>
                  <a:gd name="connsiteX5" fmla="*/ 96520 w 773009"/>
                  <a:gd name="connsiteY5" fmla="*/ 478004 h 1640572"/>
                  <a:gd name="connsiteX6" fmla="*/ 0 w 773009"/>
                  <a:gd name="connsiteY6" fmla="*/ 399264 h 1640572"/>
                  <a:gd name="connsiteX7" fmla="*/ 96520 w 773009"/>
                  <a:gd name="connsiteY7" fmla="*/ 442444 h 1640572"/>
                  <a:gd name="connsiteX8" fmla="*/ 109220 w 773009"/>
                  <a:gd name="connsiteY8" fmla="*/ 317984 h 1640572"/>
                  <a:gd name="connsiteX9" fmla="*/ 119379 w 773009"/>
                  <a:gd name="connsiteY9" fmla="*/ 455144 h 1640572"/>
                  <a:gd name="connsiteX10" fmla="*/ 203768 w 773009"/>
                  <a:gd name="connsiteY10" fmla="*/ 539717 h 1640572"/>
                  <a:gd name="connsiteX11" fmla="*/ 256539 w 773009"/>
                  <a:gd name="connsiteY11" fmla="*/ 577064 h 1640572"/>
                  <a:gd name="connsiteX12" fmla="*/ 259079 w 773009"/>
                  <a:gd name="connsiteY12" fmla="*/ 429744 h 1640572"/>
                  <a:gd name="connsiteX13" fmla="*/ 284479 w 773009"/>
                  <a:gd name="connsiteY13" fmla="*/ 587224 h 1640572"/>
                  <a:gd name="connsiteX14" fmla="*/ 432368 w 773009"/>
                  <a:gd name="connsiteY14" fmla="*/ 646681 h 1640572"/>
                  <a:gd name="connsiteX15" fmla="*/ 487781 w 773009"/>
                  <a:gd name="connsiteY15" fmla="*/ 412717 h 1640572"/>
                  <a:gd name="connsiteX16" fmla="*/ 365760 w 773009"/>
                  <a:gd name="connsiteY16" fmla="*/ 165584 h 1640572"/>
                  <a:gd name="connsiteX17" fmla="*/ 338672 w 773009"/>
                  <a:gd name="connsiteY17" fmla="*/ 0 h 1640572"/>
                  <a:gd name="connsiteX18" fmla="*/ 384576 w 773009"/>
                  <a:gd name="connsiteY18" fmla="*/ 159000 h 1640572"/>
                  <a:gd name="connsiteX19" fmla="*/ 411479 w 773009"/>
                  <a:gd name="connsiteY19" fmla="*/ 226544 h 1640572"/>
                  <a:gd name="connsiteX20" fmla="*/ 502919 w 773009"/>
                  <a:gd name="connsiteY20" fmla="*/ 58904 h 1640572"/>
                  <a:gd name="connsiteX21" fmla="*/ 426719 w 773009"/>
                  <a:gd name="connsiteY21" fmla="*/ 262104 h 1640572"/>
                  <a:gd name="connsiteX22" fmla="*/ 509605 w 773009"/>
                  <a:gd name="connsiteY22" fmla="*/ 385528 h 1640572"/>
                  <a:gd name="connsiteX23" fmla="*/ 735061 w 773009"/>
                  <a:gd name="connsiteY23" fmla="*/ 84238 h 1640572"/>
                  <a:gd name="connsiteX24" fmla="*/ 660481 w 773009"/>
                  <a:gd name="connsiteY24" fmla="*/ 245790 h 1640572"/>
                  <a:gd name="connsiteX25" fmla="*/ 773009 w 773009"/>
                  <a:gd name="connsiteY25" fmla="*/ 219822 h 1640572"/>
                  <a:gd name="connsiteX26" fmla="*/ 643169 w 773009"/>
                  <a:gd name="connsiteY26" fmla="*/ 284742 h 1640572"/>
                  <a:gd name="connsiteX27" fmla="*/ 530393 w 773009"/>
                  <a:gd name="connsiteY27" fmla="*/ 432285 h 1640572"/>
                  <a:gd name="connsiteX28" fmla="*/ 485140 w 773009"/>
                  <a:gd name="connsiteY28" fmla="*/ 630404 h 1640572"/>
                  <a:gd name="connsiteX29" fmla="*/ 488149 w 773009"/>
                  <a:gd name="connsiteY29" fmla="*/ 845837 h 1640572"/>
                  <a:gd name="connsiteX30" fmla="*/ 610435 w 773009"/>
                  <a:gd name="connsiteY30" fmla="*/ 734377 h 1640572"/>
                  <a:gd name="connsiteX31" fmla="*/ 656155 w 773009"/>
                  <a:gd name="connsiteY31" fmla="*/ 747838 h 1640572"/>
                  <a:gd name="connsiteX32" fmla="*/ 495769 w 773009"/>
                  <a:gd name="connsiteY32" fmla="*/ 926547 h 1640572"/>
                  <a:gd name="connsiteX33" fmla="*/ 520700 w 773009"/>
                  <a:gd name="connsiteY33" fmla="*/ 1278104 h 1640572"/>
                  <a:gd name="connsiteX34" fmla="*/ 520700 w 773009"/>
                  <a:gd name="connsiteY34" fmla="*/ 1636244 h 1640572"/>
                  <a:gd name="connsiteX35" fmla="*/ 363788 w 773009"/>
                  <a:gd name="connsiteY35" fmla="*/ 1640572 h 1640572"/>
                  <a:gd name="connsiteX0" fmla="*/ 363788 w 773009"/>
                  <a:gd name="connsiteY0" fmla="*/ 1640572 h 1640572"/>
                  <a:gd name="connsiteX1" fmla="*/ 396240 w 773009"/>
                  <a:gd name="connsiteY1" fmla="*/ 1234924 h 1640572"/>
                  <a:gd name="connsiteX2" fmla="*/ 400000 w 773009"/>
                  <a:gd name="connsiteY2" fmla="*/ 954771 h 1640572"/>
                  <a:gd name="connsiteX3" fmla="*/ 414020 w 773009"/>
                  <a:gd name="connsiteY3" fmla="*/ 714224 h 1640572"/>
                  <a:gd name="connsiteX4" fmla="*/ 190600 w 773009"/>
                  <a:gd name="connsiteY4" fmla="*/ 574809 h 1640572"/>
                  <a:gd name="connsiteX5" fmla="*/ 96520 w 773009"/>
                  <a:gd name="connsiteY5" fmla="*/ 478004 h 1640572"/>
                  <a:gd name="connsiteX6" fmla="*/ 0 w 773009"/>
                  <a:gd name="connsiteY6" fmla="*/ 399264 h 1640572"/>
                  <a:gd name="connsiteX7" fmla="*/ 96520 w 773009"/>
                  <a:gd name="connsiteY7" fmla="*/ 442444 h 1640572"/>
                  <a:gd name="connsiteX8" fmla="*/ 109220 w 773009"/>
                  <a:gd name="connsiteY8" fmla="*/ 317984 h 1640572"/>
                  <a:gd name="connsiteX9" fmla="*/ 119379 w 773009"/>
                  <a:gd name="connsiteY9" fmla="*/ 455144 h 1640572"/>
                  <a:gd name="connsiteX10" fmla="*/ 203768 w 773009"/>
                  <a:gd name="connsiteY10" fmla="*/ 539717 h 1640572"/>
                  <a:gd name="connsiteX11" fmla="*/ 256539 w 773009"/>
                  <a:gd name="connsiteY11" fmla="*/ 577064 h 1640572"/>
                  <a:gd name="connsiteX12" fmla="*/ 259079 w 773009"/>
                  <a:gd name="connsiteY12" fmla="*/ 429744 h 1640572"/>
                  <a:gd name="connsiteX13" fmla="*/ 284479 w 773009"/>
                  <a:gd name="connsiteY13" fmla="*/ 587224 h 1640572"/>
                  <a:gd name="connsiteX14" fmla="*/ 432368 w 773009"/>
                  <a:gd name="connsiteY14" fmla="*/ 646681 h 1640572"/>
                  <a:gd name="connsiteX15" fmla="*/ 487781 w 773009"/>
                  <a:gd name="connsiteY15" fmla="*/ 412717 h 1640572"/>
                  <a:gd name="connsiteX16" fmla="*/ 365760 w 773009"/>
                  <a:gd name="connsiteY16" fmla="*/ 165584 h 1640572"/>
                  <a:gd name="connsiteX17" fmla="*/ 338672 w 773009"/>
                  <a:gd name="connsiteY17" fmla="*/ 0 h 1640572"/>
                  <a:gd name="connsiteX18" fmla="*/ 384576 w 773009"/>
                  <a:gd name="connsiteY18" fmla="*/ 159000 h 1640572"/>
                  <a:gd name="connsiteX19" fmla="*/ 411479 w 773009"/>
                  <a:gd name="connsiteY19" fmla="*/ 226544 h 1640572"/>
                  <a:gd name="connsiteX20" fmla="*/ 502919 w 773009"/>
                  <a:gd name="connsiteY20" fmla="*/ 58904 h 1640572"/>
                  <a:gd name="connsiteX21" fmla="*/ 426719 w 773009"/>
                  <a:gd name="connsiteY21" fmla="*/ 262104 h 1640572"/>
                  <a:gd name="connsiteX22" fmla="*/ 509605 w 773009"/>
                  <a:gd name="connsiteY22" fmla="*/ 385528 h 1640572"/>
                  <a:gd name="connsiteX23" fmla="*/ 735061 w 773009"/>
                  <a:gd name="connsiteY23" fmla="*/ 84238 h 1640572"/>
                  <a:gd name="connsiteX24" fmla="*/ 660481 w 773009"/>
                  <a:gd name="connsiteY24" fmla="*/ 245790 h 1640572"/>
                  <a:gd name="connsiteX25" fmla="*/ 773009 w 773009"/>
                  <a:gd name="connsiteY25" fmla="*/ 219822 h 1640572"/>
                  <a:gd name="connsiteX26" fmla="*/ 643169 w 773009"/>
                  <a:gd name="connsiteY26" fmla="*/ 284742 h 1640572"/>
                  <a:gd name="connsiteX27" fmla="*/ 552033 w 773009"/>
                  <a:gd name="connsiteY27" fmla="*/ 432285 h 1640572"/>
                  <a:gd name="connsiteX28" fmla="*/ 485140 w 773009"/>
                  <a:gd name="connsiteY28" fmla="*/ 630404 h 1640572"/>
                  <a:gd name="connsiteX29" fmla="*/ 488149 w 773009"/>
                  <a:gd name="connsiteY29" fmla="*/ 845837 h 1640572"/>
                  <a:gd name="connsiteX30" fmla="*/ 610435 w 773009"/>
                  <a:gd name="connsiteY30" fmla="*/ 734377 h 1640572"/>
                  <a:gd name="connsiteX31" fmla="*/ 656155 w 773009"/>
                  <a:gd name="connsiteY31" fmla="*/ 747838 h 1640572"/>
                  <a:gd name="connsiteX32" fmla="*/ 495769 w 773009"/>
                  <a:gd name="connsiteY32" fmla="*/ 926547 h 1640572"/>
                  <a:gd name="connsiteX33" fmla="*/ 520700 w 773009"/>
                  <a:gd name="connsiteY33" fmla="*/ 1278104 h 1640572"/>
                  <a:gd name="connsiteX34" fmla="*/ 520700 w 773009"/>
                  <a:gd name="connsiteY34" fmla="*/ 1636244 h 1640572"/>
                  <a:gd name="connsiteX35" fmla="*/ 363788 w 773009"/>
                  <a:gd name="connsiteY35" fmla="*/ 1640572 h 1640572"/>
                  <a:gd name="connsiteX0" fmla="*/ 363788 w 773009"/>
                  <a:gd name="connsiteY0" fmla="*/ 1640572 h 1640572"/>
                  <a:gd name="connsiteX1" fmla="*/ 396240 w 773009"/>
                  <a:gd name="connsiteY1" fmla="*/ 1234924 h 1640572"/>
                  <a:gd name="connsiteX2" fmla="*/ 400000 w 773009"/>
                  <a:gd name="connsiteY2" fmla="*/ 954771 h 1640572"/>
                  <a:gd name="connsiteX3" fmla="*/ 414020 w 773009"/>
                  <a:gd name="connsiteY3" fmla="*/ 714224 h 1640572"/>
                  <a:gd name="connsiteX4" fmla="*/ 190600 w 773009"/>
                  <a:gd name="connsiteY4" fmla="*/ 574809 h 1640572"/>
                  <a:gd name="connsiteX5" fmla="*/ 96520 w 773009"/>
                  <a:gd name="connsiteY5" fmla="*/ 478004 h 1640572"/>
                  <a:gd name="connsiteX6" fmla="*/ 0 w 773009"/>
                  <a:gd name="connsiteY6" fmla="*/ 399264 h 1640572"/>
                  <a:gd name="connsiteX7" fmla="*/ 96520 w 773009"/>
                  <a:gd name="connsiteY7" fmla="*/ 442444 h 1640572"/>
                  <a:gd name="connsiteX8" fmla="*/ 109220 w 773009"/>
                  <a:gd name="connsiteY8" fmla="*/ 317984 h 1640572"/>
                  <a:gd name="connsiteX9" fmla="*/ 119379 w 773009"/>
                  <a:gd name="connsiteY9" fmla="*/ 455144 h 1640572"/>
                  <a:gd name="connsiteX10" fmla="*/ 203768 w 773009"/>
                  <a:gd name="connsiteY10" fmla="*/ 539717 h 1640572"/>
                  <a:gd name="connsiteX11" fmla="*/ 256539 w 773009"/>
                  <a:gd name="connsiteY11" fmla="*/ 577064 h 1640572"/>
                  <a:gd name="connsiteX12" fmla="*/ 259079 w 773009"/>
                  <a:gd name="connsiteY12" fmla="*/ 429744 h 1640572"/>
                  <a:gd name="connsiteX13" fmla="*/ 284479 w 773009"/>
                  <a:gd name="connsiteY13" fmla="*/ 587224 h 1640572"/>
                  <a:gd name="connsiteX14" fmla="*/ 432368 w 773009"/>
                  <a:gd name="connsiteY14" fmla="*/ 646681 h 1640572"/>
                  <a:gd name="connsiteX15" fmla="*/ 487781 w 773009"/>
                  <a:gd name="connsiteY15" fmla="*/ 412717 h 1640572"/>
                  <a:gd name="connsiteX16" fmla="*/ 365760 w 773009"/>
                  <a:gd name="connsiteY16" fmla="*/ 165584 h 1640572"/>
                  <a:gd name="connsiteX17" fmla="*/ 338672 w 773009"/>
                  <a:gd name="connsiteY17" fmla="*/ 0 h 1640572"/>
                  <a:gd name="connsiteX18" fmla="*/ 384576 w 773009"/>
                  <a:gd name="connsiteY18" fmla="*/ 159000 h 1640572"/>
                  <a:gd name="connsiteX19" fmla="*/ 411479 w 773009"/>
                  <a:gd name="connsiteY19" fmla="*/ 226544 h 1640572"/>
                  <a:gd name="connsiteX20" fmla="*/ 502919 w 773009"/>
                  <a:gd name="connsiteY20" fmla="*/ 58904 h 1640572"/>
                  <a:gd name="connsiteX21" fmla="*/ 426719 w 773009"/>
                  <a:gd name="connsiteY21" fmla="*/ 262104 h 1640572"/>
                  <a:gd name="connsiteX22" fmla="*/ 509605 w 773009"/>
                  <a:gd name="connsiteY22" fmla="*/ 385528 h 1640572"/>
                  <a:gd name="connsiteX23" fmla="*/ 735061 w 773009"/>
                  <a:gd name="connsiteY23" fmla="*/ 84238 h 1640572"/>
                  <a:gd name="connsiteX24" fmla="*/ 660481 w 773009"/>
                  <a:gd name="connsiteY24" fmla="*/ 245790 h 1640572"/>
                  <a:gd name="connsiteX25" fmla="*/ 773009 w 773009"/>
                  <a:gd name="connsiteY25" fmla="*/ 219822 h 1640572"/>
                  <a:gd name="connsiteX26" fmla="*/ 630185 w 773009"/>
                  <a:gd name="connsiteY26" fmla="*/ 280414 h 1640572"/>
                  <a:gd name="connsiteX27" fmla="*/ 552033 w 773009"/>
                  <a:gd name="connsiteY27" fmla="*/ 432285 h 1640572"/>
                  <a:gd name="connsiteX28" fmla="*/ 485140 w 773009"/>
                  <a:gd name="connsiteY28" fmla="*/ 630404 h 1640572"/>
                  <a:gd name="connsiteX29" fmla="*/ 488149 w 773009"/>
                  <a:gd name="connsiteY29" fmla="*/ 845837 h 1640572"/>
                  <a:gd name="connsiteX30" fmla="*/ 610435 w 773009"/>
                  <a:gd name="connsiteY30" fmla="*/ 734377 h 1640572"/>
                  <a:gd name="connsiteX31" fmla="*/ 656155 w 773009"/>
                  <a:gd name="connsiteY31" fmla="*/ 747838 h 1640572"/>
                  <a:gd name="connsiteX32" fmla="*/ 495769 w 773009"/>
                  <a:gd name="connsiteY32" fmla="*/ 926547 h 1640572"/>
                  <a:gd name="connsiteX33" fmla="*/ 520700 w 773009"/>
                  <a:gd name="connsiteY33" fmla="*/ 1278104 h 1640572"/>
                  <a:gd name="connsiteX34" fmla="*/ 520700 w 773009"/>
                  <a:gd name="connsiteY34" fmla="*/ 1636244 h 1640572"/>
                  <a:gd name="connsiteX35" fmla="*/ 363788 w 773009"/>
                  <a:gd name="connsiteY35" fmla="*/ 1640572 h 1640572"/>
                  <a:gd name="connsiteX0" fmla="*/ 363788 w 773009"/>
                  <a:gd name="connsiteY0" fmla="*/ 1640572 h 1640572"/>
                  <a:gd name="connsiteX1" fmla="*/ 396240 w 773009"/>
                  <a:gd name="connsiteY1" fmla="*/ 1234924 h 1640572"/>
                  <a:gd name="connsiteX2" fmla="*/ 400000 w 773009"/>
                  <a:gd name="connsiteY2" fmla="*/ 954771 h 1640572"/>
                  <a:gd name="connsiteX3" fmla="*/ 414020 w 773009"/>
                  <a:gd name="connsiteY3" fmla="*/ 714224 h 1640572"/>
                  <a:gd name="connsiteX4" fmla="*/ 190600 w 773009"/>
                  <a:gd name="connsiteY4" fmla="*/ 574809 h 1640572"/>
                  <a:gd name="connsiteX5" fmla="*/ 96520 w 773009"/>
                  <a:gd name="connsiteY5" fmla="*/ 478004 h 1640572"/>
                  <a:gd name="connsiteX6" fmla="*/ 0 w 773009"/>
                  <a:gd name="connsiteY6" fmla="*/ 399264 h 1640572"/>
                  <a:gd name="connsiteX7" fmla="*/ 96520 w 773009"/>
                  <a:gd name="connsiteY7" fmla="*/ 442444 h 1640572"/>
                  <a:gd name="connsiteX8" fmla="*/ 109220 w 773009"/>
                  <a:gd name="connsiteY8" fmla="*/ 317984 h 1640572"/>
                  <a:gd name="connsiteX9" fmla="*/ 119379 w 773009"/>
                  <a:gd name="connsiteY9" fmla="*/ 455144 h 1640572"/>
                  <a:gd name="connsiteX10" fmla="*/ 203768 w 773009"/>
                  <a:gd name="connsiteY10" fmla="*/ 539717 h 1640572"/>
                  <a:gd name="connsiteX11" fmla="*/ 256539 w 773009"/>
                  <a:gd name="connsiteY11" fmla="*/ 577064 h 1640572"/>
                  <a:gd name="connsiteX12" fmla="*/ 259079 w 773009"/>
                  <a:gd name="connsiteY12" fmla="*/ 429744 h 1640572"/>
                  <a:gd name="connsiteX13" fmla="*/ 284479 w 773009"/>
                  <a:gd name="connsiteY13" fmla="*/ 587224 h 1640572"/>
                  <a:gd name="connsiteX14" fmla="*/ 432368 w 773009"/>
                  <a:gd name="connsiteY14" fmla="*/ 646681 h 1640572"/>
                  <a:gd name="connsiteX15" fmla="*/ 487781 w 773009"/>
                  <a:gd name="connsiteY15" fmla="*/ 412717 h 1640572"/>
                  <a:gd name="connsiteX16" fmla="*/ 365760 w 773009"/>
                  <a:gd name="connsiteY16" fmla="*/ 165584 h 1640572"/>
                  <a:gd name="connsiteX17" fmla="*/ 338672 w 773009"/>
                  <a:gd name="connsiteY17" fmla="*/ 0 h 1640572"/>
                  <a:gd name="connsiteX18" fmla="*/ 384576 w 773009"/>
                  <a:gd name="connsiteY18" fmla="*/ 159000 h 1640572"/>
                  <a:gd name="connsiteX19" fmla="*/ 411479 w 773009"/>
                  <a:gd name="connsiteY19" fmla="*/ 226544 h 1640572"/>
                  <a:gd name="connsiteX20" fmla="*/ 502919 w 773009"/>
                  <a:gd name="connsiteY20" fmla="*/ 58904 h 1640572"/>
                  <a:gd name="connsiteX21" fmla="*/ 426719 w 773009"/>
                  <a:gd name="connsiteY21" fmla="*/ 262104 h 1640572"/>
                  <a:gd name="connsiteX22" fmla="*/ 509605 w 773009"/>
                  <a:gd name="connsiteY22" fmla="*/ 385528 h 1640572"/>
                  <a:gd name="connsiteX23" fmla="*/ 735061 w 773009"/>
                  <a:gd name="connsiteY23" fmla="*/ 84238 h 1640572"/>
                  <a:gd name="connsiteX24" fmla="*/ 660481 w 773009"/>
                  <a:gd name="connsiteY24" fmla="*/ 245790 h 1640572"/>
                  <a:gd name="connsiteX25" fmla="*/ 773009 w 773009"/>
                  <a:gd name="connsiteY25" fmla="*/ 219822 h 1640572"/>
                  <a:gd name="connsiteX26" fmla="*/ 630185 w 773009"/>
                  <a:gd name="connsiteY26" fmla="*/ 280414 h 1640572"/>
                  <a:gd name="connsiteX27" fmla="*/ 543377 w 773009"/>
                  <a:gd name="connsiteY27" fmla="*/ 432285 h 1640572"/>
                  <a:gd name="connsiteX28" fmla="*/ 485140 w 773009"/>
                  <a:gd name="connsiteY28" fmla="*/ 630404 h 1640572"/>
                  <a:gd name="connsiteX29" fmla="*/ 488149 w 773009"/>
                  <a:gd name="connsiteY29" fmla="*/ 845837 h 1640572"/>
                  <a:gd name="connsiteX30" fmla="*/ 610435 w 773009"/>
                  <a:gd name="connsiteY30" fmla="*/ 734377 h 1640572"/>
                  <a:gd name="connsiteX31" fmla="*/ 656155 w 773009"/>
                  <a:gd name="connsiteY31" fmla="*/ 747838 h 1640572"/>
                  <a:gd name="connsiteX32" fmla="*/ 495769 w 773009"/>
                  <a:gd name="connsiteY32" fmla="*/ 926547 h 1640572"/>
                  <a:gd name="connsiteX33" fmla="*/ 520700 w 773009"/>
                  <a:gd name="connsiteY33" fmla="*/ 1278104 h 1640572"/>
                  <a:gd name="connsiteX34" fmla="*/ 520700 w 773009"/>
                  <a:gd name="connsiteY34" fmla="*/ 1636244 h 1640572"/>
                  <a:gd name="connsiteX35" fmla="*/ 363788 w 773009"/>
                  <a:gd name="connsiteY35" fmla="*/ 1640572 h 1640572"/>
                  <a:gd name="connsiteX0" fmla="*/ 363788 w 773009"/>
                  <a:gd name="connsiteY0" fmla="*/ 1640572 h 1640572"/>
                  <a:gd name="connsiteX1" fmla="*/ 396240 w 773009"/>
                  <a:gd name="connsiteY1" fmla="*/ 1234924 h 1640572"/>
                  <a:gd name="connsiteX2" fmla="*/ 400000 w 773009"/>
                  <a:gd name="connsiteY2" fmla="*/ 954771 h 1640572"/>
                  <a:gd name="connsiteX3" fmla="*/ 414020 w 773009"/>
                  <a:gd name="connsiteY3" fmla="*/ 714224 h 1640572"/>
                  <a:gd name="connsiteX4" fmla="*/ 190600 w 773009"/>
                  <a:gd name="connsiteY4" fmla="*/ 574809 h 1640572"/>
                  <a:gd name="connsiteX5" fmla="*/ 96520 w 773009"/>
                  <a:gd name="connsiteY5" fmla="*/ 478004 h 1640572"/>
                  <a:gd name="connsiteX6" fmla="*/ 0 w 773009"/>
                  <a:gd name="connsiteY6" fmla="*/ 399264 h 1640572"/>
                  <a:gd name="connsiteX7" fmla="*/ 96520 w 773009"/>
                  <a:gd name="connsiteY7" fmla="*/ 442444 h 1640572"/>
                  <a:gd name="connsiteX8" fmla="*/ 109220 w 773009"/>
                  <a:gd name="connsiteY8" fmla="*/ 317984 h 1640572"/>
                  <a:gd name="connsiteX9" fmla="*/ 119379 w 773009"/>
                  <a:gd name="connsiteY9" fmla="*/ 455144 h 1640572"/>
                  <a:gd name="connsiteX10" fmla="*/ 203768 w 773009"/>
                  <a:gd name="connsiteY10" fmla="*/ 539717 h 1640572"/>
                  <a:gd name="connsiteX11" fmla="*/ 256539 w 773009"/>
                  <a:gd name="connsiteY11" fmla="*/ 577064 h 1640572"/>
                  <a:gd name="connsiteX12" fmla="*/ 259079 w 773009"/>
                  <a:gd name="connsiteY12" fmla="*/ 429744 h 1640572"/>
                  <a:gd name="connsiteX13" fmla="*/ 284479 w 773009"/>
                  <a:gd name="connsiteY13" fmla="*/ 587224 h 1640572"/>
                  <a:gd name="connsiteX14" fmla="*/ 432368 w 773009"/>
                  <a:gd name="connsiteY14" fmla="*/ 646681 h 1640572"/>
                  <a:gd name="connsiteX15" fmla="*/ 487781 w 773009"/>
                  <a:gd name="connsiteY15" fmla="*/ 412717 h 1640572"/>
                  <a:gd name="connsiteX16" fmla="*/ 365760 w 773009"/>
                  <a:gd name="connsiteY16" fmla="*/ 165584 h 1640572"/>
                  <a:gd name="connsiteX17" fmla="*/ 338672 w 773009"/>
                  <a:gd name="connsiteY17" fmla="*/ 0 h 1640572"/>
                  <a:gd name="connsiteX18" fmla="*/ 384576 w 773009"/>
                  <a:gd name="connsiteY18" fmla="*/ 159000 h 1640572"/>
                  <a:gd name="connsiteX19" fmla="*/ 411479 w 773009"/>
                  <a:gd name="connsiteY19" fmla="*/ 226544 h 1640572"/>
                  <a:gd name="connsiteX20" fmla="*/ 502919 w 773009"/>
                  <a:gd name="connsiteY20" fmla="*/ 58904 h 1640572"/>
                  <a:gd name="connsiteX21" fmla="*/ 448359 w 773009"/>
                  <a:gd name="connsiteY21" fmla="*/ 253448 h 1640572"/>
                  <a:gd name="connsiteX22" fmla="*/ 509605 w 773009"/>
                  <a:gd name="connsiteY22" fmla="*/ 385528 h 1640572"/>
                  <a:gd name="connsiteX23" fmla="*/ 735061 w 773009"/>
                  <a:gd name="connsiteY23" fmla="*/ 84238 h 1640572"/>
                  <a:gd name="connsiteX24" fmla="*/ 660481 w 773009"/>
                  <a:gd name="connsiteY24" fmla="*/ 245790 h 1640572"/>
                  <a:gd name="connsiteX25" fmla="*/ 773009 w 773009"/>
                  <a:gd name="connsiteY25" fmla="*/ 219822 h 1640572"/>
                  <a:gd name="connsiteX26" fmla="*/ 630185 w 773009"/>
                  <a:gd name="connsiteY26" fmla="*/ 280414 h 1640572"/>
                  <a:gd name="connsiteX27" fmla="*/ 543377 w 773009"/>
                  <a:gd name="connsiteY27" fmla="*/ 432285 h 1640572"/>
                  <a:gd name="connsiteX28" fmla="*/ 485140 w 773009"/>
                  <a:gd name="connsiteY28" fmla="*/ 630404 h 1640572"/>
                  <a:gd name="connsiteX29" fmla="*/ 488149 w 773009"/>
                  <a:gd name="connsiteY29" fmla="*/ 845837 h 1640572"/>
                  <a:gd name="connsiteX30" fmla="*/ 610435 w 773009"/>
                  <a:gd name="connsiteY30" fmla="*/ 734377 h 1640572"/>
                  <a:gd name="connsiteX31" fmla="*/ 656155 w 773009"/>
                  <a:gd name="connsiteY31" fmla="*/ 747838 h 1640572"/>
                  <a:gd name="connsiteX32" fmla="*/ 495769 w 773009"/>
                  <a:gd name="connsiteY32" fmla="*/ 926547 h 1640572"/>
                  <a:gd name="connsiteX33" fmla="*/ 520700 w 773009"/>
                  <a:gd name="connsiteY33" fmla="*/ 1278104 h 1640572"/>
                  <a:gd name="connsiteX34" fmla="*/ 520700 w 773009"/>
                  <a:gd name="connsiteY34" fmla="*/ 1636244 h 1640572"/>
                  <a:gd name="connsiteX35" fmla="*/ 363788 w 773009"/>
                  <a:gd name="connsiteY35" fmla="*/ 1640572 h 1640572"/>
                  <a:gd name="connsiteX0" fmla="*/ 363788 w 773009"/>
                  <a:gd name="connsiteY0" fmla="*/ 1640572 h 1640572"/>
                  <a:gd name="connsiteX1" fmla="*/ 396240 w 773009"/>
                  <a:gd name="connsiteY1" fmla="*/ 1234924 h 1640572"/>
                  <a:gd name="connsiteX2" fmla="*/ 400000 w 773009"/>
                  <a:gd name="connsiteY2" fmla="*/ 954771 h 1640572"/>
                  <a:gd name="connsiteX3" fmla="*/ 414020 w 773009"/>
                  <a:gd name="connsiteY3" fmla="*/ 714224 h 1640572"/>
                  <a:gd name="connsiteX4" fmla="*/ 190600 w 773009"/>
                  <a:gd name="connsiteY4" fmla="*/ 574809 h 1640572"/>
                  <a:gd name="connsiteX5" fmla="*/ 96520 w 773009"/>
                  <a:gd name="connsiteY5" fmla="*/ 478004 h 1640572"/>
                  <a:gd name="connsiteX6" fmla="*/ 0 w 773009"/>
                  <a:gd name="connsiteY6" fmla="*/ 399264 h 1640572"/>
                  <a:gd name="connsiteX7" fmla="*/ 96520 w 773009"/>
                  <a:gd name="connsiteY7" fmla="*/ 442444 h 1640572"/>
                  <a:gd name="connsiteX8" fmla="*/ 109220 w 773009"/>
                  <a:gd name="connsiteY8" fmla="*/ 317984 h 1640572"/>
                  <a:gd name="connsiteX9" fmla="*/ 119379 w 773009"/>
                  <a:gd name="connsiteY9" fmla="*/ 455144 h 1640572"/>
                  <a:gd name="connsiteX10" fmla="*/ 203768 w 773009"/>
                  <a:gd name="connsiteY10" fmla="*/ 539717 h 1640572"/>
                  <a:gd name="connsiteX11" fmla="*/ 256539 w 773009"/>
                  <a:gd name="connsiteY11" fmla="*/ 577064 h 1640572"/>
                  <a:gd name="connsiteX12" fmla="*/ 259079 w 773009"/>
                  <a:gd name="connsiteY12" fmla="*/ 429744 h 1640572"/>
                  <a:gd name="connsiteX13" fmla="*/ 284479 w 773009"/>
                  <a:gd name="connsiteY13" fmla="*/ 587224 h 1640572"/>
                  <a:gd name="connsiteX14" fmla="*/ 432368 w 773009"/>
                  <a:gd name="connsiteY14" fmla="*/ 646681 h 1640572"/>
                  <a:gd name="connsiteX15" fmla="*/ 487781 w 773009"/>
                  <a:gd name="connsiteY15" fmla="*/ 412717 h 1640572"/>
                  <a:gd name="connsiteX16" fmla="*/ 365760 w 773009"/>
                  <a:gd name="connsiteY16" fmla="*/ 165584 h 1640572"/>
                  <a:gd name="connsiteX17" fmla="*/ 338672 w 773009"/>
                  <a:gd name="connsiteY17" fmla="*/ 0 h 1640572"/>
                  <a:gd name="connsiteX18" fmla="*/ 384576 w 773009"/>
                  <a:gd name="connsiteY18" fmla="*/ 159000 h 1640572"/>
                  <a:gd name="connsiteX19" fmla="*/ 411479 w 773009"/>
                  <a:gd name="connsiteY19" fmla="*/ 226544 h 1640572"/>
                  <a:gd name="connsiteX20" fmla="*/ 448359 w 773009"/>
                  <a:gd name="connsiteY20" fmla="*/ 253448 h 1640572"/>
                  <a:gd name="connsiteX21" fmla="*/ 509605 w 773009"/>
                  <a:gd name="connsiteY21" fmla="*/ 385528 h 1640572"/>
                  <a:gd name="connsiteX22" fmla="*/ 735061 w 773009"/>
                  <a:gd name="connsiteY22" fmla="*/ 84238 h 1640572"/>
                  <a:gd name="connsiteX23" fmla="*/ 660481 w 773009"/>
                  <a:gd name="connsiteY23" fmla="*/ 245790 h 1640572"/>
                  <a:gd name="connsiteX24" fmla="*/ 773009 w 773009"/>
                  <a:gd name="connsiteY24" fmla="*/ 219822 h 1640572"/>
                  <a:gd name="connsiteX25" fmla="*/ 630185 w 773009"/>
                  <a:gd name="connsiteY25" fmla="*/ 280414 h 1640572"/>
                  <a:gd name="connsiteX26" fmla="*/ 543377 w 773009"/>
                  <a:gd name="connsiteY26" fmla="*/ 432285 h 1640572"/>
                  <a:gd name="connsiteX27" fmla="*/ 485140 w 773009"/>
                  <a:gd name="connsiteY27" fmla="*/ 630404 h 1640572"/>
                  <a:gd name="connsiteX28" fmla="*/ 488149 w 773009"/>
                  <a:gd name="connsiteY28" fmla="*/ 845837 h 1640572"/>
                  <a:gd name="connsiteX29" fmla="*/ 610435 w 773009"/>
                  <a:gd name="connsiteY29" fmla="*/ 734377 h 1640572"/>
                  <a:gd name="connsiteX30" fmla="*/ 656155 w 773009"/>
                  <a:gd name="connsiteY30" fmla="*/ 747838 h 1640572"/>
                  <a:gd name="connsiteX31" fmla="*/ 495769 w 773009"/>
                  <a:gd name="connsiteY31" fmla="*/ 926547 h 1640572"/>
                  <a:gd name="connsiteX32" fmla="*/ 520700 w 773009"/>
                  <a:gd name="connsiteY32" fmla="*/ 1278104 h 1640572"/>
                  <a:gd name="connsiteX33" fmla="*/ 520700 w 773009"/>
                  <a:gd name="connsiteY33" fmla="*/ 1636244 h 1640572"/>
                  <a:gd name="connsiteX34" fmla="*/ 363788 w 773009"/>
                  <a:gd name="connsiteY34" fmla="*/ 1640572 h 1640572"/>
                  <a:gd name="connsiteX0" fmla="*/ 363788 w 773009"/>
                  <a:gd name="connsiteY0" fmla="*/ 1556334 h 1556334"/>
                  <a:gd name="connsiteX1" fmla="*/ 396240 w 773009"/>
                  <a:gd name="connsiteY1" fmla="*/ 1150686 h 1556334"/>
                  <a:gd name="connsiteX2" fmla="*/ 400000 w 773009"/>
                  <a:gd name="connsiteY2" fmla="*/ 870533 h 1556334"/>
                  <a:gd name="connsiteX3" fmla="*/ 414020 w 773009"/>
                  <a:gd name="connsiteY3" fmla="*/ 629986 h 1556334"/>
                  <a:gd name="connsiteX4" fmla="*/ 190600 w 773009"/>
                  <a:gd name="connsiteY4" fmla="*/ 490571 h 1556334"/>
                  <a:gd name="connsiteX5" fmla="*/ 96520 w 773009"/>
                  <a:gd name="connsiteY5" fmla="*/ 393766 h 1556334"/>
                  <a:gd name="connsiteX6" fmla="*/ 0 w 773009"/>
                  <a:gd name="connsiteY6" fmla="*/ 315026 h 1556334"/>
                  <a:gd name="connsiteX7" fmla="*/ 96520 w 773009"/>
                  <a:gd name="connsiteY7" fmla="*/ 358206 h 1556334"/>
                  <a:gd name="connsiteX8" fmla="*/ 109220 w 773009"/>
                  <a:gd name="connsiteY8" fmla="*/ 233746 h 1556334"/>
                  <a:gd name="connsiteX9" fmla="*/ 119379 w 773009"/>
                  <a:gd name="connsiteY9" fmla="*/ 370906 h 1556334"/>
                  <a:gd name="connsiteX10" fmla="*/ 203768 w 773009"/>
                  <a:gd name="connsiteY10" fmla="*/ 455479 h 1556334"/>
                  <a:gd name="connsiteX11" fmla="*/ 256539 w 773009"/>
                  <a:gd name="connsiteY11" fmla="*/ 492826 h 1556334"/>
                  <a:gd name="connsiteX12" fmla="*/ 259079 w 773009"/>
                  <a:gd name="connsiteY12" fmla="*/ 345506 h 1556334"/>
                  <a:gd name="connsiteX13" fmla="*/ 284479 w 773009"/>
                  <a:gd name="connsiteY13" fmla="*/ 502986 h 1556334"/>
                  <a:gd name="connsiteX14" fmla="*/ 432368 w 773009"/>
                  <a:gd name="connsiteY14" fmla="*/ 562443 h 1556334"/>
                  <a:gd name="connsiteX15" fmla="*/ 487781 w 773009"/>
                  <a:gd name="connsiteY15" fmla="*/ 328479 h 1556334"/>
                  <a:gd name="connsiteX16" fmla="*/ 365760 w 773009"/>
                  <a:gd name="connsiteY16" fmla="*/ 81346 h 1556334"/>
                  <a:gd name="connsiteX17" fmla="*/ 384576 w 773009"/>
                  <a:gd name="connsiteY17" fmla="*/ 74762 h 1556334"/>
                  <a:gd name="connsiteX18" fmla="*/ 411479 w 773009"/>
                  <a:gd name="connsiteY18" fmla="*/ 142306 h 1556334"/>
                  <a:gd name="connsiteX19" fmla="*/ 448359 w 773009"/>
                  <a:gd name="connsiteY19" fmla="*/ 169210 h 1556334"/>
                  <a:gd name="connsiteX20" fmla="*/ 509605 w 773009"/>
                  <a:gd name="connsiteY20" fmla="*/ 301290 h 1556334"/>
                  <a:gd name="connsiteX21" fmla="*/ 735061 w 773009"/>
                  <a:gd name="connsiteY21" fmla="*/ 0 h 1556334"/>
                  <a:gd name="connsiteX22" fmla="*/ 660481 w 773009"/>
                  <a:gd name="connsiteY22" fmla="*/ 161552 h 1556334"/>
                  <a:gd name="connsiteX23" fmla="*/ 773009 w 773009"/>
                  <a:gd name="connsiteY23" fmla="*/ 135584 h 1556334"/>
                  <a:gd name="connsiteX24" fmla="*/ 630185 w 773009"/>
                  <a:gd name="connsiteY24" fmla="*/ 196176 h 1556334"/>
                  <a:gd name="connsiteX25" fmla="*/ 543377 w 773009"/>
                  <a:gd name="connsiteY25" fmla="*/ 348047 h 1556334"/>
                  <a:gd name="connsiteX26" fmla="*/ 485140 w 773009"/>
                  <a:gd name="connsiteY26" fmla="*/ 546166 h 1556334"/>
                  <a:gd name="connsiteX27" fmla="*/ 488149 w 773009"/>
                  <a:gd name="connsiteY27" fmla="*/ 761599 h 1556334"/>
                  <a:gd name="connsiteX28" fmla="*/ 610435 w 773009"/>
                  <a:gd name="connsiteY28" fmla="*/ 650139 h 1556334"/>
                  <a:gd name="connsiteX29" fmla="*/ 656155 w 773009"/>
                  <a:gd name="connsiteY29" fmla="*/ 663600 h 1556334"/>
                  <a:gd name="connsiteX30" fmla="*/ 495769 w 773009"/>
                  <a:gd name="connsiteY30" fmla="*/ 842309 h 1556334"/>
                  <a:gd name="connsiteX31" fmla="*/ 520700 w 773009"/>
                  <a:gd name="connsiteY31" fmla="*/ 1193866 h 1556334"/>
                  <a:gd name="connsiteX32" fmla="*/ 520700 w 773009"/>
                  <a:gd name="connsiteY32" fmla="*/ 1552006 h 1556334"/>
                  <a:gd name="connsiteX33" fmla="*/ 363788 w 773009"/>
                  <a:gd name="connsiteY33" fmla="*/ 1556334 h 1556334"/>
                  <a:gd name="connsiteX0" fmla="*/ 363788 w 773009"/>
                  <a:gd name="connsiteY0" fmla="*/ 1556334 h 1556334"/>
                  <a:gd name="connsiteX1" fmla="*/ 396240 w 773009"/>
                  <a:gd name="connsiteY1" fmla="*/ 1150686 h 1556334"/>
                  <a:gd name="connsiteX2" fmla="*/ 400000 w 773009"/>
                  <a:gd name="connsiteY2" fmla="*/ 870533 h 1556334"/>
                  <a:gd name="connsiteX3" fmla="*/ 414020 w 773009"/>
                  <a:gd name="connsiteY3" fmla="*/ 629986 h 1556334"/>
                  <a:gd name="connsiteX4" fmla="*/ 190600 w 773009"/>
                  <a:gd name="connsiteY4" fmla="*/ 490571 h 1556334"/>
                  <a:gd name="connsiteX5" fmla="*/ 96520 w 773009"/>
                  <a:gd name="connsiteY5" fmla="*/ 393766 h 1556334"/>
                  <a:gd name="connsiteX6" fmla="*/ 0 w 773009"/>
                  <a:gd name="connsiteY6" fmla="*/ 315026 h 1556334"/>
                  <a:gd name="connsiteX7" fmla="*/ 96520 w 773009"/>
                  <a:gd name="connsiteY7" fmla="*/ 358206 h 1556334"/>
                  <a:gd name="connsiteX8" fmla="*/ 109220 w 773009"/>
                  <a:gd name="connsiteY8" fmla="*/ 233746 h 1556334"/>
                  <a:gd name="connsiteX9" fmla="*/ 119379 w 773009"/>
                  <a:gd name="connsiteY9" fmla="*/ 370906 h 1556334"/>
                  <a:gd name="connsiteX10" fmla="*/ 203768 w 773009"/>
                  <a:gd name="connsiteY10" fmla="*/ 455479 h 1556334"/>
                  <a:gd name="connsiteX11" fmla="*/ 256539 w 773009"/>
                  <a:gd name="connsiteY11" fmla="*/ 492826 h 1556334"/>
                  <a:gd name="connsiteX12" fmla="*/ 259079 w 773009"/>
                  <a:gd name="connsiteY12" fmla="*/ 345506 h 1556334"/>
                  <a:gd name="connsiteX13" fmla="*/ 284479 w 773009"/>
                  <a:gd name="connsiteY13" fmla="*/ 502986 h 1556334"/>
                  <a:gd name="connsiteX14" fmla="*/ 432368 w 773009"/>
                  <a:gd name="connsiteY14" fmla="*/ 562443 h 1556334"/>
                  <a:gd name="connsiteX15" fmla="*/ 487781 w 773009"/>
                  <a:gd name="connsiteY15" fmla="*/ 328479 h 1556334"/>
                  <a:gd name="connsiteX16" fmla="*/ 365760 w 773009"/>
                  <a:gd name="connsiteY16" fmla="*/ 81346 h 1556334"/>
                  <a:gd name="connsiteX17" fmla="*/ 411479 w 773009"/>
                  <a:gd name="connsiteY17" fmla="*/ 142306 h 1556334"/>
                  <a:gd name="connsiteX18" fmla="*/ 448359 w 773009"/>
                  <a:gd name="connsiteY18" fmla="*/ 169210 h 1556334"/>
                  <a:gd name="connsiteX19" fmla="*/ 509605 w 773009"/>
                  <a:gd name="connsiteY19" fmla="*/ 301290 h 1556334"/>
                  <a:gd name="connsiteX20" fmla="*/ 735061 w 773009"/>
                  <a:gd name="connsiteY20" fmla="*/ 0 h 1556334"/>
                  <a:gd name="connsiteX21" fmla="*/ 660481 w 773009"/>
                  <a:gd name="connsiteY21" fmla="*/ 161552 h 1556334"/>
                  <a:gd name="connsiteX22" fmla="*/ 773009 w 773009"/>
                  <a:gd name="connsiteY22" fmla="*/ 135584 h 1556334"/>
                  <a:gd name="connsiteX23" fmla="*/ 630185 w 773009"/>
                  <a:gd name="connsiteY23" fmla="*/ 196176 h 1556334"/>
                  <a:gd name="connsiteX24" fmla="*/ 543377 w 773009"/>
                  <a:gd name="connsiteY24" fmla="*/ 348047 h 1556334"/>
                  <a:gd name="connsiteX25" fmla="*/ 485140 w 773009"/>
                  <a:gd name="connsiteY25" fmla="*/ 546166 h 1556334"/>
                  <a:gd name="connsiteX26" fmla="*/ 488149 w 773009"/>
                  <a:gd name="connsiteY26" fmla="*/ 761599 h 1556334"/>
                  <a:gd name="connsiteX27" fmla="*/ 610435 w 773009"/>
                  <a:gd name="connsiteY27" fmla="*/ 650139 h 1556334"/>
                  <a:gd name="connsiteX28" fmla="*/ 656155 w 773009"/>
                  <a:gd name="connsiteY28" fmla="*/ 663600 h 1556334"/>
                  <a:gd name="connsiteX29" fmla="*/ 495769 w 773009"/>
                  <a:gd name="connsiteY29" fmla="*/ 842309 h 1556334"/>
                  <a:gd name="connsiteX30" fmla="*/ 520700 w 773009"/>
                  <a:gd name="connsiteY30" fmla="*/ 1193866 h 1556334"/>
                  <a:gd name="connsiteX31" fmla="*/ 520700 w 773009"/>
                  <a:gd name="connsiteY31" fmla="*/ 1552006 h 1556334"/>
                  <a:gd name="connsiteX32" fmla="*/ 363788 w 773009"/>
                  <a:gd name="connsiteY32" fmla="*/ 1556334 h 1556334"/>
                  <a:gd name="connsiteX0" fmla="*/ 363788 w 773009"/>
                  <a:gd name="connsiteY0" fmla="*/ 1556334 h 1556334"/>
                  <a:gd name="connsiteX1" fmla="*/ 396240 w 773009"/>
                  <a:gd name="connsiteY1" fmla="*/ 1150686 h 1556334"/>
                  <a:gd name="connsiteX2" fmla="*/ 400000 w 773009"/>
                  <a:gd name="connsiteY2" fmla="*/ 870533 h 1556334"/>
                  <a:gd name="connsiteX3" fmla="*/ 414020 w 773009"/>
                  <a:gd name="connsiteY3" fmla="*/ 629986 h 1556334"/>
                  <a:gd name="connsiteX4" fmla="*/ 190600 w 773009"/>
                  <a:gd name="connsiteY4" fmla="*/ 490571 h 1556334"/>
                  <a:gd name="connsiteX5" fmla="*/ 96520 w 773009"/>
                  <a:gd name="connsiteY5" fmla="*/ 393766 h 1556334"/>
                  <a:gd name="connsiteX6" fmla="*/ 0 w 773009"/>
                  <a:gd name="connsiteY6" fmla="*/ 315026 h 1556334"/>
                  <a:gd name="connsiteX7" fmla="*/ 96520 w 773009"/>
                  <a:gd name="connsiteY7" fmla="*/ 358206 h 1556334"/>
                  <a:gd name="connsiteX8" fmla="*/ 109220 w 773009"/>
                  <a:gd name="connsiteY8" fmla="*/ 233746 h 1556334"/>
                  <a:gd name="connsiteX9" fmla="*/ 119379 w 773009"/>
                  <a:gd name="connsiteY9" fmla="*/ 370906 h 1556334"/>
                  <a:gd name="connsiteX10" fmla="*/ 203768 w 773009"/>
                  <a:gd name="connsiteY10" fmla="*/ 455479 h 1556334"/>
                  <a:gd name="connsiteX11" fmla="*/ 256539 w 773009"/>
                  <a:gd name="connsiteY11" fmla="*/ 492826 h 1556334"/>
                  <a:gd name="connsiteX12" fmla="*/ 259079 w 773009"/>
                  <a:gd name="connsiteY12" fmla="*/ 345506 h 1556334"/>
                  <a:gd name="connsiteX13" fmla="*/ 284479 w 773009"/>
                  <a:gd name="connsiteY13" fmla="*/ 502986 h 1556334"/>
                  <a:gd name="connsiteX14" fmla="*/ 432368 w 773009"/>
                  <a:gd name="connsiteY14" fmla="*/ 562443 h 1556334"/>
                  <a:gd name="connsiteX15" fmla="*/ 487781 w 773009"/>
                  <a:gd name="connsiteY15" fmla="*/ 328479 h 1556334"/>
                  <a:gd name="connsiteX16" fmla="*/ 411479 w 773009"/>
                  <a:gd name="connsiteY16" fmla="*/ 142306 h 1556334"/>
                  <a:gd name="connsiteX17" fmla="*/ 448359 w 773009"/>
                  <a:gd name="connsiteY17" fmla="*/ 169210 h 1556334"/>
                  <a:gd name="connsiteX18" fmla="*/ 509605 w 773009"/>
                  <a:gd name="connsiteY18" fmla="*/ 301290 h 1556334"/>
                  <a:gd name="connsiteX19" fmla="*/ 735061 w 773009"/>
                  <a:gd name="connsiteY19" fmla="*/ 0 h 1556334"/>
                  <a:gd name="connsiteX20" fmla="*/ 660481 w 773009"/>
                  <a:gd name="connsiteY20" fmla="*/ 161552 h 1556334"/>
                  <a:gd name="connsiteX21" fmla="*/ 773009 w 773009"/>
                  <a:gd name="connsiteY21" fmla="*/ 135584 h 1556334"/>
                  <a:gd name="connsiteX22" fmla="*/ 630185 w 773009"/>
                  <a:gd name="connsiteY22" fmla="*/ 196176 h 1556334"/>
                  <a:gd name="connsiteX23" fmla="*/ 543377 w 773009"/>
                  <a:gd name="connsiteY23" fmla="*/ 348047 h 1556334"/>
                  <a:gd name="connsiteX24" fmla="*/ 485140 w 773009"/>
                  <a:gd name="connsiteY24" fmla="*/ 546166 h 1556334"/>
                  <a:gd name="connsiteX25" fmla="*/ 488149 w 773009"/>
                  <a:gd name="connsiteY25" fmla="*/ 761599 h 1556334"/>
                  <a:gd name="connsiteX26" fmla="*/ 610435 w 773009"/>
                  <a:gd name="connsiteY26" fmla="*/ 650139 h 1556334"/>
                  <a:gd name="connsiteX27" fmla="*/ 656155 w 773009"/>
                  <a:gd name="connsiteY27" fmla="*/ 663600 h 1556334"/>
                  <a:gd name="connsiteX28" fmla="*/ 495769 w 773009"/>
                  <a:gd name="connsiteY28" fmla="*/ 842309 h 1556334"/>
                  <a:gd name="connsiteX29" fmla="*/ 520700 w 773009"/>
                  <a:gd name="connsiteY29" fmla="*/ 1193866 h 1556334"/>
                  <a:gd name="connsiteX30" fmla="*/ 520700 w 773009"/>
                  <a:gd name="connsiteY30" fmla="*/ 1552006 h 1556334"/>
                  <a:gd name="connsiteX31" fmla="*/ 363788 w 773009"/>
                  <a:gd name="connsiteY31" fmla="*/ 1556334 h 1556334"/>
                  <a:gd name="connsiteX0" fmla="*/ 363788 w 773009"/>
                  <a:gd name="connsiteY0" fmla="*/ 1556334 h 1556334"/>
                  <a:gd name="connsiteX1" fmla="*/ 396240 w 773009"/>
                  <a:gd name="connsiteY1" fmla="*/ 1150686 h 1556334"/>
                  <a:gd name="connsiteX2" fmla="*/ 400000 w 773009"/>
                  <a:gd name="connsiteY2" fmla="*/ 870533 h 1556334"/>
                  <a:gd name="connsiteX3" fmla="*/ 414020 w 773009"/>
                  <a:gd name="connsiteY3" fmla="*/ 629986 h 1556334"/>
                  <a:gd name="connsiteX4" fmla="*/ 190600 w 773009"/>
                  <a:gd name="connsiteY4" fmla="*/ 490571 h 1556334"/>
                  <a:gd name="connsiteX5" fmla="*/ 96520 w 773009"/>
                  <a:gd name="connsiteY5" fmla="*/ 393766 h 1556334"/>
                  <a:gd name="connsiteX6" fmla="*/ 0 w 773009"/>
                  <a:gd name="connsiteY6" fmla="*/ 315026 h 1556334"/>
                  <a:gd name="connsiteX7" fmla="*/ 96520 w 773009"/>
                  <a:gd name="connsiteY7" fmla="*/ 358206 h 1556334"/>
                  <a:gd name="connsiteX8" fmla="*/ 109220 w 773009"/>
                  <a:gd name="connsiteY8" fmla="*/ 233746 h 1556334"/>
                  <a:gd name="connsiteX9" fmla="*/ 119379 w 773009"/>
                  <a:gd name="connsiteY9" fmla="*/ 370906 h 1556334"/>
                  <a:gd name="connsiteX10" fmla="*/ 203768 w 773009"/>
                  <a:gd name="connsiteY10" fmla="*/ 455479 h 1556334"/>
                  <a:gd name="connsiteX11" fmla="*/ 256539 w 773009"/>
                  <a:gd name="connsiteY11" fmla="*/ 492826 h 1556334"/>
                  <a:gd name="connsiteX12" fmla="*/ 259079 w 773009"/>
                  <a:gd name="connsiteY12" fmla="*/ 345506 h 1556334"/>
                  <a:gd name="connsiteX13" fmla="*/ 284479 w 773009"/>
                  <a:gd name="connsiteY13" fmla="*/ 502986 h 1556334"/>
                  <a:gd name="connsiteX14" fmla="*/ 432368 w 773009"/>
                  <a:gd name="connsiteY14" fmla="*/ 562443 h 1556334"/>
                  <a:gd name="connsiteX15" fmla="*/ 487781 w 773009"/>
                  <a:gd name="connsiteY15" fmla="*/ 328479 h 1556334"/>
                  <a:gd name="connsiteX16" fmla="*/ 415807 w 773009"/>
                  <a:gd name="connsiteY16" fmla="*/ 137978 h 1556334"/>
                  <a:gd name="connsiteX17" fmla="*/ 448359 w 773009"/>
                  <a:gd name="connsiteY17" fmla="*/ 169210 h 1556334"/>
                  <a:gd name="connsiteX18" fmla="*/ 509605 w 773009"/>
                  <a:gd name="connsiteY18" fmla="*/ 301290 h 1556334"/>
                  <a:gd name="connsiteX19" fmla="*/ 735061 w 773009"/>
                  <a:gd name="connsiteY19" fmla="*/ 0 h 1556334"/>
                  <a:gd name="connsiteX20" fmla="*/ 660481 w 773009"/>
                  <a:gd name="connsiteY20" fmla="*/ 161552 h 1556334"/>
                  <a:gd name="connsiteX21" fmla="*/ 773009 w 773009"/>
                  <a:gd name="connsiteY21" fmla="*/ 135584 h 1556334"/>
                  <a:gd name="connsiteX22" fmla="*/ 630185 w 773009"/>
                  <a:gd name="connsiteY22" fmla="*/ 196176 h 1556334"/>
                  <a:gd name="connsiteX23" fmla="*/ 543377 w 773009"/>
                  <a:gd name="connsiteY23" fmla="*/ 348047 h 1556334"/>
                  <a:gd name="connsiteX24" fmla="*/ 485140 w 773009"/>
                  <a:gd name="connsiteY24" fmla="*/ 546166 h 1556334"/>
                  <a:gd name="connsiteX25" fmla="*/ 488149 w 773009"/>
                  <a:gd name="connsiteY25" fmla="*/ 761599 h 1556334"/>
                  <a:gd name="connsiteX26" fmla="*/ 610435 w 773009"/>
                  <a:gd name="connsiteY26" fmla="*/ 650139 h 1556334"/>
                  <a:gd name="connsiteX27" fmla="*/ 656155 w 773009"/>
                  <a:gd name="connsiteY27" fmla="*/ 663600 h 1556334"/>
                  <a:gd name="connsiteX28" fmla="*/ 495769 w 773009"/>
                  <a:gd name="connsiteY28" fmla="*/ 842309 h 1556334"/>
                  <a:gd name="connsiteX29" fmla="*/ 520700 w 773009"/>
                  <a:gd name="connsiteY29" fmla="*/ 1193866 h 1556334"/>
                  <a:gd name="connsiteX30" fmla="*/ 520700 w 773009"/>
                  <a:gd name="connsiteY30" fmla="*/ 1552006 h 1556334"/>
                  <a:gd name="connsiteX31" fmla="*/ 363788 w 773009"/>
                  <a:gd name="connsiteY31" fmla="*/ 1556334 h 1556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73009" h="1556334">
                    <a:moveTo>
                      <a:pt x="363788" y="1556334"/>
                    </a:moveTo>
                    <a:lnTo>
                      <a:pt x="396240" y="1150686"/>
                    </a:lnTo>
                    <a:cubicBezTo>
                      <a:pt x="397493" y="1057302"/>
                      <a:pt x="398747" y="963917"/>
                      <a:pt x="400000" y="870533"/>
                    </a:cubicBezTo>
                    <a:lnTo>
                      <a:pt x="414020" y="629986"/>
                    </a:lnTo>
                    <a:lnTo>
                      <a:pt x="190600" y="490571"/>
                    </a:lnTo>
                    <a:lnTo>
                      <a:pt x="96520" y="393766"/>
                    </a:lnTo>
                    <a:lnTo>
                      <a:pt x="0" y="315026"/>
                    </a:lnTo>
                    <a:lnTo>
                      <a:pt x="96520" y="358206"/>
                    </a:lnTo>
                    <a:lnTo>
                      <a:pt x="109220" y="233746"/>
                    </a:lnTo>
                    <a:cubicBezTo>
                      <a:pt x="110066" y="282006"/>
                      <a:pt x="118533" y="322646"/>
                      <a:pt x="119379" y="370906"/>
                    </a:cubicBezTo>
                    <a:lnTo>
                      <a:pt x="203768" y="455479"/>
                    </a:lnTo>
                    <a:lnTo>
                      <a:pt x="256539" y="492826"/>
                    </a:lnTo>
                    <a:cubicBezTo>
                      <a:pt x="257386" y="448799"/>
                      <a:pt x="258232" y="389533"/>
                      <a:pt x="259079" y="345506"/>
                    </a:cubicBezTo>
                    <a:lnTo>
                      <a:pt x="284479" y="502986"/>
                    </a:lnTo>
                    <a:lnTo>
                      <a:pt x="432368" y="562443"/>
                    </a:lnTo>
                    <a:lnTo>
                      <a:pt x="487781" y="328479"/>
                    </a:lnTo>
                    <a:lnTo>
                      <a:pt x="415807" y="137978"/>
                    </a:lnTo>
                    <a:lnTo>
                      <a:pt x="448359" y="169210"/>
                    </a:lnTo>
                    <a:lnTo>
                      <a:pt x="509605" y="301290"/>
                    </a:lnTo>
                    <a:lnTo>
                      <a:pt x="735061" y="0"/>
                    </a:lnTo>
                    <a:lnTo>
                      <a:pt x="660481" y="161552"/>
                    </a:lnTo>
                    <a:lnTo>
                      <a:pt x="773009" y="135584"/>
                    </a:lnTo>
                    <a:lnTo>
                      <a:pt x="630185" y="196176"/>
                    </a:lnTo>
                    <a:lnTo>
                      <a:pt x="543377" y="348047"/>
                    </a:lnTo>
                    <a:lnTo>
                      <a:pt x="485140" y="546166"/>
                    </a:lnTo>
                    <a:lnTo>
                      <a:pt x="488149" y="761599"/>
                    </a:lnTo>
                    <a:lnTo>
                      <a:pt x="610435" y="650139"/>
                    </a:lnTo>
                    <a:lnTo>
                      <a:pt x="656155" y="663600"/>
                    </a:lnTo>
                    <a:lnTo>
                      <a:pt x="495769" y="842309"/>
                    </a:lnTo>
                    <a:lnTo>
                      <a:pt x="520700" y="1193866"/>
                    </a:lnTo>
                    <a:lnTo>
                      <a:pt x="520700" y="1552006"/>
                    </a:lnTo>
                    <a:lnTo>
                      <a:pt x="363788" y="1556334"/>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815" name="Group 814"/>
            <p:cNvGrpSpPr/>
            <p:nvPr/>
          </p:nvGrpSpPr>
          <p:grpSpPr bwMode="gray">
            <a:xfrm>
              <a:off x="10771673" y="5025468"/>
              <a:ext cx="332276" cy="448080"/>
              <a:chOff x="10133051" y="3656947"/>
              <a:chExt cx="678849" cy="915439"/>
            </a:xfrm>
            <a:grpFill/>
          </p:grpSpPr>
          <p:sp>
            <p:nvSpPr>
              <p:cNvPr id="819" name="Cloud 1179"/>
              <p:cNvSpPr/>
              <p:nvPr/>
            </p:nvSpPr>
            <p:spPr bwMode="gray">
              <a:xfrm rot="4804376" flipH="1">
                <a:off x="10225460" y="3564538"/>
                <a:ext cx="494032" cy="678849"/>
              </a:xfrm>
              <a:custGeom>
                <a:avLst/>
                <a:gdLst>
                  <a:gd name="connsiteX0" fmla="*/ 1200568 w 1528032"/>
                  <a:gd name="connsiteY0" fmla="*/ 732 h 977696"/>
                  <a:gd name="connsiteX1" fmla="*/ 1327535 w 1528032"/>
                  <a:gd name="connsiteY1" fmla="*/ 66765 h 977696"/>
                  <a:gd name="connsiteX2" fmla="*/ 1413703 w 1528032"/>
                  <a:gd name="connsiteY2" fmla="*/ 148559 h 977696"/>
                  <a:gd name="connsiteX3" fmla="*/ 1484299 w 1528032"/>
                  <a:gd name="connsiteY3" fmla="*/ 230222 h 977696"/>
                  <a:gd name="connsiteX4" fmla="*/ 1490783 w 1528032"/>
                  <a:gd name="connsiteY4" fmla="*/ 299582 h 977696"/>
                  <a:gd name="connsiteX5" fmla="*/ 1528032 w 1528032"/>
                  <a:gd name="connsiteY5" fmla="*/ 410731 h 977696"/>
                  <a:gd name="connsiteX6" fmla="*/ 1523450 w 1528032"/>
                  <a:gd name="connsiteY6" fmla="*/ 435043 h 977696"/>
                  <a:gd name="connsiteX7" fmla="*/ 1520825 w 1528032"/>
                  <a:gd name="connsiteY7" fmla="*/ 524395 h 977696"/>
                  <a:gd name="connsiteX8" fmla="*/ 1426664 w 1528032"/>
                  <a:gd name="connsiteY8" fmla="*/ 641457 h 977696"/>
                  <a:gd name="connsiteX9" fmla="*/ 1287012 w 1528032"/>
                  <a:gd name="connsiteY9" fmla="*/ 777650 h 977696"/>
                  <a:gd name="connsiteX10" fmla="*/ 1251614 w 1528032"/>
                  <a:gd name="connsiteY10" fmla="*/ 813478 h 977696"/>
                  <a:gd name="connsiteX11" fmla="*/ 1068086 w 1528032"/>
                  <a:gd name="connsiteY11" fmla="*/ 850881 h 977696"/>
                  <a:gd name="connsiteX12" fmla="*/ 993173 w 1528032"/>
                  <a:gd name="connsiteY12" fmla="*/ 869956 h 977696"/>
                  <a:gd name="connsiteX13" fmla="*/ 989317 w 1528032"/>
                  <a:gd name="connsiteY13" fmla="*/ 869540 h 977696"/>
                  <a:gd name="connsiteX14" fmla="*/ 837325 w 1528032"/>
                  <a:gd name="connsiteY14" fmla="*/ 971943 h 977696"/>
                  <a:gd name="connsiteX15" fmla="*/ 583505 w 1528032"/>
                  <a:gd name="connsiteY15" fmla="*/ 885133 h 977696"/>
                  <a:gd name="connsiteX16" fmla="*/ 583236 w 1528032"/>
                  <a:gd name="connsiteY16" fmla="*/ 885162 h 977696"/>
                  <a:gd name="connsiteX17" fmla="*/ 206317 w 1528032"/>
                  <a:gd name="connsiteY17" fmla="*/ 799249 h 977696"/>
                  <a:gd name="connsiteX18" fmla="*/ 40502 w 1528032"/>
                  <a:gd name="connsiteY18" fmla="*/ 703740 h 977696"/>
                  <a:gd name="connsiteX19" fmla="*/ 75933 w 1528032"/>
                  <a:gd name="connsiteY19" fmla="*/ 574819 h 977696"/>
                  <a:gd name="connsiteX20" fmla="*/ 1115 w 1528032"/>
                  <a:gd name="connsiteY20" fmla="*/ 442549 h 977696"/>
                  <a:gd name="connsiteX21" fmla="*/ 131192 w 1528032"/>
                  <a:gd name="connsiteY21" fmla="*/ 326593 h 977696"/>
                  <a:gd name="connsiteX22" fmla="*/ 138848 w 1528032"/>
                  <a:gd name="connsiteY22" fmla="*/ 314428 h 977696"/>
                  <a:gd name="connsiteX23" fmla="*/ 199923 w 1528032"/>
                  <a:gd name="connsiteY23" fmla="*/ 153059 h 977696"/>
                  <a:gd name="connsiteX24" fmla="*/ 496016 w 1528032"/>
                  <a:gd name="connsiteY24" fmla="*/ 114489 h 977696"/>
                  <a:gd name="connsiteX25" fmla="*/ 774415 w 1528032"/>
                  <a:gd name="connsiteY25" fmla="*/ 60867 h 977696"/>
                  <a:gd name="connsiteX26" fmla="*/ 793455 w 1528032"/>
                  <a:gd name="connsiteY26" fmla="*/ 58811 h 977696"/>
                  <a:gd name="connsiteX27" fmla="*/ 805429 w 1528032"/>
                  <a:gd name="connsiteY27" fmla="*/ 60104 h 977696"/>
                  <a:gd name="connsiteX28" fmla="*/ 910871 w 1528032"/>
                  <a:gd name="connsiteY28" fmla="*/ 1335 h 977696"/>
                  <a:gd name="connsiteX29" fmla="*/ 1027290 w 1528032"/>
                  <a:gd name="connsiteY29" fmla="*/ 28632 h 977696"/>
                  <a:gd name="connsiteX30" fmla="*/ 1043481 w 1528032"/>
                  <a:gd name="connsiteY30" fmla="*/ 26883 h 977696"/>
                  <a:gd name="connsiteX31" fmla="*/ 1081723 w 1528032"/>
                  <a:gd name="connsiteY31" fmla="*/ 31551 h 977696"/>
                  <a:gd name="connsiteX32" fmla="*/ 1200568 w 1528032"/>
                  <a:gd name="connsiteY32" fmla="*/ 732 h 977696"/>
                  <a:gd name="connsiteX0" fmla="*/ 1081723 w 1528032"/>
                  <a:gd name="connsiteY0" fmla="*/ 31551 h 977696"/>
                  <a:gd name="connsiteX1" fmla="*/ 1327535 w 1528032"/>
                  <a:gd name="connsiteY1" fmla="*/ 66765 h 977696"/>
                  <a:gd name="connsiteX2" fmla="*/ 1413703 w 1528032"/>
                  <a:gd name="connsiteY2" fmla="*/ 148559 h 977696"/>
                  <a:gd name="connsiteX3" fmla="*/ 1484299 w 1528032"/>
                  <a:gd name="connsiteY3" fmla="*/ 230222 h 977696"/>
                  <a:gd name="connsiteX4" fmla="*/ 1490783 w 1528032"/>
                  <a:gd name="connsiteY4" fmla="*/ 299582 h 977696"/>
                  <a:gd name="connsiteX5" fmla="*/ 1528032 w 1528032"/>
                  <a:gd name="connsiteY5" fmla="*/ 410731 h 977696"/>
                  <a:gd name="connsiteX6" fmla="*/ 1523450 w 1528032"/>
                  <a:gd name="connsiteY6" fmla="*/ 435043 h 977696"/>
                  <a:gd name="connsiteX7" fmla="*/ 1520825 w 1528032"/>
                  <a:gd name="connsiteY7" fmla="*/ 524395 h 977696"/>
                  <a:gd name="connsiteX8" fmla="*/ 1426664 w 1528032"/>
                  <a:gd name="connsiteY8" fmla="*/ 641457 h 977696"/>
                  <a:gd name="connsiteX9" fmla="*/ 1287012 w 1528032"/>
                  <a:gd name="connsiteY9" fmla="*/ 777650 h 977696"/>
                  <a:gd name="connsiteX10" fmla="*/ 1251614 w 1528032"/>
                  <a:gd name="connsiteY10" fmla="*/ 813478 h 977696"/>
                  <a:gd name="connsiteX11" fmla="*/ 1068086 w 1528032"/>
                  <a:gd name="connsiteY11" fmla="*/ 850881 h 977696"/>
                  <a:gd name="connsiteX12" fmla="*/ 993173 w 1528032"/>
                  <a:gd name="connsiteY12" fmla="*/ 869956 h 977696"/>
                  <a:gd name="connsiteX13" fmla="*/ 989317 w 1528032"/>
                  <a:gd name="connsiteY13" fmla="*/ 869540 h 977696"/>
                  <a:gd name="connsiteX14" fmla="*/ 837325 w 1528032"/>
                  <a:gd name="connsiteY14" fmla="*/ 971943 h 977696"/>
                  <a:gd name="connsiteX15" fmla="*/ 583505 w 1528032"/>
                  <a:gd name="connsiteY15" fmla="*/ 885133 h 977696"/>
                  <a:gd name="connsiteX16" fmla="*/ 583236 w 1528032"/>
                  <a:gd name="connsiteY16" fmla="*/ 885162 h 977696"/>
                  <a:gd name="connsiteX17" fmla="*/ 206317 w 1528032"/>
                  <a:gd name="connsiteY17" fmla="*/ 799249 h 977696"/>
                  <a:gd name="connsiteX18" fmla="*/ 40502 w 1528032"/>
                  <a:gd name="connsiteY18" fmla="*/ 703740 h 977696"/>
                  <a:gd name="connsiteX19" fmla="*/ 75933 w 1528032"/>
                  <a:gd name="connsiteY19" fmla="*/ 574819 h 977696"/>
                  <a:gd name="connsiteX20" fmla="*/ 1115 w 1528032"/>
                  <a:gd name="connsiteY20" fmla="*/ 442549 h 977696"/>
                  <a:gd name="connsiteX21" fmla="*/ 131192 w 1528032"/>
                  <a:gd name="connsiteY21" fmla="*/ 326593 h 977696"/>
                  <a:gd name="connsiteX22" fmla="*/ 138848 w 1528032"/>
                  <a:gd name="connsiteY22" fmla="*/ 314428 h 977696"/>
                  <a:gd name="connsiteX23" fmla="*/ 199923 w 1528032"/>
                  <a:gd name="connsiteY23" fmla="*/ 153059 h 977696"/>
                  <a:gd name="connsiteX24" fmla="*/ 496016 w 1528032"/>
                  <a:gd name="connsiteY24" fmla="*/ 114489 h 977696"/>
                  <a:gd name="connsiteX25" fmla="*/ 774415 w 1528032"/>
                  <a:gd name="connsiteY25" fmla="*/ 60867 h 977696"/>
                  <a:gd name="connsiteX26" fmla="*/ 793455 w 1528032"/>
                  <a:gd name="connsiteY26" fmla="*/ 58811 h 977696"/>
                  <a:gd name="connsiteX27" fmla="*/ 805429 w 1528032"/>
                  <a:gd name="connsiteY27" fmla="*/ 60104 h 977696"/>
                  <a:gd name="connsiteX28" fmla="*/ 910871 w 1528032"/>
                  <a:gd name="connsiteY28" fmla="*/ 1335 h 977696"/>
                  <a:gd name="connsiteX29" fmla="*/ 1027290 w 1528032"/>
                  <a:gd name="connsiteY29" fmla="*/ 28632 h 977696"/>
                  <a:gd name="connsiteX30" fmla="*/ 1043481 w 1528032"/>
                  <a:gd name="connsiteY30" fmla="*/ 26883 h 977696"/>
                  <a:gd name="connsiteX31" fmla="*/ 1081723 w 1528032"/>
                  <a:gd name="connsiteY31" fmla="*/ 31551 h 977696"/>
                  <a:gd name="connsiteX0" fmla="*/ 1081723 w 1528032"/>
                  <a:gd name="connsiteY0" fmla="*/ 31551 h 977696"/>
                  <a:gd name="connsiteX1" fmla="*/ 1244519 w 1528032"/>
                  <a:gd name="connsiteY1" fmla="*/ 54208 h 977696"/>
                  <a:gd name="connsiteX2" fmla="*/ 1413703 w 1528032"/>
                  <a:gd name="connsiteY2" fmla="*/ 148559 h 977696"/>
                  <a:gd name="connsiteX3" fmla="*/ 1484299 w 1528032"/>
                  <a:gd name="connsiteY3" fmla="*/ 230222 h 977696"/>
                  <a:gd name="connsiteX4" fmla="*/ 1490783 w 1528032"/>
                  <a:gd name="connsiteY4" fmla="*/ 299582 h 977696"/>
                  <a:gd name="connsiteX5" fmla="*/ 1528032 w 1528032"/>
                  <a:gd name="connsiteY5" fmla="*/ 410731 h 977696"/>
                  <a:gd name="connsiteX6" fmla="*/ 1523450 w 1528032"/>
                  <a:gd name="connsiteY6" fmla="*/ 435043 h 977696"/>
                  <a:gd name="connsiteX7" fmla="*/ 1520825 w 1528032"/>
                  <a:gd name="connsiteY7" fmla="*/ 524395 h 977696"/>
                  <a:gd name="connsiteX8" fmla="*/ 1426664 w 1528032"/>
                  <a:gd name="connsiteY8" fmla="*/ 641457 h 977696"/>
                  <a:gd name="connsiteX9" fmla="*/ 1287012 w 1528032"/>
                  <a:gd name="connsiteY9" fmla="*/ 777650 h 977696"/>
                  <a:gd name="connsiteX10" fmla="*/ 1251614 w 1528032"/>
                  <a:gd name="connsiteY10" fmla="*/ 813478 h 977696"/>
                  <a:gd name="connsiteX11" fmla="*/ 1068086 w 1528032"/>
                  <a:gd name="connsiteY11" fmla="*/ 850881 h 977696"/>
                  <a:gd name="connsiteX12" fmla="*/ 993173 w 1528032"/>
                  <a:gd name="connsiteY12" fmla="*/ 869956 h 977696"/>
                  <a:gd name="connsiteX13" fmla="*/ 989317 w 1528032"/>
                  <a:gd name="connsiteY13" fmla="*/ 869540 h 977696"/>
                  <a:gd name="connsiteX14" fmla="*/ 837325 w 1528032"/>
                  <a:gd name="connsiteY14" fmla="*/ 971943 h 977696"/>
                  <a:gd name="connsiteX15" fmla="*/ 583505 w 1528032"/>
                  <a:gd name="connsiteY15" fmla="*/ 885133 h 977696"/>
                  <a:gd name="connsiteX16" fmla="*/ 583236 w 1528032"/>
                  <a:gd name="connsiteY16" fmla="*/ 885162 h 977696"/>
                  <a:gd name="connsiteX17" fmla="*/ 206317 w 1528032"/>
                  <a:gd name="connsiteY17" fmla="*/ 799249 h 977696"/>
                  <a:gd name="connsiteX18" fmla="*/ 40502 w 1528032"/>
                  <a:gd name="connsiteY18" fmla="*/ 703740 h 977696"/>
                  <a:gd name="connsiteX19" fmla="*/ 75933 w 1528032"/>
                  <a:gd name="connsiteY19" fmla="*/ 574819 h 977696"/>
                  <a:gd name="connsiteX20" fmla="*/ 1115 w 1528032"/>
                  <a:gd name="connsiteY20" fmla="*/ 442549 h 977696"/>
                  <a:gd name="connsiteX21" fmla="*/ 131192 w 1528032"/>
                  <a:gd name="connsiteY21" fmla="*/ 326593 h 977696"/>
                  <a:gd name="connsiteX22" fmla="*/ 138848 w 1528032"/>
                  <a:gd name="connsiteY22" fmla="*/ 314428 h 977696"/>
                  <a:gd name="connsiteX23" fmla="*/ 199923 w 1528032"/>
                  <a:gd name="connsiteY23" fmla="*/ 153059 h 977696"/>
                  <a:gd name="connsiteX24" fmla="*/ 496016 w 1528032"/>
                  <a:gd name="connsiteY24" fmla="*/ 114489 h 977696"/>
                  <a:gd name="connsiteX25" fmla="*/ 774415 w 1528032"/>
                  <a:gd name="connsiteY25" fmla="*/ 60867 h 977696"/>
                  <a:gd name="connsiteX26" fmla="*/ 793455 w 1528032"/>
                  <a:gd name="connsiteY26" fmla="*/ 58811 h 977696"/>
                  <a:gd name="connsiteX27" fmla="*/ 805429 w 1528032"/>
                  <a:gd name="connsiteY27" fmla="*/ 60104 h 977696"/>
                  <a:gd name="connsiteX28" fmla="*/ 910871 w 1528032"/>
                  <a:gd name="connsiteY28" fmla="*/ 1335 h 977696"/>
                  <a:gd name="connsiteX29" fmla="*/ 1027290 w 1528032"/>
                  <a:gd name="connsiteY29" fmla="*/ 28632 h 977696"/>
                  <a:gd name="connsiteX30" fmla="*/ 1043481 w 1528032"/>
                  <a:gd name="connsiteY30" fmla="*/ 26883 h 977696"/>
                  <a:gd name="connsiteX31" fmla="*/ 1081723 w 1528032"/>
                  <a:gd name="connsiteY31" fmla="*/ 31551 h 977696"/>
                  <a:gd name="connsiteX0" fmla="*/ 1081723 w 1528032"/>
                  <a:gd name="connsiteY0" fmla="*/ 31551 h 977696"/>
                  <a:gd name="connsiteX1" fmla="*/ 1244519 w 1528032"/>
                  <a:gd name="connsiteY1" fmla="*/ 54208 h 977696"/>
                  <a:gd name="connsiteX2" fmla="*/ 1336086 w 1528032"/>
                  <a:gd name="connsiteY2" fmla="*/ 165702 h 977696"/>
                  <a:gd name="connsiteX3" fmla="*/ 1484299 w 1528032"/>
                  <a:gd name="connsiteY3" fmla="*/ 230222 h 977696"/>
                  <a:gd name="connsiteX4" fmla="*/ 1490783 w 1528032"/>
                  <a:gd name="connsiteY4" fmla="*/ 299582 h 977696"/>
                  <a:gd name="connsiteX5" fmla="*/ 1528032 w 1528032"/>
                  <a:gd name="connsiteY5" fmla="*/ 410731 h 977696"/>
                  <a:gd name="connsiteX6" fmla="*/ 1523450 w 1528032"/>
                  <a:gd name="connsiteY6" fmla="*/ 435043 h 977696"/>
                  <a:gd name="connsiteX7" fmla="*/ 1520825 w 1528032"/>
                  <a:gd name="connsiteY7" fmla="*/ 524395 h 977696"/>
                  <a:gd name="connsiteX8" fmla="*/ 1426664 w 1528032"/>
                  <a:gd name="connsiteY8" fmla="*/ 641457 h 977696"/>
                  <a:gd name="connsiteX9" fmla="*/ 1287012 w 1528032"/>
                  <a:gd name="connsiteY9" fmla="*/ 777650 h 977696"/>
                  <a:gd name="connsiteX10" fmla="*/ 1251614 w 1528032"/>
                  <a:gd name="connsiteY10" fmla="*/ 813478 h 977696"/>
                  <a:gd name="connsiteX11" fmla="*/ 1068086 w 1528032"/>
                  <a:gd name="connsiteY11" fmla="*/ 850881 h 977696"/>
                  <a:gd name="connsiteX12" fmla="*/ 993173 w 1528032"/>
                  <a:gd name="connsiteY12" fmla="*/ 869956 h 977696"/>
                  <a:gd name="connsiteX13" fmla="*/ 989317 w 1528032"/>
                  <a:gd name="connsiteY13" fmla="*/ 869540 h 977696"/>
                  <a:gd name="connsiteX14" fmla="*/ 837325 w 1528032"/>
                  <a:gd name="connsiteY14" fmla="*/ 971943 h 977696"/>
                  <a:gd name="connsiteX15" fmla="*/ 583505 w 1528032"/>
                  <a:gd name="connsiteY15" fmla="*/ 885133 h 977696"/>
                  <a:gd name="connsiteX16" fmla="*/ 583236 w 1528032"/>
                  <a:gd name="connsiteY16" fmla="*/ 885162 h 977696"/>
                  <a:gd name="connsiteX17" fmla="*/ 206317 w 1528032"/>
                  <a:gd name="connsiteY17" fmla="*/ 799249 h 977696"/>
                  <a:gd name="connsiteX18" fmla="*/ 40502 w 1528032"/>
                  <a:gd name="connsiteY18" fmla="*/ 703740 h 977696"/>
                  <a:gd name="connsiteX19" fmla="*/ 75933 w 1528032"/>
                  <a:gd name="connsiteY19" fmla="*/ 574819 h 977696"/>
                  <a:gd name="connsiteX20" fmla="*/ 1115 w 1528032"/>
                  <a:gd name="connsiteY20" fmla="*/ 442549 h 977696"/>
                  <a:gd name="connsiteX21" fmla="*/ 131192 w 1528032"/>
                  <a:gd name="connsiteY21" fmla="*/ 326593 h 977696"/>
                  <a:gd name="connsiteX22" fmla="*/ 138848 w 1528032"/>
                  <a:gd name="connsiteY22" fmla="*/ 314428 h 977696"/>
                  <a:gd name="connsiteX23" fmla="*/ 199923 w 1528032"/>
                  <a:gd name="connsiteY23" fmla="*/ 153059 h 977696"/>
                  <a:gd name="connsiteX24" fmla="*/ 496016 w 1528032"/>
                  <a:gd name="connsiteY24" fmla="*/ 114489 h 977696"/>
                  <a:gd name="connsiteX25" fmla="*/ 774415 w 1528032"/>
                  <a:gd name="connsiteY25" fmla="*/ 60867 h 977696"/>
                  <a:gd name="connsiteX26" fmla="*/ 793455 w 1528032"/>
                  <a:gd name="connsiteY26" fmla="*/ 58811 h 977696"/>
                  <a:gd name="connsiteX27" fmla="*/ 805429 w 1528032"/>
                  <a:gd name="connsiteY27" fmla="*/ 60104 h 977696"/>
                  <a:gd name="connsiteX28" fmla="*/ 910871 w 1528032"/>
                  <a:gd name="connsiteY28" fmla="*/ 1335 h 977696"/>
                  <a:gd name="connsiteX29" fmla="*/ 1027290 w 1528032"/>
                  <a:gd name="connsiteY29" fmla="*/ 28632 h 977696"/>
                  <a:gd name="connsiteX30" fmla="*/ 1043481 w 1528032"/>
                  <a:gd name="connsiteY30" fmla="*/ 26883 h 977696"/>
                  <a:gd name="connsiteX31" fmla="*/ 1081723 w 1528032"/>
                  <a:gd name="connsiteY31" fmla="*/ 31551 h 977696"/>
                  <a:gd name="connsiteX0" fmla="*/ 1081723 w 1528032"/>
                  <a:gd name="connsiteY0" fmla="*/ 31551 h 977696"/>
                  <a:gd name="connsiteX1" fmla="*/ 1244519 w 1528032"/>
                  <a:gd name="connsiteY1" fmla="*/ 54208 h 977696"/>
                  <a:gd name="connsiteX2" fmla="*/ 1336086 w 1528032"/>
                  <a:gd name="connsiteY2" fmla="*/ 165702 h 977696"/>
                  <a:gd name="connsiteX3" fmla="*/ 1445198 w 1528032"/>
                  <a:gd name="connsiteY3" fmla="*/ 222382 h 977696"/>
                  <a:gd name="connsiteX4" fmla="*/ 1490783 w 1528032"/>
                  <a:gd name="connsiteY4" fmla="*/ 299582 h 977696"/>
                  <a:gd name="connsiteX5" fmla="*/ 1528032 w 1528032"/>
                  <a:gd name="connsiteY5" fmla="*/ 410731 h 977696"/>
                  <a:gd name="connsiteX6" fmla="*/ 1523450 w 1528032"/>
                  <a:gd name="connsiteY6" fmla="*/ 435043 h 977696"/>
                  <a:gd name="connsiteX7" fmla="*/ 1520825 w 1528032"/>
                  <a:gd name="connsiteY7" fmla="*/ 524395 h 977696"/>
                  <a:gd name="connsiteX8" fmla="*/ 1426664 w 1528032"/>
                  <a:gd name="connsiteY8" fmla="*/ 641457 h 977696"/>
                  <a:gd name="connsiteX9" fmla="*/ 1287012 w 1528032"/>
                  <a:gd name="connsiteY9" fmla="*/ 777650 h 977696"/>
                  <a:gd name="connsiteX10" fmla="*/ 1251614 w 1528032"/>
                  <a:gd name="connsiteY10" fmla="*/ 813478 h 977696"/>
                  <a:gd name="connsiteX11" fmla="*/ 1068086 w 1528032"/>
                  <a:gd name="connsiteY11" fmla="*/ 850881 h 977696"/>
                  <a:gd name="connsiteX12" fmla="*/ 993173 w 1528032"/>
                  <a:gd name="connsiteY12" fmla="*/ 869956 h 977696"/>
                  <a:gd name="connsiteX13" fmla="*/ 989317 w 1528032"/>
                  <a:gd name="connsiteY13" fmla="*/ 869540 h 977696"/>
                  <a:gd name="connsiteX14" fmla="*/ 837325 w 1528032"/>
                  <a:gd name="connsiteY14" fmla="*/ 971943 h 977696"/>
                  <a:gd name="connsiteX15" fmla="*/ 583505 w 1528032"/>
                  <a:gd name="connsiteY15" fmla="*/ 885133 h 977696"/>
                  <a:gd name="connsiteX16" fmla="*/ 583236 w 1528032"/>
                  <a:gd name="connsiteY16" fmla="*/ 885162 h 977696"/>
                  <a:gd name="connsiteX17" fmla="*/ 206317 w 1528032"/>
                  <a:gd name="connsiteY17" fmla="*/ 799249 h 977696"/>
                  <a:gd name="connsiteX18" fmla="*/ 40502 w 1528032"/>
                  <a:gd name="connsiteY18" fmla="*/ 703740 h 977696"/>
                  <a:gd name="connsiteX19" fmla="*/ 75933 w 1528032"/>
                  <a:gd name="connsiteY19" fmla="*/ 574819 h 977696"/>
                  <a:gd name="connsiteX20" fmla="*/ 1115 w 1528032"/>
                  <a:gd name="connsiteY20" fmla="*/ 442549 h 977696"/>
                  <a:gd name="connsiteX21" fmla="*/ 131192 w 1528032"/>
                  <a:gd name="connsiteY21" fmla="*/ 326593 h 977696"/>
                  <a:gd name="connsiteX22" fmla="*/ 138848 w 1528032"/>
                  <a:gd name="connsiteY22" fmla="*/ 314428 h 977696"/>
                  <a:gd name="connsiteX23" fmla="*/ 199923 w 1528032"/>
                  <a:gd name="connsiteY23" fmla="*/ 153059 h 977696"/>
                  <a:gd name="connsiteX24" fmla="*/ 496016 w 1528032"/>
                  <a:gd name="connsiteY24" fmla="*/ 114489 h 977696"/>
                  <a:gd name="connsiteX25" fmla="*/ 774415 w 1528032"/>
                  <a:gd name="connsiteY25" fmla="*/ 60867 h 977696"/>
                  <a:gd name="connsiteX26" fmla="*/ 793455 w 1528032"/>
                  <a:gd name="connsiteY26" fmla="*/ 58811 h 977696"/>
                  <a:gd name="connsiteX27" fmla="*/ 805429 w 1528032"/>
                  <a:gd name="connsiteY27" fmla="*/ 60104 h 977696"/>
                  <a:gd name="connsiteX28" fmla="*/ 910871 w 1528032"/>
                  <a:gd name="connsiteY28" fmla="*/ 1335 h 977696"/>
                  <a:gd name="connsiteX29" fmla="*/ 1027290 w 1528032"/>
                  <a:gd name="connsiteY29" fmla="*/ 28632 h 977696"/>
                  <a:gd name="connsiteX30" fmla="*/ 1043481 w 1528032"/>
                  <a:gd name="connsiteY30" fmla="*/ 26883 h 977696"/>
                  <a:gd name="connsiteX31" fmla="*/ 1081723 w 1528032"/>
                  <a:gd name="connsiteY31" fmla="*/ 31551 h 977696"/>
                  <a:gd name="connsiteX0" fmla="*/ 1081723 w 1528032"/>
                  <a:gd name="connsiteY0" fmla="*/ 31551 h 977696"/>
                  <a:gd name="connsiteX1" fmla="*/ 1244519 w 1528032"/>
                  <a:gd name="connsiteY1" fmla="*/ 54208 h 977696"/>
                  <a:gd name="connsiteX2" fmla="*/ 1336086 w 1528032"/>
                  <a:gd name="connsiteY2" fmla="*/ 165702 h 977696"/>
                  <a:gd name="connsiteX3" fmla="*/ 1445198 w 1528032"/>
                  <a:gd name="connsiteY3" fmla="*/ 222382 h 977696"/>
                  <a:gd name="connsiteX4" fmla="*/ 1443366 w 1528032"/>
                  <a:gd name="connsiteY4" fmla="*/ 317057 h 977696"/>
                  <a:gd name="connsiteX5" fmla="*/ 1528032 w 1528032"/>
                  <a:gd name="connsiteY5" fmla="*/ 410731 h 977696"/>
                  <a:gd name="connsiteX6" fmla="*/ 1523450 w 1528032"/>
                  <a:gd name="connsiteY6" fmla="*/ 435043 h 977696"/>
                  <a:gd name="connsiteX7" fmla="*/ 1520825 w 1528032"/>
                  <a:gd name="connsiteY7" fmla="*/ 524395 h 977696"/>
                  <a:gd name="connsiteX8" fmla="*/ 1426664 w 1528032"/>
                  <a:gd name="connsiteY8" fmla="*/ 641457 h 977696"/>
                  <a:gd name="connsiteX9" fmla="*/ 1287012 w 1528032"/>
                  <a:gd name="connsiteY9" fmla="*/ 777650 h 977696"/>
                  <a:gd name="connsiteX10" fmla="*/ 1251614 w 1528032"/>
                  <a:gd name="connsiteY10" fmla="*/ 813478 h 977696"/>
                  <a:gd name="connsiteX11" fmla="*/ 1068086 w 1528032"/>
                  <a:gd name="connsiteY11" fmla="*/ 850881 h 977696"/>
                  <a:gd name="connsiteX12" fmla="*/ 993173 w 1528032"/>
                  <a:gd name="connsiteY12" fmla="*/ 869956 h 977696"/>
                  <a:gd name="connsiteX13" fmla="*/ 989317 w 1528032"/>
                  <a:gd name="connsiteY13" fmla="*/ 869540 h 977696"/>
                  <a:gd name="connsiteX14" fmla="*/ 837325 w 1528032"/>
                  <a:gd name="connsiteY14" fmla="*/ 971943 h 977696"/>
                  <a:gd name="connsiteX15" fmla="*/ 583505 w 1528032"/>
                  <a:gd name="connsiteY15" fmla="*/ 885133 h 977696"/>
                  <a:gd name="connsiteX16" fmla="*/ 583236 w 1528032"/>
                  <a:gd name="connsiteY16" fmla="*/ 885162 h 977696"/>
                  <a:gd name="connsiteX17" fmla="*/ 206317 w 1528032"/>
                  <a:gd name="connsiteY17" fmla="*/ 799249 h 977696"/>
                  <a:gd name="connsiteX18" fmla="*/ 40502 w 1528032"/>
                  <a:gd name="connsiteY18" fmla="*/ 703740 h 977696"/>
                  <a:gd name="connsiteX19" fmla="*/ 75933 w 1528032"/>
                  <a:gd name="connsiteY19" fmla="*/ 574819 h 977696"/>
                  <a:gd name="connsiteX20" fmla="*/ 1115 w 1528032"/>
                  <a:gd name="connsiteY20" fmla="*/ 442549 h 977696"/>
                  <a:gd name="connsiteX21" fmla="*/ 131192 w 1528032"/>
                  <a:gd name="connsiteY21" fmla="*/ 326593 h 977696"/>
                  <a:gd name="connsiteX22" fmla="*/ 138848 w 1528032"/>
                  <a:gd name="connsiteY22" fmla="*/ 314428 h 977696"/>
                  <a:gd name="connsiteX23" fmla="*/ 199923 w 1528032"/>
                  <a:gd name="connsiteY23" fmla="*/ 153059 h 977696"/>
                  <a:gd name="connsiteX24" fmla="*/ 496016 w 1528032"/>
                  <a:gd name="connsiteY24" fmla="*/ 114489 h 977696"/>
                  <a:gd name="connsiteX25" fmla="*/ 774415 w 1528032"/>
                  <a:gd name="connsiteY25" fmla="*/ 60867 h 977696"/>
                  <a:gd name="connsiteX26" fmla="*/ 793455 w 1528032"/>
                  <a:gd name="connsiteY26" fmla="*/ 58811 h 977696"/>
                  <a:gd name="connsiteX27" fmla="*/ 805429 w 1528032"/>
                  <a:gd name="connsiteY27" fmla="*/ 60104 h 977696"/>
                  <a:gd name="connsiteX28" fmla="*/ 910871 w 1528032"/>
                  <a:gd name="connsiteY28" fmla="*/ 1335 h 977696"/>
                  <a:gd name="connsiteX29" fmla="*/ 1027290 w 1528032"/>
                  <a:gd name="connsiteY29" fmla="*/ 28632 h 977696"/>
                  <a:gd name="connsiteX30" fmla="*/ 1043481 w 1528032"/>
                  <a:gd name="connsiteY30" fmla="*/ 26883 h 977696"/>
                  <a:gd name="connsiteX31" fmla="*/ 1081723 w 1528032"/>
                  <a:gd name="connsiteY31" fmla="*/ 31551 h 977696"/>
                  <a:gd name="connsiteX0" fmla="*/ 1081723 w 1528032"/>
                  <a:gd name="connsiteY0" fmla="*/ 31551 h 977696"/>
                  <a:gd name="connsiteX1" fmla="*/ 1244519 w 1528032"/>
                  <a:gd name="connsiteY1" fmla="*/ 54208 h 977696"/>
                  <a:gd name="connsiteX2" fmla="*/ 1336086 w 1528032"/>
                  <a:gd name="connsiteY2" fmla="*/ 165702 h 977696"/>
                  <a:gd name="connsiteX3" fmla="*/ 1445198 w 1528032"/>
                  <a:gd name="connsiteY3" fmla="*/ 222382 h 977696"/>
                  <a:gd name="connsiteX4" fmla="*/ 1443366 w 1528032"/>
                  <a:gd name="connsiteY4" fmla="*/ 317057 h 977696"/>
                  <a:gd name="connsiteX5" fmla="*/ 1528032 w 1528032"/>
                  <a:gd name="connsiteY5" fmla="*/ 410731 h 977696"/>
                  <a:gd name="connsiteX6" fmla="*/ 1461586 w 1528032"/>
                  <a:gd name="connsiteY6" fmla="*/ 461887 h 977696"/>
                  <a:gd name="connsiteX7" fmla="*/ 1520825 w 1528032"/>
                  <a:gd name="connsiteY7" fmla="*/ 524395 h 977696"/>
                  <a:gd name="connsiteX8" fmla="*/ 1426664 w 1528032"/>
                  <a:gd name="connsiteY8" fmla="*/ 641457 h 977696"/>
                  <a:gd name="connsiteX9" fmla="*/ 1287012 w 1528032"/>
                  <a:gd name="connsiteY9" fmla="*/ 777650 h 977696"/>
                  <a:gd name="connsiteX10" fmla="*/ 1251614 w 1528032"/>
                  <a:gd name="connsiteY10" fmla="*/ 813478 h 977696"/>
                  <a:gd name="connsiteX11" fmla="*/ 1068086 w 1528032"/>
                  <a:gd name="connsiteY11" fmla="*/ 850881 h 977696"/>
                  <a:gd name="connsiteX12" fmla="*/ 993173 w 1528032"/>
                  <a:gd name="connsiteY12" fmla="*/ 869956 h 977696"/>
                  <a:gd name="connsiteX13" fmla="*/ 989317 w 1528032"/>
                  <a:gd name="connsiteY13" fmla="*/ 869540 h 977696"/>
                  <a:gd name="connsiteX14" fmla="*/ 837325 w 1528032"/>
                  <a:gd name="connsiteY14" fmla="*/ 971943 h 977696"/>
                  <a:gd name="connsiteX15" fmla="*/ 583505 w 1528032"/>
                  <a:gd name="connsiteY15" fmla="*/ 885133 h 977696"/>
                  <a:gd name="connsiteX16" fmla="*/ 583236 w 1528032"/>
                  <a:gd name="connsiteY16" fmla="*/ 885162 h 977696"/>
                  <a:gd name="connsiteX17" fmla="*/ 206317 w 1528032"/>
                  <a:gd name="connsiteY17" fmla="*/ 799249 h 977696"/>
                  <a:gd name="connsiteX18" fmla="*/ 40502 w 1528032"/>
                  <a:gd name="connsiteY18" fmla="*/ 703740 h 977696"/>
                  <a:gd name="connsiteX19" fmla="*/ 75933 w 1528032"/>
                  <a:gd name="connsiteY19" fmla="*/ 574819 h 977696"/>
                  <a:gd name="connsiteX20" fmla="*/ 1115 w 1528032"/>
                  <a:gd name="connsiteY20" fmla="*/ 442549 h 977696"/>
                  <a:gd name="connsiteX21" fmla="*/ 131192 w 1528032"/>
                  <a:gd name="connsiteY21" fmla="*/ 326593 h 977696"/>
                  <a:gd name="connsiteX22" fmla="*/ 138848 w 1528032"/>
                  <a:gd name="connsiteY22" fmla="*/ 314428 h 977696"/>
                  <a:gd name="connsiteX23" fmla="*/ 199923 w 1528032"/>
                  <a:gd name="connsiteY23" fmla="*/ 153059 h 977696"/>
                  <a:gd name="connsiteX24" fmla="*/ 496016 w 1528032"/>
                  <a:gd name="connsiteY24" fmla="*/ 114489 h 977696"/>
                  <a:gd name="connsiteX25" fmla="*/ 774415 w 1528032"/>
                  <a:gd name="connsiteY25" fmla="*/ 60867 h 977696"/>
                  <a:gd name="connsiteX26" fmla="*/ 793455 w 1528032"/>
                  <a:gd name="connsiteY26" fmla="*/ 58811 h 977696"/>
                  <a:gd name="connsiteX27" fmla="*/ 805429 w 1528032"/>
                  <a:gd name="connsiteY27" fmla="*/ 60104 h 977696"/>
                  <a:gd name="connsiteX28" fmla="*/ 910871 w 1528032"/>
                  <a:gd name="connsiteY28" fmla="*/ 1335 h 977696"/>
                  <a:gd name="connsiteX29" fmla="*/ 1027290 w 1528032"/>
                  <a:gd name="connsiteY29" fmla="*/ 28632 h 977696"/>
                  <a:gd name="connsiteX30" fmla="*/ 1043481 w 1528032"/>
                  <a:gd name="connsiteY30" fmla="*/ 26883 h 977696"/>
                  <a:gd name="connsiteX31" fmla="*/ 1081723 w 1528032"/>
                  <a:gd name="connsiteY31" fmla="*/ 31551 h 977696"/>
                  <a:gd name="connsiteX0" fmla="*/ 1081723 w 1528032"/>
                  <a:gd name="connsiteY0" fmla="*/ 31551 h 977696"/>
                  <a:gd name="connsiteX1" fmla="*/ 1244519 w 1528032"/>
                  <a:gd name="connsiteY1" fmla="*/ 54208 h 977696"/>
                  <a:gd name="connsiteX2" fmla="*/ 1336086 w 1528032"/>
                  <a:gd name="connsiteY2" fmla="*/ 165702 h 977696"/>
                  <a:gd name="connsiteX3" fmla="*/ 1445198 w 1528032"/>
                  <a:gd name="connsiteY3" fmla="*/ 222382 h 977696"/>
                  <a:gd name="connsiteX4" fmla="*/ 1443366 w 1528032"/>
                  <a:gd name="connsiteY4" fmla="*/ 317057 h 977696"/>
                  <a:gd name="connsiteX5" fmla="*/ 1528032 w 1528032"/>
                  <a:gd name="connsiteY5" fmla="*/ 410731 h 977696"/>
                  <a:gd name="connsiteX6" fmla="*/ 1461586 w 1528032"/>
                  <a:gd name="connsiteY6" fmla="*/ 461887 h 977696"/>
                  <a:gd name="connsiteX7" fmla="*/ 1490189 w 1528032"/>
                  <a:gd name="connsiteY7" fmla="*/ 554228 h 977696"/>
                  <a:gd name="connsiteX8" fmla="*/ 1426664 w 1528032"/>
                  <a:gd name="connsiteY8" fmla="*/ 641457 h 977696"/>
                  <a:gd name="connsiteX9" fmla="*/ 1287012 w 1528032"/>
                  <a:gd name="connsiteY9" fmla="*/ 777650 h 977696"/>
                  <a:gd name="connsiteX10" fmla="*/ 1251614 w 1528032"/>
                  <a:gd name="connsiteY10" fmla="*/ 813478 h 977696"/>
                  <a:gd name="connsiteX11" fmla="*/ 1068086 w 1528032"/>
                  <a:gd name="connsiteY11" fmla="*/ 850881 h 977696"/>
                  <a:gd name="connsiteX12" fmla="*/ 993173 w 1528032"/>
                  <a:gd name="connsiteY12" fmla="*/ 869956 h 977696"/>
                  <a:gd name="connsiteX13" fmla="*/ 989317 w 1528032"/>
                  <a:gd name="connsiteY13" fmla="*/ 869540 h 977696"/>
                  <a:gd name="connsiteX14" fmla="*/ 837325 w 1528032"/>
                  <a:gd name="connsiteY14" fmla="*/ 971943 h 977696"/>
                  <a:gd name="connsiteX15" fmla="*/ 583505 w 1528032"/>
                  <a:gd name="connsiteY15" fmla="*/ 885133 h 977696"/>
                  <a:gd name="connsiteX16" fmla="*/ 583236 w 1528032"/>
                  <a:gd name="connsiteY16" fmla="*/ 885162 h 977696"/>
                  <a:gd name="connsiteX17" fmla="*/ 206317 w 1528032"/>
                  <a:gd name="connsiteY17" fmla="*/ 799249 h 977696"/>
                  <a:gd name="connsiteX18" fmla="*/ 40502 w 1528032"/>
                  <a:gd name="connsiteY18" fmla="*/ 703740 h 977696"/>
                  <a:gd name="connsiteX19" fmla="*/ 75933 w 1528032"/>
                  <a:gd name="connsiteY19" fmla="*/ 574819 h 977696"/>
                  <a:gd name="connsiteX20" fmla="*/ 1115 w 1528032"/>
                  <a:gd name="connsiteY20" fmla="*/ 442549 h 977696"/>
                  <a:gd name="connsiteX21" fmla="*/ 131192 w 1528032"/>
                  <a:gd name="connsiteY21" fmla="*/ 326593 h 977696"/>
                  <a:gd name="connsiteX22" fmla="*/ 138848 w 1528032"/>
                  <a:gd name="connsiteY22" fmla="*/ 314428 h 977696"/>
                  <a:gd name="connsiteX23" fmla="*/ 199923 w 1528032"/>
                  <a:gd name="connsiteY23" fmla="*/ 153059 h 977696"/>
                  <a:gd name="connsiteX24" fmla="*/ 496016 w 1528032"/>
                  <a:gd name="connsiteY24" fmla="*/ 114489 h 977696"/>
                  <a:gd name="connsiteX25" fmla="*/ 774415 w 1528032"/>
                  <a:gd name="connsiteY25" fmla="*/ 60867 h 977696"/>
                  <a:gd name="connsiteX26" fmla="*/ 793455 w 1528032"/>
                  <a:gd name="connsiteY26" fmla="*/ 58811 h 977696"/>
                  <a:gd name="connsiteX27" fmla="*/ 805429 w 1528032"/>
                  <a:gd name="connsiteY27" fmla="*/ 60104 h 977696"/>
                  <a:gd name="connsiteX28" fmla="*/ 910871 w 1528032"/>
                  <a:gd name="connsiteY28" fmla="*/ 1335 h 977696"/>
                  <a:gd name="connsiteX29" fmla="*/ 1027290 w 1528032"/>
                  <a:gd name="connsiteY29" fmla="*/ 28632 h 977696"/>
                  <a:gd name="connsiteX30" fmla="*/ 1043481 w 1528032"/>
                  <a:gd name="connsiteY30" fmla="*/ 26883 h 977696"/>
                  <a:gd name="connsiteX31" fmla="*/ 1081723 w 1528032"/>
                  <a:gd name="connsiteY31" fmla="*/ 31551 h 977696"/>
                  <a:gd name="connsiteX0" fmla="*/ 1081723 w 1528032"/>
                  <a:gd name="connsiteY0" fmla="*/ 31551 h 961469"/>
                  <a:gd name="connsiteX1" fmla="*/ 1244519 w 1528032"/>
                  <a:gd name="connsiteY1" fmla="*/ 54208 h 961469"/>
                  <a:gd name="connsiteX2" fmla="*/ 1336086 w 1528032"/>
                  <a:gd name="connsiteY2" fmla="*/ 165702 h 961469"/>
                  <a:gd name="connsiteX3" fmla="*/ 1445198 w 1528032"/>
                  <a:gd name="connsiteY3" fmla="*/ 222382 h 961469"/>
                  <a:gd name="connsiteX4" fmla="*/ 1443366 w 1528032"/>
                  <a:gd name="connsiteY4" fmla="*/ 317057 h 961469"/>
                  <a:gd name="connsiteX5" fmla="*/ 1528032 w 1528032"/>
                  <a:gd name="connsiteY5" fmla="*/ 410731 h 961469"/>
                  <a:gd name="connsiteX6" fmla="*/ 1461586 w 1528032"/>
                  <a:gd name="connsiteY6" fmla="*/ 461887 h 961469"/>
                  <a:gd name="connsiteX7" fmla="*/ 1490189 w 1528032"/>
                  <a:gd name="connsiteY7" fmla="*/ 554228 h 961469"/>
                  <a:gd name="connsiteX8" fmla="*/ 1426664 w 1528032"/>
                  <a:gd name="connsiteY8" fmla="*/ 641457 h 961469"/>
                  <a:gd name="connsiteX9" fmla="*/ 1287012 w 1528032"/>
                  <a:gd name="connsiteY9" fmla="*/ 777650 h 961469"/>
                  <a:gd name="connsiteX10" fmla="*/ 1251614 w 1528032"/>
                  <a:gd name="connsiteY10" fmla="*/ 813478 h 961469"/>
                  <a:gd name="connsiteX11" fmla="*/ 1068086 w 1528032"/>
                  <a:gd name="connsiteY11" fmla="*/ 850881 h 961469"/>
                  <a:gd name="connsiteX12" fmla="*/ 993173 w 1528032"/>
                  <a:gd name="connsiteY12" fmla="*/ 869956 h 961469"/>
                  <a:gd name="connsiteX13" fmla="*/ 989317 w 1528032"/>
                  <a:gd name="connsiteY13" fmla="*/ 869540 h 961469"/>
                  <a:gd name="connsiteX14" fmla="*/ 830175 w 1528032"/>
                  <a:gd name="connsiteY14" fmla="*/ 953338 h 961469"/>
                  <a:gd name="connsiteX15" fmla="*/ 583505 w 1528032"/>
                  <a:gd name="connsiteY15" fmla="*/ 885133 h 961469"/>
                  <a:gd name="connsiteX16" fmla="*/ 583236 w 1528032"/>
                  <a:gd name="connsiteY16" fmla="*/ 885162 h 961469"/>
                  <a:gd name="connsiteX17" fmla="*/ 206317 w 1528032"/>
                  <a:gd name="connsiteY17" fmla="*/ 799249 h 961469"/>
                  <a:gd name="connsiteX18" fmla="*/ 40502 w 1528032"/>
                  <a:gd name="connsiteY18" fmla="*/ 703740 h 961469"/>
                  <a:gd name="connsiteX19" fmla="*/ 75933 w 1528032"/>
                  <a:gd name="connsiteY19" fmla="*/ 574819 h 961469"/>
                  <a:gd name="connsiteX20" fmla="*/ 1115 w 1528032"/>
                  <a:gd name="connsiteY20" fmla="*/ 442549 h 961469"/>
                  <a:gd name="connsiteX21" fmla="*/ 131192 w 1528032"/>
                  <a:gd name="connsiteY21" fmla="*/ 326593 h 961469"/>
                  <a:gd name="connsiteX22" fmla="*/ 138848 w 1528032"/>
                  <a:gd name="connsiteY22" fmla="*/ 314428 h 961469"/>
                  <a:gd name="connsiteX23" fmla="*/ 199923 w 1528032"/>
                  <a:gd name="connsiteY23" fmla="*/ 153059 h 961469"/>
                  <a:gd name="connsiteX24" fmla="*/ 496016 w 1528032"/>
                  <a:gd name="connsiteY24" fmla="*/ 114489 h 961469"/>
                  <a:gd name="connsiteX25" fmla="*/ 774415 w 1528032"/>
                  <a:gd name="connsiteY25" fmla="*/ 60867 h 961469"/>
                  <a:gd name="connsiteX26" fmla="*/ 793455 w 1528032"/>
                  <a:gd name="connsiteY26" fmla="*/ 58811 h 961469"/>
                  <a:gd name="connsiteX27" fmla="*/ 805429 w 1528032"/>
                  <a:gd name="connsiteY27" fmla="*/ 60104 h 961469"/>
                  <a:gd name="connsiteX28" fmla="*/ 910871 w 1528032"/>
                  <a:gd name="connsiteY28" fmla="*/ 1335 h 961469"/>
                  <a:gd name="connsiteX29" fmla="*/ 1027290 w 1528032"/>
                  <a:gd name="connsiteY29" fmla="*/ 28632 h 961469"/>
                  <a:gd name="connsiteX30" fmla="*/ 1043481 w 1528032"/>
                  <a:gd name="connsiteY30" fmla="*/ 26883 h 961469"/>
                  <a:gd name="connsiteX31" fmla="*/ 1081723 w 1528032"/>
                  <a:gd name="connsiteY31" fmla="*/ 31551 h 961469"/>
                  <a:gd name="connsiteX0" fmla="*/ 1081723 w 1528032"/>
                  <a:gd name="connsiteY0" fmla="*/ 31551 h 961469"/>
                  <a:gd name="connsiteX1" fmla="*/ 1244519 w 1528032"/>
                  <a:gd name="connsiteY1" fmla="*/ 54208 h 961469"/>
                  <a:gd name="connsiteX2" fmla="*/ 1336086 w 1528032"/>
                  <a:gd name="connsiteY2" fmla="*/ 165702 h 961469"/>
                  <a:gd name="connsiteX3" fmla="*/ 1445198 w 1528032"/>
                  <a:gd name="connsiteY3" fmla="*/ 222382 h 961469"/>
                  <a:gd name="connsiteX4" fmla="*/ 1443366 w 1528032"/>
                  <a:gd name="connsiteY4" fmla="*/ 317057 h 961469"/>
                  <a:gd name="connsiteX5" fmla="*/ 1528032 w 1528032"/>
                  <a:gd name="connsiteY5" fmla="*/ 410731 h 961469"/>
                  <a:gd name="connsiteX6" fmla="*/ 1461586 w 1528032"/>
                  <a:gd name="connsiteY6" fmla="*/ 461887 h 961469"/>
                  <a:gd name="connsiteX7" fmla="*/ 1490189 w 1528032"/>
                  <a:gd name="connsiteY7" fmla="*/ 554228 h 961469"/>
                  <a:gd name="connsiteX8" fmla="*/ 1426664 w 1528032"/>
                  <a:gd name="connsiteY8" fmla="*/ 641457 h 961469"/>
                  <a:gd name="connsiteX9" fmla="*/ 1287012 w 1528032"/>
                  <a:gd name="connsiteY9" fmla="*/ 777650 h 961469"/>
                  <a:gd name="connsiteX10" fmla="*/ 1251614 w 1528032"/>
                  <a:gd name="connsiteY10" fmla="*/ 813478 h 961469"/>
                  <a:gd name="connsiteX11" fmla="*/ 1068086 w 1528032"/>
                  <a:gd name="connsiteY11" fmla="*/ 850881 h 961469"/>
                  <a:gd name="connsiteX12" fmla="*/ 993173 w 1528032"/>
                  <a:gd name="connsiteY12" fmla="*/ 869956 h 961469"/>
                  <a:gd name="connsiteX13" fmla="*/ 989317 w 1528032"/>
                  <a:gd name="connsiteY13" fmla="*/ 869540 h 961469"/>
                  <a:gd name="connsiteX14" fmla="*/ 830175 w 1528032"/>
                  <a:gd name="connsiteY14" fmla="*/ 953338 h 961469"/>
                  <a:gd name="connsiteX15" fmla="*/ 583505 w 1528032"/>
                  <a:gd name="connsiteY15" fmla="*/ 885133 h 961469"/>
                  <a:gd name="connsiteX16" fmla="*/ 583236 w 1528032"/>
                  <a:gd name="connsiteY16" fmla="*/ 885162 h 961469"/>
                  <a:gd name="connsiteX17" fmla="*/ 202816 w 1528032"/>
                  <a:gd name="connsiteY17" fmla="*/ 821440 h 961469"/>
                  <a:gd name="connsiteX18" fmla="*/ 40502 w 1528032"/>
                  <a:gd name="connsiteY18" fmla="*/ 703740 h 961469"/>
                  <a:gd name="connsiteX19" fmla="*/ 75933 w 1528032"/>
                  <a:gd name="connsiteY19" fmla="*/ 574819 h 961469"/>
                  <a:gd name="connsiteX20" fmla="*/ 1115 w 1528032"/>
                  <a:gd name="connsiteY20" fmla="*/ 442549 h 961469"/>
                  <a:gd name="connsiteX21" fmla="*/ 131192 w 1528032"/>
                  <a:gd name="connsiteY21" fmla="*/ 326593 h 961469"/>
                  <a:gd name="connsiteX22" fmla="*/ 138848 w 1528032"/>
                  <a:gd name="connsiteY22" fmla="*/ 314428 h 961469"/>
                  <a:gd name="connsiteX23" fmla="*/ 199923 w 1528032"/>
                  <a:gd name="connsiteY23" fmla="*/ 153059 h 961469"/>
                  <a:gd name="connsiteX24" fmla="*/ 496016 w 1528032"/>
                  <a:gd name="connsiteY24" fmla="*/ 114489 h 961469"/>
                  <a:gd name="connsiteX25" fmla="*/ 774415 w 1528032"/>
                  <a:gd name="connsiteY25" fmla="*/ 60867 h 961469"/>
                  <a:gd name="connsiteX26" fmla="*/ 793455 w 1528032"/>
                  <a:gd name="connsiteY26" fmla="*/ 58811 h 961469"/>
                  <a:gd name="connsiteX27" fmla="*/ 805429 w 1528032"/>
                  <a:gd name="connsiteY27" fmla="*/ 60104 h 961469"/>
                  <a:gd name="connsiteX28" fmla="*/ 910871 w 1528032"/>
                  <a:gd name="connsiteY28" fmla="*/ 1335 h 961469"/>
                  <a:gd name="connsiteX29" fmla="*/ 1027290 w 1528032"/>
                  <a:gd name="connsiteY29" fmla="*/ 28632 h 961469"/>
                  <a:gd name="connsiteX30" fmla="*/ 1043481 w 1528032"/>
                  <a:gd name="connsiteY30" fmla="*/ 26883 h 961469"/>
                  <a:gd name="connsiteX31" fmla="*/ 1081723 w 1528032"/>
                  <a:gd name="connsiteY31" fmla="*/ 31551 h 961469"/>
                  <a:gd name="connsiteX0" fmla="*/ 1105766 w 1552075"/>
                  <a:gd name="connsiteY0" fmla="*/ 31551 h 961469"/>
                  <a:gd name="connsiteX1" fmla="*/ 1268562 w 1552075"/>
                  <a:gd name="connsiteY1" fmla="*/ 54208 h 961469"/>
                  <a:gd name="connsiteX2" fmla="*/ 1360129 w 1552075"/>
                  <a:gd name="connsiteY2" fmla="*/ 165702 h 961469"/>
                  <a:gd name="connsiteX3" fmla="*/ 1469241 w 1552075"/>
                  <a:gd name="connsiteY3" fmla="*/ 222382 h 961469"/>
                  <a:gd name="connsiteX4" fmla="*/ 1467409 w 1552075"/>
                  <a:gd name="connsiteY4" fmla="*/ 317057 h 961469"/>
                  <a:gd name="connsiteX5" fmla="*/ 1552075 w 1552075"/>
                  <a:gd name="connsiteY5" fmla="*/ 410731 h 961469"/>
                  <a:gd name="connsiteX6" fmla="*/ 1485629 w 1552075"/>
                  <a:gd name="connsiteY6" fmla="*/ 461887 h 961469"/>
                  <a:gd name="connsiteX7" fmla="*/ 1514232 w 1552075"/>
                  <a:gd name="connsiteY7" fmla="*/ 554228 h 961469"/>
                  <a:gd name="connsiteX8" fmla="*/ 1450707 w 1552075"/>
                  <a:gd name="connsiteY8" fmla="*/ 641457 h 961469"/>
                  <a:gd name="connsiteX9" fmla="*/ 1311055 w 1552075"/>
                  <a:gd name="connsiteY9" fmla="*/ 777650 h 961469"/>
                  <a:gd name="connsiteX10" fmla="*/ 1275657 w 1552075"/>
                  <a:gd name="connsiteY10" fmla="*/ 813478 h 961469"/>
                  <a:gd name="connsiteX11" fmla="*/ 1092129 w 1552075"/>
                  <a:gd name="connsiteY11" fmla="*/ 850881 h 961469"/>
                  <a:gd name="connsiteX12" fmla="*/ 1017216 w 1552075"/>
                  <a:gd name="connsiteY12" fmla="*/ 869956 h 961469"/>
                  <a:gd name="connsiteX13" fmla="*/ 1013360 w 1552075"/>
                  <a:gd name="connsiteY13" fmla="*/ 869540 h 961469"/>
                  <a:gd name="connsiteX14" fmla="*/ 854218 w 1552075"/>
                  <a:gd name="connsiteY14" fmla="*/ 953338 h 961469"/>
                  <a:gd name="connsiteX15" fmla="*/ 607548 w 1552075"/>
                  <a:gd name="connsiteY15" fmla="*/ 885133 h 961469"/>
                  <a:gd name="connsiteX16" fmla="*/ 607279 w 1552075"/>
                  <a:gd name="connsiteY16" fmla="*/ 885162 h 961469"/>
                  <a:gd name="connsiteX17" fmla="*/ 226859 w 1552075"/>
                  <a:gd name="connsiteY17" fmla="*/ 821440 h 961469"/>
                  <a:gd name="connsiteX18" fmla="*/ 64545 w 1552075"/>
                  <a:gd name="connsiteY18" fmla="*/ 703740 h 961469"/>
                  <a:gd name="connsiteX19" fmla="*/ 30970 w 1552075"/>
                  <a:gd name="connsiteY19" fmla="*/ 583055 h 961469"/>
                  <a:gd name="connsiteX20" fmla="*/ 25158 w 1552075"/>
                  <a:gd name="connsiteY20" fmla="*/ 442549 h 961469"/>
                  <a:gd name="connsiteX21" fmla="*/ 155235 w 1552075"/>
                  <a:gd name="connsiteY21" fmla="*/ 326593 h 961469"/>
                  <a:gd name="connsiteX22" fmla="*/ 162891 w 1552075"/>
                  <a:gd name="connsiteY22" fmla="*/ 314428 h 961469"/>
                  <a:gd name="connsiteX23" fmla="*/ 223966 w 1552075"/>
                  <a:gd name="connsiteY23" fmla="*/ 153059 h 961469"/>
                  <a:gd name="connsiteX24" fmla="*/ 520059 w 1552075"/>
                  <a:gd name="connsiteY24" fmla="*/ 114489 h 961469"/>
                  <a:gd name="connsiteX25" fmla="*/ 798458 w 1552075"/>
                  <a:gd name="connsiteY25" fmla="*/ 60867 h 961469"/>
                  <a:gd name="connsiteX26" fmla="*/ 817498 w 1552075"/>
                  <a:gd name="connsiteY26" fmla="*/ 58811 h 961469"/>
                  <a:gd name="connsiteX27" fmla="*/ 829472 w 1552075"/>
                  <a:gd name="connsiteY27" fmla="*/ 60104 h 961469"/>
                  <a:gd name="connsiteX28" fmla="*/ 934914 w 1552075"/>
                  <a:gd name="connsiteY28" fmla="*/ 1335 h 961469"/>
                  <a:gd name="connsiteX29" fmla="*/ 1051333 w 1552075"/>
                  <a:gd name="connsiteY29" fmla="*/ 28632 h 961469"/>
                  <a:gd name="connsiteX30" fmla="*/ 1067524 w 1552075"/>
                  <a:gd name="connsiteY30" fmla="*/ 26883 h 961469"/>
                  <a:gd name="connsiteX31" fmla="*/ 1105766 w 1552075"/>
                  <a:gd name="connsiteY31" fmla="*/ 31551 h 961469"/>
                  <a:gd name="connsiteX0" fmla="*/ 1090126 w 1536435"/>
                  <a:gd name="connsiteY0" fmla="*/ 31551 h 961469"/>
                  <a:gd name="connsiteX1" fmla="*/ 1252922 w 1536435"/>
                  <a:gd name="connsiteY1" fmla="*/ 54208 h 961469"/>
                  <a:gd name="connsiteX2" fmla="*/ 1344489 w 1536435"/>
                  <a:gd name="connsiteY2" fmla="*/ 165702 h 961469"/>
                  <a:gd name="connsiteX3" fmla="*/ 1453601 w 1536435"/>
                  <a:gd name="connsiteY3" fmla="*/ 222382 h 961469"/>
                  <a:gd name="connsiteX4" fmla="*/ 1451769 w 1536435"/>
                  <a:gd name="connsiteY4" fmla="*/ 317057 h 961469"/>
                  <a:gd name="connsiteX5" fmla="*/ 1536435 w 1536435"/>
                  <a:gd name="connsiteY5" fmla="*/ 410731 h 961469"/>
                  <a:gd name="connsiteX6" fmla="*/ 1469989 w 1536435"/>
                  <a:gd name="connsiteY6" fmla="*/ 461887 h 961469"/>
                  <a:gd name="connsiteX7" fmla="*/ 1498592 w 1536435"/>
                  <a:gd name="connsiteY7" fmla="*/ 554228 h 961469"/>
                  <a:gd name="connsiteX8" fmla="*/ 1435067 w 1536435"/>
                  <a:gd name="connsiteY8" fmla="*/ 641457 h 961469"/>
                  <a:gd name="connsiteX9" fmla="*/ 1295415 w 1536435"/>
                  <a:gd name="connsiteY9" fmla="*/ 777650 h 961469"/>
                  <a:gd name="connsiteX10" fmla="*/ 1260017 w 1536435"/>
                  <a:gd name="connsiteY10" fmla="*/ 813478 h 961469"/>
                  <a:gd name="connsiteX11" fmla="*/ 1076489 w 1536435"/>
                  <a:gd name="connsiteY11" fmla="*/ 850881 h 961469"/>
                  <a:gd name="connsiteX12" fmla="*/ 1001576 w 1536435"/>
                  <a:gd name="connsiteY12" fmla="*/ 869956 h 961469"/>
                  <a:gd name="connsiteX13" fmla="*/ 997720 w 1536435"/>
                  <a:gd name="connsiteY13" fmla="*/ 869540 h 961469"/>
                  <a:gd name="connsiteX14" fmla="*/ 838578 w 1536435"/>
                  <a:gd name="connsiteY14" fmla="*/ 953338 h 961469"/>
                  <a:gd name="connsiteX15" fmla="*/ 591908 w 1536435"/>
                  <a:gd name="connsiteY15" fmla="*/ 885133 h 961469"/>
                  <a:gd name="connsiteX16" fmla="*/ 591639 w 1536435"/>
                  <a:gd name="connsiteY16" fmla="*/ 885162 h 961469"/>
                  <a:gd name="connsiteX17" fmla="*/ 211219 w 1536435"/>
                  <a:gd name="connsiteY17" fmla="*/ 821440 h 961469"/>
                  <a:gd name="connsiteX18" fmla="*/ 48905 w 1536435"/>
                  <a:gd name="connsiteY18" fmla="*/ 703740 h 961469"/>
                  <a:gd name="connsiteX19" fmla="*/ 15330 w 1536435"/>
                  <a:gd name="connsiteY19" fmla="*/ 583055 h 961469"/>
                  <a:gd name="connsiteX20" fmla="*/ 191597 w 1536435"/>
                  <a:gd name="connsiteY20" fmla="*/ 493775 h 961469"/>
                  <a:gd name="connsiteX21" fmla="*/ 139595 w 1536435"/>
                  <a:gd name="connsiteY21" fmla="*/ 326593 h 961469"/>
                  <a:gd name="connsiteX22" fmla="*/ 147251 w 1536435"/>
                  <a:gd name="connsiteY22" fmla="*/ 314428 h 961469"/>
                  <a:gd name="connsiteX23" fmla="*/ 208326 w 1536435"/>
                  <a:gd name="connsiteY23" fmla="*/ 153059 h 961469"/>
                  <a:gd name="connsiteX24" fmla="*/ 504419 w 1536435"/>
                  <a:gd name="connsiteY24" fmla="*/ 114489 h 961469"/>
                  <a:gd name="connsiteX25" fmla="*/ 782818 w 1536435"/>
                  <a:gd name="connsiteY25" fmla="*/ 60867 h 961469"/>
                  <a:gd name="connsiteX26" fmla="*/ 801858 w 1536435"/>
                  <a:gd name="connsiteY26" fmla="*/ 58811 h 961469"/>
                  <a:gd name="connsiteX27" fmla="*/ 813832 w 1536435"/>
                  <a:gd name="connsiteY27" fmla="*/ 60104 h 961469"/>
                  <a:gd name="connsiteX28" fmla="*/ 919274 w 1536435"/>
                  <a:gd name="connsiteY28" fmla="*/ 1335 h 961469"/>
                  <a:gd name="connsiteX29" fmla="*/ 1035693 w 1536435"/>
                  <a:gd name="connsiteY29" fmla="*/ 28632 h 961469"/>
                  <a:gd name="connsiteX30" fmla="*/ 1051884 w 1536435"/>
                  <a:gd name="connsiteY30" fmla="*/ 26883 h 961469"/>
                  <a:gd name="connsiteX31" fmla="*/ 1090126 w 1536435"/>
                  <a:gd name="connsiteY31" fmla="*/ 31551 h 961469"/>
                  <a:gd name="connsiteX0" fmla="*/ 1090126 w 1536435"/>
                  <a:gd name="connsiteY0" fmla="*/ 31551 h 961469"/>
                  <a:gd name="connsiteX1" fmla="*/ 1252922 w 1536435"/>
                  <a:gd name="connsiteY1" fmla="*/ 54208 h 961469"/>
                  <a:gd name="connsiteX2" fmla="*/ 1344489 w 1536435"/>
                  <a:gd name="connsiteY2" fmla="*/ 165702 h 961469"/>
                  <a:gd name="connsiteX3" fmla="*/ 1453601 w 1536435"/>
                  <a:gd name="connsiteY3" fmla="*/ 222382 h 961469"/>
                  <a:gd name="connsiteX4" fmla="*/ 1451769 w 1536435"/>
                  <a:gd name="connsiteY4" fmla="*/ 317057 h 961469"/>
                  <a:gd name="connsiteX5" fmla="*/ 1536435 w 1536435"/>
                  <a:gd name="connsiteY5" fmla="*/ 410731 h 961469"/>
                  <a:gd name="connsiteX6" fmla="*/ 1469989 w 1536435"/>
                  <a:gd name="connsiteY6" fmla="*/ 461887 h 961469"/>
                  <a:gd name="connsiteX7" fmla="*/ 1498592 w 1536435"/>
                  <a:gd name="connsiteY7" fmla="*/ 554228 h 961469"/>
                  <a:gd name="connsiteX8" fmla="*/ 1435067 w 1536435"/>
                  <a:gd name="connsiteY8" fmla="*/ 641457 h 961469"/>
                  <a:gd name="connsiteX9" fmla="*/ 1295415 w 1536435"/>
                  <a:gd name="connsiteY9" fmla="*/ 777650 h 961469"/>
                  <a:gd name="connsiteX10" fmla="*/ 1260017 w 1536435"/>
                  <a:gd name="connsiteY10" fmla="*/ 813478 h 961469"/>
                  <a:gd name="connsiteX11" fmla="*/ 1076489 w 1536435"/>
                  <a:gd name="connsiteY11" fmla="*/ 850881 h 961469"/>
                  <a:gd name="connsiteX12" fmla="*/ 1001576 w 1536435"/>
                  <a:gd name="connsiteY12" fmla="*/ 869956 h 961469"/>
                  <a:gd name="connsiteX13" fmla="*/ 997720 w 1536435"/>
                  <a:gd name="connsiteY13" fmla="*/ 869540 h 961469"/>
                  <a:gd name="connsiteX14" fmla="*/ 838578 w 1536435"/>
                  <a:gd name="connsiteY14" fmla="*/ 953338 h 961469"/>
                  <a:gd name="connsiteX15" fmla="*/ 591908 w 1536435"/>
                  <a:gd name="connsiteY15" fmla="*/ 885133 h 961469"/>
                  <a:gd name="connsiteX16" fmla="*/ 591639 w 1536435"/>
                  <a:gd name="connsiteY16" fmla="*/ 885162 h 961469"/>
                  <a:gd name="connsiteX17" fmla="*/ 211219 w 1536435"/>
                  <a:gd name="connsiteY17" fmla="*/ 821440 h 961469"/>
                  <a:gd name="connsiteX18" fmla="*/ 48905 w 1536435"/>
                  <a:gd name="connsiteY18" fmla="*/ 703740 h 961469"/>
                  <a:gd name="connsiteX19" fmla="*/ 15330 w 1536435"/>
                  <a:gd name="connsiteY19" fmla="*/ 583055 h 961469"/>
                  <a:gd name="connsiteX20" fmla="*/ 191597 w 1536435"/>
                  <a:gd name="connsiteY20" fmla="*/ 493775 h 961469"/>
                  <a:gd name="connsiteX21" fmla="*/ 139595 w 1536435"/>
                  <a:gd name="connsiteY21" fmla="*/ 326593 h 961469"/>
                  <a:gd name="connsiteX22" fmla="*/ 112382 w 1536435"/>
                  <a:gd name="connsiteY22" fmla="*/ 270642 h 961469"/>
                  <a:gd name="connsiteX23" fmla="*/ 208326 w 1536435"/>
                  <a:gd name="connsiteY23" fmla="*/ 153059 h 961469"/>
                  <a:gd name="connsiteX24" fmla="*/ 504419 w 1536435"/>
                  <a:gd name="connsiteY24" fmla="*/ 114489 h 961469"/>
                  <a:gd name="connsiteX25" fmla="*/ 782818 w 1536435"/>
                  <a:gd name="connsiteY25" fmla="*/ 60867 h 961469"/>
                  <a:gd name="connsiteX26" fmla="*/ 801858 w 1536435"/>
                  <a:gd name="connsiteY26" fmla="*/ 58811 h 961469"/>
                  <a:gd name="connsiteX27" fmla="*/ 813832 w 1536435"/>
                  <a:gd name="connsiteY27" fmla="*/ 60104 h 961469"/>
                  <a:gd name="connsiteX28" fmla="*/ 919274 w 1536435"/>
                  <a:gd name="connsiteY28" fmla="*/ 1335 h 961469"/>
                  <a:gd name="connsiteX29" fmla="*/ 1035693 w 1536435"/>
                  <a:gd name="connsiteY29" fmla="*/ 28632 h 961469"/>
                  <a:gd name="connsiteX30" fmla="*/ 1051884 w 1536435"/>
                  <a:gd name="connsiteY30" fmla="*/ 26883 h 961469"/>
                  <a:gd name="connsiteX31" fmla="*/ 1090126 w 1536435"/>
                  <a:gd name="connsiteY31" fmla="*/ 31551 h 961469"/>
                  <a:gd name="connsiteX0" fmla="*/ 1090126 w 1536435"/>
                  <a:gd name="connsiteY0" fmla="*/ 31551 h 961469"/>
                  <a:gd name="connsiteX1" fmla="*/ 1252922 w 1536435"/>
                  <a:gd name="connsiteY1" fmla="*/ 54208 h 961469"/>
                  <a:gd name="connsiteX2" fmla="*/ 1344489 w 1536435"/>
                  <a:gd name="connsiteY2" fmla="*/ 165702 h 961469"/>
                  <a:gd name="connsiteX3" fmla="*/ 1453601 w 1536435"/>
                  <a:gd name="connsiteY3" fmla="*/ 222382 h 961469"/>
                  <a:gd name="connsiteX4" fmla="*/ 1451769 w 1536435"/>
                  <a:gd name="connsiteY4" fmla="*/ 317057 h 961469"/>
                  <a:gd name="connsiteX5" fmla="*/ 1536435 w 1536435"/>
                  <a:gd name="connsiteY5" fmla="*/ 410731 h 961469"/>
                  <a:gd name="connsiteX6" fmla="*/ 1469989 w 1536435"/>
                  <a:gd name="connsiteY6" fmla="*/ 461887 h 961469"/>
                  <a:gd name="connsiteX7" fmla="*/ 1498592 w 1536435"/>
                  <a:gd name="connsiteY7" fmla="*/ 554228 h 961469"/>
                  <a:gd name="connsiteX8" fmla="*/ 1489925 w 1536435"/>
                  <a:gd name="connsiteY8" fmla="*/ 658996 h 961469"/>
                  <a:gd name="connsiteX9" fmla="*/ 1295415 w 1536435"/>
                  <a:gd name="connsiteY9" fmla="*/ 777650 h 961469"/>
                  <a:gd name="connsiteX10" fmla="*/ 1260017 w 1536435"/>
                  <a:gd name="connsiteY10" fmla="*/ 813478 h 961469"/>
                  <a:gd name="connsiteX11" fmla="*/ 1076489 w 1536435"/>
                  <a:gd name="connsiteY11" fmla="*/ 850881 h 961469"/>
                  <a:gd name="connsiteX12" fmla="*/ 1001576 w 1536435"/>
                  <a:gd name="connsiteY12" fmla="*/ 869956 h 961469"/>
                  <a:gd name="connsiteX13" fmla="*/ 997720 w 1536435"/>
                  <a:gd name="connsiteY13" fmla="*/ 869540 h 961469"/>
                  <a:gd name="connsiteX14" fmla="*/ 838578 w 1536435"/>
                  <a:gd name="connsiteY14" fmla="*/ 953338 h 961469"/>
                  <a:gd name="connsiteX15" fmla="*/ 591908 w 1536435"/>
                  <a:gd name="connsiteY15" fmla="*/ 885133 h 961469"/>
                  <a:gd name="connsiteX16" fmla="*/ 591639 w 1536435"/>
                  <a:gd name="connsiteY16" fmla="*/ 885162 h 961469"/>
                  <a:gd name="connsiteX17" fmla="*/ 211219 w 1536435"/>
                  <a:gd name="connsiteY17" fmla="*/ 821440 h 961469"/>
                  <a:gd name="connsiteX18" fmla="*/ 48905 w 1536435"/>
                  <a:gd name="connsiteY18" fmla="*/ 703740 h 961469"/>
                  <a:gd name="connsiteX19" fmla="*/ 15330 w 1536435"/>
                  <a:gd name="connsiteY19" fmla="*/ 583055 h 961469"/>
                  <a:gd name="connsiteX20" fmla="*/ 191597 w 1536435"/>
                  <a:gd name="connsiteY20" fmla="*/ 493775 h 961469"/>
                  <a:gd name="connsiteX21" fmla="*/ 139595 w 1536435"/>
                  <a:gd name="connsiteY21" fmla="*/ 326593 h 961469"/>
                  <a:gd name="connsiteX22" fmla="*/ 112382 w 1536435"/>
                  <a:gd name="connsiteY22" fmla="*/ 270642 h 961469"/>
                  <a:gd name="connsiteX23" fmla="*/ 208326 w 1536435"/>
                  <a:gd name="connsiteY23" fmla="*/ 153059 h 961469"/>
                  <a:gd name="connsiteX24" fmla="*/ 504419 w 1536435"/>
                  <a:gd name="connsiteY24" fmla="*/ 114489 h 961469"/>
                  <a:gd name="connsiteX25" fmla="*/ 782818 w 1536435"/>
                  <a:gd name="connsiteY25" fmla="*/ 60867 h 961469"/>
                  <a:gd name="connsiteX26" fmla="*/ 801858 w 1536435"/>
                  <a:gd name="connsiteY26" fmla="*/ 58811 h 961469"/>
                  <a:gd name="connsiteX27" fmla="*/ 813832 w 1536435"/>
                  <a:gd name="connsiteY27" fmla="*/ 60104 h 961469"/>
                  <a:gd name="connsiteX28" fmla="*/ 919274 w 1536435"/>
                  <a:gd name="connsiteY28" fmla="*/ 1335 h 961469"/>
                  <a:gd name="connsiteX29" fmla="*/ 1035693 w 1536435"/>
                  <a:gd name="connsiteY29" fmla="*/ 28632 h 961469"/>
                  <a:gd name="connsiteX30" fmla="*/ 1051884 w 1536435"/>
                  <a:gd name="connsiteY30" fmla="*/ 26883 h 961469"/>
                  <a:gd name="connsiteX31" fmla="*/ 1090126 w 1536435"/>
                  <a:gd name="connsiteY31" fmla="*/ 31551 h 961469"/>
                  <a:gd name="connsiteX0" fmla="*/ 1090126 w 1536435"/>
                  <a:gd name="connsiteY0" fmla="*/ 31551 h 961469"/>
                  <a:gd name="connsiteX1" fmla="*/ 1252922 w 1536435"/>
                  <a:gd name="connsiteY1" fmla="*/ 54208 h 961469"/>
                  <a:gd name="connsiteX2" fmla="*/ 1344489 w 1536435"/>
                  <a:gd name="connsiteY2" fmla="*/ 165702 h 961469"/>
                  <a:gd name="connsiteX3" fmla="*/ 1453601 w 1536435"/>
                  <a:gd name="connsiteY3" fmla="*/ 222382 h 961469"/>
                  <a:gd name="connsiteX4" fmla="*/ 1451769 w 1536435"/>
                  <a:gd name="connsiteY4" fmla="*/ 317057 h 961469"/>
                  <a:gd name="connsiteX5" fmla="*/ 1536435 w 1536435"/>
                  <a:gd name="connsiteY5" fmla="*/ 410731 h 961469"/>
                  <a:gd name="connsiteX6" fmla="*/ 1476118 w 1536435"/>
                  <a:gd name="connsiteY6" fmla="*/ 477833 h 961469"/>
                  <a:gd name="connsiteX7" fmla="*/ 1498592 w 1536435"/>
                  <a:gd name="connsiteY7" fmla="*/ 554228 h 961469"/>
                  <a:gd name="connsiteX8" fmla="*/ 1489925 w 1536435"/>
                  <a:gd name="connsiteY8" fmla="*/ 658996 h 961469"/>
                  <a:gd name="connsiteX9" fmla="*/ 1295415 w 1536435"/>
                  <a:gd name="connsiteY9" fmla="*/ 777650 h 961469"/>
                  <a:gd name="connsiteX10" fmla="*/ 1260017 w 1536435"/>
                  <a:gd name="connsiteY10" fmla="*/ 813478 h 961469"/>
                  <a:gd name="connsiteX11" fmla="*/ 1076489 w 1536435"/>
                  <a:gd name="connsiteY11" fmla="*/ 850881 h 961469"/>
                  <a:gd name="connsiteX12" fmla="*/ 1001576 w 1536435"/>
                  <a:gd name="connsiteY12" fmla="*/ 869956 h 961469"/>
                  <a:gd name="connsiteX13" fmla="*/ 997720 w 1536435"/>
                  <a:gd name="connsiteY13" fmla="*/ 869540 h 961469"/>
                  <a:gd name="connsiteX14" fmla="*/ 838578 w 1536435"/>
                  <a:gd name="connsiteY14" fmla="*/ 953338 h 961469"/>
                  <a:gd name="connsiteX15" fmla="*/ 591908 w 1536435"/>
                  <a:gd name="connsiteY15" fmla="*/ 885133 h 961469"/>
                  <a:gd name="connsiteX16" fmla="*/ 591639 w 1536435"/>
                  <a:gd name="connsiteY16" fmla="*/ 885162 h 961469"/>
                  <a:gd name="connsiteX17" fmla="*/ 211219 w 1536435"/>
                  <a:gd name="connsiteY17" fmla="*/ 821440 h 961469"/>
                  <a:gd name="connsiteX18" fmla="*/ 48905 w 1536435"/>
                  <a:gd name="connsiteY18" fmla="*/ 703740 h 961469"/>
                  <a:gd name="connsiteX19" fmla="*/ 15330 w 1536435"/>
                  <a:gd name="connsiteY19" fmla="*/ 583055 h 961469"/>
                  <a:gd name="connsiteX20" fmla="*/ 191597 w 1536435"/>
                  <a:gd name="connsiteY20" fmla="*/ 493775 h 961469"/>
                  <a:gd name="connsiteX21" fmla="*/ 139595 w 1536435"/>
                  <a:gd name="connsiteY21" fmla="*/ 326593 h 961469"/>
                  <a:gd name="connsiteX22" fmla="*/ 112382 w 1536435"/>
                  <a:gd name="connsiteY22" fmla="*/ 270642 h 961469"/>
                  <a:gd name="connsiteX23" fmla="*/ 208326 w 1536435"/>
                  <a:gd name="connsiteY23" fmla="*/ 153059 h 961469"/>
                  <a:gd name="connsiteX24" fmla="*/ 504419 w 1536435"/>
                  <a:gd name="connsiteY24" fmla="*/ 114489 h 961469"/>
                  <a:gd name="connsiteX25" fmla="*/ 782818 w 1536435"/>
                  <a:gd name="connsiteY25" fmla="*/ 60867 h 961469"/>
                  <a:gd name="connsiteX26" fmla="*/ 801858 w 1536435"/>
                  <a:gd name="connsiteY26" fmla="*/ 58811 h 961469"/>
                  <a:gd name="connsiteX27" fmla="*/ 813832 w 1536435"/>
                  <a:gd name="connsiteY27" fmla="*/ 60104 h 961469"/>
                  <a:gd name="connsiteX28" fmla="*/ 919274 w 1536435"/>
                  <a:gd name="connsiteY28" fmla="*/ 1335 h 961469"/>
                  <a:gd name="connsiteX29" fmla="*/ 1035693 w 1536435"/>
                  <a:gd name="connsiteY29" fmla="*/ 28632 h 961469"/>
                  <a:gd name="connsiteX30" fmla="*/ 1051884 w 1536435"/>
                  <a:gd name="connsiteY30" fmla="*/ 26883 h 961469"/>
                  <a:gd name="connsiteX31" fmla="*/ 1090126 w 1536435"/>
                  <a:gd name="connsiteY31" fmla="*/ 31551 h 961469"/>
                  <a:gd name="connsiteX0" fmla="*/ 1090126 w 1536435"/>
                  <a:gd name="connsiteY0" fmla="*/ 31551 h 961469"/>
                  <a:gd name="connsiteX1" fmla="*/ 1252922 w 1536435"/>
                  <a:gd name="connsiteY1" fmla="*/ 54208 h 961469"/>
                  <a:gd name="connsiteX2" fmla="*/ 1344489 w 1536435"/>
                  <a:gd name="connsiteY2" fmla="*/ 165702 h 961469"/>
                  <a:gd name="connsiteX3" fmla="*/ 1453601 w 1536435"/>
                  <a:gd name="connsiteY3" fmla="*/ 222382 h 961469"/>
                  <a:gd name="connsiteX4" fmla="*/ 1451769 w 1536435"/>
                  <a:gd name="connsiteY4" fmla="*/ 317057 h 961469"/>
                  <a:gd name="connsiteX5" fmla="*/ 1536435 w 1536435"/>
                  <a:gd name="connsiteY5" fmla="*/ 410731 h 961469"/>
                  <a:gd name="connsiteX6" fmla="*/ 1476118 w 1536435"/>
                  <a:gd name="connsiteY6" fmla="*/ 477833 h 961469"/>
                  <a:gd name="connsiteX7" fmla="*/ 1498592 w 1536435"/>
                  <a:gd name="connsiteY7" fmla="*/ 554228 h 961469"/>
                  <a:gd name="connsiteX8" fmla="*/ 1489925 w 1536435"/>
                  <a:gd name="connsiteY8" fmla="*/ 658996 h 961469"/>
                  <a:gd name="connsiteX9" fmla="*/ 1295415 w 1536435"/>
                  <a:gd name="connsiteY9" fmla="*/ 777650 h 961469"/>
                  <a:gd name="connsiteX10" fmla="*/ 1260017 w 1536435"/>
                  <a:gd name="connsiteY10" fmla="*/ 813478 h 961469"/>
                  <a:gd name="connsiteX11" fmla="*/ 1076489 w 1536435"/>
                  <a:gd name="connsiteY11" fmla="*/ 850881 h 961469"/>
                  <a:gd name="connsiteX12" fmla="*/ 1001576 w 1536435"/>
                  <a:gd name="connsiteY12" fmla="*/ 869956 h 961469"/>
                  <a:gd name="connsiteX13" fmla="*/ 997720 w 1536435"/>
                  <a:gd name="connsiteY13" fmla="*/ 869540 h 961469"/>
                  <a:gd name="connsiteX14" fmla="*/ 838578 w 1536435"/>
                  <a:gd name="connsiteY14" fmla="*/ 953338 h 961469"/>
                  <a:gd name="connsiteX15" fmla="*/ 591908 w 1536435"/>
                  <a:gd name="connsiteY15" fmla="*/ 885133 h 961469"/>
                  <a:gd name="connsiteX16" fmla="*/ 591639 w 1536435"/>
                  <a:gd name="connsiteY16" fmla="*/ 885162 h 961469"/>
                  <a:gd name="connsiteX17" fmla="*/ 211219 w 1536435"/>
                  <a:gd name="connsiteY17" fmla="*/ 821440 h 961469"/>
                  <a:gd name="connsiteX18" fmla="*/ 48905 w 1536435"/>
                  <a:gd name="connsiteY18" fmla="*/ 703740 h 961469"/>
                  <a:gd name="connsiteX19" fmla="*/ 15330 w 1536435"/>
                  <a:gd name="connsiteY19" fmla="*/ 583055 h 961469"/>
                  <a:gd name="connsiteX20" fmla="*/ 191597 w 1536435"/>
                  <a:gd name="connsiteY20" fmla="*/ 493775 h 961469"/>
                  <a:gd name="connsiteX21" fmla="*/ 139595 w 1536435"/>
                  <a:gd name="connsiteY21" fmla="*/ 326593 h 961469"/>
                  <a:gd name="connsiteX22" fmla="*/ 112382 w 1536435"/>
                  <a:gd name="connsiteY22" fmla="*/ 270642 h 961469"/>
                  <a:gd name="connsiteX23" fmla="*/ 208326 w 1536435"/>
                  <a:gd name="connsiteY23" fmla="*/ 153059 h 961469"/>
                  <a:gd name="connsiteX24" fmla="*/ 504419 w 1536435"/>
                  <a:gd name="connsiteY24" fmla="*/ 114489 h 961469"/>
                  <a:gd name="connsiteX25" fmla="*/ 782818 w 1536435"/>
                  <a:gd name="connsiteY25" fmla="*/ 60867 h 961469"/>
                  <a:gd name="connsiteX26" fmla="*/ 801858 w 1536435"/>
                  <a:gd name="connsiteY26" fmla="*/ 58811 h 961469"/>
                  <a:gd name="connsiteX27" fmla="*/ 813832 w 1536435"/>
                  <a:gd name="connsiteY27" fmla="*/ 60104 h 961469"/>
                  <a:gd name="connsiteX28" fmla="*/ 919274 w 1536435"/>
                  <a:gd name="connsiteY28" fmla="*/ 1335 h 961469"/>
                  <a:gd name="connsiteX29" fmla="*/ 1035693 w 1536435"/>
                  <a:gd name="connsiteY29" fmla="*/ 28632 h 961469"/>
                  <a:gd name="connsiteX30" fmla="*/ 1051884 w 1536435"/>
                  <a:gd name="connsiteY30" fmla="*/ 26883 h 961469"/>
                  <a:gd name="connsiteX31" fmla="*/ 1090126 w 1536435"/>
                  <a:gd name="connsiteY31" fmla="*/ 31551 h 96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36435" h="961469">
                    <a:moveTo>
                      <a:pt x="1090126" y="31551"/>
                    </a:moveTo>
                    <a:cubicBezTo>
                      <a:pt x="1137468" y="38198"/>
                      <a:pt x="1197592" y="34707"/>
                      <a:pt x="1252922" y="54208"/>
                    </a:cubicBezTo>
                    <a:cubicBezTo>
                      <a:pt x="1290409" y="69355"/>
                      <a:pt x="1327004" y="127729"/>
                      <a:pt x="1344489" y="165702"/>
                    </a:cubicBezTo>
                    <a:cubicBezTo>
                      <a:pt x="1377533" y="184696"/>
                      <a:pt x="1435721" y="197156"/>
                      <a:pt x="1453601" y="222382"/>
                    </a:cubicBezTo>
                    <a:cubicBezTo>
                      <a:pt x="1471481" y="247608"/>
                      <a:pt x="1456559" y="294024"/>
                      <a:pt x="1451769" y="317057"/>
                    </a:cubicBezTo>
                    <a:cubicBezTo>
                      <a:pt x="1476161" y="346852"/>
                      <a:pt x="1536435" y="368445"/>
                      <a:pt x="1536435" y="410731"/>
                    </a:cubicBezTo>
                    <a:cubicBezTo>
                      <a:pt x="1530335" y="453894"/>
                      <a:pt x="1496224" y="455466"/>
                      <a:pt x="1476118" y="477833"/>
                    </a:cubicBezTo>
                    <a:cubicBezTo>
                      <a:pt x="1482892" y="507032"/>
                      <a:pt x="1496291" y="524034"/>
                      <a:pt x="1498592" y="554228"/>
                    </a:cubicBezTo>
                    <a:cubicBezTo>
                      <a:pt x="1500893" y="584422"/>
                      <a:pt x="1536350" y="632667"/>
                      <a:pt x="1489925" y="658996"/>
                    </a:cubicBezTo>
                    <a:cubicBezTo>
                      <a:pt x="1474262" y="730127"/>
                      <a:pt x="1364020" y="766384"/>
                      <a:pt x="1295415" y="777650"/>
                    </a:cubicBezTo>
                    <a:cubicBezTo>
                      <a:pt x="1286000" y="791145"/>
                      <a:pt x="1273917" y="803047"/>
                      <a:pt x="1260017" y="813478"/>
                    </a:cubicBezTo>
                    <a:cubicBezTo>
                      <a:pt x="1208575" y="852086"/>
                      <a:pt x="1139782" y="865161"/>
                      <a:pt x="1076489" y="850881"/>
                    </a:cubicBezTo>
                    <a:cubicBezTo>
                      <a:pt x="1054140" y="863519"/>
                      <a:pt x="1028560" y="869956"/>
                      <a:pt x="1001576" y="869956"/>
                    </a:cubicBezTo>
                    <a:lnTo>
                      <a:pt x="997720" y="869540"/>
                    </a:lnTo>
                    <a:cubicBezTo>
                      <a:pt x="966722" y="920808"/>
                      <a:pt x="904384" y="939550"/>
                      <a:pt x="838578" y="953338"/>
                    </a:cubicBezTo>
                    <a:cubicBezTo>
                      <a:pt x="741534" y="973669"/>
                      <a:pt x="647404" y="957644"/>
                      <a:pt x="591908" y="885133"/>
                    </a:cubicBezTo>
                    <a:lnTo>
                      <a:pt x="591639" y="885162"/>
                    </a:lnTo>
                    <a:cubicBezTo>
                      <a:pt x="460691" y="953897"/>
                      <a:pt x="287199" y="937363"/>
                      <a:pt x="211219" y="821440"/>
                    </a:cubicBezTo>
                    <a:cubicBezTo>
                      <a:pt x="136542" y="829063"/>
                      <a:pt x="81553" y="743471"/>
                      <a:pt x="48905" y="703740"/>
                    </a:cubicBezTo>
                    <a:cubicBezTo>
                      <a:pt x="16257" y="664009"/>
                      <a:pt x="-21867" y="617575"/>
                      <a:pt x="15330" y="583055"/>
                    </a:cubicBezTo>
                    <a:cubicBezTo>
                      <a:pt x="-37445" y="555976"/>
                      <a:pt x="170886" y="536519"/>
                      <a:pt x="191597" y="493775"/>
                    </a:cubicBezTo>
                    <a:cubicBezTo>
                      <a:pt x="212308" y="451031"/>
                      <a:pt x="71353" y="334488"/>
                      <a:pt x="139595" y="326593"/>
                    </a:cubicBezTo>
                    <a:lnTo>
                      <a:pt x="112382" y="270642"/>
                    </a:lnTo>
                    <a:cubicBezTo>
                      <a:pt x="104847" y="211800"/>
                      <a:pt x="142987" y="179084"/>
                      <a:pt x="208326" y="153059"/>
                    </a:cubicBezTo>
                    <a:cubicBezTo>
                      <a:pt x="273665" y="127034"/>
                      <a:pt x="407594" y="65060"/>
                      <a:pt x="504419" y="114489"/>
                    </a:cubicBezTo>
                    <a:cubicBezTo>
                      <a:pt x="559428" y="24093"/>
                      <a:pt x="692880" y="454"/>
                      <a:pt x="782818" y="60867"/>
                    </a:cubicBezTo>
                    <a:cubicBezTo>
                      <a:pt x="788998" y="59181"/>
                      <a:pt x="795388" y="58811"/>
                      <a:pt x="801858" y="58811"/>
                    </a:cubicBezTo>
                    <a:lnTo>
                      <a:pt x="813832" y="60104"/>
                    </a:lnTo>
                    <a:cubicBezTo>
                      <a:pt x="837188" y="28032"/>
                      <a:pt x="875702" y="6715"/>
                      <a:pt x="919274" y="1335"/>
                    </a:cubicBezTo>
                    <a:cubicBezTo>
                      <a:pt x="961272" y="-3859"/>
                      <a:pt x="1003230" y="6295"/>
                      <a:pt x="1035693" y="28632"/>
                    </a:cubicBezTo>
                    <a:cubicBezTo>
                      <a:pt x="1040963" y="27149"/>
                      <a:pt x="1046394" y="26883"/>
                      <a:pt x="1051884" y="26883"/>
                    </a:cubicBezTo>
                    <a:cubicBezTo>
                      <a:pt x="1065032" y="26883"/>
                      <a:pt x="1077847" y="28411"/>
                      <a:pt x="1090126" y="31551"/>
                    </a:cubicBez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20" name="Freeform 819"/>
              <p:cNvSpPr/>
              <p:nvPr/>
            </p:nvSpPr>
            <p:spPr bwMode="gray">
              <a:xfrm flipH="1">
                <a:off x="10280220" y="3855491"/>
                <a:ext cx="404155" cy="716895"/>
              </a:xfrm>
              <a:custGeom>
                <a:avLst/>
                <a:gdLst>
                  <a:gd name="connsiteX0" fmla="*/ 457200 w 906780"/>
                  <a:gd name="connsiteY0" fmla="*/ 1546860 h 1546860"/>
                  <a:gd name="connsiteX1" fmla="*/ 541020 w 906780"/>
                  <a:gd name="connsiteY1" fmla="*/ 115062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620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784860 w 906780"/>
                  <a:gd name="connsiteY28" fmla="*/ 670560 h 1546860"/>
                  <a:gd name="connsiteX29" fmla="*/ 746760 w 906780"/>
                  <a:gd name="connsiteY29" fmla="*/ 662940 h 1546860"/>
                  <a:gd name="connsiteX30" fmla="*/ 632460 w 906780"/>
                  <a:gd name="connsiteY30" fmla="*/ 845820 h 1546860"/>
                  <a:gd name="connsiteX31" fmla="*/ 640080 w 906780"/>
                  <a:gd name="connsiteY31" fmla="*/ 1188720 h 1546860"/>
                  <a:gd name="connsiteX32" fmla="*/ 640080 w 906780"/>
                  <a:gd name="connsiteY32" fmla="*/ 1546860 h 1546860"/>
                  <a:gd name="connsiteX33" fmla="*/ 457200 w 906780"/>
                  <a:gd name="connsiteY33" fmla="*/ 1546860 h 1546860"/>
                  <a:gd name="connsiteX0" fmla="*/ 457200 w 906780"/>
                  <a:gd name="connsiteY0" fmla="*/ 1546860 h 1546860"/>
                  <a:gd name="connsiteX1" fmla="*/ 515620 w 906780"/>
                  <a:gd name="connsiteY1" fmla="*/ 114554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620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784860 w 906780"/>
                  <a:gd name="connsiteY28" fmla="*/ 670560 h 1546860"/>
                  <a:gd name="connsiteX29" fmla="*/ 746760 w 906780"/>
                  <a:gd name="connsiteY29" fmla="*/ 662940 h 1546860"/>
                  <a:gd name="connsiteX30" fmla="*/ 632460 w 906780"/>
                  <a:gd name="connsiteY30" fmla="*/ 845820 h 1546860"/>
                  <a:gd name="connsiteX31" fmla="*/ 640080 w 906780"/>
                  <a:gd name="connsiteY31" fmla="*/ 1188720 h 1546860"/>
                  <a:gd name="connsiteX32" fmla="*/ 640080 w 906780"/>
                  <a:gd name="connsiteY32" fmla="*/ 1546860 h 1546860"/>
                  <a:gd name="connsiteX33" fmla="*/ 457200 w 906780"/>
                  <a:gd name="connsiteY33" fmla="*/ 1546860 h 1546860"/>
                  <a:gd name="connsiteX0" fmla="*/ 457200 w 906780"/>
                  <a:gd name="connsiteY0" fmla="*/ 1546860 h 1546860"/>
                  <a:gd name="connsiteX1" fmla="*/ 515620 w 906780"/>
                  <a:gd name="connsiteY1" fmla="*/ 114554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366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784860 w 906780"/>
                  <a:gd name="connsiteY28" fmla="*/ 670560 h 1546860"/>
                  <a:gd name="connsiteX29" fmla="*/ 746760 w 906780"/>
                  <a:gd name="connsiteY29" fmla="*/ 662940 h 1546860"/>
                  <a:gd name="connsiteX30" fmla="*/ 632460 w 906780"/>
                  <a:gd name="connsiteY30" fmla="*/ 845820 h 1546860"/>
                  <a:gd name="connsiteX31" fmla="*/ 640080 w 906780"/>
                  <a:gd name="connsiteY31" fmla="*/ 1188720 h 1546860"/>
                  <a:gd name="connsiteX32" fmla="*/ 640080 w 906780"/>
                  <a:gd name="connsiteY32" fmla="*/ 1546860 h 1546860"/>
                  <a:gd name="connsiteX33" fmla="*/ 457200 w 906780"/>
                  <a:gd name="connsiteY33" fmla="*/ 1546860 h 1546860"/>
                  <a:gd name="connsiteX0" fmla="*/ 457200 w 906780"/>
                  <a:gd name="connsiteY0" fmla="*/ 1546860 h 1546860"/>
                  <a:gd name="connsiteX1" fmla="*/ 515620 w 906780"/>
                  <a:gd name="connsiteY1" fmla="*/ 114554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366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746760 w 906780"/>
                  <a:gd name="connsiteY28" fmla="*/ 662940 h 1546860"/>
                  <a:gd name="connsiteX29" fmla="*/ 632460 w 906780"/>
                  <a:gd name="connsiteY29" fmla="*/ 845820 h 1546860"/>
                  <a:gd name="connsiteX30" fmla="*/ 640080 w 906780"/>
                  <a:gd name="connsiteY30" fmla="*/ 1188720 h 1546860"/>
                  <a:gd name="connsiteX31" fmla="*/ 640080 w 906780"/>
                  <a:gd name="connsiteY31" fmla="*/ 1546860 h 1546860"/>
                  <a:gd name="connsiteX32" fmla="*/ 457200 w 906780"/>
                  <a:gd name="connsiteY32" fmla="*/ 1546860 h 1546860"/>
                  <a:gd name="connsiteX0" fmla="*/ 457200 w 906780"/>
                  <a:gd name="connsiteY0" fmla="*/ 1546860 h 1546860"/>
                  <a:gd name="connsiteX1" fmla="*/ 515620 w 906780"/>
                  <a:gd name="connsiteY1" fmla="*/ 114554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366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850900 w 906780"/>
                  <a:gd name="connsiteY28" fmla="*/ 614680 h 1546860"/>
                  <a:gd name="connsiteX29" fmla="*/ 746760 w 906780"/>
                  <a:gd name="connsiteY29" fmla="*/ 662940 h 1546860"/>
                  <a:gd name="connsiteX30" fmla="*/ 632460 w 906780"/>
                  <a:gd name="connsiteY30" fmla="*/ 845820 h 1546860"/>
                  <a:gd name="connsiteX31" fmla="*/ 640080 w 906780"/>
                  <a:gd name="connsiteY31" fmla="*/ 1188720 h 1546860"/>
                  <a:gd name="connsiteX32" fmla="*/ 640080 w 906780"/>
                  <a:gd name="connsiteY32" fmla="*/ 1546860 h 1546860"/>
                  <a:gd name="connsiteX33" fmla="*/ 457200 w 906780"/>
                  <a:gd name="connsiteY33" fmla="*/ 1546860 h 1546860"/>
                  <a:gd name="connsiteX0" fmla="*/ 457200 w 1003300"/>
                  <a:gd name="connsiteY0" fmla="*/ 1546860 h 1546860"/>
                  <a:gd name="connsiteX1" fmla="*/ 515620 w 1003300"/>
                  <a:gd name="connsiteY1" fmla="*/ 1145540 h 1546860"/>
                  <a:gd name="connsiteX2" fmla="*/ 541020 w 1003300"/>
                  <a:gd name="connsiteY2" fmla="*/ 861060 h 1546860"/>
                  <a:gd name="connsiteX3" fmla="*/ 533400 w 1003300"/>
                  <a:gd name="connsiteY3" fmla="*/ 624840 h 1546860"/>
                  <a:gd name="connsiteX4" fmla="*/ 266700 w 1003300"/>
                  <a:gd name="connsiteY4" fmla="*/ 472440 h 1546860"/>
                  <a:gd name="connsiteX5" fmla="*/ 190500 w 1003300"/>
                  <a:gd name="connsiteY5" fmla="*/ 342900 h 1546860"/>
                  <a:gd name="connsiteX6" fmla="*/ 0 w 1003300"/>
                  <a:gd name="connsiteY6" fmla="*/ 243840 h 1546860"/>
                  <a:gd name="connsiteX7" fmla="*/ 190500 w 1003300"/>
                  <a:gd name="connsiteY7" fmla="*/ 304800 h 1546860"/>
                  <a:gd name="connsiteX8" fmla="*/ 182880 w 1003300"/>
                  <a:gd name="connsiteY8" fmla="*/ 129540 h 1546860"/>
                  <a:gd name="connsiteX9" fmla="*/ 205740 w 1003300"/>
                  <a:gd name="connsiteY9" fmla="*/ 327660 h 1546860"/>
                  <a:gd name="connsiteX10" fmla="*/ 297180 w 1003300"/>
                  <a:gd name="connsiteY10" fmla="*/ 434340 h 1546860"/>
                  <a:gd name="connsiteX11" fmla="*/ 525780 w 1003300"/>
                  <a:gd name="connsiteY11" fmla="*/ 548640 h 1546860"/>
                  <a:gd name="connsiteX12" fmla="*/ 563880 w 1003300"/>
                  <a:gd name="connsiteY12" fmla="*/ 327660 h 1546860"/>
                  <a:gd name="connsiteX13" fmla="*/ 449580 w 1003300"/>
                  <a:gd name="connsiteY13" fmla="*/ 53340 h 1546860"/>
                  <a:gd name="connsiteX14" fmla="*/ 365760 w 1003300"/>
                  <a:gd name="connsiteY14" fmla="*/ 0 h 1546860"/>
                  <a:gd name="connsiteX15" fmla="*/ 419100 w 1003300"/>
                  <a:gd name="connsiteY15" fmla="*/ 0 h 1546860"/>
                  <a:gd name="connsiteX16" fmla="*/ 495300 w 1003300"/>
                  <a:gd name="connsiteY16" fmla="*/ 60960 h 1546860"/>
                  <a:gd name="connsiteX17" fmla="*/ 594360 w 1003300"/>
                  <a:gd name="connsiteY17" fmla="*/ 304800 h 1546860"/>
                  <a:gd name="connsiteX18" fmla="*/ 723900 w 1003300"/>
                  <a:gd name="connsiteY18" fmla="*/ 60960 h 1546860"/>
                  <a:gd name="connsiteX19" fmla="*/ 739140 w 1003300"/>
                  <a:gd name="connsiteY19" fmla="*/ 121920 h 1546860"/>
                  <a:gd name="connsiteX20" fmla="*/ 632460 w 1003300"/>
                  <a:gd name="connsiteY20" fmla="*/ 342900 h 1546860"/>
                  <a:gd name="connsiteX21" fmla="*/ 594360 w 1003300"/>
                  <a:gd name="connsiteY21" fmla="*/ 533400 h 1546860"/>
                  <a:gd name="connsiteX22" fmla="*/ 609600 w 1003300"/>
                  <a:gd name="connsiteY22" fmla="*/ 736600 h 1546860"/>
                  <a:gd name="connsiteX23" fmla="*/ 838200 w 1003300"/>
                  <a:gd name="connsiteY23" fmla="*/ 457200 h 1546860"/>
                  <a:gd name="connsiteX24" fmla="*/ 868680 w 1003300"/>
                  <a:gd name="connsiteY24" fmla="*/ 495300 h 1546860"/>
                  <a:gd name="connsiteX25" fmla="*/ 792480 w 1003300"/>
                  <a:gd name="connsiteY25" fmla="*/ 609600 h 1546860"/>
                  <a:gd name="connsiteX26" fmla="*/ 906780 w 1003300"/>
                  <a:gd name="connsiteY26" fmla="*/ 579120 h 1546860"/>
                  <a:gd name="connsiteX27" fmla="*/ 906780 w 1003300"/>
                  <a:gd name="connsiteY27" fmla="*/ 579120 h 1546860"/>
                  <a:gd name="connsiteX28" fmla="*/ 1003300 w 1003300"/>
                  <a:gd name="connsiteY28" fmla="*/ 604520 h 1546860"/>
                  <a:gd name="connsiteX29" fmla="*/ 746760 w 1003300"/>
                  <a:gd name="connsiteY29" fmla="*/ 662940 h 1546860"/>
                  <a:gd name="connsiteX30" fmla="*/ 632460 w 1003300"/>
                  <a:gd name="connsiteY30" fmla="*/ 845820 h 1546860"/>
                  <a:gd name="connsiteX31" fmla="*/ 640080 w 1003300"/>
                  <a:gd name="connsiteY31" fmla="*/ 1188720 h 1546860"/>
                  <a:gd name="connsiteX32" fmla="*/ 640080 w 1003300"/>
                  <a:gd name="connsiteY32" fmla="*/ 1546860 h 1546860"/>
                  <a:gd name="connsiteX33" fmla="*/ 457200 w 1003300"/>
                  <a:gd name="connsiteY33" fmla="*/ 1546860 h 1546860"/>
                  <a:gd name="connsiteX0" fmla="*/ 457200 w 1003300"/>
                  <a:gd name="connsiteY0" fmla="*/ 1546860 h 1546860"/>
                  <a:gd name="connsiteX1" fmla="*/ 515620 w 1003300"/>
                  <a:gd name="connsiteY1" fmla="*/ 1145540 h 1546860"/>
                  <a:gd name="connsiteX2" fmla="*/ 541020 w 1003300"/>
                  <a:gd name="connsiteY2" fmla="*/ 861060 h 1546860"/>
                  <a:gd name="connsiteX3" fmla="*/ 533400 w 1003300"/>
                  <a:gd name="connsiteY3" fmla="*/ 624840 h 1546860"/>
                  <a:gd name="connsiteX4" fmla="*/ 266700 w 1003300"/>
                  <a:gd name="connsiteY4" fmla="*/ 472440 h 1546860"/>
                  <a:gd name="connsiteX5" fmla="*/ 190500 w 1003300"/>
                  <a:gd name="connsiteY5" fmla="*/ 342900 h 1546860"/>
                  <a:gd name="connsiteX6" fmla="*/ 0 w 1003300"/>
                  <a:gd name="connsiteY6" fmla="*/ 243840 h 1546860"/>
                  <a:gd name="connsiteX7" fmla="*/ 190500 w 1003300"/>
                  <a:gd name="connsiteY7" fmla="*/ 304800 h 1546860"/>
                  <a:gd name="connsiteX8" fmla="*/ 182880 w 1003300"/>
                  <a:gd name="connsiteY8" fmla="*/ 129540 h 1546860"/>
                  <a:gd name="connsiteX9" fmla="*/ 205740 w 1003300"/>
                  <a:gd name="connsiteY9" fmla="*/ 327660 h 1546860"/>
                  <a:gd name="connsiteX10" fmla="*/ 297180 w 1003300"/>
                  <a:gd name="connsiteY10" fmla="*/ 434340 h 1546860"/>
                  <a:gd name="connsiteX11" fmla="*/ 525780 w 1003300"/>
                  <a:gd name="connsiteY11" fmla="*/ 548640 h 1546860"/>
                  <a:gd name="connsiteX12" fmla="*/ 563880 w 1003300"/>
                  <a:gd name="connsiteY12" fmla="*/ 327660 h 1546860"/>
                  <a:gd name="connsiteX13" fmla="*/ 449580 w 1003300"/>
                  <a:gd name="connsiteY13" fmla="*/ 53340 h 1546860"/>
                  <a:gd name="connsiteX14" fmla="*/ 365760 w 1003300"/>
                  <a:gd name="connsiteY14" fmla="*/ 0 h 1546860"/>
                  <a:gd name="connsiteX15" fmla="*/ 419100 w 1003300"/>
                  <a:gd name="connsiteY15" fmla="*/ 0 h 1546860"/>
                  <a:gd name="connsiteX16" fmla="*/ 495300 w 1003300"/>
                  <a:gd name="connsiteY16" fmla="*/ 60960 h 1546860"/>
                  <a:gd name="connsiteX17" fmla="*/ 594360 w 1003300"/>
                  <a:gd name="connsiteY17" fmla="*/ 304800 h 1546860"/>
                  <a:gd name="connsiteX18" fmla="*/ 723900 w 1003300"/>
                  <a:gd name="connsiteY18" fmla="*/ 60960 h 1546860"/>
                  <a:gd name="connsiteX19" fmla="*/ 739140 w 1003300"/>
                  <a:gd name="connsiteY19" fmla="*/ 121920 h 1546860"/>
                  <a:gd name="connsiteX20" fmla="*/ 632460 w 1003300"/>
                  <a:gd name="connsiteY20" fmla="*/ 342900 h 1546860"/>
                  <a:gd name="connsiteX21" fmla="*/ 594360 w 1003300"/>
                  <a:gd name="connsiteY21" fmla="*/ 533400 h 1546860"/>
                  <a:gd name="connsiteX22" fmla="*/ 609600 w 1003300"/>
                  <a:gd name="connsiteY22" fmla="*/ 736600 h 1546860"/>
                  <a:gd name="connsiteX23" fmla="*/ 838200 w 1003300"/>
                  <a:gd name="connsiteY23" fmla="*/ 457200 h 1546860"/>
                  <a:gd name="connsiteX24" fmla="*/ 868680 w 1003300"/>
                  <a:gd name="connsiteY24" fmla="*/ 495300 h 1546860"/>
                  <a:gd name="connsiteX25" fmla="*/ 792480 w 1003300"/>
                  <a:gd name="connsiteY25" fmla="*/ 609600 h 1546860"/>
                  <a:gd name="connsiteX26" fmla="*/ 906780 w 1003300"/>
                  <a:gd name="connsiteY26" fmla="*/ 579120 h 1546860"/>
                  <a:gd name="connsiteX27" fmla="*/ 927100 w 1003300"/>
                  <a:gd name="connsiteY27" fmla="*/ 528320 h 1546860"/>
                  <a:gd name="connsiteX28" fmla="*/ 1003300 w 1003300"/>
                  <a:gd name="connsiteY28" fmla="*/ 604520 h 1546860"/>
                  <a:gd name="connsiteX29" fmla="*/ 746760 w 1003300"/>
                  <a:gd name="connsiteY29" fmla="*/ 662940 h 1546860"/>
                  <a:gd name="connsiteX30" fmla="*/ 632460 w 1003300"/>
                  <a:gd name="connsiteY30" fmla="*/ 845820 h 1546860"/>
                  <a:gd name="connsiteX31" fmla="*/ 640080 w 1003300"/>
                  <a:gd name="connsiteY31" fmla="*/ 1188720 h 1546860"/>
                  <a:gd name="connsiteX32" fmla="*/ 640080 w 1003300"/>
                  <a:gd name="connsiteY32" fmla="*/ 1546860 h 1546860"/>
                  <a:gd name="connsiteX33" fmla="*/ 457200 w 1003300"/>
                  <a:gd name="connsiteY33" fmla="*/ 1546860 h 1546860"/>
                  <a:gd name="connsiteX0" fmla="*/ 457200 w 982980"/>
                  <a:gd name="connsiteY0" fmla="*/ 1546860 h 1546860"/>
                  <a:gd name="connsiteX1" fmla="*/ 515620 w 982980"/>
                  <a:gd name="connsiteY1" fmla="*/ 1145540 h 1546860"/>
                  <a:gd name="connsiteX2" fmla="*/ 541020 w 982980"/>
                  <a:gd name="connsiteY2" fmla="*/ 861060 h 1546860"/>
                  <a:gd name="connsiteX3" fmla="*/ 533400 w 982980"/>
                  <a:gd name="connsiteY3" fmla="*/ 624840 h 1546860"/>
                  <a:gd name="connsiteX4" fmla="*/ 266700 w 982980"/>
                  <a:gd name="connsiteY4" fmla="*/ 472440 h 1546860"/>
                  <a:gd name="connsiteX5" fmla="*/ 190500 w 982980"/>
                  <a:gd name="connsiteY5" fmla="*/ 342900 h 1546860"/>
                  <a:gd name="connsiteX6" fmla="*/ 0 w 982980"/>
                  <a:gd name="connsiteY6" fmla="*/ 243840 h 1546860"/>
                  <a:gd name="connsiteX7" fmla="*/ 190500 w 982980"/>
                  <a:gd name="connsiteY7" fmla="*/ 304800 h 1546860"/>
                  <a:gd name="connsiteX8" fmla="*/ 182880 w 982980"/>
                  <a:gd name="connsiteY8" fmla="*/ 129540 h 1546860"/>
                  <a:gd name="connsiteX9" fmla="*/ 205740 w 982980"/>
                  <a:gd name="connsiteY9" fmla="*/ 327660 h 1546860"/>
                  <a:gd name="connsiteX10" fmla="*/ 297180 w 982980"/>
                  <a:gd name="connsiteY10" fmla="*/ 434340 h 1546860"/>
                  <a:gd name="connsiteX11" fmla="*/ 525780 w 982980"/>
                  <a:gd name="connsiteY11" fmla="*/ 548640 h 1546860"/>
                  <a:gd name="connsiteX12" fmla="*/ 563880 w 982980"/>
                  <a:gd name="connsiteY12" fmla="*/ 327660 h 1546860"/>
                  <a:gd name="connsiteX13" fmla="*/ 449580 w 982980"/>
                  <a:gd name="connsiteY13" fmla="*/ 53340 h 1546860"/>
                  <a:gd name="connsiteX14" fmla="*/ 365760 w 982980"/>
                  <a:gd name="connsiteY14" fmla="*/ 0 h 1546860"/>
                  <a:gd name="connsiteX15" fmla="*/ 419100 w 982980"/>
                  <a:gd name="connsiteY15" fmla="*/ 0 h 1546860"/>
                  <a:gd name="connsiteX16" fmla="*/ 495300 w 982980"/>
                  <a:gd name="connsiteY16" fmla="*/ 60960 h 1546860"/>
                  <a:gd name="connsiteX17" fmla="*/ 594360 w 982980"/>
                  <a:gd name="connsiteY17" fmla="*/ 304800 h 1546860"/>
                  <a:gd name="connsiteX18" fmla="*/ 723900 w 982980"/>
                  <a:gd name="connsiteY18" fmla="*/ 60960 h 1546860"/>
                  <a:gd name="connsiteX19" fmla="*/ 739140 w 982980"/>
                  <a:gd name="connsiteY19" fmla="*/ 121920 h 1546860"/>
                  <a:gd name="connsiteX20" fmla="*/ 632460 w 982980"/>
                  <a:gd name="connsiteY20" fmla="*/ 342900 h 1546860"/>
                  <a:gd name="connsiteX21" fmla="*/ 594360 w 982980"/>
                  <a:gd name="connsiteY21" fmla="*/ 533400 h 1546860"/>
                  <a:gd name="connsiteX22" fmla="*/ 609600 w 982980"/>
                  <a:gd name="connsiteY22" fmla="*/ 736600 h 1546860"/>
                  <a:gd name="connsiteX23" fmla="*/ 838200 w 982980"/>
                  <a:gd name="connsiteY23" fmla="*/ 457200 h 1546860"/>
                  <a:gd name="connsiteX24" fmla="*/ 868680 w 982980"/>
                  <a:gd name="connsiteY24" fmla="*/ 495300 h 1546860"/>
                  <a:gd name="connsiteX25" fmla="*/ 792480 w 982980"/>
                  <a:gd name="connsiteY25" fmla="*/ 609600 h 1546860"/>
                  <a:gd name="connsiteX26" fmla="*/ 906780 w 982980"/>
                  <a:gd name="connsiteY26" fmla="*/ 579120 h 1546860"/>
                  <a:gd name="connsiteX27" fmla="*/ 927100 w 982980"/>
                  <a:gd name="connsiteY27" fmla="*/ 528320 h 1546860"/>
                  <a:gd name="connsiteX28" fmla="*/ 982980 w 982980"/>
                  <a:gd name="connsiteY28" fmla="*/ 589280 h 1546860"/>
                  <a:gd name="connsiteX29" fmla="*/ 746760 w 982980"/>
                  <a:gd name="connsiteY29" fmla="*/ 662940 h 1546860"/>
                  <a:gd name="connsiteX30" fmla="*/ 632460 w 982980"/>
                  <a:gd name="connsiteY30" fmla="*/ 845820 h 1546860"/>
                  <a:gd name="connsiteX31" fmla="*/ 640080 w 982980"/>
                  <a:gd name="connsiteY31" fmla="*/ 1188720 h 1546860"/>
                  <a:gd name="connsiteX32" fmla="*/ 640080 w 982980"/>
                  <a:gd name="connsiteY32" fmla="*/ 1546860 h 1546860"/>
                  <a:gd name="connsiteX33" fmla="*/ 457200 w 982980"/>
                  <a:gd name="connsiteY33" fmla="*/ 1546860 h 1546860"/>
                  <a:gd name="connsiteX0" fmla="*/ 457200 w 988845"/>
                  <a:gd name="connsiteY0" fmla="*/ 1546860 h 1546860"/>
                  <a:gd name="connsiteX1" fmla="*/ 515620 w 988845"/>
                  <a:gd name="connsiteY1" fmla="*/ 1145540 h 1546860"/>
                  <a:gd name="connsiteX2" fmla="*/ 541020 w 988845"/>
                  <a:gd name="connsiteY2" fmla="*/ 861060 h 1546860"/>
                  <a:gd name="connsiteX3" fmla="*/ 533400 w 988845"/>
                  <a:gd name="connsiteY3" fmla="*/ 624840 h 1546860"/>
                  <a:gd name="connsiteX4" fmla="*/ 266700 w 988845"/>
                  <a:gd name="connsiteY4" fmla="*/ 472440 h 1546860"/>
                  <a:gd name="connsiteX5" fmla="*/ 190500 w 988845"/>
                  <a:gd name="connsiteY5" fmla="*/ 342900 h 1546860"/>
                  <a:gd name="connsiteX6" fmla="*/ 0 w 988845"/>
                  <a:gd name="connsiteY6" fmla="*/ 243840 h 1546860"/>
                  <a:gd name="connsiteX7" fmla="*/ 190500 w 988845"/>
                  <a:gd name="connsiteY7" fmla="*/ 304800 h 1546860"/>
                  <a:gd name="connsiteX8" fmla="*/ 182880 w 988845"/>
                  <a:gd name="connsiteY8" fmla="*/ 129540 h 1546860"/>
                  <a:gd name="connsiteX9" fmla="*/ 205740 w 988845"/>
                  <a:gd name="connsiteY9" fmla="*/ 327660 h 1546860"/>
                  <a:gd name="connsiteX10" fmla="*/ 297180 w 988845"/>
                  <a:gd name="connsiteY10" fmla="*/ 434340 h 1546860"/>
                  <a:gd name="connsiteX11" fmla="*/ 525780 w 988845"/>
                  <a:gd name="connsiteY11" fmla="*/ 548640 h 1546860"/>
                  <a:gd name="connsiteX12" fmla="*/ 563880 w 988845"/>
                  <a:gd name="connsiteY12" fmla="*/ 327660 h 1546860"/>
                  <a:gd name="connsiteX13" fmla="*/ 449580 w 988845"/>
                  <a:gd name="connsiteY13" fmla="*/ 53340 h 1546860"/>
                  <a:gd name="connsiteX14" fmla="*/ 365760 w 988845"/>
                  <a:gd name="connsiteY14" fmla="*/ 0 h 1546860"/>
                  <a:gd name="connsiteX15" fmla="*/ 419100 w 988845"/>
                  <a:gd name="connsiteY15" fmla="*/ 0 h 1546860"/>
                  <a:gd name="connsiteX16" fmla="*/ 495300 w 988845"/>
                  <a:gd name="connsiteY16" fmla="*/ 60960 h 1546860"/>
                  <a:gd name="connsiteX17" fmla="*/ 594360 w 988845"/>
                  <a:gd name="connsiteY17" fmla="*/ 304800 h 1546860"/>
                  <a:gd name="connsiteX18" fmla="*/ 723900 w 988845"/>
                  <a:gd name="connsiteY18" fmla="*/ 60960 h 1546860"/>
                  <a:gd name="connsiteX19" fmla="*/ 739140 w 988845"/>
                  <a:gd name="connsiteY19" fmla="*/ 121920 h 1546860"/>
                  <a:gd name="connsiteX20" fmla="*/ 632460 w 988845"/>
                  <a:gd name="connsiteY20" fmla="*/ 342900 h 1546860"/>
                  <a:gd name="connsiteX21" fmla="*/ 594360 w 988845"/>
                  <a:gd name="connsiteY21" fmla="*/ 533400 h 1546860"/>
                  <a:gd name="connsiteX22" fmla="*/ 609600 w 988845"/>
                  <a:gd name="connsiteY22" fmla="*/ 736600 h 1546860"/>
                  <a:gd name="connsiteX23" fmla="*/ 838200 w 988845"/>
                  <a:gd name="connsiteY23" fmla="*/ 457200 h 1546860"/>
                  <a:gd name="connsiteX24" fmla="*/ 868680 w 988845"/>
                  <a:gd name="connsiteY24" fmla="*/ 495300 h 1546860"/>
                  <a:gd name="connsiteX25" fmla="*/ 792480 w 988845"/>
                  <a:gd name="connsiteY25" fmla="*/ 609600 h 1546860"/>
                  <a:gd name="connsiteX26" fmla="*/ 906780 w 988845"/>
                  <a:gd name="connsiteY26" fmla="*/ 579120 h 1546860"/>
                  <a:gd name="connsiteX27" fmla="*/ 982980 w 988845"/>
                  <a:gd name="connsiteY27" fmla="*/ 589280 h 1546860"/>
                  <a:gd name="connsiteX28" fmla="*/ 746760 w 988845"/>
                  <a:gd name="connsiteY28" fmla="*/ 662940 h 1546860"/>
                  <a:gd name="connsiteX29" fmla="*/ 632460 w 988845"/>
                  <a:gd name="connsiteY29" fmla="*/ 845820 h 1546860"/>
                  <a:gd name="connsiteX30" fmla="*/ 640080 w 988845"/>
                  <a:gd name="connsiteY30" fmla="*/ 1188720 h 1546860"/>
                  <a:gd name="connsiteX31" fmla="*/ 640080 w 988845"/>
                  <a:gd name="connsiteY31" fmla="*/ 1546860 h 1546860"/>
                  <a:gd name="connsiteX32" fmla="*/ 457200 w 988845"/>
                  <a:gd name="connsiteY32" fmla="*/ 1546860 h 1546860"/>
                  <a:gd name="connsiteX0" fmla="*/ 457200 w 996675"/>
                  <a:gd name="connsiteY0" fmla="*/ 1546860 h 1546860"/>
                  <a:gd name="connsiteX1" fmla="*/ 515620 w 996675"/>
                  <a:gd name="connsiteY1" fmla="*/ 1145540 h 1546860"/>
                  <a:gd name="connsiteX2" fmla="*/ 541020 w 996675"/>
                  <a:gd name="connsiteY2" fmla="*/ 861060 h 1546860"/>
                  <a:gd name="connsiteX3" fmla="*/ 533400 w 996675"/>
                  <a:gd name="connsiteY3" fmla="*/ 624840 h 1546860"/>
                  <a:gd name="connsiteX4" fmla="*/ 266700 w 996675"/>
                  <a:gd name="connsiteY4" fmla="*/ 472440 h 1546860"/>
                  <a:gd name="connsiteX5" fmla="*/ 190500 w 996675"/>
                  <a:gd name="connsiteY5" fmla="*/ 342900 h 1546860"/>
                  <a:gd name="connsiteX6" fmla="*/ 0 w 996675"/>
                  <a:gd name="connsiteY6" fmla="*/ 243840 h 1546860"/>
                  <a:gd name="connsiteX7" fmla="*/ 190500 w 996675"/>
                  <a:gd name="connsiteY7" fmla="*/ 304800 h 1546860"/>
                  <a:gd name="connsiteX8" fmla="*/ 182880 w 996675"/>
                  <a:gd name="connsiteY8" fmla="*/ 129540 h 1546860"/>
                  <a:gd name="connsiteX9" fmla="*/ 205740 w 996675"/>
                  <a:gd name="connsiteY9" fmla="*/ 327660 h 1546860"/>
                  <a:gd name="connsiteX10" fmla="*/ 297180 w 996675"/>
                  <a:gd name="connsiteY10" fmla="*/ 434340 h 1546860"/>
                  <a:gd name="connsiteX11" fmla="*/ 525780 w 996675"/>
                  <a:gd name="connsiteY11" fmla="*/ 548640 h 1546860"/>
                  <a:gd name="connsiteX12" fmla="*/ 563880 w 996675"/>
                  <a:gd name="connsiteY12" fmla="*/ 327660 h 1546860"/>
                  <a:gd name="connsiteX13" fmla="*/ 449580 w 996675"/>
                  <a:gd name="connsiteY13" fmla="*/ 53340 h 1546860"/>
                  <a:gd name="connsiteX14" fmla="*/ 365760 w 996675"/>
                  <a:gd name="connsiteY14" fmla="*/ 0 h 1546860"/>
                  <a:gd name="connsiteX15" fmla="*/ 419100 w 996675"/>
                  <a:gd name="connsiteY15" fmla="*/ 0 h 1546860"/>
                  <a:gd name="connsiteX16" fmla="*/ 495300 w 996675"/>
                  <a:gd name="connsiteY16" fmla="*/ 60960 h 1546860"/>
                  <a:gd name="connsiteX17" fmla="*/ 594360 w 996675"/>
                  <a:gd name="connsiteY17" fmla="*/ 304800 h 1546860"/>
                  <a:gd name="connsiteX18" fmla="*/ 723900 w 996675"/>
                  <a:gd name="connsiteY18" fmla="*/ 60960 h 1546860"/>
                  <a:gd name="connsiteX19" fmla="*/ 739140 w 996675"/>
                  <a:gd name="connsiteY19" fmla="*/ 121920 h 1546860"/>
                  <a:gd name="connsiteX20" fmla="*/ 632460 w 996675"/>
                  <a:gd name="connsiteY20" fmla="*/ 342900 h 1546860"/>
                  <a:gd name="connsiteX21" fmla="*/ 594360 w 996675"/>
                  <a:gd name="connsiteY21" fmla="*/ 533400 h 1546860"/>
                  <a:gd name="connsiteX22" fmla="*/ 609600 w 996675"/>
                  <a:gd name="connsiteY22" fmla="*/ 736600 h 1546860"/>
                  <a:gd name="connsiteX23" fmla="*/ 838200 w 996675"/>
                  <a:gd name="connsiteY23" fmla="*/ 457200 h 1546860"/>
                  <a:gd name="connsiteX24" fmla="*/ 868680 w 996675"/>
                  <a:gd name="connsiteY24" fmla="*/ 495300 h 1546860"/>
                  <a:gd name="connsiteX25" fmla="*/ 792480 w 996675"/>
                  <a:gd name="connsiteY25" fmla="*/ 609600 h 1546860"/>
                  <a:gd name="connsiteX26" fmla="*/ 962660 w 996675"/>
                  <a:gd name="connsiteY26" fmla="*/ 523240 h 1546860"/>
                  <a:gd name="connsiteX27" fmla="*/ 982980 w 996675"/>
                  <a:gd name="connsiteY27" fmla="*/ 589280 h 1546860"/>
                  <a:gd name="connsiteX28" fmla="*/ 746760 w 996675"/>
                  <a:gd name="connsiteY28" fmla="*/ 662940 h 1546860"/>
                  <a:gd name="connsiteX29" fmla="*/ 632460 w 996675"/>
                  <a:gd name="connsiteY29" fmla="*/ 845820 h 1546860"/>
                  <a:gd name="connsiteX30" fmla="*/ 640080 w 996675"/>
                  <a:gd name="connsiteY30" fmla="*/ 1188720 h 1546860"/>
                  <a:gd name="connsiteX31" fmla="*/ 640080 w 996675"/>
                  <a:gd name="connsiteY31" fmla="*/ 1546860 h 1546860"/>
                  <a:gd name="connsiteX32" fmla="*/ 457200 w 996675"/>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05740 w 1008838"/>
                  <a:gd name="connsiteY9" fmla="*/ 32766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97180 w 1008838"/>
                  <a:gd name="connsiteY9" fmla="*/ 434340 h 1546860"/>
                  <a:gd name="connsiteX10" fmla="*/ 525780 w 1008838"/>
                  <a:gd name="connsiteY10" fmla="*/ 548640 h 1546860"/>
                  <a:gd name="connsiteX11" fmla="*/ 563880 w 1008838"/>
                  <a:gd name="connsiteY11" fmla="*/ 327660 h 1546860"/>
                  <a:gd name="connsiteX12" fmla="*/ 449580 w 1008838"/>
                  <a:gd name="connsiteY12" fmla="*/ 53340 h 1546860"/>
                  <a:gd name="connsiteX13" fmla="*/ 365760 w 1008838"/>
                  <a:gd name="connsiteY13" fmla="*/ 0 h 1546860"/>
                  <a:gd name="connsiteX14" fmla="*/ 419100 w 1008838"/>
                  <a:gd name="connsiteY14" fmla="*/ 0 h 1546860"/>
                  <a:gd name="connsiteX15" fmla="*/ 495300 w 1008838"/>
                  <a:gd name="connsiteY15" fmla="*/ 60960 h 1546860"/>
                  <a:gd name="connsiteX16" fmla="*/ 594360 w 1008838"/>
                  <a:gd name="connsiteY16" fmla="*/ 304800 h 1546860"/>
                  <a:gd name="connsiteX17" fmla="*/ 723900 w 1008838"/>
                  <a:gd name="connsiteY17" fmla="*/ 60960 h 1546860"/>
                  <a:gd name="connsiteX18" fmla="*/ 739140 w 1008838"/>
                  <a:gd name="connsiteY18" fmla="*/ 121920 h 1546860"/>
                  <a:gd name="connsiteX19" fmla="*/ 632460 w 1008838"/>
                  <a:gd name="connsiteY19" fmla="*/ 342900 h 1546860"/>
                  <a:gd name="connsiteX20" fmla="*/ 594360 w 1008838"/>
                  <a:gd name="connsiteY20" fmla="*/ 533400 h 1546860"/>
                  <a:gd name="connsiteX21" fmla="*/ 609600 w 1008838"/>
                  <a:gd name="connsiteY21" fmla="*/ 736600 h 1546860"/>
                  <a:gd name="connsiteX22" fmla="*/ 838200 w 1008838"/>
                  <a:gd name="connsiteY22" fmla="*/ 457200 h 1546860"/>
                  <a:gd name="connsiteX23" fmla="*/ 868680 w 1008838"/>
                  <a:gd name="connsiteY23" fmla="*/ 495300 h 1546860"/>
                  <a:gd name="connsiteX24" fmla="*/ 792480 w 1008838"/>
                  <a:gd name="connsiteY24" fmla="*/ 609600 h 1546860"/>
                  <a:gd name="connsiteX25" fmla="*/ 962660 w 1008838"/>
                  <a:gd name="connsiteY25" fmla="*/ 523240 h 1546860"/>
                  <a:gd name="connsiteX26" fmla="*/ 998220 w 1008838"/>
                  <a:gd name="connsiteY26" fmla="*/ 533400 h 1546860"/>
                  <a:gd name="connsiteX27" fmla="*/ 746760 w 1008838"/>
                  <a:gd name="connsiteY27" fmla="*/ 662940 h 1546860"/>
                  <a:gd name="connsiteX28" fmla="*/ 632460 w 1008838"/>
                  <a:gd name="connsiteY28" fmla="*/ 845820 h 1546860"/>
                  <a:gd name="connsiteX29" fmla="*/ 640080 w 1008838"/>
                  <a:gd name="connsiteY29" fmla="*/ 1188720 h 1546860"/>
                  <a:gd name="connsiteX30" fmla="*/ 640080 w 1008838"/>
                  <a:gd name="connsiteY30" fmla="*/ 1546860 h 1546860"/>
                  <a:gd name="connsiteX31" fmla="*/ 457200 w 1008838"/>
                  <a:gd name="connsiteY31"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41299 w 1008838"/>
                  <a:gd name="connsiteY9" fmla="*/ 28956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41299 w 1008838"/>
                  <a:gd name="connsiteY9" fmla="*/ 32004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41299 w 1008838"/>
                  <a:gd name="connsiteY9" fmla="*/ 32004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31139 w 1008838"/>
                  <a:gd name="connsiteY9" fmla="*/ 34544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10819 w 1008838"/>
                  <a:gd name="connsiteY9" fmla="*/ 30988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10819 w 1008838"/>
                  <a:gd name="connsiteY9" fmla="*/ 30988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30859 w 1008838"/>
                  <a:gd name="connsiteY17" fmla="*/ 137160 h 1546860"/>
                  <a:gd name="connsiteX18" fmla="*/ 594360 w 1008838"/>
                  <a:gd name="connsiteY18" fmla="*/ 304800 h 1546860"/>
                  <a:gd name="connsiteX19" fmla="*/ 723900 w 1008838"/>
                  <a:gd name="connsiteY19" fmla="*/ 60960 h 1546860"/>
                  <a:gd name="connsiteX20" fmla="*/ 739140 w 1008838"/>
                  <a:gd name="connsiteY20" fmla="*/ 121920 h 1546860"/>
                  <a:gd name="connsiteX21" fmla="*/ 632460 w 1008838"/>
                  <a:gd name="connsiteY21" fmla="*/ 342900 h 1546860"/>
                  <a:gd name="connsiteX22" fmla="*/ 594360 w 1008838"/>
                  <a:gd name="connsiteY22" fmla="*/ 533400 h 1546860"/>
                  <a:gd name="connsiteX23" fmla="*/ 609600 w 1008838"/>
                  <a:gd name="connsiteY23" fmla="*/ 736600 h 1546860"/>
                  <a:gd name="connsiteX24" fmla="*/ 838200 w 1008838"/>
                  <a:gd name="connsiteY24" fmla="*/ 457200 h 1546860"/>
                  <a:gd name="connsiteX25" fmla="*/ 868680 w 1008838"/>
                  <a:gd name="connsiteY25" fmla="*/ 495300 h 1546860"/>
                  <a:gd name="connsiteX26" fmla="*/ 792480 w 1008838"/>
                  <a:gd name="connsiteY26" fmla="*/ 609600 h 1546860"/>
                  <a:gd name="connsiteX27" fmla="*/ 962660 w 1008838"/>
                  <a:gd name="connsiteY27" fmla="*/ 523240 h 1546860"/>
                  <a:gd name="connsiteX28" fmla="*/ 998220 w 1008838"/>
                  <a:gd name="connsiteY28" fmla="*/ 533400 h 1546860"/>
                  <a:gd name="connsiteX29" fmla="*/ 746760 w 1008838"/>
                  <a:gd name="connsiteY29" fmla="*/ 662940 h 1546860"/>
                  <a:gd name="connsiteX30" fmla="*/ 632460 w 1008838"/>
                  <a:gd name="connsiteY30" fmla="*/ 845820 h 1546860"/>
                  <a:gd name="connsiteX31" fmla="*/ 640080 w 1008838"/>
                  <a:gd name="connsiteY31" fmla="*/ 1188720 h 1546860"/>
                  <a:gd name="connsiteX32" fmla="*/ 640080 w 1008838"/>
                  <a:gd name="connsiteY32" fmla="*/ 1546860 h 1546860"/>
                  <a:gd name="connsiteX33" fmla="*/ 457200 w 1008838"/>
                  <a:gd name="connsiteY33"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10819 w 1008838"/>
                  <a:gd name="connsiteY9" fmla="*/ 30988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30859 w 1008838"/>
                  <a:gd name="connsiteY17" fmla="*/ 137160 h 1546860"/>
                  <a:gd name="connsiteX18" fmla="*/ 571499 w 1008838"/>
                  <a:gd name="connsiteY18" fmla="*/ 228600 h 1546860"/>
                  <a:gd name="connsiteX19" fmla="*/ 594360 w 1008838"/>
                  <a:gd name="connsiteY19" fmla="*/ 304800 h 1546860"/>
                  <a:gd name="connsiteX20" fmla="*/ 723900 w 1008838"/>
                  <a:gd name="connsiteY20" fmla="*/ 60960 h 1546860"/>
                  <a:gd name="connsiteX21" fmla="*/ 739140 w 1008838"/>
                  <a:gd name="connsiteY21" fmla="*/ 121920 h 1546860"/>
                  <a:gd name="connsiteX22" fmla="*/ 632460 w 1008838"/>
                  <a:gd name="connsiteY22" fmla="*/ 342900 h 1546860"/>
                  <a:gd name="connsiteX23" fmla="*/ 594360 w 1008838"/>
                  <a:gd name="connsiteY23" fmla="*/ 533400 h 1546860"/>
                  <a:gd name="connsiteX24" fmla="*/ 609600 w 1008838"/>
                  <a:gd name="connsiteY24" fmla="*/ 736600 h 1546860"/>
                  <a:gd name="connsiteX25" fmla="*/ 838200 w 1008838"/>
                  <a:gd name="connsiteY25" fmla="*/ 457200 h 1546860"/>
                  <a:gd name="connsiteX26" fmla="*/ 868680 w 1008838"/>
                  <a:gd name="connsiteY26" fmla="*/ 495300 h 1546860"/>
                  <a:gd name="connsiteX27" fmla="*/ 792480 w 1008838"/>
                  <a:gd name="connsiteY27" fmla="*/ 609600 h 1546860"/>
                  <a:gd name="connsiteX28" fmla="*/ 962660 w 1008838"/>
                  <a:gd name="connsiteY28" fmla="*/ 523240 h 1546860"/>
                  <a:gd name="connsiteX29" fmla="*/ 998220 w 1008838"/>
                  <a:gd name="connsiteY29" fmla="*/ 533400 h 1546860"/>
                  <a:gd name="connsiteX30" fmla="*/ 746760 w 1008838"/>
                  <a:gd name="connsiteY30" fmla="*/ 662940 h 1546860"/>
                  <a:gd name="connsiteX31" fmla="*/ 632460 w 1008838"/>
                  <a:gd name="connsiteY31" fmla="*/ 845820 h 1546860"/>
                  <a:gd name="connsiteX32" fmla="*/ 640080 w 1008838"/>
                  <a:gd name="connsiteY32" fmla="*/ 1188720 h 1546860"/>
                  <a:gd name="connsiteX33" fmla="*/ 640080 w 1008838"/>
                  <a:gd name="connsiteY33" fmla="*/ 1546860 h 1546860"/>
                  <a:gd name="connsiteX34" fmla="*/ 457200 w 1008838"/>
                  <a:gd name="connsiteY34"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10819 w 1008838"/>
                  <a:gd name="connsiteY9" fmla="*/ 30988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30859 w 1008838"/>
                  <a:gd name="connsiteY17" fmla="*/ 137160 h 1546860"/>
                  <a:gd name="connsiteX18" fmla="*/ 541019 w 1008838"/>
                  <a:gd name="connsiteY18" fmla="*/ 172720 h 1546860"/>
                  <a:gd name="connsiteX19" fmla="*/ 571499 w 1008838"/>
                  <a:gd name="connsiteY19" fmla="*/ 228600 h 1546860"/>
                  <a:gd name="connsiteX20" fmla="*/ 594360 w 1008838"/>
                  <a:gd name="connsiteY20" fmla="*/ 304800 h 1546860"/>
                  <a:gd name="connsiteX21" fmla="*/ 723900 w 1008838"/>
                  <a:gd name="connsiteY21" fmla="*/ 60960 h 1546860"/>
                  <a:gd name="connsiteX22" fmla="*/ 739140 w 1008838"/>
                  <a:gd name="connsiteY22" fmla="*/ 121920 h 1546860"/>
                  <a:gd name="connsiteX23" fmla="*/ 632460 w 1008838"/>
                  <a:gd name="connsiteY23" fmla="*/ 342900 h 1546860"/>
                  <a:gd name="connsiteX24" fmla="*/ 594360 w 1008838"/>
                  <a:gd name="connsiteY24" fmla="*/ 533400 h 1546860"/>
                  <a:gd name="connsiteX25" fmla="*/ 609600 w 1008838"/>
                  <a:gd name="connsiteY25" fmla="*/ 736600 h 1546860"/>
                  <a:gd name="connsiteX26" fmla="*/ 838200 w 1008838"/>
                  <a:gd name="connsiteY26" fmla="*/ 457200 h 1546860"/>
                  <a:gd name="connsiteX27" fmla="*/ 868680 w 1008838"/>
                  <a:gd name="connsiteY27" fmla="*/ 495300 h 1546860"/>
                  <a:gd name="connsiteX28" fmla="*/ 792480 w 1008838"/>
                  <a:gd name="connsiteY28" fmla="*/ 609600 h 1546860"/>
                  <a:gd name="connsiteX29" fmla="*/ 962660 w 1008838"/>
                  <a:gd name="connsiteY29" fmla="*/ 523240 h 1546860"/>
                  <a:gd name="connsiteX30" fmla="*/ 998220 w 1008838"/>
                  <a:gd name="connsiteY30" fmla="*/ 533400 h 1546860"/>
                  <a:gd name="connsiteX31" fmla="*/ 746760 w 1008838"/>
                  <a:gd name="connsiteY31" fmla="*/ 662940 h 1546860"/>
                  <a:gd name="connsiteX32" fmla="*/ 632460 w 1008838"/>
                  <a:gd name="connsiteY32" fmla="*/ 845820 h 1546860"/>
                  <a:gd name="connsiteX33" fmla="*/ 640080 w 1008838"/>
                  <a:gd name="connsiteY33" fmla="*/ 1188720 h 1546860"/>
                  <a:gd name="connsiteX34" fmla="*/ 640080 w 1008838"/>
                  <a:gd name="connsiteY34" fmla="*/ 1546860 h 1546860"/>
                  <a:gd name="connsiteX35" fmla="*/ 457200 w 1008838"/>
                  <a:gd name="connsiteY35" fmla="*/ 1546860 h 154686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71499 w 1008838"/>
                  <a:gd name="connsiteY19" fmla="*/ 259080 h 1577340"/>
                  <a:gd name="connsiteX20" fmla="*/ 594360 w 1008838"/>
                  <a:gd name="connsiteY20" fmla="*/ 335280 h 1577340"/>
                  <a:gd name="connsiteX21" fmla="*/ 723900 w 1008838"/>
                  <a:gd name="connsiteY21" fmla="*/ 91440 h 1577340"/>
                  <a:gd name="connsiteX22" fmla="*/ 739140 w 1008838"/>
                  <a:gd name="connsiteY22" fmla="*/ 152400 h 1577340"/>
                  <a:gd name="connsiteX23" fmla="*/ 632460 w 1008838"/>
                  <a:gd name="connsiteY23" fmla="*/ 373380 h 1577340"/>
                  <a:gd name="connsiteX24" fmla="*/ 594360 w 1008838"/>
                  <a:gd name="connsiteY24" fmla="*/ 563880 h 1577340"/>
                  <a:gd name="connsiteX25" fmla="*/ 609600 w 1008838"/>
                  <a:gd name="connsiteY25" fmla="*/ 767080 h 1577340"/>
                  <a:gd name="connsiteX26" fmla="*/ 838200 w 1008838"/>
                  <a:gd name="connsiteY26" fmla="*/ 487680 h 1577340"/>
                  <a:gd name="connsiteX27" fmla="*/ 868680 w 1008838"/>
                  <a:gd name="connsiteY27" fmla="*/ 525780 h 1577340"/>
                  <a:gd name="connsiteX28" fmla="*/ 792480 w 1008838"/>
                  <a:gd name="connsiteY28" fmla="*/ 640080 h 1577340"/>
                  <a:gd name="connsiteX29" fmla="*/ 962660 w 1008838"/>
                  <a:gd name="connsiteY29" fmla="*/ 553720 h 1577340"/>
                  <a:gd name="connsiteX30" fmla="*/ 998220 w 1008838"/>
                  <a:gd name="connsiteY30" fmla="*/ 563880 h 1577340"/>
                  <a:gd name="connsiteX31" fmla="*/ 746760 w 1008838"/>
                  <a:gd name="connsiteY31" fmla="*/ 693420 h 1577340"/>
                  <a:gd name="connsiteX32" fmla="*/ 632460 w 1008838"/>
                  <a:gd name="connsiteY32" fmla="*/ 876300 h 1577340"/>
                  <a:gd name="connsiteX33" fmla="*/ 640080 w 1008838"/>
                  <a:gd name="connsiteY33" fmla="*/ 1219200 h 1577340"/>
                  <a:gd name="connsiteX34" fmla="*/ 640080 w 1008838"/>
                  <a:gd name="connsiteY34" fmla="*/ 1577340 h 1577340"/>
                  <a:gd name="connsiteX35" fmla="*/ 457200 w 1008838"/>
                  <a:gd name="connsiteY35"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739140 w 1008838"/>
                  <a:gd name="connsiteY22" fmla="*/ 152400 h 1577340"/>
                  <a:gd name="connsiteX23" fmla="*/ 632460 w 1008838"/>
                  <a:gd name="connsiteY23" fmla="*/ 373380 h 1577340"/>
                  <a:gd name="connsiteX24" fmla="*/ 594360 w 1008838"/>
                  <a:gd name="connsiteY24" fmla="*/ 563880 h 1577340"/>
                  <a:gd name="connsiteX25" fmla="*/ 609600 w 1008838"/>
                  <a:gd name="connsiteY25" fmla="*/ 767080 h 1577340"/>
                  <a:gd name="connsiteX26" fmla="*/ 838200 w 1008838"/>
                  <a:gd name="connsiteY26" fmla="*/ 487680 h 1577340"/>
                  <a:gd name="connsiteX27" fmla="*/ 868680 w 1008838"/>
                  <a:gd name="connsiteY27" fmla="*/ 525780 h 1577340"/>
                  <a:gd name="connsiteX28" fmla="*/ 792480 w 1008838"/>
                  <a:gd name="connsiteY28" fmla="*/ 640080 h 1577340"/>
                  <a:gd name="connsiteX29" fmla="*/ 962660 w 1008838"/>
                  <a:gd name="connsiteY29" fmla="*/ 553720 h 1577340"/>
                  <a:gd name="connsiteX30" fmla="*/ 998220 w 1008838"/>
                  <a:gd name="connsiteY30" fmla="*/ 563880 h 1577340"/>
                  <a:gd name="connsiteX31" fmla="*/ 746760 w 1008838"/>
                  <a:gd name="connsiteY31" fmla="*/ 693420 h 1577340"/>
                  <a:gd name="connsiteX32" fmla="*/ 632460 w 1008838"/>
                  <a:gd name="connsiteY32" fmla="*/ 876300 h 1577340"/>
                  <a:gd name="connsiteX33" fmla="*/ 640080 w 1008838"/>
                  <a:gd name="connsiteY33" fmla="*/ 1219200 h 1577340"/>
                  <a:gd name="connsiteX34" fmla="*/ 640080 w 1008838"/>
                  <a:gd name="connsiteY34" fmla="*/ 1577340 h 1577340"/>
                  <a:gd name="connsiteX35" fmla="*/ 457200 w 1008838"/>
                  <a:gd name="connsiteY35"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947420 w 1008838"/>
                  <a:gd name="connsiteY22" fmla="*/ 15240 h 1577340"/>
                  <a:gd name="connsiteX23" fmla="*/ 632460 w 1008838"/>
                  <a:gd name="connsiteY23" fmla="*/ 373380 h 1577340"/>
                  <a:gd name="connsiteX24" fmla="*/ 594360 w 1008838"/>
                  <a:gd name="connsiteY24" fmla="*/ 563880 h 1577340"/>
                  <a:gd name="connsiteX25" fmla="*/ 609600 w 1008838"/>
                  <a:gd name="connsiteY25" fmla="*/ 767080 h 1577340"/>
                  <a:gd name="connsiteX26" fmla="*/ 838200 w 1008838"/>
                  <a:gd name="connsiteY26" fmla="*/ 487680 h 1577340"/>
                  <a:gd name="connsiteX27" fmla="*/ 868680 w 1008838"/>
                  <a:gd name="connsiteY27" fmla="*/ 525780 h 1577340"/>
                  <a:gd name="connsiteX28" fmla="*/ 792480 w 1008838"/>
                  <a:gd name="connsiteY28" fmla="*/ 640080 h 1577340"/>
                  <a:gd name="connsiteX29" fmla="*/ 962660 w 1008838"/>
                  <a:gd name="connsiteY29" fmla="*/ 553720 h 1577340"/>
                  <a:gd name="connsiteX30" fmla="*/ 998220 w 1008838"/>
                  <a:gd name="connsiteY30" fmla="*/ 563880 h 1577340"/>
                  <a:gd name="connsiteX31" fmla="*/ 746760 w 1008838"/>
                  <a:gd name="connsiteY31" fmla="*/ 693420 h 1577340"/>
                  <a:gd name="connsiteX32" fmla="*/ 632460 w 1008838"/>
                  <a:gd name="connsiteY32" fmla="*/ 876300 h 1577340"/>
                  <a:gd name="connsiteX33" fmla="*/ 640080 w 1008838"/>
                  <a:gd name="connsiteY33" fmla="*/ 1219200 h 1577340"/>
                  <a:gd name="connsiteX34" fmla="*/ 640080 w 1008838"/>
                  <a:gd name="connsiteY34" fmla="*/ 1577340 h 1577340"/>
                  <a:gd name="connsiteX35" fmla="*/ 457200 w 1008838"/>
                  <a:gd name="connsiteY35"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947420 w 1008838"/>
                  <a:gd name="connsiteY22" fmla="*/ 15240 h 1577340"/>
                  <a:gd name="connsiteX23" fmla="*/ 810259 w 1008838"/>
                  <a:gd name="connsiteY23" fmla="*/ 177800 h 1577340"/>
                  <a:gd name="connsiteX24" fmla="*/ 632460 w 1008838"/>
                  <a:gd name="connsiteY24" fmla="*/ 373380 h 1577340"/>
                  <a:gd name="connsiteX25" fmla="*/ 594360 w 1008838"/>
                  <a:gd name="connsiteY25" fmla="*/ 563880 h 1577340"/>
                  <a:gd name="connsiteX26" fmla="*/ 609600 w 1008838"/>
                  <a:gd name="connsiteY26" fmla="*/ 767080 h 1577340"/>
                  <a:gd name="connsiteX27" fmla="*/ 838200 w 1008838"/>
                  <a:gd name="connsiteY27" fmla="*/ 487680 h 1577340"/>
                  <a:gd name="connsiteX28" fmla="*/ 868680 w 1008838"/>
                  <a:gd name="connsiteY28" fmla="*/ 525780 h 1577340"/>
                  <a:gd name="connsiteX29" fmla="*/ 792480 w 1008838"/>
                  <a:gd name="connsiteY29" fmla="*/ 640080 h 1577340"/>
                  <a:gd name="connsiteX30" fmla="*/ 962660 w 1008838"/>
                  <a:gd name="connsiteY30" fmla="*/ 553720 h 1577340"/>
                  <a:gd name="connsiteX31" fmla="*/ 998220 w 1008838"/>
                  <a:gd name="connsiteY31" fmla="*/ 563880 h 1577340"/>
                  <a:gd name="connsiteX32" fmla="*/ 746760 w 1008838"/>
                  <a:gd name="connsiteY32" fmla="*/ 693420 h 1577340"/>
                  <a:gd name="connsiteX33" fmla="*/ 632460 w 1008838"/>
                  <a:gd name="connsiteY33" fmla="*/ 876300 h 1577340"/>
                  <a:gd name="connsiteX34" fmla="*/ 640080 w 1008838"/>
                  <a:gd name="connsiteY34" fmla="*/ 1219200 h 1577340"/>
                  <a:gd name="connsiteX35" fmla="*/ 640080 w 1008838"/>
                  <a:gd name="connsiteY35" fmla="*/ 1577340 h 1577340"/>
                  <a:gd name="connsiteX36" fmla="*/ 457200 w 1008838"/>
                  <a:gd name="connsiteY36"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947420 w 1008838"/>
                  <a:gd name="connsiteY22" fmla="*/ 15240 h 1577340"/>
                  <a:gd name="connsiteX23" fmla="*/ 769619 w 1008838"/>
                  <a:gd name="connsiteY23" fmla="*/ 116840 h 1577340"/>
                  <a:gd name="connsiteX24" fmla="*/ 632460 w 1008838"/>
                  <a:gd name="connsiteY24" fmla="*/ 373380 h 1577340"/>
                  <a:gd name="connsiteX25" fmla="*/ 594360 w 1008838"/>
                  <a:gd name="connsiteY25" fmla="*/ 563880 h 1577340"/>
                  <a:gd name="connsiteX26" fmla="*/ 609600 w 1008838"/>
                  <a:gd name="connsiteY26" fmla="*/ 767080 h 1577340"/>
                  <a:gd name="connsiteX27" fmla="*/ 838200 w 1008838"/>
                  <a:gd name="connsiteY27" fmla="*/ 487680 h 1577340"/>
                  <a:gd name="connsiteX28" fmla="*/ 868680 w 1008838"/>
                  <a:gd name="connsiteY28" fmla="*/ 525780 h 1577340"/>
                  <a:gd name="connsiteX29" fmla="*/ 792480 w 1008838"/>
                  <a:gd name="connsiteY29" fmla="*/ 640080 h 1577340"/>
                  <a:gd name="connsiteX30" fmla="*/ 962660 w 1008838"/>
                  <a:gd name="connsiteY30" fmla="*/ 553720 h 1577340"/>
                  <a:gd name="connsiteX31" fmla="*/ 998220 w 1008838"/>
                  <a:gd name="connsiteY31" fmla="*/ 563880 h 1577340"/>
                  <a:gd name="connsiteX32" fmla="*/ 746760 w 1008838"/>
                  <a:gd name="connsiteY32" fmla="*/ 693420 h 1577340"/>
                  <a:gd name="connsiteX33" fmla="*/ 632460 w 1008838"/>
                  <a:gd name="connsiteY33" fmla="*/ 876300 h 1577340"/>
                  <a:gd name="connsiteX34" fmla="*/ 640080 w 1008838"/>
                  <a:gd name="connsiteY34" fmla="*/ 1219200 h 1577340"/>
                  <a:gd name="connsiteX35" fmla="*/ 640080 w 1008838"/>
                  <a:gd name="connsiteY35" fmla="*/ 1577340 h 1577340"/>
                  <a:gd name="connsiteX36" fmla="*/ 457200 w 1008838"/>
                  <a:gd name="connsiteY36"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769619 w 1008838"/>
                  <a:gd name="connsiteY22" fmla="*/ 81280 h 1577340"/>
                  <a:gd name="connsiteX23" fmla="*/ 947420 w 1008838"/>
                  <a:gd name="connsiteY23" fmla="*/ 15240 h 1577340"/>
                  <a:gd name="connsiteX24" fmla="*/ 769619 w 1008838"/>
                  <a:gd name="connsiteY24" fmla="*/ 116840 h 1577340"/>
                  <a:gd name="connsiteX25" fmla="*/ 632460 w 1008838"/>
                  <a:gd name="connsiteY25" fmla="*/ 373380 h 1577340"/>
                  <a:gd name="connsiteX26" fmla="*/ 594360 w 1008838"/>
                  <a:gd name="connsiteY26" fmla="*/ 563880 h 1577340"/>
                  <a:gd name="connsiteX27" fmla="*/ 609600 w 1008838"/>
                  <a:gd name="connsiteY27" fmla="*/ 767080 h 1577340"/>
                  <a:gd name="connsiteX28" fmla="*/ 838200 w 1008838"/>
                  <a:gd name="connsiteY28" fmla="*/ 487680 h 1577340"/>
                  <a:gd name="connsiteX29" fmla="*/ 868680 w 1008838"/>
                  <a:gd name="connsiteY29" fmla="*/ 525780 h 1577340"/>
                  <a:gd name="connsiteX30" fmla="*/ 792480 w 1008838"/>
                  <a:gd name="connsiteY30" fmla="*/ 640080 h 1577340"/>
                  <a:gd name="connsiteX31" fmla="*/ 962660 w 1008838"/>
                  <a:gd name="connsiteY31" fmla="*/ 553720 h 1577340"/>
                  <a:gd name="connsiteX32" fmla="*/ 998220 w 1008838"/>
                  <a:gd name="connsiteY32" fmla="*/ 563880 h 1577340"/>
                  <a:gd name="connsiteX33" fmla="*/ 746760 w 1008838"/>
                  <a:gd name="connsiteY33" fmla="*/ 693420 h 1577340"/>
                  <a:gd name="connsiteX34" fmla="*/ 632460 w 1008838"/>
                  <a:gd name="connsiteY34" fmla="*/ 876300 h 1577340"/>
                  <a:gd name="connsiteX35" fmla="*/ 640080 w 1008838"/>
                  <a:gd name="connsiteY35" fmla="*/ 1219200 h 1577340"/>
                  <a:gd name="connsiteX36" fmla="*/ 640080 w 1008838"/>
                  <a:gd name="connsiteY36" fmla="*/ 1577340 h 1577340"/>
                  <a:gd name="connsiteX37" fmla="*/ 457200 w 1008838"/>
                  <a:gd name="connsiteY37"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698499 w 1008838"/>
                  <a:gd name="connsiteY21" fmla="*/ 132080 h 1577340"/>
                  <a:gd name="connsiteX22" fmla="*/ 723900 w 1008838"/>
                  <a:gd name="connsiteY22" fmla="*/ 91440 h 1577340"/>
                  <a:gd name="connsiteX23" fmla="*/ 769619 w 1008838"/>
                  <a:gd name="connsiteY23" fmla="*/ 81280 h 1577340"/>
                  <a:gd name="connsiteX24" fmla="*/ 947420 w 1008838"/>
                  <a:gd name="connsiteY24" fmla="*/ 15240 h 1577340"/>
                  <a:gd name="connsiteX25" fmla="*/ 769619 w 1008838"/>
                  <a:gd name="connsiteY25" fmla="*/ 116840 h 1577340"/>
                  <a:gd name="connsiteX26" fmla="*/ 632460 w 1008838"/>
                  <a:gd name="connsiteY26" fmla="*/ 373380 h 1577340"/>
                  <a:gd name="connsiteX27" fmla="*/ 594360 w 1008838"/>
                  <a:gd name="connsiteY27" fmla="*/ 563880 h 1577340"/>
                  <a:gd name="connsiteX28" fmla="*/ 609600 w 1008838"/>
                  <a:gd name="connsiteY28" fmla="*/ 767080 h 1577340"/>
                  <a:gd name="connsiteX29" fmla="*/ 838200 w 1008838"/>
                  <a:gd name="connsiteY29" fmla="*/ 487680 h 1577340"/>
                  <a:gd name="connsiteX30" fmla="*/ 868680 w 1008838"/>
                  <a:gd name="connsiteY30" fmla="*/ 525780 h 1577340"/>
                  <a:gd name="connsiteX31" fmla="*/ 792480 w 1008838"/>
                  <a:gd name="connsiteY31" fmla="*/ 640080 h 1577340"/>
                  <a:gd name="connsiteX32" fmla="*/ 962660 w 1008838"/>
                  <a:gd name="connsiteY32" fmla="*/ 553720 h 1577340"/>
                  <a:gd name="connsiteX33" fmla="*/ 998220 w 1008838"/>
                  <a:gd name="connsiteY33" fmla="*/ 563880 h 1577340"/>
                  <a:gd name="connsiteX34" fmla="*/ 746760 w 1008838"/>
                  <a:gd name="connsiteY34" fmla="*/ 693420 h 1577340"/>
                  <a:gd name="connsiteX35" fmla="*/ 632460 w 1008838"/>
                  <a:gd name="connsiteY35" fmla="*/ 876300 h 1577340"/>
                  <a:gd name="connsiteX36" fmla="*/ 640080 w 1008838"/>
                  <a:gd name="connsiteY36" fmla="*/ 1219200 h 1577340"/>
                  <a:gd name="connsiteX37" fmla="*/ 640080 w 1008838"/>
                  <a:gd name="connsiteY37" fmla="*/ 1577340 h 1577340"/>
                  <a:gd name="connsiteX38" fmla="*/ 457200 w 1008838"/>
                  <a:gd name="connsiteY38"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698499 w 1008838"/>
                  <a:gd name="connsiteY21" fmla="*/ 132080 h 1577340"/>
                  <a:gd name="connsiteX22" fmla="*/ 693420 w 1008838"/>
                  <a:gd name="connsiteY22" fmla="*/ 10160 h 1577340"/>
                  <a:gd name="connsiteX23" fmla="*/ 769619 w 1008838"/>
                  <a:gd name="connsiteY23" fmla="*/ 81280 h 1577340"/>
                  <a:gd name="connsiteX24" fmla="*/ 947420 w 1008838"/>
                  <a:gd name="connsiteY24" fmla="*/ 15240 h 1577340"/>
                  <a:gd name="connsiteX25" fmla="*/ 769619 w 1008838"/>
                  <a:gd name="connsiteY25" fmla="*/ 116840 h 1577340"/>
                  <a:gd name="connsiteX26" fmla="*/ 632460 w 1008838"/>
                  <a:gd name="connsiteY26" fmla="*/ 373380 h 1577340"/>
                  <a:gd name="connsiteX27" fmla="*/ 594360 w 1008838"/>
                  <a:gd name="connsiteY27" fmla="*/ 563880 h 1577340"/>
                  <a:gd name="connsiteX28" fmla="*/ 609600 w 1008838"/>
                  <a:gd name="connsiteY28" fmla="*/ 767080 h 1577340"/>
                  <a:gd name="connsiteX29" fmla="*/ 838200 w 1008838"/>
                  <a:gd name="connsiteY29" fmla="*/ 487680 h 1577340"/>
                  <a:gd name="connsiteX30" fmla="*/ 868680 w 1008838"/>
                  <a:gd name="connsiteY30" fmla="*/ 525780 h 1577340"/>
                  <a:gd name="connsiteX31" fmla="*/ 792480 w 1008838"/>
                  <a:gd name="connsiteY31" fmla="*/ 640080 h 1577340"/>
                  <a:gd name="connsiteX32" fmla="*/ 962660 w 1008838"/>
                  <a:gd name="connsiteY32" fmla="*/ 553720 h 1577340"/>
                  <a:gd name="connsiteX33" fmla="*/ 998220 w 1008838"/>
                  <a:gd name="connsiteY33" fmla="*/ 563880 h 1577340"/>
                  <a:gd name="connsiteX34" fmla="*/ 746760 w 1008838"/>
                  <a:gd name="connsiteY34" fmla="*/ 693420 h 1577340"/>
                  <a:gd name="connsiteX35" fmla="*/ 632460 w 1008838"/>
                  <a:gd name="connsiteY35" fmla="*/ 876300 h 1577340"/>
                  <a:gd name="connsiteX36" fmla="*/ 640080 w 1008838"/>
                  <a:gd name="connsiteY36" fmla="*/ 1219200 h 1577340"/>
                  <a:gd name="connsiteX37" fmla="*/ 640080 w 1008838"/>
                  <a:gd name="connsiteY37" fmla="*/ 1577340 h 1577340"/>
                  <a:gd name="connsiteX38" fmla="*/ 457200 w 1008838"/>
                  <a:gd name="connsiteY38"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899 w 1008838"/>
                  <a:gd name="connsiteY21" fmla="*/ 111760 h 1577340"/>
                  <a:gd name="connsiteX22" fmla="*/ 693420 w 1008838"/>
                  <a:gd name="connsiteY22" fmla="*/ 10160 h 1577340"/>
                  <a:gd name="connsiteX23" fmla="*/ 769619 w 1008838"/>
                  <a:gd name="connsiteY23" fmla="*/ 81280 h 1577340"/>
                  <a:gd name="connsiteX24" fmla="*/ 947420 w 1008838"/>
                  <a:gd name="connsiteY24" fmla="*/ 15240 h 1577340"/>
                  <a:gd name="connsiteX25" fmla="*/ 769619 w 1008838"/>
                  <a:gd name="connsiteY25" fmla="*/ 116840 h 1577340"/>
                  <a:gd name="connsiteX26" fmla="*/ 632460 w 1008838"/>
                  <a:gd name="connsiteY26" fmla="*/ 373380 h 1577340"/>
                  <a:gd name="connsiteX27" fmla="*/ 594360 w 1008838"/>
                  <a:gd name="connsiteY27" fmla="*/ 563880 h 1577340"/>
                  <a:gd name="connsiteX28" fmla="*/ 609600 w 1008838"/>
                  <a:gd name="connsiteY28" fmla="*/ 767080 h 1577340"/>
                  <a:gd name="connsiteX29" fmla="*/ 838200 w 1008838"/>
                  <a:gd name="connsiteY29" fmla="*/ 487680 h 1577340"/>
                  <a:gd name="connsiteX30" fmla="*/ 868680 w 1008838"/>
                  <a:gd name="connsiteY30" fmla="*/ 525780 h 1577340"/>
                  <a:gd name="connsiteX31" fmla="*/ 792480 w 1008838"/>
                  <a:gd name="connsiteY31" fmla="*/ 640080 h 1577340"/>
                  <a:gd name="connsiteX32" fmla="*/ 962660 w 1008838"/>
                  <a:gd name="connsiteY32" fmla="*/ 553720 h 1577340"/>
                  <a:gd name="connsiteX33" fmla="*/ 998220 w 1008838"/>
                  <a:gd name="connsiteY33" fmla="*/ 563880 h 1577340"/>
                  <a:gd name="connsiteX34" fmla="*/ 746760 w 1008838"/>
                  <a:gd name="connsiteY34" fmla="*/ 693420 h 1577340"/>
                  <a:gd name="connsiteX35" fmla="*/ 632460 w 1008838"/>
                  <a:gd name="connsiteY35" fmla="*/ 876300 h 1577340"/>
                  <a:gd name="connsiteX36" fmla="*/ 640080 w 1008838"/>
                  <a:gd name="connsiteY36" fmla="*/ 1219200 h 1577340"/>
                  <a:gd name="connsiteX37" fmla="*/ 640080 w 1008838"/>
                  <a:gd name="connsiteY37" fmla="*/ 1577340 h 1577340"/>
                  <a:gd name="connsiteX38" fmla="*/ 457200 w 1008838"/>
                  <a:gd name="connsiteY38"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899 w 1008838"/>
                  <a:gd name="connsiteY21" fmla="*/ 111760 h 1577340"/>
                  <a:gd name="connsiteX22" fmla="*/ 693420 w 1008838"/>
                  <a:gd name="connsiteY22" fmla="*/ 10160 h 1577340"/>
                  <a:gd name="connsiteX23" fmla="*/ 728979 w 1008838"/>
                  <a:gd name="connsiteY23" fmla="*/ 50800 h 1577340"/>
                  <a:gd name="connsiteX24" fmla="*/ 769619 w 1008838"/>
                  <a:gd name="connsiteY24" fmla="*/ 81280 h 1577340"/>
                  <a:gd name="connsiteX25" fmla="*/ 947420 w 1008838"/>
                  <a:gd name="connsiteY25" fmla="*/ 15240 h 1577340"/>
                  <a:gd name="connsiteX26" fmla="*/ 769619 w 1008838"/>
                  <a:gd name="connsiteY26" fmla="*/ 116840 h 1577340"/>
                  <a:gd name="connsiteX27" fmla="*/ 632460 w 1008838"/>
                  <a:gd name="connsiteY27" fmla="*/ 373380 h 1577340"/>
                  <a:gd name="connsiteX28" fmla="*/ 594360 w 1008838"/>
                  <a:gd name="connsiteY28" fmla="*/ 563880 h 1577340"/>
                  <a:gd name="connsiteX29" fmla="*/ 609600 w 1008838"/>
                  <a:gd name="connsiteY29" fmla="*/ 767080 h 1577340"/>
                  <a:gd name="connsiteX30" fmla="*/ 838200 w 1008838"/>
                  <a:gd name="connsiteY30" fmla="*/ 487680 h 1577340"/>
                  <a:gd name="connsiteX31" fmla="*/ 868680 w 1008838"/>
                  <a:gd name="connsiteY31" fmla="*/ 525780 h 1577340"/>
                  <a:gd name="connsiteX32" fmla="*/ 792480 w 1008838"/>
                  <a:gd name="connsiteY32" fmla="*/ 640080 h 1577340"/>
                  <a:gd name="connsiteX33" fmla="*/ 962660 w 1008838"/>
                  <a:gd name="connsiteY33" fmla="*/ 553720 h 1577340"/>
                  <a:gd name="connsiteX34" fmla="*/ 998220 w 1008838"/>
                  <a:gd name="connsiteY34" fmla="*/ 563880 h 1577340"/>
                  <a:gd name="connsiteX35" fmla="*/ 746760 w 1008838"/>
                  <a:gd name="connsiteY35" fmla="*/ 693420 h 1577340"/>
                  <a:gd name="connsiteX36" fmla="*/ 632460 w 1008838"/>
                  <a:gd name="connsiteY36" fmla="*/ 876300 h 1577340"/>
                  <a:gd name="connsiteX37" fmla="*/ 640080 w 1008838"/>
                  <a:gd name="connsiteY37" fmla="*/ 1219200 h 1577340"/>
                  <a:gd name="connsiteX38" fmla="*/ 640080 w 1008838"/>
                  <a:gd name="connsiteY38" fmla="*/ 1577340 h 1577340"/>
                  <a:gd name="connsiteX39" fmla="*/ 457200 w 1008838"/>
                  <a:gd name="connsiteY39" fmla="*/ 1577340 h 157734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9619 w 1008838"/>
                  <a:gd name="connsiteY24" fmla="*/ 101600 h 1597660"/>
                  <a:gd name="connsiteX25" fmla="*/ 947420 w 1008838"/>
                  <a:gd name="connsiteY25" fmla="*/ 35560 h 1597660"/>
                  <a:gd name="connsiteX26" fmla="*/ 769619 w 1008838"/>
                  <a:gd name="connsiteY26" fmla="*/ 137160 h 1597660"/>
                  <a:gd name="connsiteX27" fmla="*/ 632460 w 1008838"/>
                  <a:gd name="connsiteY27" fmla="*/ 393700 h 1597660"/>
                  <a:gd name="connsiteX28" fmla="*/ 594360 w 1008838"/>
                  <a:gd name="connsiteY28" fmla="*/ 584200 h 1597660"/>
                  <a:gd name="connsiteX29" fmla="*/ 609600 w 1008838"/>
                  <a:gd name="connsiteY29" fmla="*/ 78740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9619 w 1008838"/>
                  <a:gd name="connsiteY24" fmla="*/ 10160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594360 w 1008838"/>
                  <a:gd name="connsiteY28" fmla="*/ 584200 h 1597660"/>
                  <a:gd name="connsiteX29" fmla="*/ 609600 w 1008838"/>
                  <a:gd name="connsiteY29" fmla="*/ 78740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594360 w 1008838"/>
                  <a:gd name="connsiteY28" fmla="*/ 584200 h 1597660"/>
                  <a:gd name="connsiteX29" fmla="*/ 609600 w 1008838"/>
                  <a:gd name="connsiteY29" fmla="*/ 78740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594360 w 1008838"/>
                  <a:gd name="connsiteY28" fmla="*/ 584200 h 1597660"/>
                  <a:gd name="connsiteX29" fmla="*/ 624840 w 1008838"/>
                  <a:gd name="connsiteY29" fmla="*/ 78994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38200 w 1008838"/>
                  <a:gd name="connsiteY31" fmla="*/ 508000 h 1597660"/>
                  <a:gd name="connsiteX32" fmla="*/ 868680 w 1008838"/>
                  <a:gd name="connsiteY32" fmla="*/ 546100 h 1597660"/>
                  <a:gd name="connsiteX33" fmla="*/ 792480 w 1008838"/>
                  <a:gd name="connsiteY33" fmla="*/ 660400 h 1597660"/>
                  <a:gd name="connsiteX34" fmla="*/ 962660 w 1008838"/>
                  <a:gd name="connsiteY34" fmla="*/ 574040 h 1597660"/>
                  <a:gd name="connsiteX35" fmla="*/ 998220 w 1008838"/>
                  <a:gd name="connsiteY35" fmla="*/ 584200 h 1597660"/>
                  <a:gd name="connsiteX36" fmla="*/ 746760 w 1008838"/>
                  <a:gd name="connsiteY36" fmla="*/ 713740 h 1597660"/>
                  <a:gd name="connsiteX37" fmla="*/ 632460 w 1008838"/>
                  <a:gd name="connsiteY37" fmla="*/ 896620 h 1597660"/>
                  <a:gd name="connsiteX38" fmla="*/ 640080 w 1008838"/>
                  <a:gd name="connsiteY38" fmla="*/ 1239520 h 1597660"/>
                  <a:gd name="connsiteX39" fmla="*/ 640080 w 1008838"/>
                  <a:gd name="connsiteY39" fmla="*/ 1597660 h 1597660"/>
                  <a:gd name="connsiteX40" fmla="*/ 457200 w 1008838"/>
                  <a:gd name="connsiteY40"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68680 w 1008838"/>
                  <a:gd name="connsiteY32" fmla="*/ 546100 h 1597660"/>
                  <a:gd name="connsiteX33" fmla="*/ 792480 w 1008838"/>
                  <a:gd name="connsiteY33" fmla="*/ 660400 h 1597660"/>
                  <a:gd name="connsiteX34" fmla="*/ 962660 w 1008838"/>
                  <a:gd name="connsiteY34" fmla="*/ 574040 h 1597660"/>
                  <a:gd name="connsiteX35" fmla="*/ 998220 w 1008838"/>
                  <a:gd name="connsiteY35" fmla="*/ 584200 h 1597660"/>
                  <a:gd name="connsiteX36" fmla="*/ 746760 w 1008838"/>
                  <a:gd name="connsiteY36" fmla="*/ 713740 h 1597660"/>
                  <a:gd name="connsiteX37" fmla="*/ 632460 w 1008838"/>
                  <a:gd name="connsiteY37" fmla="*/ 896620 h 1597660"/>
                  <a:gd name="connsiteX38" fmla="*/ 640080 w 1008838"/>
                  <a:gd name="connsiteY38" fmla="*/ 1239520 h 1597660"/>
                  <a:gd name="connsiteX39" fmla="*/ 640080 w 1008838"/>
                  <a:gd name="connsiteY39" fmla="*/ 1597660 h 1597660"/>
                  <a:gd name="connsiteX40" fmla="*/ 457200 w 1008838"/>
                  <a:gd name="connsiteY40"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990600 w 1008838"/>
                  <a:gd name="connsiteY32" fmla="*/ 370840 h 1597660"/>
                  <a:gd name="connsiteX33" fmla="*/ 792480 w 1008838"/>
                  <a:gd name="connsiteY33" fmla="*/ 660400 h 1597660"/>
                  <a:gd name="connsiteX34" fmla="*/ 962660 w 1008838"/>
                  <a:gd name="connsiteY34" fmla="*/ 574040 h 1597660"/>
                  <a:gd name="connsiteX35" fmla="*/ 998220 w 1008838"/>
                  <a:gd name="connsiteY35" fmla="*/ 584200 h 1597660"/>
                  <a:gd name="connsiteX36" fmla="*/ 746760 w 1008838"/>
                  <a:gd name="connsiteY36" fmla="*/ 713740 h 1597660"/>
                  <a:gd name="connsiteX37" fmla="*/ 632460 w 1008838"/>
                  <a:gd name="connsiteY37" fmla="*/ 896620 h 1597660"/>
                  <a:gd name="connsiteX38" fmla="*/ 640080 w 1008838"/>
                  <a:gd name="connsiteY38" fmla="*/ 1239520 h 1597660"/>
                  <a:gd name="connsiteX39" fmla="*/ 640080 w 1008838"/>
                  <a:gd name="connsiteY39" fmla="*/ 1597660 h 1597660"/>
                  <a:gd name="connsiteX40" fmla="*/ 457200 w 1008838"/>
                  <a:gd name="connsiteY40"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91539 w 1008838"/>
                  <a:gd name="connsiteY32" fmla="*/ 327660 h 1597660"/>
                  <a:gd name="connsiteX33" fmla="*/ 990600 w 1008838"/>
                  <a:gd name="connsiteY33" fmla="*/ 370840 h 1597660"/>
                  <a:gd name="connsiteX34" fmla="*/ 792480 w 1008838"/>
                  <a:gd name="connsiteY34" fmla="*/ 660400 h 1597660"/>
                  <a:gd name="connsiteX35" fmla="*/ 962660 w 1008838"/>
                  <a:gd name="connsiteY35" fmla="*/ 574040 h 1597660"/>
                  <a:gd name="connsiteX36" fmla="*/ 998220 w 1008838"/>
                  <a:gd name="connsiteY36" fmla="*/ 584200 h 1597660"/>
                  <a:gd name="connsiteX37" fmla="*/ 746760 w 1008838"/>
                  <a:gd name="connsiteY37" fmla="*/ 713740 h 1597660"/>
                  <a:gd name="connsiteX38" fmla="*/ 632460 w 1008838"/>
                  <a:gd name="connsiteY38" fmla="*/ 896620 h 1597660"/>
                  <a:gd name="connsiteX39" fmla="*/ 640080 w 1008838"/>
                  <a:gd name="connsiteY39" fmla="*/ 1239520 h 1597660"/>
                  <a:gd name="connsiteX40" fmla="*/ 640080 w 1008838"/>
                  <a:gd name="connsiteY40" fmla="*/ 1597660 h 1597660"/>
                  <a:gd name="connsiteX41" fmla="*/ 457200 w 1008838"/>
                  <a:gd name="connsiteY41"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78839 w 1008838"/>
                  <a:gd name="connsiteY32" fmla="*/ 322580 h 1597660"/>
                  <a:gd name="connsiteX33" fmla="*/ 990600 w 1008838"/>
                  <a:gd name="connsiteY33" fmla="*/ 370840 h 1597660"/>
                  <a:gd name="connsiteX34" fmla="*/ 792480 w 1008838"/>
                  <a:gd name="connsiteY34" fmla="*/ 660400 h 1597660"/>
                  <a:gd name="connsiteX35" fmla="*/ 962660 w 1008838"/>
                  <a:gd name="connsiteY35" fmla="*/ 574040 h 1597660"/>
                  <a:gd name="connsiteX36" fmla="*/ 998220 w 1008838"/>
                  <a:gd name="connsiteY36" fmla="*/ 584200 h 1597660"/>
                  <a:gd name="connsiteX37" fmla="*/ 746760 w 1008838"/>
                  <a:gd name="connsiteY37" fmla="*/ 713740 h 1597660"/>
                  <a:gd name="connsiteX38" fmla="*/ 632460 w 1008838"/>
                  <a:gd name="connsiteY38" fmla="*/ 896620 h 1597660"/>
                  <a:gd name="connsiteX39" fmla="*/ 640080 w 1008838"/>
                  <a:gd name="connsiteY39" fmla="*/ 1239520 h 1597660"/>
                  <a:gd name="connsiteX40" fmla="*/ 640080 w 1008838"/>
                  <a:gd name="connsiteY40" fmla="*/ 1597660 h 1597660"/>
                  <a:gd name="connsiteX41" fmla="*/ 457200 w 1008838"/>
                  <a:gd name="connsiteY41"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78839 w 1008838"/>
                  <a:gd name="connsiteY32" fmla="*/ 322580 h 1597660"/>
                  <a:gd name="connsiteX33" fmla="*/ 942339 w 1008838"/>
                  <a:gd name="connsiteY33" fmla="*/ 347980 h 1597660"/>
                  <a:gd name="connsiteX34" fmla="*/ 990600 w 1008838"/>
                  <a:gd name="connsiteY34" fmla="*/ 370840 h 1597660"/>
                  <a:gd name="connsiteX35" fmla="*/ 792480 w 1008838"/>
                  <a:gd name="connsiteY35" fmla="*/ 660400 h 1597660"/>
                  <a:gd name="connsiteX36" fmla="*/ 962660 w 1008838"/>
                  <a:gd name="connsiteY36" fmla="*/ 574040 h 1597660"/>
                  <a:gd name="connsiteX37" fmla="*/ 998220 w 1008838"/>
                  <a:gd name="connsiteY37" fmla="*/ 584200 h 1597660"/>
                  <a:gd name="connsiteX38" fmla="*/ 746760 w 1008838"/>
                  <a:gd name="connsiteY38" fmla="*/ 713740 h 1597660"/>
                  <a:gd name="connsiteX39" fmla="*/ 632460 w 1008838"/>
                  <a:gd name="connsiteY39" fmla="*/ 896620 h 1597660"/>
                  <a:gd name="connsiteX40" fmla="*/ 640080 w 1008838"/>
                  <a:gd name="connsiteY40" fmla="*/ 1239520 h 1597660"/>
                  <a:gd name="connsiteX41" fmla="*/ 640080 w 1008838"/>
                  <a:gd name="connsiteY41" fmla="*/ 1597660 h 1597660"/>
                  <a:gd name="connsiteX42" fmla="*/ 457200 w 1008838"/>
                  <a:gd name="connsiteY42"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78839 w 1008838"/>
                  <a:gd name="connsiteY32" fmla="*/ 322580 h 1597660"/>
                  <a:gd name="connsiteX33" fmla="*/ 835659 w 1008838"/>
                  <a:gd name="connsiteY33" fmla="*/ 530860 h 1597660"/>
                  <a:gd name="connsiteX34" fmla="*/ 990600 w 1008838"/>
                  <a:gd name="connsiteY34" fmla="*/ 370840 h 1597660"/>
                  <a:gd name="connsiteX35" fmla="*/ 792480 w 1008838"/>
                  <a:gd name="connsiteY35" fmla="*/ 660400 h 1597660"/>
                  <a:gd name="connsiteX36" fmla="*/ 962660 w 1008838"/>
                  <a:gd name="connsiteY36" fmla="*/ 574040 h 1597660"/>
                  <a:gd name="connsiteX37" fmla="*/ 998220 w 1008838"/>
                  <a:gd name="connsiteY37" fmla="*/ 584200 h 1597660"/>
                  <a:gd name="connsiteX38" fmla="*/ 746760 w 1008838"/>
                  <a:gd name="connsiteY38" fmla="*/ 713740 h 1597660"/>
                  <a:gd name="connsiteX39" fmla="*/ 632460 w 1008838"/>
                  <a:gd name="connsiteY39" fmla="*/ 896620 h 1597660"/>
                  <a:gd name="connsiteX40" fmla="*/ 640080 w 1008838"/>
                  <a:gd name="connsiteY40" fmla="*/ 1239520 h 1597660"/>
                  <a:gd name="connsiteX41" fmla="*/ 640080 w 1008838"/>
                  <a:gd name="connsiteY41" fmla="*/ 1597660 h 1597660"/>
                  <a:gd name="connsiteX42" fmla="*/ 457200 w 1008838"/>
                  <a:gd name="connsiteY42"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78839 w 1008838"/>
                  <a:gd name="connsiteY32" fmla="*/ 322580 h 1597660"/>
                  <a:gd name="connsiteX33" fmla="*/ 835659 w 1008838"/>
                  <a:gd name="connsiteY33" fmla="*/ 530860 h 1597660"/>
                  <a:gd name="connsiteX34" fmla="*/ 990600 w 1008838"/>
                  <a:gd name="connsiteY34" fmla="*/ 370840 h 1597660"/>
                  <a:gd name="connsiteX35" fmla="*/ 929639 w 1008838"/>
                  <a:gd name="connsiteY35" fmla="*/ 462280 h 1597660"/>
                  <a:gd name="connsiteX36" fmla="*/ 792480 w 1008838"/>
                  <a:gd name="connsiteY36" fmla="*/ 660400 h 1597660"/>
                  <a:gd name="connsiteX37" fmla="*/ 962660 w 1008838"/>
                  <a:gd name="connsiteY37" fmla="*/ 574040 h 1597660"/>
                  <a:gd name="connsiteX38" fmla="*/ 998220 w 1008838"/>
                  <a:gd name="connsiteY38" fmla="*/ 584200 h 1597660"/>
                  <a:gd name="connsiteX39" fmla="*/ 746760 w 1008838"/>
                  <a:gd name="connsiteY39" fmla="*/ 713740 h 1597660"/>
                  <a:gd name="connsiteX40" fmla="*/ 632460 w 1008838"/>
                  <a:gd name="connsiteY40" fmla="*/ 896620 h 1597660"/>
                  <a:gd name="connsiteX41" fmla="*/ 640080 w 1008838"/>
                  <a:gd name="connsiteY41" fmla="*/ 1239520 h 1597660"/>
                  <a:gd name="connsiteX42" fmla="*/ 640080 w 1008838"/>
                  <a:gd name="connsiteY42" fmla="*/ 1597660 h 1597660"/>
                  <a:gd name="connsiteX43" fmla="*/ 457200 w 1008838"/>
                  <a:gd name="connsiteY43"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53440 w 1026159"/>
                  <a:gd name="connsiteY31" fmla="*/ 314960 h 1597660"/>
                  <a:gd name="connsiteX32" fmla="*/ 878839 w 1026159"/>
                  <a:gd name="connsiteY32" fmla="*/ 322580 h 1597660"/>
                  <a:gd name="connsiteX33" fmla="*/ 835659 w 1026159"/>
                  <a:gd name="connsiteY33" fmla="*/ 530860 h 1597660"/>
                  <a:gd name="connsiteX34" fmla="*/ 990600 w 1026159"/>
                  <a:gd name="connsiteY34" fmla="*/ 370840 h 1597660"/>
                  <a:gd name="connsiteX35" fmla="*/ 1026159 w 1026159"/>
                  <a:gd name="connsiteY35" fmla="*/ 370840 h 1597660"/>
                  <a:gd name="connsiteX36" fmla="*/ 792480 w 1026159"/>
                  <a:gd name="connsiteY36" fmla="*/ 660400 h 1597660"/>
                  <a:gd name="connsiteX37" fmla="*/ 962660 w 1026159"/>
                  <a:gd name="connsiteY37" fmla="*/ 574040 h 1597660"/>
                  <a:gd name="connsiteX38" fmla="*/ 998220 w 1026159"/>
                  <a:gd name="connsiteY38" fmla="*/ 584200 h 1597660"/>
                  <a:gd name="connsiteX39" fmla="*/ 746760 w 1026159"/>
                  <a:gd name="connsiteY39" fmla="*/ 713740 h 1597660"/>
                  <a:gd name="connsiteX40" fmla="*/ 632460 w 1026159"/>
                  <a:gd name="connsiteY40" fmla="*/ 896620 h 1597660"/>
                  <a:gd name="connsiteX41" fmla="*/ 640080 w 1026159"/>
                  <a:gd name="connsiteY41" fmla="*/ 1239520 h 1597660"/>
                  <a:gd name="connsiteX42" fmla="*/ 640080 w 1026159"/>
                  <a:gd name="connsiteY42" fmla="*/ 1597660 h 1597660"/>
                  <a:gd name="connsiteX43" fmla="*/ 457200 w 1026159"/>
                  <a:gd name="connsiteY43"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53440 w 1026159"/>
                  <a:gd name="connsiteY31" fmla="*/ 314960 h 1597660"/>
                  <a:gd name="connsiteX32" fmla="*/ 878839 w 1026159"/>
                  <a:gd name="connsiteY32" fmla="*/ 322580 h 1597660"/>
                  <a:gd name="connsiteX33" fmla="*/ 835659 w 1026159"/>
                  <a:gd name="connsiteY33" fmla="*/ 530860 h 1597660"/>
                  <a:gd name="connsiteX34" fmla="*/ 990600 w 1026159"/>
                  <a:gd name="connsiteY34" fmla="*/ 370840 h 1597660"/>
                  <a:gd name="connsiteX35" fmla="*/ 1026159 w 1026159"/>
                  <a:gd name="connsiteY35" fmla="*/ 370840 h 1597660"/>
                  <a:gd name="connsiteX36" fmla="*/ 878839 w 1026159"/>
                  <a:gd name="connsiteY36" fmla="*/ 551180 h 1597660"/>
                  <a:gd name="connsiteX37" fmla="*/ 792480 w 1026159"/>
                  <a:gd name="connsiteY37" fmla="*/ 660400 h 1597660"/>
                  <a:gd name="connsiteX38" fmla="*/ 962660 w 1026159"/>
                  <a:gd name="connsiteY38" fmla="*/ 574040 h 1597660"/>
                  <a:gd name="connsiteX39" fmla="*/ 998220 w 1026159"/>
                  <a:gd name="connsiteY39" fmla="*/ 584200 h 1597660"/>
                  <a:gd name="connsiteX40" fmla="*/ 746760 w 1026159"/>
                  <a:gd name="connsiteY40" fmla="*/ 713740 h 1597660"/>
                  <a:gd name="connsiteX41" fmla="*/ 632460 w 1026159"/>
                  <a:gd name="connsiteY41" fmla="*/ 896620 h 1597660"/>
                  <a:gd name="connsiteX42" fmla="*/ 640080 w 1026159"/>
                  <a:gd name="connsiteY42" fmla="*/ 1239520 h 1597660"/>
                  <a:gd name="connsiteX43" fmla="*/ 640080 w 1026159"/>
                  <a:gd name="connsiteY43" fmla="*/ 1597660 h 1597660"/>
                  <a:gd name="connsiteX44" fmla="*/ 457200 w 1026159"/>
                  <a:gd name="connsiteY44"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53440 w 1026159"/>
                  <a:gd name="connsiteY31" fmla="*/ 314960 h 1597660"/>
                  <a:gd name="connsiteX32" fmla="*/ 878839 w 1026159"/>
                  <a:gd name="connsiteY32" fmla="*/ 322580 h 1597660"/>
                  <a:gd name="connsiteX33" fmla="*/ 835659 w 1026159"/>
                  <a:gd name="connsiteY33" fmla="*/ 530860 h 1597660"/>
                  <a:gd name="connsiteX34" fmla="*/ 990600 w 1026159"/>
                  <a:gd name="connsiteY34" fmla="*/ 370840 h 1597660"/>
                  <a:gd name="connsiteX35" fmla="*/ 1026159 w 1026159"/>
                  <a:gd name="connsiteY35" fmla="*/ 370840 h 1597660"/>
                  <a:gd name="connsiteX36" fmla="*/ 858519 w 1026159"/>
                  <a:gd name="connsiteY36" fmla="*/ 551180 h 1597660"/>
                  <a:gd name="connsiteX37" fmla="*/ 792480 w 1026159"/>
                  <a:gd name="connsiteY37" fmla="*/ 660400 h 1597660"/>
                  <a:gd name="connsiteX38" fmla="*/ 962660 w 1026159"/>
                  <a:gd name="connsiteY38" fmla="*/ 574040 h 1597660"/>
                  <a:gd name="connsiteX39" fmla="*/ 998220 w 1026159"/>
                  <a:gd name="connsiteY39" fmla="*/ 584200 h 1597660"/>
                  <a:gd name="connsiteX40" fmla="*/ 746760 w 1026159"/>
                  <a:gd name="connsiteY40" fmla="*/ 713740 h 1597660"/>
                  <a:gd name="connsiteX41" fmla="*/ 632460 w 1026159"/>
                  <a:gd name="connsiteY41" fmla="*/ 896620 h 1597660"/>
                  <a:gd name="connsiteX42" fmla="*/ 640080 w 1026159"/>
                  <a:gd name="connsiteY42" fmla="*/ 1239520 h 1597660"/>
                  <a:gd name="connsiteX43" fmla="*/ 640080 w 1026159"/>
                  <a:gd name="connsiteY43" fmla="*/ 1597660 h 1597660"/>
                  <a:gd name="connsiteX44" fmla="*/ 457200 w 1026159"/>
                  <a:gd name="connsiteY44"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43279 w 1026159"/>
                  <a:gd name="connsiteY31" fmla="*/ 375920 h 1597660"/>
                  <a:gd name="connsiteX32" fmla="*/ 853440 w 1026159"/>
                  <a:gd name="connsiteY32" fmla="*/ 314960 h 1597660"/>
                  <a:gd name="connsiteX33" fmla="*/ 878839 w 1026159"/>
                  <a:gd name="connsiteY33" fmla="*/ 322580 h 1597660"/>
                  <a:gd name="connsiteX34" fmla="*/ 835659 w 1026159"/>
                  <a:gd name="connsiteY34" fmla="*/ 530860 h 1597660"/>
                  <a:gd name="connsiteX35" fmla="*/ 990600 w 1026159"/>
                  <a:gd name="connsiteY35" fmla="*/ 370840 h 1597660"/>
                  <a:gd name="connsiteX36" fmla="*/ 1026159 w 1026159"/>
                  <a:gd name="connsiteY36" fmla="*/ 370840 h 1597660"/>
                  <a:gd name="connsiteX37" fmla="*/ 858519 w 1026159"/>
                  <a:gd name="connsiteY37" fmla="*/ 551180 h 1597660"/>
                  <a:gd name="connsiteX38" fmla="*/ 792480 w 1026159"/>
                  <a:gd name="connsiteY38" fmla="*/ 660400 h 1597660"/>
                  <a:gd name="connsiteX39" fmla="*/ 962660 w 1026159"/>
                  <a:gd name="connsiteY39" fmla="*/ 574040 h 1597660"/>
                  <a:gd name="connsiteX40" fmla="*/ 998220 w 1026159"/>
                  <a:gd name="connsiteY40" fmla="*/ 584200 h 1597660"/>
                  <a:gd name="connsiteX41" fmla="*/ 746760 w 1026159"/>
                  <a:gd name="connsiteY41" fmla="*/ 713740 h 1597660"/>
                  <a:gd name="connsiteX42" fmla="*/ 632460 w 1026159"/>
                  <a:gd name="connsiteY42" fmla="*/ 896620 h 1597660"/>
                  <a:gd name="connsiteX43" fmla="*/ 640080 w 1026159"/>
                  <a:gd name="connsiteY43" fmla="*/ 1239520 h 1597660"/>
                  <a:gd name="connsiteX44" fmla="*/ 640080 w 1026159"/>
                  <a:gd name="connsiteY44" fmla="*/ 1597660 h 1597660"/>
                  <a:gd name="connsiteX45" fmla="*/ 457200 w 1026159"/>
                  <a:gd name="connsiteY45"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20419 w 1026159"/>
                  <a:gd name="connsiteY31" fmla="*/ 4775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20419 w 1026159"/>
                  <a:gd name="connsiteY31" fmla="*/ 477520 h 1597660"/>
                  <a:gd name="connsiteX32" fmla="*/ 833119 w 1026159"/>
                  <a:gd name="connsiteY32" fmla="*/ 408940 h 1597660"/>
                  <a:gd name="connsiteX33" fmla="*/ 843279 w 1026159"/>
                  <a:gd name="connsiteY33" fmla="*/ 375920 h 1597660"/>
                  <a:gd name="connsiteX34" fmla="*/ 853440 w 1026159"/>
                  <a:gd name="connsiteY34" fmla="*/ 314960 h 1597660"/>
                  <a:gd name="connsiteX35" fmla="*/ 878839 w 1026159"/>
                  <a:gd name="connsiteY35" fmla="*/ 322580 h 1597660"/>
                  <a:gd name="connsiteX36" fmla="*/ 835659 w 1026159"/>
                  <a:gd name="connsiteY36" fmla="*/ 530860 h 1597660"/>
                  <a:gd name="connsiteX37" fmla="*/ 990600 w 1026159"/>
                  <a:gd name="connsiteY37" fmla="*/ 370840 h 1597660"/>
                  <a:gd name="connsiteX38" fmla="*/ 1026159 w 1026159"/>
                  <a:gd name="connsiteY38" fmla="*/ 3708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20419 w 1026159"/>
                  <a:gd name="connsiteY31" fmla="*/ 477520 h 1597660"/>
                  <a:gd name="connsiteX32" fmla="*/ 792479 w 1026159"/>
                  <a:gd name="connsiteY32" fmla="*/ 337820 h 1597660"/>
                  <a:gd name="connsiteX33" fmla="*/ 843279 w 1026159"/>
                  <a:gd name="connsiteY33" fmla="*/ 375920 h 1597660"/>
                  <a:gd name="connsiteX34" fmla="*/ 853440 w 1026159"/>
                  <a:gd name="connsiteY34" fmla="*/ 314960 h 1597660"/>
                  <a:gd name="connsiteX35" fmla="*/ 878839 w 1026159"/>
                  <a:gd name="connsiteY35" fmla="*/ 322580 h 1597660"/>
                  <a:gd name="connsiteX36" fmla="*/ 835659 w 1026159"/>
                  <a:gd name="connsiteY36" fmla="*/ 530860 h 1597660"/>
                  <a:gd name="connsiteX37" fmla="*/ 990600 w 1026159"/>
                  <a:gd name="connsiteY37" fmla="*/ 370840 h 1597660"/>
                  <a:gd name="connsiteX38" fmla="*/ 1026159 w 1026159"/>
                  <a:gd name="connsiteY38" fmla="*/ 3708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40739 w 1026159"/>
                  <a:gd name="connsiteY31" fmla="*/ 396240 h 1597660"/>
                  <a:gd name="connsiteX32" fmla="*/ 792479 w 1026159"/>
                  <a:gd name="connsiteY32" fmla="*/ 337820 h 1597660"/>
                  <a:gd name="connsiteX33" fmla="*/ 843279 w 1026159"/>
                  <a:gd name="connsiteY33" fmla="*/ 375920 h 1597660"/>
                  <a:gd name="connsiteX34" fmla="*/ 853440 w 1026159"/>
                  <a:gd name="connsiteY34" fmla="*/ 314960 h 1597660"/>
                  <a:gd name="connsiteX35" fmla="*/ 878839 w 1026159"/>
                  <a:gd name="connsiteY35" fmla="*/ 322580 h 1597660"/>
                  <a:gd name="connsiteX36" fmla="*/ 835659 w 1026159"/>
                  <a:gd name="connsiteY36" fmla="*/ 530860 h 1597660"/>
                  <a:gd name="connsiteX37" fmla="*/ 990600 w 1026159"/>
                  <a:gd name="connsiteY37" fmla="*/ 370840 h 1597660"/>
                  <a:gd name="connsiteX38" fmla="*/ 1026159 w 1026159"/>
                  <a:gd name="connsiteY38" fmla="*/ 3708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6096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40739 w 1026159"/>
                  <a:gd name="connsiteY31" fmla="*/ 396240 h 1597660"/>
                  <a:gd name="connsiteX32" fmla="*/ 792479 w 1026159"/>
                  <a:gd name="connsiteY32" fmla="*/ 337820 h 1597660"/>
                  <a:gd name="connsiteX33" fmla="*/ 843279 w 1026159"/>
                  <a:gd name="connsiteY33" fmla="*/ 375920 h 1597660"/>
                  <a:gd name="connsiteX34" fmla="*/ 853440 w 1026159"/>
                  <a:gd name="connsiteY34" fmla="*/ 314960 h 1597660"/>
                  <a:gd name="connsiteX35" fmla="*/ 878839 w 1026159"/>
                  <a:gd name="connsiteY35" fmla="*/ 322580 h 1597660"/>
                  <a:gd name="connsiteX36" fmla="*/ 835659 w 1026159"/>
                  <a:gd name="connsiteY36" fmla="*/ 530860 h 1597660"/>
                  <a:gd name="connsiteX37" fmla="*/ 990600 w 1026159"/>
                  <a:gd name="connsiteY37" fmla="*/ 370840 h 1597660"/>
                  <a:gd name="connsiteX38" fmla="*/ 1026159 w 1026159"/>
                  <a:gd name="connsiteY38" fmla="*/ 3708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64539 w 1026159"/>
                  <a:gd name="connsiteY23" fmla="*/ 106680 h 1597660"/>
                  <a:gd name="connsiteX24" fmla="*/ 896620 w 1026159"/>
                  <a:gd name="connsiteY24" fmla="*/ 30480 h 1597660"/>
                  <a:gd name="connsiteX25" fmla="*/ 769619 w 1026159"/>
                  <a:gd name="connsiteY25" fmla="*/ 13716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85140 w 1026159"/>
                  <a:gd name="connsiteY13" fmla="*/ 12700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64539 w 1026159"/>
                  <a:gd name="connsiteY23" fmla="*/ 106680 h 1597660"/>
                  <a:gd name="connsiteX24" fmla="*/ 896620 w 1026159"/>
                  <a:gd name="connsiteY24" fmla="*/ 30480 h 1597660"/>
                  <a:gd name="connsiteX25" fmla="*/ 769619 w 1026159"/>
                  <a:gd name="connsiteY25" fmla="*/ 13716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85140 w 1026159"/>
                  <a:gd name="connsiteY13" fmla="*/ 12700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51839 w 1026159"/>
                  <a:gd name="connsiteY23" fmla="*/ 127000 h 1597660"/>
                  <a:gd name="connsiteX24" fmla="*/ 896620 w 1026159"/>
                  <a:gd name="connsiteY24" fmla="*/ 30480 h 1597660"/>
                  <a:gd name="connsiteX25" fmla="*/ 769619 w 1026159"/>
                  <a:gd name="connsiteY25" fmla="*/ 13716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85140 w 1026159"/>
                  <a:gd name="connsiteY13" fmla="*/ 12700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51839 w 1026159"/>
                  <a:gd name="connsiteY23" fmla="*/ 127000 h 1597660"/>
                  <a:gd name="connsiteX24" fmla="*/ 896620 w 1026159"/>
                  <a:gd name="connsiteY24" fmla="*/ 30480 h 1597660"/>
                  <a:gd name="connsiteX25" fmla="*/ 772159 w 1026159"/>
                  <a:gd name="connsiteY25" fmla="*/ 14478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85140 w 1026159"/>
                  <a:gd name="connsiteY13" fmla="*/ 12700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51839 w 1026159"/>
                  <a:gd name="connsiteY23" fmla="*/ 127000 h 1597660"/>
                  <a:gd name="connsiteX24" fmla="*/ 896620 w 1026159"/>
                  <a:gd name="connsiteY24" fmla="*/ 30480 h 1597660"/>
                  <a:gd name="connsiteX25" fmla="*/ 772159 w 1026159"/>
                  <a:gd name="connsiteY25" fmla="*/ 14478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995679 w 1026159"/>
                  <a:gd name="connsiteY38" fmla="*/ 3962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90600 w 1214119"/>
                  <a:gd name="connsiteY36" fmla="*/ 370840 h 1597660"/>
                  <a:gd name="connsiteX37" fmla="*/ 1214119 w 1214119"/>
                  <a:gd name="connsiteY37" fmla="*/ 292100 h 1597660"/>
                  <a:gd name="connsiteX38" fmla="*/ 995679 w 1214119"/>
                  <a:gd name="connsiteY38" fmla="*/ 396240 h 1597660"/>
                  <a:gd name="connsiteX39" fmla="*/ 858519 w 1214119"/>
                  <a:gd name="connsiteY39" fmla="*/ 551180 h 1597660"/>
                  <a:gd name="connsiteX40" fmla="*/ 792480 w 1214119"/>
                  <a:gd name="connsiteY40" fmla="*/ 660400 h 1597660"/>
                  <a:gd name="connsiteX41" fmla="*/ 962660 w 1214119"/>
                  <a:gd name="connsiteY41" fmla="*/ 574040 h 1597660"/>
                  <a:gd name="connsiteX42" fmla="*/ 998220 w 1214119"/>
                  <a:gd name="connsiteY42" fmla="*/ 584200 h 1597660"/>
                  <a:gd name="connsiteX43" fmla="*/ 746760 w 1214119"/>
                  <a:gd name="connsiteY43" fmla="*/ 713740 h 1597660"/>
                  <a:gd name="connsiteX44" fmla="*/ 632460 w 1214119"/>
                  <a:gd name="connsiteY44" fmla="*/ 896620 h 1597660"/>
                  <a:gd name="connsiteX45" fmla="*/ 640080 w 1214119"/>
                  <a:gd name="connsiteY45" fmla="*/ 1239520 h 1597660"/>
                  <a:gd name="connsiteX46" fmla="*/ 640080 w 1214119"/>
                  <a:gd name="connsiteY46" fmla="*/ 1597660 h 1597660"/>
                  <a:gd name="connsiteX47" fmla="*/ 457200 w 1214119"/>
                  <a:gd name="connsiteY4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90600 w 1214119"/>
                  <a:gd name="connsiteY36" fmla="*/ 370840 h 1597660"/>
                  <a:gd name="connsiteX37" fmla="*/ 1021079 w 1214119"/>
                  <a:gd name="connsiteY37" fmla="*/ 360680 h 1597660"/>
                  <a:gd name="connsiteX38" fmla="*/ 1214119 w 1214119"/>
                  <a:gd name="connsiteY38" fmla="*/ 292100 h 1597660"/>
                  <a:gd name="connsiteX39" fmla="*/ 995679 w 1214119"/>
                  <a:gd name="connsiteY39" fmla="*/ 396240 h 1597660"/>
                  <a:gd name="connsiteX40" fmla="*/ 858519 w 1214119"/>
                  <a:gd name="connsiteY40" fmla="*/ 551180 h 1597660"/>
                  <a:gd name="connsiteX41" fmla="*/ 792480 w 1214119"/>
                  <a:gd name="connsiteY41" fmla="*/ 660400 h 1597660"/>
                  <a:gd name="connsiteX42" fmla="*/ 962660 w 1214119"/>
                  <a:gd name="connsiteY42" fmla="*/ 574040 h 1597660"/>
                  <a:gd name="connsiteX43" fmla="*/ 998220 w 1214119"/>
                  <a:gd name="connsiteY43" fmla="*/ 584200 h 1597660"/>
                  <a:gd name="connsiteX44" fmla="*/ 746760 w 1214119"/>
                  <a:gd name="connsiteY44" fmla="*/ 713740 h 1597660"/>
                  <a:gd name="connsiteX45" fmla="*/ 632460 w 1214119"/>
                  <a:gd name="connsiteY45" fmla="*/ 896620 h 1597660"/>
                  <a:gd name="connsiteX46" fmla="*/ 640080 w 1214119"/>
                  <a:gd name="connsiteY46" fmla="*/ 1239520 h 1597660"/>
                  <a:gd name="connsiteX47" fmla="*/ 640080 w 1214119"/>
                  <a:gd name="connsiteY47" fmla="*/ 1597660 h 1597660"/>
                  <a:gd name="connsiteX48" fmla="*/ 457200 w 1214119"/>
                  <a:gd name="connsiteY48"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72819 w 1214119"/>
                  <a:gd name="connsiteY36" fmla="*/ 386080 h 1597660"/>
                  <a:gd name="connsiteX37" fmla="*/ 990600 w 1214119"/>
                  <a:gd name="connsiteY37" fmla="*/ 370840 h 1597660"/>
                  <a:gd name="connsiteX38" fmla="*/ 10210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72819 w 1214119"/>
                  <a:gd name="connsiteY36" fmla="*/ 386080 h 1597660"/>
                  <a:gd name="connsiteX37" fmla="*/ 955040 w 1214119"/>
                  <a:gd name="connsiteY37" fmla="*/ 190500 h 1597660"/>
                  <a:gd name="connsiteX38" fmla="*/ 10210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95679 w 1214119"/>
                  <a:gd name="connsiteY36" fmla="*/ 373380 h 1597660"/>
                  <a:gd name="connsiteX37" fmla="*/ 955040 w 1214119"/>
                  <a:gd name="connsiteY37" fmla="*/ 190500 h 1597660"/>
                  <a:gd name="connsiteX38" fmla="*/ 10210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95679 w 1214119"/>
                  <a:gd name="connsiteY36" fmla="*/ 373380 h 1597660"/>
                  <a:gd name="connsiteX37" fmla="*/ 955040 w 1214119"/>
                  <a:gd name="connsiteY37" fmla="*/ 190500 h 1597660"/>
                  <a:gd name="connsiteX38" fmla="*/ 10083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214119 w 1214119"/>
                  <a:gd name="connsiteY40" fmla="*/ 292100 h 1597660"/>
                  <a:gd name="connsiteX41" fmla="*/ 995679 w 1214119"/>
                  <a:gd name="connsiteY41" fmla="*/ 396240 h 1597660"/>
                  <a:gd name="connsiteX42" fmla="*/ 858519 w 1214119"/>
                  <a:gd name="connsiteY42" fmla="*/ 551180 h 1597660"/>
                  <a:gd name="connsiteX43" fmla="*/ 792480 w 1214119"/>
                  <a:gd name="connsiteY43" fmla="*/ 660400 h 1597660"/>
                  <a:gd name="connsiteX44" fmla="*/ 962660 w 1214119"/>
                  <a:gd name="connsiteY44" fmla="*/ 574040 h 1597660"/>
                  <a:gd name="connsiteX45" fmla="*/ 998220 w 1214119"/>
                  <a:gd name="connsiteY45" fmla="*/ 584200 h 1597660"/>
                  <a:gd name="connsiteX46" fmla="*/ 746760 w 1214119"/>
                  <a:gd name="connsiteY46" fmla="*/ 713740 h 1597660"/>
                  <a:gd name="connsiteX47" fmla="*/ 632460 w 1214119"/>
                  <a:gd name="connsiteY47" fmla="*/ 896620 h 1597660"/>
                  <a:gd name="connsiteX48" fmla="*/ 640080 w 1214119"/>
                  <a:gd name="connsiteY48" fmla="*/ 1239520 h 1597660"/>
                  <a:gd name="connsiteX49" fmla="*/ 640080 w 1214119"/>
                  <a:gd name="connsiteY49" fmla="*/ 1597660 h 1597660"/>
                  <a:gd name="connsiteX50" fmla="*/ 457200 w 1214119"/>
                  <a:gd name="connsiteY50"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089659 w 1214119"/>
                  <a:gd name="connsiteY40" fmla="*/ 332740 h 1597660"/>
                  <a:gd name="connsiteX41" fmla="*/ 1214119 w 1214119"/>
                  <a:gd name="connsiteY41" fmla="*/ 292100 h 1597660"/>
                  <a:gd name="connsiteX42" fmla="*/ 995679 w 1214119"/>
                  <a:gd name="connsiteY42" fmla="*/ 396240 h 1597660"/>
                  <a:gd name="connsiteX43" fmla="*/ 858519 w 1214119"/>
                  <a:gd name="connsiteY43" fmla="*/ 551180 h 1597660"/>
                  <a:gd name="connsiteX44" fmla="*/ 792480 w 1214119"/>
                  <a:gd name="connsiteY44" fmla="*/ 660400 h 1597660"/>
                  <a:gd name="connsiteX45" fmla="*/ 962660 w 1214119"/>
                  <a:gd name="connsiteY45" fmla="*/ 574040 h 1597660"/>
                  <a:gd name="connsiteX46" fmla="*/ 998220 w 1214119"/>
                  <a:gd name="connsiteY46" fmla="*/ 584200 h 1597660"/>
                  <a:gd name="connsiteX47" fmla="*/ 746760 w 1214119"/>
                  <a:gd name="connsiteY47" fmla="*/ 713740 h 1597660"/>
                  <a:gd name="connsiteX48" fmla="*/ 632460 w 1214119"/>
                  <a:gd name="connsiteY48" fmla="*/ 896620 h 1597660"/>
                  <a:gd name="connsiteX49" fmla="*/ 640080 w 1214119"/>
                  <a:gd name="connsiteY49" fmla="*/ 1239520 h 1597660"/>
                  <a:gd name="connsiteX50" fmla="*/ 640080 w 1214119"/>
                  <a:gd name="connsiteY50" fmla="*/ 1597660 h 1597660"/>
                  <a:gd name="connsiteX51" fmla="*/ 457200 w 1214119"/>
                  <a:gd name="connsiteY51"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214119 w 1214119"/>
                  <a:gd name="connsiteY41" fmla="*/ 292100 h 1597660"/>
                  <a:gd name="connsiteX42" fmla="*/ 995679 w 1214119"/>
                  <a:gd name="connsiteY42" fmla="*/ 396240 h 1597660"/>
                  <a:gd name="connsiteX43" fmla="*/ 858519 w 1214119"/>
                  <a:gd name="connsiteY43" fmla="*/ 551180 h 1597660"/>
                  <a:gd name="connsiteX44" fmla="*/ 792480 w 1214119"/>
                  <a:gd name="connsiteY44" fmla="*/ 660400 h 1597660"/>
                  <a:gd name="connsiteX45" fmla="*/ 962660 w 1214119"/>
                  <a:gd name="connsiteY45" fmla="*/ 574040 h 1597660"/>
                  <a:gd name="connsiteX46" fmla="*/ 998220 w 1214119"/>
                  <a:gd name="connsiteY46" fmla="*/ 584200 h 1597660"/>
                  <a:gd name="connsiteX47" fmla="*/ 746760 w 1214119"/>
                  <a:gd name="connsiteY47" fmla="*/ 713740 h 1597660"/>
                  <a:gd name="connsiteX48" fmla="*/ 632460 w 1214119"/>
                  <a:gd name="connsiteY48" fmla="*/ 896620 h 1597660"/>
                  <a:gd name="connsiteX49" fmla="*/ 640080 w 1214119"/>
                  <a:gd name="connsiteY49" fmla="*/ 1239520 h 1597660"/>
                  <a:gd name="connsiteX50" fmla="*/ 640080 w 1214119"/>
                  <a:gd name="connsiteY50" fmla="*/ 1597660 h 1597660"/>
                  <a:gd name="connsiteX51" fmla="*/ 457200 w 1214119"/>
                  <a:gd name="connsiteY51"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127759 w 1214119"/>
                  <a:gd name="connsiteY41" fmla="*/ 24384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62660 w 1214119"/>
                  <a:gd name="connsiteY46" fmla="*/ 574040 h 1597660"/>
                  <a:gd name="connsiteX47" fmla="*/ 998220 w 1214119"/>
                  <a:gd name="connsiteY47" fmla="*/ 58420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62660 w 1214119"/>
                  <a:gd name="connsiteY46" fmla="*/ 574040 h 1597660"/>
                  <a:gd name="connsiteX47" fmla="*/ 998220 w 1214119"/>
                  <a:gd name="connsiteY47" fmla="*/ 58420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72820 w 1214119"/>
                  <a:gd name="connsiteY37" fmla="*/ 27432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62660 w 1214119"/>
                  <a:gd name="connsiteY46" fmla="*/ 574040 h 1597660"/>
                  <a:gd name="connsiteX47" fmla="*/ 998220 w 1214119"/>
                  <a:gd name="connsiteY47" fmla="*/ 58420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72820 w 1214119"/>
                  <a:gd name="connsiteY37" fmla="*/ 27432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32180 w 1214119"/>
                  <a:gd name="connsiteY46" fmla="*/ 566420 h 1597660"/>
                  <a:gd name="connsiteX47" fmla="*/ 998220 w 1214119"/>
                  <a:gd name="connsiteY47" fmla="*/ 58420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72820 w 1214119"/>
                  <a:gd name="connsiteY37" fmla="*/ 27432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32180 w 1214119"/>
                  <a:gd name="connsiteY46" fmla="*/ 566420 h 1597660"/>
                  <a:gd name="connsiteX47" fmla="*/ 970280 w 1214119"/>
                  <a:gd name="connsiteY47" fmla="*/ 56896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72820 w 1214119"/>
                  <a:gd name="connsiteY37" fmla="*/ 27432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32180 w 1214119"/>
                  <a:gd name="connsiteY46" fmla="*/ 566420 h 1597660"/>
                  <a:gd name="connsiteX47" fmla="*/ 970280 w 1214119"/>
                  <a:gd name="connsiteY47" fmla="*/ 568960 h 1597660"/>
                  <a:gd name="connsiteX48" fmla="*/ 772160 w 1214119"/>
                  <a:gd name="connsiteY48" fmla="*/ 7010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525780 w 1214119"/>
                  <a:gd name="connsiteY12" fmla="*/ 599440 h 1597660"/>
                  <a:gd name="connsiteX13" fmla="*/ 563880 w 1214119"/>
                  <a:gd name="connsiteY13" fmla="*/ 378460 h 1597660"/>
                  <a:gd name="connsiteX14" fmla="*/ 485140 w 1214119"/>
                  <a:gd name="connsiteY14" fmla="*/ 127000 h 1597660"/>
                  <a:gd name="connsiteX15" fmla="*/ 419100 w 1214119"/>
                  <a:gd name="connsiteY15" fmla="*/ 60960 h 1597660"/>
                  <a:gd name="connsiteX16" fmla="*/ 495300 w 1214119"/>
                  <a:gd name="connsiteY16" fmla="*/ 111760 h 1597660"/>
                  <a:gd name="connsiteX17" fmla="*/ 530859 w 1214119"/>
                  <a:gd name="connsiteY17" fmla="*/ 187960 h 1597660"/>
                  <a:gd name="connsiteX18" fmla="*/ 622299 w 1214119"/>
                  <a:gd name="connsiteY18" fmla="*/ 20320 h 1597660"/>
                  <a:gd name="connsiteX19" fmla="*/ 546099 w 1214119"/>
                  <a:gd name="connsiteY19" fmla="*/ 223520 h 1597660"/>
                  <a:gd name="connsiteX20" fmla="*/ 594360 w 1214119"/>
                  <a:gd name="connsiteY20" fmla="*/ 355600 h 1597660"/>
                  <a:gd name="connsiteX21" fmla="*/ 723899 w 1214119"/>
                  <a:gd name="connsiteY21" fmla="*/ 132080 h 1597660"/>
                  <a:gd name="connsiteX22" fmla="*/ 693420 w 1214119"/>
                  <a:gd name="connsiteY22" fmla="*/ 30480 h 1597660"/>
                  <a:gd name="connsiteX23" fmla="*/ 708659 w 1214119"/>
                  <a:gd name="connsiteY23" fmla="*/ 0 h 1597660"/>
                  <a:gd name="connsiteX24" fmla="*/ 751839 w 1214119"/>
                  <a:gd name="connsiteY24" fmla="*/ 127000 h 1597660"/>
                  <a:gd name="connsiteX25" fmla="*/ 896620 w 1214119"/>
                  <a:gd name="connsiteY25" fmla="*/ 30480 h 1597660"/>
                  <a:gd name="connsiteX26" fmla="*/ 772159 w 1214119"/>
                  <a:gd name="connsiteY26" fmla="*/ 144780 h 1597660"/>
                  <a:gd name="connsiteX27" fmla="*/ 632460 w 1214119"/>
                  <a:gd name="connsiteY27" fmla="*/ 393700 h 1597660"/>
                  <a:gd name="connsiteX28" fmla="*/ 604520 w 1214119"/>
                  <a:gd name="connsiteY28" fmla="*/ 591820 h 1597660"/>
                  <a:gd name="connsiteX29" fmla="*/ 624840 w 1214119"/>
                  <a:gd name="connsiteY29" fmla="*/ 789940 h 1597660"/>
                  <a:gd name="connsiteX30" fmla="*/ 807719 w 1214119"/>
                  <a:gd name="connsiteY30" fmla="*/ 548640 h 1597660"/>
                  <a:gd name="connsiteX31" fmla="*/ 840739 w 1214119"/>
                  <a:gd name="connsiteY31" fmla="*/ 396240 h 1597660"/>
                  <a:gd name="connsiteX32" fmla="*/ 792479 w 1214119"/>
                  <a:gd name="connsiteY32" fmla="*/ 337820 h 1597660"/>
                  <a:gd name="connsiteX33" fmla="*/ 843279 w 1214119"/>
                  <a:gd name="connsiteY33" fmla="*/ 375920 h 1597660"/>
                  <a:gd name="connsiteX34" fmla="*/ 853440 w 1214119"/>
                  <a:gd name="connsiteY34" fmla="*/ 314960 h 1597660"/>
                  <a:gd name="connsiteX35" fmla="*/ 878839 w 1214119"/>
                  <a:gd name="connsiteY35" fmla="*/ 322580 h 1597660"/>
                  <a:gd name="connsiteX36" fmla="*/ 835659 w 1214119"/>
                  <a:gd name="connsiteY36" fmla="*/ 530860 h 1597660"/>
                  <a:gd name="connsiteX37" fmla="*/ 985519 w 1214119"/>
                  <a:gd name="connsiteY37" fmla="*/ 360680 h 1597660"/>
                  <a:gd name="connsiteX38" fmla="*/ 972820 w 1214119"/>
                  <a:gd name="connsiteY38" fmla="*/ 274320 h 1597660"/>
                  <a:gd name="connsiteX39" fmla="*/ 1008379 w 1214119"/>
                  <a:gd name="connsiteY39" fmla="*/ 360680 h 1597660"/>
                  <a:gd name="connsiteX40" fmla="*/ 1069339 w 1214119"/>
                  <a:gd name="connsiteY40" fmla="*/ 337820 h 1597660"/>
                  <a:gd name="connsiteX41" fmla="*/ 1084579 w 1214119"/>
                  <a:gd name="connsiteY41" fmla="*/ 220980 h 1597660"/>
                  <a:gd name="connsiteX42" fmla="*/ 1089659 w 1214119"/>
                  <a:gd name="connsiteY42" fmla="*/ 335280 h 1597660"/>
                  <a:gd name="connsiteX43" fmla="*/ 1214119 w 1214119"/>
                  <a:gd name="connsiteY43" fmla="*/ 292100 h 1597660"/>
                  <a:gd name="connsiteX44" fmla="*/ 995679 w 1214119"/>
                  <a:gd name="connsiteY44" fmla="*/ 396240 h 1597660"/>
                  <a:gd name="connsiteX45" fmla="*/ 858519 w 1214119"/>
                  <a:gd name="connsiteY45" fmla="*/ 551180 h 1597660"/>
                  <a:gd name="connsiteX46" fmla="*/ 792480 w 1214119"/>
                  <a:gd name="connsiteY46" fmla="*/ 660400 h 1597660"/>
                  <a:gd name="connsiteX47" fmla="*/ 932180 w 1214119"/>
                  <a:gd name="connsiteY47" fmla="*/ 566420 h 1597660"/>
                  <a:gd name="connsiteX48" fmla="*/ 970280 w 1214119"/>
                  <a:gd name="connsiteY48" fmla="*/ 568960 h 1597660"/>
                  <a:gd name="connsiteX49" fmla="*/ 772160 w 1214119"/>
                  <a:gd name="connsiteY49" fmla="*/ 701040 h 1597660"/>
                  <a:gd name="connsiteX50" fmla="*/ 632460 w 1214119"/>
                  <a:gd name="connsiteY50" fmla="*/ 896620 h 1597660"/>
                  <a:gd name="connsiteX51" fmla="*/ 640080 w 1214119"/>
                  <a:gd name="connsiteY51" fmla="*/ 1239520 h 1597660"/>
                  <a:gd name="connsiteX52" fmla="*/ 640080 w 1214119"/>
                  <a:gd name="connsiteY52" fmla="*/ 1597660 h 1597660"/>
                  <a:gd name="connsiteX53" fmla="*/ 457200 w 1214119"/>
                  <a:gd name="connsiteY53"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454659 w 1214119"/>
                  <a:gd name="connsiteY12" fmla="*/ 561340 h 1597660"/>
                  <a:gd name="connsiteX13" fmla="*/ 525780 w 1214119"/>
                  <a:gd name="connsiteY13" fmla="*/ 599440 h 1597660"/>
                  <a:gd name="connsiteX14" fmla="*/ 563880 w 1214119"/>
                  <a:gd name="connsiteY14" fmla="*/ 378460 h 1597660"/>
                  <a:gd name="connsiteX15" fmla="*/ 485140 w 1214119"/>
                  <a:gd name="connsiteY15" fmla="*/ 127000 h 1597660"/>
                  <a:gd name="connsiteX16" fmla="*/ 419100 w 1214119"/>
                  <a:gd name="connsiteY16" fmla="*/ 60960 h 1597660"/>
                  <a:gd name="connsiteX17" fmla="*/ 495300 w 1214119"/>
                  <a:gd name="connsiteY17" fmla="*/ 111760 h 1597660"/>
                  <a:gd name="connsiteX18" fmla="*/ 530859 w 1214119"/>
                  <a:gd name="connsiteY18" fmla="*/ 187960 h 1597660"/>
                  <a:gd name="connsiteX19" fmla="*/ 622299 w 1214119"/>
                  <a:gd name="connsiteY19" fmla="*/ 20320 h 1597660"/>
                  <a:gd name="connsiteX20" fmla="*/ 546099 w 1214119"/>
                  <a:gd name="connsiteY20" fmla="*/ 223520 h 1597660"/>
                  <a:gd name="connsiteX21" fmla="*/ 594360 w 1214119"/>
                  <a:gd name="connsiteY21" fmla="*/ 355600 h 1597660"/>
                  <a:gd name="connsiteX22" fmla="*/ 723899 w 1214119"/>
                  <a:gd name="connsiteY22" fmla="*/ 132080 h 1597660"/>
                  <a:gd name="connsiteX23" fmla="*/ 693420 w 1214119"/>
                  <a:gd name="connsiteY23" fmla="*/ 30480 h 1597660"/>
                  <a:gd name="connsiteX24" fmla="*/ 708659 w 1214119"/>
                  <a:gd name="connsiteY24" fmla="*/ 0 h 1597660"/>
                  <a:gd name="connsiteX25" fmla="*/ 751839 w 1214119"/>
                  <a:gd name="connsiteY25" fmla="*/ 127000 h 1597660"/>
                  <a:gd name="connsiteX26" fmla="*/ 896620 w 1214119"/>
                  <a:gd name="connsiteY26" fmla="*/ 30480 h 1597660"/>
                  <a:gd name="connsiteX27" fmla="*/ 772159 w 1214119"/>
                  <a:gd name="connsiteY27" fmla="*/ 144780 h 1597660"/>
                  <a:gd name="connsiteX28" fmla="*/ 632460 w 1214119"/>
                  <a:gd name="connsiteY28" fmla="*/ 393700 h 1597660"/>
                  <a:gd name="connsiteX29" fmla="*/ 604520 w 1214119"/>
                  <a:gd name="connsiteY29" fmla="*/ 591820 h 1597660"/>
                  <a:gd name="connsiteX30" fmla="*/ 624840 w 1214119"/>
                  <a:gd name="connsiteY30" fmla="*/ 789940 h 1597660"/>
                  <a:gd name="connsiteX31" fmla="*/ 807719 w 1214119"/>
                  <a:gd name="connsiteY31" fmla="*/ 548640 h 1597660"/>
                  <a:gd name="connsiteX32" fmla="*/ 840739 w 1214119"/>
                  <a:gd name="connsiteY32" fmla="*/ 396240 h 1597660"/>
                  <a:gd name="connsiteX33" fmla="*/ 792479 w 1214119"/>
                  <a:gd name="connsiteY33" fmla="*/ 337820 h 1597660"/>
                  <a:gd name="connsiteX34" fmla="*/ 843279 w 1214119"/>
                  <a:gd name="connsiteY34" fmla="*/ 375920 h 1597660"/>
                  <a:gd name="connsiteX35" fmla="*/ 853440 w 1214119"/>
                  <a:gd name="connsiteY35" fmla="*/ 314960 h 1597660"/>
                  <a:gd name="connsiteX36" fmla="*/ 878839 w 1214119"/>
                  <a:gd name="connsiteY36" fmla="*/ 322580 h 1597660"/>
                  <a:gd name="connsiteX37" fmla="*/ 835659 w 1214119"/>
                  <a:gd name="connsiteY37" fmla="*/ 530860 h 1597660"/>
                  <a:gd name="connsiteX38" fmla="*/ 985519 w 1214119"/>
                  <a:gd name="connsiteY38" fmla="*/ 360680 h 1597660"/>
                  <a:gd name="connsiteX39" fmla="*/ 972820 w 1214119"/>
                  <a:gd name="connsiteY39" fmla="*/ 274320 h 1597660"/>
                  <a:gd name="connsiteX40" fmla="*/ 1008379 w 1214119"/>
                  <a:gd name="connsiteY40" fmla="*/ 360680 h 1597660"/>
                  <a:gd name="connsiteX41" fmla="*/ 1069339 w 1214119"/>
                  <a:gd name="connsiteY41" fmla="*/ 337820 h 1597660"/>
                  <a:gd name="connsiteX42" fmla="*/ 1084579 w 1214119"/>
                  <a:gd name="connsiteY42" fmla="*/ 220980 h 1597660"/>
                  <a:gd name="connsiteX43" fmla="*/ 1089659 w 1214119"/>
                  <a:gd name="connsiteY43" fmla="*/ 335280 h 1597660"/>
                  <a:gd name="connsiteX44" fmla="*/ 1214119 w 1214119"/>
                  <a:gd name="connsiteY44" fmla="*/ 292100 h 1597660"/>
                  <a:gd name="connsiteX45" fmla="*/ 995679 w 1214119"/>
                  <a:gd name="connsiteY45" fmla="*/ 396240 h 1597660"/>
                  <a:gd name="connsiteX46" fmla="*/ 858519 w 1214119"/>
                  <a:gd name="connsiteY46" fmla="*/ 551180 h 1597660"/>
                  <a:gd name="connsiteX47" fmla="*/ 792480 w 1214119"/>
                  <a:gd name="connsiteY47" fmla="*/ 660400 h 1597660"/>
                  <a:gd name="connsiteX48" fmla="*/ 932180 w 1214119"/>
                  <a:gd name="connsiteY48" fmla="*/ 566420 h 1597660"/>
                  <a:gd name="connsiteX49" fmla="*/ 970280 w 1214119"/>
                  <a:gd name="connsiteY49" fmla="*/ 568960 h 1597660"/>
                  <a:gd name="connsiteX50" fmla="*/ 772160 w 1214119"/>
                  <a:gd name="connsiteY50" fmla="*/ 701040 h 1597660"/>
                  <a:gd name="connsiteX51" fmla="*/ 632460 w 1214119"/>
                  <a:gd name="connsiteY51" fmla="*/ 896620 h 1597660"/>
                  <a:gd name="connsiteX52" fmla="*/ 640080 w 1214119"/>
                  <a:gd name="connsiteY52" fmla="*/ 1239520 h 1597660"/>
                  <a:gd name="connsiteX53" fmla="*/ 640080 w 1214119"/>
                  <a:gd name="connsiteY53" fmla="*/ 1597660 h 1597660"/>
                  <a:gd name="connsiteX54" fmla="*/ 457200 w 1214119"/>
                  <a:gd name="connsiteY54"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408939 w 1214119"/>
                  <a:gd name="connsiteY12" fmla="*/ 541020 h 1597660"/>
                  <a:gd name="connsiteX13" fmla="*/ 454659 w 1214119"/>
                  <a:gd name="connsiteY13" fmla="*/ 561340 h 1597660"/>
                  <a:gd name="connsiteX14" fmla="*/ 525780 w 1214119"/>
                  <a:gd name="connsiteY14" fmla="*/ 599440 h 1597660"/>
                  <a:gd name="connsiteX15" fmla="*/ 563880 w 1214119"/>
                  <a:gd name="connsiteY15" fmla="*/ 378460 h 1597660"/>
                  <a:gd name="connsiteX16" fmla="*/ 485140 w 1214119"/>
                  <a:gd name="connsiteY16" fmla="*/ 127000 h 1597660"/>
                  <a:gd name="connsiteX17" fmla="*/ 419100 w 1214119"/>
                  <a:gd name="connsiteY17" fmla="*/ 60960 h 1597660"/>
                  <a:gd name="connsiteX18" fmla="*/ 495300 w 1214119"/>
                  <a:gd name="connsiteY18" fmla="*/ 111760 h 1597660"/>
                  <a:gd name="connsiteX19" fmla="*/ 530859 w 1214119"/>
                  <a:gd name="connsiteY19" fmla="*/ 187960 h 1597660"/>
                  <a:gd name="connsiteX20" fmla="*/ 622299 w 1214119"/>
                  <a:gd name="connsiteY20" fmla="*/ 20320 h 1597660"/>
                  <a:gd name="connsiteX21" fmla="*/ 546099 w 1214119"/>
                  <a:gd name="connsiteY21" fmla="*/ 223520 h 1597660"/>
                  <a:gd name="connsiteX22" fmla="*/ 594360 w 1214119"/>
                  <a:gd name="connsiteY22" fmla="*/ 355600 h 1597660"/>
                  <a:gd name="connsiteX23" fmla="*/ 723899 w 1214119"/>
                  <a:gd name="connsiteY23" fmla="*/ 132080 h 1597660"/>
                  <a:gd name="connsiteX24" fmla="*/ 693420 w 1214119"/>
                  <a:gd name="connsiteY24" fmla="*/ 30480 h 1597660"/>
                  <a:gd name="connsiteX25" fmla="*/ 708659 w 1214119"/>
                  <a:gd name="connsiteY25" fmla="*/ 0 h 1597660"/>
                  <a:gd name="connsiteX26" fmla="*/ 751839 w 1214119"/>
                  <a:gd name="connsiteY26" fmla="*/ 127000 h 1597660"/>
                  <a:gd name="connsiteX27" fmla="*/ 896620 w 1214119"/>
                  <a:gd name="connsiteY27" fmla="*/ 30480 h 1597660"/>
                  <a:gd name="connsiteX28" fmla="*/ 772159 w 1214119"/>
                  <a:gd name="connsiteY28" fmla="*/ 144780 h 1597660"/>
                  <a:gd name="connsiteX29" fmla="*/ 632460 w 1214119"/>
                  <a:gd name="connsiteY29" fmla="*/ 393700 h 1597660"/>
                  <a:gd name="connsiteX30" fmla="*/ 604520 w 1214119"/>
                  <a:gd name="connsiteY30" fmla="*/ 591820 h 1597660"/>
                  <a:gd name="connsiteX31" fmla="*/ 624840 w 1214119"/>
                  <a:gd name="connsiteY31" fmla="*/ 789940 h 1597660"/>
                  <a:gd name="connsiteX32" fmla="*/ 807719 w 1214119"/>
                  <a:gd name="connsiteY32" fmla="*/ 548640 h 1597660"/>
                  <a:gd name="connsiteX33" fmla="*/ 840739 w 1214119"/>
                  <a:gd name="connsiteY33" fmla="*/ 396240 h 1597660"/>
                  <a:gd name="connsiteX34" fmla="*/ 792479 w 1214119"/>
                  <a:gd name="connsiteY34" fmla="*/ 337820 h 1597660"/>
                  <a:gd name="connsiteX35" fmla="*/ 843279 w 1214119"/>
                  <a:gd name="connsiteY35" fmla="*/ 375920 h 1597660"/>
                  <a:gd name="connsiteX36" fmla="*/ 853440 w 1214119"/>
                  <a:gd name="connsiteY36" fmla="*/ 314960 h 1597660"/>
                  <a:gd name="connsiteX37" fmla="*/ 878839 w 1214119"/>
                  <a:gd name="connsiteY37" fmla="*/ 322580 h 1597660"/>
                  <a:gd name="connsiteX38" fmla="*/ 835659 w 1214119"/>
                  <a:gd name="connsiteY38" fmla="*/ 530860 h 1597660"/>
                  <a:gd name="connsiteX39" fmla="*/ 985519 w 1214119"/>
                  <a:gd name="connsiteY39" fmla="*/ 360680 h 1597660"/>
                  <a:gd name="connsiteX40" fmla="*/ 972820 w 1214119"/>
                  <a:gd name="connsiteY40" fmla="*/ 274320 h 1597660"/>
                  <a:gd name="connsiteX41" fmla="*/ 1008379 w 1214119"/>
                  <a:gd name="connsiteY41" fmla="*/ 360680 h 1597660"/>
                  <a:gd name="connsiteX42" fmla="*/ 1069339 w 1214119"/>
                  <a:gd name="connsiteY42" fmla="*/ 337820 h 1597660"/>
                  <a:gd name="connsiteX43" fmla="*/ 1084579 w 1214119"/>
                  <a:gd name="connsiteY43" fmla="*/ 220980 h 1597660"/>
                  <a:gd name="connsiteX44" fmla="*/ 1089659 w 1214119"/>
                  <a:gd name="connsiteY44" fmla="*/ 335280 h 1597660"/>
                  <a:gd name="connsiteX45" fmla="*/ 1214119 w 1214119"/>
                  <a:gd name="connsiteY45" fmla="*/ 292100 h 1597660"/>
                  <a:gd name="connsiteX46" fmla="*/ 995679 w 1214119"/>
                  <a:gd name="connsiteY46" fmla="*/ 396240 h 1597660"/>
                  <a:gd name="connsiteX47" fmla="*/ 858519 w 1214119"/>
                  <a:gd name="connsiteY47" fmla="*/ 551180 h 1597660"/>
                  <a:gd name="connsiteX48" fmla="*/ 792480 w 1214119"/>
                  <a:gd name="connsiteY48" fmla="*/ 660400 h 1597660"/>
                  <a:gd name="connsiteX49" fmla="*/ 932180 w 1214119"/>
                  <a:gd name="connsiteY49" fmla="*/ 566420 h 1597660"/>
                  <a:gd name="connsiteX50" fmla="*/ 970280 w 1214119"/>
                  <a:gd name="connsiteY50" fmla="*/ 568960 h 1597660"/>
                  <a:gd name="connsiteX51" fmla="*/ 772160 w 1214119"/>
                  <a:gd name="connsiteY51" fmla="*/ 701040 h 1597660"/>
                  <a:gd name="connsiteX52" fmla="*/ 632460 w 1214119"/>
                  <a:gd name="connsiteY52" fmla="*/ 896620 h 1597660"/>
                  <a:gd name="connsiteX53" fmla="*/ 640080 w 1214119"/>
                  <a:gd name="connsiteY53" fmla="*/ 1239520 h 1597660"/>
                  <a:gd name="connsiteX54" fmla="*/ 640080 w 1214119"/>
                  <a:gd name="connsiteY54" fmla="*/ 1597660 h 1597660"/>
                  <a:gd name="connsiteX55" fmla="*/ 457200 w 1214119"/>
                  <a:gd name="connsiteY55"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454659 w 1214119"/>
                  <a:gd name="connsiteY13" fmla="*/ 561340 h 1597660"/>
                  <a:gd name="connsiteX14" fmla="*/ 525780 w 1214119"/>
                  <a:gd name="connsiteY14" fmla="*/ 599440 h 1597660"/>
                  <a:gd name="connsiteX15" fmla="*/ 563880 w 1214119"/>
                  <a:gd name="connsiteY15" fmla="*/ 378460 h 1597660"/>
                  <a:gd name="connsiteX16" fmla="*/ 485140 w 1214119"/>
                  <a:gd name="connsiteY16" fmla="*/ 127000 h 1597660"/>
                  <a:gd name="connsiteX17" fmla="*/ 419100 w 1214119"/>
                  <a:gd name="connsiteY17" fmla="*/ 60960 h 1597660"/>
                  <a:gd name="connsiteX18" fmla="*/ 495300 w 1214119"/>
                  <a:gd name="connsiteY18" fmla="*/ 111760 h 1597660"/>
                  <a:gd name="connsiteX19" fmla="*/ 530859 w 1214119"/>
                  <a:gd name="connsiteY19" fmla="*/ 187960 h 1597660"/>
                  <a:gd name="connsiteX20" fmla="*/ 622299 w 1214119"/>
                  <a:gd name="connsiteY20" fmla="*/ 20320 h 1597660"/>
                  <a:gd name="connsiteX21" fmla="*/ 546099 w 1214119"/>
                  <a:gd name="connsiteY21" fmla="*/ 223520 h 1597660"/>
                  <a:gd name="connsiteX22" fmla="*/ 594360 w 1214119"/>
                  <a:gd name="connsiteY22" fmla="*/ 355600 h 1597660"/>
                  <a:gd name="connsiteX23" fmla="*/ 723899 w 1214119"/>
                  <a:gd name="connsiteY23" fmla="*/ 132080 h 1597660"/>
                  <a:gd name="connsiteX24" fmla="*/ 693420 w 1214119"/>
                  <a:gd name="connsiteY24" fmla="*/ 30480 h 1597660"/>
                  <a:gd name="connsiteX25" fmla="*/ 708659 w 1214119"/>
                  <a:gd name="connsiteY25" fmla="*/ 0 h 1597660"/>
                  <a:gd name="connsiteX26" fmla="*/ 751839 w 1214119"/>
                  <a:gd name="connsiteY26" fmla="*/ 127000 h 1597660"/>
                  <a:gd name="connsiteX27" fmla="*/ 896620 w 1214119"/>
                  <a:gd name="connsiteY27" fmla="*/ 30480 h 1597660"/>
                  <a:gd name="connsiteX28" fmla="*/ 772159 w 1214119"/>
                  <a:gd name="connsiteY28" fmla="*/ 144780 h 1597660"/>
                  <a:gd name="connsiteX29" fmla="*/ 632460 w 1214119"/>
                  <a:gd name="connsiteY29" fmla="*/ 393700 h 1597660"/>
                  <a:gd name="connsiteX30" fmla="*/ 604520 w 1214119"/>
                  <a:gd name="connsiteY30" fmla="*/ 591820 h 1597660"/>
                  <a:gd name="connsiteX31" fmla="*/ 624840 w 1214119"/>
                  <a:gd name="connsiteY31" fmla="*/ 789940 h 1597660"/>
                  <a:gd name="connsiteX32" fmla="*/ 807719 w 1214119"/>
                  <a:gd name="connsiteY32" fmla="*/ 548640 h 1597660"/>
                  <a:gd name="connsiteX33" fmla="*/ 840739 w 1214119"/>
                  <a:gd name="connsiteY33" fmla="*/ 396240 h 1597660"/>
                  <a:gd name="connsiteX34" fmla="*/ 792479 w 1214119"/>
                  <a:gd name="connsiteY34" fmla="*/ 337820 h 1597660"/>
                  <a:gd name="connsiteX35" fmla="*/ 843279 w 1214119"/>
                  <a:gd name="connsiteY35" fmla="*/ 375920 h 1597660"/>
                  <a:gd name="connsiteX36" fmla="*/ 853440 w 1214119"/>
                  <a:gd name="connsiteY36" fmla="*/ 314960 h 1597660"/>
                  <a:gd name="connsiteX37" fmla="*/ 878839 w 1214119"/>
                  <a:gd name="connsiteY37" fmla="*/ 322580 h 1597660"/>
                  <a:gd name="connsiteX38" fmla="*/ 835659 w 1214119"/>
                  <a:gd name="connsiteY38" fmla="*/ 530860 h 1597660"/>
                  <a:gd name="connsiteX39" fmla="*/ 985519 w 1214119"/>
                  <a:gd name="connsiteY39" fmla="*/ 360680 h 1597660"/>
                  <a:gd name="connsiteX40" fmla="*/ 972820 w 1214119"/>
                  <a:gd name="connsiteY40" fmla="*/ 274320 h 1597660"/>
                  <a:gd name="connsiteX41" fmla="*/ 1008379 w 1214119"/>
                  <a:gd name="connsiteY41" fmla="*/ 360680 h 1597660"/>
                  <a:gd name="connsiteX42" fmla="*/ 1069339 w 1214119"/>
                  <a:gd name="connsiteY42" fmla="*/ 337820 h 1597660"/>
                  <a:gd name="connsiteX43" fmla="*/ 1084579 w 1214119"/>
                  <a:gd name="connsiteY43" fmla="*/ 220980 h 1597660"/>
                  <a:gd name="connsiteX44" fmla="*/ 1089659 w 1214119"/>
                  <a:gd name="connsiteY44" fmla="*/ 335280 h 1597660"/>
                  <a:gd name="connsiteX45" fmla="*/ 1214119 w 1214119"/>
                  <a:gd name="connsiteY45" fmla="*/ 292100 h 1597660"/>
                  <a:gd name="connsiteX46" fmla="*/ 995679 w 1214119"/>
                  <a:gd name="connsiteY46" fmla="*/ 396240 h 1597660"/>
                  <a:gd name="connsiteX47" fmla="*/ 858519 w 1214119"/>
                  <a:gd name="connsiteY47" fmla="*/ 551180 h 1597660"/>
                  <a:gd name="connsiteX48" fmla="*/ 792480 w 1214119"/>
                  <a:gd name="connsiteY48" fmla="*/ 660400 h 1597660"/>
                  <a:gd name="connsiteX49" fmla="*/ 932180 w 1214119"/>
                  <a:gd name="connsiteY49" fmla="*/ 566420 h 1597660"/>
                  <a:gd name="connsiteX50" fmla="*/ 970280 w 1214119"/>
                  <a:gd name="connsiteY50" fmla="*/ 568960 h 1597660"/>
                  <a:gd name="connsiteX51" fmla="*/ 772160 w 1214119"/>
                  <a:gd name="connsiteY51" fmla="*/ 701040 h 1597660"/>
                  <a:gd name="connsiteX52" fmla="*/ 632460 w 1214119"/>
                  <a:gd name="connsiteY52" fmla="*/ 896620 h 1597660"/>
                  <a:gd name="connsiteX53" fmla="*/ 640080 w 1214119"/>
                  <a:gd name="connsiteY53" fmla="*/ 1239520 h 1597660"/>
                  <a:gd name="connsiteX54" fmla="*/ 640080 w 1214119"/>
                  <a:gd name="connsiteY54" fmla="*/ 1597660 h 1597660"/>
                  <a:gd name="connsiteX55" fmla="*/ 457200 w 1214119"/>
                  <a:gd name="connsiteY55"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393699 w 1214119"/>
                  <a:gd name="connsiteY13" fmla="*/ 528320 h 1597660"/>
                  <a:gd name="connsiteX14" fmla="*/ 525780 w 1214119"/>
                  <a:gd name="connsiteY14" fmla="*/ 599440 h 1597660"/>
                  <a:gd name="connsiteX15" fmla="*/ 563880 w 1214119"/>
                  <a:gd name="connsiteY15" fmla="*/ 378460 h 1597660"/>
                  <a:gd name="connsiteX16" fmla="*/ 485140 w 1214119"/>
                  <a:gd name="connsiteY16" fmla="*/ 127000 h 1597660"/>
                  <a:gd name="connsiteX17" fmla="*/ 419100 w 1214119"/>
                  <a:gd name="connsiteY17" fmla="*/ 60960 h 1597660"/>
                  <a:gd name="connsiteX18" fmla="*/ 495300 w 1214119"/>
                  <a:gd name="connsiteY18" fmla="*/ 111760 h 1597660"/>
                  <a:gd name="connsiteX19" fmla="*/ 530859 w 1214119"/>
                  <a:gd name="connsiteY19" fmla="*/ 187960 h 1597660"/>
                  <a:gd name="connsiteX20" fmla="*/ 622299 w 1214119"/>
                  <a:gd name="connsiteY20" fmla="*/ 20320 h 1597660"/>
                  <a:gd name="connsiteX21" fmla="*/ 546099 w 1214119"/>
                  <a:gd name="connsiteY21" fmla="*/ 223520 h 1597660"/>
                  <a:gd name="connsiteX22" fmla="*/ 594360 w 1214119"/>
                  <a:gd name="connsiteY22" fmla="*/ 355600 h 1597660"/>
                  <a:gd name="connsiteX23" fmla="*/ 723899 w 1214119"/>
                  <a:gd name="connsiteY23" fmla="*/ 132080 h 1597660"/>
                  <a:gd name="connsiteX24" fmla="*/ 693420 w 1214119"/>
                  <a:gd name="connsiteY24" fmla="*/ 30480 h 1597660"/>
                  <a:gd name="connsiteX25" fmla="*/ 708659 w 1214119"/>
                  <a:gd name="connsiteY25" fmla="*/ 0 h 1597660"/>
                  <a:gd name="connsiteX26" fmla="*/ 751839 w 1214119"/>
                  <a:gd name="connsiteY26" fmla="*/ 127000 h 1597660"/>
                  <a:gd name="connsiteX27" fmla="*/ 896620 w 1214119"/>
                  <a:gd name="connsiteY27" fmla="*/ 30480 h 1597660"/>
                  <a:gd name="connsiteX28" fmla="*/ 772159 w 1214119"/>
                  <a:gd name="connsiteY28" fmla="*/ 144780 h 1597660"/>
                  <a:gd name="connsiteX29" fmla="*/ 632460 w 1214119"/>
                  <a:gd name="connsiteY29" fmla="*/ 393700 h 1597660"/>
                  <a:gd name="connsiteX30" fmla="*/ 604520 w 1214119"/>
                  <a:gd name="connsiteY30" fmla="*/ 591820 h 1597660"/>
                  <a:gd name="connsiteX31" fmla="*/ 624840 w 1214119"/>
                  <a:gd name="connsiteY31" fmla="*/ 789940 h 1597660"/>
                  <a:gd name="connsiteX32" fmla="*/ 807719 w 1214119"/>
                  <a:gd name="connsiteY32" fmla="*/ 548640 h 1597660"/>
                  <a:gd name="connsiteX33" fmla="*/ 840739 w 1214119"/>
                  <a:gd name="connsiteY33" fmla="*/ 396240 h 1597660"/>
                  <a:gd name="connsiteX34" fmla="*/ 792479 w 1214119"/>
                  <a:gd name="connsiteY34" fmla="*/ 337820 h 1597660"/>
                  <a:gd name="connsiteX35" fmla="*/ 843279 w 1214119"/>
                  <a:gd name="connsiteY35" fmla="*/ 375920 h 1597660"/>
                  <a:gd name="connsiteX36" fmla="*/ 853440 w 1214119"/>
                  <a:gd name="connsiteY36" fmla="*/ 314960 h 1597660"/>
                  <a:gd name="connsiteX37" fmla="*/ 878839 w 1214119"/>
                  <a:gd name="connsiteY37" fmla="*/ 322580 h 1597660"/>
                  <a:gd name="connsiteX38" fmla="*/ 835659 w 1214119"/>
                  <a:gd name="connsiteY38" fmla="*/ 530860 h 1597660"/>
                  <a:gd name="connsiteX39" fmla="*/ 985519 w 1214119"/>
                  <a:gd name="connsiteY39" fmla="*/ 360680 h 1597660"/>
                  <a:gd name="connsiteX40" fmla="*/ 972820 w 1214119"/>
                  <a:gd name="connsiteY40" fmla="*/ 274320 h 1597660"/>
                  <a:gd name="connsiteX41" fmla="*/ 1008379 w 1214119"/>
                  <a:gd name="connsiteY41" fmla="*/ 360680 h 1597660"/>
                  <a:gd name="connsiteX42" fmla="*/ 1069339 w 1214119"/>
                  <a:gd name="connsiteY42" fmla="*/ 337820 h 1597660"/>
                  <a:gd name="connsiteX43" fmla="*/ 1084579 w 1214119"/>
                  <a:gd name="connsiteY43" fmla="*/ 220980 h 1597660"/>
                  <a:gd name="connsiteX44" fmla="*/ 1089659 w 1214119"/>
                  <a:gd name="connsiteY44" fmla="*/ 335280 h 1597660"/>
                  <a:gd name="connsiteX45" fmla="*/ 1214119 w 1214119"/>
                  <a:gd name="connsiteY45" fmla="*/ 292100 h 1597660"/>
                  <a:gd name="connsiteX46" fmla="*/ 995679 w 1214119"/>
                  <a:gd name="connsiteY46" fmla="*/ 396240 h 1597660"/>
                  <a:gd name="connsiteX47" fmla="*/ 858519 w 1214119"/>
                  <a:gd name="connsiteY47" fmla="*/ 551180 h 1597660"/>
                  <a:gd name="connsiteX48" fmla="*/ 792480 w 1214119"/>
                  <a:gd name="connsiteY48" fmla="*/ 660400 h 1597660"/>
                  <a:gd name="connsiteX49" fmla="*/ 932180 w 1214119"/>
                  <a:gd name="connsiteY49" fmla="*/ 566420 h 1597660"/>
                  <a:gd name="connsiteX50" fmla="*/ 970280 w 1214119"/>
                  <a:gd name="connsiteY50" fmla="*/ 568960 h 1597660"/>
                  <a:gd name="connsiteX51" fmla="*/ 772160 w 1214119"/>
                  <a:gd name="connsiteY51" fmla="*/ 701040 h 1597660"/>
                  <a:gd name="connsiteX52" fmla="*/ 632460 w 1214119"/>
                  <a:gd name="connsiteY52" fmla="*/ 896620 h 1597660"/>
                  <a:gd name="connsiteX53" fmla="*/ 640080 w 1214119"/>
                  <a:gd name="connsiteY53" fmla="*/ 1239520 h 1597660"/>
                  <a:gd name="connsiteX54" fmla="*/ 640080 w 1214119"/>
                  <a:gd name="connsiteY54" fmla="*/ 1597660 h 1597660"/>
                  <a:gd name="connsiteX55" fmla="*/ 457200 w 1214119"/>
                  <a:gd name="connsiteY55"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388619 w 1214119"/>
                  <a:gd name="connsiteY13" fmla="*/ 462280 h 1597660"/>
                  <a:gd name="connsiteX14" fmla="*/ 393699 w 1214119"/>
                  <a:gd name="connsiteY14" fmla="*/ 528320 h 1597660"/>
                  <a:gd name="connsiteX15" fmla="*/ 525780 w 1214119"/>
                  <a:gd name="connsiteY15" fmla="*/ 599440 h 1597660"/>
                  <a:gd name="connsiteX16" fmla="*/ 563880 w 1214119"/>
                  <a:gd name="connsiteY16" fmla="*/ 378460 h 1597660"/>
                  <a:gd name="connsiteX17" fmla="*/ 485140 w 1214119"/>
                  <a:gd name="connsiteY17" fmla="*/ 127000 h 1597660"/>
                  <a:gd name="connsiteX18" fmla="*/ 419100 w 1214119"/>
                  <a:gd name="connsiteY18" fmla="*/ 60960 h 1597660"/>
                  <a:gd name="connsiteX19" fmla="*/ 495300 w 1214119"/>
                  <a:gd name="connsiteY19" fmla="*/ 111760 h 1597660"/>
                  <a:gd name="connsiteX20" fmla="*/ 530859 w 1214119"/>
                  <a:gd name="connsiteY20" fmla="*/ 187960 h 1597660"/>
                  <a:gd name="connsiteX21" fmla="*/ 622299 w 1214119"/>
                  <a:gd name="connsiteY21" fmla="*/ 20320 h 1597660"/>
                  <a:gd name="connsiteX22" fmla="*/ 546099 w 1214119"/>
                  <a:gd name="connsiteY22" fmla="*/ 223520 h 1597660"/>
                  <a:gd name="connsiteX23" fmla="*/ 594360 w 1214119"/>
                  <a:gd name="connsiteY23" fmla="*/ 355600 h 1597660"/>
                  <a:gd name="connsiteX24" fmla="*/ 723899 w 1214119"/>
                  <a:gd name="connsiteY24" fmla="*/ 132080 h 1597660"/>
                  <a:gd name="connsiteX25" fmla="*/ 693420 w 1214119"/>
                  <a:gd name="connsiteY25" fmla="*/ 30480 h 1597660"/>
                  <a:gd name="connsiteX26" fmla="*/ 708659 w 1214119"/>
                  <a:gd name="connsiteY26" fmla="*/ 0 h 1597660"/>
                  <a:gd name="connsiteX27" fmla="*/ 751839 w 1214119"/>
                  <a:gd name="connsiteY27" fmla="*/ 127000 h 1597660"/>
                  <a:gd name="connsiteX28" fmla="*/ 896620 w 1214119"/>
                  <a:gd name="connsiteY28" fmla="*/ 30480 h 1597660"/>
                  <a:gd name="connsiteX29" fmla="*/ 772159 w 1214119"/>
                  <a:gd name="connsiteY29" fmla="*/ 144780 h 1597660"/>
                  <a:gd name="connsiteX30" fmla="*/ 632460 w 1214119"/>
                  <a:gd name="connsiteY30" fmla="*/ 393700 h 1597660"/>
                  <a:gd name="connsiteX31" fmla="*/ 604520 w 1214119"/>
                  <a:gd name="connsiteY31" fmla="*/ 591820 h 1597660"/>
                  <a:gd name="connsiteX32" fmla="*/ 624840 w 1214119"/>
                  <a:gd name="connsiteY32" fmla="*/ 789940 h 1597660"/>
                  <a:gd name="connsiteX33" fmla="*/ 807719 w 1214119"/>
                  <a:gd name="connsiteY33" fmla="*/ 548640 h 1597660"/>
                  <a:gd name="connsiteX34" fmla="*/ 840739 w 1214119"/>
                  <a:gd name="connsiteY34" fmla="*/ 396240 h 1597660"/>
                  <a:gd name="connsiteX35" fmla="*/ 792479 w 1214119"/>
                  <a:gd name="connsiteY35" fmla="*/ 337820 h 1597660"/>
                  <a:gd name="connsiteX36" fmla="*/ 843279 w 1214119"/>
                  <a:gd name="connsiteY36" fmla="*/ 375920 h 1597660"/>
                  <a:gd name="connsiteX37" fmla="*/ 853440 w 1214119"/>
                  <a:gd name="connsiteY37" fmla="*/ 314960 h 1597660"/>
                  <a:gd name="connsiteX38" fmla="*/ 878839 w 1214119"/>
                  <a:gd name="connsiteY38" fmla="*/ 322580 h 1597660"/>
                  <a:gd name="connsiteX39" fmla="*/ 835659 w 1214119"/>
                  <a:gd name="connsiteY39" fmla="*/ 530860 h 1597660"/>
                  <a:gd name="connsiteX40" fmla="*/ 985519 w 1214119"/>
                  <a:gd name="connsiteY40" fmla="*/ 360680 h 1597660"/>
                  <a:gd name="connsiteX41" fmla="*/ 972820 w 1214119"/>
                  <a:gd name="connsiteY41" fmla="*/ 274320 h 1597660"/>
                  <a:gd name="connsiteX42" fmla="*/ 1008379 w 1214119"/>
                  <a:gd name="connsiteY42" fmla="*/ 360680 h 1597660"/>
                  <a:gd name="connsiteX43" fmla="*/ 1069339 w 1214119"/>
                  <a:gd name="connsiteY43" fmla="*/ 337820 h 1597660"/>
                  <a:gd name="connsiteX44" fmla="*/ 1084579 w 1214119"/>
                  <a:gd name="connsiteY44" fmla="*/ 220980 h 1597660"/>
                  <a:gd name="connsiteX45" fmla="*/ 1089659 w 1214119"/>
                  <a:gd name="connsiteY45" fmla="*/ 335280 h 1597660"/>
                  <a:gd name="connsiteX46" fmla="*/ 1214119 w 1214119"/>
                  <a:gd name="connsiteY46" fmla="*/ 292100 h 1597660"/>
                  <a:gd name="connsiteX47" fmla="*/ 995679 w 1214119"/>
                  <a:gd name="connsiteY47" fmla="*/ 396240 h 1597660"/>
                  <a:gd name="connsiteX48" fmla="*/ 858519 w 1214119"/>
                  <a:gd name="connsiteY48" fmla="*/ 551180 h 1597660"/>
                  <a:gd name="connsiteX49" fmla="*/ 792480 w 1214119"/>
                  <a:gd name="connsiteY49" fmla="*/ 660400 h 1597660"/>
                  <a:gd name="connsiteX50" fmla="*/ 932180 w 1214119"/>
                  <a:gd name="connsiteY50" fmla="*/ 566420 h 1597660"/>
                  <a:gd name="connsiteX51" fmla="*/ 970280 w 1214119"/>
                  <a:gd name="connsiteY51" fmla="*/ 568960 h 1597660"/>
                  <a:gd name="connsiteX52" fmla="*/ 772160 w 1214119"/>
                  <a:gd name="connsiteY52" fmla="*/ 701040 h 1597660"/>
                  <a:gd name="connsiteX53" fmla="*/ 632460 w 1214119"/>
                  <a:gd name="connsiteY53" fmla="*/ 896620 h 1597660"/>
                  <a:gd name="connsiteX54" fmla="*/ 640080 w 1214119"/>
                  <a:gd name="connsiteY54" fmla="*/ 1239520 h 1597660"/>
                  <a:gd name="connsiteX55" fmla="*/ 640080 w 1214119"/>
                  <a:gd name="connsiteY55" fmla="*/ 1597660 h 1597660"/>
                  <a:gd name="connsiteX56" fmla="*/ 457200 w 1214119"/>
                  <a:gd name="connsiteY56"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447039 w 1214119"/>
                  <a:gd name="connsiteY13" fmla="*/ 284480 h 1597660"/>
                  <a:gd name="connsiteX14" fmla="*/ 393699 w 1214119"/>
                  <a:gd name="connsiteY14" fmla="*/ 528320 h 1597660"/>
                  <a:gd name="connsiteX15" fmla="*/ 525780 w 1214119"/>
                  <a:gd name="connsiteY15" fmla="*/ 599440 h 1597660"/>
                  <a:gd name="connsiteX16" fmla="*/ 563880 w 1214119"/>
                  <a:gd name="connsiteY16" fmla="*/ 378460 h 1597660"/>
                  <a:gd name="connsiteX17" fmla="*/ 485140 w 1214119"/>
                  <a:gd name="connsiteY17" fmla="*/ 127000 h 1597660"/>
                  <a:gd name="connsiteX18" fmla="*/ 419100 w 1214119"/>
                  <a:gd name="connsiteY18" fmla="*/ 60960 h 1597660"/>
                  <a:gd name="connsiteX19" fmla="*/ 495300 w 1214119"/>
                  <a:gd name="connsiteY19" fmla="*/ 111760 h 1597660"/>
                  <a:gd name="connsiteX20" fmla="*/ 530859 w 1214119"/>
                  <a:gd name="connsiteY20" fmla="*/ 187960 h 1597660"/>
                  <a:gd name="connsiteX21" fmla="*/ 622299 w 1214119"/>
                  <a:gd name="connsiteY21" fmla="*/ 20320 h 1597660"/>
                  <a:gd name="connsiteX22" fmla="*/ 546099 w 1214119"/>
                  <a:gd name="connsiteY22" fmla="*/ 223520 h 1597660"/>
                  <a:gd name="connsiteX23" fmla="*/ 594360 w 1214119"/>
                  <a:gd name="connsiteY23" fmla="*/ 355600 h 1597660"/>
                  <a:gd name="connsiteX24" fmla="*/ 723899 w 1214119"/>
                  <a:gd name="connsiteY24" fmla="*/ 132080 h 1597660"/>
                  <a:gd name="connsiteX25" fmla="*/ 693420 w 1214119"/>
                  <a:gd name="connsiteY25" fmla="*/ 30480 h 1597660"/>
                  <a:gd name="connsiteX26" fmla="*/ 708659 w 1214119"/>
                  <a:gd name="connsiteY26" fmla="*/ 0 h 1597660"/>
                  <a:gd name="connsiteX27" fmla="*/ 751839 w 1214119"/>
                  <a:gd name="connsiteY27" fmla="*/ 127000 h 1597660"/>
                  <a:gd name="connsiteX28" fmla="*/ 896620 w 1214119"/>
                  <a:gd name="connsiteY28" fmla="*/ 30480 h 1597660"/>
                  <a:gd name="connsiteX29" fmla="*/ 772159 w 1214119"/>
                  <a:gd name="connsiteY29" fmla="*/ 144780 h 1597660"/>
                  <a:gd name="connsiteX30" fmla="*/ 632460 w 1214119"/>
                  <a:gd name="connsiteY30" fmla="*/ 393700 h 1597660"/>
                  <a:gd name="connsiteX31" fmla="*/ 604520 w 1214119"/>
                  <a:gd name="connsiteY31" fmla="*/ 591820 h 1597660"/>
                  <a:gd name="connsiteX32" fmla="*/ 624840 w 1214119"/>
                  <a:gd name="connsiteY32" fmla="*/ 789940 h 1597660"/>
                  <a:gd name="connsiteX33" fmla="*/ 807719 w 1214119"/>
                  <a:gd name="connsiteY33" fmla="*/ 548640 h 1597660"/>
                  <a:gd name="connsiteX34" fmla="*/ 840739 w 1214119"/>
                  <a:gd name="connsiteY34" fmla="*/ 396240 h 1597660"/>
                  <a:gd name="connsiteX35" fmla="*/ 792479 w 1214119"/>
                  <a:gd name="connsiteY35" fmla="*/ 337820 h 1597660"/>
                  <a:gd name="connsiteX36" fmla="*/ 843279 w 1214119"/>
                  <a:gd name="connsiteY36" fmla="*/ 375920 h 1597660"/>
                  <a:gd name="connsiteX37" fmla="*/ 853440 w 1214119"/>
                  <a:gd name="connsiteY37" fmla="*/ 314960 h 1597660"/>
                  <a:gd name="connsiteX38" fmla="*/ 878839 w 1214119"/>
                  <a:gd name="connsiteY38" fmla="*/ 322580 h 1597660"/>
                  <a:gd name="connsiteX39" fmla="*/ 835659 w 1214119"/>
                  <a:gd name="connsiteY39" fmla="*/ 530860 h 1597660"/>
                  <a:gd name="connsiteX40" fmla="*/ 985519 w 1214119"/>
                  <a:gd name="connsiteY40" fmla="*/ 360680 h 1597660"/>
                  <a:gd name="connsiteX41" fmla="*/ 972820 w 1214119"/>
                  <a:gd name="connsiteY41" fmla="*/ 274320 h 1597660"/>
                  <a:gd name="connsiteX42" fmla="*/ 1008379 w 1214119"/>
                  <a:gd name="connsiteY42" fmla="*/ 360680 h 1597660"/>
                  <a:gd name="connsiteX43" fmla="*/ 1069339 w 1214119"/>
                  <a:gd name="connsiteY43" fmla="*/ 337820 h 1597660"/>
                  <a:gd name="connsiteX44" fmla="*/ 1084579 w 1214119"/>
                  <a:gd name="connsiteY44" fmla="*/ 220980 h 1597660"/>
                  <a:gd name="connsiteX45" fmla="*/ 1089659 w 1214119"/>
                  <a:gd name="connsiteY45" fmla="*/ 335280 h 1597660"/>
                  <a:gd name="connsiteX46" fmla="*/ 1214119 w 1214119"/>
                  <a:gd name="connsiteY46" fmla="*/ 292100 h 1597660"/>
                  <a:gd name="connsiteX47" fmla="*/ 995679 w 1214119"/>
                  <a:gd name="connsiteY47" fmla="*/ 396240 h 1597660"/>
                  <a:gd name="connsiteX48" fmla="*/ 858519 w 1214119"/>
                  <a:gd name="connsiteY48" fmla="*/ 551180 h 1597660"/>
                  <a:gd name="connsiteX49" fmla="*/ 792480 w 1214119"/>
                  <a:gd name="connsiteY49" fmla="*/ 660400 h 1597660"/>
                  <a:gd name="connsiteX50" fmla="*/ 932180 w 1214119"/>
                  <a:gd name="connsiteY50" fmla="*/ 566420 h 1597660"/>
                  <a:gd name="connsiteX51" fmla="*/ 970280 w 1214119"/>
                  <a:gd name="connsiteY51" fmla="*/ 568960 h 1597660"/>
                  <a:gd name="connsiteX52" fmla="*/ 772160 w 1214119"/>
                  <a:gd name="connsiteY52" fmla="*/ 701040 h 1597660"/>
                  <a:gd name="connsiteX53" fmla="*/ 632460 w 1214119"/>
                  <a:gd name="connsiteY53" fmla="*/ 896620 h 1597660"/>
                  <a:gd name="connsiteX54" fmla="*/ 640080 w 1214119"/>
                  <a:gd name="connsiteY54" fmla="*/ 1239520 h 1597660"/>
                  <a:gd name="connsiteX55" fmla="*/ 640080 w 1214119"/>
                  <a:gd name="connsiteY55" fmla="*/ 1597660 h 1597660"/>
                  <a:gd name="connsiteX56" fmla="*/ 457200 w 1214119"/>
                  <a:gd name="connsiteY56"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403859 w 1214119"/>
                  <a:gd name="connsiteY13" fmla="*/ 350520 h 1597660"/>
                  <a:gd name="connsiteX14" fmla="*/ 447039 w 1214119"/>
                  <a:gd name="connsiteY14" fmla="*/ 284480 h 1597660"/>
                  <a:gd name="connsiteX15" fmla="*/ 393699 w 1214119"/>
                  <a:gd name="connsiteY15" fmla="*/ 52832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353059 w 1214119"/>
                  <a:gd name="connsiteY13" fmla="*/ 269240 h 1597660"/>
                  <a:gd name="connsiteX14" fmla="*/ 447039 w 1214119"/>
                  <a:gd name="connsiteY14" fmla="*/ 284480 h 1597660"/>
                  <a:gd name="connsiteX15" fmla="*/ 393699 w 1214119"/>
                  <a:gd name="connsiteY15" fmla="*/ 52832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353059 w 1214119"/>
                  <a:gd name="connsiteY13" fmla="*/ 269240 h 1597660"/>
                  <a:gd name="connsiteX14" fmla="*/ 447039 w 1214119"/>
                  <a:gd name="connsiteY14" fmla="*/ 284480 h 1597660"/>
                  <a:gd name="connsiteX15" fmla="*/ 416559 w 1214119"/>
                  <a:gd name="connsiteY15" fmla="*/ 55118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23240 h 1597660"/>
                  <a:gd name="connsiteX12" fmla="*/ 378459 w 1214119"/>
                  <a:gd name="connsiteY12" fmla="*/ 391160 h 1597660"/>
                  <a:gd name="connsiteX13" fmla="*/ 353059 w 1214119"/>
                  <a:gd name="connsiteY13" fmla="*/ 269240 h 1597660"/>
                  <a:gd name="connsiteX14" fmla="*/ 447039 w 1214119"/>
                  <a:gd name="connsiteY14" fmla="*/ 284480 h 1597660"/>
                  <a:gd name="connsiteX15" fmla="*/ 416559 w 1214119"/>
                  <a:gd name="connsiteY15" fmla="*/ 55118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53059 w 1214119"/>
                  <a:gd name="connsiteY13" fmla="*/ 269240 h 1597660"/>
                  <a:gd name="connsiteX14" fmla="*/ 447039 w 1214119"/>
                  <a:gd name="connsiteY14" fmla="*/ 284480 h 1597660"/>
                  <a:gd name="connsiteX15" fmla="*/ 416559 w 1214119"/>
                  <a:gd name="connsiteY15" fmla="*/ 55118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447039 w 1214119"/>
                  <a:gd name="connsiteY14" fmla="*/ 284480 h 1597660"/>
                  <a:gd name="connsiteX15" fmla="*/ 416559 w 1214119"/>
                  <a:gd name="connsiteY15" fmla="*/ 55118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401319 w 1214119"/>
                  <a:gd name="connsiteY14" fmla="*/ 289560 h 1597660"/>
                  <a:gd name="connsiteX15" fmla="*/ 447039 w 1214119"/>
                  <a:gd name="connsiteY15" fmla="*/ 284480 h 1597660"/>
                  <a:gd name="connsiteX16" fmla="*/ 416559 w 1214119"/>
                  <a:gd name="connsiteY16" fmla="*/ 551180 h 1597660"/>
                  <a:gd name="connsiteX17" fmla="*/ 525780 w 1214119"/>
                  <a:gd name="connsiteY17" fmla="*/ 599440 h 1597660"/>
                  <a:gd name="connsiteX18" fmla="*/ 563880 w 1214119"/>
                  <a:gd name="connsiteY18" fmla="*/ 378460 h 1597660"/>
                  <a:gd name="connsiteX19" fmla="*/ 485140 w 1214119"/>
                  <a:gd name="connsiteY19" fmla="*/ 127000 h 1597660"/>
                  <a:gd name="connsiteX20" fmla="*/ 419100 w 1214119"/>
                  <a:gd name="connsiteY20" fmla="*/ 60960 h 1597660"/>
                  <a:gd name="connsiteX21" fmla="*/ 495300 w 1214119"/>
                  <a:gd name="connsiteY21" fmla="*/ 111760 h 1597660"/>
                  <a:gd name="connsiteX22" fmla="*/ 530859 w 1214119"/>
                  <a:gd name="connsiteY22" fmla="*/ 187960 h 1597660"/>
                  <a:gd name="connsiteX23" fmla="*/ 622299 w 1214119"/>
                  <a:gd name="connsiteY23" fmla="*/ 20320 h 1597660"/>
                  <a:gd name="connsiteX24" fmla="*/ 546099 w 1214119"/>
                  <a:gd name="connsiteY24" fmla="*/ 223520 h 1597660"/>
                  <a:gd name="connsiteX25" fmla="*/ 594360 w 1214119"/>
                  <a:gd name="connsiteY25" fmla="*/ 355600 h 1597660"/>
                  <a:gd name="connsiteX26" fmla="*/ 723899 w 1214119"/>
                  <a:gd name="connsiteY26" fmla="*/ 132080 h 1597660"/>
                  <a:gd name="connsiteX27" fmla="*/ 693420 w 1214119"/>
                  <a:gd name="connsiteY27" fmla="*/ 30480 h 1597660"/>
                  <a:gd name="connsiteX28" fmla="*/ 708659 w 1214119"/>
                  <a:gd name="connsiteY28" fmla="*/ 0 h 1597660"/>
                  <a:gd name="connsiteX29" fmla="*/ 751839 w 1214119"/>
                  <a:gd name="connsiteY29" fmla="*/ 127000 h 1597660"/>
                  <a:gd name="connsiteX30" fmla="*/ 896620 w 1214119"/>
                  <a:gd name="connsiteY30" fmla="*/ 30480 h 1597660"/>
                  <a:gd name="connsiteX31" fmla="*/ 772159 w 1214119"/>
                  <a:gd name="connsiteY31" fmla="*/ 144780 h 1597660"/>
                  <a:gd name="connsiteX32" fmla="*/ 632460 w 1214119"/>
                  <a:gd name="connsiteY32" fmla="*/ 393700 h 1597660"/>
                  <a:gd name="connsiteX33" fmla="*/ 604520 w 1214119"/>
                  <a:gd name="connsiteY33" fmla="*/ 591820 h 1597660"/>
                  <a:gd name="connsiteX34" fmla="*/ 624840 w 1214119"/>
                  <a:gd name="connsiteY34" fmla="*/ 789940 h 1597660"/>
                  <a:gd name="connsiteX35" fmla="*/ 807719 w 1214119"/>
                  <a:gd name="connsiteY35" fmla="*/ 548640 h 1597660"/>
                  <a:gd name="connsiteX36" fmla="*/ 840739 w 1214119"/>
                  <a:gd name="connsiteY36" fmla="*/ 396240 h 1597660"/>
                  <a:gd name="connsiteX37" fmla="*/ 792479 w 1214119"/>
                  <a:gd name="connsiteY37" fmla="*/ 337820 h 1597660"/>
                  <a:gd name="connsiteX38" fmla="*/ 843279 w 1214119"/>
                  <a:gd name="connsiteY38" fmla="*/ 375920 h 1597660"/>
                  <a:gd name="connsiteX39" fmla="*/ 853440 w 1214119"/>
                  <a:gd name="connsiteY39" fmla="*/ 314960 h 1597660"/>
                  <a:gd name="connsiteX40" fmla="*/ 878839 w 1214119"/>
                  <a:gd name="connsiteY40" fmla="*/ 322580 h 1597660"/>
                  <a:gd name="connsiteX41" fmla="*/ 835659 w 1214119"/>
                  <a:gd name="connsiteY41" fmla="*/ 530860 h 1597660"/>
                  <a:gd name="connsiteX42" fmla="*/ 985519 w 1214119"/>
                  <a:gd name="connsiteY42" fmla="*/ 360680 h 1597660"/>
                  <a:gd name="connsiteX43" fmla="*/ 972820 w 1214119"/>
                  <a:gd name="connsiteY43" fmla="*/ 274320 h 1597660"/>
                  <a:gd name="connsiteX44" fmla="*/ 1008379 w 1214119"/>
                  <a:gd name="connsiteY44" fmla="*/ 360680 h 1597660"/>
                  <a:gd name="connsiteX45" fmla="*/ 1069339 w 1214119"/>
                  <a:gd name="connsiteY45" fmla="*/ 337820 h 1597660"/>
                  <a:gd name="connsiteX46" fmla="*/ 1084579 w 1214119"/>
                  <a:gd name="connsiteY46" fmla="*/ 220980 h 1597660"/>
                  <a:gd name="connsiteX47" fmla="*/ 1089659 w 1214119"/>
                  <a:gd name="connsiteY47" fmla="*/ 335280 h 1597660"/>
                  <a:gd name="connsiteX48" fmla="*/ 1214119 w 1214119"/>
                  <a:gd name="connsiteY48" fmla="*/ 292100 h 1597660"/>
                  <a:gd name="connsiteX49" fmla="*/ 995679 w 1214119"/>
                  <a:gd name="connsiteY49" fmla="*/ 396240 h 1597660"/>
                  <a:gd name="connsiteX50" fmla="*/ 858519 w 1214119"/>
                  <a:gd name="connsiteY50" fmla="*/ 551180 h 1597660"/>
                  <a:gd name="connsiteX51" fmla="*/ 792480 w 1214119"/>
                  <a:gd name="connsiteY51" fmla="*/ 660400 h 1597660"/>
                  <a:gd name="connsiteX52" fmla="*/ 932180 w 1214119"/>
                  <a:gd name="connsiteY52" fmla="*/ 566420 h 1597660"/>
                  <a:gd name="connsiteX53" fmla="*/ 970280 w 1214119"/>
                  <a:gd name="connsiteY53" fmla="*/ 568960 h 1597660"/>
                  <a:gd name="connsiteX54" fmla="*/ 772160 w 1214119"/>
                  <a:gd name="connsiteY54" fmla="*/ 701040 h 1597660"/>
                  <a:gd name="connsiteX55" fmla="*/ 632460 w 1214119"/>
                  <a:gd name="connsiteY55" fmla="*/ 896620 h 1597660"/>
                  <a:gd name="connsiteX56" fmla="*/ 640080 w 1214119"/>
                  <a:gd name="connsiteY56" fmla="*/ 1239520 h 1597660"/>
                  <a:gd name="connsiteX57" fmla="*/ 640080 w 1214119"/>
                  <a:gd name="connsiteY57" fmla="*/ 1597660 h 1597660"/>
                  <a:gd name="connsiteX58" fmla="*/ 457200 w 1214119"/>
                  <a:gd name="connsiteY58"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8779 w 1214119"/>
                  <a:gd name="connsiteY14" fmla="*/ 378460 h 1597660"/>
                  <a:gd name="connsiteX15" fmla="*/ 447039 w 1214119"/>
                  <a:gd name="connsiteY15" fmla="*/ 284480 h 1597660"/>
                  <a:gd name="connsiteX16" fmla="*/ 416559 w 1214119"/>
                  <a:gd name="connsiteY16" fmla="*/ 551180 h 1597660"/>
                  <a:gd name="connsiteX17" fmla="*/ 525780 w 1214119"/>
                  <a:gd name="connsiteY17" fmla="*/ 599440 h 1597660"/>
                  <a:gd name="connsiteX18" fmla="*/ 563880 w 1214119"/>
                  <a:gd name="connsiteY18" fmla="*/ 378460 h 1597660"/>
                  <a:gd name="connsiteX19" fmla="*/ 485140 w 1214119"/>
                  <a:gd name="connsiteY19" fmla="*/ 127000 h 1597660"/>
                  <a:gd name="connsiteX20" fmla="*/ 419100 w 1214119"/>
                  <a:gd name="connsiteY20" fmla="*/ 60960 h 1597660"/>
                  <a:gd name="connsiteX21" fmla="*/ 495300 w 1214119"/>
                  <a:gd name="connsiteY21" fmla="*/ 111760 h 1597660"/>
                  <a:gd name="connsiteX22" fmla="*/ 530859 w 1214119"/>
                  <a:gd name="connsiteY22" fmla="*/ 187960 h 1597660"/>
                  <a:gd name="connsiteX23" fmla="*/ 622299 w 1214119"/>
                  <a:gd name="connsiteY23" fmla="*/ 20320 h 1597660"/>
                  <a:gd name="connsiteX24" fmla="*/ 546099 w 1214119"/>
                  <a:gd name="connsiteY24" fmla="*/ 223520 h 1597660"/>
                  <a:gd name="connsiteX25" fmla="*/ 594360 w 1214119"/>
                  <a:gd name="connsiteY25" fmla="*/ 355600 h 1597660"/>
                  <a:gd name="connsiteX26" fmla="*/ 723899 w 1214119"/>
                  <a:gd name="connsiteY26" fmla="*/ 132080 h 1597660"/>
                  <a:gd name="connsiteX27" fmla="*/ 693420 w 1214119"/>
                  <a:gd name="connsiteY27" fmla="*/ 30480 h 1597660"/>
                  <a:gd name="connsiteX28" fmla="*/ 708659 w 1214119"/>
                  <a:gd name="connsiteY28" fmla="*/ 0 h 1597660"/>
                  <a:gd name="connsiteX29" fmla="*/ 751839 w 1214119"/>
                  <a:gd name="connsiteY29" fmla="*/ 127000 h 1597660"/>
                  <a:gd name="connsiteX30" fmla="*/ 896620 w 1214119"/>
                  <a:gd name="connsiteY30" fmla="*/ 30480 h 1597660"/>
                  <a:gd name="connsiteX31" fmla="*/ 772159 w 1214119"/>
                  <a:gd name="connsiteY31" fmla="*/ 144780 h 1597660"/>
                  <a:gd name="connsiteX32" fmla="*/ 632460 w 1214119"/>
                  <a:gd name="connsiteY32" fmla="*/ 393700 h 1597660"/>
                  <a:gd name="connsiteX33" fmla="*/ 604520 w 1214119"/>
                  <a:gd name="connsiteY33" fmla="*/ 591820 h 1597660"/>
                  <a:gd name="connsiteX34" fmla="*/ 624840 w 1214119"/>
                  <a:gd name="connsiteY34" fmla="*/ 789940 h 1597660"/>
                  <a:gd name="connsiteX35" fmla="*/ 807719 w 1214119"/>
                  <a:gd name="connsiteY35" fmla="*/ 548640 h 1597660"/>
                  <a:gd name="connsiteX36" fmla="*/ 840739 w 1214119"/>
                  <a:gd name="connsiteY36" fmla="*/ 396240 h 1597660"/>
                  <a:gd name="connsiteX37" fmla="*/ 792479 w 1214119"/>
                  <a:gd name="connsiteY37" fmla="*/ 337820 h 1597660"/>
                  <a:gd name="connsiteX38" fmla="*/ 843279 w 1214119"/>
                  <a:gd name="connsiteY38" fmla="*/ 375920 h 1597660"/>
                  <a:gd name="connsiteX39" fmla="*/ 853440 w 1214119"/>
                  <a:gd name="connsiteY39" fmla="*/ 314960 h 1597660"/>
                  <a:gd name="connsiteX40" fmla="*/ 878839 w 1214119"/>
                  <a:gd name="connsiteY40" fmla="*/ 322580 h 1597660"/>
                  <a:gd name="connsiteX41" fmla="*/ 835659 w 1214119"/>
                  <a:gd name="connsiteY41" fmla="*/ 530860 h 1597660"/>
                  <a:gd name="connsiteX42" fmla="*/ 985519 w 1214119"/>
                  <a:gd name="connsiteY42" fmla="*/ 360680 h 1597660"/>
                  <a:gd name="connsiteX43" fmla="*/ 972820 w 1214119"/>
                  <a:gd name="connsiteY43" fmla="*/ 274320 h 1597660"/>
                  <a:gd name="connsiteX44" fmla="*/ 1008379 w 1214119"/>
                  <a:gd name="connsiteY44" fmla="*/ 360680 h 1597660"/>
                  <a:gd name="connsiteX45" fmla="*/ 1069339 w 1214119"/>
                  <a:gd name="connsiteY45" fmla="*/ 337820 h 1597660"/>
                  <a:gd name="connsiteX46" fmla="*/ 1084579 w 1214119"/>
                  <a:gd name="connsiteY46" fmla="*/ 220980 h 1597660"/>
                  <a:gd name="connsiteX47" fmla="*/ 1089659 w 1214119"/>
                  <a:gd name="connsiteY47" fmla="*/ 335280 h 1597660"/>
                  <a:gd name="connsiteX48" fmla="*/ 1214119 w 1214119"/>
                  <a:gd name="connsiteY48" fmla="*/ 292100 h 1597660"/>
                  <a:gd name="connsiteX49" fmla="*/ 995679 w 1214119"/>
                  <a:gd name="connsiteY49" fmla="*/ 396240 h 1597660"/>
                  <a:gd name="connsiteX50" fmla="*/ 858519 w 1214119"/>
                  <a:gd name="connsiteY50" fmla="*/ 551180 h 1597660"/>
                  <a:gd name="connsiteX51" fmla="*/ 792480 w 1214119"/>
                  <a:gd name="connsiteY51" fmla="*/ 660400 h 1597660"/>
                  <a:gd name="connsiteX52" fmla="*/ 932180 w 1214119"/>
                  <a:gd name="connsiteY52" fmla="*/ 566420 h 1597660"/>
                  <a:gd name="connsiteX53" fmla="*/ 970280 w 1214119"/>
                  <a:gd name="connsiteY53" fmla="*/ 568960 h 1597660"/>
                  <a:gd name="connsiteX54" fmla="*/ 772160 w 1214119"/>
                  <a:gd name="connsiteY54" fmla="*/ 701040 h 1597660"/>
                  <a:gd name="connsiteX55" fmla="*/ 632460 w 1214119"/>
                  <a:gd name="connsiteY55" fmla="*/ 896620 h 1597660"/>
                  <a:gd name="connsiteX56" fmla="*/ 640080 w 1214119"/>
                  <a:gd name="connsiteY56" fmla="*/ 1239520 h 1597660"/>
                  <a:gd name="connsiteX57" fmla="*/ 640080 w 1214119"/>
                  <a:gd name="connsiteY57" fmla="*/ 1597660 h 1597660"/>
                  <a:gd name="connsiteX58" fmla="*/ 457200 w 1214119"/>
                  <a:gd name="connsiteY58"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8779 w 1214119"/>
                  <a:gd name="connsiteY14" fmla="*/ 378460 h 1597660"/>
                  <a:gd name="connsiteX15" fmla="*/ 447039 w 1214119"/>
                  <a:gd name="connsiteY15" fmla="*/ 284480 h 1597660"/>
                  <a:gd name="connsiteX16" fmla="*/ 436879 w 1214119"/>
                  <a:gd name="connsiteY16" fmla="*/ 408940 h 1597660"/>
                  <a:gd name="connsiteX17" fmla="*/ 416559 w 1214119"/>
                  <a:gd name="connsiteY17" fmla="*/ 55118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8779 w 1214119"/>
                  <a:gd name="connsiteY14" fmla="*/ 378460 h 1597660"/>
                  <a:gd name="connsiteX15" fmla="*/ 447039 w 1214119"/>
                  <a:gd name="connsiteY15" fmla="*/ 284480 h 1597660"/>
                  <a:gd name="connsiteX16" fmla="*/ 398779 w 1214119"/>
                  <a:gd name="connsiteY16" fmla="*/ 396240 h 1597660"/>
                  <a:gd name="connsiteX17" fmla="*/ 416559 w 1214119"/>
                  <a:gd name="connsiteY17" fmla="*/ 55118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1159 w 1214119"/>
                  <a:gd name="connsiteY14" fmla="*/ 365760 h 1597660"/>
                  <a:gd name="connsiteX15" fmla="*/ 447039 w 1214119"/>
                  <a:gd name="connsiteY15" fmla="*/ 284480 h 1597660"/>
                  <a:gd name="connsiteX16" fmla="*/ 398779 w 1214119"/>
                  <a:gd name="connsiteY16" fmla="*/ 396240 h 1597660"/>
                  <a:gd name="connsiteX17" fmla="*/ 416559 w 1214119"/>
                  <a:gd name="connsiteY17" fmla="*/ 55118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1159 w 1214119"/>
                  <a:gd name="connsiteY14" fmla="*/ 365760 h 1597660"/>
                  <a:gd name="connsiteX15" fmla="*/ 447039 w 1214119"/>
                  <a:gd name="connsiteY15" fmla="*/ 284480 h 1597660"/>
                  <a:gd name="connsiteX16" fmla="*/ 398779 w 1214119"/>
                  <a:gd name="connsiteY16" fmla="*/ 396240 h 1597660"/>
                  <a:gd name="connsiteX17" fmla="*/ 403859 w 1214119"/>
                  <a:gd name="connsiteY17" fmla="*/ 54864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31139 w 1214119"/>
                  <a:gd name="connsiteY9" fmla="*/ 4241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1159 w 1214119"/>
                  <a:gd name="connsiteY14" fmla="*/ 365760 h 1597660"/>
                  <a:gd name="connsiteX15" fmla="*/ 447039 w 1214119"/>
                  <a:gd name="connsiteY15" fmla="*/ 284480 h 1597660"/>
                  <a:gd name="connsiteX16" fmla="*/ 398779 w 1214119"/>
                  <a:gd name="connsiteY16" fmla="*/ 396240 h 1597660"/>
                  <a:gd name="connsiteX17" fmla="*/ 403859 w 1214119"/>
                  <a:gd name="connsiteY17" fmla="*/ 54864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215900 w 1214119"/>
                  <a:gd name="connsiteY5" fmla="*/ 439420 h 1597660"/>
                  <a:gd name="connsiteX6" fmla="*/ 0 w 1214119"/>
                  <a:gd name="connsiteY6" fmla="*/ 294640 h 1597660"/>
                  <a:gd name="connsiteX7" fmla="*/ 190500 w 1214119"/>
                  <a:gd name="connsiteY7" fmla="*/ 355600 h 1597660"/>
                  <a:gd name="connsiteX8" fmla="*/ 182880 w 1214119"/>
                  <a:gd name="connsiteY8" fmla="*/ 180340 h 1597660"/>
                  <a:gd name="connsiteX9" fmla="*/ 231139 w 1214119"/>
                  <a:gd name="connsiteY9" fmla="*/ 4241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1159 w 1214119"/>
                  <a:gd name="connsiteY14" fmla="*/ 365760 h 1597660"/>
                  <a:gd name="connsiteX15" fmla="*/ 447039 w 1214119"/>
                  <a:gd name="connsiteY15" fmla="*/ 284480 h 1597660"/>
                  <a:gd name="connsiteX16" fmla="*/ 398779 w 1214119"/>
                  <a:gd name="connsiteY16" fmla="*/ 396240 h 1597660"/>
                  <a:gd name="connsiteX17" fmla="*/ 403859 w 1214119"/>
                  <a:gd name="connsiteY17" fmla="*/ 54864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71120 w 1094739"/>
                  <a:gd name="connsiteY7" fmla="*/ 355600 h 1597660"/>
                  <a:gd name="connsiteX8" fmla="*/ 63500 w 1094739"/>
                  <a:gd name="connsiteY8" fmla="*/ 180340 h 1597660"/>
                  <a:gd name="connsiteX9" fmla="*/ 111759 w 1094739"/>
                  <a:gd name="connsiteY9" fmla="*/ 42418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77240 w 1094739"/>
                  <a:gd name="connsiteY31" fmla="*/ 30480 h 1597660"/>
                  <a:gd name="connsiteX32" fmla="*/ 652779 w 1094739"/>
                  <a:gd name="connsiteY32" fmla="*/ 144780 h 1597660"/>
                  <a:gd name="connsiteX33" fmla="*/ 513080 w 1094739"/>
                  <a:gd name="connsiteY33" fmla="*/ 393700 h 1597660"/>
                  <a:gd name="connsiteX34" fmla="*/ 485140 w 1094739"/>
                  <a:gd name="connsiteY34" fmla="*/ 591820 h 1597660"/>
                  <a:gd name="connsiteX35" fmla="*/ 505460 w 1094739"/>
                  <a:gd name="connsiteY35" fmla="*/ 789940 h 1597660"/>
                  <a:gd name="connsiteX36" fmla="*/ 688339 w 1094739"/>
                  <a:gd name="connsiteY36" fmla="*/ 548640 h 1597660"/>
                  <a:gd name="connsiteX37" fmla="*/ 721359 w 1094739"/>
                  <a:gd name="connsiteY37" fmla="*/ 396240 h 1597660"/>
                  <a:gd name="connsiteX38" fmla="*/ 673099 w 1094739"/>
                  <a:gd name="connsiteY38" fmla="*/ 337820 h 1597660"/>
                  <a:gd name="connsiteX39" fmla="*/ 723899 w 1094739"/>
                  <a:gd name="connsiteY39" fmla="*/ 375920 h 1597660"/>
                  <a:gd name="connsiteX40" fmla="*/ 734060 w 1094739"/>
                  <a:gd name="connsiteY40" fmla="*/ 314960 h 1597660"/>
                  <a:gd name="connsiteX41" fmla="*/ 759459 w 1094739"/>
                  <a:gd name="connsiteY41" fmla="*/ 322580 h 1597660"/>
                  <a:gd name="connsiteX42" fmla="*/ 716279 w 1094739"/>
                  <a:gd name="connsiteY42" fmla="*/ 530860 h 1597660"/>
                  <a:gd name="connsiteX43" fmla="*/ 866139 w 1094739"/>
                  <a:gd name="connsiteY43" fmla="*/ 360680 h 1597660"/>
                  <a:gd name="connsiteX44" fmla="*/ 853440 w 1094739"/>
                  <a:gd name="connsiteY44" fmla="*/ 274320 h 1597660"/>
                  <a:gd name="connsiteX45" fmla="*/ 888999 w 1094739"/>
                  <a:gd name="connsiteY45" fmla="*/ 360680 h 1597660"/>
                  <a:gd name="connsiteX46" fmla="*/ 949959 w 1094739"/>
                  <a:gd name="connsiteY46" fmla="*/ 337820 h 1597660"/>
                  <a:gd name="connsiteX47" fmla="*/ 965199 w 1094739"/>
                  <a:gd name="connsiteY47" fmla="*/ 220980 h 1597660"/>
                  <a:gd name="connsiteX48" fmla="*/ 970279 w 1094739"/>
                  <a:gd name="connsiteY48" fmla="*/ 335280 h 1597660"/>
                  <a:gd name="connsiteX49" fmla="*/ 1094739 w 1094739"/>
                  <a:gd name="connsiteY49" fmla="*/ 292100 h 1597660"/>
                  <a:gd name="connsiteX50" fmla="*/ 876299 w 1094739"/>
                  <a:gd name="connsiteY50" fmla="*/ 396240 h 1597660"/>
                  <a:gd name="connsiteX51" fmla="*/ 739139 w 1094739"/>
                  <a:gd name="connsiteY51" fmla="*/ 551180 h 1597660"/>
                  <a:gd name="connsiteX52" fmla="*/ 673100 w 1094739"/>
                  <a:gd name="connsiteY52" fmla="*/ 660400 h 1597660"/>
                  <a:gd name="connsiteX53" fmla="*/ 812800 w 1094739"/>
                  <a:gd name="connsiteY53" fmla="*/ 566420 h 1597660"/>
                  <a:gd name="connsiteX54" fmla="*/ 850900 w 1094739"/>
                  <a:gd name="connsiteY54" fmla="*/ 568960 h 1597660"/>
                  <a:gd name="connsiteX55" fmla="*/ 652780 w 1094739"/>
                  <a:gd name="connsiteY55" fmla="*/ 701040 h 1597660"/>
                  <a:gd name="connsiteX56" fmla="*/ 513080 w 1094739"/>
                  <a:gd name="connsiteY56" fmla="*/ 896620 h 1597660"/>
                  <a:gd name="connsiteX57" fmla="*/ 520700 w 1094739"/>
                  <a:gd name="connsiteY57" fmla="*/ 1239520 h 1597660"/>
                  <a:gd name="connsiteX58" fmla="*/ 520700 w 1094739"/>
                  <a:gd name="connsiteY58" fmla="*/ 1597660 h 1597660"/>
                  <a:gd name="connsiteX59" fmla="*/ 337820 w 109473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63500 w 1094739"/>
                  <a:gd name="connsiteY8" fmla="*/ 180340 h 1597660"/>
                  <a:gd name="connsiteX9" fmla="*/ 111759 w 1094739"/>
                  <a:gd name="connsiteY9" fmla="*/ 42418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77240 w 1094739"/>
                  <a:gd name="connsiteY31" fmla="*/ 30480 h 1597660"/>
                  <a:gd name="connsiteX32" fmla="*/ 652779 w 1094739"/>
                  <a:gd name="connsiteY32" fmla="*/ 144780 h 1597660"/>
                  <a:gd name="connsiteX33" fmla="*/ 513080 w 1094739"/>
                  <a:gd name="connsiteY33" fmla="*/ 393700 h 1597660"/>
                  <a:gd name="connsiteX34" fmla="*/ 485140 w 1094739"/>
                  <a:gd name="connsiteY34" fmla="*/ 591820 h 1597660"/>
                  <a:gd name="connsiteX35" fmla="*/ 505460 w 1094739"/>
                  <a:gd name="connsiteY35" fmla="*/ 789940 h 1597660"/>
                  <a:gd name="connsiteX36" fmla="*/ 688339 w 1094739"/>
                  <a:gd name="connsiteY36" fmla="*/ 548640 h 1597660"/>
                  <a:gd name="connsiteX37" fmla="*/ 721359 w 1094739"/>
                  <a:gd name="connsiteY37" fmla="*/ 396240 h 1597660"/>
                  <a:gd name="connsiteX38" fmla="*/ 673099 w 1094739"/>
                  <a:gd name="connsiteY38" fmla="*/ 337820 h 1597660"/>
                  <a:gd name="connsiteX39" fmla="*/ 723899 w 1094739"/>
                  <a:gd name="connsiteY39" fmla="*/ 375920 h 1597660"/>
                  <a:gd name="connsiteX40" fmla="*/ 734060 w 1094739"/>
                  <a:gd name="connsiteY40" fmla="*/ 314960 h 1597660"/>
                  <a:gd name="connsiteX41" fmla="*/ 759459 w 1094739"/>
                  <a:gd name="connsiteY41" fmla="*/ 322580 h 1597660"/>
                  <a:gd name="connsiteX42" fmla="*/ 716279 w 1094739"/>
                  <a:gd name="connsiteY42" fmla="*/ 530860 h 1597660"/>
                  <a:gd name="connsiteX43" fmla="*/ 866139 w 1094739"/>
                  <a:gd name="connsiteY43" fmla="*/ 360680 h 1597660"/>
                  <a:gd name="connsiteX44" fmla="*/ 853440 w 1094739"/>
                  <a:gd name="connsiteY44" fmla="*/ 274320 h 1597660"/>
                  <a:gd name="connsiteX45" fmla="*/ 888999 w 1094739"/>
                  <a:gd name="connsiteY45" fmla="*/ 360680 h 1597660"/>
                  <a:gd name="connsiteX46" fmla="*/ 949959 w 1094739"/>
                  <a:gd name="connsiteY46" fmla="*/ 337820 h 1597660"/>
                  <a:gd name="connsiteX47" fmla="*/ 965199 w 1094739"/>
                  <a:gd name="connsiteY47" fmla="*/ 220980 h 1597660"/>
                  <a:gd name="connsiteX48" fmla="*/ 970279 w 1094739"/>
                  <a:gd name="connsiteY48" fmla="*/ 335280 h 1597660"/>
                  <a:gd name="connsiteX49" fmla="*/ 1094739 w 1094739"/>
                  <a:gd name="connsiteY49" fmla="*/ 292100 h 1597660"/>
                  <a:gd name="connsiteX50" fmla="*/ 876299 w 1094739"/>
                  <a:gd name="connsiteY50" fmla="*/ 396240 h 1597660"/>
                  <a:gd name="connsiteX51" fmla="*/ 739139 w 1094739"/>
                  <a:gd name="connsiteY51" fmla="*/ 551180 h 1597660"/>
                  <a:gd name="connsiteX52" fmla="*/ 673100 w 1094739"/>
                  <a:gd name="connsiteY52" fmla="*/ 660400 h 1597660"/>
                  <a:gd name="connsiteX53" fmla="*/ 812800 w 1094739"/>
                  <a:gd name="connsiteY53" fmla="*/ 566420 h 1597660"/>
                  <a:gd name="connsiteX54" fmla="*/ 850900 w 1094739"/>
                  <a:gd name="connsiteY54" fmla="*/ 568960 h 1597660"/>
                  <a:gd name="connsiteX55" fmla="*/ 652780 w 1094739"/>
                  <a:gd name="connsiteY55" fmla="*/ 701040 h 1597660"/>
                  <a:gd name="connsiteX56" fmla="*/ 513080 w 1094739"/>
                  <a:gd name="connsiteY56" fmla="*/ 896620 h 1597660"/>
                  <a:gd name="connsiteX57" fmla="*/ 520700 w 1094739"/>
                  <a:gd name="connsiteY57" fmla="*/ 1239520 h 1597660"/>
                  <a:gd name="connsiteX58" fmla="*/ 520700 w 1094739"/>
                  <a:gd name="connsiteY58" fmla="*/ 1597660 h 1597660"/>
                  <a:gd name="connsiteX59" fmla="*/ 337820 w 109473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109220 w 1094739"/>
                  <a:gd name="connsiteY8" fmla="*/ 279400 h 1597660"/>
                  <a:gd name="connsiteX9" fmla="*/ 111759 w 1094739"/>
                  <a:gd name="connsiteY9" fmla="*/ 42418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77240 w 1094739"/>
                  <a:gd name="connsiteY31" fmla="*/ 30480 h 1597660"/>
                  <a:gd name="connsiteX32" fmla="*/ 652779 w 1094739"/>
                  <a:gd name="connsiteY32" fmla="*/ 144780 h 1597660"/>
                  <a:gd name="connsiteX33" fmla="*/ 513080 w 1094739"/>
                  <a:gd name="connsiteY33" fmla="*/ 393700 h 1597660"/>
                  <a:gd name="connsiteX34" fmla="*/ 485140 w 1094739"/>
                  <a:gd name="connsiteY34" fmla="*/ 591820 h 1597660"/>
                  <a:gd name="connsiteX35" fmla="*/ 505460 w 1094739"/>
                  <a:gd name="connsiteY35" fmla="*/ 789940 h 1597660"/>
                  <a:gd name="connsiteX36" fmla="*/ 688339 w 1094739"/>
                  <a:gd name="connsiteY36" fmla="*/ 548640 h 1597660"/>
                  <a:gd name="connsiteX37" fmla="*/ 721359 w 1094739"/>
                  <a:gd name="connsiteY37" fmla="*/ 396240 h 1597660"/>
                  <a:gd name="connsiteX38" fmla="*/ 673099 w 1094739"/>
                  <a:gd name="connsiteY38" fmla="*/ 337820 h 1597660"/>
                  <a:gd name="connsiteX39" fmla="*/ 723899 w 1094739"/>
                  <a:gd name="connsiteY39" fmla="*/ 375920 h 1597660"/>
                  <a:gd name="connsiteX40" fmla="*/ 734060 w 1094739"/>
                  <a:gd name="connsiteY40" fmla="*/ 314960 h 1597660"/>
                  <a:gd name="connsiteX41" fmla="*/ 759459 w 1094739"/>
                  <a:gd name="connsiteY41" fmla="*/ 322580 h 1597660"/>
                  <a:gd name="connsiteX42" fmla="*/ 716279 w 1094739"/>
                  <a:gd name="connsiteY42" fmla="*/ 530860 h 1597660"/>
                  <a:gd name="connsiteX43" fmla="*/ 866139 w 1094739"/>
                  <a:gd name="connsiteY43" fmla="*/ 360680 h 1597660"/>
                  <a:gd name="connsiteX44" fmla="*/ 853440 w 1094739"/>
                  <a:gd name="connsiteY44" fmla="*/ 274320 h 1597660"/>
                  <a:gd name="connsiteX45" fmla="*/ 888999 w 1094739"/>
                  <a:gd name="connsiteY45" fmla="*/ 360680 h 1597660"/>
                  <a:gd name="connsiteX46" fmla="*/ 949959 w 1094739"/>
                  <a:gd name="connsiteY46" fmla="*/ 337820 h 1597660"/>
                  <a:gd name="connsiteX47" fmla="*/ 965199 w 1094739"/>
                  <a:gd name="connsiteY47" fmla="*/ 220980 h 1597660"/>
                  <a:gd name="connsiteX48" fmla="*/ 970279 w 1094739"/>
                  <a:gd name="connsiteY48" fmla="*/ 335280 h 1597660"/>
                  <a:gd name="connsiteX49" fmla="*/ 1094739 w 1094739"/>
                  <a:gd name="connsiteY49" fmla="*/ 292100 h 1597660"/>
                  <a:gd name="connsiteX50" fmla="*/ 876299 w 1094739"/>
                  <a:gd name="connsiteY50" fmla="*/ 396240 h 1597660"/>
                  <a:gd name="connsiteX51" fmla="*/ 739139 w 1094739"/>
                  <a:gd name="connsiteY51" fmla="*/ 551180 h 1597660"/>
                  <a:gd name="connsiteX52" fmla="*/ 673100 w 1094739"/>
                  <a:gd name="connsiteY52" fmla="*/ 660400 h 1597660"/>
                  <a:gd name="connsiteX53" fmla="*/ 812800 w 1094739"/>
                  <a:gd name="connsiteY53" fmla="*/ 566420 h 1597660"/>
                  <a:gd name="connsiteX54" fmla="*/ 850900 w 1094739"/>
                  <a:gd name="connsiteY54" fmla="*/ 568960 h 1597660"/>
                  <a:gd name="connsiteX55" fmla="*/ 652780 w 1094739"/>
                  <a:gd name="connsiteY55" fmla="*/ 701040 h 1597660"/>
                  <a:gd name="connsiteX56" fmla="*/ 513080 w 1094739"/>
                  <a:gd name="connsiteY56" fmla="*/ 896620 h 1597660"/>
                  <a:gd name="connsiteX57" fmla="*/ 520700 w 1094739"/>
                  <a:gd name="connsiteY57" fmla="*/ 1239520 h 1597660"/>
                  <a:gd name="connsiteX58" fmla="*/ 520700 w 1094739"/>
                  <a:gd name="connsiteY58" fmla="*/ 1597660 h 1597660"/>
                  <a:gd name="connsiteX59" fmla="*/ 337820 w 109473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109220 w 1094739"/>
                  <a:gd name="connsiteY8" fmla="*/ 279400 h 1597660"/>
                  <a:gd name="connsiteX9" fmla="*/ 119379 w 1094739"/>
                  <a:gd name="connsiteY9" fmla="*/ 41656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77240 w 1094739"/>
                  <a:gd name="connsiteY31" fmla="*/ 30480 h 1597660"/>
                  <a:gd name="connsiteX32" fmla="*/ 652779 w 1094739"/>
                  <a:gd name="connsiteY32" fmla="*/ 144780 h 1597660"/>
                  <a:gd name="connsiteX33" fmla="*/ 513080 w 1094739"/>
                  <a:gd name="connsiteY33" fmla="*/ 393700 h 1597660"/>
                  <a:gd name="connsiteX34" fmla="*/ 485140 w 1094739"/>
                  <a:gd name="connsiteY34" fmla="*/ 591820 h 1597660"/>
                  <a:gd name="connsiteX35" fmla="*/ 505460 w 1094739"/>
                  <a:gd name="connsiteY35" fmla="*/ 789940 h 1597660"/>
                  <a:gd name="connsiteX36" fmla="*/ 688339 w 1094739"/>
                  <a:gd name="connsiteY36" fmla="*/ 548640 h 1597660"/>
                  <a:gd name="connsiteX37" fmla="*/ 721359 w 1094739"/>
                  <a:gd name="connsiteY37" fmla="*/ 396240 h 1597660"/>
                  <a:gd name="connsiteX38" fmla="*/ 673099 w 1094739"/>
                  <a:gd name="connsiteY38" fmla="*/ 337820 h 1597660"/>
                  <a:gd name="connsiteX39" fmla="*/ 723899 w 1094739"/>
                  <a:gd name="connsiteY39" fmla="*/ 375920 h 1597660"/>
                  <a:gd name="connsiteX40" fmla="*/ 734060 w 1094739"/>
                  <a:gd name="connsiteY40" fmla="*/ 314960 h 1597660"/>
                  <a:gd name="connsiteX41" fmla="*/ 759459 w 1094739"/>
                  <a:gd name="connsiteY41" fmla="*/ 322580 h 1597660"/>
                  <a:gd name="connsiteX42" fmla="*/ 716279 w 1094739"/>
                  <a:gd name="connsiteY42" fmla="*/ 530860 h 1597660"/>
                  <a:gd name="connsiteX43" fmla="*/ 866139 w 1094739"/>
                  <a:gd name="connsiteY43" fmla="*/ 360680 h 1597660"/>
                  <a:gd name="connsiteX44" fmla="*/ 853440 w 1094739"/>
                  <a:gd name="connsiteY44" fmla="*/ 274320 h 1597660"/>
                  <a:gd name="connsiteX45" fmla="*/ 888999 w 1094739"/>
                  <a:gd name="connsiteY45" fmla="*/ 360680 h 1597660"/>
                  <a:gd name="connsiteX46" fmla="*/ 949959 w 1094739"/>
                  <a:gd name="connsiteY46" fmla="*/ 337820 h 1597660"/>
                  <a:gd name="connsiteX47" fmla="*/ 965199 w 1094739"/>
                  <a:gd name="connsiteY47" fmla="*/ 220980 h 1597660"/>
                  <a:gd name="connsiteX48" fmla="*/ 970279 w 1094739"/>
                  <a:gd name="connsiteY48" fmla="*/ 335280 h 1597660"/>
                  <a:gd name="connsiteX49" fmla="*/ 1094739 w 1094739"/>
                  <a:gd name="connsiteY49" fmla="*/ 292100 h 1597660"/>
                  <a:gd name="connsiteX50" fmla="*/ 876299 w 1094739"/>
                  <a:gd name="connsiteY50" fmla="*/ 396240 h 1597660"/>
                  <a:gd name="connsiteX51" fmla="*/ 739139 w 1094739"/>
                  <a:gd name="connsiteY51" fmla="*/ 551180 h 1597660"/>
                  <a:gd name="connsiteX52" fmla="*/ 673100 w 1094739"/>
                  <a:gd name="connsiteY52" fmla="*/ 660400 h 1597660"/>
                  <a:gd name="connsiteX53" fmla="*/ 812800 w 1094739"/>
                  <a:gd name="connsiteY53" fmla="*/ 566420 h 1597660"/>
                  <a:gd name="connsiteX54" fmla="*/ 850900 w 1094739"/>
                  <a:gd name="connsiteY54" fmla="*/ 568960 h 1597660"/>
                  <a:gd name="connsiteX55" fmla="*/ 652780 w 1094739"/>
                  <a:gd name="connsiteY55" fmla="*/ 701040 h 1597660"/>
                  <a:gd name="connsiteX56" fmla="*/ 513080 w 1094739"/>
                  <a:gd name="connsiteY56" fmla="*/ 896620 h 1597660"/>
                  <a:gd name="connsiteX57" fmla="*/ 520700 w 1094739"/>
                  <a:gd name="connsiteY57" fmla="*/ 1239520 h 1597660"/>
                  <a:gd name="connsiteX58" fmla="*/ 520700 w 1094739"/>
                  <a:gd name="connsiteY58" fmla="*/ 1597660 h 1597660"/>
                  <a:gd name="connsiteX59" fmla="*/ 337820 w 109473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109220 w 1094739"/>
                  <a:gd name="connsiteY8" fmla="*/ 279400 h 1597660"/>
                  <a:gd name="connsiteX9" fmla="*/ 119379 w 1094739"/>
                  <a:gd name="connsiteY9" fmla="*/ 41656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03579 w 1094739"/>
                  <a:gd name="connsiteY31" fmla="*/ 69850 h 1597660"/>
                  <a:gd name="connsiteX32" fmla="*/ 777240 w 1094739"/>
                  <a:gd name="connsiteY32" fmla="*/ 30480 h 1597660"/>
                  <a:gd name="connsiteX33" fmla="*/ 652779 w 1094739"/>
                  <a:gd name="connsiteY33" fmla="*/ 144780 h 1597660"/>
                  <a:gd name="connsiteX34" fmla="*/ 513080 w 1094739"/>
                  <a:gd name="connsiteY34" fmla="*/ 393700 h 1597660"/>
                  <a:gd name="connsiteX35" fmla="*/ 485140 w 1094739"/>
                  <a:gd name="connsiteY35" fmla="*/ 591820 h 1597660"/>
                  <a:gd name="connsiteX36" fmla="*/ 505460 w 1094739"/>
                  <a:gd name="connsiteY36" fmla="*/ 789940 h 1597660"/>
                  <a:gd name="connsiteX37" fmla="*/ 688339 w 1094739"/>
                  <a:gd name="connsiteY37" fmla="*/ 548640 h 1597660"/>
                  <a:gd name="connsiteX38" fmla="*/ 721359 w 1094739"/>
                  <a:gd name="connsiteY38" fmla="*/ 396240 h 1597660"/>
                  <a:gd name="connsiteX39" fmla="*/ 673099 w 1094739"/>
                  <a:gd name="connsiteY39" fmla="*/ 337820 h 1597660"/>
                  <a:gd name="connsiteX40" fmla="*/ 723899 w 1094739"/>
                  <a:gd name="connsiteY40" fmla="*/ 375920 h 1597660"/>
                  <a:gd name="connsiteX41" fmla="*/ 734060 w 1094739"/>
                  <a:gd name="connsiteY41" fmla="*/ 314960 h 1597660"/>
                  <a:gd name="connsiteX42" fmla="*/ 759459 w 1094739"/>
                  <a:gd name="connsiteY42" fmla="*/ 322580 h 1597660"/>
                  <a:gd name="connsiteX43" fmla="*/ 716279 w 1094739"/>
                  <a:gd name="connsiteY43" fmla="*/ 530860 h 1597660"/>
                  <a:gd name="connsiteX44" fmla="*/ 866139 w 1094739"/>
                  <a:gd name="connsiteY44" fmla="*/ 360680 h 1597660"/>
                  <a:gd name="connsiteX45" fmla="*/ 853440 w 1094739"/>
                  <a:gd name="connsiteY45" fmla="*/ 274320 h 1597660"/>
                  <a:gd name="connsiteX46" fmla="*/ 888999 w 1094739"/>
                  <a:gd name="connsiteY46" fmla="*/ 360680 h 1597660"/>
                  <a:gd name="connsiteX47" fmla="*/ 949959 w 1094739"/>
                  <a:gd name="connsiteY47" fmla="*/ 337820 h 1597660"/>
                  <a:gd name="connsiteX48" fmla="*/ 965199 w 1094739"/>
                  <a:gd name="connsiteY48" fmla="*/ 220980 h 1597660"/>
                  <a:gd name="connsiteX49" fmla="*/ 970279 w 1094739"/>
                  <a:gd name="connsiteY49" fmla="*/ 335280 h 1597660"/>
                  <a:gd name="connsiteX50" fmla="*/ 1094739 w 1094739"/>
                  <a:gd name="connsiteY50" fmla="*/ 292100 h 1597660"/>
                  <a:gd name="connsiteX51" fmla="*/ 876299 w 1094739"/>
                  <a:gd name="connsiteY51" fmla="*/ 396240 h 1597660"/>
                  <a:gd name="connsiteX52" fmla="*/ 739139 w 1094739"/>
                  <a:gd name="connsiteY52" fmla="*/ 551180 h 1597660"/>
                  <a:gd name="connsiteX53" fmla="*/ 673100 w 1094739"/>
                  <a:gd name="connsiteY53" fmla="*/ 660400 h 1597660"/>
                  <a:gd name="connsiteX54" fmla="*/ 812800 w 1094739"/>
                  <a:gd name="connsiteY54" fmla="*/ 566420 h 1597660"/>
                  <a:gd name="connsiteX55" fmla="*/ 850900 w 1094739"/>
                  <a:gd name="connsiteY55" fmla="*/ 568960 h 1597660"/>
                  <a:gd name="connsiteX56" fmla="*/ 652780 w 1094739"/>
                  <a:gd name="connsiteY56" fmla="*/ 701040 h 1597660"/>
                  <a:gd name="connsiteX57" fmla="*/ 513080 w 1094739"/>
                  <a:gd name="connsiteY57" fmla="*/ 896620 h 1597660"/>
                  <a:gd name="connsiteX58" fmla="*/ 520700 w 1094739"/>
                  <a:gd name="connsiteY58" fmla="*/ 1239520 h 1597660"/>
                  <a:gd name="connsiteX59" fmla="*/ 520700 w 1094739"/>
                  <a:gd name="connsiteY59" fmla="*/ 1597660 h 1597660"/>
                  <a:gd name="connsiteX60" fmla="*/ 337820 w 1094739"/>
                  <a:gd name="connsiteY60" fmla="*/ 1597660 h 1597660"/>
                  <a:gd name="connsiteX0" fmla="*/ 337820 w 1094739"/>
                  <a:gd name="connsiteY0" fmla="*/ 1601470 h 1601470"/>
                  <a:gd name="connsiteX1" fmla="*/ 396240 w 1094739"/>
                  <a:gd name="connsiteY1" fmla="*/ 1200150 h 1601470"/>
                  <a:gd name="connsiteX2" fmla="*/ 421640 w 1094739"/>
                  <a:gd name="connsiteY2" fmla="*/ 915670 h 1601470"/>
                  <a:gd name="connsiteX3" fmla="*/ 414020 w 1094739"/>
                  <a:gd name="connsiteY3" fmla="*/ 679450 h 1601470"/>
                  <a:gd name="connsiteX4" fmla="*/ 147320 w 1094739"/>
                  <a:gd name="connsiteY4" fmla="*/ 527050 h 1601470"/>
                  <a:gd name="connsiteX5" fmla="*/ 96520 w 1094739"/>
                  <a:gd name="connsiteY5" fmla="*/ 443230 h 1601470"/>
                  <a:gd name="connsiteX6" fmla="*/ 0 w 1094739"/>
                  <a:gd name="connsiteY6" fmla="*/ 364490 h 1601470"/>
                  <a:gd name="connsiteX7" fmla="*/ 96520 w 1094739"/>
                  <a:gd name="connsiteY7" fmla="*/ 407670 h 1601470"/>
                  <a:gd name="connsiteX8" fmla="*/ 109220 w 1094739"/>
                  <a:gd name="connsiteY8" fmla="*/ 283210 h 1601470"/>
                  <a:gd name="connsiteX9" fmla="*/ 119379 w 1094739"/>
                  <a:gd name="connsiteY9" fmla="*/ 420370 h 1601470"/>
                  <a:gd name="connsiteX10" fmla="*/ 177800 w 1094739"/>
                  <a:gd name="connsiteY10" fmla="*/ 509270 h 1601470"/>
                  <a:gd name="connsiteX11" fmla="*/ 256539 w 1094739"/>
                  <a:gd name="connsiteY11" fmla="*/ 542290 h 1601470"/>
                  <a:gd name="connsiteX12" fmla="*/ 259079 w 1094739"/>
                  <a:gd name="connsiteY12" fmla="*/ 394970 h 1601470"/>
                  <a:gd name="connsiteX13" fmla="*/ 210819 w 1094739"/>
                  <a:gd name="connsiteY13" fmla="*/ 300990 h 1601470"/>
                  <a:gd name="connsiteX14" fmla="*/ 271779 w 1094739"/>
                  <a:gd name="connsiteY14" fmla="*/ 369570 h 1601470"/>
                  <a:gd name="connsiteX15" fmla="*/ 327659 w 1094739"/>
                  <a:gd name="connsiteY15" fmla="*/ 288290 h 1601470"/>
                  <a:gd name="connsiteX16" fmla="*/ 279399 w 1094739"/>
                  <a:gd name="connsiteY16" fmla="*/ 400050 h 1601470"/>
                  <a:gd name="connsiteX17" fmla="*/ 284479 w 1094739"/>
                  <a:gd name="connsiteY17" fmla="*/ 552450 h 1601470"/>
                  <a:gd name="connsiteX18" fmla="*/ 406400 w 1094739"/>
                  <a:gd name="connsiteY18" fmla="*/ 603250 h 1601470"/>
                  <a:gd name="connsiteX19" fmla="*/ 444500 w 1094739"/>
                  <a:gd name="connsiteY19" fmla="*/ 382270 h 1601470"/>
                  <a:gd name="connsiteX20" fmla="*/ 365760 w 1094739"/>
                  <a:gd name="connsiteY20" fmla="*/ 130810 h 1601470"/>
                  <a:gd name="connsiteX21" fmla="*/ 299720 w 1094739"/>
                  <a:gd name="connsiteY21" fmla="*/ 64770 h 1601470"/>
                  <a:gd name="connsiteX22" fmla="*/ 375920 w 1094739"/>
                  <a:gd name="connsiteY22" fmla="*/ 115570 h 1601470"/>
                  <a:gd name="connsiteX23" fmla="*/ 411479 w 1094739"/>
                  <a:gd name="connsiteY23" fmla="*/ 191770 h 1601470"/>
                  <a:gd name="connsiteX24" fmla="*/ 502919 w 1094739"/>
                  <a:gd name="connsiteY24" fmla="*/ 24130 h 1601470"/>
                  <a:gd name="connsiteX25" fmla="*/ 426719 w 1094739"/>
                  <a:gd name="connsiteY25" fmla="*/ 227330 h 1601470"/>
                  <a:gd name="connsiteX26" fmla="*/ 474980 w 1094739"/>
                  <a:gd name="connsiteY26" fmla="*/ 359410 h 1601470"/>
                  <a:gd name="connsiteX27" fmla="*/ 604519 w 1094739"/>
                  <a:gd name="connsiteY27" fmla="*/ 135890 h 1601470"/>
                  <a:gd name="connsiteX28" fmla="*/ 574040 w 1094739"/>
                  <a:gd name="connsiteY28" fmla="*/ 34290 h 1601470"/>
                  <a:gd name="connsiteX29" fmla="*/ 589279 w 1094739"/>
                  <a:gd name="connsiteY29" fmla="*/ 3810 h 1601470"/>
                  <a:gd name="connsiteX30" fmla="*/ 632459 w 1094739"/>
                  <a:gd name="connsiteY30" fmla="*/ 130810 h 1601470"/>
                  <a:gd name="connsiteX31" fmla="*/ 703579 w 1094739"/>
                  <a:gd name="connsiteY31" fmla="*/ 73660 h 1601470"/>
                  <a:gd name="connsiteX32" fmla="*/ 918210 w 1094739"/>
                  <a:gd name="connsiteY32" fmla="*/ 0 h 1601470"/>
                  <a:gd name="connsiteX33" fmla="*/ 652779 w 1094739"/>
                  <a:gd name="connsiteY33" fmla="*/ 148590 h 1601470"/>
                  <a:gd name="connsiteX34" fmla="*/ 513080 w 1094739"/>
                  <a:gd name="connsiteY34" fmla="*/ 397510 h 1601470"/>
                  <a:gd name="connsiteX35" fmla="*/ 485140 w 1094739"/>
                  <a:gd name="connsiteY35" fmla="*/ 595630 h 1601470"/>
                  <a:gd name="connsiteX36" fmla="*/ 505460 w 1094739"/>
                  <a:gd name="connsiteY36" fmla="*/ 793750 h 1601470"/>
                  <a:gd name="connsiteX37" fmla="*/ 688339 w 1094739"/>
                  <a:gd name="connsiteY37" fmla="*/ 552450 h 1601470"/>
                  <a:gd name="connsiteX38" fmla="*/ 721359 w 1094739"/>
                  <a:gd name="connsiteY38" fmla="*/ 400050 h 1601470"/>
                  <a:gd name="connsiteX39" fmla="*/ 673099 w 1094739"/>
                  <a:gd name="connsiteY39" fmla="*/ 341630 h 1601470"/>
                  <a:gd name="connsiteX40" fmla="*/ 723899 w 1094739"/>
                  <a:gd name="connsiteY40" fmla="*/ 379730 h 1601470"/>
                  <a:gd name="connsiteX41" fmla="*/ 734060 w 1094739"/>
                  <a:gd name="connsiteY41" fmla="*/ 318770 h 1601470"/>
                  <a:gd name="connsiteX42" fmla="*/ 759459 w 1094739"/>
                  <a:gd name="connsiteY42" fmla="*/ 326390 h 1601470"/>
                  <a:gd name="connsiteX43" fmla="*/ 716279 w 1094739"/>
                  <a:gd name="connsiteY43" fmla="*/ 534670 h 1601470"/>
                  <a:gd name="connsiteX44" fmla="*/ 866139 w 1094739"/>
                  <a:gd name="connsiteY44" fmla="*/ 364490 h 1601470"/>
                  <a:gd name="connsiteX45" fmla="*/ 853440 w 1094739"/>
                  <a:gd name="connsiteY45" fmla="*/ 278130 h 1601470"/>
                  <a:gd name="connsiteX46" fmla="*/ 888999 w 1094739"/>
                  <a:gd name="connsiteY46" fmla="*/ 364490 h 1601470"/>
                  <a:gd name="connsiteX47" fmla="*/ 949959 w 1094739"/>
                  <a:gd name="connsiteY47" fmla="*/ 341630 h 1601470"/>
                  <a:gd name="connsiteX48" fmla="*/ 965199 w 1094739"/>
                  <a:gd name="connsiteY48" fmla="*/ 224790 h 1601470"/>
                  <a:gd name="connsiteX49" fmla="*/ 970279 w 1094739"/>
                  <a:gd name="connsiteY49" fmla="*/ 339090 h 1601470"/>
                  <a:gd name="connsiteX50" fmla="*/ 1094739 w 1094739"/>
                  <a:gd name="connsiteY50" fmla="*/ 295910 h 1601470"/>
                  <a:gd name="connsiteX51" fmla="*/ 876299 w 1094739"/>
                  <a:gd name="connsiteY51" fmla="*/ 400050 h 1601470"/>
                  <a:gd name="connsiteX52" fmla="*/ 739139 w 1094739"/>
                  <a:gd name="connsiteY52" fmla="*/ 554990 h 1601470"/>
                  <a:gd name="connsiteX53" fmla="*/ 673100 w 1094739"/>
                  <a:gd name="connsiteY53" fmla="*/ 664210 h 1601470"/>
                  <a:gd name="connsiteX54" fmla="*/ 812800 w 1094739"/>
                  <a:gd name="connsiteY54" fmla="*/ 570230 h 1601470"/>
                  <a:gd name="connsiteX55" fmla="*/ 850900 w 1094739"/>
                  <a:gd name="connsiteY55" fmla="*/ 572770 h 1601470"/>
                  <a:gd name="connsiteX56" fmla="*/ 652780 w 1094739"/>
                  <a:gd name="connsiteY56" fmla="*/ 704850 h 1601470"/>
                  <a:gd name="connsiteX57" fmla="*/ 513080 w 1094739"/>
                  <a:gd name="connsiteY57" fmla="*/ 900430 h 1601470"/>
                  <a:gd name="connsiteX58" fmla="*/ 520700 w 1094739"/>
                  <a:gd name="connsiteY58" fmla="*/ 1243330 h 1601470"/>
                  <a:gd name="connsiteX59" fmla="*/ 520700 w 1094739"/>
                  <a:gd name="connsiteY59" fmla="*/ 1601470 h 1601470"/>
                  <a:gd name="connsiteX60" fmla="*/ 337820 w 1094739"/>
                  <a:gd name="connsiteY60" fmla="*/ 1601470 h 1601470"/>
                  <a:gd name="connsiteX0" fmla="*/ 337820 w 1094739"/>
                  <a:gd name="connsiteY0" fmla="*/ 1601470 h 1601470"/>
                  <a:gd name="connsiteX1" fmla="*/ 396240 w 1094739"/>
                  <a:gd name="connsiteY1" fmla="*/ 1200150 h 1601470"/>
                  <a:gd name="connsiteX2" fmla="*/ 421640 w 1094739"/>
                  <a:gd name="connsiteY2" fmla="*/ 915670 h 1601470"/>
                  <a:gd name="connsiteX3" fmla="*/ 414020 w 1094739"/>
                  <a:gd name="connsiteY3" fmla="*/ 679450 h 1601470"/>
                  <a:gd name="connsiteX4" fmla="*/ 147320 w 1094739"/>
                  <a:gd name="connsiteY4" fmla="*/ 527050 h 1601470"/>
                  <a:gd name="connsiteX5" fmla="*/ 96520 w 1094739"/>
                  <a:gd name="connsiteY5" fmla="*/ 443230 h 1601470"/>
                  <a:gd name="connsiteX6" fmla="*/ 0 w 1094739"/>
                  <a:gd name="connsiteY6" fmla="*/ 364490 h 1601470"/>
                  <a:gd name="connsiteX7" fmla="*/ 96520 w 1094739"/>
                  <a:gd name="connsiteY7" fmla="*/ 407670 h 1601470"/>
                  <a:gd name="connsiteX8" fmla="*/ 109220 w 1094739"/>
                  <a:gd name="connsiteY8" fmla="*/ 283210 h 1601470"/>
                  <a:gd name="connsiteX9" fmla="*/ 119379 w 1094739"/>
                  <a:gd name="connsiteY9" fmla="*/ 420370 h 1601470"/>
                  <a:gd name="connsiteX10" fmla="*/ 177800 w 1094739"/>
                  <a:gd name="connsiteY10" fmla="*/ 509270 h 1601470"/>
                  <a:gd name="connsiteX11" fmla="*/ 256539 w 1094739"/>
                  <a:gd name="connsiteY11" fmla="*/ 542290 h 1601470"/>
                  <a:gd name="connsiteX12" fmla="*/ 259079 w 1094739"/>
                  <a:gd name="connsiteY12" fmla="*/ 394970 h 1601470"/>
                  <a:gd name="connsiteX13" fmla="*/ 210819 w 1094739"/>
                  <a:gd name="connsiteY13" fmla="*/ 300990 h 1601470"/>
                  <a:gd name="connsiteX14" fmla="*/ 271779 w 1094739"/>
                  <a:gd name="connsiteY14" fmla="*/ 369570 h 1601470"/>
                  <a:gd name="connsiteX15" fmla="*/ 327659 w 1094739"/>
                  <a:gd name="connsiteY15" fmla="*/ 288290 h 1601470"/>
                  <a:gd name="connsiteX16" fmla="*/ 279399 w 1094739"/>
                  <a:gd name="connsiteY16" fmla="*/ 400050 h 1601470"/>
                  <a:gd name="connsiteX17" fmla="*/ 284479 w 1094739"/>
                  <a:gd name="connsiteY17" fmla="*/ 552450 h 1601470"/>
                  <a:gd name="connsiteX18" fmla="*/ 406400 w 1094739"/>
                  <a:gd name="connsiteY18" fmla="*/ 603250 h 1601470"/>
                  <a:gd name="connsiteX19" fmla="*/ 444500 w 1094739"/>
                  <a:gd name="connsiteY19" fmla="*/ 382270 h 1601470"/>
                  <a:gd name="connsiteX20" fmla="*/ 365760 w 1094739"/>
                  <a:gd name="connsiteY20" fmla="*/ 130810 h 1601470"/>
                  <a:gd name="connsiteX21" fmla="*/ 299720 w 1094739"/>
                  <a:gd name="connsiteY21" fmla="*/ 64770 h 1601470"/>
                  <a:gd name="connsiteX22" fmla="*/ 375920 w 1094739"/>
                  <a:gd name="connsiteY22" fmla="*/ 115570 h 1601470"/>
                  <a:gd name="connsiteX23" fmla="*/ 411479 w 1094739"/>
                  <a:gd name="connsiteY23" fmla="*/ 191770 h 1601470"/>
                  <a:gd name="connsiteX24" fmla="*/ 502919 w 1094739"/>
                  <a:gd name="connsiteY24" fmla="*/ 24130 h 1601470"/>
                  <a:gd name="connsiteX25" fmla="*/ 426719 w 1094739"/>
                  <a:gd name="connsiteY25" fmla="*/ 227330 h 1601470"/>
                  <a:gd name="connsiteX26" fmla="*/ 474980 w 1094739"/>
                  <a:gd name="connsiteY26" fmla="*/ 359410 h 1601470"/>
                  <a:gd name="connsiteX27" fmla="*/ 604519 w 1094739"/>
                  <a:gd name="connsiteY27" fmla="*/ 135890 h 1601470"/>
                  <a:gd name="connsiteX28" fmla="*/ 574040 w 1094739"/>
                  <a:gd name="connsiteY28" fmla="*/ 34290 h 1601470"/>
                  <a:gd name="connsiteX29" fmla="*/ 589279 w 1094739"/>
                  <a:gd name="connsiteY29" fmla="*/ 3810 h 1601470"/>
                  <a:gd name="connsiteX30" fmla="*/ 632459 w 1094739"/>
                  <a:gd name="connsiteY30" fmla="*/ 130810 h 1601470"/>
                  <a:gd name="connsiteX31" fmla="*/ 703579 w 1094739"/>
                  <a:gd name="connsiteY31" fmla="*/ 73660 h 1601470"/>
                  <a:gd name="connsiteX32" fmla="*/ 756919 w 1094739"/>
                  <a:gd name="connsiteY32" fmla="*/ 54610 h 1601470"/>
                  <a:gd name="connsiteX33" fmla="*/ 918210 w 1094739"/>
                  <a:gd name="connsiteY33" fmla="*/ 0 h 1601470"/>
                  <a:gd name="connsiteX34" fmla="*/ 652779 w 1094739"/>
                  <a:gd name="connsiteY34" fmla="*/ 148590 h 1601470"/>
                  <a:gd name="connsiteX35" fmla="*/ 513080 w 1094739"/>
                  <a:gd name="connsiteY35" fmla="*/ 397510 h 1601470"/>
                  <a:gd name="connsiteX36" fmla="*/ 485140 w 1094739"/>
                  <a:gd name="connsiteY36" fmla="*/ 595630 h 1601470"/>
                  <a:gd name="connsiteX37" fmla="*/ 505460 w 1094739"/>
                  <a:gd name="connsiteY37" fmla="*/ 793750 h 1601470"/>
                  <a:gd name="connsiteX38" fmla="*/ 688339 w 1094739"/>
                  <a:gd name="connsiteY38" fmla="*/ 552450 h 1601470"/>
                  <a:gd name="connsiteX39" fmla="*/ 721359 w 1094739"/>
                  <a:gd name="connsiteY39" fmla="*/ 400050 h 1601470"/>
                  <a:gd name="connsiteX40" fmla="*/ 673099 w 1094739"/>
                  <a:gd name="connsiteY40" fmla="*/ 341630 h 1601470"/>
                  <a:gd name="connsiteX41" fmla="*/ 723899 w 1094739"/>
                  <a:gd name="connsiteY41" fmla="*/ 379730 h 1601470"/>
                  <a:gd name="connsiteX42" fmla="*/ 734060 w 1094739"/>
                  <a:gd name="connsiteY42" fmla="*/ 318770 h 1601470"/>
                  <a:gd name="connsiteX43" fmla="*/ 759459 w 1094739"/>
                  <a:gd name="connsiteY43" fmla="*/ 326390 h 1601470"/>
                  <a:gd name="connsiteX44" fmla="*/ 716279 w 1094739"/>
                  <a:gd name="connsiteY44" fmla="*/ 534670 h 1601470"/>
                  <a:gd name="connsiteX45" fmla="*/ 866139 w 1094739"/>
                  <a:gd name="connsiteY45" fmla="*/ 364490 h 1601470"/>
                  <a:gd name="connsiteX46" fmla="*/ 853440 w 1094739"/>
                  <a:gd name="connsiteY46" fmla="*/ 278130 h 1601470"/>
                  <a:gd name="connsiteX47" fmla="*/ 888999 w 1094739"/>
                  <a:gd name="connsiteY47" fmla="*/ 364490 h 1601470"/>
                  <a:gd name="connsiteX48" fmla="*/ 949959 w 1094739"/>
                  <a:gd name="connsiteY48" fmla="*/ 341630 h 1601470"/>
                  <a:gd name="connsiteX49" fmla="*/ 965199 w 1094739"/>
                  <a:gd name="connsiteY49" fmla="*/ 224790 h 1601470"/>
                  <a:gd name="connsiteX50" fmla="*/ 970279 w 1094739"/>
                  <a:gd name="connsiteY50" fmla="*/ 339090 h 1601470"/>
                  <a:gd name="connsiteX51" fmla="*/ 1094739 w 1094739"/>
                  <a:gd name="connsiteY51" fmla="*/ 295910 h 1601470"/>
                  <a:gd name="connsiteX52" fmla="*/ 876299 w 1094739"/>
                  <a:gd name="connsiteY52" fmla="*/ 400050 h 1601470"/>
                  <a:gd name="connsiteX53" fmla="*/ 739139 w 1094739"/>
                  <a:gd name="connsiteY53" fmla="*/ 554990 h 1601470"/>
                  <a:gd name="connsiteX54" fmla="*/ 673100 w 1094739"/>
                  <a:gd name="connsiteY54" fmla="*/ 664210 h 1601470"/>
                  <a:gd name="connsiteX55" fmla="*/ 812800 w 1094739"/>
                  <a:gd name="connsiteY55" fmla="*/ 570230 h 1601470"/>
                  <a:gd name="connsiteX56" fmla="*/ 850900 w 1094739"/>
                  <a:gd name="connsiteY56" fmla="*/ 572770 h 1601470"/>
                  <a:gd name="connsiteX57" fmla="*/ 652780 w 1094739"/>
                  <a:gd name="connsiteY57" fmla="*/ 704850 h 1601470"/>
                  <a:gd name="connsiteX58" fmla="*/ 513080 w 1094739"/>
                  <a:gd name="connsiteY58" fmla="*/ 900430 h 1601470"/>
                  <a:gd name="connsiteX59" fmla="*/ 520700 w 1094739"/>
                  <a:gd name="connsiteY59" fmla="*/ 1243330 h 1601470"/>
                  <a:gd name="connsiteX60" fmla="*/ 520700 w 1094739"/>
                  <a:gd name="connsiteY60" fmla="*/ 1601470 h 1601470"/>
                  <a:gd name="connsiteX61" fmla="*/ 337820 w 1094739"/>
                  <a:gd name="connsiteY61" fmla="*/ 1601470 h 160147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918210 w 1094739"/>
                  <a:gd name="connsiteY33" fmla="*/ 17780 h 1619250"/>
                  <a:gd name="connsiteX34" fmla="*/ 652779 w 1094739"/>
                  <a:gd name="connsiteY34" fmla="*/ 166370 h 1619250"/>
                  <a:gd name="connsiteX35" fmla="*/ 513080 w 1094739"/>
                  <a:gd name="connsiteY35" fmla="*/ 415290 h 1619250"/>
                  <a:gd name="connsiteX36" fmla="*/ 485140 w 1094739"/>
                  <a:gd name="connsiteY36" fmla="*/ 613410 h 1619250"/>
                  <a:gd name="connsiteX37" fmla="*/ 505460 w 1094739"/>
                  <a:gd name="connsiteY37" fmla="*/ 811530 h 1619250"/>
                  <a:gd name="connsiteX38" fmla="*/ 688339 w 1094739"/>
                  <a:gd name="connsiteY38" fmla="*/ 570230 h 1619250"/>
                  <a:gd name="connsiteX39" fmla="*/ 721359 w 1094739"/>
                  <a:gd name="connsiteY39" fmla="*/ 417830 h 1619250"/>
                  <a:gd name="connsiteX40" fmla="*/ 673099 w 1094739"/>
                  <a:gd name="connsiteY40" fmla="*/ 359410 h 1619250"/>
                  <a:gd name="connsiteX41" fmla="*/ 723899 w 1094739"/>
                  <a:gd name="connsiteY41" fmla="*/ 397510 h 1619250"/>
                  <a:gd name="connsiteX42" fmla="*/ 734060 w 1094739"/>
                  <a:gd name="connsiteY42" fmla="*/ 336550 h 1619250"/>
                  <a:gd name="connsiteX43" fmla="*/ 759459 w 1094739"/>
                  <a:gd name="connsiteY43" fmla="*/ 344170 h 1619250"/>
                  <a:gd name="connsiteX44" fmla="*/ 716279 w 1094739"/>
                  <a:gd name="connsiteY44" fmla="*/ 552450 h 1619250"/>
                  <a:gd name="connsiteX45" fmla="*/ 866139 w 1094739"/>
                  <a:gd name="connsiteY45" fmla="*/ 382270 h 1619250"/>
                  <a:gd name="connsiteX46" fmla="*/ 853440 w 1094739"/>
                  <a:gd name="connsiteY46" fmla="*/ 295910 h 1619250"/>
                  <a:gd name="connsiteX47" fmla="*/ 888999 w 1094739"/>
                  <a:gd name="connsiteY47" fmla="*/ 382270 h 1619250"/>
                  <a:gd name="connsiteX48" fmla="*/ 949959 w 1094739"/>
                  <a:gd name="connsiteY48" fmla="*/ 359410 h 1619250"/>
                  <a:gd name="connsiteX49" fmla="*/ 965199 w 1094739"/>
                  <a:gd name="connsiteY49" fmla="*/ 242570 h 1619250"/>
                  <a:gd name="connsiteX50" fmla="*/ 970279 w 1094739"/>
                  <a:gd name="connsiteY50" fmla="*/ 356870 h 1619250"/>
                  <a:gd name="connsiteX51" fmla="*/ 1094739 w 1094739"/>
                  <a:gd name="connsiteY51" fmla="*/ 313690 h 1619250"/>
                  <a:gd name="connsiteX52" fmla="*/ 876299 w 1094739"/>
                  <a:gd name="connsiteY52" fmla="*/ 417830 h 1619250"/>
                  <a:gd name="connsiteX53" fmla="*/ 739139 w 1094739"/>
                  <a:gd name="connsiteY53" fmla="*/ 572770 h 1619250"/>
                  <a:gd name="connsiteX54" fmla="*/ 673100 w 1094739"/>
                  <a:gd name="connsiteY54" fmla="*/ 681990 h 1619250"/>
                  <a:gd name="connsiteX55" fmla="*/ 812800 w 1094739"/>
                  <a:gd name="connsiteY55" fmla="*/ 588010 h 1619250"/>
                  <a:gd name="connsiteX56" fmla="*/ 850900 w 1094739"/>
                  <a:gd name="connsiteY56" fmla="*/ 590550 h 1619250"/>
                  <a:gd name="connsiteX57" fmla="*/ 652780 w 1094739"/>
                  <a:gd name="connsiteY57" fmla="*/ 722630 h 1619250"/>
                  <a:gd name="connsiteX58" fmla="*/ 513080 w 1094739"/>
                  <a:gd name="connsiteY58" fmla="*/ 918210 h 1619250"/>
                  <a:gd name="connsiteX59" fmla="*/ 520700 w 1094739"/>
                  <a:gd name="connsiteY59" fmla="*/ 1261110 h 1619250"/>
                  <a:gd name="connsiteX60" fmla="*/ 520700 w 1094739"/>
                  <a:gd name="connsiteY60" fmla="*/ 1619250 h 1619250"/>
                  <a:gd name="connsiteX61" fmla="*/ 337820 w 1094739"/>
                  <a:gd name="connsiteY61"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844549 w 1094739"/>
                  <a:gd name="connsiteY33" fmla="*/ 11430 h 1619250"/>
                  <a:gd name="connsiteX34" fmla="*/ 918210 w 1094739"/>
                  <a:gd name="connsiteY34" fmla="*/ 17780 h 1619250"/>
                  <a:gd name="connsiteX35" fmla="*/ 652779 w 1094739"/>
                  <a:gd name="connsiteY35" fmla="*/ 166370 h 1619250"/>
                  <a:gd name="connsiteX36" fmla="*/ 513080 w 1094739"/>
                  <a:gd name="connsiteY36" fmla="*/ 415290 h 1619250"/>
                  <a:gd name="connsiteX37" fmla="*/ 485140 w 1094739"/>
                  <a:gd name="connsiteY37" fmla="*/ 613410 h 1619250"/>
                  <a:gd name="connsiteX38" fmla="*/ 505460 w 1094739"/>
                  <a:gd name="connsiteY38" fmla="*/ 811530 h 1619250"/>
                  <a:gd name="connsiteX39" fmla="*/ 688339 w 1094739"/>
                  <a:gd name="connsiteY39" fmla="*/ 570230 h 1619250"/>
                  <a:gd name="connsiteX40" fmla="*/ 721359 w 1094739"/>
                  <a:gd name="connsiteY40" fmla="*/ 417830 h 1619250"/>
                  <a:gd name="connsiteX41" fmla="*/ 673099 w 1094739"/>
                  <a:gd name="connsiteY41" fmla="*/ 359410 h 1619250"/>
                  <a:gd name="connsiteX42" fmla="*/ 723899 w 1094739"/>
                  <a:gd name="connsiteY42" fmla="*/ 397510 h 1619250"/>
                  <a:gd name="connsiteX43" fmla="*/ 734060 w 1094739"/>
                  <a:gd name="connsiteY43" fmla="*/ 336550 h 1619250"/>
                  <a:gd name="connsiteX44" fmla="*/ 759459 w 1094739"/>
                  <a:gd name="connsiteY44" fmla="*/ 344170 h 1619250"/>
                  <a:gd name="connsiteX45" fmla="*/ 716279 w 1094739"/>
                  <a:gd name="connsiteY45" fmla="*/ 552450 h 1619250"/>
                  <a:gd name="connsiteX46" fmla="*/ 866139 w 1094739"/>
                  <a:gd name="connsiteY46" fmla="*/ 382270 h 1619250"/>
                  <a:gd name="connsiteX47" fmla="*/ 853440 w 1094739"/>
                  <a:gd name="connsiteY47" fmla="*/ 295910 h 1619250"/>
                  <a:gd name="connsiteX48" fmla="*/ 888999 w 1094739"/>
                  <a:gd name="connsiteY48" fmla="*/ 382270 h 1619250"/>
                  <a:gd name="connsiteX49" fmla="*/ 949959 w 1094739"/>
                  <a:gd name="connsiteY49" fmla="*/ 359410 h 1619250"/>
                  <a:gd name="connsiteX50" fmla="*/ 965199 w 1094739"/>
                  <a:gd name="connsiteY50" fmla="*/ 242570 h 1619250"/>
                  <a:gd name="connsiteX51" fmla="*/ 970279 w 1094739"/>
                  <a:gd name="connsiteY51" fmla="*/ 356870 h 1619250"/>
                  <a:gd name="connsiteX52" fmla="*/ 1094739 w 1094739"/>
                  <a:gd name="connsiteY52" fmla="*/ 313690 h 1619250"/>
                  <a:gd name="connsiteX53" fmla="*/ 876299 w 1094739"/>
                  <a:gd name="connsiteY53" fmla="*/ 417830 h 1619250"/>
                  <a:gd name="connsiteX54" fmla="*/ 739139 w 1094739"/>
                  <a:gd name="connsiteY54" fmla="*/ 572770 h 1619250"/>
                  <a:gd name="connsiteX55" fmla="*/ 673100 w 1094739"/>
                  <a:gd name="connsiteY55" fmla="*/ 681990 h 1619250"/>
                  <a:gd name="connsiteX56" fmla="*/ 812800 w 1094739"/>
                  <a:gd name="connsiteY56" fmla="*/ 588010 h 1619250"/>
                  <a:gd name="connsiteX57" fmla="*/ 850900 w 1094739"/>
                  <a:gd name="connsiteY57" fmla="*/ 590550 h 1619250"/>
                  <a:gd name="connsiteX58" fmla="*/ 652780 w 1094739"/>
                  <a:gd name="connsiteY58" fmla="*/ 722630 h 1619250"/>
                  <a:gd name="connsiteX59" fmla="*/ 513080 w 1094739"/>
                  <a:gd name="connsiteY59" fmla="*/ 918210 h 1619250"/>
                  <a:gd name="connsiteX60" fmla="*/ 520700 w 1094739"/>
                  <a:gd name="connsiteY60" fmla="*/ 1261110 h 1619250"/>
                  <a:gd name="connsiteX61" fmla="*/ 520700 w 1094739"/>
                  <a:gd name="connsiteY61" fmla="*/ 1619250 h 1619250"/>
                  <a:gd name="connsiteX62" fmla="*/ 337820 w 1094739"/>
                  <a:gd name="connsiteY62"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52779 w 1094739"/>
                  <a:gd name="connsiteY35" fmla="*/ 166370 h 1619250"/>
                  <a:gd name="connsiteX36" fmla="*/ 513080 w 1094739"/>
                  <a:gd name="connsiteY36" fmla="*/ 415290 h 1619250"/>
                  <a:gd name="connsiteX37" fmla="*/ 485140 w 1094739"/>
                  <a:gd name="connsiteY37" fmla="*/ 613410 h 1619250"/>
                  <a:gd name="connsiteX38" fmla="*/ 505460 w 1094739"/>
                  <a:gd name="connsiteY38" fmla="*/ 811530 h 1619250"/>
                  <a:gd name="connsiteX39" fmla="*/ 688339 w 1094739"/>
                  <a:gd name="connsiteY39" fmla="*/ 570230 h 1619250"/>
                  <a:gd name="connsiteX40" fmla="*/ 721359 w 1094739"/>
                  <a:gd name="connsiteY40" fmla="*/ 417830 h 1619250"/>
                  <a:gd name="connsiteX41" fmla="*/ 673099 w 1094739"/>
                  <a:gd name="connsiteY41" fmla="*/ 359410 h 1619250"/>
                  <a:gd name="connsiteX42" fmla="*/ 723899 w 1094739"/>
                  <a:gd name="connsiteY42" fmla="*/ 397510 h 1619250"/>
                  <a:gd name="connsiteX43" fmla="*/ 734060 w 1094739"/>
                  <a:gd name="connsiteY43" fmla="*/ 336550 h 1619250"/>
                  <a:gd name="connsiteX44" fmla="*/ 759459 w 1094739"/>
                  <a:gd name="connsiteY44" fmla="*/ 344170 h 1619250"/>
                  <a:gd name="connsiteX45" fmla="*/ 716279 w 1094739"/>
                  <a:gd name="connsiteY45" fmla="*/ 552450 h 1619250"/>
                  <a:gd name="connsiteX46" fmla="*/ 866139 w 1094739"/>
                  <a:gd name="connsiteY46" fmla="*/ 382270 h 1619250"/>
                  <a:gd name="connsiteX47" fmla="*/ 853440 w 1094739"/>
                  <a:gd name="connsiteY47" fmla="*/ 295910 h 1619250"/>
                  <a:gd name="connsiteX48" fmla="*/ 888999 w 1094739"/>
                  <a:gd name="connsiteY48" fmla="*/ 382270 h 1619250"/>
                  <a:gd name="connsiteX49" fmla="*/ 949959 w 1094739"/>
                  <a:gd name="connsiteY49" fmla="*/ 359410 h 1619250"/>
                  <a:gd name="connsiteX50" fmla="*/ 965199 w 1094739"/>
                  <a:gd name="connsiteY50" fmla="*/ 242570 h 1619250"/>
                  <a:gd name="connsiteX51" fmla="*/ 970279 w 1094739"/>
                  <a:gd name="connsiteY51" fmla="*/ 356870 h 1619250"/>
                  <a:gd name="connsiteX52" fmla="*/ 1094739 w 1094739"/>
                  <a:gd name="connsiteY52" fmla="*/ 313690 h 1619250"/>
                  <a:gd name="connsiteX53" fmla="*/ 876299 w 1094739"/>
                  <a:gd name="connsiteY53" fmla="*/ 417830 h 1619250"/>
                  <a:gd name="connsiteX54" fmla="*/ 739139 w 1094739"/>
                  <a:gd name="connsiteY54" fmla="*/ 572770 h 1619250"/>
                  <a:gd name="connsiteX55" fmla="*/ 673100 w 1094739"/>
                  <a:gd name="connsiteY55" fmla="*/ 681990 h 1619250"/>
                  <a:gd name="connsiteX56" fmla="*/ 812800 w 1094739"/>
                  <a:gd name="connsiteY56" fmla="*/ 588010 h 1619250"/>
                  <a:gd name="connsiteX57" fmla="*/ 850900 w 1094739"/>
                  <a:gd name="connsiteY57" fmla="*/ 590550 h 1619250"/>
                  <a:gd name="connsiteX58" fmla="*/ 652780 w 1094739"/>
                  <a:gd name="connsiteY58" fmla="*/ 722630 h 1619250"/>
                  <a:gd name="connsiteX59" fmla="*/ 513080 w 1094739"/>
                  <a:gd name="connsiteY59" fmla="*/ 918210 h 1619250"/>
                  <a:gd name="connsiteX60" fmla="*/ 520700 w 1094739"/>
                  <a:gd name="connsiteY60" fmla="*/ 1261110 h 1619250"/>
                  <a:gd name="connsiteX61" fmla="*/ 520700 w 1094739"/>
                  <a:gd name="connsiteY61" fmla="*/ 1619250 h 1619250"/>
                  <a:gd name="connsiteX62" fmla="*/ 337820 w 1094739"/>
                  <a:gd name="connsiteY62"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52779 w 1094739"/>
                  <a:gd name="connsiteY35" fmla="*/ 166370 h 1619250"/>
                  <a:gd name="connsiteX36" fmla="*/ 627379 w 1094739"/>
                  <a:gd name="connsiteY36" fmla="*/ 21717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12800 w 1094739"/>
                  <a:gd name="connsiteY57" fmla="*/ 588010 h 1619250"/>
                  <a:gd name="connsiteX58" fmla="*/ 850900 w 1094739"/>
                  <a:gd name="connsiteY58" fmla="*/ 590550 h 1619250"/>
                  <a:gd name="connsiteX59" fmla="*/ 652780 w 1094739"/>
                  <a:gd name="connsiteY59" fmla="*/ 722630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27379 w 1094739"/>
                  <a:gd name="connsiteY36" fmla="*/ 21717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12800 w 1094739"/>
                  <a:gd name="connsiteY57" fmla="*/ 588010 h 1619250"/>
                  <a:gd name="connsiteX58" fmla="*/ 850900 w 1094739"/>
                  <a:gd name="connsiteY58" fmla="*/ 590550 h 1619250"/>
                  <a:gd name="connsiteX59" fmla="*/ 652780 w 1094739"/>
                  <a:gd name="connsiteY59" fmla="*/ 722630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12800 w 1094739"/>
                  <a:gd name="connsiteY57" fmla="*/ 588010 h 1619250"/>
                  <a:gd name="connsiteX58" fmla="*/ 850900 w 1094739"/>
                  <a:gd name="connsiteY58" fmla="*/ 590550 h 1619250"/>
                  <a:gd name="connsiteX59" fmla="*/ 652780 w 1094739"/>
                  <a:gd name="connsiteY59" fmla="*/ 722630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43097 w 1094739"/>
                  <a:gd name="connsiteY57" fmla="*/ 536075 h 1619250"/>
                  <a:gd name="connsiteX58" fmla="*/ 850900 w 1094739"/>
                  <a:gd name="connsiteY58" fmla="*/ 590550 h 1619250"/>
                  <a:gd name="connsiteX59" fmla="*/ 652780 w 1094739"/>
                  <a:gd name="connsiteY59" fmla="*/ 722630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43097 w 1094739"/>
                  <a:gd name="connsiteY57" fmla="*/ 536075 h 1619250"/>
                  <a:gd name="connsiteX58" fmla="*/ 872541 w 1094739"/>
                  <a:gd name="connsiteY58" fmla="*/ 534287 h 1619250"/>
                  <a:gd name="connsiteX59" fmla="*/ 652780 w 1094739"/>
                  <a:gd name="connsiteY59" fmla="*/ 722630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43097 w 1094739"/>
                  <a:gd name="connsiteY57" fmla="*/ 536075 h 1619250"/>
                  <a:gd name="connsiteX58" fmla="*/ 872541 w 1094739"/>
                  <a:gd name="connsiteY58" fmla="*/ 534287 h 1619250"/>
                  <a:gd name="connsiteX59" fmla="*/ 683077 w 1094739"/>
                  <a:gd name="connsiteY59" fmla="*/ 718303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07006 w 1094739"/>
                  <a:gd name="connsiteY40" fmla="*/ 683236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673100 w 1094739"/>
                  <a:gd name="connsiteY57" fmla="*/ 681990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32974 w 1094739"/>
                  <a:gd name="connsiteY40" fmla="*/ 717860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673100 w 1094739"/>
                  <a:gd name="connsiteY57" fmla="*/ 681990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32974 w 1094739"/>
                  <a:gd name="connsiteY40" fmla="*/ 717860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699069 w 1094739"/>
                  <a:gd name="connsiteY57" fmla="*/ 664679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63270 w 1094739"/>
                  <a:gd name="connsiteY40" fmla="*/ 696220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699069 w 1094739"/>
                  <a:gd name="connsiteY57" fmla="*/ 664679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18445 w 1094739"/>
                  <a:gd name="connsiteY39" fmla="*/ 837499 h 1619250"/>
                  <a:gd name="connsiteX40" fmla="*/ 663270 w 1094739"/>
                  <a:gd name="connsiteY40" fmla="*/ 696220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699069 w 1094739"/>
                  <a:gd name="connsiteY57" fmla="*/ 664679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18445 w 1094739"/>
                  <a:gd name="connsiteY39" fmla="*/ 837499 h 1619250"/>
                  <a:gd name="connsiteX40" fmla="*/ 658942 w 1094739"/>
                  <a:gd name="connsiteY40" fmla="*/ 691892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699069 w 1094739"/>
                  <a:gd name="connsiteY57" fmla="*/ 664679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18445 w 1094739"/>
                  <a:gd name="connsiteY39" fmla="*/ 837499 h 1619250"/>
                  <a:gd name="connsiteX40" fmla="*/ 658942 w 1094739"/>
                  <a:gd name="connsiteY40" fmla="*/ 691892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712053 w 1094739"/>
                  <a:gd name="connsiteY57" fmla="*/ 660351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18445 w 1094739"/>
                  <a:gd name="connsiteY39" fmla="*/ 837499 h 1619250"/>
                  <a:gd name="connsiteX40" fmla="*/ 658942 w 1094739"/>
                  <a:gd name="connsiteY40" fmla="*/ 691892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712053 w 1094739"/>
                  <a:gd name="connsiteY57" fmla="*/ 643039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18445 w 1094739"/>
                  <a:gd name="connsiteY39" fmla="*/ 837499 h 1619250"/>
                  <a:gd name="connsiteX40" fmla="*/ 658942 w 1094739"/>
                  <a:gd name="connsiteY40" fmla="*/ 691892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0483 w 1094739"/>
                  <a:gd name="connsiteY56" fmla="*/ 581427 h 1619250"/>
                  <a:gd name="connsiteX57" fmla="*/ 712053 w 1094739"/>
                  <a:gd name="connsiteY57" fmla="*/ 643039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399262 w 1094739"/>
                  <a:gd name="connsiteY23" fmla="*/ 159548 h 1619250"/>
                  <a:gd name="connsiteX24" fmla="*/ 411479 w 1094739"/>
                  <a:gd name="connsiteY24" fmla="*/ 209550 h 1619250"/>
                  <a:gd name="connsiteX25" fmla="*/ 502919 w 1094739"/>
                  <a:gd name="connsiteY25" fmla="*/ 41910 h 1619250"/>
                  <a:gd name="connsiteX26" fmla="*/ 426719 w 1094739"/>
                  <a:gd name="connsiteY26" fmla="*/ 245110 h 1619250"/>
                  <a:gd name="connsiteX27" fmla="*/ 474980 w 1094739"/>
                  <a:gd name="connsiteY27" fmla="*/ 377190 h 1619250"/>
                  <a:gd name="connsiteX28" fmla="*/ 604519 w 1094739"/>
                  <a:gd name="connsiteY28" fmla="*/ 153670 h 1619250"/>
                  <a:gd name="connsiteX29" fmla="*/ 574040 w 1094739"/>
                  <a:gd name="connsiteY29" fmla="*/ 52070 h 1619250"/>
                  <a:gd name="connsiteX30" fmla="*/ 589279 w 1094739"/>
                  <a:gd name="connsiteY30" fmla="*/ 21590 h 1619250"/>
                  <a:gd name="connsiteX31" fmla="*/ 632459 w 1094739"/>
                  <a:gd name="connsiteY31" fmla="*/ 148590 h 1619250"/>
                  <a:gd name="connsiteX32" fmla="*/ 703579 w 1094739"/>
                  <a:gd name="connsiteY32" fmla="*/ 91440 h 1619250"/>
                  <a:gd name="connsiteX33" fmla="*/ 745489 w 1094739"/>
                  <a:gd name="connsiteY33" fmla="*/ 0 h 1619250"/>
                  <a:gd name="connsiteX34" fmla="*/ 741679 w 1094739"/>
                  <a:gd name="connsiteY34" fmla="*/ 95250 h 1619250"/>
                  <a:gd name="connsiteX35" fmla="*/ 918210 w 1094739"/>
                  <a:gd name="connsiteY35" fmla="*/ 17780 h 1619250"/>
                  <a:gd name="connsiteX36" fmla="*/ 671829 w 1094739"/>
                  <a:gd name="connsiteY36" fmla="*/ 166370 h 1619250"/>
                  <a:gd name="connsiteX37" fmla="*/ 631189 w 1094739"/>
                  <a:gd name="connsiteY37" fmla="*/ 205740 h 1619250"/>
                  <a:gd name="connsiteX38" fmla="*/ 513080 w 1094739"/>
                  <a:gd name="connsiteY38" fmla="*/ 415290 h 1619250"/>
                  <a:gd name="connsiteX39" fmla="*/ 485140 w 1094739"/>
                  <a:gd name="connsiteY39" fmla="*/ 613410 h 1619250"/>
                  <a:gd name="connsiteX40" fmla="*/ 518445 w 1094739"/>
                  <a:gd name="connsiteY40" fmla="*/ 837499 h 1619250"/>
                  <a:gd name="connsiteX41" fmla="*/ 658942 w 1094739"/>
                  <a:gd name="connsiteY41" fmla="*/ 691892 h 1619250"/>
                  <a:gd name="connsiteX42" fmla="*/ 688339 w 1094739"/>
                  <a:gd name="connsiteY42" fmla="*/ 570230 h 1619250"/>
                  <a:gd name="connsiteX43" fmla="*/ 721359 w 1094739"/>
                  <a:gd name="connsiteY43" fmla="*/ 417830 h 1619250"/>
                  <a:gd name="connsiteX44" fmla="*/ 673099 w 1094739"/>
                  <a:gd name="connsiteY44" fmla="*/ 359410 h 1619250"/>
                  <a:gd name="connsiteX45" fmla="*/ 723899 w 1094739"/>
                  <a:gd name="connsiteY45" fmla="*/ 397510 h 1619250"/>
                  <a:gd name="connsiteX46" fmla="*/ 734060 w 1094739"/>
                  <a:gd name="connsiteY46" fmla="*/ 336550 h 1619250"/>
                  <a:gd name="connsiteX47" fmla="*/ 759459 w 1094739"/>
                  <a:gd name="connsiteY47" fmla="*/ 344170 h 1619250"/>
                  <a:gd name="connsiteX48" fmla="*/ 716279 w 1094739"/>
                  <a:gd name="connsiteY48" fmla="*/ 552450 h 1619250"/>
                  <a:gd name="connsiteX49" fmla="*/ 866139 w 1094739"/>
                  <a:gd name="connsiteY49" fmla="*/ 382270 h 1619250"/>
                  <a:gd name="connsiteX50" fmla="*/ 853440 w 1094739"/>
                  <a:gd name="connsiteY50" fmla="*/ 295910 h 1619250"/>
                  <a:gd name="connsiteX51" fmla="*/ 888999 w 1094739"/>
                  <a:gd name="connsiteY51" fmla="*/ 382270 h 1619250"/>
                  <a:gd name="connsiteX52" fmla="*/ 949959 w 1094739"/>
                  <a:gd name="connsiteY52" fmla="*/ 359410 h 1619250"/>
                  <a:gd name="connsiteX53" fmla="*/ 965199 w 1094739"/>
                  <a:gd name="connsiteY53" fmla="*/ 242570 h 1619250"/>
                  <a:gd name="connsiteX54" fmla="*/ 970279 w 1094739"/>
                  <a:gd name="connsiteY54" fmla="*/ 356870 h 1619250"/>
                  <a:gd name="connsiteX55" fmla="*/ 1094739 w 1094739"/>
                  <a:gd name="connsiteY55" fmla="*/ 313690 h 1619250"/>
                  <a:gd name="connsiteX56" fmla="*/ 876299 w 1094739"/>
                  <a:gd name="connsiteY56" fmla="*/ 417830 h 1619250"/>
                  <a:gd name="connsiteX57" fmla="*/ 730483 w 1094739"/>
                  <a:gd name="connsiteY57" fmla="*/ 581427 h 1619250"/>
                  <a:gd name="connsiteX58" fmla="*/ 712053 w 1094739"/>
                  <a:gd name="connsiteY58" fmla="*/ 643039 h 1619250"/>
                  <a:gd name="connsiteX59" fmla="*/ 843097 w 1094739"/>
                  <a:gd name="connsiteY59" fmla="*/ 536075 h 1619250"/>
                  <a:gd name="connsiteX60" fmla="*/ 872541 w 1094739"/>
                  <a:gd name="connsiteY60" fmla="*/ 534287 h 1619250"/>
                  <a:gd name="connsiteX61" fmla="*/ 683077 w 1094739"/>
                  <a:gd name="connsiteY61" fmla="*/ 718303 h 1619250"/>
                  <a:gd name="connsiteX62" fmla="*/ 513080 w 1094739"/>
                  <a:gd name="connsiteY62" fmla="*/ 918210 h 1619250"/>
                  <a:gd name="connsiteX63" fmla="*/ 520700 w 1094739"/>
                  <a:gd name="connsiteY63" fmla="*/ 1261110 h 1619250"/>
                  <a:gd name="connsiteX64" fmla="*/ 520700 w 1094739"/>
                  <a:gd name="connsiteY64" fmla="*/ 1619250 h 1619250"/>
                  <a:gd name="connsiteX65" fmla="*/ 337820 w 1094739"/>
                  <a:gd name="connsiteY65"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47326 w 1094739"/>
                  <a:gd name="connsiteY22" fmla="*/ 111940 h 1619250"/>
                  <a:gd name="connsiteX23" fmla="*/ 375920 w 1094739"/>
                  <a:gd name="connsiteY23" fmla="*/ 133350 h 1619250"/>
                  <a:gd name="connsiteX24" fmla="*/ 399262 w 1094739"/>
                  <a:gd name="connsiteY24" fmla="*/ 159548 h 1619250"/>
                  <a:gd name="connsiteX25" fmla="*/ 411479 w 1094739"/>
                  <a:gd name="connsiteY25" fmla="*/ 209550 h 1619250"/>
                  <a:gd name="connsiteX26" fmla="*/ 502919 w 1094739"/>
                  <a:gd name="connsiteY26" fmla="*/ 41910 h 1619250"/>
                  <a:gd name="connsiteX27" fmla="*/ 426719 w 1094739"/>
                  <a:gd name="connsiteY27" fmla="*/ 245110 h 1619250"/>
                  <a:gd name="connsiteX28" fmla="*/ 474980 w 1094739"/>
                  <a:gd name="connsiteY28" fmla="*/ 377190 h 1619250"/>
                  <a:gd name="connsiteX29" fmla="*/ 604519 w 1094739"/>
                  <a:gd name="connsiteY29" fmla="*/ 153670 h 1619250"/>
                  <a:gd name="connsiteX30" fmla="*/ 574040 w 1094739"/>
                  <a:gd name="connsiteY30" fmla="*/ 52070 h 1619250"/>
                  <a:gd name="connsiteX31" fmla="*/ 589279 w 1094739"/>
                  <a:gd name="connsiteY31" fmla="*/ 21590 h 1619250"/>
                  <a:gd name="connsiteX32" fmla="*/ 632459 w 1094739"/>
                  <a:gd name="connsiteY32" fmla="*/ 148590 h 1619250"/>
                  <a:gd name="connsiteX33" fmla="*/ 703579 w 1094739"/>
                  <a:gd name="connsiteY33" fmla="*/ 91440 h 1619250"/>
                  <a:gd name="connsiteX34" fmla="*/ 745489 w 1094739"/>
                  <a:gd name="connsiteY34" fmla="*/ 0 h 1619250"/>
                  <a:gd name="connsiteX35" fmla="*/ 741679 w 1094739"/>
                  <a:gd name="connsiteY35" fmla="*/ 95250 h 1619250"/>
                  <a:gd name="connsiteX36" fmla="*/ 918210 w 1094739"/>
                  <a:gd name="connsiteY36" fmla="*/ 17780 h 1619250"/>
                  <a:gd name="connsiteX37" fmla="*/ 671829 w 1094739"/>
                  <a:gd name="connsiteY37" fmla="*/ 166370 h 1619250"/>
                  <a:gd name="connsiteX38" fmla="*/ 631189 w 1094739"/>
                  <a:gd name="connsiteY38" fmla="*/ 205740 h 1619250"/>
                  <a:gd name="connsiteX39" fmla="*/ 513080 w 1094739"/>
                  <a:gd name="connsiteY39" fmla="*/ 415290 h 1619250"/>
                  <a:gd name="connsiteX40" fmla="*/ 485140 w 1094739"/>
                  <a:gd name="connsiteY40" fmla="*/ 613410 h 1619250"/>
                  <a:gd name="connsiteX41" fmla="*/ 518445 w 1094739"/>
                  <a:gd name="connsiteY41" fmla="*/ 837499 h 1619250"/>
                  <a:gd name="connsiteX42" fmla="*/ 658942 w 1094739"/>
                  <a:gd name="connsiteY42" fmla="*/ 691892 h 1619250"/>
                  <a:gd name="connsiteX43" fmla="*/ 688339 w 1094739"/>
                  <a:gd name="connsiteY43" fmla="*/ 570230 h 1619250"/>
                  <a:gd name="connsiteX44" fmla="*/ 721359 w 1094739"/>
                  <a:gd name="connsiteY44" fmla="*/ 417830 h 1619250"/>
                  <a:gd name="connsiteX45" fmla="*/ 673099 w 1094739"/>
                  <a:gd name="connsiteY45" fmla="*/ 359410 h 1619250"/>
                  <a:gd name="connsiteX46" fmla="*/ 723899 w 1094739"/>
                  <a:gd name="connsiteY46" fmla="*/ 397510 h 1619250"/>
                  <a:gd name="connsiteX47" fmla="*/ 734060 w 1094739"/>
                  <a:gd name="connsiteY47" fmla="*/ 336550 h 1619250"/>
                  <a:gd name="connsiteX48" fmla="*/ 759459 w 1094739"/>
                  <a:gd name="connsiteY48" fmla="*/ 344170 h 1619250"/>
                  <a:gd name="connsiteX49" fmla="*/ 716279 w 1094739"/>
                  <a:gd name="connsiteY49" fmla="*/ 552450 h 1619250"/>
                  <a:gd name="connsiteX50" fmla="*/ 866139 w 1094739"/>
                  <a:gd name="connsiteY50" fmla="*/ 382270 h 1619250"/>
                  <a:gd name="connsiteX51" fmla="*/ 853440 w 1094739"/>
                  <a:gd name="connsiteY51" fmla="*/ 295910 h 1619250"/>
                  <a:gd name="connsiteX52" fmla="*/ 888999 w 1094739"/>
                  <a:gd name="connsiteY52" fmla="*/ 382270 h 1619250"/>
                  <a:gd name="connsiteX53" fmla="*/ 949959 w 1094739"/>
                  <a:gd name="connsiteY53" fmla="*/ 359410 h 1619250"/>
                  <a:gd name="connsiteX54" fmla="*/ 965199 w 1094739"/>
                  <a:gd name="connsiteY54" fmla="*/ 242570 h 1619250"/>
                  <a:gd name="connsiteX55" fmla="*/ 970279 w 1094739"/>
                  <a:gd name="connsiteY55" fmla="*/ 356870 h 1619250"/>
                  <a:gd name="connsiteX56" fmla="*/ 1094739 w 1094739"/>
                  <a:gd name="connsiteY56" fmla="*/ 313690 h 1619250"/>
                  <a:gd name="connsiteX57" fmla="*/ 876299 w 1094739"/>
                  <a:gd name="connsiteY57" fmla="*/ 417830 h 1619250"/>
                  <a:gd name="connsiteX58" fmla="*/ 730483 w 1094739"/>
                  <a:gd name="connsiteY58" fmla="*/ 581427 h 1619250"/>
                  <a:gd name="connsiteX59" fmla="*/ 712053 w 1094739"/>
                  <a:gd name="connsiteY59" fmla="*/ 643039 h 1619250"/>
                  <a:gd name="connsiteX60" fmla="*/ 843097 w 1094739"/>
                  <a:gd name="connsiteY60" fmla="*/ 536075 h 1619250"/>
                  <a:gd name="connsiteX61" fmla="*/ 872541 w 1094739"/>
                  <a:gd name="connsiteY61" fmla="*/ 534287 h 1619250"/>
                  <a:gd name="connsiteX62" fmla="*/ 683077 w 1094739"/>
                  <a:gd name="connsiteY62" fmla="*/ 718303 h 1619250"/>
                  <a:gd name="connsiteX63" fmla="*/ 513080 w 1094739"/>
                  <a:gd name="connsiteY63" fmla="*/ 918210 h 1619250"/>
                  <a:gd name="connsiteX64" fmla="*/ 520700 w 1094739"/>
                  <a:gd name="connsiteY64" fmla="*/ 1261110 h 1619250"/>
                  <a:gd name="connsiteX65" fmla="*/ 520700 w 1094739"/>
                  <a:gd name="connsiteY65" fmla="*/ 1619250 h 1619250"/>
                  <a:gd name="connsiteX66" fmla="*/ 337820 w 1094739"/>
                  <a:gd name="connsiteY66" fmla="*/ 1619250 h 1619250"/>
                  <a:gd name="connsiteX0" fmla="*/ 337820 w 1094739"/>
                  <a:gd name="connsiteY0" fmla="*/ 1628724 h 1628724"/>
                  <a:gd name="connsiteX1" fmla="*/ 396240 w 1094739"/>
                  <a:gd name="connsiteY1" fmla="*/ 1227404 h 1628724"/>
                  <a:gd name="connsiteX2" fmla="*/ 421640 w 1094739"/>
                  <a:gd name="connsiteY2" fmla="*/ 942924 h 1628724"/>
                  <a:gd name="connsiteX3" fmla="*/ 414020 w 1094739"/>
                  <a:gd name="connsiteY3" fmla="*/ 706704 h 1628724"/>
                  <a:gd name="connsiteX4" fmla="*/ 147320 w 1094739"/>
                  <a:gd name="connsiteY4" fmla="*/ 554304 h 1628724"/>
                  <a:gd name="connsiteX5" fmla="*/ 96520 w 1094739"/>
                  <a:gd name="connsiteY5" fmla="*/ 470484 h 1628724"/>
                  <a:gd name="connsiteX6" fmla="*/ 0 w 1094739"/>
                  <a:gd name="connsiteY6" fmla="*/ 391744 h 1628724"/>
                  <a:gd name="connsiteX7" fmla="*/ 96520 w 1094739"/>
                  <a:gd name="connsiteY7" fmla="*/ 434924 h 1628724"/>
                  <a:gd name="connsiteX8" fmla="*/ 109220 w 1094739"/>
                  <a:gd name="connsiteY8" fmla="*/ 310464 h 1628724"/>
                  <a:gd name="connsiteX9" fmla="*/ 119379 w 1094739"/>
                  <a:gd name="connsiteY9" fmla="*/ 447624 h 1628724"/>
                  <a:gd name="connsiteX10" fmla="*/ 177800 w 1094739"/>
                  <a:gd name="connsiteY10" fmla="*/ 536524 h 1628724"/>
                  <a:gd name="connsiteX11" fmla="*/ 256539 w 1094739"/>
                  <a:gd name="connsiteY11" fmla="*/ 569544 h 1628724"/>
                  <a:gd name="connsiteX12" fmla="*/ 259079 w 1094739"/>
                  <a:gd name="connsiteY12" fmla="*/ 422224 h 1628724"/>
                  <a:gd name="connsiteX13" fmla="*/ 210819 w 1094739"/>
                  <a:gd name="connsiteY13" fmla="*/ 328244 h 1628724"/>
                  <a:gd name="connsiteX14" fmla="*/ 271779 w 1094739"/>
                  <a:gd name="connsiteY14" fmla="*/ 396824 h 1628724"/>
                  <a:gd name="connsiteX15" fmla="*/ 327659 w 1094739"/>
                  <a:gd name="connsiteY15" fmla="*/ 315544 h 1628724"/>
                  <a:gd name="connsiteX16" fmla="*/ 279399 w 1094739"/>
                  <a:gd name="connsiteY16" fmla="*/ 427304 h 1628724"/>
                  <a:gd name="connsiteX17" fmla="*/ 284479 w 1094739"/>
                  <a:gd name="connsiteY17" fmla="*/ 579704 h 1628724"/>
                  <a:gd name="connsiteX18" fmla="*/ 406400 w 1094739"/>
                  <a:gd name="connsiteY18" fmla="*/ 630504 h 1628724"/>
                  <a:gd name="connsiteX19" fmla="*/ 444500 w 1094739"/>
                  <a:gd name="connsiteY19" fmla="*/ 409524 h 1628724"/>
                  <a:gd name="connsiteX20" fmla="*/ 365760 w 1094739"/>
                  <a:gd name="connsiteY20" fmla="*/ 158064 h 1628724"/>
                  <a:gd name="connsiteX21" fmla="*/ 299720 w 1094739"/>
                  <a:gd name="connsiteY21" fmla="*/ 92024 h 1628724"/>
                  <a:gd name="connsiteX22" fmla="*/ 347326 w 1094739"/>
                  <a:gd name="connsiteY22" fmla="*/ 121414 h 1628724"/>
                  <a:gd name="connsiteX23" fmla="*/ 410544 w 1094739"/>
                  <a:gd name="connsiteY23" fmla="*/ 0 h 1628724"/>
                  <a:gd name="connsiteX24" fmla="*/ 399262 w 1094739"/>
                  <a:gd name="connsiteY24" fmla="*/ 169022 h 1628724"/>
                  <a:gd name="connsiteX25" fmla="*/ 411479 w 1094739"/>
                  <a:gd name="connsiteY25" fmla="*/ 219024 h 1628724"/>
                  <a:gd name="connsiteX26" fmla="*/ 502919 w 1094739"/>
                  <a:gd name="connsiteY26" fmla="*/ 51384 h 1628724"/>
                  <a:gd name="connsiteX27" fmla="*/ 426719 w 1094739"/>
                  <a:gd name="connsiteY27" fmla="*/ 254584 h 1628724"/>
                  <a:gd name="connsiteX28" fmla="*/ 474980 w 1094739"/>
                  <a:gd name="connsiteY28" fmla="*/ 386664 h 1628724"/>
                  <a:gd name="connsiteX29" fmla="*/ 604519 w 1094739"/>
                  <a:gd name="connsiteY29" fmla="*/ 163144 h 1628724"/>
                  <a:gd name="connsiteX30" fmla="*/ 574040 w 1094739"/>
                  <a:gd name="connsiteY30" fmla="*/ 61544 h 1628724"/>
                  <a:gd name="connsiteX31" fmla="*/ 589279 w 1094739"/>
                  <a:gd name="connsiteY31" fmla="*/ 31064 h 1628724"/>
                  <a:gd name="connsiteX32" fmla="*/ 632459 w 1094739"/>
                  <a:gd name="connsiteY32" fmla="*/ 158064 h 1628724"/>
                  <a:gd name="connsiteX33" fmla="*/ 703579 w 1094739"/>
                  <a:gd name="connsiteY33" fmla="*/ 100914 h 1628724"/>
                  <a:gd name="connsiteX34" fmla="*/ 745489 w 1094739"/>
                  <a:gd name="connsiteY34" fmla="*/ 9474 h 1628724"/>
                  <a:gd name="connsiteX35" fmla="*/ 741679 w 1094739"/>
                  <a:gd name="connsiteY35" fmla="*/ 104724 h 1628724"/>
                  <a:gd name="connsiteX36" fmla="*/ 918210 w 1094739"/>
                  <a:gd name="connsiteY36" fmla="*/ 27254 h 1628724"/>
                  <a:gd name="connsiteX37" fmla="*/ 671829 w 1094739"/>
                  <a:gd name="connsiteY37" fmla="*/ 175844 h 1628724"/>
                  <a:gd name="connsiteX38" fmla="*/ 631189 w 1094739"/>
                  <a:gd name="connsiteY38" fmla="*/ 215214 h 1628724"/>
                  <a:gd name="connsiteX39" fmla="*/ 513080 w 1094739"/>
                  <a:gd name="connsiteY39" fmla="*/ 424764 h 1628724"/>
                  <a:gd name="connsiteX40" fmla="*/ 485140 w 1094739"/>
                  <a:gd name="connsiteY40" fmla="*/ 622884 h 1628724"/>
                  <a:gd name="connsiteX41" fmla="*/ 518445 w 1094739"/>
                  <a:gd name="connsiteY41" fmla="*/ 846973 h 1628724"/>
                  <a:gd name="connsiteX42" fmla="*/ 658942 w 1094739"/>
                  <a:gd name="connsiteY42" fmla="*/ 701366 h 1628724"/>
                  <a:gd name="connsiteX43" fmla="*/ 688339 w 1094739"/>
                  <a:gd name="connsiteY43" fmla="*/ 579704 h 1628724"/>
                  <a:gd name="connsiteX44" fmla="*/ 721359 w 1094739"/>
                  <a:gd name="connsiteY44" fmla="*/ 427304 h 1628724"/>
                  <a:gd name="connsiteX45" fmla="*/ 673099 w 1094739"/>
                  <a:gd name="connsiteY45" fmla="*/ 368884 h 1628724"/>
                  <a:gd name="connsiteX46" fmla="*/ 723899 w 1094739"/>
                  <a:gd name="connsiteY46" fmla="*/ 406984 h 1628724"/>
                  <a:gd name="connsiteX47" fmla="*/ 734060 w 1094739"/>
                  <a:gd name="connsiteY47" fmla="*/ 346024 h 1628724"/>
                  <a:gd name="connsiteX48" fmla="*/ 759459 w 1094739"/>
                  <a:gd name="connsiteY48" fmla="*/ 353644 h 1628724"/>
                  <a:gd name="connsiteX49" fmla="*/ 716279 w 1094739"/>
                  <a:gd name="connsiteY49" fmla="*/ 561924 h 1628724"/>
                  <a:gd name="connsiteX50" fmla="*/ 866139 w 1094739"/>
                  <a:gd name="connsiteY50" fmla="*/ 391744 h 1628724"/>
                  <a:gd name="connsiteX51" fmla="*/ 853440 w 1094739"/>
                  <a:gd name="connsiteY51" fmla="*/ 305384 h 1628724"/>
                  <a:gd name="connsiteX52" fmla="*/ 888999 w 1094739"/>
                  <a:gd name="connsiteY52" fmla="*/ 391744 h 1628724"/>
                  <a:gd name="connsiteX53" fmla="*/ 949959 w 1094739"/>
                  <a:gd name="connsiteY53" fmla="*/ 368884 h 1628724"/>
                  <a:gd name="connsiteX54" fmla="*/ 965199 w 1094739"/>
                  <a:gd name="connsiteY54" fmla="*/ 252044 h 1628724"/>
                  <a:gd name="connsiteX55" fmla="*/ 970279 w 1094739"/>
                  <a:gd name="connsiteY55" fmla="*/ 366344 h 1628724"/>
                  <a:gd name="connsiteX56" fmla="*/ 1094739 w 1094739"/>
                  <a:gd name="connsiteY56" fmla="*/ 323164 h 1628724"/>
                  <a:gd name="connsiteX57" fmla="*/ 876299 w 1094739"/>
                  <a:gd name="connsiteY57" fmla="*/ 427304 h 1628724"/>
                  <a:gd name="connsiteX58" fmla="*/ 730483 w 1094739"/>
                  <a:gd name="connsiteY58" fmla="*/ 590901 h 1628724"/>
                  <a:gd name="connsiteX59" fmla="*/ 712053 w 1094739"/>
                  <a:gd name="connsiteY59" fmla="*/ 652513 h 1628724"/>
                  <a:gd name="connsiteX60" fmla="*/ 843097 w 1094739"/>
                  <a:gd name="connsiteY60" fmla="*/ 545549 h 1628724"/>
                  <a:gd name="connsiteX61" fmla="*/ 872541 w 1094739"/>
                  <a:gd name="connsiteY61" fmla="*/ 543761 h 1628724"/>
                  <a:gd name="connsiteX62" fmla="*/ 683077 w 1094739"/>
                  <a:gd name="connsiteY62" fmla="*/ 727777 h 1628724"/>
                  <a:gd name="connsiteX63" fmla="*/ 513080 w 1094739"/>
                  <a:gd name="connsiteY63" fmla="*/ 927684 h 1628724"/>
                  <a:gd name="connsiteX64" fmla="*/ 520700 w 1094739"/>
                  <a:gd name="connsiteY64" fmla="*/ 1270584 h 1628724"/>
                  <a:gd name="connsiteX65" fmla="*/ 520700 w 1094739"/>
                  <a:gd name="connsiteY65" fmla="*/ 1628724 h 1628724"/>
                  <a:gd name="connsiteX66" fmla="*/ 337820 w 1094739"/>
                  <a:gd name="connsiteY66" fmla="*/ 1628724 h 1628724"/>
                  <a:gd name="connsiteX0" fmla="*/ 337820 w 1094739"/>
                  <a:gd name="connsiteY0" fmla="*/ 1628724 h 1628724"/>
                  <a:gd name="connsiteX1" fmla="*/ 396240 w 1094739"/>
                  <a:gd name="connsiteY1" fmla="*/ 1227404 h 1628724"/>
                  <a:gd name="connsiteX2" fmla="*/ 421640 w 1094739"/>
                  <a:gd name="connsiteY2" fmla="*/ 942924 h 1628724"/>
                  <a:gd name="connsiteX3" fmla="*/ 414020 w 1094739"/>
                  <a:gd name="connsiteY3" fmla="*/ 706704 h 1628724"/>
                  <a:gd name="connsiteX4" fmla="*/ 147320 w 1094739"/>
                  <a:gd name="connsiteY4" fmla="*/ 554304 h 1628724"/>
                  <a:gd name="connsiteX5" fmla="*/ 96520 w 1094739"/>
                  <a:gd name="connsiteY5" fmla="*/ 470484 h 1628724"/>
                  <a:gd name="connsiteX6" fmla="*/ 0 w 1094739"/>
                  <a:gd name="connsiteY6" fmla="*/ 391744 h 1628724"/>
                  <a:gd name="connsiteX7" fmla="*/ 96520 w 1094739"/>
                  <a:gd name="connsiteY7" fmla="*/ 434924 h 1628724"/>
                  <a:gd name="connsiteX8" fmla="*/ 109220 w 1094739"/>
                  <a:gd name="connsiteY8" fmla="*/ 310464 h 1628724"/>
                  <a:gd name="connsiteX9" fmla="*/ 119379 w 1094739"/>
                  <a:gd name="connsiteY9" fmla="*/ 447624 h 1628724"/>
                  <a:gd name="connsiteX10" fmla="*/ 177800 w 1094739"/>
                  <a:gd name="connsiteY10" fmla="*/ 536524 h 1628724"/>
                  <a:gd name="connsiteX11" fmla="*/ 256539 w 1094739"/>
                  <a:gd name="connsiteY11" fmla="*/ 569544 h 1628724"/>
                  <a:gd name="connsiteX12" fmla="*/ 259079 w 1094739"/>
                  <a:gd name="connsiteY12" fmla="*/ 422224 h 1628724"/>
                  <a:gd name="connsiteX13" fmla="*/ 210819 w 1094739"/>
                  <a:gd name="connsiteY13" fmla="*/ 328244 h 1628724"/>
                  <a:gd name="connsiteX14" fmla="*/ 271779 w 1094739"/>
                  <a:gd name="connsiteY14" fmla="*/ 396824 h 1628724"/>
                  <a:gd name="connsiteX15" fmla="*/ 327659 w 1094739"/>
                  <a:gd name="connsiteY15" fmla="*/ 315544 h 1628724"/>
                  <a:gd name="connsiteX16" fmla="*/ 279399 w 1094739"/>
                  <a:gd name="connsiteY16" fmla="*/ 427304 h 1628724"/>
                  <a:gd name="connsiteX17" fmla="*/ 284479 w 1094739"/>
                  <a:gd name="connsiteY17" fmla="*/ 579704 h 1628724"/>
                  <a:gd name="connsiteX18" fmla="*/ 406400 w 1094739"/>
                  <a:gd name="connsiteY18" fmla="*/ 630504 h 1628724"/>
                  <a:gd name="connsiteX19" fmla="*/ 444500 w 1094739"/>
                  <a:gd name="connsiteY19" fmla="*/ 409524 h 1628724"/>
                  <a:gd name="connsiteX20" fmla="*/ 365760 w 1094739"/>
                  <a:gd name="connsiteY20" fmla="*/ 158064 h 1628724"/>
                  <a:gd name="connsiteX21" fmla="*/ 299720 w 1094739"/>
                  <a:gd name="connsiteY21" fmla="*/ 92024 h 1628724"/>
                  <a:gd name="connsiteX22" fmla="*/ 390606 w 1094739"/>
                  <a:gd name="connsiteY22" fmla="*/ 164694 h 1628724"/>
                  <a:gd name="connsiteX23" fmla="*/ 410544 w 1094739"/>
                  <a:gd name="connsiteY23" fmla="*/ 0 h 1628724"/>
                  <a:gd name="connsiteX24" fmla="*/ 399262 w 1094739"/>
                  <a:gd name="connsiteY24" fmla="*/ 169022 h 1628724"/>
                  <a:gd name="connsiteX25" fmla="*/ 411479 w 1094739"/>
                  <a:gd name="connsiteY25" fmla="*/ 219024 h 1628724"/>
                  <a:gd name="connsiteX26" fmla="*/ 502919 w 1094739"/>
                  <a:gd name="connsiteY26" fmla="*/ 51384 h 1628724"/>
                  <a:gd name="connsiteX27" fmla="*/ 426719 w 1094739"/>
                  <a:gd name="connsiteY27" fmla="*/ 254584 h 1628724"/>
                  <a:gd name="connsiteX28" fmla="*/ 474980 w 1094739"/>
                  <a:gd name="connsiteY28" fmla="*/ 386664 h 1628724"/>
                  <a:gd name="connsiteX29" fmla="*/ 604519 w 1094739"/>
                  <a:gd name="connsiteY29" fmla="*/ 163144 h 1628724"/>
                  <a:gd name="connsiteX30" fmla="*/ 574040 w 1094739"/>
                  <a:gd name="connsiteY30" fmla="*/ 61544 h 1628724"/>
                  <a:gd name="connsiteX31" fmla="*/ 589279 w 1094739"/>
                  <a:gd name="connsiteY31" fmla="*/ 31064 h 1628724"/>
                  <a:gd name="connsiteX32" fmla="*/ 632459 w 1094739"/>
                  <a:gd name="connsiteY32" fmla="*/ 158064 h 1628724"/>
                  <a:gd name="connsiteX33" fmla="*/ 703579 w 1094739"/>
                  <a:gd name="connsiteY33" fmla="*/ 100914 h 1628724"/>
                  <a:gd name="connsiteX34" fmla="*/ 745489 w 1094739"/>
                  <a:gd name="connsiteY34" fmla="*/ 9474 h 1628724"/>
                  <a:gd name="connsiteX35" fmla="*/ 741679 w 1094739"/>
                  <a:gd name="connsiteY35" fmla="*/ 104724 h 1628724"/>
                  <a:gd name="connsiteX36" fmla="*/ 918210 w 1094739"/>
                  <a:gd name="connsiteY36" fmla="*/ 27254 h 1628724"/>
                  <a:gd name="connsiteX37" fmla="*/ 671829 w 1094739"/>
                  <a:gd name="connsiteY37" fmla="*/ 175844 h 1628724"/>
                  <a:gd name="connsiteX38" fmla="*/ 631189 w 1094739"/>
                  <a:gd name="connsiteY38" fmla="*/ 215214 h 1628724"/>
                  <a:gd name="connsiteX39" fmla="*/ 513080 w 1094739"/>
                  <a:gd name="connsiteY39" fmla="*/ 424764 h 1628724"/>
                  <a:gd name="connsiteX40" fmla="*/ 485140 w 1094739"/>
                  <a:gd name="connsiteY40" fmla="*/ 622884 h 1628724"/>
                  <a:gd name="connsiteX41" fmla="*/ 518445 w 1094739"/>
                  <a:gd name="connsiteY41" fmla="*/ 846973 h 1628724"/>
                  <a:gd name="connsiteX42" fmla="*/ 658942 w 1094739"/>
                  <a:gd name="connsiteY42" fmla="*/ 701366 h 1628724"/>
                  <a:gd name="connsiteX43" fmla="*/ 688339 w 1094739"/>
                  <a:gd name="connsiteY43" fmla="*/ 579704 h 1628724"/>
                  <a:gd name="connsiteX44" fmla="*/ 721359 w 1094739"/>
                  <a:gd name="connsiteY44" fmla="*/ 427304 h 1628724"/>
                  <a:gd name="connsiteX45" fmla="*/ 673099 w 1094739"/>
                  <a:gd name="connsiteY45" fmla="*/ 368884 h 1628724"/>
                  <a:gd name="connsiteX46" fmla="*/ 723899 w 1094739"/>
                  <a:gd name="connsiteY46" fmla="*/ 406984 h 1628724"/>
                  <a:gd name="connsiteX47" fmla="*/ 734060 w 1094739"/>
                  <a:gd name="connsiteY47" fmla="*/ 346024 h 1628724"/>
                  <a:gd name="connsiteX48" fmla="*/ 759459 w 1094739"/>
                  <a:gd name="connsiteY48" fmla="*/ 353644 h 1628724"/>
                  <a:gd name="connsiteX49" fmla="*/ 716279 w 1094739"/>
                  <a:gd name="connsiteY49" fmla="*/ 561924 h 1628724"/>
                  <a:gd name="connsiteX50" fmla="*/ 866139 w 1094739"/>
                  <a:gd name="connsiteY50" fmla="*/ 391744 h 1628724"/>
                  <a:gd name="connsiteX51" fmla="*/ 853440 w 1094739"/>
                  <a:gd name="connsiteY51" fmla="*/ 305384 h 1628724"/>
                  <a:gd name="connsiteX52" fmla="*/ 888999 w 1094739"/>
                  <a:gd name="connsiteY52" fmla="*/ 391744 h 1628724"/>
                  <a:gd name="connsiteX53" fmla="*/ 949959 w 1094739"/>
                  <a:gd name="connsiteY53" fmla="*/ 368884 h 1628724"/>
                  <a:gd name="connsiteX54" fmla="*/ 965199 w 1094739"/>
                  <a:gd name="connsiteY54" fmla="*/ 252044 h 1628724"/>
                  <a:gd name="connsiteX55" fmla="*/ 970279 w 1094739"/>
                  <a:gd name="connsiteY55" fmla="*/ 366344 h 1628724"/>
                  <a:gd name="connsiteX56" fmla="*/ 1094739 w 1094739"/>
                  <a:gd name="connsiteY56" fmla="*/ 323164 h 1628724"/>
                  <a:gd name="connsiteX57" fmla="*/ 876299 w 1094739"/>
                  <a:gd name="connsiteY57" fmla="*/ 427304 h 1628724"/>
                  <a:gd name="connsiteX58" fmla="*/ 730483 w 1094739"/>
                  <a:gd name="connsiteY58" fmla="*/ 590901 h 1628724"/>
                  <a:gd name="connsiteX59" fmla="*/ 712053 w 1094739"/>
                  <a:gd name="connsiteY59" fmla="*/ 652513 h 1628724"/>
                  <a:gd name="connsiteX60" fmla="*/ 843097 w 1094739"/>
                  <a:gd name="connsiteY60" fmla="*/ 545549 h 1628724"/>
                  <a:gd name="connsiteX61" fmla="*/ 872541 w 1094739"/>
                  <a:gd name="connsiteY61" fmla="*/ 543761 h 1628724"/>
                  <a:gd name="connsiteX62" fmla="*/ 683077 w 1094739"/>
                  <a:gd name="connsiteY62" fmla="*/ 727777 h 1628724"/>
                  <a:gd name="connsiteX63" fmla="*/ 513080 w 1094739"/>
                  <a:gd name="connsiteY63" fmla="*/ 927684 h 1628724"/>
                  <a:gd name="connsiteX64" fmla="*/ 520700 w 1094739"/>
                  <a:gd name="connsiteY64" fmla="*/ 1270584 h 1628724"/>
                  <a:gd name="connsiteX65" fmla="*/ 520700 w 1094739"/>
                  <a:gd name="connsiteY65" fmla="*/ 1628724 h 1628724"/>
                  <a:gd name="connsiteX66" fmla="*/ 337820 w 1094739"/>
                  <a:gd name="connsiteY66" fmla="*/ 1628724 h 1628724"/>
                  <a:gd name="connsiteX0" fmla="*/ 337820 w 970279"/>
                  <a:gd name="connsiteY0" fmla="*/ 1628724 h 1628724"/>
                  <a:gd name="connsiteX1" fmla="*/ 396240 w 970279"/>
                  <a:gd name="connsiteY1" fmla="*/ 1227404 h 1628724"/>
                  <a:gd name="connsiteX2" fmla="*/ 421640 w 970279"/>
                  <a:gd name="connsiteY2" fmla="*/ 942924 h 1628724"/>
                  <a:gd name="connsiteX3" fmla="*/ 414020 w 970279"/>
                  <a:gd name="connsiteY3" fmla="*/ 706704 h 1628724"/>
                  <a:gd name="connsiteX4" fmla="*/ 147320 w 970279"/>
                  <a:gd name="connsiteY4" fmla="*/ 554304 h 1628724"/>
                  <a:gd name="connsiteX5" fmla="*/ 96520 w 970279"/>
                  <a:gd name="connsiteY5" fmla="*/ 470484 h 1628724"/>
                  <a:gd name="connsiteX6" fmla="*/ 0 w 970279"/>
                  <a:gd name="connsiteY6" fmla="*/ 391744 h 1628724"/>
                  <a:gd name="connsiteX7" fmla="*/ 96520 w 970279"/>
                  <a:gd name="connsiteY7" fmla="*/ 434924 h 1628724"/>
                  <a:gd name="connsiteX8" fmla="*/ 109220 w 970279"/>
                  <a:gd name="connsiteY8" fmla="*/ 310464 h 1628724"/>
                  <a:gd name="connsiteX9" fmla="*/ 119379 w 970279"/>
                  <a:gd name="connsiteY9" fmla="*/ 447624 h 1628724"/>
                  <a:gd name="connsiteX10" fmla="*/ 177800 w 970279"/>
                  <a:gd name="connsiteY10" fmla="*/ 536524 h 1628724"/>
                  <a:gd name="connsiteX11" fmla="*/ 256539 w 970279"/>
                  <a:gd name="connsiteY11" fmla="*/ 569544 h 1628724"/>
                  <a:gd name="connsiteX12" fmla="*/ 259079 w 970279"/>
                  <a:gd name="connsiteY12" fmla="*/ 422224 h 1628724"/>
                  <a:gd name="connsiteX13" fmla="*/ 210819 w 970279"/>
                  <a:gd name="connsiteY13" fmla="*/ 328244 h 1628724"/>
                  <a:gd name="connsiteX14" fmla="*/ 271779 w 970279"/>
                  <a:gd name="connsiteY14" fmla="*/ 396824 h 1628724"/>
                  <a:gd name="connsiteX15" fmla="*/ 327659 w 970279"/>
                  <a:gd name="connsiteY15" fmla="*/ 315544 h 1628724"/>
                  <a:gd name="connsiteX16" fmla="*/ 279399 w 970279"/>
                  <a:gd name="connsiteY16" fmla="*/ 427304 h 1628724"/>
                  <a:gd name="connsiteX17" fmla="*/ 284479 w 970279"/>
                  <a:gd name="connsiteY17" fmla="*/ 579704 h 1628724"/>
                  <a:gd name="connsiteX18" fmla="*/ 406400 w 970279"/>
                  <a:gd name="connsiteY18" fmla="*/ 630504 h 1628724"/>
                  <a:gd name="connsiteX19" fmla="*/ 444500 w 970279"/>
                  <a:gd name="connsiteY19" fmla="*/ 409524 h 1628724"/>
                  <a:gd name="connsiteX20" fmla="*/ 365760 w 970279"/>
                  <a:gd name="connsiteY20" fmla="*/ 158064 h 1628724"/>
                  <a:gd name="connsiteX21" fmla="*/ 299720 w 970279"/>
                  <a:gd name="connsiteY21" fmla="*/ 92024 h 1628724"/>
                  <a:gd name="connsiteX22" fmla="*/ 390606 w 970279"/>
                  <a:gd name="connsiteY22" fmla="*/ 164694 h 1628724"/>
                  <a:gd name="connsiteX23" fmla="*/ 410544 w 970279"/>
                  <a:gd name="connsiteY23" fmla="*/ 0 h 1628724"/>
                  <a:gd name="connsiteX24" fmla="*/ 399262 w 970279"/>
                  <a:gd name="connsiteY24" fmla="*/ 169022 h 1628724"/>
                  <a:gd name="connsiteX25" fmla="*/ 411479 w 970279"/>
                  <a:gd name="connsiteY25" fmla="*/ 219024 h 1628724"/>
                  <a:gd name="connsiteX26" fmla="*/ 502919 w 970279"/>
                  <a:gd name="connsiteY26" fmla="*/ 51384 h 1628724"/>
                  <a:gd name="connsiteX27" fmla="*/ 426719 w 970279"/>
                  <a:gd name="connsiteY27" fmla="*/ 254584 h 1628724"/>
                  <a:gd name="connsiteX28" fmla="*/ 474980 w 970279"/>
                  <a:gd name="connsiteY28" fmla="*/ 386664 h 1628724"/>
                  <a:gd name="connsiteX29" fmla="*/ 604519 w 970279"/>
                  <a:gd name="connsiteY29" fmla="*/ 163144 h 1628724"/>
                  <a:gd name="connsiteX30" fmla="*/ 574040 w 970279"/>
                  <a:gd name="connsiteY30" fmla="*/ 61544 h 1628724"/>
                  <a:gd name="connsiteX31" fmla="*/ 589279 w 970279"/>
                  <a:gd name="connsiteY31" fmla="*/ 31064 h 1628724"/>
                  <a:gd name="connsiteX32" fmla="*/ 632459 w 970279"/>
                  <a:gd name="connsiteY32" fmla="*/ 158064 h 1628724"/>
                  <a:gd name="connsiteX33" fmla="*/ 703579 w 970279"/>
                  <a:gd name="connsiteY33" fmla="*/ 100914 h 1628724"/>
                  <a:gd name="connsiteX34" fmla="*/ 745489 w 970279"/>
                  <a:gd name="connsiteY34" fmla="*/ 9474 h 1628724"/>
                  <a:gd name="connsiteX35" fmla="*/ 741679 w 970279"/>
                  <a:gd name="connsiteY35" fmla="*/ 104724 h 1628724"/>
                  <a:gd name="connsiteX36" fmla="*/ 918210 w 970279"/>
                  <a:gd name="connsiteY36" fmla="*/ 27254 h 1628724"/>
                  <a:gd name="connsiteX37" fmla="*/ 671829 w 970279"/>
                  <a:gd name="connsiteY37" fmla="*/ 175844 h 1628724"/>
                  <a:gd name="connsiteX38" fmla="*/ 631189 w 970279"/>
                  <a:gd name="connsiteY38" fmla="*/ 215214 h 1628724"/>
                  <a:gd name="connsiteX39" fmla="*/ 513080 w 970279"/>
                  <a:gd name="connsiteY39" fmla="*/ 424764 h 1628724"/>
                  <a:gd name="connsiteX40" fmla="*/ 485140 w 970279"/>
                  <a:gd name="connsiteY40" fmla="*/ 622884 h 1628724"/>
                  <a:gd name="connsiteX41" fmla="*/ 518445 w 970279"/>
                  <a:gd name="connsiteY41" fmla="*/ 846973 h 1628724"/>
                  <a:gd name="connsiteX42" fmla="*/ 658942 w 970279"/>
                  <a:gd name="connsiteY42" fmla="*/ 701366 h 1628724"/>
                  <a:gd name="connsiteX43" fmla="*/ 688339 w 970279"/>
                  <a:gd name="connsiteY43" fmla="*/ 579704 h 1628724"/>
                  <a:gd name="connsiteX44" fmla="*/ 721359 w 970279"/>
                  <a:gd name="connsiteY44" fmla="*/ 427304 h 1628724"/>
                  <a:gd name="connsiteX45" fmla="*/ 673099 w 970279"/>
                  <a:gd name="connsiteY45" fmla="*/ 368884 h 1628724"/>
                  <a:gd name="connsiteX46" fmla="*/ 723899 w 970279"/>
                  <a:gd name="connsiteY46" fmla="*/ 406984 h 1628724"/>
                  <a:gd name="connsiteX47" fmla="*/ 734060 w 970279"/>
                  <a:gd name="connsiteY47" fmla="*/ 346024 h 1628724"/>
                  <a:gd name="connsiteX48" fmla="*/ 759459 w 970279"/>
                  <a:gd name="connsiteY48" fmla="*/ 353644 h 1628724"/>
                  <a:gd name="connsiteX49" fmla="*/ 716279 w 970279"/>
                  <a:gd name="connsiteY49" fmla="*/ 561924 h 1628724"/>
                  <a:gd name="connsiteX50" fmla="*/ 866139 w 970279"/>
                  <a:gd name="connsiteY50" fmla="*/ 391744 h 1628724"/>
                  <a:gd name="connsiteX51" fmla="*/ 853440 w 970279"/>
                  <a:gd name="connsiteY51" fmla="*/ 305384 h 1628724"/>
                  <a:gd name="connsiteX52" fmla="*/ 888999 w 970279"/>
                  <a:gd name="connsiteY52" fmla="*/ 391744 h 1628724"/>
                  <a:gd name="connsiteX53" fmla="*/ 949959 w 970279"/>
                  <a:gd name="connsiteY53" fmla="*/ 368884 h 1628724"/>
                  <a:gd name="connsiteX54" fmla="*/ 965199 w 970279"/>
                  <a:gd name="connsiteY54" fmla="*/ 252044 h 1628724"/>
                  <a:gd name="connsiteX55" fmla="*/ 970279 w 970279"/>
                  <a:gd name="connsiteY55" fmla="*/ 366344 h 1628724"/>
                  <a:gd name="connsiteX56" fmla="*/ 876299 w 970279"/>
                  <a:gd name="connsiteY56" fmla="*/ 427304 h 1628724"/>
                  <a:gd name="connsiteX57" fmla="*/ 730483 w 970279"/>
                  <a:gd name="connsiteY57" fmla="*/ 590901 h 1628724"/>
                  <a:gd name="connsiteX58" fmla="*/ 712053 w 970279"/>
                  <a:gd name="connsiteY58" fmla="*/ 652513 h 1628724"/>
                  <a:gd name="connsiteX59" fmla="*/ 843097 w 970279"/>
                  <a:gd name="connsiteY59" fmla="*/ 545549 h 1628724"/>
                  <a:gd name="connsiteX60" fmla="*/ 872541 w 970279"/>
                  <a:gd name="connsiteY60" fmla="*/ 543761 h 1628724"/>
                  <a:gd name="connsiteX61" fmla="*/ 683077 w 970279"/>
                  <a:gd name="connsiteY61" fmla="*/ 727777 h 1628724"/>
                  <a:gd name="connsiteX62" fmla="*/ 513080 w 970279"/>
                  <a:gd name="connsiteY62" fmla="*/ 927684 h 1628724"/>
                  <a:gd name="connsiteX63" fmla="*/ 520700 w 970279"/>
                  <a:gd name="connsiteY63" fmla="*/ 1270584 h 1628724"/>
                  <a:gd name="connsiteX64" fmla="*/ 520700 w 970279"/>
                  <a:gd name="connsiteY64" fmla="*/ 1628724 h 1628724"/>
                  <a:gd name="connsiteX65" fmla="*/ 337820 w 970279"/>
                  <a:gd name="connsiteY65" fmla="*/ 1628724 h 1628724"/>
                  <a:gd name="connsiteX0" fmla="*/ 337820 w 970279"/>
                  <a:gd name="connsiteY0" fmla="*/ 1628724 h 1628724"/>
                  <a:gd name="connsiteX1" fmla="*/ 396240 w 970279"/>
                  <a:gd name="connsiteY1" fmla="*/ 1227404 h 1628724"/>
                  <a:gd name="connsiteX2" fmla="*/ 421640 w 970279"/>
                  <a:gd name="connsiteY2" fmla="*/ 942924 h 1628724"/>
                  <a:gd name="connsiteX3" fmla="*/ 414020 w 970279"/>
                  <a:gd name="connsiteY3" fmla="*/ 706704 h 1628724"/>
                  <a:gd name="connsiteX4" fmla="*/ 147320 w 970279"/>
                  <a:gd name="connsiteY4" fmla="*/ 554304 h 1628724"/>
                  <a:gd name="connsiteX5" fmla="*/ 96520 w 970279"/>
                  <a:gd name="connsiteY5" fmla="*/ 470484 h 1628724"/>
                  <a:gd name="connsiteX6" fmla="*/ 0 w 970279"/>
                  <a:gd name="connsiteY6" fmla="*/ 391744 h 1628724"/>
                  <a:gd name="connsiteX7" fmla="*/ 96520 w 970279"/>
                  <a:gd name="connsiteY7" fmla="*/ 434924 h 1628724"/>
                  <a:gd name="connsiteX8" fmla="*/ 109220 w 970279"/>
                  <a:gd name="connsiteY8" fmla="*/ 310464 h 1628724"/>
                  <a:gd name="connsiteX9" fmla="*/ 119379 w 970279"/>
                  <a:gd name="connsiteY9" fmla="*/ 447624 h 1628724"/>
                  <a:gd name="connsiteX10" fmla="*/ 177800 w 970279"/>
                  <a:gd name="connsiteY10" fmla="*/ 536524 h 1628724"/>
                  <a:gd name="connsiteX11" fmla="*/ 256539 w 970279"/>
                  <a:gd name="connsiteY11" fmla="*/ 569544 h 1628724"/>
                  <a:gd name="connsiteX12" fmla="*/ 259079 w 970279"/>
                  <a:gd name="connsiteY12" fmla="*/ 422224 h 1628724"/>
                  <a:gd name="connsiteX13" fmla="*/ 210819 w 970279"/>
                  <a:gd name="connsiteY13" fmla="*/ 328244 h 1628724"/>
                  <a:gd name="connsiteX14" fmla="*/ 271779 w 970279"/>
                  <a:gd name="connsiteY14" fmla="*/ 396824 h 1628724"/>
                  <a:gd name="connsiteX15" fmla="*/ 327659 w 970279"/>
                  <a:gd name="connsiteY15" fmla="*/ 315544 h 1628724"/>
                  <a:gd name="connsiteX16" fmla="*/ 279399 w 970279"/>
                  <a:gd name="connsiteY16" fmla="*/ 427304 h 1628724"/>
                  <a:gd name="connsiteX17" fmla="*/ 284479 w 970279"/>
                  <a:gd name="connsiteY17" fmla="*/ 579704 h 1628724"/>
                  <a:gd name="connsiteX18" fmla="*/ 406400 w 970279"/>
                  <a:gd name="connsiteY18" fmla="*/ 630504 h 1628724"/>
                  <a:gd name="connsiteX19" fmla="*/ 444500 w 970279"/>
                  <a:gd name="connsiteY19" fmla="*/ 409524 h 1628724"/>
                  <a:gd name="connsiteX20" fmla="*/ 365760 w 970279"/>
                  <a:gd name="connsiteY20" fmla="*/ 158064 h 1628724"/>
                  <a:gd name="connsiteX21" fmla="*/ 299720 w 970279"/>
                  <a:gd name="connsiteY21" fmla="*/ 92024 h 1628724"/>
                  <a:gd name="connsiteX22" fmla="*/ 390606 w 970279"/>
                  <a:gd name="connsiteY22" fmla="*/ 164694 h 1628724"/>
                  <a:gd name="connsiteX23" fmla="*/ 410544 w 970279"/>
                  <a:gd name="connsiteY23" fmla="*/ 0 h 1628724"/>
                  <a:gd name="connsiteX24" fmla="*/ 399262 w 970279"/>
                  <a:gd name="connsiteY24" fmla="*/ 169022 h 1628724"/>
                  <a:gd name="connsiteX25" fmla="*/ 411479 w 970279"/>
                  <a:gd name="connsiteY25" fmla="*/ 219024 h 1628724"/>
                  <a:gd name="connsiteX26" fmla="*/ 502919 w 970279"/>
                  <a:gd name="connsiteY26" fmla="*/ 51384 h 1628724"/>
                  <a:gd name="connsiteX27" fmla="*/ 426719 w 970279"/>
                  <a:gd name="connsiteY27" fmla="*/ 254584 h 1628724"/>
                  <a:gd name="connsiteX28" fmla="*/ 474980 w 970279"/>
                  <a:gd name="connsiteY28" fmla="*/ 386664 h 1628724"/>
                  <a:gd name="connsiteX29" fmla="*/ 604519 w 970279"/>
                  <a:gd name="connsiteY29" fmla="*/ 163144 h 1628724"/>
                  <a:gd name="connsiteX30" fmla="*/ 574040 w 970279"/>
                  <a:gd name="connsiteY30" fmla="*/ 61544 h 1628724"/>
                  <a:gd name="connsiteX31" fmla="*/ 589279 w 970279"/>
                  <a:gd name="connsiteY31" fmla="*/ 31064 h 1628724"/>
                  <a:gd name="connsiteX32" fmla="*/ 632459 w 970279"/>
                  <a:gd name="connsiteY32" fmla="*/ 158064 h 1628724"/>
                  <a:gd name="connsiteX33" fmla="*/ 703579 w 970279"/>
                  <a:gd name="connsiteY33" fmla="*/ 100914 h 1628724"/>
                  <a:gd name="connsiteX34" fmla="*/ 745489 w 970279"/>
                  <a:gd name="connsiteY34" fmla="*/ 9474 h 1628724"/>
                  <a:gd name="connsiteX35" fmla="*/ 741679 w 970279"/>
                  <a:gd name="connsiteY35" fmla="*/ 104724 h 1628724"/>
                  <a:gd name="connsiteX36" fmla="*/ 918210 w 970279"/>
                  <a:gd name="connsiteY36" fmla="*/ 27254 h 1628724"/>
                  <a:gd name="connsiteX37" fmla="*/ 671829 w 970279"/>
                  <a:gd name="connsiteY37" fmla="*/ 175844 h 1628724"/>
                  <a:gd name="connsiteX38" fmla="*/ 631189 w 970279"/>
                  <a:gd name="connsiteY38" fmla="*/ 215214 h 1628724"/>
                  <a:gd name="connsiteX39" fmla="*/ 513080 w 970279"/>
                  <a:gd name="connsiteY39" fmla="*/ 424764 h 1628724"/>
                  <a:gd name="connsiteX40" fmla="*/ 485140 w 970279"/>
                  <a:gd name="connsiteY40" fmla="*/ 622884 h 1628724"/>
                  <a:gd name="connsiteX41" fmla="*/ 518445 w 970279"/>
                  <a:gd name="connsiteY41" fmla="*/ 846973 h 1628724"/>
                  <a:gd name="connsiteX42" fmla="*/ 658942 w 970279"/>
                  <a:gd name="connsiteY42" fmla="*/ 701366 h 1628724"/>
                  <a:gd name="connsiteX43" fmla="*/ 688339 w 970279"/>
                  <a:gd name="connsiteY43" fmla="*/ 579704 h 1628724"/>
                  <a:gd name="connsiteX44" fmla="*/ 721359 w 970279"/>
                  <a:gd name="connsiteY44" fmla="*/ 427304 h 1628724"/>
                  <a:gd name="connsiteX45" fmla="*/ 673099 w 970279"/>
                  <a:gd name="connsiteY45" fmla="*/ 368884 h 1628724"/>
                  <a:gd name="connsiteX46" fmla="*/ 723899 w 970279"/>
                  <a:gd name="connsiteY46" fmla="*/ 406984 h 1628724"/>
                  <a:gd name="connsiteX47" fmla="*/ 734060 w 970279"/>
                  <a:gd name="connsiteY47" fmla="*/ 346024 h 1628724"/>
                  <a:gd name="connsiteX48" fmla="*/ 759459 w 970279"/>
                  <a:gd name="connsiteY48" fmla="*/ 353644 h 1628724"/>
                  <a:gd name="connsiteX49" fmla="*/ 716279 w 970279"/>
                  <a:gd name="connsiteY49" fmla="*/ 561924 h 1628724"/>
                  <a:gd name="connsiteX50" fmla="*/ 866139 w 970279"/>
                  <a:gd name="connsiteY50" fmla="*/ 391744 h 1628724"/>
                  <a:gd name="connsiteX51" fmla="*/ 853440 w 970279"/>
                  <a:gd name="connsiteY51" fmla="*/ 305384 h 1628724"/>
                  <a:gd name="connsiteX52" fmla="*/ 888999 w 970279"/>
                  <a:gd name="connsiteY52" fmla="*/ 391744 h 1628724"/>
                  <a:gd name="connsiteX53" fmla="*/ 949959 w 970279"/>
                  <a:gd name="connsiteY53" fmla="*/ 368884 h 1628724"/>
                  <a:gd name="connsiteX54" fmla="*/ 970279 w 970279"/>
                  <a:gd name="connsiteY54" fmla="*/ 366344 h 1628724"/>
                  <a:gd name="connsiteX55" fmla="*/ 876299 w 970279"/>
                  <a:gd name="connsiteY55" fmla="*/ 427304 h 1628724"/>
                  <a:gd name="connsiteX56" fmla="*/ 730483 w 970279"/>
                  <a:gd name="connsiteY56" fmla="*/ 590901 h 1628724"/>
                  <a:gd name="connsiteX57" fmla="*/ 712053 w 970279"/>
                  <a:gd name="connsiteY57" fmla="*/ 652513 h 1628724"/>
                  <a:gd name="connsiteX58" fmla="*/ 843097 w 970279"/>
                  <a:gd name="connsiteY58" fmla="*/ 545549 h 1628724"/>
                  <a:gd name="connsiteX59" fmla="*/ 872541 w 970279"/>
                  <a:gd name="connsiteY59" fmla="*/ 543761 h 1628724"/>
                  <a:gd name="connsiteX60" fmla="*/ 683077 w 970279"/>
                  <a:gd name="connsiteY60" fmla="*/ 727777 h 1628724"/>
                  <a:gd name="connsiteX61" fmla="*/ 513080 w 970279"/>
                  <a:gd name="connsiteY61" fmla="*/ 927684 h 1628724"/>
                  <a:gd name="connsiteX62" fmla="*/ 520700 w 970279"/>
                  <a:gd name="connsiteY62" fmla="*/ 1270584 h 1628724"/>
                  <a:gd name="connsiteX63" fmla="*/ 520700 w 970279"/>
                  <a:gd name="connsiteY63" fmla="*/ 1628724 h 1628724"/>
                  <a:gd name="connsiteX64" fmla="*/ 337820 w 970279"/>
                  <a:gd name="connsiteY64" fmla="*/ 1628724 h 1628724"/>
                  <a:gd name="connsiteX0" fmla="*/ 337820 w 970279"/>
                  <a:gd name="connsiteY0" fmla="*/ 1628724 h 1628724"/>
                  <a:gd name="connsiteX1" fmla="*/ 396240 w 970279"/>
                  <a:gd name="connsiteY1" fmla="*/ 1227404 h 1628724"/>
                  <a:gd name="connsiteX2" fmla="*/ 421640 w 970279"/>
                  <a:gd name="connsiteY2" fmla="*/ 942924 h 1628724"/>
                  <a:gd name="connsiteX3" fmla="*/ 414020 w 970279"/>
                  <a:gd name="connsiteY3" fmla="*/ 706704 h 1628724"/>
                  <a:gd name="connsiteX4" fmla="*/ 147320 w 970279"/>
                  <a:gd name="connsiteY4" fmla="*/ 554304 h 1628724"/>
                  <a:gd name="connsiteX5" fmla="*/ 96520 w 970279"/>
                  <a:gd name="connsiteY5" fmla="*/ 470484 h 1628724"/>
                  <a:gd name="connsiteX6" fmla="*/ 0 w 970279"/>
                  <a:gd name="connsiteY6" fmla="*/ 391744 h 1628724"/>
                  <a:gd name="connsiteX7" fmla="*/ 96520 w 970279"/>
                  <a:gd name="connsiteY7" fmla="*/ 434924 h 1628724"/>
                  <a:gd name="connsiteX8" fmla="*/ 109220 w 970279"/>
                  <a:gd name="connsiteY8" fmla="*/ 310464 h 1628724"/>
                  <a:gd name="connsiteX9" fmla="*/ 119379 w 970279"/>
                  <a:gd name="connsiteY9" fmla="*/ 447624 h 1628724"/>
                  <a:gd name="connsiteX10" fmla="*/ 177800 w 970279"/>
                  <a:gd name="connsiteY10" fmla="*/ 536524 h 1628724"/>
                  <a:gd name="connsiteX11" fmla="*/ 256539 w 970279"/>
                  <a:gd name="connsiteY11" fmla="*/ 569544 h 1628724"/>
                  <a:gd name="connsiteX12" fmla="*/ 259079 w 970279"/>
                  <a:gd name="connsiteY12" fmla="*/ 422224 h 1628724"/>
                  <a:gd name="connsiteX13" fmla="*/ 210819 w 970279"/>
                  <a:gd name="connsiteY13" fmla="*/ 328244 h 1628724"/>
                  <a:gd name="connsiteX14" fmla="*/ 271779 w 970279"/>
                  <a:gd name="connsiteY14" fmla="*/ 396824 h 1628724"/>
                  <a:gd name="connsiteX15" fmla="*/ 327659 w 970279"/>
                  <a:gd name="connsiteY15" fmla="*/ 315544 h 1628724"/>
                  <a:gd name="connsiteX16" fmla="*/ 279399 w 970279"/>
                  <a:gd name="connsiteY16" fmla="*/ 427304 h 1628724"/>
                  <a:gd name="connsiteX17" fmla="*/ 284479 w 970279"/>
                  <a:gd name="connsiteY17" fmla="*/ 579704 h 1628724"/>
                  <a:gd name="connsiteX18" fmla="*/ 406400 w 970279"/>
                  <a:gd name="connsiteY18" fmla="*/ 630504 h 1628724"/>
                  <a:gd name="connsiteX19" fmla="*/ 444500 w 970279"/>
                  <a:gd name="connsiteY19" fmla="*/ 409524 h 1628724"/>
                  <a:gd name="connsiteX20" fmla="*/ 365760 w 970279"/>
                  <a:gd name="connsiteY20" fmla="*/ 158064 h 1628724"/>
                  <a:gd name="connsiteX21" fmla="*/ 299720 w 970279"/>
                  <a:gd name="connsiteY21" fmla="*/ 92024 h 1628724"/>
                  <a:gd name="connsiteX22" fmla="*/ 390606 w 970279"/>
                  <a:gd name="connsiteY22" fmla="*/ 164694 h 1628724"/>
                  <a:gd name="connsiteX23" fmla="*/ 410544 w 970279"/>
                  <a:gd name="connsiteY23" fmla="*/ 0 h 1628724"/>
                  <a:gd name="connsiteX24" fmla="*/ 399262 w 970279"/>
                  <a:gd name="connsiteY24" fmla="*/ 169022 h 1628724"/>
                  <a:gd name="connsiteX25" fmla="*/ 411479 w 970279"/>
                  <a:gd name="connsiteY25" fmla="*/ 219024 h 1628724"/>
                  <a:gd name="connsiteX26" fmla="*/ 502919 w 970279"/>
                  <a:gd name="connsiteY26" fmla="*/ 51384 h 1628724"/>
                  <a:gd name="connsiteX27" fmla="*/ 426719 w 970279"/>
                  <a:gd name="connsiteY27" fmla="*/ 254584 h 1628724"/>
                  <a:gd name="connsiteX28" fmla="*/ 474980 w 970279"/>
                  <a:gd name="connsiteY28" fmla="*/ 386664 h 1628724"/>
                  <a:gd name="connsiteX29" fmla="*/ 604519 w 970279"/>
                  <a:gd name="connsiteY29" fmla="*/ 163144 h 1628724"/>
                  <a:gd name="connsiteX30" fmla="*/ 574040 w 970279"/>
                  <a:gd name="connsiteY30" fmla="*/ 61544 h 1628724"/>
                  <a:gd name="connsiteX31" fmla="*/ 589279 w 970279"/>
                  <a:gd name="connsiteY31" fmla="*/ 31064 h 1628724"/>
                  <a:gd name="connsiteX32" fmla="*/ 632459 w 970279"/>
                  <a:gd name="connsiteY32" fmla="*/ 158064 h 1628724"/>
                  <a:gd name="connsiteX33" fmla="*/ 703579 w 970279"/>
                  <a:gd name="connsiteY33" fmla="*/ 100914 h 1628724"/>
                  <a:gd name="connsiteX34" fmla="*/ 745489 w 970279"/>
                  <a:gd name="connsiteY34" fmla="*/ 9474 h 1628724"/>
                  <a:gd name="connsiteX35" fmla="*/ 741679 w 970279"/>
                  <a:gd name="connsiteY35" fmla="*/ 104724 h 1628724"/>
                  <a:gd name="connsiteX36" fmla="*/ 918210 w 970279"/>
                  <a:gd name="connsiteY36" fmla="*/ 27254 h 1628724"/>
                  <a:gd name="connsiteX37" fmla="*/ 671829 w 970279"/>
                  <a:gd name="connsiteY37" fmla="*/ 175844 h 1628724"/>
                  <a:gd name="connsiteX38" fmla="*/ 631189 w 970279"/>
                  <a:gd name="connsiteY38" fmla="*/ 215214 h 1628724"/>
                  <a:gd name="connsiteX39" fmla="*/ 513080 w 970279"/>
                  <a:gd name="connsiteY39" fmla="*/ 424764 h 1628724"/>
                  <a:gd name="connsiteX40" fmla="*/ 485140 w 970279"/>
                  <a:gd name="connsiteY40" fmla="*/ 622884 h 1628724"/>
                  <a:gd name="connsiteX41" fmla="*/ 518445 w 970279"/>
                  <a:gd name="connsiteY41" fmla="*/ 846973 h 1628724"/>
                  <a:gd name="connsiteX42" fmla="*/ 658942 w 970279"/>
                  <a:gd name="connsiteY42" fmla="*/ 701366 h 1628724"/>
                  <a:gd name="connsiteX43" fmla="*/ 688339 w 970279"/>
                  <a:gd name="connsiteY43" fmla="*/ 579704 h 1628724"/>
                  <a:gd name="connsiteX44" fmla="*/ 721359 w 970279"/>
                  <a:gd name="connsiteY44" fmla="*/ 427304 h 1628724"/>
                  <a:gd name="connsiteX45" fmla="*/ 673099 w 970279"/>
                  <a:gd name="connsiteY45" fmla="*/ 368884 h 1628724"/>
                  <a:gd name="connsiteX46" fmla="*/ 723899 w 970279"/>
                  <a:gd name="connsiteY46" fmla="*/ 406984 h 1628724"/>
                  <a:gd name="connsiteX47" fmla="*/ 734060 w 970279"/>
                  <a:gd name="connsiteY47" fmla="*/ 346024 h 1628724"/>
                  <a:gd name="connsiteX48" fmla="*/ 759459 w 970279"/>
                  <a:gd name="connsiteY48" fmla="*/ 353644 h 1628724"/>
                  <a:gd name="connsiteX49" fmla="*/ 716279 w 970279"/>
                  <a:gd name="connsiteY49" fmla="*/ 561924 h 1628724"/>
                  <a:gd name="connsiteX50" fmla="*/ 866139 w 970279"/>
                  <a:gd name="connsiteY50" fmla="*/ 391744 h 1628724"/>
                  <a:gd name="connsiteX51" fmla="*/ 888999 w 970279"/>
                  <a:gd name="connsiteY51" fmla="*/ 391744 h 1628724"/>
                  <a:gd name="connsiteX52" fmla="*/ 949959 w 970279"/>
                  <a:gd name="connsiteY52" fmla="*/ 368884 h 1628724"/>
                  <a:gd name="connsiteX53" fmla="*/ 970279 w 970279"/>
                  <a:gd name="connsiteY53" fmla="*/ 366344 h 1628724"/>
                  <a:gd name="connsiteX54" fmla="*/ 876299 w 970279"/>
                  <a:gd name="connsiteY54" fmla="*/ 427304 h 1628724"/>
                  <a:gd name="connsiteX55" fmla="*/ 730483 w 970279"/>
                  <a:gd name="connsiteY55" fmla="*/ 590901 h 1628724"/>
                  <a:gd name="connsiteX56" fmla="*/ 712053 w 970279"/>
                  <a:gd name="connsiteY56" fmla="*/ 652513 h 1628724"/>
                  <a:gd name="connsiteX57" fmla="*/ 843097 w 970279"/>
                  <a:gd name="connsiteY57" fmla="*/ 545549 h 1628724"/>
                  <a:gd name="connsiteX58" fmla="*/ 872541 w 970279"/>
                  <a:gd name="connsiteY58" fmla="*/ 543761 h 1628724"/>
                  <a:gd name="connsiteX59" fmla="*/ 683077 w 970279"/>
                  <a:gd name="connsiteY59" fmla="*/ 727777 h 1628724"/>
                  <a:gd name="connsiteX60" fmla="*/ 513080 w 970279"/>
                  <a:gd name="connsiteY60" fmla="*/ 927684 h 1628724"/>
                  <a:gd name="connsiteX61" fmla="*/ 520700 w 970279"/>
                  <a:gd name="connsiteY61" fmla="*/ 1270584 h 1628724"/>
                  <a:gd name="connsiteX62" fmla="*/ 520700 w 970279"/>
                  <a:gd name="connsiteY62" fmla="*/ 1628724 h 1628724"/>
                  <a:gd name="connsiteX63" fmla="*/ 337820 w 970279"/>
                  <a:gd name="connsiteY63" fmla="*/ 1628724 h 1628724"/>
                  <a:gd name="connsiteX0" fmla="*/ 337820 w 949959"/>
                  <a:gd name="connsiteY0" fmla="*/ 1628724 h 1628724"/>
                  <a:gd name="connsiteX1" fmla="*/ 396240 w 949959"/>
                  <a:gd name="connsiteY1" fmla="*/ 1227404 h 1628724"/>
                  <a:gd name="connsiteX2" fmla="*/ 421640 w 949959"/>
                  <a:gd name="connsiteY2" fmla="*/ 942924 h 1628724"/>
                  <a:gd name="connsiteX3" fmla="*/ 414020 w 949959"/>
                  <a:gd name="connsiteY3" fmla="*/ 706704 h 1628724"/>
                  <a:gd name="connsiteX4" fmla="*/ 147320 w 949959"/>
                  <a:gd name="connsiteY4" fmla="*/ 554304 h 1628724"/>
                  <a:gd name="connsiteX5" fmla="*/ 96520 w 949959"/>
                  <a:gd name="connsiteY5" fmla="*/ 470484 h 1628724"/>
                  <a:gd name="connsiteX6" fmla="*/ 0 w 949959"/>
                  <a:gd name="connsiteY6" fmla="*/ 391744 h 1628724"/>
                  <a:gd name="connsiteX7" fmla="*/ 96520 w 949959"/>
                  <a:gd name="connsiteY7" fmla="*/ 434924 h 1628724"/>
                  <a:gd name="connsiteX8" fmla="*/ 109220 w 949959"/>
                  <a:gd name="connsiteY8" fmla="*/ 310464 h 1628724"/>
                  <a:gd name="connsiteX9" fmla="*/ 119379 w 949959"/>
                  <a:gd name="connsiteY9" fmla="*/ 447624 h 1628724"/>
                  <a:gd name="connsiteX10" fmla="*/ 177800 w 949959"/>
                  <a:gd name="connsiteY10" fmla="*/ 536524 h 1628724"/>
                  <a:gd name="connsiteX11" fmla="*/ 256539 w 949959"/>
                  <a:gd name="connsiteY11" fmla="*/ 569544 h 1628724"/>
                  <a:gd name="connsiteX12" fmla="*/ 259079 w 949959"/>
                  <a:gd name="connsiteY12" fmla="*/ 422224 h 1628724"/>
                  <a:gd name="connsiteX13" fmla="*/ 210819 w 949959"/>
                  <a:gd name="connsiteY13" fmla="*/ 328244 h 1628724"/>
                  <a:gd name="connsiteX14" fmla="*/ 271779 w 949959"/>
                  <a:gd name="connsiteY14" fmla="*/ 396824 h 1628724"/>
                  <a:gd name="connsiteX15" fmla="*/ 327659 w 949959"/>
                  <a:gd name="connsiteY15" fmla="*/ 315544 h 1628724"/>
                  <a:gd name="connsiteX16" fmla="*/ 279399 w 949959"/>
                  <a:gd name="connsiteY16" fmla="*/ 427304 h 1628724"/>
                  <a:gd name="connsiteX17" fmla="*/ 284479 w 949959"/>
                  <a:gd name="connsiteY17" fmla="*/ 579704 h 1628724"/>
                  <a:gd name="connsiteX18" fmla="*/ 406400 w 949959"/>
                  <a:gd name="connsiteY18" fmla="*/ 630504 h 1628724"/>
                  <a:gd name="connsiteX19" fmla="*/ 444500 w 949959"/>
                  <a:gd name="connsiteY19" fmla="*/ 409524 h 1628724"/>
                  <a:gd name="connsiteX20" fmla="*/ 365760 w 949959"/>
                  <a:gd name="connsiteY20" fmla="*/ 158064 h 1628724"/>
                  <a:gd name="connsiteX21" fmla="*/ 299720 w 949959"/>
                  <a:gd name="connsiteY21" fmla="*/ 92024 h 1628724"/>
                  <a:gd name="connsiteX22" fmla="*/ 390606 w 949959"/>
                  <a:gd name="connsiteY22" fmla="*/ 164694 h 1628724"/>
                  <a:gd name="connsiteX23" fmla="*/ 410544 w 949959"/>
                  <a:gd name="connsiteY23" fmla="*/ 0 h 1628724"/>
                  <a:gd name="connsiteX24" fmla="*/ 399262 w 949959"/>
                  <a:gd name="connsiteY24" fmla="*/ 169022 h 1628724"/>
                  <a:gd name="connsiteX25" fmla="*/ 411479 w 949959"/>
                  <a:gd name="connsiteY25" fmla="*/ 219024 h 1628724"/>
                  <a:gd name="connsiteX26" fmla="*/ 502919 w 949959"/>
                  <a:gd name="connsiteY26" fmla="*/ 51384 h 1628724"/>
                  <a:gd name="connsiteX27" fmla="*/ 426719 w 949959"/>
                  <a:gd name="connsiteY27" fmla="*/ 254584 h 1628724"/>
                  <a:gd name="connsiteX28" fmla="*/ 474980 w 949959"/>
                  <a:gd name="connsiteY28" fmla="*/ 386664 h 1628724"/>
                  <a:gd name="connsiteX29" fmla="*/ 604519 w 949959"/>
                  <a:gd name="connsiteY29" fmla="*/ 163144 h 1628724"/>
                  <a:gd name="connsiteX30" fmla="*/ 574040 w 949959"/>
                  <a:gd name="connsiteY30" fmla="*/ 61544 h 1628724"/>
                  <a:gd name="connsiteX31" fmla="*/ 589279 w 949959"/>
                  <a:gd name="connsiteY31" fmla="*/ 31064 h 1628724"/>
                  <a:gd name="connsiteX32" fmla="*/ 632459 w 949959"/>
                  <a:gd name="connsiteY32" fmla="*/ 158064 h 1628724"/>
                  <a:gd name="connsiteX33" fmla="*/ 703579 w 949959"/>
                  <a:gd name="connsiteY33" fmla="*/ 100914 h 1628724"/>
                  <a:gd name="connsiteX34" fmla="*/ 745489 w 949959"/>
                  <a:gd name="connsiteY34" fmla="*/ 9474 h 1628724"/>
                  <a:gd name="connsiteX35" fmla="*/ 741679 w 949959"/>
                  <a:gd name="connsiteY35" fmla="*/ 104724 h 1628724"/>
                  <a:gd name="connsiteX36" fmla="*/ 918210 w 949959"/>
                  <a:gd name="connsiteY36" fmla="*/ 27254 h 1628724"/>
                  <a:gd name="connsiteX37" fmla="*/ 671829 w 949959"/>
                  <a:gd name="connsiteY37" fmla="*/ 175844 h 1628724"/>
                  <a:gd name="connsiteX38" fmla="*/ 631189 w 949959"/>
                  <a:gd name="connsiteY38" fmla="*/ 215214 h 1628724"/>
                  <a:gd name="connsiteX39" fmla="*/ 513080 w 949959"/>
                  <a:gd name="connsiteY39" fmla="*/ 424764 h 1628724"/>
                  <a:gd name="connsiteX40" fmla="*/ 485140 w 949959"/>
                  <a:gd name="connsiteY40" fmla="*/ 622884 h 1628724"/>
                  <a:gd name="connsiteX41" fmla="*/ 518445 w 949959"/>
                  <a:gd name="connsiteY41" fmla="*/ 846973 h 1628724"/>
                  <a:gd name="connsiteX42" fmla="*/ 658942 w 949959"/>
                  <a:gd name="connsiteY42" fmla="*/ 701366 h 1628724"/>
                  <a:gd name="connsiteX43" fmla="*/ 688339 w 949959"/>
                  <a:gd name="connsiteY43" fmla="*/ 579704 h 1628724"/>
                  <a:gd name="connsiteX44" fmla="*/ 721359 w 949959"/>
                  <a:gd name="connsiteY44" fmla="*/ 427304 h 1628724"/>
                  <a:gd name="connsiteX45" fmla="*/ 673099 w 949959"/>
                  <a:gd name="connsiteY45" fmla="*/ 368884 h 1628724"/>
                  <a:gd name="connsiteX46" fmla="*/ 723899 w 949959"/>
                  <a:gd name="connsiteY46" fmla="*/ 406984 h 1628724"/>
                  <a:gd name="connsiteX47" fmla="*/ 734060 w 949959"/>
                  <a:gd name="connsiteY47" fmla="*/ 346024 h 1628724"/>
                  <a:gd name="connsiteX48" fmla="*/ 759459 w 949959"/>
                  <a:gd name="connsiteY48" fmla="*/ 353644 h 1628724"/>
                  <a:gd name="connsiteX49" fmla="*/ 716279 w 949959"/>
                  <a:gd name="connsiteY49" fmla="*/ 561924 h 1628724"/>
                  <a:gd name="connsiteX50" fmla="*/ 866139 w 949959"/>
                  <a:gd name="connsiteY50" fmla="*/ 391744 h 1628724"/>
                  <a:gd name="connsiteX51" fmla="*/ 888999 w 949959"/>
                  <a:gd name="connsiteY51" fmla="*/ 391744 h 1628724"/>
                  <a:gd name="connsiteX52" fmla="*/ 949959 w 949959"/>
                  <a:gd name="connsiteY52" fmla="*/ 368884 h 1628724"/>
                  <a:gd name="connsiteX53" fmla="*/ 876299 w 949959"/>
                  <a:gd name="connsiteY53" fmla="*/ 427304 h 1628724"/>
                  <a:gd name="connsiteX54" fmla="*/ 730483 w 949959"/>
                  <a:gd name="connsiteY54" fmla="*/ 590901 h 1628724"/>
                  <a:gd name="connsiteX55" fmla="*/ 712053 w 949959"/>
                  <a:gd name="connsiteY55" fmla="*/ 652513 h 1628724"/>
                  <a:gd name="connsiteX56" fmla="*/ 843097 w 949959"/>
                  <a:gd name="connsiteY56" fmla="*/ 545549 h 1628724"/>
                  <a:gd name="connsiteX57" fmla="*/ 872541 w 949959"/>
                  <a:gd name="connsiteY57" fmla="*/ 543761 h 1628724"/>
                  <a:gd name="connsiteX58" fmla="*/ 683077 w 949959"/>
                  <a:gd name="connsiteY58" fmla="*/ 727777 h 1628724"/>
                  <a:gd name="connsiteX59" fmla="*/ 513080 w 949959"/>
                  <a:gd name="connsiteY59" fmla="*/ 927684 h 1628724"/>
                  <a:gd name="connsiteX60" fmla="*/ 520700 w 949959"/>
                  <a:gd name="connsiteY60" fmla="*/ 1270584 h 1628724"/>
                  <a:gd name="connsiteX61" fmla="*/ 520700 w 949959"/>
                  <a:gd name="connsiteY61" fmla="*/ 1628724 h 1628724"/>
                  <a:gd name="connsiteX62" fmla="*/ 337820 w 949959"/>
                  <a:gd name="connsiteY62" fmla="*/ 1628724 h 1628724"/>
                  <a:gd name="connsiteX0" fmla="*/ 337820 w 918209"/>
                  <a:gd name="connsiteY0" fmla="*/ 1628724 h 1628724"/>
                  <a:gd name="connsiteX1" fmla="*/ 396240 w 918209"/>
                  <a:gd name="connsiteY1" fmla="*/ 1227404 h 1628724"/>
                  <a:gd name="connsiteX2" fmla="*/ 421640 w 918209"/>
                  <a:gd name="connsiteY2" fmla="*/ 942924 h 1628724"/>
                  <a:gd name="connsiteX3" fmla="*/ 414020 w 918209"/>
                  <a:gd name="connsiteY3" fmla="*/ 706704 h 1628724"/>
                  <a:gd name="connsiteX4" fmla="*/ 147320 w 918209"/>
                  <a:gd name="connsiteY4" fmla="*/ 554304 h 1628724"/>
                  <a:gd name="connsiteX5" fmla="*/ 96520 w 918209"/>
                  <a:gd name="connsiteY5" fmla="*/ 470484 h 1628724"/>
                  <a:gd name="connsiteX6" fmla="*/ 0 w 918209"/>
                  <a:gd name="connsiteY6" fmla="*/ 391744 h 1628724"/>
                  <a:gd name="connsiteX7" fmla="*/ 96520 w 918209"/>
                  <a:gd name="connsiteY7" fmla="*/ 434924 h 1628724"/>
                  <a:gd name="connsiteX8" fmla="*/ 109220 w 918209"/>
                  <a:gd name="connsiteY8" fmla="*/ 310464 h 1628724"/>
                  <a:gd name="connsiteX9" fmla="*/ 119379 w 918209"/>
                  <a:gd name="connsiteY9" fmla="*/ 447624 h 1628724"/>
                  <a:gd name="connsiteX10" fmla="*/ 177800 w 918209"/>
                  <a:gd name="connsiteY10" fmla="*/ 536524 h 1628724"/>
                  <a:gd name="connsiteX11" fmla="*/ 256539 w 918209"/>
                  <a:gd name="connsiteY11" fmla="*/ 569544 h 1628724"/>
                  <a:gd name="connsiteX12" fmla="*/ 259079 w 918209"/>
                  <a:gd name="connsiteY12" fmla="*/ 422224 h 1628724"/>
                  <a:gd name="connsiteX13" fmla="*/ 210819 w 918209"/>
                  <a:gd name="connsiteY13" fmla="*/ 328244 h 1628724"/>
                  <a:gd name="connsiteX14" fmla="*/ 271779 w 918209"/>
                  <a:gd name="connsiteY14" fmla="*/ 396824 h 1628724"/>
                  <a:gd name="connsiteX15" fmla="*/ 327659 w 918209"/>
                  <a:gd name="connsiteY15" fmla="*/ 315544 h 1628724"/>
                  <a:gd name="connsiteX16" fmla="*/ 279399 w 918209"/>
                  <a:gd name="connsiteY16" fmla="*/ 427304 h 1628724"/>
                  <a:gd name="connsiteX17" fmla="*/ 284479 w 918209"/>
                  <a:gd name="connsiteY17" fmla="*/ 579704 h 1628724"/>
                  <a:gd name="connsiteX18" fmla="*/ 406400 w 918209"/>
                  <a:gd name="connsiteY18" fmla="*/ 630504 h 1628724"/>
                  <a:gd name="connsiteX19" fmla="*/ 444500 w 918209"/>
                  <a:gd name="connsiteY19" fmla="*/ 409524 h 1628724"/>
                  <a:gd name="connsiteX20" fmla="*/ 365760 w 918209"/>
                  <a:gd name="connsiteY20" fmla="*/ 158064 h 1628724"/>
                  <a:gd name="connsiteX21" fmla="*/ 299720 w 918209"/>
                  <a:gd name="connsiteY21" fmla="*/ 92024 h 1628724"/>
                  <a:gd name="connsiteX22" fmla="*/ 390606 w 918209"/>
                  <a:gd name="connsiteY22" fmla="*/ 164694 h 1628724"/>
                  <a:gd name="connsiteX23" fmla="*/ 410544 w 918209"/>
                  <a:gd name="connsiteY23" fmla="*/ 0 h 1628724"/>
                  <a:gd name="connsiteX24" fmla="*/ 399262 w 918209"/>
                  <a:gd name="connsiteY24" fmla="*/ 169022 h 1628724"/>
                  <a:gd name="connsiteX25" fmla="*/ 411479 w 918209"/>
                  <a:gd name="connsiteY25" fmla="*/ 219024 h 1628724"/>
                  <a:gd name="connsiteX26" fmla="*/ 502919 w 918209"/>
                  <a:gd name="connsiteY26" fmla="*/ 51384 h 1628724"/>
                  <a:gd name="connsiteX27" fmla="*/ 426719 w 918209"/>
                  <a:gd name="connsiteY27" fmla="*/ 254584 h 1628724"/>
                  <a:gd name="connsiteX28" fmla="*/ 474980 w 918209"/>
                  <a:gd name="connsiteY28" fmla="*/ 386664 h 1628724"/>
                  <a:gd name="connsiteX29" fmla="*/ 604519 w 918209"/>
                  <a:gd name="connsiteY29" fmla="*/ 163144 h 1628724"/>
                  <a:gd name="connsiteX30" fmla="*/ 574040 w 918209"/>
                  <a:gd name="connsiteY30" fmla="*/ 61544 h 1628724"/>
                  <a:gd name="connsiteX31" fmla="*/ 589279 w 918209"/>
                  <a:gd name="connsiteY31" fmla="*/ 31064 h 1628724"/>
                  <a:gd name="connsiteX32" fmla="*/ 632459 w 918209"/>
                  <a:gd name="connsiteY32" fmla="*/ 158064 h 1628724"/>
                  <a:gd name="connsiteX33" fmla="*/ 703579 w 918209"/>
                  <a:gd name="connsiteY33" fmla="*/ 100914 h 1628724"/>
                  <a:gd name="connsiteX34" fmla="*/ 745489 w 918209"/>
                  <a:gd name="connsiteY34" fmla="*/ 9474 h 1628724"/>
                  <a:gd name="connsiteX35" fmla="*/ 741679 w 918209"/>
                  <a:gd name="connsiteY35" fmla="*/ 104724 h 1628724"/>
                  <a:gd name="connsiteX36" fmla="*/ 918210 w 918209"/>
                  <a:gd name="connsiteY36" fmla="*/ 27254 h 1628724"/>
                  <a:gd name="connsiteX37" fmla="*/ 671829 w 918209"/>
                  <a:gd name="connsiteY37" fmla="*/ 175844 h 1628724"/>
                  <a:gd name="connsiteX38" fmla="*/ 631189 w 918209"/>
                  <a:gd name="connsiteY38" fmla="*/ 215214 h 1628724"/>
                  <a:gd name="connsiteX39" fmla="*/ 513080 w 918209"/>
                  <a:gd name="connsiteY39" fmla="*/ 424764 h 1628724"/>
                  <a:gd name="connsiteX40" fmla="*/ 485140 w 918209"/>
                  <a:gd name="connsiteY40" fmla="*/ 622884 h 1628724"/>
                  <a:gd name="connsiteX41" fmla="*/ 518445 w 918209"/>
                  <a:gd name="connsiteY41" fmla="*/ 846973 h 1628724"/>
                  <a:gd name="connsiteX42" fmla="*/ 658942 w 918209"/>
                  <a:gd name="connsiteY42" fmla="*/ 701366 h 1628724"/>
                  <a:gd name="connsiteX43" fmla="*/ 688339 w 918209"/>
                  <a:gd name="connsiteY43" fmla="*/ 579704 h 1628724"/>
                  <a:gd name="connsiteX44" fmla="*/ 721359 w 918209"/>
                  <a:gd name="connsiteY44" fmla="*/ 427304 h 1628724"/>
                  <a:gd name="connsiteX45" fmla="*/ 673099 w 918209"/>
                  <a:gd name="connsiteY45" fmla="*/ 368884 h 1628724"/>
                  <a:gd name="connsiteX46" fmla="*/ 723899 w 918209"/>
                  <a:gd name="connsiteY46" fmla="*/ 406984 h 1628724"/>
                  <a:gd name="connsiteX47" fmla="*/ 734060 w 918209"/>
                  <a:gd name="connsiteY47" fmla="*/ 346024 h 1628724"/>
                  <a:gd name="connsiteX48" fmla="*/ 759459 w 918209"/>
                  <a:gd name="connsiteY48" fmla="*/ 353644 h 1628724"/>
                  <a:gd name="connsiteX49" fmla="*/ 716279 w 918209"/>
                  <a:gd name="connsiteY49" fmla="*/ 561924 h 1628724"/>
                  <a:gd name="connsiteX50" fmla="*/ 866139 w 918209"/>
                  <a:gd name="connsiteY50" fmla="*/ 391744 h 1628724"/>
                  <a:gd name="connsiteX51" fmla="*/ 888999 w 918209"/>
                  <a:gd name="connsiteY51" fmla="*/ 391744 h 1628724"/>
                  <a:gd name="connsiteX52" fmla="*/ 876299 w 918209"/>
                  <a:gd name="connsiteY52" fmla="*/ 427304 h 1628724"/>
                  <a:gd name="connsiteX53" fmla="*/ 730483 w 918209"/>
                  <a:gd name="connsiteY53" fmla="*/ 590901 h 1628724"/>
                  <a:gd name="connsiteX54" fmla="*/ 712053 w 918209"/>
                  <a:gd name="connsiteY54" fmla="*/ 652513 h 1628724"/>
                  <a:gd name="connsiteX55" fmla="*/ 843097 w 918209"/>
                  <a:gd name="connsiteY55" fmla="*/ 545549 h 1628724"/>
                  <a:gd name="connsiteX56" fmla="*/ 872541 w 918209"/>
                  <a:gd name="connsiteY56" fmla="*/ 543761 h 1628724"/>
                  <a:gd name="connsiteX57" fmla="*/ 683077 w 918209"/>
                  <a:gd name="connsiteY57" fmla="*/ 727777 h 1628724"/>
                  <a:gd name="connsiteX58" fmla="*/ 513080 w 918209"/>
                  <a:gd name="connsiteY58" fmla="*/ 927684 h 1628724"/>
                  <a:gd name="connsiteX59" fmla="*/ 520700 w 918209"/>
                  <a:gd name="connsiteY59" fmla="*/ 1270584 h 1628724"/>
                  <a:gd name="connsiteX60" fmla="*/ 520700 w 918209"/>
                  <a:gd name="connsiteY60" fmla="*/ 1628724 h 1628724"/>
                  <a:gd name="connsiteX61" fmla="*/ 337820 w 918209"/>
                  <a:gd name="connsiteY61" fmla="*/ 1628724 h 1628724"/>
                  <a:gd name="connsiteX0" fmla="*/ 337820 w 918209"/>
                  <a:gd name="connsiteY0" fmla="*/ 1628724 h 1628724"/>
                  <a:gd name="connsiteX1" fmla="*/ 396240 w 918209"/>
                  <a:gd name="connsiteY1" fmla="*/ 1227404 h 1628724"/>
                  <a:gd name="connsiteX2" fmla="*/ 421640 w 918209"/>
                  <a:gd name="connsiteY2" fmla="*/ 942924 h 1628724"/>
                  <a:gd name="connsiteX3" fmla="*/ 414020 w 918209"/>
                  <a:gd name="connsiteY3" fmla="*/ 706704 h 1628724"/>
                  <a:gd name="connsiteX4" fmla="*/ 147320 w 918209"/>
                  <a:gd name="connsiteY4" fmla="*/ 554304 h 1628724"/>
                  <a:gd name="connsiteX5" fmla="*/ 96520 w 918209"/>
                  <a:gd name="connsiteY5" fmla="*/ 470484 h 1628724"/>
                  <a:gd name="connsiteX6" fmla="*/ 0 w 918209"/>
                  <a:gd name="connsiteY6" fmla="*/ 391744 h 1628724"/>
                  <a:gd name="connsiteX7" fmla="*/ 96520 w 918209"/>
                  <a:gd name="connsiteY7" fmla="*/ 434924 h 1628724"/>
                  <a:gd name="connsiteX8" fmla="*/ 109220 w 918209"/>
                  <a:gd name="connsiteY8" fmla="*/ 310464 h 1628724"/>
                  <a:gd name="connsiteX9" fmla="*/ 119379 w 918209"/>
                  <a:gd name="connsiteY9" fmla="*/ 447624 h 1628724"/>
                  <a:gd name="connsiteX10" fmla="*/ 177800 w 918209"/>
                  <a:gd name="connsiteY10" fmla="*/ 536524 h 1628724"/>
                  <a:gd name="connsiteX11" fmla="*/ 256539 w 918209"/>
                  <a:gd name="connsiteY11" fmla="*/ 569544 h 1628724"/>
                  <a:gd name="connsiteX12" fmla="*/ 259079 w 918209"/>
                  <a:gd name="connsiteY12" fmla="*/ 422224 h 1628724"/>
                  <a:gd name="connsiteX13" fmla="*/ 210819 w 918209"/>
                  <a:gd name="connsiteY13" fmla="*/ 328244 h 1628724"/>
                  <a:gd name="connsiteX14" fmla="*/ 271779 w 918209"/>
                  <a:gd name="connsiteY14" fmla="*/ 396824 h 1628724"/>
                  <a:gd name="connsiteX15" fmla="*/ 327659 w 918209"/>
                  <a:gd name="connsiteY15" fmla="*/ 315544 h 1628724"/>
                  <a:gd name="connsiteX16" fmla="*/ 279399 w 918209"/>
                  <a:gd name="connsiteY16" fmla="*/ 427304 h 1628724"/>
                  <a:gd name="connsiteX17" fmla="*/ 284479 w 918209"/>
                  <a:gd name="connsiteY17" fmla="*/ 579704 h 1628724"/>
                  <a:gd name="connsiteX18" fmla="*/ 406400 w 918209"/>
                  <a:gd name="connsiteY18" fmla="*/ 630504 h 1628724"/>
                  <a:gd name="connsiteX19" fmla="*/ 444500 w 918209"/>
                  <a:gd name="connsiteY19" fmla="*/ 409524 h 1628724"/>
                  <a:gd name="connsiteX20" fmla="*/ 365760 w 918209"/>
                  <a:gd name="connsiteY20" fmla="*/ 158064 h 1628724"/>
                  <a:gd name="connsiteX21" fmla="*/ 299720 w 918209"/>
                  <a:gd name="connsiteY21" fmla="*/ 92024 h 1628724"/>
                  <a:gd name="connsiteX22" fmla="*/ 390606 w 918209"/>
                  <a:gd name="connsiteY22" fmla="*/ 164694 h 1628724"/>
                  <a:gd name="connsiteX23" fmla="*/ 410544 w 918209"/>
                  <a:gd name="connsiteY23" fmla="*/ 0 h 1628724"/>
                  <a:gd name="connsiteX24" fmla="*/ 399262 w 918209"/>
                  <a:gd name="connsiteY24" fmla="*/ 169022 h 1628724"/>
                  <a:gd name="connsiteX25" fmla="*/ 411479 w 918209"/>
                  <a:gd name="connsiteY25" fmla="*/ 219024 h 1628724"/>
                  <a:gd name="connsiteX26" fmla="*/ 502919 w 918209"/>
                  <a:gd name="connsiteY26" fmla="*/ 51384 h 1628724"/>
                  <a:gd name="connsiteX27" fmla="*/ 426719 w 918209"/>
                  <a:gd name="connsiteY27" fmla="*/ 254584 h 1628724"/>
                  <a:gd name="connsiteX28" fmla="*/ 474980 w 918209"/>
                  <a:gd name="connsiteY28" fmla="*/ 386664 h 1628724"/>
                  <a:gd name="connsiteX29" fmla="*/ 604519 w 918209"/>
                  <a:gd name="connsiteY29" fmla="*/ 163144 h 1628724"/>
                  <a:gd name="connsiteX30" fmla="*/ 574040 w 918209"/>
                  <a:gd name="connsiteY30" fmla="*/ 61544 h 1628724"/>
                  <a:gd name="connsiteX31" fmla="*/ 589279 w 918209"/>
                  <a:gd name="connsiteY31" fmla="*/ 31064 h 1628724"/>
                  <a:gd name="connsiteX32" fmla="*/ 632459 w 918209"/>
                  <a:gd name="connsiteY32" fmla="*/ 158064 h 1628724"/>
                  <a:gd name="connsiteX33" fmla="*/ 703579 w 918209"/>
                  <a:gd name="connsiteY33" fmla="*/ 100914 h 1628724"/>
                  <a:gd name="connsiteX34" fmla="*/ 745489 w 918209"/>
                  <a:gd name="connsiteY34" fmla="*/ 9474 h 1628724"/>
                  <a:gd name="connsiteX35" fmla="*/ 741679 w 918209"/>
                  <a:gd name="connsiteY35" fmla="*/ 104724 h 1628724"/>
                  <a:gd name="connsiteX36" fmla="*/ 918210 w 918209"/>
                  <a:gd name="connsiteY36" fmla="*/ 27254 h 1628724"/>
                  <a:gd name="connsiteX37" fmla="*/ 671829 w 918209"/>
                  <a:gd name="connsiteY37" fmla="*/ 175844 h 1628724"/>
                  <a:gd name="connsiteX38" fmla="*/ 631189 w 918209"/>
                  <a:gd name="connsiteY38" fmla="*/ 215214 h 1628724"/>
                  <a:gd name="connsiteX39" fmla="*/ 513080 w 918209"/>
                  <a:gd name="connsiteY39" fmla="*/ 424764 h 1628724"/>
                  <a:gd name="connsiteX40" fmla="*/ 485140 w 918209"/>
                  <a:gd name="connsiteY40" fmla="*/ 622884 h 1628724"/>
                  <a:gd name="connsiteX41" fmla="*/ 518445 w 918209"/>
                  <a:gd name="connsiteY41" fmla="*/ 846973 h 1628724"/>
                  <a:gd name="connsiteX42" fmla="*/ 658942 w 918209"/>
                  <a:gd name="connsiteY42" fmla="*/ 701366 h 1628724"/>
                  <a:gd name="connsiteX43" fmla="*/ 688339 w 918209"/>
                  <a:gd name="connsiteY43" fmla="*/ 579704 h 1628724"/>
                  <a:gd name="connsiteX44" fmla="*/ 721359 w 918209"/>
                  <a:gd name="connsiteY44" fmla="*/ 427304 h 1628724"/>
                  <a:gd name="connsiteX45" fmla="*/ 673099 w 918209"/>
                  <a:gd name="connsiteY45" fmla="*/ 368884 h 1628724"/>
                  <a:gd name="connsiteX46" fmla="*/ 723899 w 918209"/>
                  <a:gd name="connsiteY46" fmla="*/ 406984 h 1628724"/>
                  <a:gd name="connsiteX47" fmla="*/ 734060 w 918209"/>
                  <a:gd name="connsiteY47" fmla="*/ 346024 h 1628724"/>
                  <a:gd name="connsiteX48" fmla="*/ 759459 w 918209"/>
                  <a:gd name="connsiteY48" fmla="*/ 353644 h 1628724"/>
                  <a:gd name="connsiteX49" fmla="*/ 716279 w 918209"/>
                  <a:gd name="connsiteY49" fmla="*/ 561924 h 1628724"/>
                  <a:gd name="connsiteX50" fmla="*/ 866139 w 918209"/>
                  <a:gd name="connsiteY50" fmla="*/ 391744 h 1628724"/>
                  <a:gd name="connsiteX51" fmla="*/ 876299 w 918209"/>
                  <a:gd name="connsiteY51" fmla="*/ 427304 h 1628724"/>
                  <a:gd name="connsiteX52" fmla="*/ 730483 w 918209"/>
                  <a:gd name="connsiteY52" fmla="*/ 590901 h 1628724"/>
                  <a:gd name="connsiteX53" fmla="*/ 712053 w 918209"/>
                  <a:gd name="connsiteY53" fmla="*/ 652513 h 1628724"/>
                  <a:gd name="connsiteX54" fmla="*/ 843097 w 918209"/>
                  <a:gd name="connsiteY54" fmla="*/ 545549 h 1628724"/>
                  <a:gd name="connsiteX55" fmla="*/ 872541 w 918209"/>
                  <a:gd name="connsiteY55" fmla="*/ 543761 h 1628724"/>
                  <a:gd name="connsiteX56" fmla="*/ 683077 w 918209"/>
                  <a:gd name="connsiteY56" fmla="*/ 727777 h 1628724"/>
                  <a:gd name="connsiteX57" fmla="*/ 513080 w 918209"/>
                  <a:gd name="connsiteY57" fmla="*/ 927684 h 1628724"/>
                  <a:gd name="connsiteX58" fmla="*/ 520700 w 918209"/>
                  <a:gd name="connsiteY58" fmla="*/ 1270584 h 1628724"/>
                  <a:gd name="connsiteX59" fmla="*/ 520700 w 918209"/>
                  <a:gd name="connsiteY59" fmla="*/ 1628724 h 1628724"/>
                  <a:gd name="connsiteX60" fmla="*/ 337820 w 918209"/>
                  <a:gd name="connsiteY60" fmla="*/ 1628724 h 1628724"/>
                  <a:gd name="connsiteX0" fmla="*/ 337820 w 918209"/>
                  <a:gd name="connsiteY0" fmla="*/ 1628724 h 1628724"/>
                  <a:gd name="connsiteX1" fmla="*/ 396240 w 918209"/>
                  <a:gd name="connsiteY1" fmla="*/ 1227404 h 1628724"/>
                  <a:gd name="connsiteX2" fmla="*/ 421640 w 918209"/>
                  <a:gd name="connsiteY2" fmla="*/ 942924 h 1628724"/>
                  <a:gd name="connsiteX3" fmla="*/ 414020 w 918209"/>
                  <a:gd name="connsiteY3" fmla="*/ 706704 h 1628724"/>
                  <a:gd name="connsiteX4" fmla="*/ 147320 w 918209"/>
                  <a:gd name="connsiteY4" fmla="*/ 554304 h 1628724"/>
                  <a:gd name="connsiteX5" fmla="*/ 96520 w 918209"/>
                  <a:gd name="connsiteY5" fmla="*/ 470484 h 1628724"/>
                  <a:gd name="connsiteX6" fmla="*/ 0 w 918209"/>
                  <a:gd name="connsiteY6" fmla="*/ 391744 h 1628724"/>
                  <a:gd name="connsiteX7" fmla="*/ 96520 w 918209"/>
                  <a:gd name="connsiteY7" fmla="*/ 434924 h 1628724"/>
                  <a:gd name="connsiteX8" fmla="*/ 109220 w 918209"/>
                  <a:gd name="connsiteY8" fmla="*/ 310464 h 1628724"/>
                  <a:gd name="connsiteX9" fmla="*/ 119379 w 918209"/>
                  <a:gd name="connsiteY9" fmla="*/ 447624 h 1628724"/>
                  <a:gd name="connsiteX10" fmla="*/ 177800 w 918209"/>
                  <a:gd name="connsiteY10" fmla="*/ 536524 h 1628724"/>
                  <a:gd name="connsiteX11" fmla="*/ 256539 w 918209"/>
                  <a:gd name="connsiteY11" fmla="*/ 569544 h 1628724"/>
                  <a:gd name="connsiteX12" fmla="*/ 259079 w 918209"/>
                  <a:gd name="connsiteY12" fmla="*/ 422224 h 1628724"/>
                  <a:gd name="connsiteX13" fmla="*/ 210819 w 918209"/>
                  <a:gd name="connsiteY13" fmla="*/ 328244 h 1628724"/>
                  <a:gd name="connsiteX14" fmla="*/ 271779 w 918209"/>
                  <a:gd name="connsiteY14" fmla="*/ 396824 h 1628724"/>
                  <a:gd name="connsiteX15" fmla="*/ 327659 w 918209"/>
                  <a:gd name="connsiteY15" fmla="*/ 315544 h 1628724"/>
                  <a:gd name="connsiteX16" fmla="*/ 279399 w 918209"/>
                  <a:gd name="connsiteY16" fmla="*/ 427304 h 1628724"/>
                  <a:gd name="connsiteX17" fmla="*/ 284479 w 918209"/>
                  <a:gd name="connsiteY17" fmla="*/ 579704 h 1628724"/>
                  <a:gd name="connsiteX18" fmla="*/ 406400 w 918209"/>
                  <a:gd name="connsiteY18" fmla="*/ 630504 h 1628724"/>
                  <a:gd name="connsiteX19" fmla="*/ 444500 w 918209"/>
                  <a:gd name="connsiteY19" fmla="*/ 409524 h 1628724"/>
                  <a:gd name="connsiteX20" fmla="*/ 365760 w 918209"/>
                  <a:gd name="connsiteY20" fmla="*/ 158064 h 1628724"/>
                  <a:gd name="connsiteX21" fmla="*/ 299720 w 918209"/>
                  <a:gd name="connsiteY21" fmla="*/ 92024 h 1628724"/>
                  <a:gd name="connsiteX22" fmla="*/ 390606 w 918209"/>
                  <a:gd name="connsiteY22" fmla="*/ 164694 h 1628724"/>
                  <a:gd name="connsiteX23" fmla="*/ 410544 w 918209"/>
                  <a:gd name="connsiteY23" fmla="*/ 0 h 1628724"/>
                  <a:gd name="connsiteX24" fmla="*/ 399262 w 918209"/>
                  <a:gd name="connsiteY24" fmla="*/ 169022 h 1628724"/>
                  <a:gd name="connsiteX25" fmla="*/ 411479 w 918209"/>
                  <a:gd name="connsiteY25" fmla="*/ 219024 h 1628724"/>
                  <a:gd name="connsiteX26" fmla="*/ 502919 w 918209"/>
                  <a:gd name="connsiteY26" fmla="*/ 51384 h 1628724"/>
                  <a:gd name="connsiteX27" fmla="*/ 426719 w 918209"/>
                  <a:gd name="connsiteY27" fmla="*/ 254584 h 1628724"/>
                  <a:gd name="connsiteX28" fmla="*/ 474980 w 918209"/>
                  <a:gd name="connsiteY28" fmla="*/ 386664 h 1628724"/>
                  <a:gd name="connsiteX29" fmla="*/ 604519 w 918209"/>
                  <a:gd name="connsiteY29" fmla="*/ 163144 h 1628724"/>
                  <a:gd name="connsiteX30" fmla="*/ 574040 w 918209"/>
                  <a:gd name="connsiteY30" fmla="*/ 61544 h 1628724"/>
                  <a:gd name="connsiteX31" fmla="*/ 589279 w 918209"/>
                  <a:gd name="connsiteY31" fmla="*/ 31064 h 1628724"/>
                  <a:gd name="connsiteX32" fmla="*/ 632459 w 918209"/>
                  <a:gd name="connsiteY32" fmla="*/ 158064 h 1628724"/>
                  <a:gd name="connsiteX33" fmla="*/ 703579 w 918209"/>
                  <a:gd name="connsiteY33" fmla="*/ 100914 h 1628724"/>
                  <a:gd name="connsiteX34" fmla="*/ 745489 w 918209"/>
                  <a:gd name="connsiteY34" fmla="*/ 9474 h 1628724"/>
                  <a:gd name="connsiteX35" fmla="*/ 741679 w 918209"/>
                  <a:gd name="connsiteY35" fmla="*/ 104724 h 1628724"/>
                  <a:gd name="connsiteX36" fmla="*/ 918210 w 918209"/>
                  <a:gd name="connsiteY36" fmla="*/ 27254 h 1628724"/>
                  <a:gd name="connsiteX37" fmla="*/ 671829 w 918209"/>
                  <a:gd name="connsiteY37" fmla="*/ 175844 h 1628724"/>
                  <a:gd name="connsiteX38" fmla="*/ 631189 w 918209"/>
                  <a:gd name="connsiteY38" fmla="*/ 215214 h 1628724"/>
                  <a:gd name="connsiteX39" fmla="*/ 513080 w 918209"/>
                  <a:gd name="connsiteY39" fmla="*/ 424764 h 1628724"/>
                  <a:gd name="connsiteX40" fmla="*/ 485140 w 918209"/>
                  <a:gd name="connsiteY40" fmla="*/ 622884 h 1628724"/>
                  <a:gd name="connsiteX41" fmla="*/ 518445 w 918209"/>
                  <a:gd name="connsiteY41" fmla="*/ 846973 h 1628724"/>
                  <a:gd name="connsiteX42" fmla="*/ 658942 w 918209"/>
                  <a:gd name="connsiteY42" fmla="*/ 701366 h 1628724"/>
                  <a:gd name="connsiteX43" fmla="*/ 688339 w 918209"/>
                  <a:gd name="connsiteY43" fmla="*/ 579704 h 1628724"/>
                  <a:gd name="connsiteX44" fmla="*/ 721359 w 918209"/>
                  <a:gd name="connsiteY44" fmla="*/ 427304 h 1628724"/>
                  <a:gd name="connsiteX45" fmla="*/ 673099 w 918209"/>
                  <a:gd name="connsiteY45" fmla="*/ 368884 h 1628724"/>
                  <a:gd name="connsiteX46" fmla="*/ 723899 w 918209"/>
                  <a:gd name="connsiteY46" fmla="*/ 406984 h 1628724"/>
                  <a:gd name="connsiteX47" fmla="*/ 734060 w 918209"/>
                  <a:gd name="connsiteY47" fmla="*/ 346024 h 1628724"/>
                  <a:gd name="connsiteX48" fmla="*/ 759459 w 918209"/>
                  <a:gd name="connsiteY48" fmla="*/ 353644 h 1628724"/>
                  <a:gd name="connsiteX49" fmla="*/ 716279 w 918209"/>
                  <a:gd name="connsiteY49" fmla="*/ 561924 h 1628724"/>
                  <a:gd name="connsiteX50" fmla="*/ 876299 w 918209"/>
                  <a:gd name="connsiteY50" fmla="*/ 427304 h 1628724"/>
                  <a:gd name="connsiteX51" fmla="*/ 730483 w 918209"/>
                  <a:gd name="connsiteY51" fmla="*/ 590901 h 1628724"/>
                  <a:gd name="connsiteX52" fmla="*/ 712053 w 918209"/>
                  <a:gd name="connsiteY52" fmla="*/ 652513 h 1628724"/>
                  <a:gd name="connsiteX53" fmla="*/ 843097 w 918209"/>
                  <a:gd name="connsiteY53" fmla="*/ 545549 h 1628724"/>
                  <a:gd name="connsiteX54" fmla="*/ 872541 w 918209"/>
                  <a:gd name="connsiteY54" fmla="*/ 543761 h 1628724"/>
                  <a:gd name="connsiteX55" fmla="*/ 683077 w 918209"/>
                  <a:gd name="connsiteY55" fmla="*/ 727777 h 1628724"/>
                  <a:gd name="connsiteX56" fmla="*/ 513080 w 918209"/>
                  <a:gd name="connsiteY56" fmla="*/ 927684 h 1628724"/>
                  <a:gd name="connsiteX57" fmla="*/ 520700 w 918209"/>
                  <a:gd name="connsiteY57" fmla="*/ 1270584 h 1628724"/>
                  <a:gd name="connsiteX58" fmla="*/ 520700 w 918209"/>
                  <a:gd name="connsiteY58" fmla="*/ 1628724 h 1628724"/>
                  <a:gd name="connsiteX59" fmla="*/ 337820 w 918209"/>
                  <a:gd name="connsiteY59" fmla="*/ 1628724 h 1628724"/>
                  <a:gd name="connsiteX0" fmla="*/ 337820 w 918209"/>
                  <a:gd name="connsiteY0" fmla="*/ 1628724 h 1628724"/>
                  <a:gd name="connsiteX1" fmla="*/ 396240 w 918209"/>
                  <a:gd name="connsiteY1" fmla="*/ 1227404 h 1628724"/>
                  <a:gd name="connsiteX2" fmla="*/ 421640 w 918209"/>
                  <a:gd name="connsiteY2" fmla="*/ 942924 h 1628724"/>
                  <a:gd name="connsiteX3" fmla="*/ 414020 w 918209"/>
                  <a:gd name="connsiteY3" fmla="*/ 706704 h 1628724"/>
                  <a:gd name="connsiteX4" fmla="*/ 147320 w 918209"/>
                  <a:gd name="connsiteY4" fmla="*/ 554304 h 1628724"/>
                  <a:gd name="connsiteX5" fmla="*/ 96520 w 918209"/>
                  <a:gd name="connsiteY5" fmla="*/ 470484 h 1628724"/>
                  <a:gd name="connsiteX6" fmla="*/ 0 w 918209"/>
                  <a:gd name="connsiteY6" fmla="*/ 391744 h 1628724"/>
                  <a:gd name="connsiteX7" fmla="*/ 96520 w 918209"/>
                  <a:gd name="connsiteY7" fmla="*/ 434924 h 1628724"/>
                  <a:gd name="connsiteX8" fmla="*/ 109220 w 918209"/>
                  <a:gd name="connsiteY8" fmla="*/ 310464 h 1628724"/>
                  <a:gd name="connsiteX9" fmla="*/ 119379 w 918209"/>
                  <a:gd name="connsiteY9" fmla="*/ 447624 h 1628724"/>
                  <a:gd name="connsiteX10" fmla="*/ 177800 w 918209"/>
                  <a:gd name="connsiteY10" fmla="*/ 536524 h 1628724"/>
                  <a:gd name="connsiteX11" fmla="*/ 256539 w 918209"/>
                  <a:gd name="connsiteY11" fmla="*/ 569544 h 1628724"/>
                  <a:gd name="connsiteX12" fmla="*/ 259079 w 918209"/>
                  <a:gd name="connsiteY12" fmla="*/ 422224 h 1628724"/>
                  <a:gd name="connsiteX13" fmla="*/ 210819 w 918209"/>
                  <a:gd name="connsiteY13" fmla="*/ 328244 h 1628724"/>
                  <a:gd name="connsiteX14" fmla="*/ 271779 w 918209"/>
                  <a:gd name="connsiteY14" fmla="*/ 396824 h 1628724"/>
                  <a:gd name="connsiteX15" fmla="*/ 327659 w 918209"/>
                  <a:gd name="connsiteY15" fmla="*/ 315544 h 1628724"/>
                  <a:gd name="connsiteX16" fmla="*/ 279399 w 918209"/>
                  <a:gd name="connsiteY16" fmla="*/ 427304 h 1628724"/>
                  <a:gd name="connsiteX17" fmla="*/ 284479 w 918209"/>
                  <a:gd name="connsiteY17" fmla="*/ 579704 h 1628724"/>
                  <a:gd name="connsiteX18" fmla="*/ 406400 w 918209"/>
                  <a:gd name="connsiteY18" fmla="*/ 630504 h 1628724"/>
                  <a:gd name="connsiteX19" fmla="*/ 444500 w 918209"/>
                  <a:gd name="connsiteY19" fmla="*/ 409524 h 1628724"/>
                  <a:gd name="connsiteX20" fmla="*/ 365760 w 918209"/>
                  <a:gd name="connsiteY20" fmla="*/ 158064 h 1628724"/>
                  <a:gd name="connsiteX21" fmla="*/ 299720 w 918209"/>
                  <a:gd name="connsiteY21" fmla="*/ 92024 h 1628724"/>
                  <a:gd name="connsiteX22" fmla="*/ 390606 w 918209"/>
                  <a:gd name="connsiteY22" fmla="*/ 164694 h 1628724"/>
                  <a:gd name="connsiteX23" fmla="*/ 410544 w 918209"/>
                  <a:gd name="connsiteY23" fmla="*/ 0 h 1628724"/>
                  <a:gd name="connsiteX24" fmla="*/ 399262 w 918209"/>
                  <a:gd name="connsiteY24" fmla="*/ 169022 h 1628724"/>
                  <a:gd name="connsiteX25" fmla="*/ 411479 w 918209"/>
                  <a:gd name="connsiteY25" fmla="*/ 219024 h 1628724"/>
                  <a:gd name="connsiteX26" fmla="*/ 502919 w 918209"/>
                  <a:gd name="connsiteY26" fmla="*/ 51384 h 1628724"/>
                  <a:gd name="connsiteX27" fmla="*/ 426719 w 918209"/>
                  <a:gd name="connsiteY27" fmla="*/ 254584 h 1628724"/>
                  <a:gd name="connsiteX28" fmla="*/ 474980 w 918209"/>
                  <a:gd name="connsiteY28" fmla="*/ 386664 h 1628724"/>
                  <a:gd name="connsiteX29" fmla="*/ 604519 w 918209"/>
                  <a:gd name="connsiteY29" fmla="*/ 163144 h 1628724"/>
                  <a:gd name="connsiteX30" fmla="*/ 574040 w 918209"/>
                  <a:gd name="connsiteY30" fmla="*/ 61544 h 1628724"/>
                  <a:gd name="connsiteX31" fmla="*/ 589279 w 918209"/>
                  <a:gd name="connsiteY31" fmla="*/ 31064 h 1628724"/>
                  <a:gd name="connsiteX32" fmla="*/ 632459 w 918209"/>
                  <a:gd name="connsiteY32" fmla="*/ 158064 h 1628724"/>
                  <a:gd name="connsiteX33" fmla="*/ 703579 w 918209"/>
                  <a:gd name="connsiteY33" fmla="*/ 100914 h 1628724"/>
                  <a:gd name="connsiteX34" fmla="*/ 745489 w 918209"/>
                  <a:gd name="connsiteY34" fmla="*/ 9474 h 1628724"/>
                  <a:gd name="connsiteX35" fmla="*/ 741679 w 918209"/>
                  <a:gd name="connsiteY35" fmla="*/ 104724 h 1628724"/>
                  <a:gd name="connsiteX36" fmla="*/ 918210 w 918209"/>
                  <a:gd name="connsiteY36" fmla="*/ 27254 h 1628724"/>
                  <a:gd name="connsiteX37" fmla="*/ 671829 w 918209"/>
                  <a:gd name="connsiteY37" fmla="*/ 175844 h 1628724"/>
                  <a:gd name="connsiteX38" fmla="*/ 631189 w 918209"/>
                  <a:gd name="connsiteY38" fmla="*/ 215214 h 1628724"/>
                  <a:gd name="connsiteX39" fmla="*/ 513080 w 918209"/>
                  <a:gd name="connsiteY39" fmla="*/ 424764 h 1628724"/>
                  <a:gd name="connsiteX40" fmla="*/ 485140 w 918209"/>
                  <a:gd name="connsiteY40" fmla="*/ 622884 h 1628724"/>
                  <a:gd name="connsiteX41" fmla="*/ 496805 w 918209"/>
                  <a:gd name="connsiteY41" fmla="*/ 795037 h 1628724"/>
                  <a:gd name="connsiteX42" fmla="*/ 658942 w 918209"/>
                  <a:gd name="connsiteY42" fmla="*/ 701366 h 1628724"/>
                  <a:gd name="connsiteX43" fmla="*/ 688339 w 918209"/>
                  <a:gd name="connsiteY43" fmla="*/ 579704 h 1628724"/>
                  <a:gd name="connsiteX44" fmla="*/ 721359 w 918209"/>
                  <a:gd name="connsiteY44" fmla="*/ 427304 h 1628724"/>
                  <a:gd name="connsiteX45" fmla="*/ 673099 w 918209"/>
                  <a:gd name="connsiteY45" fmla="*/ 368884 h 1628724"/>
                  <a:gd name="connsiteX46" fmla="*/ 723899 w 918209"/>
                  <a:gd name="connsiteY46" fmla="*/ 406984 h 1628724"/>
                  <a:gd name="connsiteX47" fmla="*/ 734060 w 918209"/>
                  <a:gd name="connsiteY47" fmla="*/ 346024 h 1628724"/>
                  <a:gd name="connsiteX48" fmla="*/ 759459 w 918209"/>
                  <a:gd name="connsiteY48" fmla="*/ 353644 h 1628724"/>
                  <a:gd name="connsiteX49" fmla="*/ 716279 w 918209"/>
                  <a:gd name="connsiteY49" fmla="*/ 561924 h 1628724"/>
                  <a:gd name="connsiteX50" fmla="*/ 876299 w 918209"/>
                  <a:gd name="connsiteY50" fmla="*/ 427304 h 1628724"/>
                  <a:gd name="connsiteX51" fmla="*/ 730483 w 918209"/>
                  <a:gd name="connsiteY51" fmla="*/ 590901 h 1628724"/>
                  <a:gd name="connsiteX52" fmla="*/ 712053 w 918209"/>
                  <a:gd name="connsiteY52" fmla="*/ 652513 h 1628724"/>
                  <a:gd name="connsiteX53" fmla="*/ 843097 w 918209"/>
                  <a:gd name="connsiteY53" fmla="*/ 545549 h 1628724"/>
                  <a:gd name="connsiteX54" fmla="*/ 872541 w 918209"/>
                  <a:gd name="connsiteY54" fmla="*/ 543761 h 1628724"/>
                  <a:gd name="connsiteX55" fmla="*/ 683077 w 918209"/>
                  <a:gd name="connsiteY55" fmla="*/ 727777 h 1628724"/>
                  <a:gd name="connsiteX56" fmla="*/ 513080 w 918209"/>
                  <a:gd name="connsiteY56" fmla="*/ 927684 h 1628724"/>
                  <a:gd name="connsiteX57" fmla="*/ 520700 w 918209"/>
                  <a:gd name="connsiteY57" fmla="*/ 1270584 h 1628724"/>
                  <a:gd name="connsiteX58" fmla="*/ 520700 w 918209"/>
                  <a:gd name="connsiteY58" fmla="*/ 1628724 h 1628724"/>
                  <a:gd name="connsiteX59" fmla="*/ 337820 w 918209"/>
                  <a:gd name="connsiteY59" fmla="*/ 1628724 h 1628724"/>
                  <a:gd name="connsiteX0" fmla="*/ 337820 w 918209"/>
                  <a:gd name="connsiteY0" fmla="*/ 1628724 h 1628724"/>
                  <a:gd name="connsiteX1" fmla="*/ 396240 w 918209"/>
                  <a:gd name="connsiteY1" fmla="*/ 1227404 h 1628724"/>
                  <a:gd name="connsiteX2" fmla="*/ 421640 w 918209"/>
                  <a:gd name="connsiteY2" fmla="*/ 942924 h 1628724"/>
                  <a:gd name="connsiteX3" fmla="*/ 414020 w 918209"/>
                  <a:gd name="connsiteY3" fmla="*/ 706704 h 1628724"/>
                  <a:gd name="connsiteX4" fmla="*/ 147320 w 918209"/>
                  <a:gd name="connsiteY4" fmla="*/ 554304 h 1628724"/>
                  <a:gd name="connsiteX5" fmla="*/ 96520 w 918209"/>
                  <a:gd name="connsiteY5" fmla="*/ 470484 h 1628724"/>
                  <a:gd name="connsiteX6" fmla="*/ 0 w 918209"/>
                  <a:gd name="connsiteY6" fmla="*/ 391744 h 1628724"/>
                  <a:gd name="connsiteX7" fmla="*/ 96520 w 918209"/>
                  <a:gd name="connsiteY7" fmla="*/ 434924 h 1628724"/>
                  <a:gd name="connsiteX8" fmla="*/ 109220 w 918209"/>
                  <a:gd name="connsiteY8" fmla="*/ 310464 h 1628724"/>
                  <a:gd name="connsiteX9" fmla="*/ 119379 w 918209"/>
                  <a:gd name="connsiteY9" fmla="*/ 447624 h 1628724"/>
                  <a:gd name="connsiteX10" fmla="*/ 177800 w 918209"/>
                  <a:gd name="connsiteY10" fmla="*/ 536524 h 1628724"/>
                  <a:gd name="connsiteX11" fmla="*/ 256539 w 918209"/>
                  <a:gd name="connsiteY11" fmla="*/ 569544 h 1628724"/>
                  <a:gd name="connsiteX12" fmla="*/ 259079 w 918209"/>
                  <a:gd name="connsiteY12" fmla="*/ 422224 h 1628724"/>
                  <a:gd name="connsiteX13" fmla="*/ 210819 w 918209"/>
                  <a:gd name="connsiteY13" fmla="*/ 328244 h 1628724"/>
                  <a:gd name="connsiteX14" fmla="*/ 271779 w 918209"/>
                  <a:gd name="connsiteY14" fmla="*/ 396824 h 1628724"/>
                  <a:gd name="connsiteX15" fmla="*/ 327659 w 918209"/>
                  <a:gd name="connsiteY15" fmla="*/ 315544 h 1628724"/>
                  <a:gd name="connsiteX16" fmla="*/ 279399 w 918209"/>
                  <a:gd name="connsiteY16" fmla="*/ 427304 h 1628724"/>
                  <a:gd name="connsiteX17" fmla="*/ 284479 w 918209"/>
                  <a:gd name="connsiteY17" fmla="*/ 579704 h 1628724"/>
                  <a:gd name="connsiteX18" fmla="*/ 406400 w 918209"/>
                  <a:gd name="connsiteY18" fmla="*/ 630504 h 1628724"/>
                  <a:gd name="connsiteX19" fmla="*/ 444500 w 918209"/>
                  <a:gd name="connsiteY19" fmla="*/ 409524 h 1628724"/>
                  <a:gd name="connsiteX20" fmla="*/ 365760 w 918209"/>
                  <a:gd name="connsiteY20" fmla="*/ 158064 h 1628724"/>
                  <a:gd name="connsiteX21" fmla="*/ 299720 w 918209"/>
                  <a:gd name="connsiteY21" fmla="*/ 92024 h 1628724"/>
                  <a:gd name="connsiteX22" fmla="*/ 390606 w 918209"/>
                  <a:gd name="connsiteY22" fmla="*/ 164694 h 1628724"/>
                  <a:gd name="connsiteX23" fmla="*/ 410544 w 918209"/>
                  <a:gd name="connsiteY23" fmla="*/ 0 h 1628724"/>
                  <a:gd name="connsiteX24" fmla="*/ 399262 w 918209"/>
                  <a:gd name="connsiteY24" fmla="*/ 169022 h 1628724"/>
                  <a:gd name="connsiteX25" fmla="*/ 411479 w 918209"/>
                  <a:gd name="connsiteY25" fmla="*/ 219024 h 1628724"/>
                  <a:gd name="connsiteX26" fmla="*/ 502919 w 918209"/>
                  <a:gd name="connsiteY26" fmla="*/ 51384 h 1628724"/>
                  <a:gd name="connsiteX27" fmla="*/ 426719 w 918209"/>
                  <a:gd name="connsiteY27" fmla="*/ 254584 h 1628724"/>
                  <a:gd name="connsiteX28" fmla="*/ 474980 w 918209"/>
                  <a:gd name="connsiteY28" fmla="*/ 386664 h 1628724"/>
                  <a:gd name="connsiteX29" fmla="*/ 604519 w 918209"/>
                  <a:gd name="connsiteY29" fmla="*/ 163144 h 1628724"/>
                  <a:gd name="connsiteX30" fmla="*/ 574040 w 918209"/>
                  <a:gd name="connsiteY30" fmla="*/ 61544 h 1628724"/>
                  <a:gd name="connsiteX31" fmla="*/ 589279 w 918209"/>
                  <a:gd name="connsiteY31" fmla="*/ 31064 h 1628724"/>
                  <a:gd name="connsiteX32" fmla="*/ 632459 w 918209"/>
                  <a:gd name="connsiteY32" fmla="*/ 158064 h 1628724"/>
                  <a:gd name="connsiteX33" fmla="*/ 703579 w 918209"/>
                  <a:gd name="connsiteY33" fmla="*/ 100914 h 1628724"/>
                  <a:gd name="connsiteX34" fmla="*/ 745489 w 918209"/>
                  <a:gd name="connsiteY34" fmla="*/ 9474 h 1628724"/>
                  <a:gd name="connsiteX35" fmla="*/ 741679 w 918209"/>
                  <a:gd name="connsiteY35" fmla="*/ 104724 h 1628724"/>
                  <a:gd name="connsiteX36" fmla="*/ 918210 w 918209"/>
                  <a:gd name="connsiteY36" fmla="*/ 27254 h 1628724"/>
                  <a:gd name="connsiteX37" fmla="*/ 671829 w 918209"/>
                  <a:gd name="connsiteY37" fmla="*/ 175844 h 1628724"/>
                  <a:gd name="connsiteX38" fmla="*/ 631189 w 918209"/>
                  <a:gd name="connsiteY38" fmla="*/ 215214 h 1628724"/>
                  <a:gd name="connsiteX39" fmla="*/ 513080 w 918209"/>
                  <a:gd name="connsiteY39" fmla="*/ 424764 h 1628724"/>
                  <a:gd name="connsiteX40" fmla="*/ 485140 w 918209"/>
                  <a:gd name="connsiteY40" fmla="*/ 622884 h 1628724"/>
                  <a:gd name="connsiteX41" fmla="*/ 496805 w 918209"/>
                  <a:gd name="connsiteY41" fmla="*/ 795037 h 1628724"/>
                  <a:gd name="connsiteX42" fmla="*/ 658942 w 918209"/>
                  <a:gd name="connsiteY42" fmla="*/ 701366 h 1628724"/>
                  <a:gd name="connsiteX43" fmla="*/ 688339 w 918209"/>
                  <a:gd name="connsiteY43" fmla="*/ 579704 h 1628724"/>
                  <a:gd name="connsiteX44" fmla="*/ 721359 w 918209"/>
                  <a:gd name="connsiteY44" fmla="*/ 427304 h 1628724"/>
                  <a:gd name="connsiteX45" fmla="*/ 673099 w 918209"/>
                  <a:gd name="connsiteY45" fmla="*/ 368884 h 1628724"/>
                  <a:gd name="connsiteX46" fmla="*/ 723899 w 918209"/>
                  <a:gd name="connsiteY46" fmla="*/ 406984 h 1628724"/>
                  <a:gd name="connsiteX47" fmla="*/ 734060 w 918209"/>
                  <a:gd name="connsiteY47" fmla="*/ 346024 h 1628724"/>
                  <a:gd name="connsiteX48" fmla="*/ 759459 w 918209"/>
                  <a:gd name="connsiteY48" fmla="*/ 353644 h 1628724"/>
                  <a:gd name="connsiteX49" fmla="*/ 716279 w 918209"/>
                  <a:gd name="connsiteY49" fmla="*/ 561924 h 1628724"/>
                  <a:gd name="connsiteX50" fmla="*/ 876299 w 918209"/>
                  <a:gd name="connsiteY50" fmla="*/ 427304 h 1628724"/>
                  <a:gd name="connsiteX51" fmla="*/ 730483 w 918209"/>
                  <a:gd name="connsiteY51" fmla="*/ 590901 h 1628724"/>
                  <a:gd name="connsiteX52" fmla="*/ 712053 w 918209"/>
                  <a:gd name="connsiteY52" fmla="*/ 652513 h 1628724"/>
                  <a:gd name="connsiteX53" fmla="*/ 843097 w 918209"/>
                  <a:gd name="connsiteY53" fmla="*/ 545549 h 1628724"/>
                  <a:gd name="connsiteX54" fmla="*/ 872541 w 918209"/>
                  <a:gd name="connsiteY54" fmla="*/ 543761 h 1628724"/>
                  <a:gd name="connsiteX55" fmla="*/ 683077 w 918209"/>
                  <a:gd name="connsiteY55" fmla="*/ 727777 h 1628724"/>
                  <a:gd name="connsiteX56" fmla="*/ 500097 w 918209"/>
                  <a:gd name="connsiteY56" fmla="*/ 862763 h 1628724"/>
                  <a:gd name="connsiteX57" fmla="*/ 520700 w 918209"/>
                  <a:gd name="connsiteY57" fmla="*/ 1270584 h 1628724"/>
                  <a:gd name="connsiteX58" fmla="*/ 520700 w 918209"/>
                  <a:gd name="connsiteY58" fmla="*/ 1628724 h 1628724"/>
                  <a:gd name="connsiteX59" fmla="*/ 337820 w 918209"/>
                  <a:gd name="connsiteY59" fmla="*/ 1628724 h 1628724"/>
                  <a:gd name="connsiteX0" fmla="*/ 337820 w 918209"/>
                  <a:gd name="connsiteY0" fmla="*/ 1628724 h 1628724"/>
                  <a:gd name="connsiteX1" fmla="*/ 396240 w 918209"/>
                  <a:gd name="connsiteY1" fmla="*/ 1227404 h 1628724"/>
                  <a:gd name="connsiteX2" fmla="*/ 421640 w 918209"/>
                  <a:gd name="connsiteY2" fmla="*/ 942924 h 1628724"/>
                  <a:gd name="connsiteX3" fmla="*/ 414020 w 918209"/>
                  <a:gd name="connsiteY3" fmla="*/ 706704 h 1628724"/>
                  <a:gd name="connsiteX4" fmla="*/ 147320 w 918209"/>
                  <a:gd name="connsiteY4" fmla="*/ 554304 h 1628724"/>
                  <a:gd name="connsiteX5" fmla="*/ 96520 w 918209"/>
                  <a:gd name="connsiteY5" fmla="*/ 470484 h 1628724"/>
                  <a:gd name="connsiteX6" fmla="*/ 0 w 918209"/>
                  <a:gd name="connsiteY6" fmla="*/ 391744 h 1628724"/>
                  <a:gd name="connsiteX7" fmla="*/ 96520 w 918209"/>
                  <a:gd name="connsiteY7" fmla="*/ 434924 h 1628724"/>
                  <a:gd name="connsiteX8" fmla="*/ 109220 w 918209"/>
                  <a:gd name="connsiteY8" fmla="*/ 310464 h 1628724"/>
                  <a:gd name="connsiteX9" fmla="*/ 119379 w 918209"/>
                  <a:gd name="connsiteY9" fmla="*/ 447624 h 1628724"/>
                  <a:gd name="connsiteX10" fmla="*/ 177800 w 918209"/>
                  <a:gd name="connsiteY10" fmla="*/ 536524 h 1628724"/>
                  <a:gd name="connsiteX11" fmla="*/ 256539 w 918209"/>
                  <a:gd name="connsiteY11" fmla="*/ 569544 h 1628724"/>
                  <a:gd name="connsiteX12" fmla="*/ 259079 w 918209"/>
                  <a:gd name="connsiteY12" fmla="*/ 422224 h 1628724"/>
                  <a:gd name="connsiteX13" fmla="*/ 210819 w 918209"/>
                  <a:gd name="connsiteY13" fmla="*/ 328244 h 1628724"/>
                  <a:gd name="connsiteX14" fmla="*/ 271779 w 918209"/>
                  <a:gd name="connsiteY14" fmla="*/ 396824 h 1628724"/>
                  <a:gd name="connsiteX15" fmla="*/ 327659 w 918209"/>
                  <a:gd name="connsiteY15" fmla="*/ 315544 h 1628724"/>
                  <a:gd name="connsiteX16" fmla="*/ 279399 w 918209"/>
                  <a:gd name="connsiteY16" fmla="*/ 427304 h 1628724"/>
                  <a:gd name="connsiteX17" fmla="*/ 284479 w 918209"/>
                  <a:gd name="connsiteY17" fmla="*/ 579704 h 1628724"/>
                  <a:gd name="connsiteX18" fmla="*/ 406400 w 918209"/>
                  <a:gd name="connsiteY18" fmla="*/ 630504 h 1628724"/>
                  <a:gd name="connsiteX19" fmla="*/ 444500 w 918209"/>
                  <a:gd name="connsiteY19" fmla="*/ 409524 h 1628724"/>
                  <a:gd name="connsiteX20" fmla="*/ 365760 w 918209"/>
                  <a:gd name="connsiteY20" fmla="*/ 158064 h 1628724"/>
                  <a:gd name="connsiteX21" fmla="*/ 299720 w 918209"/>
                  <a:gd name="connsiteY21" fmla="*/ 92024 h 1628724"/>
                  <a:gd name="connsiteX22" fmla="*/ 390606 w 918209"/>
                  <a:gd name="connsiteY22" fmla="*/ 164694 h 1628724"/>
                  <a:gd name="connsiteX23" fmla="*/ 410544 w 918209"/>
                  <a:gd name="connsiteY23" fmla="*/ 0 h 1628724"/>
                  <a:gd name="connsiteX24" fmla="*/ 399262 w 918209"/>
                  <a:gd name="connsiteY24" fmla="*/ 169022 h 1628724"/>
                  <a:gd name="connsiteX25" fmla="*/ 411479 w 918209"/>
                  <a:gd name="connsiteY25" fmla="*/ 219024 h 1628724"/>
                  <a:gd name="connsiteX26" fmla="*/ 502919 w 918209"/>
                  <a:gd name="connsiteY26" fmla="*/ 51384 h 1628724"/>
                  <a:gd name="connsiteX27" fmla="*/ 426719 w 918209"/>
                  <a:gd name="connsiteY27" fmla="*/ 254584 h 1628724"/>
                  <a:gd name="connsiteX28" fmla="*/ 474980 w 918209"/>
                  <a:gd name="connsiteY28" fmla="*/ 386664 h 1628724"/>
                  <a:gd name="connsiteX29" fmla="*/ 604519 w 918209"/>
                  <a:gd name="connsiteY29" fmla="*/ 163144 h 1628724"/>
                  <a:gd name="connsiteX30" fmla="*/ 574040 w 918209"/>
                  <a:gd name="connsiteY30" fmla="*/ 61544 h 1628724"/>
                  <a:gd name="connsiteX31" fmla="*/ 589279 w 918209"/>
                  <a:gd name="connsiteY31" fmla="*/ 31064 h 1628724"/>
                  <a:gd name="connsiteX32" fmla="*/ 632459 w 918209"/>
                  <a:gd name="connsiteY32" fmla="*/ 158064 h 1628724"/>
                  <a:gd name="connsiteX33" fmla="*/ 703579 w 918209"/>
                  <a:gd name="connsiteY33" fmla="*/ 100914 h 1628724"/>
                  <a:gd name="connsiteX34" fmla="*/ 745489 w 918209"/>
                  <a:gd name="connsiteY34" fmla="*/ 9474 h 1628724"/>
                  <a:gd name="connsiteX35" fmla="*/ 741679 w 918209"/>
                  <a:gd name="connsiteY35" fmla="*/ 104724 h 1628724"/>
                  <a:gd name="connsiteX36" fmla="*/ 918210 w 918209"/>
                  <a:gd name="connsiteY36" fmla="*/ 27254 h 1628724"/>
                  <a:gd name="connsiteX37" fmla="*/ 671829 w 918209"/>
                  <a:gd name="connsiteY37" fmla="*/ 175844 h 1628724"/>
                  <a:gd name="connsiteX38" fmla="*/ 631189 w 918209"/>
                  <a:gd name="connsiteY38" fmla="*/ 215214 h 1628724"/>
                  <a:gd name="connsiteX39" fmla="*/ 513080 w 918209"/>
                  <a:gd name="connsiteY39" fmla="*/ 424764 h 1628724"/>
                  <a:gd name="connsiteX40" fmla="*/ 485140 w 918209"/>
                  <a:gd name="connsiteY40" fmla="*/ 622884 h 1628724"/>
                  <a:gd name="connsiteX41" fmla="*/ 496805 w 918209"/>
                  <a:gd name="connsiteY41" fmla="*/ 795037 h 1628724"/>
                  <a:gd name="connsiteX42" fmla="*/ 658942 w 918209"/>
                  <a:gd name="connsiteY42" fmla="*/ 701366 h 1628724"/>
                  <a:gd name="connsiteX43" fmla="*/ 688339 w 918209"/>
                  <a:gd name="connsiteY43" fmla="*/ 579704 h 1628724"/>
                  <a:gd name="connsiteX44" fmla="*/ 721359 w 918209"/>
                  <a:gd name="connsiteY44" fmla="*/ 427304 h 1628724"/>
                  <a:gd name="connsiteX45" fmla="*/ 673099 w 918209"/>
                  <a:gd name="connsiteY45" fmla="*/ 368884 h 1628724"/>
                  <a:gd name="connsiteX46" fmla="*/ 723899 w 918209"/>
                  <a:gd name="connsiteY46" fmla="*/ 406984 h 1628724"/>
                  <a:gd name="connsiteX47" fmla="*/ 734060 w 918209"/>
                  <a:gd name="connsiteY47" fmla="*/ 346024 h 1628724"/>
                  <a:gd name="connsiteX48" fmla="*/ 759459 w 918209"/>
                  <a:gd name="connsiteY48" fmla="*/ 353644 h 1628724"/>
                  <a:gd name="connsiteX49" fmla="*/ 716279 w 918209"/>
                  <a:gd name="connsiteY49" fmla="*/ 561924 h 1628724"/>
                  <a:gd name="connsiteX50" fmla="*/ 876299 w 918209"/>
                  <a:gd name="connsiteY50" fmla="*/ 427304 h 1628724"/>
                  <a:gd name="connsiteX51" fmla="*/ 730483 w 918209"/>
                  <a:gd name="connsiteY51" fmla="*/ 590901 h 1628724"/>
                  <a:gd name="connsiteX52" fmla="*/ 712053 w 918209"/>
                  <a:gd name="connsiteY52" fmla="*/ 652513 h 1628724"/>
                  <a:gd name="connsiteX53" fmla="*/ 843097 w 918209"/>
                  <a:gd name="connsiteY53" fmla="*/ 545549 h 1628724"/>
                  <a:gd name="connsiteX54" fmla="*/ 872541 w 918209"/>
                  <a:gd name="connsiteY54" fmla="*/ 543761 h 1628724"/>
                  <a:gd name="connsiteX55" fmla="*/ 683077 w 918209"/>
                  <a:gd name="connsiteY55" fmla="*/ 727777 h 1628724"/>
                  <a:gd name="connsiteX56" fmla="*/ 500097 w 918209"/>
                  <a:gd name="connsiteY56" fmla="*/ 862763 h 1628724"/>
                  <a:gd name="connsiteX57" fmla="*/ 481488 w 918209"/>
                  <a:gd name="connsiteY57" fmla="*/ 1287390 h 1628724"/>
                  <a:gd name="connsiteX58" fmla="*/ 520700 w 918209"/>
                  <a:gd name="connsiteY58" fmla="*/ 1628724 h 1628724"/>
                  <a:gd name="connsiteX59" fmla="*/ 337820 w 918209"/>
                  <a:gd name="connsiteY59" fmla="*/ 1628724 h 1628724"/>
                  <a:gd name="connsiteX0" fmla="*/ 337820 w 918209"/>
                  <a:gd name="connsiteY0" fmla="*/ 1628724 h 1628724"/>
                  <a:gd name="connsiteX1" fmla="*/ 396240 w 918209"/>
                  <a:gd name="connsiteY1" fmla="*/ 1227404 h 1628724"/>
                  <a:gd name="connsiteX2" fmla="*/ 421640 w 918209"/>
                  <a:gd name="connsiteY2" fmla="*/ 942924 h 1628724"/>
                  <a:gd name="connsiteX3" fmla="*/ 414020 w 918209"/>
                  <a:gd name="connsiteY3" fmla="*/ 706704 h 1628724"/>
                  <a:gd name="connsiteX4" fmla="*/ 147320 w 918209"/>
                  <a:gd name="connsiteY4" fmla="*/ 554304 h 1628724"/>
                  <a:gd name="connsiteX5" fmla="*/ 96520 w 918209"/>
                  <a:gd name="connsiteY5" fmla="*/ 470484 h 1628724"/>
                  <a:gd name="connsiteX6" fmla="*/ 0 w 918209"/>
                  <a:gd name="connsiteY6" fmla="*/ 391744 h 1628724"/>
                  <a:gd name="connsiteX7" fmla="*/ 96520 w 918209"/>
                  <a:gd name="connsiteY7" fmla="*/ 434924 h 1628724"/>
                  <a:gd name="connsiteX8" fmla="*/ 109220 w 918209"/>
                  <a:gd name="connsiteY8" fmla="*/ 310464 h 1628724"/>
                  <a:gd name="connsiteX9" fmla="*/ 119379 w 918209"/>
                  <a:gd name="connsiteY9" fmla="*/ 447624 h 1628724"/>
                  <a:gd name="connsiteX10" fmla="*/ 177800 w 918209"/>
                  <a:gd name="connsiteY10" fmla="*/ 536524 h 1628724"/>
                  <a:gd name="connsiteX11" fmla="*/ 256539 w 918209"/>
                  <a:gd name="connsiteY11" fmla="*/ 569544 h 1628724"/>
                  <a:gd name="connsiteX12" fmla="*/ 259079 w 918209"/>
                  <a:gd name="connsiteY12" fmla="*/ 422224 h 1628724"/>
                  <a:gd name="connsiteX13" fmla="*/ 210819 w 918209"/>
                  <a:gd name="connsiteY13" fmla="*/ 328244 h 1628724"/>
                  <a:gd name="connsiteX14" fmla="*/ 271779 w 918209"/>
                  <a:gd name="connsiteY14" fmla="*/ 396824 h 1628724"/>
                  <a:gd name="connsiteX15" fmla="*/ 327659 w 918209"/>
                  <a:gd name="connsiteY15" fmla="*/ 315544 h 1628724"/>
                  <a:gd name="connsiteX16" fmla="*/ 279399 w 918209"/>
                  <a:gd name="connsiteY16" fmla="*/ 427304 h 1628724"/>
                  <a:gd name="connsiteX17" fmla="*/ 284479 w 918209"/>
                  <a:gd name="connsiteY17" fmla="*/ 579704 h 1628724"/>
                  <a:gd name="connsiteX18" fmla="*/ 406400 w 918209"/>
                  <a:gd name="connsiteY18" fmla="*/ 630504 h 1628724"/>
                  <a:gd name="connsiteX19" fmla="*/ 444500 w 918209"/>
                  <a:gd name="connsiteY19" fmla="*/ 409524 h 1628724"/>
                  <a:gd name="connsiteX20" fmla="*/ 365760 w 918209"/>
                  <a:gd name="connsiteY20" fmla="*/ 158064 h 1628724"/>
                  <a:gd name="connsiteX21" fmla="*/ 299720 w 918209"/>
                  <a:gd name="connsiteY21" fmla="*/ 92024 h 1628724"/>
                  <a:gd name="connsiteX22" fmla="*/ 390606 w 918209"/>
                  <a:gd name="connsiteY22" fmla="*/ 164694 h 1628724"/>
                  <a:gd name="connsiteX23" fmla="*/ 410544 w 918209"/>
                  <a:gd name="connsiteY23" fmla="*/ 0 h 1628724"/>
                  <a:gd name="connsiteX24" fmla="*/ 399262 w 918209"/>
                  <a:gd name="connsiteY24" fmla="*/ 169022 h 1628724"/>
                  <a:gd name="connsiteX25" fmla="*/ 411479 w 918209"/>
                  <a:gd name="connsiteY25" fmla="*/ 219024 h 1628724"/>
                  <a:gd name="connsiteX26" fmla="*/ 502919 w 918209"/>
                  <a:gd name="connsiteY26" fmla="*/ 51384 h 1628724"/>
                  <a:gd name="connsiteX27" fmla="*/ 426719 w 918209"/>
                  <a:gd name="connsiteY27" fmla="*/ 254584 h 1628724"/>
                  <a:gd name="connsiteX28" fmla="*/ 474980 w 918209"/>
                  <a:gd name="connsiteY28" fmla="*/ 386664 h 1628724"/>
                  <a:gd name="connsiteX29" fmla="*/ 604519 w 918209"/>
                  <a:gd name="connsiteY29" fmla="*/ 163144 h 1628724"/>
                  <a:gd name="connsiteX30" fmla="*/ 574040 w 918209"/>
                  <a:gd name="connsiteY30" fmla="*/ 61544 h 1628724"/>
                  <a:gd name="connsiteX31" fmla="*/ 589279 w 918209"/>
                  <a:gd name="connsiteY31" fmla="*/ 31064 h 1628724"/>
                  <a:gd name="connsiteX32" fmla="*/ 632459 w 918209"/>
                  <a:gd name="connsiteY32" fmla="*/ 158064 h 1628724"/>
                  <a:gd name="connsiteX33" fmla="*/ 703579 w 918209"/>
                  <a:gd name="connsiteY33" fmla="*/ 100914 h 1628724"/>
                  <a:gd name="connsiteX34" fmla="*/ 745489 w 918209"/>
                  <a:gd name="connsiteY34" fmla="*/ 9474 h 1628724"/>
                  <a:gd name="connsiteX35" fmla="*/ 741679 w 918209"/>
                  <a:gd name="connsiteY35" fmla="*/ 104724 h 1628724"/>
                  <a:gd name="connsiteX36" fmla="*/ 918210 w 918209"/>
                  <a:gd name="connsiteY36" fmla="*/ 27254 h 1628724"/>
                  <a:gd name="connsiteX37" fmla="*/ 671829 w 918209"/>
                  <a:gd name="connsiteY37" fmla="*/ 175844 h 1628724"/>
                  <a:gd name="connsiteX38" fmla="*/ 631189 w 918209"/>
                  <a:gd name="connsiteY38" fmla="*/ 215214 h 1628724"/>
                  <a:gd name="connsiteX39" fmla="*/ 513080 w 918209"/>
                  <a:gd name="connsiteY39" fmla="*/ 424764 h 1628724"/>
                  <a:gd name="connsiteX40" fmla="*/ 485140 w 918209"/>
                  <a:gd name="connsiteY40" fmla="*/ 622884 h 1628724"/>
                  <a:gd name="connsiteX41" fmla="*/ 496805 w 918209"/>
                  <a:gd name="connsiteY41" fmla="*/ 795037 h 1628724"/>
                  <a:gd name="connsiteX42" fmla="*/ 658942 w 918209"/>
                  <a:gd name="connsiteY42" fmla="*/ 701366 h 1628724"/>
                  <a:gd name="connsiteX43" fmla="*/ 688339 w 918209"/>
                  <a:gd name="connsiteY43" fmla="*/ 579704 h 1628724"/>
                  <a:gd name="connsiteX44" fmla="*/ 721359 w 918209"/>
                  <a:gd name="connsiteY44" fmla="*/ 427304 h 1628724"/>
                  <a:gd name="connsiteX45" fmla="*/ 673099 w 918209"/>
                  <a:gd name="connsiteY45" fmla="*/ 368884 h 1628724"/>
                  <a:gd name="connsiteX46" fmla="*/ 723899 w 918209"/>
                  <a:gd name="connsiteY46" fmla="*/ 406984 h 1628724"/>
                  <a:gd name="connsiteX47" fmla="*/ 734060 w 918209"/>
                  <a:gd name="connsiteY47" fmla="*/ 346024 h 1628724"/>
                  <a:gd name="connsiteX48" fmla="*/ 759459 w 918209"/>
                  <a:gd name="connsiteY48" fmla="*/ 353644 h 1628724"/>
                  <a:gd name="connsiteX49" fmla="*/ 716279 w 918209"/>
                  <a:gd name="connsiteY49" fmla="*/ 561924 h 1628724"/>
                  <a:gd name="connsiteX50" fmla="*/ 876299 w 918209"/>
                  <a:gd name="connsiteY50" fmla="*/ 427304 h 1628724"/>
                  <a:gd name="connsiteX51" fmla="*/ 730483 w 918209"/>
                  <a:gd name="connsiteY51" fmla="*/ 590901 h 1628724"/>
                  <a:gd name="connsiteX52" fmla="*/ 712053 w 918209"/>
                  <a:gd name="connsiteY52" fmla="*/ 652513 h 1628724"/>
                  <a:gd name="connsiteX53" fmla="*/ 843097 w 918209"/>
                  <a:gd name="connsiteY53" fmla="*/ 545549 h 1628724"/>
                  <a:gd name="connsiteX54" fmla="*/ 872541 w 918209"/>
                  <a:gd name="connsiteY54" fmla="*/ 543761 h 1628724"/>
                  <a:gd name="connsiteX55" fmla="*/ 683077 w 918209"/>
                  <a:gd name="connsiteY55" fmla="*/ 727777 h 1628724"/>
                  <a:gd name="connsiteX56" fmla="*/ 500097 w 918209"/>
                  <a:gd name="connsiteY56" fmla="*/ 862763 h 1628724"/>
                  <a:gd name="connsiteX57" fmla="*/ 481488 w 918209"/>
                  <a:gd name="connsiteY57" fmla="*/ 1287390 h 1628724"/>
                  <a:gd name="connsiteX58" fmla="*/ 481488 w 918209"/>
                  <a:gd name="connsiteY58" fmla="*/ 1628724 h 1628724"/>
                  <a:gd name="connsiteX59" fmla="*/ 337820 w 918209"/>
                  <a:gd name="connsiteY59" fmla="*/ 1628724 h 1628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18209" h="1628724">
                    <a:moveTo>
                      <a:pt x="337820" y="1628724"/>
                    </a:moveTo>
                    <a:lnTo>
                      <a:pt x="396240" y="1227404"/>
                    </a:lnTo>
                    <a:lnTo>
                      <a:pt x="421640" y="942924"/>
                    </a:lnTo>
                    <a:lnTo>
                      <a:pt x="414020" y="706704"/>
                    </a:lnTo>
                    <a:lnTo>
                      <a:pt x="147320" y="554304"/>
                    </a:lnTo>
                    <a:lnTo>
                      <a:pt x="96520" y="470484"/>
                    </a:lnTo>
                    <a:lnTo>
                      <a:pt x="0" y="391744"/>
                    </a:lnTo>
                    <a:lnTo>
                      <a:pt x="96520" y="434924"/>
                    </a:lnTo>
                    <a:lnTo>
                      <a:pt x="109220" y="310464"/>
                    </a:lnTo>
                    <a:cubicBezTo>
                      <a:pt x="110066" y="358724"/>
                      <a:pt x="118533" y="399364"/>
                      <a:pt x="119379" y="447624"/>
                    </a:cubicBezTo>
                    <a:lnTo>
                      <a:pt x="177800" y="536524"/>
                    </a:lnTo>
                    <a:lnTo>
                      <a:pt x="256539" y="569544"/>
                    </a:lnTo>
                    <a:cubicBezTo>
                      <a:pt x="257386" y="525517"/>
                      <a:pt x="258232" y="466251"/>
                      <a:pt x="259079" y="422224"/>
                    </a:cubicBezTo>
                    <a:lnTo>
                      <a:pt x="210819" y="328244"/>
                    </a:lnTo>
                    <a:lnTo>
                      <a:pt x="271779" y="396824"/>
                    </a:lnTo>
                    <a:lnTo>
                      <a:pt x="327659" y="315544"/>
                    </a:lnTo>
                    <a:lnTo>
                      <a:pt x="279399" y="427304"/>
                    </a:lnTo>
                    <a:lnTo>
                      <a:pt x="284479" y="579704"/>
                    </a:lnTo>
                    <a:lnTo>
                      <a:pt x="406400" y="630504"/>
                    </a:lnTo>
                    <a:lnTo>
                      <a:pt x="444500" y="409524"/>
                    </a:lnTo>
                    <a:lnTo>
                      <a:pt x="365760" y="158064"/>
                    </a:lnTo>
                    <a:lnTo>
                      <a:pt x="299720" y="92024"/>
                    </a:lnTo>
                    <a:lnTo>
                      <a:pt x="390606" y="164694"/>
                    </a:lnTo>
                    <a:lnTo>
                      <a:pt x="410544" y="0"/>
                    </a:lnTo>
                    <a:lnTo>
                      <a:pt x="399262" y="169022"/>
                    </a:lnTo>
                    <a:lnTo>
                      <a:pt x="411479" y="219024"/>
                    </a:lnTo>
                    <a:lnTo>
                      <a:pt x="502919" y="51384"/>
                    </a:lnTo>
                    <a:lnTo>
                      <a:pt x="426719" y="254584"/>
                    </a:lnTo>
                    <a:lnTo>
                      <a:pt x="474980" y="386664"/>
                    </a:lnTo>
                    <a:lnTo>
                      <a:pt x="604519" y="163144"/>
                    </a:lnTo>
                    <a:lnTo>
                      <a:pt x="574040" y="61544"/>
                    </a:lnTo>
                    <a:lnTo>
                      <a:pt x="589279" y="31064"/>
                    </a:lnTo>
                    <a:lnTo>
                      <a:pt x="632459" y="158064"/>
                    </a:lnTo>
                    <a:lnTo>
                      <a:pt x="703579" y="100914"/>
                    </a:lnTo>
                    <a:lnTo>
                      <a:pt x="745489" y="9474"/>
                    </a:lnTo>
                    <a:lnTo>
                      <a:pt x="741679" y="104724"/>
                    </a:lnTo>
                    <a:lnTo>
                      <a:pt x="918210" y="27254"/>
                    </a:lnTo>
                    <a:lnTo>
                      <a:pt x="671829" y="175844"/>
                    </a:lnTo>
                    <a:lnTo>
                      <a:pt x="631189" y="215214"/>
                    </a:lnTo>
                    <a:lnTo>
                      <a:pt x="513080" y="424764"/>
                    </a:lnTo>
                    <a:lnTo>
                      <a:pt x="485140" y="622884"/>
                    </a:lnTo>
                    <a:lnTo>
                      <a:pt x="496805" y="795037"/>
                    </a:lnTo>
                    <a:lnTo>
                      <a:pt x="658942" y="701366"/>
                    </a:lnTo>
                    <a:lnTo>
                      <a:pt x="688339" y="579704"/>
                    </a:lnTo>
                    <a:lnTo>
                      <a:pt x="721359" y="427304"/>
                    </a:lnTo>
                    <a:lnTo>
                      <a:pt x="673099" y="368884"/>
                    </a:lnTo>
                    <a:lnTo>
                      <a:pt x="723899" y="406984"/>
                    </a:lnTo>
                    <a:lnTo>
                      <a:pt x="734060" y="346024"/>
                    </a:lnTo>
                    <a:lnTo>
                      <a:pt x="759459" y="353644"/>
                    </a:lnTo>
                    <a:lnTo>
                      <a:pt x="716279" y="561924"/>
                    </a:lnTo>
                    <a:lnTo>
                      <a:pt x="876299" y="427304"/>
                    </a:lnTo>
                    <a:lnTo>
                      <a:pt x="730483" y="590901"/>
                    </a:lnTo>
                    <a:lnTo>
                      <a:pt x="712053" y="652513"/>
                    </a:lnTo>
                    <a:cubicBezTo>
                      <a:pt x="750153" y="642353"/>
                      <a:pt x="816349" y="563674"/>
                      <a:pt x="843097" y="545549"/>
                    </a:cubicBezTo>
                    <a:cubicBezTo>
                      <a:pt x="869845" y="527424"/>
                      <a:pt x="899211" y="529791"/>
                      <a:pt x="872541" y="543761"/>
                    </a:cubicBezTo>
                    <a:lnTo>
                      <a:pt x="683077" y="727777"/>
                    </a:lnTo>
                    <a:lnTo>
                      <a:pt x="500097" y="862763"/>
                    </a:lnTo>
                    <a:lnTo>
                      <a:pt x="481488" y="1287390"/>
                    </a:lnTo>
                    <a:lnTo>
                      <a:pt x="481488" y="1628724"/>
                    </a:lnTo>
                    <a:lnTo>
                      <a:pt x="337820" y="1628724"/>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816" name="Group 815"/>
            <p:cNvGrpSpPr/>
            <p:nvPr/>
          </p:nvGrpSpPr>
          <p:grpSpPr bwMode="gray">
            <a:xfrm>
              <a:off x="10978998" y="4903226"/>
              <a:ext cx="426084" cy="591307"/>
              <a:chOff x="10434105" y="4538294"/>
              <a:chExt cx="672574" cy="933379"/>
            </a:xfrm>
            <a:grpFill/>
          </p:grpSpPr>
          <p:sp>
            <p:nvSpPr>
              <p:cNvPr id="817" name="Cloud 1179"/>
              <p:cNvSpPr/>
              <p:nvPr/>
            </p:nvSpPr>
            <p:spPr bwMode="gray">
              <a:xfrm>
                <a:off x="10434105" y="4538294"/>
                <a:ext cx="672574" cy="515293"/>
              </a:xfrm>
              <a:custGeom>
                <a:avLst/>
                <a:gdLst/>
                <a:ahLst/>
                <a:cxnLst/>
                <a:rect l="l" t="t" r="r" b="b"/>
                <a:pathLst>
                  <a:path w="1528032" h="977696">
                    <a:moveTo>
                      <a:pt x="1200568" y="732"/>
                    </a:moveTo>
                    <a:cubicBezTo>
                      <a:pt x="1218647" y="2066"/>
                      <a:pt x="1236689" y="5916"/>
                      <a:pt x="1254016" y="12419"/>
                    </a:cubicBezTo>
                    <a:cubicBezTo>
                      <a:pt x="1284671" y="23922"/>
                      <a:pt x="1310291" y="42727"/>
                      <a:pt x="1327535" y="66765"/>
                    </a:cubicBezTo>
                    <a:cubicBezTo>
                      <a:pt x="1365022" y="81912"/>
                      <a:pt x="1396218" y="110586"/>
                      <a:pt x="1413703" y="148559"/>
                    </a:cubicBezTo>
                    <a:cubicBezTo>
                      <a:pt x="1446747" y="167553"/>
                      <a:pt x="1471529" y="196342"/>
                      <a:pt x="1484299" y="230222"/>
                    </a:cubicBezTo>
                    <a:cubicBezTo>
                      <a:pt x="1492823" y="252808"/>
                      <a:pt x="1495573" y="276549"/>
                      <a:pt x="1490783" y="299582"/>
                    </a:cubicBezTo>
                    <a:cubicBezTo>
                      <a:pt x="1515175" y="329377"/>
                      <a:pt x="1528032" y="368445"/>
                      <a:pt x="1528032" y="410731"/>
                    </a:cubicBezTo>
                    <a:lnTo>
                      <a:pt x="1523450" y="435043"/>
                    </a:lnTo>
                    <a:cubicBezTo>
                      <a:pt x="1530224" y="464242"/>
                      <a:pt x="1529366" y="494745"/>
                      <a:pt x="1520825" y="524395"/>
                    </a:cubicBezTo>
                    <a:cubicBezTo>
                      <a:pt x="1506698" y="573436"/>
                      <a:pt x="1473089" y="615128"/>
                      <a:pt x="1426664" y="641457"/>
                    </a:cubicBezTo>
                    <a:cubicBezTo>
                      <a:pt x="1411001" y="712588"/>
                      <a:pt x="1355617" y="766384"/>
                      <a:pt x="1287012" y="777650"/>
                    </a:cubicBezTo>
                    <a:cubicBezTo>
                      <a:pt x="1277597" y="791145"/>
                      <a:pt x="1265514" y="803047"/>
                      <a:pt x="1251614" y="813478"/>
                    </a:cubicBezTo>
                    <a:cubicBezTo>
                      <a:pt x="1200172" y="852086"/>
                      <a:pt x="1131379" y="865161"/>
                      <a:pt x="1068086" y="850881"/>
                    </a:cubicBezTo>
                    <a:cubicBezTo>
                      <a:pt x="1045737" y="863519"/>
                      <a:pt x="1020157" y="869956"/>
                      <a:pt x="993173" y="869956"/>
                    </a:cubicBezTo>
                    <a:lnTo>
                      <a:pt x="989317" y="869540"/>
                    </a:lnTo>
                    <a:cubicBezTo>
                      <a:pt x="958319" y="920808"/>
                      <a:pt x="903131" y="958155"/>
                      <a:pt x="837325" y="971943"/>
                    </a:cubicBezTo>
                    <a:cubicBezTo>
                      <a:pt x="740281" y="992274"/>
                      <a:pt x="639001" y="957644"/>
                      <a:pt x="583505" y="885133"/>
                    </a:cubicBezTo>
                    <a:lnTo>
                      <a:pt x="583236" y="885162"/>
                    </a:lnTo>
                    <a:cubicBezTo>
                      <a:pt x="452288" y="953897"/>
                      <a:pt x="282297" y="915172"/>
                      <a:pt x="206317" y="799249"/>
                    </a:cubicBezTo>
                    <a:cubicBezTo>
                      <a:pt x="131640" y="806872"/>
                      <a:pt x="61521" y="766493"/>
                      <a:pt x="40502" y="703740"/>
                    </a:cubicBezTo>
                    <a:cubicBezTo>
                      <a:pt x="25277" y="658338"/>
                      <a:pt x="38736" y="609339"/>
                      <a:pt x="75933" y="574819"/>
                    </a:cubicBezTo>
                    <a:cubicBezTo>
                      <a:pt x="23158" y="547740"/>
                      <a:pt x="-6233" y="495778"/>
                      <a:pt x="1115" y="442549"/>
                    </a:cubicBezTo>
                    <a:cubicBezTo>
                      <a:pt x="9464" y="382184"/>
                      <a:pt x="62950" y="334488"/>
                      <a:pt x="131192" y="326593"/>
                    </a:cubicBezTo>
                    <a:lnTo>
                      <a:pt x="138848" y="314428"/>
                    </a:lnTo>
                    <a:cubicBezTo>
                      <a:pt x="131313" y="255586"/>
                      <a:pt x="153736" y="196796"/>
                      <a:pt x="199923" y="153059"/>
                    </a:cubicBezTo>
                    <a:cubicBezTo>
                      <a:pt x="275942" y="81099"/>
                      <a:pt x="399191" y="65060"/>
                      <a:pt x="496016" y="114489"/>
                    </a:cubicBezTo>
                    <a:cubicBezTo>
                      <a:pt x="551025" y="24093"/>
                      <a:pt x="684477" y="454"/>
                      <a:pt x="774415" y="60867"/>
                    </a:cubicBezTo>
                    <a:cubicBezTo>
                      <a:pt x="780595" y="59181"/>
                      <a:pt x="786985" y="58811"/>
                      <a:pt x="793455" y="58811"/>
                    </a:cubicBezTo>
                    <a:lnTo>
                      <a:pt x="805429" y="60104"/>
                    </a:lnTo>
                    <a:cubicBezTo>
                      <a:pt x="828785" y="28032"/>
                      <a:pt x="867299" y="6715"/>
                      <a:pt x="910871" y="1335"/>
                    </a:cubicBezTo>
                    <a:cubicBezTo>
                      <a:pt x="952869" y="-3859"/>
                      <a:pt x="994827" y="6295"/>
                      <a:pt x="1027290" y="28632"/>
                    </a:cubicBezTo>
                    <a:cubicBezTo>
                      <a:pt x="1032560" y="27149"/>
                      <a:pt x="1037991" y="26883"/>
                      <a:pt x="1043481" y="26883"/>
                    </a:cubicBezTo>
                    <a:cubicBezTo>
                      <a:pt x="1056629" y="26883"/>
                      <a:pt x="1069444" y="28411"/>
                      <a:pt x="1081723" y="31551"/>
                    </a:cubicBezTo>
                    <a:cubicBezTo>
                      <a:pt x="1115514" y="8324"/>
                      <a:pt x="1158144" y="-2399"/>
                      <a:pt x="1200568" y="732"/>
                    </a:cubicBez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18" name="Freeform 817"/>
              <p:cNvSpPr/>
              <p:nvPr/>
            </p:nvSpPr>
            <p:spPr bwMode="gray">
              <a:xfrm>
                <a:off x="10550752" y="4754779"/>
                <a:ext cx="481857" cy="716894"/>
              </a:xfrm>
              <a:custGeom>
                <a:avLst/>
                <a:gdLst>
                  <a:gd name="connsiteX0" fmla="*/ 457200 w 906780"/>
                  <a:gd name="connsiteY0" fmla="*/ 1546860 h 1546860"/>
                  <a:gd name="connsiteX1" fmla="*/ 541020 w 906780"/>
                  <a:gd name="connsiteY1" fmla="*/ 115062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620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784860 w 906780"/>
                  <a:gd name="connsiteY28" fmla="*/ 670560 h 1546860"/>
                  <a:gd name="connsiteX29" fmla="*/ 746760 w 906780"/>
                  <a:gd name="connsiteY29" fmla="*/ 662940 h 1546860"/>
                  <a:gd name="connsiteX30" fmla="*/ 632460 w 906780"/>
                  <a:gd name="connsiteY30" fmla="*/ 845820 h 1546860"/>
                  <a:gd name="connsiteX31" fmla="*/ 640080 w 906780"/>
                  <a:gd name="connsiteY31" fmla="*/ 1188720 h 1546860"/>
                  <a:gd name="connsiteX32" fmla="*/ 640080 w 906780"/>
                  <a:gd name="connsiteY32" fmla="*/ 1546860 h 1546860"/>
                  <a:gd name="connsiteX33" fmla="*/ 457200 w 906780"/>
                  <a:gd name="connsiteY33" fmla="*/ 1546860 h 1546860"/>
                  <a:gd name="connsiteX0" fmla="*/ 457200 w 906780"/>
                  <a:gd name="connsiteY0" fmla="*/ 1546860 h 1546860"/>
                  <a:gd name="connsiteX1" fmla="*/ 515620 w 906780"/>
                  <a:gd name="connsiteY1" fmla="*/ 114554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620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784860 w 906780"/>
                  <a:gd name="connsiteY28" fmla="*/ 670560 h 1546860"/>
                  <a:gd name="connsiteX29" fmla="*/ 746760 w 906780"/>
                  <a:gd name="connsiteY29" fmla="*/ 662940 h 1546860"/>
                  <a:gd name="connsiteX30" fmla="*/ 632460 w 906780"/>
                  <a:gd name="connsiteY30" fmla="*/ 845820 h 1546860"/>
                  <a:gd name="connsiteX31" fmla="*/ 640080 w 906780"/>
                  <a:gd name="connsiteY31" fmla="*/ 1188720 h 1546860"/>
                  <a:gd name="connsiteX32" fmla="*/ 640080 w 906780"/>
                  <a:gd name="connsiteY32" fmla="*/ 1546860 h 1546860"/>
                  <a:gd name="connsiteX33" fmla="*/ 457200 w 906780"/>
                  <a:gd name="connsiteY33" fmla="*/ 1546860 h 1546860"/>
                  <a:gd name="connsiteX0" fmla="*/ 457200 w 906780"/>
                  <a:gd name="connsiteY0" fmla="*/ 1546860 h 1546860"/>
                  <a:gd name="connsiteX1" fmla="*/ 515620 w 906780"/>
                  <a:gd name="connsiteY1" fmla="*/ 114554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366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784860 w 906780"/>
                  <a:gd name="connsiteY28" fmla="*/ 670560 h 1546860"/>
                  <a:gd name="connsiteX29" fmla="*/ 746760 w 906780"/>
                  <a:gd name="connsiteY29" fmla="*/ 662940 h 1546860"/>
                  <a:gd name="connsiteX30" fmla="*/ 632460 w 906780"/>
                  <a:gd name="connsiteY30" fmla="*/ 845820 h 1546860"/>
                  <a:gd name="connsiteX31" fmla="*/ 640080 w 906780"/>
                  <a:gd name="connsiteY31" fmla="*/ 1188720 h 1546860"/>
                  <a:gd name="connsiteX32" fmla="*/ 640080 w 906780"/>
                  <a:gd name="connsiteY32" fmla="*/ 1546860 h 1546860"/>
                  <a:gd name="connsiteX33" fmla="*/ 457200 w 906780"/>
                  <a:gd name="connsiteY33" fmla="*/ 1546860 h 1546860"/>
                  <a:gd name="connsiteX0" fmla="*/ 457200 w 906780"/>
                  <a:gd name="connsiteY0" fmla="*/ 1546860 h 1546860"/>
                  <a:gd name="connsiteX1" fmla="*/ 515620 w 906780"/>
                  <a:gd name="connsiteY1" fmla="*/ 114554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366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746760 w 906780"/>
                  <a:gd name="connsiteY28" fmla="*/ 662940 h 1546860"/>
                  <a:gd name="connsiteX29" fmla="*/ 632460 w 906780"/>
                  <a:gd name="connsiteY29" fmla="*/ 845820 h 1546860"/>
                  <a:gd name="connsiteX30" fmla="*/ 640080 w 906780"/>
                  <a:gd name="connsiteY30" fmla="*/ 1188720 h 1546860"/>
                  <a:gd name="connsiteX31" fmla="*/ 640080 w 906780"/>
                  <a:gd name="connsiteY31" fmla="*/ 1546860 h 1546860"/>
                  <a:gd name="connsiteX32" fmla="*/ 457200 w 906780"/>
                  <a:gd name="connsiteY32" fmla="*/ 1546860 h 1546860"/>
                  <a:gd name="connsiteX0" fmla="*/ 457200 w 906780"/>
                  <a:gd name="connsiteY0" fmla="*/ 1546860 h 1546860"/>
                  <a:gd name="connsiteX1" fmla="*/ 515620 w 906780"/>
                  <a:gd name="connsiteY1" fmla="*/ 1145540 h 1546860"/>
                  <a:gd name="connsiteX2" fmla="*/ 541020 w 906780"/>
                  <a:gd name="connsiteY2" fmla="*/ 861060 h 1546860"/>
                  <a:gd name="connsiteX3" fmla="*/ 533400 w 906780"/>
                  <a:gd name="connsiteY3" fmla="*/ 624840 h 1546860"/>
                  <a:gd name="connsiteX4" fmla="*/ 266700 w 906780"/>
                  <a:gd name="connsiteY4" fmla="*/ 472440 h 1546860"/>
                  <a:gd name="connsiteX5" fmla="*/ 190500 w 906780"/>
                  <a:gd name="connsiteY5" fmla="*/ 342900 h 1546860"/>
                  <a:gd name="connsiteX6" fmla="*/ 0 w 906780"/>
                  <a:gd name="connsiteY6" fmla="*/ 243840 h 1546860"/>
                  <a:gd name="connsiteX7" fmla="*/ 190500 w 906780"/>
                  <a:gd name="connsiteY7" fmla="*/ 304800 h 1546860"/>
                  <a:gd name="connsiteX8" fmla="*/ 182880 w 906780"/>
                  <a:gd name="connsiteY8" fmla="*/ 129540 h 1546860"/>
                  <a:gd name="connsiteX9" fmla="*/ 205740 w 906780"/>
                  <a:gd name="connsiteY9" fmla="*/ 327660 h 1546860"/>
                  <a:gd name="connsiteX10" fmla="*/ 297180 w 906780"/>
                  <a:gd name="connsiteY10" fmla="*/ 434340 h 1546860"/>
                  <a:gd name="connsiteX11" fmla="*/ 525780 w 906780"/>
                  <a:gd name="connsiteY11" fmla="*/ 548640 h 1546860"/>
                  <a:gd name="connsiteX12" fmla="*/ 563880 w 906780"/>
                  <a:gd name="connsiteY12" fmla="*/ 327660 h 1546860"/>
                  <a:gd name="connsiteX13" fmla="*/ 449580 w 906780"/>
                  <a:gd name="connsiteY13" fmla="*/ 53340 h 1546860"/>
                  <a:gd name="connsiteX14" fmla="*/ 365760 w 906780"/>
                  <a:gd name="connsiteY14" fmla="*/ 0 h 1546860"/>
                  <a:gd name="connsiteX15" fmla="*/ 419100 w 906780"/>
                  <a:gd name="connsiteY15" fmla="*/ 0 h 1546860"/>
                  <a:gd name="connsiteX16" fmla="*/ 495300 w 906780"/>
                  <a:gd name="connsiteY16" fmla="*/ 60960 h 1546860"/>
                  <a:gd name="connsiteX17" fmla="*/ 594360 w 906780"/>
                  <a:gd name="connsiteY17" fmla="*/ 304800 h 1546860"/>
                  <a:gd name="connsiteX18" fmla="*/ 723900 w 906780"/>
                  <a:gd name="connsiteY18" fmla="*/ 60960 h 1546860"/>
                  <a:gd name="connsiteX19" fmla="*/ 739140 w 906780"/>
                  <a:gd name="connsiteY19" fmla="*/ 121920 h 1546860"/>
                  <a:gd name="connsiteX20" fmla="*/ 632460 w 906780"/>
                  <a:gd name="connsiteY20" fmla="*/ 342900 h 1546860"/>
                  <a:gd name="connsiteX21" fmla="*/ 594360 w 906780"/>
                  <a:gd name="connsiteY21" fmla="*/ 533400 h 1546860"/>
                  <a:gd name="connsiteX22" fmla="*/ 609600 w 906780"/>
                  <a:gd name="connsiteY22" fmla="*/ 736600 h 1546860"/>
                  <a:gd name="connsiteX23" fmla="*/ 838200 w 906780"/>
                  <a:gd name="connsiteY23" fmla="*/ 457200 h 1546860"/>
                  <a:gd name="connsiteX24" fmla="*/ 868680 w 906780"/>
                  <a:gd name="connsiteY24" fmla="*/ 495300 h 1546860"/>
                  <a:gd name="connsiteX25" fmla="*/ 792480 w 906780"/>
                  <a:gd name="connsiteY25" fmla="*/ 609600 h 1546860"/>
                  <a:gd name="connsiteX26" fmla="*/ 906780 w 906780"/>
                  <a:gd name="connsiteY26" fmla="*/ 579120 h 1546860"/>
                  <a:gd name="connsiteX27" fmla="*/ 906780 w 906780"/>
                  <a:gd name="connsiteY27" fmla="*/ 579120 h 1546860"/>
                  <a:gd name="connsiteX28" fmla="*/ 850900 w 906780"/>
                  <a:gd name="connsiteY28" fmla="*/ 614680 h 1546860"/>
                  <a:gd name="connsiteX29" fmla="*/ 746760 w 906780"/>
                  <a:gd name="connsiteY29" fmla="*/ 662940 h 1546860"/>
                  <a:gd name="connsiteX30" fmla="*/ 632460 w 906780"/>
                  <a:gd name="connsiteY30" fmla="*/ 845820 h 1546860"/>
                  <a:gd name="connsiteX31" fmla="*/ 640080 w 906780"/>
                  <a:gd name="connsiteY31" fmla="*/ 1188720 h 1546860"/>
                  <a:gd name="connsiteX32" fmla="*/ 640080 w 906780"/>
                  <a:gd name="connsiteY32" fmla="*/ 1546860 h 1546860"/>
                  <a:gd name="connsiteX33" fmla="*/ 457200 w 906780"/>
                  <a:gd name="connsiteY33" fmla="*/ 1546860 h 1546860"/>
                  <a:gd name="connsiteX0" fmla="*/ 457200 w 1003300"/>
                  <a:gd name="connsiteY0" fmla="*/ 1546860 h 1546860"/>
                  <a:gd name="connsiteX1" fmla="*/ 515620 w 1003300"/>
                  <a:gd name="connsiteY1" fmla="*/ 1145540 h 1546860"/>
                  <a:gd name="connsiteX2" fmla="*/ 541020 w 1003300"/>
                  <a:gd name="connsiteY2" fmla="*/ 861060 h 1546860"/>
                  <a:gd name="connsiteX3" fmla="*/ 533400 w 1003300"/>
                  <a:gd name="connsiteY3" fmla="*/ 624840 h 1546860"/>
                  <a:gd name="connsiteX4" fmla="*/ 266700 w 1003300"/>
                  <a:gd name="connsiteY4" fmla="*/ 472440 h 1546860"/>
                  <a:gd name="connsiteX5" fmla="*/ 190500 w 1003300"/>
                  <a:gd name="connsiteY5" fmla="*/ 342900 h 1546860"/>
                  <a:gd name="connsiteX6" fmla="*/ 0 w 1003300"/>
                  <a:gd name="connsiteY6" fmla="*/ 243840 h 1546860"/>
                  <a:gd name="connsiteX7" fmla="*/ 190500 w 1003300"/>
                  <a:gd name="connsiteY7" fmla="*/ 304800 h 1546860"/>
                  <a:gd name="connsiteX8" fmla="*/ 182880 w 1003300"/>
                  <a:gd name="connsiteY8" fmla="*/ 129540 h 1546860"/>
                  <a:gd name="connsiteX9" fmla="*/ 205740 w 1003300"/>
                  <a:gd name="connsiteY9" fmla="*/ 327660 h 1546860"/>
                  <a:gd name="connsiteX10" fmla="*/ 297180 w 1003300"/>
                  <a:gd name="connsiteY10" fmla="*/ 434340 h 1546860"/>
                  <a:gd name="connsiteX11" fmla="*/ 525780 w 1003300"/>
                  <a:gd name="connsiteY11" fmla="*/ 548640 h 1546860"/>
                  <a:gd name="connsiteX12" fmla="*/ 563880 w 1003300"/>
                  <a:gd name="connsiteY12" fmla="*/ 327660 h 1546860"/>
                  <a:gd name="connsiteX13" fmla="*/ 449580 w 1003300"/>
                  <a:gd name="connsiteY13" fmla="*/ 53340 h 1546860"/>
                  <a:gd name="connsiteX14" fmla="*/ 365760 w 1003300"/>
                  <a:gd name="connsiteY14" fmla="*/ 0 h 1546860"/>
                  <a:gd name="connsiteX15" fmla="*/ 419100 w 1003300"/>
                  <a:gd name="connsiteY15" fmla="*/ 0 h 1546860"/>
                  <a:gd name="connsiteX16" fmla="*/ 495300 w 1003300"/>
                  <a:gd name="connsiteY16" fmla="*/ 60960 h 1546860"/>
                  <a:gd name="connsiteX17" fmla="*/ 594360 w 1003300"/>
                  <a:gd name="connsiteY17" fmla="*/ 304800 h 1546860"/>
                  <a:gd name="connsiteX18" fmla="*/ 723900 w 1003300"/>
                  <a:gd name="connsiteY18" fmla="*/ 60960 h 1546860"/>
                  <a:gd name="connsiteX19" fmla="*/ 739140 w 1003300"/>
                  <a:gd name="connsiteY19" fmla="*/ 121920 h 1546860"/>
                  <a:gd name="connsiteX20" fmla="*/ 632460 w 1003300"/>
                  <a:gd name="connsiteY20" fmla="*/ 342900 h 1546860"/>
                  <a:gd name="connsiteX21" fmla="*/ 594360 w 1003300"/>
                  <a:gd name="connsiteY21" fmla="*/ 533400 h 1546860"/>
                  <a:gd name="connsiteX22" fmla="*/ 609600 w 1003300"/>
                  <a:gd name="connsiteY22" fmla="*/ 736600 h 1546860"/>
                  <a:gd name="connsiteX23" fmla="*/ 838200 w 1003300"/>
                  <a:gd name="connsiteY23" fmla="*/ 457200 h 1546860"/>
                  <a:gd name="connsiteX24" fmla="*/ 868680 w 1003300"/>
                  <a:gd name="connsiteY24" fmla="*/ 495300 h 1546860"/>
                  <a:gd name="connsiteX25" fmla="*/ 792480 w 1003300"/>
                  <a:gd name="connsiteY25" fmla="*/ 609600 h 1546860"/>
                  <a:gd name="connsiteX26" fmla="*/ 906780 w 1003300"/>
                  <a:gd name="connsiteY26" fmla="*/ 579120 h 1546860"/>
                  <a:gd name="connsiteX27" fmla="*/ 906780 w 1003300"/>
                  <a:gd name="connsiteY27" fmla="*/ 579120 h 1546860"/>
                  <a:gd name="connsiteX28" fmla="*/ 1003300 w 1003300"/>
                  <a:gd name="connsiteY28" fmla="*/ 604520 h 1546860"/>
                  <a:gd name="connsiteX29" fmla="*/ 746760 w 1003300"/>
                  <a:gd name="connsiteY29" fmla="*/ 662940 h 1546860"/>
                  <a:gd name="connsiteX30" fmla="*/ 632460 w 1003300"/>
                  <a:gd name="connsiteY30" fmla="*/ 845820 h 1546860"/>
                  <a:gd name="connsiteX31" fmla="*/ 640080 w 1003300"/>
                  <a:gd name="connsiteY31" fmla="*/ 1188720 h 1546860"/>
                  <a:gd name="connsiteX32" fmla="*/ 640080 w 1003300"/>
                  <a:gd name="connsiteY32" fmla="*/ 1546860 h 1546860"/>
                  <a:gd name="connsiteX33" fmla="*/ 457200 w 1003300"/>
                  <a:gd name="connsiteY33" fmla="*/ 1546860 h 1546860"/>
                  <a:gd name="connsiteX0" fmla="*/ 457200 w 1003300"/>
                  <a:gd name="connsiteY0" fmla="*/ 1546860 h 1546860"/>
                  <a:gd name="connsiteX1" fmla="*/ 515620 w 1003300"/>
                  <a:gd name="connsiteY1" fmla="*/ 1145540 h 1546860"/>
                  <a:gd name="connsiteX2" fmla="*/ 541020 w 1003300"/>
                  <a:gd name="connsiteY2" fmla="*/ 861060 h 1546860"/>
                  <a:gd name="connsiteX3" fmla="*/ 533400 w 1003300"/>
                  <a:gd name="connsiteY3" fmla="*/ 624840 h 1546860"/>
                  <a:gd name="connsiteX4" fmla="*/ 266700 w 1003300"/>
                  <a:gd name="connsiteY4" fmla="*/ 472440 h 1546860"/>
                  <a:gd name="connsiteX5" fmla="*/ 190500 w 1003300"/>
                  <a:gd name="connsiteY5" fmla="*/ 342900 h 1546860"/>
                  <a:gd name="connsiteX6" fmla="*/ 0 w 1003300"/>
                  <a:gd name="connsiteY6" fmla="*/ 243840 h 1546860"/>
                  <a:gd name="connsiteX7" fmla="*/ 190500 w 1003300"/>
                  <a:gd name="connsiteY7" fmla="*/ 304800 h 1546860"/>
                  <a:gd name="connsiteX8" fmla="*/ 182880 w 1003300"/>
                  <a:gd name="connsiteY8" fmla="*/ 129540 h 1546860"/>
                  <a:gd name="connsiteX9" fmla="*/ 205740 w 1003300"/>
                  <a:gd name="connsiteY9" fmla="*/ 327660 h 1546860"/>
                  <a:gd name="connsiteX10" fmla="*/ 297180 w 1003300"/>
                  <a:gd name="connsiteY10" fmla="*/ 434340 h 1546860"/>
                  <a:gd name="connsiteX11" fmla="*/ 525780 w 1003300"/>
                  <a:gd name="connsiteY11" fmla="*/ 548640 h 1546860"/>
                  <a:gd name="connsiteX12" fmla="*/ 563880 w 1003300"/>
                  <a:gd name="connsiteY12" fmla="*/ 327660 h 1546860"/>
                  <a:gd name="connsiteX13" fmla="*/ 449580 w 1003300"/>
                  <a:gd name="connsiteY13" fmla="*/ 53340 h 1546860"/>
                  <a:gd name="connsiteX14" fmla="*/ 365760 w 1003300"/>
                  <a:gd name="connsiteY14" fmla="*/ 0 h 1546860"/>
                  <a:gd name="connsiteX15" fmla="*/ 419100 w 1003300"/>
                  <a:gd name="connsiteY15" fmla="*/ 0 h 1546860"/>
                  <a:gd name="connsiteX16" fmla="*/ 495300 w 1003300"/>
                  <a:gd name="connsiteY16" fmla="*/ 60960 h 1546860"/>
                  <a:gd name="connsiteX17" fmla="*/ 594360 w 1003300"/>
                  <a:gd name="connsiteY17" fmla="*/ 304800 h 1546860"/>
                  <a:gd name="connsiteX18" fmla="*/ 723900 w 1003300"/>
                  <a:gd name="connsiteY18" fmla="*/ 60960 h 1546860"/>
                  <a:gd name="connsiteX19" fmla="*/ 739140 w 1003300"/>
                  <a:gd name="connsiteY19" fmla="*/ 121920 h 1546860"/>
                  <a:gd name="connsiteX20" fmla="*/ 632460 w 1003300"/>
                  <a:gd name="connsiteY20" fmla="*/ 342900 h 1546860"/>
                  <a:gd name="connsiteX21" fmla="*/ 594360 w 1003300"/>
                  <a:gd name="connsiteY21" fmla="*/ 533400 h 1546860"/>
                  <a:gd name="connsiteX22" fmla="*/ 609600 w 1003300"/>
                  <a:gd name="connsiteY22" fmla="*/ 736600 h 1546860"/>
                  <a:gd name="connsiteX23" fmla="*/ 838200 w 1003300"/>
                  <a:gd name="connsiteY23" fmla="*/ 457200 h 1546860"/>
                  <a:gd name="connsiteX24" fmla="*/ 868680 w 1003300"/>
                  <a:gd name="connsiteY24" fmla="*/ 495300 h 1546860"/>
                  <a:gd name="connsiteX25" fmla="*/ 792480 w 1003300"/>
                  <a:gd name="connsiteY25" fmla="*/ 609600 h 1546860"/>
                  <a:gd name="connsiteX26" fmla="*/ 906780 w 1003300"/>
                  <a:gd name="connsiteY26" fmla="*/ 579120 h 1546860"/>
                  <a:gd name="connsiteX27" fmla="*/ 927100 w 1003300"/>
                  <a:gd name="connsiteY27" fmla="*/ 528320 h 1546860"/>
                  <a:gd name="connsiteX28" fmla="*/ 1003300 w 1003300"/>
                  <a:gd name="connsiteY28" fmla="*/ 604520 h 1546860"/>
                  <a:gd name="connsiteX29" fmla="*/ 746760 w 1003300"/>
                  <a:gd name="connsiteY29" fmla="*/ 662940 h 1546860"/>
                  <a:gd name="connsiteX30" fmla="*/ 632460 w 1003300"/>
                  <a:gd name="connsiteY30" fmla="*/ 845820 h 1546860"/>
                  <a:gd name="connsiteX31" fmla="*/ 640080 w 1003300"/>
                  <a:gd name="connsiteY31" fmla="*/ 1188720 h 1546860"/>
                  <a:gd name="connsiteX32" fmla="*/ 640080 w 1003300"/>
                  <a:gd name="connsiteY32" fmla="*/ 1546860 h 1546860"/>
                  <a:gd name="connsiteX33" fmla="*/ 457200 w 1003300"/>
                  <a:gd name="connsiteY33" fmla="*/ 1546860 h 1546860"/>
                  <a:gd name="connsiteX0" fmla="*/ 457200 w 982980"/>
                  <a:gd name="connsiteY0" fmla="*/ 1546860 h 1546860"/>
                  <a:gd name="connsiteX1" fmla="*/ 515620 w 982980"/>
                  <a:gd name="connsiteY1" fmla="*/ 1145540 h 1546860"/>
                  <a:gd name="connsiteX2" fmla="*/ 541020 w 982980"/>
                  <a:gd name="connsiteY2" fmla="*/ 861060 h 1546860"/>
                  <a:gd name="connsiteX3" fmla="*/ 533400 w 982980"/>
                  <a:gd name="connsiteY3" fmla="*/ 624840 h 1546860"/>
                  <a:gd name="connsiteX4" fmla="*/ 266700 w 982980"/>
                  <a:gd name="connsiteY4" fmla="*/ 472440 h 1546860"/>
                  <a:gd name="connsiteX5" fmla="*/ 190500 w 982980"/>
                  <a:gd name="connsiteY5" fmla="*/ 342900 h 1546860"/>
                  <a:gd name="connsiteX6" fmla="*/ 0 w 982980"/>
                  <a:gd name="connsiteY6" fmla="*/ 243840 h 1546860"/>
                  <a:gd name="connsiteX7" fmla="*/ 190500 w 982980"/>
                  <a:gd name="connsiteY7" fmla="*/ 304800 h 1546860"/>
                  <a:gd name="connsiteX8" fmla="*/ 182880 w 982980"/>
                  <a:gd name="connsiteY8" fmla="*/ 129540 h 1546860"/>
                  <a:gd name="connsiteX9" fmla="*/ 205740 w 982980"/>
                  <a:gd name="connsiteY9" fmla="*/ 327660 h 1546860"/>
                  <a:gd name="connsiteX10" fmla="*/ 297180 w 982980"/>
                  <a:gd name="connsiteY10" fmla="*/ 434340 h 1546860"/>
                  <a:gd name="connsiteX11" fmla="*/ 525780 w 982980"/>
                  <a:gd name="connsiteY11" fmla="*/ 548640 h 1546860"/>
                  <a:gd name="connsiteX12" fmla="*/ 563880 w 982980"/>
                  <a:gd name="connsiteY12" fmla="*/ 327660 h 1546860"/>
                  <a:gd name="connsiteX13" fmla="*/ 449580 w 982980"/>
                  <a:gd name="connsiteY13" fmla="*/ 53340 h 1546860"/>
                  <a:gd name="connsiteX14" fmla="*/ 365760 w 982980"/>
                  <a:gd name="connsiteY14" fmla="*/ 0 h 1546860"/>
                  <a:gd name="connsiteX15" fmla="*/ 419100 w 982980"/>
                  <a:gd name="connsiteY15" fmla="*/ 0 h 1546860"/>
                  <a:gd name="connsiteX16" fmla="*/ 495300 w 982980"/>
                  <a:gd name="connsiteY16" fmla="*/ 60960 h 1546860"/>
                  <a:gd name="connsiteX17" fmla="*/ 594360 w 982980"/>
                  <a:gd name="connsiteY17" fmla="*/ 304800 h 1546860"/>
                  <a:gd name="connsiteX18" fmla="*/ 723900 w 982980"/>
                  <a:gd name="connsiteY18" fmla="*/ 60960 h 1546860"/>
                  <a:gd name="connsiteX19" fmla="*/ 739140 w 982980"/>
                  <a:gd name="connsiteY19" fmla="*/ 121920 h 1546860"/>
                  <a:gd name="connsiteX20" fmla="*/ 632460 w 982980"/>
                  <a:gd name="connsiteY20" fmla="*/ 342900 h 1546860"/>
                  <a:gd name="connsiteX21" fmla="*/ 594360 w 982980"/>
                  <a:gd name="connsiteY21" fmla="*/ 533400 h 1546860"/>
                  <a:gd name="connsiteX22" fmla="*/ 609600 w 982980"/>
                  <a:gd name="connsiteY22" fmla="*/ 736600 h 1546860"/>
                  <a:gd name="connsiteX23" fmla="*/ 838200 w 982980"/>
                  <a:gd name="connsiteY23" fmla="*/ 457200 h 1546860"/>
                  <a:gd name="connsiteX24" fmla="*/ 868680 w 982980"/>
                  <a:gd name="connsiteY24" fmla="*/ 495300 h 1546860"/>
                  <a:gd name="connsiteX25" fmla="*/ 792480 w 982980"/>
                  <a:gd name="connsiteY25" fmla="*/ 609600 h 1546860"/>
                  <a:gd name="connsiteX26" fmla="*/ 906780 w 982980"/>
                  <a:gd name="connsiteY26" fmla="*/ 579120 h 1546860"/>
                  <a:gd name="connsiteX27" fmla="*/ 927100 w 982980"/>
                  <a:gd name="connsiteY27" fmla="*/ 528320 h 1546860"/>
                  <a:gd name="connsiteX28" fmla="*/ 982980 w 982980"/>
                  <a:gd name="connsiteY28" fmla="*/ 589280 h 1546860"/>
                  <a:gd name="connsiteX29" fmla="*/ 746760 w 982980"/>
                  <a:gd name="connsiteY29" fmla="*/ 662940 h 1546860"/>
                  <a:gd name="connsiteX30" fmla="*/ 632460 w 982980"/>
                  <a:gd name="connsiteY30" fmla="*/ 845820 h 1546860"/>
                  <a:gd name="connsiteX31" fmla="*/ 640080 w 982980"/>
                  <a:gd name="connsiteY31" fmla="*/ 1188720 h 1546860"/>
                  <a:gd name="connsiteX32" fmla="*/ 640080 w 982980"/>
                  <a:gd name="connsiteY32" fmla="*/ 1546860 h 1546860"/>
                  <a:gd name="connsiteX33" fmla="*/ 457200 w 982980"/>
                  <a:gd name="connsiteY33" fmla="*/ 1546860 h 1546860"/>
                  <a:gd name="connsiteX0" fmla="*/ 457200 w 988845"/>
                  <a:gd name="connsiteY0" fmla="*/ 1546860 h 1546860"/>
                  <a:gd name="connsiteX1" fmla="*/ 515620 w 988845"/>
                  <a:gd name="connsiteY1" fmla="*/ 1145540 h 1546860"/>
                  <a:gd name="connsiteX2" fmla="*/ 541020 w 988845"/>
                  <a:gd name="connsiteY2" fmla="*/ 861060 h 1546860"/>
                  <a:gd name="connsiteX3" fmla="*/ 533400 w 988845"/>
                  <a:gd name="connsiteY3" fmla="*/ 624840 h 1546860"/>
                  <a:gd name="connsiteX4" fmla="*/ 266700 w 988845"/>
                  <a:gd name="connsiteY4" fmla="*/ 472440 h 1546860"/>
                  <a:gd name="connsiteX5" fmla="*/ 190500 w 988845"/>
                  <a:gd name="connsiteY5" fmla="*/ 342900 h 1546860"/>
                  <a:gd name="connsiteX6" fmla="*/ 0 w 988845"/>
                  <a:gd name="connsiteY6" fmla="*/ 243840 h 1546860"/>
                  <a:gd name="connsiteX7" fmla="*/ 190500 w 988845"/>
                  <a:gd name="connsiteY7" fmla="*/ 304800 h 1546860"/>
                  <a:gd name="connsiteX8" fmla="*/ 182880 w 988845"/>
                  <a:gd name="connsiteY8" fmla="*/ 129540 h 1546860"/>
                  <a:gd name="connsiteX9" fmla="*/ 205740 w 988845"/>
                  <a:gd name="connsiteY9" fmla="*/ 327660 h 1546860"/>
                  <a:gd name="connsiteX10" fmla="*/ 297180 w 988845"/>
                  <a:gd name="connsiteY10" fmla="*/ 434340 h 1546860"/>
                  <a:gd name="connsiteX11" fmla="*/ 525780 w 988845"/>
                  <a:gd name="connsiteY11" fmla="*/ 548640 h 1546860"/>
                  <a:gd name="connsiteX12" fmla="*/ 563880 w 988845"/>
                  <a:gd name="connsiteY12" fmla="*/ 327660 h 1546860"/>
                  <a:gd name="connsiteX13" fmla="*/ 449580 w 988845"/>
                  <a:gd name="connsiteY13" fmla="*/ 53340 h 1546860"/>
                  <a:gd name="connsiteX14" fmla="*/ 365760 w 988845"/>
                  <a:gd name="connsiteY14" fmla="*/ 0 h 1546860"/>
                  <a:gd name="connsiteX15" fmla="*/ 419100 w 988845"/>
                  <a:gd name="connsiteY15" fmla="*/ 0 h 1546860"/>
                  <a:gd name="connsiteX16" fmla="*/ 495300 w 988845"/>
                  <a:gd name="connsiteY16" fmla="*/ 60960 h 1546860"/>
                  <a:gd name="connsiteX17" fmla="*/ 594360 w 988845"/>
                  <a:gd name="connsiteY17" fmla="*/ 304800 h 1546860"/>
                  <a:gd name="connsiteX18" fmla="*/ 723900 w 988845"/>
                  <a:gd name="connsiteY18" fmla="*/ 60960 h 1546860"/>
                  <a:gd name="connsiteX19" fmla="*/ 739140 w 988845"/>
                  <a:gd name="connsiteY19" fmla="*/ 121920 h 1546860"/>
                  <a:gd name="connsiteX20" fmla="*/ 632460 w 988845"/>
                  <a:gd name="connsiteY20" fmla="*/ 342900 h 1546860"/>
                  <a:gd name="connsiteX21" fmla="*/ 594360 w 988845"/>
                  <a:gd name="connsiteY21" fmla="*/ 533400 h 1546860"/>
                  <a:gd name="connsiteX22" fmla="*/ 609600 w 988845"/>
                  <a:gd name="connsiteY22" fmla="*/ 736600 h 1546860"/>
                  <a:gd name="connsiteX23" fmla="*/ 838200 w 988845"/>
                  <a:gd name="connsiteY23" fmla="*/ 457200 h 1546860"/>
                  <a:gd name="connsiteX24" fmla="*/ 868680 w 988845"/>
                  <a:gd name="connsiteY24" fmla="*/ 495300 h 1546860"/>
                  <a:gd name="connsiteX25" fmla="*/ 792480 w 988845"/>
                  <a:gd name="connsiteY25" fmla="*/ 609600 h 1546860"/>
                  <a:gd name="connsiteX26" fmla="*/ 906780 w 988845"/>
                  <a:gd name="connsiteY26" fmla="*/ 579120 h 1546860"/>
                  <a:gd name="connsiteX27" fmla="*/ 982980 w 988845"/>
                  <a:gd name="connsiteY27" fmla="*/ 589280 h 1546860"/>
                  <a:gd name="connsiteX28" fmla="*/ 746760 w 988845"/>
                  <a:gd name="connsiteY28" fmla="*/ 662940 h 1546860"/>
                  <a:gd name="connsiteX29" fmla="*/ 632460 w 988845"/>
                  <a:gd name="connsiteY29" fmla="*/ 845820 h 1546860"/>
                  <a:gd name="connsiteX30" fmla="*/ 640080 w 988845"/>
                  <a:gd name="connsiteY30" fmla="*/ 1188720 h 1546860"/>
                  <a:gd name="connsiteX31" fmla="*/ 640080 w 988845"/>
                  <a:gd name="connsiteY31" fmla="*/ 1546860 h 1546860"/>
                  <a:gd name="connsiteX32" fmla="*/ 457200 w 988845"/>
                  <a:gd name="connsiteY32" fmla="*/ 1546860 h 1546860"/>
                  <a:gd name="connsiteX0" fmla="*/ 457200 w 996675"/>
                  <a:gd name="connsiteY0" fmla="*/ 1546860 h 1546860"/>
                  <a:gd name="connsiteX1" fmla="*/ 515620 w 996675"/>
                  <a:gd name="connsiteY1" fmla="*/ 1145540 h 1546860"/>
                  <a:gd name="connsiteX2" fmla="*/ 541020 w 996675"/>
                  <a:gd name="connsiteY2" fmla="*/ 861060 h 1546860"/>
                  <a:gd name="connsiteX3" fmla="*/ 533400 w 996675"/>
                  <a:gd name="connsiteY3" fmla="*/ 624840 h 1546860"/>
                  <a:gd name="connsiteX4" fmla="*/ 266700 w 996675"/>
                  <a:gd name="connsiteY4" fmla="*/ 472440 h 1546860"/>
                  <a:gd name="connsiteX5" fmla="*/ 190500 w 996675"/>
                  <a:gd name="connsiteY5" fmla="*/ 342900 h 1546860"/>
                  <a:gd name="connsiteX6" fmla="*/ 0 w 996675"/>
                  <a:gd name="connsiteY6" fmla="*/ 243840 h 1546860"/>
                  <a:gd name="connsiteX7" fmla="*/ 190500 w 996675"/>
                  <a:gd name="connsiteY7" fmla="*/ 304800 h 1546860"/>
                  <a:gd name="connsiteX8" fmla="*/ 182880 w 996675"/>
                  <a:gd name="connsiteY8" fmla="*/ 129540 h 1546860"/>
                  <a:gd name="connsiteX9" fmla="*/ 205740 w 996675"/>
                  <a:gd name="connsiteY9" fmla="*/ 327660 h 1546860"/>
                  <a:gd name="connsiteX10" fmla="*/ 297180 w 996675"/>
                  <a:gd name="connsiteY10" fmla="*/ 434340 h 1546860"/>
                  <a:gd name="connsiteX11" fmla="*/ 525780 w 996675"/>
                  <a:gd name="connsiteY11" fmla="*/ 548640 h 1546860"/>
                  <a:gd name="connsiteX12" fmla="*/ 563880 w 996675"/>
                  <a:gd name="connsiteY12" fmla="*/ 327660 h 1546860"/>
                  <a:gd name="connsiteX13" fmla="*/ 449580 w 996675"/>
                  <a:gd name="connsiteY13" fmla="*/ 53340 h 1546860"/>
                  <a:gd name="connsiteX14" fmla="*/ 365760 w 996675"/>
                  <a:gd name="connsiteY14" fmla="*/ 0 h 1546860"/>
                  <a:gd name="connsiteX15" fmla="*/ 419100 w 996675"/>
                  <a:gd name="connsiteY15" fmla="*/ 0 h 1546860"/>
                  <a:gd name="connsiteX16" fmla="*/ 495300 w 996675"/>
                  <a:gd name="connsiteY16" fmla="*/ 60960 h 1546860"/>
                  <a:gd name="connsiteX17" fmla="*/ 594360 w 996675"/>
                  <a:gd name="connsiteY17" fmla="*/ 304800 h 1546860"/>
                  <a:gd name="connsiteX18" fmla="*/ 723900 w 996675"/>
                  <a:gd name="connsiteY18" fmla="*/ 60960 h 1546860"/>
                  <a:gd name="connsiteX19" fmla="*/ 739140 w 996675"/>
                  <a:gd name="connsiteY19" fmla="*/ 121920 h 1546860"/>
                  <a:gd name="connsiteX20" fmla="*/ 632460 w 996675"/>
                  <a:gd name="connsiteY20" fmla="*/ 342900 h 1546860"/>
                  <a:gd name="connsiteX21" fmla="*/ 594360 w 996675"/>
                  <a:gd name="connsiteY21" fmla="*/ 533400 h 1546860"/>
                  <a:gd name="connsiteX22" fmla="*/ 609600 w 996675"/>
                  <a:gd name="connsiteY22" fmla="*/ 736600 h 1546860"/>
                  <a:gd name="connsiteX23" fmla="*/ 838200 w 996675"/>
                  <a:gd name="connsiteY23" fmla="*/ 457200 h 1546860"/>
                  <a:gd name="connsiteX24" fmla="*/ 868680 w 996675"/>
                  <a:gd name="connsiteY24" fmla="*/ 495300 h 1546860"/>
                  <a:gd name="connsiteX25" fmla="*/ 792480 w 996675"/>
                  <a:gd name="connsiteY25" fmla="*/ 609600 h 1546860"/>
                  <a:gd name="connsiteX26" fmla="*/ 962660 w 996675"/>
                  <a:gd name="connsiteY26" fmla="*/ 523240 h 1546860"/>
                  <a:gd name="connsiteX27" fmla="*/ 982980 w 996675"/>
                  <a:gd name="connsiteY27" fmla="*/ 589280 h 1546860"/>
                  <a:gd name="connsiteX28" fmla="*/ 746760 w 996675"/>
                  <a:gd name="connsiteY28" fmla="*/ 662940 h 1546860"/>
                  <a:gd name="connsiteX29" fmla="*/ 632460 w 996675"/>
                  <a:gd name="connsiteY29" fmla="*/ 845820 h 1546860"/>
                  <a:gd name="connsiteX30" fmla="*/ 640080 w 996675"/>
                  <a:gd name="connsiteY30" fmla="*/ 1188720 h 1546860"/>
                  <a:gd name="connsiteX31" fmla="*/ 640080 w 996675"/>
                  <a:gd name="connsiteY31" fmla="*/ 1546860 h 1546860"/>
                  <a:gd name="connsiteX32" fmla="*/ 457200 w 996675"/>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05740 w 1008838"/>
                  <a:gd name="connsiteY9" fmla="*/ 32766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97180 w 1008838"/>
                  <a:gd name="connsiteY9" fmla="*/ 434340 h 1546860"/>
                  <a:gd name="connsiteX10" fmla="*/ 525780 w 1008838"/>
                  <a:gd name="connsiteY10" fmla="*/ 548640 h 1546860"/>
                  <a:gd name="connsiteX11" fmla="*/ 563880 w 1008838"/>
                  <a:gd name="connsiteY11" fmla="*/ 327660 h 1546860"/>
                  <a:gd name="connsiteX12" fmla="*/ 449580 w 1008838"/>
                  <a:gd name="connsiteY12" fmla="*/ 53340 h 1546860"/>
                  <a:gd name="connsiteX13" fmla="*/ 365760 w 1008838"/>
                  <a:gd name="connsiteY13" fmla="*/ 0 h 1546860"/>
                  <a:gd name="connsiteX14" fmla="*/ 419100 w 1008838"/>
                  <a:gd name="connsiteY14" fmla="*/ 0 h 1546860"/>
                  <a:gd name="connsiteX15" fmla="*/ 495300 w 1008838"/>
                  <a:gd name="connsiteY15" fmla="*/ 60960 h 1546860"/>
                  <a:gd name="connsiteX16" fmla="*/ 594360 w 1008838"/>
                  <a:gd name="connsiteY16" fmla="*/ 304800 h 1546860"/>
                  <a:gd name="connsiteX17" fmla="*/ 723900 w 1008838"/>
                  <a:gd name="connsiteY17" fmla="*/ 60960 h 1546860"/>
                  <a:gd name="connsiteX18" fmla="*/ 739140 w 1008838"/>
                  <a:gd name="connsiteY18" fmla="*/ 121920 h 1546860"/>
                  <a:gd name="connsiteX19" fmla="*/ 632460 w 1008838"/>
                  <a:gd name="connsiteY19" fmla="*/ 342900 h 1546860"/>
                  <a:gd name="connsiteX20" fmla="*/ 594360 w 1008838"/>
                  <a:gd name="connsiteY20" fmla="*/ 533400 h 1546860"/>
                  <a:gd name="connsiteX21" fmla="*/ 609600 w 1008838"/>
                  <a:gd name="connsiteY21" fmla="*/ 736600 h 1546860"/>
                  <a:gd name="connsiteX22" fmla="*/ 838200 w 1008838"/>
                  <a:gd name="connsiteY22" fmla="*/ 457200 h 1546860"/>
                  <a:gd name="connsiteX23" fmla="*/ 868680 w 1008838"/>
                  <a:gd name="connsiteY23" fmla="*/ 495300 h 1546860"/>
                  <a:gd name="connsiteX24" fmla="*/ 792480 w 1008838"/>
                  <a:gd name="connsiteY24" fmla="*/ 609600 h 1546860"/>
                  <a:gd name="connsiteX25" fmla="*/ 962660 w 1008838"/>
                  <a:gd name="connsiteY25" fmla="*/ 523240 h 1546860"/>
                  <a:gd name="connsiteX26" fmla="*/ 998220 w 1008838"/>
                  <a:gd name="connsiteY26" fmla="*/ 533400 h 1546860"/>
                  <a:gd name="connsiteX27" fmla="*/ 746760 w 1008838"/>
                  <a:gd name="connsiteY27" fmla="*/ 662940 h 1546860"/>
                  <a:gd name="connsiteX28" fmla="*/ 632460 w 1008838"/>
                  <a:gd name="connsiteY28" fmla="*/ 845820 h 1546860"/>
                  <a:gd name="connsiteX29" fmla="*/ 640080 w 1008838"/>
                  <a:gd name="connsiteY29" fmla="*/ 1188720 h 1546860"/>
                  <a:gd name="connsiteX30" fmla="*/ 640080 w 1008838"/>
                  <a:gd name="connsiteY30" fmla="*/ 1546860 h 1546860"/>
                  <a:gd name="connsiteX31" fmla="*/ 457200 w 1008838"/>
                  <a:gd name="connsiteY31"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41299 w 1008838"/>
                  <a:gd name="connsiteY9" fmla="*/ 28956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41299 w 1008838"/>
                  <a:gd name="connsiteY9" fmla="*/ 32004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41299 w 1008838"/>
                  <a:gd name="connsiteY9" fmla="*/ 32004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31139 w 1008838"/>
                  <a:gd name="connsiteY9" fmla="*/ 34544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10819 w 1008838"/>
                  <a:gd name="connsiteY9" fmla="*/ 30988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94360 w 1008838"/>
                  <a:gd name="connsiteY17" fmla="*/ 304800 h 1546860"/>
                  <a:gd name="connsiteX18" fmla="*/ 723900 w 1008838"/>
                  <a:gd name="connsiteY18" fmla="*/ 60960 h 1546860"/>
                  <a:gd name="connsiteX19" fmla="*/ 739140 w 1008838"/>
                  <a:gd name="connsiteY19" fmla="*/ 121920 h 1546860"/>
                  <a:gd name="connsiteX20" fmla="*/ 632460 w 1008838"/>
                  <a:gd name="connsiteY20" fmla="*/ 342900 h 1546860"/>
                  <a:gd name="connsiteX21" fmla="*/ 594360 w 1008838"/>
                  <a:gd name="connsiteY21" fmla="*/ 533400 h 1546860"/>
                  <a:gd name="connsiteX22" fmla="*/ 609600 w 1008838"/>
                  <a:gd name="connsiteY22" fmla="*/ 736600 h 1546860"/>
                  <a:gd name="connsiteX23" fmla="*/ 838200 w 1008838"/>
                  <a:gd name="connsiteY23" fmla="*/ 457200 h 1546860"/>
                  <a:gd name="connsiteX24" fmla="*/ 868680 w 1008838"/>
                  <a:gd name="connsiteY24" fmla="*/ 495300 h 1546860"/>
                  <a:gd name="connsiteX25" fmla="*/ 792480 w 1008838"/>
                  <a:gd name="connsiteY25" fmla="*/ 609600 h 1546860"/>
                  <a:gd name="connsiteX26" fmla="*/ 962660 w 1008838"/>
                  <a:gd name="connsiteY26" fmla="*/ 523240 h 1546860"/>
                  <a:gd name="connsiteX27" fmla="*/ 998220 w 1008838"/>
                  <a:gd name="connsiteY27" fmla="*/ 533400 h 1546860"/>
                  <a:gd name="connsiteX28" fmla="*/ 746760 w 1008838"/>
                  <a:gd name="connsiteY28" fmla="*/ 662940 h 1546860"/>
                  <a:gd name="connsiteX29" fmla="*/ 632460 w 1008838"/>
                  <a:gd name="connsiteY29" fmla="*/ 845820 h 1546860"/>
                  <a:gd name="connsiteX30" fmla="*/ 640080 w 1008838"/>
                  <a:gd name="connsiteY30" fmla="*/ 1188720 h 1546860"/>
                  <a:gd name="connsiteX31" fmla="*/ 640080 w 1008838"/>
                  <a:gd name="connsiteY31" fmla="*/ 1546860 h 1546860"/>
                  <a:gd name="connsiteX32" fmla="*/ 457200 w 1008838"/>
                  <a:gd name="connsiteY32"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10819 w 1008838"/>
                  <a:gd name="connsiteY9" fmla="*/ 30988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30859 w 1008838"/>
                  <a:gd name="connsiteY17" fmla="*/ 137160 h 1546860"/>
                  <a:gd name="connsiteX18" fmla="*/ 594360 w 1008838"/>
                  <a:gd name="connsiteY18" fmla="*/ 304800 h 1546860"/>
                  <a:gd name="connsiteX19" fmla="*/ 723900 w 1008838"/>
                  <a:gd name="connsiteY19" fmla="*/ 60960 h 1546860"/>
                  <a:gd name="connsiteX20" fmla="*/ 739140 w 1008838"/>
                  <a:gd name="connsiteY20" fmla="*/ 121920 h 1546860"/>
                  <a:gd name="connsiteX21" fmla="*/ 632460 w 1008838"/>
                  <a:gd name="connsiteY21" fmla="*/ 342900 h 1546860"/>
                  <a:gd name="connsiteX22" fmla="*/ 594360 w 1008838"/>
                  <a:gd name="connsiteY22" fmla="*/ 533400 h 1546860"/>
                  <a:gd name="connsiteX23" fmla="*/ 609600 w 1008838"/>
                  <a:gd name="connsiteY23" fmla="*/ 736600 h 1546860"/>
                  <a:gd name="connsiteX24" fmla="*/ 838200 w 1008838"/>
                  <a:gd name="connsiteY24" fmla="*/ 457200 h 1546860"/>
                  <a:gd name="connsiteX25" fmla="*/ 868680 w 1008838"/>
                  <a:gd name="connsiteY25" fmla="*/ 495300 h 1546860"/>
                  <a:gd name="connsiteX26" fmla="*/ 792480 w 1008838"/>
                  <a:gd name="connsiteY26" fmla="*/ 609600 h 1546860"/>
                  <a:gd name="connsiteX27" fmla="*/ 962660 w 1008838"/>
                  <a:gd name="connsiteY27" fmla="*/ 523240 h 1546860"/>
                  <a:gd name="connsiteX28" fmla="*/ 998220 w 1008838"/>
                  <a:gd name="connsiteY28" fmla="*/ 533400 h 1546860"/>
                  <a:gd name="connsiteX29" fmla="*/ 746760 w 1008838"/>
                  <a:gd name="connsiteY29" fmla="*/ 662940 h 1546860"/>
                  <a:gd name="connsiteX30" fmla="*/ 632460 w 1008838"/>
                  <a:gd name="connsiteY30" fmla="*/ 845820 h 1546860"/>
                  <a:gd name="connsiteX31" fmla="*/ 640080 w 1008838"/>
                  <a:gd name="connsiteY31" fmla="*/ 1188720 h 1546860"/>
                  <a:gd name="connsiteX32" fmla="*/ 640080 w 1008838"/>
                  <a:gd name="connsiteY32" fmla="*/ 1546860 h 1546860"/>
                  <a:gd name="connsiteX33" fmla="*/ 457200 w 1008838"/>
                  <a:gd name="connsiteY33"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10819 w 1008838"/>
                  <a:gd name="connsiteY9" fmla="*/ 30988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30859 w 1008838"/>
                  <a:gd name="connsiteY17" fmla="*/ 137160 h 1546860"/>
                  <a:gd name="connsiteX18" fmla="*/ 571499 w 1008838"/>
                  <a:gd name="connsiteY18" fmla="*/ 228600 h 1546860"/>
                  <a:gd name="connsiteX19" fmla="*/ 594360 w 1008838"/>
                  <a:gd name="connsiteY19" fmla="*/ 304800 h 1546860"/>
                  <a:gd name="connsiteX20" fmla="*/ 723900 w 1008838"/>
                  <a:gd name="connsiteY20" fmla="*/ 60960 h 1546860"/>
                  <a:gd name="connsiteX21" fmla="*/ 739140 w 1008838"/>
                  <a:gd name="connsiteY21" fmla="*/ 121920 h 1546860"/>
                  <a:gd name="connsiteX22" fmla="*/ 632460 w 1008838"/>
                  <a:gd name="connsiteY22" fmla="*/ 342900 h 1546860"/>
                  <a:gd name="connsiteX23" fmla="*/ 594360 w 1008838"/>
                  <a:gd name="connsiteY23" fmla="*/ 533400 h 1546860"/>
                  <a:gd name="connsiteX24" fmla="*/ 609600 w 1008838"/>
                  <a:gd name="connsiteY24" fmla="*/ 736600 h 1546860"/>
                  <a:gd name="connsiteX25" fmla="*/ 838200 w 1008838"/>
                  <a:gd name="connsiteY25" fmla="*/ 457200 h 1546860"/>
                  <a:gd name="connsiteX26" fmla="*/ 868680 w 1008838"/>
                  <a:gd name="connsiteY26" fmla="*/ 495300 h 1546860"/>
                  <a:gd name="connsiteX27" fmla="*/ 792480 w 1008838"/>
                  <a:gd name="connsiteY27" fmla="*/ 609600 h 1546860"/>
                  <a:gd name="connsiteX28" fmla="*/ 962660 w 1008838"/>
                  <a:gd name="connsiteY28" fmla="*/ 523240 h 1546860"/>
                  <a:gd name="connsiteX29" fmla="*/ 998220 w 1008838"/>
                  <a:gd name="connsiteY29" fmla="*/ 533400 h 1546860"/>
                  <a:gd name="connsiteX30" fmla="*/ 746760 w 1008838"/>
                  <a:gd name="connsiteY30" fmla="*/ 662940 h 1546860"/>
                  <a:gd name="connsiteX31" fmla="*/ 632460 w 1008838"/>
                  <a:gd name="connsiteY31" fmla="*/ 845820 h 1546860"/>
                  <a:gd name="connsiteX32" fmla="*/ 640080 w 1008838"/>
                  <a:gd name="connsiteY32" fmla="*/ 1188720 h 1546860"/>
                  <a:gd name="connsiteX33" fmla="*/ 640080 w 1008838"/>
                  <a:gd name="connsiteY33" fmla="*/ 1546860 h 1546860"/>
                  <a:gd name="connsiteX34" fmla="*/ 457200 w 1008838"/>
                  <a:gd name="connsiteY34" fmla="*/ 1546860 h 1546860"/>
                  <a:gd name="connsiteX0" fmla="*/ 457200 w 1008838"/>
                  <a:gd name="connsiteY0" fmla="*/ 1546860 h 1546860"/>
                  <a:gd name="connsiteX1" fmla="*/ 515620 w 1008838"/>
                  <a:gd name="connsiteY1" fmla="*/ 1145540 h 1546860"/>
                  <a:gd name="connsiteX2" fmla="*/ 541020 w 1008838"/>
                  <a:gd name="connsiteY2" fmla="*/ 861060 h 1546860"/>
                  <a:gd name="connsiteX3" fmla="*/ 533400 w 1008838"/>
                  <a:gd name="connsiteY3" fmla="*/ 624840 h 1546860"/>
                  <a:gd name="connsiteX4" fmla="*/ 266700 w 1008838"/>
                  <a:gd name="connsiteY4" fmla="*/ 472440 h 1546860"/>
                  <a:gd name="connsiteX5" fmla="*/ 190500 w 1008838"/>
                  <a:gd name="connsiteY5" fmla="*/ 342900 h 1546860"/>
                  <a:gd name="connsiteX6" fmla="*/ 0 w 1008838"/>
                  <a:gd name="connsiteY6" fmla="*/ 243840 h 1546860"/>
                  <a:gd name="connsiteX7" fmla="*/ 190500 w 1008838"/>
                  <a:gd name="connsiteY7" fmla="*/ 304800 h 1546860"/>
                  <a:gd name="connsiteX8" fmla="*/ 182880 w 1008838"/>
                  <a:gd name="connsiteY8" fmla="*/ 129540 h 1546860"/>
                  <a:gd name="connsiteX9" fmla="*/ 210819 w 1008838"/>
                  <a:gd name="connsiteY9" fmla="*/ 309880 h 1546860"/>
                  <a:gd name="connsiteX10" fmla="*/ 297180 w 1008838"/>
                  <a:gd name="connsiteY10" fmla="*/ 434340 h 1546860"/>
                  <a:gd name="connsiteX11" fmla="*/ 525780 w 1008838"/>
                  <a:gd name="connsiteY11" fmla="*/ 548640 h 1546860"/>
                  <a:gd name="connsiteX12" fmla="*/ 563880 w 1008838"/>
                  <a:gd name="connsiteY12" fmla="*/ 327660 h 1546860"/>
                  <a:gd name="connsiteX13" fmla="*/ 449580 w 1008838"/>
                  <a:gd name="connsiteY13" fmla="*/ 53340 h 1546860"/>
                  <a:gd name="connsiteX14" fmla="*/ 365760 w 1008838"/>
                  <a:gd name="connsiteY14" fmla="*/ 0 h 1546860"/>
                  <a:gd name="connsiteX15" fmla="*/ 419100 w 1008838"/>
                  <a:gd name="connsiteY15" fmla="*/ 0 h 1546860"/>
                  <a:gd name="connsiteX16" fmla="*/ 495300 w 1008838"/>
                  <a:gd name="connsiteY16" fmla="*/ 60960 h 1546860"/>
                  <a:gd name="connsiteX17" fmla="*/ 530859 w 1008838"/>
                  <a:gd name="connsiteY17" fmla="*/ 137160 h 1546860"/>
                  <a:gd name="connsiteX18" fmla="*/ 541019 w 1008838"/>
                  <a:gd name="connsiteY18" fmla="*/ 172720 h 1546860"/>
                  <a:gd name="connsiteX19" fmla="*/ 571499 w 1008838"/>
                  <a:gd name="connsiteY19" fmla="*/ 228600 h 1546860"/>
                  <a:gd name="connsiteX20" fmla="*/ 594360 w 1008838"/>
                  <a:gd name="connsiteY20" fmla="*/ 304800 h 1546860"/>
                  <a:gd name="connsiteX21" fmla="*/ 723900 w 1008838"/>
                  <a:gd name="connsiteY21" fmla="*/ 60960 h 1546860"/>
                  <a:gd name="connsiteX22" fmla="*/ 739140 w 1008838"/>
                  <a:gd name="connsiteY22" fmla="*/ 121920 h 1546860"/>
                  <a:gd name="connsiteX23" fmla="*/ 632460 w 1008838"/>
                  <a:gd name="connsiteY23" fmla="*/ 342900 h 1546860"/>
                  <a:gd name="connsiteX24" fmla="*/ 594360 w 1008838"/>
                  <a:gd name="connsiteY24" fmla="*/ 533400 h 1546860"/>
                  <a:gd name="connsiteX25" fmla="*/ 609600 w 1008838"/>
                  <a:gd name="connsiteY25" fmla="*/ 736600 h 1546860"/>
                  <a:gd name="connsiteX26" fmla="*/ 838200 w 1008838"/>
                  <a:gd name="connsiteY26" fmla="*/ 457200 h 1546860"/>
                  <a:gd name="connsiteX27" fmla="*/ 868680 w 1008838"/>
                  <a:gd name="connsiteY27" fmla="*/ 495300 h 1546860"/>
                  <a:gd name="connsiteX28" fmla="*/ 792480 w 1008838"/>
                  <a:gd name="connsiteY28" fmla="*/ 609600 h 1546860"/>
                  <a:gd name="connsiteX29" fmla="*/ 962660 w 1008838"/>
                  <a:gd name="connsiteY29" fmla="*/ 523240 h 1546860"/>
                  <a:gd name="connsiteX30" fmla="*/ 998220 w 1008838"/>
                  <a:gd name="connsiteY30" fmla="*/ 533400 h 1546860"/>
                  <a:gd name="connsiteX31" fmla="*/ 746760 w 1008838"/>
                  <a:gd name="connsiteY31" fmla="*/ 662940 h 1546860"/>
                  <a:gd name="connsiteX32" fmla="*/ 632460 w 1008838"/>
                  <a:gd name="connsiteY32" fmla="*/ 845820 h 1546860"/>
                  <a:gd name="connsiteX33" fmla="*/ 640080 w 1008838"/>
                  <a:gd name="connsiteY33" fmla="*/ 1188720 h 1546860"/>
                  <a:gd name="connsiteX34" fmla="*/ 640080 w 1008838"/>
                  <a:gd name="connsiteY34" fmla="*/ 1546860 h 1546860"/>
                  <a:gd name="connsiteX35" fmla="*/ 457200 w 1008838"/>
                  <a:gd name="connsiteY35" fmla="*/ 1546860 h 154686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71499 w 1008838"/>
                  <a:gd name="connsiteY19" fmla="*/ 259080 h 1577340"/>
                  <a:gd name="connsiteX20" fmla="*/ 594360 w 1008838"/>
                  <a:gd name="connsiteY20" fmla="*/ 335280 h 1577340"/>
                  <a:gd name="connsiteX21" fmla="*/ 723900 w 1008838"/>
                  <a:gd name="connsiteY21" fmla="*/ 91440 h 1577340"/>
                  <a:gd name="connsiteX22" fmla="*/ 739140 w 1008838"/>
                  <a:gd name="connsiteY22" fmla="*/ 152400 h 1577340"/>
                  <a:gd name="connsiteX23" fmla="*/ 632460 w 1008838"/>
                  <a:gd name="connsiteY23" fmla="*/ 373380 h 1577340"/>
                  <a:gd name="connsiteX24" fmla="*/ 594360 w 1008838"/>
                  <a:gd name="connsiteY24" fmla="*/ 563880 h 1577340"/>
                  <a:gd name="connsiteX25" fmla="*/ 609600 w 1008838"/>
                  <a:gd name="connsiteY25" fmla="*/ 767080 h 1577340"/>
                  <a:gd name="connsiteX26" fmla="*/ 838200 w 1008838"/>
                  <a:gd name="connsiteY26" fmla="*/ 487680 h 1577340"/>
                  <a:gd name="connsiteX27" fmla="*/ 868680 w 1008838"/>
                  <a:gd name="connsiteY27" fmla="*/ 525780 h 1577340"/>
                  <a:gd name="connsiteX28" fmla="*/ 792480 w 1008838"/>
                  <a:gd name="connsiteY28" fmla="*/ 640080 h 1577340"/>
                  <a:gd name="connsiteX29" fmla="*/ 962660 w 1008838"/>
                  <a:gd name="connsiteY29" fmla="*/ 553720 h 1577340"/>
                  <a:gd name="connsiteX30" fmla="*/ 998220 w 1008838"/>
                  <a:gd name="connsiteY30" fmla="*/ 563880 h 1577340"/>
                  <a:gd name="connsiteX31" fmla="*/ 746760 w 1008838"/>
                  <a:gd name="connsiteY31" fmla="*/ 693420 h 1577340"/>
                  <a:gd name="connsiteX32" fmla="*/ 632460 w 1008838"/>
                  <a:gd name="connsiteY32" fmla="*/ 876300 h 1577340"/>
                  <a:gd name="connsiteX33" fmla="*/ 640080 w 1008838"/>
                  <a:gd name="connsiteY33" fmla="*/ 1219200 h 1577340"/>
                  <a:gd name="connsiteX34" fmla="*/ 640080 w 1008838"/>
                  <a:gd name="connsiteY34" fmla="*/ 1577340 h 1577340"/>
                  <a:gd name="connsiteX35" fmla="*/ 457200 w 1008838"/>
                  <a:gd name="connsiteY35"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739140 w 1008838"/>
                  <a:gd name="connsiteY22" fmla="*/ 152400 h 1577340"/>
                  <a:gd name="connsiteX23" fmla="*/ 632460 w 1008838"/>
                  <a:gd name="connsiteY23" fmla="*/ 373380 h 1577340"/>
                  <a:gd name="connsiteX24" fmla="*/ 594360 w 1008838"/>
                  <a:gd name="connsiteY24" fmla="*/ 563880 h 1577340"/>
                  <a:gd name="connsiteX25" fmla="*/ 609600 w 1008838"/>
                  <a:gd name="connsiteY25" fmla="*/ 767080 h 1577340"/>
                  <a:gd name="connsiteX26" fmla="*/ 838200 w 1008838"/>
                  <a:gd name="connsiteY26" fmla="*/ 487680 h 1577340"/>
                  <a:gd name="connsiteX27" fmla="*/ 868680 w 1008838"/>
                  <a:gd name="connsiteY27" fmla="*/ 525780 h 1577340"/>
                  <a:gd name="connsiteX28" fmla="*/ 792480 w 1008838"/>
                  <a:gd name="connsiteY28" fmla="*/ 640080 h 1577340"/>
                  <a:gd name="connsiteX29" fmla="*/ 962660 w 1008838"/>
                  <a:gd name="connsiteY29" fmla="*/ 553720 h 1577340"/>
                  <a:gd name="connsiteX30" fmla="*/ 998220 w 1008838"/>
                  <a:gd name="connsiteY30" fmla="*/ 563880 h 1577340"/>
                  <a:gd name="connsiteX31" fmla="*/ 746760 w 1008838"/>
                  <a:gd name="connsiteY31" fmla="*/ 693420 h 1577340"/>
                  <a:gd name="connsiteX32" fmla="*/ 632460 w 1008838"/>
                  <a:gd name="connsiteY32" fmla="*/ 876300 h 1577340"/>
                  <a:gd name="connsiteX33" fmla="*/ 640080 w 1008838"/>
                  <a:gd name="connsiteY33" fmla="*/ 1219200 h 1577340"/>
                  <a:gd name="connsiteX34" fmla="*/ 640080 w 1008838"/>
                  <a:gd name="connsiteY34" fmla="*/ 1577340 h 1577340"/>
                  <a:gd name="connsiteX35" fmla="*/ 457200 w 1008838"/>
                  <a:gd name="connsiteY35"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947420 w 1008838"/>
                  <a:gd name="connsiteY22" fmla="*/ 15240 h 1577340"/>
                  <a:gd name="connsiteX23" fmla="*/ 632460 w 1008838"/>
                  <a:gd name="connsiteY23" fmla="*/ 373380 h 1577340"/>
                  <a:gd name="connsiteX24" fmla="*/ 594360 w 1008838"/>
                  <a:gd name="connsiteY24" fmla="*/ 563880 h 1577340"/>
                  <a:gd name="connsiteX25" fmla="*/ 609600 w 1008838"/>
                  <a:gd name="connsiteY25" fmla="*/ 767080 h 1577340"/>
                  <a:gd name="connsiteX26" fmla="*/ 838200 w 1008838"/>
                  <a:gd name="connsiteY26" fmla="*/ 487680 h 1577340"/>
                  <a:gd name="connsiteX27" fmla="*/ 868680 w 1008838"/>
                  <a:gd name="connsiteY27" fmla="*/ 525780 h 1577340"/>
                  <a:gd name="connsiteX28" fmla="*/ 792480 w 1008838"/>
                  <a:gd name="connsiteY28" fmla="*/ 640080 h 1577340"/>
                  <a:gd name="connsiteX29" fmla="*/ 962660 w 1008838"/>
                  <a:gd name="connsiteY29" fmla="*/ 553720 h 1577340"/>
                  <a:gd name="connsiteX30" fmla="*/ 998220 w 1008838"/>
                  <a:gd name="connsiteY30" fmla="*/ 563880 h 1577340"/>
                  <a:gd name="connsiteX31" fmla="*/ 746760 w 1008838"/>
                  <a:gd name="connsiteY31" fmla="*/ 693420 h 1577340"/>
                  <a:gd name="connsiteX32" fmla="*/ 632460 w 1008838"/>
                  <a:gd name="connsiteY32" fmla="*/ 876300 h 1577340"/>
                  <a:gd name="connsiteX33" fmla="*/ 640080 w 1008838"/>
                  <a:gd name="connsiteY33" fmla="*/ 1219200 h 1577340"/>
                  <a:gd name="connsiteX34" fmla="*/ 640080 w 1008838"/>
                  <a:gd name="connsiteY34" fmla="*/ 1577340 h 1577340"/>
                  <a:gd name="connsiteX35" fmla="*/ 457200 w 1008838"/>
                  <a:gd name="connsiteY35"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947420 w 1008838"/>
                  <a:gd name="connsiteY22" fmla="*/ 15240 h 1577340"/>
                  <a:gd name="connsiteX23" fmla="*/ 810259 w 1008838"/>
                  <a:gd name="connsiteY23" fmla="*/ 177800 h 1577340"/>
                  <a:gd name="connsiteX24" fmla="*/ 632460 w 1008838"/>
                  <a:gd name="connsiteY24" fmla="*/ 373380 h 1577340"/>
                  <a:gd name="connsiteX25" fmla="*/ 594360 w 1008838"/>
                  <a:gd name="connsiteY25" fmla="*/ 563880 h 1577340"/>
                  <a:gd name="connsiteX26" fmla="*/ 609600 w 1008838"/>
                  <a:gd name="connsiteY26" fmla="*/ 767080 h 1577340"/>
                  <a:gd name="connsiteX27" fmla="*/ 838200 w 1008838"/>
                  <a:gd name="connsiteY27" fmla="*/ 487680 h 1577340"/>
                  <a:gd name="connsiteX28" fmla="*/ 868680 w 1008838"/>
                  <a:gd name="connsiteY28" fmla="*/ 525780 h 1577340"/>
                  <a:gd name="connsiteX29" fmla="*/ 792480 w 1008838"/>
                  <a:gd name="connsiteY29" fmla="*/ 640080 h 1577340"/>
                  <a:gd name="connsiteX30" fmla="*/ 962660 w 1008838"/>
                  <a:gd name="connsiteY30" fmla="*/ 553720 h 1577340"/>
                  <a:gd name="connsiteX31" fmla="*/ 998220 w 1008838"/>
                  <a:gd name="connsiteY31" fmla="*/ 563880 h 1577340"/>
                  <a:gd name="connsiteX32" fmla="*/ 746760 w 1008838"/>
                  <a:gd name="connsiteY32" fmla="*/ 693420 h 1577340"/>
                  <a:gd name="connsiteX33" fmla="*/ 632460 w 1008838"/>
                  <a:gd name="connsiteY33" fmla="*/ 876300 h 1577340"/>
                  <a:gd name="connsiteX34" fmla="*/ 640080 w 1008838"/>
                  <a:gd name="connsiteY34" fmla="*/ 1219200 h 1577340"/>
                  <a:gd name="connsiteX35" fmla="*/ 640080 w 1008838"/>
                  <a:gd name="connsiteY35" fmla="*/ 1577340 h 1577340"/>
                  <a:gd name="connsiteX36" fmla="*/ 457200 w 1008838"/>
                  <a:gd name="connsiteY36"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947420 w 1008838"/>
                  <a:gd name="connsiteY22" fmla="*/ 15240 h 1577340"/>
                  <a:gd name="connsiteX23" fmla="*/ 769619 w 1008838"/>
                  <a:gd name="connsiteY23" fmla="*/ 116840 h 1577340"/>
                  <a:gd name="connsiteX24" fmla="*/ 632460 w 1008838"/>
                  <a:gd name="connsiteY24" fmla="*/ 373380 h 1577340"/>
                  <a:gd name="connsiteX25" fmla="*/ 594360 w 1008838"/>
                  <a:gd name="connsiteY25" fmla="*/ 563880 h 1577340"/>
                  <a:gd name="connsiteX26" fmla="*/ 609600 w 1008838"/>
                  <a:gd name="connsiteY26" fmla="*/ 767080 h 1577340"/>
                  <a:gd name="connsiteX27" fmla="*/ 838200 w 1008838"/>
                  <a:gd name="connsiteY27" fmla="*/ 487680 h 1577340"/>
                  <a:gd name="connsiteX28" fmla="*/ 868680 w 1008838"/>
                  <a:gd name="connsiteY28" fmla="*/ 525780 h 1577340"/>
                  <a:gd name="connsiteX29" fmla="*/ 792480 w 1008838"/>
                  <a:gd name="connsiteY29" fmla="*/ 640080 h 1577340"/>
                  <a:gd name="connsiteX30" fmla="*/ 962660 w 1008838"/>
                  <a:gd name="connsiteY30" fmla="*/ 553720 h 1577340"/>
                  <a:gd name="connsiteX31" fmla="*/ 998220 w 1008838"/>
                  <a:gd name="connsiteY31" fmla="*/ 563880 h 1577340"/>
                  <a:gd name="connsiteX32" fmla="*/ 746760 w 1008838"/>
                  <a:gd name="connsiteY32" fmla="*/ 693420 h 1577340"/>
                  <a:gd name="connsiteX33" fmla="*/ 632460 w 1008838"/>
                  <a:gd name="connsiteY33" fmla="*/ 876300 h 1577340"/>
                  <a:gd name="connsiteX34" fmla="*/ 640080 w 1008838"/>
                  <a:gd name="connsiteY34" fmla="*/ 1219200 h 1577340"/>
                  <a:gd name="connsiteX35" fmla="*/ 640080 w 1008838"/>
                  <a:gd name="connsiteY35" fmla="*/ 1577340 h 1577340"/>
                  <a:gd name="connsiteX36" fmla="*/ 457200 w 1008838"/>
                  <a:gd name="connsiteY36"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900 w 1008838"/>
                  <a:gd name="connsiteY21" fmla="*/ 91440 h 1577340"/>
                  <a:gd name="connsiteX22" fmla="*/ 769619 w 1008838"/>
                  <a:gd name="connsiteY22" fmla="*/ 81280 h 1577340"/>
                  <a:gd name="connsiteX23" fmla="*/ 947420 w 1008838"/>
                  <a:gd name="connsiteY23" fmla="*/ 15240 h 1577340"/>
                  <a:gd name="connsiteX24" fmla="*/ 769619 w 1008838"/>
                  <a:gd name="connsiteY24" fmla="*/ 116840 h 1577340"/>
                  <a:gd name="connsiteX25" fmla="*/ 632460 w 1008838"/>
                  <a:gd name="connsiteY25" fmla="*/ 373380 h 1577340"/>
                  <a:gd name="connsiteX26" fmla="*/ 594360 w 1008838"/>
                  <a:gd name="connsiteY26" fmla="*/ 563880 h 1577340"/>
                  <a:gd name="connsiteX27" fmla="*/ 609600 w 1008838"/>
                  <a:gd name="connsiteY27" fmla="*/ 767080 h 1577340"/>
                  <a:gd name="connsiteX28" fmla="*/ 838200 w 1008838"/>
                  <a:gd name="connsiteY28" fmla="*/ 487680 h 1577340"/>
                  <a:gd name="connsiteX29" fmla="*/ 868680 w 1008838"/>
                  <a:gd name="connsiteY29" fmla="*/ 525780 h 1577340"/>
                  <a:gd name="connsiteX30" fmla="*/ 792480 w 1008838"/>
                  <a:gd name="connsiteY30" fmla="*/ 640080 h 1577340"/>
                  <a:gd name="connsiteX31" fmla="*/ 962660 w 1008838"/>
                  <a:gd name="connsiteY31" fmla="*/ 553720 h 1577340"/>
                  <a:gd name="connsiteX32" fmla="*/ 998220 w 1008838"/>
                  <a:gd name="connsiteY32" fmla="*/ 563880 h 1577340"/>
                  <a:gd name="connsiteX33" fmla="*/ 746760 w 1008838"/>
                  <a:gd name="connsiteY33" fmla="*/ 693420 h 1577340"/>
                  <a:gd name="connsiteX34" fmla="*/ 632460 w 1008838"/>
                  <a:gd name="connsiteY34" fmla="*/ 876300 h 1577340"/>
                  <a:gd name="connsiteX35" fmla="*/ 640080 w 1008838"/>
                  <a:gd name="connsiteY35" fmla="*/ 1219200 h 1577340"/>
                  <a:gd name="connsiteX36" fmla="*/ 640080 w 1008838"/>
                  <a:gd name="connsiteY36" fmla="*/ 1577340 h 1577340"/>
                  <a:gd name="connsiteX37" fmla="*/ 457200 w 1008838"/>
                  <a:gd name="connsiteY37"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698499 w 1008838"/>
                  <a:gd name="connsiteY21" fmla="*/ 132080 h 1577340"/>
                  <a:gd name="connsiteX22" fmla="*/ 723900 w 1008838"/>
                  <a:gd name="connsiteY22" fmla="*/ 91440 h 1577340"/>
                  <a:gd name="connsiteX23" fmla="*/ 769619 w 1008838"/>
                  <a:gd name="connsiteY23" fmla="*/ 81280 h 1577340"/>
                  <a:gd name="connsiteX24" fmla="*/ 947420 w 1008838"/>
                  <a:gd name="connsiteY24" fmla="*/ 15240 h 1577340"/>
                  <a:gd name="connsiteX25" fmla="*/ 769619 w 1008838"/>
                  <a:gd name="connsiteY25" fmla="*/ 116840 h 1577340"/>
                  <a:gd name="connsiteX26" fmla="*/ 632460 w 1008838"/>
                  <a:gd name="connsiteY26" fmla="*/ 373380 h 1577340"/>
                  <a:gd name="connsiteX27" fmla="*/ 594360 w 1008838"/>
                  <a:gd name="connsiteY27" fmla="*/ 563880 h 1577340"/>
                  <a:gd name="connsiteX28" fmla="*/ 609600 w 1008838"/>
                  <a:gd name="connsiteY28" fmla="*/ 767080 h 1577340"/>
                  <a:gd name="connsiteX29" fmla="*/ 838200 w 1008838"/>
                  <a:gd name="connsiteY29" fmla="*/ 487680 h 1577340"/>
                  <a:gd name="connsiteX30" fmla="*/ 868680 w 1008838"/>
                  <a:gd name="connsiteY30" fmla="*/ 525780 h 1577340"/>
                  <a:gd name="connsiteX31" fmla="*/ 792480 w 1008838"/>
                  <a:gd name="connsiteY31" fmla="*/ 640080 h 1577340"/>
                  <a:gd name="connsiteX32" fmla="*/ 962660 w 1008838"/>
                  <a:gd name="connsiteY32" fmla="*/ 553720 h 1577340"/>
                  <a:gd name="connsiteX33" fmla="*/ 998220 w 1008838"/>
                  <a:gd name="connsiteY33" fmla="*/ 563880 h 1577340"/>
                  <a:gd name="connsiteX34" fmla="*/ 746760 w 1008838"/>
                  <a:gd name="connsiteY34" fmla="*/ 693420 h 1577340"/>
                  <a:gd name="connsiteX35" fmla="*/ 632460 w 1008838"/>
                  <a:gd name="connsiteY35" fmla="*/ 876300 h 1577340"/>
                  <a:gd name="connsiteX36" fmla="*/ 640080 w 1008838"/>
                  <a:gd name="connsiteY36" fmla="*/ 1219200 h 1577340"/>
                  <a:gd name="connsiteX37" fmla="*/ 640080 w 1008838"/>
                  <a:gd name="connsiteY37" fmla="*/ 1577340 h 1577340"/>
                  <a:gd name="connsiteX38" fmla="*/ 457200 w 1008838"/>
                  <a:gd name="connsiteY38"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698499 w 1008838"/>
                  <a:gd name="connsiteY21" fmla="*/ 132080 h 1577340"/>
                  <a:gd name="connsiteX22" fmla="*/ 693420 w 1008838"/>
                  <a:gd name="connsiteY22" fmla="*/ 10160 h 1577340"/>
                  <a:gd name="connsiteX23" fmla="*/ 769619 w 1008838"/>
                  <a:gd name="connsiteY23" fmla="*/ 81280 h 1577340"/>
                  <a:gd name="connsiteX24" fmla="*/ 947420 w 1008838"/>
                  <a:gd name="connsiteY24" fmla="*/ 15240 h 1577340"/>
                  <a:gd name="connsiteX25" fmla="*/ 769619 w 1008838"/>
                  <a:gd name="connsiteY25" fmla="*/ 116840 h 1577340"/>
                  <a:gd name="connsiteX26" fmla="*/ 632460 w 1008838"/>
                  <a:gd name="connsiteY26" fmla="*/ 373380 h 1577340"/>
                  <a:gd name="connsiteX27" fmla="*/ 594360 w 1008838"/>
                  <a:gd name="connsiteY27" fmla="*/ 563880 h 1577340"/>
                  <a:gd name="connsiteX28" fmla="*/ 609600 w 1008838"/>
                  <a:gd name="connsiteY28" fmla="*/ 767080 h 1577340"/>
                  <a:gd name="connsiteX29" fmla="*/ 838200 w 1008838"/>
                  <a:gd name="connsiteY29" fmla="*/ 487680 h 1577340"/>
                  <a:gd name="connsiteX30" fmla="*/ 868680 w 1008838"/>
                  <a:gd name="connsiteY30" fmla="*/ 525780 h 1577340"/>
                  <a:gd name="connsiteX31" fmla="*/ 792480 w 1008838"/>
                  <a:gd name="connsiteY31" fmla="*/ 640080 h 1577340"/>
                  <a:gd name="connsiteX32" fmla="*/ 962660 w 1008838"/>
                  <a:gd name="connsiteY32" fmla="*/ 553720 h 1577340"/>
                  <a:gd name="connsiteX33" fmla="*/ 998220 w 1008838"/>
                  <a:gd name="connsiteY33" fmla="*/ 563880 h 1577340"/>
                  <a:gd name="connsiteX34" fmla="*/ 746760 w 1008838"/>
                  <a:gd name="connsiteY34" fmla="*/ 693420 h 1577340"/>
                  <a:gd name="connsiteX35" fmla="*/ 632460 w 1008838"/>
                  <a:gd name="connsiteY35" fmla="*/ 876300 h 1577340"/>
                  <a:gd name="connsiteX36" fmla="*/ 640080 w 1008838"/>
                  <a:gd name="connsiteY36" fmla="*/ 1219200 h 1577340"/>
                  <a:gd name="connsiteX37" fmla="*/ 640080 w 1008838"/>
                  <a:gd name="connsiteY37" fmla="*/ 1577340 h 1577340"/>
                  <a:gd name="connsiteX38" fmla="*/ 457200 w 1008838"/>
                  <a:gd name="connsiteY38"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899 w 1008838"/>
                  <a:gd name="connsiteY21" fmla="*/ 111760 h 1577340"/>
                  <a:gd name="connsiteX22" fmla="*/ 693420 w 1008838"/>
                  <a:gd name="connsiteY22" fmla="*/ 10160 h 1577340"/>
                  <a:gd name="connsiteX23" fmla="*/ 769619 w 1008838"/>
                  <a:gd name="connsiteY23" fmla="*/ 81280 h 1577340"/>
                  <a:gd name="connsiteX24" fmla="*/ 947420 w 1008838"/>
                  <a:gd name="connsiteY24" fmla="*/ 15240 h 1577340"/>
                  <a:gd name="connsiteX25" fmla="*/ 769619 w 1008838"/>
                  <a:gd name="connsiteY25" fmla="*/ 116840 h 1577340"/>
                  <a:gd name="connsiteX26" fmla="*/ 632460 w 1008838"/>
                  <a:gd name="connsiteY26" fmla="*/ 373380 h 1577340"/>
                  <a:gd name="connsiteX27" fmla="*/ 594360 w 1008838"/>
                  <a:gd name="connsiteY27" fmla="*/ 563880 h 1577340"/>
                  <a:gd name="connsiteX28" fmla="*/ 609600 w 1008838"/>
                  <a:gd name="connsiteY28" fmla="*/ 767080 h 1577340"/>
                  <a:gd name="connsiteX29" fmla="*/ 838200 w 1008838"/>
                  <a:gd name="connsiteY29" fmla="*/ 487680 h 1577340"/>
                  <a:gd name="connsiteX30" fmla="*/ 868680 w 1008838"/>
                  <a:gd name="connsiteY30" fmla="*/ 525780 h 1577340"/>
                  <a:gd name="connsiteX31" fmla="*/ 792480 w 1008838"/>
                  <a:gd name="connsiteY31" fmla="*/ 640080 h 1577340"/>
                  <a:gd name="connsiteX32" fmla="*/ 962660 w 1008838"/>
                  <a:gd name="connsiteY32" fmla="*/ 553720 h 1577340"/>
                  <a:gd name="connsiteX33" fmla="*/ 998220 w 1008838"/>
                  <a:gd name="connsiteY33" fmla="*/ 563880 h 1577340"/>
                  <a:gd name="connsiteX34" fmla="*/ 746760 w 1008838"/>
                  <a:gd name="connsiteY34" fmla="*/ 693420 h 1577340"/>
                  <a:gd name="connsiteX35" fmla="*/ 632460 w 1008838"/>
                  <a:gd name="connsiteY35" fmla="*/ 876300 h 1577340"/>
                  <a:gd name="connsiteX36" fmla="*/ 640080 w 1008838"/>
                  <a:gd name="connsiteY36" fmla="*/ 1219200 h 1577340"/>
                  <a:gd name="connsiteX37" fmla="*/ 640080 w 1008838"/>
                  <a:gd name="connsiteY37" fmla="*/ 1577340 h 1577340"/>
                  <a:gd name="connsiteX38" fmla="*/ 457200 w 1008838"/>
                  <a:gd name="connsiteY38" fmla="*/ 1577340 h 1577340"/>
                  <a:gd name="connsiteX0" fmla="*/ 457200 w 1008838"/>
                  <a:gd name="connsiteY0" fmla="*/ 1577340 h 1577340"/>
                  <a:gd name="connsiteX1" fmla="*/ 515620 w 1008838"/>
                  <a:gd name="connsiteY1" fmla="*/ 1176020 h 1577340"/>
                  <a:gd name="connsiteX2" fmla="*/ 541020 w 1008838"/>
                  <a:gd name="connsiteY2" fmla="*/ 891540 h 1577340"/>
                  <a:gd name="connsiteX3" fmla="*/ 533400 w 1008838"/>
                  <a:gd name="connsiteY3" fmla="*/ 655320 h 1577340"/>
                  <a:gd name="connsiteX4" fmla="*/ 266700 w 1008838"/>
                  <a:gd name="connsiteY4" fmla="*/ 502920 h 1577340"/>
                  <a:gd name="connsiteX5" fmla="*/ 190500 w 1008838"/>
                  <a:gd name="connsiteY5" fmla="*/ 373380 h 1577340"/>
                  <a:gd name="connsiteX6" fmla="*/ 0 w 1008838"/>
                  <a:gd name="connsiteY6" fmla="*/ 274320 h 1577340"/>
                  <a:gd name="connsiteX7" fmla="*/ 190500 w 1008838"/>
                  <a:gd name="connsiteY7" fmla="*/ 335280 h 1577340"/>
                  <a:gd name="connsiteX8" fmla="*/ 182880 w 1008838"/>
                  <a:gd name="connsiteY8" fmla="*/ 160020 h 1577340"/>
                  <a:gd name="connsiteX9" fmla="*/ 210819 w 1008838"/>
                  <a:gd name="connsiteY9" fmla="*/ 340360 h 1577340"/>
                  <a:gd name="connsiteX10" fmla="*/ 297180 w 1008838"/>
                  <a:gd name="connsiteY10" fmla="*/ 464820 h 1577340"/>
                  <a:gd name="connsiteX11" fmla="*/ 525780 w 1008838"/>
                  <a:gd name="connsiteY11" fmla="*/ 579120 h 1577340"/>
                  <a:gd name="connsiteX12" fmla="*/ 563880 w 1008838"/>
                  <a:gd name="connsiteY12" fmla="*/ 358140 h 1577340"/>
                  <a:gd name="connsiteX13" fmla="*/ 449580 w 1008838"/>
                  <a:gd name="connsiteY13" fmla="*/ 83820 h 1577340"/>
                  <a:gd name="connsiteX14" fmla="*/ 365760 w 1008838"/>
                  <a:gd name="connsiteY14" fmla="*/ 30480 h 1577340"/>
                  <a:gd name="connsiteX15" fmla="*/ 419100 w 1008838"/>
                  <a:gd name="connsiteY15" fmla="*/ 30480 h 1577340"/>
                  <a:gd name="connsiteX16" fmla="*/ 495300 w 1008838"/>
                  <a:gd name="connsiteY16" fmla="*/ 91440 h 1577340"/>
                  <a:gd name="connsiteX17" fmla="*/ 530859 w 1008838"/>
                  <a:gd name="connsiteY17" fmla="*/ 167640 h 1577340"/>
                  <a:gd name="connsiteX18" fmla="*/ 622299 w 1008838"/>
                  <a:gd name="connsiteY18" fmla="*/ 0 h 1577340"/>
                  <a:gd name="connsiteX19" fmla="*/ 546099 w 1008838"/>
                  <a:gd name="connsiteY19" fmla="*/ 203200 h 1577340"/>
                  <a:gd name="connsiteX20" fmla="*/ 594360 w 1008838"/>
                  <a:gd name="connsiteY20" fmla="*/ 335280 h 1577340"/>
                  <a:gd name="connsiteX21" fmla="*/ 723899 w 1008838"/>
                  <a:gd name="connsiteY21" fmla="*/ 111760 h 1577340"/>
                  <a:gd name="connsiteX22" fmla="*/ 693420 w 1008838"/>
                  <a:gd name="connsiteY22" fmla="*/ 10160 h 1577340"/>
                  <a:gd name="connsiteX23" fmla="*/ 728979 w 1008838"/>
                  <a:gd name="connsiteY23" fmla="*/ 50800 h 1577340"/>
                  <a:gd name="connsiteX24" fmla="*/ 769619 w 1008838"/>
                  <a:gd name="connsiteY24" fmla="*/ 81280 h 1577340"/>
                  <a:gd name="connsiteX25" fmla="*/ 947420 w 1008838"/>
                  <a:gd name="connsiteY25" fmla="*/ 15240 h 1577340"/>
                  <a:gd name="connsiteX26" fmla="*/ 769619 w 1008838"/>
                  <a:gd name="connsiteY26" fmla="*/ 116840 h 1577340"/>
                  <a:gd name="connsiteX27" fmla="*/ 632460 w 1008838"/>
                  <a:gd name="connsiteY27" fmla="*/ 373380 h 1577340"/>
                  <a:gd name="connsiteX28" fmla="*/ 594360 w 1008838"/>
                  <a:gd name="connsiteY28" fmla="*/ 563880 h 1577340"/>
                  <a:gd name="connsiteX29" fmla="*/ 609600 w 1008838"/>
                  <a:gd name="connsiteY29" fmla="*/ 767080 h 1577340"/>
                  <a:gd name="connsiteX30" fmla="*/ 838200 w 1008838"/>
                  <a:gd name="connsiteY30" fmla="*/ 487680 h 1577340"/>
                  <a:gd name="connsiteX31" fmla="*/ 868680 w 1008838"/>
                  <a:gd name="connsiteY31" fmla="*/ 525780 h 1577340"/>
                  <a:gd name="connsiteX32" fmla="*/ 792480 w 1008838"/>
                  <a:gd name="connsiteY32" fmla="*/ 640080 h 1577340"/>
                  <a:gd name="connsiteX33" fmla="*/ 962660 w 1008838"/>
                  <a:gd name="connsiteY33" fmla="*/ 553720 h 1577340"/>
                  <a:gd name="connsiteX34" fmla="*/ 998220 w 1008838"/>
                  <a:gd name="connsiteY34" fmla="*/ 563880 h 1577340"/>
                  <a:gd name="connsiteX35" fmla="*/ 746760 w 1008838"/>
                  <a:gd name="connsiteY35" fmla="*/ 693420 h 1577340"/>
                  <a:gd name="connsiteX36" fmla="*/ 632460 w 1008838"/>
                  <a:gd name="connsiteY36" fmla="*/ 876300 h 1577340"/>
                  <a:gd name="connsiteX37" fmla="*/ 640080 w 1008838"/>
                  <a:gd name="connsiteY37" fmla="*/ 1219200 h 1577340"/>
                  <a:gd name="connsiteX38" fmla="*/ 640080 w 1008838"/>
                  <a:gd name="connsiteY38" fmla="*/ 1577340 h 1577340"/>
                  <a:gd name="connsiteX39" fmla="*/ 457200 w 1008838"/>
                  <a:gd name="connsiteY39" fmla="*/ 1577340 h 157734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9619 w 1008838"/>
                  <a:gd name="connsiteY24" fmla="*/ 101600 h 1597660"/>
                  <a:gd name="connsiteX25" fmla="*/ 947420 w 1008838"/>
                  <a:gd name="connsiteY25" fmla="*/ 35560 h 1597660"/>
                  <a:gd name="connsiteX26" fmla="*/ 769619 w 1008838"/>
                  <a:gd name="connsiteY26" fmla="*/ 137160 h 1597660"/>
                  <a:gd name="connsiteX27" fmla="*/ 632460 w 1008838"/>
                  <a:gd name="connsiteY27" fmla="*/ 393700 h 1597660"/>
                  <a:gd name="connsiteX28" fmla="*/ 594360 w 1008838"/>
                  <a:gd name="connsiteY28" fmla="*/ 584200 h 1597660"/>
                  <a:gd name="connsiteX29" fmla="*/ 609600 w 1008838"/>
                  <a:gd name="connsiteY29" fmla="*/ 78740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9619 w 1008838"/>
                  <a:gd name="connsiteY24" fmla="*/ 10160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594360 w 1008838"/>
                  <a:gd name="connsiteY28" fmla="*/ 584200 h 1597660"/>
                  <a:gd name="connsiteX29" fmla="*/ 609600 w 1008838"/>
                  <a:gd name="connsiteY29" fmla="*/ 78740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594360 w 1008838"/>
                  <a:gd name="connsiteY28" fmla="*/ 584200 h 1597660"/>
                  <a:gd name="connsiteX29" fmla="*/ 609600 w 1008838"/>
                  <a:gd name="connsiteY29" fmla="*/ 78740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594360 w 1008838"/>
                  <a:gd name="connsiteY28" fmla="*/ 584200 h 1597660"/>
                  <a:gd name="connsiteX29" fmla="*/ 624840 w 1008838"/>
                  <a:gd name="connsiteY29" fmla="*/ 78994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38200 w 1008838"/>
                  <a:gd name="connsiteY30" fmla="*/ 508000 h 1597660"/>
                  <a:gd name="connsiteX31" fmla="*/ 868680 w 1008838"/>
                  <a:gd name="connsiteY31" fmla="*/ 546100 h 1597660"/>
                  <a:gd name="connsiteX32" fmla="*/ 792480 w 1008838"/>
                  <a:gd name="connsiteY32" fmla="*/ 660400 h 1597660"/>
                  <a:gd name="connsiteX33" fmla="*/ 962660 w 1008838"/>
                  <a:gd name="connsiteY33" fmla="*/ 574040 h 1597660"/>
                  <a:gd name="connsiteX34" fmla="*/ 998220 w 1008838"/>
                  <a:gd name="connsiteY34" fmla="*/ 584200 h 1597660"/>
                  <a:gd name="connsiteX35" fmla="*/ 746760 w 1008838"/>
                  <a:gd name="connsiteY35" fmla="*/ 713740 h 1597660"/>
                  <a:gd name="connsiteX36" fmla="*/ 632460 w 1008838"/>
                  <a:gd name="connsiteY36" fmla="*/ 896620 h 1597660"/>
                  <a:gd name="connsiteX37" fmla="*/ 640080 w 1008838"/>
                  <a:gd name="connsiteY37" fmla="*/ 1239520 h 1597660"/>
                  <a:gd name="connsiteX38" fmla="*/ 640080 w 1008838"/>
                  <a:gd name="connsiteY38" fmla="*/ 1597660 h 1597660"/>
                  <a:gd name="connsiteX39" fmla="*/ 457200 w 1008838"/>
                  <a:gd name="connsiteY39"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38200 w 1008838"/>
                  <a:gd name="connsiteY31" fmla="*/ 508000 h 1597660"/>
                  <a:gd name="connsiteX32" fmla="*/ 868680 w 1008838"/>
                  <a:gd name="connsiteY32" fmla="*/ 546100 h 1597660"/>
                  <a:gd name="connsiteX33" fmla="*/ 792480 w 1008838"/>
                  <a:gd name="connsiteY33" fmla="*/ 660400 h 1597660"/>
                  <a:gd name="connsiteX34" fmla="*/ 962660 w 1008838"/>
                  <a:gd name="connsiteY34" fmla="*/ 574040 h 1597660"/>
                  <a:gd name="connsiteX35" fmla="*/ 998220 w 1008838"/>
                  <a:gd name="connsiteY35" fmla="*/ 584200 h 1597660"/>
                  <a:gd name="connsiteX36" fmla="*/ 746760 w 1008838"/>
                  <a:gd name="connsiteY36" fmla="*/ 713740 h 1597660"/>
                  <a:gd name="connsiteX37" fmla="*/ 632460 w 1008838"/>
                  <a:gd name="connsiteY37" fmla="*/ 896620 h 1597660"/>
                  <a:gd name="connsiteX38" fmla="*/ 640080 w 1008838"/>
                  <a:gd name="connsiteY38" fmla="*/ 1239520 h 1597660"/>
                  <a:gd name="connsiteX39" fmla="*/ 640080 w 1008838"/>
                  <a:gd name="connsiteY39" fmla="*/ 1597660 h 1597660"/>
                  <a:gd name="connsiteX40" fmla="*/ 457200 w 1008838"/>
                  <a:gd name="connsiteY40"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68680 w 1008838"/>
                  <a:gd name="connsiteY32" fmla="*/ 546100 h 1597660"/>
                  <a:gd name="connsiteX33" fmla="*/ 792480 w 1008838"/>
                  <a:gd name="connsiteY33" fmla="*/ 660400 h 1597660"/>
                  <a:gd name="connsiteX34" fmla="*/ 962660 w 1008838"/>
                  <a:gd name="connsiteY34" fmla="*/ 574040 h 1597660"/>
                  <a:gd name="connsiteX35" fmla="*/ 998220 w 1008838"/>
                  <a:gd name="connsiteY35" fmla="*/ 584200 h 1597660"/>
                  <a:gd name="connsiteX36" fmla="*/ 746760 w 1008838"/>
                  <a:gd name="connsiteY36" fmla="*/ 713740 h 1597660"/>
                  <a:gd name="connsiteX37" fmla="*/ 632460 w 1008838"/>
                  <a:gd name="connsiteY37" fmla="*/ 896620 h 1597660"/>
                  <a:gd name="connsiteX38" fmla="*/ 640080 w 1008838"/>
                  <a:gd name="connsiteY38" fmla="*/ 1239520 h 1597660"/>
                  <a:gd name="connsiteX39" fmla="*/ 640080 w 1008838"/>
                  <a:gd name="connsiteY39" fmla="*/ 1597660 h 1597660"/>
                  <a:gd name="connsiteX40" fmla="*/ 457200 w 1008838"/>
                  <a:gd name="connsiteY40"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990600 w 1008838"/>
                  <a:gd name="connsiteY32" fmla="*/ 370840 h 1597660"/>
                  <a:gd name="connsiteX33" fmla="*/ 792480 w 1008838"/>
                  <a:gd name="connsiteY33" fmla="*/ 660400 h 1597660"/>
                  <a:gd name="connsiteX34" fmla="*/ 962660 w 1008838"/>
                  <a:gd name="connsiteY34" fmla="*/ 574040 h 1597660"/>
                  <a:gd name="connsiteX35" fmla="*/ 998220 w 1008838"/>
                  <a:gd name="connsiteY35" fmla="*/ 584200 h 1597660"/>
                  <a:gd name="connsiteX36" fmla="*/ 746760 w 1008838"/>
                  <a:gd name="connsiteY36" fmla="*/ 713740 h 1597660"/>
                  <a:gd name="connsiteX37" fmla="*/ 632460 w 1008838"/>
                  <a:gd name="connsiteY37" fmla="*/ 896620 h 1597660"/>
                  <a:gd name="connsiteX38" fmla="*/ 640080 w 1008838"/>
                  <a:gd name="connsiteY38" fmla="*/ 1239520 h 1597660"/>
                  <a:gd name="connsiteX39" fmla="*/ 640080 w 1008838"/>
                  <a:gd name="connsiteY39" fmla="*/ 1597660 h 1597660"/>
                  <a:gd name="connsiteX40" fmla="*/ 457200 w 1008838"/>
                  <a:gd name="connsiteY40"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91539 w 1008838"/>
                  <a:gd name="connsiteY32" fmla="*/ 327660 h 1597660"/>
                  <a:gd name="connsiteX33" fmla="*/ 990600 w 1008838"/>
                  <a:gd name="connsiteY33" fmla="*/ 370840 h 1597660"/>
                  <a:gd name="connsiteX34" fmla="*/ 792480 w 1008838"/>
                  <a:gd name="connsiteY34" fmla="*/ 660400 h 1597660"/>
                  <a:gd name="connsiteX35" fmla="*/ 962660 w 1008838"/>
                  <a:gd name="connsiteY35" fmla="*/ 574040 h 1597660"/>
                  <a:gd name="connsiteX36" fmla="*/ 998220 w 1008838"/>
                  <a:gd name="connsiteY36" fmla="*/ 584200 h 1597660"/>
                  <a:gd name="connsiteX37" fmla="*/ 746760 w 1008838"/>
                  <a:gd name="connsiteY37" fmla="*/ 713740 h 1597660"/>
                  <a:gd name="connsiteX38" fmla="*/ 632460 w 1008838"/>
                  <a:gd name="connsiteY38" fmla="*/ 896620 h 1597660"/>
                  <a:gd name="connsiteX39" fmla="*/ 640080 w 1008838"/>
                  <a:gd name="connsiteY39" fmla="*/ 1239520 h 1597660"/>
                  <a:gd name="connsiteX40" fmla="*/ 640080 w 1008838"/>
                  <a:gd name="connsiteY40" fmla="*/ 1597660 h 1597660"/>
                  <a:gd name="connsiteX41" fmla="*/ 457200 w 1008838"/>
                  <a:gd name="connsiteY41"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78839 w 1008838"/>
                  <a:gd name="connsiteY32" fmla="*/ 322580 h 1597660"/>
                  <a:gd name="connsiteX33" fmla="*/ 990600 w 1008838"/>
                  <a:gd name="connsiteY33" fmla="*/ 370840 h 1597660"/>
                  <a:gd name="connsiteX34" fmla="*/ 792480 w 1008838"/>
                  <a:gd name="connsiteY34" fmla="*/ 660400 h 1597660"/>
                  <a:gd name="connsiteX35" fmla="*/ 962660 w 1008838"/>
                  <a:gd name="connsiteY35" fmla="*/ 574040 h 1597660"/>
                  <a:gd name="connsiteX36" fmla="*/ 998220 w 1008838"/>
                  <a:gd name="connsiteY36" fmla="*/ 584200 h 1597660"/>
                  <a:gd name="connsiteX37" fmla="*/ 746760 w 1008838"/>
                  <a:gd name="connsiteY37" fmla="*/ 713740 h 1597660"/>
                  <a:gd name="connsiteX38" fmla="*/ 632460 w 1008838"/>
                  <a:gd name="connsiteY38" fmla="*/ 896620 h 1597660"/>
                  <a:gd name="connsiteX39" fmla="*/ 640080 w 1008838"/>
                  <a:gd name="connsiteY39" fmla="*/ 1239520 h 1597660"/>
                  <a:gd name="connsiteX40" fmla="*/ 640080 w 1008838"/>
                  <a:gd name="connsiteY40" fmla="*/ 1597660 h 1597660"/>
                  <a:gd name="connsiteX41" fmla="*/ 457200 w 1008838"/>
                  <a:gd name="connsiteY41"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78839 w 1008838"/>
                  <a:gd name="connsiteY32" fmla="*/ 322580 h 1597660"/>
                  <a:gd name="connsiteX33" fmla="*/ 942339 w 1008838"/>
                  <a:gd name="connsiteY33" fmla="*/ 347980 h 1597660"/>
                  <a:gd name="connsiteX34" fmla="*/ 990600 w 1008838"/>
                  <a:gd name="connsiteY34" fmla="*/ 370840 h 1597660"/>
                  <a:gd name="connsiteX35" fmla="*/ 792480 w 1008838"/>
                  <a:gd name="connsiteY35" fmla="*/ 660400 h 1597660"/>
                  <a:gd name="connsiteX36" fmla="*/ 962660 w 1008838"/>
                  <a:gd name="connsiteY36" fmla="*/ 574040 h 1597660"/>
                  <a:gd name="connsiteX37" fmla="*/ 998220 w 1008838"/>
                  <a:gd name="connsiteY37" fmla="*/ 584200 h 1597660"/>
                  <a:gd name="connsiteX38" fmla="*/ 746760 w 1008838"/>
                  <a:gd name="connsiteY38" fmla="*/ 713740 h 1597660"/>
                  <a:gd name="connsiteX39" fmla="*/ 632460 w 1008838"/>
                  <a:gd name="connsiteY39" fmla="*/ 896620 h 1597660"/>
                  <a:gd name="connsiteX40" fmla="*/ 640080 w 1008838"/>
                  <a:gd name="connsiteY40" fmla="*/ 1239520 h 1597660"/>
                  <a:gd name="connsiteX41" fmla="*/ 640080 w 1008838"/>
                  <a:gd name="connsiteY41" fmla="*/ 1597660 h 1597660"/>
                  <a:gd name="connsiteX42" fmla="*/ 457200 w 1008838"/>
                  <a:gd name="connsiteY42"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78839 w 1008838"/>
                  <a:gd name="connsiteY32" fmla="*/ 322580 h 1597660"/>
                  <a:gd name="connsiteX33" fmla="*/ 835659 w 1008838"/>
                  <a:gd name="connsiteY33" fmla="*/ 530860 h 1597660"/>
                  <a:gd name="connsiteX34" fmla="*/ 990600 w 1008838"/>
                  <a:gd name="connsiteY34" fmla="*/ 370840 h 1597660"/>
                  <a:gd name="connsiteX35" fmla="*/ 792480 w 1008838"/>
                  <a:gd name="connsiteY35" fmla="*/ 660400 h 1597660"/>
                  <a:gd name="connsiteX36" fmla="*/ 962660 w 1008838"/>
                  <a:gd name="connsiteY36" fmla="*/ 574040 h 1597660"/>
                  <a:gd name="connsiteX37" fmla="*/ 998220 w 1008838"/>
                  <a:gd name="connsiteY37" fmla="*/ 584200 h 1597660"/>
                  <a:gd name="connsiteX38" fmla="*/ 746760 w 1008838"/>
                  <a:gd name="connsiteY38" fmla="*/ 713740 h 1597660"/>
                  <a:gd name="connsiteX39" fmla="*/ 632460 w 1008838"/>
                  <a:gd name="connsiteY39" fmla="*/ 896620 h 1597660"/>
                  <a:gd name="connsiteX40" fmla="*/ 640080 w 1008838"/>
                  <a:gd name="connsiteY40" fmla="*/ 1239520 h 1597660"/>
                  <a:gd name="connsiteX41" fmla="*/ 640080 w 1008838"/>
                  <a:gd name="connsiteY41" fmla="*/ 1597660 h 1597660"/>
                  <a:gd name="connsiteX42" fmla="*/ 457200 w 1008838"/>
                  <a:gd name="connsiteY42" fmla="*/ 1597660 h 1597660"/>
                  <a:gd name="connsiteX0" fmla="*/ 457200 w 1008838"/>
                  <a:gd name="connsiteY0" fmla="*/ 1597660 h 1597660"/>
                  <a:gd name="connsiteX1" fmla="*/ 515620 w 1008838"/>
                  <a:gd name="connsiteY1" fmla="*/ 1196340 h 1597660"/>
                  <a:gd name="connsiteX2" fmla="*/ 541020 w 1008838"/>
                  <a:gd name="connsiteY2" fmla="*/ 911860 h 1597660"/>
                  <a:gd name="connsiteX3" fmla="*/ 533400 w 1008838"/>
                  <a:gd name="connsiteY3" fmla="*/ 675640 h 1597660"/>
                  <a:gd name="connsiteX4" fmla="*/ 266700 w 1008838"/>
                  <a:gd name="connsiteY4" fmla="*/ 523240 h 1597660"/>
                  <a:gd name="connsiteX5" fmla="*/ 190500 w 1008838"/>
                  <a:gd name="connsiteY5" fmla="*/ 393700 h 1597660"/>
                  <a:gd name="connsiteX6" fmla="*/ 0 w 1008838"/>
                  <a:gd name="connsiteY6" fmla="*/ 294640 h 1597660"/>
                  <a:gd name="connsiteX7" fmla="*/ 190500 w 1008838"/>
                  <a:gd name="connsiteY7" fmla="*/ 355600 h 1597660"/>
                  <a:gd name="connsiteX8" fmla="*/ 182880 w 1008838"/>
                  <a:gd name="connsiteY8" fmla="*/ 180340 h 1597660"/>
                  <a:gd name="connsiteX9" fmla="*/ 210819 w 1008838"/>
                  <a:gd name="connsiteY9" fmla="*/ 360680 h 1597660"/>
                  <a:gd name="connsiteX10" fmla="*/ 297180 w 1008838"/>
                  <a:gd name="connsiteY10" fmla="*/ 485140 h 1597660"/>
                  <a:gd name="connsiteX11" fmla="*/ 525780 w 1008838"/>
                  <a:gd name="connsiteY11" fmla="*/ 599440 h 1597660"/>
                  <a:gd name="connsiteX12" fmla="*/ 563880 w 1008838"/>
                  <a:gd name="connsiteY12" fmla="*/ 378460 h 1597660"/>
                  <a:gd name="connsiteX13" fmla="*/ 449580 w 1008838"/>
                  <a:gd name="connsiteY13" fmla="*/ 104140 h 1597660"/>
                  <a:gd name="connsiteX14" fmla="*/ 365760 w 1008838"/>
                  <a:gd name="connsiteY14" fmla="*/ 50800 h 1597660"/>
                  <a:gd name="connsiteX15" fmla="*/ 419100 w 1008838"/>
                  <a:gd name="connsiteY15" fmla="*/ 50800 h 1597660"/>
                  <a:gd name="connsiteX16" fmla="*/ 495300 w 1008838"/>
                  <a:gd name="connsiteY16" fmla="*/ 111760 h 1597660"/>
                  <a:gd name="connsiteX17" fmla="*/ 530859 w 1008838"/>
                  <a:gd name="connsiteY17" fmla="*/ 187960 h 1597660"/>
                  <a:gd name="connsiteX18" fmla="*/ 622299 w 1008838"/>
                  <a:gd name="connsiteY18" fmla="*/ 20320 h 1597660"/>
                  <a:gd name="connsiteX19" fmla="*/ 546099 w 1008838"/>
                  <a:gd name="connsiteY19" fmla="*/ 223520 h 1597660"/>
                  <a:gd name="connsiteX20" fmla="*/ 594360 w 1008838"/>
                  <a:gd name="connsiteY20" fmla="*/ 355600 h 1597660"/>
                  <a:gd name="connsiteX21" fmla="*/ 723899 w 1008838"/>
                  <a:gd name="connsiteY21" fmla="*/ 132080 h 1597660"/>
                  <a:gd name="connsiteX22" fmla="*/ 693420 w 1008838"/>
                  <a:gd name="connsiteY22" fmla="*/ 30480 h 1597660"/>
                  <a:gd name="connsiteX23" fmla="*/ 708659 w 1008838"/>
                  <a:gd name="connsiteY23" fmla="*/ 0 h 1597660"/>
                  <a:gd name="connsiteX24" fmla="*/ 764539 w 1008838"/>
                  <a:gd name="connsiteY24" fmla="*/ 106680 h 1597660"/>
                  <a:gd name="connsiteX25" fmla="*/ 896620 w 1008838"/>
                  <a:gd name="connsiteY25" fmla="*/ 30480 h 1597660"/>
                  <a:gd name="connsiteX26" fmla="*/ 769619 w 1008838"/>
                  <a:gd name="connsiteY26" fmla="*/ 137160 h 1597660"/>
                  <a:gd name="connsiteX27" fmla="*/ 632460 w 1008838"/>
                  <a:gd name="connsiteY27" fmla="*/ 393700 h 1597660"/>
                  <a:gd name="connsiteX28" fmla="*/ 604520 w 1008838"/>
                  <a:gd name="connsiteY28" fmla="*/ 591820 h 1597660"/>
                  <a:gd name="connsiteX29" fmla="*/ 624840 w 1008838"/>
                  <a:gd name="connsiteY29" fmla="*/ 789940 h 1597660"/>
                  <a:gd name="connsiteX30" fmla="*/ 807719 w 1008838"/>
                  <a:gd name="connsiteY30" fmla="*/ 548640 h 1597660"/>
                  <a:gd name="connsiteX31" fmla="*/ 853440 w 1008838"/>
                  <a:gd name="connsiteY31" fmla="*/ 314960 h 1597660"/>
                  <a:gd name="connsiteX32" fmla="*/ 878839 w 1008838"/>
                  <a:gd name="connsiteY32" fmla="*/ 322580 h 1597660"/>
                  <a:gd name="connsiteX33" fmla="*/ 835659 w 1008838"/>
                  <a:gd name="connsiteY33" fmla="*/ 530860 h 1597660"/>
                  <a:gd name="connsiteX34" fmla="*/ 990600 w 1008838"/>
                  <a:gd name="connsiteY34" fmla="*/ 370840 h 1597660"/>
                  <a:gd name="connsiteX35" fmla="*/ 929639 w 1008838"/>
                  <a:gd name="connsiteY35" fmla="*/ 462280 h 1597660"/>
                  <a:gd name="connsiteX36" fmla="*/ 792480 w 1008838"/>
                  <a:gd name="connsiteY36" fmla="*/ 660400 h 1597660"/>
                  <a:gd name="connsiteX37" fmla="*/ 962660 w 1008838"/>
                  <a:gd name="connsiteY37" fmla="*/ 574040 h 1597660"/>
                  <a:gd name="connsiteX38" fmla="*/ 998220 w 1008838"/>
                  <a:gd name="connsiteY38" fmla="*/ 584200 h 1597660"/>
                  <a:gd name="connsiteX39" fmla="*/ 746760 w 1008838"/>
                  <a:gd name="connsiteY39" fmla="*/ 713740 h 1597660"/>
                  <a:gd name="connsiteX40" fmla="*/ 632460 w 1008838"/>
                  <a:gd name="connsiteY40" fmla="*/ 896620 h 1597660"/>
                  <a:gd name="connsiteX41" fmla="*/ 640080 w 1008838"/>
                  <a:gd name="connsiteY41" fmla="*/ 1239520 h 1597660"/>
                  <a:gd name="connsiteX42" fmla="*/ 640080 w 1008838"/>
                  <a:gd name="connsiteY42" fmla="*/ 1597660 h 1597660"/>
                  <a:gd name="connsiteX43" fmla="*/ 457200 w 1008838"/>
                  <a:gd name="connsiteY43"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53440 w 1026159"/>
                  <a:gd name="connsiteY31" fmla="*/ 314960 h 1597660"/>
                  <a:gd name="connsiteX32" fmla="*/ 878839 w 1026159"/>
                  <a:gd name="connsiteY32" fmla="*/ 322580 h 1597660"/>
                  <a:gd name="connsiteX33" fmla="*/ 835659 w 1026159"/>
                  <a:gd name="connsiteY33" fmla="*/ 530860 h 1597660"/>
                  <a:gd name="connsiteX34" fmla="*/ 990600 w 1026159"/>
                  <a:gd name="connsiteY34" fmla="*/ 370840 h 1597660"/>
                  <a:gd name="connsiteX35" fmla="*/ 1026159 w 1026159"/>
                  <a:gd name="connsiteY35" fmla="*/ 370840 h 1597660"/>
                  <a:gd name="connsiteX36" fmla="*/ 792480 w 1026159"/>
                  <a:gd name="connsiteY36" fmla="*/ 660400 h 1597660"/>
                  <a:gd name="connsiteX37" fmla="*/ 962660 w 1026159"/>
                  <a:gd name="connsiteY37" fmla="*/ 574040 h 1597660"/>
                  <a:gd name="connsiteX38" fmla="*/ 998220 w 1026159"/>
                  <a:gd name="connsiteY38" fmla="*/ 584200 h 1597660"/>
                  <a:gd name="connsiteX39" fmla="*/ 746760 w 1026159"/>
                  <a:gd name="connsiteY39" fmla="*/ 713740 h 1597660"/>
                  <a:gd name="connsiteX40" fmla="*/ 632460 w 1026159"/>
                  <a:gd name="connsiteY40" fmla="*/ 896620 h 1597660"/>
                  <a:gd name="connsiteX41" fmla="*/ 640080 w 1026159"/>
                  <a:gd name="connsiteY41" fmla="*/ 1239520 h 1597660"/>
                  <a:gd name="connsiteX42" fmla="*/ 640080 w 1026159"/>
                  <a:gd name="connsiteY42" fmla="*/ 1597660 h 1597660"/>
                  <a:gd name="connsiteX43" fmla="*/ 457200 w 1026159"/>
                  <a:gd name="connsiteY43"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53440 w 1026159"/>
                  <a:gd name="connsiteY31" fmla="*/ 314960 h 1597660"/>
                  <a:gd name="connsiteX32" fmla="*/ 878839 w 1026159"/>
                  <a:gd name="connsiteY32" fmla="*/ 322580 h 1597660"/>
                  <a:gd name="connsiteX33" fmla="*/ 835659 w 1026159"/>
                  <a:gd name="connsiteY33" fmla="*/ 530860 h 1597660"/>
                  <a:gd name="connsiteX34" fmla="*/ 990600 w 1026159"/>
                  <a:gd name="connsiteY34" fmla="*/ 370840 h 1597660"/>
                  <a:gd name="connsiteX35" fmla="*/ 1026159 w 1026159"/>
                  <a:gd name="connsiteY35" fmla="*/ 370840 h 1597660"/>
                  <a:gd name="connsiteX36" fmla="*/ 878839 w 1026159"/>
                  <a:gd name="connsiteY36" fmla="*/ 551180 h 1597660"/>
                  <a:gd name="connsiteX37" fmla="*/ 792480 w 1026159"/>
                  <a:gd name="connsiteY37" fmla="*/ 660400 h 1597660"/>
                  <a:gd name="connsiteX38" fmla="*/ 962660 w 1026159"/>
                  <a:gd name="connsiteY38" fmla="*/ 574040 h 1597660"/>
                  <a:gd name="connsiteX39" fmla="*/ 998220 w 1026159"/>
                  <a:gd name="connsiteY39" fmla="*/ 584200 h 1597660"/>
                  <a:gd name="connsiteX40" fmla="*/ 746760 w 1026159"/>
                  <a:gd name="connsiteY40" fmla="*/ 713740 h 1597660"/>
                  <a:gd name="connsiteX41" fmla="*/ 632460 w 1026159"/>
                  <a:gd name="connsiteY41" fmla="*/ 896620 h 1597660"/>
                  <a:gd name="connsiteX42" fmla="*/ 640080 w 1026159"/>
                  <a:gd name="connsiteY42" fmla="*/ 1239520 h 1597660"/>
                  <a:gd name="connsiteX43" fmla="*/ 640080 w 1026159"/>
                  <a:gd name="connsiteY43" fmla="*/ 1597660 h 1597660"/>
                  <a:gd name="connsiteX44" fmla="*/ 457200 w 1026159"/>
                  <a:gd name="connsiteY44"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53440 w 1026159"/>
                  <a:gd name="connsiteY31" fmla="*/ 314960 h 1597660"/>
                  <a:gd name="connsiteX32" fmla="*/ 878839 w 1026159"/>
                  <a:gd name="connsiteY32" fmla="*/ 322580 h 1597660"/>
                  <a:gd name="connsiteX33" fmla="*/ 835659 w 1026159"/>
                  <a:gd name="connsiteY33" fmla="*/ 530860 h 1597660"/>
                  <a:gd name="connsiteX34" fmla="*/ 990600 w 1026159"/>
                  <a:gd name="connsiteY34" fmla="*/ 370840 h 1597660"/>
                  <a:gd name="connsiteX35" fmla="*/ 1026159 w 1026159"/>
                  <a:gd name="connsiteY35" fmla="*/ 370840 h 1597660"/>
                  <a:gd name="connsiteX36" fmla="*/ 858519 w 1026159"/>
                  <a:gd name="connsiteY36" fmla="*/ 551180 h 1597660"/>
                  <a:gd name="connsiteX37" fmla="*/ 792480 w 1026159"/>
                  <a:gd name="connsiteY37" fmla="*/ 660400 h 1597660"/>
                  <a:gd name="connsiteX38" fmla="*/ 962660 w 1026159"/>
                  <a:gd name="connsiteY38" fmla="*/ 574040 h 1597660"/>
                  <a:gd name="connsiteX39" fmla="*/ 998220 w 1026159"/>
                  <a:gd name="connsiteY39" fmla="*/ 584200 h 1597660"/>
                  <a:gd name="connsiteX40" fmla="*/ 746760 w 1026159"/>
                  <a:gd name="connsiteY40" fmla="*/ 713740 h 1597660"/>
                  <a:gd name="connsiteX41" fmla="*/ 632460 w 1026159"/>
                  <a:gd name="connsiteY41" fmla="*/ 896620 h 1597660"/>
                  <a:gd name="connsiteX42" fmla="*/ 640080 w 1026159"/>
                  <a:gd name="connsiteY42" fmla="*/ 1239520 h 1597660"/>
                  <a:gd name="connsiteX43" fmla="*/ 640080 w 1026159"/>
                  <a:gd name="connsiteY43" fmla="*/ 1597660 h 1597660"/>
                  <a:gd name="connsiteX44" fmla="*/ 457200 w 1026159"/>
                  <a:gd name="connsiteY44"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43279 w 1026159"/>
                  <a:gd name="connsiteY31" fmla="*/ 375920 h 1597660"/>
                  <a:gd name="connsiteX32" fmla="*/ 853440 w 1026159"/>
                  <a:gd name="connsiteY32" fmla="*/ 314960 h 1597660"/>
                  <a:gd name="connsiteX33" fmla="*/ 878839 w 1026159"/>
                  <a:gd name="connsiteY33" fmla="*/ 322580 h 1597660"/>
                  <a:gd name="connsiteX34" fmla="*/ 835659 w 1026159"/>
                  <a:gd name="connsiteY34" fmla="*/ 530860 h 1597660"/>
                  <a:gd name="connsiteX35" fmla="*/ 990600 w 1026159"/>
                  <a:gd name="connsiteY35" fmla="*/ 370840 h 1597660"/>
                  <a:gd name="connsiteX36" fmla="*/ 1026159 w 1026159"/>
                  <a:gd name="connsiteY36" fmla="*/ 370840 h 1597660"/>
                  <a:gd name="connsiteX37" fmla="*/ 858519 w 1026159"/>
                  <a:gd name="connsiteY37" fmla="*/ 551180 h 1597660"/>
                  <a:gd name="connsiteX38" fmla="*/ 792480 w 1026159"/>
                  <a:gd name="connsiteY38" fmla="*/ 660400 h 1597660"/>
                  <a:gd name="connsiteX39" fmla="*/ 962660 w 1026159"/>
                  <a:gd name="connsiteY39" fmla="*/ 574040 h 1597660"/>
                  <a:gd name="connsiteX40" fmla="*/ 998220 w 1026159"/>
                  <a:gd name="connsiteY40" fmla="*/ 584200 h 1597660"/>
                  <a:gd name="connsiteX41" fmla="*/ 746760 w 1026159"/>
                  <a:gd name="connsiteY41" fmla="*/ 713740 h 1597660"/>
                  <a:gd name="connsiteX42" fmla="*/ 632460 w 1026159"/>
                  <a:gd name="connsiteY42" fmla="*/ 896620 h 1597660"/>
                  <a:gd name="connsiteX43" fmla="*/ 640080 w 1026159"/>
                  <a:gd name="connsiteY43" fmla="*/ 1239520 h 1597660"/>
                  <a:gd name="connsiteX44" fmla="*/ 640080 w 1026159"/>
                  <a:gd name="connsiteY44" fmla="*/ 1597660 h 1597660"/>
                  <a:gd name="connsiteX45" fmla="*/ 457200 w 1026159"/>
                  <a:gd name="connsiteY45"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20419 w 1026159"/>
                  <a:gd name="connsiteY31" fmla="*/ 4775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20419 w 1026159"/>
                  <a:gd name="connsiteY31" fmla="*/ 477520 h 1597660"/>
                  <a:gd name="connsiteX32" fmla="*/ 833119 w 1026159"/>
                  <a:gd name="connsiteY32" fmla="*/ 408940 h 1597660"/>
                  <a:gd name="connsiteX33" fmla="*/ 843279 w 1026159"/>
                  <a:gd name="connsiteY33" fmla="*/ 375920 h 1597660"/>
                  <a:gd name="connsiteX34" fmla="*/ 853440 w 1026159"/>
                  <a:gd name="connsiteY34" fmla="*/ 314960 h 1597660"/>
                  <a:gd name="connsiteX35" fmla="*/ 878839 w 1026159"/>
                  <a:gd name="connsiteY35" fmla="*/ 322580 h 1597660"/>
                  <a:gd name="connsiteX36" fmla="*/ 835659 w 1026159"/>
                  <a:gd name="connsiteY36" fmla="*/ 530860 h 1597660"/>
                  <a:gd name="connsiteX37" fmla="*/ 990600 w 1026159"/>
                  <a:gd name="connsiteY37" fmla="*/ 370840 h 1597660"/>
                  <a:gd name="connsiteX38" fmla="*/ 1026159 w 1026159"/>
                  <a:gd name="connsiteY38" fmla="*/ 3708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20419 w 1026159"/>
                  <a:gd name="connsiteY31" fmla="*/ 477520 h 1597660"/>
                  <a:gd name="connsiteX32" fmla="*/ 792479 w 1026159"/>
                  <a:gd name="connsiteY32" fmla="*/ 337820 h 1597660"/>
                  <a:gd name="connsiteX33" fmla="*/ 843279 w 1026159"/>
                  <a:gd name="connsiteY33" fmla="*/ 375920 h 1597660"/>
                  <a:gd name="connsiteX34" fmla="*/ 853440 w 1026159"/>
                  <a:gd name="connsiteY34" fmla="*/ 314960 h 1597660"/>
                  <a:gd name="connsiteX35" fmla="*/ 878839 w 1026159"/>
                  <a:gd name="connsiteY35" fmla="*/ 322580 h 1597660"/>
                  <a:gd name="connsiteX36" fmla="*/ 835659 w 1026159"/>
                  <a:gd name="connsiteY36" fmla="*/ 530860 h 1597660"/>
                  <a:gd name="connsiteX37" fmla="*/ 990600 w 1026159"/>
                  <a:gd name="connsiteY37" fmla="*/ 370840 h 1597660"/>
                  <a:gd name="connsiteX38" fmla="*/ 1026159 w 1026159"/>
                  <a:gd name="connsiteY38" fmla="*/ 3708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5080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40739 w 1026159"/>
                  <a:gd name="connsiteY31" fmla="*/ 396240 h 1597660"/>
                  <a:gd name="connsiteX32" fmla="*/ 792479 w 1026159"/>
                  <a:gd name="connsiteY32" fmla="*/ 337820 h 1597660"/>
                  <a:gd name="connsiteX33" fmla="*/ 843279 w 1026159"/>
                  <a:gd name="connsiteY33" fmla="*/ 375920 h 1597660"/>
                  <a:gd name="connsiteX34" fmla="*/ 853440 w 1026159"/>
                  <a:gd name="connsiteY34" fmla="*/ 314960 h 1597660"/>
                  <a:gd name="connsiteX35" fmla="*/ 878839 w 1026159"/>
                  <a:gd name="connsiteY35" fmla="*/ 322580 h 1597660"/>
                  <a:gd name="connsiteX36" fmla="*/ 835659 w 1026159"/>
                  <a:gd name="connsiteY36" fmla="*/ 530860 h 1597660"/>
                  <a:gd name="connsiteX37" fmla="*/ 990600 w 1026159"/>
                  <a:gd name="connsiteY37" fmla="*/ 370840 h 1597660"/>
                  <a:gd name="connsiteX38" fmla="*/ 1026159 w 1026159"/>
                  <a:gd name="connsiteY38" fmla="*/ 3708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365760 w 1026159"/>
                  <a:gd name="connsiteY14" fmla="*/ 50800 h 1597660"/>
                  <a:gd name="connsiteX15" fmla="*/ 419100 w 1026159"/>
                  <a:gd name="connsiteY15" fmla="*/ 60960 h 1597660"/>
                  <a:gd name="connsiteX16" fmla="*/ 495300 w 1026159"/>
                  <a:gd name="connsiteY16" fmla="*/ 111760 h 1597660"/>
                  <a:gd name="connsiteX17" fmla="*/ 530859 w 1026159"/>
                  <a:gd name="connsiteY17" fmla="*/ 187960 h 1597660"/>
                  <a:gd name="connsiteX18" fmla="*/ 622299 w 1026159"/>
                  <a:gd name="connsiteY18" fmla="*/ 20320 h 1597660"/>
                  <a:gd name="connsiteX19" fmla="*/ 546099 w 1026159"/>
                  <a:gd name="connsiteY19" fmla="*/ 223520 h 1597660"/>
                  <a:gd name="connsiteX20" fmla="*/ 594360 w 1026159"/>
                  <a:gd name="connsiteY20" fmla="*/ 355600 h 1597660"/>
                  <a:gd name="connsiteX21" fmla="*/ 723899 w 1026159"/>
                  <a:gd name="connsiteY21" fmla="*/ 132080 h 1597660"/>
                  <a:gd name="connsiteX22" fmla="*/ 693420 w 1026159"/>
                  <a:gd name="connsiteY22" fmla="*/ 30480 h 1597660"/>
                  <a:gd name="connsiteX23" fmla="*/ 708659 w 1026159"/>
                  <a:gd name="connsiteY23" fmla="*/ 0 h 1597660"/>
                  <a:gd name="connsiteX24" fmla="*/ 764539 w 1026159"/>
                  <a:gd name="connsiteY24" fmla="*/ 106680 h 1597660"/>
                  <a:gd name="connsiteX25" fmla="*/ 896620 w 1026159"/>
                  <a:gd name="connsiteY25" fmla="*/ 30480 h 1597660"/>
                  <a:gd name="connsiteX26" fmla="*/ 769619 w 1026159"/>
                  <a:gd name="connsiteY26" fmla="*/ 137160 h 1597660"/>
                  <a:gd name="connsiteX27" fmla="*/ 632460 w 1026159"/>
                  <a:gd name="connsiteY27" fmla="*/ 393700 h 1597660"/>
                  <a:gd name="connsiteX28" fmla="*/ 604520 w 1026159"/>
                  <a:gd name="connsiteY28" fmla="*/ 591820 h 1597660"/>
                  <a:gd name="connsiteX29" fmla="*/ 624840 w 1026159"/>
                  <a:gd name="connsiteY29" fmla="*/ 789940 h 1597660"/>
                  <a:gd name="connsiteX30" fmla="*/ 807719 w 1026159"/>
                  <a:gd name="connsiteY30" fmla="*/ 548640 h 1597660"/>
                  <a:gd name="connsiteX31" fmla="*/ 840739 w 1026159"/>
                  <a:gd name="connsiteY31" fmla="*/ 396240 h 1597660"/>
                  <a:gd name="connsiteX32" fmla="*/ 792479 w 1026159"/>
                  <a:gd name="connsiteY32" fmla="*/ 337820 h 1597660"/>
                  <a:gd name="connsiteX33" fmla="*/ 843279 w 1026159"/>
                  <a:gd name="connsiteY33" fmla="*/ 375920 h 1597660"/>
                  <a:gd name="connsiteX34" fmla="*/ 853440 w 1026159"/>
                  <a:gd name="connsiteY34" fmla="*/ 314960 h 1597660"/>
                  <a:gd name="connsiteX35" fmla="*/ 878839 w 1026159"/>
                  <a:gd name="connsiteY35" fmla="*/ 322580 h 1597660"/>
                  <a:gd name="connsiteX36" fmla="*/ 835659 w 1026159"/>
                  <a:gd name="connsiteY36" fmla="*/ 530860 h 1597660"/>
                  <a:gd name="connsiteX37" fmla="*/ 990600 w 1026159"/>
                  <a:gd name="connsiteY37" fmla="*/ 370840 h 1597660"/>
                  <a:gd name="connsiteX38" fmla="*/ 1026159 w 1026159"/>
                  <a:gd name="connsiteY38" fmla="*/ 3708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49580 w 1026159"/>
                  <a:gd name="connsiteY13" fmla="*/ 10414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64539 w 1026159"/>
                  <a:gd name="connsiteY23" fmla="*/ 106680 h 1597660"/>
                  <a:gd name="connsiteX24" fmla="*/ 896620 w 1026159"/>
                  <a:gd name="connsiteY24" fmla="*/ 30480 h 1597660"/>
                  <a:gd name="connsiteX25" fmla="*/ 769619 w 1026159"/>
                  <a:gd name="connsiteY25" fmla="*/ 13716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85140 w 1026159"/>
                  <a:gd name="connsiteY13" fmla="*/ 12700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64539 w 1026159"/>
                  <a:gd name="connsiteY23" fmla="*/ 106680 h 1597660"/>
                  <a:gd name="connsiteX24" fmla="*/ 896620 w 1026159"/>
                  <a:gd name="connsiteY24" fmla="*/ 30480 h 1597660"/>
                  <a:gd name="connsiteX25" fmla="*/ 769619 w 1026159"/>
                  <a:gd name="connsiteY25" fmla="*/ 13716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85140 w 1026159"/>
                  <a:gd name="connsiteY13" fmla="*/ 12700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51839 w 1026159"/>
                  <a:gd name="connsiteY23" fmla="*/ 127000 h 1597660"/>
                  <a:gd name="connsiteX24" fmla="*/ 896620 w 1026159"/>
                  <a:gd name="connsiteY24" fmla="*/ 30480 h 1597660"/>
                  <a:gd name="connsiteX25" fmla="*/ 769619 w 1026159"/>
                  <a:gd name="connsiteY25" fmla="*/ 13716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85140 w 1026159"/>
                  <a:gd name="connsiteY13" fmla="*/ 12700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51839 w 1026159"/>
                  <a:gd name="connsiteY23" fmla="*/ 127000 h 1597660"/>
                  <a:gd name="connsiteX24" fmla="*/ 896620 w 1026159"/>
                  <a:gd name="connsiteY24" fmla="*/ 30480 h 1597660"/>
                  <a:gd name="connsiteX25" fmla="*/ 772159 w 1026159"/>
                  <a:gd name="connsiteY25" fmla="*/ 14478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858519 w 1026159"/>
                  <a:gd name="connsiteY38" fmla="*/ 551180 h 1597660"/>
                  <a:gd name="connsiteX39" fmla="*/ 792480 w 1026159"/>
                  <a:gd name="connsiteY39" fmla="*/ 660400 h 1597660"/>
                  <a:gd name="connsiteX40" fmla="*/ 962660 w 1026159"/>
                  <a:gd name="connsiteY40" fmla="*/ 574040 h 1597660"/>
                  <a:gd name="connsiteX41" fmla="*/ 998220 w 1026159"/>
                  <a:gd name="connsiteY41" fmla="*/ 584200 h 1597660"/>
                  <a:gd name="connsiteX42" fmla="*/ 746760 w 1026159"/>
                  <a:gd name="connsiteY42" fmla="*/ 713740 h 1597660"/>
                  <a:gd name="connsiteX43" fmla="*/ 632460 w 1026159"/>
                  <a:gd name="connsiteY43" fmla="*/ 896620 h 1597660"/>
                  <a:gd name="connsiteX44" fmla="*/ 640080 w 1026159"/>
                  <a:gd name="connsiteY44" fmla="*/ 1239520 h 1597660"/>
                  <a:gd name="connsiteX45" fmla="*/ 640080 w 1026159"/>
                  <a:gd name="connsiteY45" fmla="*/ 1597660 h 1597660"/>
                  <a:gd name="connsiteX46" fmla="*/ 457200 w 1026159"/>
                  <a:gd name="connsiteY46" fmla="*/ 1597660 h 1597660"/>
                  <a:gd name="connsiteX0" fmla="*/ 457200 w 1026159"/>
                  <a:gd name="connsiteY0" fmla="*/ 1597660 h 1597660"/>
                  <a:gd name="connsiteX1" fmla="*/ 515620 w 1026159"/>
                  <a:gd name="connsiteY1" fmla="*/ 1196340 h 1597660"/>
                  <a:gd name="connsiteX2" fmla="*/ 541020 w 1026159"/>
                  <a:gd name="connsiteY2" fmla="*/ 911860 h 1597660"/>
                  <a:gd name="connsiteX3" fmla="*/ 533400 w 1026159"/>
                  <a:gd name="connsiteY3" fmla="*/ 675640 h 1597660"/>
                  <a:gd name="connsiteX4" fmla="*/ 266700 w 1026159"/>
                  <a:gd name="connsiteY4" fmla="*/ 523240 h 1597660"/>
                  <a:gd name="connsiteX5" fmla="*/ 190500 w 1026159"/>
                  <a:gd name="connsiteY5" fmla="*/ 393700 h 1597660"/>
                  <a:gd name="connsiteX6" fmla="*/ 0 w 1026159"/>
                  <a:gd name="connsiteY6" fmla="*/ 294640 h 1597660"/>
                  <a:gd name="connsiteX7" fmla="*/ 190500 w 1026159"/>
                  <a:gd name="connsiteY7" fmla="*/ 355600 h 1597660"/>
                  <a:gd name="connsiteX8" fmla="*/ 182880 w 1026159"/>
                  <a:gd name="connsiteY8" fmla="*/ 180340 h 1597660"/>
                  <a:gd name="connsiteX9" fmla="*/ 210819 w 1026159"/>
                  <a:gd name="connsiteY9" fmla="*/ 360680 h 1597660"/>
                  <a:gd name="connsiteX10" fmla="*/ 297180 w 1026159"/>
                  <a:gd name="connsiteY10" fmla="*/ 485140 h 1597660"/>
                  <a:gd name="connsiteX11" fmla="*/ 525780 w 1026159"/>
                  <a:gd name="connsiteY11" fmla="*/ 599440 h 1597660"/>
                  <a:gd name="connsiteX12" fmla="*/ 563880 w 1026159"/>
                  <a:gd name="connsiteY12" fmla="*/ 378460 h 1597660"/>
                  <a:gd name="connsiteX13" fmla="*/ 485140 w 1026159"/>
                  <a:gd name="connsiteY13" fmla="*/ 127000 h 1597660"/>
                  <a:gd name="connsiteX14" fmla="*/ 419100 w 1026159"/>
                  <a:gd name="connsiteY14" fmla="*/ 60960 h 1597660"/>
                  <a:gd name="connsiteX15" fmla="*/ 495300 w 1026159"/>
                  <a:gd name="connsiteY15" fmla="*/ 111760 h 1597660"/>
                  <a:gd name="connsiteX16" fmla="*/ 530859 w 1026159"/>
                  <a:gd name="connsiteY16" fmla="*/ 187960 h 1597660"/>
                  <a:gd name="connsiteX17" fmla="*/ 622299 w 1026159"/>
                  <a:gd name="connsiteY17" fmla="*/ 20320 h 1597660"/>
                  <a:gd name="connsiteX18" fmla="*/ 546099 w 1026159"/>
                  <a:gd name="connsiteY18" fmla="*/ 223520 h 1597660"/>
                  <a:gd name="connsiteX19" fmla="*/ 594360 w 1026159"/>
                  <a:gd name="connsiteY19" fmla="*/ 355600 h 1597660"/>
                  <a:gd name="connsiteX20" fmla="*/ 723899 w 1026159"/>
                  <a:gd name="connsiteY20" fmla="*/ 132080 h 1597660"/>
                  <a:gd name="connsiteX21" fmla="*/ 693420 w 1026159"/>
                  <a:gd name="connsiteY21" fmla="*/ 30480 h 1597660"/>
                  <a:gd name="connsiteX22" fmla="*/ 708659 w 1026159"/>
                  <a:gd name="connsiteY22" fmla="*/ 0 h 1597660"/>
                  <a:gd name="connsiteX23" fmla="*/ 751839 w 1026159"/>
                  <a:gd name="connsiteY23" fmla="*/ 127000 h 1597660"/>
                  <a:gd name="connsiteX24" fmla="*/ 896620 w 1026159"/>
                  <a:gd name="connsiteY24" fmla="*/ 30480 h 1597660"/>
                  <a:gd name="connsiteX25" fmla="*/ 772159 w 1026159"/>
                  <a:gd name="connsiteY25" fmla="*/ 144780 h 1597660"/>
                  <a:gd name="connsiteX26" fmla="*/ 632460 w 1026159"/>
                  <a:gd name="connsiteY26" fmla="*/ 393700 h 1597660"/>
                  <a:gd name="connsiteX27" fmla="*/ 604520 w 1026159"/>
                  <a:gd name="connsiteY27" fmla="*/ 591820 h 1597660"/>
                  <a:gd name="connsiteX28" fmla="*/ 624840 w 1026159"/>
                  <a:gd name="connsiteY28" fmla="*/ 789940 h 1597660"/>
                  <a:gd name="connsiteX29" fmla="*/ 807719 w 1026159"/>
                  <a:gd name="connsiteY29" fmla="*/ 548640 h 1597660"/>
                  <a:gd name="connsiteX30" fmla="*/ 840739 w 1026159"/>
                  <a:gd name="connsiteY30" fmla="*/ 396240 h 1597660"/>
                  <a:gd name="connsiteX31" fmla="*/ 792479 w 1026159"/>
                  <a:gd name="connsiteY31" fmla="*/ 337820 h 1597660"/>
                  <a:gd name="connsiteX32" fmla="*/ 843279 w 1026159"/>
                  <a:gd name="connsiteY32" fmla="*/ 375920 h 1597660"/>
                  <a:gd name="connsiteX33" fmla="*/ 853440 w 1026159"/>
                  <a:gd name="connsiteY33" fmla="*/ 314960 h 1597660"/>
                  <a:gd name="connsiteX34" fmla="*/ 878839 w 1026159"/>
                  <a:gd name="connsiteY34" fmla="*/ 322580 h 1597660"/>
                  <a:gd name="connsiteX35" fmla="*/ 835659 w 1026159"/>
                  <a:gd name="connsiteY35" fmla="*/ 530860 h 1597660"/>
                  <a:gd name="connsiteX36" fmla="*/ 990600 w 1026159"/>
                  <a:gd name="connsiteY36" fmla="*/ 370840 h 1597660"/>
                  <a:gd name="connsiteX37" fmla="*/ 1026159 w 1026159"/>
                  <a:gd name="connsiteY37" fmla="*/ 370840 h 1597660"/>
                  <a:gd name="connsiteX38" fmla="*/ 995679 w 1026159"/>
                  <a:gd name="connsiteY38" fmla="*/ 396240 h 1597660"/>
                  <a:gd name="connsiteX39" fmla="*/ 858519 w 1026159"/>
                  <a:gd name="connsiteY39" fmla="*/ 551180 h 1597660"/>
                  <a:gd name="connsiteX40" fmla="*/ 792480 w 1026159"/>
                  <a:gd name="connsiteY40" fmla="*/ 660400 h 1597660"/>
                  <a:gd name="connsiteX41" fmla="*/ 962660 w 1026159"/>
                  <a:gd name="connsiteY41" fmla="*/ 574040 h 1597660"/>
                  <a:gd name="connsiteX42" fmla="*/ 998220 w 1026159"/>
                  <a:gd name="connsiteY42" fmla="*/ 584200 h 1597660"/>
                  <a:gd name="connsiteX43" fmla="*/ 746760 w 1026159"/>
                  <a:gd name="connsiteY43" fmla="*/ 713740 h 1597660"/>
                  <a:gd name="connsiteX44" fmla="*/ 632460 w 1026159"/>
                  <a:gd name="connsiteY44" fmla="*/ 896620 h 1597660"/>
                  <a:gd name="connsiteX45" fmla="*/ 640080 w 1026159"/>
                  <a:gd name="connsiteY45" fmla="*/ 1239520 h 1597660"/>
                  <a:gd name="connsiteX46" fmla="*/ 640080 w 1026159"/>
                  <a:gd name="connsiteY46" fmla="*/ 1597660 h 1597660"/>
                  <a:gd name="connsiteX47" fmla="*/ 457200 w 1026159"/>
                  <a:gd name="connsiteY4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90600 w 1214119"/>
                  <a:gd name="connsiteY36" fmla="*/ 370840 h 1597660"/>
                  <a:gd name="connsiteX37" fmla="*/ 1214119 w 1214119"/>
                  <a:gd name="connsiteY37" fmla="*/ 292100 h 1597660"/>
                  <a:gd name="connsiteX38" fmla="*/ 995679 w 1214119"/>
                  <a:gd name="connsiteY38" fmla="*/ 396240 h 1597660"/>
                  <a:gd name="connsiteX39" fmla="*/ 858519 w 1214119"/>
                  <a:gd name="connsiteY39" fmla="*/ 551180 h 1597660"/>
                  <a:gd name="connsiteX40" fmla="*/ 792480 w 1214119"/>
                  <a:gd name="connsiteY40" fmla="*/ 660400 h 1597660"/>
                  <a:gd name="connsiteX41" fmla="*/ 962660 w 1214119"/>
                  <a:gd name="connsiteY41" fmla="*/ 574040 h 1597660"/>
                  <a:gd name="connsiteX42" fmla="*/ 998220 w 1214119"/>
                  <a:gd name="connsiteY42" fmla="*/ 584200 h 1597660"/>
                  <a:gd name="connsiteX43" fmla="*/ 746760 w 1214119"/>
                  <a:gd name="connsiteY43" fmla="*/ 713740 h 1597660"/>
                  <a:gd name="connsiteX44" fmla="*/ 632460 w 1214119"/>
                  <a:gd name="connsiteY44" fmla="*/ 896620 h 1597660"/>
                  <a:gd name="connsiteX45" fmla="*/ 640080 w 1214119"/>
                  <a:gd name="connsiteY45" fmla="*/ 1239520 h 1597660"/>
                  <a:gd name="connsiteX46" fmla="*/ 640080 w 1214119"/>
                  <a:gd name="connsiteY46" fmla="*/ 1597660 h 1597660"/>
                  <a:gd name="connsiteX47" fmla="*/ 457200 w 1214119"/>
                  <a:gd name="connsiteY4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90600 w 1214119"/>
                  <a:gd name="connsiteY36" fmla="*/ 370840 h 1597660"/>
                  <a:gd name="connsiteX37" fmla="*/ 1021079 w 1214119"/>
                  <a:gd name="connsiteY37" fmla="*/ 360680 h 1597660"/>
                  <a:gd name="connsiteX38" fmla="*/ 1214119 w 1214119"/>
                  <a:gd name="connsiteY38" fmla="*/ 292100 h 1597660"/>
                  <a:gd name="connsiteX39" fmla="*/ 995679 w 1214119"/>
                  <a:gd name="connsiteY39" fmla="*/ 396240 h 1597660"/>
                  <a:gd name="connsiteX40" fmla="*/ 858519 w 1214119"/>
                  <a:gd name="connsiteY40" fmla="*/ 551180 h 1597660"/>
                  <a:gd name="connsiteX41" fmla="*/ 792480 w 1214119"/>
                  <a:gd name="connsiteY41" fmla="*/ 660400 h 1597660"/>
                  <a:gd name="connsiteX42" fmla="*/ 962660 w 1214119"/>
                  <a:gd name="connsiteY42" fmla="*/ 574040 h 1597660"/>
                  <a:gd name="connsiteX43" fmla="*/ 998220 w 1214119"/>
                  <a:gd name="connsiteY43" fmla="*/ 584200 h 1597660"/>
                  <a:gd name="connsiteX44" fmla="*/ 746760 w 1214119"/>
                  <a:gd name="connsiteY44" fmla="*/ 713740 h 1597660"/>
                  <a:gd name="connsiteX45" fmla="*/ 632460 w 1214119"/>
                  <a:gd name="connsiteY45" fmla="*/ 896620 h 1597660"/>
                  <a:gd name="connsiteX46" fmla="*/ 640080 w 1214119"/>
                  <a:gd name="connsiteY46" fmla="*/ 1239520 h 1597660"/>
                  <a:gd name="connsiteX47" fmla="*/ 640080 w 1214119"/>
                  <a:gd name="connsiteY47" fmla="*/ 1597660 h 1597660"/>
                  <a:gd name="connsiteX48" fmla="*/ 457200 w 1214119"/>
                  <a:gd name="connsiteY48"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72819 w 1214119"/>
                  <a:gd name="connsiteY36" fmla="*/ 386080 h 1597660"/>
                  <a:gd name="connsiteX37" fmla="*/ 990600 w 1214119"/>
                  <a:gd name="connsiteY37" fmla="*/ 370840 h 1597660"/>
                  <a:gd name="connsiteX38" fmla="*/ 10210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72819 w 1214119"/>
                  <a:gd name="connsiteY36" fmla="*/ 386080 h 1597660"/>
                  <a:gd name="connsiteX37" fmla="*/ 955040 w 1214119"/>
                  <a:gd name="connsiteY37" fmla="*/ 190500 h 1597660"/>
                  <a:gd name="connsiteX38" fmla="*/ 10210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95679 w 1214119"/>
                  <a:gd name="connsiteY36" fmla="*/ 373380 h 1597660"/>
                  <a:gd name="connsiteX37" fmla="*/ 955040 w 1214119"/>
                  <a:gd name="connsiteY37" fmla="*/ 190500 h 1597660"/>
                  <a:gd name="connsiteX38" fmla="*/ 10210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95679 w 1214119"/>
                  <a:gd name="connsiteY36" fmla="*/ 373380 h 1597660"/>
                  <a:gd name="connsiteX37" fmla="*/ 955040 w 1214119"/>
                  <a:gd name="connsiteY37" fmla="*/ 190500 h 1597660"/>
                  <a:gd name="connsiteX38" fmla="*/ 10083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214119 w 1214119"/>
                  <a:gd name="connsiteY39" fmla="*/ 292100 h 1597660"/>
                  <a:gd name="connsiteX40" fmla="*/ 995679 w 1214119"/>
                  <a:gd name="connsiteY40" fmla="*/ 396240 h 1597660"/>
                  <a:gd name="connsiteX41" fmla="*/ 858519 w 1214119"/>
                  <a:gd name="connsiteY41" fmla="*/ 551180 h 1597660"/>
                  <a:gd name="connsiteX42" fmla="*/ 792480 w 1214119"/>
                  <a:gd name="connsiteY42" fmla="*/ 660400 h 1597660"/>
                  <a:gd name="connsiteX43" fmla="*/ 962660 w 1214119"/>
                  <a:gd name="connsiteY43" fmla="*/ 574040 h 1597660"/>
                  <a:gd name="connsiteX44" fmla="*/ 998220 w 1214119"/>
                  <a:gd name="connsiteY44" fmla="*/ 584200 h 1597660"/>
                  <a:gd name="connsiteX45" fmla="*/ 746760 w 1214119"/>
                  <a:gd name="connsiteY45" fmla="*/ 713740 h 1597660"/>
                  <a:gd name="connsiteX46" fmla="*/ 632460 w 1214119"/>
                  <a:gd name="connsiteY46" fmla="*/ 896620 h 1597660"/>
                  <a:gd name="connsiteX47" fmla="*/ 640080 w 1214119"/>
                  <a:gd name="connsiteY47" fmla="*/ 1239520 h 1597660"/>
                  <a:gd name="connsiteX48" fmla="*/ 640080 w 1214119"/>
                  <a:gd name="connsiteY48" fmla="*/ 1597660 h 1597660"/>
                  <a:gd name="connsiteX49" fmla="*/ 457200 w 1214119"/>
                  <a:gd name="connsiteY4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214119 w 1214119"/>
                  <a:gd name="connsiteY40" fmla="*/ 292100 h 1597660"/>
                  <a:gd name="connsiteX41" fmla="*/ 995679 w 1214119"/>
                  <a:gd name="connsiteY41" fmla="*/ 396240 h 1597660"/>
                  <a:gd name="connsiteX42" fmla="*/ 858519 w 1214119"/>
                  <a:gd name="connsiteY42" fmla="*/ 551180 h 1597660"/>
                  <a:gd name="connsiteX43" fmla="*/ 792480 w 1214119"/>
                  <a:gd name="connsiteY43" fmla="*/ 660400 h 1597660"/>
                  <a:gd name="connsiteX44" fmla="*/ 962660 w 1214119"/>
                  <a:gd name="connsiteY44" fmla="*/ 574040 h 1597660"/>
                  <a:gd name="connsiteX45" fmla="*/ 998220 w 1214119"/>
                  <a:gd name="connsiteY45" fmla="*/ 584200 h 1597660"/>
                  <a:gd name="connsiteX46" fmla="*/ 746760 w 1214119"/>
                  <a:gd name="connsiteY46" fmla="*/ 713740 h 1597660"/>
                  <a:gd name="connsiteX47" fmla="*/ 632460 w 1214119"/>
                  <a:gd name="connsiteY47" fmla="*/ 896620 h 1597660"/>
                  <a:gd name="connsiteX48" fmla="*/ 640080 w 1214119"/>
                  <a:gd name="connsiteY48" fmla="*/ 1239520 h 1597660"/>
                  <a:gd name="connsiteX49" fmla="*/ 640080 w 1214119"/>
                  <a:gd name="connsiteY49" fmla="*/ 1597660 h 1597660"/>
                  <a:gd name="connsiteX50" fmla="*/ 457200 w 1214119"/>
                  <a:gd name="connsiteY50"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089659 w 1214119"/>
                  <a:gd name="connsiteY40" fmla="*/ 332740 h 1597660"/>
                  <a:gd name="connsiteX41" fmla="*/ 1214119 w 1214119"/>
                  <a:gd name="connsiteY41" fmla="*/ 292100 h 1597660"/>
                  <a:gd name="connsiteX42" fmla="*/ 995679 w 1214119"/>
                  <a:gd name="connsiteY42" fmla="*/ 396240 h 1597660"/>
                  <a:gd name="connsiteX43" fmla="*/ 858519 w 1214119"/>
                  <a:gd name="connsiteY43" fmla="*/ 551180 h 1597660"/>
                  <a:gd name="connsiteX44" fmla="*/ 792480 w 1214119"/>
                  <a:gd name="connsiteY44" fmla="*/ 660400 h 1597660"/>
                  <a:gd name="connsiteX45" fmla="*/ 962660 w 1214119"/>
                  <a:gd name="connsiteY45" fmla="*/ 574040 h 1597660"/>
                  <a:gd name="connsiteX46" fmla="*/ 998220 w 1214119"/>
                  <a:gd name="connsiteY46" fmla="*/ 584200 h 1597660"/>
                  <a:gd name="connsiteX47" fmla="*/ 746760 w 1214119"/>
                  <a:gd name="connsiteY47" fmla="*/ 713740 h 1597660"/>
                  <a:gd name="connsiteX48" fmla="*/ 632460 w 1214119"/>
                  <a:gd name="connsiteY48" fmla="*/ 896620 h 1597660"/>
                  <a:gd name="connsiteX49" fmla="*/ 640080 w 1214119"/>
                  <a:gd name="connsiteY49" fmla="*/ 1239520 h 1597660"/>
                  <a:gd name="connsiteX50" fmla="*/ 640080 w 1214119"/>
                  <a:gd name="connsiteY50" fmla="*/ 1597660 h 1597660"/>
                  <a:gd name="connsiteX51" fmla="*/ 457200 w 1214119"/>
                  <a:gd name="connsiteY51"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214119 w 1214119"/>
                  <a:gd name="connsiteY41" fmla="*/ 292100 h 1597660"/>
                  <a:gd name="connsiteX42" fmla="*/ 995679 w 1214119"/>
                  <a:gd name="connsiteY42" fmla="*/ 396240 h 1597660"/>
                  <a:gd name="connsiteX43" fmla="*/ 858519 w 1214119"/>
                  <a:gd name="connsiteY43" fmla="*/ 551180 h 1597660"/>
                  <a:gd name="connsiteX44" fmla="*/ 792480 w 1214119"/>
                  <a:gd name="connsiteY44" fmla="*/ 660400 h 1597660"/>
                  <a:gd name="connsiteX45" fmla="*/ 962660 w 1214119"/>
                  <a:gd name="connsiteY45" fmla="*/ 574040 h 1597660"/>
                  <a:gd name="connsiteX46" fmla="*/ 998220 w 1214119"/>
                  <a:gd name="connsiteY46" fmla="*/ 584200 h 1597660"/>
                  <a:gd name="connsiteX47" fmla="*/ 746760 w 1214119"/>
                  <a:gd name="connsiteY47" fmla="*/ 713740 h 1597660"/>
                  <a:gd name="connsiteX48" fmla="*/ 632460 w 1214119"/>
                  <a:gd name="connsiteY48" fmla="*/ 896620 h 1597660"/>
                  <a:gd name="connsiteX49" fmla="*/ 640080 w 1214119"/>
                  <a:gd name="connsiteY49" fmla="*/ 1239520 h 1597660"/>
                  <a:gd name="connsiteX50" fmla="*/ 640080 w 1214119"/>
                  <a:gd name="connsiteY50" fmla="*/ 1597660 h 1597660"/>
                  <a:gd name="connsiteX51" fmla="*/ 457200 w 1214119"/>
                  <a:gd name="connsiteY51"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127759 w 1214119"/>
                  <a:gd name="connsiteY41" fmla="*/ 24384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62660 w 1214119"/>
                  <a:gd name="connsiteY46" fmla="*/ 574040 h 1597660"/>
                  <a:gd name="connsiteX47" fmla="*/ 998220 w 1214119"/>
                  <a:gd name="connsiteY47" fmla="*/ 58420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55040 w 1214119"/>
                  <a:gd name="connsiteY37" fmla="*/ 19050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62660 w 1214119"/>
                  <a:gd name="connsiteY46" fmla="*/ 574040 h 1597660"/>
                  <a:gd name="connsiteX47" fmla="*/ 998220 w 1214119"/>
                  <a:gd name="connsiteY47" fmla="*/ 58420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72820 w 1214119"/>
                  <a:gd name="connsiteY37" fmla="*/ 27432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62660 w 1214119"/>
                  <a:gd name="connsiteY46" fmla="*/ 574040 h 1597660"/>
                  <a:gd name="connsiteX47" fmla="*/ 998220 w 1214119"/>
                  <a:gd name="connsiteY47" fmla="*/ 58420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72820 w 1214119"/>
                  <a:gd name="connsiteY37" fmla="*/ 27432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32180 w 1214119"/>
                  <a:gd name="connsiteY46" fmla="*/ 566420 h 1597660"/>
                  <a:gd name="connsiteX47" fmla="*/ 998220 w 1214119"/>
                  <a:gd name="connsiteY47" fmla="*/ 58420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72820 w 1214119"/>
                  <a:gd name="connsiteY37" fmla="*/ 27432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32180 w 1214119"/>
                  <a:gd name="connsiteY46" fmla="*/ 566420 h 1597660"/>
                  <a:gd name="connsiteX47" fmla="*/ 970280 w 1214119"/>
                  <a:gd name="connsiteY47" fmla="*/ 568960 h 1597660"/>
                  <a:gd name="connsiteX48" fmla="*/ 746760 w 1214119"/>
                  <a:gd name="connsiteY48" fmla="*/ 7137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525780 w 1214119"/>
                  <a:gd name="connsiteY11" fmla="*/ 599440 h 1597660"/>
                  <a:gd name="connsiteX12" fmla="*/ 563880 w 1214119"/>
                  <a:gd name="connsiteY12" fmla="*/ 378460 h 1597660"/>
                  <a:gd name="connsiteX13" fmla="*/ 485140 w 1214119"/>
                  <a:gd name="connsiteY13" fmla="*/ 127000 h 1597660"/>
                  <a:gd name="connsiteX14" fmla="*/ 419100 w 1214119"/>
                  <a:gd name="connsiteY14" fmla="*/ 60960 h 1597660"/>
                  <a:gd name="connsiteX15" fmla="*/ 495300 w 1214119"/>
                  <a:gd name="connsiteY15" fmla="*/ 111760 h 1597660"/>
                  <a:gd name="connsiteX16" fmla="*/ 530859 w 1214119"/>
                  <a:gd name="connsiteY16" fmla="*/ 187960 h 1597660"/>
                  <a:gd name="connsiteX17" fmla="*/ 622299 w 1214119"/>
                  <a:gd name="connsiteY17" fmla="*/ 20320 h 1597660"/>
                  <a:gd name="connsiteX18" fmla="*/ 546099 w 1214119"/>
                  <a:gd name="connsiteY18" fmla="*/ 223520 h 1597660"/>
                  <a:gd name="connsiteX19" fmla="*/ 594360 w 1214119"/>
                  <a:gd name="connsiteY19" fmla="*/ 355600 h 1597660"/>
                  <a:gd name="connsiteX20" fmla="*/ 723899 w 1214119"/>
                  <a:gd name="connsiteY20" fmla="*/ 132080 h 1597660"/>
                  <a:gd name="connsiteX21" fmla="*/ 693420 w 1214119"/>
                  <a:gd name="connsiteY21" fmla="*/ 30480 h 1597660"/>
                  <a:gd name="connsiteX22" fmla="*/ 708659 w 1214119"/>
                  <a:gd name="connsiteY22" fmla="*/ 0 h 1597660"/>
                  <a:gd name="connsiteX23" fmla="*/ 751839 w 1214119"/>
                  <a:gd name="connsiteY23" fmla="*/ 127000 h 1597660"/>
                  <a:gd name="connsiteX24" fmla="*/ 896620 w 1214119"/>
                  <a:gd name="connsiteY24" fmla="*/ 30480 h 1597660"/>
                  <a:gd name="connsiteX25" fmla="*/ 772159 w 1214119"/>
                  <a:gd name="connsiteY25" fmla="*/ 144780 h 1597660"/>
                  <a:gd name="connsiteX26" fmla="*/ 632460 w 1214119"/>
                  <a:gd name="connsiteY26" fmla="*/ 393700 h 1597660"/>
                  <a:gd name="connsiteX27" fmla="*/ 604520 w 1214119"/>
                  <a:gd name="connsiteY27" fmla="*/ 591820 h 1597660"/>
                  <a:gd name="connsiteX28" fmla="*/ 624840 w 1214119"/>
                  <a:gd name="connsiteY28" fmla="*/ 789940 h 1597660"/>
                  <a:gd name="connsiteX29" fmla="*/ 807719 w 1214119"/>
                  <a:gd name="connsiteY29" fmla="*/ 548640 h 1597660"/>
                  <a:gd name="connsiteX30" fmla="*/ 840739 w 1214119"/>
                  <a:gd name="connsiteY30" fmla="*/ 396240 h 1597660"/>
                  <a:gd name="connsiteX31" fmla="*/ 792479 w 1214119"/>
                  <a:gd name="connsiteY31" fmla="*/ 337820 h 1597660"/>
                  <a:gd name="connsiteX32" fmla="*/ 843279 w 1214119"/>
                  <a:gd name="connsiteY32" fmla="*/ 375920 h 1597660"/>
                  <a:gd name="connsiteX33" fmla="*/ 853440 w 1214119"/>
                  <a:gd name="connsiteY33" fmla="*/ 314960 h 1597660"/>
                  <a:gd name="connsiteX34" fmla="*/ 878839 w 1214119"/>
                  <a:gd name="connsiteY34" fmla="*/ 322580 h 1597660"/>
                  <a:gd name="connsiteX35" fmla="*/ 835659 w 1214119"/>
                  <a:gd name="connsiteY35" fmla="*/ 530860 h 1597660"/>
                  <a:gd name="connsiteX36" fmla="*/ 985519 w 1214119"/>
                  <a:gd name="connsiteY36" fmla="*/ 360680 h 1597660"/>
                  <a:gd name="connsiteX37" fmla="*/ 972820 w 1214119"/>
                  <a:gd name="connsiteY37" fmla="*/ 274320 h 1597660"/>
                  <a:gd name="connsiteX38" fmla="*/ 1008379 w 1214119"/>
                  <a:gd name="connsiteY38" fmla="*/ 360680 h 1597660"/>
                  <a:gd name="connsiteX39" fmla="*/ 1069339 w 1214119"/>
                  <a:gd name="connsiteY39" fmla="*/ 337820 h 1597660"/>
                  <a:gd name="connsiteX40" fmla="*/ 1084579 w 1214119"/>
                  <a:gd name="connsiteY40" fmla="*/ 220980 h 1597660"/>
                  <a:gd name="connsiteX41" fmla="*/ 1089659 w 1214119"/>
                  <a:gd name="connsiteY41" fmla="*/ 335280 h 1597660"/>
                  <a:gd name="connsiteX42" fmla="*/ 1214119 w 1214119"/>
                  <a:gd name="connsiteY42" fmla="*/ 292100 h 1597660"/>
                  <a:gd name="connsiteX43" fmla="*/ 995679 w 1214119"/>
                  <a:gd name="connsiteY43" fmla="*/ 396240 h 1597660"/>
                  <a:gd name="connsiteX44" fmla="*/ 858519 w 1214119"/>
                  <a:gd name="connsiteY44" fmla="*/ 551180 h 1597660"/>
                  <a:gd name="connsiteX45" fmla="*/ 792480 w 1214119"/>
                  <a:gd name="connsiteY45" fmla="*/ 660400 h 1597660"/>
                  <a:gd name="connsiteX46" fmla="*/ 932180 w 1214119"/>
                  <a:gd name="connsiteY46" fmla="*/ 566420 h 1597660"/>
                  <a:gd name="connsiteX47" fmla="*/ 970280 w 1214119"/>
                  <a:gd name="connsiteY47" fmla="*/ 568960 h 1597660"/>
                  <a:gd name="connsiteX48" fmla="*/ 772160 w 1214119"/>
                  <a:gd name="connsiteY48" fmla="*/ 701040 h 1597660"/>
                  <a:gd name="connsiteX49" fmla="*/ 632460 w 1214119"/>
                  <a:gd name="connsiteY49" fmla="*/ 896620 h 1597660"/>
                  <a:gd name="connsiteX50" fmla="*/ 640080 w 1214119"/>
                  <a:gd name="connsiteY50" fmla="*/ 1239520 h 1597660"/>
                  <a:gd name="connsiteX51" fmla="*/ 640080 w 1214119"/>
                  <a:gd name="connsiteY51" fmla="*/ 1597660 h 1597660"/>
                  <a:gd name="connsiteX52" fmla="*/ 457200 w 1214119"/>
                  <a:gd name="connsiteY52"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525780 w 1214119"/>
                  <a:gd name="connsiteY12" fmla="*/ 599440 h 1597660"/>
                  <a:gd name="connsiteX13" fmla="*/ 563880 w 1214119"/>
                  <a:gd name="connsiteY13" fmla="*/ 378460 h 1597660"/>
                  <a:gd name="connsiteX14" fmla="*/ 485140 w 1214119"/>
                  <a:gd name="connsiteY14" fmla="*/ 127000 h 1597660"/>
                  <a:gd name="connsiteX15" fmla="*/ 419100 w 1214119"/>
                  <a:gd name="connsiteY15" fmla="*/ 60960 h 1597660"/>
                  <a:gd name="connsiteX16" fmla="*/ 495300 w 1214119"/>
                  <a:gd name="connsiteY16" fmla="*/ 111760 h 1597660"/>
                  <a:gd name="connsiteX17" fmla="*/ 530859 w 1214119"/>
                  <a:gd name="connsiteY17" fmla="*/ 187960 h 1597660"/>
                  <a:gd name="connsiteX18" fmla="*/ 622299 w 1214119"/>
                  <a:gd name="connsiteY18" fmla="*/ 20320 h 1597660"/>
                  <a:gd name="connsiteX19" fmla="*/ 546099 w 1214119"/>
                  <a:gd name="connsiteY19" fmla="*/ 223520 h 1597660"/>
                  <a:gd name="connsiteX20" fmla="*/ 594360 w 1214119"/>
                  <a:gd name="connsiteY20" fmla="*/ 355600 h 1597660"/>
                  <a:gd name="connsiteX21" fmla="*/ 723899 w 1214119"/>
                  <a:gd name="connsiteY21" fmla="*/ 132080 h 1597660"/>
                  <a:gd name="connsiteX22" fmla="*/ 693420 w 1214119"/>
                  <a:gd name="connsiteY22" fmla="*/ 30480 h 1597660"/>
                  <a:gd name="connsiteX23" fmla="*/ 708659 w 1214119"/>
                  <a:gd name="connsiteY23" fmla="*/ 0 h 1597660"/>
                  <a:gd name="connsiteX24" fmla="*/ 751839 w 1214119"/>
                  <a:gd name="connsiteY24" fmla="*/ 127000 h 1597660"/>
                  <a:gd name="connsiteX25" fmla="*/ 896620 w 1214119"/>
                  <a:gd name="connsiteY25" fmla="*/ 30480 h 1597660"/>
                  <a:gd name="connsiteX26" fmla="*/ 772159 w 1214119"/>
                  <a:gd name="connsiteY26" fmla="*/ 144780 h 1597660"/>
                  <a:gd name="connsiteX27" fmla="*/ 632460 w 1214119"/>
                  <a:gd name="connsiteY27" fmla="*/ 393700 h 1597660"/>
                  <a:gd name="connsiteX28" fmla="*/ 604520 w 1214119"/>
                  <a:gd name="connsiteY28" fmla="*/ 591820 h 1597660"/>
                  <a:gd name="connsiteX29" fmla="*/ 624840 w 1214119"/>
                  <a:gd name="connsiteY29" fmla="*/ 789940 h 1597660"/>
                  <a:gd name="connsiteX30" fmla="*/ 807719 w 1214119"/>
                  <a:gd name="connsiteY30" fmla="*/ 548640 h 1597660"/>
                  <a:gd name="connsiteX31" fmla="*/ 840739 w 1214119"/>
                  <a:gd name="connsiteY31" fmla="*/ 396240 h 1597660"/>
                  <a:gd name="connsiteX32" fmla="*/ 792479 w 1214119"/>
                  <a:gd name="connsiteY32" fmla="*/ 337820 h 1597660"/>
                  <a:gd name="connsiteX33" fmla="*/ 843279 w 1214119"/>
                  <a:gd name="connsiteY33" fmla="*/ 375920 h 1597660"/>
                  <a:gd name="connsiteX34" fmla="*/ 853440 w 1214119"/>
                  <a:gd name="connsiteY34" fmla="*/ 314960 h 1597660"/>
                  <a:gd name="connsiteX35" fmla="*/ 878839 w 1214119"/>
                  <a:gd name="connsiteY35" fmla="*/ 322580 h 1597660"/>
                  <a:gd name="connsiteX36" fmla="*/ 835659 w 1214119"/>
                  <a:gd name="connsiteY36" fmla="*/ 530860 h 1597660"/>
                  <a:gd name="connsiteX37" fmla="*/ 985519 w 1214119"/>
                  <a:gd name="connsiteY37" fmla="*/ 360680 h 1597660"/>
                  <a:gd name="connsiteX38" fmla="*/ 972820 w 1214119"/>
                  <a:gd name="connsiteY38" fmla="*/ 274320 h 1597660"/>
                  <a:gd name="connsiteX39" fmla="*/ 1008379 w 1214119"/>
                  <a:gd name="connsiteY39" fmla="*/ 360680 h 1597660"/>
                  <a:gd name="connsiteX40" fmla="*/ 1069339 w 1214119"/>
                  <a:gd name="connsiteY40" fmla="*/ 337820 h 1597660"/>
                  <a:gd name="connsiteX41" fmla="*/ 1084579 w 1214119"/>
                  <a:gd name="connsiteY41" fmla="*/ 220980 h 1597660"/>
                  <a:gd name="connsiteX42" fmla="*/ 1089659 w 1214119"/>
                  <a:gd name="connsiteY42" fmla="*/ 335280 h 1597660"/>
                  <a:gd name="connsiteX43" fmla="*/ 1214119 w 1214119"/>
                  <a:gd name="connsiteY43" fmla="*/ 292100 h 1597660"/>
                  <a:gd name="connsiteX44" fmla="*/ 995679 w 1214119"/>
                  <a:gd name="connsiteY44" fmla="*/ 396240 h 1597660"/>
                  <a:gd name="connsiteX45" fmla="*/ 858519 w 1214119"/>
                  <a:gd name="connsiteY45" fmla="*/ 551180 h 1597660"/>
                  <a:gd name="connsiteX46" fmla="*/ 792480 w 1214119"/>
                  <a:gd name="connsiteY46" fmla="*/ 660400 h 1597660"/>
                  <a:gd name="connsiteX47" fmla="*/ 932180 w 1214119"/>
                  <a:gd name="connsiteY47" fmla="*/ 566420 h 1597660"/>
                  <a:gd name="connsiteX48" fmla="*/ 970280 w 1214119"/>
                  <a:gd name="connsiteY48" fmla="*/ 568960 h 1597660"/>
                  <a:gd name="connsiteX49" fmla="*/ 772160 w 1214119"/>
                  <a:gd name="connsiteY49" fmla="*/ 701040 h 1597660"/>
                  <a:gd name="connsiteX50" fmla="*/ 632460 w 1214119"/>
                  <a:gd name="connsiteY50" fmla="*/ 896620 h 1597660"/>
                  <a:gd name="connsiteX51" fmla="*/ 640080 w 1214119"/>
                  <a:gd name="connsiteY51" fmla="*/ 1239520 h 1597660"/>
                  <a:gd name="connsiteX52" fmla="*/ 640080 w 1214119"/>
                  <a:gd name="connsiteY52" fmla="*/ 1597660 h 1597660"/>
                  <a:gd name="connsiteX53" fmla="*/ 457200 w 1214119"/>
                  <a:gd name="connsiteY53"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454659 w 1214119"/>
                  <a:gd name="connsiteY12" fmla="*/ 561340 h 1597660"/>
                  <a:gd name="connsiteX13" fmla="*/ 525780 w 1214119"/>
                  <a:gd name="connsiteY13" fmla="*/ 599440 h 1597660"/>
                  <a:gd name="connsiteX14" fmla="*/ 563880 w 1214119"/>
                  <a:gd name="connsiteY14" fmla="*/ 378460 h 1597660"/>
                  <a:gd name="connsiteX15" fmla="*/ 485140 w 1214119"/>
                  <a:gd name="connsiteY15" fmla="*/ 127000 h 1597660"/>
                  <a:gd name="connsiteX16" fmla="*/ 419100 w 1214119"/>
                  <a:gd name="connsiteY16" fmla="*/ 60960 h 1597660"/>
                  <a:gd name="connsiteX17" fmla="*/ 495300 w 1214119"/>
                  <a:gd name="connsiteY17" fmla="*/ 111760 h 1597660"/>
                  <a:gd name="connsiteX18" fmla="*/ 530859 w 1214119"/>
                  <a:gd name="connsiteY18" fmla="*/ 187960 h 1597660"/>
                  <a:gd name="connsiteX19" fmla="*/ 622299 w 1214119"/>
                  <a:gd name="connsiteY19" fmla="*/ 20320 h 1597660"/>
                  <a:gd name="connsiteX20" fmla="*/ 546099 w 1214119"/>
                  <a:gd name="connsiteY20" fmla="*/ 223520 h 1597660"/>
                  <a:gd name="connsiteX21" fmla="*/ 594360 w 1214119"/>
                  <a:gd name="connsiteY21" fmla="*/ 355600 h 1597660"/>
                  <a:gd name="connsiteX22" fmla="*/ 723899 w 1214119"/>
                  <a:gd name="connsiteY22" fmla="*/ 132080 h 1597660"/>
                  <a:gd name="connsiteX23" fmla="*/ 693420 w 1214119"/>
                  <a:gd name="connsiteY23" fmla="*/ 30480 h 1597660"/>
                  <a:gd name="connsiteX24" fmla="*/ 708659 w 1214119"/>
                  <a:gd name="connsiteY24" fmla="*/ 0 h 1597660"/>
                  <a:gd name="connsiteX25" fmla="*/ 751839 w 1214119"/>
                  <a:gd name="connsiteY25" fmla="*/ 127000 h 1597660"/>
                  <a:gd name="connsiteX26" fmla="*/ 896620 w 1214119"/>
                  <a:gd name="connsiteY26" fmla="*/ 30480 h 1597660"/>
                  <a:gd name="connsiteX27" fmla="*/ 772159 w 1214119"/>
                  <a:gd name="connsiteY27" fmla="*/ 144780 h 1597660"/>
                  <a:gd name="connsiteX28" fmla="*/ 632460 w 1214119"/>
                  <a:gd name="connsiteY28" fmla="*/ 393700 h 1597660"/>
                  <a:gd name="connsiteX29" fmla="*/ 604520 w 1214119"/>
                  <a:gd name="connsiteY29" fmla="*/ 591820 h 1597660"/>
                  <a:gd name="connsiteX30" fmla="*/ 624840 w 1214119"/>
                  <a:gd name="connsiteY30" fmla="*/ 789940 h 1597660"/>
                  <a:gd name="connsiteX31" fmla="*/ 807719 w 1214119"/>
                  <a:gd name="connsiteY31" fmla="*/ 548640 h 1597660"/>
                  <a:gd name="connsiteX32" fmla="*/ 840739 w 1214119"/>
                  <a:gd name="connsiteY32" fmla="*/ 396240 h 1597660"/>
                  <a:gd name="connsiteX33" fmla="*/ 792479 w 1214119"/>
                  <a:gd name="connsiteY33" fmla="*/ 337820 h 1597660"/>
                  <a:gd name="connsiteX34" fmla="*/ 843279 w 1214119"/>
                  <a:gd name="connsiteY34" fmla="*/ 375920 h 1597660"/>
                  <a:gd name="connsiteX35" fmla="*/ 853440 w 1214119"/>
                  <a:gd name="connsiteY35" fmla="*/ 314960 h 1597660"/>
                  <a:gd name="connsiteX36" fmla="*/ 878839 w 1214119"/>
                  <a:gd name="connsiteY36" fmla="*/ 322580 h 1597660"/>
                  <a:gd name="connsiteX37" fmla="*/ 835659 w 1214119"/>
                  <a:gd name="connsiteY37" fmla="*/ 530860 h 1597660"/>
                  <a:gd name="connsiteX38" fmla="*/ 985519 w 1214119"/>
                  <a:gd name="connsiteY38" fmla="*/ 360680 h 1597660"/>
                  <a:gd name="connsiteX39" fmla="*/ 972820 w 1214119"/>
                  <a:gd name="connsiteY39" fmla="*/ 274320 h 1597660"/>
                  <a:gd name="connsiteX40" fmla="*/ 1008379 w 1214119"/>
                  <a:gd name="connsiteY40" fmla="*/ 360680 h 1597660"/>
                  <a:gd name="connsiteX41" fmla="*/ 1069339 w 1214119"/>
                  <a:gd name="connsiteY41" fmla="*/ 337820 h 1597660"/>
                  <a:gd name="connsiteX42" fmla="*/ 1084579 w 1214119"/>
                  <a:gd name="connsiteY42" fmla="*/ 220980 h 1597660"/>
                  <a:gd name="connsiteX43" fmla="*/ 1089659 w 1214119"/>
                  <a:gd name="connsiteY43" fmla="*/ 335280 h 1597660"/>
                  <a:gd name="connsiteX44" fmla="*/ 1214119 w 1214119"/>
                  <a:gd name="connsiteY44" fmla="*/ 292100 h 1597660"/>
                  <a:gd name="connsiteX45" fmla="*/ 995679 w 1214119"/>
                  <a:gd name="connsiteY45" fmla="*/ 396240 h 1597660"/>
                  <a:gd name="connsiteX46" fmla="*/ 858519 w 1214119"/>
                  <a:gd name="connsiteY46" fmla="*/ 551180 h 1597660"/>
                  <a:gd name="connsiteX47" fmla="*/ 792480 w 1214119"/>
                  <a:gd name="connsiteY47" fmla="*/ 660400 h 1597660"/>
                  <a:gd name="connsiteX48" fmla="*/ 932180 w 1214119"/>
                  <a:gd name="connsiteY48" fmla="*/ 566420 h 1597660"/>
                  <a:gd name="connsiteX49" fmla="*/ 970280 w 1214119"/>
                  <a:gd name="connsiteY49" fmla="*/ 568960 h 1597660"/>
                  <a:gd name="connsiteX50" fmla="*/ 772160 w 1214119"/>
                  <a:gd name="connsiteY50" fmla="*/ 701040 h 1597660"/>
                  <a:gd name="connsiteX51" fmla="*/ 632460 w 1214119"/>
                  <a:gd name="connsiteY51" fmla="*/ 896620 h 1597660"/>
                  <a:gd name="connsiteX52" fmla="*/ 640080 w 1214119"/>
                  <a:gd name="connsiteY52" fmla="*/ 1239520 h 1597660"/>
                  <a:gd name="connsiteX53" fmla="*/ 640080 w 1214119"/>
                  <a:gd name="connsiteY53" fmla="*/ 1597660 h 1597660"/>
                  <a:gd name="connsiteX54" fmla="*/ 457200 w 1214119"/>
                  <a:gd name="connsiteY54"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408939 w 1214119"/>
                  <a:gd name="connsiteY12" fmla="*/ 541020 h 1597660"/>
                  <a:gd name="connsiteX13" fmla="*/ 454659 w 1214119"/>
                  <a:gd name="connsiteY13" fmla="*/ 561340 h 1597660"/>
                  <a:gd name="connsiteX14" fmla="*/ 525780 w 1214119"/>
                  <a:gd name="connsiteY14" fmla="*/ 599440 h 1597660"/>
                  <a:gd name="connsiteX15" fmla="*/ 563880 w 1214119"/>
                  <a:gd name="connsiteY15" fmla="*/ 378460 h 1597660"/>
                  <a:gd name="connsiteX16" fmla="*/ 485140 w 1214119"/>
                  <a:gd name="connsiteY16" fmla="*/ 127000 h 1597660"/>
                  <a:gd name="connsiteX17" fmla="*/ 419100 w 1214119"/>
                  <a:gd name="connsiteY17" fmla="*/ 60960 h 1597660"/>
                  <a:gd name="connsiteX18" fmla="*/ 495300 w 1214119"/>
                  <a:gd name="connsiteY18" fmla="*/ 111760 h 1597660"/>
                  <a:gd name="connsiteX19" fmla="*/ 530859 w 1214119"/>
                  <a:gd name="connsiteY19" fmla="*/ 187960 h 1597660"/>
                  <a:gd name="connsiteX20" fmla="*/ 622299 w 1214119"/>
                  <a:gd name="connsiteY20" fmla="*/ 20320 h 1597660"/>
                  <a:gd name="connsiteX21" fmla="*/ 546099 w 1214119"/>
                  <a:gd name="connsiteY21" fmla="*/ 223520 h 1597660"/>
                  <a:gd name="connsiteX22" fmla="*/ 594360 w 1214119"/>
                  <a:gd name="connsiteY22" fmla="*/ 355600 h 1597660"/>
                  <a:gd name="connsiteX23" fmla="*/ 723899 w 1214119"/>
                  <a:gd name="connsiteY23" fmla="*/ 132080 h 1597660"/>
                  <a:gd name="connsiteX24" fmla="*/ 693420 w 1214119"/>
                  <a:gd name="connsiteY24" fmla="*/ 30480 h 1597660"/>
                  <a:gd name="connsiteX25" fmla="*/ 708659 w 1214119"/>
                  <a:gd name="connsiteY25" fmla="*/ 0 h 1597660"/>
                  <a:gd name="connsiteX26" fmla="*/ 751839 w 1214119"/>
                  <a:gd name="connsiteY26" fmla="*/ 127000 h 1597660"/>
                  <a:gd name="connsiteX27" fmla="*/ 896620 w 1214119"/>
                  <a:gd name="connsiteY27" fmla="*/ 30480 h 1597660"/>
                  <a:gd name="connsiteX28" fmla="*/ 772159 w 1214119"/>
                  <a:gd name="connsiteY28" fmla="*/ 144780 h 1597660"/>
                  <a:gd name="connsiteX29" fmla="*/ 632460 w 1214119"/>
                  <a:gd name="connsiteY29" fmla="*/ 393700 h 1597660"/>
                  <a:gd name="connsiteX30" fmla="*/ 604520 w 1214119"/>
                  <a:gd name="connsiteY30" fmla="*/ 591820 h 1597660"/>
                  <a:gd name="connsiteX31" fmla="*/ 624840 w 1214119"/>
                  <a:gd name="connsiteY31" fmla="*/ 789940 h 1597660"/>
                  <a:gd name="connsiteX32" fmla="*/ 807719 w 1214119"/>
                  <a:gd name="connsiteY32" fmla="*/ 548640 h 1597660"/>
                  <a:gd name="connsiteX33" fmla="*/ 840739 w 1214119"/>
                  <a:gd name="connsiteY33" fmla="*/ 396240 h 1597660"/>
                  <a:gd name="connsiteX34" fmla="*/ 792479 w 1214119"/>
                  <a:gd name="connsiteY34" fmla="*/ 337820 h 1597660"/>
                  <a:gd name="connsiteX35" fmla="*/ 843279 w 1214119"/>
                  <a:gd name="connsiteY35" fmla="*/ 375920 h 1597660"/>
                  <a:gd name="connsiteX36" fmla="*/ 853440 w 1214119"/>
                  <a:gd name="connsiteY36" fmla="*/ 314960 h 1597660"/>
                  <a:gd name="connsiteX37" fmla="*/ 878839 w 1214119"/>
                  <a:gd name="connsiteY37" fmla="*/ 322580 h 1597660"/>
                  <a:gd name="connsiteX38" fmla="*/ 835659 w 1214119"/>
                  <a:gd name="connsiteY38" fmla="*/ 530860 h 1597660"/>
                  <a:gd name="connsiteX39" fmla="*/ 985519 w 1214119"/>
                  <a:gd name="connsiteY39" fmla="*/ 360680 h 1597660"/>
                  <a:gd name="connsiteX40" fmla="*/ 972820 w 1214119"/>
                  <a:gd name="connsiteY40" fmla="*/ 274320 h 1597660"/>
                  <a:gd name="connsiteX41" fmla="*/ 1008379 w 1214119"/>
                  <a:gd name="connsiteY41" fmla="*/ 360680 h 1597660"/>
                  <a:gd name="connsiteX42" fmla="*/ 1069339 w 1214119"/>
                  <a:gd name="connsiteY42" fmla="*/ 337820 h 1597660"/>
                  <a:gd name="connsiteX43" fmla="*/ 1084579 w 1214119"/>
                  <a:gd name="connsiteY43" fmla="*/ 220980 h 1597660"/>
                  <a:gd name="connsiteX44" fmla="*/ 1089659 w 1214119"/>
                  <a:gd name="connsiteY44" fmla="*/ 335280 h 1597660"/>
                  <a:gd name="connsiteX45" fmla="*/ 1214119 w 1214119"/>
                  <a:gd name="connsiteY45" fmla="*/ 292100 h 1597660"/>
                  <a:gd name="connsiteX46" fmla="*/ 995679 w 1214119"/>
                  <a:gd name="connsiteY46" fmla="*/ 396240 h 1597660"/>
                  <a:gd name="connsiteX47" fmla="*/ 858519 w 1214119"/>
                  <a:gd name="connsiteY47" fmla="*/ 551180 h 1597660"/>
                  <a:gd name="connsiteX48" fmla="*/ 792480 w 1214119"/>
                  <a:gd name="connsiteY48" fmla="*/ 660400 h 1597660"/>
                  <a:gd name="connsiteX49" fmla="*/ 932180 w 1214119"/>
                  <a:gd name="connsiteY49" fmla="*/ 566420 h 1597660"/>
                  <a:gd name="connsiteX50" fmla="*/ 970280 w 1214119"/>
                  <a:gd name="connsiteY50" fmla="*/ 568960 h 1597660"/>
                  <a:gd name="connsiteX51" fmla="*/ 772160 w 1214119"/>
                  <a:gd name="connsiteY51" fmla="*/ 701040 h 1597660"/>
                  <a:gd name="connsiteX52" fmla="*/ 632460 w 1214119"/>
                  <a:gd name="connsiteY52" fmla="*/ 896620 h 1597660"/>
                  <a:gd name="connsiteX53" fmla="*/ 640080 w 1214119"/>
                  <a:gd name="connsiteY53" fmla="*/ 1239520 h 1597660"/>
                  <a:gd name="connsiteX54" fmla="*/ 640080 w 1214119"/>
                  <a:gd name="connsiteY54" fmla="*/ 1597660 h 1597660"/>
                  <a:gd name="connsiteX55" fmla="*/ 457200 w 1214119"/>
                  <a:gd name="connsiteY55"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454659 w 1214119"/>
                  <a:gd name="connsiteY13" fmla="*/ 561340 h 1597660"/>
                  <a:gd name="connsiteX14" fmla="*/ 525780 w 1214119"/>
                  <a:gd name="connsiteY14" fmla="*/ 599440 h 1597660"/>
                  <a:gd name="connsiteX15" fmla="*/ 563880 w 1214119"/>
                  <a:gd name="connsiteY15" fmla="*/ 378460 h 1597660"/>
                  <a:gd name="connsiteX16" fmla="*/ 485140 w 1214119"/>
                  <a:gd name="connsiteY16" fmla="*/ 127000 h 1597660"/>
                  <a:gd name="connsiteX17" fmla="*/ 419100 w 1214119"/>
                  <a:gd name="connsiteY17" fmla="*/ 60960 h 1597660"/>
                  <a:gd name="connsiteX18" fmla="*/ 495300 w 1214119"/>
                  <a:gd name="connsiteY18" fmla="*/ 111760 h 1597660"/>
                  <a:gd name="connsiteX19" fmla="*/ 530859 w 1214119"/>
                  <a:gd name="connsiteY19" fmla="*/ 187960 h 1597660"/>
                  <a:gd name="connsiteX20" fmla="*/ 622299 w 1214119"/>
                  <a:gd name="connsiteY20" fmla="*/ 20320 h 1597660"/>
                  <a:gd name="connsiteX21" fmla="*/ 546099 w 1214119"/>
                  <a:gd name="connsiteY21" fmla="*/ 223520 h 1597660"/>
                  <a:gd name="connsiteX22" fmla="*/ 594360 w 1214119"/>
                  <a:gd name="connsiteY22" fmla="*/ 355600 h 1597660"/>
                  <a:gd name="connsiteX23" fmla="*/ 723899 w 1214119"/>
                  <a:gd name="connsiteY23" fmla="*/ 132080 h 1597660"/>
                  <a:gd name="connsiteX24" fmla="*/ 693420 w 1214119"/>
                  <a:gd name="connsiteY24" fmla="*/ 30480 h 1597660"/>
                  <a:gd name="connsiteX25" fmla="*/ 708659 w 1214119"/>
                  <a:gd name="connsiteY25" fmla="*/ 0 h 1597660"/>
                  <a:gd name="connsiteX26" fmla="*/ 751839 w 1214119"/>
                  <a:gd name="connsiteY26" fmla="*/ 127000 h 1597660"/>
                  <a:gd name="connsiteX27" fmla="*/ 896620 w 1214119"/>
                  <a:gd name="connsiteY27" fmla="*/ 30480 h 1597660"/>
                  <a:gd name="connsiteX28" fmla="*/ 772159 w 1214119"/>
                  <a:gd name="connsiteY28" fmla="*/ 144780 h 1597660"/>
                  <a:gd name="connsiteX29" fmla="*/ 632460 w 1214119"/>
                  <a:gd name="connsiteY29" fmla="*/ 393700 h 1597660"/>
                  <a:gd name="connsiteX30" fmla="*/ 604520 w 1214119"/>
                  <a:gd name="connsiteY30" fmla="*/ 591820 h 1597660"/>
                  <a:gd name="connsiteX31" fmla="*/ 624840 w 1214119"/>
                  <a:gd name="connsiteY31" fmla="*/ 789940 h 1597660"/>
                  <a:gd name="connsiteX32" fmla="*/ 807719 w 1214119"/>
                  <a:gd name="connsiteY32" fmla="*/ 548640 h 1597660"/>
                  <a:gd name="connsiteX33" fmla="*/ 840739 w 1214119"/>
                  <a:gd name="connsiteY33" fmla="*/ 396240 h 1597660"/>
                  <a:gd name="connsiteX34" fmla="*/ 792479 w 1214119"/>
                  <a:gd name="connsiteY34" fmla="*/ 337820 h 1597660"/>
                  <a:gd name="connsiteX35" fmla="*/ 843279 w 1214119"/>
                  <a:gd name="connsiteY35" fmla="*/ 375920 h 1597660"/>
                  <a:gd name="connsiteX36" fmla="*/ 853440 w 1214119"/>
                  <a:gd name="connsiteY36" fmla="*/ 314960 h 1597660"/>
                  <a:gd name="connsiteX37" fmla="*/ 878839 w 1214119"/>
                  <a:gd name="connsiteY37" fmla="*/ 322580 h 1597660"/>
                  <a:gd name="connsiteX38" fmla="*/ 835659 w 1214119"/>
                  <a:gd name="connsiteY38" fmla="*/ 530860 h 1597660"/>
                  <a:gd name="connsiteX39" fmla="*/ 985519 w 1214119"/>
                  <a:gd name="connsiteY39" fmla="*/ 360680 h 1597660"/>
                  <a:gd name="connsiteX40" fmla="*/ 972820 w 1214119"/>
                  <a:gd name="connsiteY40" fmla="*/ 274320 h 1597660"/>
                  <a:gd name="connsiteX41" fmla="*/ 1008379 w 1214119"/>
                  <a:gd name="connsiteY41" fmla="*/ 360680 h 1597660"/>
                  <a:gd name="connsiteX42" fmla="*/ 1069339 w 1214119"/>
                  <a:gd name="connsiteY42" fmla="*/ 337820 h 1597660"/>
                  <a:gd name="connsiteX43" fmla="*/ 1084579 w 1214119"/>
                  <a:gd name="connsiteY43" fmla="*/ 220980 h 1597660"/>
                  <a:gd name="connsiteX44" fmla="*/ 1089659 w 1214119"/>
                  <a:gd name="connsiteY44" fmla="*/ 335280 h 1597660"/>
                  <a:gd name="connsiteX45" fmla="*/ 1214119 w 1214119"/>
                  <a:gd name="connsiteY45" fmla="*/ 292100 h 1597660"/>
                  <a:gd name="connsiteX46" fmla="*/ 995679 w 1214119"/>
                  <a:gd name="connsiteY46" fmla="*/ 396240 h 1597660"/>
                  <a:gd name="connsiteX47" fmla="*/ 858519 w 1214119"/>
                  <a:gd name="connsiteY47" fmla="*/ 551180 h 1597660"/>
                  <a:gd name="connsiteX48" fmla="*/ 792480 w 1214119"/>
                  <a:gd name="connsiteY48" fmla="*/ 660400 h 1597660"/>
                  <a:gd name="connsiteX49" fmla="*/ 932180 w 1214119"/>
                  <a:gd name="connsiteY49" fmla="*/ 566420 h 1597660"/>
                  <a:gd name="connsiteX50" fmla="*/ 970280 w 1214119"/>
                  <a:gd name="connsiteY50" fmla="*/ 568960 h 1597660"/>
                  <a:gd name="connsiteX51" fmla="*/ 772160 w 1214119"/>
                  <a:gd name="connsiteY51" fmla="*/ 701040 h 1597660"/>
                  <a:gd name="connsiteX52" fmla="*/ 632460 w 1214119"/>
                  <a:gd name="connsiteY52" fmla="*/ 896620 h 1597660"/>
                  <a:gd name="connsiteX53" fmla="*/ 640080 w 1214119"/>
                  <a:gd name="connsiteY53" fmla="*/ 1239520 h 1597660"/>
                  <a:gd name="connsiteX54" fmla="*/ 640080 w 1214119"/>
                  <a:gd name="connsiteY54" fmla="*/ 1597660 h 1597660"/>
                  <a:gd name="connsiteX55" fmla="*/ 457200 w 1214119"/>
                  <a:gd name="connsiteY55"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393699 w 1214119"/>
                  <a:gd name="connsiteY13" fmla="*/ 528320 h 1597660"/>
                  <a:gd name="connsiteX14" fmla="*/ 525780 w 1214119"/>
                  <a:gd name="connsiteY14" fmla="*/ 599440 h 1597660"/>
                  <a:gd name="connsiteX15" fmla="*/ 563880 w 1214119"/>
                  <a:gd name="connsiteY15" fmla="*/ 378460 h 1597660"/>
                  <a:gd name="connsiteX16" fmla="*/ 485140 w 1214119"/>
                  <a:gd name="connsiteY16" fmla="*/ 127000 h 1597660"/>
                  <a:gd name="connsiteX17" fmla="*/ 419100 w 1214119"/>
                  <a:gd name="connsiteY17" fmla="*/ 60960 h 1597660"/>
                  <a:gd name="connsiteX18" fmla="*/ 495300 w 1214119"/>
                  <a:gd name="connsiteY18" fmla="*/ 111760 h 1597660"/>
                  <a:gd name="connsiteX19" fmla="*/ 530859 w 1214119"/>
                  <a:gd name="connsiteY19" fmla="*/ 187960 h 1597660"/>
                  <a:gd name="connsiteX20" fmla="*/ 622299 w 1214119"/>
                  <a:gd name="connsiteY20" fmla="*/ 20320 h 1597660"/>
                  <a:gd name="connsiteX21" fmla="*/ 546099 w 1214119"/>
                  <a:gd name="connsiteY21" fmla="*/ 223520 h 1597660"/>
                  <a:gd name="connsiteX22" fmla="*/ 594360 w 1214119"/>
                  <a:gd name="connsiteY22" fmla="*/ 355600 h 1597660"/>
                  <a:gd name="connsiteX23" fmla="*/ 723899 w 1214119"/>
                  <a:gd name="connsiteY23" fmla="*/ 132080 h 1597660"/>
                  <a:gd name="connsiteX24" fmla="*/ 693420 w 1214119"/>
                  <a:gd name="connsiteY24" fmla="*/ 30480 h 1597660"/>
                  <a:gd name="connsiteX25" fmla="*/ 708659 w 1214119"/>
                  <a:gd name="connsiteY25" fmla="*/ 0 h 1597660"/>
                  <a:gd name="connsiteX26" fmla="*/ 751839 w 1214119"/>
                  <a:gd name="connsiteY26" fmla="*/ 127000 h 1597660"/>
                  <a:gd name="connsiteX27" fmla="*/ 896620 w 1214119"/>
                  <a:gd name="connsiteY27" fmla="*/ 30480 h 1597660"/>
                  <a:gd name="connsiteX28" fmla="*/ 772159 w 1214119"/>
                  <a:gd name="connsiteY28" fmla="*/ 144780 h 1597660"/>
                  <a:gd name="connsiteX29" fmla="*/ 632460 w 1214119"/>
                  <a:gd name="connsiteY29" fmla="*/ 393700 h 1597660"/>
                  <a:gd name="connsiteX30" fmla="*/ 604520 w 1214119"/>
                  <a:gd name="connsiteY30" fmla="*/ 591820 h 1597660"/>
                  <a:gd name="connsiteX31" fmla="*/ 624840 w 1214119"/>
                  <a:gd name="connsiteY31" fmla="*/ 789940 h 1597660"/>
                  <a:gd name="connsiteX32" fmla="*/ 807719 w 1214119"/>
                  <a:gd name="connsiteY32" fmla="*/ 548640 h 1597660"/>
                  <a:gd name="connsiteX33" fmla="*/ 840739 w 1214119"/>
                  <a:gd name="connsiteY33" fmla="*/ 396240 h 1597660"/>
                  <a:gd name="connsiteX34" fmla="*/ 792479 w 1214119"/>
                  <a:gd name="connsiteY34" fmla="*/ 337820 h 1597660"/>
                  <a:gd name="connsiteX35" fmla="*/ 843279 w 1214119"/>
                  <a:gd name="connsiteY35" fmla="*/ 375920 h 1597660"/>
                  <a:gd name="connsiteX36" fmla="*/ 853440 w 1214119"/>
                  <a:gd name="connsiteY36" fmla="*/ 314960 h 1597660"/>
                  <a:gd name="connsiteX37" fmla="*/ 878839 w 1214119"/>
                  <a:gd name="connsiteY37" fmla="*/ 322580 h 1597660"/>
                  <a:gd name="connsiteX38" fmla="*/ 835659 w 1214119"/>
                  <a:gd name="connsiteY38" fmla="*/ 530860 h 1597660"/>
                  <a:gd name="connsiteX39" fmla="*/ 985519 w 1214119"/>
                  <a:gd name="connsiteY39" fmla="*/ 360680 h 1597660"/>
                  <a:gd name="connsiteX40" fmla="*/ 972820 w 1214119"/>
                  <a:gd name="connsiteY40" fmla="*/ 274320 h 1597660"/>
                  <a:gd name="connsiteX41" fmla="*/ 1008379 w 1214119"/>
                  <a:gd name="connsiteY41" fmla="*/ 360680 h 1597660"/>
                  <a:gd name="connsiteX42" fmla="*/ 1069339 w 1214119"/>
                  <a:gd name="connsiteY42" fmla="*/ 337820 h 1597660"/>
                  <a:gd name="connsiteX43" fmla="*/ 1084579 w 1214119"/>
                  <a:gd name="connsiteY43" fmla="*/ 220980 h 1597660"/>
                  <a:gd name="connsiteX44" fmla="*/ 1089659 w 1214119"/>
                  <a:gd name="connsiteY44" fmla="*/ 335280 h 1597660"/>
                  <a:gd name="connsiteX45" fmla="*/ 1214119 w 1214119"/>
                  <a:gd name="connsiteY45" fmla="*/ 292100 h 1597660"/>
                  <a:gd name="connsiteX46" fmla="*/ 995679 w 1214119"/>
                  <a:gd name="connsiteY46" fmla="*/ 396240 h 1597660"/>
                  <a:gd name="connsiteX47" fmla="*/ 858519 w 1214119"/>
                  <a:gd name="connsiteY47" fmla="*/ 551180 h 1597660"/>
                  <a:gd name="connsiteX48" fmla="*/ 792480 w 1214119"/>
                  <a:gd name="connsiteY48" fmla="*/ 660400 h 1597660"/>
                  <a:gd name="connsiteX49" fmla="*/ 932180 w 1214119"/>
                  <a:gd name="connsiteY49" fmla="*/ 566420 h 1597660"/>
                  <a:gd name="connsiteX50" fmla="*/ 970280 w 1214119"/>
                  <a:gd name="connsiteY50" fmla="*/ 568960 h 1597660"/>
                  <a:gd name="connsiteX51" fmla="*/ 772160 w 1214119"/>
                  <a:gd name="connsiteY51" fmla="*/ 701040 h 1597660"/>
                  <a:gd name="connsiteX52" fmla="*/ 632460 w 1214119"/>
                  <a:gd name="connsiteY52" fmla="*/ 896620 h 1597660"/>
                  <a:gd name="connsiteX53" fmla="*/ 640080 w 1214119"/>
                  <a:gd name="connsiteY53" fmla="*/ 1239520 h 1597660"/>
                  <a:gd name="connsiteX54" fmla="*/ 640080 w 1214119"/>
                  <a:gd name="connsiteY54" fmla="*/ 1597660 h 1597660"/>
                  <a:gd name="connsiteX55" fmla="*/ 457200 w 1214119"/>
                  <a:gd name="connsiteY55"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388619 w 1214119"/>
                  <a:gd name="connsiteY13" fmla="*/ 462280 h 1597660"/>
                  <a:gd name="connsiteX14" fmla="*/ 393699 w 1214119"/>
                  <a:gd name="connsiteY14" fmla="*/ 528320 h 1597660"/>
                  <a:gd name="connsiteX15" fmla="*/ 525780 w 1214119"/>
                  <a:gd name="connsiteY15" fmla="*/ 599440 h 1597660"/>
                  <a:gd name="connsiteX16" fmla="*/ 563880 w 1214119"/>
                  <a:gd name="connsiteY16" fmla="*/ 378460 h 1597660"/>
                  <a:gd name="connsiteX17" fmla="*/ 485140 w 1214119"/>
                  <a:gd name="connsiteY17" fmla="*/ 127000 h 1597660"/>
                  <a:gd name="connsiteX18" fmla="*/ 419100 w 1214119"/>
                  <a:gd name="connsiteY18" fmla="*/ 60960 h 1597660"/>
                  <a:gd name="connsiteX19" fmla="*/ 495300 w 1214119"/>
                  <a:gd name="connsiteY19" fmla="*/ 111760 h 1597660"/>
                  <a:gd name="connsiteX20" fmla="*/ 530859 w 1214119"/>
                  <a:gd name="connsiteY20" fmla="*/ 187960 h 1597660"/>
                  <a:gd name="connsiteX21" fmla="*/ 622299 w 1214119"/>
                  <a:gd name="connsiteY21" fmla="*/ 20320 h 1597660"/>
                  <a:gd name="connsiteX22" fmla="*/ 546099 w 1214119"/>
                  <a:gd name="connsiteY22" fmla="*/ 223520 h 1597660"/>
                  <a:gd name="connsiteX23" fmla="*/ 594360 w 1214119"/>
                  <a:gd name="connsiteY23" fmla="*/ 355600 h 1597660"/>
                  <a:gd name="connsiteX24" fmla="*/ 723899 w 1214119"/>
                  <a:gd name="connsiteY24" fmla="*/ 132080 h 1597660"/>
                  <a:gd name="connsiteX25" fmla="*/ 693420 w 1214119"/>
                  <a:gd name="connsiteY25" fmla="*/ 30480 h 1597660"/>
                  <a:gd name="connsiteX26" fmla="*/ 708659 w 1214119"/>
                  <a:gd name="connsiteY26" fmla="*/ 0 h 1597660"/>
                  <a:gd name="connsiteX27" fmla="*/ 751839 w 1214119"/>
                  <a:gd name="connsiteY27" fmla="*/ 127000 h 1597660"/>
                  <a:gd name="connsiteX28" fmla="*/ 896620 w 1214119"/>
                  <a:gd name="connsiteY28" fmla="*/ 30480 h 1597660"/>
                  <a:gd name="connsiteX29" fmla="*/ 772159 w 1214119"/>
                  <a:gd name="connsiteY29" fmla="*/ 144780 h 1597660"/>
                  <a:gd name="connsiteX30" fmla="*/ 632460 w 1214119"/>
                  <a:gd name="connsiteY30" fmla="*/ 393700 h 1597660"/>
                  <a:gd name="connsiteX31" fmla="*/ 604520 w 1214119"/>
                  <a:gd name="connsiteY31" fmla="*/ 591820 h 1597660"/>
                  <a:gd name="connsiteX32" fmla="*/ 624840 w 1214119"/>
                  <a:gd name="connsiteY32" fmla="*/ 789940 h 1597660"/>
                  <a:gd name="connsiteX33" fmla="*/ 807719 w 1214119"/>
                  <a:gd name="connsiteY33" fmla="*/ 548640 h 1597660"/>
                  <a:gd name="connsiteX34" fmla="*/ 840739 w 1214119"/>
                  <a:gd name="connsiteY34" fmla="*/ 396240 h 1597660"/>
                  <a:gd name="connsiteX35" fmla="*/ 792479 w 1214119"/>
                  <a:gd name="connsiteY35" fmla="*/ 337820 h 1597660"/>
                  <a:gd name="connsiteX36" fmla="*/ 843279 w 1214119"/>
                  <a:gd name="connsiteY36" fmla="*/ 375920 h 1597660"/>
                  <a:gd name="connsiteX37" fmla="*/ 853440 w 1214119"/>
                  <a:gd name="connsiteY37" fmla="*/ 314960 h 1597660"/>
                  <a:gd name="connsiteX38" fmla="*/ 878839 w 1214119"/>
                  <a:gd name="connsiteY38" fmla="*/ 322580 h 1597660"/>
                  <a:gd name="connsiteX39" fmla="*/ 835659 w 1214119"/>
                  <a:gd name="connsiteY39" fmla="*/ 530860 h 1597660"/>
                  <a:gd name="connsiteX40" fmla="*/ 985519 w 1214119"/>
                  <a:gd name="connsiteY40" fmla="*/ 360680 h 1597660"/>
                  <a:gd name="connsiteX41" fmla="*/ 972820 w 1214119"/>
                  <a:gd name="connsiteY41" fmla="*/ 274320 h 1597660"/>
                  <a:gd name="connsiteX42" fmla="*/ 1008379 w 1214119"/>
                  <a:gd name="connsiteY42" fmla="*/ 360680 h 1597660"/>
                  <a:gd name="connsiteX43" fmla="*/ 1069339 w 1214119"/>
                  <a:gd name="connsiteY43" fmla="*/ 337820 h 1597660"/>
                  <a:gd name="connsiteX44" fmla="*/ 1084579 w 1214119"/>
                  <a:gd name="connsiteY44" fmla="*/ 220980 h 1597660"/>
                  <a:gd name="connsiteX45" fmla="*/ 1089659 w 1214119"/>
                  <a:gd name="connsiteY45" fmla="*/ 335280 h 1597660"/>
                  <a:gd name="connsiteX46" fmla="*/ 1214119 w 1214119"/>
                  <a:gd name="connsiteY46" fmla="*/ 292100 h 1597660"/>
                  <a:gd name="connsiteX47" fmla="*/ 995679 w 1214119"/>
                  <a:gd name="connsiteY47" fmla="*/ 396240 h 1597660"/>
                  <a:gd name="connsiteX48" fmla="*/ 858519 w 1214119"/>
                  <a:gd name="connsiteY48" fmla="*/ 551180 h 1597660"/>
                  <a:gd name="connsiteX49" fmla="*/ 792480 w 1214119"/>
                  <a:gd name="connsiteY49" fmla="*/ 660400 h 1597660"/>
                  <a:gd name="connsiteX50" fmla="*/ 932180 w 1214119"/>
                  <a:gd name="connsiteY50" fmla="*/ 566420 h 1597660"/>
                  <a:gd name="connsiteX51" fmla="*/ 970280 w 1214119"/>
                  <a:gd name="connsiteY51" fmla="*/ 568960 h 1597660"/>
                  <a:gd name="connsiteX52" fmla="*/ 772160 w 1214119"/>
                  <a:gd name="connsiteY52" fmla="*/ 701040 h 1597660"/>
                  <a:gd name="connsiteX53" fmla="*/ 632460 w 1214119"/>
                  <a:gd name="connsiteY53" fmla="*/ 896620 h 1597660"/>
                  <a:gd name="connsiteX54" fmla="*/ 640080 w 1214119"/>
                  <a:gd name="connsiteY54" fmla="*/ 1239520 h 1597660"/>
                  <a:gd name="connsiteX55" fmla="*/ 640080 w 1214119"/>
                  <a:gd name="connsiteY55" fmla="*/ 1597660 h 1597660"/>
                  <a:gd name="connsiteX56" fmla="*/ 457200 w 1214119"/>
                  <a:gd name="connsiteY56"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447039 w 1214119"/>
                  <a:gd name="connsiteY13" fmla="*/ 284480 h 1597660"/>
                  <a:gd name="connsiteX14" fmla="*/ 393699 w 1214119"/>
                  <a:gd name="connsiteY14" fmla="*/ 528320 h 1597660"/>
                  <a:gd name="connsiteX15" fmla="*/ 525780 w 1214119"/>
                  <a:gd name="connsiteY15" fmla="*/ 599440 h 1597660"/>
                  <a:gd name="connsiteX16" fmla="*/ 563880 w 1214119"/>
                  <a:gd name="connsiteY16" fmla="*/ 378460 h 1597660"/>
                  <a:gd name="connsiteX17" fmla="*/ 485140 w 1214119"/>
                  <a:gd name="connsiteY17" fmla="*/ 127000 h 1597660"/>
                  <a:gd name="connsiteX18" fmla="*/ 419100 w 1214119"/>
                  <a:gd name="connsiteY18" fmla="*/ 60960 h 1597660"/>
                  <a:gd name="connsiteX19" fmla="*/ 495300 w 1214119"/>
                  <a:gd name="connsiteY19" fmla="*/ 111760 h 1597660"/>
                  <a:gd name="connsiteX20" fmla="*/ 530859 w 1214119"/>
                  <a:gd name="connsiteY20" fmla="*/ 187960 h 1597660"/>
                  <a:gd name="connsiteX21" fmla="*/ 622299 w 1214119"/>
                  <a:gd name="connsiteY21" fmla="*/ 20320 h 1597660"/>
                  <a:gd name="connsiteX22" fmla="*/ 546099 w 1214119"/>
                  <a:gd name="connsiteY22" fmla="*/ 223520 h 1597660"/>
                  <a:gd name="connsiteX23" fmla="*/ 594360 w 1214119"/>
                  <a:gd name="connsiteY23" fmla="*/ 355600 h 1597660"/>
                  <a:gd name="connsiteX24" fmla="*/ 723899 w 1214119"/>
                  <a:gd name="connsiteY24" fmla="*/ 132080 h 1597660"/>
                  <a:gd name="connsiteX25" fmla="*/ 693420 w 1214119"/>
                  <a:gd name="connsiteY25" fmla="*/ 30480 h 1597660"/>
                  <a:gd name="connsiteX26" fmla="*/ 708659 w 1214119"/>
                  <a:gd name="connsiteY26" fmla="*/ 0 h 1597660"/>
                  <a:gd name="connsiteX27" fmla="*/ 751839 w 1214119"/>
                  <a:gd name="connsiteY27" fmla="*/ 127000 h 1597660"/>
                  <a:gd name="connsiteX28" fmla="*/ 896620 w 1214119"/>
                  <a:gd name="connsiteY28" fmla="*/ 30480 h 1597660"/>
                  <a:gd name="connsiteX29" fmla="*/ 772159 w 1214119"/>
                  <a:gd name="connsiteY29" fmla="*/ 144780 h 1597660"/>
                  <a:gd name="connsiteX30" fmla="*/ 632460 w 1214119"/>
                  <a:gd name="connsiteY30" fmla="*/ 393700 h 1597660"/>
                  <a:gd name="connsiteX31" fmla="*/ 604520 w 1214119"/>
                  <a:gd name="connsiteY31" fmla="*/ 591820 h 1597660"/>
                  <a:gd name="connsiteX32" fmla="*/ 624840 w 1214119"/>
                  <a:gd name="connsiteY32" fmla="*/ 789940 h 1597660"/>
                  <a:gd name="connsiteX33" fmla="*/ 807719 w 1214119"/>
                  <a:gd name="connsiteY33" fmla="*/ 548640 h 1597660"/>
                  <a:gd name="connsiteX34" fmla="*/ 840739 w 1214119"/>
                  <a:gd name="connsiteY34" fmla="*/ 396240 h 1597660"/>
                  <a:gd name="connsiteX35" fmla="*/ 792479 w 1214119"/>
                  <a:gd name="connsiteY35" fmla="*/ 337820 h 1597660"/>
                  <a:gd name="connsiteX36" fmla="*/ 843279 w 1214119"/>
                  <a:gd name="connsiteY36" fmla="*/ 375920 h 1597660"/>
                  <a:gd name="connsiteX37" fmla="*/ 853440 w 1214119"/>
                  <a:gd name="connsiteY37" fmla="*/ 314960 h 1597660"/>
                  <a:gd name="connsiteX38" fmla="*/ 878839 w 1214119"/>
                  <a:gd name="connsiteY38" fmla="*/ 322580 h 1597660"/>
                  <a:gd name="connsiteX39" fmla="*/ 835659 w 1214119"/>
                  <a:gd name="connsiteY39" fmla="*/ 530860 h 1597660"/>
                  <a:gd name="connsiteX40" fmla="*/ 985519 w 1214119"/>
                  <a:gd name="connsiteY40" fmla="*/ 360680 h 1597660"/>
                  <a:gd name="connsiteX41" fmla="*/ 972820 w 1214119"/>
                  <a:gd name="connsiteY41" fmla="*/ 274320 h 1597660"/>
                  <a:gd name="connsiteX42" fmla="*/ 1008379 w 1214119"/>
                  <a:gd name="connsiteY42" fmla="*/ 360680 h 1597660"/>
                  <a:gd name="connsiteX43" fmla="*/ 1069339 w 1214119"/>
                  <a:gd name="connsiteY43" fmla="*/ 337820 h 1597660"/>
                  <a:gd name="connsiteX44" fmla="*/ 1084579 w 1214119"/>
                  <a:gd name="connsiteY44" fmla="*/ 220980 h 1597660"/>
                  <a:gd name="connsiteX45" fmla="*/ 1089659 w 1214119"/>
                  <a:gd name="connsiteY45" fmla="*/ 335280 h 1597660"/>
                  <a:gd name="connsiteX46" fmla="*/ 1214119 w 1214119"/>
                  <a:gd name="connsiteY46" fmla="*/ 292100 h 1597660"/>
                  <a:gd name="connsiteX47" fmla="*/ 995679 w 1214119"/>
                  <a:gd name="connsiteY47" fmla="*/ 396240 h 1597660"/>
                  <a:gd name="connsiteX48" fmla="*/ 858519 w 1214119"/>
                  <a:gd name="connsiteY48" fmla="*/ 551180 h 1597660"/>
                  <a:gd name="connsiteX49" fmla="*/ 792480 w 1214119"/>
                  <a:gd name="connsiteY49" fmla="*/ 660400 h 1597660"/>
                  <a:gd name="connsiteX50" fmla="*/ 932180 w 1214119"/>
                  <a:gd name="connsiteY50" fmla="*/ 566420 h 1597660"/>
                  <a:gd name="connsiteX51" fmla="*/ 970280 w 1214119"/>
                  <a:gd name="connsiteY51" fmla="*/ 568960 h 1597660"/>
                  <a:gd name="connsiteX52" fmla="*/ 772160 w 1214119"/>
                  <a:gd name="connsiteY52" fmla="*/ 701040 h 1597660"/>
                  <a:gd name="connsiteX53" fmla="*/ 632460 w 1214119"/>
                  <a:gd name="connsiteY53" fmla="*/ 896620 h 1597660"/>
                  <a:gd name="connsiteX54" fmla="*/ 640080 w 1214119"/>
                  <a:gd name="connsiteY54" fmla="*/ 1239520 h 1597660"/>
                  <a:gd name="connsiteX55" fmla="*/ 640080 w 1214119"/>
                  <a:gd name="connsiteY55" fmla="*/ 1597660 h 1597660"/>
                  <a:gd name="connsiteX56" fmla="*/ 457200 w 1214119"/>
                  <a:gd name="connsiteY56"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403859 w 1214119"/>
                  <a:gd name="connsiteY13" fmla="*/ 350520 h 1597660"/>
                  <a:gd name="connsiteX14" fmla="*/ 447039 w 1214119"/>
                  <a:gd name="connsiteY14" fmla="*/ 284480 h 1597660"/>
                  <a:gd name="connsiteX15" fmla="*/ 393699 w 1214119"/>
                  <a:gd name="connsiteY15" fmla="*/ 52832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353059 w 1214119"/>
                  <a:gd name="connsiteY13" fmla="*/ 269240 h 1597660"/>
                  <a:gd name="connsiteX14" fmla="*/ 447039 w 1214119"/>
                  <a:gd name="connsiteY14" fmla="*/ 284480 h 1597660"/>
                  <a:gd name="connsiteX15" fmla="*/ 393699 w 1214119"/>
                  <a:gd name="connsiteY15" fmla="*/ 52832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485140 h 1597660"/>
                  <a:gd name="connsiteX11" fmla="*/ 375919 w 1214119"/>
                  <a:gd name="connsiteY11" fmla="*/ 523240 h 1597660"/>
                  <a:gd name="connsiteX12" fmla="*/ 378459 w 1214119"/>
                  <a:gd name="connsiteY12" fmla="*/ 391160 h 1597660"/>
                  <a:gd name="connsiteX13" fmla="*/ 353059 w 1214119"/>
                  <a:gd name="connsiteY13" fmla="*/ 269240 h 1597660"/>
                  <a:gd name="connsiteX14" fmla="*/ 447039 w 1214119"/>
                  <a:gd name="connsiteY14" fmla="*/ 284480 h 1597660"/>
                  <a:gd name="connsiteX15" fmla="*/ 416559 w 1214119"/>
                  <a:gd name="connsiteY15" fmla="*/ 55118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23240 h 1597660"/>
                  <a:gd name="connsiteX12" fmla="*/ 378459 w 1214119"/>
                  <a:gd name="connsiteY12" fmla="*/ 391160 h 1597660"/>
                  <a:gd name="connsiteX13" fmla="*/ 353059 w 1214119"/>
                  <a:gd name="connsiteY13" fmla="*/ 269240 h 1597660"/>
                  <a:gd name="connsiteX14" fmla="*/ 447039 w 1214119"/>
                  <a:gd name="connsiteY14" fmla="*/ 284480 h 1597660"/>
                  <a:gd name="connsiteX15" fmla="*/ 416559 w 1214119"/>
                  <a:gd name="connsiteY15" fmla="*/ 55118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53059 w 1214119"/>
                  <a:gd name="connsiteY13" fmla="*/ 269240 h 1597660"/>
                  <a:gd name="connsiteX14" fmla="*/ 447039 w 1214119"/>
                  <a:gd name="connsiteY14" fmla="*/ 284480 h 1597660"/>
                  <a:gd name="connsiteX15" fmla="*/ 416559 w 1214119"/>
                  <a:gd name="connsiteY15" fmla="*/ 55118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447039 w 1214119"/>
                  <a:gd name="connsiteY14" fmla="*/ 284480 h 1597660"/>
                  <a:gd name="connsiteX15" fmla="*/ 416559 w 1214119"/>
                  <a:gd name="connsiteY15" fmla="*/ 551180 h 1597660"/>
                  <a:gd name="connsiteX16" fmla="*/ 525780 w 1214119"/>
                  <a:gd name="connsiteY16" fmla="*/ 599440 h 1597660"/>
                  <a:gd name="connsiteX17" fmla="*/ 563880 w 1214119"/>
                  <a:gd name="connsiteY17" fmla="*/ 378460 h 1597660"/>
                  <a:gd name="connsiteX18" fmla="*/ 485140 w 1214119"/>
                  <a:gd name="connsiteY18" fmla="*/ 127000 h 1597660"/>
                  <a:gd name="connsiteX19" fmla="*/ 419100 w 1214119"/>
                  <a:gd name="connsiteY19" fmla="*/ 60960 h 1597660"/>
                  <a:gd name="connsiteX20" fmla="*/ 495300 w 1214119"/>
                  <a:gd name="connsiteY20" fmla="*/ 111760 h 1597660"/>
                  <a:gd name="connsiteX21" fmla="*/ 530859 w 1214119"/>
                  <a:gd name="connsiteY21" fmla="*/ 187960 h 1597660"/>
                  <a:gd name="connsiteX22" fmla="*/ 622299 w 1214119"/>
                  <a:gd name="connsiteY22" fmla="*/ 20320 h 1597660"/>
                  <a:gd name="connsiteX23" fmla="*/ 546099 w 1214119"/>
                  <a:gd name="connsiteY23" fmla="*/ 223520 h 1597660"/>
                  <a:gd name="connsiteX24" fmla="*/ 594360 w 1214119"/>
                  <a:gd name="connsiteY24" fmla="*/ 355600 h 1597660"/>
                  <a:gd name="connsiteX25" fmla="*/ 723899 w 1214119"/>
                  <a:gd name="connsiteY25" fmla="*/ 132080 h 1597660"/>
                  <a:gd name="connsiteX26" fmla="*/ 693420 w 1214119"/>
                  <a:gd name="connsiteY26" fmla="*/ 30480 h 1597660"/>
                  <a:gd name="connsiteX27" fmla="*/ 708659 w 1214119"/>
                  <a:gd name="connsiteY27" fmla="*/ 0 h 1597660"/>
                  <a:gd name="connsiteX28" fmla="*/ 751839 w 1214119"/>
                  <a:gd name="connsiteY28" fmla="*/ 127000 h 1597660"/>
                  <a:gd name="connsiteX29" fmla="*/ 896620 w 1214119"/>
                  <a:gd name="connsiteY29" fmla="*/ 30480 h 1597660"/>
                  <a:gd name="connsiteX30" fmla="*/ 772159 w 1214119"/>
                  <a:gd name="connsiteY30" fmla="*/ 144780 h 1597660"/>
                  <a:gd name="connsiteX31" fmla="*/ 632460 w 1214119"/>
                  <a:gd name="connsiteY31" fmla="*/ 393700 h 1597660"/>
                  <a:gd name="connsiteX32" fmla="*/ 604520 w 1214119"/>
                  <a:gd name="connsiteY32" fmla="*/ 591820 h 1597660"/>
                  <a:gd name="connsiteX33" fmla="*/ 624840 w 1214119"/>
                  <a:gd name="connsiteY33" fmla="*/ 789940 h 1597660"/>
                  <a:gd name="connsiteX34" fmla="*/ 807719 w 1214119"/>
                  <a:gd name="connsiteY34" fmla="*/ 548640 h 1597660"/>
                  <a:gd name="connsiteX35" fmla="*/ 840739 w 1214119"/>
                  <a:gd name="connsiteY35" fmla="*/ 396240 h 1597660"/>
                  <a:gd name="connsiteX36" fmla="*/ 792479 w 1214119"/>
                  <a:gd name="connsiteY36" fmla="*/ 337820 h 1597660"/>
                  <a:gd name="connsiteX37" fmla="*/ 843279 w 1214119"/>
                  <a:gd name="connsiteY37" fmla="*/ 375920 h 1597660"/>
                  <a:gd name="connsiteX38" fmla="*/ 853440 w 1214119"/>
                  <a:gd name="connsiteY38" fmla="*/ 314960 h 1597660"/>
                  <a:gd name="connsiteX39" fmla="*/ 878839 w 1214119"/>
                  <a:gd name="connsiteY39" fmla="*/ 322580 h 1597660"/>
                  <a:gd name="connsiteX40" fmla="*/ 835659 w 1214119"/>
                  <a:gd name="connsiteY40" fmla="*/ 530860 h 1597660"/>
                  <a:gd name="connsiteX41" fmla="*/ 985519 w 1214119"/>
                  <a:gd name="connsiteY41" fmla="*/ 360680 h 1597660"/>
                  <a:gd name="connsiteX42" fmla="*/ 972820 w 1214119"/>
                  <a:gd name="connsiteY42" fmla="*/ 274320 h 1597660"/>
                  <a:gd name="connsiteX43" fmla="*/ 1008379 w 1214119"/>
                  <a:gd name="connsiteY43" fmla="*/ 360680 h 1597660"/>
                  <a:gd name="connsiteX44" fmla="*/ 1069339 w 1214119"/>
                  <a:gd name="connsiteY44" fmla="*/ 337820 h 1597660"/>
                  <a:gd name="connsiteX45" fmla="*/ 1084579 w 1214119"/>
                  <a:gd name="connsiteY45" fmla="*/ 220980 h 1597660"/>
                  <a:gd name="connsiteX46" fmla="*/ 1089659 w 1214119"/>
                  <a:gd name="connsiteY46" fmla="*/ 335280 h 1597660"/>
                  <a:gd name="connsiteX47" fmla="*/ 1214119 w 1214119"/>
                  <a:gd name="connsiteY47" fmla="*/ 292100 h 1597660"/>
                  <a:gd name="connsiteX48" fmla="*/ 995679 w 1214119"/>
                  <a:gd name="connsiteY48" fmla="*/ 396240 h 1597660"/>
                  <a:gd name="connsiteX49" fmla="*/ 858519 w 1214119"/>
                  <a:gd name="connsiteY49" fmla="*/ 551180 h 1597660"/>
                  <a:gd name="connsiteX50" fmla="*/ 792480 w 1214119"/>
                  <a:gd name="connsiteY50" fmla="*/ 660400 h 1597660"/>
                  <a:gd name="connsiteX51" fmla="*/ 932180 w 1214119"/>
                  <a:gd name="connsiteY51" fmla="*/ 566420 h 1597660"/>
                  <a:gd name="connsiteX52" fmla="*/ 970280 w 1214119"/>
                  <a:gd name="connsiteY52" fmla="*/ 568960 h 1597660"/>
                  <a:gd name="connsiteX53" fmla="*/ 772160 w 1214119"/>
                  <a:gd name="connsiteY53" fmla="*/ 701040 h 1597660"/>
                  <a:gd name="connsiteX54" fmla="*/ 632460 w 1214119"/>
                  <a:gd name="connsiteY54" fmla="*/ 896620 h 1597660"/>
                  <a:gd name="connsiteX55" fmla="*/ 640080 w 1214119"/>
                  <a:gd name="connsiteY55" fmla="*/ 1239520 h 1597660"/>
                  <a:gd name="connsiteX56" fmla="*/ 640080 w 1214119"/>
                  <a:gd name="connsiteY56" fmla="*/ 1597660 h 1597660"/>
                  <a:gd name="connsiteX57" fmla="*/ 457200 w 1214119"/>
                  <a:gd name="connsiteY57"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401319 w 1214119"/>
                  <a:gd name="connsiteY14" fmla="*/ 289560 h 1597660"/>
                  <a:gd name="connsiteX15" fmla="*/ 447039 w 1214119"/>
                  <a:gd name="connsiteY15" fmla="*/ 284480 h 1597660"/>
                  <a:gd name="connsiteX16" fmla="*/ 416559 w 1214119"/>
                  <a:gd name="connsiteY16" fmla="*/ 551180 h 1597660"/>
                  <a:gd name="connsiteX17" fmla="*/ 525780 w 1214119"/>
                  <a:gd name="connsiteY17" fmla="*/ 599440 h 1597660"/>
                  <a:gd name="connsiteX18" fmla="*/ 563880 w 1214119"/>
                  <a:gd name="connsiteY18" fmla="*/ 378460 h 1597660"/>
                  <a:gd name="connsiteX19" fmla="*/ 485140 w 1214119"/>
                  <a:gd name="connsiteY19" fmla="*/ 127000 h 1597660"/>
                  <a:gd name="connsiteX20" fmla="*/ 419100 w 1214119"/>
                  <a:gd name="connsiteY20" fmla="*/ 60960 h 1597660"/>
                  <a:gd name="connsiteX21" fmla="*/ 495300 w 1214119"/>
                  <a:gd name="connsiteY21" fmla="*/ 111760 h 1597660"/>
                  <a:gd name="connsiteX22" fmla="*/ 530859 w 1214119"/>
                  <a:gd name="connsiteY22" fmla="*/ 187960 h 1597660"/>
                  <a:gd name="connsiteX23" fmla="*/ 622299 w 1214119"/>
                  <a:gd name="connsiteY23" fmla="*/ 20320 h 1597660"/>
                  <a:gd name="connsiteX24" fmla="*/ 546099 w 1214119"/>
                  <a:gd name="connsiteY24" fmla="*/ 223520 h 1597660"/>
                  <a:gd name="connsiteX25" fmla="*/ 594360 w 1214119"/>
                  <a:gd name="connsiteY25" fmla="*/ 355600 h 1597660"/>
                  <a:gd name="connsiteX26" fmla="*/ 723899 w 1214119"/>
                  <a:gd name="connsiteY26" fmla="*/ 132080 h 1597660"/>
                  <a:gd name="connsiteX27" fmla="*/ 693420 w 1214119"/>
                  <a:gd name="connsiteY27" fmla="*/ 30480 h 1597660"/>
                  <a:gd name="connsiteX28" fmla="*/ 708659 w 1214119"/>
                  <a:gd name="connsiteY28" fmla="*/ 0 h 1597660"/>
                  <a:gd name="connsiteX29" fmla="*/ 751839 w 1214119"/>
                  <a:gd name="connsiteY29" fmla="*/ 127000 h 1597660"/>
                  <a:gd name="connsiteX30" fmla="*/ 896620 w 1214119"/>
                  <a:gd name="connsiteY30" fmla="*/ 30480 h 1597660"/>
                  <a:gd name="connsiteX31" fmla="*/ 772159 w 1214119"/>
                  <a:gd name="connsiteY31" fmla="*/ 144780 h 1597660"/>
                  <a:gd name="connsiteX32" fmla="*/ 632460 w 1214119"/>
                  <a:gd name="connsiteY32" fmla="*/ 393700 h 1597660"/>
                  <a:gd name="connsiteX33" fmla="*/ 604520 w 1214119"/>
                  <a:gd name="connsiteY33" fmla="*/ 591820 h 1597660"/>
                  <a:gd name="connsiteX34" fmla="*/ 624840 w 1214119"/>
                  <a:gd name="connsiteY34" fmla="*/ 789940 h 1597660"/>
                  <a:gd name="connsiteX35" fmla="*/ 807719 w 1214119"/>
                  <a:gd name="connsiteY35" fmla="*/ 548640 h 1597660"/>
                  <a:gd name="connsiteX36" fmla="*/ 840739 w 1214119"/>
                  <a:gd name="connsiteY36" fmla="*/ 396240 h 1597660"/>
                  <a:gd name="connsiteX37" fmla="*/ 792479 w 1214119"/>
                  <a:gd name="connsiteY37" fmla="*/ 337820 h 1597660"/>
                  <a:gd name="connsiteX38" fmla="*/ 843279 w 1214119"/>
                  <a:gd name="connsiteY38" fmla="*/ 375920 h 1597660"/>
                  <a:gd name="connsiteX39" fmla="*/ 853440 w 1214119"/>
                  <a:gd name="connsiteY39" fmla="*/ 314960 h 1597660"/>
                  <a:gd name="connsiteX40" fmla="*/ 878839 w 1214119"/>
                  <a:gd name="connsiteY40" fmla="*/ 322580 h 1597660"/>
                  <a:gd name="connsiteX41" fmla="*/ 835659 w 1214119"/>
                  <a:gd name="connsiteY41" fmla="*/ 530860 h 1597660"/>
                  <a:gd name="connsiteX42" fmla="*/ 985519 w 1214119"/>
                  <a:gd name="connsiteY42" fmla="*/ 360680 h 1597660"/>
                  <a:gd name="connsiteX43" fmla="*/ 972820 w 1214119"/>
                  <a:gd name="connsiteY43" fmla="*/ 274320 h 1597660"/>
                  <a:gd name="connsiteX44" fmla="*/ 1008379 w 1214119"/>
                  <a:gd name="connsiteY44" fmla="*/ 360680 h 1597660"/>
                  <a:gd name="connsiteX45" fmla="*/ 1069339 w 1214119"/>
                  <a:gd name="connsiteY45" fmla="*/ 337820 h 1597660"/>
                  <a:gd name="connsiteX46" fmla="*/ 1084579 w 1214119"/>
                  <a:gd name="connsiteY46" fmla="*/ 220980 h 1597660"/>
                  <a:gd name="connsiteX47" fmla="*/ 1089659 w 1214119"/>
                  <a:gd name="connsiteY47" fmla="*/ 335280 h 1597660"/>
                  <a:gd name="connsiteX48" fmla="*/ 1214119 w 1214119"/>
                  <a:gd name="connsiteY48" fmla="*/ 292100 h 1597660"/>
                  <a:gd name="connsiteX49" fmla="*/ 995679 w 1214119"/>
                  <a:gd name="connsiteY49" fmla="*/ 396240 h 1597660"/>
                  <a:gd name="connsiteX50" fmla="*/ 858519 w 1214119"/>
                  <a:gd name="connsiteY50" fmla="*/ 551180 h 1597660"/>
                  <a:gd name="connsiteX51" fmla="*/ 792480 w 1214119"/>
                  <a:gd name="connsiteY51" fmla="*/ 660400 h 1597660"/>
                  <a:gd name="connsiteX52" fmla="*/ 932180 w 1214119"/>
                  <a:gd name="connsiteY52" fmla="*/ 566420 h 1597660"/>
                  <a:gd name="connsiteX53" fmla="*/ 970280 w 1214119"/>
                  <a:gd name="connsiteY53" fmla="*/ 568960 h 1597660"/>
                  <a:gd name="connsiteX54" fmla="*/ 772160 w 1214119"/>
                  <a:gd name="connsiteY54" fmla="*/ 701040 h 1597660"/>
                  <a:gd name="connsiteX55" fmla="*/ 632460 w 1214119"/>
                  <a:gd name="connsiteY55" fmla="*/ 896620 h 1597660"/>
                  <a:gd name="connsiteX56" fmla="*/ 640080 w 1214119"/>
                  <a:gd name="connsiteY56" fmla="*/ 1239520 h 1597660"/>
                  <a:gd name="connsiteX57" fmla="*/ 640080 w 1214119"/>
                  <a:gd name="connsiteY57" fmla="*/ 1597660 h 1597660"/>
                  <a:gd name="connsiteX58" fmla="*/ 457200 w 1214119"/>
                  <a:gd name="connsiteY58"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8779 w 1214119"/>
                  <a:gd name="connsiteY14" fmla="*/ 378460 h 1597660"/>
                  <a:gd name="connsiteX15" fmla="*/ 447039 w 1214119"/>
                  <a:gd name="connsiteY15" fmla="*/ 284480 h 1597660"/>
                  <a:gd name="connsiteX16" fmla="*/ 416559 w 1214119"/>
                  <a:gd name="connsiteY16" fmla="*/ 551180 h 1597660"/>
                  <a:gd name="connsiteX17" fmla="*/ 525780 w 1214119"/>
                  <a:gd name="connsiteY17" fmla="*/ 599440 h 1597660"/>
                  <a:gd name="connsiteX18" fmla="*/ 563880 w 1214119"/>
                  <a:gd name="connsiteY18" fmla="*/ 378460 h 1597660"/>
                  <a:gd name="connsiteX19" fmla="*/ 485140 w 1214119"/>
                  <a:gd name="connsiteY19" fmla="*/ 127000 h 1597660"/>
                  <a:gd name="connsiteX20" fmla="*/ 419100 w 1214119"/>
                  <a:gd name="connsiteY20" fmla="*/ 60960 h 1597660"/>
                  <a:gd name="connsiteX21" fmla="*/ 495300 w 1214119"/>
                  <a:gd name="connsiteY21" fmla="*/ 111760 h 1597660"/>
                  <a:gd name="connsiteX22" fmla="*/ 530859 w 1214119"/>
                  <a:gd name="connsiteY22" fmla="*/ 187960 h 1597660"/>
                  <a:gd name="connsiteX23" fmla="*/ 622299 w 1214119"/>
                  <a:gd name="connsiteY23" fmla="*/ 20320 h 1597660"/>
                  <a:gd name="connsiteX24" fmla="*/ 546099 w 1214119"/>
                  <a:gd name="connsiteY24" fmla="*/ 223520 h 1597660"/>
                  <a:gd name="connsiteX25" fmla="*/ 594360 w 1214119"/>
                  <a:gd name="connsiteY25" fmla="*/ 355600 h 1597660"/>
                  <a:gd name="connsiteX26" fmla="*/ 723899 w 1214119"/>
                  <a:gd name="connsiteY26" fmla="*/ 132080 h 1597660"/>
                  <a:gd name="connsiteX27" fmla="*/ 693420 w 1214119"/>
                  <a:gd name="connsiteY27" fmla="*/ 30480 h 1597660"/>
                  <a:gd name="connsiteX28" fmla="*/ 708659 w 1214119"/>
                  <a:gd name="connsiteY28" fmla="*/ 0 h 1597660"/>
                  <a:gd name="connsiteX29" fmla="*/ 751839 w 1214119"/>
                  <a:gd name="connsiteY29" fmla="*/ 127000 h 1597660"/>
                  <a:gd name="connsiteX30" fmla="*/ 896620 w 1214119"/>
                  <a:gd name="connsiteY30" fmla="*/ 30480 h 1597660"/>
                  <a:gd name="connsiteX31" fmla="*/ 772159 w 1214119"/>
                  <a:gd name="connsiteY31" fmla="*/ 144780 h 1597660"/>
                  <a:gd name="connsiteX32" fmla="*/ 632460 w 1214119"/>
                  <a:gd name="connsiteY32" fmla="*/ 393700 h 1597660"/>
                  <a:gd name="connsiteX33" fmla="*/ 604520 w 1214119"/>
                  <a:gd name="connsiteY33" fmla="*/ 591820 h 1597660"/>
                  <a:gd name="connsiteX34" fmla="*/ 624840 w 1214119"/>
                  <a:gd name="connsiteY34" fmla="*/ 789940 h 1597660"/>
                  <a:gd name="connsiteX35" fmla="*/ 807719 w 1214119"/>
                  <a:gd name="connsiteY35" fmla="*/ 548640 h 1597660"/>
                  <a:gd name="connsiteX36" fmla="*/ 840739 w 1214119"/>
                  <a:gd name="connsiteY36" fmla="*/ 396240 h 1597660"/>
                  <a:gd name="connsiteX37" fmla="*/ 792479 w 1214119"/>
                  <a:gd name="connsiteY37" fmla="*/ 337820 h 1597660"/>
                  <a:gd name="connsiteX38" fmla="*/ 843279 w 1214119"/>
                  <a:gd name="connsiteY38" fmla="*/ 375920 h 1597660"/>
                  <a:gd name="connsiteX39" fmla="*/ 853440 w 1214119"/>
                  <a:gd name="connsiteY39" fmla="*/ 314960 h 1597660"/>
                  <a:gd name="connsiteX40" fmla="*/ 878839 w 1214119"/>
                  <a:gd name="connsiteY40" fmla="*/ 322580 h 1597660"/>
                  <a:gd name="connsiteX41" fmla="*/ 835659 w 1214119"/>
                  <a:gd name="connsiteY41" fmla="*/ 530860 h 1597660"/>
                  <a:gd name="connsiteX42" fmla="*/ 985519 w 1214119"/>
                  <a:gd name="connsiteY42" fmla="*/ 360680 h 1597660"/>
                  <a:gd name="connsiteX43" fmla="*/ 972820 w 1214119"/>
                  <a:gd name="connsiteY43" fmla="*/ 274320 h 1597660"/>
                  <a:gd name="connsiteX44" fmla="*/ 1008379 w 1214119"/>
                  <a:gd name="connsiteY44" fmla="*/ 360680 h 1597660"/>
                  <a:gd name="connsiteX45" fmla="*/ 1069339 w 1214119"/>
                  <a:gd name="connsiteY45" fmla="*/ 337820 h 1597660"/>
                  <a:gd name="connsiteX46" fmla="*/ 1084579 w 1214119"/>
                  <a:gd name="connsiteY46" fmla="*/ 220980 h 1597660"/>
                  <a:gd name="connsiteX47" fmla="*/ 1089659 w 1214119"/>
                  <a:gd name="connsiteY47" fmla="*/ 335280 h 1597660"/>
                  <a:gd name="connsiteX48" fmla="*/ 1214119 w 1214119"/>
                  <a:gd name="connsiteY48" fmla="*/ 292100 h 1597660"/>
                  <a:gd name="connsiteX49" fmla="*/ 995679 w 1214119"/>
                  <a:gd name="connsiteY49" fmla="*/ 396240 h 1597660"/>
                  <a:gd name="connsiteX50" fmla="*/ 858519 w 1214119"/>
                  <a:gd name="connsiteY50" fmla="*/ 551180 h 1597660"/>
                  <a:gd name="connsiteX51" fmla="*/ 792480 w 1214119"/>
                  <a:gd name="connsiteY51" fmla="*/ 660400 h 1597660"/>
                  <a:gd name="connsiteX52" fmla="*/ 932180 w 1214119"/>
                  <a:gd name="connsiteY52" fmla="*/ 566420 h 1597660"/>
                  <a:gd name="connsiteX53" fmla="*/ 970280 w 1214119"/>
                  <a:gd name="connsiteY53" fmla="*/ 568960 h 1597660"/>
                  <a:gd name="connsiteX54" fmla="*/ 772160 w 1214119"/>
                  <a:gd name="connsiteY54" fmla="*/ 701040 h 1597660"/>
                  <a:gd name="connsiteX55" fmla="*/ 632460 w 1214119"/>
                  <a:gd name="connsiteY55" fmla="*/ 896620 h 1597660"/>
                  <a:gd name="connsiteX56" fmla="*/ 640080 w 1214119"/>
                  <a:gd name="connsiteY56" fmla="*/ 1239520 h 1597660"/>
                  <a:gd name="connsiteX57" fmla="*/ 640080 w 1214119"/>
                  <a:gd name="connsiteY57" fmla="*/ 1597660 h 1597660"/>
                  <a:gd name="connsiteX58" fmla="*/ 457200 w 1214119"/>
                  <a:gd name="connsiteY58"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8779 w 1214119"/>
                  <a:gd name="connsiteY14" fmla="*/ 378460 h 1597660"/>
                  <a:gd name="connsiteX15" fmla="*/ 447039 w 1214119"/>
                  <a:gd name="connsiteY15" fmla="*/ 284480 h 1597660"/>
                  <a:gd name="connsiteX16" fmla="*/ 436879 w 1214119"/>
                  <a:gd name="connsiteY16" fmla="*/ 408940 h 1597660"/>
                  <a:gd name="connsiteX17" fmla="*/ 416559 w 1214119"/>
                  <a:gd name="connsiteY17" fmla="*/ 55118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8779 w 1214119"/>
                  <a:gd name="connsiteY14" fmla="*/ 378460 h 1597660"/>
                  <a:gd name="connsiteX15" fmla="*/ 447039 w 1214119"/>
                  <a:gd name="connsiteY15" fmla="*/ 284480 h 1597660"/>
                  <a:gd name="connsiteX16" fmla="*/ 398779 w 1214119"/>
                  <a:gd name="connsiteY16" fmla="*/ 396240 h 1597660"/>
                  <a:gd name="connsiteX17" fmla="*/ 416559 w 1214119"/>
                  <a:gd name="connsiteY17" fmla="*/ 55118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1159 w 1214119"/>
                  <a:gd name="connsiteY14" fmla="*/ 365760 h 1597660"/>
                  <a:gd name="connsiteX15" fmla="*/ 447039 w 1214119"/>
                  <a:gd name="connsiteY15" fmla="*/ 284480 h 1597660"/>
                  <a:gd name="connsiteX16" fmla="*/ 398779 w 1214119"/>
                  <a:gd name="connsiteY16" fmla="*/ 396240 h 1597660"/>
                  <a:gd name="connsiteX17" fmla="*/ 416559 w 1214119"/>
                  <a:gd name="connsiteY17" fmla="*/ 55118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10819 w 1214119"/>
                  <a:gd name="connsiteY9" fmla="*/ 3606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1159 w 1214119"/>
                  <a:gd name="connsiteY14" fmla="*/ 365760 h 1597660"/>
                  <a:gd name="connsiteX15" fmla="*/ 447039 w 1214119"/>
                  <a:gd name="connsiteY15" fmla="*/ 284480 h 1597660"/>
                  <a:gd name="connsiteX16" fmla="*/ 398779 w 1214119"/>
                  <a:gd name="connsiteY16" fmla="*/ 396240 h 1597660"/>
                  <a:gd name="connsiteX17" fmla="*/ 403859 w 1214119"/>
                  <a:gd name="connsiteY17" fmla="*/ 54864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190500 w 1214119"/>
                  <a:gd name="connsiteY5" fmla="*/ 393700 h 1597660"/>
                  <a:gd name="connsiteX6" fmla="*/ 0 w 1214119"/>
                  <a:gd name="connsiteY6" fmla="*/ 294640 h 1597660"/>
                  <a:gd name="connsiteX7" fmla="*/ 190500 w 1214119"/>
                  <a:gd name="connsiteY7" fmla="*/ 355600 h 1597660"/>
                  <a:gd name="connsiteX8" fmla="*/ 182880 w 1214119"/>
                  <a:gd name="connsiteY8" fmla="*/ 180340 h 1597660"/>
                  <a:gd name="connsiteX9" fmla="*/ 231139 w 1214119"/>
                  <a:gd name="connsiteY9" fmla="*/ 4241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1159 w 1214119"/>
                  <a:gd name="connsiteY14" fmla="*/ 365760 h 1597660"/>
                  <a:gd name="connsiteX15" fmla="*/ 447039 w 1214119"/>
                  <a:gd name="connsiteY15" fmla="*/ 284480 h 1597660"/>
                  <a:gd name="connsiteX16" fmla="*/ 398779 w 1214119"/>
                  <a:gd name="connsiteY16" fmla="*/ 396240 h 1597660"/>
                  <a:gd name="connsiteX17" fmla="*/ 403859 w 1214119"/>
                  <a:gd name="connsiteY17" fmla="*/ 54864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457200 w 1214119"/>
                  <a:gd name="connsiteY0" fmla="*/ 1597660 h 1597660"/>
                  <a:gd name="connsiteX1" fmla="*/ 515620 w 1214119"/>
                  <a:gd name="connsiteY1" fmla="*/ 1196340 h 1597660"/>
                  <a:gd name="connsiteX2" fmla="*/ 541020 w 1214119"/>
                  <a:gd name="connsiteY2" fmla="*/ 911860 h 1597660"/>
                  <a:gd name="connsiteX3" fmla="*/ 533400 w 1214119"/>
                  <a:gd name="connsiteY3" fmla="*/ 675640 h 1597660"/>
                  <a:gd name="connsiteX4" fmla="*/ 266700 w 1214119"/>
                  <a:gd name="connsiteY4" fmla="*/ 523240 h 1597660"/>
                  <a:gd name="connsiteX5" fmla="*/ 215900 w 1214119"/>
                  <a:gd name="connsiteY5" fmla="*/ 439420 h 1597660"/>
                  <a:gd name="connsiteX6" fmla="*/ 0 w 1214119"/>
                  <a:gd name="connsiteY6" fmla="*/ 294640 h 1597660"/>
                  <a:gd name="connsiteX7" fmla="*/ 190500 w 1214119"/>
                  <a:gd name="connsiteY7" fmla="*/ 355600 h 1597660"/>
                  <a:gd name="connsiteX8" fmla="*/ 182880 w 1214119"/>
                  <a:gd name="connsiteY8" fmla="*/ 180340 h 1597660"/>
                  <a:gd name="connsiteX9" fmla="*/ 231139 w 1214119"/>
                  <a:gd name="connsiteY9" fmla="*/ 424180 h 1597660"/>
                  <a:gd name="connsiteX10" fmla="*/ 297180 w 1214119"/>
                  <a:gd name="connsiteY10" fmla="*/ 505460 h 1597660"/>
                  <a:gd name="connsiteX11" fmla="*/ 375919 w 1214119"/>
                  <a:gd name="connsiteY11" fmla="*/ 538480 h 1597660"/>
                  <a:gd name="connsiteX12" fmla="*/ 378459 w 1214119"/>
                  <a:gd name="connsiteY12" fmla="*/ 391160 h 1597660"/>
                  <a:gd name="connsiteX13" fmla="*/ 330199 w 1214119"/>
                  <a:gd name="connsiteY13" fmla="*/ 297180 h 1597660"/>
                  <a:gd name="connsiteX14" fmla="*/ 391159 w 1214119"/>
                  <a:gd name="connsiteY14" fmla="*/ 365760 h 1597660"/>
                  <a:gd name="connsiteX15" fmla="*/ 447039 w 1214119"/>
                  <a:gd name="connsiteY15" fmla="*/ 284480 h 1597660"/>
                  <a:gd name="connsiteX16" fmla="*/ 398779 w 1214119"/>
                  <a:gd name="connsiteY16" fmla="*/ 396240 h 1597660"/>
                  <a:gd name="connsiteX17" fmla="*/ 403859 w 1214119"/>
                  <a:gd name="connsiteY17" fmla="*/ 548640 h 1597660"/>
                  <a:gd name="connsiteX18" fmla="*/ 525780 w 1214119"/>
                  <a:gd name="connsiteY18" fmla="*/ 599440 h 1597660"/>
                  <a:gd name="connsiteX19" fmla="*/ 563880 w 1214119"/>
                  <a:gd name="connsiteY19" fmla="*/ 378460 h 1597660"/>
                  <a:gd name="connsiteX20" fmla="*/ 485140 w 1214119"/>
                  <a:gd name="connsiteY20" fmla="*/ 127000 h 1597660"/>
                  <a:gd name="connsiteX21" fmla="*/ 419100 w 1214119"/>
                  <a:gd name="connsiteY21" fmla="*/ 60960 h 1597660"/>
                  <a:gd name="connsiteX22" fmla="*/ 495300 w 1214119"/>
                  <a:gd name="connsiteY22" fmla="*/ 111760 h 1597660"/>
                  <a:gd name="connsiteX23" fmla="*/ 530859 w 1214119"/>
                  <a:gd name="connsiteY23" fmla="*/ 187960 h 1597660"/>
                  <a:gd name="connsiteX24" fmla="*/ 622299 w 1214119"/>
                  <a:gd name="connsiteY24" fmla="*/ 20320 h 1597660"/>
                  <a:gd name="connsiteX25" fmla="*/ 546099 w 1214119"/>
                  <a:gd name="connsiteY25" fmla="*/ 223520 h 1597660"/>
                  <a:gd name="connsiteX26" fmla="*/ 594360 w 1214119"/>
                  <a:gd name="connsiteY26" fmla="*/ 355600 h 1597660"/>
                  <a:gd name="connsiteX27" fmla="*/ 723899 w 1214119"/>
                  <a:gd name="connsiteY27" fmla="*/ 132080 h 1597660"/>
                  <a:gd name="connsiteX28" fmla="*/ 693420 w 1214119"/>
                  <a:gd name="connsiteY28" fmla="*/ 30480 h 1597660"/>
                  <a:gd name="connsiteX29" fmla="*/ 708659 w 1214119"/>
                  <a:gd name="connsiteY29" fmla="*/ 0 h 1597660"/>
                  <a:gd name="connsiteX30" fmla="*/ 751839 w 1214119"/>
                  <a:gd name="connsiteY30" fmla="*/ 127000 h 1597660"/>
                  <a:gd name="connsiteX31" fmla="*/ 896620 w 1214119"/>
                  <a:gd name="connsiteY31" fmla="*/ 30480 h 1597660"/>
                  <a:gd name="connsiteX32" fmla="*/ 772159 w 1214119"/>
                  <a:gd name="connsiteY32" fmla="*/ 144780 h 1597660"/>
                  <a:gd name="connsiteX33" fmla="*/ 632460 w 1214119"/>
                  <a:gd name="connsiteY33" fmla="*/ 393700 h 1597660"/>
                  <a:gd name="connsiteX34" fmla="*/ 604520 w 1214119"/>
                  <a:gd name="connsiteY34" fmla="*/ 591820 h 1597660"/>
                  <a:gd name="connsiteX35" fmla="*/ 624840 w 1214119"/>
                  <a:gd name="connsiteY35" fmla="*/ 789940 h 1597660"/>
                  <a:gd name="connsiteX36" fmla="*/ 807719 w 1214119"/>
                  <a:gd name="connsiteY36" fmla="*/ 548640 h 1597660"/>
                  <a:gd name="connsiteX37" fmla="*/ 840739 w 1214119"/>
                  <a:gd name="connsiteY37" fmla="*/ 396240 h 1597660"/>
                  <a:gd name="connsiteX38" fmla="*/ 792479 w 1214119"/>
                  <a:gd name="connsiteY38" fmla="*/ 337820 h 1597660"/>
                  <a:gd name="connsiteX39" fmla="*/ 843279 w 1214119"/>
                  <a:gd name="connsiteY39" fmla="*/ 375920 h 1597660"/>
                  <a:gd name="connsiteX40" fmla="*/ 853440 w 1214119"/>
                  <a:gd name="connsiteY40" fmla="*/ 314960 h 1597660"/>
                  <a:gd name="connsiteX41" fmla="*/ 878839 w 1214119"/>
                  <a:gd name="connsiteY41" fmla="*/ 322580 h 1597660"/>
                  <a:gd name="connsiteX42" fmla="*/ 835659 w 1214119"/>
                  <a:gd name="connsiteY42" fmla="*/ 530860 h 1597660"/>
                  <a:gd name="connsiteX43" fmla="*/ 985519 w 1214119"/>
                  <a:gd name="connsiteY43" fmla="*/ 360680 h 1597660"/>
                  <a:gd name="connsiteX44" fmla="*/ 972820 w 1214119"/>
                  <a:gd name="connsiteY44" fmla="*/ 274320 h 1597660"/>
                  <a:gd name="connsiteX45" fmla="*/ 1008379 w 1214119"/>
                  <a:gd name="connsiteY45" fmla="*/ 360680 h 1597660"/>
                  <a:gd name="connsiteX46" fmla="*/ 1069339 w 1214119"/>
                  <a:gd name="connsiteY46" fmla="*/ 337820 h 1597660"/>
                  <a:gd name="connsiteX47" fmla="*/ 1084579 w 1214119"/>
                  <a:gd name="connsiteY47" fmla="*/ 220980 h 1597660"/>
                  <a:gd name="connsiteX48" fmla="*/ 1089659 w 1214119"/>
                  <a:gd name="connsiteY48" fmla="*/ 335280 h 1597660"/>
                  <a:gd name="connsiteX49" fmla="*/ 1214119 w 1214119"/>
                  <a:gd name="connsiteY49" fmla="*/ 292100 h 1597660"/>
                  <a:gd name="connsiteX50" fmla="*/ 995679 w 1214119"/>
                  <a:gd name="connsiteY50" fmla="*/ 396240 h 1597660"/>
                  <a:gd name="connsiteX51" fmla="*/ 858519 w 1214119"/>
                  <a:gd name="connsiteY51" fmla="*/ 551180 h 1597660"/>
                  <a:gd name="connsiteX52" fmla="*/ 792480 w 1214119"/>
                  <a:gd name="connsiteY52" fmla="*/ 660400 h 1597660"/>
                  <a:gd name="connsiteX53" fmla="*/ 932180 w 1214119"/>
                  <a:gd name="connsiteY53" fmla="*/ 566420 h 1597660"/>
                  <a:gd name="connsiteX54" fmla="*/ 970280 w 1214119"/>
                  <a:gd name="connsiteY54" fmla="*/ 568960 h 1597660"/>
                  <a:gd name="connsiteX55" fmla="*/ 772160 w 1214119"/>
                  <a:gd name="connsiteY55" fmla="*/ 701040 h 1597660"/>
                  <a:gd name="connsiteX56" fmla="*/ 632460 w 1214119"/>
                  <a:gd name="connsiteY56" fmla="*/ 896620 h 1597660"/>
                  <a:gd name="connsiteX57" fmla="*/ 640080 w 1214119"/>
                  <a:gd name="connsiteY57" fmla="*/ 1239520 h 1597660"/>
                  <a:gd name="connsiteX58" fmla="*/ 640080 w 1214119"/>
                  <a:gd name="connsiteY58" fmla="*/ 1597660 h 1597660"/>
                  <a:gd name="connsiteX59" fmla="*/ 457200 w 121411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71120 w 1094739"/>
                  <a:gd name="connsiteY7" fmla="*/ 355600 h 1597660"/>
                  <a:gd name="connsiteX8" fmla="*/ 63500 w 1094739"/>
                  <a:gd name="connsiteY8" fmla="*/ 180340 h 1597660"/>
                  <a:gd name="connsiteX9" fmla="*/ 111759 w 1094739"/>
                  <a:gd name="connsiteY9" fmla="*/ 42418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77240 w 1094739"/>
                  <a:gd name="connsiteY31" fmla="*/ 30480 h 1597660"/>
                  <a:gd name="connsiteX32" fmla="*/ 652779 w 1094739"/>
                  <a:gd name="connsiteY32" fmla="*/ 144780 h 1597660"/>
                  <a:gd name="connsiteX33" fmla="*/ 513080 w 1094739"/>
                  <a:gd name="connsiteY33" fmla="*/ 393700 h 1597660"/>
                  <a:gd name="connsiteX34" fmla="*/ 485140 w 1094739"/>
                  <a:gd name="connsiteY34" fmla="*/ 591820 h 1597660"/>
                  <a:gd name="connsiteX35" fmla="*/ 505460 w 1094739"/>
                  <a:gd name="connsiteY35" fmla="*/ 789940 h 1597660"/>
                  <a:gd name="connsiteX36" fmla="*/ 688339 w 1094739"/>
                  <a:gd name="connsiteY36" fmla="*/ 548640 h 1597660"/>
                  <a:gd name="connsiteX37" fmla="*/ 721359 w 1094739"/>
                  <a:gd name="connsiteY37" fmla="*/ 396240 h 1597660"/>
                  <a:gd name="connsiteX38" fmla="*/ 673099 w 1094739"/>
                  <a:gd name="connsiteY38" fmla="*/ 337820 h 1597660"/>
                  <a:gd name="connsiteX39" fmla="*/ 723899 w 1094739"/>
                  <a:gd name="connsiteY39" fmla="*/ 375920 h 1597660"/>
                  <a:gd name="connsiteX40" fmla="*/ 734060 w 1094739"/>
                  <a:gd name="connsiteY40" fmla="*/ 314960 h 1597660"/>
                  <a:gd name="connsiteX41" fmla="*/ 759459 w 1094739"/>
                  <a:gd name="connsiteY41" fmla="*/ 322580 h 1597660"/>
                  <a:gd name="connsiteX42" fmla="*/ 716279 w 1094739"/>
                  <a:gd name="connsiteY42" fmla="*/ 530860 h 1597660"/>
                  <a:gd name="connsiteX43" fmla="*/ 866139 w 1094739"/>
                  <a:gd name="connsiteY43" fmla="*/ 360680 h 1597660"/>
                  <a:gd name="connsiteX44" fmla="*/ 853440 w 1094739"/>
                  <a:gd name="connsiteY44" fmla="*/ 274320 h 1597660"/>
                  <a:gd name="connsiteX45" fmla="*/ 888999 w 1094739"/>
                  <a:gd name="connsiteY45" fmla="*/ 360680 h 1597660"/>
                  <a:gd name="connsiteX46" fmla="*/ 949959 w 1094739"/>
                  <a:gd name="connsiteY46" fmla="*/ 337820 h 1597660"/>
                  <a:gd name="connsiteX47" fmla="*/ 965199 w 1094739"/>
                  <a:gd name="connsiteY47" fmla="*/ 220980 h 1597660"/>
                  <a:gd name="connsiteX48" fmla="*/ 970279 w 1094739"/>
                  <a:gd name="connsiteY48" fmla="*/ 335280 h 1597660"/>
                  <a:gd name="connsiteX49" fmla="*/ 1094739 w 1094739"/>
                  <a:gd name="connsiteY49" fmla="*/ 292100 h 1597660"/>
                  <a:gd name="connsiteX50" fmla="*/ 876299 w 1094739"/>
                  <a:gd name="connsiteY50" fmla="*/ 396240 h 1597660"/>
                  <a:gd name="connsiteX51" fmla="*/ 739139 w 1094739"/>
                  <a:gd name="connsiteY51" fmla="*/ 551180 h 1597660"/>
                  <a:gd name="connsiteX52" fmla="*/ 673100 w 1094739"/>
                  <a:gd name="connsiteY52" fmla="*/ 660400 h 1597660"/>
                  <a:gd name="connsiteX53" fmla="*/ 812800 w 1094739"/>
                  <a:gd name="connsiteY53" fmla="*/ 566420 h 1597660"/>
                  <a:gd name="connsiteX54" fmla="*/ 850900 w 1094739"/>
                  <a:gd name="connsiteY54" fmla="*/ 568960 h 1597660"/>
                  <a:gd name="connsiteX55" fmla="*/ 652780 w 1094739"/>
                  <a:gd name="connsiteY55" fmla="*/ 701040 h 1597660"/>
                  <a:gd name="connsiteX56" fmla="*/ 513080 w 1094739"/>
                  <a:gd name="connsiteY56" fmla="*/ 896620 h 1597660"/>
                  <a:gd name="connsiteX57" fmla="*/ 520700 w 1094739"/>
                  <a:gd name="connsiteY57" fmla="*/ 1239520 h 1597660"/>
                  <a:gd name="connsiteX58" fmla="*/ 520700 w 1094739"/>
                  <a:gd name="connsiteY58" fmla="*/ 1597660 h 1597660"/>
                  <a:gd name="connsiteX59" fmla="*/ 337820 w 109473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63500 w 1094739"/>
                  <a:gd name="connsiteY8" fmla="*/ 180340 h 1597660"/>
                  <a:gd name="connsiteX9" fmla="*/ 111759 w 1094739"/>
                  <a:gd name="connsiteY9" fmla="*/ 42418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77240 w 1094739"/>
                  <a:gd name="connsiteY31" fmla="*/ 30480 h 1597660"/>
                  <a:gd name="connsiteX32" fmla="*/ 652779 w 1094739"/>
                  <a:gd name="connsiteY32" fmla="*/ 144780 h 1597660"/>
                  <a:gd name="connsiteX33" fmla="*/ 513080 w 1094739"/>
                  <a:gd name="connsiteY33" fmla="*/ 393700 h 1597660"/>
                  <a:gd name="connsiteX34" fmla="*/ 485140 w 1094739"/>
                  <a:gd name="connsiteY34" fmla="*/ 591820 h 1597660"/>
                  <a:gd name="connsiteX35" fmla="*/ 505460 w 1094739"/>
                  <a:gd name="connsiteY35" fmla="*/ 789940 h 1597660"/>
                  <a:gd name="connsiteX36" fmla="*/ 688339 w 1094739"/>
                  <a:gd name="connsiteY36" fmla="*/ 548640 h 1597660"/>
                  <a:gd name="connsiteX37" fmla="*/ 721359 w 1094739"/>
                  <a:gd name="connsiteY37" fmla="*/ 396240 h 1597660"/>
                  <a:gd name="connsiteX38" fmla="*/ 673099 w 1094739"/>
                  <a:gd name="connsiteY38" fmla="*/ 337820 h 1597660"/>
                  <a:gd name="connsiteX39" fmla="*/ 723899 w 1094739"/>
                  <a:gd name="connsiteY39" fmla="*/ 375920 h 1597660"/>
                  <a:gd name="connsiteX40" fmla="*/ 734060 w 1094739"/>
                  <a:gd name="connsiteY40" fmla="*/ 314960 h 1597660"/>
                  <a:gd name="connsiteX41" fmla="*/ 759459 w 1094739"/>
                  <a:gd name="connsiteY41" fmla="*/ 322580 h 1597660"/>
                  <a:gd name="connsiteX42" fmla="*/ 716279 w 1094739"/>
                  <a:gd name="connsiteY42" fmla="*/ 530860 h 1597660"/>
                  <a:gd name="connsiteX43" fmla="*/ 866139 w 1094739"/>
                  <a:gd name="connsiteY43" fmla="*/ 360680 h 1597660"/>
                  <a:gd name="connsiteX44" fmla="*/ 853440 w 1094739"/>
                  <a:gd name="connsiteY44" fmla="*/ 274320 h 1597660"/>
                  <a:gd name="connsiteX45" fmla="*/ 888999 w 1094739"/>
                  <a:gd name="connsiteY45" fmla="*/ 360680 h 1597660"/>
                  <a:gd name="connsiteX46" fmla="*/ 949959 w 1094739"/>
                  <a:gd name="connsiteY46" fmla="*/ 337820 h 1597660"/>
                  <a:gd name="connsiteX47" fmla="*/ 965199 w 1094739"/>
                  <a:gd name="connsiteY47" fmla="*/ 220980 h 1597660"/>
                  <a:gd name="connsiteX48" fmla="*/ 970279 w 1094739"/>
                  <a:gd name="connsiteY48" fmla="*/ 335280 h 1597660"/>
                  <a:gd name="connsiteX49" fmla="*/ 1094739 w 1094739"/>
                  <a:gd name="connsiteY49" fmla="*/ 292100 h 1597660"/>
                  <a:gd name="connsiteX50" fmla="*/ 876299 w 1094739"/>
                  <a:gd name="connsiteY50" fmla="*/ 396240 h 1597660"/>
                  <a:gd name="connsiteX51" fmla="*/ 739139 w 1094739"/>
                  <a:gd name="connsiteY51" fmla="*/ 551180 h 1597660"/>
                  <a:gd name="connsiteX52" fmla="*/ 673100 w 1094739"/>
                  <a:gd name="connsiteY52" fmla="*/ 660400 h 1597660"/>
                  <a:gd name="connsiteX53" fmla="*/ 812800 w 1094739"/>
                  <a:gd name="connsiteY53" fmla="*/ 566420 h 1597660"/>
                  <a:gd name="connsiteX54" fmla="*/ 850900 w 1094739"/>
                  <a:gd name="connsiteY54" fmla="*/ 568960 h 1597660"/>
                  <a:gd name="connsiteX55" fmla="*/ 652780 w 1094739"/>
                  <a:gd name="connsiteY55" fmla="*/ 701040 h 1597660"/>
                  <a:gd name="connsiteX56" fmla="*/ 513080 w 1094739"/>
                  <a:gd name="connsiteY56" fmla="*/ 896620 h 1597660"/>
                  <a:gd name="connsiteX57" fmla="*/ 520700 w 1094739"/>
                  <a:gd name="connsiteY57" fmla="*/ 1239520 h 1597660"/>
                  <a:gd name="connsiteX58" fmla="*/ 520700 w 1094739"/>
                  <a:gd name="connsiteY58" fmla="*/ 1597660 h 1597660"/>
                  <a:gd name="connsiteX59" fmla="*/ 337820 w 109473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109220 w 1094739"/>
                  <a:gd name="connsiteY8" fmla="*/ 279400 h 1597660"/>
                  <a:gd name="connsiteX9" fmla="*/ 111759 w 1094739"/>
                  <a:gd name="connsiteY9" fmla="*/ 42418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77240 w 1094739"/>
                  <a:gd name="connsiteY31" fmla="*/ 30480 h 1597660"/>
                  <a:gd name="connsiteX32" fmla="*/ 652779 w 1094739"/>
                  <a:gd name="connsiteY32" fmla="*/ 144780 h 1597660"/>
                  <a:gd name="connsiteX33" fmla="*/ 513080 w 1094739"/>
                  <a:gd name="connsiteY33" fmla="*/ 393700 h 1597660"/>
                  <a:gd name="connsiteX34" fmla="*/ 485140 w 1094739"/>
                  <a:gd name="connsiteY34" fmla="*/ 591820 h 1597660"/>
                  <a:gd name="connsiteX35" fmla="*/ 505460 w 1094739"/>
                  <a:gd name="connsiteY35" fmla="*/ 789940 h 1597660"/>
                  <a:gd name="connsiteX36" fmla="*/ 688339 w 1094739"/>
                  <a:gd name="connsiteY36" fmla="*/ 548640 h 1597660"/>
                  <a:gd name="connsiteX37" fmla="*/ 721359 w 1094739"/>
                  <a:gd name="connsiteY37" fmla="*/ 396240 h 1597660"/>
                  <a:gd name="connsiteX38" fmla="*/ 673099 w 1094739"/>
                  <a:gd name="connsiteY38" fmla="*/ 337820 h 1597660"/>
                  <a:gd name="connsiteX39" fmla="*/ 723899 w 1094739"/>
                  <a:gd name="connsiteY39" fmla="*/ 375920 h 1597660"/>
                  <a:gd name="connsiteX40" fmla="*/ 734060 w 1094739"/>
                  <a:gd name="connsiteY40" fmla="*/ 314960 h 1597660"/>
                  <a:gd name="connsiteX41" fmla="*/ 759459 w 1094739"/>
                  <a:gd name="connsiteY41" fmla="*/ 322580 h 1597660"/>
                  <a:gd name="connsiteX42" fmla="*/ 716279 w 1094739"/>
                  <a:gd name="connsiteY42" fmla="*/ 530860 h 1597660"/>
                  <a:gd name="connsiteX43" fmla="*/ 866139 w 1094739"/>
                  <a:gd name="connsiteY43" fmla="*/ 360680 h 1597660"/>
                  <a:gd name="connsiteX44" fmla="*/ 853440 w 1094739"/>
                  <a:gd name="connsiteY44" fmla="*/ 274320 h 1597660"/>
                  <a:gd name="connsiteX45" fmla="*/ 888999 w 1094739"/>
                  <a:gd name="connsiteY45" fmla="*/ 360680 h 1597660"/>
                  <a:gd name="connsiteX46" fmla="*/ 949959 w 1094739"/>
                  <a:gd name="connsiteY46" fmla="*/ 337820 h 1597660"/>
                  <a:gd name="connsiteX47" fmla="*/ 965199 w 1094739"/>
                  <a:gd name="connsiteY47" fmla="*/ 220980 h 1597660"/>
                  <a:gd name="connsiteX48" fmla="*/ 970279 w 1094739"/>
                  <a:gd name="connsiteY48" fmla="*/ 335280 h 1597660"/>
                  <a:gd name="connsiteX49" fmla="*/ 1094739 w 1094739"/>
                  <a:gd name="connsiteY49" fmla="*/ 292100 h 1597660"/>
                  <a:gd name="connsiteX50" fmla="*/ 876299 w 1094739"/>
                  <a:gd name="connsiteY50" fmla="*/ 396240 h 1597660"/>
                  <a:gd name="connsiteX51" fmla="*/ 739139 w 1094739"/>
                  <a:gd name="connsiteY51" fmla="*/ 551180 h 1597660"/>
                  <a:gd name="connsiteX52" fmla="*/ 673100 w 1094739"/>
                  <a:gd name="connsiteY52" fmla="*/ 660400 h 1597660"/>
                  <a:gd name="connsiteX53" fmla="*/ 812800 w 1094739"/>
                  <a:gd name="connsiteY53" fmla="*/ 566420 h 1597660"/>
                  <a:gd name="connsiteX54" fmla="*/ 850900 w 1094739"/>
                  <a:gd name="connsiteY54" fmla="*/ 568960 h 1597660"/>
                  <a:gd name="connsiteX55" fmla="*/ 652780 w 1094739"/>
                  <a:gd name="connsiteY55" fmla="*/ 701040 h 1597660"/>
                  <a:gd name="connsiteX56" fmla="*/ 513080 w 1094739"/>
                  <a:gd name="connsiteY56" fmla="*/ 896620 h 1597660"/>
                  <a:gd name="connsiteX57" fmla="*/ 520700 w 1094739"/>
                  <a:gd name="connsiteY57" fmla="*/ 1239520 h 1597660"/>
                  <a:gd name="connsiteX58" fmla="*/ 520700 w 1094739"/>
                  <a:gd name="connsiteY58" fmla="*/ 1597660 h 1597660"/>
                  <a:gd name="connsiteX59" fmla="*/ 337820 w 109473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109220 w 1094739"/>
                  <a:gd name="connsiteY8" fmla="*/ 279400 h 1597660"/>
                  <a:gd name="connsiteX9" fmla="*/ 119379 w 1094739"/>
                  <a:gd name="connsiteY9" fmla="*/ 41656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77240 w 1094739"/>
                  <a:gd name="connsiteY31" fmla="*/ 30480 h 1597660"/>
                  <a:gd name="connsiteX32" fmla="*/ 652779 w 1094739"/>
                  <a:gd name="connsiteY32" fmla="*/ 144780 h 1597660"/>
                  <a:gd name="connsiteX33" fmla="*/ 513080 w 1094739"/>
                  <a:gd name="connsiteY33" fmla="*/ 393700 h 1597660"/>
                  <a:gd name="connsiteX34" fmla="*/ 485140 w 1094739"/>
                  <a:gd name="connsiteY34" fmla="*/ 591820 h 1597660"/>
                  <a:gd name="connsiteX35" fmla="*/ 505460 w 1094739"/>
                  <a:gd name="connsiteY35" fmla="*/ 789940 h 1597660"/>
                  <a:gd name="connsiteX36" fmla="*/ 688339 w 1094739"/>
                  <a:gd name="connsiteY36" fmla="*/ 548640 h 1597660"/>
                  <a:gd name="connsiteX37" fmla="*/ 721359 w 1094739"/>
                  <a:gd name="connsiteY37" fmla="*/ 396240 h 1597660"/>
                  <a:gd name="connsiteX38" fmla="*/ 673099 w 1094739"/>
                  <a:gd name="connsiteY38" fmla="*/ 337820 h 1597660"/>
                  <a:gd name="connsiteX39" fmla="*/ 723899 w 1094739"/>
                  <a:gd name="connsiteY39" fmla="*/ 375920 h 1597660"/>
                  <a:gd name="connsiteX40" fmla="*/ 734060 w 1094739"/>
                  <a:gd name="connsiteY40" fmla="*/ 314960 h 1597660"/>
                  <a:gd name="connsiteX41" fmla="*/ 759459 w 1094739"/>
                  <a:gd name="connsiteY41" fmla="*/ 322580 h 1597660"/>
                  <a:gd name="connsiteX42" fmla="*/ 716279 w 1094739"/>
                  <a:gd name="connsiteY42" fmla="*/ 530860 h 1597660"/>
                  <a:gd name="connsiteX43" fmla="*/ 866139 w 1094739"/>
                  <a:gd name="connsiteY43" fmla="*/ 360680 h 1597660"/>
                  <a:gd name="connsiteX44" fmla="*/ 853440 w 1094739"/>
                  <a:gd name="connsiteY44" fmla="*/ 274320 h 1597660"/>
                  <a:gd name="connsiteX45" fmla="*/ 888999 w 1094739"/>
                  <a:gd name="connsiteY45" fmla="*/ 360680 h 1597660"/>
                  <a:gd name="connsiteX46" fmla="*/ 949959 w 1094739"/>
                  <a:gd name="connsiteY46" fmla="*/ 337820 h 1597660"/>
                  <a:gd name="connsiteX47" fmla="*/ 965199 w 1094739"/>
                  <a:gd name="connsiteY47" fmla="*/ 220980 h 1597660"/>
                  <a:gd name="connsiteX48" fmla="*/ 970279 w 1094739"/>
                  <a:gd name="connsiteY48" fmla="*/ 335280 h 1597660"/>
                  <a:gd name="connsiteX49" fmla="*/ 1094739 w 1094739"/>
                  <a:gd name="connsiteY49" fmla="*/ 292100 h 1597660"/>
                  <a:gd name="connsiteX50" fmla="*/ 876299 w 1094739"/>
                  <a:gd name="connsiteY50" fmla="*/ 396240 h 1597660"/>
                  <a:gd name="connsiteX51" fmla="*/ 739139 w 1094739"/>
                  <a:gd name="connsiteY51" fmla="*/ 551180 h 1597660"/>
                  <a:gd name="connsiteX52" fmla="*/ 673100 w 1094739"/>
                  <a:gd name="connsiteY52" fmla="*/ 660400 h 1597660"/>
                  <a:gd name="connsiteX53" fmla="*/ 812800 w 1094739"/>
                  <a:gd name="connsiteY53" fmla="*/ 566420 h 1597660"/>
                  <a:gd name="connsiteX54" fmla="*/ 850900 w 1094739"/>
                  <a:gd name="connsiteY54" fmla="*/ 568960 h 1597660"/>
                  <a:gd name="connsiteX55" fmla="*/ 652780 w 1094739"/>
                  <a:gd name="connsiteY55" fmla="*/ 701040 h 1597660"/>
                  <a:gd name="connsiteX56" fmla="*/ 513080 w 1094739"/>
                  <a:gd name="connsiteY56" fmla="*/ 896620 h 1597660"/>
                  <a:gd name="connsiteX57" fmla="*/ 520700 w 1094739"/>
                  <a:gd name="connsiteY57" fmla="*/ 1239520 h 1597660"/>
                  <a:gd name="connsiteX58" fmla="*/ 520700 w 1094739"/>
                  <a:gd name="connsiteY58" fmla="*/ 1597660 h 1597660"/>
                  <a:gd name="connsiteX59" fmla="*/ 337820 w 1094739"/>
                  <a:gd name="connsiteY59" fmla="*/ 1597660 h 1597660"/>
                  <a:gd name="connsiteX0" fmla="*/ 337820 w 1094739"/>
                  <a:gd name="connsiteY0" fmla="*/ 1597660 h 1597660"/>
                  <a:gd name="connsiteX1" fmla="*/ 396240 w 1094739"/>
                  <a:gd name="connsiteY1" fmla="*/ 1196340 h 1597660"/>
                  <a:gd name="connsiteX2" fmla="*/ 421640 w 1094739"/>
                  <a:gd name="connsiteY2" fmla="*/ 911860 h 1597660"/>
                  <a:gd name="connsiteX3" fmla="*/ 414020 w 1094739"/>
                  <a:gd name="connsiteY3" fmla="*/ 675640 h 1597660"/>
                  <a:gd name="connsiteX4" fmla="*/ 147320 w 1094739"/>
                  <a:gd name="connsiteY4" fmla="*/ 523240 h 1597660"/>
                  <a:gd name="connsiteX5" fmla="*/ 96520 w 1094739"/>
                  <a:gd name="connsiteY5" fmla="*/ 439420 h 1597660"/>
                  <a:gd name="connsiteX6" fmla="*/ 0 w 1094739"/>
                  <a:gd name="connsiteY6" fmla="*/ 360680 h 1597660"/>
                  <a:gd name="connsiteX7" fmla="*/ 96520 w 1094739"/>
                  <a:gd name="connsiteY7" fmla="*/ 403860 h 1597660"/>
                  <a:gd name="connsiteX8" fmla="*/ 109220 w 1094739"/>
                  <a:gd name="connsiteY8" fmla="*/ 279400 h 1597660"/>
                  <a:gd name="connsiteX9" fmla="*/ 119379 w 1094739"/>
                  <a:gd name="connsiteY9" fmla="*/ 416560 h 1597660"/>
                  <a:gd name="connsiteX10" fmla="*/ 177800 w 1094739"/>
                  <a:gd name="connsiteY10" fmla="*/ 505460 h 1597660"/>
                  <a:gd name="connsiteX11" fmla="*/ 256539 w 1094739"/>
                  <a:gd name="connsiteY11" fmla="*/ 538480 h 1597660"/>
                  <a:gd name="connsiteX12" fmla="*/ 259079 w 1094739"/>
                  <a:gd name="connsiteY12" fmla="*/ 391160 h 1597660"/>
                  <a:gd name="connsiteX13" fmla="*/ 210819 w 1094739"/>
                  <a:gd name="connsiteY13" fmla="*/ 297180 h 1597660"/>
                  <a:gd name="connsiteX14" fmla="*/ 271779 w 1094739"/>
                  <a:gd name="connsiteY14" fmla="*/ 365760 h 1597660"/>
                  <a:gd name="connsiteX15" fmla="*/ 327659 w 1094739"/>
                  <a:gd name="connsiteY15" fmla="*/ 284480 h 1597660"/>
                  <a:gd name="connsiteX16" fmla="*/ 279399 w 1094739"/>
                  <a:gd name="connsiteY16" fmla="*/ 396240 h 1597660"/>
                  <a:gd name="connsiteX17" fmla="*/ 284479 w 1094739"/>
                  <a:gd name="connsiteY17" fmla="*/ 548640 h 1597660"/>
                  <a:gd name="connsiteX18" fmla="*/ 406400 w 1094739"/>
                  <a:gd name="connsiteY18" fmla="*/ 599440 h 1597660"/>
                  <a:gd name="connsiteX19" fmla="*/ 444500 w 1094739"/>
                  <a:gd name="connsiteY19" fmla="*/ 378460 h 1597660"/>
                  <a:gd name="connsiteX20" fmla="*/ 365760 w 1094739"/>
                  <a:gd name="connsiteY20" fmla="*/ 127000 h 1597660"/>
                  <a:gd name="connsiteX21" fmla="*/ 299720 w 1094739"/>
                  <a:gd name="connsiteY21" fmla="*/ 60960 h 1597660"/>
                  <a:gd name="connsiteX22" fmla="*/ 375920 w 1094739"/>
                  <a:gd name="connsiteY22" fmla="*/ 111760 h 1597660"/>
                  <a:gd name="connsiteX23" fmla="*/ 411479 w 1094739"/>
                  <a:gd name="connsiteY23" fmla="*/ 187960 h 1597660"/>
                  <a:gd name="connsiteX24" fmla="*/ 502919 w 1094739"/>
                  <a:gd name="connsiteY24" fmla="*/ 20320 h 1597660"/>
                  <a:gd name="connsiteX25" fmla="*/ 426719 w 1094739"/>
                  <a:gd name="connsiteY25" fmla="*/ 223520 h 1597660"/>
                  <a:gd name="connsiteX26" fmla="*/ 474980 w 1094739"/>
                  <a:gd name="connsiteY26" fmla="*/ 355600 h 1597660"/>
                  <a:gd name="connsiteX27" fmla="*/ 604519 w 1094739"/>
                  <a:gd name="connsiteY27" fmla="*/ 132080 h 1597660"/>
                  <a:gd name="connsiteX28" fmla="*/ 574040 w 1094739"/>
                  <a:gd name="connsiteY28" fmla="*/ 30480 h 1597660"/>
                  <a:gd name="connsiteX29" fmla="*/ 589279 w 1094739"/>
                  <a:gd name="connsiteY29" fmla="*/ 0 h 1597660"/>
                  <a:gd name="connsiteX30" fmla="*/ 632459 w 1094739"/>
                  <a:gd name="connsiteY30" fmla="*/ 127000 h 1597660"/>
                  <a:gd name="connsiteX31" fmla="*/ 703579 w 1094739"/>
                  <a:gd name="connsiteY31" fmla="*/ 69850 h 1597660"/>
                  <a:gd name="connsiteX32" fmla="*/ 777240 w 1094739"/>
                  <a:gd name="connsiteY32" fmla="*/ 30480 h 1597660"/>
                  <a:gd name="connsiteX33" fmla="*/ 652779 w 1094739"/>
                  <a:gd name="connsiteY33" fmla="*/ 144780 h 1597660"/>
                  <a:gd name="connsiteX34" fmla="*/ 513080 w 1094739"/>
                  <a:gd name="connsiteY34" fmla="*/ 393700 h 1597660"/>
                  <a:gd name="connsiteX35" fmla="*/ 485140 w 1094739"/>
                  <a:gd name="connsiteY35" fmla="*/ 591820 h 1597660"/>
                  <a:gd name="connsiteX36" fmla="*/ 505460 w 1094739"/>
                  <a:gd name="connsiteY36" fmla="*/ 789940 h 1597660"/>
                  <a:gd name="connsiteX37" fmla="*/ 688339 w 1094739"/>
                  <a:gd name="connsiteY37" fmla="*/ 548640 h 1597660"/>
                  <a:gd name="connsiteX38" fmla="*/ 721359 w 1094739"/>
                  <a:gd name="connsiteY38" fmla="*/ 396240 h 1597660"/>
                  <a:gd name="connsiteX39" fmla="*/ 673099 w 1094739"/>
                  <a:gd name="connsiteY39" fmla="*/ 337820 h 1597660"/>
                  <a:gd name="connsiteX40" fmla="*/ 723899 w 1094739"/>
                  <a:gd name="connsiteY40" fmla="*/ 375920 h 1597660"/>
                  <a:gd name="connsiteX41" fmla="*/ 734060 w 1094739"/>
                  <a:gd name="connsiteY41" fmla="*/ 314960 h 1597660"/>
                  <a:gd name="connsiteX42" fmla="*/ 759459 w 1094739"/>
                  <a:gd name="connsiteY42" fmla="*/ 322580 h 1597660"/>
                  <a:gd name="connsiteX43" fmla="*/ 716279 w 1094739"/>
                  <a:gd name="connsiteY43" fmla="*/ 530860 h 1597660"/>
                  <a:gd name="connsiteX44" fmla="*/ 866139 w 1094739"/>
                  <a:gd name="connsiteY44" fmla="*/ 360680 h 1597660"/>
                  <a:gd name="connsiteX45" fmla="*/ 853440 w 1094739"/>
                  <a:gd name="connsiteY45" fmla="*/ 274320 h 1597660"/>
                  <a:gd name="connsiteX46" fmla="*/ 888999 w 1094739"/>
                  <a:gd name="connsiteY46" fmla="*/ 360680 h 1597660"/>
                  <a:gd name="connsiteX47" fmla="*/ 949959 w 1094739"/>
                  <a:gd name="connsiteY47" fmla="*/ 337820 h 1597660"/>
                  <a:gd name="connsiteX48" fmla="*/ 965199 w 1094739"/>
                  <a:gd name="connsiteY48" fmla="*/ 220980 h 1597660"/>
                  <a:gd name="connsiteX49" fmla="*/ 970279 w 1094739"/>
                  <a:gd name="connsiteY49" fmla="*/ 335280 h 1597660"/>
                  <a:gd name="connsiteX50" fmla="*/ 1094739 w 1094739"/>
                  <a:gd name="connsiteY50" fmla="*/ 292100 h 1597660"/>
                  <a:gd name="connsiteX51" fmla="*/ 876299 w 1094739"/>
                  <a:gd name="connsiteY51" fmla="*/ 396240 h 1597660"/>
                  <a:gd name="connsiteX52" fmla="*/ 739139 w 1094739"/>
                  <a:gd name="connsiteY52" fmla="*/ 551180 h 1597660"/>
                  <a:gd name="connsiteX53" fmla="*/ 673100 w 1094739"/>
                  <a:gd name="connsiteY53" fmla="*/ 660400 h 1597660"/>
                  <a:gd name="connsiteX54" fmla="*/ 812800 w 1094739"/>
                  <a:gd name="connsiteY54" fmla="*/ 566420 h 1597660"/>
                  <a:gd name="connsiteX55" fmla="*/ 850900 w 1094739"/>
                  <a:gd name="connsiteY55" fmla="*/ 568960 h 1597660"/>
                  <a:gd name="connsiteX56" fmla="*/ 652780 w 1094739"/>
                  <a:gd name="connsiteY56" fmla="*/ 701040 h 1597660"/>
                  <a:gd name="connsiteX57" fmla="*/ 513080 w 1094739"/>
                  <a:gd name="connsiteY57" fmla="*/ 896620 h 1597660"/>
                  <a:gd name="connsiteX58" fmla="*/ 520700 w 1094739"/>
                  <a:gd name="connsiteY58" fmla="*/ 1239520 h 1597660"/>
                  <a:gd name="connsiteX59" fmla="*/ 520700 w 1094739"/>
                  <a:gd name="connsiteY59" fmla="*/ 1597660 h 1597660"/>
                  <a:gd name="connsiteX60" fmla="*/ 337820 w 1094739"/>
                  <a:gd name="connsiteY60" fmla="*/ 1597660 h 1597660"/>
                  <a:gd name="connsiteX0" fmla="*/ 337820 w 1094739"/>
                  <a:gd name="connsiteY0" fmla="*/ 1601470 h 1601470"/>
                  <a:gd name="connsiteX1" fmla="*/ 396240 w 1094739"/>
                  <a:gd name="connsiteY1" fmla="*/ 1200150 h 1601470"/>
                  <a:gd name="connsiteX2" fmla="*/ 421640 w 1094739"/>
                  <a:gd name="connsiteY2" fmla="*/ 915670 h 1601470"/>
                  <a:gd name="connsiteX3" fmla="*/ 414020 w 1094739"/>
                  <a:gd name="connsiteY3" fmla="*/ 679450 h 1601470"/>
                  <a:gd name="connsiteX4" fmla="*/ 147320 w 1094739"/>
                  <a:gd name="connsiteY4" fmla="*/ 527050 h 1601470"/>
                  <a:gd name="connsiteX5" fmla="*/ 96520 w 1094739"/>
                  <a:gd name="connsiteY5" fmla="*/ 443230 h 1601470"/>
                  <a:gd name="connsiteX6" fmla="*/ 0 w 1094739"/>
                  <a:gd name="connsiteY6" fmla="*/ 364490 h 1601470"/>
                  <a:gd name="connsiteX7" fmla="*/ 96520 w 1094739"/>
                  <a:gd name="connsiteY7" fmla="*/ 407670 h 1601470"/>
                  <a:gd name="connsiteX8" fmla="*/ 109220 w 1094739"/>
                  <a:gd name="connsiteY8" fmla="*/ 283210 h 1601470"/>
                  <a:gd name="connsiteX9" fmla="*/ 119379 w 1094739"/>
                  <a:gd name="connsiteY9" fmla="*/ 420370 h 1601470"/>
                  <a:gd name="connsiteX10" fmla="*/ 177800 w 1094739"/>
                  <a:gd name="connsiteY10" fmla="*/ 509270 h 1601470"/>
                  <a:gd name="connsiteX11" fmla="*/ 256539 w 1094739"/>
                  <a:gd name="connsiteY11" fmla="*/ 542290 h 1601470"/>
                  <a:gd name="connsiteX12" fmla="*/ 259079 w 1094739"/>
                  <a:gd name="connsiteY12" fmla="*/ 394970 h 1601470"/>
                  <a:gd name="connsiteX13" fmla="*/ 210819 w 1094739"/>
                  <a:gd name="connsiteY13" fmla="*/ 300990 h 1601470"/>
                  <a:gd name="connsiteX14" fmla="*/ 271779 w 1094739"/>
                  <a:gd name="connsiteY14" fmla="*/ 369570 h 1601470"/>
                  <a:gd name="connsiteX15" fmla="*/ 327659 w 1094739"/>
                  <a:gd name="connsiteY15" fmla="*/ 288290 h 1601470"/>
                  <a:gd name="connsiteX16" fmla="*/ 279399 w 1094739"/>
                  <a:gd name="connsiteY16" fmla="*/ 400050 h 1601470"/>
                  <a:gd name="connsiteX17" fmla="*/ 284479 w 1094739"/>
                  <a:gd name="connsiteY17" fmla="*/ 552450 h 1601470"/>
                  <a:gd name="connsiteX18" fmla="*/ 406400 w 1094739"/>
                  <a:gd name="connsiteY18" fmla="*/ 603250 h 1601470"/>
                  <a:gd name="connsiteX19" fmla="*/ 444500 w 1094739"/>
                  <a:gd name="connsiteY19" fmla="*/ 382270 h 1601470"/>
                  <a:gd name="connsiteX20" fmla="*/ 365760 w 1094739"/>
                  <a:gd name="connsiteY20" fmla="*/ 130810 h 1601470"/>
                  <a:gd name="connsiteX21" fmla="*/ 299720 w 1094739"/>
                  <a:gd name="connsiteY21" fmla="*/ 64770 h 1601470"/>
                  <a:gd name="connsiteX22" fmla="*/ 375920 w 1094739"/>
                  <a:gd name="connsiteY22" fmla="*/ 115570 h 1601470"/>
                  <a:gd name="connsiteX23" fmla="*/ 411479 w 1094739"/>
                  <a:gd name="connsiteY23" fmla="*/ 191770 h 1601470"/>
                  <a:gd name="connsiteX24" fmla="*/ 502919 w 1094739"/>
                  <a:gd name="connsiteY24" fmla="*/ 24130 h 1601470"/>
                  <a:gd name="connsiteX25" fmla="*/ 426719 w 1094739"/>
                  <a:gd name="connsiteY25" fmla="*/ 227330 h 1601470"/>
                  <a:gd name="connsiteX26" fmla="*/ 474980 w 1094739"/>
                  <a:gd name="connsiteY26" fmla="*/ 359410 h 1601470"/>
                  <a:gd name="connsiteX27" fmla="*/ 604519 w 1094739"/>
                  <a:gd name="connsiteY27" fmla="*/ 135890 h 1601470"/>
                  <a:gd name="connsiteX28" fmla="*/ 574040 w 1094739"/>
                  <a:gd name="connsiteY28" fmla="*/ 34290 h 1601470"/>
                  <a:gd name="connsiteX29" fmla="*/ 589279 w 1094739"/>
                  <a:gd name="connsiteY29" fmla="*/ 3810 h 1601470"/>
                  <a:gd name="connsiteX30" fmla="*/ 632459 w 1094739"/>
                  <a:gd name="connsiteY30" fmla="*/ 130810 h 1601470"/>
                  <a:gd name="connsiteX31" fmla="*/ 703579 w 1094739"/>
                  <a:gd name="connsiteY31" fmla="*/ 73660 h 1601470"/>
                  <a:gd name="connsiteX32" fmla="*/ 918210 w 1094739"/>
                  <a:gd name="connsiteY32" fmla="*/ 0 h 1601470"/>
                  <a:gd name="connsiteX33" fmla="*/ 652779 w 1094739"/>
                  <a:gd name="connsiteY33" fmla="*/ 148590 h 1601470"/>
                  <a:gd name="connsiteX34" fmla="*/ 513080 w 1094739"/>
                  <a:gd name="connsiteY34" fmla="*/ 397510 h 1601470"/>
                  <a:gd name="connsiteX35" fmla="*/ 485140 w 1094739"/>
                  <a:gd name="connsiteY35" fmla="*/ 595630 h 1601470"/>
                  <a:gd name="connsiteX36" fmla="*/ 505460 w 1094739"/>
                  <a:gd name="connsiteY36" fmla="*/ 793750 h 1601470"/>
                  <a:gd name="connsiteX37" fmla="*/ 688339 w 1094739"/>
                  <a:gd name="connsiteY37" fmla="*/ 552450 h 1601470"/>
                  <a:gd name="connsiteX38" fmla="*/ 721359 w 1094739"/>
                  <a:gd name="connsiteY38" fmla="*/ 400050 h 1601470"/>
                  <a:gd name="connsiteX39" fmla="*/ 673099 w 1094739"/>
                  <a:gd name="connsiteY39" fmla="*/ 341630 h 1601470"/>
                  <a:gd name="connsiteX40" fmla="*/ 723899 w 1094739"/>
                  <a:gd name="connsiteY40" fmla="*/ 379730 h 1601470"/>
                  <a:gd name="connsiteX41" fmla="*/ 734060 w 1094739"/>
                  <a:gd name="connsiteY41" fmla="*/ 318770 h 1601470"/>
                  <a:gd name="connsiteX42" fmla="*/ 759459 w 1094739"/>
                  <a:gd name="connsiteY42" fmla="*/ 326390 h 1601470"/>
                  <a:gd name="connsiteX43" fmla="*/ 716279 w 1094739"/>
                  <a:gd name="connsiteY43" fmla="*/ 534670 h 1601470"/>
                  <a:gd name="connsiteX44" fmla="*/ 866139 w 1094739"/>
                  <a:gd name="connsiteY44" fmla="*/ 364490 h 1601470"/>
                  <a:gd name="connsiteX45" fmla="*/ 853440 w 1094739"/>
                  <a:gd name="connsiteY45" fmla="*/ 278130 h 1601470"/>
                  <a:gd name="connsiteX46" fmla="*/ 888999 w 1094739"/>
                  <a:gd name="connsiteY46" fmla="*/ 364490 h 1601470"/>
                  <a:gd name="connsiteX47" fmla="*/ 949959 w 1094739"/>
                  <a:gd name="connsiteY47" fmla="*/ 341630 h 1601470"/>
                  <a:gd name="connsiteX48" fmla="*/ 965199 w 1094739"/>
                  <a:gd name="connsiteY48" fmla="*/ 224790 h 1601470"/>
                  <a:gd name="connsiteX49" fmla="*/ 970279 w 1094739"/>
                  <a:gd name="connsiteY49" fmla="*/ 339090 h 1601470"/>
                  <a:gd name="connsiteX50" fmla="*/ 1094739 w 1094739"/>
                  <a:gd name="connsiteY50" fmla="*/ 295910 h 1601470"/>
                  <a:gd name="connsiteX51" fmla="*/ 876299 w 1094739"/>
                  <a:gd name="connsiteY51" fmla="*/ 400050 h 1601470"/>
                  <a:gd name="connsiteX52" fmla="*/ 739139 w 1094739"/>
                  <a:gd name="connsiteY52" fmla="*/ 554990 h 1601470"/>
                  <a:gd name="connsiteX53" fmla="*/ 673100 w 1094739"/>
                  <a:gd name="connsiteY53" fmla="*/ 664210 h 1601470"/>
                  <a:gd name="connsiteX54" fmla="*/ 812800 w 1094739"/>
                  <a:gd name="connsiteY54" fmla="*/ 570230 h 1601470"/>
                  <a:gd name="connsiteX55" fmla="*/ 850900 w 1094739"/>
                  <a:gd name="connsiteY55" fmla="*/ 572770 h 1601470"/>
                  <a:gd name="connsiteX56" fmla="*/ 652780 w 1094739"/>
                  <a:gd name="connsiteY56" fmla="*/ 704850 h 1601470"/>
                  <a:gd name="connsiteX57" fmla="*/ 513080 w 1094739"/>
                  <a:gd name="connsiteY57" fmla="*/ 900430 h 1601470"/>
                  <a:gd name="connsiteX58" fmla="*/ 520700 w 1094739"/>
                  <a:gd name="connsiteY58" fmla="*/ 1243330 h 1601470"/>
                  <a:gd name="connsiteX59" fmla="*/ 520700 w 1094739"/>
                  <a:gd name="connsiteY59" fmla="*/ 1601470 h 1601470"/>
                  <a:gd name="connsiteX60" fmla="*/ 337820 w 1094739"/>
                  <a:gd name="connsiteY60" fmla="*/ 1601470 h 1601470"/>
                  <a:gd name="connsiteX0" fmla="*/ 337820 w 1094739"/>
                  <a:gd name="connsiteY0" fmla="*/ 1601470 h 1601470"/>
                  <a:gd name="connsiteX1" fmla="*/ 396240 w 1094739"/>
                  <a:gd name="connsiteY1" fmla="*/ 1200150 h 1601470"/>
                  <a:gd name="connsiteX2" fmla="*/ 421640 w 1094739"/>
                  <a:gd name="connsiteY2" fmla="*/ 915670 h 1601470"/>
                  <a:gd name="connsiteX3" fmla="*/ 414020 w 1094739"/>
                  <a:gd name="connsiteY3" fmla="*/ 679450 h 1601470"/>
                  <a:gd name="connsiteX4" fmla="*/ 147320 w 1094739"/>
                  <a:gd name="connsiteY4" fmla="*/ 527050 h 1601470"/>
                  <a:gd name="connsiteX5" fmla="*/ 96520 w 1094739"/>
                  <a:gd name="connsiteY5" fmla="*/ 443230 h 1601470"/>
                  <a:gd name="connsiteX6" fmla="*/ 0 w 1094739"/>
                  <a:gd name="connsiteY6" fmla="*/ 364490 h 1601470"/>
                  <a:gd name="connsiteX7" fmla="*/ 96520 w 1094739"/>
                  <a:gd name="connsiteY7" fmla="*/ 407670 h 1601470"/>
                  <a:gd name="connsiteX8" fmla="*/ 109220 w 1094739"/>
                  <a:gd name="connsiteY8" fmla="*/ 283210 h 1601470"/>
                  <a:gd name="connsiteX9" fmla="*/ 119379 w 1094739"/>
                  <a:gd name="connsiteY9" fmla="*/ 420370 h 1601470"/>
                  <a:gd name="connsiteX10" fmla="*/ 177800 w 1094739"/>
                  <a:gd name="connsiteY10" fmla="*/ 509270 h 1601470"/>
                  <a:gd name="connsiteX11" fmla="*/ 256539 w 1094739"/>
                  <a:gd name="connsiteY11" fmla="*/ 542290 h 1601470"/>
                  <a:gd name="connsiteX12" fmla="*/ 259079 w 1094739"/>
                  <a:gd name="connsiteY12" fmla="*/ 394970 h 1601470"/>
                  <a:gd name="connsiteX13" fmla="*/ 210819 w 1094739"/>
                  <a:gd name="connsiteY13" fmla="*/ 300990 h 1601470"/>
                  <a:gd name="connsiteX14" fmla="*/ 271779 w 1094739"/>
                  <a:gd name="connsiteY14" fmla="*/ 369570 h 1601470"/>
                  <a:gd name="connsiteX15" fmla="*/ 327659 w 1094739"/>
                  <a:gd name="connsiteY15" fmla="*/ 288290 h 1601470"/>
                  <a:gd name="connsiteX16" fmla="*/ 279399 w 1094739"/>
                  <a:gd name="connsiteY16" fmla="*/ 400050 h 1601470"/>
                  <a:gd name="connsiteX17" fmla="*/ 284479 w 1094739"/>
                  <a:gd name="connsiteY17" fmla="*/ 552450 h 1601470"/>
                  <a:gd name="connsiteX18" fmla="*/ 406400 w 1094739"/>
                  <a:gd name="connsiteY18" fmla="*/ 603250 h 1601470"/>
                  <a:gd name="connsiteX19" fmla="*/ 444500 w 1094739"/>
                  <a:gd name="connsiteY19" fmla="*/ 382270 h 1601470"/>
                  <a:gd name="connsiteX20" fmla="*/ 365760 w 1094739"/>
                  <a:gd name="connsiteY20" fmla="*/ 130810 h 1601470"/>
                  <a:gd name="connsiteX21" fmla="*/ 299720 w 1094739"/>
                  <a:gd name="connsiteY21" fmla="*/ 64770 h 1601470"/>
                  <a:gd name="connsiteX22" fmla="*/ 375920 w 1094739"/>
                  <a:gd name="connsiteY22" fmla="*/ 115570 h 1601470"/>
                  <a:gd name="connsiteX23" fmla="*/ 411479 w 1094739"/>
                  <a:gd name="connsiteY23" fmla="*/ 191770 h 1601470"/>
                  <a:gd name="connsiteX24" fmla="*/ 502919 w 1094739"/>
                  <a:gd name="connsiteY24" fmla="*/ 24130 h 1601470"/>
                  <a:gd name="connsiteX25" fmla="*/ 426719 w 1094739"/>
                  <a:gd name="connsiteY25" fmla="*/ 227330 h 1601470"/>
                  <a:gd name="connsiteX26" fmla="*/ 474980 w 1094739"/>
                  <a:gd name="connsiteY26" fmla="*/ 359410 h 1601470"/>
                  <a:gd name="connsiteX27" fmla="*/ 604519 w 1094739"/>
                  <a:gd name="connsiteY27" fmla="*/ 135890 h 1601470"/>
                  <a:gd name="connsiteX28" fmla="*/ 574040 w 1094739"/>
                  <a:gd name="connsiteY28" fmla="*/ 34290 h 1601470"/>
                  <a:gd name="connsiteX29" fmla="*/ 589279 w 1094739"/>
                  <a:gd name="connsiteY29" fmla="*/ 3810 h 1601470"/>
                  <a:gd name="connsiteX30" fmla="*/ 632459 w 1094739"/>
                  <a:gd name="connsiteY30" fmla="*/ 130810 h 1601470"/>
                  <a:gd name="connsiteX31" fmla="*/ 703579 w 1094739"/>
                  <a:gd name="connsiteY31" fmla="*/ 73660 h 1601470"/>
                  <a:gd name="connsiteX32" fmla="*/ 756919 w 1094739"/>
                  <a:gd name="connsiteY32" fmla="*/ 54610 h 1601470"/>
                  <a:gd name="connsiteX33" fmla="*/ 918210 w 1094739"/>
                  <a:gd name="connsiteY33" fmla="*/ 0 h 1601470"/>
                  <a:gd name="connsiteX34" fmla="*/ 652779 w 1094739"/>
                  <a:gd name="connsiteY34" fmla="*/ 148590 h 1601470"/>
                  <a:gd name="connsiteX35" fmla="*/ 513080 w 1094739"/>
                  <a:gd name="connsiteY35" fmla="*/ 397510 h 1601470"/>
                  <a:gd name="connsiteX36" fmla="*/ 485140 w 1094739"/>
                  <a:gd name="connsiteY36" fmla="*/ 595630 h 1601470"/>
                  <a:gd name="connsiteX37" fmla="*/ 505460 w 1094739"/>
                  <a:gd name="connsiteY37" fmla="*/ 793750 h 1601470"/>
                  <a:gd name="connsiteX38" fmla="*/ 688339 w 1094739"/>
                  <a:gd name="connsiteY38" fmla="*/ 552450 h 1601470"/>
                  <a:gd name="connsiteX39" fmla="*/ 721359 w 1094739"/>
                  <a:gd name="connsiteY39" fmla="*/ 400050 h 1601470"/>
                  <a:gd name="connsiteX40" fmla="*/ 673099 w 1094739"/>
                  <a:gd name="connsiteY40" fmla="*/ 341630 h 1601470"/>
                  <a:gd name="connsiteX41" fmla="*/ 723899 w 1094739"/>
                  <a:gd name="connsiteY41" fmla="*/ 379730 h 1601470"/>
                  <a:gd name="connsiteX42" fmla="*/ 734060 w 1094739"/>
                  <a:gd name="connsiteY42" fmla="*/ 318770 h 1601470"/>
                  <a:gd name="connsiteX43" fmla="*/ 759459 w 1094739"/>
                  <a:gd name="connsiteY43" fmla="*/ 326390 h 1601470"/>
                  <a:gd name="connsiteX44" fmla="*/ 716279 w 1094739"/>
                  <a:gd name="connsiteY44" fmla="*/ 534670 h 1601470"/>
                  <a:gd name="connsiteX45" fmla="*/ 866139 w 1094739"/>
                  <a:gd name="connsiteY45" fmla="*/ 364490 h 1601470"/>
                  <a:gd name="connsiteX46" fmla="*/ 853440 w 1094739"/>
                  <a:gd name="connsiteY46" fmla="*/ 278130 h 1601470"/>
                  <a:gd name="connsiteX47" fmla="*/ 888999 w 1094739"/>
                  <a:gd name="connsiteY47" fmla="*/ 364490 h 1601470"/>
                  <a:gd name="connsiteX48" fmla="*/ 949959 w 1094739"/>
                  <a:gd name="connsiteY48" fmla="*/ 341630 h 1601470"/>
                  <a:gd name="connsiteX49" fmla="*/ 965199 w 1094739"/>
                  <a:gd name="connsiteY49" fmla="*/ 224790 h 1601470"/>
                  <a:gd name="connsiteX50" fmla="*/ 970279 w 1094739"/>
                  <a:gd name="connsiteY50" fmla="*/ 339090 h 1601470"/>
                  <a:gd name="connsiteX51" fmla="*/ 1094739 w 1094739"/>
                  <a:gd name="connsiteY51" fmla="*/ 295910 h 1601470"/>
                  <a:gd name="connsiteX52" fmla="*/ 876299 w 1094739"/>
                  <a:gd name="connsiteY52" fmla="*/ 400050 h 1601470"/>
                  <a:gd name="connsiteX53" fmla="*/ 739139 w 1094739"/>
                  <a:gd name="connsiteY53" fmla="*/ 554990 h 1601470"/>
                  <a:gd name="connsiteX54" fmla="*/ 673100 w 1094739"/>
                  <a:gd name="connsiteY54" fmla="*/ 664210 h 1601470"/>
                  <a:gd name="connsiteX55" fmla="*/ 812800 w 1094739"/>
                  <a:gd name="connsiteY55" fmla="*/ 570230 h 1601470"/>
                  <a:gd name="connsiteX56" fmla="*/ 850900 w 1094739"/>
                  <a:gd name="connsiteY56" fmla="*/ 572770 h 1601470"/>
                  <a:gd name="connsiteX57" fmla="*/ 652780 w 1094739"/>
                  <a:gd name="connsiteY57" fmla="*/ 704850 h 1601470"/>
                  <a:gd name="connsiteX58" fmla="*/ 513080 w 1094739"/>
                  <a:gd name="connsiteY58" fmla="*/ 900430 h 1601470"/>
                  <a:gd name="connsiteX59" fmla="*/ 520700 w 1094739"/>
                  <a:gd name="connsiteY59" fmla="*/ 1243330 h 1601470"/>
                  <a:gd name="connsiteX60" fmla="*/ 520700 w 1094739"/>
                  <a:gd name="connsiteY60" fmla="*/ 1601470 h 1601470"/>
                  <a:gd name="connsiteX61" fmla="*/ 337820 w 1094739"/>
                  <a:gd name="connsiteY61" fmla="*/ 1601470 h 160147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918210 w 1094739"/>
                  <a:gd name="connsiteY33" fmla="*/ 17780 h 1619250"/>
                  <a:gd name="connsiteX34" fmla="*/ 652779 w 1094739"/>
                  <a:gd name="connsiteY34" fmla="*/ 166370 h 1619250"/>
                  <a:gd name="connsiteX35" fmla="*/ 513080 w 1094739"/>
                  <a:gd name="connsiteY35" fmla="*/ 415290 h 1619250"/>
                  <a:gd name="connsiteX36" fmla="*/ 485140 w 1094739"/>
                  <a:gd name="connsiteY36" fmla="*/ 613410 h 1619250"/>
                  <a:gd name="connsiteX37" fmla="*/ 505460 w 1094739"/>
                  <a:gd name="connsiteY37" fmla="*/ 811530 h 1619250"/>
                  <a:gd name="connsiteX38" fmla="*/ 688339 w 1094739"/>
                  <a:gd name="connsiteY38" fmla="*/ 570230 h 1619250"/>
                  <a:gd name="connsiteX39" fmla="*/ 721359 w 1094739"/>
                  <a:gd name="connsiteY39" fmla="*/ 417830 h 1619250"/>
                  <a:gd name="connsiteX40" fmla="*/ 673099 w 1094739"/>
                  <a:gd name="connsiteY40" fmla="*/ 359410 h 1619250"/>
                  <a:gd name="connsiteX41" fmla="*/ 723899 w 1094739"/>
                  <a:gd name="connsiteY41" fmla="*/ 397510 h 1619250"/>
                  <a:gd name="connsiteX42" fmla="*/ 734060 w 1094739"/>
                  <a:gd name="connsiteY42" fmla="*/ 336550 h 1619250"/>
                  <a:gd name="connsiteX43" fmla="*/ 759459 w 1094739"/>
                  <a:gd name="connsiteY43" fmla="*/ 344170 h 1619250"/>
                  <a:gd name="connsiteX44" fmla="*/ 716279 w 1094739"/>
                  <a:gd name="connsiteY44" fmla="*/ 552450 h 1619250"/>
                  <a:gd name="connsiteX45" fmla="*/ 866139 w 1094739"/>
                  <a:gd name="connsiteY45" fmla="*/ 382270 h 1619250"/>
                  <a:gd name="connsiteX46" fmla="*/ 853440 w 1094739"/>
                  <a:gd name="connsiteY46" fmla="*/ 295910 h 1619250"/>
                  <a:gd name="connsiteX47" fmla="*/ 888999 w 1094739"/>
                  <a:gd name="connsiteY47" fmla="*/ 382270 h 1619250"/>
                  <a:gd name="connsiteX48" fmla="*/ 949959 w 1094739"/>
                  <a:gd name="connsiteY48" fmla="*/ 359410 h 1619250"/>
                  <a:gd name="connsiteX49" fmla="*/ 965199 w 1094739"/>
                  <a:gd name="connsiteY49" fmla="*/ 242570 h 1619250"/>
                  <a:gd name="connsiteX50" fmla="*/ 970279 w 1094739"/>
                  <a:gd name="connsiteY50" fmla="*/ 356870 h 1619250"/>
                  <a:gd name="connsiteX51" fmla="*/ 1094739 w 1094739"/>
                  <a:gd name="connsiteY51" fmla="*/ 313690 h 1619250"/>
                  <a:gd name="connsiteX52" fmla="*/ 876299 w 1094739"/>
                  <a:gd name="connsiteY52" fmla="*/ 417830 h 1619250"/>
                  <a:gd name="connsiteX53" fmla="*/ 739139 w 1094739"/>
                  <a:gd name="connsiteY53" fmla="*/ 572770 h 1619250"/>
                  <a:gd name="connsiteX54" fmla="*/ 673100 w 1094739"/>
                  <a:gd name="connsiteY54" fmla="*/ 681990 h 1619250"/>
                  <a:gd name="connsiteX55" fmla="*/ 812800 w 1094739"/>
                  <a:gd name="connsiteY55" fmla="*/ 588010 h 1619250"/>
                  <a:gd name="connsiteX56" fmla="*/ 850900 w 1094739"/>
                  <a:gd name="connsiteY56" fmla="*/ 590550 h 1619250"/>
                  <a:gd name="connsiteX57" fmla="*/ 652780 w 1094739"/>
                  <a:gd name="connsiteY57" fmla="*/ 722630 h 1619250"/>
                  <a:gd name="connsiteX58" fmla="*/ 513080 w 1094739"/>
                  <a:gd name="connsiteY58" fmla="*/ 918210 h 1619250"/>
                  <a:gd name="connsiteX59" fmla="*/ 520700 w 1094739"/>
                  <a:gd name="connsiteY59" fmla="*/ 1261110 h 1619250"/>
                  <a:gd name="connsiteX60" fmla="*/ 520700 w 1094739"/>
                  <a:gd name="connsiteY60" fmla="*/ 1619250 h 1619250"/>
                  <a:gd name="connsiteX61" fmla="*/ 337820 w 1094739"/>
                  <a:gd name="connsiteY61"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844549 w 1094739"/>
                  <a:gd name="connsiteY33" fmla="*/ 11430 h 1619250"/>
                  <a:gd name="connsiteX34" fmla="*/ 918210 w 1094739"/>
                  <a:gd name="connsiteY34" fmla="*/ 17780 h 1619250"/>
                  <a:gd name="connsiteX35" fmla="*/ 652779 w 1094739"/>
                  <a:gd name="connsiteY35" fmla="*/ 166370 h 1619250"/>
                  <a:gd name="connsiteX36" fmla="*/ 513080 w 1094739"/>
                  <a:gd name="connsiteY36" fmla="*/ 415290 h 1619250"/>
                  <a:gd name="connsiteX37" fmla="*/ 485140 w 1094739"/>
                  <a:gd name="connsiteY37" fmla="*/ 613410 h 1619250"/>
                  <a:gd name="connsiteX38" fmla="*/ 505460 w 1094739"/>
                  <a:gd name="connsiteY38" fmla="*/ 811530 h 1619250"/>
                  <a:gd name="connsiteX39" fmla="*/ 688339 w 1094739"/>
                  <a:gd name="connsiteY39" fmla="*/ 570230 h 1619250"/>
                  <a:gd name="connsiteX40" fmla="*/ 721359 w 1094739"/>
                  <a:gd name="connsiteY40" fmla="*/ 417830 h 1619250"/>
                  <a:gd name="connsiteX41" fmla="*/ 673099 w 1094739"/>
                  <a:gd name="connsiteY41" fmla="*/ 359410 h 1619250"/>
                  <a:gd name="connsiteX42" fmla="*/ 723899 w 1094739"/>
                  <a:gd name="connsiteY42" fmla="*/ 397510 h 1619250"/>
                  <a:gd name="connsiteX43" fmla="*/ 734060 w 1094739"/>
                  <a:gd name="connsiteY43" fmla="*/ 336550 h 1619250"/>
                  <a:gd name="connsiteX44" fmla="*/ 759459 w 1094739"/>
                  <a:gd name="connsiteY44" fmla="*/ 344170 h 1619250"/>
                  <a:gd name="connsiteX45" fmla="*/ 716279 w 1094739"/>
                  <a:gd name="connsiteY45" fmla="*/ 552450 h 1619250"/>
                  <a:gd name="connsiteX46" fmla="*/ 866139 w 1094739"/>
                  <a:gd name="connsiteY46" fmla="*/ 382270 h 1619250"/>
                  <a:gd name="connsiteX47" fmla="*/ 853440 w 1094739"/>
                  <a:gd name="connsiteY47" fmla="*/ 295910 h 1619250"/>
                  <a:gd name="connsiteX48" fmla="*/ 888999 w 1094739"/>
                  <a:gd name="connsiteY48" fmla="*/ 382270 h 1619250"/>
                  <a:gd name="connsiteX49" fmla="*/ 949959 w 1094739"/>
                  <a:gd name="connsiteY49" fmla="*/ 359410 h 1619250"/>
                  <a:gd name="connsiteX50" fmla="*/ 965199 w 1094739"/>
                  <a:gd name="connsiteY50" fmla="*/ 242570 h 1619250"/>
                  <a:gd name="connsiteX51" fmla="*/ 970279 w 1094739"/>
                  <a:gd name="connsiteY51" fmla="*/ 356870 h 1619250"/>
                  <a:gd name="connsiteX52" fmla="*/ 1094739 w 1094739"/>
                  <a:gd name="connsiteY52" fmla="*/ 313690 h 1619250"/>
                  <a:gd name="connsiteX53" fmla="*/ 876299 w 1094739"/>
                  <a:gd name="connsiteY53" fmla="*/ 417830 h 1619250"/>
                  <a:gd name="connsiteX54" fmla="*/ 739139 w 1094739"/>
                  <a:gd name="connsiteY54" fmla="*/ 572770 h 1619250"/>
                  <a:gd name="connsiteX55" fmla="*/ 673100 w 1094739"/>
                  <a:gd name="connsiteY55" fmla="*/ 681990 h 1619250"/>
                  <a:gd name="connsiteX56" fmla="*/ 812800 w 1094739"/>
                  <a:gd name="connsiteY56" fmla="*/ 588010 h 1619250"/>
                  <a:gd name="connsiteX57" fmla="*/ 850900 w 1094739"/>
                  <a:gd name="connsiteY57" fmla="*/ 590550 h 1619250"/>
                  <a:gd name="connsiteX58" fmla="*/ 652780 w 1094739"/>
                  <a:gd name="connsiteY58" fmla="*/ 722630 h 1619250"/>
                  <a:gd name="connsiteX59" fmla="*/ 513080 w 1094739"/>
                  <a:gd name="connsiteY59" fmla="*/ 918210 h 1619250"/>
                  <a:gd name="connsiteX60" fmla="*/ 520700 w 1094739"/>
                  <a:gd name="connsiteY60" fmla="*/ 1261110 h 1619250"/>
                  <a:gd name="connsiteX61" fmla="*/ 520700 w 1094739"/>
                  <a:gd name="connsiteY61" fmla="*/ 1619250 h 1619250"/>
                  <a:gd name="connsiteX62" fmla="*/ 337820 w 1094739"/>
                  <a:gd name="connsiteY62"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52779 w 1094739"/>
                  <a:gd name="connsiteY35" fmla="*/ 166370 h 1619250"/>
                  <a:gd name="connsiteX36" fmla="*/ 513080 w 1094739"/>
                  <a:gd name="connsiteY36" fmla="*/ 415290 h 1619250"/>
                  <a:gd name="connsiteX37" fmla="*/ 485140 w 1094739"/>
                  <a:gd name="connsiteY37" fmla="*/ 613410 h 1619250"/>
                  <a:gd name="connsiteX38" fmla="*/ 505460 w 1094739"/>
                  <a:gd name="connsiteY38" fmla="*/ 811530 h 1619250"/>
                  <a:gd name="connsiteX39" fmla="*/ 688339 w 1094739"/>
                  <a:gd name="connsiteY39" fmla="*/ 570230 h 1619250"/>
                  <a:gd name="connsiteX40" fmla="*/ 721359 w 1094739"/>
                  <a:gd name="connsiteY40" fmla="*/ 417830 h 1619250"/>
                  <a:gd name="connsiteX41" fmla="*/ 673099 w 1094739"/>
                  <a:gd name="connsiteY41" fmla="*/ 359410 h 1619250"/>
                  <a:gd name="connsiteX42" fmla="*/ 723899 w 1094739"/>
                  <a:gd name="connsiteY42" fmla="*/ 397510 h 1619250"/>
                  <a:gd name="connsiteX43" fmla="*/ 734060 w 1094739"/>
                  <a:gd name="connsiteY43" fmla="*/ 336550 h 1619250"/>
                  <a:gd name="connsiteX44" fmla="*/ 759459 w 1094739"/>
                  <a:gd name="connsiteY44" fmla="*/ 344170 h 1619250"/>
                  <a:gd name="connsiteX45" fmla="*/ 716279 w 1094739"/>
                  <a:gd name="connsiteY45" fmla="*/ 552450 h 1619250"/>
                  <a:gd name="connsiteX46" fmla="*/ 866139 w 1094739"/>
                  <a:gd name="connsiteY46" fmla="*/ 382270 h 1619250"/>
                  <a:gd name="connsiteX47" fmla="*/ 853440 w 1094739"/>
                  <a:gd name="connsiteY47" fmla="*/ 295910 h 1619250"/>
                  <a:gd name="connsiteX48" fmla="*/ 888999 w 1094739"/>
                  <a:gd name="connsiteY48" fmla="*/ 382270 h 1619250"/>
                  <a:gd name="connsiteX49" fmla="*/ 949959 w 1094739"/>
                  <a:gd name="connsiteY49" fmla="*/ 359410 h 1619250"/>
                  <a:gd name="connsiteX50" fmla="*/ 965199 w 1094739"/>
                  <a:gd name="connsiteY50" fmla="*/ 242570 h 1619250"/>
                  <a:gd name="connsiteX51" fmla="*/ 970279 w 1094739"/>
                  <a:gd name="connsiteY51" fmla="*/ 356870 h 1619250"/>
                  <a:gd name="connsiteX52" fmla="*/ 1094739 w 1094739"/>
                  <a:gd name="connsiteY52" fmla="*/ 313690 h 1619250"/>
                  <a:gd name="connsiteX53" fmla="*/ 876299 w 1094739"/>
                  <a:gd name="connsiteY53" fmla="*/ 417830 h 1619250"/>
                  <a:gd name="connsiteX54" fmla="*/ 739139 w 1094739"/>
                  <a:gd name="connsiteY54" fmla="*/ 572770 h 1619250"/>
                  <a:gd name="connsiteX55" fmla="*/ 673100 w 1094739"/>
                  <a:gd name="connsiteY55" fmla="*/ 681990 h 1619250"/>
                  <a:gd name="connsiteX56" fmla="*/ 812800 w 1094739"/>
                  <a:gd name="connsiteY56" fmla="*/ 588010 h 1619250"/>
                  <a:gd name="connsiteX57" fmla="*/ 850900 w 1094739"/>
                  <a:gd name="connsiteY57" fmla="*/ 590550 h 1619250"/>
                  <a:gd name="connsiteX58" fmla="*/ 652780 w 1094739"/>
                  <a:gd name="connsiteY58" fmla="*/ 722630 h 1619250"/>
                  <a:gd name="connsiteX59" fmla="*/ 513080 w 1094739"/>
                  <a:gd name="connsiteY59" fmla="*/ 918210 h 1619250"/>
                  <a:gd name="connsiteX60" fmla="*/ 520700 w 1094739"/>
                  <a:gd name="connsiteY60" fmla="*/ 1261110 h 1619250"/>
                  <a:gd name="connsiteX61" fmla="*/ 520700 w 1094739"/>
                  <a:gd name="connsiteY61" fmla="*/ 1619250 h 1619250"/>
                  <a:gd name="connsiteX62" fmla="*/ 337820 w 1094739"/>
                  <a:gd name="connsiteY62"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52779 w 1094739"/>
                  <a:gd name="connsiteY35" fmla="*/ 166370 h 1619250"/>
                  <a:gd name="connsiteX36" fmla="*/ 627379 w 1094739"/>
                  <a:gd name="connsiteY36" fmla="*/ 21717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12800 w 1094739"/>
                  <a:gd name="connsiteY57" fmla="*/ 588010 h 1619250"/>
                  <a:gd name="connsiteX58" fmla="*/ 850900 w 1094739"/>
                  <a:gd name="connsiteY58" fmla="*/ 590550 h 1619250"/>
                  <a:gd name="connsiteX59" fmla="*/ 652780 w 1094739"/>
                  <a:gd name="connsiteY59" fmla="*/ 722630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27379 w 1094739"/>
                  <a:gd name="connsiteY36" fmla="*/ 21717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12800 w 1094739"/>
                  <a:gd name="connsiteY57" fmla="*/ 588010 h 1619250"/>
                  <a:gd name="connsiteX58" fmla="*/ 850900 w 1094739"/>
                  <a:gd name="connsiteY58" fmla="*/ 590550 h 1619250"/>
                  <a:gd name="connsiteX59" fmla="*/ 652780 w 1094739"/>
                  <a:gd name="connsiteY59" fmla="*/ 722630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12800 w 1094739"/>
                  <a:gd name="connsiteY57" fmla="*/ 588010 h 1619250"/>
                  <a:gd name="connsiteX58" fmla="*/ 850900 w 1094739"/>
                  <a:gd name="connsiteY58" fmla="*/ 590550 h 1619250"/>
                  <a:gd name="connsiteX59" fmla="*/ 652780 w 1094739"/>
                  <a:gd name="connsiteY59" fmla="*/ 722630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43097 w 1094739"/>
                  <a:gd name="connsiteY57" fmla="*/ 536075 h 1619250"/>
                  <a:gd name="connsiteX58" fmla="*/ 850900 w 1094739"/>
                  <a:gd name="connsiteY58" fmla="*/ 590550 h 1619250"/>
                  <a:gd name="connsiteX59" fmla="*/ 652780 w 1094739"/>
                  <a:gd name="connsiteY59" fmla="*/ 722630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43097 w 1094739"/>
                  <a:gd name="connsiteY57" fmla="*/ 536075 h 1619250"/>
                  <a:gd name="connsiteX58" fmla="*/ 872541 w 1094739"/>
                  <a:gd name="connsiteY58" fmla="*/ 534287 h 1619250"/>
                  <a:gd name="connsiteX59" fmla="*/ 652780 w 1094739"/>
                  <a:gd name="connsiteY59" fmla="*/ 722630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88339 w 1094739"/>
                  <a:gd name="connsiteY40" fmla="*/ 570230 h 1619250"/>
                  <a:gd name="connsiteX41" fmla="*/ 721359 w 1094739"/>
                  <a:gd name="connsiteY41" fmla="*/ 417830 h 1619250"/>
                  <a:gd name="connsiteX42" fmla="*/ 673099 w 1094739"/>
                  <a:gd name="connsiteY42" fmla="*/ 359410 h 1619250"/>
                  <a:gd name="connsiteX43" fmla="*/ 723899 w 1094739"/>
                  <a:gd name="connsiteY43" fmla="*/ 397510 h 1619250"/>
                  <a:gd name="connsiteX44" fmla="*/ 734060 w 1094739"/>
                  <a:gd name="connsiteY44" fmla="*/ 336550 h 1619250"/>
                  <a:gd name="connsiteX45" fmla="*/ 759459 w 1094739"/>
                  <a:gd name="connsiteY45" fmla="*/ 344170 h 1619250"/>
                  <a:gd name="connsiteX46" fmla="*/ 716279 w 1094739"/>
                  <a:gd name="connsiteY46" fmla="*/ 552450 h 1619250"/>
                  <a:gd name="connsiteX47" fmla="*/ 866139 w 1094739"/>
                  <a:gd name="connsiteY47" fmla="*/ 382270 h 1619250"/>
                  <a:gd name="connsiteX48" fmla="*/ 853440 w 1094739"/>
                  <a:gd name="connsiteY48" fmla="*/ 295910 h 1619250"/>
                  <a:gd name="connsiteX49" fmla="*/ 888999 w 1094739"/>
                  <a:gd name="connsiteY49" fmla="*/ 382270 h 1619250"/>
                  <a:gd name="connsiteX50" fmla="*/ 949959 w 1094739"/>
                  <a:gd name="connsiteY50" fmla="*/ 359410 h 1619250"/>
                  <a:gd name="connsiteX51" fmla="*/ 965199 w 1094739"/>
                  <a:gd name="connsiteY51" fmla="*/ 242570 h 1619250"/>
                  <a:gd name="connsiteX52" fmla="*/ 970279 w 1094739"/>
                  <a:gd name="connsiteY52" fmla="*/ 356870 h 1619250"/>
                  <a:gd name="connsiteX53" fmla="*/ 1094739 w 1094739"/>
                  <a:gd name="connsiteY53" fmla="*/ 313690 h 1619250"/>
                  <a:gd name="connsiteX54" fmla="*/ 876299 w 1094739"/>
                  <a:gd name="connsiteY54" fmla="*/ 417830 h 1619250"/>
                  <a:gd name="connsiteX55" fmla="*/ 739139 w 1094739"/>
                  <a:gd name="connsiteY55" fmla="*/ 572770 h 1619250"/>
                  <a:gd name="connsiteX56" fmla="*/ 673100 w 1094739"/>
                  <a:gd name="connsiteY56" fmla="*/ 681990 h 1619250"/>
                  <a:gd name="connsiteX57" fmla="*/ 843097 w 1094739"/>
                  <a:gd name="connsiteY57" fmla="*/ 536075 h 1619250"/>
                  <a:gd name="connsiteX58" fmla="*/ 872541 w 1094739"/>
                  <a:gd name="connsiteY58" fmla="*/ 534287 h 1619250"/>
                  <a:gd name="connsiteX59" fmla="*/ 683077 w 1094739"/>
                  <a:gd name="connsiteY59" fmla="*/ 718303 h 1619250"/>
                  <a:gd name="connsiteX60" fmla="*/ 513080 w 1094739"/>
                  <a:gd name="connsiteY60" fmla="*/ 918210 h 1619250"/>
                  <a:gd name="connsiteX61" fmla="*/ 520700 w 1094739"/>
                  <a:gd name="connsiteY61" fmla="*/ 1261110 h 1619250"/>
                  <a:gd name="connsiteX62" fmla="*/ 520700 w 1094739"/>
                  <a:gd name="connsiteY62" fmla="*/ 1619250 h 1619250"/>
                  <a:gd name="connsiteX63" fmla="*/ 337820 w 1094739"/>
                  <a:gd name="connsiteY63"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07006 w 1094739"/>
                  <a:gd name="connsiteY40" fmla="*/ 683236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673100 w 1094739"/>
                  <a:gd name="connsiteY57" fmla="*/ 681990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32974 w 1094739"/>
                  <a:gd name="connsiteY40" fmla="*/ 717860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673100 w 1094739"/>
                  <a:gd name="connsiteY57" fmla="*/ 681990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32974 w 1094739"/>
                  <a:gd name="connsiteY40" fmla="*/ 717860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699069 w 1094739"/>
                  <a:gd name="connsiteY57" fmla="*/ 664679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05460 w 1094739"/>
                  <a:gd name="connsiteY39" fmla="*/ 811530 h 1619250"/>
                  <a:gd name="connsiteX40" fmla="*/ 663270 w 1094739"/>
                  <a:gd name="connsiteY40" fmla="*/ 696220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699069 w 1094739"/>
                  <a:gd name="connsiteY57" fmla="*/ 664679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18445 w 1094739"/>
                  <a:gd name="connsiteY39" fmla="*/ 837499 h 1619250"/>
                  <a:gd name="connsiteX40" fmla="*/ 663270 w 1094739"/>
                  <a:gd name="connsiteY40" fmla="*/ 696220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699069 w 1094739"/>
                  <a:gd name="connsiteY57" fmla="*/ 664679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18445 w 1094739"/>
                  <a:gd name="connsiteY39" fmla="*/ 837499 h 1619250"/>
                  <a:gd name="connsiteX40" fmla="*/ 658942 w 1094739"/>
                  <a:gd name="connsiteY40" fmla="*/ 691892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699069 w 1094739"/>
                  <a:gd name="connsiteY57" fmla="*/ 664679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18445 w 1094739"/>
                  <a:gd name="connsiteY39" fmla="*/ 837499 h 1619250"/>
                  <a:gd name="connsiteX40" fmla="*/ 658942 w 1094739"/>
                  <a:gd name="connsiteY40" fmla="*/ 691892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712053 w 1094739"/>
                  <a:gd name="connsiteY57" fmla="*/ 660351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18445 w 1094739"/>
                  <a:gd name="connsiteY39" fmla="*/ 837499 h 1619250"/>
                  <a:gd name="connsiteX40" fmla="*/ 658942 w 1094739"/>
                  <a:gd name="connsiteY40" fmla="*/ 691892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9139 w 1094739"/>
                  <a:gd name="connsiteY56" fmla="*/ 572770 h 1619250"/>
                  <a:gd name="connsiteX57" fmla="*/ 712053 w 1094739"/>
                  <a:gd name="connsiteY57" fmla="*/ 643039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411479 w 1094739"/>
                  <a:gd name="connsiteY23" fmla="*/ 209550 h 1619250"/>
                  <a:gd name="connsiteX24" fmla="*/ 502919 w 1094739"/>
                  <a:gd name="connsiteY24" fmla="*/ 41910 h 1619250"/>
                  <a:gd name="connsiteX25" fmla="*/ 426719 w 1094739"/>
                  <a:gd name="connsiteY25" fmla="*/ 245110 h 1619250"/>
                  <a:gd name="connsiteX26" fmla="*/ 474980 w 1094739"/>
                  <a:gd name="connsiteY26" fmla="*/ 377190 h 1619250"/>
                  <a:gd name="connsiteX27" fmla="*/ 604519 w 1094739"/>
                  <a:gd name="connsiteY27" fmla="*/ 153670 h 1619250"/>
                  <a:gd name="connsiteX28" fmla="*/ 574040 w 1094739"/>
                  <a:gd name="connsiteY28" fmla="*/ 52070 h 1619250"/>
                  <a:gd name="connsiteX29" fmla="*/ 589279 w 1094739"/>
                  <a:gd name="connsiteY29" fmla="*/ 21590 h 1619250"/>
                  <a:gd name="connsiteX30" fmla="*/ 632459 w 1094739"/>
                  <a:gd name="connsiteY30" fmla="*/ 148590 h 1619250"/>
                  <a:gd name="connsiteX31" fmla="*/ 703579 w 1094739"/>
                  <a:gd name="connsiteY31" fmla="*/ 91440 h 1619250"/>
                  <a:gd name="connsiteX32" fmla="*/ 745489 w 1094739"/>
                  <a:gd name="connsiteY32" fmla="*/ 0 h 1619250"/>
                  <a:gd name="connsiteX33" fmla="*/ 741679 w 1094739"/>
                  <a:gd name="connsiteY33" fmla="*/ 95250 h 1619250"/>
                  <a:gd name="connsiteX34" fmla="*/ 918210 w 1094739"/>
                  <a:gd name="connsiteY34" fmla="*/ 17780 h 1619250"/>
                  <a:gd name="connsiteX35" fmla="*/ 671829 w 1094739"/>
                  <a:gd name="connsiteY35" fmla="*/ 166370 h 1619250"/>
                  <a:gd name="connsiteX36" fmla="*/ 631189 w 1094739"/>
                  <a:gd name="connsiteY36" fmla="*/ 205740 h 1619250"/>
                  <a:gd name="connsiteX37" fmla="*/ 513080 w 1094739"/>
                  <a:gd name="connsiteY37" fmla="*/ 415290 h 1619250"/>
                  <a:gd name="connsiteX38" fmla="*/ 485140 w 1094739"/>
                  <a:gd name="connsiteY38" fmla="*/ 613410 h 1619250"/>
                  <a:gd name="connsiteX39" fmla="*/ 518445 w 1094739"/>
                  <a:gd name="connsiteY39" fmla="*/ 837499 h 1619250"/>
                  <a:gd name="connsiteX40" fmla="*/ 658942 w 1094739"/>
                  <a:gd name="connsiteY40" fmla="*/ 691892 h 1619250"/>
                  <a:gd name="connsiteX41" fmla="*/ 688339 w 1094739"/>
                  <a:gd name="connsiteY41" fmla="*/ 570230 h 1619250"/>
                  <a:gd name="connsiteX42" fmla="*/ 721359 w 1094739"/>
                  <a:gd name="connsiteY42" fmla="*/ 417830 h 1619250"/>
                  <a:gd name="connsiteX43" fmla="*/ 673099 w 1094739"/>
                  <a:gd name="connsiteY43" fmla="*/ 359410 h 1619250"/>
                  <a:gd name="connsiteX44" fmla="*/ 723899 w 1094739"/>
                  <a:gd name="connsiteY44" fmla="*/ 397510 h 1619250"/>
                  <a:gd name="connsiteX45" fmla="*/ 734060 w 1094739"/>
                  <a:gd name="connsiteY45" fmla="*/ 336550 h 1619250"/>
                  <a:gd name="connsiteX46" fmla="*/ 759459 w 1094739"/>
                  <a:gd name="connsiteY46" fmla="*/ 344170 h 1619250"/>
                  <a:gd name="connsiteX47" fmla="*/ 716279 w 1094739"/>
                  <a:gd name="connsiteY47" fmla="*/ 552450 h 1619250"/>
                  <a:gd name="connsiteX48" fmla="*/ 866139 w 1094739"/>
                  <a:gd name="connsiteY48" fmla="*/ 382270 h 1619250"/>
                  <a:gd name="connsiteX49" fmla="*/ 853440 w 1094739"/>
                  <a:gd name="connsiteY49" fmla="*/ 295910 h 1619250"/>
                  <a:gd name="connsiteX50" fmla="*/ 888999 w 1094739"/>
                  <a:gd name="connsiteY50" fmla="*/ 382270 h 1619250"/>
                  <a:gd name="connsiteX51" fmla="*/ 949959 w 1094739"/>
                  <a:gd name="connsiteY51" fmla="*/ 359410 h 1619250"/>
                  <a:gd name="connsiteX52" fmla="*/ 965199 w 1094739"/>
                  <a:gd name="connsiteY52" fmla="*/ 242570 h 1619250"/>
                  <a:gd name="connsiteX53" fmla="*/ 970279 w 1094739"/>
                  <a:gd name="connsiteY53" fmla="*/ 356870 h 1619250"/>
                  <a:gd name="connsiteX54" fmla="*/ 1094739 w 1094739"/>
                  <a:gd name="connsiteY54" fmla="*/ 313690 h 1619250"/>
                  <a:gd name="connsiteX55" fmla="*/ 876299 w 1094739"/>
                  <a:gd name="connsiteY55" fmla="*/ 417830 h 1619250"/>
                  <a:gd name="connsiteX56" fmla="*/ 730483 w 1094739"/>
                  <a:gd name="connsiteY56" fmla="*/ 581427 h 1619250"/>
                  <a:gd name="connsiteX57" fmla="*/ 712053 w 1094739"/>
                  <a:gd name="connsiteY57" fmla="*/ 643039 h 1619250"/>
                  <a:gd name="connsiteX58" fmla="*/ 843097 w 1094739"/>
                  <a:gd name="connsiteY58" fmla="*/ 536075 h 1619250"/>
                  <a:gd name="connsiteX59" fmla="*/ 872541 w 1094739"/>
                  <a:gd name="connsiteY59" fmla="*/ 534287 h 1619250"/>
                  <a:gd name="connsiteX60" fmla="*/ 683077 w 1094739"/>
                  <a:gd name="connsiteY60" fmla="*/ 718303 h 1619250"/>
                  <a:gd name="connsiteX61" fmla="*/ 513080 w 1094739"/>
                  <a:gd name="connsiteY61" fmla="*/ 918210 h 1619250"/>
                  <a:gd name="connsiteX62" fmla="*/ 520700 w 1094739"/>
                  <a:gd name="connsiteY62" fmla="*/ 1261110 h 1619250"/>
                  <a:gd name="connsiteX63" fmla="*/ 520700 w 1094739"/>
                  <a:gd name="connsiteY63" fmla="*/ 1619250 h 1619250"/>
                  <a:gd name="connsiteX64" fmla="*/ 337820 w 1094739"/>
                  <a:gd name="connsiteY64"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75920 w 1094739"/>
                  <a:gd name="connsiteY22" fmla="*/ 133350 h 1619250"/>
                  <a:gd name="connsiteX23" fmla="*/ 399262 w 1094739"/>
                  <a:gd name="connsiteY23" fmla="*/ 159548 h 1619250"/>
                  <a:gd name="connsiteX24" fmla="*/ 411479 w 1094739"/>
                  <a:gd name="connsiteY24" fmla="*/ 209550 h 1619250"/>
                  <a:gd name="connsiteX25" fmla="*/ 502919 w 1094739"/>
                  <a:gd name="connsiteY25" fmla="*/ 41910 h 1619250"/>
                  <a:gd name="connsiteX26" fmla="*/ 426719 w 1094739"/>
                  <a:gd name="connsiteY26" fmla="*/ 245110 h 1619250"/>
                  <a:gd name="connsiteX27" fmla="*/ 474980 w 1094739"/>
                  <a:gd name="connsiteY27" fmla="*/ 377190 h 1619250"/>
                  <a:gd name="connsiteX28" fmla="*/ 604519 w 1094739"/>
                  <a:gd name="connsiteY28" fmla="*/ 153670 h 1619250"/>
                  <a:gd name="connsiteX29" fmla="*/ 574040 w 1094739"/>
                  <a:gd name="connsiteY29" fmla="*/ 52070 h 1619250"/>
                  <a:gd name="connsiteX30" fmla="*/ 589279 w 1094739"/>
                  <a:gd name="connsiteY30" fmla="*/ 21590 h 1619250"/>
                  <a:gd name="connsiteX31" fmla="*/ 632459 w 1094739"/>
                  <a:gd name="connsiteY31" fmla="*/ 148590 h 1619250"/>
                  <a:gd name="connsiteX32" fmla="*/ 703579 w 1094739"/>
                  <a:gd name="connsiteY32" fmla="*/ 91440 h 1619250"/>
                  <a:gd name="connsiteX33" fmla="*/ 745489 w 1094739"/>
                  <a:gd name="connsiteY33" fmla="*/ 0 h 1619250"/>
                  <a:gd name="connsiteX34" fmla="*/ 741679 w 1094739"/>
                  <a:gd name="connsiteY34" fmla="*/ 95250 h 1619250"/>
                  <a:gd name="connsiteX35" fmla="*/ 918210 w 1094739"/>
                  <a:gd name="connsiteY35" fmla="*/ 17780 h 1619250"/>
                  <a:gd name="connsiteX36" fmla="*/ 671829 w 1094739"/>
                  <a:gd name="connsiteY36" fmla="*/ 166370 h 1619250"/>
                  <a:gd name="connsiteX37" fmla="*/ 631189 w 1094739"/>
                  <a:gd name="connsiteY37" fmla="*/ 205740 h 1619250"/>
                  <a:gd name="connsiteX38" fmla="*/ 513080 w 1094739"/>
                  <a:gd name="connsiteY38" fmla="*/ 415290 h 1619250"/>
                  <a:gd name="connsiteX39" fmla="*/ 485140 w 1094739"/>
                  <a:gd name="connsiteY39" fmla="*/ 613410 h 1619250"/>
                  <a:gd name="connsiteX40" fmla="*/ 518445 w 1094739"/>
                  <a:gd name="connsiteY40" fmla="*/ 837499 h 1619250"/>
                  <a:gd name="connsiteX41" fmla="*/ 658942 w 1094739"/>
                  <a:gd name="connsiteY41" fmla="*/ 691892 h 1619250"/>
                  <a:gd name="connsiteX42" fmla="*/ 688339 w 1094739"/>
                  <a:gd name="connsiteY42" fmla="*/ 570230 h 1619250"/>
                  <a:gd name="connsiteX43" fmla="*/ 721359 w 1094739"/>
                  <a:gd name="connsiteY43" fmla="*/ 417830 h 1619250"/>
                  <a:gd name="connsiteX44" fmla="*/ 673099 w 1094739"/>
                  <a:gd name="connsiteY44" fmla="*/ 359410 h 1619250"/>
                  <a:gd name="connsiteX45" fmla="*/ 723899 w 1094739"/>
                  <a:gd name="connsiteY45" fmla="*/ 397510 h 1619250"/>
                  <a:gd name="connsiteX46" fmla="*/ 734060 w 1094739"/>
                  <a:gd name="connsiteY46" fmla="*/ 336550 h 1619250"/>
                  <a:gd name="connsiteX47" fmla="*/ 759459 w 1094739"/>
                  <a:gd name="connsiteY47" fmla="*/ 344170 h 1619250"/>
                  <a:gd name="connsiteX48" fmla="*/ 716279 w 1094739"/>
                  <a:gd name="connsiteY48" fmla="*/ 552450 h 1619250"/>
                  <a:gd name="connsiteX49" fmla="*/ 866139 w 1094739"/>
                  <a:gd name="connsiteY49" fmla="*/ 382270 h 1619250"/>
                  <a:gd name="connsiteX50" fmla="*/ 853440 w 1094739"/>
                  <a:gd name="connsiteY50" fmla="*/ 295910 h 1619250"/>
                  <a:gd name="connsiteX51" fmla="*/ 888999 w 1094739"/>
                  <a:gd name="connsiteY51" fmla="*/ 382270 h 1619250"/>
                  <a:gd name="connsiteX52" fmla="*/ 949959 w 1094739"/>
                  <a:gd name="connsiteY52" fmla="*/ 359410 h 1619250"/>
                  <a:gd name="connsiteX53" fmla="*/ 965199 w 1094739"/>
                  <a:gd name="connsiteY53" fmla="*/ 242570 h 1619250"/>
                  <a:gd name="connsiteX54" fmla="*/ 970279 w 1094739"/>
                  <a:gd name="connsiteY54" fmla="*/ 356870 h 1619250"/>
                  <a:gd name="connsiteX55" fmla="*/ 1094739 w 1094739"/>
                  <a:gd name="connsiteY55" fmla="*/ 313690 h 1619250"/>
                  <a:gd name="connsiteX56" fmla="*/ 876299 w 1094739"/>
                  <a:gd name="connsiteY56" fmla="*/ 417830 h 1619250"/>
                  <a:gd name="connsiteX57" fmla="*/ 730483 w 1094739"/>
                  <a:gd name="connsiteY57" fmla="*/ 581427 h 1619250"/>
                  <a:gd name="connsiteX58" fmla="*/ 712053 w 1094739"/>
                  <a:gd name="connsiteY58" fmla="*/ 643039 h 1619250"/>
                  <a:gd name="connsiteX59" fmla="*/ 843097 w 1094739"/>
                  <a:gd name="connsiteY59" fmla="*/ 536075 h 1619250"/>
                  <a:gd name="connsiteX60" fmla="*/ 872541 w 1094739"/>
                  <a:gd name="connsiteY60" fmla="*/ 534287 h 1619250"/>
                  <a:gd name="connsiteX61" fmla="*/ 683077 w 1094739"/>
                  <a:gd name="connsiteY61" fmla="*/ 718303 h 1619250"/>
                  <a:gd name="connsiteX62" fmla="*/ 513080 w 1094739"/>
                  <a:gd name="connsiteY62" fmla="*/ 918210 h 1619250"/>
                  <a:gd name="connsiteX63" fmla="*/ 520700 w 1094739"/>
                  <a:gd name="connsiteY63" fmla="*/ 1261110 h 1619250"/>
                  <a:gd name="connsiteX64" fmla="*/ 520700 w 1094739"/>
                  <a:gd name="connsiteY64" fmla="*/ 1619250 h 1619250"/>
                  <a:gd name="connsiteX65" fmla="*/ 337820 w 1094739"/>
                  <a:gd name="connsiteY65" fmla="*/ 1619250 h 1619250"/>
                  <a:gd name="connsiteX0" fmla="*/ 337820 w 1094739"/>
                  <a:gd name="connsiteY0" fmla="*/ 1619250 h 1619250"/>
                  <a:gd name="connsiteX1" fmla="*/ 396240 w 1094739"/>
                  <a:gd name="connsiteY1" fmla="*/ 1217930 h 1619250"/>
                  <a:gd name="connsiteX2" fmla="*/ 421640 w 1094739"/>
                  <a:gd name="connsiteY2" fmla="*/ 933450 h 1619250"/>
                  <a:gd name="connsiteX3" fmla="*/ 414020 w 1094739"/>
                  <a:gd name="connsiteY3" fmla="*/ 697230 h 1619250"/>
                  <a:gd name="connsiteX4" fmla="*/ 147320 w 1094739"/>
                  <a:gd name="connsiteY4" fmla="*/ 544830 h 1619250"/>
                  <a:gd name="connsiteX5" fmla="*/ 96520 w 1094739"/>
                  <a:gd name="connsiteY5" fmla="*/ 461010 h 1619250"/>
                  <a:gd name="connsiteX6" fmla="*/ 0 w 1094739"/>
                  <a:gd name="connsiteY6" fmla="*/ 382270 h 1619250"/>
                  <a:gd name="connsiteX7" fmla="*/ 96520 w 1094739"/>
                  <a:gd name="connsiteY7" fmla="*/ 425450 h 1619250"/>
                  <a:gd name="connsiteX8" fmla="*/ 109220 w 1094739"/>
                  <a:gd name="connsiteY8" fmla="*/ 300990 h 1619250"/>
                  <a:gd name="connsiteX9" fmla="*/ 119379 w 1094739"/>
                  <a:gd name="connsiteY9" fmla="*/ 438150 h 1619250"/>
                  <a:gd name="connsiteX10" fmla="*/ 177800 w 1094739"/>
                  <a:gd name="connsiteY10" fmla="*/ 527050 h 1619250"/>
                  <a:gd name="connsiteX11" fmla="*/ 256539 w 1094739"/>
                  <a:gd name="connsiteY11" fmla="*/ 560070 h 1619250"/>
                  <a:gd name="connsiteX12" fmla="*/ 259079 w 1094739"/>
                  <a:gd name="connsiteY12" fmla="*/ 412750 h 1619250"/>
                  <a:gd name="connsiteX13" fmla="*/ 210819 w 1094739"/>
                  <a:gd name="connsiteY13" fmla="*/ 318770 h 1619250"/>
                  <a:gd name="connsiteX14" fmla="*/ 271779 w 1094739"/>
                  <a:gd name="connsiteY14" fmla="*/ 387350 h 1619250"/>
                  <a:gd name="connsiteX15" fmla="*/ 327659 w 1094739"/>
                  <a:gd name="connsiteY15" fmla="*/ 306070 h 1619250"/>
                  <a:gd name="connsiteX16" fmla="*/ 279399 w 1094739"/>
                  <a:gd name="connsiteY16" fmla="*/ 417830 h 1619250"/>
                  <a:gd name="connsiteX17" fmla="*/ 284479 w 1094739"/>
                  <a:gd name="connsiteY17" fmla="*/ 570230 h 1619250"/>
                  <a:gd name="connsiteX18" fmla="*/ 406400 w 1094739"/>
                  <a:gd name="connsiteY18" fmla="*/ 621030 h 1619250"/>
                  <a:gd name="connsiteX19" fmla="*/ 444500 w 1094739"/>
                  <a:gd name="connsiteY19" fmla="*/ 400050 h 1619250"/>
                  <a:gd name="connsiteX20" fmla="*/ 365760 w 1094739"/>
                  <a:gd name="connsiteY20" fmla="*/ 148590 h 1619250"/>
                  <a:gd name="connsiteX21" fmla="*/ 299720 w 1094739"/>
                  <a:gd name="connsiteY21" fmla="*/ 82550 h 1619250"/>
                  <a:gd name="connsiteX22" fmla="*/ 347326 w 1094739"/>
                  <a:gd name="connsiteY22" fmla="*/ 111940 h 1619250"/>
                  <a:gd name="connsiteX23" fmla="*/ 375920 w 1094739"/>
                  <a:gd name="connsiteY23" fmla="*/ 133350 h 1619250"/>
                  <a:gd name="connsiteX24" fmla="*/ 399262 w 1094739"/>
                  <a:gd name="connsiteY24" fmla="*/ 159548 h 1619250"/>
                  <a:gd name="connsiteX25" fmla="*/ 411479 w 1094739"/>
                  <a:gd name="connsiteY25" fmla="*/ 209550 h 1619250"/>
                  <a:gd name="connsiteX26" fmla="*/ 502919 w 1094739"/>
                  <a:gd name="connsiteY26" fmla="*/ 41910 h 1619250"/>
                  <a:gd name="connsiteX27" fmla="*/ 426719 w 1094739"/>
                  <a:gd name="connsiteY27" fmla="*/ 245110 h 1619250"/>
                  <a:gd name="connsiteX28" fmla="*/ 474980 w 1094739"/>
                  <a:gd name="connsiteY28" fmla="*/ 377190 h 1619250"/>
                  <a:gd name="connsiteX29" fmla="*/ 604519 w 1094739"/>
                  <a:gd name="connsiteY29" fmla="*/ 153670 h 1619250"/>
                  <a:gd name="connsiteX30" fmla="*/ 574040 w 1094739"/>
                  <a:gd name="connsiteY30" fmla="*/ 52070 h 1619250"/>
                  <a:gd name="connsiteX31" fmla="*/ 589279 w 1094739"/>
                  <a:gd name="connsiteY31" fmla="*/ 21590 h 1619250"/>
                  <a:gd name="connsiteX32" fmla="*/ 632459 w 1094739"/>
                  <a:gd name="connsiteY32" fmla="*/ 148590 h 1619250"/>
                  <a:gd name="connsiteX33" fmla="*/ 703579 w 1094739"/>
                  <a:gd name="connsiteY33" fmla="*/ 91440 h 1619250"/>
                  <a:gd name="connsiteX34" fmla="*/ 745489 w 1094739"/>
                  <a:gd name="connsiteY34" fmla="*/ 0 h 1619250"/>
                  <a:gd name="connsiteX35" fmla="*/ 741679 w 1094739"/>
                  <a:gd name="connsiteY35" fmla="*/ 95250 h 1619250"/>
                  <a:gd name="connsiteX36" fmla="*/ 918210 w 1094739"/>
                  <a:gd name="connsiteY36" fmla="*/ 17780 h 1619250"/>
                  <a:gd name="connsiteX37" fmla="*/ 671829 w 1094739"/>
                  <a:gd name="connsiteY37" fmla="*/ 166370 h 1619250"/>
                  <a:gd name="connsiteX38" fmla="*/ 631189 w 1094739"/>
                  <a:gd name="connsiteY38" fmla="*/ 205740 h 1619250"/>
                  <a:gd name="connsiteX39" fmla="*/ 513080 w 1094739"/>
                  <a:gd name="connsiteY39" fmla="*/ 415290 h 1619250"/>
                  <a:gd name="connsiteX40" fmla="*/ 485140 w 1094739"/>
                  <a:gd name="connsiteY40" fmla="*/ 613410 h 1619250"/>
                  <a:gd name="connsiteX41" fmla="*/ 518445 w 1094739"/>
                  <a:gd name="connsiteY41" fmla="*/ 837499 h 1619250"/>
                  <a:gd name="connsiteX42" fmla="*/ 658942 w 1094739"/>
                  <a:gd name="connsiteY42" fmla="*/ 691892 h 1619250"/>
                  <a:gd name="connsiteX43" fmla="*/ 688339 w 1094739"/>
                  <a:gd name="connsiteY43" fmla="*/ 570230 h 1619250"/>
                  <a:gd name="connsiteX44" fmla="*/ 721359 w 1094739"/>
                  <a:gd name="connsiteY44" fmla="*/ 417830 h 1619250"/>
                  <a:gd name="connsiteX45" fmla="*/ 673099 w 1094739"/>
                  <a:gd name="connsiteY45" fmla="*/ 359410 h 1619250"/>
                  <a:gd name="connsiteX46" fmla="*/ 723899 w 1094739"/>
                  <a:gd name="connsiteY46" fmla="*/ 397510 h 1619250"/>
                  <a:gd name="connsiteX47" fmla="*/ 734060 w 1094739"/>
                  <a:gd name="connsiteY47" fmla="*/ 336550 h 1619250"/>
                  <a:gd name="connsiteX48" fmla="*/ 759459 w 1094739"/>
                  <a:gd name="connsiteY48" fmla="*/ 344170 h 1619250"/>
                  <a:gd name="connsiteX49" fmla="*/ 716279 w 1094739"/>
                  <a:gd name="connsiteY49" fmla="*/ 552450 h 1619250"/>
                  <a:gd name="connsiteX50" fmla="*/ 866139 w 1094739"/>
                  <a:gd name="connsiteY50" fmla="*/ 382270 h 1619250"/>
                  <a:gd name="connsiteX51" fmla="*/ 853440 w 1094739"/>
                  <a:gd name="connsiteY51" fmla="*/ 295910 h 1619250"/>
                  <a:gd name="connsiteX52" fmla="*/ 888999 w 1094739"/>
                  <a:gd name="connsiteY52" fmla="*/ 382270 h 1619250"/>
                  <a:gd name="connsiteX53" fmla="*/ 949959 w 1094739"/>
                  <a:gd name="connsiteY53" fmla="*/ 359410 h 1619250"/>
                  <a:gd name="connsiteX54" fmla="*/ 965199 w 1094739"/>
                  <a:gd name="connsiteY54" fmla="*/ 242570 h 1619250"/>
                  <a:gd name="connsiteX55" fmla="*/ 970279 w 1094739"/>
                  <a:gd name="connsiteY55" fmla="*/ 356870 h 1619250"/>
                  <a:gd name="connsiteX56" fmla="*/ 1094739 w 1094739"/>
                  <a:gd name="connsiteY56" fmla="*/ 313690 h 1619250"/>
                  <a:gd name="connsiteX57" fmla="*/ 876299 w 1094739"/>
                  <a:gd name="connsiteY57" fmla="*/ 417830 h 1619250"/>
                  <a:gd name="connsiteX58" fmla="*/ 730483 w 1094739"/>
                  <a:gd name="connsiteY58" fmla="*/ 581427 h 1619250"/>
                  <a:gd name="connsiteX59" fmla="*/ 712053 w 1094739"/>
                  <a:gd name="connsiteY59" fmla="*/ 643039 h 1619250"/>
                  <a:gd name="connsiteX60" fmla="*/ 843097 w 1094739"/>
                  <a:gd name="connsiteY60" fmla="*/ 536075 h 1619250"/>
                  <a:gd name="connsiteX61" fmla="*/ 872541 w 1094739"/>
                  <a:gd name="connsiteY61" fmla="*/ 534287 h 1619250"/>
                  <a:gd name="connsiteX62" fmla="*/ 683077 w 1094739"/>
                  <a:gd name="connsiteY62" fmla="*/ 718303 h 1619250"/>
                  <a:gd name="connsiteX63" fmla="*/ 513080 w 1094739"/>
                  <a:gd name="connsiteY63" fmla="*/ 918210 h 1619250"/>
                  <a:gd name="connsiteX64" fmla="*/ 520700 w 1094739"/>
                  <a:gd name="connsiteY64" fmla="*/ 1261110 h 1619250"/>
                  <a:gd name="connsiteX65" fmla="*/ 520700 w 1094739"/>
                  <a:gd name="connsiteY65" fmla="*/ 1619250 h 1619250"/>
                  <a:gd name="connsiteX66" fmla="*/ 337820 w 1094739"/>
                  <a:gd name="connsiteY66" fmla="*/ 1619250 h 1619250"/>
                  <a:gd name="connsiteX0" fmla="*/ 337820 w 1094739"/>
                  <a:gd name="connsiteY0" fmla="*/ 1628724 h 1628724"/>
                  <a:gd name="connsiteX1" fmla="*/ 396240 w 1094739"/>
                  <a:gd name="connsiteY1" fmla="*/ 1227404 h 1628724"/>
                  <a:gd name="connsiteX2" fmla="*/ 421640 w 1094739"/>
                  <a:gd name="connsiteY2" fmla="*/ 942924 h 1628724"/>
                  <a:gd name="connsiteX3" fmla="*/ 414020 w 1094739"/>
                  <a:gd name="connsiteY3" fmla="*/ 706704 h 1628724"/>
                  <a:gd name="connsiteX4" fmla="*/ 147320 w 1094739"/>
                  <a:gd name="connsiteY4" fmla="*/ 554304 h 1628724"/>
                  <a:gd name="connsiteX5" fmla="*/ 96520 w 1094739"/>
                  <a:gd name="connsiteY5" fmla="*/ 470484 h 1628724"/>
                  <a:gd name="connsiteX6" fmla="*/ 0 w 1094739"/>
                  <a:gd name="connsiteY6" fmla="*/ 391744 h 1628724"/>
                  <a:gd name="connsiteX7" fmla="*/ 96520 w 1094739"/>
                  <a:gd name="connsiteY7" fmla="*/ 434924 h 1628724"/>
                  <a:gd name="connsiteX8" fmla="*/ 109220 w 1094739"/>
                  <a:gd name="connsiteY8" fmla="*/ 310464 h 1628724"/>
                  <a:gd name="connsiteX9" fmla="*/ 119379 w 1094739"/>
                  <a:gd name="connsiteY9" fmla="*/ 447624 h 1628724"/>
                  <a:gd name="connsiteX10" fmla="*/ 177800 w 1094739"/>
                  <a:gd name="connsiteY10" fmla="*/ 536524 h 1628724"/>
                  <a:gd name="connsiteX11" fmla="*/ 256539 w 1094739"/>
                  <a:gd name="connsiteY11" fmla="*/ 569544 h 1628724"/>
                  <a:gd name="connsiteX12" fmla="*/ 259079 w 1094739"/>
                  <a:gd name="connsiteY12" fmla="*/ 422224 h 1628724"/>
                  <a:gd name="connsiteX13" fmla="*/ 210819 w 1094739"/>
                  <a:gd name="connsiteY13" fmla="*/ 328244 h 1628724"/>
                  <a:gd name="connsiteX14" fmla="*/ 271779 w 1094739"/>
                  <a:gd name="connsiteY14" fmla="*/ 396824 h 1628724"/>
                  <a:gd name="connsiteX15" fmla="*/ 327659 w 1094739"/>
                  <a:gd name="connsiteY15" fmla="*/ 315544 h 1628724"/>
                  <a:gd name="connsiteX16" fmla="*/ 279399 w 1094739"/>
                  <a:gd name="connsiteY16" fmla="*/ 427304 h 1628724"/>
                  <a:gd name="connsiteX17" fmla="*/ 284479 w 1094739"/>
                  <a:gd name="connsiteY17" fmla="*/ 579704 h 1628724"/>
                  <a:gd name="connsiteX18" fmla="*/ 406400 w 1094739"/>
                  <a:gd name="connsiteY18" fmla="*/ 630504 h 1628724"/>
                  <a:gd name="connsiteX19" fmla="*/ 444500 w 1094739"/>
                  <a:gd name="connsiteY19" fmla="*/ 409524 h 1628724"/>
                  <a:gd name="connsiteX20" fmla="*/ 365760 w 1094739"/>
                  <a:gd name="connsiteY20" fmla="*/ 158064 h 1628724"/>
                  <a:gd name="connsiteX21" fmla="*/ 299720 w 1094739"/>
                  <a:gd name="connsiteY21" fmla="*/ 92024 h 1628724"/>
                  <a:gd name="connsiteX22" fmla="*/ 347326 w 1094739"/>
                  <a:gd name="connsiteY22" fmla="*/ 121414 h 1628724"/>
                  <a:gd name="connsiteX23" fmla="*/ 410544 w 1094739"/>
                  <a:gd name="connsiteY23" fmla="*/ 0 h 1628724"/>
                  <a:gd name="connsiteX24" fmla="*/ 399262 w 1094739"/>
                  <a:gd name="connsiteY24" fmla="*/ 169022 h 1628724"/>
                  <a:gd name="connsiteX25" fmla="*/ 411479 w 1094739"/>
                  <a:gd name="connsiteY25" fmla="*/ 219024 h 1628724"/>
                  <a:gd name="connsiteX26" fmla="*/ 502919 w 1094739"/>
                  <a:gd name="connsiteY26" fmla="*/ 51384 h 1628724"/>
                  <a:gd name="connsiteX27" fmla="*/ 426719 w 1094739"/>
                  <a:gd name="connsiteY27" fmla="*/ 254584 h 1628724"/>
                  <a:gd name="connsiteX28" fmla="*/ 474980 w 1094739"/>
                  <a:gd name="connsiteY28" fmla="*/ 386664 h 1628724"/>
                  <a:gd name="connsiteX29" fmla="*/ 604519 w 1094739"/>
                  <a:gd name="connsiteY29" fmla="*/ 163144 h 1628724"/>
                  <a:gd name="connsiteX30" fmla="*/ 574040 w 1094739"/>
                  <a:gd name="connsiteY30" fmla="*/ 61544 h 1628724"/>
                  <a:gd name="connsiteX31" fmla="*/ 589279 w 1094739"/>
                  <a:gd name="connsiteY31" fmla="*/ 31064 h 1628724"/>
                  <a:gd name="connsiteX32" fmla="*/ 632459 w 1094739"/>
                  <a:gd name="connsiteY32" fmla="*/ 158064 h 1628724"/>
                  <a:gd name="connsiteX33" fmla="*/ 703579 w 1094739"/>
                  <a:gd name="connsiteY33" fmla="*/ 100914 h 1628724"/>
                  <a:gd name="connsiteX34" fmla="*/ 745489 w 1094739"/>
                  <a:gd name="connsiteY34" fmla="*/ 9474 h 1628724"/>
                  <a:gd name="connsiteX35" fmla="*/ 741679 w 1094739"/>
                  <a:gd name="connsiteY35" fmla="*/ 104724 h 1628724"/>
                  <a:gd name="connsiteX36" fmla="*/ 918210 w 1094739"/>
                  <a:gd name="connsiteY36" fmla="*/ 27254 h 1628724"/>
                  <a:gd name="connsiteX37" fmla="*/ 671829 w 1094739"/>
                  <a:gd name="connsiteY37" fmla="*/ 175844 h 1628724"/>
                  <a:gd name="connsiteX38" fmla="*/ 631189 w 1094739"/>
                  <a:gd name="connsiteY38" fmla="*/ 215214 h 1628724"/>
                  <a:gd name="connsiteX39" fmla="*/ 513080 w 1094739"/>
                  <a:gd name="connsiteY39" fmla="*/ 424764 h 1628724"/>
                  <a:gd name="connsiteX40" fmla="*/ 485140 w 1094739"/>
                  <a:gd name="connsiteY40" fmla="*/ 622884 h 1628724"/>
                  <a:gd name="connsiteX41" fmla="*/ 518445 w 1094739"/>
                  <a:gd name="connsiteY41" fmla="*/ 846973 h 1628724"/>
                  <a:gd name="connsiteX42" fmla="*/ 658942 w 1094739"/>
                  <a:gd name="connsiteY42" fmla="*/ 701366 h 1628724"/>
                  <a:gd name="connsiteX43" fmla="*/ 688339 w 1094739"/>
                  <a:gd name="connsiteY43" fmla="*/ 579704 h 1628724"/>
                  <a:gd name="connsiteX44" fmla="*/ 721359 w 1094739"/>
                  <a:gd name="connsiteY44" fmla="*/ 427304 h 1628724"/>
                  <a:gd name="connsiteX45" fmla="*/ 673099 w 1094739"/>
                  <a:gd name="connsiteY45" fmla="*/ 368884 h 1628724"/>
                  <a:gd name="connsiteX46" fmla="*/ 723899 w 1094739"/>
                  <a:gd name="connsiteY46" fmla="*/ 406984 h 1628724"/>
                  <a:gd name="connsiteX47" fmla="*/ 734060 w 1094739"/>
                  <a:gd name="connsiteY47" fmla="*/ 346024 h 1628724"/>
                  <a:gd name="connsiteX48" fmla="*/ 759459 w 1094739"/>
                  <a:gd name="connsiteY48" fmla="*/ 353644 h 1628724"/>
                  <a:gd name="connsiteX49" fmla="*/ 716279 w 1094739"/>
                  <a:gd name="connsiteY49" fmla="*/ 561924 h 1628724"/>
                  <a:gd name="connsiteX50" fmla="*/ 866139 w 1094739"/>
                  <a:gd name="connsiteY50" fmla="*/ 391744 h 1628724"/>
                  <a:gd name="connsiteX51" fmla="*/ 853440 w 1094739"/>
                  <a:gd name="connsiteY51" fmla="*/ 305384 h 1628724"/>
                  <a:gd name="connsiteX52" fmla="*/ 888999 w 1094739"/>
                  <a:gd name="connsiteY52" fmla="*/ 391744 h 1628724"/>
                  <a:gd name="connsiteX53" fmla="*/ 949959 w 1094739"/>
                  <a:gd name="connsiteY53" fmla="*/ 368884 h 1628724"/>
                  <a:gd name="connsiteX54" fmla="*/ 965199 w 1094739"/>
                  <a:gd name="connsiteY54" fmla="*/ 252044 h 1628724"/>
                  <a:gd name="connsiteX55" fmla="*/ 970279 w 1094739"/>
                  <a:gd name="connsiteY55" fmla="*/ 366344 h 1628724"/>
                  <a:gd name="connsiteX56" fmla="*/ 1094739 w 1094739"/>
                  <a:gd name="connsiteY56" fmla="*/ 323164 h 1628724"/>
                  <a:gd name="connsiteX57" fmla="*/ 876299 w 1094739"/>
                  <a:gd name="connsiteY57" fmla="*/ 427304 h 1628724"/>
                  <a:gd name="connsiteX58" fmla="*/ 730483 w 1094739"/>
                  <a:gd name="connsiteY58" fmla="*/ 590901 h 1628724"/>
                  <a:gd name="connsiteX59" fmla="*/ 712053 w 1094739"/>
                  <a:gd name="connsiteY59" fmla="*/ 652513 h 1628724"/>
                  <a:gd name="connsiteX60" fmla="*/ 843097 w 1094739"/>
                  <a:gd name="connsiteY60" fmla="*/ 545549 h 1628724"/>
                  <a:gd name="connsiteX61" fmla="*/ 872541 w 1094739"/>
                  <a:gd name="connsiteY61" fmla="*/ 543761 h 1628724"/>
                  <a:gd name="connsiteX62" fmla="*/ 683077 w 1094739"/>
                  <a:gd name="connsiteY62" fmla="*/ 727777 h 1628724"/>
                  <a:gd name="connsiteX63" fmla="*/ 513080 w 1094739"/>
                  <a:gd name="connsiteY63" fmla="*/ 927684 h 1628724"/>
                  <a:gd name="connsiteX64" fmla="*/ 520700 w 1094739"/>
                  <a:gd name="connsiteY64" fmla="*/ 1270584 h 1628724"/>
                  <a:gd name="connsiteX65" fmla="*/ 520700 w 1094739"/>
                  <a:gd name="connsiteY65" fmla="*/ 1628724 h 1628724"/>
                  <a:gd name="connsiteX66" fmla="*/ 337820 w 1094739"/>
                  <a:gd name="connsiteY66" fmla="*/ 1628724 h 1628724"/>
                  <a:gd name="connsiteX0" fmla="*/ 337820 w 1094739"/>
                  <a:gd name="connsiteY0" fmla="*/ 1628724 h 1628724"/>
                  <a:gd name="connsiteX1" fmla="*/ 396240 w 1094739"/>
                  <a:gd name="connsiteY1" fmla="*/ 1227404 h 1628724"/>
                  <a:gd name="connsiteX2" fmla="*/ 421640 w 1094739"/>
                  <a:gd name="connsiteY2" fmla="*/ 942924 h 1628724"/>
                  <a:gd name="connsiteX3" fmla="*/ 414020 w 1094739"/>
                  <a:gd name="connsiteY3" fmla="*/ 706704 h 1628724"/>
                  <a:gd name="connsiteX4" fmla="*/ 147320 w 1094739"/>
                  <a:gd name="connsiteY4" fmla="*/ 554304 h 1628724"/>
                  <a:gd name="connsiteX5" fmla="*/ 96520 w 1094739"/>
                  <a:gd name="connsiteY5" fmla="*/ 470484 h 1628724"/>
                  <a:gd name="connsiteX6" fmla="*/ 0 w 1094739"/>
                  <a:gd name="connsiteY6" fmla="*/ 391744 h 1628724"/>
                  <a:gd name="connsiteX7" fmla="*/ 96520 w 1094739"/>
                  <a:gd name="connsiteY7" fmla="*/ 434924 h 1628724"/>
                  <a:gd name="connsiteX8" fmla="*/ 109220 w 1094739"/>
                  <a:gd name="connsiteY8" fmla="*/ 310464 h 1628724"/>
                  <a:gd name="connsiteX9" fmla="*/ 119379 w 1094739"/>
                  <a:gd name="connsiteY9" fmla="*/ 447624 h 1628724"/>
                  <a:gd name="connsiteX10" fmla="*/ 177800 w 1094739"/>
                  <a:gd name="connsiteY10" fmla="*/ 536524 h 1628724"/>
                  <a:gd name="connsiteX11" fmla="*/ 256539 w 1094739"/>
                  <a:gd name="connsiteY11" fmla="*/ 569544 h 1628724"/>
                  <a:gd name="connsiteX12" fmla="*/ 259079 w 1094739"/>
                  <a:gd name="connsiteY12" fmla="*/ 422224 h 1628724"/>
                  <a:gd name="connsiteX13" fmla="*/ 210819 w 1094739"/>
                  <a:gd name="connsiteY13" fmla="*/ 328244 h 1628724"/>
                  <a:gd name="connsiteX14" fmla="*/ 271779 w 1094739"/>
                  <a:gd name="connsiteY14" fmla="*/ 396824 h 1628724"/>
                  <a:gd name="connsiteX15" fmla="*/ 327659 w 1094739"/>
                  <a:gd name="connsiteY15" fmla="*/ 315544 h 1628724"/>
                  <a:gd name="connsiteX16" fmla="*/ 279399 w 1094739"/>
                  <a:gd name="connsiteY16" fmla="*/ 427304 h 1628724"/>
                  <a:gd name="connsiteX17" fmla="*/ 284479 w 1094739"/>
                  <a:gd name="connsiteY17" fmla="*/ 579704 h 1628724"/>
                  <a:gd name="connsiteX18" fmla="*/ 406400 w 1094739"/>
                  <a:gd name="connsiteY18" fmla="*/ 630504 h 1628724"/>
                  <a:gd name="connsiteX19" fmla="*/ 444500 w 1094739"/>
                  <a:gd name="connsiteY19" fmla="*/ 409524 h 1628724"/>
                  <a:gd name="connsiteX20" fmla="*/ 365760 w 1094739"/>
                  <a:gd name="connsiteY20" fmla="*/ 158064 h 1628724"/>
                  <a:gd name="connsiteX21" fmla="*/ 299720 w 1094739"/>
                  <a:gd name="connsiteY21" fmla="*/ 92024 h 1628724"/>
                  <a:gd name="connsiteX22" fmla="*/ 390606 w 1094739"/>
                  <a:gd name="connsiteY22" fmla="*/ 164694 h 1628724"/>
                  <a:gd name="connsiteX23" fmla="*/ 410544 w 1094739"/>
                  <a:gd name="connsiteY23" fmla="*/ 0 h 1628724"/>
                  <a:gd name="connsiteX24" fmla="*/ 399262 w 1094739"/>
                  <a:gd name="connsiteY24" fmla="*/ 169022 h 1628724"/>
                  <a:gd name="connsiteX25" fmla="*/ 411479 w 1094739"/>
                  <a:gd name="connsiteY25" fmla="*/ 219024 h 1628724"/>
                  <a:gd name="connsiteX26" fmla="*/ 502919 w 1094739"/>
                  <a:gd name="connsiteY26" fmla="*/ 51384 h 1628724"/>
                  <a:gd name="connsiteX27" fmla="*/ 426719 w 1094739"/>
                  <a:gd name="connsiteY27" fmla="*/ 254584 h 1628724"/>
                  <a:gd name="connsiteX28" fmla="*/ 474980 w 1094739"/>
                  <a:gd name="connsiteY28" fmla="*/ 386664 h 1628724"/>
                  <a:gd name="connsiteX29" fmla="*/ 604519 w 1094739"/>
                  <a:gd name="connsiteY29" fmla="*/ 163144 h 1628724"/>
                  <a:gd name="connsiteX30" fmla="*/ 574040 w 1094739"/>
                  <a:gd name="connsiteY30" fmla="*/ 61544 h 1628724"/>
                  <a:gd name="connsiteX31" fmla="*/ 589279 w 1094739"/>
                  <a:gd name="connsiteY31" fmla="*/ 31064 h 1628724"/>
                  <a:gd name="connsiteX32" fmla="*/ 632459 w 1094739"/>
                  <a:gd name="connsiteY32" fmla="*/ 158064 h 1628724"/>
                  <a:gd name="connsiteX33" fmla="*/ 703579 w 1094739"/>
                  <a:gd name="connsiteY33" fmla="*/ 100914 h 1628724"/>
                  <a:gd name="connsiteX34" fmla="*/ 745489 w 1094739"/>
                  <a:gd name="connsiteY34" fmla="*/ 9474 h 1628724"/>
                  <a:gd name="connsiteX35" fmla="*/ 741679 w 1094739"/>
                  <a:gd name="connsiteY35" fmla="*/ 104724 h 1628724"/>
                  <a:gd name="connsiteX36" fmla="*/ 918210 w 1094739"/>
                  <a:gd name="connsiteY36" fmla="*/ 27254 h 1628724"/>
                  <a:gd name="connsiteX37" fmla="*/ 671829 w 1094739"/>
                  <a:gd name="connsiteY37" fmla="*/ 175844 h 1628724"/>
                  <a:gd name="connsiteX38" fmla="*/ 631189 w 1094739"/>
                  <a:gd name="connsiteY38" fmla="*/ 215214 h 1628724"/>
                  <a:gd name="connsiteX39" fmla="*/ 513080 w 1094739"/>
                  <a:gd name="connsiteY39" fmla="*/ 424764 h 1628724"/>
                  <a:gd name="connsiteX40" fmla="*/ 485140 w 1094739"/>
                  <a:gd name="connsiteY40" fmla="*/ 622884 h 1628724"/>
                  <a:gd name="connsiteX41" fmla="*/ 518445 w 1094739"/>
                  <a:gd name="connsiteY41" fmla="*/ 846973 h 1628724"/>
                  <a:gd name="connsiteX42" fmla="*/ 658942 w 1094739"/>
                  <a:gd name="connsiteY42" fmla="*/ 701366 h 1628724"/>
                  <a:gd name="connsiteX43" fmla="*/ 688339 w 1094739"/>
                  <a:gd name="connsiteY43" fmla="*/ 579704 h 1628724"/>
                  <a:gd name="connsiteX44" fmla="*/ 721359 w 1094739"/>
                  <a:gd name="connsiteY44" fmla="*/ 427304 h 1628724"/>
                  <a:gd name="connsiteX45" fmla="*/ 673099 w 1094739"/>
                  <a:gd name="connsiteY45" fmla="*/ 368884 h 1628724"/>
                  <a:gd name="connsiteX46" fmla="*/ 723899 w 1094739"/>
                  <a:gd name="connsiteY46" fmla="*/ 406984 h 1628724"/>
                  <a:gd name="connsiteX47" fmla="*/ 734060 w 1094739"/>
                  <a:gd name="connsiteY47" fmla="*/ 346024 h 1628724"/>
                  <a:gd name="connsiteX48" fmla="*/ 759459 w 1094739"/>
                  <a:gd name="connsiteY48" fmla="*/ 353644 h 1628724"/>
                  <a:gd name="connsiteX49" fmla="*/ 716279 w 1094739"/>
                  <a:gd name="connsiteY49" fmla="*/ 561924 h 1628724"/>
                  <a:gd name="connsiteX50" fmla="*/ 866139 w 1094739"/>
                  <a:gd name="connsiteY50" fmla="*/ 391744 h 1628724"/>
                  <a:gd name="connsiteX51" fmla="*/ 853440 w 1094739"/>
                  <a:gd name="connsiteY51" fmla="*/ 305384 h 1628724"/>
                  <a:gd name="connsiteX52" fmla="*/ 888999 w 1094739"/>
                  <a:gd name="connsiteY52" fmla="*/ 391744 h 1628724"/>
                  <a:gd name="connsiteX53" fmla="*/ 949959 w 1094739"/>
                  <a:gd name="connsiteY53" fmla="*/ 368884 h 1628724"/>
                  <a:gd name="connsiteX54" fmla="*/ 965199 w 1094739"/>
                  <a:gd name="connsiteY54" fmla="*/ 252044 h 1628724"/>
                  <a:gd name="connsiteX55" fmla="*/ 970279 w 1094739"/>
                  <a:gd name="connsiteY55" fmla="*/ 366344 h 1628724"/>
                  <a:gd name="connsiteX56" fmla="*/ 1094739 w 1094739"/>
                  <a:gd name="connsiteY56" fmla="*/ 323164 h 1628724"/>
                  <a:gd name="connsiteX57" fmla="*/ 876299 w 1094739"/>
                  <a:gd name="connsiteY57" fmla="*/ 427304 h 1628724"/>
                  <a:gd name="connsiteX58" fmla="*/ 730483 w 1094739"/>
                  <a:gd name="connsiteY58" fmla="*/ 590901 h 1628724"/>
                  <a:gd name="connsiteX59" fmla="*/ 712053 w 1094739"/>
                  <a:gd name="connsiteY59" fmla="*/ 652513 h 1628724"/>
                  <a:gd name="connsiteX60" fmla="*/ 843097 w 1094739"/>
                  <a:gd name="connsiteY60" fmla="*/ 545549 h 1628724"/>
                  <a:gd name="connsiteX61" fmla="*/ 872541 w 1094739"/>
                  <a:gd name="connsiteY61" fmla="*/ 543761 h 1628724"/>
                  <a:gd name="connsiteX62" fmla="*/ 683077 w 1094739"/>
                  <a:gd name="connsiteY62" fmla="*/ 727777 h 1628724"/>
                  <a:gd name="connsiteX63" fmla="*/ 513080 w 1094739"/>
                  <a:gd name="connsiteY63" fmla="*/ 927684 h 1628724"/>
                  <a:gd name="connsiteX64" fmla="*/ 520700 w 1094739"/>
                  <a:gd name="connsiteY64" fmla="*/ 1270584 h 1628724"/>
                  <a:gd name="connsiteX65" fmla="*/ 520700 w 1094739"/>
                  <a:gd name="connsiteY65" fmla="*/ 1628724 h 1628724"/>
                  <a:gd name="connsiteX66" fmla="*/ 337820 w 1094739"/>
                  <a:gd name="connsiteY66" fmla="*/ 1628724 h 1628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094739" h="1628724">
                    <a:moveTo>
                      <a:pt x="337820" y="1628724"/>
                    </a:moveTo>
                    <a:lnTo>
                      <a:pt x="396240" y="1227404"/>
                    </a:lnTo>
                    <a:lnTo>
                      <a:pt x="421640" y="942924"/>
                    </a:lnTo>
                    <a:lnTo>
                      <a:pt x="414020" y="706704"/>
                    </a:lnTo>
                    <a:lnTo>
                      <a:pt x="147320" y="554304"/>
                    </a:lnTo>
                    <a:lnTo>
                      <a:pt x="96520" y="470484"/>
                    </a:lnTo>
                    <a:lnTo>
                      <a:pt x="0" y="391744"/>
                    </a:lnTo>
                    <a:lnTo>
                      <a:pt x="96520" y="434924"/>
                    </a:lnTo>
                    <a:lnTo>
                      <a:pt x="109220" y="310464"/>
                    </a:lnTo>
                    <a:cubicBezTo>
                      <a:pt x="110066" y="358724"/>
                      <a:pt x="118533" y="399364"/>
                      <a:pt x="119379" y="447624"/>
                    </a:cubicBezTo>
                    <a:lnTo>
                      <a:pt x="177800" y="536524"/>
                    </a:lnTo>
                    <a:lnTo>
                      <a:pt x="256539" y="569544"/>
                    </a:lnTo>
                    <a:cubicBezTo>
                      <a:pt x="257386" y="525517"/>
                      <a:pt x="258232" y="466251"/>
                      <a:pt x="259079" y="422224"/>
                    </a:cubicBezTo>
                    <a:lnTo>
                      <a:pt x="210819" y="328244"/>
                    </a:lnTo>
                    <a:lnTo>
                      <a:pt x="271779" y="396824"/>
                    </a:lnTo>
                    <a:lnTo>
                      <a:pt x="327659" y="315544"/>
                    </a:lnTo>
                    <a:lnTo>
                      <a:pt x="279399" y="427304"/>
                    </a:lnTo>
                    <a:lnTo>
                      <a:pt x="284479" y="579704"/>
                    </a:lnTo>
                    <a:lnTo>
                      <a:pt x="406400" y="630504"/>
                    </a:lnTo>
                    <a:lnTo>
                      <a:pt x="444500" y="409524"/>
                    </a:lnTo>
                    <a:lnTo>
                      <a:pt x="365760" y="158064"/>
                    </a:lnTo>
                    <a:lnTo>
                      <a:pt x="299720" y="92024"/>
                    </a:lnTo>
                    <a:lnTo>
                      <a:pt x="390606" y="164694"/>
                    </a:lnTo>
                    <a:lnTo>
                      <a:pt x="410544" y="0"/>
                    </a:lnTo>
                    <a:lnTo>
                      <a:pt x="399262" y="169022"/>
                    </a:lnTo>
                    <a:lnTo>
                      <a:pt x="411479" y="219024"/>
                    </a:lnTo>
                    <a:lnTo>
                      <a:pt x="502919" y="51384"/>
                    </a:lnTo>
                    <a:lnTo>
                      <a:pt x="426719" y="254584"/>
                    </a:lnTo>
                    <a:lnTo>
                      <a:pt x="474980" y="386664"/>
                    </a:lnTo>
                    <a:lnTo>
                      <a:pt x="604519" y="163144"/>
                    </a:lnTo>
                    <a:lnTo>
                      <a:pt x="574040" y="61544"/>
                    </a:lnTo>
                    <a:lnTo>
                      <a:pt x="589279" y="31064"/>
                    </a:lnTo>
                    <a:lnTo>
                      <a:pt x="632459" y="158064"/>
                    </a:lnTo>
                    <a:lnTo>
                      <a:pt x="703579" y="100914"/>
                    </a:lnTo>
                    <a:lnTo>
                      <a:pt x="745489" y="9474"/>
                    </a:lnTo>
                    <a:lnTo>
                      <a:pt x="741679" y="104724"/>
                    </a:lnTo>
                    <a:lnTo>
                      <a:pt x="918210" y="27254"/>
                    </a:lnTo>
                    <a:lnTo>
                      <a:pt x="671829" y="175844"/>
                    </a:lnTo>
                    <a:lnTo>
                      <a:pt x="631189" y="215214"/>
                    </a:lnTo>
                    <a:lnTo>
                      <a:pt x="513080" y="424764"/>
                    </a:lnTo>
                    <a:lnTo>
                      <a:pt x="485140" y="622884"/>
                    </a:lnTo>
                    <a:lnTo>
                      <a:pt x="518445" y="846973"/>
                    </a:lnTo>
                    <a:lnTo>
                      <a:pt x="658942" y="701366"/>
                    </a:lnTo>
                    <a:lnTo>
                      <a:pt x="688339" y="579704"/>
                    </a:lnTo>
                    <a:lnTo>
                      <a:pt x="721359" y="427304"/>
                    </a:lnTo>
                    <a:lnTo>
                      <a:pt x="673099" y="368884"/>
                    </a:lnTo>
                    <a:lnTo>
                      <a:pt x="723899" y="406984"/>
                    </a:lnTo>
                    <a:lnTo>
                      <a:pt x="734060" y="346024"/>
                    </a:lnTo>
                    <a:lnTo>
                      <a:pt x="759459" y="353644"/>
                    </a:lnTo>
                    <a:lnTo>
                      <a:pt x="716279" y="561924"/>
                    </a:lnTo>
                    <a:lnTo>
                      <a:pt x="866139" y="391744"/>
                    </a:lnTo>
                    <a:lnTo>
                      <a:pt x="853440" y="305384"/>
                    </a:lnTo>
                    <a:lnTo>
                      <a:pt x="888999" y="391744"/>
                    </a:lnTo>
                    <a:lnTo>
                      <a:pt x="949959" y="368884"/>
                    </a:lnTo>
                    <a:lnTo>
                      <a:pt x="965199" y="252044"/>
                    </a:lnTo>
                    <a:lnTo>
                      <a:pt x="970279" y="366344"/>
                    </a:lnTo>
                    <a:lnTo>
                      <a:pt x="1094739" y="323164"/>
                    </a:lnTo>
                    <a:lnTo>
                      <a:pt x="876299" y="427304"/>
                    </a:lnTo>
                    <a:lnTo>
                      <a:pt x="730483" y="590901"/>
                    </a:lnTo>
                    <a:lnTo>
                      <a:pt x="712053" y="652513"/>
                    </a:lnTo>
                    <a:cubicBezTo>
                      <a:pt x="750153" y="642353"/>
                      <a:pt x="816349" y="563674"/>
                      <a:pt x="843097" y="545549"/>
                    </a:cubicBezTo>
                    <a:cubicBezTo>
                      <a:pt x="869845" y="527424"/>
                      <a:pt x="899211" y="529791"/>
                      <a:pt x="872541" y="543761"/>
                    </a:cubicBezTo>
                    <a:lnTo>
                      <a:pt x="683077" y="727777"/>
                    </a:lnTo>
                    <a:lnTo>
                      <a:pt x="513080" y="927684"/>
                    </a:lnTo>
                    <a:lnTo>
                      <a:pt x="520700" y="1270584"/>
                    </a:lnTo>
                    <a:lnTo>
                      <a:pt x="520700" y="1628724"/>
                    </a:lnTo>
                    <a:lnTo>
                      <a:pt x="337820" y="1628724"/>
                    </a:lnTo>
                    <a:close/>
                  </a:path>
                </a:pathLst>
              </a:custGeom>
              <a:grpFill/>
              <a:ln w="63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sp>
        <p:nvSpPr>
          <p:cNvPr id="827" name="Text Placeholder 9"/>
          <p:cNvSpPr txBox="1">
            <a:spLocks/>
          </p:cNvSpPr>
          <p:nvPr/>
        </p:nvSpPr>
        <p:spPr bwMode="gray">
          <a:xfrm>
            <a:off x="332583" y="5395131"/>
            <a:ext cx="11523774" cy="527831"/>
          </a:xfrm>
          <a:prstGeom prst="rect">
            <a:avLst/>
          </a:prstGeom>
          <a:solidFill>
            <a:schemeClr val="bg1"/>
          </a:solidFill>
        </p:spPr>
        <p:txBody>
          <a:bodyPr vert="horz" lIns="72000" tIns="72000" rIns="72000" bIns="72000" rtlCol="0" anchor="ctr">
            <a:noAutofit/>
          </a:bodyPr>
          <a:lstStyle>
            <a:defPPr>
              <a:defRPr lang="en-US"/>
            </a:defPPr>
            <a:lvl1pPr marL="0" indent="0" algn="ctr" defTabSz="914400" rtl="0" eaLnBrk="1" latinLnBrk="0" hangingPunct="1">
              <a:buFont typeface="Arial" panose="020B0604020202020204" pitchFamily="34" charset="0"/>
              <a:buNone/>
              <a:defRPr sz="1400" kern="1200">
                <a:solidFill>
                  <a:schemeClr val="bg1"/>
                </a:solidFill>
                <a:latin typeface="+mn-lt"/>
                <a:ea typeface="+mn-ea"/>
                <a:cs typeface="+mn-cs"/>
              </a:defRPr>
            </a:lvl1pPr>
            <a:lvl2pPr marL="0" indent="0" algn="ctr" defTabSz="914400" rtl="0" eaLnBrk="1" latinLnBrk="0" hangingPunct="1">
              <a:buNone/>
              <a:defRPr sz="1400" kern="1200">
                <a:solidFill>
                  <a:schemeClr val="bg1"/>
                </a:solidFill>
                <a:latin typeface="+mn-lt"/>
                <a:ea typeface="+mn-ea"/>
                <a:cs typeface="+mn-cs"/>
              </a:defRPr>
            </a:lvl2pPr>
            <a:lvl3pPr marL="0" indent="0" algn="ctr" defTabSz="914400" rtl="0" eaLnBrk="1" latinLnBrk="0" hangingPunct="1">
              <a:buNone/>
              <a:defRPr sz="1400" kern="1200">
                <a:solidFill>
                  <a:schemeClr val="bg1"/>
                </a:solidFill>
                <a:latin typeface="+mn-lt"/>
                <a:ea typeface="+mn-ea"/>
                <a:cs typeface="+mn-cs"/>
              </a:defRPr>
            </a:lvl3pPr>
            <a:lvl4pPr marL="0" indent="0" algn="ctr" defTabSz="914400" rtl="0" eaLnBrk="1" latinLnBrk="0" hangingPunct="1">
              <a:buNone/>
              <a:defRPr sz="1400" kern="1200">
                <a:solidFill>
                  <a:schemeClr val="bg1"/>
                </a:solidFill>
                <a:latin typeface="+mn-lt"/>
                <a:ea typeface="+mn-ea"/>
                <a:cs typeface="+mn-cs"/>
              </a:defRPr>
            </a:lvl4pPr>
            <a:lvl5pPr marL="0" indent="0" algn="ctr" defTabSz="914400" rtl="0" eaLnBrk="1" latinLnBrk="0" hangingPunct="1">
              <a:buNone/>
              <a:defRPr sz="1400" kern="1200">
                <a:solidFill>
                  <a:schemeClr val="bg1"/>
                </a:solidFill>
                <a:latin typeface="+mn-lt"/>
                <a:ea typeface="+mn-ea"/>
                <a:cs typeface="+mn-cs"/>
              </a:defRPr>
            </a:lvl5pPr>
            <a:lvl6pPr marL="0" indent="0" algn="ctr" defTabSz="914400" rtl="0" eaLnBrk="1" latinLnBrk="0" hangingPunct="1">
              <a:buNone/>
              <a:defRPr sz="1400" kern="1200">
                <a:solidFill>
                  <a:schemeClr val="bg1"/>
                </a:solidFill>
                <a:latin typeface="+mn-lt"/>
                <a:ea typeface="+mn-ea"/>
                <a:cs typeface="+mn-cs"/>
              </a:defRPr>
            </a:lvl6pPr>
            <a:lvl7pPr marL="0" indent="0" algn="ctr" defTabSz="914400" rtl="0" eaLnBrk="1" latinLnBrk="0" hangingPunct="1">
              <a:buNone/>
              <a:defRPr sz="1400" kern="1200">
                <a:solidFill>
                  <a:schemeClr val="bg1"/>
                </a:solidFill>
                <a:latin typeface="+mn-lt"/>
                <a:ea typeface="+mn-ea"/>
                <a:cs typeface="+mn-cs"/>
              </a:defRPr>
            </a:lvl7pPr>
            <a:lvl8pPr marL="0" indent="0" algn="ctr" defTabSz="914400" rtl="0" eaLnBrk="1" latinLnBrk="0" hangingPunct="1">
              <a:buNone/>
              <a:defRPr sz="1400" kern="1200">
                <a:solidFill>
                  <a:schemeClr val="bg1"/>
                </a:solidFill>
                <a:latin typeface="+mn-lt"/>
                <a:ea typeface="+mn-ea"/>
                <a:cs typeface="+mn-cs"/>
              </a:defRPr>
            </a:lvl8pPr>
            <a:lvl9pPr marL="0" indent="0" algn="ctr" defTabSz="914400" rtl="0" eaLnBrk="1" latinLnBrk="0" hangingPunct="1">
              <a:buNone/>
              <a:defRPr sz="1400" kern="1200">
                <a:solidFill>
                  <a:schemeClr val="bg1"/>
                </a:solidFill>
                <a:latin typeface="+mn-lt"/>
                <a:ea typeface="+mn-ea"/>
                <a:cs typeface="+mn-cs"/>
              </a:defRPr>
            </a:lvl9pPr>
          </a:lstStyle>
          <a:p>
            <a:endParaRPr lang="en-US" sz="1600" b="1" dirty="0"/>
          </a:p>
        </p:txBody>
      </p:sp>
      <p:sp>
        <p:nvSpPr>
          <p:cNvPr id="34" name="Text Placeholder 9"/>
          <p:cNvSpPr txBox="1">
            <a:spLocks/>
          </p:cNvSpPr>
          <p:nvPr/>
        </p:nvSpPr>
        <p:spPr bwMode="gray">
          <a:xfrm>
            <a:off x="332583" y="5455822"/>
            <a:ext cx="11523774" cy="460800"/>
          </a:xfrm>
          <a:prstGeom prst="rect">
            <a:avLst/>
          </a:prstGeom>
          <a:solidFill>
            <a:schemeClr val="bg1">
              <a:lumMod val="65000"/>
            </a:schemeClr>
          </a:solidFill>
        </p:spPr>
        <p:txBody>
          <a:bodyPr vert="horz" lIns="72000" tIns="72000" rIns="72000" bIns="72000" rtlCol="0" anchor="ctr">
            <a:noAutofit/>
          </a:bodyPr>
          <a:lstStyle>
            <a:defPPr>
              <a:defRPr lang="en-US"/>
            </a:defPPr>
            <a:lvl1pPr marL="0" indent="0" algn="ctr" defTabSz="914400" rtl="0" eaLnBrk="1" latinLnBrk="0" hangingPunct="1">
              <a:buFont typeface="Arial" panose="020B0604020202020204" pitchFamily="34" charset="0"/>
              <a:buNone/>
              <a:defRPr sz="1400" kern="1200">
                <a:solidFill>
                  <a:schemeClr val="bg1"/>
                </a:solidFill>
                <a:latin typeface="+mn-lt"/>
                <a:ea typeface="+mn-ea"/>
                <a:cs typeface="+mn-cs"/>
              </a:defRPr>
            </a:lvl1pPr>
            <a:lvl2pPr marL="0" indent="0" algn="ctr" defTabSz="914400" rtl="0" eaLnBrk="1" latinLnBrk="0" hangingPunct="1">
              <a:buNone/>
              <a:defRPr sz="1400" kern="1200">
                <a:solidFill>
                  <a:schemeClr val="bg1"/>
                </a:solidFill>
                <a:latin typeface="+mn-lt"/>
                <a:ea typeface="+mn-ea"/>
                <a:cs typeface="+mn-cs"/>
              </a:defRPr>
            </a:lvl2pPr>
            <a:lvl3pPr marL="0" indent="0" algn="ctr" defTabSz="914400" rtl="0" eaLnBrk="1" latinLnBrk="0" hangingPunct="1">
              <a:buNone/>
              <a:defRPr sz="1400" kern="1200">
                <a:solidFill>
                  <a:schemeClr val="bg1"/>
                </a:solidFill>
                <a:latin typeface="+mn-lt"/>
                <a:ea typeface="+mn-ea"/>
                <a:cs typeface="+mn-cs"/>
              </a:defRPr>
            </a:lvl3pPr>
            <a:lvl4pPr marL="0" indent="0" algn="ctr" defTabSz="914400" rtl="0" eaLnBrk="1" latinLnBrk="0" hangingPunct="1">
              <a:buNone/>
              <a:defRPr sz="1400" kern="1200">
                <a:solidFill>
                  <a:schemeClr val="bg1"/>
                </a:solidFill>
                <a:latin typeface="+mn-lt"/>
                <a:ea typeface="+mn-ea"/>
                <a:cs typeface="+mn-cs"/>
              </a:defRPr>
            </a:lvl4pPr>
            <a:lvl5pPr marL="0" indent="0" algn="ctr" defTabSz="914400" rtl="0" eaLnBrk="1" latinLnBrk="0" hangingPunct="1">
              <a:buNone/>
              <a:defRPr sz="1400" kern="1200">
                <a:solidFill>
                  <a:schemeClr val="bg1"/>
                </a:solidFill>
                <a:latin typeface="+mn-lt"/>
                <a:ea typeface="+mn-ea"/>
                <a:cs typeface="+mn-cs"/>
              </a:defRPr>
            </a:lvl5pPr>
            <a:lvl6pPr marL="0" indent="0" algn="ctr" defTabSz="914400" rtl="0" eaLnBrk="1" latinLnBrk="0" hangingPunct="1">
              <a:buNone/>
              <a:defRPr sz="1400" kern="1200">
                <a:solidFill>
                  <a:schemeClr val="bg1"/>
                </a:solidFill>
                <a:latin typeface="+mn-lt"/>
                <a:ea typeface="+mn-ea"/>
                <a:cs typeface="+mn-cs"/>
              </a:defRPr>
            </a:lvl6pPr>
            <a:lvl7pPr marL="0" indent="0" algn="ctr" defTabSz="914400" rtl="0" eaLnBrk="1" latinLnBrk="0" hangingPunct="1">
              <a:buNone/>
              <a:defRPr sz="1400" kern="1200">
                <a:solidFill>
                  <a:schemeClr val="bg1"/>
                </a:solidFill>
                <a:latin typeface="+mn-lt"/>
                <a:ea typeface="+mn-ea"/>
                <a:cs typeface="+mn-cs"/>
              </a:defRPr>
            </a:lvl7pPr>
            <a:lvl8pPr marL="0" indent="0" algn="ctr" defTabSz="914400" rtl="0" eaLnBrk="1" latinLnBrk="0" hangingPunct="1">
              <a:buNone/>
              <a:defRPr sz="1400" kern="1200">
                <a:solidFill>
                  <a:schemeClr val="bg1"/>
                </a:solidFill>
                <a:latin typeface="+mn-lt"/>
                <a:ea typeface="+mn-ea"/>
                <a:cs typeface="+mn-cs"/>
              </a:defRPr>
            </a:lvl8pPr>
            <a:lvl9pPr marL="0" indent="0" algn="ctr" defTabSz="914400" rtl="0" eaLnBrk="1" latinLnBrk="0" hangingPunct="1">
              <a:buNone/>
              <a:defRPr sz="1400" kern="1200">
                <a:solidFill>
                  <a:schemeClr val="bg1"/>
                </a:solidFill>
                <a:latin typeface="+mn-lt"/>
                <a:ea typeface="+mn-ea"/>
                <a:cs typeface="+mn-cs"/>
              </a:defRPr>
            </a:lvl9pPr>
          </a:lstStyle>
          <a:p>
            <a:r>
              <a:rPr lang="en-US" sz="1600" b="1" dirty="0"/>
              <a:t>Single online entry point to services based on your needs</a:t>
            </a:r>
          </a:p>
        </p:txBody>
      </p:sp>
      <p:grpSp>
        <p:nvGrpSpPr>
          <p:cNvPr id="22" name="Group 21"/>
          <p:cNvGrpSpPr/>
          <p:nvPr/>
        </p:nvGrpSpPr>
        <p:grpSpPr bwMode="gray">
          <a:xfrm>
            <a:off x="9307347" y="765441"/>
            <a:ext cx="2545917" cy="622451"/>
            <a:chOff x="9320646" y="682313"/>
            <a:chExt cx="2545917" cy="622451"/>
          </a:xfrm>
        </p:grpSpPr>
        <p:sp>
          <p:nvSpPr>
            <p:cNvPr id="823" name="Subtitle 1"/>
            <p:cNvSpPr txBox="1">
              <a:spLocks/>
            </p:cNvSpPr>
            <p:nvPr/>
          </p:nvSpPr>
          <p:spPr bwMode="gray">
            <a:xfrm>
              <a:off x="9320646" y="746457"/>
              <a:ext cx="1923097" cy="504000"/>
            </a:xfrm>
            <a:prstGeom prst="rect">
              <a:avLst/>
            </a:prstGeom>
          </p:spPr>
          <p:txBody>
            <a:bodyPr vert="horz" lIns="0" tIns="0" rIns="72000" bIns="0" rtlCol="0" anchor="ctr" anchorCtr="0">
              <a:noAutofit/>
            </a:bodyPr>
            <a:lstStyle>
              <a:lvl1pPr marL="0" indent="0" algn="l" defTabSz="914491" rtl="0" eaLnBrk="1" latinLnBrk="0" hangingPunct="1">
                <a:spcBef>
                  <a:spcPts val="600"/>
                </a:spcBef>
                <a:buFont typeface="Arial" panose="020B0604020202020204" pitchFamily="34" charset="0"/>
                <a:buNone/>
                <a:defRPr sz="1800" kern="1200">
                  <a:solidFill>
                    <a:schemeClr val="tx1"/>
                  </a:solidFill>
                  <a:latin typeface="+mn-lt"/>
                  <a:ea typeface="+mn-ea"/>
                  <a:cs typeface="+mn-cs"/>
                </a:defRPr>
              </a:lvl1pPr>
              <a:lvl2pPr marL="0" indent="0" algn="l" defTabSz="914491" rtl="0" eaLnBrk="1" latinLnBrk="0" hangingPunct="1">
                <a:spcBef>
                  <a:spcPts val="600"/>
                </a:spcBef>
                <a:buFont typeface="ABBvoiceOffice" panose="020D0603020503020204" pitchFamily="34" charset="0"/>
                <a:buNone/>
                <a:defRPr sz="2000" kern="1200">
                  <a:solidFill>
                    <a:schemeClr val="tx1"/>
                  </a:solidFill>
                  <a:latin typeface="+mn-lt"/>
                  <a:ea typeface="+mn-ea"/>
                  <a:cs typeface="+mn-cs"/>
                </a:defRPr>
              </a:lvl2pPr>
              <a:lvl3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3pPr>
              <a:lvl4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4pPr>
              <a:lvl5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5pPr>
              <a:lvl6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6pPr>
              <a:lvl7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7pPr>
              <a:lvl8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8pPr>
              <a:lvl9pPr marL="0" indent="0" algn="l" defTabSz="914491" rtl="0" eaLnBrk="1" latinLnBrk="0" hangingPunct="1">
                <a:spcBef>
                  <a:spcPts val="600"/>
                </a:spcBef>
                <a:buFont typeface="Arial" panose="020B0604020202020204" pitchFamily="34" charset="0"/>
                <a:buNone/>
                <a:defRPr sz="2000" kern="1200">
                  <a:solidFill>
                    <a:schemeClr val="tx1"/>
                  </a:solidFill>
                  <a:latin typeface="+mn-lt"/>
                  <a:ea typeface="+mn-ea"/>
                  <a:cs typeface="+mn-cs"/>
                </a:defRPr>
              </a:lvl9pPr>
            </a:lstStyle>
            <a:p>
              <a:pPr algn="r"/>
              <a:r>
                <a:rPr lang="en-US" dirty="0"/>
                <a:t>Click for video </a:t>
              </a:r>
              <a:br>
                <a:rPr lang="en-US" dirty="0"/>
              </a:br>
              <a:r>
                <a:rPr lang="en-US" dirty="0"/>
                <a:t>introduction</a:t>
              </a:r>
            </a:p>
          </p:txBody>
        </p:sp>
        <p:grpSp>
          <p:nvGrpSpPr>
            <p:cNvPr id="19" name="Group 18"/>
            <p:cNvGrpSpPr/>
            <p:nvPr/>
          </p:nvGrpSpPr>
          <p:grpSpPr bwMode="gray">
            <a:xfrm>
              <a:off x="11243743" y="692150"/>
              <a:ext cx="612614" cy="612614"/>
              <a:chOff x="3388237" y="2139918"/>
              <a:chExt cx="929042" cy="929042"/>
            </a:xfrm>
          </p:grpSpPr>
          <p:sp>
            <p:nvSpPr>
              <p:cNvPr id="8" name="Oval 7"/>
              <p:cNvSpPr/>
              <p:nvPr/>
            </p:nvSpPr>
            <p:spPr bwMode="gray">
              <a:xfrm>
                <a:off x="3388237" y="2139918"/>
                <a:ext cx="929042" cy="92904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2" name="Isosceles Triangle 11"/>
              <p:cNvSpPr/>
              <p:nvPr/>
            </p:nvSpPr>
            <p:spPr bwMode="gray">
              <a:xfrm rot="5400000">
                <a:off x="3686708" y="2404364"/>
                <a:ext cx="464180" cy="400155"/>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20" name="Rectangle 19">
              <a:hlinkClick r:id="rId5"/>
            </p:cNvPr>
            <p:cNvSpPr/>
            <p:nvPr/>
          </p:nvSpPr>
          <p:spPr bwMode="gray">
            <a:xfrm>
              <a:off x="9610317" y="682313"/>
              <a:ext cx="2256246" cy="6224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Tree>
    <p:custDataLst>
      <p:tags r:id="rId1"/>
    </p:custDataLst>
    <p:extLst>
      <p:ext uri="{BB962C8B-B14F-4D97-AF65-F5344CB8AC3E}">
        <p14:creationId xmlns:p14="http://schemas.microsoft.com/office/powerpoint/2010/main" val="1156840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98"/>
                                        </p:tgtEl>
                                        <p:attrNameLst>
                                          <p:attrName>style.visibility</p:attrName>
                                        </p:attrNameLst>
                                      </p:cBhvr>
                                      <p:to>
                                        <p:strVal val="visible"/>
                                      </p:to>
                                    </p:set>
                                    <p:animEffect transition="in" filter="fade">
                                      <p:cBhvr>
                                        <p:cTn id="7" dur="1000"/>
                                        <p:tgtEl>
                                          <p:spTgt spid="298"/>
                                        </p:tgtEl>
                                      </p:cBhvr>
                                    </p:animEffect>
                                    <p:anim calcmode="lin" valueType="num">
                                      <p:cBhvr>
                                        <p:cTn id="8" dur="1000" fill="hold"/>
                                        <p:tgtEl>
                                          <p:spTgt spid="298"/>
                                        </p:tgtEl>
                                        <p:attrNameLst>
                                          <p:attrName>ppt_x</p:attrName>
                                        </p:attrNameLst>
                                      </p:cBhvr>
                                      <p:tavLst>
                                        <p:tav tm="0">
                                          <p:val>
                                            <p:strVal val="#ppt_x"/>
                                          </p:val>
                                        </p:tav>
                                        <p:tav tm="100000">
                                          <p:val>
                                            <p:strVal val="#ppt_x"/>
                                          </p:val>
                                        </p:tav>
                                      </p:tavLst>
                                    </p:anim>
                                    <p:anim calcmode="lin" valueType="num">
                                      <p:cBhvr>
                                        <p:cTn id="9" dur="1000" fill="hold"/>
                                        <p:tgtEl>
                                          <p:spTgt spid="29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83"/>
                                        </p:tgtEl>
                                        <p:attrNameLst>
                                          <p:attrName>style.visibility</p:attrName>
                                        </p:attrNameLst>
                                      </p:cBhvr>
                                      <p:to>
                                        <p:strVal val="visible"/>
                                      </p:to>
                                    </p:set>
                                    <p:animEffect transition="in" filter="fade">
                                      <p:cBhvr>
                                        <p:cTn id="12" dur="1000"/>
                                        <p:tgtEl>
                                          <p:spTgt spid="283"/>
                                        </p:tgtEl>
                                      </p:cBhvr>
                                    </p:animEffect>
                                    <p:anim calcmode="lin" valueType="num">
                                      <p:cBhvr>
                                        <p:cTn id="13" dur="1000" fill="hold"/>
                                        <p:tgtEl>
                                          <p:spTgt spid="283"/>
                                        </p:tgtEl>
                                        <p:attrNameLst>
                                          <p:attrName>ppt_x</p:attrName>
                                        </p:attrNameLst>
                                      </p:cBhvr>
                                      <p:tavLst>
                                        <p:tav tm="0">
                                          <p:val>
                                            <p:strVal val="#ppt_x"/>
                                          </p:val>
                                        </p:tav>
                                        <p:tav tm="100000">
                                          <p:val>
                                            <p:strVal val="#ppt_x"/>
                                          </p:val>
                                        </p:tav>
                                      </p:tavLst>
                                    </p:anim>
                                    <p:anim calcmode="lin" valueType="num">
                                      <p:cBhvr>
                                        <p:cTn id="14" dur="1000" fill="hold"/>
                                        <p:tgtEl>
                                          <p:spTgt spid="283"/>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299"/>
                                        </p:tgtEl>
                                        <p:attrNameLst>
                                          <p:attrName>style.visibility</p:attrName>
                                        </p:attrNameLst>
                                      </p:cBhvr>
                                      <p:to>
                                        <p:strVal val="visible"/>
                                      </p:to>
                                    </p:set>
                                    <p:animEffect transition="in" filter="fade">
                                      <p:cBhvr>
                                        <p:cTn id="18" dur="1000"/>
                                        <p:tgtEl>
                                          <p:spTgt spid="299"/>
                                        </p:tgtEl>
                                      </p:cBhvr>
                                    </p:animEffect>
                                    <p:anim calcmode="lin" valueType="num">
                                      <p:cBhvr>
                                        <p:cTn id="19" dur="1000" fill="hold"/>
                                        <p:tgtEl>
                                          <p:spTgt spid="299"/>
                                        </p:tgtEl>
                                        <p:attrNameLst>
                                          <p:attrName>ppt_x</p:attrName>
                                        </p:attrNameLst>
                                      </p:cBhvr>
                                      <p:tavLst>
                                        <p:tav tm="0">
                                          <p:val>
                                            <p:strVal val="#ppt_x"/>
                                          </p:val>
                                        </p:tav>
                                        <p:tav tm="100000">
                                          <p:val>
                                            <p:strVal val="#ppt_x"/>
                                          </p:val>
                                        </p:tav>
                                      </p:tavLst>
                                    </p:anim>
                                    <p:anim calcmode="lin" valueType="num">
                                      <p:cBhvr>
                                        <p:cTn id="20" dur="1000" fill="hold"/>
                                        <p:tgtEl>
                                          <p:spTgt spid="299"/>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261"/>
                                        </p:tgtEl>
                                        <p:attrNameLst>
                                          <p:attrName>style.visibility</p:attrName>
                                        </p:attrNameLst>
                                      </p:cBhvr>
                                      <p:to>
                                        <p:strVal val="visible"/>
                                      </p:to>
                                    </p:set>
                                    <p:animEffect transition="in" filter="fade">
                                      <p:cBhvr>
                                        <p:cTn id="23" dur="1000"/>
                                        <p:tgtEl>
                                          <p:spTgt spid="261"/>
                                        </p:tgtEl>
                                      </p:cBhvr>
                                    </p:animEffect>
                                    <p:anim calcmode="lin" valueType="num">
                                      <p:cBhvr>
                                        <p:cTn id="24" dur="1000" fill="hold"/>
                                        <p:tgtEl>
                                          <p:spTgt spid="261"/>
                                        </p:tgtEl>
                                        <p:attrNameLst>
                                          <p:attrName>ppt_x</p:attrName>
                                        </p:attrNameLst>
                                      </p:cBhvr>
                                      <p:tavLst>
                                        <p:tav tm="0">
                                          <p:val>
                                            <p:strVal val="#ppt_x"/>
                                          </p:val>
                                        </p:tav>
                                        <p:tav tm="100000">
                                          <p:val>
                                            <p:strVal val="#ppt_x"/>
                                          </p:val>
                                        </p:tav>
                                      </p:tavLst>
                                    </p:anim>
                                    <p:anim calcmode="lin" valueType="num">
                                      <p:cBhvr>
                                        <p:cTn id="25" dur="1000" fill="hold"/>
                                        <p:tgtEl>
                                          <p:spTgt spid="261"/>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grpId="0" nodeType="afterEffect">
                                  <p:stCondLst>
                                    <p:cond delay="0"/>
                                  </p:stCondLst>
                                  <p:childTnLst>
                                    <p:set>
                                      <p:cBhvr>
                                        <p:cTn id="28" dur="1" fill="hold">
                                          <p:stCondLst>
                                            <p:cond delay="0"/>
                                          </p:stCondLst>
                                        </p:cTn>
                                        <p:tgtEl>
                                          <p:spTgt spid="300"/>
                                        </p:tgtEl>
                                        <p:attrNameLst>
                                          <p:attrName>style.visibility</p:attrName>
                                        </p:attrNameLst>
                                      </p:cBhvr>
                                      <p:to>
                                        <p:strVal val="visible"/>
                                      </p:to>
                                    </p:set>
                                    <p:animEffect transition="in" filter="fade">
                                      <p:cBhvr>
                                        <p:cTn id="29" dur="1000"/>
                                        <p:tgtEl>
                                          <p:spTgt spid="300"/>
                                        </p:tgtEl>
                                      </p:cBhvr>
                                    </p:animEffect>
                                    <p:anim calcmode="lin" valueType="num">
                                      <p:cBhvr>
                                        <p:cTn id="30" dur="1000" fill="hold"/>
                                        <p:tgtEl>
                                          <p:spTgt spid="300"/>
                                        </p:tgtEl>
                                        <p:attrNameLst>
                                          <p:attrName>ppt_x</p:attrName>
                                        </p:attrNameLst>
                                      </p:cBhvr>
                                      <p:tavLst>
                                        <p:tav tm="0">
                                          <p:val>
                                            <p:strVal val="#ppt_x"/>
                                          </p:val>
                                        </p:tav>
                                        <p:tav tm="100000">
                                          <p:val>
                                            <p:strVal val="#ppt_x"/>
                                          </p:val>
                                        </p:tav>
                                      </p:tavLst>
                                    </p:anim>
                                    <p:anim calcmode="lin" valueType="num">
                                      <p:cBhvr>
                                        <p:cTn id="31" dur="1000" fill="hold"/>
                                        <p:tgtEl>
                                          <p:spTgt spid="300"/>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278"/>
                                        </p:tgtEl>
                                        <p:attrNameLst>
                                          <p:attrName>style.visibility</p:attrName>
                                        </p:attrNameLst>
                                      </p:cBhvr>
                                      <p:to>
                                        <p:strVal val="visible"/>
                                      </p:to>
                                    </p:set>
                                    <p:animEffect transition="in" filter="fade">
                                      <p:cBhvr>
                                        <p:cTn id="34" dur="1000"/>
                                        <p:tgtEl>
                                          <p:spTgt spid="278"/>
                                        </p:tgtEl>
                                      </p:cBhvr>
                                    </p:animEffect>
                                    <p:anim calcmode="lin" valueType="num">
                                      <p:cBhvr>
                                        <p:cTn id="35" dur="1000" fill="hold"/>
                                        <p:tgtEl>
                                          <p:spTgt spid="278"/>
                                        </p:tgtEl>
                                        <p:attrNameLst>
                                          <p:attrName>ppt_x</p:attrName>
                                        </p:attrNameLst>
                                      </p:cBhvr>
                                      <p:tavLst>
                                        <p:tav tm="0">
                                          <p:val>
                                            <p:strVal val="#ppt_x"/>
                                          </p:val>
                                        </p:tav>
                                        <p:tav tm="100000">
                                          <p:val>
                                            <p:strVal val="#ppt_x"/>
                                          </p:val>
                                        </p:tav>
                                      </p:tavLst>
                                    </p:anim>
                                    <p:anim calcmode="lin" valueType="num">
                                      <p:cBhvr>
                                        <p:cTn id="36" dur="1000" fill="hold"/>
                                        <p:tgtEl>
                                          <p:spTgt spid="278"/>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301"/>
                                        </p:tgtEl>
                                        <p:attrNameLst>
                                          <p:attrName>style.visibility</p:attrName>
                                        </p:attrNameLst>
                                      </p:cBhvr>
                                      <p:to>
                                        <p:strVal val="visible"/>
                                      </p:to>
                                    </p:set>
                                    <p:animEffect transition="in" filter="fade">
                                      <p:cBhvr>
                                        <p:cTn id="40" dur="1000"/>
                                        <p:tgtEl>
                                          <p:spTgt spid="301"/>
                                        </p:tgtEl>
                                      </p:cBhvr>
                                    </p:animEffect>
                                    <p:anim calcmode="lin" valueType="num">
                                      <p:cBhvr>
                                        <p:cTn id="41" dur="1000" fill="hold"/>
                                        <p:tgtEl>
                                          <p:spTgt spid="301"/>
                                        </p:tgtEl>
                                        <p:attrNameLst>
                                          <p:attrName>ppt_x</p:attrName>
                                        </p:attrNameLst>
                                      </p:cBhvr>
                                      <p:tavLst>
                                        <p:tav tm="0">
                                          <p:val>
                                            <p:strVal val="#ppt_x"/>
                                          </p:val>
                                        </p:tav>
                                        <p:tav tm="100000">
                                          <p:val>
                                            <p:strVal val="#ppt_x"/>
                                          </p:val>
                                        </p:tav>
                                      </p:tavLst>
                                    </p:anim>
                                    <p:anim calcmode="lin" valueType="num">
                                      <p:cBhvr>
                                        <p:cTn id="42" dur="1000" fill="hold"/>
                                        <p:tgtEl>
                                          <p:spTgt spid="301"/>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289"/>
                                        </p:tgtEl>
                                        <p:attrNameLst>
                                          <p:attrName>style.visibility</p:attrName>
                                        </p:attrNameLst>
                                      </p:cBhvr>
                                      <p:to>
                                        <p:strVal val="visible"/>
                                      </p:to>
                                    </p:set>
                                    <p:animEffect transition="in" filter="fade">
                                      <p:cBhvr>
                                        <p:cTn id="45" dur="1000"/>
                                        <p:tgtEl>
                                          <p:spTgt spid="289"/>
                                        </p:tgtEl>
                                      </p:cBhvr>
                                    </p:animEffect>
                                    <p:anim calcmode="lin" valueType="num">
                                      <p:cBhvr>
                                        <p:cTn id="46" dur="1000" fill="hold"/>
                                        <p:tgtEl>
                                          <p:spTgt spid="289"/>
                                        </p:tgtEl>
                                        <p:attrNameLst>
                                          <p:attrName>ppt_x</p:attrName>
                                        </p:attrNameLst>
                                      </p:cBhvr>
                                      <p:tavLst>
                                        <p:tav tm="0">
                                          <p:val>
                                            <p:strVal val="#ppt_x"/>
                                          </p:val>
                                        </p:tav>
                                        <p:tav tm="100000">
                                          <p:val>
                                            <p:strVal val="#ppt_x"/>
                                          </p:val>
                                        </p:tav>
                                      </p:tavLst>
                                    </p:anim>
                                    <p:anim calcmode="lin" valueType="num">
                                      <p:cBhvr>
                                        <p:cTn id="47" dur="1000" fill="hold"/>
                                        <p:tgtEl>
                                          <p:spTgt spid="289"/>
                                        </p:tgtEl>
                                        <p:attrNameLst>
                                          <p:attrName>ppt_y</p:attrName>
                                        </p:attrNameLst>
                                      </p:cBhvr>
                                      <p:tavLst>
                                        <p:tav tm="0">
                                          <p:val>
                                            <p:strVal val="#ppt_y+.1"/>
                                          </p:val>
                                        </p:tav>
                                        <p:tav tm="100000">
                                          <p:val>
                                            <p:strVal val="#ppt_y"/>
                                          </p:val>
                                        </p:tav>
                                      </p:tavLst>
                                    </p:anim>
                                  </p:childTnLst>
                                </p:cTn>
                              </p:par>
                            </p:childTnLst>
                          </p:cTn>
                        </p:par>
                        <p:par>
                          <p:cTn id="48" fill="hold">
                            <p:stCondLst>
                              <p:cond delay="4000"/>
                            </p:stCondLst>
                            <p:childTnLst>
                              <p:par>
                                <p:cTn id="49" presetID="22" presetClass="entr" presetSubtype="8" fill="hold" grpId="0"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wipe(left)">
                                      <p:cBhvr>
                                        <p:cTn id="51" dur="500"/>
                                        <p:tgtEl>
                                          <p:spTgt spid="34"/>
                                        </p:tgtEl>
                                      </p:cBhvr>
                                    </p:animEffect>
                                  </p:childTnLst>
                                </p:cTn>
                              </p:par>
                              <p:par>
                                <p:cTn id="52" presetID="22" presetClass="entr" presetSubtype="8" fill="hold" grpId="0" nodeType="withEffect">
                                  <p:stCondLst>
                                    <p:cond delay="0"/>
                                  </p:stCondLst>
                                  <p:childTnLst>
                                    <p:set>
                                      <p:cBhvr>
                                        <p:cTn id="53" dur="1" fill="hold">
                                          <p:stCondLst>
                                            <p:cond delay="0"/>
                                          </p:stCondLst>
                                        </p:cTn>
                                        <p:tgtEl>
                                          <p:spTgt spid="827"/>
                                        </p:tgtEl>
                                        <p:attrNameLst>
                                          <p:attrName>style.visibility</p:attrName>
                                        </p:attrNameLst>
                                      </p:cBhvr>
                                      <p:to>
                                        <p:strVal val="visible"/>
                                      </p:to>
                                    </p:set>
                                    <p:animEffect transition="in" filter="wipe(left)">
                                      <p:cBhvr>
                                        <p:cTn id="54" dur="500"/>
                                        <p:tgtEl>
                                          <p:spTgt spid="8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8" grpId="0" animBg="1"/>
      <p:bldP spid="299" grpId="0" animBg="1"/>
      <p:bldP spid="300" grpId="0" animBg="1"/>
      <p:bldP spid="301" grpId="0" animBg="1"/>
      <p:bldP spid="827" grpId="0" animBg="1"/>
      <p:bldP spid="34" grpId="0" animBg="1"/>
    </p:bld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001"/>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gray">
          <a:xfrm>
            <a:off x="336551" y="1820863"/>
            <a:ext cx="11516713" cy="397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9" name="Straight Connector 28"/>
          <p:cNvCxnSpPr/>
          <p:nvPr/>
        </p:nvCxnSpPr>
        <p:spPr bwMode="gray">
          <a:xfrm>
            <a:off x="336551" y="5802281"/>
            <a:ext cx="1151671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bwMode="gray"/>
        <p:txBody>
          <a:bodyPr/>
          <a:lstStyle/>
          <a:p>
            <a:r>
              <a:rPr lang="de-DE" dirty="0" err="1"/>
              <a:t>myABB</a:t>
            </a:r>
            <a:endParaRPr lang="de-DE" dirty="0"/>
          </a:p>
        </p:txBody>
      </p:sp>
      <p:sp>
        <p:nvSpPr>
          <p:cNvPr id="4" name="Datumsplatzhalter 3"/>
          <p:cNvSpPr>
            <a:spLocks noGrp="1"/>
          </p:cNvSpPr>
          <p:nvPr>
            <p:ph type="dt" sz="half" idx="14"/>
          </p:nvPr>
        </p:nvSpPr>
        <p:spPr bwMode="gray"/>
        <p:txBody>
          <a:bodyPr/>
          <a:lstStyle/>
          <a:p>
            <a:fld id="{604723B6-2C37-4C03-92C2-AA6C4A469955}" type="datetime4">
              <a:rPr lang="en-US" smtClean="0"/>
              <a:t>September 8, 2019</a:t>
            </a:fld>
            <a:endParaRPr lang="en-US" dirty="0"/>
          </a:p>
        </p:txBody>
      </p:sp>
      <p:sp>
        <p:nvSpPr>
          <p:cNvPr id="5" name="Fußzeilenplatzhalter 4"/>
          <p:cNvSpPr>
            <a:spLocks noGrp="1"/>
          </p:cNvSpPr>
          <p:nvPr>
            <p:ph type="ftr" sz="quarter" idx="15"/>
          </p:nvPr>
        </p:nvSpPr>
        <p:spPr bwMode="gray"/>
        <p:txBody>
          <a:bodyPr/>
          <a:lstStyle/>
          <a:p>
            <a:endParaRPr lang="en-US" dirty="0"/>
          </a:p>
        </p:txBody>
      </p:sp>
      <p:sp>
        <p:nvSpPr>
          <p:cNvPr id="6" name="Foliennummernplatzhalter 5"/>
          <p:cNvSpPr>
            <a:spLocks noGrp="1"/>
          </p:cNvSpPr>
          <p:nvPr>
            <p:ph type="sldNum" sz="quarter" idx="16"/>
          </p:nvPr>
        </p:nvSpPr>
        <p:spPr bwMode="gray"/>
        <p:txBody>
          <a:bodyPr/>
          <a:lstStyle/>
          <a:p>
            <a:r>
              <a:rPr lang="en-US"/>
              <a:t>Slide </a:t>
            </a:r>
            <a:fld id="{619F89D8-7AE3-494A-97F3-03D680869632}" type="slidenum">
              <a:rPr lang="en-US" smtClean="0"/>
              <a:pPr/>
              <a:t>107</a:t>
            </a:fld>
            <a:endParaRPr lang="en-US" dirty="0"/>
          </a:p>
        </p:txBody>
      </p:sp>
      <p:sp>
        <p:nvSpPr>
          <p:cNvPr id="2" name="Untertitel 1"/>
          <p:cNvSpPr>
            <a:spLocks noGrp="1"/>
          </p:cNvSpPr>
          <p:nvPr>
            <p:ph type="subTitle" idx="13"/>
          </p:nvPr>
        </p:nvSpPr>
        <p:spPr bwMode="gray"/>
        <p:txBody>
          <a:bodyPr/>
          <a:lstStyle/>
          <a:p>
            <a:r>
              <a:rPr lang="de-DE" dirty="0" err="1"/>
              <a:t>Example</a:t>
            </a:r>
            <a:r>
              <a:rPr lang="de-DE" dirty="0"/>
              <a:t>: Global </a:t>
            </a:r>
            <a:r>
              <a:rPr lang="de-DE" dirty="0" err="1"/>
              <a:t>cement</a:t>
            </a:r>
            <a:r>
              <a:rPr lang="de-DE" dirty="0"/>
              <a:t> </a:t>
            </a:r>
            <a:r>
              <a:rPr lang="de-DE" dirty="0" err="1"/>
              <a:t>producer</a:t>
            </a:r>
            <a:endParaRPr lang="de-DE" dirty="0"/>
          </a:p>
        </p:txBody>
      </p:sp>
      <p:grpSp>
        <p:nvGrpSpPr>
          <p:cNvPr id="7" name="Group 6"/>
          <p:cNvGrpSpPr/>
          <p:nvPr/>
        </p:nvGrpSpPr>
        <p:grpSpPr bwMode="gray">
          <a:xfrm>
            <a:off x="336551" y="5026663"/>
            <a:ext cx="896305" cy="896300"/>
            <a:chOff x="924039" y="3787514"/>
            <a:chExt cx="1310005" cy="1309998"/>
          </a:xfrm>
        </p:grpSpPr>
        <p:sp>
          <p:nvSpPr>
            <p:cNvPr id="17" name="Oval 16"/>
            <p:cNvSpPr/>
            <p:nvPr/>
          </p:nvSpPr>
          <p:spPr bwMode="gray">
            <a:xfrm>
              <a:off x="924039" y="3787514"/>
              <a:ext cx="1310005" cy="1309998"/>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11" name="Group 10"/>
            <p:cNvGrpSpPr/>
            <p:nvPr/>
          </p:nvGrpSpPr>
          <p:grpSpPr bwMode="gray">
            <a:xfrm>
              <a:off x="1161170" y="4123878"/>
              <a:ext cx="835742" cy="637270"/>
              <a:chOff x="4663440" y="2424236"/>
              <a:chExt cx="4105788" cy="3130744"/>
            </a:xfrm>
          </p:grpSpPr>
          <p:sp>
            <p:nvSpPr>
              <p:cNvPr id="13" name="Snip Same Side Corner Rectangle 66"/>
              <p:cNvSpPr/>
              <p:nvPr/>
            </p:nvSpPr>
            <p:spPr bwMode="gray">
              <a:xfrm>
                <a:off x="4663440" y="4975860"/>
                <a:ext cx="4105788" cy="579120"/>
              </a:xfrm>
              <a:custGeom>
                <a:avLst/>
                <a:gdLst/>
                <a:ahLst/>
                <a:cxnLst/>
                <a:rect l="l" t="t" r="r" b="b"/>
                <a:pathLst>
                  <a:path w="4105788" h="579120">
                    <a:moveTo>
                      <a:pt x="55881" y="0"/>
                    </a:moveTo>
                    <a:lnTo>
                      <a:pt x="1609235" y="0"/>
                    </a:lnTo>
                    <a:lnTo>
                      <a:pt x="1665116" y="55881"/>
                    </a:lnTo>
                    <a:lnTo>
                      <a:pt x="1665116" y="167640"/>
                    </a:lnTo>
                    <a:lnTo>
                      <a:pt x="2440672" y="167640"/>
                    </a:lnTo>
                    <a:lnTo>
                      <a:pt x="2440672" y="55881"/>
                    </a:lnTo>
                    <a:lnTo>
                      <a:pt x="2496553" y="0"/>
                    </a:lnTo>
                    <a:lnTo>
                      <a:pt x="4049907" y="0"/>
                    </a:lnTo>
                    <a:lnTo>
                      <a:pt x="4105788" y="55881"/>
                    </a:lnTo>
                    <a:lnTo>
                      <a:pt x="4105788" y="335280"/>
                    </a:lnTo>
                    <a:lnTo>
                      <a:pt x="4104249" y="335280"/>
                    </a:lnTo>
                    <a:cubicBezTo>
                      <a:pt x="4105733" y="337768"/>
                      <a:pt x="4105788" y="340329"/>
                      <a:pt x="4105788" y="342902"/>
                    </a:cubicBezTo>
                    <a:lnTo>
                      <a:pt x="4105788" y="403858"/>
                    </a:lnTo>
                    <a:cubicBezTo>
                      <a:pt x="4105788" y="500653"/>
                      <a:pt x="4027321" y="579120"/>
                      <a:pt x="3930526" y="579120"/>
                    </a:cubicBezTo>
                    <a:lnTo>
                      <a:pt x="175262" y="579120"/>
                    </a:lnTo>
                    <a:cubicBezTo>
                      <a:pt x="78467" y="579120"/>
                      <a:pt x="0" y="500653"/>
                      <a:pt x="0" y="403858"/>
                    </a:cubicBezTo>
                    <a:lnTo>
                      <a:pt x="0" y="342902"/>
                    </a:lnTo>
                    <a:lnTo>
                      <a:pt x="1539" y="335280"/>
                    </a:lnTo>
                    <a:lnTo>
                      <a:pt x="0" y="335280"/>
                    </a:lnTo>
                    <a:lnTo>
                      <a:pt x="0" y="55881"/>
                    </a:lnTo>
                    <a:close/>
                  </a:path>
                </a:pathLst>
              </a:custGeom>
              <a:grpFill/>
              <a:ln w="12700">
                <a:solidFill>
                  <a:schemeClr val="tx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4" name="Rounded Rectangle 2048"/>
              <p:cNvSpPr/>
              <p:nvPr/>
            </p:nvSpPr>
            <p:spPr bwMode="gray">
              <a:xfrm>
                <a:off x="4940120" y="2424236"/>
                <a:ext cx="3552428" cy="2719264"/>
              </a:xfrm>
              <a:custGeom>
                <a:avLst/>
                <a:gdLst/>
                <a:ahLst/>
                <a:cxnLst/>
                <a:rect l="l" t="t" r="r" b="b"/>
                <a:pathLst>
                  <a:path w="3552428" h="2719264">
                    <a:moveTo>
                      <a:pt x="299552" y="0"/>
                    </a:moveTo>
                    <a:lnTo>
                      <a:pt x="3252876" y="0"/>
                    </a:lnTo>
                    <a:cubicBezTo>
                      <a:pt x="3418314" y="0"/>
                      <a:pt x="3552428" y="134114"/>
                      <a:pt x="3552428" y="299552"/>
                    </a:cubicBezTo>
                    <a:lnTo>
                      <a:pt x="3552428" y="2551624"/>
                    </a:lnTo>
                    <a:lnTo>
                      <a:pt x="2219873" y="2551624"/>
                    </a:lnTo>
                    <a:lnTo>
                      <a:pt x="2163992" y="2607505"/>
                    </a:lnTo>
                    <a:lnTo>
                      <a:pt x="2163992" y="2719264"/>
                    </a:lnTo>
                    <a:lnTo>
                      <a:pt x="1388436" y="2719264"/>
                    </a:lnTo>
                    <a:lnTo>
                      <a:pt x="1388436" y="2607505"/>
                    </a:lnTo>
                    <a:lnTo>
                      <a:pt x="1332555" y="2551624"/>
                    </a:lnTo>
                    <a:lnTo>
                      <a:pt x="0" y="2551624"/>
                    </a:lnTo>
                    <a:lnTo>
                      <a:pt x="0" y="299552"/>
                    </a:lnTo>
                    <a:cubicBezTo>
                      <a:pt x="0" y="134114"/>
                      <a:pt x="134114" y="0"/>
                      <a:pt x="299552" y="0"/>
                    </a:cubicBezTo>
                    <a:close/>
                  </a:path>
                </a:pathLst>
              </a:custGeom>
              <a:grpFill/>
              <a:ln w="12700">
                <a:solidFill>
                  <a:schemeClr val="tx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5" name="Snip Same Side Corner Rectangle 72"/>
              <p:cNvSpPr/>
              <p:nvPr/>
            </p:nvSpPr>
            <p:spPr bwMode="gray">
              <a:xfrm rot="10800000">
                <a:off x="5339915" y="2804160"/>
                <a:ext cx="2752840" cy="1810132"/>
              </a:xfrm>
              <a:custGeom>
                <a:avLst/>
                <a:gdLst/>
                <a:ahLst/>
                <a:cxnLst/>
                <a:rect l="l" t="t" r="r" b="b"/>
                <a:pathLst>
                  <a:path w="2752840" h="1810132">
                    <a:moveTo>
                      <a:pt x="2665206" y="1810132"/>
                    </a:moveTo>
                    <a:lnTo>
                      <a:pt x="87634" y="1810132"/>
                    </a:lnTo>
                    <a:lnTo>
                      <a:pt x="0" y="1722498"/>
                    </a:lnTo>
                    <a:lnTo>
                      <a:pt x="0" y="1211580"/>
                    </a:lnTo>
                    <a:lnTo>
                      <a:pt x="0" y="598552"/>
                    </a:lnTo>
                    <a:lnTo>
                      <a:pt x="0" y="87634"/>
                    </a:lnTo>
                    <a:lnTo>
                      <a:pt x="87634" y="0"/>
                    </a:lnTo>
                    <a:lnTo>
                      <a:pt x="2665206" y="0"/>
                    </a:lnTo>
                    <a:lnTo>
                      <a:pt x="2752840" y="87634"/>
                    </a:lnTo>
                    <a:lnTo>
                      <a:pt x="2752840" y="598552"/>
                    </a:lnTo>
                    <a:lnTo>
                      <a:pt x="2752840" y="1211580"/>
                    </a:lnTo>
                    <a:lnTo>
                      <a:pt x="2752840" y="1722498"/>
                    </a:lnTo>
                    <a:close/>
                  </a:path>
                </a:pathLst>
              </a:custGeom>
              <a:grpFill/>
              <a:ln w="12700">
                <a:solidFill>
                  <a:schemeClr val="tx2"/>
                </a:solidFill>
              </a:ln>
            </p:spPr>
            <p:style>
              <a:lnRef idx="1">
                <a:schemeClr val="accent1"/>
              </a:lnRef>
              <a:fillRef idx="0">
                <a:schemeClr val="accent1"/>
              </a:fillRef>
              <a:effectRef idx="0">
                <a:schemeClr val="accent1"/>
              </a:effectRef>
              <a:fontRef idx="minor">
                <a:schemeClr val="tx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sp>
        <p:nvSpPr>
          <p:cNvPr id="8" name="Rectangle 7"/>
          <p:cNvSpPr/>
          <p:nvPr/>
        </p:nvSpPr>
        <p:spPr bwMode="gray">
          <a:xfrm>
            <a:off x="1399142" y="2225407"/>
            <a:ext cx="3756752" cy="232455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6" name="Rectangle 15"/>
          <p:cNvSpPr/>
          <p:nvPr/>
        </p:nvSpPr>
        <p:spPr bwMode="gray">
          <a:xfrm>
            <a:off x="1399142" y="4976544"/>
            <a:ext cx="3756752" cy="79420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8" name="Rectangle 17"/>
          <p:cNvSpPr/>
          <p:nvPr/>
        </p:nvSpPr>
        <p:spPr bwMode="gray">
          <a:xfrm>
            <a:off x="5177928" y="2225407"/>
            <a:ext cx="3756752" cy="165800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19" name="Rectangle 18"/>
          <p:cNvSpPr/>
          <p:nvPr/>
        </p:nvSpPr>
        <p:spPr bwMode="gray">
          <a:xfrm>
            <a:off x="5177928" y="4287951"/>
            <a:ext cx="3756752" cy="148279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20" name="AutoShape 6">
            <a:hlinkClick r:id="rId5" action="ppaction://hlinksldjump" highlightClick="1"/>
            <a:extLst>
              <a:ext uri="{FF2B5EF4-FFF2-40B4-BE49-F238E27FC236}">
                <a16:creationId xmlns:a16="http://schemas.microsoft.com/office/drawing/2014/main" id="{480F714D-7224-4831-9C27-09EE0A5B5757}"/>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2636579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6" grpId="0" animBg="1"/>
      <p:bldP spid="18" grpId="0" animBg="1"/>
      <p:bldP spid="19" grpId="0" animBg="1"/>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bwMode="gray">
          <a:xfrm>
            <a:off x="7981194" y="2749770"/>
            <a:ext cx="2239504" cy="1572340"/>
            <a:chOff x="9170849" y="-3556146"/>
            <a:chExt cx="2239504" cy="1572340"/>
          </a:xfrm>
        </p:grpSpPr>
        <p:grpSp>
          <p:nvGrpSpPr>
            <p:cNvPr id="97" name="Group 96"/>
            <p:cNvGrpSpPr/>
            <p:nvPr/>
          </p:nvGrpSpPr>
          <p:grpSpPr bwMode="gray">
            <a:xfrm>
              <a:off x="9170849" y="-3556146"/>
              <a:ext cx="2239504" cy="1572340"/>
              <a:chOff x="6420519" y="3201880"/>
              <a:chExt cx="357117" cy="250729"/>
            </a:xfrm>
            <a:solidFill>
              <a:schemeClr val="bg1"/>
            </a:solidFill>
          </p:grpSpPr>
          <p:sp>
            <p:nvSpPr>
              <p:cNvPr id="98" name="Rounded Rectangle 24"/>
              <p:cNvSpPr/>
              <p:nvPr/>
            </p:nvSpPr>
            <p:spPr bwMode="gray">
              <a:xfrm>
                <a:off x="6420519" y="3378176"/>
                <a:ext cx="357117" cy="74433"/>
              </a:xfrm>
              <a:custGeom>
                <a:avLst/>
                <a:gdLst>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6079 w 2987325"/>
                  <a:gd name="connsiteY9" fmla="*/ 446664 h 532759"/>
                  <a:gd name="connsiteX10" fmla="*/ 2987325 w 2987325"/>
                  <a:gd name="connsiteY10" fmla="*/ 452837 h 532759"/>
                  <a:gd name="connsiteX11" fmla="*/ 2987324 w 2987325"/>
                  <a:gd name="connsiteY11" fmla="*/ 452837 h 532759"/>
                  <a:gd name="connsiteX12" fmla="*/ 2907402 w 2987325"/>
                  <a:gd name="connsiteY12" fmla="*/ 532759 h 532759"/>
                  <a:gd name="connsiteX13" fmla="*/ 79922 w 2987325"/>
                  <a:gd name="connsiteY13" fmla="*/ 532758 h 532759"/>
                  <a:gd name="connsiteX14" fmla="*/ 0 w 2987325"/>
                  <a:gd name="connsiteY14" fmla="*/ 452837 h 532759"/>
                  <a:gd name="connsiteX15" fmla="*/ 1247 w 2987325"/>
                  <a:gd name="connsiteY15" fmla="*/ 446664 h 532759"/>
                  <a:gd name="connsiteX16" fmla="*/ 249936 w 2987325"/>
                  <a:gd name="connsiteY16" fmla="*/ 367416 h 532759"/>
                  <a:gd name="connsiteX17" fmla="*/ 0 w 2987325"/>
                  <a:gd name="connsiteY17" fmla="*/ 369634 h 532759"/>
                  <a:gd name="connsiteX18" fmla="*/ 325705 w 2987325"/>
                  <a:gd name="connsiteY18" fmla="*/ 43929 h 532759"/>
                  <a:gd name="connsiteX19" fmla="*/ 415602 w 2987325"/>
                  <a:gd name="connsiteY19"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6079 w 2987325"/>
                  <a:gd name="connsiteY9" fmla="*/ 446664 h 532759"/>
                  <a:gd name="connsiteX10" fmla="*/ 2987325 w 2987325"/>
                  <a:gd name="connsiteY10" fmla="*/ 452837 h 532759"/>
                  <a:gd name="connsiteX11" fmla="*/ 2987324 w 2987325"/>
                  <a:gd name="connsiteY11" fmla="*/ 452837 h 532759"/>
                  <a:gd name="connsiteX12" fmla="*/ 2907402 w 2987325"/>
                  <a:gd name="connsiteY12" fmla="*/ 532759 h 532759"/>
                  <a:gd name="connsiteX13" fmla="*/ 79922 w 2987325"/>
                  <a:gd name="connsiteY13" fmla="*/ 532758 h 532759"/>
                  <a:gd name="connsiteX14" fmla="*/ 0 w 2987325"/>
                  <a:gd name="connsiteY14" fmla="*/ 452837 h 532759"/>
                  <a:gd name="connsiteX15" fmla="*/ 1247 w 2987325"/>
                  <a:gd name="connsiteY15" fmla="*/ 446664 h 532759"/>
                  <a:gd name="connsiteX16" fmla="*/ 0 w 2987325"/>
                  <a:gd name="connsiteY16" fmla="*/ 369634 h 532759"/>
                  <a:gd name="connsiteX17" fmla="*/ 325705 w 2987325"/>
                  <a:gd name="connsiteY17" fmla="*/ 43929 h 532759"/>
                  <a:gd name="connsiteX18" fmla="*/ 415602 w 2987325"/>
                  <a:gd name="connsiteY18" fmla="*/ 0 h 532759"/>
                  <a:gd name="connsiteX0" fmla="*/ 0 w 3062292"/>
                  <a:gd name="connsiteY0" fmla="*/ 452836 h 532759"/>
                  <a:gd name="connsiteX1" fmla="*/ 0 w 3062292"/>
                  <a:gd name="connsiteY1" fmla="*/ 452837 h 532759"/>
                  <a:gd name="connsiteX2" fmla="*/ 0 w 3062292"/>
                  <a:gd name="connsiteY2" fmla="*/ 452837 h 532759"/>
                  <a:gd name="connsiteX3" fmla="*/ 0 w 3062292"/>
                  <a:gd name="connsiteY3" fmla="*/ 452836 h 532759"/>
                  <a:gd name="connsiteX4" fmla="*/ 415602 w 3062292"/>
                  <a:gd name="connsiteY4" fmla="*/ 0 h 532759"/>
                  <a:gd name="connsiteX5" fmla="*/ 2571722 w 3062292"/>
                  <a:gd name="connsiteY5" fmla="*/ 0 h 532759"/>
                  <a:gd name="connsiteX6" fmla="*/ 2661619 w 3062292"/>
                  <a:gd name="connsiteY6" fmla="*/ 43929 h 532759"/>
                  <a:gd name="connsiteX7" fmla="*/ 2987324 w 3062292"/>
                  <a:gd name="connsiteY7" fmla="*/ 369634 h 532759"/>
                  <a:gd name="connsiteX8" fmla="*/ 2987324 w 3062292"/>
                  <a:gd name="connsiteY8" fmla="*/ 446664 h 532759"/>
                  <a:gd name="connsiteX9" fmla="*/ 3062279 w 3062292"/>
                  <a:gd name="connsiteY9" fmla="*/ 423804 h 532759"/>
                  <a:gd name="connsiteX10" fmla="*/ 2987325 w 3062292"/>
                  <a:gd name="connsiteY10" fmla="*/ 452837 h 532759"/>
                  <a:gd name="connsiteX11" fmla="*/ 2987324 w 3062292"/>
                  <a:gd name="connsiteY11" fmla="*/ 452837 h 532759"/>
                  <a:gd name="connsiteX12" fmla="*/ 2907402 w 3062292"/>
                  <a:gd name="connsiteY12" fmla="*/ 532759 h 532759"/>
                  <a:gd name="connsiteX13" fmla="*/ 79922 w 3062292"/>
                  <a:gd name="connsiteY13" fmla="*/ 532758 h 532759"/>
                  <a:gd name="connsiteX14" fmla="*/ 0 w 3062292"/>
                  <a:gd name="connsiteY14" fmla="*/ 452837 h 532759"/>
                  <a:gd name="connsiteX15" fmla="*/ 1247 w 3062292"/>
                  <a:gd name="connsiteY15" fmla="*/ 446664 h 532759"/>
                  <a:gd name="connsiteX16" fmla="*/ 0 w 3062292"/>
                  <a:gd name="connsiteY16" fmla="*/ 369634 h 532759"/>
                  <a:gd name="connsiteX17" fmla="*/ 325705 w 3062292"/>
                  <a:gd name="connsiteY17" fmla="*/ 43929 h 532759"/>
                  <a:gd name="connsiteX18" fmla="*/ 415602 w 3062292"/>
                  <a:gd name="connsiteY18"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4 w 2987325"/>
                  <a:gd name="connsiteY8" fmla="*/ 446664 h 532759"/>
                  <a:gd name="connsiteX9" fmla="*/ 2987325 w 2987325"/>
                  <a:gd name="connsiteY9" fmla="*/ 452837 h 532759"/>
                  <a:gd name="connsiteX10" fmla="*/ 2987324 w 2987325"/>
                  <a:gd name="connsiteY10" fmla="*/ 452837 h 532759"/>
                  <a:gd name="connsiteX11" fmla="*/ 2907402 w 2987325"/>
                  <a:gd name="connsiteY11" fmla="*/ 532759 h 532759"/>
                  <a:gd name="connsiteX12" fmla="*/ 79922 w 2987325"/>
                  <a:gd name="connsiteY12" fmla="*/ 532758 h 532759"/>
                  <a:gd name="connsiteX13" fmla="*/ 0 w 2987325"/>
                  <a:gd name="connsiteY13" fmla="*/ 452837 h 532759"/>
                  <a:gd name="connsiteX14" fmla="*/ 1247 w 2987325"/>
                  <a:gd name="connsiteY14" fmla="*/ 446664 h 532759"/>
                  <a:gd name="connsiteX15" fmla="*/ 0 w 2987325"/>
                  <a:gd name="connsiteY15" fmla="*/ 369634 h 532759"/>
                  <a:gd name="connsiteX16" fmla="*/ 325705 w 2987325"/>
                  <a:gd name="connsiteY16" fmla="*/ 43929 h 532759"/>
                  <a:gd name="connsiteX17" fmla="*/ 415602 w 2987325"/>
                  <a:gd name="connsiteY17"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71144 w 3071144"/>
                  <a:gd name="connsiteY8" fmla="*/ 416184 h 532759"/>
                  <a:gd name="connsiteX9" fmla="*/ 2987325 w 3071144"/>
                  <a:gd name="connsiteY9" fmla="*/ 452837 h 532759"/>
                  <a:gd name="connsiteX10" fmla="*/ 2987324 w 3071144"/>
                  <a:gd name="connsiteY10" fmla="*/ 452837 h 532759"/>
                  <a:gd name="connsiteX11" fmla="*/ 2907402 w 3071144"/>
                  <a:gd name="connsiteY11" fmla="*/ 532759 h 532759"/>
                  <a:gd name="connsiteX12" fmla="*/ 79922 w 3071144"/>
                  <a:gd name="connsiteY12" fmla="*/ 532758 h 532759"/>
                  <a:gd name="connsiteX13" fmla="*/ 0 w 3071144"/>
                  <a:gd name="connsiteY13" fmla="*/ 452837 h 532759"/>
                  <a:gd name="connsiteX14" fmla="*/ 1247 w 3071144"/>
                  <a:gd name="connsiteY14" fmla="*/ 446664 h 532759"/>
                  <a:gd name="connsiteX15" fmla="*/ 0 w 3071144"/>
                  <a:gd name="connsiteY15" fmla="*/ 369634 h 532759"/>
                  <a:gd name="connsiteX16" fmla="*/ 325705 w 3071144"/>
                  <a:gd name="connsiteY16" fmla="*/ 43929 h 532759"/>
                  <a:gd name="connsiteX17" fmla="*/ 415602 w 3071144"/>
                  <a:gd name="connsiteY17"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50046 w 3071144"/>
                  <a:gd name="connsiteY8" fmla="*/ 399674 h 532759"/>
                  <a:gd name="connsiteX9" fmla="*/ 3071144 w 3071144"/>
                  <a:gd name="connsiteY9" fmla="*/ 416184 h 532759"/>
                  <a:gd name="connsiteX10" fmla="*/ 2987325 w 3071144"/>
                  <a:gd name="connsiteY10" fmla="*/ 452837 h 532759"/>
                  <a:gd name="connsiteX11" fmla="*/ 2987324 w 3071144"/>
                  <a:gd name="connsiteY11" fmla="*/ 452837 h 532759"/>
                  <a:gd name="connsiteX12" fmla="*/ 2907402 w 3071144"/>
                  <a:gd name="connsiteY12" fmla="*/ 532759 h 532759"/>
                  <a:gd name="connsiteX13" fmla="*/ 79922 w 3071144"/>
                  <a:gd name="connsiteY13" fmla="*/ 532758 h 532759"/>
                  <a:gd name="connsiteX14" fmla="*/ 0 w 3071144"/>
                  <a:gd name="connsiteY14" fmla="*/ 452837 h 532759"/>
                  <a:gd name="connsiteX15" fmla="*/ 1247 w 3071144"/>
                  <a:gd name="connsiteY15" fmla="*/ 446664 h 532759"/>
                  <a:gd name="connsiteX16" fmla="*/ 0 w 3071144"/>
                  <a:gd name="connsiteY16" fmla="*/ 369634 h 532759"/>
                  <a:gd name="connsiteX17" fmla="*/ 325705 w 3071144"/>
                  <a:gd name="connsiteY17" fmla="*/ 43929 h 532759"/>
                  <a:gd name="connsiteX18" fmla="*/ 415602 w 3071144"/>
                  <a:gd name="connsiteY18" fmla="*/ 0 h 532759"/>
                  <a:gd name="connsiteX0" fmla="*/ 0 w 3071144"/>
                  <a:gd name="connsiteY0" fmla="*/ 452836 h 532759"/>
                  <a:gd name="connsiteX1" fmla="*/ 0 w 3071144"/>
                  <a:gd name="connsiteY1" fmla="*/ 452837 h 532759"/>
                  <a:gd name="connsiteX2" fmla="*/ 0 w 3071144"/>
                  <a:gd name="connsiteY2" fmla="*/ 452837 h 532759"/>
                  <a:gd name="connsiteX3" fmla="*/ 0 w 3071144"/>
                  <a:gd name="connsiteY3" fmla="*/ 452836 h 532759"/>
                  <a:gd name="connsiteX4" fmla="*/ 415602 w 3071144"/>
                  <a:gd name="connsiteY4" fmla="*/ 0 h 532759"/>
                  <a:gd name="connsiteX5" fmla="*/ 2571722 w 3071144"/>
                  <a:gd name="connsiteY5" fmla="*/ 0 h 532759"/>
                  <a:gd name="connsiteX6" fmla="*/ 2661619 w 3071144"/>
                  <a:gd name="connsiteY6" fmla="*/ 43929 h 532759"/>
                  <a:gd name="connsiteX7" fmla="*/ 2987324 w 3071144"/>
                  <a:gd name="connsiteY7" fmla="*/ 369634 h 532759"/>
                  <a:gd name="connsiteX8" fmla="*/ 3071144 w 3071144"/>
                  <a:gd name="connsiteY8" fmla="*/ 416184 h 532759"/>
                  <a:gd name="connsiteX9" fmla="*/ 2987325 w 3071144"/>
                  <a:gd name="connsiteY9" fmla="*/ 452837 h 532759"/>
                  <a:gd name="connsiteX10" fmla="*/ 2987324 w 3071144"/>
                  <a:gd name="connsiteY10" fmla="*/ 452837 h 532759"/>
                  <a:gd name="connsiteX11" fmla="*/ 2907402 w 3071144"/>
                  <a:gd name="connsiteY11" fmla="*/ 532759 h 532759"/>
                  <a:gd name="connsiteX12" fmla="*/ 79922 w 3071144"/>
                  <a:gd name="connsiteY12" fmla="*/ 532758 h 532759"/>
                  <a:gd name="connsiteX13" fmla="*/ 0 w 3071144"/>
                  <a:gd name="connsiteY13" fmla="*/ 452837 h 532759"/>
                  <a:gd name="connsiteX14" fmla="*/ 1247 w 3071144"/>
                  <a:gd name="connsiteY14" fmla="*/ 446664 h 532759"/>
                  <a:gd name="connsiteX15" fmla="*/ 0 w 3071144"/>
                  <a:gd name="connsiteY15" fmla="*/ 369634 h 532759"/>
                  <a:gd name="connsiteX16" fmla="*/ 325705 w 3071144"/>
                  <a:gd name="connsiteY16" fmla="*/ 43929 h 532759"/>
                  <a:gd name="connsiteX17" fmla="*/ 415602 w 3071144"/>
                  <a:gd name="connsiteY17"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5 w 2987325"/>
                  <a:gd name="connsiteY8" fmla="*/ 452837 h 532759"/>
                  <a:gd name="connsiteX9" fmla="*/ 2987324 w 2987325"/>
                  <a:gd name="connsiteY9" fmla="*/ 452837 h 532759"/>
                  <a:gd name="connsiteX10" fmla="*/ 2907402 w 2987325"/>
                  <a:gd name="connsiteY10" fmla="*/ 532759 h 532759"/>
                  <a:gd name="connsiteX11" fmla="*/ 79922 w 2987325"/>
                  <a:gd name="connsiteY11" fmla="*/ 532758 h 532759"/>
                  <a:gd name="connsiteX12" fmla="*/ 0 w 2987325"/>
                  <a:gd name="connsiteY12" fmla="*/ 452837 h 532759"/>
                  <a:gd name="connsiteX13" fmla="*/ 1247 w 2987325"/>
                  <a:gd name="connsiteY13" fmla="*/ 446664 h 532759"/>
                  <a:gd name="connsiteX14" fmla="*/ 0 w 2987325"/>
                  <a:gd name="connsiteY14" fmla="*/ 369634 h 532759"/>
                  <a:gd name="connsiteX15" fmla="*/ 325705 w 2987325"/>
                  <a:gd name="connsiteY15" fmla="*/ 43929 h 532759"/>
                  <a:gd name="connsiteX16" fmla="*/ 415602 w 2987325"/>
                  <a:gd name="connsiteY16" fmla="*/ 0 h 532759"/>
                  <a:gd name="connsiteX0" fmla="*/ 52095 w 3039420"/>
                  <a:gd name="connsiteY0" fmla="*/ 452836 h 532759"/>
                  <a:gd name="connsiteX1" fmla="*/ 52095 w 3039420"/>
                  <a:gd name="connsiteY1" fmla="*/ 452837 h 532759"/>
                  <a:gd name="connsiteX2" fmla="*/ 52095 w 3039420"/>
                  <a:gd name="connsiteY2" fmla="*/ 452837 h 532759"/>
                  <a:gd name="connsiteX3" fmla="*/ 52095 w 3039420"/>
                  <a:gd name="connsiteY3" fmla="*/ 452836 h 532759"/>
                  <a:gd name="connsiteX4" fmla="*/ 467697 w 3039420"/>
                  <a:gd name="connsiteY4" fmla="*/ 0 h 532759"/>
                  <a:gd name="connsiteX5" fmla="*/ 2623817 w 3039420"/>
                  <a:gd name="connsiteY5" fmla="*/ 0 h 532759"/>
                  <a:gd name="connsiteX6" fmla="*/ 2713714 w 3039420"/>
                  <a:gd name="connsiteY6" fmla="*/ 43929 h 532759"/>
                  <a:gd name="connsiteX7" fmla="*/ 3039419 w 3039420"/>
                  <a:gd name="connsiteY7" fmla="*/ 369634 h 532759"/>
                  <a:gd name="connsiteX8" fmla="*/ 3039420 w 3039420"/>
                  <a:gd name="connsiteY8" fmla="*/ 452837 h 532759"/>
                  <a:gd name="connsiteX9" fmla="*/ 3039419 w 3039420"/>
                  <a:gd name="connsiteY9" fmla="*/ 452837 h 532759"/>
                  <a:gd name="connsiteX10" fmla="*/ 2959497 w 3039420"/>
                  <a:gd name="connsiteY10" fmla="*/ 532759 h 532759"/>
                  <a:gd name="connsiteX11" fmla="*/ 132017 w 3039420"/>
                  <a:gd name="connsiteY11" fmla="*/ 532758 h 532759"/>
                  <a:gd name="connsiteX12" fmla="*/ 52095 w 3039420"/>
                  <a:gd name="connsiteY12" fmla="*/ 452837 h 532759"/>
                  <a:gd name="connsiteX13" fmla="*/ 2 w 3039420"/>
                  <a:gd name="connsiteY13" fmla="*/ 414279 h 532759"/>
                  <a:gd name="connsiteX14" fmla="*/ 52095 w 3039420"/>
                  <a:gd name="connsiteY14" fmla="*/ 369634 h 532759"/>
                  <a:gd name="connsiteX15" fmla="*/ 377800 w 3039420"/>
                  <a:gd name="connsiteY15" fmla="*/ 43929 h 532759"/>
                  <a:gd name="connsiteX16" fmla="*/ 467697 w 3039420"/>
                  <a:gd name="connsiteY16" fmla="*/ 0 h 532759"/>
                  <a:gd name="connsiteX0" fmla="*/ 0 w 2987325"/>
                  <a:gd name="connsiteY0" fmla="*/ 452836 h 532759"/>
                  <a:gd name="connsiteX1" fmla="*/ 0 w 2987325"/>
                  <a:gd name="connsiteY1" fmla="*/ 452837 h 532759"/>
                  <a:gd name="connsiteX2" fmla="*/ 0 w 2987325"/>
                  <a:gd name="connsiteY2" fmla="*/ 452837 h 532759"/>
                  <a:gd name="connsiteX3" fmla="*/ 0 w 2987325"/>
                  <a:gd name="connsiteY3" fmla="*/ 452836 h 532759"/>
                  <a:gd name="connsiteX4" fmla="*/ 415602 w 2987325"/>
                  <a:gd name="connsiteY4" fmla="*/ 0 h 532759"/>
                  <a:gd name="connsiteX5" fmla="*/ 2571722 w 2987325"/>
                  <a:gd name="connsiteY5" fmla="*/ 0 h 532759"/>
                  <a:gd name="connsiteX6" fmla="*/ 2661619 w 2987325"/>
                  <a:gd name="connsiteY6" fmla="*/ 43929 h 532759"/>
                  <a:gd name="connsiteX7" fmla="*/ 2987324 w 2987325"/>
                  <a:gd name="connsiteY7" fmla="*/ 369634 h 532759"/>
                  <a:gd name="connsiteX8" fmla="*/ 2987325 w 2987325"/>
                  <a:gd name="connsiteY8" fmla="*/ 452837 h 532759"/>
                  <a:gd name="connsiteX9" fmla="*/ 2987324 w 2987325"/>
                  <a:gd name="connsiteY9" fmla="*/ 452837 h 532759"/>
                  <a:gd name="connsiteX10" fmla="*/ 2907402 w 2987325"/>
                  <a:gd name="connsiteY10" fmla="*/ 532759 h 532759"/>
                  <a:gd name="connsiteX11" fmla="*/ 79922 w 2987325"/>
                  <a:gd name="connsiteY11" fmla="*/ 532758 h 532759"/>
                  <a:gd name="connsiteX12" fmla="*/ 0 w 2987325"/>
                  <a:gd name="connsiteY12" fmla="*/ 452837 h 532759"/>
                  <a:gd name="connsiteX13" fmla="*/ 0 w 2987325"/>
                  <a:gd name="connsiteY13" fmla="*/ 369634 h 532759"/>
                  <a:gd name="connsiteX14" fmla="*/ 325705 w 2987325"/>
                  <a:gd name="connsiteY14" fmla="*/ 43929 h 532759"/>
                  <a:gd name="connsiteX15" fmla="*/ 415602 w 2987325"/>
                  <a:gd name="connsiteY15" fmla="*/ 0 h 53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7325" h="532759">
                    <a:moveTo>
                      <a:pt x="0" y="452836"/>
                    </a:moveTo>
                    <a:lnTo>
                      <a:pt x="0" y="452837"/>
                    </a:lnTo>
                    <a:lnTo>
                      <a:pt x="0" y="452837"/>
                    </a:lnTo>
                    <a:lnTo>
                      <a:pt x="0" y="452836"/>
                    </a:lnTo>
                    <a:close/>
                    <a:moveTo>
                      <a:pt x="415602" y="0"/>
                    </a:moveTo>
                    <a:lnTo>
                      <a:pt x="2571722" y="0"/>
                    </a:lnTo>
                    <a:cubicBezTo>
                      <a:pt x="2608397" y="0"/>
                      <a:pt x="2641174" y="16692"/>
                      <a:pt x="2661619" y="43929"/>
                    </a:cubicBezTo>
                    <a:lnTo>
                      <a:pt x="2987324" y="369634"/>
                    </a:lnTo>
                    <a:cubicBezTo>
                      <a:pt x="2987324" y="397368"/>
                      <a:pt x="2987325" y="425103"/>
                      <a:pt x="2987325" y="452837"/>
                    </a:cubicBezTo>
                    <a:lnTo>
                      <a:pt x="2987324" y="452837"/>
                    </a:lnTo>
                    <a:cubicBezTo>
                      <a:pt x="2987324" y="496977"/>
                      <a:pt x="2951542" y="532759"/>
                      <a:pt x="2907402" y="532759"/>
                    </a:cubicBezTo>
                    <a:lnTo>
                      <a:pt x="79922" y="532758"/>
                    </a:lnTo>
                    <a:cubicBezTo>
                      <a:pt x="35782" y="532758"/>
                      <a:pt x="1" y="496977"/>
                      <a:pt x="0" y="452837"/>
                    </a:cubicBezTo>
                    <a:lnTo>
                      <a:pt x="0" y="369634"/>
                    </a:lnTo>
                    <a:lnTo>
                      <a:pt x="325705" y="43929"/>
                    </a:lnTo>
                    <a:cubicBezTo>
                      <a:pt x="346150" y="16692"/>
                      <a:pt x="378927" y="0"/>
                      <a:pt x="415602" y="0"/>
                    </a:cubicBezTo>
                    <a:close/>
                  </a:path>
                </a:pathLst>
              </a:cu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99" name="Rounded Rectangle 98"/>
              <p:cNvSpPr/>
              <p:nvPr/>
            </p:nvSpPr>
            <p:spPr bwMode="gray">
              <a:xfrm>
                <a:off x="6464260" y="3201880"/>
                <a:ext cx="269634" cy="170853"/>
              </a:xfrm>
              <a:prstGeom prst="roundRect">
                <a:avLst>
                  <a:gd name="adj" fmla="val 6562"/>
                </a:avLst>
              </a:pr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100" name="Rounded Rectangle 99"/>
              <p:cNvSpPr/>
              <p:nvPr/>
            </p:nvSpPr>
            <p:spPr bwMode="gray">
              <a:xfrm>
                <a:off x="6475373" y="3218276"/>
                <a:ext cx="247408" cy="139718"/>
              </a:xfrm>
              <a:prstGeom prst="roundRect">
                <a:avLst>
                  <a:gd name="adj" fmla="val 1255"/>
                </a:avLst>
              </a:prstGeom>
              <a:grpFill/>
              <a:ln w="28575">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101" name="Rounded Rectangle 24"/>
              <p:cNvSpPr/>
              <p:nvPr/>
            </p:nvSpPr>
            <p:spPr bwMode="gray">
              <a:xfrm flipH="1">
                <a:off x="6541718" y="3414663"/>
                <a:ext cx="114718" cy="19999"/>
              </a:xfrm>
              <a:custGeom>
                <a:avLst/>
                <a:gdLst/>
                <a:ahLst/>
                <a:cxnLst/>
                <a:rect l="l" t="t" r="r" b="b"/>
                <a:pathLst>
                  <a:path w="1583620" h="236220">
                    <a:moveTo>
                      <a:pt x="768950" y="181801"/>
                    </a:moveTo>
                    <a:lnTo>
                      <a:pt x="24017" y="181801"/>
                    </a:lnTo>
                    <a:lnTo>
                      <a:pt x="0" y="236220"/>
                    </a:lnTo>
                    <a:lnTo>
                      <a:pt x="768950" y="236220"/>
                    </a:lnTo>
                    <a:close/>
                    <a:moveTo>
                      <a:pt x="1559604" y="181801"/>
                    </a:moveTo>
                    <a:lnTo>
                      <a:pt x="814669" y="181801"/>
                    </a:lnTo>
                    <a:lnTo>
                      <a:pt x="814669" y="236220"/>
                    </a:lnTo>
                    <a:lnTo>
                      <a:pt x="1583620" y="236220"/>
                    </a:lnTo>
                    <a:close/>
                    <a:moveTo>
                      <a:pt x="1479370" y="0"/>
                    </a:moveTo>
                    <a:lnTo>
                      <a:pt x="104252" y="0"/>
                    </a:lnTo>
                    <a:lnTo>
                      <a:pt x="44195" y="136082"/>
                    </a:lnTo>
                    <a:lnTo>
                      <a:pt x="1539427" y="136082"/>
                    </a:lnTo>
                    <a:close/>
                  </a:path>
                </a:pathLst>
              </a:custGeom>
              <a:grpFill/>
              <a:ln w="28575">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grpSp>
        <p:pic>
          <p:nvPicPr>
            <p:cNvPr id="88" name="Picture 2" descr="image001"/>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gray">
            <a:xfrm>
              <a:off x="9536835" y="-3426761"/>
              <a:ext cx="1507533" cy="68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Title 2"/>
          <p:cNvSpPr>
            <a:spLocks noGrp="1"/>
          </p:cNvSpPr>
          <p:nvPr>
            <p:ph type="title"/>
          </p:nvPr>
        </p:nvSpPr>
        <p:spPr bwMode="gray"/>
        <p:txBody>
          <a:bodyPr/>
          <a:lstStyle/>
          <a:p>
            <a:r>
              <a:rPr lang="de-DE" dirty="0" err="1"/>
              <a:t>Advanced</a:t>
            </a:r>
            <a:r>
              <a:rPr lang="de-DE" dirty="0"/>
              <a:t> digital </a:t>
            </a:r>
            <a:r>
              <a:rPr lang="de-DE" dirty="0" err="1"/>
              <a:t>services</a:t>
            </a:r>
            <a:endParaRPr lang="en-US" dirty="0"/>
          </a:p>
        </p:txBody>
      </p:sp>
      <p:sp>
        <p:nvSpPr>
          <p:cNvPr id="73" name="Datumsplatzhalter 11"/>
          <p:cNvSpPr>
            <a:spLocks noGrp="1"/>
          </p:cNvSpPr>
          <p:nvPr>
            <p:ph type="dt" sz="half" idx="14"/>
          </p:nvPr>
        </p:nvSpPr>
        <p:spPr bwMode="gray">
          <a:prstGeom prst="rect">
            <a:avLst/>
          </a:prstGeom>
        </p:spPr>
        <p:txBody>
          <a:bodyPr/>
          <a:lstStyle/>
          <a:p>
            <a:fld id="{ED4418A7-E8E0-42C3-AC0C-9BF91949BA0B}" type="datetime4">
              <a:rPr lang="en-US" smtClean="0"/>
              <a:t>September 8, 2019</a:t>
            </a:fld>
            <a:endParaRPr lang="en-US" dirty="0"/>
          </a:p>
        </p:txBody>
      </p:sp>
      <p:sp>
        <p:nvSpPr>
          <p:cNvPr id="5" name="Footer Placeholder 4"/>
          <p:cNvSpPr>
            <a:spLocks noGrp="1"/>
          </p:cNvSpPr>
          <p:nvPr>
            <p:ph type="ftr" sz="quarter" idx="15"/>
          </p:nvPr>
        </p:nvSpPr>
        <p:spPr bwMode="gray"/>
        <p:txBody>
          <a:bodyPr/>
          <a:lstStyle/>
          <a:p>
            <a:pPr lvl="8"/>
            <a:endParaRPr lang="en-US" dirty="0"/>
          </a:p>
        </p:txBody>
      </p:sp>
      <p:sp>
        <p:nvSpPr>
          <p:cNvPr id="74" name="Foliennummernplatzhalter 13"/>
          <p:cNvSpPr>
            <a:spLocks noGrp="1"/>
          </p:cNvSpPr>
          <p:nvPr>
            <p:ph type="sldNum" sz="quarter" idx="16"/>
          </p:nvPr>
        </p:nvSpPr>
        <p:spPr bwMode="gray">
          <a:prstGeom prst="rect">
            <a:avLst/>
          </a:prstGeom>
        </p:spPr>
        <p:txBody>
          <a:bodyPr/>
          <a:lstStyle/>
          <a:p>
            <a:r>
              <a:rPr lang="en-US" dirty="0"/>
              <a:t>Slide </a:t>
            </a:r>
            <a:fld id="{619F89D8-7AE3-494A-97F3-03D680869632}" type="slidenum">
              <a:rPr lang="en-US" smtClean="0"/>
              <a:pPr/>
              <a:t>108</a:t>
            </a:fld>
            <a:endParaRPr lang="en-US" dirty="0"/>
          </a:p>
        </p:txBody>
      </p:sp>
      <p:sp>
        <p:nvSpPr>
          <p:cNvPr id="7" name="Subtitle 6"/>
          <p:cNvSpPr>
            <a:spLocks noGrp="1"/>
          </p:cNvSpPr>
          <p:nvPr>
            <p:ph type="subTitle" idx="13"/>
          </p:nvPr>
        </p:nvSpPr>
        <p:spPr bwMode="gray"/>
        <p:txBody>
          <a:bodyPr/>
          <a:lstStyle/>
          <a:p>
            <a:r>
              <a:rPr lang="de-DE" dirty="0" err="1"/>
              <a:t>Faster</a:t>
            </a:r>
            <a:r>
              <a:rPr lang="de-DE" dirty="0"/>
              <a:t> </a:t>
            </a:r>
            <a:r>
              <a:rPr lang="de-DE" dirty="0" err="1"/>
              <a:t>diagnosis</a:t>
            </a:r>
            <a:r>
              <a:rPr lang="de-DE" dirty="0"/>
              <a:t>, </a:t>
            </a:r>
            <a:r>
              <a:rPr lang="de-DE" dirty="0" err="1"/>
              <a:t>faster</a:t>
            </a:r>
            <a:r>
              <a:rPr lang="de-DE" dirty="0"/>
              <a:t> </a:t>
            </a:r>
            <a:r>
              <a:rPr lang="de-DE" dirty="0" err="1"/>
              <a:t>repair</a:t>
            </a:r>
            <a:r>
              <a:rPr lang="de-DE" dirty="0"/>
              <a:t>, </a:t>
            </a:r>
            <a:r>
              <a:rPr lang="de-DE" dirty="0" err="1"/>
              <a:t>higher</a:t>
            </a:r>
            <a:r>
              <a:rPr lang="de-DE" dirty="0"/>
              <a:t> </a:t>
            </a:r>
            <a:r>
              <a:rPr lang="de-DE" dirty="0" err="1"/>
              <a:t>availability</a:t>
            </a:r>
            <a:r>
              <a:rPr lang="de-DE" dirty="0"/>
              <a:t>, </a:t>
            </a:r>
            <a:r>
              <a:rPr lang="de-DE" dirty="0" err="1"/>
              <a:t>lower</a:t>
            </a:r>
            <a:r>
              <a:rPr lang="de-DE" dirty="0"/>
              <a:t> </a:t>
            </a:r>
            <a:r>
              <a:rPr lang="de-DE" dirty="0" err="1"/>
              <a:t>cost</a:t>
            </a:r>
            <a:r>
              <a:rPr lang="de-DE" dirty="0"/>
              <a:t> </a:t>
            </a:r>
            <a:r>
              <a:rPr lang="de-DE" dirty="0" err="1"/>
              <a:t>of</a:t>
            </a:r>
            <a:r>
              <a:rPr lang="de-DE" dirty="0"/>
              <a:t> </a:t>
            </a:r>
            <a:r>
              <a:rPr lang="de-DE" dirty="0" err="1"/>
              <a:t>ownership</a:t>
            </a:r>
            <a:endParaRPr lang="en-US" dirty="0"/>
          </a:p>
        </p:txBody>
      </p:sp>
      <p:sp>
        <p:nvSpPr>
          <p:cNvPr id="202" name="Isosceles Triangle 201"/>
          <p:cNvSpPr/>
          <p:nvPr/>
        </p:nvSpPr>
        <p:spPr bwMode="gray">
          <a:xfrm rot="5400000">
            <a:off x="4286780" y="3401963"/>
            <a:ext cx="462000" cy="236500"/>
          </a:xfrm>
          <a:prstGeom prst="triangl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2" name="Group 1"/>
          <p:cNvGrpSpPr/>
          <p:nvPr/>
        </p:nvGrpSpPr>
        <p:grpSpPr bwMode="gray">
          <a:xfrm>
            <a:off x="2479442" y="2671741"/>
            <a:ext cx="1190861" cy="1696945"/>
            <a:chOff x="1961888" y="2750360"/>
            <a:chExt cx="906831" cy="1292210"/>
          </a:xfrm>
        </p:grpSpPr>
        <p:grpSp>
          <p:nvGrpSpPr>
            <p:cNvPr id="144" name="Group 143"/>
            <p:cNvGrpSpPr/>
            <p:nvPr/>
          </p:nvGrpSpPr>
          <p:grpSpPr bwMode="gray">
            <a:xfrm>
              <a:off x="1961888" y="2750360"/>
              <a:ext cx="775375" cy="775377"/>
              <a:chOff x="1179628" y="-1706756"/>
              <a:chExt cx="465749" cy="465750"/>
            </a:xfrm>
          </p:grpSpPr>
          <p:grpSp>
            <p:nvGrpSpPr>
              <p:cNvPr id="145" name="Group 144"/>
              <p:cNvGrpSpPr/>
              <p:nvPr/>
            </p:nvGrpSpPr>
            <p:grpSpPr bwMode="gray">
              <a:xfrm>
                <a:off x="1179628" y="-1376691"/>
                <a:ext cx="135685" cy="135685"/>
                <a:chOff x="-4433548" y="0"/>
                <a:chExt cx="761570" cy="761570"/>
              </a:xfrm>
              <a:solidFill>
                <a:schemeClr val="bg1"/>
              </a:solidFill>
            </p:grpSpPr>
            <p:sp>
              <p:nvSpPr>
                <p:cNvPr id="156" name="Rectangle 155"/>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57" name="Rectangle 156"/>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146" name="Group 145"/>
              <p:cNvGrpSpPr/>
              <p:nvPr/>
            </p:nvGrpSpPr>
            <p:grpSpPr bwMode="gray">
              <a:xfrm>
                <a:off x="1179628" y="-1706756"/>
                <a:ext cx="135685" cy="135685"/>
                <a:chOff x="-4433548" y="0"/>
                <a:chExt cx="761570" cy="761570"/>
              </a:xfrm>
              <a:solidFill>
                <a:schemeClr val="bg1"/>
              </a:solidFill>
            </p:grpSpPr>
            <p:sp>
              <p:nvSpPr>
                <p:cNvPr id="154" name="Rectangle 153"/>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55" name="Rectangle 154"/>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147" name="Group 146"/>
              <p:cNvGrpSpPr/>
              <p:nvPr/>
            </p:nvGrpSpPr>
            <p:grpSpPr bwMode="gray">
              <a:xfrm>
                <a:off x="1509692" y="-1706756"/>
                <a:ext cx="135685" cy="135685"/>
                <a:chOff x="-4433548" y="0"/>
                <a:chExt cx="761570" cy="761570"/>
              </a:xfrm>
              <a:solidFill>
                <a:schemeClr val="bg1"/>
              </a:solidFill>
            </p:grpSpPr>
            <p:sp>
              <p:nvSpPr>
                <p:cNvPr id="152" name="Rectangle 151"/>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53" name="Rectangle 152"/>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sp>
            <p:nvSpPr>
              <p:cNvPr id="148" name="Rectangle 147"/>
              <p:cNvSpPr/>
              <p:nvPr/>
            </p:nvSpPr>
            <p:spPr bwMode="gray">
              <a:xfrm>
                <a:off x="1337475" y="-1548909"/>
                <a:ext cx="150055" cy="150056"/>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nvGrpSpPr>
              <p:cNvPr id="149" name="Group 148"/>
              <p:cNvGrpSpPr/>
              <p:nvPr/>
            </p:nvGrpSpPr>
            <p:grpSpPr bwMode="gray">
              <a:xfrm>
                <a:off x="1509692" y="-1376691"/>
                <a:ext cx="135685" cy="135685"/>
                <a:chOff x="-4433548" y="0"/>
                <a:chExt cx="761570" cy="761570"/>
              </a:xfrm>
              <a:solidFill>
                <a:schemeClr val="bg1"/>
              </a:solidFill>
            </p:grpSpPr>
            <p:sp>
              <p:nvSpPr>
                <p:cNvPr id="150" name="Rectangle 149"/>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51" name="Rectangle 150"/>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grpSp>
          <p:nvGrpSpPr>
            <p:cNvPr id="158" name="Group 157"/>
            <p:cNvGrpSpPr/>
            <p:nvPr/>
          </p:nvGrpSpPr>
          <p:grpSpPr bwMode="gray">
            <a:xfrm>
              <a:off x="2311624" y="3093230"/>
              <a:ext cx="557095" cy="949340"/>
              <a:chOff x="11582401" y="1955589"/>
              <a:chExt cx="269962" cy="460040"/>
            </a:xfrm>
            <a:solidFill>
              <a:schemeClr val="bg1"/>
            </a:solidFill>
          </p:grpSpPr>
          <p:sp>
            <p:nvSpPr>
              <p:cNvPr id="159" name="Rounded Rectangle 158"/>
              <p:cNvSpPr/>
              <p:nvPr/>
            </p:nvSpPr>
            <p:spPr bwMode="gray">
              <a:xfrm>
                <a:off x="11582401" y="1955589"/>
                <a:ext cx="269962" cy="460040"/>
              </a:xfrm>
              <a:prstGeom prst="roundRect">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60" name="Rounded Rectangle 159"/>
              <p:cNvSpPr/>
              <p:nvPr/>
            </p:nvSpPr>
            <p:spPr bwMode="gray">
              <a:xfrm>
                <a:off x="11612835" y="1988384"/>
                <a:ext cx="209094" cy="367822"/>
              </a:xfrm>
              <a:prstGeom prst="roundRect">
                <a:avLst>
                  <a:gd name="adj" fmla="val 9634"/>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sp>
            <p:nvSpPr>
              <p:cNvPr id="161" name="Oval 160"/>
              <p:cNvSpPr/>
              <p:nvPr/>
            </p:nvSpPr>
            <p:spPr bwMode="gray">
              <a:xfrm>
                <a:off x="11704001" y="2371419"/>
                <a:ext cx="26762" cy="26762"/>
              </a:xfrm>
              <a:prstGeom prst="ellipse">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sp>
          <p:nvSpPr>
            <p:cNvPr id="203" name="L-Shape 497"/>
            <p:cNvSpPr/>
            <p:nvPr/>
          </p:nvSpPr>
          <p:spPr bwMode="gray">
            <a:xfrm rot="18900000">
              <a:off x="2477038" y="3516237"/>
              <a:ext cx="226267" cy="103327"/>
            </a:xfrm>
            <a:custGeom>
              <a:avLst/>
              <a:gdLst/>
              <a:ahLst/>
              <a:cxnLst/>
              <a:rect l="l" t="t" r="r" b="b"/>
              <a:pathLst>
                <a:path w="1084084" h="495058">
                  <a:moveTo>
                    <a:pt x="1084084" y="425460"/>
                  </a:moveTo>
                  <a:lnTo>
                    <a:pt x="1084084" y="495058"/>
                  </a:lnTo>
                  <a:lnTo>
                    <a:pt x="0" y="495058"/>
                  </a:lnTo>
                  <a:lnTo>
                    <a:pt x="0" y="0"/>
                  </a:lnTo>
                  <a:lnTo>
                    <a:pt x="74683" y="0"/>
                  </a:lnTo>
                  <a:lnTo>
                    <a:pt x="74683" y="425460"/>
                  </a:lnTo>
                  <a:close/>
                </a:path>
              </a:pathLst>
            </a:custGeom>
            <a:noFill/>
            <a:ln w="28575">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de-DE" dirty="0" err="1">
                <a:solidFill>
                  <a:schemeClr val="bg1"/>
                </a:solidFill>
                <a:latin typeface="Arial" pitchFamily="34" charset="0"/>
                <a:cs typeface="Arial" pitchFamily="34" charset="0"/>
              </a:endParaRPr>
            </a:p>
          </p:txBody>
        </p:sp>
      </p:grpSp>
      <p:grpSp>
        <p:nvGrpSpPr>
          <p:cNvPr id="236" name="Group 235"/>
          <p:cNvGrpSpPr/>
          <p:nvPr/>
        </p:nvGrpSpPr>
        <p:grpSpPr bwMode="gray">
          <a:xfrm>
            <a:off x="5365257" y="2789154"/>
            <a:ext cx="1462118" cy="1462118"/>
            <a:chOff x="5364941" y="2672916"/>
            <a:chExt cx="1462118" cy="1462118"/>
          </a:xfrm>
        </p:grpSpPr>
        <p:grpSp>
          <p:nvGrpSpPr>
            <p:cNvPr id="237" name="Group 236"/>
            <p:cNvGrpSpPr/>
            <p:nvPr/>
          </p:nvGrpSpPr>
          <p:grpSpPr bwMode="gray">
            <a:xfrm>
              <a:off x="5364941" y="2672916"/>
              <a:ext cx="1462118" cy="1462118"/>
              <a:chOff x="4470600" y="1778575"/>
              <a:chExt cx="3250800" cy="3250800"/>
            </a:xfrm>
          </p:grpSpPr>
          <p:sp>
            <p:nvSpPr>
              <p:cNvPr id="239" name="Rectangle 238"/>
              <p:cNvSpPr/>
              <p:nvPr/>
            </p:nvSpPr>
            <p:spPr bwMode="gray">
              <a:xfrm>
                <a:off x="4470600" y="1778575"/>
                <a:ext cx="3250800" cy="3250800"/>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240" name="Group 239"/>
              <p:cNvGrpSpPr/>
              <p:nvPr/>
            </p:nvGrpSpPr>
            <p:grpSpPr bwMode="gray">
              <a:xfrm>
                <a:off x="5042861" y="2484399"/>
                <a:ext cx="2106279" cy="2106279"/>
                <a:chOff x="5026040" y="2484399"/>
                <a:chExt cx="2106279" cy="2106279"/>
              </a:xfrm>
            </p:grpSpPr>
            <p:sp>
              <p:nvSpPr>
                <p:cNvPr id="241" name="Oval 15"/>
                <p:cNvSpPr/>
                <p:nvPr/>
              </p:nvSpPr>
              <p:spPr bwMode="gray">
                <a:xfrm>
                  <a:off x="5915346" y="2993761"/>
                  <a:ext cx="377408" cy="494293"/>
                </a:xfrm>
                <a:custGeom>
                  <a:avLst/>
                  <a:gdLst/>
                  <a:ahLst/>
                  <a:cxnLst/>
                  <a:rect l="l" t="t" r="r" b="b"/>
                  <a:pathLst>
                    <a:path w="362848" h="475224">
                      <a:moveTo>
                        <a:pt x="180337" y="0"/>
                      </a:moveTo>
                      <a:cubicBezTo>
                        <a:pt x="180432" y="9"/>
                        <a:pt x="180526" y="19"/>
                        <a:pt x="180616" y="82"/>
                      </a:cubicBezTo>
                      <a:cubicBezTo>
                        <a:pt x="180885" y="1"/>
                        <a:pt x="181154" y="0"/>
                        <a:pt x="181424" y="0"/>
                      </a:cubicBezTo>
                      <a:cubicBezTo>
                        <a:pt x="281622" y="0"/>
                        <a:pt x="362848" y="81226"/>
                        <a:pt x="362848" y="181424"/>
                      </a:cubicBezTo>
                      <a:cubicBezTo>
                        <a:pt x="362848" y="207554"/>
                        <a:pt x="357324" y="232394"/>
                        <a:pt x="346861" y="254609"/>
                      </a:cubicBezTo>
                      <a:cubicBezTo>
                        <a:pt x="321955" y="319398"/>
                        <a:pt x="261993" y="402608"/>
                        <a:pt x="180337" y="475224"/>
                      </a:cubicBezTo>
                      <a:cubicBezTo>
                        <a:pt x="90217" y="395081"/>
                        <a:pt x="26520" y="302031"/>
                        <a:pt x="8852" y="234647"/>
                      </a:cubicBezTo>
                      <a:cubicBezTo>
                        <a:pt x="5629" y="227170"/>
                        <a:pt x="3749" y="219213"/>
                        <a:pt x="2969" y="210981"/>
                      </a:cubicBezTo>
                      <a:cubicBezTo>
                        <a:pt x="788" y="207406"/>
                        <a:pt x="440" y="203728"/>
                        <a:pt x="286" y="200188"/>
                      </a:cubicBezTo>
                      <a:lnTo>
                        <a:pt x="0" y="200188"/>
                      </a:lnTo>
                      <a:lnTo>
                        <a:pt x="83" y="199359"/>
                      </a:lnTo>
                      <a:cubicBezTo>
                        <a:pt x="8" y="199247"/>
                        <a:pt x="4" y="199132"/>
                        <a:pt x="0" y="199017"/>
                      </a:cubicBezTo>
                      <a:lnTo>
                        <a:pt x="118" y="199017"/>
                      </a:lnTo>
                      <a:lnTo>
                        <a:pt x="1202" y="193389"/>
                      </a:lnTo>
                      <a:cubicBezTo>
                        <a:pt x="132" y="189470"/>
                        <a:pt x="0" y="185462"/>
                        <a:pt x="0" y="181424"/>
                      </a:cubicBezTo>
                      <a:cubicBezTo>
                        <a:pt x="0" y="81784"/>
                        <a:pt x="80324" y="905"/>
                        <a:pt x="179753" y="171"/>
                      </a:cubicBezTo>
                      <a:cubicBezTo>
                        <a:pt x="179940" y="40"/>
                        <a:pt x="180139" y="20"/>
                        <a:pt x="180337" y="0"/>
                      </a:cubicBezTo>
                      <a:close/>
                    </a:path>
                  </a:pathLst>
                </a:cu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42" name="Oval 241"/>
                <p:cNvSpPr/>
                <p:nvPr/>
              </p:nvSpPr>
              <p:spPr bwMode="gray">
                <a:xfrm>
                  <a:off x="6054520" y="3132322"/>
                  <a:ext cx="99060" cy="99060"/>
                </a:xfrm>
                <a:prstGeom prst="ellipse">
                  <a:avLst/>
                </a:prstGeom>
                <a:solidFill>
                  <a:schemeClr val="tx2"/>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243" name="Group 242"/>
                <p:cNvGrpSpPr/>
                <p:nvPr/>
              </p:nvGrpSpPr>
              <p:grpSpPr bwMode="gray">
                <a:xfrm>
                  <a:off x="5559286" y="3513466"/>
                  <a:ext cx="495234" cy="493240"/>
                  <a:chOff x="5559286" y="3513466"/>
                  <a:chExt cx="495234" cy="493240"/>
                </a:xfrm>
              </p:grpSpPr>
              <p:sp>
                <p:nvSpPr>
                  <p:cNvPr id="254" name="Oval 253"/>
                  <p:cNvSpPr/>
                  <p:nvPr/>
                </p:nvSpPr>
                <p:spPr bwMode="gray">
                  <a:xfrm>
                    <a:off x="5648355" y="3600540"/>
                    <a:ext cx="319090" cy="319090"/>
                  </a:xfrm>
                  <a:prstGeom prst="ellips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255" name="Straight Connector 254"/>
                  <p:cNvCxnSpPr/>
                  <p:nvPr/>
                </p:nvCxnSpPr>
                <p:spPr bwMode="gray">
                  <a:xfrm flipH="1">
                    <a:off x="5967446" y="3760086"/>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56" name="Straight Connector 255"/>
                  <p:cNvCxnSpPr/>
                  <p:nvPr/>
                </p:nvCxnSpPr>
                <p:spPr bwMode="gray">
                  <a:xfrm flipH="1">
                    <a:off x="5559286" y="3760085"/>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57" name="Straight Connector 256"/>
                  <p:cNvCxnSpPr/>
                  <p:nvPr/>
                </p:nvCxnSpPr>
                <p:spPr bwMode="gray">
                  <a:xfrm rot="2700000" flipH="1">
                    <a:off x="5620763" y="3616484"/>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58" name="Straight Connector 257"/>
                  <p:cNvCxnSpPr/>
                  <p:nvPr/>
                </p:nvCxnSpPr>
                <p:spPr bwMode="gray">
                  <a:xfrm rot="18900000">
                    <a:off x="5907963" y="3616484"/>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59" name="Straight Connector 258"/>
                  <p:cNvCxnSpPr/>
                  <p:nvPr/>
                </p:nvCxnSpPr>
                <p:spPr bwMode="gray">
                  <a:xfrm rot="5400000" flipH="1">
                    <a:off x="5764856" y="3557003"/>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60" name="Straight Connector 259"/>
                  <p:cNvCxnSpPr/>
                  <p:nvPr/>
                </p:nvCxnSpPr>
                <p:spPr bwMode="gray">
                  <a:xfrm rot="13500000" flipH="1">
                    <a:off x="5905969" y="3903688"/>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61" name="Straight Connector 260"/>
                  <p:cNvCxnSpPr/>
                  <p:nvPr/>
                </p:nvCxnSpPr>
                <p:spPr bwMode="gray">
                  <a:xfrm rot="8100000">
                    <a:off x="5618769" y="3903688"/>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62" name="Straight Connector 261"/>
                  <p:cNvCxnSpPr/>
                  <p:nvPr/>
                </p:nvCxnSpPr>
                <p:spPr bwMode="gray">
                  <a:xfrm rot="16200000" flipH="1">
                    <a:off x="5761876" y="3963169"/>
                    <a:ext cx="87074" cy="0"/>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244" name="Group 243"/>
                <p:cNvGrpSpPr/>
                <p:nvPr/>
              </p:nvGrpSpPr>
              <p:grpSpPr bwMode="gray">
                <a:xfrm>
                  <a:off x="6227309" y="3542862"/>
                  <a:ext cx="374741" cy="422846"/>
                  <a:chOff x="6227309" y="3547942"/>
                  <a:chExt cx="374741" cy="422846"/>
                </a:xfrm>
              </p:grpSpPr>
              <p:sp>
                <p:nvSpPr>
                  <p:cNvPr id="251" name="Rectangle 49"/>
                  <p:cNvSpPr/>
                  <p:nvPr/>
                </p:nvSpPr>
                <p:spPr bwMode="gray">
                  <a:xfrm>
                    <a:off x="6227309" y="3547942"/>
                    <a:ext cx="374741" cy="422846"/>
                  </a:xfrm>
                  <a:custGeom>
                    <a:avLst/>
                    <a:gdLst>
                      <a:gd name="connsiteX0" fmla="*/ 187370 w 374741"/>
                      <a:gd name="connsiteY0" fmla="*/ 0 h 422846"/>
                      <a:gd name="connsiteX1" fmla="*/ 374740 w 374741"/>
                      <a:gd name="connsiteY1" fmla="*/ 112815 h 422846"/>
                      <a:gd name="connsiteX2" fmla="*/ 251188 w 374741"/>
                      <a:gd name="connsiteY2" fmla="*/ 310031 h 422846"/>
                      <a:gd name="connsiteX3" fmla="*/ 374741 w 374741"/>
                      <a:gd name="connsiteY3" fmla="*/ 310031 h 422846"/>
                      <a:gd name="connsiteX4" fmla="*/ 187371 w 374741"/>
                      <a:gd name="connsiteY4" fmla="*/ 422846 h 422846"/>
                      <a:gd name="connsiteX5" fmla="*/ 1 w 374741"/>
                      <a:gd name="connsiteY5" fmla="*/ 310031 h 422846"/>
                      <a:gd name="connsiteX6" fmla="*/ 123553 w 374741"/>
                      <a:gd name="connsiteY6" fmla="*/ 310031 h 422846"/>
                      <a:gd name="connsiteX7" fmla="*/ 123553 w 374741"/>
                      <a:gd name="connsiteY7" fmla="*/ 112815 h 422846"/>
                      <a:gd name="connsiteX8" fmla="*/ 0 w 374741"/>
                      <a:gd name="connsiteY8" fmla="*/ 112815 h 422846"/>
                      <a:gd name="connsiteX9" fmla="*/ 187370 w 374741"/>
                      <a:gd name="connsiteY9"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123553 w 374741"/>
                      <a:gd name="connsiteY6" fmla="*/ 112815 h 422846"/>
                      <a:gd name="connsiteX7" fmla="*/ 0 w 374741"/>
                      <a:gd name="connsiteY7" fmla="*/ 112815 h 422846"/>
                      <a:gd name="connsiteX8" fmla="*/ 187370 w 374741"/>
                      <a:gd name="connsiteY8"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0 w 374741"/>
                      <a:gd name="connsiteY6" fmla="*/ 112815 h 422846"/>
                      <a:gd name="connsiteX7" fmla="*/ 187370 w 374741"/>
                      <a:gd name="connsiteY7"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0 w 374741"/>
                      <a:gd name="connsiteY5" fmla="*/ 112815 h 422846"/>
                      <a:gd name="connsiteX6" fmla="*/ 187370 w 374741"/>
                      <a:gd name="connsiteY6" fmla="*/ 0 h 42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741" h="422846">
                        <a:moveTo>
                          <a:pt x="187370" y="0"/>
                        </a:moveTo>
                        <a:lnTo>
                          <a:pt x="374740" y="112815"/>
                        </a:lnTo>
                        <a:cubicBezTo>
                          <a:pt x="374740" y="178554"/>
                          <a:pt x="374741" y="244292"/>
                          <a:pt x="374741" y="310031"/>
                        </a:cubicBezTo>
                        <a:lnTo>
                          <a:pt x="187371" y="422846"/>
                        </a:lnTo>
                        <a:lnTo>
                          <a:pt x="1" y="310031"/>
                        </a:lnTo>
                        <a:cubicBezTo>
                          <a:pt x="1" y="244292"/>
                          <a:pt x="0" y="178554"/>
                          <a:pt x="0" y="112815"/>
                        </a:cubicBezTo>
                        <a:lnTo>
                          <a:pt x="187370" y="0"/>
                        </a:lnTo>
                        <a:close/>
                      </a:path>
                    </a:pathLst>
                  </a:cu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52" name="Rectangle 49"/>
                  <p:cNvSpPr/>
                  <p:nvPr/>
                </p:nvSpPr>
                <p:spPr bwMode="gray">
                  <a:xfrm rot="10800000">
                    <a:off x="6227309" y="3659059"/>
                    <a:ext cx="374740" cy="112815"/>
                  </a:xfrm>
                  <a:custGeom>
                    <a:avLst/>
                    <a:gdLst>
                      <a:gd name="connsiteX0" fmla="*/ 187370 w 374741"/>
                      <a:gd name="connsiteY0" fmla="*/ 0 h 422846"/>
                      <a:gd name="connsiteX1" fmla="*/ 374740 w 374741"/>
                      <a:gd name="connsiteY1" fmla="*/ 112815 h 422846"/>
                      <a:gd name="connsiteX2" fmla="*/ 251188 w 374741"/>
                      <a:gd name="connsiteY2" fmla="*/ 310031 h 422846"/>
                      <a:gd name="connsiteX3" fmla="*/ 374741 w 374741"/>
                      <a:gd name="connsiteY3" fmla="*/ 310031 h 422846"/>
                      <a:gd name="connsiteX4" fmla="*/ 187371 w 374741"/>
                      <a:gd name="connsiteY4" fmla="*/ 422846 h 422846"/>
                      <a:gd name="connsiteX5" fmla="*/ 1 w 374741"/>
                      <a:gd name="connsiteY5" fmla="*/ 310031 h 422846"/>
                      <a:gd name="connsiteX6" fmla="*/ 123553 w 374741"/>
                      <a:gd name="connsiteY6" fmla="*/ 310031 h 422846"/>
                      <a:gd name="connsiteX7" fmla="*/ 123553 w 374741"/>
                      <a:gd name="connsiteY7" fmla="*/ 112815 h 422846"/>
                      <a:gd name="connsiteX8" fmla="*/ 0 w 374741"/>
                      <a:gd name="connsiteY8" fmla="*/ 112815 h 422846"/>
                      <a:gd name="connsiteX9" fmla="*/ 187370 w 374741"/>
                      <a:gd name="connsiteY9"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123553 w 374741"/>
                      <a:gd name="connsiteY6" fmla="*/ 112815 h 422846"/>
                      <a:gd name="connsiteX7" fmla="*/ 0 w 374741"/>
                      <a:gd name="connsiteY7" fmla="*/ 112815 h 422846"/>
                      <a:gd name="connsiteX8" fmla="*/ 187370 w 374741"/>
                      <a:gd name="connsiteY8"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123553 w 374741"/>
                      <a:gd name="connsiteY5" fmla="*/ 310031 h 422846"/>
                      <a:gd name="connsiteX6" fmla="*/ 0 w 374741"/>
                      <a:gd name="connsiteY6" fmla="*/ 112815 h 422846"/>
                      <a:gd name="connsiteX7" fmla="*/ 187370 w 374741"/>
                      <a:gd name="connsiteY7" fmla="*/ 0 h 422846"/>
                      <a:gd name="connsiteX0" fmla="*/ 187370 w 374741"/>
                      <a:gd name="connsiteY0" fmla="*/ 0 h 422846"/>
                      <a:gd name="connsiteX1" fmla="*/ 374740 w 374741"/>
                      <a:gd name="connsiteY1" fmla="*/ 112815 h 422846"/>
                      <a:gd name="connsiteX2" fmla="*/ 374741 w 374741"/>
                      <a:gd name="connsiteY2" fmla="*/ 310031 h 422846"/>
                      <a:gd name="connsiteX3" fmla="*/ 187371 w 374741"/>
                      <a:gd name="connsiteY3" fmla="*/ 422846 h 422846"/>
                      <a:gd name="connsiteX4" fmla="*/ 1 w 374741"/>
                      <a:gd name="connsiteY4" fmla="*/ 310031 h 422846"/>
                      <a:gd name="connsiteX5" fmla="*/ 0 w 374741"/>
                      <a:gd name="connsiteY5" fmla="*/ 112815 h 422846"/>
                      <a:gd name="connsiteX6" fmla="*/ 187370 w 374741"/>
                      <a:gd name="connsiteY6" fmla="*/ 0 h 422846"/>
                      <a:gd name="connsiteX0" fmla="*/ 187370 w 374740"/>
                      <a:gd name="connsiteY0" fmla="*/ 0 h 422846"/>
                      <a:gd name="connsiteX1" fmla="*/ 374740 w 374740"/>
                      <a:gd name="connsiteY1" fmla="*/ 112815 h 422846"/>
                      <a:gd name="connsiteX2" fmla="*/ 187371 w 374740"/>
                      <a:gd name="connsiteY2" fmla="*/ 422846 h 422846"/>
                      <a:gd name="connsiteX3" fmla="*/ 1 w 374740"/>
                      <a:gd name="connsiteY3" fmla="*/ 310031 h 422846"/>
                      <a:gd name="connsiteX4" fmla="*/ 0 w 374740"/>
                      <a:gd name="connsiteY4" fmla="*/ 112815 h 422846"/>
                      <a:gd name="connsiteX5" fmla="*/ 187370 w 374740"/>
                      <a:gd name="connsiteY5" fmla="*/ 0 h 422846"/>
                      <a:gd name="connsiteX0" fmla="*/ 187370 w 374740"/>
                      <a:gd name="connsiteY0" fmla="*/ 0 h 422846"/>
                      <a:gd name="connsiteX1" fmla="*/ 374740 w 374740"/>
                      <a:gd name="connsiteY1" fmla="*/ 112815 h 422846"/>
                      <a:gd name="connsiteX2" fmla="*/ 187371 w 374740"/>
                      <a:gd name="connsiteY2" fmla="*/ 422846 h 422846"/>
                      <a:gd name="connsiteX3" fmla="*/ 0 w 374740"/>
                      <a:gd name="connsiteY3" fmla="*/ 112815 h 422846"/>
                      <a:gd name="connsiteX4" fmla="*/ 187370 w 374740"/>
                      <a:gd name="connsiteY4" fmla="*/ 0 h 422846"/>
                      <a:gd name="connsiteX0" fmla="*/ 187371 w 374740"/>
                      <a:gd name="connsiteY0" fmla="*/ 422846 h 514286"/>
                      <a:gd name="connsiteX1" fmla="*/ 0 w 374740"/>
                      <a:gd name="connsiteY1" fmla="*/ 112815 h 514286"/>
                      <a:gd name="connsiteX2" fmla="*/ 187370 w 374740"/>
                      <a:gd name="connsiteY2" fmla="*/ 0 h 514286"/>
                      <a:gd name="connsiteX3" fmla="*/ 374740 w 374740"/>
                      <a:gd name="connsiteY3" fmla="*/ 112815 h 514286"/>
                      <a:gd name="connsiteX4" fmla="*/ 278811 w 374740"/>
                      <a:gd name="connsiteY4" fmla="*/ 514286 h 514286"/>
                      <a:gd name="connsiteX0" fmla="*/ 187371 w 374740"/>
                      <a:gd name="connsiteY0" fmla="*/ 422846 h 422846"/>
                      <a:gd name="connsiteX1" fmla="*/ 0 w 374740"/>
                      <a:gd name="connsiteY1" fmla="*/ 112815 h 422846"/>
                      <a:gd name="connsiteX2" fmla="*/ 187370 w 374740"/>
                      <a:gd name="connsiteY2" fmla="*/ 0 h 422846"/>
                      <a:gd name="connsiteX3" fmla="*/ 374740 w 374740"/>
                      <a:gd name="connsiteY3" fmla="*/ 112815 h 422846"/>
                      <a:gd name="connsiteX0" fmla="*/ 0 w 374740"/>
                      <a:gd name="connsiteY0" fmla="*/ 112815 h 112815"/>
                      <a:gd name="connsiteX1" fmla="*/ 187370 w 374740"/>
                      <a:gd name="connsiteY1" fmla="*/ 0 h 112815"/>
                      <a:gd name="connsiteX2" fmla="*/ 374740 w 374740"/>
                      <a:gd name="connsiteY2" fmla="*/ 112815 h 112815"/>
                    </a:gdLst>
                    <a:ahLst/>
                    <a:cxnLst>
                      <a:cxn ang="0">
                        <a:pos x="connsiteX0" y="connsiteY0"/>
                      </a:cxn>
                      <a:cxn ang="0">
                        <a:pos x="connsiteX1" y="connsiteY1"/>
                      </a:cxn>
                      <a:cxn ang="0">
                        <a:pos x="connsiteX2" y="connsiteY2"/>
                      </a:cxn>
                    </a:cxnLst>
                    <a:rect l="l" t="t" r="r" b="b"/>
                    <a:pathLst>
                      <a:path w="374740" h="112815">
                        <a:moveTo>
                          <a:pt x="0" y="112815"/>
                        </a:moveTo>
                        <a:lnTo>
                          <a:pt x="187370" y="0"/>
                        </a:lnTo>
                        <a:lnTo>
                          <a:pt x="374740" y="112815"/>
                        </a:lnTo>
                      </a:path>
                    </a:pathLst>
                  </a:cu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253" name="Straight Connector 252"/>
                  <p:cNvCxnSpPr>
                    <a:stCxn id="252" idx="1"/>
                    <a:endCxn id="251" idx="3"/>
                  </p:cNvCxnSpPr>
                  <p:nvPr/>
                </p:nvCxnSpPr>
                <p:spPr bwMode="gray">
                  <a:xfrm>
                    <a:off x="6414679" y="3771874"/>
                    <a:ext cx="1" cy="198914"/>
                  </a:xfrm>
                  <a:prstGeom prst="line">
                    <a:avLst/>
                  </a:prstGeom>
                  <a:grp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245" name="Group 244"/>
                <p:cNvGrpSpPr/>
                <p:nvPr/>
              </p:nvGrpSpPr>
              <p:grpSpPr bwMode="gray">
                <a:xfrm>
                  <a:off x="5252533" y="2713671"/>
                  <a:ext cx="1656188" cy="1656184"/>
                  <a:chOff x="-925025" y="-931749"/>
                  <a:chExt cx="1494000" cy="1494000"/>
                </a:xfrm>
              </p:grpSpPr>
              <p:sp>
                <p:nvSpPr>
                  <p:cNvPr id="249" name="Arc 248"/>
                  <p:cNvSpPr>
                    <a:spLocks noChangeAspect="1"/>
                  </p:cNvSpPr>
                  <p:nvPr/>
                </p:nvSpPr>
                <p:spPr bwMode="gray">
                  <a:xfrm rot="10800000">
                    <a:off x="-925025" y="-931749"/>
                    <a:ext cx="1494000" cy="1494000"/>
                  </a:xfrm>
                  <a:prstGeom prst="arc">
                    <a:avLst>
                      <a:gd name="adj1" fmla="val 8623613"/>
                      <a:gd name="adj2" fmla="val 18387609"/>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250" name="Arc 249"/>
                  <p:cNvSpPr>
                    <a:spLocks noChangeAspect="1"/>
                  </p:cNvSpPr>
                  <p:nvPr/>
                </p:nvSpPr>
                <p:spPr bwMode="gray">
                  <a:xfrm rot="16200000">
                    <a:off x="-925025" y="-931749"/>
                    <a:ext cx="1494000" cy="1494000"/>
                  </a:xfrm>
                  <a:prstGeom prst="arc">
                    <a:avLst>
                      <a:gd name="adj1" fmla="val 14184933"/>
                      <a:gd name="adj2" fmla="val 1926305"/>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grpSp>
            <p:sp>
              <p:nvSpPr>
                <p:cNvPr id="246" name="Arc 245"/>
                <p:cNvSpPr>
                  <a:spLocks noChangeAspect="1"/>
                </p:cNvSpPr>
                <p:nvPr/>
              </p:nvSpPr>
              <p:spPr bwMode="gray">
                <a:xfrm rot="10800000">
                  <a:off x="5026040" y="2484402"/>
                  <a:ext cx="2106279" cy="2106274"/>
                </a:xfrm>
                <a:prstGeom prst="arc">
                  <a:avLst>
                    <a:gd name="adj1" fmla="val 11430481"/>
                    <a:gd name="adj2" fmla="val 15581180"/>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247" name="Arc 246"/>
                <p:cNvSpPr>
                  <a:spLocks noChangeAspect="1"/>
                </p:cNvSpPr>
                <p:nvPr/>
              </p:nvSpPr>
              <p:spPr bwMode="gray">
                <a:xfrm rot="16200000">
                  <a:off x="5026043" y="2484400"/>
                  <a:ext cx="2106274" cy="2106279"/>
                </a:xfrm>
                <a:prstGeom prst="arc">
                  <a:avLst>
                    <a:gd name="adj1" fmla="val 11437435"/>
                    <a:gd name="adj2" fmla="val 20980401"/>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sp>
              <p:nvSpPr>
                <p:cNvPr id="248" name="Arc 247"/>
                <p:cNvSpPr>
                  <a:spLocks noChangeAspect="1"/>
                </p:cNvSpPr>
                <p:nvPr/>
              </p:nvSpPr>
              <p:spPr bwMode="gray">
                <a:xfrm rot="5400000">
                  <a:off x="5026040" y="2484402"/>
                  <a:ext cx="2106279" cy="2106274"/>
                </a:xfrm>
                <a:prstGeom prst="arc">
                  <a:avLst>
                    <a:gd name="adj1" fmla="val 11430481"/>
                    <a:gd name="adj2" fmla="val 15581180"/>
                  </a:avLst>
                </a:prstGeom>
                <a:grpFill/>
                <a:ln w="28575">
                  <a:solidFill>
                    <a:schemeClr val="tx1"/>
                  </a:solidFill>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lt1"/>
                    </a:solidFill>
                  </a:endParaRPr>
                </a:p>
              </p:txBody>
            </p:sp>
          </p:grpSp>
        </p:grpSp>
        <p:cxnSp>
          <p:nvCxnSpPr>
            <p:cNvPr id="238" name="Straight Connector 237"/>
            <p:cNvCxnSpPr/>
            <p:nvPr/>
          </p:nvCxnSpPr>
          <p:spPr bwMode="gray">
            <a:xfrm>
              <a:off x="5940146" y="2817352"/>
              <a:ext cx="311708" cy="0"/>
            </a:xfrm>
            <a:prstGeom prst="line">
              <a:avLst/>
            </a:prstGeom>
            <a:grp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
        <p:nvSpPr>
          <p:cNvPr id="263" name="Isosceles Triangle 262"/>
          <p:cNvSpPr/>
          <p:nvPr/>
        </p:nvSpPr>
        <p:spPr bwMode="gray">
          <a:xfrm rot="5400000">
            <a:off x="7305031" y="3401963"/>
            <a:ext cx="462000" cy="236500"/>
          </a:xfrm>
          <a:prstGeom prst="triangl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77" name="Content Placeholder 6"/>
          <p:cNvSpPr txBox="1">
            <a:spLocks/>
          </p:cNvSpPr>
          <p:nvPr/>
        </p:nvSpPr>
        <p:spPr bwMode="gray">
          <a:xfrm>
            <a:off x="2420278" y="4664645"/>
            <a:ext cx="1593218" cy="617058"/>
          </a:xfrm>
          <a:prstGeom prst="rect">
            <a:avLst/>
          </a:prstGeom>
          <a:solidFill>
            <a:srgbClr val="FFFFFF"/>
          </a:solidFill>
        </p:spPr>
        <p:txBody>
          <a:bodyPr vert="horz" lIns="72000" tIns="72000" rIns="72000" bIns="72000" rtlCol="0" anchor="t" anchorCtr="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1600" b="1" dirty="0"/>
              <a:t>Dynamic QR </a:t>
            </a:r>
            <a:br>
              <a:rPr lang="en-US" sz="1600" b="1" dirty="0"/>
            </a:br>
            <a:r>
              <a:rPr lang="en-US" sz="1600" b="1" dirty="0"/>
              <a:t>Codes</a:t>
            </a:r>
          </a:p>
        </p:txBody>
      </p:sp>
      <p:sp>
        <p:nvSpPr>
          <p:cNvPr id="278" name="Content Placeholder 6"/>
          <p:cNvSpPr txBox="1">
            <a:spLocks/>
          </p:cNvSpPr>
          <p:nvPr/>
        </p:nvSpPr>
        <p:spPr bwMode="gray">
          <a:xfrm>
            <a:off x="5299707" y="4664645"/>
            <a:ext cx="1593218" cy="617058"/>
          </a:xfrm>
          <a:prstGeom prst="rect">
            <a:avLst/>
          </a:prstGeom>
          <a:solidFill>
            <a:srgbClr val="FFFFFF"/>
          </a:solidFill>
        </p:spPr>
        <p:txBody>
          <a:bodyPr vert="horz" lIns="72000" tIns="72000" rIns="72000" bIns="72000" rtlCol="0" anchor="t" anchorCtr="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1600" b="1" dirty="0" err="1"/>
              <a:t>myIB</a:t>
            </a:r>
            <a:r>
              <a:rPr lang="en-US" sz="1600" b="1" dirty="0"/>
              <a:t> </a:t>
            </a:r>
            <a:br>
              <a:rPr lang="en-US" sz="1600" b="1" dirty="0"/>
            </a:br>
            <a:r>
              <a:rPr lang="en-US" sz="1600" b="1" dirty="0"/>
              <a:t>app</a:t>
            </a:r>
          </a:p>
        </p:txBody>
      </p:sp>
      <p:sp>
        <p:nvSpPr>
          <p:cNvPr id="280" name="Content Placeholder 6"/>
          <p:cNvSpPr txBox="1">
            <a:spLocks/>
          </p:cNvSpPr>
          <p:nvPr/>
        </p:nvSpPr>
        <p:spPr bwMode="gray">
          <a:xfrm>
            <a:off x="8304337" y="4664645"/>
            <a:ext cx="1593218" cy="617058"/>
          </a:xfrm>
          <a:prstGeom prst="rect">
            <a:avLst/>
          </a:prstGeom>
          <a:solidFill>
            <a:srgbClr val="FFFFFF"/>
          </a:solidFill>
        </p:spPr>
        <p:txBody>
          <a:bodyPr vert="horz" lIns="72000" tIns="72000" rIns="72000" bIns="72000" rtlCol="0" anchor="t" anchorCtr="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lgn="ctr"/>
            <a:r>
              <a:rPr lang="en-US" sz="1600" b="1" dirty="0" err="1"/>
              <a:t>myABB</a:t>
            </a:r>
            <a:r>
              <a:rPr lang="en-US" sz="1600" b="1" dirty="0"/>
              <a:t> </a:t>
            </a:r>
            <a:br>
              <a:rPr lang="en-US" sz="1600" b="1" dirty="0"/>
            </a:br>
            <a:r>
              <a:rPr lang="en-US" sz="1600" b="1" dirty="0"/>
              <a:t>portal</a:t>
            </a:r>
          </a:p>
        </p:txBody>
      </p:sp>
      <p:sp>
        <p:nvSpPr>
          <p:cNvPr id="68" name="AutoShape 6">
            <a:hlinkClick r:id="rId5" action="ppaction://hlinksldjump" highlightClick="1"/>
            <a:extLst>
              <a:ext uri="{FF2B5EF4-FFF2-40B4-BE49-F238E27FC236}">
                <a16:creationId xmlns:a16="http://schemas.microsoft.com/office/drawing/2014/main" id="{478DC768-83F0-4A5D-BD10-920B1D9B5B3E}"/>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
        <p:nvSpPr>
          <p:cNvPr id="69" name="TextBox 68">
            <a:extLst>
              <a:ext uri="{FF2B5EF4-FFF2-40B4-BE49-F238E27FC236}">
                <a16:creationId xmlns:a16="http://schemas.microsoft.com/office/drawing/2014/main" id="{9AF8A316-00B0-40EA-A06B-7E990BA5E71D}"/>
              </a:ext>
            </a:extLst>
          </p:cNvPr>
          <p:cNvSpPr txBox="1"/>
          <p:nvPr/>
        </p:nvSpPr>
        <p:spPr bwMode="gray">
          <a:xfrm>
            <a:off x="8622081" y="642837"/>
            <a:ext cx="2401785" cy="375827"/>
          </a:xfrm>
          <a:prstGeom prst="rect">
            <a:avLst/>
          </a:prstGeom>
          <a:noFill/>
        </p:spPr>
        <p:txBody>
          <a:bodyPr wrap="square" lIns="72000" tIns="72000" rIns="72000" bIns="72000" rtlCol="0">
            <a:noAutofit/>
          </a:bodyPr>
          <a:lstStyle/>
          <a:p>
            <a:pPr algn="r"/>
            <a:r>
              <a:rPr lang="en-US" sz="1400" b="1" dirty="0">
                <a:solidFill>
                  <a:schemeClr val="tx2"/>
                </a:solidFill>
              </a:rPr>
              <a:t>Back to previous section</a:t>
            </a:r>
          </a:p>
        </p:txBody>
      </p:sp>
    </p:spTree>
    <p:custDataLst>
      <p:tags r:id="rId1"/>
    </p:custDataLst>
    <p:extLst>
      <p:ext uri="{BB962C8B-B14F-4D97-AF65-F5344CB8AC3E}">
        <p14:creationId xmlns:p14="http://schemas.microsoft.com/office/powerpoint/2010/main" val="18844216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1000"/>
                                  </p:stCondLst>
                                  <p:childTnLst>
                                    <p:set>
                                      <p:cBhvr>
                                        <p:cTn id="6" dur="1" fill="hold">
                                          <p:stCondLst>
                                            <p:cond delay="0"/>
                                          </p:stCondLst>
                                        </p:cTn>
                                        <p:tgtEl>
                                          <p:spTgt spid="202"/>
                                        </p:tgtEl>
                                        <p:attrNameLst>
                                          <p:attrName>style.visibility</p:attrName>
                                        </p:attrNameLst>
                                      </p:cBhvr>
                                      <p:to>
                                        <p:strVal val="visible"/>
                                      </p:to>
                                    </p:set>
                                    <p:animEffect transition="in" filter="wipe(left)">
                                      <p:cBhvr>
                                        <p:cTn id="7" dur="500"/>
                                        <p:tgtEl>
                                          <p:spTgt spid="202"/>
                                        </p:tgtEl>
                                      </p:cBhvr>
                                    </p:animEffect>
                                  </p:childTnLst>
                                </p:cTn>
                              </p:par>
                            </p:childTnLst>
                          </p:cTn>
                        </p:par>
                        <p:par>
                          <p:cTn id="8" fill="hold">
                            <p:stCondLst>
                              <p:cond delay="1500"/>
                            </p:stCondLst>
                            <p:childTnLst>
                              <p:par>
                                <p:cTn id="9" presetID="10" presetClass="entr" presetSubtype="0" fill="hold" nodeType="afterEffect">
                                  <p:stCondLst>
                                    <p:cond delay="1000"/>
                                  </p:stCondLst>
                                  <p:childTnLst>
                                    <p:set>
                                      <p:cBhvr>
                                        <p:cTn id="10" dur="1" fill="hold">
                                          <p:stCondLst>
                                            <p:cond delay="0"/>
                                          </p:stCondLst>
                                        </p:cTn>
                                        <p:tgtEl>
                                          <p:spTgt spid="236"/>
                                        </p:tgtEl>
                                        <p:attrNameLst>
                                          <p:attrName>style.visibility</p:attrName>
                                        </p:attrNameLst>
                                      </p:cBhvr>
                                      <p:to>
                                        <p:strVal val="visible"/>
                                      </p:to>
                                    </p:set>
                                    <p:animEffect transition="in" filter="fade">
                                      <p:cBhvr>
                                        <p:cTn id="11" dur="500"/>
                                        <p:tgtEl>
                                          <p:spTgt spid="236"/>
                                        </p:tgtEl>
                                      </p:cBhvr>
                                    </p:animEffect>
                                  </p:childTnLst>
                                </p:cTn>
                              </p:par>
                              <p:par>
                                <p:cTn id="12" presetID="10" presetClass="entr" presetSubtype="0" fill="hold" grpId="0" nodeType="withEffect">
                                  <p:stCondLst>
                                    <p:cond delay="1000"/>
                                  </p:stCondLst>
                                  <p:childTnLst>
                                    <p:set>
                                      <p:cBhvr>
                                        <p:cTn id="13" dur="1" fill="hold">
                                          <p:stCondLst>
                                            <p:cond delay="0"/>
                                          </p:stCondLst>
                                        </p:cTn>
                                        <p:tgtEl>
                                          <p:spTgt spid="278"/>
                                        </p:tgtEl>
                                        <p:attrNameLst>
                                          <p:attrName>style.visibility</p:attrName>
                                        </p:attrNameLst>
                                      </p:cBhvr>
                                      <p:to>
                                        <p:strVal val="visible"/>
                                      </p:to>
                                    </p:set>
                                    <p:animEffect transition="in" filter="fade">
                                      <p:cBhvr>
                                        <p:cTn id="14" dur="500"/>
                                        <p:tgtEl>
                                          <p:spTgt spid="278"/>
                                        </p:tgtEl>
                                      </p:cBhvr>
                                    </p:animEffect>
                                  </p:childTnLst>
                                </p:cTn>
                              </p:par>
                            </p:childTnLst>
                          </p:cTn>
                        </p:par>
                        <p:par>
                          <p:cTn id="15" fill="hold">
                            <p:stCondLst>
                              <p:cond delay="3000"/>
                            </p:stCondLst>
                            <p:childTnLst>
                              <p:par>
                                <p:cTn id="16" presetID="22" presetClass="entr" presetSubtype="8" fill="hold" grpId="0" nodeType="afterEffect">
                                  <p:stCondLst>
                                    <p:cond delay="1000"/>
                                  </p:stCondLst>
                                  <p:childTnLst>
                                    <p:set>
                                      <p:cBhvr>
                                        <p:cTn id="17" dur="1" fill="hold">
                                          <p:stCondLst>
                                            <p:cond delay="0"/>
                                          </p:stCondLst>
                                        </p:cTn>
                                        <p:tgtEl>
                                          <p:spTgt spid="263"/>
                                        </p:tgtEl>
                                        <p:attrNameLst>
                                          <p:attrName>style.visibility</p:attrName>
                                        </p:attrNameLst>
                                      </p:cBhvr>
                                      <p:to>
                                        <p:strVal val="visible"/>
                                      </p:to>
                                    </p:set>
                                    <p:animEffect transition="in" filter="wipe(left)">
                                      <p:cBhvr>
                                        <p:cTn id="18" dur="500"/>
                                        <p:tgtEl>
                                          <p:spTgt spid="263"/>
                                        </p:tgtEl>
                                      </p:cBhvr>
                                    </p:animEffect>
                                  </p:childTnLst>
                                </p:cTn>
                              </p:par>
                            </p:childTnLst>
                          </p:cTn>
                        </p:par>
                        <p:par>
                          <p:cTn id="19" fill="hold">
                            <p:stCondLst>
                              <p:cond delay="4500"/>
                            </p:stCondLst>
                            <p:childTnLst>
                              <p:par>
                                <p:cTn id="20" presetID="10" presetClass="entr" presetSubtype="0" fill="hold" nodeType="afterEffect">
                                  <p:stCondLst>
                                    <p:cond delay="100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280"/>
                                        </p:tgtEl>
                                        <p:attrNameLst>
                                          <p:attrName>style.visibility</p:attrName>
                                        </p:attrNameLst>
                                      </p:cBhvr>
                                      <p:to>
                                        <p:strVal val="visible"/>
                                      </p:to>
                                    </p:set>
                                    <p:animEffect transition="in" filter="fade">
                                      <p:cBhvr>
                                        <p:cTn id="25" dur="500"/>
                                        <p:tgtEl>
                                          <p:spTgt spid="2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2" grpId="0" animBg="1"/>
      <p:bldP spid="263" grpId="0" animBg="1"/>
      <p:bldP spid="278" grpId="0" animBg="1"/>
      <p:bldP spid="280"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bwMode="gray"/>
        <p:txBody>
          <a:bodyPr/>
          <a:lstStyle/>
          <a:p>
            <a:r>
              <a:rPr lang="de-DE" dirty="0" err="1"/>
              <a:t>Hazardous</a:t>
            </a:r>
            <a:r>
              <a:rPr lang="de-DE" dirty="0"/>
              <a:t> </a:t>
            </a:r>
            <a:r>
              <a:rPr lang="de-DE" dirty="0" err="1"/>
              <a:t>applications</a:t>
            </a:r>
            <a:endParaRPr lang="en-US" dirty="0"/>
          </a:p>
        </p:txBody>
      </p:sp>
      <p:sp>
        <p:nvSpPr>
          <p:cNvPr id="3" name="Subtitle 2"/>
          <p:cNvSpPr>
            <a:spLocks noGrp="1"/>
          </p:cNvSpPr>
          <p:nvPr>
            <p:ph type="subTitle" idx="1"/>
          </p:nvPr>
        </p:nvSpPr>
        <p:spPr bwMode="gray"/>
        <p:txBody>
          <a:bodyPr/>
          <a:lstStyle/>
          <a:p>
            <a:r>
              <a:rPr lang="de-DE" dirty="0" err="1"/>
              <a:t>Your</a:t>
            </a:r>
            <a:r>
              <a:rPr lang="de-DE" dirty="0"/>
              <a:t> </a:t>
            </a:r>
            <a:r>
              <a:rPr lang="de-DE" dirty="0" err="1"/>
              <a:t>safety</a:t>
            </a:r>
            <a:r>
              <a:rPr lang="de-DE" dirty="0"/>
              <a:t> </a:t>
            </a:r>
            <a:r>
              <a:rPr lang="de-DE" dirty="0" err="1"/>
              <a:t>is</a:t>
            </a:r>
            <a:r>
              <a:rPr lang="de-DE" dirty="0"/>
              <a:t> </a:t>
            </a:r>
            <a:r>
              <a:rPr lang="de-DE" dirty="0" err="1"/>
              <a:t>our</a:t>
            </a:r>
            <a:r>
              <a:rPr lang="de-DE" dirty="0"/>
              <a:t> </a:t>
            </a:r>
            <a:r>
              <a:rPr lang="de-DE" dirty="0" err="1"/>
              <a:t>priority</a:t>
            </a:r>
            <a:endParaRPr lang="en-US" dirty="0"/>
          </a:p>
        </p:txBody>
      </p:sp>
      <p:grpSp>
        <p:nvGrpSpPr>
          <p:cNvPr id="11" name="Group 10">
            <a:extLst>
              <a:ext uri="{FF2B5EF4-FFF2-40B4-BE49-F238E27FC236}">
                <a16:creationId xmlns:a16="http://schemas.microsoft.com/office/drawing/2014/main" id="{7438608C-787E-4E66-84CB-C102EC5C6626}"/>
              </a:ext>
            </a:extLst>
          </p:cNvPr>
          <p:cNvGrpSpPr>
            <a:grpSpLocks noChangeAspect="1"/>
          </p:cNvGrpSpPr>
          <p:nvPr/>
        </p:nvGrpSpPr>
        <p:grpSpPr bwMode="gray">
          <a:xfrm>
            <a:off x="5102063" y="3090299"/>
            <a:ext cx="1987874" cy="1665609"/>
            <a:chOff x="5382466" y="2044232"/>
            <a:chExt cx="937763" cy="785738"/>
          </a:xfrm>
          <a:solidFill>
            <a:schemeClr val="tx1"/>
          </a:solidFill>
        </p:grpSpPr>
        <p:grpSp>
          <p:nvGrpSpPr>
            <p:cNvPr id="12" name="Gruppieren 3076">
              <a:extLst>
                <a:ext uri="{FF2B5EF4-FFF2-40B4-BE49-F238E27FC236}">
                  <a16:creationId xmlns:a16="http://schemas.microsoft.com/office/drawing/2014/main" id="{FA41E9AA-A434-4559-92AE-CB036102576D}"/>
                </a:ext>
              </a:extLst>
            </p:cNvPr>
            <p:cNvGrpSpPr/>
            <p:nvPr/>
          </p:nvGrpSpPr>
          <p:grpSpPr bwMode="gray">
            <a:xfrm>
              <a:off x="5624826" y="2208674"/>
              <a:ext cx="453043" cy="460345"/>
              <a:chOff x="6433785" y="4335053"/>
              <a:chExt cx="453043" cy="460345"/>
            </a:xfrm>
            <a:grpFill/>
          </p:grpSpPr>
          <p:sp>
            <p:nvSpPr>
              <p:cNvPr id="14" name="Rechteck 297">
                <a:extLst>
                  <a:ext uri="{FF2B5EF4-FFF2-40B4-BE49-F238E27FC236}">
                    <a16:creationId xmlns:a16="http://schemas.microsoft.com/office/drawing/2014/main" id="{6624CF60-A60A-4AEB-87A2-4C00261A7A1D}"/>
                  </a:ext>
                </a:extLst>
              </p:cNvPr>
              <p:cNvSpPr/>
              <p:nvPr/>
            </p:nvSpPr>
            <p:spPr bwMode="gray">
              <a:xfrm>
                <a:off x="6684854" y="4541041"/>
                <a:ext cx="201974" cy="254357"/>
              </a:xfrm>
              <a:custGeom>
                <a:avLst/>
                <a:gdLst/>
                <a:ahLst/>
                <a:cxnLst/>
                <a:rect l="l" t="t" r="r" b="b"/>
                <a:pathLst>
                  <a:path w="171193" h="215593">
                    <a:moveTo>
                      <a:pt x="2732" y="0"/>
                    </a:moveTo>
                    <a:cubicBezTo>
                      <a:pt x="31801" y="5583"/>
                      <a:pt x="45458" y="13241"/>
                      <a:pt x="55614" y="25569"/>
                    </a:cubicBezTo>
                    <a:lnTo>
                      <a:pt x="85597" y="78441"/>
                    </a:lnTo>
                    <a:lnTo>
                      <a:pt x="115579" y="25569"/>
                    </a:lnTo>
                    <a:cubicBezTo>
                      <a:pt x="125735" y="13241"/>
                      <a:pt x="139392" y="5583"/>
                      <a:pt x="168461" y="0"/>
                    </a:cubicBezTo>
                    <a:lnTo>
                      <a:pt x="169737" y="36539"/>
                    </a:lnTo>
                    <a:cubicBezTo>
                      <a:pt x="150035" y="44140"/>
                      <a:pt x="147302" y="43960"/>
                      <a:pt x="138661" y="56436"/>
                    </a:cubicBezTo>
                    <a:lnTo>
                      <a:pt x="104983" y="112627"/>
                    </a:lnTo>
                    <a:lnTo>
                      <a:pt x="132675" y="161459"/>
                    </a:lnTo>
                    <a:cubicBezTo>
                      <a:pt x="138215" y="169054"/>
                      <a:pt x="153825" y="177709"/>
                      <a:pt x="171193" y="182998"/>
                    </a:cubicBezTo>
                    <a:cubicBezTo>
                      <a:pt x="170615" y="193863"/>
                      <a:pt x="170036" y="204728"/>
                      <a:pt x="169458" y="215593"/>
                    </a:cubicBezTo>
                    <a:cubicBezTo>
                      <a:pt x="145227" y="213278"/>
                      <a:pt x="126884" y="206716"/>
                      <a:pt x="109815" y="185383"/>
                    </a:cubicBezTo>
                    <a:lnTo>
                      <a:pt x="85597" y="144974"/>
                    </a:lnTo>
                    <a:lnTo>
                      <a:pt x="61378" y="185383"/>
                    </a:lnTo>
                    <a:cubicBezTo>
                      <a:pt x="44309" y="206716"/>
                      <a:pt x="25966" y="213278"/>
                      <a:pt x="1735" y="215593"/>
                    </a:cubicBezTo>
                    <a:cubicBezTo>
                      <a:pt x="1157" y="204728"/>
                      <a:pt x="578" y="193863"/>
                      <a:pt x="0" y="182998"/>
                    </a:cubicBezTo>
                    <a:cubicBezTo>
                      <a:pt x="17368" y="177709"/>
                      <a:pt x="32978" y="169054"/>
                      <a:pt x="38518" y="161459"/>
                    </a:cubicBezTo>
                    <a:lnTo>
                      <a:pt x="66210" y="112627"/>
                    </a:lnTo>
                    <a:lnTo>
                      <a:pt x="32532" y="56436"/>
                    </a:lnTo>
                    <a:cubicBezTo>
                      <a:pt x="23891" y="43960"/>
                      <a:pt x="21158" y="44140"/>
                      <a:pt x="1456" y="36539"/>
                    </a:cubicBezTo>
                    <a:cubicBezTo>
                      <a:pt x="1881" y="24360"/>
                      <a:pt x="2307" y="12180"/>
                      <a:pt x="2732" y="0"/>
                    </a:cubicBezTo>
                    <a:close/>
                  </a:path>
                </a:pathLst>
              </a:custGeom>
              <a:noFill/>
              <a:ln w="28575">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5" name="Rechteck 305">
                <a:extLst>
                  <a:ext uri="{FF2B5EF4-FFF2-40B4-BE49-F238E27FC236}">
                    <a16:creationId xmlns:a16="http://schemas.microsoft.com/office/drawing/2014/main" id="{74B0B525-8543-4DCC-B6B7-4ED8A013851B}"/>
                  </a:ext>
                </a:extLst>
              </p:cNvPr>
              <p:cNvSpPr/>
              <p:nvPr/>
            </p:nvSpPr>
            <p:spPr bwMode="gray">
              <a:xfrm>
                <a:off x="6433785" y="4335053"/>
                <a:ext cx="212100" cy="452561"/>
              </a:xfrm>
              <a:custGeom>
                <a:avLst/>
                <a:gdLst/>
                <a:ahLst/>
                <a:cxnLst/>
                <a:rect l="l" t="t" r="r" b="b"/>
                <a:pathLst>
                  <a:path w="179776" h="383591">
                    <a:moveTo>
                      <a:pt x="104498" y="0"/>
                    </a:moveTo>
                    <a:cubicBezTo>
                      <a:pt x="134377" y="0"/>
                      <a:pt x="161327" y="12540"/>
                      <a:pt x="179776" y="33145"/>
                    </a:cubicBezTo>
                    <a:lnTo>
                      <a:pt x="151910" y="61011"/>
                    </a:lnTo>
                    <a:cubicBezTo>
                      <a:pt x="141353" y="45309"/>
                      <a:pt x="123149" y="36648"/>
                      <a:pt x="102922" y="36648"/>
                    </a:cubicBezTo>
                    <a:cubicBezTo>
                      <a:pt x="64629" y="36648"/>
                      <a:pt x="33587" y="67690"/>
                      <a:pt x="33587" y="105984"/>
                    </a:cubicBezTo>
                    <a:cubicBezTo>
                      <a:pt x="33587" y="142135"/>
                      <a:pt x="61253" y="171823"/>
                      <a:pt x="96657" y="174054"/>
                    </a:cubicBezTo>
                    <a:lnTo>
                      <a:pt x="109630" y="174595"/>
                    </a:lnTo>
                    <a:lnTo>
                      <a:pt x="140774" y="174595"/>
                    </a:lnTo>
                    <a:lnTo>
                      <a:pt x="140774" y="175318"/>
                    </a:lnTo>
                    <a:lnTo>
                      <a:pt x="140774" y="181919"/>
                    </a:lnTo>
                    <a:lnTo>
                      <a:pt x="140774" y="201672"/>
                    </a:lnTo>
                    <a:lnTo>
                      <a:pt x="140774" y="208273"/>
                    </a:lnTo>
                    <a:lnTo>
                      <a:pt x="140774" y="208996"/>
                    </a:lnTo>
                    <a:lnTo>
                      <a:pt x="109630" y="208996"/>
                    </a:lnTo>
                    <a:lnTo>
                      <a:pt x="96657" y="209537"/>
                    </a:lnTo>
                    <a:cubicBezTo>
                      <a:pt x="61253" y="211768"/>
                      <a:pt x="33587" y="241456"/>
                      <a:pt x="33587" y="277607"/>
                    </a:cubicBezTo>
                    <a:cubicBezTo>
                      <a:pt x="33587" y="315901"/>
                      <a:pt x="64629" y="346943"/>
                      <a:pt x="102922" y="346943"/>
                    </a:cubicBezTo>
                    <a:cubicBezTo>
                      <a:pt x="123149" y="346943"/>
                      <a:pt x="141353" y="338282"/>
                      <a:pt x="151910" y="322580"/>
                    </a:cubicBezTo>
                    <a:lnTo>
                      <a:pt x="179776" y="350446"/>
                    </a:lnTo>
                    <a:cubicBezTo>
                      <a:pt x="161327" y="371051"/>
                      <a:pt x="134377" y="383591"/>
                      <a:pt x="104498" y="383591"/>
                    </a:cubicBezTo>
                    <a:cubicBezTo>
                      <a:pt x="46785" y="383591"/>
                      <a:pt x="0" y="336806"/>
                      <a:pt x="0" y="279093"/>
                    </a:cubicBezTo>
                    <a:cubicBezTo>
                      <a:pt x="0" y="241544"/>
                      <a:pt x="19804" y="208621"/>
                      <a:pt x="50253" y="191796"/>
                    </a:cubicBezTo>
                    <a:cubicBezTo>
                      <a:pt x="19804" y="174970"/>
                      <a:pt x="0" y="142048"/>
                      <a:pt x="0" y="104498"/>
                    </a:cubicBezTo>
                    <a:cubicBezTo>
                      <a:pt x="0" y="46785"/>
                      <a:pt x="46785" y="0"/>
                      <a:pt x="104498" y="0"/>
                    </a:cubicBezTo>
                    <a:close/>
                  </a:path>
                </a:pathLst>
              </a:custGeom>
              <a:noFill/>
              <a:ln w="28575">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13" name="Sechseck 314">
              <a:extLst>
                <a:ext uri="{FF2B5EF4-FFF2-40B4-BE49-F238E27FC236}">
                  <a16:creationId xmlns:a16="http://schemas.microsoft.com/office/drawing/2014/main" id="{75E940DB-64CE-4CF3-A44C-88D11E0BC145}"/>
                </a:ext>
              </a:extLst>
            </p:cNvPr>
            <p:cNvSpPr/>
            <p:nvPr/>
          </p:nvSpPr>
          <p:spPr bwMode="gray">
            <a:xfrm>
              <a:off x="5382466" y="2044232"/>
              <a:ext cx="937763" cy="785738"/>
            </a:xfrm>
            <a:custGeom>
              <a:avLst/>
              <a:gdLst/>
              <a:ahLst/>
              <a:cxnLst/>
              <a:rect l="l" t="t" r="r" b="b"/>
              <a:pathLst>
                <a:path w="988678" h="828399">
                  <a:moveTo>
                    <a:pt x="263630" y="43631"/>
                  </a:moveTo>
                  <a:lnTo>
                    <a:pt x="52073" y="414199"/>
                  </a:lnTo>
                  <a:lnTo>
                    <a:pt x="263630" y="784767"/>
                  </a:lnTo>
                  <a:lnTo>
                    <a:pt x="725049" y="784767"/>
                  </a:lnTo>
                  <a:lnTo>
                    <a:pt x="936606" y="414199"/>
                  </a:lnTo>
                  <a:lnTo>
                    <a:pt x="725049" y="43631"/>
                  </a:lnTo>
                  <a:close/>
                  <a:moveTo>
                    <a:pt x="236466" y="0"/>
                  </a:moveTo>
                  <a:lnTo>
                    <a:pt x="752212" y="0"/>
                  </a:lnTo>
                  <a:lnTo>
                    <a:pt x="988678" y="414200"/>
                  </a:lnTo>
                  <a:lnTo>
                    <a:pt x="752212" y="828399"/>
                  </a:lnTo>
                  <a:lnTo>
                    <a:pt x="236466" y="828399"/>
                  </a:lnTo>
                  <a:lnTo>
                    <a:pt x="0" y="414200"/>
                  </a:lnTo>
                  <a:close/>
                </a:path>
              </a:pathLst>
            </a:custGeom>
            <a:noFill/>
            <a:ln w="28575">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custDataLst>
      <p:tags r:id="rId1"/>
    </p:custDataLst>
    <p:extLst>
      <p:ext uri="{BB962C8B-B14F-4D97-AF65-F5344CB8AC3E}">
        <p14:creationId xmlns:p14="http://schemas.microsoft.com/office/powerpoint/2010/main" val="188246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73586-79CD-4B4B-A0CB-E1BA5EEBE354}"/>
              </a:ext>
            </a:extLst>
          </p:cNvPr>
          <p:cNvSpPr>
            <a:spLocks noGrp="1"/>
          </p:cNvSpPr>
          <p:nvPr>
            <p:ph type="title"/>
          </p:nvPr>
        </p:nvSpPr>
        <p:spPr bwMode="gray">
          <a:xfrm>
            <a:off x="333264" y="682313"/>
            <a:ext cx="11520000" cy="396000"/>
          </a:xfrm>
        </p:spPr>
        <p:txBody>
          <a:bodyPr/>
          <a:lstStyle/>
          <a:p>
            <a:r>
              <a:rPr lang="en-US" dirty="0"/>
              <a:t>Easy integration</a:t>
            </a:r>
          </a:p>
        </p:txBody>
      </p:sp>
      <p:sp>
        <p:nvSpPr>
          <p:cNvPr id="3" name="Date Placeholder 2">
            <a:extLst>
              <a:ext uri="{FF2B5EF4-FFF2-40B4-BE49-F238E27FC236}">
                <a16:creationId xmlns:a16="http://schemas.microsoft.com/office/drawing/2014/main" id="{C0E0367B-6082-4BA8-8F2D-7F161121DA9B}"/>
              </a:ext>
            </a:extLst>
          </p:cNvPr>
          <p:cNvSpPr>
            <a:spLocks noGrp="1"/>
          </p:cNvSpPr>
          <p:nvPr>
            <p:ph type="dt" sz="half" idx="14"/>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F808C0-290B-4263-8A52-B569B4875133}"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4" name="Footer Placeholder 3">
            <a:extLst>
              <a:ext uri="{FF2B5EF4-FFF2-40B4-BE49-F238E27FC236}">
                <a16:creationId xmlns:a16="http://schemas.microsoft.com/office/drawing/2014/main" id="{ECE1F439-B9E1-4014-B80C-964B77677264}"/>
              </a:ext>
            </a:extLst>
          </p:cNvPr>
          <p:cNvSpPr>
            <a:spLocks noGrp="1"/>
          </p:cNvSpPr>
          <p:nvPr>
            <p:ph type="ftr" sz="quarter" idx="15"/>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Only</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available</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in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rack</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moun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housing</a:t>
            </a: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017B7079-F902-4AA0-AA9E-3AD90C5D73C0}"/>
              </a:ext>
            </a:extLst>
          </p:cNvPr>
          <p:cNvSpPr>
            <a:spLocks noGrp="1"/>
          </p:cNvSpPr>
          <p:nvPr>
            <p:ph type="sldNum" sz="quarter" idx="16"/>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6" name="Subtitle 5">
            <a:extLst>
              <a:ext uri="{FF2B5EF4-FFF2-40B4-BE49-F238E27FC236}">
                <a16:creationId xmlns:a16="http://schemas.microsoft.com/office/drawing/2014/main" id="{F9169952-F54C-4749-B3AD-4E889977AC24}"/>
              </a:ext>
            </a:extLst>
          </p:cNvPr>
          <p:cNvSpPr>
            <a:spLocks noGrp="1"/>
          </p:cNvSpPr>
          <p:nvPr>
            <p:ph type="subTitle" idx="13"/>
          </p:nvPr>
        </p:nvSpPr>
        <p:spPr bwMode="gray"/>
        <p:txBody>
          <a:bodyPr/>
          <a:lstStyle/>
          <a:p>
            <a:pPr lvl="1"/>
            <a:r>
              <a:rPr lang="en-US" altLang="en-US" sz="1800" dirty="0"/>
              <a:t>Good fit for each application, options to fit your needs, I/O for every eventuality</a:t>
            </a:r>
          </a:p>
        </p:txBody>
      </p:sp>
      <p:sp>
        <p:nvSpPr>
          <p:cNvPr id="7" name="Content Placeholder 1">
            <a:extLst>
              <a:ext uri="{FF2B5EF4-FFF2-40B4-BE49-F238E27FC236}">
                <a16:creationId xmlns:a16="http://schemas.microsoft.com/office/drawing/2014/main" id="{0482522A-2F74-4B98-A6A2-B0A341E04374}"/>
              </a:ext>
            </a:extLst>
          </p:cNvPr>
          <p:cNvSpPr txBox="1">
            <a:spLocks/>
          </p:cNvSpPr>
          <p:nvPr/>
        </p:nvSpPr>
        <p:spPr bwMode="gray">
          <a:xfrm>
            <a:off x="336550" y="1931197"/>
            <a:ext cx="5913779" cy="398382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19” rack (3HU) and wall mount housing (IP65)</a:t>
            </a:r>
            <a:endPar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endParaRP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Optional pump, flow sensor and solenoid valve*</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Control up to 7 external solenoid valves</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de-DE" altLang="en-US" sz="1800" b="0" i="0" u="none" strike="noStrike" kern="1200" cap="none" spc="0" normalizeH="0" baseline="0" noProof="0" dirty="0">
                <a:ln>
                  <a:noFill/>
                </a:ln>
                <a:solidFill>
                  <a:srgbClr val="000000"/>
                </a:solidFill>
                <a:effectLst/>
                <a:uLnTx/>
                <a:uFillTx/>
                <a:latin typeface="ABBvoice"/>
                <a:ea typeface="ABBvoice"/>
                <a:cs typeface="ABBvoice"/>
              </a:rPr>
              <a:t>Industry </a:t>
            </a:r>
            <a:r>
              <a:rPr kumimoji="0" lang="de-DE" altLang="en-US" sz="1800" b="0" i="0" u="none" strike="noStrike" kern="1200" cap="none" spc="0" normalizeH="0" baseline="0" noProof="0" dirty="0" err="1">
                <a:ln>
                  <a:noFill/>
                </a:ln>
                <a:solidFill>
                  <a:srgbClr val="000000"/>
                </a:solidFill>
                <a:effectLst/>
                <a:uLnTx/>
                <a:uFillTx/>
                <a:latin typeface="ABBvoice"/>
                <a:ea typeface="ABBvoice"/>
                <a:cs typeface="ABBvoice"/>
              </a:rPr>
              <a:t>standard</a:t>
            </a:r>
            <a:r>
              <a:rPr kumimoji="0" lang="de-DE" altLang="en-US" sz="1800" b="0" i="0" u="none" strike="noStrike" kern="1200" cap="none" spc="0" normalizeH="0" baseline="0" noProof="0" dirty="0">
                <a:ln>
                  <a:noFill/>
                </a:ln>
                <a:solidFill>
                  <a:srgbClr val="000000"/>
                </a:solidFill>
                <a:effectLst/>
                <a:uLnTx/>
                <a:uFillTx/>
                <a:latin typeface="ABBvoice"/>
                <a:ea typeface="ABBvoice"/>
                <a:cs typeface="ABBvoice"/>
              </a:rPr>
              <a:t> I/O</a:t>
            </a:r>
            <a:endPar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endParaRPr>
          </a:p>
          <a:p>
            <a:pPr marL="360036" marR="0" lvl="2" indent="-180018" algn="l" defTabSz="9144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rPr>
              <a:t>0/4…20 mA for each component</a:t>
            </a:r>
          </a:p>
          <a:p>
            <a:pPr marL="360036" marR="0" lvl="2" indent="-180018" algn="l" defTabSz="9144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rPr>
              <a:t>Standard 4 x DI, 4 x DO (Max. 12/12)</a:t>
            </a:r>
          </a:p>
          <a:p>
            <a:pPr marL="360036" marR="0" lvl="2" indent="-180018" algn="l" defTabSz="9144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rPr>
              <a:t>Standard Modbus TCP/IP</a:t>
            </a:r>
          </a:p>
          <a:p>
            <a:pPr marL="360036" marR="0" lvl="2" indent="-180018" algn="l" defTabSz="914491"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rPr>
              <a:t>Optional Modbus RTU or Profibus</a:t>
            </a:r>
          </a:p>
          <a:p>
            <a:pPr marL="811213" marR="0" lvl="1" indent="0" algn="l" defTabSz="914491" rtl="0" eaLnBrk="1" fontAlgn="auto" latinLnBrk="0" hangingPunct="1">
              <a:lnSpc>
                <a:spcPct val="100000"/>
              </a:lnSpc>
              <a:spcBef>
                <a:spcPts val="1800"/>
              </a:spcBef>
              <a:spcAft>
                <a:spcPts val="0"/>
              </a:spcAft>
              <a:buClrTx/>
              <a:buSzTx/>
              <a:buFont typeface="ABBvoiceOffice" panose="020D0603020503020204" pitchFamily="34" charset="0"/>
              <a:buNone/>
              <a:tabLst/>
              <a:defRPr/>
            </a:pPr>
            <a:r>
              <a:rPr kumimoji="0" lang="de-DE" altLang="en-US" sz="1800" b="1" i="0" u="none" strike="noStrike" kern="1200" cap="none" spc="0" normalizeH="0" baseline="0" noProof="0" dirty="0" err="1">
                <a:ln>
                  <a:noFill/>
                </a:ln>
                <a:solidFill>
                  <a:srgbClr val="D90000"/>
                </a:solidFill>
                <a:effectLst/>
                <a:uLnTx/>
                <a:uFillTx/>
                <a:latin typeface="ABBvoice"/>
                <a:ea typeface="ABBvoice"/>
                <a:cs typeface="ABBvoice"/>
              </a:rPr>
              <a:t>Attractive</a:t>
            </a:r>
            <a:r>
              <a:rPr kumimoji="0" lang="de-DE" altLang="en-US" sz="1800" b="1" i="0" u="none" strike="noStrike" kern="1200" cap="none" spc="0" normalizeH="0" baseline="0" noProof="0" dirty="0">
                <a:ln>
                  <a:noFill/>
                </a:ln>
                <a:solidFill>
                  <a:srgbClr val="D90000"/>
                </a:solidFill>
                <a:effectLst/>
                <a:uLnTx/>
                <a:uFillTx/>
                <a:latin typeface="ABBvoice"/>
                <a:ea typeface="ABBvoice"/>
                <a:cs typeface="ABBvoice"/>
              </a:rPr>
              <a:t> </a:t>
            </a:r>
            <a:r>
              <a:rPr kumimoji="0" lang="de-DE" altLang="en-US" sz="1800" b="1" i="0" u="none" strike="noStrike" kern="1200" cap="none" spc="0" normalizeH="0" baseline="0" noProof="0" dirty="0" err="1">
                <a:ln>
                  <a:noFill/>
                </a:ln>
                <a:solidFill>
                  <a:srgbClr val="D90000"/>
                </a:solidFill>
                <a:effectLst/>
                <a:uLnTx/>
                <a:uFillTx/>
                <a:latin typeface="ABBvoice"/>
                <a:ea typeface="ABBvoice"/>
                <a:cs typeface="ABBvoice"/>
              </a:rPr>
              <a:t>solutions</a:t>
            </a:r>
            <a:r>
              <a:rPr kumimoji="0" lang="de-DE" altLang="en-US" sz="1800" b="1" i="0" u="none" strike="noStrike" kern="1200" cap="none" spc="0" normalizeH="0" baseline="0" noProof="0" dirty="0">
                <a:ln>
                  <a:noFill/>
                </a:ln>
                <a:solidFill>
                  <a:srgbClr val="D90000"/>
                </a:solidFill>
                <a:effectLst/>
                <a:uLnTx/>
                <a:uFillTx/>
                <a:latin typeface="ABBvoice"/>
                <a:ea typeface="ABBvoice"/>
                <a:cs typeface="ABBvoice"/>
              </a:rPr>
              <a:t> </a:t>
            </a:r>
            <a:r>
              <a:rPr kumimoji="0" lang="de-DE" altLang="en-US" sz="1800" b="1" i="0" u="none" strike="noStrike" kern="1200" cap="none" spc="0" normalizeH="0" baseline="0" noProof="0" dirty="0" err="1">
                <a:ln>
                  <a:noFill/>
                </a:ln>
                <a:solidFill>
                  <a:srgbClr val="D90000"/>
                </a:solidFill>
                <a:effectLst/>
                <a:uLnTx/>
                <a:uFillTx/>
                <a:latin typeface="ABBvoice"/>
                <a:ea typeface="ABBvoice"/>
                <a:cs typeface="ABBvoice"/>
              </a:rPr>
              <a:t>for</a:t>
            </a:r>
            <a:r>
              <a:rPr kumimoji="0" lang="de-DE" altLang="en-US" sz="1800" b="1" i="0" u="none" strike="noStrike" kern="1200" cap="none" spc="0" normalizeH="0" baseline="0" noProof="0" dirty="0">
                <a:ln>
                  <a:noFill/>
                </a:ln>
                <a:solidFill>
                  <a:srgbClr val="D90000"/>
                </a:solidFill>
                <a:effectLst/>
                <a:uLnTx/>
                <a:uFillTx/>
                <a:latin typeface="ABBvoice"/>
                <a:ea typeface="ABBvoice"/>
                <a:cs typeface="ABBvoice"/>
              </a:rPr>
              <a:t> </a:t>
            </a:r>
            <a:r>
              <a:rPr kumimoji="0" lang="de-DE" altLang="en-US" sz="1800" b="1" i="0" u="none" strike="noStrike" kern="1200" cap="none" spc="0" normalizeH="0" baseline="0" noProof="0" dirty="0" err="1">
                <a:ln>
                  <a:noFill/>
                </a:ln>
                <a:solidFill>
                  <a:srgbClr val="D90000"/>
                </a:solidFill>
                <a:effectLst/>
                <a:uLnTx/>
                <a:uFillTx/>
                <a:latin typeface="ABBvoice"/>
                <a:ea typeface="ABBvoice"/>
                <a:cs typeface="ABBvoice"/>
              </a:rPr>
              <a:t>hazardous</a:t>
            </a:r>
            <a:r>
              <a:rPr kumimoji="0" lang="de-DE" altLang="en-US" sz="1800" b="1" i="0" u="none" strike="noStrike" kern="1200" cap="none" spc="0" normalizeH="0" baseline="0" noProof="0" dirty="0">
                <a:ln>
                  <a:noFill/>
                </a:ln>
                <a:solidFill>
                  <a:srgbClr val="D90000"/>
                </a:solidFill>
                <a:effectLst/>
                <a:uLnTx/>
                <a:uFillTx/>
                <a:latin typeface="ABBvoice"/>
                <a:ea typeface="ABBvoice"/>
                <a:cs typeface="ABBvoice"/>
              </a:rPr>
              <a:t> </a:t>
            </a:r>
            <a:r>
              <a:rPr kumimoji="0" lang="de-DE" altLang="en-US" sz="1800" b="1" i="0" u="none" strike="noStrike" kern="1200" cap="none" spc="0" normalizeH="0" baseline="0" noProof="0" dirty="0" err="1">
                <a:ln>
                  <a:noFill/>
                </a:ln>
                <a:solidFill>
                  <a:srgbClr val="D90000"/>
                </a:solidFill>
                <a:effectLst/>
                <a:uLnTx/>
                <a:uFillTx/>
                <a:latin typeface="ABBvoice"/>
                <a:ea typeface="ABBvoice"/>
                <a:cs typeface="ABBvoice"/>
              </a:rPr>
              <a:t>applications</a:t>
            </a:r>
            <a:r>
              <a:rPr kumimoji="0" lang="de-DE" altLang="en-US" sz="1800" b="1" i="0" u="none" strike="noStrike" kern="1200" cap="none" spc="0" normalizeH="0" baseline="0" noProof="0" dirty="0">
                <a:ln>
                  <a:noFill/>
                </a:ln>
                <a:solidFill>
                  <a:srgbClr val="D90000"/>
                </a:solidFill>
                <a:effectLst/>
                <a:uLnTx/>
                <a:uFillTx/>
                <a:latin typeface="ABBvoice"/>
                <a:ea typeface="ABBvoice"/>
                <a:cs typeface="ABBvoice"/>
              </a:rPr>
              <a:t>!</a:t>
            </a:r>
            <a:r>
              <a:rPr kumimoji="0" lang="en-US" altLang="en-US" sz="1800" b="1" i="0" u="none" strike="noStrike" kern="1200" cap="none" spc="0" normalizeH="0" baseline="0" noProof="0" dirty="0">
                <a:ln>
                  <a:noFill/>
                </a:ln>
                <a:solidFill>
                  <a:srgbClr val="D90000"/>
                </a:solidFill>
                <a:effectLst/>
                <a:uLnTx/>
                <a:uFillTx/>
                <a:latin typeface="ABBvoice"/>
                <a:ea typeface="ABBvoice"/>
                <a:cs typeface="ABBvoice"/>
              </a:rPr>
              <a:t> Click for more info…</a:t>
            </a:r>
            <a:endParaRPr kumimoji="0" lang="de-DE" altLang="en-US" sz="1800" b="1" i="0" u="none" strike="noStrike" kern="1200" cap="none" spc="0" normalizeH="0" baseline="0" noProof="0" dirty="0">
              <a:ln>
                <a:noFill/>
              </a:ln>
              <a:solidFill>
                <a:srgbClr val="D90000"/>
              </a:solidFill>
              <a:effectLst/>
              <a:uLnTx/>
              <a:uFillTx/>
              <a:latin typeface="ABBvoice"/>
              <a:ea typeface="ABBvoice"/>
              <a:cs typeface="ABBvoice"/>
            </a:endParaRPr>
          </a:p>
        </p:txBody>
      </p:sp>
      <p:grpSp>
        <p:nvGrpSpPr>
          <p:cNvPr id="17" name="Group 16">
            <a:extLst>
              <a:ext uri="{FF2B5EF4-FFF2-40B4-BE49-F238E27FC236}">
                <a16:creationId xmlns:a16="http://schemas.microsoft.com/office/drawing/2014/main" id="{4DA6859E-D33D-4729-91A3-2FAE46817BC8}"/>
              </a:ext>
            </a:extLst>
          </p:cNvPr>
          <p:cNvGrpSpPr>
            <a:grpSpLocks noChangeAspect="1"/>
          </p:cNvGrpSpPr>
          <p:nvPr/>
        </p:nvGrpSpPr>
        <p:grpSpPr bwMode="gray">
          <a:xfrm>
            <a:off x="8124850" y="1953405"/>
            <a:ext cx="1993693" cy="1993686"/>
            <a:chOff x="5802712" y="2234973"/>
            <a:chExt cx="571279" cy="571277"/>
          </a:xfrm>
        </p:grpSpPr>
        <p:sp>
          <p:nvSpPr>
            <p:cNvPr id="18" name="Oval 17">
              <a:extLst>
                <a:ext uri="{FF2B5EF4-FFF2-40B4-BE49-F238E27FC236}">
                  <a16:creationId xmlns:a16="http://schemas.microsoft.com/office/drawing/2014/main" id="{04C80B9F-36E7-44AA-B9F2-A644A18817AC}"/>
                </a:ext>
              </a:extLst>
            </p:cNvPr>
            <p:cNvSpPr/>
            <p:nvPr/>
          </p:nvSpPr>
          <p:spPr bwMode="gray">
            <a:xfrm>
              <a:off x="5802712" y="2234973"/>
              <a:ext cx="571279" cy="571277"/>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19" name="Group 18">
              <a:extLst>
                <a:ext uri="{FF2B5EF4-FFF2-40B4-BE49-F238E27FC236}">
                  <a16:creationId xmlns:a16="http://schemas.microsoft.com/office/drawing/2014/main" id="{A55FBDEB-4B0F-4C58-8362-6ABA047E37A2}"/>
                </a:ext>
              </a:extLst>
            </p:cNvPr>
            <p:cNvGrpSpPr/>
            <p:nvPr/>
          </p:nvGrpSpPr>
          <p:grpSpPr bwMode="gray">
            <a:xfrm>
              <a:off x="5919587" y="2312876"/>
              <a:ext cx="330294" cy="377370"/>
              <a:chOff x="5909061" y="2544110"/>
              <a:chExt cx="705098" cy="805596"/>
            </a:xfrm>
          </p:grpSpPr>
          <p:sp>
            <p:nvSpPr>
              <p:cNvPr id="20" name="Trapezoid 19">
                <a:extLst>
                  <a:ext uri="{FF2B5EF4-FFF2-40B4-BE49-F238E27FC236}">
                    <a16:creationId xmlns:a16="http://schemas.microsoft.com/office/drawing/2014/main" id="{E41F434A-C027-494C-BCEC-A47EFBC5E10E}"/>
                  </a:ext>
                </a:extLst>
              </p:cNvPr>
              <p:cNvSpPr/>
              <p:nvPr/>
            </p:nvSpPr>
            <p:spPr bwMode="gray">
              <a:xfrm>
                <a:off x="5909061" y="2544110"/>
                <a:ext cx="365620" cy="805596"/>
              </a:xfrm>
              <a:prstGeom prst="trapezoid">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grpSp>
            <p:nvGrpSpPr>
              <p:cNvPr id="22" name="Group 21">
                <a:extLst>
                  <a:ext uri="{FF2B5EF4-FFF2-40B4-BE49-F238E27FC236}">
                    <a16:creationId xmlns:a16="http://schemas.microsoft.com/office/drawing/2014/main" id="{3B6E1B74-5ACB-421B-97ED-09E497079595}"/>
                  </a:ext>
                </a:extLst>
              </p:cNvPr>
              <p:cNvGrpSpPr/>
              <p:nvPr/>
            </p:nvGrpSpPr>
            <p:grpSpPr bwMode="gray">
              <a:xfrm>
                <a:off x="6032240" y="2941201"/>
                <a:ext cx="581919" cy="408505"/>
                <a:chOff x="6927340" y="4231102"/>
                <a:chExt cx="2136491" cy="1499809"/>
              </a:xfrm>
              <a:solidFill>
                <a:schemeClr val="bg1"/>
              </a:solidFill>
            </p:grpSpPr>
            <p:grpSp>
              <p:nvGrpSpPr>
                <p:cNvPr id="23" name="Group 22">
                  <a:extLst>
                    <a:ext uri="{FF2B5EF4-FFF2-40B4-BE49-F238E27FC236}">
                      <a16:creationId xmlns:a16="http://schemas.microsoft.com/office/drawing/2014/main" id="{3F7EA857-88ED-4201-BE1D-5CDEAAFE206B}"/>
                    </a:ext>
                  </a:extLst>
                </p:cNvPr>
                <p:cNvGrpSpPr/>
                <p:nvPr/>
              </p:nvGrpSpPr>
              <p:grpSpPr bwMode="gray">
                <a:xfrm>
                  <a:off x="6927340" y="4231102"/>
                  <a:ext cx="869444" cy="359343"/>
                  <a:chOff x="6927340" y="4242623"/>
                  <a:chExt cx="869444" cy="359343"/>
                </a:xfrm>
                <a:grpFill/>
              </p:grpSpPr>
              <p:sp>
                <p:nvSpPr>
                  <p:cNvPr id="31" name="Rectangle 30">
                    <a:extLst>
                      <a:ext uri="{FF2B5EF4-FFF2-40B4-BE49-F238E27FC236}">
                        <a16:creationId xmlns:a16="http://schemas.microsoft.com/office/drawing/2014/main" id="{F46A4013-931D-4BC5-A897-787890DA3FF0}"/>
                      </a:ext>
                    </a:extLst>
                  </p:cNvPr>
                  <p:cNvSpPr/>
                  <p:nvPr/>
                </p:nvSpPr>
                <p:spPr bwMode="gray">
                  <a:xfrm>
                    <a:off x="6927340" y="4377294"/>
                    <a:ext cx="783688" cy="90000"/>
                  </a:xfrm>
                  <a:prstGeom prst="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32" name="Rectangle 31">
                    <a:extLst>
                      <a:ext uri="{FF2B5EF4-FFF2-40B4-BE49-F238E27FC236}">
                        <a16:creationId xmlns:a16="http://schemas.microsoft.com/office/drawing/2014/main" id="{46AEFEC6-664B-477D-9766-2701C119D6B7}"/>
                      </a:ext>
                    </a:extLst>
                  </p:cNvPr>
                  <p:cNvSpPr/>
                  <p:nvPr/>
                </p:nvSpPr>
                <p:spPr bwMode="gray">
                  <a:xfrm>
                    <a:off x="7709163" y="4242623"/>
                    <a:ext cx="87621" cy="359343"/>
                  </a:xfrm>
                  <a:prstGeom prst="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grpSp>
            <p:sp>
              <p:nvSpPr>
                <p:cNvPr id="24" name="Rectangle 23">
                  <a:extLst>
                    <a:ext uri="{FF2B5EF4-FFF2-40B4-BE49-F238E27FC236}">
                      <a16:creationId xmlns:a16="http://schemas.microsoft.com/office/drawing/2014/main" id="{BFA0D1B5-1201-49A9-B6AF-FA477868E4EB}"/>
                    </a:ext>
                  </a:extLst>
                </p:cNvPr>
                <p:cNvSpPr/>
                <p:nvPr/>
              </p:nvSpPr>
              <p:spPr bwMode="gray">
                <a:xfrm>
                  <a:off x="8309039" y="4231102"/>
                  <a:ext cx="754792" cy="1499809"/>
                </a:xfrm>
                <a:prstGeom prst="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25" name="Rectangle 788">
                  <a:extLst>
                    <a:ext uri="{FF2B5EF4-FFF2-40B4-BE49-F238E27FC236}">
                      <a16:creationId xmlns:a16="http://schemas.microsoft.com/office/drawing/2014/main" id="{38B98D07-0351-4A01-968C-BB17DBF52B5B}"/>
                    </a:ext>
                  </a:extLst>
                </p:cNvPr>
                <p:cNvSpPr/>
                <p:nvPr/>
              </p:nvSpPr>
              <p:spPr bwMode="gray">
                <a:xfrm>
                  <a:off x="8423682" y="4401108"/>
                  <a:ext cx="552638" cy="252028"/>
                </a:xfrm>
                <a:custGeom>
                  <a:avLst/>
                  <a:gdLst/>
                  <a:ahLst/>
                  <a:cxnLst/>
                  <a:rect l="l" t="t" r="r" b="b"/>
                  <a:pathLst>
                    <a:path w="552638" h="252028">
                      <a:moveTo>
                        <a:pt x="336614" y="58941"/>
                      </a:moveTo>
                      <a:lnTo>
                        <a:pt x="336614" y="175364"/>
                      </a:lnTo>
                      <a:lnTo>
                        <a:pt x="480630" y="175364"/>
                      </a:lnTo>
                      <a:lnTo>
                        <a:pt x="480630" y="58941"/>
                      </a:lnTo>
                      <a:close/>
                      <a:moveTo>
                        <a:pt x="48582" y="43701"/>
                      </a:moveTo>
                      <a:lnTo>
                        <a:pt x="48582" y="50901"/>
                      </a:lnTo>
                      <a:lnTo>
                        <a:pt x="95523" y="50901"/>
                      </a:lnTo>
                      <a:lnTo>
                        <a:pt x="95523" y="43701"/>
                      </a:lnTo>
                      <a:close/>
                      <a:moveTo>
                        <a:pt x="0" y="0"/>
                      </a:moveTo>
                      <a:lnTo>
                        <a:pt x="552638" y="0"/>
                      </a:lnTo>
                      <a:lnTo>
                        <a:pt x="552638" y="252028"/>
                      </a:lnTo>
                      <a:lnTo>
                        <a:pt x="0" y="252028"/>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26" name="Rectangle 788">
                  <a:extLst>
                    <a:ext uri="{FF2B5EF4-FFF2-40B4-BE49-F238E27FC236}">
                      <a16:creationId xmlns:a16="http://schemas.microsoft.com/office/drawing/2014/main" id="{BE250132-6847-4C9F-AD76-6BAF3F3F6EFC}"/>
                    </a:ext>
                  </a:extLst>
                </p:cNvPr>
                <p:cNvSpPr/>
                <p:nvPr/>
              </p:nvSpPr>
              <p:spPr bwMode="gray">
                <a:xfrm>
                  <a:off x="8423682" y="4647095"/>
                  <a:ext cx="552638" cy="252028"/>
                </a:xfrm>
                <a:custGeom>
                  <a:avLst/>
                  <a:gdLst>
                    <a:gd name="connsiteX0" fmla="*/ 336614 w 552638"/>
                    <a:gd name="connsiteY0" fmla="*/ 58941 h 252028"/>
                    <a:gd name="connsiteX1" fmla="*/ 336614 w 552638"/>
                    <a:gd name="connsiteY1" fmla="*/ 175364 h 252028"/>
                    <a:gd name="connsiteX2" fmla="*/ 480630 w 552638"/>
                    <a:gd name="connsiteY2" fmla="*/ 175364 h 252028"/>
                    <a:gd name="connsiteX3" fmla="*/ 336614 w 552638"/>
                    <a:gd name="connsiteY3" fmla="*/ 58941 h 252028"/>
                    <a:gd name="connsiteX4" fmla="*/ 48582 w 552638"/>
                    <a:gd name="connsiteY4" fmla="*/ 43701 h 252028"/>
                    <a:gd name="connsiteX5" fmla="*/ 48582 w 552638"/>
                    <a:gd name="connsiteY5" fmla="*/ 50901 h 252028"/>
                    <a:gd name="connsiteX6" fmla="*/ 95523 w 552638"/>
                    <a:gd name="connsiteY6" fmla="*/ 50901 h 252028"/>
                    <a:gd name="connsiteX7" fmla="*/ 95523 w 552638"/>
                    <a:gd name="connsiteY7" fmla="*/ 43701 h 252028"/>
                    <a:gd name="connsiteX8" fmla="*/ 48582 w 552638"/>
                    <a:gd name="connsiteY8" fmla="*/ 43701 h 252028"/>
                    <a:gd name="connsiteX9" fmla="*/ 0 w 552638"/>
                    <a:gd name="connsiteY9" fmla="*/ 0 h 252028"/>
                    <a:gd name="connsiteX10" fmla="*/ 552638 w 552638"/>
                    <a:gd name="connsiteY10" fmla="*/ 0 h 252028"/>
                    <a:gd name="connsiteX11" fmla="*/ 552638 w 552638"/>
                    <a:gd name="connsiteY11" fmla="*/ 252028 h 252028"/>
                    <a:gd name="connsiteX12" fmla="*/ 0 w 552638"/>
                    <a:gd name="connsiteY12" fmla="*/ 252028 h 252028"/>
                    <a:gd name="connsiteX13" fmla="*/ 0 w 552638"/>
                    <a:gd name="connsiteY13" fmla="*/ 0 h 252028"/>
                    <a:gd name="connsiteX0" fmla="*/ 480630 w 552638"/>
                    <a:gd name="connsiteY0" fmla="*/ 175364 h 252028"/>
                    <a:gd name="connsiteX1" fmla="*/ 336614 w 552638"/>
                    <a:gd name="connsiteY1" fmla="*/ 175364 h 252028"/>
                    <a:gd name="connsiteX2" fmla="*/ 480630 w 552638"/>
                    <a:gd name="connsiteY2" fmla="*/ 175364 h 252028"/>
                    <a:gd name="connsiteX3" fmla="*/ 48582 w 552638"/>
                    <a:gd name="connsiteY3" fmla="*/ 43701 h 252028"/>
                    <a:gd name="connsiteX4" fmla="*/ 48582 w 552638"/>
                    <a:gd name="connsiteY4" fmla="*/ 50901 h 252028"/>
                    <a:gd name="connsiteX5" fmla="*/ 95523 w 552638"/>
                    <a:gd name="connsiteY5" fmla="*/ 50901 h 252028"/>
                    <a:gd name="connsiteX6" fmla="*/ 95523 w 552638"/>
                    <a:gd name="connsiteY6" fmla="*/ 43701 h 252028"/>
                    <a:gd name="connsiteX7" fmla="*/ 48582 w 552638"/>
                    <a:gd name="connsiteY7" fmla="*/ 43701 h 252028"/>
                    <a:gd name="connsiteX8" fmla="*/ 0 w 552638"/>
                    <a:gd name="connsiteY8" fmla="*/ 0 h 252028"/>
                    <a:gd name="connsiteX9" fmla="*/ 552638 w 552638"/>
                    <a:gd name="connsiteY9" fmla="*/ 0 h 252028"/>
                    <a:gd name="connsiteX10" fmla="*/ 552638 w 552638"/>
                    <a:gd name="connsiteY10" fmla="*/ 252028 h 252028"/>
                    <a:gd name="connsiteX11" fmla="*/ 0 w 552638"/>
                    <a:gd name="connsiteY11" fmla="*/ 252028 h 252028"/>
                    <a:gd name="connsiteX12" fmla="*/ 0 w 552638"/>
                    <a:gd name="connsiteY12" fmla="*/ 0 h 252028"/>
                    <a:gd name="connsiteX0" fmla="*/ 48582 w 552638"/>
                    <a:gd name="connsiteY0" fmla="*/ 43701 h 252028"/>
                    <a:gd name="connsiteX1" fmla="*/ 48582 w 552638"/>
                    <a:gd name="connsiteY1" fmla="*/ 50901 h 252028"/>
                    <a:gd name="connsiteX2" fmla="*/ 95523 w 552638"/>
                    <a:gd name="connsiteY2" fmla="*/ 50901 h 252028"/>
                    <a:gd name="connsiteX3" fmla="*/ 95523 w 552638"/>
                    <a:gd name="connsiteY3" fmla="*/ 43701 h 252028"/>
                    <a:gd name="connsiteX4" fmla="*/ 48582 w 552638"/>
                    <a:gd name="connsiteY4" fmla="*/ 43701 h 252028"/>
                    <a:gd name="connsiteX5" fmla="*/ 0 w 552638"/>
                    <a:gd name="connsiteY5" fmla="*/ 0 h 252028"/>
                    <a:gd name="connsiteX6" fmla="*/ 552638 w 552638"/>
                    <a:gd name="connsiteY6" fmla="*/ 0 h 252028"/>
                    <a:gd name="connsiteX7" fmla="*/ 552638 w 552638"/>
                    <a:gd name="connsiteY7" fmla="*/ 252028 h 252028"/>
                    <a:gd name="connsiteX8" fmla="*/ 0 w 552638"/>
                    <a:gd name="connsiteY8" fmla="*/ 252028 h 252028"/>
                    <a:gd name="connsiteX9" fmla="*/ 0 w 552638"/>
                    <a:gd name="connsiteY9" fmla="*/ 0 h 25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638" h="252028">
                      <a:moveTo>
                        <a:pt x="48582" y="43701"/>
                      </a:moveTo>
                      <a:lnTo>
                        <a:pt x="48582" y="50901"/>
                      </a:lnTo>
                      <a:lnTo>
                        <a:pt x="95523" y="50901"/>
                      </a:lnTo>
                      <a:lnTo>
                        <a:pt x="95523" y="43701"/>
                      </a:lnTo>
                      <a:lnTo>
                        <a:pt x="48582" y="43701"/>
                      </a:lnTo>
                      <a:close/>
                      <a:moveTo>
                        <a:pt x="0" y="0"/>
                      </a:moveTo>
                      <a:lnTo>
                        <a:pt x="552638" y="0"/>
                      </a:lnTo>
                      <a:lnTo>
                        <a:pt x="552638" y="252028"/>
                      </a:lnTo>
                      <a:lnTo>
                        <a:pt x="0" y="252028"/>
                      </a:lnTo>
                      <a:lnTo>
                        <a:pt x="0" y="0"/>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27" name="Rectangle 788">
                  <a:extLst>
                    <a:ext uri="{FF2B5EF4-FFF2-40B4-BE49-F238E27FC236}">
                      <a16:creationId xmlns:a16="http://schemas.microsoft.com/office/drawing/2014/main" id="{54822076-935C-4362-BE8F-43A6687B4552}"/>
                    </a:ext>
                  </a:extLst>
                </p:cNvPr>
                <p:cNvSpPr/>
                <p:nvPr/>
              </p:nvSpPr>
              <p:spPr bwMode="gray">
                <a:xfrm>
                  <a:off x="8423682" y="4899310"/>
                  <a:ext cx="552638" cy="252028"/>
                </a:xfrm>
                <a:custGeom>
                  <a:avLst/>
                  <a:gdLst>
                    <a:gd name="connsiteX0" fmla="*/ 336614 w 552638"/>
                    <a:gd name="connsiteY0" fmla="*/ 58941 h 252028"/>
                    <a:gd name="connsiteX1" fmla="*/ 336614 w 552638"/>
                    <a:gd name="connsiteY1" fmla="*/ 175364 h 252028"/>
                    <a:gd name="connsiteX2" fmla="*/ 480630 w 552638"/>
                    <a:gd name="connsiteY2" fmla="*/ 175364 h 252028"/>
                    <a:gd name="connsiteX3" fmla="*/ 336614 w 552638"/>
                    <a:gd name="connsiteY3" fmla="*/ 58941 h 252028"/>
                    <a:gd name="connsiteX4" fmla="*/ 48582 w 552638"/>
                    <a:gd name="connsiteY4" fmla="*/ 43701 h 252028"/>
                    <a:gd name="connsiteX5" fmla="*/ 48582 w 552638"/>
                    <a:gd name="connsiteY5" fmla="*/ 50901 h 252028"/>
                    <a:gd name="connsiteX6" fmla="*/ 95523 w 552638"/>
                    <a:gd name="connsiteY6" fmla="*/ 50901 h 252028"/>
                    <a:gd name="connsiteX7" fmla="*/ 95523 w 552638"/>
                    <a:gd name="connsiteY7" fmla="*/ 43701 h 252028"/>
                    <a:gd name="connsiteX8" fmla="*/ 48582 w 552638"/>
                    <a:gd name="connsiteY8" fmla="*/ 43701 h 252028"/>
                    <a:gd name="connsiteX9" fmla="*/ 0 w 552638"/>
                    <a:gd name="connsiteY9" fmla="*/ 0 h 252028"/>
                    <a:gd name="connsiteX10" fmla="*/ 552638 w 552638"/>
                    <a:gd name="connsiteY10" fmla="*/ 0 h 252028"/>
                    <a:gd name="connsiteX11" fmla="*/ 552638 w 552638"/>
                    <a:gd name="connsiteY11" fmla="*/ 252028 h 252028"/>
                    <a:gd name="connsiteX12" fmla="*/ 0 w 552638"/>
                    <a:gd name="connsiteY12" fmla="*/ 252028 h 252028"/>
                    <a:gd name="connsiteX13" fmla="*/ 0 w 552638"/>
                    <a:gd name="connsiteY13" fmla="*/ 0 h 252028"/>
                    <a:gd name="connsiteX0" fmla="*/ 480630 w 552638"/>
                    <a:gd name="connsiteY0" fmla="*/ 175364 h 252028"/>
                    <a:gd name="connsiteX1" fmla="*/ 336614 w 552638"/>
                    <a:gd name="connsiteY1" fmla="*/ 175364 h 252028"/>
                    <a:gd name="connsiteX2" fmla="*/ 480630 w 552638"/>
                    <a:gd name="connsiteY2" fmla="*/ 175364 h 252028"/>
                    <a:gd name="connsiteX3" fmla="*/ 48582 w 552638"/>
                    <a:gd name="connsiteY3" fmla="*/ 43701 h 252028"/>
                    <a:gd name="connsiteX4" fmla="*/ 48582 w 552638"/>
                    <a:gd name="connsiteY4" fmla="*/ 50901 h 252028"/>
                    <a:gd name="connsiteX5" fmla="*/ 95523 w 552638"/>
                    <a:gd name="connsiteY5" fmla="*/ 50901 h 252028"/>
                    <a:gd name="connsiteX6" fmla="*/ 95523 w 552638"/>
                    <a:gd name="connsiteY6" fmla="*/ 43701 h 252028"/>
                    <a:gd name="connsiteX7" fmla="*/ 48582 w 552638"/>
                    <a:gd name="connsiteY7" fmla="*/ 43701 h 252028"/>
                    <a:gd name="connsiteX8" fmla="*/ 0 w 552638"/>
                    <a:gd name="connsiteY8" fmla="*/ 0 h 252028"/>
                    <a:gd name="connsiteX9" fmla="*/ 552638 w 552638"/>
                    <a:gd name="connsiteY9" fmla="*/ 0 h 252028"/>
                    <a:gd name="connsiteX10" fmla="*/ 552638 w 552638"/>
                    <a:gd name="connsiteY10" fmla="*/ 252028 h 252028"/>
                    <a:gd name="connsiteX11" fmla="*/ 0 w 552638"/>
                    <a:gd name="connsiteY11" fmla="*/ 252028 h 252028"/>
                    <a:gd name="connsiteX12" fmla="*/ 0 w 552638"/>
                    <a:gd name="connsiteY12" fmla="*/ 0 h 252028"/>
                    <a:gd name="connsiteX0" fmla="*/ 48582 w 552638"/>
                    <a:gd name="connsiteY0" fmla="*/ 43701 h 252028"/>
                    <a:gd name="connsiteX1" fmla="*/ 48582 w 552638"/>
                    <a:gd name="connsiteY1" fmla="*/ 50901 h 252028"/>
                    <a:gd name="connsiteX2" fmla="*/ 95523 w 552638"/>
                    <a:gd name="connsiteY2" fmla="*/ 50901 h 252028"/>
                    <a:gd name="connsiteX3" fmla="*/ 95523 w 552638"/>
                    <a:gd name="connsiteY3" fmla="*/ 43701 h 252028"/>
                    <a:gd name="connsiteX4" fmla="*/ 48582 w 552638"/>
                    <a:gd name="connsiteY4" fmla="*/ 43701 h 252028"/>
                    <a:gd name="connsiteX5" fmla="*/ 0 w 552638"/>
                    <a:gd name="connsiteY5" fmla="*/ 0 h 252028"/>
                    <a:gd name="connsiteX6" fmla="*/ 552638 w 552638"/>
                    <a:gd name="connsiteY6" fmla="*/ 0 h 252028"/>
                    <a:gd name="connsiteX7" fmla="*/ 552638 w 552638"/>
                    <a:gd name="connsiteY7" fmla="*/ 252028 h 252028"/>
                    <a:gd name="connsiteX8" fmla="*/ 0 w 552638"/>
                    <a:gd name="connsiteY8" fmla="*/ 252028 h 252028"/>
                    <a:gd name="connsiteX9" fmla="*/ 0 w 552638"/>
                    <a:gd name="connsiteY9" fmla="*/ 0 h 25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638" h="252028">
                      <a:moveTo>
                        <a:pt x="48582" y="43701"/>
                      </a:moveTo>
                      <a:lnTo>
                        <a:pt x="48582" y="50901"/>
                      </a:lnTo>
                      <a:lnTo>
                        <a:pt x="95523" y="50901"/>
                      </a:lnTo>
                      <a:lnTo>
                        <a:pt x="95523" y="43701"/>
                      </a:lnTo>
                      <a:lnTo>
                        <a:pt x="48582" y="43701"/>
                      </a:lnTo>
                      <a:close/>
                      <a:moveTo>
                        <a:pt x="0" y="0"/>
                      </a:moveTo>
                      <a:lnTo>
                        <a:pt x="552638" y="0"/>
                      </a:lnTo>
                      <a:lnTo>
                        <a:pt x="552638" y="252028"/>
                      </a:lnTo>
                      <a:lnTo>
                        <a:pt x="0" y="252028"/>
                      </a:lnTo>
                      <a:lnTo>
                        <a:pt x="0" y="0"/>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28" name="Rectangle 793">
                  <a:extLst>
                    <a:ext uri="{FF2B5EF4-FFF2-40B4-BE49-F238E27FC236}">
                      <a16:creationId xmlns:a16="http://schemas.microsoft.com/office/drawing/2014/main" id="{6228DF54-74B3-4B14-A2D5-6CC92278A313}"/>
                    </a:ext>
                  </a:extLst>
                </p:cNvPr>
                <p:cNvSpPr/>
                <p:nvPr/>
              </p:nvSpPr>
              <p:spPr bwMode="gray">
                <a:xfrm>
                  <a:off x="8423701" y="5326730"/>
                  <a:ext cx="262753" cy="241031"/>
                </a:xfrm>
                <a:custGeom>
                  <a:avLst/>
                  <a:gdLst/>
                  <a:ahLst/>
                  <a:cxnLst/>
                  <a:rect l="l" t="t" r="r" b="b"/>
                  <a:pathLst>
                    <a:path w="262753" h="241031">
                      <a:moveTo>
                        <a:pt x="178828" y="192226"/>
                      </a:moveTo>
                      <a:lnTo>
                        <a:pt x="178828" y="199426"/>
                      </a:lnTo>
                      <a:lnTo>
                        <a:pt x="224547" y="199426"/>
                      </a:lnTo>
                      <a:lnTo>
                        <a:pt x="224547" y="192226"/>
                      </a:lnTo>
                      <a:close/>
                      <a:moveTo>
                        <a:pt x="131377" y="18570"/>
                      </a:moveTo>
                      <a:cubicBezTo>
                        <a:pt x="101658" y="18570"/>
                        <a:pt x="77566" y="42662"/>
                        <a:pt x="77566" y="72381"/>
                      </a:cubicBezTo>
                      <a:cubicBezTo>
                        <a:pt x="77566" y="102100"/>
                        <a:pt x="101658" y="126192"/>
                        <a:pt x="131377" y="126192"/>
                      </a:cubicBezTo>
                      <a:cubicBezTo>
                        <a:pt x="161096" y="126192"/>
                        <a:pt x="185188" y="102100"/>
                        <a:pt x="185188" y="72381"/>
                      </a:cubicBezTo>
                      <a:cubicBezTo>
                        <a:pt x="185188" y="42662"/>
                        <a:pt x="161096" y="18570"/>
                        <a:pt x="131377" y="18570"/>
                      </a:cubicBezTo>
                      <a:close/>
                      <a:moveTo>
                        <a:pt x="0" y="0"/>
                      </a:moveTo>
                      <a:lnTo>
                        <a:pt x="262753" y="0"/>
                      </a:lnTo>
                      <a:lnTo>
                        <a:pt x="262753" y="241031"/>
                      </a:lnTo>
                      <a:lnTo>
                        <a:pt x="0" y="241031"/>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29" name="Rectangle 794">
                  <a:extLst>
                    <a:ext uri="{FF2B5EF4-FFF2-40B4-BE49-F238E27FC236}">
                      <a16:creationId xmlns:a16="http://schemas.microsoft.com/office/drawing/2014/main" id="{BBB317C4-74D2-4C77-B8E7-75AC5BA21A25}"/>
                    </a:ext>
                  </a:extLst>
                </p:cNvPr>
                <p:cNvSpPr/>
                <p:nvPr/>
              </p:nvSpPr>
              <p:spPr bwMode="gray">
                <a:xfrm>
                  <a:off x="8686417" y="5326730"/>
                  <a:ext cx="262753" cy="241031"/>
                </a:xfrm>
                <a:custGeom>
                  <a:avLst/>
                  <a:gdLst/>
                  <a:ahLst/>
                  <a:cxnLst/>
                  <a:rect l="l" t="t" r="r" b="b"/>
                  <a:pathLst>
                    <a:path w="262753" h="241031">
                      <a:moveTo>
                        <a:pt x="181891" y="192226"/>
                      </a:moveTo>
                      <a:lnTo>
                        <a:pt x="181891" y="199426"/>
                      </a:lnTo>
                      <a:lnTo>
                        <a:pt x="227610" y="199426"/>
                      </a:lnTo>
                      <a:lnTo>
                        <a:pt x="227610" y="192226"/>
                      </a:lnTo>
                      <a:close/>
                      <a:moveTo>
                        <a:pt x="76455" y="37947"/>
                      </a:moveTo>
                      <a:lnTo>
                        <a:pt x="76455" y="106373"/>
                      </a:lnTo>
                      <a:lnTo>
                        <a:pt x="184003" y="106373"/>
                      </a:lnTo>
                      <a:lnTo>
                        <a:pt x="184003" y="37947"/>
                      </a:lnTo>
                      <a:close/>
                      <a:moveTo>
                        <a:pt x="0" y="0"/>
                      </a:moveTo>
                      <a:lnTo>
                        <a:pt x="262753" y="0"/>
                      </a:lnTo>
                      <a:lnTo>
                        <a:pt x="262753" y="241031"/>
                      </a:lnTo>
                      <a:lnTo>
                        <a:pt x="0" y="241031"/>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cxnSp>
              <p:nvCxnSpPr>
                <p:cNvPr id="30" name="Elbow Connector 730">
                  <a:extLst>
                    <a:ext uri="{FF2B5EF4-FFF2-40B4-BE49-F238E27FC236}">
                      <a16:creationId xmlns:a16="http://schemas.microsoft.com/office/drawing/2014/main" id="{C12811C0-8401-4328-A037-7D233F335B02}"/>
                    </a:ext>
                  </a:extLst>
                </p:cNvPr>
                <p:cNvCxnSpPr>
                  <a:stCxn id="32" idx="3"/>
                  <a:endCxn id="24" idx="1"/>
                </p:cNvCxnSpPr>
                <p:nvPr/>
              </p:nvCxnSpPr>
              <p:spPr bwMode="gray">
                <a:xfrm>
                  <a:off x="7796784" y="4410774"/>
                  <a:ext cx="512255" cy="570233"/>
                </a:xfrm>
                <a:prstGeom prst="bentConnector3">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grpSp>
      <p:pic>
        <p:nvPicPr>
          <p:cNvPr id="38" name="Content Placeholder 10">
            <a:extLst>
              <a:ext uri="{FF2B5EF4-FFF2-40B4-BE49-F238E27FC236}">
                <a16:creationId xmlns:a16="http://schemas.microsoft.com/office/drawing/2014/main" id="{5642547E-02D3-47E8-AB6C-BAB7A5FA707C}"/>
              </a:ext>
            </a:extLst>
          </p:cNvPr>
          <p:cNvPicPr preferRelativeResize="0">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8128519" y="4131283"/>
            <a:ext cx="452842" cy="360000"/>
          </a:xfrm>
          <a:prstGeom prst="rect">
            <a:avLst/>
          </a:prstGeom>
          <a:noFill/>
          <a:ln w="9525">
            <a:noFill/>
            <a:miter lim="800000"/>
            <a:headEnd/>
            <a:tailEnd/>
          </a:ln>
        </p:spPr>
      </p:pic>
      <p:pic>
        <p:nvPicPr>
          <p:cNvPr id="39" name="Picture 10">
            <a:extLst>
              <a:ext uri="{FF2B5EF4-FFF2-40B4-BE49-F238E27FC236}">
                <a16:creationId xmlns:a16="http://schemas.microsoft.com/office/drawing/2014/main" id="{C9207D75-69F8-46CB-92B5-66A3A6490C7A}"/>
              </a:ext>
            </a:extLst>
          </p:cNvPr>
          <p:cNvPicPr preferRelativeResize="0">
            <a:picLocks noChangeAspect="1"/>
          </p:cNvPicPr>
          <p:nvPr/>
        </p:nvPicPr>
        <p:blipFill>
          <a:blip r:embed="rId4"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9699529" y="4119708"/>
            <a:ext cx="395864" cy="396000"/>
          </a:xfrm>
          <a:prstGeom prst="rect">
            <a:avLst/>
          </a:prstGeom>
          <a:noFill/>
          <a:ln w="9525">
            <a:noFill/>
            <a:miter lim="800000"/>
            <a:headEnd/>
            <a:tailEnd/>
          </a:ln>
        </p:spPr>
      </p:pic>
      <p:pic>
        <p:nvPicPr>
          <p:cNvPr id="40" name="Picture 11">
            <a:extLst>
              <a:ext uri="{FF2B5EF4-FFF2-40B4-BE49-F238E27FC236}">
                <a16:creationId xmlns:a16="http://schemas.microsoft.com/office/drawing/2014/main" id="{FB1DF12E-F784-4B09-8340-76B317FBE674}"/>
              </a:ext>
            </a:extLst>
          </p:cNvPr>
          <p:cNvPicPr preferRelativeResize="0">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8869325" y="4064464"/>
            <a:ext cx="503823" cy="504000"/>
          </a:xfrm>
          <a:prstGeom prst="rect">
            <a:avLst/>
          </a:prstGeom>
          <a:noFill/>
          <a:ln w="9525">
            <a:noFill/>
            <a:miter lim="800000"/>
            <a:headEnd/>
            <a:tailEnd/>
          </a:ln>
        </p:spPr>
      </p:pic>
      <p:pic>
        <p:nvPicPr>
          <p:cNvPr id="33" name="Picture 32">
            <a:extLst>
              <a:ext uri="{FF2B5EF4-FFF2-40B4-BE49-F238E27FC236}">
                <a16:creationId xmlns:a16="http://schemas.microsoft.com/office/drawing/2014/main" id="{E813C14A-71C3-4B42-BF07-CEC39BD82813}"/>
              </a:ext>
            </a:extLst>
          </p:cNvPr>
          <p:cNvPicPr>
            <a:picLocks noChangeAspect="1"/>
          </p:cNvPicPr>
          <p:nvPr/>
        </p:nvPicPr>
        <p:blipFill>
          <a:blip r:embed="rId6">
            <a:duotone>
              <a:schemeClr val="bg2">
                <a:shade val="45000"/>
                <a:satMod val="135000"/>
              </a:schemeClr>
              <a:prstClr val="white"/>
            </a:duotone>
          </a:blip>
          <a:stretch>
            <a:fillRect/>
          </a:stretch>
        </p:blipFill>
        <p:spPr>
          <a:xfrm>
            <a:off x="8500737" y="4675475"/>
            <a:ext cx="466725" cy="333375"/>
          </a:xfrm>
          <a:prstGeom prst="rect">
            <a:avLst/>
          </a:prstGeom>
        </p:spPr>
      </p:pic>
      <p:pic>
        <p:nvPicPr>
          <p:cNvPr id="34" name="Grafik 20">
            <a:extLst>
              <a:ext uri="{FF2B5EF4-FFF2-40B4-BE49-F238E27FC236}">
                <a16:creationId xmlns:a16="http://schemas.microsoft.com/office/drawing/2014/main" id="{46489DEE-6426-45EC-9E0C-C67112023C36}"/>
              </a:ext>
            </a:extLst>
          </p:cNvPr>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9289414" y="4609415"/>
            <a:ext cx="396000" cy="396000"/>
          </a:xfrm>
          <a:prstGeom prst="rect">
            <a:avLst/>
          </a:prstGeom>
        </p:spPr>
      </p:pic>
      <p:grpSp>
        <p:nvGrpSpPr>
          <p:cNvPr id="35" name="Group 34">
            <a:extLst>
              <a:ext uri="{FF2B5EF4-FFF2-40B4-BE49-F238E27FC236}">
                <a16:creationId xmlns:a16="http://schemas.microsoft.com/office/drawing/2014/main" id="{6A6B7EE0-049F-40E2-A7D4-EBF44AA9FF00}"/>
              </a:ext>
            </a:extLst>
          </p:cNvPr>
          <p:cNvGrpSpPr>
            <a:grpSpLocks noChangeAspect="1"/>
          </p:cNvGrpSpPr>
          <p:nvPr/>
        </p:nvGrpSpPr>
        <p:grpSpPr bwMode="gray">
          <a:xfrm>
            <a:off x="332367" y="4728324"/>
            <a:ext cx="689137" cy="577417"/>
            <a:chOff x="5382466" y="2044232"/>
            <a:chExt cx="937763" cy="785738"/>
          </a:xfrm>
          <a:solidFill>
            <a:schemeClr val="tx1"/>
          </a:solidFill>
        </p:grpSpPr>
        <p:grpSp>
          <p:nvGrpSpPr>
            <p:cNvPr id="36" name="Gruppieren 3076">
              <a:extLst>
                <a:ext uri="{FF2B5EF4-FFF2-40B4-BE49-F238E27FC236}">
                  <a16:creationId xmlns:a16="http://schemas.microsoft.com/office/drawing/2014/main" id="{078632F4-DF48-42A4-98F4-E206AE0D7F9B}"/>
                </a:ext>
              </a:extLst>
            </p:cNvPr>
            <p:cNvGrpSpPr/>
            <p:nvPr/>
          </p:nvGrpSpPr>
          <p:grpSpPr bwMode="gray">
            <a:xfrm>
              <a:off x="5624826" y="2208674"/>
              <a:ext cx="453043" cy="460345"/>
              <a:chOff x="6433785" y="4335053"/>
              <a:chExt cx="453043" cy="460345"/>
            </a:xfrm>
            <a:grpFill/>
          </p:grpSpPr>
          <p:sp>
            <p:nvSpPr>
              <p:cNvPr id="41" name="Rechteck 297">
                <a:extLst>
                  <a:ext uri="{FF2B5EF4-FFF2-40B4-BE49-F238E27FC236}">
                    <a16:creationId xmlns:a16="http://schemas.microsoft.com/office/drawing/2014/main" id="{055A467B-D147-4310-9983-D1595A667608}"/>
                  </a:ext>
                </a:extLst>
              </p:cNvPr>
              <p:cNvSpPr/>
              <p:nvPr/>
            </p:nvSpPr>
            <p:spPr bwMode="gray">
              <a:xfrm>
                <a:off x="6684854" y="4541041"/>
                <a:ext cx="201974" cy="254357"/>
              </a:xfrm>
              <a:custGeom>
                <a:avLst/>
                <a:gdLst/>
                <a:ahLst/>
                <a:cxnLst/>
                <a:rect l="l" t="t" r="r" b="b"/>
                <a:pathLst>
                  <a:path w="171193" h="215593">
                    <a:moveTo>
                      <a:pt x="2732" y="0"/>
                    </a:moveTo>
                    <a:cubicBezTo>
                      <a:pt x="31801" y="5583"/>
                      <a:pt x="45458" y="13241"/>
                      <a:pt x="55614" y="25569"/>
                    </a:cubicBezTo>
                    <a:lnTo>
                      <a:pt x="85597" y="78441"/>
                    </a:lnTo>
                    <a:lnTo>
                      <a:pt x="115579" y="25569"/>
                    </a:lnTo>
                    <a:cubicBezTo>
                      <a:pt x="125735" y="13241"/>
                      <a:pt x="139392" y="5583"/>
                      <a:pt x="168461" y="0"/>
                    </a:cubicBezTo>
                    <a:lnTo>
                      <a:pt x="169737" y="36539"/>
                    </a:lnTo>
                    <a:cubicBezTo>
                      <a:pt x="150035" y="44140"/>
                      <a:pt x="147302" y="43960"/>
                      <a:pt x="138661" y="56436"/>
                    </a:cubicBezTo>
                    <a:lnTo>
                      <a:pt x="104983" y="112627"/>
                    </a:lnTo>
                    <a:lnTo>
                      <a:pt x="132675" y="161459"/>
                    </a:lnTo>
                    <a:cubicBezTo>
                      <a:pt x="138215" y="169054"/>
                      <a:pt x="153825" y="177709"/>
                      <a:pt x="171193" y="182998"/>
                    </a:cubicBezTo>
                    <a:cubicBezTo>
                      <a:pt x="170615" y="193863"/>
                      <a:pt x="170036" y="204728"/>
                      <a:pt x="169458" y="215593"/>
                    </a:cubicBezTo>
                    <a:cubicBezTo>
                      <a:pt x="145227" y="213278"/>
                      <a:pt x="126884" y="206716"/>
                      <a:pt x="109815" y="185383"/>
                    </a:cubicBezTo>
                    <a:lnTo>
                      <a:pt x="85597" y="144974"/>
                    </a:lnTo>
                    <a:lnTo>
                      <a:pt x="61378" y="185383"/>
                    </a:lnTo>
                    <a:cubicBezTo>
                      <a:pt x="44309" y="206716"/>
                      <a:pt x="25966" y="213278"/>
                      <a:pt x="1735" y="215593"/>
                    </a:cubicBezTo>
                    <a:cubicBezTo>
                      <a:pt x="1157" y="204728"/>
                      <a:pt x="578" y="193863"/>
                      <a:pt x="0" y="182998"/>
                    </a:cubicBezTo>
                    <a:cubicBezTo>
                      <a:pt x="17368" y="177709"/>
                      <a:pt x="32978" y="169054"/>
                      <a:pt x="38518" y="161459"/>
                    </a:cubicBezTo>
                    <a:lnTo>
                      <a:pt x="66210" y="112627"/>
                    </a:lnTo>
                    <a:lnTo>
                      <a:pt x="32532" y="56436"/>
                    </a:lnTo>
                    <a:cubicBezTo>
                      <a:pt x="23891" y="43960"/>
                      <a:pt x="21158" y="44140"/>
                      <a:pt x="1456" y="36539"/>
                    </a:cubicBezTo>
                    <a:cubicBezTo>
                      <a:pt x="1881" y="24360"/>
                      <a:pt x="2307" y="12180"/>
                      <a:pt x="2732" y="0"/>
                    </a:cubicBezTo>
                    <a:close/>
                  </a:path>
                </a:pathLst>
              </a:custGeom>
              <a:noFill/>
              <a:ln w="19050">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2" name="Rechteck 305">
                <a:extLst>
                  <a:ext uri="{FF2B5EF4-FFF2-40B4-BE49-F238E27FC236}">
                    <a16:creationId xmlns:a16="http://schemas.microsoft.com/office/drawing/2014/main" id="{8ECC2F38-F0B7-4BA1-90D4-31A5EDC1AB50}"/>
                  </a:ext>
                </a:extLst>
              </p:cNvPr>
              <p:cNvSpPr/>
              <p:nvPr/>
            </p:nvSpPr>
            <p:spPr bwMode="gray">
              <a:xfrm>
                <a:off x="6433785" y="4335053"/>
                <a:ext cx="212100" cy="452561"/>
              </a:xfrm>
              <a:custGeom>
                <a:avLst/>
                <a:gdLst/>
                <a:ahLst/>
                <a:cxnLst/>
                <a:rect l="l" t="t" r="r" b="b"/>
                <a:pathLst>
                  <a:path w="179776" h="383591">
                    <a:moveTo>
                      <a:pt x="104498" y="0"/>
                    </a:moveTo>
                    <a:cubicBezTo>
                      <a:pt x="134377" y="0"/>
                      <a:pt x="161327" y="12540"/>
                      <a:pt x="179776" y="33145"/>
                    </a:cubicBezTo>
                    <a:lnTo>
                      <a:pt x="151910" y="61011"/>
                    </a:lnTo>
                    <a:cubicBezTo>
                      <a:pt x="141353" y="45309"/>
                      <a:pt x="123149" y="36648"/>
                      <a:pt x="102922" y="36648"/>
                    </a:cubicBezTo>
                    <a:cubicBezTo>
                      <a:pt x="64629" y="36648"/>
                      <a:pt x="33587" y="67690"/>
                      <a:pt x="33587" y="105984"/>
                    </a:cubicBezTo>
                    <a:cubicBezTo>
                      <a:pt x="33587" y="142135"/>
                      <a:pt x="61253" y="171823"/>
                      <a:pt x="96657" y="174054"/>
                    </a:cubicBezTo>
                    <a:lnTo>
                      <a:pt x="109630" y="174595"/>
                    </a:lnTo>
                    <a:lnTo>
                      <a:pt x="140774" y="174595"/>
                    </a:lnTo>
                    <a:lnTo>
                      <a:pt x="140774" y="175318"/>
                    </a:lnTo>
                    <a:lnTo>
                      <a:pt x="140774" y="181919"/>
                    </a:lnTo>
                    <a:lnTo>
                      <a:pt x="140774" y="201672"/>
                    </a:lnTo>
                    <a:lnTo>
                      <a:pt x="140774" y="208273"/>
                    </a:lnTo>
                    <a:lnTo>
                      <a:pt x="140774" y="208996"/>
                    </a:lnTo>
                    <a:lnTo>
                      <a:pt x="109630" y="208996"/>
                    </a:lnTo>
                    <a:lnTo>
                      <a:pt x="96657" y="209537"/>
                    </a:lnTo>
                    <a:cubicBezTo>
                      <a:pt x="61253" y="211768"/>
                      <a:pt x="33587" y="241456"/>
                      <a:pt x="33587" y="277607"/>
                    </a:cubicBezTo>
                    <a:cubicBezTo>
                      <a:pt x="33587" y="315901"/>
                      <a:pt x="64629" y="346943"/>
                      <a:pt x="102922" y="346943"/>
                    </a:cubicBezTo>
                    <a:cubicBezTo>
                      <a:pt x="123149" y="346943"/>
                      <a:pt x="141353" y="338282"/>
                      <a:pt x="151910" y="322580"/>
                    </a:cubicBezTo>
                    <a:lnTo>
                      <a:pt x="179776" y="350446"/>
                    </a:lnTo>
                    <a:cubicBezTo>
                      <a:pt x="161327" y="371051"/>
                      <a:pt x="134377" y="383591"/>
                      <a:pt x="104498" y="383591"/>
                    </a:cubicBezTo>
                    <a:cubicBezTo>
                      <a:pt x="46785" y="383591"/>
                      <a:pt x="0" y="336806"/>
                      <a:pt x="0" y="279093"/>
                    </a:cubicBezTo>
                    <a:cubicBezTo>
                      <a:pt x="0" y="241544"/>
                      <a:pt x="19804" y="208621"/>
                      <a:pt x="50253" y="191796"/>
                    </a:cubicBezTo>
                    <a:cubicBezTo>
                      <a:pt x="19804" y="174970"/>
                      <a:pt x="0" y="142048"/>
                      <a:pt x="0" y="104498"/>
                    </a:cubicBezTo>
                    <a:cubicBezTo>
                      <a:pt x="0" y="46785"/>
                      <a:pt x="46785" y="0"/>
                      <a:pt x="104498" y="0"/>
                    </a:cubicBezTo>
                    <a:close/>
                  </a:path>
                </a:pathLst>
              </a:custGeom>
              <a:noFill/>
              <a:ln w="19050">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grpSp>
        <p:sp>
          <p:nvSpPr>
            <p:cNvPr id="37" name="Sechseck 314">
              <a:extLst>
                <a:ext uri="{FF2B5EF4-FFF2-40B4-BE49-F238E27FC236}">
                  <a16:creationId xmlns:a16="http://schemas.microsoft.com/office/drawing/2014/main" id="{16BD24B6-0DBE-419C-A824-C27A9272C103}"/>
                </a:ext>
              </a:extLst>
            </p:cNvPr>
            <p:cNvSpPr/>
            <p:nvPr/>
          </p:nvSpPr>
          <p:spPr bwMode="gray">
            <a:xfrm>
              <a:off x="5382466" y="2044232"/>
              <a:ext cx="937763" cy="785738"/>
            </a:xfrm>
            <a:custGeom>
              <a:avLst/>
              <a:gdLst/>
              <a:ahLst/>
              <a:cxnLst/>
              <a:rect l="l" t="t" r="r" b="b"/>
              <a:pathLst>
                <a:path w="988678" h="828399">
                  <a:moveTo>
                    <a:pt x="263630" y="43631"/>
                  </a:moveTo>
                  <a:lnTo>
                    <a:pt x="52073" y="414199"/>
                  </a:lnTo>
                  <a:lnTo>
                    <a:pt x="263630" y="784767"/>
                  </a:lnTo>
                  <a:lnTo>
                    <a:pt x="725049" y="784767"/>
                  </a:lnTo>
                  <a:lnTo>
                    <a:pt x="936606" y="414199"/>
                  </a:lnTo>
                  <a:lnTo>
                    <a:pt x="725049" y="43631"/>
                  </a:lnTo>
                  <a:close/>
                  <a:moveTo>
                    <a:pt x="236466" y="0"/>
                  </a:moveTo>
                  <a:lnTo>
                    <a:pt x="752212" y="0"/>
                  </a:lnTo>
                  <a:lnTo>
                    <a:pt x="988678" y="414200"/>
                  </a:lnTo>
                  <a:lnTo>
                    <a:pt x="752212" y="828399"/>
                  </a:lnTo>
                  <a:lnTo>
                    <a:pt x="236466" y="828399"/>
                  </a:lnTo>
                  <a:lnTo>
                    <a:pt x="0" y="414200"/>
                  </a:lnTo>
                  <a:close/>
                </a:path>
              </a:pathLst>
            </a:custGeom>
            <a:noFill/>
            <a:ln w="1905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grpSp>
      <p:sp>
        <p:nvSpPr>
          <p:cNvPr id="43" name="Rectangle 42">
            <a:hlinkClick r:id="rId8" action="ppaction://hlinksldjump"/>
            <a:extLst>
              <a:ext uri="{FF2B5EF4-FFF2-40B4-BE49-F238E27FC236}">
                <a16:creationId xmlns:a16="http://schemas.microsoft.com/office/drawing/2014/main" id="{A71F427B-841D-44C2-96B0-2B7092092EDF}"/>
              </a:ext>
            </a:extLst>
          </p:cNvPr>
          <p:cNvSpPr/>
          <p:nvPr/>
        </p:nvSpPr>
        <p:spPr bwMode="gray">
          <a:xfrm>
            <a:off x="303659" y="5496634"/>
            <a:ext cx="6064020" cy="787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err="1">
              <a:ln>
                <a:noFill/>
              </a:ln>
              <a:solidFill>
                <a:srgbClr val="D90000"/>
              </a:solidFill>
              <a:effectLst/>
              <a:uLnTx/>
              <a:uFillTx/>
              <a:latin typeface="ABBvoice"/>
              <a:ea typeface="ABBvoice"/>
              <a:cs typeface="ABBvoice"/>
            </a:endParaRPr>
          </a:p>
        </p:txBody>
      </p:sp>
    </p:spTree>
    <p:custDataLst>
      <p:tags r:id="rId1"/>
    </p:custDataLst>
    <p:extLst>
      <p:ext uri="{BB962C8B-B14F-4D97-AF65-F5344CB8AC3E}">
        <p14:creationId xmlns:p14="http://schemas.microsoft.com/office/powerpoint/2010/main" val="2400100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8" end="8"/>
                                            </p:txEl>
                                          </p:spTgt>
                                        </p:tgtEl>
                                        <p:attrNameLst>
                                          <p:attrName>style.visibility</p:attrName>
                                        </p:attrNameLst>
                                      </p:cBhvr>
                                      <p:to>
                                        <p:strVal val="visible"/>
                                      </p:to>
                                    </p:set>
                                    <p:animEffect transition="in" filter="fade">
                                      <p:cBhvr>
                                        <p:cTn id="10" dur="500"/>
                                        <p:tgtEl>
                                          <p:spTgt spid="7">
                                            <p:txEl>
                                              <p:pRg st="8" end="8"/>
                                            </p:txEl>
                                          </p:spTgt>
                                        </p:tgtEl>
                                      </p:cBhvr>
                                    </p:animEffect>
                                  </p:childTnLst>
                                </p:cTn>
                              </p:par>
                              <p:par>
                                <p:cTn id="11" presetID="10" presetClass="entr" presetSubtype="0" fill="hold" grpId="0" nodeType="withEffect" nodePh="1">
                                  <p:stCondLst>
                                    <p:cond delay="0"/>
                                  </p:stCondLst>
                                  <p:endCondLst>
                                    <p:cond evt="begin" delay="0">
                                      <p:tn val="11"/>
                                    </p:cond>
                                  </p:end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childTnLst>
                          </p:cTn>
                        </p:par>
                        <p:par>
                          <p:cTn id="14" fill="hold">
                            <p:stCondLst>
                              <p:cond delay="500"/>
                            </p:stCondLst>
                            <p:childTnLst>
                              <p:par>
                                <p:cTn id="15" presetID="1" presetClass="entr" presetSubtype="0" fill="hold" nodeType="after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childTnLst>
                          </p:cTn>
                        </p:par>
                        <p:par>
                          <p:cTn id="17" fill="hold">
                            <p:stCondLst>
                              <p:cond delay="500"/>
                            </p:stCondLst>
                            <p:childTnLst>
                              <p:par>
                                <p:cTn id="18" presetID="1" presetClass="entr" presetSubtype="0" fill="hold" nodeType="afterEffect">
                                  <p:stCondLst>
                                    <p:cond delay="250"/>
                                  </p:stCondLst>
                                  <p:childTnLst>
                                    <p:set>
                                      <p:cBhvr>
                                        <p:cTn id="19" dur="1" fill="hold">
                                          <p:stCondLst>
                                            <p:cond delay="0"/>
                                          </p:stCondLst>
                                        </p:cTn>
                                        <p:tgtEl>
                                          <p:spTgt spid="40"/>
                                        </p:tgtEl>
                                        <p:attrNameLst>
                                          <p:attrName>style.visibility</p:attrName>
                                        </p:attrNameLst>
                                      </p:cBhvr>
                                      <p:to>
                                        <p:strVal val="visible"/>
                                      </p:to>
                                    </p:set>
                                  </p:childTnLst>
                                </p:cTn>
                              </p:par>
                            </p:childTnLst>
                          </p:cTn>
                        </p:par>
                        <p:par>
                          <p:cTn id="20" fill="hold">
                            <p:stCondLst>
                              <p:cond delay="750"/>
                            </p:stCondLst>
                            <p:childTnLst>
                              <p:par>
                                <p:cTn id="21" presetID="1" presetClass="entr" presetSubtype="0" fill="hold" nodeType="afterEffect">
                                  <p:stCondLst>
                                    <p:cond delay="250"/>
                                  </p:stCondLst>
                                  <p:childTnLst>
                                    <p:set>
                                      <p:cBhvr>
                                        <p:cTn id="22" dur="1" fill="hold">
                                          <p:stCondLst>
                                            <p:cond delay="0"/>
                                          </p:stCondLst>
                                        </p:cTn>
                                        <p:tgtEl>
                                          <p:spTgt spid="39"/>
                                        </p:tgtEl>
                                        <p:attrNameLst>
                                          <p:attrName>style.visibility</p:attrName>
                                        </p:attrNameLst>
                                      </p:cBhvr>
                                      <p:to>
                                        <p:strVal val="visible"/>
                                      </p:to>
                                    </p:set>
                                  </p:childTnLst>
                                </p:cTn>
                              </p:par>
                            </p:childTnLst>
                          </p:cTn>
                        </p:par>
                        <p:par>
                          <p:cTn id="23" fill="hold">
                            <p:stCondLst>
                              <p:cond delay="1000"/>
                            </p:stCondLst>
                            <p:childTnLst>
                              <p:par>
                                <p:cTn id="24" presetID="1" presetClass="entr" presetSubtype="0" fill="hold" nodeType="afterEffect">
                                  <p:stCondLst>
                                    <p:cond delay="250"/>
                                  </p:stCondLst>
                                  <p:childTnLst>
                                    <p:set>
                                      <p:cBhvr>
                                        <p:cTn id="25" dur="1" fill="hold">
                                          <p:stCondLst>
                                            <p:cond delay="0"/>
                                          </p:stCondLst>
                                        </p:cTn>
                                        <p:tgtEl>
                                          <p:spTgt spid="33"/>
                                        </p:tgtEl>
                                        <p:attrNameLst>
                                          <p:attrName>style.visibility</p:attrName>
                                        </p:attrNameLst>
                                      </p:cBhvr>
                                      <p:to>
                                        <p:strVal val="visible"/>
                                      </p:to>
                                    </p:set>
                                  </p:childTnLst>
                                </p:cTn>
                              </p:par>
                            </p:childTnLst>
                          </p:cTn>
                        </p:par>
                        <p:par>
                          <p:cTn id="26" fill="hold">
                            <p:stCondLst>
                              <p:cond delay="1250"/>
                            </p:stCondLst>
                            <p:childTnLst>
                              <p:par>
                                <p:cTn id="27" presetID="1" presetClass="entr" presetSubtype="0" fill="hold" nodeType="afterEffect">
                                  <p:stCondLst>
                                    <p:cond delay="250"/>
                                  </p:stCondLst>
                                  <p:childTnLst>
                                    <p:set>
                                      <p:cBhvr>
                                        <p:cTn id="2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 name="Group 133">
            <a:extLst>
              <a:ext uri="{FF2B5EF4-FFF2-40B4-BE49-F238E27FC236}">
                <a16:creationId xmlns:a16="http://schemas.microsoft.com/office/drawing/2014/main" id="{15F70DA2-E341-4A69-A158-56F298CE1AEF}"/>
              </a:ext>
            </a:extLst>
          </p:cNvPr>
          <p:cNvGraphicFramePr>
            <a:graphicFrameLocks noGrp="1"/>
          </p:cNvGraphicFramePr>
          <p:nvPr>
            <p:extLst/>
          </p:nvPr>
        </p:nvGraphicFramePr>
        <p:xfrm>
          <a:off x="338730" y="4556981"/>
          <a:ext cx="11520913" cy="1345284"/>
        </p:xfrm>
        <a:graphic>
          <a:graphicData uri="http://schemas.openxmlformats.org/drawingml/2006/table">
            <a:tbl>
              <a:tblPr/>
              <a:tblGrid>
                <a:gridCol w="1120500">
                  <a:extLst>
                    <a:ext uri="{9D8B030D-6E8A-4147-A177-3AD203B41FA5}">
                      <a16:colId xmlns:a16="http://schemas.microsoft.com/office/drawing/2014/main" val="2353547373"/>
                    </a:ext>
                  </a:extLst>
                </a:gridCol>
                <a:gridCol w="611789">
                  <a:extLst>
                    <a:ext uri="{9D8B030D-6E8A-4147-A177-3AD203B41FA5}">
                      <a16:colId xmlns:a16="http://schemas.microsoft.com/office/drawing/2014/main" val="20000"/>
                    </a:ext>
                  </a:extLst>
                </a:gridCol>
                <a:gridCol w="611789">
                  <a:extLst>
                    <a:ext uri="{9D8B030D-6E8A-4147-A177-3AD203B41FA5}">
                      <a16:colId xmlns:a16="http://schemas.microsoft.com/office/drawing/2014/main" val="20001"/>
                    </a:ext>
                  </a:extLst>
                </a:gridCol>
                <a:gridCol w="611789">
                  <a:extLst>
                    <a:ext uri="{9D8B030D-6E8A-4147-A177-3AD203B41FA5}">
                      <a16:colId xmlns:a16="http://schemas.microsoft.com/office/drawing/2014/main" val="1531424333"/>
                    </a:ext>
                  </a:extLst>
                </a:gridCol>
                <a:gridCol w="611789">
                  <a:extLst>
                    <a:ext uri="{9D8B030D-6E8A-4147-A177-3AD203B41FA5}">
                      <a16:colId xmlns:a16="http://schemas.microsoft.com/office/drawing/2014/main" val="20002"/>
                    </a:ext>
                  </a:extLst>
                </a:gridCol>
                <a:gridCol w="611789">
                  <a:extLst>
                    <a:ext uri="{9D8B030D-6E8A-4147-A177-3AD203B41FA5}">
                      <a16:colId xmlns:a16="http://schemas.microsoft.com/office/drawing/2014/main" val="20003"/>
                    </a:ext>
                  </a:extLst>
                </a:gridCol>
                <a:gridCol w="611789">
                  <a:extLst>
                    <a:ext uri="{9D8B030D-6E8A-4147-A177-3AD203B41FA5}">
                      <a16:colId xmlns:a16="http://schemas.microsoft.com/office/drawing/2014/main" val="20004"/>
                    </a:ext>
                  </a:extLst>
                </a:gridCol>
                <a:gridCol w="611789">
                  <a:extLst>
                    <a:ext uri="{9D8B030D-6E8A-4147-A177-3AD203B41FA5}">
                      <a16:colId xmlns:a16="http://schemas.microsoft.com/office/drawing/2014/main" val="20005"/>
                    </a:ext>
                  </a:extLst>
                </a:gridCol>
                <a:gridCol w="611789">
                  <a:extLst>
                    <a:ext uri="{9D8B030D-6E8A-4147-A177-3AD203B41FA5}">
                      <a16:colId xmlns:a16="http://schemas.microsoft.com/office/drawing/2014/main" val="20006"/>
                    </a:ext>
                  </a:extLst>
                </a:gridCol>
                <a:gridCol w="611789">
                  <a:extLst>
                    <a:ext uri="{9D8B030D-6E8A-4147-A177-3AD203B41FA5}">
                      <a16:colId xmlns:a16="http://schemas.microsoft.com/office/drawing/2014/main" val="2456739629"/>
                    </a:ext>
                  </a:extLst>
                </a:gridCol>
                <a:gridCol w="611789">
                  <a:extLst>
                    <a:ext uri="{9D8B030D-6E8A-4147-A177-3AD203B41FA5}">
                      <a16:colId xmlns:a16="http://schemas.microsoft.com/office/drawing/2014/main" val="20007"/>
                    </a:ext>
                  </a:extLst>
                </a:gridCol>
                <a:gridCol w="611789">
                  <a:extLst>
                    <a:ext uri="{9D8B030D-6E8A-4147-A177-3AD203B41FA5}">
                      <a16:colId xmlns:a16="http://schemas.microsoft.com/office/drawing/2014/main" val="20008"/>
                    </a:ext>
                  </a:extLst>
                </a:gridCol>
                <a:gridCol w="611789">
                  <a:extLst>
                    <a:ext uri="{9D8B030D-6E8A-4147-A177-3AD203B41FA5}">
                      <a16:colId xmlns:a16="http://schemas.microsoft.com/office/drawing/2014/main" val="20009"/>
                    </a:ext>
                  </a:extLst>
                </a:gridCol>
                <a:gridCol w="611789">
                  <a:extLst>
                    <a:ext uri="{9D8B030D-6E8A-4147-A177-3AD203B41FA5}">
                      <a16:colId xmlns:a16="http://schemas.microsoft.com/office/drawing/2014/main" val="20010"/>
                    </a:ext>
                  </a:extLst>
                </a:gridCol>
                <a:gridCol w="611789">
                  <a:extLst>
                    <a:ext uri="{9D8B030D-6E8A-4147-A177-3AD203B41FA5}">
                      <a16:colId xmlns:a16="http://schemas.microsoft.com/office/drawing/2014/main" val="20011"/>
                    </a:ext>
                  </a:extLst>
                </a:gridCol>
                <a:gridCol w="611789">
                  <a:extLst>
                    <a:ext uri="{9D8B030D-6E8A-4147-A177-3AD203B41FA5}">
                      <a16:colId xmlns:a16="http://schemas.microsoft.com/office/drawing/2014/main" val="20012"/>
                    </a:ext>
                  </a:extLst>
                </a:gridCol>
                <a:gridCol w="611789">
                  <a:extLst>
                    <a:ext uri="{9D8B030D-6E8A-4147-A177-3AD203B41FA5}">
                      <a16:colId xmlns:a16="http://schemas.microsoft.com/office/drawing/2014/main" val="20013"/>
                    </a:ext>
                  </a:extLst>
                </a:gridCol>
                <a:gridCol w="611789">
                  <a:extLst>
                    <a:ext uri="{9D8B030D-6E8A-4147-A177-3AD203B41FA5}">
                      <a16:colId xmlns:a16="http://schemas.microsoft.com/office/drawing/2014/main" val="221900982"/>
                    </a:ext>
                  </a:extLst>
                </a:gridCol>
              </a:tblGrid>
              <a:tr h="299920">
                <a:tc>
                  <a:txBody>
                    <a:bodyPr/>
                    <a:lstStyle/>
                    <a:p>
                      <a:pPr marL="0" marR="0" lvl="0" indent="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en-US" altLang="de-DE" sz="1200" b="1" i="0" u="none" strike="noStrike" cap="none" normalizeH="0" baseline="0" dirty="0">
                          <a:ln>
                            <a:noFill/>
                          </a:ln>
                          <a:solidFill>
                            <a:srgbClr val="000000"/>
                          </a:solidFill>
                          <a:effectLst/>
                          <a:latin typeface="+mn-lt"/>
                        </a:rPr>
                        <a:t>CSA </a:t>
                      </a:r>
                      <a:br>
                        <a:rPr kumimoji="0" lang="en-US" altLang="de-DE" sz="1200" b="0" i="0" u="none" strike="noStrike" cap="none" normalizeH="0" baseline="0" dirty="0">
                          <a:ln>
                            <a:noFill/>
                          </a:ln>
                          <a:solidFill>
                            <a:srgbClr val="000000"/>
                          </a:solidFill>
                          <a:effectLst/>
                          <a:latin typeface="+mn-lt"/>
                        </a:rPr>
                      </a:br>
                      <a:r>
                        <a:rPr kumimoji="0" lang="en-US" altLang="de-DE" sz="1000" b="0" i="0" u="none" strike="noStrike" cap="none" normalizeH="0" baseline="0" dirty="0">
                          <a:ln>
                            <a:noFill/>
                          </a:ln>
                          <a:solidFill>
                            <a:schemeClr val="accent2"/>
                          </a:solidFill>
                          <a:effectLst/>
                          <a:latin typeface="+mn-lt"/>
                        </a:rPr>
                        <a:t>Class I, Div. 2</a:t>
                      </a:r>
                      <a:endParaRPr kumimoji="0" lang="en-US" altLang="de-DE" sz="1200" b="0" i="0" u="none" strike="noStrike" cap="none" normalizeH="0" baseline="0" dirty="0">
                        <a:ln>
                          <a:noFill/>
                        </a:ln>
                        <a:solidFill>
                          <a:schemeClr val="accent2"/>
                        </a:solidFill>
                        <a:effectLst/>
                        <a:latin typeface="+mn-lt"/>
                      </a:endParaRPr>
                    </a:p>
                  </a:txBody>
                  <a:tcPr marL="0" marR="0" marT="36000" marB="36000" anchor="ctr" horzOverflow="overflow">
                    <a:lnL w="285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p>
                      <a:pPr marL="0" marR="0" lvl="0" indent="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defRPr/>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177800" marR="0" lvl="0" indent="0" algn="l" defTabSz="914400" rtl="0" eaLnBrk="1" fontAlgn="base" latinLnBrk="0" hangingPunct="1">
                        <a:lnSpc>
                          <a:spcPct val="95000"/>
                        </a:lnSpc>
                        <a:spcBef>
                          <a:spcPct val="50000"/>
                        </a:spcBef>
                        <a:spcAft>
                          <a:spcPct val="0"/>
                        </a:spcAft>
                        <a:buClr>
                          <a:schemeClr val="accent2">
                            <a:lumMod val="50000"/>
                          </a:schemeClr>
                        </a:buClr>
                        <a:buSzTx/>
                        <a:buFont typeface="Wingdings" panose="05000000000000000000" pitchFamily="2" charset="2"/>
                        <a:buNone/>
                        <a:tabLst/>
                        <a:defRPr/>
                      </a:pPr>
                      <a:r>
                        <a:rPr kumimoji="0" lang="en-GB" altLang="de-DE" sz="1600" b="0" i="0" u="none" strike="noStrike" cap="none" normalizeH="0" baseline="0" dirty="0">
                          <a:ln>
                            <a:noFill/>
                          </a:ln>
                          <a:solidFill>
                            <a:schemeClr val="accent2">
                              <a:lumMod val="50000"/>
                            </a:schemeClr>
                          </a:solidFill>
                          <a:effectLst/>
                          <a:latin typeface="Arial" panose="020B0604020202020204" pitchFamily="34" charset="0"/>
                          <a:sym typeface="Wingdings" panose="05000000000000000000" pitchFamily="2" charset="2"/>
                        </a:rPr>
                        <a:t></a:t>
                      </a:r>
                      <a:r>
                        <a:rPr kumimoji="0" lang="de-DE" altLang="de-DE" sz="1600" b="0" i="0" u="none" strike="noStrike" cap="none" normalizeH="0" baseline="0" dirty="0">
                          <a:ln>
                            <a:noFill/>
                          </a:ln>
                          <a:solidFill>
                            <a:schemeClr val="accent3">
                              <a:lumMod val="50000"/>
                            </a:schemeClr>
                          </a:solidFill>
                          <a:effectLst/>
                          <a:latin typeface="Arial" panose="020B0604020202020204" pitchFamily="34" charset="0"/>
                        </a:rPr>
                        <a:t>*</a:t>
                      </a: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p>
                      <a:pPr marL="0" marR="0" lvl="0" indent="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extLst>
                  <a:ext uri="{0D108BD9-81ED-4DB2-BD59-A6C34878D82A}">
                    <a16:rowId xmlns:a16="http://schemas.microsoft.com/office/drawing/2014/main" val="10000"/>
                  </a:ext>
                </a:extLst>
              </a:tr>
              <a:tr h="299920">
                <a:tc>
                  <a:txBody>
                    <a:bodyPr/>
                    <a:lstStyle/>
                    <a:p>
                      <a:pPr marL="0" marR="0" lvl="0" indent="0" algn="l"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200" b="1" i="0" u="none" strike="noStrike" cap="none" normalizeH="0" baseline="0" dirty="0">
                          <a:ln>
                            <a:noFill/>
                          </a:ln>
                          <a:solidFill>
                            <a:srgbClr val="000000"/>
                          </a:solidFill>
                          <a:effectLst/>
                          <a:latin typeface="+mn-lt"/>
                        </a:rPr>
                        <a:t>EAC</a:t>
                      </a:r>
                      <a:r>
                        <a:rPr kumimoji="0" lang="en-GB" altLang="de-DE" sz="1200" b="0" i="0" u="none" strike="noStrike" cap="none" normalizeH="0" baseline="0" dirty="0">
                          <a:ln>
                            <a:noFill/>
                          </a:ln>
                          <a:solidFill>
                            <a:srgbClr val="000000"/>
                          </a:solidFill>
                          <a:effectLst/>
                          <a:latin typeface="+mn-lt"/>
                        </a:rPr>
                        <a:t> </a:t>
                      </a:r>
                      <a:br>
                        <a:rPr kumimoji="0" lang="en-GB" altLang="de-DE" sz="1200" b="0" i="0" u="none" strike="noStrike" cap="none" normalizeH="0" baseline="0" dirty="0">
                          <a:ln>
                            <a:noFill/>
                          </a:ln>
                          <a:solidFill>
                            <a:srgbClr val="000000"/>
                          </a:solidFill>
                          <a:effectLst/>
                          <a:latin typeface="+mn-lt"/>
                        </a:rPr>
                      </a:br>
                      <a:r>
                        <a:rPr kumimoji="0" lang="en-GB" altLang="de-DE" sz="1000" b="0" i="0" u="none" strike="noStrike" cap="none" normalizeH="0" baseline="0" dirty="0">
                          <a:ln>
                            <a:noFill/>
                          </a:ln>
                          <a:solidFill>
                            <a:schemeClr val="accent2"/>
                          </a:solidFill>
                          <a:effectLst/>
                          <a:latin typeface="+mn-lt"/>
                        </a:rPr>
                        <a:t>Zone 1</a:t>
                      </a:r>
                      <a:endParaRPr kumimoji="0" lang="en-GB" altLang="de-DE" sz="1200" b="0" i="0" u="none" strike="noStrike" cap="none" normalizeH="0" baseline="0" dirty="0">
                        <a:ln>
                          <a:noFill/>
                        </a:ln>
                        <a:solidFill>
                          <a:schemeClr val="accent2"/>
                        </a:solidFill>
                        <a:effectLst/>
                        <a:latin typeface="+mn-lt"/>
                      </a:endParaRPr>
                    </a:p>
                  </a:txBody>
                  <a:tcPr marL="0" marR="0" marT="36000" marB="36000" anchor="ctr" horzOverflow="overflow">
                    <a:lnL w="285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rgbClr val="000000"/>
                          </a:solidFill>
                          <a:effectLst/>
                          <a:latin typeface="Arial" panose="020B0604020202020204" pitchFamily="34" charset="0"/>
                        </a:rPr>
                        <a:t> </a:t>
                      </a: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rgbClr val="000000"/>
                          </a:solidFill>
                          <a:effectLst/>
                          <a:latin typeface="Arial" panose="020B0604020202020204" pitchFamily="34" charset="0"/>
                        </a:rPr>
                        <a:t> </a:t>
                      </a: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85750" marR="0" lvl="0" indent="-28575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Char char="ü"/>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chemeClr val="bg2"/>
                          </a:solidFill>
                          <a:effectLst/>
                          <a:latin typeface="Arial" panose="020B0604020202020204" pitchFamily="34" charset="0"/>
                        </a:rPr>
                        <a:t> </a:t>
                      </a: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rgbClr val="000000"/>
                          </a:solidFill>
                          <a:effectLst/>
                          <a:latin typeface="Arial" panose="020B0604020202020204" pitchFamily="34" charset="0"/>
                        </a:rPr>
                        <a:t> </a:t>
                      </a: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lumMod val="50000"/>
                          </a:schemeClr>
                        </a:buClr>
                        <a:buSzTx/>
                        <a:buFont typeface="Wingdings" panose="05000000000000000000" pitchFamily="2" charset="2"/>
                        <a:buNone/>
                        <a:tabLst/>
                        <a:defRPr/>
                      </a:pPr>
                      <a:r>
                        <a:rPr kumimoji="0" lang="en-GB" altLang="de-DE" sz="1600" b="0" i="0" u="none" strike="noStrike" cap="none" normalizeH="0" baseline="0" dirty="0">
                          <a:ln>
                            <a:noFill/>
                          </a:ln>
                          <a:solidFill>
                            <a:schemeClr val="accent2">
                              <a:lumMod val="50000"/>
                            </a:schemeClr>
                          </a:solidFill>
                          <a:effectLst/>
                          <a:latin typeface="Arial" panose="020B0604020202020204" pitchFamily="34" charset="0"/>
                          <a:sym typeface="Wingdings" panose="05000000000000000000" pitchFamily="2" charset="2"/>
                        </a:rPr>
                        <a:t></a:t>
                      </a:r>
                      <a:r>
                        <a:rPr kumimoji="0" lang="en-GB" altLang="de-DE" sz="1600" b="0" i="0" u="none" strike="noStrike" cap="none" normalizeH="0" baseline="0" dirty="0">
                          <a:ln>
                            <a:noFill/>
                          </a:ln>
                          <a:solidFill>
                            <a:schemeClr val="accent3">
                              <a:lumMod val="50000"/>
                            </a:schemeClr>
                          </a:solidFill>
                          <a:effectLst/>
                          <a:latin typeface="Arial" panose="020B0604020202020204" pitchFamily="34" charset="0"/>
                        </a:rPr>
                        <a:t> </a:t>
                      </a: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285750" marR="0" lvl="0" indent="-285750" algn="ctr" defTabSz="914400" rtl="0" eaLnBrk="1" fontAlgn="base" latinLnBrk="0" hangingPunct="1">
                        <a:lnSpc>
                          <a:spcPct val="95000"/>
                        </a:lnSpc>
                        <a:spcBef>
                          <a:spcPct val="50000"/>
                        </a:spcBef>
                        <a:spcAft>
                          <a:spcPct val="0"/>
                        </a:spcAft>
                        <a:buClr>
                          <a:srgbClr val="00FF99"/>
                        </a:buClr>
                        <a:buSzTx/>
                        <a:buFont typeface="Wingdings" panose="05000000000000000000" pitchFamily="2" charset="2"/>
                        <a:buChar char="ü"/>
                        <a:tabLst/>
                      </a:pPr>
                      <a:endParaRPr kumimoji="0" lang="en-GB" altLang="de-DE" sz="1600" b="0" i="0" u="none" strike="noStrike" cap="none" normalizeH="0" baseline="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285750" marR="0" lvl="0" indent="-28575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Char char="ü"/>
                        <a:tabLst/>
                      </a:pPr>
                      <a:endParaRPr kumimoji="0" lang="de-DE" altLang="de-DE" sz="1600" b="0" i="0" u="none" strike="noStrike" cap="none" normalizeH="0" baseline="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285750" marR="0" lvl="0" indent="-28575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Char char="ü"/>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285750" marR="0" lvl="0" indent="-28575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Char char="ü"/>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33351">
                <a:tc>
                  <a:txBody>
                    <a:bodyPr/>
                    <a:lstStyle/>
                    <a:p>
                      <a:pPr marL="0" marR="0" lvl="0" indent="0" algn="l"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200" b="1" i="0" u="none" strike="noStrike" cap="none" normalizeH="0" baseline="0" dirty="0">
                          <a:ln>
                            <a:noFill/>
                          </a:ln>
                          <a:solidFill>
                            <a:srgbClr val="000000"/>
                          </a:solidFill>
                          <a:effectLst/>
                          <a:latin typeface="+mn-lt"/>
                        </a:rPr>
                        <a:t>IECEx / TIIS / NEPSI / KC‘s </a:t>
                      </a:r>
                      <a:br>
                        <a:rPr kumimoji="0" lang="en-GB" altLang="de-DE" sz="1200" b="1" i="0" u="none" strike="noStrike" cap="none" normalizeH="0" baseline="0" dirty="0">
                          <a:ln>
                            <a:noFill/>
                          </a:ln>
                          <a:solidFill>
                            <a:srgbClr val="000000"/>
                          </a:solidFill>
                          <a:effectLst/>
                          <a:latin typeface="+mn-lt"/>
                        </a:rPr>
                      </a:br>
                      <a:r>
                        <a:rPr kumimoji="0" lang="en-GB" altLang="de-DE" sz="1000" b="0" i="0" u="none" strike="noStrike" cap="none" normalizeH="0" baseline="0" dirty="0">
                          <a:ln>
                            <a:noFill/>
                          </a:ln>
                          <a:solidFill>
                            <a:schemeClr val="accent2"/>
                          </a:solidFill>
                          <a:effectLst/>
                          <a:latin typeface="+mn-lt"/>
                        </a:rPr>
                        <a:t>Zone 1 </a:t>
                      </a:r>
                      <a:endParaRPr kumimoji="0" lang="en-GB" altLang="de-DE" sz="1200" b="0" i="0" u="none" strike="noStrike" cap="none" normalizeH="0" baseline="0" dirty="0">
                        <a:ln>
                          <a:noFill/>
                        </a:ln>
                        <a:solidFill>
                          <a:schemeClr val="accent2"/>
                        </a:solidFill>
                        <a:effectLst/>
                        <a:latin typeface="+mn-lt"/>
                      </a:endParaRPr>
                    </a:p>
                  </a:txBody>
                  <a:tcPr marL="0" marR="0" marT="36000" marB="36000" anchor="ctr" horzOverflow="overflow">
                    <a:lnL w="285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r>
                        <a:rPr kumimoji="0" lang="en-GB" altLang="de-DE" sz="1600" b="0" i="0" u="none" strike="noStrike" cap="none" normalizeH="0" baseline="0" dirty="0">
                          <a:ln>
                            <a:noFill/>
                          </a:ln>
                          <a:solidFill>
                            <a:srgbClr val="000000"/>
                          </a:solidFill>
                          <a:effectLst/>
                          <a:latin typeface="Arial" panose="020B0604020202020204" pitchFamily="34" charset="0"/>
                        </a:rPr>
                        <a:t> </a:t>
                      </a: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285750" marR="0" lvl="0" indent="-285750" algn="l"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Char char="ü"/>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285750" marR="0" lvl="0" indent="-285750" algn="l"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Char char="ü"/>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285750" marR="0" lvl="0" indent="-285750" algn="l"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Char char="ü"/>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p>
                      <a:pPr marL="285750" marR="0" lvl="0" indent="-285750" algn="l"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Char char="ü"/>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285750" marR="0" lvl="0" indent="-285750" algn="l"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Char char="ü"/>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l"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285750" marR="0" lvl="0" indent="-285750" algn="l"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Char char="ü"/>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177800" marR="0" lvl="0" indent="0" algn="l" defTabSz="914400" rtl="0" eaLnBrk="1" fontAlgn="base" latinLnBrk="0" hangingPunct="1">
                        <a:lnSpc>
                          <a:spcPct val="95000"/>
                        </a:lnSpc>
                        <a:spcBef>
                          <a:spcPct val="50000"/>
                        </a:spcBef>
                        <a:spcAft>
                          <a:spcPct val="0"/>
                        </a:spcAft>
                        <a:buClr>
                          <a:schemeClr val="accent2">
                            <a:lumMod val="50000"/>
                          </a:schemeClr>
                        </a:buClr>
                        <a:buSzTx/>
                        <a:buFont typeface="Wingdings" panose="05000000000000000000" pitchFamily="2" charset="2"/>
                        <a:buNone/>
                        <a:tabLst/>
                        <a:defRPr/>
                      </a:pPr>
                      <a:r>
                        <a:rPr kumimoji="0" lang="en-GB" altLang="de-DE" sz="1600" b="0" i="0" u="none" strike="noStrike" cap="none" normalizeH="0" baseline="0" dirty="0">
                          <a:ln>
                            <a:noFill/>
                          </a:ln>
                          <a:solidFill>
                            <a:schemeClr val="accent2">
                              <a:lumMod val="50000"/>
                            </a:schemeClr>
                          </a:solidFill>
                          <a:effectLst/>
                          <a:latin typeface="Arial" panose="020B0604020202020204" pitchFamily="34" charset="0"/>
                          <a:sym typeface="Wingdings" panose="05000000000000000000" pitchFamily="2" charset="2"/>
                        </a:rPr>
                        <a:t></a:t>
                      </a:r>
                      <a:r>
                        <a:rPr kumimoji="0" lang="de-DE" altLang="de-DE" sz="1600" b="0" i="0" u="none" strike="noStrike" cap="none" normalizeH="0" baseline="30000" dirty="0">
                          <a:ln>
                            <a:noFill/>
                          </a:ln>
                          <a:solidFill>
                            <a:schemeClr val="accent3">
                              <a:lumMod val="50000"/>
                            </a:schemeClr>
                          </a:solidFill>
                          <a:effectLst/>
                          <a:latin typeface="Arial" panose="020B0604020202020204" pitchFamily="34" charset="0"/>
                        </a:rPr>
                        <a:t>+</a:t>
                      </a:r>
                      <a:r>
                        <a:rPr kumimoji="0" lang="de-DE" altLang="de-DE" sz="1600" b="0" i="0" u="none" strike="noStrike" cap="none" normalizeH="0" baseline="0" dirty="0">
                          <a:ln>
                            <a:noFill/>
                          </a:ln>
                          <a:solidFill>
                            <a:schemeClr val="accent3">
                              <a:lumMod val="50000"/>
                            </a:schemeClr>
                          </a:solidFill>
                          <a:effectLst/>
                          <a:latin typeface="Arial" panose="020B0604020202020204" pitchFamily="34" charset="0"/>
                        </a:rPr>
                        <a:t> </a:t>
                      </a: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285750" marR="0" lvl="0" indent="-28575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Char char="ü"/>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285750" marR="0" lvl="0" indent="-28575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Char char="ü"/>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285750" marR="0" lvl="0" indent="-28575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Char char="ü"/>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p>
                      <a:pPr marL="285750" marR="0" lvl="0" indent="-28575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Char char="ü"/>
                        <a:tabLst/>
                      </a:pPr>
                      <a:endParaRPr kumimoji="0" lang="de-DE"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extLst>
                  <a:ext uri="{0D108BD9-81ED-4DB2-BD59-A6C34878D82A}">
                    <a16:rowId xmlns:a16="http://schemas.microsoft.com/office/drawing/2014/main" val="10002"/>
                  </a:ext>
                </a:extLst>
              </a:tr>
            </a:tbl>
          </a:graphicData>
        </a:graphic>
      </p:graphicFrame>
      <p:graphicFrame>
        <p:nvGraphicFramePr>
          <p:cNvPr id="69" name="Group 15">
            <a:extLst>
              <a:ext uri="{FF2B5EF4-FFF2-40B4-BE49-F238E27FC236}">
                <a16:creationId xmlns:a16="http://schemas.microsoft.com/office/drawing/2014/main" id="{44C7750B-BF14-430C-9654-5314C8349E04}"/>
              </a:ext>
            </a:extLst>
          </p:cNvPr>
          <p:cNvGraphicFramePr>
            <a:graphicFrameLocks noGrp="1"/>
          </p:cNvGraphicFramePr>
          <p:nvPr>
            <p:extLst/>
          </p:nvPr>
        </p:nvGraphicFramePr>
        <p:xfrm>
          <a:off x="338738" y="2538308"/>
          <a:ext cx="11520905" cy="1894668"/>
        </p:xfrm>
        <a:graphic>
          <a:graphicData uri="http://schemas.openxmlformats.org/drawingml/2006/table">
            <a:tbl>
              <a:tblPr/>
              <a:tblGrid>
                <a:gridCol w="1119982">
                  <a:extLst>
                    <a:ext uri="{9D8B030D-6E8A-4147-A177-3AD203B41FA5}">
                      <a16:colId xmlns:a16="http://schemas.microsoft.com/office/drawing/2014/main" val="2534098534"/>
                    </a:ext>
                  </a:extLst>
                </a:gridCol>
                <a:gridCol w="611819">
                  <a:extLst>
                    <a:ext uri="{9D8B030D-6E8A-4147-A177-3AD203B41FA5}">
                      <a16:colId xmlns:a16="http://schemas.microsoft.com/office/drawing/2014/main" val="20000"/>
                    </a:ext>
                  </a:extLst>
                </a:gridCol>
                <a:gridCol w="611819">
                  <a:extLst>
                    <a:ext uri="{9D8B030D-6E8A-4147-A177-3AD203B41FA5}">
                      <a16:colId xmlns:a16="http://schemas.microsoft.com/office/drawing/2014/main" val="20001"/>
                    </a:ext>
                  </a:extLst>
                </a:gridCol>
                <a:gridCol w="611819">
                  <a:extLst>
                    <a:ext uri="{9D8B030D-6E8A-4147-A177-3AD203B41FA5}">
                      <a16:colId xmlns:a16="http://schemas.microsoft.com/office/drawing/2014/main" val="2413281692"/>
                    </a:ext>
                  </a:extLst>
                </a:gridCol>
                <a:gridCol w="611819">
                  <a:extLst>
                    <a:ext uri="{9D8B030D-6E8A-4147-A177-3AD203B41FA5}">
                      <a16:colId xmlns:a16="http://schemas.microsoft.com/office/drawing/2014/main" val="20002"/>
                    </a:ext>
                  </a:extLst>
                </a:gridCol>
                <a:gridCol w="611819">
                  <a:extLst>
                    <a:ext uri="{9D8B030D-6E8A-4147-A177-3AD203B41FA5}">
                      <a16:colId xmlns:a16="http://schemas.microsoft.com/office/drawing/2014/main" val="20003"/>
                    </a:ext>
                  </a:extLst>
                </a:gridCol>
                <a:gridCol w="611819">
                  <a:extLst>
                    <a:ext uri="{9D8B030D-6E8A-4147-A177-3AD203B41FA5}">
                      <a16:colId xmlns:a16="http://schemas.microsoft.com/office/drawing/2014/main" val="20004"/>
                    </a:ext>
                  </a:extLst>
                </a:gridCol>
                <a:gridCol w="611819">
                  <a:extLst>
                    <a:ext uri="{9D8B030D-6E8A-4147-A177-3AD203B41FA5}">
                      <a16:colId xmlns:a16="http://schemas.microsoft.com/office/drawing/2014/main" val="20005"/>
                    </a:ext>
                  </a:extLst>
                </a:gridCol>
                <a:gridCol w="611819">
                  <a:extLst>
                    <a:ext uri="{9D8B030D-6E8A-4147-A177-3AD203B41FA5}">
                      <a16:colId xmlns:a16="http://schemas.microsoft.com/office/drawing/2014/main" val="20006"/>
                    </a:ext>
                  </a:extLst>
                </a:gridCol>
                <a:gridCol w="611819">
                  <a:extLst>
                    <a:ext uri="{9D8B030D-6E8A-4147-A177-3AD203B41FA5}">
                      <a16:colId xmlns:a16="http://schemas.microsoft.com/office/drawing/2014/main" val="20007"/>
                    </a:ext>
                  </a:extLst>
                </a:gridCol>
                <a:gridCol w="611819">
                  <a:extLst>
                    <a:ext uri="{9D8B030D-6E8A-4147-A177-3AD203B41FA5}">
                      <a16:colId xmlns:a16="http://schemas.microsoft.com/office/drawing/2014/main" val="1872908171"/>
                    </a:ext>
                  </a:extLst>
                </a:gridCol>
                <a:gridCol w="611819">
                  <a:extLst>
                    <a:ext uri="{9D8B030D-6E8A-4147-A177-3AD203B41FA5}">
                      <a16:colId xmlns:a16="http://schemas.microsoft.com/office/drawing/2014/main" val="20008"/>
                    </a:ext>
                  </a:extLst>
                </a:gridCol>
                <a:gridCol w="611819">
                  <a:extLst>
                    <a:ext uri="{9D8B030D-6E8A-4147-A177-3AD203B41FA5}">
                      <a16:colId xmlns:a16="http://schemas.microsoft.com/office/drawing/2014/main" val="20009"/>
                    </a:ext>
                  </a:extLst>
                </a:gridCol>
                <a:gridCol w="611819">
                  <a:extLst>
                    <a:ext uri="{9D8B030D-6E8A-4147-A177-3AD203B41FA5}">
                      <a16:colId xmlns:a16="http://schemas.microsoft.com/office/drawing/2014/main" val="20010"/>
                    </a:ext>
                  </a:extLst>
                </a:gridCol>
                <a:gridCol w="611819">
                  <a:extLst>
                    <a:ext uri="{9D8B030D-6E8A-4147-A177-3AD203B41FA5}">
                      <a16:colId xmlns:a16="http://schemas.microsoft.com/office/drawing/2014/main" val="20011"/>
                    </a:ext>
                  </a:extLst>
                </a:gridCol>
                <a:gridCol w="611819">
                  <a:extLst>
                    <a:ext uri="{9D8B030D-6E8A-4147-A177-3AD203B41FA5}">
                      <a16:colId xmlns:a16="http://schemas.microsoft.com/office/drawing/2014/main" val="20012"/>
                    </a:ext>
                  </a:extLst>
                </a:gridCol>
                <a:gridCol w="611819">
                  <a:extLst>
                    <a:ext uri="{9D8B030D-6E8A-4147-A177-3AD203B41FA5}">
                      <a16:colId xmlns:a16="http://schemas.microsoft.com/office/drawing/2014/main" val="20013"/>
                    </a:ext>
                  </a:extLst>
                </a:gridCol>
                <a:gridCol w="611819">
                  <a:extLst>
                    <a:ext uri="{9D8B030D-6E8A-4147-A177-3AD203B41FA5}">
                      <a16:colId xmlns:a16="http://schemas.microsoft.com/office/drawing/2014/main" val="3259997841"/>
                    </a:ext>
                  </a:extLst>
                </a:gridCol>
              </a:tblGrid>
              <a:tr h="125585">
                <a:tc>
                  <a:txBody>
                    <a:bodyPr/>
                    <a:lstStyle/>
                    <a:p>
                      <a:pPr marL="0" marR="0" lvl="0" indent="0" algn="l"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endParaRPr kumimoji="0" lang="en-GB" altLang="de-DE" sz="800" b="0" i="0" u="none" strike="noStrike" cap="none" normalizeH="0" baseline="0" dirty="0">
                        <a:ln>
                          <a:noFill/>
                        </a:ln>
                        <a:solidFill>
                          <a:srgbClr val="000000"/>
                        </a:solidFill>
                        <a:effectLst/>
                        <a:latin typeface="Arial" panose="020B0604020202020204" pitchFamily="34" charset="0"/>
                      </a:endParaRPr>
                    </a:p>
                  </a:txBody>
                  <a:tcPr marL="36000" marR="36000" marT="36000" marB="36000" horzOverflow="overflow">
                    <a:lnL w="285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de-DE" altLang="de-DE" sz="800" b="1" i="0" u="none" strike="noStrike" cap="none" normalizeH="0" baseline="0" dirty="0">
                          <a:ln>
                            <a:noFill/>
                          </a:ln>
                          <a:solidFill>
                            <a:srgbClr val="000000"/>
                          </a:solidFill>
                          <a:effectLst/>
                          <a:latin typeface="+mn-lt"/>
                        </a:rPr>
                        <a:t>Uras26</a:t>
                      </a:r>
                      <a:endParaRPr kumimoji="0" lang="en-GB" altLang="de-DE" sz="800" b="1" i="0" u="none" strike="noStrike" cap="none" normalizeH="0" baseline="0" dirty="0">
                        <a:ln>
                          <a:noFill/>
                        </a:ln>
                        <a:solidFill>
                          <a:srgbClr val="000000"/>
                        </a:solidFill>
                        <a:effectLst/>
                        <a:latin typeface="+mn-lt"/>
                      </a:endParaRP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de-DE" altLang="de-DE" sz="800" b="1" i="0" u="none" strike="noStrike" cap="none" normalizeH="0" baseline="0" dirty="0">
                          <a:ln>
                            <a:noFill/>
                          </a:ln>
                          <a:solidFill>
                            <a:srgbClr val="000000"/>
                          </a:solidFill>
                          <a:effectLst/>
                          <a:latin typeface="+mn-lt"/>
                        </a:rPr>
                        <a:t>Magnos206</a:t>
                      </a:r>
                      <a:endParaRPr kumimoji="0" lang="en-GB" altLang="de-DE" sz="800" b="1" i="0" u="none" strike="noStrike" cap="none" normalizeH="0" baseline="0" dirty="0">
                        <a:ln>
                          <a:noFill/>
                        </a:ln>
                        <a:solidFill>
                          <a:srgbClr val="000000"/>
                        </a:solidFill>
                        <a:effectLst/>
                        <a:latin typeface="+mn-lt"/>
                      </a:endParaRP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defRPr/>
                      </a:pPr>
                      <a:r>
                        <a:rPr kumimoji="0" lang="de-DE" altLang="de-DE" sz="800" b="1" i="0" u="none" strike="noStrike" cap="none" normalizeH="0" baseline="0" dirty="0">
                          <a:ln>
                            <a:noFill/>
                          </a:ln>
                          <a:solidFill>
                            <a:srgbClr val="000000"/>
                          </a:solidFill>
                          <a:effectLst/>
                          <a:latin typeface="+mn-lt"/>
                        </a:rPr>
                        <a:t>Magnos28</a:t>
                      </a:r>
                      <a:endParaRPr kumimoji="0" lang="en-GB" altLang="de-DE" sz="800" b="1" i="0" u="none" strike="noStrike" cap="none" normalizeH="0" baseline="0" dirty="0">
                        <a:ln>
                          <a:noFill/>
                        </a:ln>
                        <a:solidFill>
                          <a:srgbClr val="000000"/>
                        </a:solidFill>
                        <a:effectLst/>
                        <a:latin typeface="+mn-lt"/>
                      </a:endParaRP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de-DE" altLang="de-DE" sz="800" b="1" i="0" u="none" strike="noStrike" cap="none" normalizeH="0" baseline="0" dirty="0">
                          <a:ln>
                            <a:noFill/>
                          </a:ln>
                          <a:solidFill>
                            <a:srgbClr val="000000"/>
                          </a:solidFill>
                          <a:effectLst/>
                          <a:latin typeface="+mn-lt"/>
                        </a:rPr>
                        <a:t>Caldos25</a:t>
                      </a:r>
                      <a:endParaRPr kumimoji="0" lang="en-GB" altLang="de-DE" sz="800" b="1" i="0" u="none" strike="noStrike" cap="none" normalizeH="0" baseline="0" dirty="0">
                        <a:ln>
                          <a:noFill/>
                        </a:ln>
                        <a:solidFill>
                          <a:srgbClr val="000000"/>
                        </a:solidFill>
                        <a:effectLst/>
                        <a:latin typeface="+mn-lt"/>
                      </a:endParaRP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de-DE" altLang="de-DE" sz="800" b="1" i="0" u="none" strike="noStrike" cap="none" normalizeH="0" baseline="0" dirty="0">
                          <a:ln>
                            <a:noFill/>
                          </a:ln>
                          <a:solidFill>
                            <a:srgbClr val="000000"/>
                          </a:solidFill>
                          <a:effectLst/>
                          <a:latin typeface="+mn-lt"/>
                        </a:rPr>
                        <a:t>Caldos27</a:t>
                      </a:r>
                      <a:endParaRPr kumimoji="0" lang="en-GB" altLang="de-DE" sz="800" b="1" i="0" u="none" strike="noStrike" cap="none" normalizeH="0" baseline="0" dirty="0">
                        <a:ln>
                          <a:noFill/>
                        </a:ln>
                        <a:solidFill>
                          <a:srgbClr val="000000"/>
                        </a:solidFill>
                        <a:effectLst/>
                        <a:latin typeface="+mn-lt"/>
                      </a:endParaRP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lumMod val="75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de-DE" altLang="de-DE" sz="800" b="1" i="0" u="none" strike="noStrike" cap="none" normalizeH="0" baseline="0" dirty="0">
                          <a:ln>
                            <a:noFill/>
                          </a:ln>
                          <a:solidFill>
                            <a:schemeClr val="bg1"/>
                          </a:solidFill>
                          <a:effectLst/>
                          <a:latin typeface="+mn-lt"/>
                        </a:rPr>
                        <a:t>Uras26</a:t>
                      </a: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de-DE" altLang="de-DE" sz="800" b="1" i="0" u="none" strike="noStrike" cap="none" normalizeH="0" baseline="0" dirty="0">
                          <a:ln>
                            <a:noFill/>
                          </a:ln>
                          <a:solidFill>
                            <a:schemeClr val="bg1"/>
                          </a:solidFill>
                          <a:effectLst/>
                          <a:latin typeface="+mn-lt"/>
                        </a:rPr>
                        <a:t>Limas21</a:t>
                      </a:r>
                      <a:endParaRPr kumimoji="0" lang="en-GB" altLang="de-DE" sz="800" b="1" i="0" u="none" strike="noStrike" cap="none" normalizeH="0" baseline="0" dirty="0">
                        <a:ln>
                          <a:noFill/>
                        </a:ln>
                        <a:solidFill>
                          <a:schemeClr val="bg1"/>
                        </a:solidFill>
                        <a:effectLst/>
                        <a:latin typeface="+mn-lt"/>
                      </a:endParaRP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de-DE" altLang="de-DE" sz="800" b="1" i="0" u="none" strike="noStrike" cap="none" normalizeH="0" baseline="0" dirty="0">
                          <a:ln>
                            <a:noFill/>
                          </a:ln>
                          <a:solidFill>
                            <a:schemeClr val="bg1"/>
                          </a:solidFill>
                          <a:effectLst/>
                          <a:latin typeface="+mn-lt"/>
                        </a:rPr>
                        <a:t>Magnos206</a:t>
                      </a: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de-DE" altLang="de-DE" sz="800" b="1" i="0" u="none" strike="noStrike" cap="none" normalizeH="0" baseline="0" dirty="0">
                          <a:ln>
                            <a:noFill/>
                          </a:ln>
                          <a:solidFill>
                            <a:schemeClr val="bg1"/>
                          </a:solidFill>
                          <a:effectLst/>
                          <a:latin typeface="+mn-lt"/>
                        </a:rPr>
                        <a:t>Magnos27</a:t>
                      </a: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de-DE" altLang="de-DE" sz="800" b="1" i="0" u="none" strike="noStrike" cap="none" normalizeH="0" baseline="0" dirty="0">
                          <a:ln>
                            <a:noFill/>
                          </a:ln>
                          <a:solidFill>
                            <a:schemeClr val="bg1"/>
                          </a:solidFill>
                          <a:effectLst/>
                          <a:latin typeface="+mn-lt"/>
                        </a:rPr>
                        <a:t>Magnos28</a:t>
                      </a: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de-DE" altLang="de-DE" sz="800" b="1" i="0" u="none" strike="noStrike" cap="none" normalizeH="0" baseline="0" dirty="0">
                          <a:ln>
                            <a:noFill/>
                          </a:ln>
                          <a:solidFill>
                            <a:schemeClr val="bg1"/>
                          </a:solidFill>
                          <a:effectLst/>
                          <a:latin typeface="+mn-lt"/>
                        </a:rPr>
                        <a:t>Caldos25</a:t>
                      </a: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de-DE" altLang="de-DE" sz="800" b="1" i="0" u="none" strike="noStrike" cap="none" normalizeH="0" baseline="0" dirty="0">
                          <a:ln>
                            <a:noFill/>
                          </a:ln>
                          <a:solidFill>
                            <a:schemeClr val="bg1"/>
                          </a:solidFill>
                          <a:effectLst/>
                          <a:latin typeface="+mn-lt"/>
                        </a:rPr>
                        <a:t>Caldos27</a:t>
                      </a: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de-DE" altLang="de-DE" sz="800" b="1" i="0" u="none" strike="noStrike" cap="none" normalizeH="0" baseline="0" dirty="0">
                          <a:ln>
                            <a:noFill/>
                          </a:ln>
                          <a:solidFill>
                            <a:schemeClr val="bg1"/>
                          </a:solidFill>
                          <a:effectLst/>
                          <a:latin typeface="+mn-lt"/>
                        </a:rPr>
                        <a:t>LS4060</a:t>
                      </a:r>
                      <a:endParaRPr kumimoji="0" lang="en-GB" altLang="de-DE" sz="800" b="1" i="0" u="none" strike="noStrike" cap="none" normalizeH="0" baseline="0" dirty="0">
                        <a:ln>
                          <a:noFill/>
                        </a:ln>
                        <a:solidFill>
                          <a:schemeClr val="bg1"/>
                        </a:solidFill>
                        <a:effectLst/>
                        <a:latin typeface="+mn-lt"/>
                      </a:endParaRP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lumMod val="5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de-DE" altLang="de-DE" sz="800" b="1" i="0" u="none" strike="noStrike" cap="none" normalizeH="0" baseline="0" dirty="0">
                          <a:ln>
                            <a:noFill/>
                          </a:ln>
                          <a:solidFill>
                            <a:srgbClr val="000000"/>
                          </a:solidFill>
                          <a:effectLst/>
                          <a:latin typeface="+mn-lt"/>
                        </a:rPr>
                        <a:t>Uras26</a:t>
                      </a:r>
                      <a:endParaRPr kumimoji="0" lang="en-GB" altLang="de-DE" sz="800" b="1" i="0" u="none" strike="noStrike" cap="none" normalizeH="0" baseline="0" dirty="0">
                        <a:ln>
                          <a:noFill/>
                        </a:ln>
                        <a:solidFill>
                          <a:srgbClr val="000000"/>
                        </a:solidFill>
                        <a:effectLst/>
                        <a:latin typeface="+mn-lt"/>
                      </a:endParaRP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en-GB" altLang="de-DE" sz="800" b="1" i="0" u="none" strike="noStrike" cap="none" normalizeH="0" baseline="0" dirty="0">
                          <a:ln>
                            <a:noFill/>
                          </a:ln>
                          <a:solidFill>
                            <a:srgbClr val="000000"/>
                          </a:solidFill>
                          <a:effectLst/>
                          <a:latin typeface="+mn-lt"/>
                        </a:rPr>
                        <a:t>Magnos206</a:t>
                      </a: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en-GB" altLang="de-DE" sz="800" b="1" i="0" u="none" strike="noStrike" cap="none" normalizeH="0" baseline="0" dirty="0">
                          <a:ln>
                            <a:noFill/>
                          </a:ln>
                          <a:solidFill>
                            <a:srgbClr val="000000"/>
                          </a:solidFill>
                          <a:effectLst/>
                          <a:latin typeface="+mn-lt"/>
                        </a:rPr>
                        <a:t>Caldos27</a:t>
                      </a: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0" marR="0" lvl="0" indent="0" algn="ctr" defTabSz="914400" rtl="0" eaLnBrk="1" fontAlgn="base" latinLnBrk="0" hangingPunct="1">
                        <a:lnSpc>
                          <a:spcPct val="95000"/>
                        </a:lnSpc>
                        <a:spcBef>
                          <a:spcPct val="50000"/>
                        </a:spcBef>
                        <a:spcAft>
                          <a:spcPct val="0"/>
                        </a:spcAft>
                        <a:buClr>
                          <a:schemeClr val="tx2"/>
                        </a:buClr>
                        <a:buSzPct val="70000"/>
                        <a:buFont typeface="Wingdings" panose="05000000000000000000" pitchFamily="2" charset="2"/>
                        <a:buNone/>
                        <a:tabLst/>
                      </a:pPr>
                      <a:r>
                        <a:rPr kumimoji="0" lang="en-GB" altLang="de-DE" sz="800" b="1" i="0" u="none" strike="noStrike" cap="none" normalizeH="0" baseline="0" dirty="0">
                          <a:ln>
                            <a:noFill/>
                          </a:ln>
                          <a:solidFill>
                            <a:srgbClr val="000000"/>
                          </a:solidFill>
                          <a:effectLst/>
                          <a:latin typeface="+mn-lt"/>
                        </a:rPr>
                        <a:t>Magnos28</a:t>
                      </a:r>
                    </a:p>
                  </a:txBody>
                  <a:tcPr marL="0" marR="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extLst>
                  <a:ext uri="{0D108BD9-81ED-4DB2-BD59-A6C34878D82A}">
                    <a16:rowId xmlns:a16="http://schemas.microsoft.com/office/drawing/2014/main" val="10000"/>
                  </a:ext>
                </a:extLst>
              </a:tr>
              <a:tr h="261111">
                <a:tc>
                  <a:txBody>
                    <a:bodyPr/>
                    <a:lstStyle/>
                    <a:p>
                      <a:pPr marL="0" marR="0" lvl="0" indent="0" algn="l"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200" b="1" i="0" u="none" strike="noStrike" cap="none" normalizeH="0" baseline="0" dirty="0">
                          <a:ln>
                            <a:noFill/>
                          </a:ln>
                          <a:solidFill>
                            <a:srgbClr val="000000"/>
                          </a:solidFill>
                          <a:effectLst/>
                          <a:latin typeface="+mn-lt"/>
                        </a:rPr>
                        <a:t>Zone 1</a:t>
                      </a:r>
                      <a:br>
                        <a:rPr kumimoji="0" lang="en-GB" altLang="de-DE" sz="1200" b="0" i="0" u="none" strike="noStrike" cap="none" normalizeH="0" baseline="0" dirty="0">
                          <a:ln>
                            <a:noFill/>
                          </a:ln>
                          <a:solidFill>
                            <a:srgbClr val="000000"/>
                          </a:solidFill>
                          <a:effectLst/>
                          <a:latin typeface="+mn-lt"/>
                        </a:rPr>
                      </a:br>
                      <a:r>
                        <a:rPr kumimoji="0" lang="en-GB" altLang="de-DE" sz="1000" b="0" i="0" u="none" strike="noStrike" cap="none" normalizeH="0" baseline="0" dirty="0">
                          <a:ln>
                            <a:noFill/>
                          </a:ln>
                          <a:solidFill>
                            <a:schemeClr val="accent2"/>
                          </a:solidFill>
                          <a:effectLst/>
                          <a:latin typeface="+mn-lt"/>
                        </a:rPr>
                        <a:t>Category 2G</a:t>
                      </a:r>
                      <a:endParaRPr kumimoji="0" lang="en-GB" altLang="de-DE" sz="1200" b="0" i="0" u="none" strike="noStrike" cap="none" normalizeH="0" baseline="0" dirty="0">
                        <a:ln>
                          <a:noFill/>
                        </a:ln>
                        <a:solidFill>
                          <a:schemeClr val="accent2"/>
                        </a:solidFill>
                        <a:effectLst/>
                        <a:latin typeface="+mn-lt"/>
                      </a:endParaRPr>
                    </a:p>
                  </a:txBody>
                  <a:tcPr marL="0" marR="0" marT="36000" marB="36000" anchor="ctr" horzOverflow="overflow">
                    <a:lnL w="285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1">
                            <a:lumMod val="50000"/>
                          </a:schemeClr>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1"/>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rgbClr val="6600FF"/>
                        </a:buClr>
                        <a:buSzTx/>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rgbClr val="6600FF"/>
                        </a:buClr>
                        <a:buSzTx/>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rgbClr val="6600FF"/>
                        </a:buClr>
                        <a:buSzTx/>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rgbClr val="6600FF"/>
                        </a:buClr>
                        <a:buSzTx/>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p>
                      <a:pPr marL="0" marR="0" lvl="0" indent="0" algn="ctr" defTabSz="914400" rtl="0" eaLnBrk="1" fontAlgn="base" latinLnBrk="0" hangingPunct="1">
                        <a:lnSpc>
                          <a:spcPct val="95000"/>
                        </a:lnSpc>
                        <a:spcBef>
                          <a:spcPct val="50000"/>
                        </a:spcBef>
                        <a:spcAft>
                          <a:spcPct val="0"/>
                        </a:spcAft>
                        <a:buClr>
                          <a:srgbClr val="6600FF"/>
                        </a:buClr>
                        <a:buSzTx/>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rgbClr val="6600FF"/>
                        </a:buClr>
                        <a:buSzTx/>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rgbClr val="6600FF"/>
                        </a:buClr>
                        <a:buSzTx/>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3">
                            <a:lumMod val="50000"/>
                          </a:schemeClr>
                        </a:buClr>
                        <a:buSzTx/>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sym typeface="Wingdings" panose="05000000000000000000" pitchFamily="2" charset="2"/>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lumMod val="40000"/>
                            <a:lumOff val="60000"/>
                          </a:schemeClr>
                        </a:buClr>
                        <a:buSzPct val="120000"/>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lumMod val="40000"/>
                            <a:lumOff val="60000"/>
                          </a:schemeClr>
                        </a:buClr>
                        <a:buSzPct val="120000"/>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lumMod val="40000"/>
                            <a:lumOff val="60000"/>
                          </a:schemeClr>
                        </a:buClr>
                        <a:buSzPct val="120000"/>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p>
                      <a:pPr marL="0" marR="0" lvl="0" indent="0" algn="ctr" defTabSz="914400" rtl="0" eaLnBrk="1" fontAlgn="base" latinLnBrk="0" hangingPunct="1">
                        <a:lnSpc>
                          <a:spcPct val="95000"/>
                        </a:lnSpc>
                        <a:spcBef>
                          <a:spcPct val="50000"/>
                        </a:spcBef>
                        <a:spcAft>
                          <a:spcPct val="0"/>
                        </a:spcAft>
                        <a:buClr>
                          <a:schemeClr val="tx2">
                            <a:lumMod val="40000"/>
                            <a:lumOff val="60000"/>
                          </a:schemeClr>
                        </a:buClr>
                        <a:buSzPct val="120000"/>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extLst>
                  <a:ext uri="{0D108BD9-81ED-4DB2-BD59-A6C34878D82A}">
                    <a16:rowId xmlns:a16="http://schemas.microsoft.com/office/drawing/2014/main" val="10002"/>
                  </a:ext>
                </a:extLst>
              </a:tr>
              <a:tr h="357915">
                <a:tc>
                  <a:txBody>
                    <a:bodyPr/>
                    <a:lstStyle/>
                    <a:p>
                      <a:pPr marL="0" marR="0" lvl="0" indent="0" algn="l"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fr-FR" altLang="de-DE" sz="1200" b="1" i="0" u="none" strike="noStrike" kern="1200" cap="none" normalizeH="0" baseline="0" dirty="0">
                          <a:ln>
                            <a:noFill/>
                          </a:ln>
                          <a:solidFill>
                            <a:srgbClr val="000000"/>
                          </a:solidFill>
                          <a:effectLst/>
                          <a:latin typeface="+mn-lt"/>
                          <a:ea typeface="+mn-ea"/>
                          <a:cs typeface="+mn-cs"/>
                        </a:rPr>
                        <a:t>Zone 2</a:t>
                      </a:r>
                      <a:br>
                        <a:rPr kumimoji="0" lang="fr-FR" altLang="de-DE" sz="1200" b="0" i="0" u="none" strike="noStrike" kern="1200" cap="none" normalizeH="0" baseline="0" dirty="0">
                          <a:ln>
                            <a:noFill/>
                          </a:ln>
                          <a:solidFill>
                            <a:srgbClr val="000000"/>
                          </a:solidFill>
                          <a:effectLst/>
                          <a:latin typeface="+mn-lt"/>
                          <a:ea typeface="+mn-ea"/>
                          <a:cs typeface="+mn-cs"/>
                        </a:rPr>
                      </a:br>
                      <a:r>
                        <a:rPr kumimoji="0" lang="fr-FR" altLang="de-DE" sz="1000" b="0" i="0" u="none" strike="noStrike" kern="1200" cap="none" normalizeH="0" baseline="0" dirty="0" err="1">
                          <a:ln>
                            <a:noFill/>
                          </a:ln>
                          <a:solidFill>
                            <a:schemeClr val="accent2"/>
                          </a:solidFill>
                          <a:effectLst/>
                          <a:latin typeface="+mn-lt"/>
                          <a:ea typeface="+mn-ea"/>
                          <a:cs typeface="+mn-cs"/>
                        </a:rPr>
                        <a:t>Category</a:t>
                      </a:r>
                      <a:r>
                        <a:rPr kumimoji="0" lang="fr-FR" altLang="de-DE" sz="1000" b="0" i="0" u="none" strike="noStrike" kern="1200" cap="none" normalizeH="0" baseline="0" dirty="0">
                          <a:ln>
                            <a:noFill/>
                          </a:ln>
                          <a:solidFill>
                            <a:schemeClr val="accent2"/>
                          </a:solidFill>
                          <a:effectLst/>
                          <a:latin typeface="+mn-lt"/>
                          <a:ea typeface="+mn-ea"/>
                          <a:cs typeface="+mn-cs"/>
                        </a:rPr>
                        <a:t> 3G</a:t>
                      </a:r>
                      <a:br>
                        <a:rPr kumimoji="0" lang="fr-FR" altLang="de-DE" sz="1000" b="0" i="0" u="none" strike="noStrike" kern="1200" cap="none" normalizeH="0" baseline="0" dirty="0">
                          <a:ln>
                            <a:noFill/>
                          </a:ln>
                          <a:solidFill>
                            <a:schemeClr val="accent2"/>
                          </a:solidFill>
                          <a:effectLst/>
                          <a:latin typeface="+mn-lt"/>
                          <a:ea typeface="+mn-ea"/>
                          <a:cs typeface="+mn-cs"/>
                        </a:rPr>
                      </a:br>
                      <a:r>
                        <a:rPr kumimoji="0" lang="fr-FR" altLang="de-DE" sz="1000" b="0" i="0" u="none" strike="noStrike" kern="1200" cap="none" normalizeH="0" baseline="0" dirty="0" err="1">
                          <a:ln>
                            <a:noFill/>
                          </a:ln>
                          <a:solidFill>
                            <a:schemeClr val="accent2"/>
                          </a:solidFill>
                          <a:effectLst/>
                          <a:latin typeface="+mn-lt"/>
                          <a:ea typeface="+mn-ea"/>
                          <a:cs typeface="+mn-cs"/>
                        </a:rPr>
                        <a:t>Flammable</a:t>
                      </a:r>
                      <a:r>
                        <a:rPr kumimoji="0" lang="fr-FR" altLang="de-DE" sz="1000" b="0" i="0" u="none" strike="noStrike" kern="1200" cap="none" normalizeH="0" baseline="0" dirty="0">
                          <a:ln>
                            <a:noFill/>
                          </a:ln>
                          <a:solidFill>
                            <a:schemeClr val="accent2"/>
                          </a:solidFill>
                          <a:effectLst/>
                          <a:latin typeface="+mn-lt"/>
                          <a:ea typeface="+mn-ea"/>
                          <a:cs typeface="+mn-cs"/>
                        </a:rPr>
                        <a:t> </a:t>
                      </a:r>
                      <a:r>
                        <a:rPr kumimoji="0" lang="fr-FR" altLang="de-DE" sz="1000" b="0" i="0" u="none" strike="noStrike" kern="1200" cap="none" normalizeH="0" baseline="0" dirty="0" err="1">
                          <a:ln>
                            <a:noFill/>
                          </a:ln>
                          <a:solidFill>
                            <a:schemeClr val="accent2"/>
                          </a:solidFill>
                          <a:effectLst/>
                          <a:latin typeface="+mn-lt"/>
                          <a:ea typeface="+mn-ea"/>
                          <a:cs typeface="+mn-cs"/>
                        </a:rPr>
                        <a:t>Gases</a:t>
                      </a:r>
                      <a:endParaRPr kumimoji="0" lang="fr-FR" altLang="de-DE" sz="1000" b="0" i="0" u="none" strike="noStrike" kern="1200" cap="none" normalizeH="0" baseline="0" dirty="0">
                        <a:ln>
                          <a:noFill/>
                        </a:ln>
                        <a:solidFill>
                          <a:schemeClr val="accent2"/>
                        </a:solidFill>
                        <a:effectLst/>
                        <a:latin typeface="+mn-lt"/>
                        <a:ea typeface="+mn-ea"/>
                        <a:cs typeface="+mn-cs"/>
                      </a:endParaRPr>
                    </a:p>
                  </a:txBody>
                  <a:tcPr marL="0" marR="0" marT="36000" marB="36000" anchor="ctr" horzOverflow="overflow">
                    <a:lnL w="285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1"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lumMod val="50000"/>
                          </a:schemeClr>
                        </a:buClr>
                        <a:buSzTx/>
                        <a:buFont typeface="Wingdings" panose="05000000000000000000" pitchFamily="2" charset="2"/>
                        <a:buNone/>
                        <a:tabLst/>
                      </a:pPr>
                      <a:r>
                        <a:rPr kumimoji="0" lang="en-GB" altLang="de-DE" sz="1600" b="0" i="0" u="none" strike="noStrike" cap="none" normalizeH="0" baseline="0" dirty="0">
                          <a:ln>
                            <a:noFill/>
                          </a:ln>
                          <a:solidFill>
                            <a:schemeClr val="accent2">
                              <a:lumMod val="50000"/>
                            </a:schemeClr>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accent2">
                            <a:lumMod val="50000"/>
                          </a:schemeClr>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lumMod val="40000"/>
                            <a:lumOff val="60000"/>
                          </a:schemeClr>
                        </a:buClr>
                        <a:buSzPct val="120000"/>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lumMod val="40000"/>
                            <a:lumOff val="60000"/>
                          </a:schemeClr>
                        </a:buClr>
                        <a:buSzPct val="120000"/>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lumMod val="40000"/>
                            <a:lumOff val="60000"/>
                          </a:schemeClr>
                        </a:buClr>
                        <a:buSzPct val="120000"/>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5000"/>
                        </a:lnSpc>
                        <a:spcBef>
                          <a:spcPct val="50000"/>
                        </a:spcBef>
                        <a:spcAft>
                          <a:spcPct val="0"/>
                        </a:spcAft>
                        <a:buClr>
                          <a:schemeClr val="tx2">
                            <a:lumMod val="40000"/>
                            <a:lumOff val="60000"/>
                          </a:schemeClr>
                        </a:buClr>
                        <a:buSzPct val="120000"/>
                        <a:buFont typeface="Wingdings" panose="05000000000000000000" pitchFamily="2" charset="2"/>
                        <a:buNone/>
                        <a:tabLst/>
                      </a:pPr>
                      <a:endParaRPr kumimoji="0" lang="en-GB" altLang="de-DE" sz="16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1111">
                <a:tc>
                  <a:txBody>
                    <a:bodyPr/>
                    <a:lstStyle/>
                    <a:p>
                      <a:pPr marL="0" marR="0" lvl="0" indent="0" algn="l"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200" b="1" i="0" u="none" strike="noStrike" kern="1200" cap="none" normalizeH="0" baseline="0" dirty="0">
                          <a:ln>
                            <a:noFill/>
                          </a:ln>
                          <a:solidFill>
                            <a:srgbClr val="000000"/>
                          </a:solidFill>
                          <a:effectLst/>
                          <a:latin typeface="+mn-lt"/>
                          <a:ea typeface="+mn-ea"/>
                          <a:cs typeface="+mn-cs"/>
                        </a:rPr>
                        <a:t>Zone 2</a:t>
                      </a:r>
                      <a:br>
                        <a:rPr kumimoji="0" lang="en-GB" altLang="de-DE" sz="1200" b="0" i="0" u="none" strike="noStrike" kern="1200" cap="none" normalizeH="0" baseline="0" dirty="0">
                          <a:ln>
                            <a:noFill/>
                          </a:ln>
                          <a:solidFill>
                            <a:srgbClr val="000000"/>
                          </a:solidFill>
                          <a:effectLst/>
                          <a:latin typeface="+mn-lt"/>
                          <a:ea typeface="+mn-ea"/>
                          <a:cs typeface="+mn-cs"/>
                        </a:rPr>
                      </a:br>
                      <a:r>
                        <a:rPr kumimoji="0" lang="en-GB" altLang="de-DE" sz="1000" b="0" i="0" u="none" strike="noStrike" kern="1200" cap="none" normalizeH="0" baseline="0" dirty="0">
                          <a:ln>
                            <a:noFill/>
                          </a:ln>
                          <a:solidFill>
                            <a:schemeClr val="accent2"/>
                          </a:solidFill>
                          <a:effectLst/>
                          <a:latin typeface="+mn-lt"/>
                          <a:ea typeface="+mn-ea"/>
                          <a:cs typeface="+mn-cs"/>
                        </a:rPr>
                        <a:t>Category 3G</a:t>
                      </a:r>
                    </a:p>
                  </a:txBody>
                  <a:tcPr marL="0" marR="0" marT="36000" marB="36000" anchor="ctr" horzOverflow="overflow">
                    <a:lnL w="285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1"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lumMod val="50000"/>
                          </a:schemeClr>
                        </a:buClr>
                        <a:buSzTx/>
                        <a:buFont typeface="Wingdings" panose="05000000000000000000" pitchFamily="2" charset="2"/>
                        <a:buNone/>
                        <a:tabLst/>
                        <a:defRPr/>
                      </a:pPr>
                      <a:r>
                        <a:rPr kumimoji="0" lang="en-GB" altLang="de-DE" sz="1600" b="0" i="0" u="none" strike="noStrike" cap="none" normalizeH="0" baseline="0" dirty="0">
                          <a:ln>
                            <a:noFill/>
                          </a:ln>
                          <a:solidFill>
                            <a:schemeClr val="accent2">
                              <a:lumMod val="50000"/>
                            </a:schemeClr>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accent2">
                            <a:lumMod val="50000"/>
                          </a:schemeClr>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120000"/>
                        </a:lnSpc>
                        <a:spcBef>
                          <a:spcPct val="50000"/>
                        </a:spcBef>
                        <a:spcAft>
                          <a:spcPct val="0"/>
                        </a:spcAft>
                        <a:buClr>
                          <a:schemeClr val="tx2">
                            <a:lumMod val="40000"/>
                            <a:lumOff val="60000"/>
                          </a:schemeClr>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120000"/>
                        </a:lnSpc>
                        <a:spcBef>
                          <a:spcPct val="50000"/>
                        </a:spcBef>
                        <a:spcAft>
                          <a:spcPct val="0"/>
                        </a:spcAft>
                        <a:buClr>
                          <a:schemeClr val="tx2">
                            <a:lumMod val="40000"/>
                            <a:lumOff val="60000"/>
                          </a:schemeClr>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120000"/>
                        </a:lnSpc>
                        <a:spcBef>
                          <a:spcPct val="50000"/>
                        </a:spcBef>
                        <a:spcAft>
                          <a:spcPct val="0"/>
                        </a:spcAft>
                        <a:buClr>
                          <a:schemeClr val="tx2">
                            <a:lumMod val="40000"/>
                            <a:lumOff val="60000"/>
                          </a:schemeClr>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tc>
                  <a:txBody>
                    <a:bodyPr/>
                    <a:lstStyle/>
                    <a:p>
                      <a:pPr marL="0" marR="0" lvl="0" indent="0" algn="ctr" defTabSz="914400" rtl="0" eaLnBrk="1" fontAlgn="base" latinLnBrk="0" hangingPunct="1">
                        <a:lnSpc>
                          <a:spcPct val="120000"/>
                        </a:lnSpc>
                        <a:spcBef>
                          <a:spcPct val="50000"/>
                        </a:spcBef>
                        <a:spcAft>
                          <a:spcPct val="0"/>
                        </a:spcAft>
                        <a:buClr>
                          <a:schemeClr val="tx2">
                            <a:lumMod val="40000"/>
                            <a:lumOff val="60000"/>
                          </a:schemeClr>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cs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lumMod val="10000"/>
                        <a:lumOff val="90000"/>
                      </a:schemeClr>
                    </a:solidFill>
                  </a:tcPr>
                </a:tc>
                <a:extLst>
                  <a:ext uri="{0D108BD9-81ED-4DB2-BD59-A6C34878D82A}">
                    <a16:rowId xmlns:a16="http://schemas.microsoft.com/office/drawing/2014/main" val="10004"/>
                  </a:ext>
                </a:extLst>
              </a:tr>
              <a:tr h="261111">
                <a:tc>
                  <a:txBody>
                    <a:bodyPr/>
                    <a:lstStyle/>
                    <a:p>
                      <a:pPr marL="0" marR="0" lvl="0" indent="0" algn="l"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200" b="1" i="0" u="none" strike="noStrike" kern="1200" cap="none" normalizeH="0" baseline="0" dirty="0">
                          <a:ln>
                            <a:noFill/>
                          </a:ln>
                          <a:solidFill>
                            <a:srgbClr val="000000"/>
                          </a:solidFill>
                          <a:effectLst/>
                          <a:latin typeface="+mn-lt"/>
                          <a:ea typeface="+mn-ea"/>
                          <a:cs typeface="+mn-cs"/>
                        </a:rPr>
                        <a:t>Ex free </a:t>
                      </a:r>
                      <a:r>
                        <a:rPr kumimoji="0" lang="en-GB" altLang="de-DE" sz="1000" b="0" i="0" u="none" strike="noStrike" kern="1200" cap="none" normalizeH="0" baseline="0" dirty="0">
                          <a:ln>
                            <a:noFill/>
                          </a:ln>
                          <a:solidFill>
                            <a:schemeClr val="accent2"/>
                          </a:solidFill>
                          <a:effectLst/>
                          <a:latin typeface="+mn-lt"/>
                          <a:ea typeface="+mn-ea"/>
                          <a:cs typeface="+mn-cs"/>
                        </a:rPr>
                        <a:t>Flammable Gases</a:t>
                      </a:r>
                    </a:p>
                  </a:txBody>
                  <a:tcPr marL="0" marR="0" marT="36000" marB="36000" anchor="ctr" horzOverflow="overflow">
                    <a:lnL w="2857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buClr>
                        <a:buSzPct val="120000"/>
                        <a:buFont typeface="Wingdings" panose="05000000000000000000" pitchFamily="2" charset="2"/>
                        <a:buNone/>
                        <a:tabLst/>
                      </a:pPr>
                      <a:r>
                        <a:rPr kumimoji="0" lang="en-GB" altLang="de-DE" sz="1600" b="0" i="0" u="none" strike="noStrike" cap="none" normalizeH="0" baseline="0" dirty="0">
                          <a:ln>
                            <a:noFill/>
                          </a:ln>
                          <a:solidFill>
                            <a:schemeClr val="accent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1"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defRPr/>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bg2"/>
                        </a:buClr>
                        <a:buSzTx/>
                        <a:buFont typeface="Wingdings" panose="05000000000000000000" pitchFamily="2" charset="2"/>
                        <a:buNone/>
                        <a:tabLst/>
                      </a:pPr>
                      <a:r>
                        <a:rPr kumimoji="0" lang="en-GB" altLang="de-DE" sz="1600" b="0" i="0" u="none" strike="noStrike" cap="none" normalizeH="0" baseline="0" dirty="0">
                          <a:ln>
                            <a:noFill/>
                          </a:ln>
                          <a:solidFill>
                            <a:schemeClr val="bg2"/>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bg2"/>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accent2">
                            <a:lumMod val="50000"/>
                          </a:schemeClr>
                        </a:buClr>
                        <a:buSzTx/>
                        <a:buFont typeface="Wingdings" panose="05000000000000000000" pitchFamily="2" charset="2"/>
                        <a:buNone/>
                        <a:tabLst/>
                        <a:defRPr/>
                      </a:pPr>
                      <a:r>
                        <a:rPr kumimoji="0" lang="en-GB" altLang="de-DE" sz="1600" b="0" i="0" u="none" strike="noStrike" cap="none" normalizeH="0" baseline="0" dirty="0">
                          <a:ln>
                            <a:noFill/>
                          </a:ln>
                          <a:solidFill>
                            <a:schemeClr val="accent2">
                              <a:lumMod val="50000"/>
                            </a:schemeClr>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accent2">
                            <a:lumMod val="50000"/>
                          </a:schemeClr>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lumMod val="40000"/>
                            <a:lumOff val="60000"/>
                          </a:schemeClr>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lumMod val="40000"/>
                            <a:lumOff val="60000"/>
                          </a:schemeClr>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1pPr>
                      <a:lvl2pPr>
                        <a:lnSpc>
                          <a:spcPct val="95000"/>
                        </a:lnSpc>
                        <a:spcBef>
                          <a:spcPct val="50000"/>
                        </a:spcBef>
                        <a:buClr>
                          <a:schemeClr val="tx2"/>
                        </a:buClr>
                        <a:buSzPct val="70000"/>
                        <a:buFont typeface="Wingdings" panose="05000000000000000000" pitchFamily="2" charset="2"/>
                        <a:defRPr sz="1600">
                          <a:solidFill>
                            <a:srgbClr val="000000"/>
                          </a:solidFill>
                          <a:latin typeface="Arial" panose="020B0604020202020204" pitchFamily="34" charset="0"/>
                        </a:defRPr>
                      </a:lvl2pPr>
                      <a:lvl3pPr>
                        <a:lnSpc>
                          <a:spcPct val="95000"/>
                        </a:lnSpc>
                        <a:spcBef>
                          <a:spcPct val="50000"/>
                        </a:spcBef>
                        <a:buClr>
                          <a:schemeClr val="tx2"/>
                        </a:buClr>
                        <a:buSzPct val="70000"/>
                        <a:buFont typeface="Wingdings" panose="05000000000000000000" pitchFamily="2" charset="2"/>
                        <a:defRPr sz="1400">
                          <a:solidFill>
                            <a:srgbClr val="000000"/>
                          </a:solidFill>
                          <a:latin typeface="Arial" panose="020B0604020202020204" pitchFamily="34" charset="0"/>
                        </a:defRPr>
                      </a:lvl3pPr>
                      <a:lvl4pPr marL="13335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4pPr>
                      <a:lvl5pPr marL="1752600">
                        <a:lnSpc>
                          <a:spcPct val="95000"/>
                        </a:lnSpc>
                        <a:spcBef>
                          <a:spcPct val="50000"/>
                        </a:spcBef>
                        <a:buClr>
                          <a:schemeClr val="tx2"/>
                        </a:buClr>
                        <a:buSzPct val="70000"/>
                        <a:buFont typeface="Wingdings" panose="05000000000000000000" pitchFamily="2" charset="2"/>
                        <a:defRPr sz="1200">
                          <a:solidFill>
                            <a:srgbClr val="000000"/>
                          </a:solidFill>
                          <a:latin typeface="Arial" panose="020B0604020202020204" pitchFamily="34" charset="0"/>
                        </a:defRPr>
                      </a:lvl5pPr>
                      <a:lvl6pPr marL="22098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6pPr>
                      <a:lvl7pPr marL="26670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7pPr>
                      <a:lvl8pPr marL="31242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8pPr>
                      <a:lvl9pPr marL="3581400" fontAlgn="base">
                        <a:lnSpc>
                          <a:spcPct val="95000"/>
                        </a:lnSpc>
                        <a:spcBef>
                          <a:spcPct val="50000"/>
                        </a:spcBef>
                        <a:spcAft>
                          <a:spcPct val="0"/>
                        </a:spcAft>
                        <a:buClr>
                          <a:schemeClr val="tx2"/>
                        </a:buClr>
                        <a:buSzPct val="70000"/>
                        <a:buFont typeface="Wingdings" panose="05000000000000000000" pitchFamily="2" charset="2"/>
                        <a:defRPr sz="1200">
                          <a:solidFill>
                            <a:srgbClr val="000000"/>
                          </a:solidFill>
                          <a:latin typeface="Arial" panose="020B0604020202020204" pitchFamily="34" charset="0"/>
                        </a:defRPr>
                      </a:lvl9pPr>
                    </a:lstStyle>
                    <a:p>
                      <a:pPr marL="0" marR="0" lvl="0" indent="0" algn="ctr" defTabSz="914400" rtl="0" eaLnBrk="1" fontAlgn="base" latinLnBrk="0" hangingPunct="1">
                        <a:lnSpc>
                          <a:spcPct val="95000"/>
                        </a:lnSpc>
                        <a:spcBef>
                          <a:spcPct val="50000"/>
                        </a:spcBef>
                        <a:spcAft>
                          <a:spcPct val="0"/>
                        </a:spcAft>
                        <a:buClr>
                          <a:schemeClr val="tx2">
                            <a:lumMod val="40000"/>
                            <a:lumOff val="60000"/>
                          </a:schemeClr>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rgbClr val="000000"/>
                        </a:solidFill>
                        <a:effectLst/>
                        <a:latin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95000"/>
                        </a:lnSpc>
                        <a:spcBef>
                          <a:spcPct val="50000"/>
                        </a:spcBef>
                        <a:spcAft>
                          <a:spcPct val="0"/>
                        </a:spcAft>
                        <a:buClr>
                          <a:schemeClr val="tx2">
                            <a:lumMod val="40000"/>
                            <a:lumOff val="60000"/>
                          </a:schemeClr>
                        </a:buClr>
                        <a:buSzPct val="120000"/>
                        <a:buFont typeface="Wingdings" panose="05000000000000000000" pitchFamily="2" charset="2"/>
                        <a:buNone/>
                        <a:tabLst/>
                        <a:defRPr/>
                      </a:pPr>
                      <a:r>
                        <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cs typeface="Arial" panose="020B0604020202020204" pitchFamily="34" charset="0"/>
                          <a:sym typeface="Wingdings" panose="05000000000000000000" pitchFamily="2" charset="2"/>
                        </a:rPr>
                        <a:t></a:t>
                      </a:r>
                      <a:endParaRPr kumimoji="0" lang="en-GB" altLang="de-DE" sz="1600" b="0" i="0" u="none" strike="noStrike" cap="none" normalizeH="0" baseline="0" dirty="0">
                        <a:ln>
                          <a:noFill/>
                        </a:ln>
                        <a:solidFill>
                          <a:schemeClr val="tx2">
                            <a:lumMod val="40000"/>
                            <a:lumOff val="60000"/>
                          </a:schemeClr>
                        </a:solidFill>
                        <a:effectLst/>
                        <a:latin typeface="Arial" panose="020B0604020202020204" pitchFamily="34" charset="0"/>
                        <a:cs typeface="Arial" panose="020B0604020202020204" pitchFamily="34" charset="0"/>
                      </a:endParaRPr>
                    </a:p>
                  </a:txBody>
                  <a:tcPr marL="36000" marR="36000" marT="36000" marB="36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3" name="Titel 2">
            <a:extLst>
              <a:ext uri="{FF2B5EF4-FFF2-40B4-BE49-F238E27FC236}">
                <a16:creationId xmlns:a16="http://schemas.microsoft.com/office/drawing/2014/main" id="{A3B26665-D2DF-4057-AAF0-E9D7823AB5FC}"/>
              </a:ext>
            </a:extLst>
          </p:cNvPr>
          <p:cNvSpPr>
            <a:spLocks noGrp="1"/>
          </p:cNvSpPr>
          <p:nvPr>
            <p:ph type="title"/>
          </p:nvPr>
        </p:nvSpPr>
        <p:spPr bwMode="gray"/>
        <p:txBody>
          <a:bodyPr/>
          <a:lstStyle/>
          <a:p>
            <a:r>
              <a:rPr lang="sv-SE" altLang="de-DE" dirty="0"/>
              <a:t>Hazardous applications</a:t>
            </a:r>
            <a:endParaRPr lang="de-DE" dirty="0"/>
          </a:p>
        </p:txBody>
      </p:sp>
      <p:sp>
        <p:nvSpPr>
          <p:cNvPr id="2" name="Subtitle 1">
            <a:extLst>
              <a:ext uri="{FF2B5EF4-FFF2-40B4-BE49-F238E27FC236}">
                <a16:creationId xmlns:a16="http://schemas.microsoft.com/office/drawing/2014/main" id="{8328F823-39D5-4333-BED4-45B1183D0C9B}"/>
              </a:ext>
            </a:extLst>
          </p:cNvPr>
          <p:cNvSpPr>
            <a:spLocks noGrp="1"/>
          </p:cNvSpPr>
          <p:nvPr>
            <p:ph type="subTitle" idx="13"/>
          </p:nvPr>
        </p:nvSpPr>
        <p:spPr bwMode="gray"/>
        <p:txBody>
          <a:bodyPr/>
          <a:lstStyle/>
          <a:p>
            <a:r>
              <a:rPr lang="de-DE" dirty="0" err="1"/>
              <a:t>Your</a:t>
            </a:r>
            <a:r>
              <a:rPr lang="de-DE" dirty="0"/>
              <a:t> </a:t>
            </a:r>
            <a:r>
              <a:rPr lang="de-DE" dirty="0" err="1"/>
              <a:t>safety</a:t>
            </a:r>
            <a:r>
              <a:rPr lang="de-DE" dirty="0"/>
              <a:t> </a:t>
            </a:r>
            <a:r>
              <a:rPr lang="de-DE" dirty="0" err="1"/>
              <a:t>is</a:t>
            </a:r>
            <a:r>
              <a:rPr lang="de-DE" dirty="0"/>
              <a:t> </a:t>
            </a:r>
            <a:r>
              <a:rPr lang="de-DE" dirty="0" err="1"/>
              <a:t>our</a:t>
            </a:r>
            <a:r>
              <a:rPr lang="de-DE" dirty="0"/>
              <a:t> </a:t>
            </a:r>
            <a:r>
              <a:rPr lang="de-DE" dirty="0" err="1"/>
              <a:t>priority</a:t>
            </a:r>
            <a:endParaRPr lang="en-US" dirty="0"/>
          </a:p>
        </p:txBody>
      </p:sp>
      <p:sp>
        <p:nvSpPr>
          <p:cNvPr id="77" name="Text Box 12">
            <a:extLst>
              <a:ext uri="{FF2B5EF4-FFF2-40B4-BE49-F238E27FC236}">
                <a16:creationId xmlns:a16="http://schemas.microsoft.com/office/drawing/2014/main" id="{6909E524-706A-4D88-BF66-EE27B3068200}"/>
              </a:ext>
            </a:extLst>
          </p:cNvPr>
          <p:cNvSpPr txBox="1">
            <a:spLocks noChangeArrowheads="1"/>
          </p:cNvSpPr>
          <p:nvPr/>
        </p:nvSpPr>
        <p:spPr bwMode="gray">
          <a:xfrm>
            <a:off x="5681141" y="1872050"/>
            <a:ext cx="8899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de-DE" altLang="de-DE" sz="1400" b="1" dirty="0">
                <a:solidFill>
                  <a:schemeClr val="bg2"/>
                </a:solidFill>
                <a:latin typeface="+mn-lt"/>
              </a:rPr>
              <a:t>AO2000</a:t>
            </a:r>
            <a:endParaRPr lang="en-GB" altLang="de-DE" sz="1200" b="1" dirty="0">
              <a:solidFill>
                <a:schemeClr val="bg2"/>
              </a:solidFill>
              <a:latin typeface="+mn-lt"/>
            </a:endParaRPr>
          </a:p>
        </p:txBody>
      </p:sp>
      <p:sp>
        <p:nvSpPr>
          <p:cNvPr id="78" name="Text Box 13">
            <a:extLst>
              <a:ext uri="{FF2B5EF4-FFF2-40B4-BE49-F238E27FC236}">
                <a16:creationId xmlns:a16="http://schemas.microsoft.com/office/drawing/2014/main" id="{E62618D5-9F68-4DB6-9EAC-E10F68DDCFF2}"/>
              </a:ext>
            </a:extLst>
          </p:cNvPr>
          <p:cNvSpPr txBox="1">
            <a:spLocks noChangeArrowheads="1"/>
          </p:cNvSpPr>
          <p:nvPr/>
        </p:nvSpPr>
        <p:spPr bwMode="gray">
          <a:xfrm>
            <a:off x="1975284" y="1873637"/>
            <a:ext cx="82907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de-DE" altLang="de-DE" sz="1400" b="1" dirty="0">
                <a:solidFill>
                  <a:schemeClr val="bg1">
                    <a:lumMod val="50000"/>
                  </a:schemeClr>
                </a:solidFill>
                <a:latin typeface="+mn-lt"/>
              </a:rPr>
              <a:t>EL3060</a:t>
            </a:r>
            <a:endParaRPr lang="en-GB" altLang="de-DE" sz="1400" b="1" dirty="0">
              <a:solidFill>
                <a:schemeClr val="bg1">
                  <a:lumMod val="50000"/>
                </a:schemeClr>
              </a:solidFill>
              <a:latin typeface="+mn-lt"/>
            </a:endParaRPr>
          </a:p>
        </p:txBody>
      </p:sp>
      <p:sp>
        <p:nvSpPr>
          <p:cNvPr id="79" name="Text Box 14">
            <a:extLst>
              <a:ext uri="{FF2B5EF4-FFF2-40B4-BE49-F238E27FC236}">
                <a16:creationId xmlns:a16="http://schemas.microsoft.com/office/drawing/2014/main" id="{33EA0E26-D118-430A-91B4-10739E7BF9FE}"/>
              </a:ext>
            </a:extLst>
          </p:cNvPr>
          <p:cNvSpPr txBox="1">
            <a:spLocks noChangeArrowheads="1"/>
          </p:cNvSpPr>
          <p:nvPr/>
        </p:nvSpPr>
        <p:spPr bwMode="gray">
          <a:xfrm>
            <a:off x="10895979" y="1873637"/>
            <a:ext cx="93186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de-DE" altLang="de-DE" sz="1400" b="1" dirty="0">
                <a:latin typeface="+mn-lt"/>
              </a:rPr>
              <a:t>EL3000</a:t>
            </a:r>
            <a:endParaRPr lang="en-GB" altLang="de-DE" sz="1400" b="1" dirty="0">
              <a:latin typeface="+mn-lt"/>
            </a:endParaRPr>
          </a:p>
        </p:txBody>
      </p:sp>
      <p:pic>
        <p:nvPicPr>
          <p:cNvPr id="80" name="Picture 197" descr="3000kombi_3dr">
            <a:extLst>
              <a:ext uri="{FF2B5EF4-FFF2-40B4-BE49-F238E27FC236}">
                <a16:creationId xmlns:a16="http://schemas.microsoft.com/office/drawing/2014/main" id="{B1565159-F31D-4B57-A3C3-51380C78FE8F}"/>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10269136" y="1873637"/>
            <a:ext cx="715662" cy="664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1" name="Gruppieren 2">
            <a:extLst>
              <a:ext uri="{FF2B5EF4-FFF2-40B4-BE49-F238E27FC236}">
                <a16:creationId xmlns:a16="http://schemas.microsoft.com/office/drawing/2014/main" id="{8001DE73-C876-45CD-9DBC-DE3DA4D4F439}"/>
              </a:ext>
            </a:extLst>
          </p:cNvPr>
          <p:cNvGrpSpPr>
            <a:grpSpLocks/>
          </p:cNvGrpSpPr>
          <p:nvPr/>
        </p:nvGrpSpPr>
        <p:grpSpPr bwMode="gray">
          <a:xfrm>
            <a:off x="2745149" y="1920241"/>
            <a:ext cx="568356" cy="565784"/>
            <a:chOff x="2416175" y="769938"/>
            <a:chExt cx="830734" cy="942975"/>
          </a:xfrm>
        </p:grpSpPr>
        <p:pic>
          <p:nvPicPr>
            <p:cNvPr id="82" name="Picture 3" descr="AO2060_3Drechts_lowres">
              <a:extLst>
                <a:ext uri="{FF2B5EF4-FFF2-40B4-BE49-F238E27FC236}">
                  <a16:creationId xmlns:a16="http://schemas.microsoft.com/office/drawing/2014/main" id="{E169EFDA-ABC8-4679-BE8D-5C20B8EC5BF0}"/>
                </a:ext>
              </a:extLst>
            </p:cNvPr>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2416175" y="769938"/>
              <a:ext cx="468000" cy="671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3" name="Picture 198" descr="EL3060_3dr_O2">
              <a:extLst>
                <a:ext uri="{FF2B5EF4-FFF2-40B4-BE49-F238E27FC236}">
                  <a16:creationId xmlns:a16="http://schemas.microsoft.com/office/drawing/2014/main" id="{D056CEB6-1AA7-4BE6-B834-1BD30F0120C2}"/>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2627784" y="846138"/>
              <a:ext cx="619125" cy="86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4" name="Gruppieren 4">
            <a:extLst>
              <a:ext uri="{FF2B5EF4-FFF2-40B4-BE49-F238E27FC236}">
                <a16:creationId xmlns:a16="http://schemas.microsoft.com/office/drawing/2014/main" id="{22E2524B-6885-4A02-91B7-FAF69A1698D3}"/>
              </a:ext>
            </a:extLst>
          </p:cNvPr>
          <p:cNvGrpSpPr>
            <a:grpSpLocks noChangeAspect="1"/>
          </p:cNvGrpSpPr>
          <p:nvPr/>
        </p:nvGrpSpPr>
        <p:grpSpPr bwMode="gray">
          <a:xfrm>
            <a:off x="6228556" y="1937092"/>
            <a:ext cx="753269" cy="518710"/>
            <a:chOff x="4033515" y="765175"/>
            <a:chExt cx="1372121" cy="944563"/>
          </a:xfrm>
        </p:grpSpPr>
        <p:pic>
          <p:nvPicPr>
            <p:cNvPr id="85" name="Picture 217" descr="AO2040-3Dlinks_mit-Box_lowres">
              <a:extLst>
                <a:ext uri="{FF2B5EF4-FFF2-40B4-BE49-F238E27FC236}">
                  <a16:creationId xmlns:a16="http://schemas.microsoft.com/office/drawing/2014/main" id="{0521EF72-7169-4011-AF26-BF68B270B4EC}"/>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4646811" y="765175"/>
              <a:ext cx="758825" cy="94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Picture 219" descr="AO2020_3Drechts_lowres">
              <a:extLst>
                <a:ext uri="{FF2B5EF4-FFF2-40B4-BE49-F238E27FC236}">
                  <a16:creationId xmlns:a16="http://schemas.microsoft.com/office/drawing/2014/main" id="{A0DCB932-B211-4DB9-AB9D-5DB615BCB316}"/>
                </a:ext>
              </a:extLst>
            </p:cNvPr>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4033515" y="1196752"/>
              <a:ext cx="898525"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7" name="Text Box 12">
            <a:extLst>
              <a:ext uri="{FF2B5EF4-FFF2-40B4-BE49-F238E27FC236}">
                <a16:creationId xmlns:a16="http://schemas.microsoft.com/office/drawing/2014/main" id="{2DA7DA39-CF7C-41FE-A362-6BDEDA6A4F00}"/>
              </a:ext>
            </a:extLst>
          </p:cNvPr>
          <p:cNvSpPr txBox="1">
            <a:spLocks noChangeArrowheads="1"/>
          </p:cNvSpPr>
          <p:nvPr/>
        </p:nvSpPr>
        <p:spPr bwMode="gray">
          <a:xfrm>
            <a:off x="7833831" y="1872050"/>
            <a:ext cx="84350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r>
              <a:rPr lang="de-DE" altLang="de-DE" sz="1400" b="1" dirty="0">
                <a:solidFill>
                  <a:srgbClr val="7F7F7F"/>
                </a:solidFill>
                <a:latin typeface="+mn-lt"/>
              </a:rPr>
              <a:t>LS4060</a:t>
            </a:r>
            <a:endParaRPr lang="en-GB" altLang="de-DE" sz="1200" b="1" dirty="0">
              <a:solidFill>
                <a:srgbClr val="7F7F7F"/>
              </a:solidFill>
              <a:latin typeface="+mn-lt"/>
            </a:endParaRPr>
          </a:p>
        </p:txBody>
      </p:sp>
      <p:pic>
        <p:nvPicPr>
          <p:cNvPr id="88" name="Grafik 3">
            <a:extLst>
              <a:ext uri="{FF2B5EF4-FFF2-40B4-BE49-F238E27FC236}">
                <a16:creationId xmlns:a16="http://schemas.microsoft.com/office/drawing/2014/main" id="{0565DB89-B37E-42F3-A7DF-718893EEBCC2}"/>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gray">
          <a:xfrm>
            <a:off x="8499420" y="2004107"/>
            <a:ext cx="1193389" cy="539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Date Placeholder 6">
            <a:extLst>
              <a:ext uri="{FF2B5EF4-FFF2-40B4-BE49-F238E27FC236}">
                <a16:creationId xmlns:a16="http://schemas.microsoft.com/office/drawing/2014/main" id="{1E7496D3-816F-4586-BBD4-DA61D81AF759}"/>
              </a:ext>
            </a:extLst>
          </p:cNvPr>
          <p:cNvSpPr>
            <a:spLocks noGrp="1"/>
          </p:cNvSpPr>
          <p:nvPr>
            <p:ph type="dt" sz="half" idx="14"/>
          </p:nvPr>
        </p:nvSpPr>
        <p:spPr bwMode="gray"/>
        <p:txBody>
          <a:bodyPr/>
          <a:lstStyle/>
          <a:p>
            <a:fld id="{41899F00-CF6F-4312-A16E-C048C58C2CB2}" type="datetime4">
              <a:rPr lang="en-US" smtClean="0"/>
              <a:t>September 8, 2019</a:t>
            </a:fld>
            <a:endParaRPr lang="en-US" dirty="0"/>
          </a:p>
        </p:txBody>
      </p:sp>
      <p:sp>
        <p:nvSpPr>
          <p:cNvPr id="23" name="Footer Placeholder 22">
            <a:extLst>
              <a:ext uri="{FF2B5EF4-FFF2-40B4-BE49-F238E27FC236}">
                <a16:creationId xmlns:a16="http://schemas.microsoft.com/office/drawing/2014/main" id="{5277063E-DFDA-49F0-8E15-7393A8D51133}"/>
              </a:ext>
            </a:extLst>
          </p:cNvPr>
          <p:cNvSpPr>
            <a:spLocks noGrp="1"/>
          </p:cNvSpPr>
          <p:nvPr>
            <p:ph type="ftr" sz="quarter" idx="15"/>
          </p:nvPr>
        </p:nvSpPr>
        <p:spPr bwMode="gray"/>
        <p:txBody>
          <a:bodyPr/>
          <a:lstStyle/>
          <a:p>
            <a:pPr lvl="8"/>
            <a:r>
              <a:rPr lang="en-US" dirty="0"/>
              <a:t>* also Class I, Div. 1 and Class I, Zone 1              + only IECEx</a:t>
            </a:r>
          </a:p>
        </p:txBody>
      </p:sp>
      <p:sp>
        <p:nvSpPr>
          <p:cNvPr id="24" name="Slide Number Placeholder 23">
            <a:extLst>
              <a:ext uri="{FF2B5EF4-FFF2-40B4-BE49-F238E27FC236}">
                <a16:creationId xmlns:a16="http://schemas.microsoft.com/office/drawing/2014/main" id="{76AFA41C-FB3C-47C5-8201-099E6DFB92A1}"/>
              </a:ext>
            </a:extLst>
          </p:cNvPr>
          <p:cNvSpPr>
            <a:spLocks noGrp="1"/>
          </p:cNvSpPr>
          <p:nvPr>
            <p:ph type="sldNum" sz="quarter" idx="16"/>
          </p:nvPr>
        </p:nvSpPr>
        <p:spPr bwMode="gray"/>
        <p:txBody>
          <a:bodyPr/>
          <a:lstStyle/>
          <a:p>
            <a:r>
              <a:rPr lang="en-US"/>
              <a:t>Slide </a:t>
            </a:r>
            <a:fld id="{619F89D8-7AE3-494A-97F3-03D680869632}" type="slidenum">
              <a:rPr lang="en-US" smtClean="0"/>
              <a:pPr/>
              <a:t>110</a:t>
            </a:fld>
            <a:endParaRPr lang="en-US" dirty="0"/>
          </a:p>
        </p:txBody>
      </p:sp>
      <p:sp>
        <p:nvSpPr>
          <p:cNvPr id="103" name="Rectangle 199">
            <a:extLst>
              <a:ext uri="{FF2B5EF4-FFF2-40B4-BE49-F238E27FC236}">
                <a16:creationId xmlns:a16="http://schemas.microsoft.com/office/drawing/2014/main" id="{9170E93B-2B63-4E3C-817C-3A658F98FBFF}"/>
              </a:ext>
            </a:extLst>
          </p:cNvPr>
          <p:cNvSpPr>
            <a:spLocks noChangeArrowheads="1"/>
          </p:cNvSpPr>
          <p:nvPr/>
        </p:nvSpPr>
        <p:spPr bwMode="gray">
          <a:xfrm>
            <a:off x="1447802" y="4957652"/>
            <a:ext cx="3055620" cy="935319"/>
          </a:xfrm>
          <a:prstGeom prst="rect">
            <a:avLst/>
          </a:prstGeom>
          <a:noFill/>
          <a:ln w="38100">
            <a:noFill/>
          </a:ln>
          <a:effectLs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endParaRPr lang="de-DE" altLang="de-DE">
              <a:solidFill>
                <a:srgbClr val="000000"/>
              </a:solidFill>
            </a:endParaRPr>
          </a:p>
        </p:txBody>
      </p:sp>
      <p:sp>
        <p:nvSpPr>
          <p:cNvPr id="31" name="AutoShape 6">
            <a:hlinkClick r:id="rId10" action="ppaction://hlinksldjump" highlightClick="1"/>
            <a:extLst>
              <a:ext uri="{FF2B5EF4-FFF2-40B4-BE49-F238E27FC236}">
                <a16:creationId xmlns:a16="http://schemas.microsoft.com/office/drawing/2014/main" id="{22837CD7-48D9-4F09-A79B-1E5D69070A52}"/>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70899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12019B4-36D2-4214-8AEC-31397A726417}"/>
              </a:ext>
            </a:extLst>
          </p:cNvPr>
          <p:cNvSpPr>
            <a:spLocks noGrp="1"/>
          </p:cNvSpPr>
          <p:nvPr>
            <p:ph type="title"/>
          </p:nvPr>
        </p:nvSpPr>
        <p:spPr bwMode="gray"/>
        <p:txBody>
          <a:bodyPr/>
          <a:lstStyle/>
          <a:p>
            <a:r>
              <a:rPr lang="en-US" altLang="de-DE" dirty="0"/>
              <a:t>General Purpose</a:t>
            </a:r>
            <a:endParaRPr lang="de-DE" dirty="0"/>
          </a:p>
        </p:txBody>
      </p:sp>
      <p:sp>
        <p:nvSpPr>
          <p:cNvPr id="7" name="Untertitel 6">
            <a:extLst>
              <a:ext uri="{FF2B5EF4-FFF2-40B4-BE49-F238E27FC236}">
                <a16:creationId xmlns:a16="http://schemas.microsoft.com/office/drawing/2014/main" id="{7F296E45-8CE5-4688-9890-0BA598D90BA5}"/>
              </a:ext>
            </a:extLst>
          </p:cNvPr>
          <p:cNvSpPr>
            <a:spLocks noGrp="1"/>
          </p:cNvSpPr>
          <p:nvPr>
            <p:ph type="subTitle" idx="13"/>
          </p:nvPr>
        </p:nvSpPr>
        <p:spPr bwMode="gray"/>
        <p:txBody>
          <a:bodyPr/>
          <a:lstStyle/>
          <a:p>
            <a:r>
              <a:rPr kumimoji="1" lang="en-US" altLang="de-DE" dirty="0">
                <a:solidFill>
                  <a:schemeClr val="accent1"/>
                </a:solidFill>
              </a:rPr>
              <a:t>Flammable Gases</a:t>
            </a:r>
            <a:endParaRPr lang="de-DE" dirty="0"/>
          </a:p>
        </p:txBody>
      </p:sp>
      <p:sp>
        <p:nvSpPr>
          <p:cNvPr id="20" name="Inhaltsplatzhalter 8">
            <a:extLst>
              <a:ext uri="{FF2B5EF4-FFF2-40B4-BE49-F238E27FC236}">
                <a16:creationId xmlns:a16="http://schemas.microsoft.com/office/drawing/2014/main" id="{47B50245-CF4F-4D97-9B3A-6BDE822E5944}"/>
              </a:ext>
            </a:extLst>
          </p:cNvPr>
          <p:cNvSpPr txBox="1">
            <a:spLocks/>
          </p:cNvSpPr>
          <p:nvPr/>
        </p:nvSpPr>
        <p:spPr bwMode="gray">
          <a:xfrm>
            <a:off x="333264" y="2317640"/>
            <a:ext cx="5605200" cy="3594475"/>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lnSpc>
                <a:spcPct val="90000"/>
              </a:lnSpc>
              <a:spcBef>
                <a:spcPts val="400"/>
              </a:spcBef>
              <a:defRPr/>
            </a:pPr>
            <a:r>
              <a:rPr lang="en-GB" altLang="de-DE" dirty="0"/>
              <a:t>Manufacturer Declaration (</a:t>
            </a:r>
            <a:r>
              <a:rPr lang="en-US" altLang="de-DE" dirty="0"/>
              <a:t>tested and approved by TÜV)</a:t>
            </a:r>
          </a:p>
          <a:p>
            <a:pPr lvl="1">
              <a:lnSpc>
                <a:spcPct val="90000"/>
              </a:lnSpc>
              <a:spcBef>
                <a:spcPts val="400"/>
              </a:spcBef>
              <a:defRPr/>
            </a:pPr>
            <a:r>
              <a:rPr lang="en-US" altLang="de-DE" dirty="0"/>
              <a:t>EL3000 analyzer modules          </a:t>
            </a:r>
          </a:p>
          <a:p>
            <a:pPr marL="360036" lvl="1">
              <a:lnSpc>
                <a:spcPct val="90000"/>
              </a:lnSpc>
              <a:spcBef>
                <a:spcPts val="400"/>
              </a:spcBef>
              <a:buFont typeface="Arial" panose="020B0604020202020204" pitchFamily="34" charset="0"/>
              <a:buChar char="•"/>
              <a:defRPr/>
            </a:pPr>
            <a:r>
              <a:rPr lang="en-US" altLang="de-DE" dirty="0"/>
              <a:t>Uras26</a:t>
            </a:r>
          </a:p>
          <a:p>
            <a:pPr marL="360036" lvl="1">
              <a:lnSpc>
                <a:spcPct val="90000"/>
              </a:lnSpc>
              <a:spcBef>
                <a:spcPts val="400"/>
              </a:spcBef>
              <a:buFont typeface="Arial" panose="020B0604020202020204" pitchFamily="34" charset="0"/>
              <a:buChar char="•"/>
              <a:defRPr/>
            </a:pPr>
            <a:r>
              <a:rPr lang="en-US" altLang="de-DE" dirty="0"/>
              <a:t>Caldos27 </a:t>
            </a:r>
          </a:p>
          <a:p>
            <a:pPr marL="360036" lvl="1">
              <a:lnSpc>
                <a:spcPct val="90000"/>
              </a:lnSpc>
              <a:spcBef>
                <a:spcPts val="400"/>
              </a:spcBef>
              <a:buFont typeface="Arial" panose="020B0604020202020204" pitchFamily="34" charset="0"/>
              <a:buChar char="•"/>
              <a:defRPr/>
            </a:pPr>
            <a:r>
              <a:rPr lang="en-US" altLang="de-DE" dirty="0"/>
              <a:t>Magnos28</a:t>
            </a:r>
          </a:p>
          <a:p>
            <a:pPr lvl="1">
              <a:lnSpc>
                <a:spcPct val="90000"/>
              </a:lnSpc>
              <a:spcBef>
                <a:spcPts val="400"/>
              </a:spcBef>
              <a:defRPr/>
            </a:pPr>
            <a:r>
              <a:rPr lang="en-GB" altLang="de-DE" dirty="0"/>
              <a:t>Stainless steel tubing (</a:t>
            </a:r>
            <a:r>
              <a:rPr lang="en-GB" altLang="de-DE" dirty="0" err="1"/>
              <a:t>Uras</a:t>
            </a:r>
            <a:r>
              <a:rPr lang="en-GB" altLang="de-DE" dirty="0"/>
              <a:t>) and </a:t>
            </a:r>
            <a:br>
              <a:rPr lang="en-GB" altLang="de-DE" dirty="0"/>
            </a:br>
            <a:r>
              <a:rPr lang="en-GB" altLang="de-DE" dirty="0"/>
              <a:t>direct access </a:t>
            </a:r>
            <a:r>
              <a:rPr lang="en-GB" altLang="de-DE" dirty="0" err="1"/>
              <a:t>analyzers</a:t>
            </a:r>
            <a:r>
              <a:rPr lang="en-GB" altLang="de-DE" dirty="0"/>
              <a:t> (</a:t>
            </a:r>
            <a:r>
              <a:rPr lang="en-GB" altLang="de-DE" dirty="0" err="1"/>
              <a:t>Caldos</a:t>
            </a:r>
            <a:r>
              <a:rPr lang="en-GB" altLang="de-DE" dirty="0"/>
              <a:t>/</a:t>
            </a:r>
            <a:r>
              <a:rPr lang="en-GB" altLang="de-DE" dirty="0" err="1"/>
              <a:t>Magnos</a:t>
            </a:r>
            <a:r>
              <a:rPr lang="en-GB" altLang="de-DE" dirty="0"/>
              <a:t>)</a:t>
            </a:r>
          </a:p>
          <a:p>
            <a:pPr lvl="1">
              <a:lnSpc>
                <a:spcPct val="90000"/>
              </a:lnSpc>
              <a:spcBef>
                <a:spcPts val="400"/>
              </a:spcBef>
              <a:defRPr/>
            </a:pPr>
            <a:r>
              <a:rPr lang="en-US" altLang="de-DE" dirty="0"/>
              <a:t>IP20 Housing (EL3020), air convection</a:t>
            </a:r>
          </a:p>
          <a:p>
            <a:pPr lvl="1">
              <a:lnSpc>
                <a:spcPct val="90000"/>
              </a:lnSpc>
              <a:spcBef>
                <a:spcPts val="400"/>
              </a:spcBef>
              <a:defRPr/>
            </a:pPr>
            <a:r>
              <a:rPr lang="en-US" altLang="de-DE" dirty="0"/>
              <a:t>IP65 Housing(EL3040), housing purge necessary</a:t>
            </a:r>
          </a:p>
        </p:txBody>
      </p:sp>
      <p:sp>
        <p:nvSpPr>
          <p:cNvPr id="22" name="Rectangle 21">
            <a:extLst>
              <a:ext uri="{FF2B5EF4-FFF2-40B4-BE49-F238E27FC236}">
                <a16:creationId xmlns:a16="http://schemas.microsoft.com/office/drawing/2014/main" id="{71EE2C16-B3A9-4E65-80D8-66269CCD4FE5}"/>
              </a:ext>
            </a:extLst>
          </p:cNvPr>
          <p:cNvSpPr/>
          <p:nvPr/>
        </p:nvSpPr>
        <p:spPr bwMode="gray">
          <a:xfrm>
            <a:off x="336550" y="1931988"/>
            <a:ext cx="5601017" cy="31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de-DE" sz="1600" b="1" dirty="0">
                <a:solidFill>
                  <a:schemeClr val="bg1">
                    <a:lumMod val="50000"/>
                  </a:schemeClr>
                </a:solidFill>
              </a:rPr>
              <a:t>EL3000</a:t>
            </a:r>
          </a:p>
        </p:txBody>
      </p:sp>
      <p:cxnSp>
        <p:nvCxnSpPr>
          <p:cNvPr id="23" name="Straight Connector 22">
            <a:extLst>
              <a:ext uri="{FF2B5EF4-FFF2-40B4-BE49-F238E27FC236}">
                <a16:creationId xmlns:a16="http://schemas.microsoft.com/office/drawing/2014/main" id="{28BD5CBC-C39E-4D24-B3B0-7876A258D539}"/>
              </a:ext>
            </a:extLst>
          </p:cNvPr>
          <p:cNvCxnSpPr>
            <a:cxnSpLocks/>
          </p:cNvCxnSpPr>
          <p:nvPr/>
        </p:nvCxnSpPr>
        <p:spPr bwMode="gray">
          <a:xfrm flipH="1">
            <a:off x="336551" y="2247134"/>
            <a:ext cx="5601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Date Placeholder 23">
            <a:extLst>
              <a:ext uri="{FF2B5EF4-FFF2-40B4-BE49-F238E27FC236}">
                <a16:creationId xmlns:a16="http://schemas.microsoft.com/office/drawing/2014/main" id="{D77C151C-231D-41EA-8E3B-CFC4325E3B57}"/>
              </a:ext>
            </a:extLst>
          </p:cNvPr>
          <p:cNvSpPr>
            <a:spLocks noGrp="1"/>
          </p:cNvSpPr>
          <p:nvPr>
            <p:ph type="dt" sz="half" idx="14"/>
          </p:nvPr>
        </p:nvSpPr>
        <p:spPr bwMode="gray"/>
        <p:txBody>
          <a:bodyPr/>
          <a:lstStyle/>
          <a:p>
            <a:fld id="{0E3E12A8-68E9-4B13-BE10-746033709476}" type="datetime4">
              <a:rPr lang="en-US" smtClean="0"/>
              <a:t>September 8, 2019</a:t>
            </a:fld>
            <a:endParaRPr lang="en-US" dirty="0"/>
          </a:p>
        </p:txBody>
      </p:sp>
      <p:sp>
        <p:nvSpPr>
          <p:cNvPr id="25" name="Footer Placeholder 24">
            <a:extLst>
              <a:ext uri="{FF2B5EF4-FFF2-40B4-BE49-F238E27FC236}">
                <a16:creationId xmlns:a16="http://schemas.microsoft.com/office/drawing/2014/main" id="{D2AA810C-ADF0-4B7A-8F94-C3258D9B16BF}"/>
              </a:ext>
            </a:extLst>
          </p:cNvPr>
          <p:cNvSpPr>
            <a:spLocks noGrp="1"/>
          </p:cNvSpPr>
          <p:nvPr>
            <p:ph type="ftr" sz="quarter" idx="15"/>
          </p:nvPr>
        </p:nvSpPr>
        <p:spPr bwMode="gray"/>
        <p:txBody>
          <a:bodyPr/>
          <a:lstStyle/>
          <a:p>
            <a:pPr lvl="8"/>
            <a:endParaRPr lang="en-US" dirty="0"/>
          </a:p>
        </p:txBody>
      </p:sp>
      <p:sp>
        <p:nvSpPr>
          <p:cNvPr id="26" name="Slide Number Placeholder 25">
            <a:extLst>
              <a:ext uri="{FF2B5EF4-FFF2-40B4-BE49-F238E27FC236}">
                <a16:creationId xmlns:a16="http://schemas.microsoft.com/office/drawing/2014/main" id="{D3184433-104F-4AE1-981A-5F3E0A8B133F}"/>
              </a:ext>
            </a:extLst>
          </p:cNvPr>
          <p:cNvSpPr>
            <a:spLocks noGrp="1"/>
          </p:cNvSpPr>
          <p:nvPr>
            <p:ph type="sldNum" sz="quarter" idx="16"/>
          </p:nvPr>
        </p:nvSpPr>
        <p:spPr bwMode="gray"/>
        <p:txBody>
          <a:bodyPr/>
          <a:lstStyle/>
          <a:p>
            <a:r>
              <a:rPr lang="en-US"/>
              <a:t>Slide </a:t>
            </a:r>
            <a:fld id="{619F89D8-7AE3-494A-97F3-03D680869632}" type="slidenum">
              <a:rPr lang="en-US" smtClean="0"/>
              <a:pPr/>
              <a:t>111</a:t>
            </a:fld>
            <a:endParaRPr lang="en-US" dirty="0"/>
          </a:p>
        </p:txBody>
      </p:sp>
      <p:grpSp>
        <p:nvGrpSpPr>
          <p:cNvPr id="27" name="Group 26">
            <a:extLst>
              <a:ext uri="{FF2B5EF4-FFF2-40B4-BE49-F238E27FC236}">
                <a16:creationId xmlns:a16="http://schemas.microsoft.com/office/drawing/2014/main" id="{2AFDAD33-9933-4966-BCBB-C9E586E84BAE}"/>
              </a:ext>
            </a:extLst>
          </p:cNvPr>
          <p:cNvGrpSpPr/>
          <p:nvPr/>
        </p:nvGrpSpPr>
        <p:grpSpPr bwMode="gray">
          <a:xfrm>
            <a:off x="9648010" y="2247134"/>
            <a:ext cx="2205254" cy="1209137"/>
            <a:chOff x="4827270" y="3927475"/>
            <a:chExt cx="2537460" cy="1391285"/>
          </a:xfrm>
          <a:solidFill>
            <a:schemeClr val="bg1"/>
          </a:solidFill>
        </p:grpSpPr>
        <p:sp>
          <p:nvSpPr>
            <p:cNvPr id="28" name="Freeform: Shape 27">
              <a:extLst>
                <a:ext uri="{FF2B5EF4-FFF2-40B4-BE49-F238E27FC236}">
                  <a16:creationId xmlns:a16="http://schemas.microsoft.com/office/drawing/2014/main" id="{AD45A0C4-4D3D-47E3-8464-CE1356899273}"/>
                </a:ext>
              </a:extLst>
            </p:cNvPr>
            <p:cNvSpPr/>
            <p:nvPr/>
          </p:nvSpPr>
          <p:spPr bwMode="gray">
            <a:xfrm>
              <a:off x="4827270" y="3927475"/>
              <a:ext cx="2537460" cy="1268726"/>
            </a:xfrm>
            <a:custGeom>
              <a:avLst/>
              <a:gdLst>
                <a:gd name="connsiteX0" fmla="*/ 1465002 w 2930004"/>
                <a:gd name="connsiteY0" fmla="*/ 0 h 1464999"/>
                <a:gd name="connsiteX1" fmla="*/ 2930004 w 2930004"/>
                <a:gd name="connsiteY1" fmla="*/ 1464999 h 1464999"/>
                <a:gd name="connsiteX2" fmla="*/ 0 w 2930004"/>
                <a:gd name="connsiteY2" fmla="*/ 1464999 h 1464999"/>
                <a:gd name="connsiteX3" fmla="*/ 1465002 w 2930004"/>
                <a:gd name="connsiteY3" fmla="*/ 0 h 1464999"/>
              </a:gdLst>
              <a:ahLst/>
              <a:cxnLst>
                <a:cxn ang="0">
                  <a:pos x="connsiteX0" y="connsiteY0"/>
                </a:cxn>
                <a:cxn ang="0">
                  <a:pos x="connsiteX1" y="connsiteY1"/>
                </a:cxn>
                <a:cxn ang="0">
                  <a:pos x="connsiteX2" y="connsiteY2"/>
                </a:cxn>
                <a:cxn ang="0">
                  <a:pos x="connsiteX3" y="connsiteY3"/>
                </a:cxn>
              </a:cxnLst>
              <a:rect l="l" t="t" r="r" b="b"/>
              <a:pathLst>
                <a:path w="2930004" h="1464999">
                  <a:moveTo>
                    <a:pt x="1465002" y="0"/>
                  </a:moveTo>
                  <a:cubicBezTo>
                    <a:pt x="2274100" y="0"/>
                    <a:pt x="2930004" y="655902"/>
                    <a:pt x="2930004" y="1464999"/>
                  </a:cubicBezTo>
                  <a:lnTo>
                    <a:pt x="0" y="1464999"/>
                  </a:lnTo>
                  <a:cubicBezTo>
                    <a:pt x="0" y="655902"/>
                    <a:pt x="655904" y="0"/>
                    <a:pt x="1465002" y="0"/>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720000" numCol="1" spcCol="0" rtlCol="0" fromWordArt="0" anchor="ctr" anchorCtr="0" forceAA="0" compatLnSpc="1">
              <a:prstTxWarp prst="textNoShape">
                <a:avLst/>
              </a:prstTxWarp>
              <a:noAutofit/>
            </a:bodyPr>
            <a:lstStyle/>
            <a:p>
              <a:pPr algn="ctr"/>
              <a:r>
                <a:rPr lang="de-DE" sz="1000" dirty="0">
                  <a:solidFill>
                    <a:schemeClr val="accent2"/>
                  </a:solidFill>
                </a:rPr>
                <a:t>Zone 2</a:t>
              </a:r>
            </a:p>
          </p:txBody>
        </p:sp>
        <p:sp>
          <p:nvSpPr>
            <p:cNvPr id="29" name="Freeform: Shape 28">
              <a:extLst>
                <a:ext uri="{FF2B5EF4-FFF2-40B4-BE49-F238E27FC236}">
                  <a16:creationId xmlns:a16="http://schemas.microsoft.com/office/drawing/2014/main" id="{0E55011A-004E-43D3-9F3C-F0FE034ABE9A}"/>
                </a:ext>
              </a:extLst>
            </p:cNvPr>
            <p:cNvSpPr/>
            <p:nvPr/>
          </p:nvSpPr>
          <p:spPr bwMode="gray">
            <a:xfrm>
              <a:off x="5246115" y="4346319"/>
              <a:ext cx="1699770" cy="849882"/>
            </a:xfrm>
            <a:custGeom>
              <a:avLst/>
              <a:gdLst>
                <a:gd name="connsiteX0" fmla="*/ 1465002 w 2930004"/>
                <a:gd name="connsiteY0" fmla="*/ 0 h 1464999"/>
                <a:gd name="connsiteX1" fmla="*/ 2930004 w 2930004"/>
                <a:gd name="connsiteY1" fmla="*/ 1464999 h 1464999"/>
                <a:gd name="connsiteX2" fmla="*/ 0 w 2930004"/>
                <a:gd name="connsiteY2" fmla="*/ 1464999 h 1464999"/>
                <a:gd name="connsiteX3" fmla="*/ 1465002 w 2930004"/>
                <a:gd name="connsiteY3" fmla="*/ 0 h 1464999"/>
              </a:gdLst>
              <a:ahLst/>
              <a:cxnLst>
                <a:cxn ang="0">
                  <a:pos x="connsiteX0" y="connsiteY0"/>
                </a:cxn>
                <a:cxn ang="0">
                  <a:pos x="connsiteX1" y="connsiteY1"/>
                </a:cxn>
                <a:cxn ang="0">
                  <a:pos x="connsiteX2" y="connsiteY2"/>
                </a:cxn>
                <a:cxn ang="0">
                  <a:pos x="connsiteX3" y="connsiteY3"/>
                </a:cxn>
              </a:cxnLst>
              <a:rect l="l" t="t" r="r" b="b"/>
              <a:pathLst>
                <a:path w="2930004" h="1464999">
                  <a:moveTo>
                    <a:pt x="1465002" y="0"/>
                  </a:moveTo>
                  <a:cubicBezTo>
                    <a:pt x="2274100" y="0"/>
                    <a:pt x="2930004" y="655902"/>
                    <a:pt x="2930004" y="1464999"/>
                  </a:cubicBezTo>
                  <a:lnTo>
                    <a:pt x="0" y="1464999"/>
                  </a:lnTo>
                  <a:cubicBezTo>
                    <a:pt x="0" y="655902"/>
                    <a:pt x="655904" y="0"/>
                    <a:pt x="1465002" y="0"/>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432000" numCol="1" spcCol="0" rtlCol="0" fromWordArt="0" anchor="ctr" anchorCtr="0" forceAA="0" compatLnSpc="1">
              <a:prstTxWarp prst="textNoShape">
                <a:avLst/>
              </a:prstTxWarp>
              <a:noAutofit/>
            </a:bodyPr>
            <a:lstStyle/>
            <a:p>
              <a:pPr algn="ctr"/>
              <a:r>
                <a:rPr lang="de-DE" sz="1000" dirty="0">
                  <a:solidFill>
                    <a:schemeClr val="accent2"/>
                  </a:solidFill>
                </a:rPr>
                <a:t>Zone 1</a:t>
              </a:r>
            </a:p>
          </p:txBody>
        </p:sp>
        <p:sp>
          <p:nvSpPr>
            <p:cNvPr id="30" name="Rectangle 29">
              <a:extLst>
                <a:ext uri="{FF2B5EF4-FFF2-40B4-BE49-F238E27FC236}">
                  <a16:creationId xmlns:a16="http://schemas.microsoft.com/office/drawing/2014/main" id="{D479C13B-A86B-4EDC-ADE7-D72A438594AB}"/>
                </a:ext>
              </a:extLst>
            </p:cNvPr>
            <p:cNvSpPr/>
            <p:nvPr/>
          </p:nvSpPr>
          <p:spPr bwMode="gray">
            <a:xfrm>
              <a:off x="4827270" y="5196201"/>
              <a:ext cx="2537460" cy="122559"/>
            </a:xfrm>
            <a:prstGeom prst="rect">
              <a:avLst/>
            </a:prstGeom>
            <a:grpFill/>
            <a:ln w="19050">
              <a:solidFill>
                <a:schemeClr val="accent2"/>
              </a:solidFill>
              <a:prstDash val="solid"/>
              <a:round/>
              <a:headEnd/>
              <a:tailEnd/>
            </a:ln>
          </p:spPr>
          <p:txBody>
            <a:bodyPr rtlCol="0" anchor="ctr"/>
            <a:lstStyle/>
            <a:p>
              <a:pPr algn="ctr"/>
              <a:endParaRPr lang="de-DE" sz="1000" dirty="0" err="1">
                <a:solidFill>
                  <a:schemeClr val="accent2"/>
                </a:solidFill>
              </a:endParaRPr>
            </a:p>
          </p:txBody>
        </p:sp>
        <p:sp>
          <p:nvSpPr>
            <p:cNvPr id="31" name="Rectangle 30">
              <a:extLst>
                <a:ext uri="{FF2B5EF4-FFF2-40B4-BE49-F238E27FC236}">
                  <a16:creationId xmlns:a16="http://schemas.microsoft.com/office/drawing/2014/main" id="{EFB1F1A7-9BAC-4673-B284-27F75F862DA6}"/>
                </a:ext>
              </a:extLst>
            </p:cNvPr>
            <p:cNvSpPr/>
            <p:nvPr/>
          </p:nvSpPr>
          <p:spPr bwMode="gray">
            <a:xfrm>
              <a:off x="5246115" y="5196201"/>
              <a:ext cx="1699770" cy="122559"/>
            </a:xfrm>
            <a:prstGeom prst="rect">
              <a:avLst/>
            </a:prstGeom>
            <a:grpFill/>
            <a:ln w="19050">
              <a:solidFill>
                <a:schemeClr val="accent2"/>
              </a:solidFill>
              <a:prstDash val="solid"/>
              <a:round/>
              <a:headEnd/>
              <a:tailEnd/>
            </a:ln>
          </p:spPr>
          <p:txBody>
            <a:bodyPr rtlCol="0" anchor="ctr"/>
            <a:lstStyle/>
            <a:p>
              <a:pPr algn="ctr"/>
              <a:endParaRPr lang="de-DE" sz="1000" dirty="0" err="1"/>
            </a:p>
          </p:txBody>
        </p:sp>
        <p:grpSp>
          <p:nvGrpSpPr>
            <p:cNvPr id="32" name="Group 31">
              <a:extLst>
                <a:ext uri="{FF2B5EF4-FFF2-40B4-BE49-F238E27FC236}">
                  <a16:creationId xmlns:a16="http://schemas.microsoft.com/office/drawing/2014/main" id="{F16A44B7-B9DD-4D34-926A-C086C069DA0C}"/>
                </a:ext>
              </a:extLst>
            </p:cNvPr>
            <p:cNvGrpSpPr/>
            <p:nvPr/>
          </p:nvGrpSpPr>
          <p:grpSpPr bwMode="gray">
            <a:xfrm>
              <a:off x="5535274" y="4652774"/>
              <a:ext cx="1124606" cy="543427"/>
              <a:chOff x="5512563" y="4652774"/>
              <a:chExt cx="1170027" cy="543427"/>
            </a:xfrm>
            <a:grpFill/>
          </p:grpSpPr>
          <p:grpSp>
            <p:nvGrpSpPr>
              <p:cNvPr id="33" name="Group 32">
                <a:extLst>
                  <a:ext uri="{FF2B5EF4-FFF2-40B4-BE49-F238E27FC236}">
                    <a16:creationId xmlns:a16="http://schemas.microsoft.com/office/drawing/2014/main" id="{DB02EF13-2E97-4206-A733-7177F2978493}"/>
                  </a:ext>
                </a:extLst>
              </p:cNvPr>
              <p:cNvGrpSpPr/>
              <p:nvPr/>
            </p:nvGrpSpPr>
            <p:grpSpPr bwMode="gray">
              <a:xfrm>
                <a:off x="5512563" y="4652774"/>
                <a:ext cx="1170027" cy="478026"/>
                <a:chOff x="3779250" y="4410034"/>
                <a:chExt cx="954292" cy="334935"/>
              </a:xfrm>
              <a:grpFill/>
            </p:grpSpPr>
            <p:sp>
              <p:nvSpPr>
                <p:cNvPr id="36" name="Freeform: Shape 35">
                  <a:extLst>
                    <a:ext uri="{FF2B5EF4-FFF2-40B4-BE49-F238E27FC236}">
                      <a16:creationId xmlns:a16="http://schemas.microsoft.com/office/drawing/2014/main" id="{B8090E65-5F8E-4037-80D4-FB72D47D6633}"/>
                    </a:ext>
                  </a:extLst>
                </p:cNvPr>
                <p:cNvSpPr/>
                <p:nvPr/>
              </p:nvSpPr>
              <p:spPr bwMode="gray">
                <a:xfrm>
                  <a:off x="3779250" y="4410034"/>
                  <a:ext cx="954292" cy="213849"/>
                </a:xfrm>
                <a:custGeom>
                  <a:avLst/>
                  <a:gdLst>
                    <a:gd name="connsiteX0" fmla="*/ 141232 w 954292"/>
                    <a:gd name="connsiteY0" fmla="*/ 0 h 213849"/>
                    <a:gd name="connsiteX1" fmla="*/ 813060 w 954292"/>
                    <a:gd name="connsiteY1" fmla="*/ 0 h 213849"/>
                    <a:gd name="connsiteX2" fmla="*/ 954292 w 954292"/>
                    <a:gd name="connsiteY2" fmla="*/ 141232 h 213849"/>
                    <a:gd name="connsiteX3" fmla="*/ 954292 w 954292"/>
                    <a:gd name="connsiteY3" fmla="*/ 193703 h 213849"/>
                    <a:gd name="connsiteX4" fmla="*/ 950225 w 954292"/>
                    <a:gd name="connsiteY4" fmla="*/ 213849 h 213849"/>
                    <a:gd name="connsiteX5" fmla="*/ 4067 w 954292"/>
                    <a:gd name="connsiteY5" fmla="*/ 213849 h 213849"/>
                    <a:gd name="connsiteX6" fmla="*/ 0 w 954292"/>
                    <a:gd name="connsiteY6" fmla="*/ 193703 h 213849"/>
                    <a:gd name="connsiteX7" fmla="*/ 0 w 954292"/>
                    <a:gd name="connsiteY7" fmla="*/ 141232 h 213849"/>
                    <a:gd name="connsiteX8" fmla="*/ 141232 w 954292"/>
                    <a:gd name="connsiteY8" fmla="*/ 0 h 21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292" h="213849">
                      <a:moveTo>
                        <a:pt x="141232" y="0"/>
                      </a:moveTo>
                      <a:lnTo>
                        <a:pt x="813060" y="0"/>
                      </a:lnTo>
                      <a:cubicBezTo>
                        <a:pt x="891060" y="0"/>
                        <a:pt x="954292" y="63232"/>
                        <a:pt x="954292" y="141232"/>
                      </a:cubicBezTo>
                      <a:lnTo>
                        <a:pt x="954292" y="193703"/>
                      </a:lnTo>
                      <a:lnTo>
                        <a:pt x="950225" y="213849"/>
                      </a:lnTo>
                      <a:lnTo>
                        <a:pt x="4067" y="213849"/>
                      </a:lnTo>
                      <a:lnTo>
                        <a:pt x="0" y="193703"/>
                      </a:lnTo>
                      <a:lnTo>
                        <a:pt x="0" y="141232"/>
                      </a:lnTo>
                      <a:cubicBezTo>
                        <a:pt x="0" y="63232"/>
                        <a:pt x="63232" y="0"/>
                        <a:pt x="141232" y="0"/>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a:solidFill>
                        <a:schemeClr val="accent2"/>
                      </a:solidFill>
                    </a:rPr>
                    <a:t>Zone 0</a:t>
                  </a:r>
                </a:p>
              </p:txBody>
            </p:sp>
            <p:sp>
              <p:nvSpPr>
                <p:cNvPr id="37" name="Freeform: Shape 36">
                  <a:extLst>
                    <a:ext uri="{FF2B5EF4-FFF2-40B4-BE49-F238E27FC236}">
                      <a16:creationId xmlns:a16="http://schemas.microsoft.com/office/drawing/2014/main" id="{337F990F-F734-49D3-9E70-F606290C1689}"/>
                    </a:ext>
                  </a:extLst>
                </p:cNvPr>
                <p:cNvSpPr/>
                <p:nvPr/>
              </p:nvSpPr>
              <p:spPr bwMode="gray">
                <a:xfrm>
                  <a:off x="3783316" y="4623883"/>
                  <a:ext cx="946157" cy="121086"/>
                </a:xfrm>
                <a:custGeom>
                  <a:avLst/>
                  <a:gdLst>
                    <a:gd name="connsiteX0" fmla="*/ 0 w 946157"/>
                    <a:gd name="connsiteY0" fmla="*/ 0 h 121086"/>
                    <a:gd name="connsiteX1" fmla="*/ 946157 w 946157"/>
                    <a:gd name="connsiteY1" fmla="*/ 0 h 121086"/>
                    <a:gd name="connsiteX2" fmla="*/ 939125 w 946157"/>
                    <a:gd name="connsiteY2" fmla="*/ 34828 h 121086"/>
                    <a:gd name="connsiteX3" fmla="*/ 808992 w 946157"/>
                    <a:gd name="connsiteY3" fmla="*/ 121086 h 121086"/>
                    <a:gd name="connsiteX4" fmla="*/ 137164 w 946157"/>
                    <a:gd name="connsiteY4" fmla="*/ 121086 h 121086"/>
                    <a:gd name="connsiteX5" fmla="*/ 7031 w 946157"/>
                    <a:gd name="connsiteY5" fmla="*/ 34828 h 12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157" h="121086">
                      <a:moveTo>
                        <a:pt x="0" y="0"/>
                      </a:moveTo>
                      <a:lnTo>
                        <a:pt x="946157" y="0"/>
                      </a:lnTo>
                      <a:lnTo>
                        <a:pt x="939125" y="34828"/>
                      </a:lnTo>
                      <a:cubicBezTo>
                        <a:pt x="917685" y="85518"/>
                        <a:pt x="867492" y="121086"/>
                        <a:pt x="808992" y="121086"/>
                      </a:cubicBezTo>
                      <a:lnTo>
                        <a:pt x="137164" y="121086"/>
                      </a:lnTo>
                      <a:cubicBezTo>
                        <a:pt x="78664" y="121086"/>
                        <a:pt x="28471" y="85518"/>
                        <a:pt x="7031" y="34828"/>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000" dirty="0">
                    <a:solidFill>
                      <a:schemeClr val="accent2"/>
                    </a:solidFill>
                  </a:endParaRPr>
                </a:p>
              </p:txBody>
            </p:sp>
          </p:grpSp>
          <p:cxnSp>
            <p:nvCxnSpPr>
              <p:cNvPr id="34" name="Straight Connector 33">
                <a:extLst>
                  <a:ext uri="{FF2B5EF4-FFF2-40B4-BE49-F238E27FC236}">
                    <a16:creationId xmlns:a16="http://schemas.microsoft.com/office/drawing/2014/main" id="{DAD32B9E-29CB-4F73-B700-3460C8DC5327}"/>
                  </a:ext>
                </a:extLst>
              </p:cNvPr>
              <p:cNvCxnSpPr>
                <a:cxnSpLocks/>
                <a:stCxn id="37" idx="4"/>
              </p:cNvCxnSpPr>
              <p:nvPr/>
            </p:nvCxnSpPr>
            <p:spPr bwMode="gray">
              <a:xfrm flipH="1">
                <a:off x="5685554" y="5130800"/>
                <a:ext cx="166" cy="65401"/>
              </a:xfrm>
              <a:prstGeom prst="line">
                <a:avLst/>
              </a:prstGeom>
              <a:grpFill/>
              <a:ln w="19050">
                <a:solidFill>
                  <a:schemeClr val="accent2"/>
                </a:solidFill>
                <a:prstDash val="solid"/>
                <a:round/>
                <a:headEnd/>
                <a:tailEnd/>
              </a:ln>
            </p:spPr>
          </p:cxnSp>
          <p:cxnSp>
            <p:nvCxnSpPr>
              <p:cNvPr id="35" name="Straight Connector 34">
                <a:extLst>
                  <a:ext uri="{FF2B5EF4-FFF2-40B4-BE49-F238E27FC236}">
                    <a16:creationId xmlns:a16="http://schemas.microsoft.com/office/drawing/2014/main" id="{781A7523-ABB3-4502-BF2F-737E31DA0F0D}"/>
                  </a:ext>
                </a:extLst>
              </p:cNvPr>
              <p:cNvCxnSpPr>
                <a:cxnSpLocks/>
                <a:stCxn id="37" idx="3"/>
              </p:cNvCxnSpPr>
              <p:nvPr/>
            </p:nvCxnSpPr>
            <p:spPr bwMode="gray">
              <a:xfrm>
                <a:off x="6509427" y="5130800"/>
                <a:ext cx="0" cy="65401"/>
              </a:xfrm>
              <a:prstGeom prst="line">
                <a:avLst/>
              </a:prstGeom>
              <a:grpFill/>
              <a:ln w="19050">
                <a:solidFill>
                  <a:schemeClr val="accent2"/>
                </a:solidFill>
                <a:prstDash val="solid"/>
                <a:round/>
                <a:headEnd/>
                <a:tailEnd/>
              </a:ln>
            </p:spPr>
          </p:cxnSp>
        </p:grpSp>
      </p:grpSp>
      <p:grpSp>
        <p:nvGrpSpPr>
          <p:cNvPr id="41" name="Group 40">
            <a:extLst>
              <a:ext uri="{FF2B5EF4-FFF2-40B4-BE49-F238E27FC236}">
                <a16:creationId xmlns:a16="http://schemas.microsoft.com/office/drawing/2014/main" id="{569E981A-FD63-43AD-A1F7-73FDFA504F80}"/>
              </a:ext>
            </a:extLst>
          </p:cNvPr>
          <p:cNvGrpSpPr/>
          <p:nvPr/>
        </p:nvGrpSpPr>
        <p:grpSpPr bwMode="gray">
          <a:xfrm>
            <a:off x="9648010" y="2116128"/>
            <a:ext cx="2205254" cy="1522696"/>
            <a:chOff x="9648010" y="2116128"/>
            <a:chExt cx="2205254" cy="1522696"/>
          </a:xfrm>
        </p:grpSpPr>
        <p:cxnSp>
          <p:nvCxnSpPr>
            <p:cNvPr id="39" name="Straight Connector 38">
              <a:extLst>
                <a:ext uri="{FF2B5EF4-FFF2-40B4-BE49-F238E27FC236}">
                  <a16:creationId xmlns:a16="http://schemas.microsoft.com/office/drawing/2014/main" id="{50003F60-429F-47B7-ADB4-FA43F9EFF92D}"/>
                </a:ext>
              </a:extLst>
            </p:cNvPr>
            <p:cNvCxnSpPr/>
            <p:nvPr/>
          </p:nvCxnSpPr>
          <p:spPr bwMode="gray">
            <a:xfrm flipH="1">
              <a:off x="9648010" y="2116128"/>
              <a:ext cx="2205253" cy="15226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1AADF1E-15CC-4283-8FCE-0EE037D2A6E6}"/>
                </a:ext>
              </a:extLst>
            </p:cNvPr>
            <p:cNvCxnSpPr>
              <a:cxnSpLocks/>
            </p:cNvCxnSpPr>
            <p:nvPr/>
          </p:nvCxnSpPr>
          <p:spPr bwMode="gray">
            <a:xfrm>
              <a:off x="9648011" y="2116128"/>
              <a:ext cx="2205253" cy="15226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43" name="Picture 15" descr="3000kombi_3dr">
            <a:extLst>
              <a:ext uri="{FF2B5EF4-FFF2-40B4-BE49-F238E27FC236}">
                <a16:creationId xmlns:a16="http://schemas.microsoft.com/office/drawing/2014/main" id="{9DB7A004-5D6F-427C-BADB-27081E2952A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6159028" y="1975495"/>
            <a:ext cx="3453007" cy="320708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4" name="Straight Connector 43">
            <a:extLst>
              <a:ext uri="{FF2B5EF4-FFF2-40B4-BE49-F238E27FC236}">
                <a16:creationId xmlns:a16="http://schemas.microsoft.com/office/drawing/2014/main" id="{BE13A215-B255-4C86-8EEF-7656BF5ECE28}"/>
              </a:ext>
            </a:extLst>
          </p:cNvPr>
          <p:cNvCxnSpPr>
            <a:cxnSpLocks/>
          </p:cNvCxnSpPr>
          <p:nvPr/>
        </p:nvCxnSpPr>
        <p:spPr bwMode="gray">
          <a:xfrm>
            <a:off x="9662218" y="3686812"/>
            <a:ext cx="220525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15C7C62A-AE5D-41CE-8B02-940224617202}"/>
              </a:ext>
            </a:extLst>
          </p:cNvPr>
          <p:cNvGrpSpPr/>
          <p:nvPr/>
        </p:nvGrpSpPr>
        <p:grpSpPr bwMode="gray">
          <a:xfrm>
            <a:off x="10392866" y="3981057"/>
            <a:ext cx="743958" cy="643249"/>
            <a:chOff x="10435243" y="3828862"/>
            <a:chExt cx="743958" cy="643249"/>
          </a:xfrm>
        </p:grpSpPr>
        <p:grpSp>
          <p:nvGrpSpPr>
            <p:cNvPr id="46" name="Group 45">
              <a:extLst>
                <a:ext uri="{FF2B5EF4-FFF2-40B4-BE49-F238E27FC236}">
                  <a16:creationId xmlns:a16="http://schemas.microsoft.com/office/drawing/2014/main" id="{6C2BB4E0-0B6F-4611-928D-AE3063E56C28}"/>
                </a:ext>
              </a:extLst>
            </p:cNvPr>
            <p:cNvGrpSpPr/>
            <p:nvPr/>
          </p:nvGrpSpPr>
          <p:grpSpPr bwMode="gray">
            <a:xfrm>
              <a:off x="10599656" y="3828862"/>
              <a:ext cx="415133" cy="194710"/>
              <a:chOff x="10515916" y="3811924"/>
              <a:chExt cx="487364" cy="228587"/>
            </a:xfrm>
          </p:grpSpPr>
          <p:grpSp>
            <p:nvGrpSpPr>
              <p:cNvPr id="48" name="Group 47">
                <a:extLst>
                  <a:ext uri="{FF2B5EF4-FFF2-40B4-BE49-F238E27FC236}">
                    <a16:creationId xmlns:a16="http://schemas.microsoft.com/office/drawing/2014/main" id="{F584A9AC-DA9C-4AB3-A8C0-B36AA98EAC35}"/>
                  </a:ext>
                </a:extLst>
              </p:cNvPr>
              <p:cNvGrpSpPr/>
              <p:nvPr/>
            </p:nvGrpSpPr>
            <p:grpSpPr bwMode="gray">
              <a:xfrm>
                <a:off x="10515916" y="3811924"/>
                <a:ext cx="228586" cy="228587"/>
                <a:chOff x="10833472" y="5375716"/>
                <a:chExt cx="212874" cy="212875"/>
              </a:xfrm>
            </p:grpSpPr>
            <p:sp>
              <p:nvSpPr>
                <p:cNvPr id="53" name="Freeform 90">
                  <a:extLst>
                    <a:ext uri="{FF2B5EF4-FFF2-40B4-BE49-F238E27FC236}">
                      <a16:creationId xmlns:a16="http://schemas.microsoft.com/office/drawing/2014/main" id="{C3BD87B5-08B5-4AA7-8E9F-33BB0DFFB858}"/>
                    </a:ext>
                  </a:extLst>
                </p:cNvPr>
                <p:cNvSpPr>
                  <a:spLocks/>
                </p:cNvSpPr>
                <p:nvPr/>
              </p:nvSpPr>
              <p:spPr bwMode="gray">
                <a:xfrm rot="2700000">
                  <a:off x="10920767" y="5463011"/>
                  <a:ext cx="38284" cy="38285"/>
                </a:xfrm>
                <a:prstGeom prst="ellips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54" name="Freeform 91">
                  <a:extLst>
                    <a:ext uri="{FF2B5EF4-FFF2-40B4-BE49-F238E27FC236}">
                      <a16:creationId xmlns:a16="http://schemas.microsoft.com/office/drawing/2014/main" id="{F0EEF3E9-3D44-4DFB-9631-1553C5DF062F}"/>
                    </a:ext>
                  </a:extLst>
                </p:cNvPr>
                <p:cNvSpPr>
                  <a:spLocks/>
                </p:cNvSpPr>
                <p:nvPr/>
              </p:nvSpPr>
              <p:spPr bwMode="gray">
                <a:xfrm rot="2700000">
                  <a:off x="10895244" y="5437488"/>
                  <a:ext cx="89330" cy="89330"/>
                </a:xfrm>
                <a:prstGeom prst="ellips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55" name="Freeform: Shape 54">
                  <a:extLst>
                    <a:ext uri="{FF2B5EF4-FFF2-40B4-BE49-F238E27FC236}">
                      <a16:creationId xmlns:a16="http://schemas.microsoft.com/office/drawing/2014/main" id="{B045D4D5-E845-4FE5-A703-DCA88A9C40D5}"/>
                    </a:ext>
                  </a:extLst>
                </p:cNvPr>
                <p:cNvSpPr/>
                <p:nvPr/>
              </p:nvSpPr>
              <p:spPr bwMode="gray">
                <a:xfrm rot="2700000">
                  <a:off x="10977440" y="5375716"/>
                  <a:ext cx="49496" cy="88317"/>
                </a:xfrm>
                <a:custGeom>
                  <a:avLst/>
                  <a:gdLst>
                    <a:gd name="connsiteX0" fmla="*/ 312891 w 625781"/>
                    <a:gd name="connsiteY0" fmla="*/ 0 h 1116609"/>
                    <a:gd name="connsiteX1" fmla="*/ 592943 w 625781"/>
                    <a:gd name="connsiteY1" fmla="*/ 199547 h 1116609"/>
                    <a:gd name="connsiteX2" fmla="*/ 608688 w 625781"/>
                    <a:gd name="connsiteY2" fmla="*/ 254073 h 1116609"/>
                    <a:gd name="connsiteX3" fmla="*/ 610717 w 625781"/>
                    <a:gd name="connsiteY3" fmla="*/ 259700 h 1116609"/>
                    <a:gd name="connsiteX4" fmla="*/ 601128 w 625781"/>
                    <a:gd name="connsiteY4" fmla="*/ 573182 h 1116609"/>
                    <a:gd name="connsiteX5" fmla="*/ 454113 w 625781"/>
                    <a:gd name="connsiteY5" fmla="*/ 995588 h 1116609"/>
                    <a:gd name="connsiteX6" fmla="*/ 406296 w 625781"/>
                    <a:gd name="connsiteY6" fmla="*/ 1116560 h 1116609"/>
                    <a:gd name="connsiteX7" fmla="*/ 312890 w 625781"/>
                    <a:gd name="connsiteY7" fmla="*/ 1107144 h 1116609"/>
                    <a:gd name="connsiteX8" fmla="*/ 219001 w 625781"/>
                    <a:gd name="connsiteY8" fmla="*/ 1116609 h 1116609"/>
                    <a:gd name="connsiteX9" fmla="*/ 168436 w 625781"/>
                    <a:gd name="connsiteY9" fmla="*/ 989547 h 1116609"/>
                    <a:gd name="connsiteX10" fmla="*/ 24653 w 625781"/>
                    <a:gd name="connsiteY10" fmla="*/ 573182 h 1116609"/>
                    <a:gd name="connsiteX11" fmla="*/ 15064 w 625781"/>
                    <a:gd name="connsiteY11" fmla="*/ 259700 h 1116609"/>
                    <a:gd name="connsiteX12" fmla="*/ 17095 w 625781"/>
                    <a:gd name="connsiteY12" fmla="*/ 254066 h 1116609"/>
                    <a:gd name="connsiteX13" fmla="*/ 32839 w 625781"/>
                    <a:gd name="connsiteY13" fmla="*/ 199547 h 1116609"/>
                    <a:gd name="connsiteX14" fmla="*/ 312891 w 625781"/>
                    <a:gd name="connsiteY14" fmla="*/ 0 h 111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781" h="1116609">
                      <a:moveTo>
                        <a:pt x="312891" y="0"/>
                      </a:moveTo>
                      <a:cubicBezTo>
                        <a:pt x="438786" y="0"/>
                        <a:pt x="546802" y="82282"/>
                        <a:pt x="592943" y="199547"/>
                      </a:cubicBezTo>
                      <a:lnTo>
                        <a:pt x="608688" y="254073"/>
                      </a:lnTo>
                      <a:lnTo>
                        <a:pt x="610717" y="259700"/>
                      </a:lnTo>
                      <a:cubicBezTo>
                        <a:pt x="634090" y="348834"/>
                        <a:pt x="629787" y="456801"/>
                        <a:pt x="601128" y="573182"/>
                      </a:cubicBezTo>
                      <a:cubicBezTo>
                        <a:pt x="565967" y="701371"/>
                        <a:pt x="508517" y="856074"/>
                        <a:pt x="454113" y="995588"/>
                      </a:cubicBezTo>
                      <a:lnTo>
                        <a:pt x="406296" y="1116560"/>
                      </a:lnTo>
                      <a:lnTo>
                        <a:pt x="312890" y="1107144"/>
                      </a:lnTo>
                      <a:lnTo>
                        <a:pt x="219001" y="1116609"/>
                      </a:lnTo>
                      <a:lnTo>
                        <a:pt x="168436" y="989547"/>
                      </a:lnTo>
                      <a:cubicBezTo>
                        <a:pt x="112954" y="848019"/>
                        <a:pt x="55504" y="693317"/>
                        <a:pt x="24653" y="573182"/>
                      </a:cubicBezTo>
                      <a:cubicBezTo>
                        <a:pt x="-4006" y="456801"/>
                        <a:pt x="-8309" y="348834"/>
                        <a:pt x="15064" y="259700"/>
                      </a:cubicBezTo>
                      <a:lnTo>
                        <a:pt x="17095" y="254066"/>
                      </a:lnTo>
                      <a:lnTo>
                        <a:pt x="32839" y="199547"/>
                      </a:lnTo>
                      <a:cubicBezTo>
                        <a:pt x="78979" y="82282"/>
                        <a:pt x="186996" y="0"/>
                        <a:pt x="312891" y="0"/>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56" name="Freeform: Shape 55">
                  <a:extLst>
                    <a:ext uri="{FF2B5EF4-FFF2-40B4-BE49-F238E27FC236}">
                      <a16:creationId xmlns:a16="http://schemas.microsoft.com/office/drawing/2014/main" id="{2A133BB5-8110-4C00-A524-51D444B94C37}"/>
                    </a:ext>
                  </a:extLst>
                </p:cNvPr>
                <p:cNvSpPr/>
                <p:nvPr/>
              </p:nvSpPr>
              <p:spPr bwMode="gray">
                <a:xfrm rot="13500000">
                  <a:off x="10852883" y="5500273"/>
                  <a:ext cx="49496" cy="88318"/>
                </a:xfrm>
                <a:custGeom>
                  <a:avLst/>
                  <a:gdLst>
                    <a:gd name="connsiteX0" fmla="*/ 219001 w 625781"/>
                    <a:gd name="connsiteY0" fmla="*/ 1116610 h 1116610"/>
                    <a:gd name="connsiteX1" fmla="*/ 168435 w 625781"/>
                    <a:gd name="connsiteY1" fmla="*/ 989547 h 1116610"/>
                    <a:gd name="connsiteX2" fmla="*/ 24653 w 625781"/>
                    <a:gd name="connsiteY2" fmla="*/ 573182 h 1116610"/>
                    <a:gd name="connsiteX3" fmla="*/ 15064 w 625781"/>
                    <a:gd name="connsiteY3" fmla="*/ 259700 h 1116610"/>
                    <a:gd name="connsiteX4" fmla="*/ 17095 w 625781"/>
                    <a:gd name="connsiteY4" fmla="*/ 254066 h 1116610"/>
                    <a:gd name="connsiteX5" fmla="*/ 32839 w 625781"/>
                    <a:gd name="connsiteY5" fmla="*/ 199547 h 1116610"/>
                    <a:gd name="connsiteX6" fmla="*/ 312891 w 625781"/>
                    <a:gd name="connsiteY6" fmla="*/ 0 h 1116610"/>
                    <a:gd name="connsiteX7" fmla="*/ 592943 w 625781"/>
                    <a:gd name="connsiteY7" fmla="*/ 199547 h 1116610"/>
                    <a:gd name="connsiteX8" fmla="*/ 608688 w 625781"/>
                    <a:gd name="connsiteY8" fmla="*/ 254073 h 1116610"/>
                    <a:gd name="connsiteX9" fmla="*/ 610717 w 625781"/>
                    <a:gd name="connsiteY9" fmla="*/ 259700 h 1116610"/>
                    <a:gd name="connsiteX10" fmla="*/ 601128 w 625781"/>
                    <a:gd name="connsiteY10" fmla="*/ 573182 h 1116610"/>
                    <a:gd name="connsiteX11" fmla="*/ 454113 w 625781"/>
                    <a:gd name="connsiteY11" fmla="*/ 995588 h 1116610"/>
                    <a:gd name="connsiteX12" fmla="*/ 406296 w 625781"/>
                    <a:gd name="connsiteY12" fmla="*/ 1116561 h 1116610"/>
                    <a:gd name="connsiteX13" fmla="*/ 312891 w 625781"/>
                    <a:gd name="connsiteY13" fmla="*/ 1107145 h 111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5781" h="1116610">
                      <a:moveTo>
                        <a:pt x="219001" y="1116610"/>
                      </a:moveTo>
                      <a:lnTo>
                        <a:pt x="168435" y="989547"/>
                      </a:lnTo>
                      <a:cubicBezTo>
                        <a:pt x="112954" y="848019"/>
                        <a:pt x="55504" y="693317"/>
                        <a:pt x="24653" y="573182"/>
                      </a:cubicBezTo>
                      <a:cubicBezTo>
                        <a:pt x="-4006" y="456801"/>
                        <a:pt x="-8309" y="348834"/>
                        <a:pt x="15064" y="259700"/>
                      </a:cubicBezTo>
                      <a:lnTo>
                        <a:pt x="17095" y="254066"/>
                      </a:lnTo>
                      <a:lnTo>
                        <a:pt x="32839" y="199547"/>
                      </a:lnTo>
                      <a:cubicBezTo>
                        <a:pt x="78979" y="82282"/>
                        <a:pt x="186996" y="0"/>
                        <a:pt x="312891" y="0"/>
                      </a:cubicBezTo>
                      <a:cubicBezTo>
                        <a:pt x="438786" y="0"/>
                        <a:pt x="546802" y="82282"/>
                        <a:pt x="592943" y="199547"/>
                      </a:cubicBezTo>
                      <a:lnTo>
                        <a:pt x="608688" y="254073"/>
                      </a:lnTo>
                      <a:lnTo>
                        <a:pt x="610717" y="259700"/>
                      </a:lnTo>
                      <a:cubicBezTo>
                        <a:pt x="634090" y="348834"/>
                        <a:pt x="629787" y="456801"/>
                        <a:pt x="601128" y="573182"/>
                      </a:cubicBezTo>
                      <a:cubicBezTo>
                        <a:pt x="565967" y="701371"/>
                        <a:pt x="508518" y="856074"/>
                        <a:pt x="454113" y="995588"/>
                      </a:cubicBezTo>
                      <a:lnTo>
                        <a:pt x="406296" y="1116561"/>
                      </a:lnTo>
                      <a:lnTo>
                        <a:pt x="312891" y="1107145"/>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57" name="Freeform: Shape 56">
                  <a:extLst>
                    <a:ext uri="{FF2B5EF4-FFF2-40B4-BE49-F238E27FC236}">
                      <a16:creationId xmlns:a16="http://schemas.microsoft.com/office/drawing/2014/main" id="{A00958EF-3F52-4B1A-937C-139204560B18}"/>
                    </a:ext>
                  </a:extLst>
                </p:cNvPr>
                <p:cNvSpPr/>
                <p:nvPr/>
              </p:nvSpPr>
              <p:spPr bwMode="gray">
                <a:xfrm rot="8100000">
                  <a:off x="10977440" y="5500273"/>
                  <a:ext cx="49496" cy="88318"/>
                </a:xfrm>
                <a:custGeom>
                  <a:avLst/>
                  <a:gdLst>
                    <a:gd name="connsiteX0" fmla="*/ 347 w 625781"/>
                    <a:gd name="connsiteY0" fmla="*/ 406223 h 1116610"/>
                    <a:gd name="connsiteX1" fmla="*/ 15064 w 625781"/>
                    <a:gd name="connsiteY1" fmla="*/ 259699 h 1116610"/>
                    <a:gd name="connsiteX2" fmla="*/ 17095 w 625781"/>
                    <a:gd name="connsiteY2" fmla="*/ 254066 h 1116610"/>
                    <a:gd name="connsiteX3" fmla="*/ 32839 w 625781"/>
                    <a:gd name="connsiteY3" fmla="*/ 199547 h 1116610"/>
                    <a:gd name="connsiteX4" fmla="*/ 312891 w 625781"/>
                    <a:gd name="connsiteY4" fmla="*/ 0 h 1116610"/>
                    <a:gd name="connsiteX5" fmla="*/ 592943 w 625781"/>
                    <a:gd name="connsiteY5" fmla="*/ 199547 h 1116610"/>
                    <a:gd name="connsiteX6" fmla="*/ 608688 w 625781"/>
                    <a:gd name="connsiteY6" fmla="*/ 254073 h 1116610"/>
                    <a:gd name="connsiteX7" fmla="*/ 610717 w 625781"/>
                    <a:gd name="connsiteY7" fmla="*/ 259699 h 1116610"/>
                    <a:gd name="connsiteX8" fmla="*/ 601128 w 625781"/>
                    <a:gd name="connsiteY8" fmla="*/ 573182 h 1116610"/>
                    <a:gd name="connsiteX9" fmla="*/ 454113 w 625781"/>
                    <a:gd name="connsiteY9" fmla="*/ 995588 h 1116610"/>
                    <a:gd name="connsiteX10" fmla="*/ 406296 w 625781"/>
                    <a:gd name="connsiteY10" fmla="*/ 1116561 h 1116610"/>
                    <a:gd name="connsiteX11" fmla="*/ 312890 w 625781"/>
                    <a:gd name="connsiteY11" fmla="*/ 1107145 h 1116610"/>
                    <a:gd name="connsiteX12" fmla="*/ 219001 w 625781"/>
                    <a:gd name="connsiteY12" fmla="*/ 1116610 h 1116610"/>
                    <a:gd name="connsiteX13" fmla="*/ 168436 w 625781"/>
                    <a:gd name="connsiteY13" fmla="*/ 989547 h 1116610"/>
                    <a:gd name="connsiteX14" fmla="*/ 24653 w 625781"/>
                    <a:gd name="connsiteY14" fmla="*/ 573182 h 1116610"/>
                    <a:gd name="connsiteX15" fmla="*/ 347 w 625781"/>
                    <a:gd name="connsiteY15" fmla="*/ 406223 h 111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781" h="1116610">
                      <a:moveTo>
                        <a:pt x="347" y="406223"/>
                      </a:moveTo>
                      <a:cubicBezTo>
                        <a:pt x="-1390" y="353542"/>
                        <a:pt x="3378" y="304266"/>
                        <a:pt x="15064" y="259699"/>
                      </a:cubicBezTo>
                      <a:lnTo>
                        <a:pt x="17095" y="254066"/>
                      </a:lnTo>
                      <a:lnTo>
                        <a:pt x="32839" y="199547"/>
                      </a:lnTo>
                      <a:cubicBezTo>
                        <a:pt x="78979" y="82282"/>
                        <a:pt x="186996" y="0"/>
                        <a:pt x="312891" y="0"/>
                      </a:cubicBezTo>
                      <a:cubicBezTo>
                        <a:pt x="438786" y="0"/>
                        <a:pt x="546802" y="82282"/>
                        <a:pt x="592943" y="199547"/>
                      </a:cubicBezTo>
                      <a:lnTo>
                        <a:pt x="608688" y="254073"/>
                      </a:lnTo>
                      <a:lnTo>
                        <a:pt x="610717" y="259699"/>
                      </a:lnTo>
                      <a:cubicBezTo>
                        <a:pt x="634090" y="348834"/>
                        <a:pt x="629787" y="456801"/>
                        <a:pt x="601128" y="573182"/>
                      </a:cubicBezTo>
                      <a:cubicBezTo>
                        <a:pt x="565967" y="701371"/>
                        <a:pt x="508517" y="856074"/>
                        <a:pt x="454113" y="995588"/>
                      </a:cubicBezTo>
                      <a:lnTo>
                        <a:pt x="406296" y="1116561"/>
                      </a:lnTo>
                      <a:lnTo>
                        <a:pt x="312890" y="1107145"/>
                      </a:lnTo>
                      <a:lnTo>
                        <a:pt x="219001" y="1116610"/>
                      </a:lnTo>
                      <a:lnTo>
                        <a:pt x="168436" y="989547"/>
                      </a:lnTo>
                      <a:cubicBezTo>
                        <a:pt x="112954" y="848019"/>
                        <a:pt x="55504" y="693317"/>
                        <a:pt x="24653" y="573182"/>
                      </a:cubicBezTo>
                      <a:cubicBezTo>
                        <a:pt x="10324" y="514992"/>
                        <a:pt x="2083" y="458904"/>
                        <a:pt x="347" y="406223"/>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58" name="Freeform: Shape 57">
                  <a:extLst>
                    <a:ext uri="{FF2B5EF4-FFF2-40B4-BE49-F238E27FC236}">
                      <a16:creationId xmlns:a16="http://schemas.microsoft.com/office/drawing/2014/main" id="{1379E39D-3FE2-474A-9FFB-84E21662C884}"/>
                    </a:ext>
                  </a:extLst>
                </p:cNvPr>
                <p:cNvSpPr/>
                <p:nvPr/>
              </p:nvSpPr>
              <p:spPr bwMode="gray">
                <a:xfrm rot="18900000">
                  <a:off x="10852883" y="5375716"/>
                  <a:ext cx="49496" cy="88317"/>
                </a:xfrm>
                <a:custGeom>
                  <a:avLst/>
                  <a:gdLst>
                    <a:gd name="connsiteX0" fmla="*/ 625434 w 625780"/>
                    <a:gd name="connsiteY0" fmla="*/ 406223 h 1116609"/>
                    <a:gd name="connsiteX1" fmla="*/ 601128 w 625780"/>
                    <a:gd name="connsiteY1" fmla="*/ 573182 h 1116609"/>
                    <a:gd name="connsiteX2" fmla="*/ 454113 w 625780"/>
                    <a:gd name="connsiteY2" fmla="*/ 995588 h 1116609"/>
                    <a:gd name="connsiteX3" fmla="*/ 406296 w 625780"/>
                    <a:gd name="connsiteY3" fmla="*/ 1116560 h 1116609"/>
                    <a:gd name="connsiteX4" fmla="*/ 312891 w 625780"/>
                    <a:gd name="connsiteY4" fmla="*/ 1107144 h 1116609"/>
                    <a:gd name="connsiteX5" fmla="*/ 219001 w 625780"/>
                    <a:gd name="connsiteY5" fmla="*/ 1116609 h 1116609"/>
                    <a:gd name="connsiteX6" fmla="*/ 168436 w 625780"/>
                    <a:gd name="connsiteY6" fmla="*/ 989547 h 1116609"/>
                    <a:gd name="connsiteX7" fmla="*/ 24653 w 625780"/>
                    <a:gd name="connsiteY7" fmla="*/ 573182 h 1116609"/>
                    <a:gd name="connsiteX8" fmla="*/ 15064 w 625780"/>
                    <a:gd name="connsiteY8" fmla="*/ 259699 h 1116609"/>
                    <a:gd name="connsiteX9" fmla="*/ 17095 w 625780"/>
                    <a:gd name="connsiteY9" fmla="*/ 254066 h 1116609"/>
                    <a:gd name="connsiteX10" fmla="*/ 32839 w 625780"/>
                    <a:gd name="connsiteY10" fmla="*/ 199547 h 1116609"/>
                    <a:gd name="connsiteX11" fmla="*/ 312891 w 625780"/>
                    <a:gd name="connsiteY11" fmla="*/ 0 h 1116609"/>
                    <a:gd name="connsiteX12" fmla="*/ 592943 w 625780"/>
                    <a:gd name="connsiteY12" fmla="*/ 199547 h 1116609"/>
                    <a:gd name="connsiteX13" fmla="*/ 608688 w 625780"/>
                    <a:gd name="connsiteY13" fmla="*/ 254073 h 1116609"/>
                    <a:gd name="connsiteX14" fmla="*/ 610717 w 625780"/>
                    <a:gd name="connsiteY14" fmla="*/ 259699 h 1116609"/>
                    <a:gd name="connsiteX15" fmla="*/ 625434 w 625780"/>
                    <a:gd name="connsiteY15" fmla="*/ 406223 h 111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780" h="1116609">
                      <a:moveTo>
                        <a:pt x="625434" y="406223"/>
                      </a:moveTo>
                      <a:cubicBezTo>
                        <a:pt x="623698" y="458905"/>
                        <a:pt x="615457" y="514992"/>
                        <a:pt x="601128" y="573182"/>
                      </a:cubicBezTo>
                      <a:cubicBezTo>
                        <a:pt x="565967" y="701371"/>
                        <a:pt x="508517" y="856074"/>
                        <a:pt x="454113" y="995588"/>
                      </a:cubicBezTo>
                      <a:lnTo>
                        <a:pt x="406296" y="1116560"/>
                      </a:lnTo>
                      <a:lnTo>
                        <a:pt x="312891" y="1107144"/>
                      </a:lnTo>
                      <a:lnTo>
                        <a:pt x="219001" y="1116609"/>
                      </a:lnTo>
                      <a:lnTo>
                        <a:pt x="168436" y="989547"/>
                      </a:lnTo>
                      <a:cubicBezTo>
                        <a:pt x="112954" y="848019"/>
                        <a:pt x="55504" y="693317"/>
                        <a:pt x="24653" y="573182"/>
                      </a:cubicBezTo>
                      <a:cubicBezTo>
                        <a:pt x="-4006" y="456801"/>
                        <a:pt x="-8309" y="348834"/>
                        <a:pt x="15064" y="259699"/>
                      </a:cubicBezTo>
                      <a:lnTo>
                        <a:pt x="17095" y="254066"/>
                      </a:lnTo>
                      <a:lnTo>
                        <a:pt x="32839" y="199547"/>
                      </a:lnTo>
                      <a:cubicBezTo>
                        <a:pt x="78979" y="82282"/>
                        <a:pt x="186996" y="0"/>
                        <a:pt x="312891" y="0"/>
                      </a:cubicBezTo>
                      <a:cubicBezTo>
                        <a:pt x="438786" y="0"/>
                        <a:pt x="546802" y="82282"/>
                        <a:pt x="592943" y="199547"/>
                      </a:cubicBezTo>
                      <a:lnTo>
                        <a:pt x="608688" y="254073"/>
                      </a:lnTo>
                      <a:lnTo>
                        <a:pt x="610717" y="259699"/>
                      </a:lnTo>
                      <a:cubicBezTo>
                        <a:pt x="622403" y="304267"/>
                        <a:pt x="627171" y="353542"/>
                        <a:pt x="625434" y="406223"/>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grpSp>
          <p:grpSp>
            <p:nvGrpSpPr>
              <p:cNvPr id="49" name="Group 48">
                <a:extLst>
                  <a:ext uri="{FF2B5EF4-FFF2-40B4-BE49-F238E27FC236}">
                    <a16:creationId xmlns:a16="http://schemas.microsoft.com/office/drawing/2014/main" id="{6E121D97-F2D5-4F74-9D6A-299FAFF37F07}"/>
                  </a:ext>
                </a:extLst>
              </p:cNvPr>
              <p:cNvGrpSpPr/>
              <p:nvPr/>
            </p:nvGrpSpPr>
            <p:grpSpPr bwMode="gray">
              <a:xfrm>
                <a:off x="10712659" y="3815739"/>
                <a:ext cx="290621" cy="213336"/>
                <a:chOff x="11053115" y="5295900"/>
                <a:chExt cx="501319" cy="253296"/>
              </a:xfrm>
            </p:grpSpPr>
            <p:sp>
              <p:nvSpPr>
                <p:cNvPr id="50" name="Freeform 66">
                  <a:extLst>
                    <a:ext uri="{FF2B5EF4-FFF2-40B4-BE49-F238E27FC236}">
                      <a16:creationId xmlns:a16="http://schemas.microsoft.com/office/drawing/2014/main" id="{1249A98E-0AF3-4131-BFBB-BD6B5CC434A0}"/>
                    </a:ext>
                  </a:extLst>
                </p:cNvPr>
                <p:cNvSpPr/>
                <p:nvPr/>
              </p:nvSpPr>
              <p:spPr bwMode="gray">
                <a:xfrm>
                  <a:off x="11120893" y="5295900"/>
                  <a:ext cx="294531" cy="81641"/>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8173 w 371072"/>
                    <a:gd name="connsiteY1" fmla="*/ 241661 h 264795"/>
                    <a:gd name="connsiteX2" fmla="*/ 367665 w 371072"/>
                    <a:gd name="connsiteY2" fmla="*/ 99060 h 264795"/>
                    <a:gd name="connsiteX3" fmla="*/ 316230 w 371072"/>
                    <a:gd name="connsiteY3" fmla="*/ 0 h 264795"/>
                    <a:gd name="connsiteX0" fmla="*/ 0 w 316230"/>
                    <a:gd name="connsiteY0" fmla="*/ 264795 h 267865"/>
                    <a:gd name="connsiteX1" fmla="*/ 278173 w 316230"/>
                    <a:gd name="connsiteY1" fmla="*/ 241661 h 267865"/>
                    <a:gd name="connsiteX2" fmla="*/ 316230 w 316230"/>
                    <a:gd name="connsiteY2" fmla="*/ 0 h 267865"/>
                    <a:gd name="connsiteX0" fmla="*/ 0 w 348201"/>
                    <a:gd name="connsiteY0" fmla="*/ 264795 h 267865"/>
                    <a:gd name="connsiteX1" fmla="*/ 329008 w 348201"/>
                    <a:gd name="connsiteY1" fmla="*/ 241661 h 267865"/>
                    <a:gd name="connsiteX2" fmla="*/ 316230 w 348201"/>
                    <a:gd name="connsiteY2" fmla="*/ 0 h 267865"/>
                    <a:gd name="connsiteX0" fmla="*/ 0 w 377767"/>
                    <a:gd name="connsiteY0" fmla="*/ 264795 h 267865"/>
                    <a:gd name="connsiteX1" fmla="*/ 329008 w 377767"/>
                    <a:gd name="connsiteY1" fmla="*/ 241661 h 267865"/>
                    <a:gd name="connsiteX2" fmla="*/ 377767 w 377767"/>
                    <a:gd name="connsiteY2" fmla="*/ 0 h 267865"/>
                    <a:gd name="connsiteX0" fmla="*/ 0 w 351892"/>
                    <a:gd name="connsiteY0" fmla="*/ 205831 h 205831"/>
                    <a:gd name="connsiteX1" fmla="*/ 329008 w 351892"/>
                    <a:gd name="connsiteY1" fmla="*/ 182697 h 205831"/>
                    <a:gd name="connsiteX2" fmla="*/ 329608 w 351892"/>
                    <a:gd name="connsiteY2" fmla="*/ 0 h 205831"/>
                    <a:gd name="connsiteX0" fmla="*/ 0 w 380444"/>
                    <a:gd name="connsiteY0" fmla="*/ 211727 h 211727"/>
                    <a:gd name="connsiteX1" fmla="*/ 329008 w 380444"/>
                    <a:gd name="connsiteY1" fmla="*/ 188593 h 211727"/>
                    <a:gd name="connsiteX2" fmla="*/ 380444 w 380444"/>
                    <a:gd name="connsiteY2" fmla="*/ 0 h 211727"/>
                    <a:gd name="connsiteX0" fmla="*/ 0 w 341777"/>
                    <a:gd name="connsiteY0" fmla="*/ 235312 h 236529"/>
                    <a:gd name="connsiteX1" fmla="*/ 329008 w 341777"/>
                    <a:gd name="connsiteY1" fmla="*/ 212178 h 236529"/>
                    <a:gd name="connsiteX2" fmla="*/ 284125 w 341777"/>
                    <a:gd name="connsiteY2" fmla="*/ 0 h 236529"/>
                    <a:gd name="connsiteX0" fmla="*/ 0 w 349318"/>
                    <a:gd name="connsiteY0" fmla="*/ 235312 h 236526"/>
                    <a:gd name="connsiteX1" fmla="*/ 329008 w 349318"/>
                    <a:gd name="connsiteY1" fmla="*/ 212178 h 236526"/>
                    <a:gd name="connsiteX2" fmla="*/ 284125 w 349318"/>
                    <a:gd name="connsiteY2" fmla="*/ 0 h 236526"/>
                    <a:gd name="connsiteX0" fmla="*/ 0 w 357781"/>
                    <a:gd name="connsiteY0" fmla="*/ 211727 h 211727"/>
                    <a:gd name="connsiteX1" fmla="*/ 329008 w 357781"/>
                    <a:gd name="connsiteY1" fmla="*/ 188593 h 211727"/>
                    <a:gd name="connsiteX2" fmla="*/ 308205 w 357781"/>
                    <a:gd name="connsiteY2" fmla="*/ 0 h 211727"/>
                    <a:gd name="connsiteX0" fmla="*/ 0 w 360084"/>
                    <a:gd name="connsiteY0" fmla="*/ 211727 h 211727"/>
                    <a:gd name="connsiteX1" fmla="*/ 329008 w 360084"/>
                    <a:gd name="connsiteY1" fmla="*/ 188593 h 211727"/>
                    <a:gd name="connsiteX2" fmla="*/ 313556 w 360084"/>
                    <a:gd name="connsiteY2" fmla="*/ 0 h 211727"/>
                    <a:gd name="connsiteX0" fmla="*/ 0 w 360906"/>
                    <a:gd name="connsiteY0" fmla="*/ 211727 h 211727"/>
                    <a:gd name="connsiteX1" fmla="*/ 329008 w 360906"/>
                    <a:gd name="connsiteY1" fmla="*/ 188593 h 211727"/>
                    <a:gd name="connsiteX2" fmla="*/ 313556 w 360906"/>
                    <a:gd name="connsiteY2" fmla="*/ 0 h 211727"/>
                    <a:gd name="connsiteX0" fmla="*/ 0 w 350666"/>
                    <a:gd name="connsiteY0" fmla="*/ 217623 h 217800"/>
                    <a:gd name="connsiteX1" fmla="*/ 329008 w 350666"/>
                    <a:gd name="connsiteY1" fmla="*/ 194489 h 217800"/>
                    <a:gd name="connsiteX2" fmla="*/ 286800 w 350666"/>
                    <a:gd name="connsiteY2" fmla="*/ 0 h 217800"/>
                    <a:gd name="connsiteX0" fmla="*/ 0 w 357945"/>
                    <a:gd name="connsiteY0" fmla="*/ 218487 h 218660"/>
                    <a:gd name="connsiteX1" fmla="*/ 329008 w 357945"/>
                    <a:gd name="connsiteY1" fmla="*/ 195353 h 218660"/>
                    <a:gd name="connsiteX2" fmla="*/ 286800 w 357945"/>
                    <a:gd name="connsiteY2" fmla="*/ 864 h 218660"/>
                  </a:gdLst>
                  <a:ahLst/>
                  <a:cxnLst>
                    <a:cxn ang="0">
                      <a:pos x="connsiteX0" y="connsiteY0"/>
                    </a:cxn>
                    <a:cxn ang="0">
                      <a:pos x="connsiteX1" y="connsiteY1"/>
                    </a:cxn>
                    <a:cxn ang="0">
                      <a:pos x="connsiteX2" y="connsiteY2"/>
                    </a:cxn>
                  </a:cxnLst>
                  <a:rect l="l" t="t" r="r" b="b"/>
                  <a:pathLst>
                    <a:path w="357945" h="218660">
                      <a:moveTo>
                        <a:pt x="0" y="218487"/>
                      </a:moveTo>
                      <a:cubicBezTo>
                        <a:pt x="40878" y="213328"/>
                        <a:pt x="281208" y="231624"/>
                        <a:pt x="329008" y="195353"/>
                      </a:cubicBezTo>
                      <a:cubicBezTo>
                        <a:pt x="376808" y="159083"/>
                        <a:pt x="367163" y="-13649"/>
                        <a:pt x="286800" y="864"/>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51" name="Freeform 68">
                  <a:extLst>
                    <a:ext uri="{FF2B5EF4-FFF2-40B4-BE49-F238E27FC236}">
                      <a16:creationId xmlns:a16="http://schemas.microsoft.com/office/drawing/2014/main" id="{7108FD3F-A651-4662-B73C-2B97178437FE}"/>
                    </a:ext>
                  </a:extLst>
                </p:cNvPr>
                <p:cNvSpPr/>
                <p:nvPr/>
              </p:nvSpPr>
              <p:spPr bwMode="gray">
                <a:xfrm>
                  <a:off x="11053115" y="5303732"/>
                  <a:ext cx="501319" cy="123352"/>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3187 w 371072"/>
                    <a:gd name="connsiteY1" fmla="*/ 242681 h 264795"/>
                    <a:gd name="connsiteX2" fmla="*/ 367665 w 371072"/>
                    <a:gd name="connsiteY2" fmla="*/ 99060 h 264795"/>
                    <a:gd name="connsiteX3" fmla="*/ 316230 w 371072"/>
                    <a:gd name="connsiteY3" fmla="*/ 0 h 264795"/>
                    <a:gd name="connsiteX0" fmla="*/ 0 w 316230"/>
                    <a:gd name="connsiteY0" fmla="*/ 264795 h 268412"/>
                    <a:gd name="connsiteX1" fmla="*/ 273187 w 316230"/>
                    <a:gd name="connsiteY1" fmla="*/ 242681 h 268412"/>
                    <a:gd name="connsiteX2" fmla="*/ 316230 w 316230"/>
                    <a:gd name="connsiteY2" fmla="*/ 0 h 268412"/>
                    <a:gd name="connsiteX0" fmla="*/ 0 w 397022"/>
                    <a:gd name="connsiteY0" fmla="*/ 264795 h 264795"/>
                    <a:gd name="connsiteX1" fmla="*/ 384390 w 397022"/>
                    <a:gd name="connsiteY1" fmla="*/ 231864 h 264795"/>
                    <a:gd name="connsiteX2" fmla="*/ 316230 w 397022"/>
                    <a:gd name="connsiteY2" fmla="*/ 0 h 264795"/>
                    <a:gd name="connsiteX0" fmla="*/ 0 w 410446"/>
                    <a:gd name="connsiteY0" fmla="*/ 264795 h 264795"/>
                    <a:gd name="connsiteX1" fmla="*/ 384390 w 410446"/>
                    <a:gd name="connsiteY1" fmla="*/ 231864 h 264795"/>
                    <a:gd name="connsiteX2" fmla="*/ 316230 w 410446"/>
                    <a:gd name="connsiteY2" fmla="*/ 0 h 264795"/>
                    <a:gd name="connsiteX0" fmla="*/ 0 w 410446"/>
                    <a:gd name="connsiteY0" fmla="*/ 264795 h 264795"/>
                    <a:gd name="connsiteX1" fmla="*/ 384390 w 410446"/>
                    <a:gd name="connsiteY1" fmla="*/ 253498 h 264795"/>
                    <a:gd name="connsiteX2" fmla="*/ 316230 w 410446"/>
                    <a:gd name="connsiteY2" fmla="*/ 0 h 264795"/>
                    <a:gd name="connsiteX0" fmla="*/ 0 w 410446"/>
                    <a:gd name="connsiteY0" fmla="*/ 264795 h 264795"/>
                    <a:gd name="connsiteX1" fmla="*/ 384390 w 410446"/>
                    <a:gd name="connsiteY1" fmla="*/ 258907 h 264795"/>
                    <a:gd name="connsiteX2" fmla="*/ 316230 w 410446"/>
                    <a:gd name="connsiteY2" fmla="*/ 0 h 264795"/>
                    <a:gd name="connsiteX0" fmla="*/ 0 w 440789"/>
                    <a:gd name="connsiteY0" fmla="*/ 271717 h 271717"/>
                    <a:gd name="connsiteX1" fmla="*/ 384390 w 440789"/>
                    <a:gd name="connsiteY1" fmla="*/ 265829 h 271717"/>
                    <a:gd name="connsiteX2" fmla="*/ 316230 w 440789"/>
                    <a:gd name="connsiteY2" fmla="*/ 6922 h 271717"/>
                    <a:gd name="connsiteX0" fmla="*/ 0 w 461170"/>
                    <a:gd name="connsiteY0" fmla="*/ 288655 h 303978"/>
                    <a:gd name="connsiteX1" fmla="*/ 384390 w 461170"/>
                    <a:gd name="connsiteY1" fmla="*/ 282767 h 303978"/>
                    <a:gd name="connsiteX2" fmla="*/ 377077 w 461170"/>
                    <a:gd name="connsiteY2" fmla="*/ 7634 h 303978"/>
                    <a:gd name="connsiteX0" fmla="*/ 0 w 437194"/>
                    <a:gd name="connsiteY0" fmla="*/ 281021 h 296344"/>
                    <a:gd name="connsiteX1" fmla="*/ 384390 w 437194"/>
                    <a:gd name="connsiteY1" fmla="*/ 275133 h 296344"/>
                    <a:gd name="connsiteX2" fmla="*/ 377077 w 437194"/>
                    <a:gd name="connsiteY2" fmla="*/ 0 h 296344"/>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308064 h 309112"/>
                    <a:gd name="connsiteX1" fmla="*/ 384390 w 432414"/>
                    <a:gd name="connsiteY1" fmla="*/ 275133 h 309112"/>
                    <a:gd name="connsiteX2" fmla="*/ 377077 w 432414"/>
                    <a:gd name="connsiteY2" fmla="*/ 0 h 309112"/>
                    <a:gd name="connsiteX0" fmla="*/ 0 w 432414"/>
                    <a:gd name="connsiteY0" fmla="*/ 308064 h 318424"/>
                    <a:gd name="connsiteX1" fmla="*/ 384390 w 432414"/>
                    <a:gd name="connsiteY1" fmla="*/ 275133 h 318424"/>
                    <a:gd name="connsiteX2" fmla="*/ 377077 w 432414"/>
                    <a:gd name="connsiteY2" fmla="*/ 0 h 318424"/>
                    <a:gd name="connsiteX0" fmla="*/ 0 w 432414"/>
                    <a:gd name="connsiteY0" fmla="*/ 281021 h 302303"/>
                    <a:gd name="connsiteX1" fmla="*/ 384390 w 432414"/>
                    <a:gd name="connsiteY1" fmla="*/ 275133 h 302303"/>
                    <a:gd name="connsiteX2" fmla="*/ 377077 w 432414"/>
                    <a:gd name="connsiteY2" fmla="*/ 0 h 302303"/>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297247 h 303044"/>
                    <a:gd name="connsiteX1" fmla="*/ 384390 w 432414"/>
                    <a:gd name="connsiteY1" fmla="*/ 275133 h 303044"/>
                    <a:gd name="connsiteX2" fmla="*/ 377077 w 432414"/>
                    <a:gd name="connsiteY2" fmla="*/ 0 h 303044"/>
                  </a:gdLst>
                  <a:ahLst/>
                  <a:cxnLst>
                    <a:cxn ang="0">
                      <a:pos x="connsiteX0" y="connsiteY0"/>
                    </a:cxn>
                    <a:cxn ang="0">
                      <a:pos x="connsiteX1" y="connsiteY1"/>
                    </a:cxn>
                    <a:cxn ang="0">
                      <a:pos x="connsiteX2" y="connsiteY2"/>
                    </a:cxn>
                  </a:cxnLst>
                  <a:rect l="l" t="t" r="r" b="b"/>
                  <a:pathLst>
                    <a:path w="432414" h="303044">
                      <a:moveTo>
                        <a:pt x="0" y="297247"/>
                      </a:moveTo>
                      <a:cubicBezTo>
                        <a:pt x="181455" y="292088"/>
                        <a:pt x="321544" y="324674"/>
                        <a:pt x="384390" y="275133"/>
                      </a:cubicBezTo>
                      <a:cubicBezTo>
                        <a:pt x="447236" y="225592"/>
                        <a:pt x="452036" y="12699"/>
                        <a:pt x="377077"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52" name="Freeform 66">
                  <a:extLst>
                    <a:ext uri="{FF2B5EF4-FFF2-40B4-BE49-F238E27FC236}">
                      <a16:creationId xmlns:a16="http://schemas.microsoft.com/office/drawing/2014/main" id="{E7FA7A9F-6C2B-4406-AF3D-5E807BBF188A}"/>
                    </a:ext>
                  </a:extLst>
                </p:cNvPr>
                <p:cNvSpPr/>
                <p:nvPr/>
              </p:nvSpPr>
              <p:spPr bwMode="gray">
                <a:xfrm flipV="1">
                  <a:off x="11111020" y="5469901"/>
                  <a:ext cx="374492" cy="79295"/>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8173 w 371072"/>
                    <a:gd name="connsiteY1" fmla="*/ 241661 h 264795"/>
                    <a:gd name="connsiteX2" fmla="*/ 367665 w 371072"/>
                    <a:gd name="connsiteY2" fmla="*/ 99060 h 264795"/>
                    <a:gd name="connsiteX3" fmla="*/ 316230 w 371072"/>
                    <a:gd name="connsiteY3" fmla="*/ 0 h 264795"/>
                    <a:gd name="connsiteX0" fmla="*/ 0 w 316230"/>
                    <a:gd name="connsiteY0" fmla="*/ 264795 h 267865"/>
                    <a:gd name="connsiteX1" fmla="*/ 278173 w 316230"/>
                    <a:gd name="connsiteY1" fmla="*/ 241661 h 267865"/>
                    <a:gd name="connsiteX2" fmla="*/ 316230 w 316230"/>
                    <a:gd name="connsiteY2" fmla="*/ 0 h 267865"/>
                    <a:gd name="connsiteX0" fmla="*/ 0 w 348201"/>
                    <a:gd name="connsiteY0" fmla="*/ 264795 h 267865"/>
                    <a:gd name="connsiteX1" fmla="*/ 329008 w 348201"/>
                    <a:gd name="connsiteY1" fmla="*/ 241661 h 267865"/>
                    <a:gd name="connsiteX2" fmla="*/ 316230 w 348201"/>
                    <a:gd name="connsiteY2" fmla="*/ 0 h 267865"/>
                    <a:gd name="connsiteX0" fmla="*/ 0 w 377767"/>
                    <a:gd name="connsiteY0" fmla="*/ 264795 h 267865"/>
                    <a:gd name="connsiteX1" fmla="*/ 329008 w 377767"/>
                    <a:gd name="connsiteY1" fmla="*/ 241661 h 267865"/>
                    <a:gd name="connsiteX2" fmla="*/ 377767 w 377767"/>
                    <a:gd name="connsiteY2" fmla="*/ 0 h 267865"/>
                    <a:gd name="connsiteX0" fmla="*/ 0 w 351892"/>
                    <a:gd name="connsiteY0" fmla="*/ 205831 h 205831"/>
                    <a:gd name="connsiteX1" fmla="*/ 329008 w 351892"/>
                    <a:gd name="connsiteY1" fmla="*/ 182697 h 205831"/>
                    <a:gd name="connsiteX2" fmla="*/ 329608 w 351892"/>
                    <a:gd name="connsiteY2" fmla="*/ 0 h 205831"/>
                    <a:gd name="connsiteX0" fmla="*/ 0 w 380444"/>
                    <a:gd name="connsiteY0" fmla="*/ 211727 h 211727"/>
                    <a:gd name="connsiteX1" fmla="*/ 329008 w 380444"/>
                    <a:gd name="connsiteY1" fmla="*/ 188593 h 211727"/>
                    <a:gd name="connsiteX2" fmla="*/ 380444 w 380444"/>
                    <a:gd name="connsiteY2" fmla="*/ 0 h 211727"/>
                    <a:gd name="connsiteX0" fmla="*/ 0 w 341777"/>
                    <a:gd name="connsiteY0" fmla="*/ 235312 h 236529"/>
                    <a:gd name="connsiteX1" fmla="*/ 329008 w 341777"/>
                    <a:gd name="connsiteY1" fmla="*/ 212178 h 236529"/>
                    <a:gd name="connsiteX2" fmla="*/ 284125 w 341777"/>
                    <a:gd name="connsiteY2" fmla="*/ 0 h 236529"/>
                    <a:gd name="connsiteX0" fmla="*/ 0 w 349318"/>
                    <a:gd name="connsiteY0" fmla="*/ 235312 h 236526"/>
                    <a:gd name="connsiteX1" fmla="*/ 329008 w 349318"/>
                    <a:gd name="connsiteY1" fmla="*/ 212178 h 236526"/>
                    <a:gd name="connsiteX2" fmla="*/ 284125 w 349318"/>
                    <a:gd name="connsiteY2" fmla="*/ 0 h 236526"/>
                    <a:gd name="connsiteX0" fmla="*/ 0 w 357781"/>
                    <a:gd name="connsiteY0" fmla="*/ 211727 h 211727"/>
                    <a:gd name="connsiteX1" fmla="*/ 329008 w 357781"/>
                    <a:gd name="connsiteY1" fmla="*/ 188593 h 211727"/>
                    <a:gd name="connsiteX2" fmla="*/ 308205 w 357781"/>
                    <a:gd name="connsiteY2" fmla="*/ 0 h 211727"/>
                    <a:gd name="connsiteX0" fmla="*/ 0 w 360084"/>
                    <a:gd name="connsiteY0" fmla="*/ 211727 h 211727"/>
                    <a:gd name="connsiteX1" fmla="*/ 329008 w 360084"/>
                    <a:gd name="connsiteY1" fmla="*/ 188593 h 211727"/>
                    <a:gd name="connsiteX2" fmla="*/ 313556 w 360084"/>
                    <a:gd name="connsiteY2" fmla="*/ 0 h 211727"/>
                    <a:gd name="connsiteX0" fmla="*/ 0 w 360906"/>
                    <a:gd name="connsiteY0" fmla="*/ 211727 h 211727"/>
                    <a:gd name="connsiteX1" fmla="*/ 329008 w 360906"/>
                    <a:gd name="connsiteY1" fmla="*/ 188593 h 211727"/>
                    <a:gd name="connsiteX2" fmla="*/ 313556 w 360906"/>
                    <a:gd name="connsiteY2" fmla="*/ 0 h 211727"/>
                    <a:gd name="connsiteX0" fmla="*/ 0 w 365049"/>
                    <a:gd name="connsiteY0" fmla="*/ 211727 h 211727"/>
                    <a:gd name="connsiteX1" fmla="*/ 329008 w 365049"/>
                    <a:gd name="connsiteY1" fmla="*/ 188593 h 211727"/>
                    <a:gd name="connsiteX2" fmla="*/ 322140 w 365049"/>
                    <a:gd name="connsiteY2" fmla="*/ 0 h 211727"/>
                  </a:gdLst>
                  <a:ahLst/>
                  <a:cxnLst>
                    <a:cxn ang="0">
                      <a:pos x="connsiteX0" y="connsiteY0"/>
                    </a:cxn>
                    <a:cxn ang="0">
                      <a:pos x="connsiteX1" y="connsiteY1"/>
                    </a:cxn>
                    <a:cxn ang="0">
                      <a:pos x="connsiteX2" y="connsiteY2"/>
                    </a:cxn>
                  </a:cxnLst>
                  <a:rect l="l" t="t" r="r" b="b"/>
                  <a:pathLst>
                    <a:path w="365049" h="211727">
                      <a:moveTo>
                        <a:pt x="0" y="211727"/>
                      </a:moveTo>
                      <a:cubicBezTo>
                        <a:pt x="40878" y="206568"/>
                        <a:pt x="275318" y="223881"/>
                        <a:pt x="329008" y="188593"/>
                      </a:cubicBezTo>
                      <a:cubicBezTo>
                        <a:pt x="382698" y="153305"/>
                        <a:pt x="373072" y="3176"/>
                        <a:pt x="322140"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grpSp>
        </p:grpSp>
        <p:sp>
          <p:nvSpPr>
            <p:cNvPr id="47" name="TextBox 46">
              <a:extLst>
                <a:ext uri="{FF2B5EF4-FFF2-40B4-BE49-F238E27FC236}">
                  <a16:creationId xmlns:a16="http://schemas.microsoft.com/office/drawing/2014/main" id="{28E3AB43-B75E-4B9A-AE6A-320EA4BA8695}"/>
                </a:ext>
              </a:extLst>
            </p:cNvPr>
            <p:cNvSpPr txBox="1"/>
            <p:nvPr/>
          </p:nvSpPr>
          <p:spPr bwMode="gray">
            <a:xfrm>
              <a:off x="10435243"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Purged</a:t>
              </a:r>
            </a:p>
          </p:txBody>
        </p:sp>
      </p:grpSp>
      <p:cxnSp>
        <p:nvCxnSpPr>
          <p:cNvPr id="59" name="Straight Connector 58">
            <a:extLst>
              <a:ext uri="{FF2B5EF4-FFF2-40B4-BE49-F238E27FC236}">
                <a16:creationId xmlns:a16="http://schemas.microsoft.com/office/drawing/2014/main" id="{9D1CD63A-B353-48E8-8780-F9E92A20F237}"/>
              </a:ext>
            </a:extLst>
          </p:cNvPr>
          <p:cNvCxnSpPr>
            <a:cxnSpLocks/>
          </p:cNvCxnSpPr>
          <p:nvPr/>
        </p:nvCxnSpPr>
        <p:spPr bwMode="gray">
          <a:xfrm>
            <a:off x="9648010" y="4762209"/>
            <a:ext cx="220525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2" name="AutoShape 6">
            <a:hlinkClick r:id="rId5" action="ppaction://hlinksldjump" highlightClick="1"/>
            <a:extLst>
              <a:ext uri="{FF2B5EF4-FFF2-40B4-BE49-F238E27FC236}">
                <a16:creationId xmlns:a16="http://schemas.microsoft.com/office/drawing/2014/main" id="{1BE750AB-7E6B-4299-9DE8-D72FDF0DB22E}"/>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17466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Inhaltsplatzhalter 8">
            <a:extLst>
              <a:ext uri="{FF2B5EF4-FFF2-40B4-BE49-F238E27FC236}">
                <a16:creationId xmlns:a16="http://schemas.microsoft.com/office/drawing/2014/main" id="{6F402164-0424-4F6B-B7B8-461151090D90}"/>
              </a:ext>
            </a:extLst>
          </p:cNvPr>
          <p:cNvSpPr txBox="1">
            <a:spLocks/>
          </p:cNvSpPr>
          <p:nvPr/>
        </p:nvSpPr>
        <p:spPr bwMode="gray">
          <a:xfrm>
            <a:off x="333264" y="2317640"/>
            <a:ext cx="5605200" cy="3594475"/>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lnSpc>
                <a:spcPct val="90000"/>
              </a:lnSpc>
              <a:spcBef>
                <a:spcPts val="400"/>
              </a:spcBef>
              <a:defRPr/>
            </a:pPr>
            <a:r>
              <a:rPr lang="de-DE" dirty="0"/>
              <a:t>BVS 16 ATEX E 085 X (</a:t>
            </a:r>
            <a:r>
              <a:rPr lang="en-GB" altLang="de-DE" dirty="0"/>
              <a:t>II 3G Ex </a:t>
            </a:r>
            <a:r>
              <a:rPr lang="en-GB" altLang="de-DE" dirty="0" err="1"/>
              <a:t>ec</a:t>
            </a:r>
            <a:r>
              <a:rPr lang="en-GB" altLang="de-DE" dirty="0"/>
              <a:t> </a:t>
            </a:r>
            <a:r>
              <a:rPr lang="en-GB" altLang="de-DE" dirty="0" err="1"/>
              <a:t>nC</a:t>
            </a:r>
            <a:r>
              <a:rPr lang="en-GB" altLang="de-DE" dirty="0"/>
              <a:t> IIC T4 </a:t>
            </a:r>
            <a:r>
              <a:rPr lang="en-GB" altLang="de-DE" dirty="0" err="1"/>
              <a:t>Gc</a:t>
            </a:r>
            <a:r>
              <a:rPr lang="en-GB" altLang="de-DE" dirty="0"/>
              <a:t>) </a:t>
            </a:r>
          </a:p>
          <a:p>
            <a:pPr lvl="1">
              <a:lnSpc>
                <a:spcPct val="90000"/>
              </a:lnSpc>
              <a:spcBef>
                <a:spcPts val="400"/>
              </a:spcBef>
              <a:defRPr/>
            </a:pPr>
            <a:r>
              <a:rPr lang="en-US" altLang="de-DE" dirty="0"/>
              <a:t>Ex </a:t>
            </a:r>
            <a:r>
              <a:rPr lang="en-US" altLang="de-DE" dirty="0" err="1"/>
              <a:t>ec</a:t>
            </a:r>
            <a:r>
              <a:rPr lang="en-US" altLang="de-DE" dirty="0"/>
              <a:t> </a:t>
            </a:r>
            <a:r>
              <a:rPr lang="en-US" altLang="de-DE" dirty="0" err="1"/>
              <a:t>nC</a:t>
            </a:r>
            <a:r>
              <a:rPr lang="en-US" altLang="de-DE" dirty="0"/>
              <a:t> (increased safety, enclosed break)</a:t>
            </a:r>
          </a:p>
          <a:p>
            <a:pPr lvl="1">
              <a:lnSpc>
                <a:spcPct val="90000"/>
              </a:lnSpc>
              <a:spcBef>
                <a:spcPts val="400"/>
              </a:spcBef>
              <a:defRPr/>
            </a:pPr>
            <a:r>
              <a:rPr lang="en-GB" altLang="de-DE" dirty="0"/>
              <a:t>IP 65 Housing EL3040</a:t>
            </a:r>
          </a:p>
          <a:p>
            <a:pPr lvl="1">
              <a:lnSpc>
                <a:spcPct val="90000"/>
              </a:lnSpc>
              <a:spcBef>
                <a:spcPts val="400"/>
              </a:spcBef>
              <a:defRPr/>
            </a:pPr>
            <a:r>
              <a:rPr lang="en-US" altLang="de-DE" dirty="0"/>
              <a:t>EL3000 analyzer modules</a:t>
            </a:r>
            <a:endParaRPr lang="en-GB" altLang="de-DE" dirty="0"/>
          </a:p>
          <a:p>
            <a:pPr marL="360036" lvl="1">
              <a:lnSpc>
                <a:spcPct val="90000"/>
              </a:lnSpc>
              <a:spcBef>
                <a:spcPts val="400"/>
              </a:spcBef>
              <a:buFont typeface="Arial" panose="020B0604020202020204" pitchFamily="34" charset="0"/>
              <a:buChar char="•"/>
              <a:defRPr/>
            </a:pPr>
            <a:r>
              <a:rPr lang="en-US" altLang="de-DE" dirty="0"/>
              <a:t>Uras26 </a:t>
            </a:r>
          </a:p>
          <a:p>
            <a:pPr marL="360036" lvl="1">
              <a:lnSpc>
                <a:spcPct val="90000"/>
              </a:lnSpc>
              <a:spcBef>
                <a:spcPts val="400"/>
              </a:spcBef>
              <a:buFont typeface="Arial" panose="020B0604020202020204" pitchFamily="34" charset="0"/>
              <a:buChar char="•"/>
              <a:defRPr/>
            </a:pPr>
            <a:r>
              <a:rPr lang="en-US" altLang="de-DE" dirty="0"/>
              <a:t>Caldos27</a:t>
            </a:r>
          </a:p>
          <a:p>
            <a:pPr marL="360036" lvl="1">
              <a:lnSpc>
                <a:spcPct val="90000"/>
              </a:lnSpc>
              <a:spcBef>
                <a:spcPts val="400"/>
              </a:spcBef>
              <a:buFont typeface="Arial" panose="020B0604020202020204" pitchFamily="34" charset="0"/>
              <a:buChar char="•"/>
              <a:defRPr/>
            </a:pPr>
            <a:r>
              <a:rPr lang="en-US" altLang="de-DE" dirty="0"/>
              <a:t>Magnos28</a:t>
            </a:r>
          </a:p>
          <a:p>
            <a:pPr lvl="1">
              <a:lnSpc>
                <a:spcPct val="90000"/>
              </a:lnSpc>
              <a:spcBef>
                <a:spcPts val="400"/>
              </a:spcBef>
              <a:defRPr/>
            </a:pPr>
            <a:r>
              <a:rPr lang="en-US" altLang="de-DE" dirty="0"/>
              <a:t>Combination of analyzer modules possible in one housing</a:t>
            </a:r>
          </a:p>
          <a:p>
            <a:pPr lvl="1">
              <a:lnSpc>
                <a:spcPct val="90000"/>
              </a:lnSpc>
              <a:spcBef>
                <a:spcPts val="400"/>
              </a:spcBef>
              <a:defRPr/>
            </a:pPr>
            <a:r>
              <a:rPr lang="en-GB" altLang="de-DE" dirty="0"/>
              <a:t>Purgeable </a:t>
            </a:r>
            <a:r>
              <a:rPr lang="en-GB" altLang="de-DE" dirty="0" err="1"/>
              <a:t>analyzer</a:t>
            </a:r>
            <a:r>
              <a:rPr lang="en-GB" altLang="de-DE" dirty="0"/>
              <a:t> housing for corrosion protection</a:t>
            </a:r>
            <a:endParaRPr lang="en-US" altLang="de-DE" dirty="0"/>
          </a:p>
          <a:p>
            <a:pPr lvl="1">
              <a:lnSpc>
                <a:spcPct val="90000"/>
              </a:lnSpc>
              <a:spcBef>
                <a:spcPts val="400"/>
              </a:spcBef>
              <a:defRPr/>
            </a:pPr>
            <a:r>
              <a:rPr lang="en-GB" altLang="de-DE" dirty="0"/>
              <a:t>Non flammable sample gas </a:t>
            </a:r>
          </a:p>
          <a:p>
            <a:pPr lvl="1">
              <a:lnSpc>
                <a:spcPct val="90000"/>
              </a:lnSpc>
              <a:spcBef>
                <a:spcPts val="400"/>
              </a:spcBef>
              <a:defRPr/>
            </a:pPr>
            <a:r>
              <a:rPr lang="en-GB" altLang="de-DE" dirty="0"/>
              <a:t>Certified in accordance to:  </a:t>
            </a:r>
          </a:p>
          <a:p>
            <a:pPr marL="736600" lvl="1" indent="-557213">
              <a:lnSpc>
                <a:spcPct val="90000"/>
              </a:lnSpc>
              <a:spcBef>
                <a:spcPts val="400"/>
              </a:spcBef>
              <a:buFont typeface="Arial" panose="020B0604020202020204" pitchFamily="34" charset="0"/>
              <a:buChar char="•"/>
              <a:defRPr/>
            </a:pPr>
            <a:r>
              <a:rPr lang="en-US" altLang="de-DE" dirty="0"/>
              <a:t>in preparation </a:t>
            </a:r>
            <a:endParaRPr lang="de-DE" altLang="de-DE" dirty="0"/>
          </a:p>
        </p:txBody>
      </p:sp>
      <p:sp>
        <p:nvSpPr>
          <p:cNvPr id="6" name="Titel 5">
            <a:extLst>
              <a:ext uri="{FF2B5EF4-FFF2-40B4-BE49-F238E27FC236}">
                <a16:creationId xmlns:a16="http://schemas.microsoft.com/office/drawing/2014/main" id="{D12019B4-36D2-4214-8AEC-31397A726417}"/>
              </a:ext>
            </a:extLst>
          </p:cNvPr>
          <p:cNvSpPr>
            <a:spLocks noGrp="1"/>
          </p:cNvSpPr>
          <p:nvPr>
            <p:ph type="title"/>
          </p:nvPr>
        </p:nvSpPr>
        <p:spPr bwMode="gray"/>
        <p:txBody>
          <a:bodyPr/>
          <a:lstStyle/>
          <a:p>
            <a:r>
              <a:rPr lang="en-US" altLang="de-DE" dirty="0"/>
              <a:t>Zone 2</a:t>
            </a:r>
            <a:endParaRPr lang="de-DE" dirty="0"/>
          </a:p>
        </p:txBody>
      </p:sp>
      <p:sp>
        <p:nvSpPr>
          <p:cNvPr id="7" name="Untertitel 6">
            <a:extLst>
              <a:ext uri="{FF2B5EF4-FFF2-40B4-BE49-F238E27FC236}">
                <a16:creationId xmlns:a16="http://schemas.microsoft.com/office/drawing/2014/main" id="{7F296E45-8CE5-4688-9890-0BA598D90BA5}"/>
              </a:ext>
            </a:extLst>
          </p:cNvPr>
          <p:cNvSpPr>
            <a:spLocks noGrp="1"/>
          </p:cNvSpPr>
          <p:nvPr>
            <p:ph type="subTitle" idx="13"/>
          </p:nvPr>
        </p:nvSpPr>
        <p:spPr bwMode="gray"/>
        <p:txBody>
          <a:bodyPr/>
          <a:lstStyle/>
          <a:p>
            <a:r>
              <a:rPr lang="de-DE" dirty="0"/>
              <a:t>Cat. 3G / EPL </a:t>
            </a:r>
            <a:r>
              <a:rPr lang="de-DE" dirty="0" err="1"/>
              <a:t>Gc</a:t>
            </a:r>
            <a:r>
              <a:rPr lang="de-DE" dirty="0"/>
              <a:t>, non </a:t>
            </a:r>
            <a:r>
              <a:rPr lang="de-DE" dirty="0" err="1"/>
              <a:t>flammable</a:t>
            </a:r>
            <a:r>
              <a:rPr lang="de-DE" dirty="0"/>
              <a:t> </a:t>
            </a:r>
            <a:r>
              <a:rPr lang="de-DE" dirty="0" err="1"/>
              <a:t>gases</a:t>
            </a:r>
            <a:endParaRPr lang="de-DE" dirty="0"/>
          </a:p>
        </p:txBody>
      </p:sp>
      <p:pic>
        <p:nvPicPr>
          <p:cNvPr id="25" name="Picture 15" descr="3000kombi_3dr">
            <a:extLst>
              <a:ext uri="{FF2B5EF4-FFF2-40B4-BE49-F238E27FC236}">
                <a16:creationId xmlns:a16="http://schemas.microsoft.com/office/drawing/2014/main" id="{A15F4462-BD04-4D7C-AF89-64125B19A4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6159028" y="1975495"/>
            <a:ext cx="3453007" cy="3207082"/>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25">
            <a:extLst>
              <a:ext uri="{FF2B5EF4-FFF2-40B4-BE49-F238E27FC236}">
                <a16:creationId xmlns:a16="http://schemas.microsoft.com/office/drawing/2014/main" id="{2C16B67B-7C8E-473E-86C7-71A0EACCD827}"/>
              </a:ext>
            </a:extLst>
          </p:cNvPr>
          <p:cNvSpPr/>
          <p:nvPr/>
        </p:nvSpPr>
        <p:spPr bwMode="gray">
          <a:xfrm>
            <a:off x="336550" y="1931988"/>
            <a:ext cx="5601017" cy="31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de-DE" sz="1600" b="1" dirty="0">
                <a:solidFill>
                  <a:schemeClr val="bg1">
                    <a:lumMod val="50000"/>
                  </a:schemeClr>
                </a:solidFill>
              </a:rPr>
              <a:t>EL3000</a:t>
            </a:r>
          </a:p>
        </p:txBody>
      </p:sp>
      <p:cxnSp>
        <p:nvCxnSpPr>
          <p:cNvPr id="27" name="Straight Connector 26">
            <a:extLst>
              <a:ext uri="{FF2B5EF4-FFF2-40B4-BE49-F238E27FC236}">
                <a16:creationId xmlns:a16="http://schemas.microsoft.com/office/drawing/2014/main" id="{1B7EC647-98E0-4B19-A835-2753C11C82C0}"/>
              </a:ext>
            </a:extLst>
          </p:cNvPr>
          <p:cNvCxnSpPr>
            <a:cxnSpLocks/>
          </p:cNvCxnSpPr>
          <p:nvPr/>
        </p:nvCxnSpPr>
        <p:spPr bwMode="gray">
          <a:xfrm flipH="1">
            <a:off x="336551" y="2247134"/>
            <a:ext cx="5601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e Placeholder 27">
            <a:extLst>
              <a:ext uri="{FF2B5EF4-FFF2-40B4-BE49-F238E27FC236}">
                <a16:creationId xmlns:a16="http://schemas.microsoft.com/office/drawing/2014/main" id="{0EF5536F-9337-48F0-B35D-0C27E614AB43}"/>
              </a:ext>
            </a:extLst>
          </p:cNvPr>
          <p:cNvSpPr>
            <a:spLocks noGrp="1"/>
          </p:cNvSpPr>
          <p:nvPr>
            <p:ph type="dt" sz="half" idx="14"/>
          </p:nvPr>
        </p:nvSpPr>
        <p:spPr bwMode="gray"/>
        <p:txBody>
          <a:bodyPr/>
          <a:lstStyle/>
          <a:p>
            <a:fld id="{041C3D69-0E08-4010-8186-B5FDDA7C2D33}" type="datetime4">
              <a:rPr lang="en-US" smtClean="0"/>
              <a:t>September 8, 2019</a:t>
            </a:fld>
            <a:endParaRPr lang="en-US" dirty="0"/>
          </a:p>
        </p:txBody>
      </p:sp>
      <p:sp>
        <p:nvSpPr>
          <p:cNvPr id="29" name="Footer Placeholder 28">
            <a:extLst>
              <a:ext uri="{FF2B5EF4-FFF2-40B4-BE49-F238E27FC236}">
                <a16:creationId xmlns:a16="http://schemas.microsoft.com/office/drawing/2014/main" id="{1C571A58-25BC-4FA2-A957-7FB3615F3431}"/>
              </a:ext>
            </a:extLst>
          </p:cNvPr>
          <p:cNvSpPr>
            <a:spLocks noGrp="1"/>
          </p:cNvSpPr>
          <p:nvPr>
            <p:ph type="ftr" sz="quarter" idx="15"/>
          </p:nvPr>
        </p:nvSpPr>
        <p:spPr bwMode="gray"/>
        <p:txBody>
          <a:bodyPr/>
          <a:lstStyle/>
          <a:p>
            <a:pPr lvl="8"/>
            <a:endParaRPr lang="en-US" dirty="0"/>
          </a:p>
        </p:txBody>
      </p:sp>
      <p:sp>
        <p:nvSpPr>
          <p:cNvPr id="30" name="Slide Number Placeholder 29">
            <a:extLst>
              <a:ext uri="{FF2B5EF4-FFF2-40B4-BE49-F238E27FC236}">
                <a16:creationId xmlns:a16="http://schemas.microsoft.com/office/drawing/2014/main" id="{C7956A70-160E-4291-985E-5E860897DB9F}"/>
              </a:ext>
            </a:extLst>
          </p:cNvPr>
          <p:cNvSpPr>
            <a:spLocks noGrp="1"/>
          </p:cNvSpPr>
          <p:nvPr>
            <p:ph type="sldNum" sz="quarter" idx="16"/>
          </p:nvPr>
        </p:nvSpPr>
        <p:spPr bwMode="gray"/>
        <p:txBody>
          <a:bodyPr/>
          <a:lstStyle/>
          <a:p>
            <a:r>
              <a:rPr lang="en-US"/>
              <a:t>Slide </a:t>
            </a:r>
            <a:fld id="{619F89D8-7AE3-494A-97F3-03D680869632}" type="slidenum">
              <a:rPr lang="en-US" smtClean="0"/>
              <a:pPr/>
              <a:t>112</a:t>
            </a:fld>
            <a:endParaRPr lang="en-US" dirty="0"/>
          </a:p>
        </p:txBody>
      </p:sp>
      <p:grpSp>
        <p:nvGrpSpPr>
          <p:cNvPr id="42" name="Group 41">
            <a:extLst>
              <a:ext uri="{FF2B5EF4-FFF2-40B4-BE49-F238E27FC236}">
                <a16:creationId xmlns:a16="http://schemas.microsoft.com/office/drawing/2014/main" id="{E25BC375-849F-4327-B382-29BECAF1D5DC}"/>
              </a:ext>
            </a:extLst>
          </p:cNvPr>
          <p:cNvGrpSpPr/>
          <p:nvPr/>
        </p:nvGrpSpPr>
        <p:grpSpPr bwMode="gray">
          <a:xfrm>
            <a:off x="9648010" y="2247134"/>
            <a:ext cx="2205254" cy="1209137"/>
            <a:chOff x="4827270" y="3927475"/>
            <a:chExt cx="2537460" cy="1391285"/>
          </a:xfrm>
          <a:solidFill>
            <a:schemeClr val="bg1"/>
          </a:solidFill>
        </p:grpSpPr>
        <p:sp>
          <p:nvSpPr>
            <p:cNvPr id="43" name="Freeform: Shape 42">
              <a:extLst>
                <a:ext uri="{FF2B5EF4-FFF2-40B4-BE49-F238E27FC236}">
                  <a16:creationId xmlns:a16="http://schemas.microsoft.com/office/drawing/2014/main" id="{0AA66F56-8E92-4E46-8471-021C50E1C0A7}"/>
                </a:ext>
              </a:extLst>
            </p:cNvPr>
            <p:cNvSpPr/>
            <p:nvPr/>
          </p:nvSpPr>
          <p:spPr bwMode="gray">
            <a:xfrm>
              <a:off x="4827270" y="3927475"/>
              <a:ext cx="2537460" cy="1268726"/>
            </a:xfrm>
            <a:custGeom>
              <a:avLst/>
              <a:gdLst>
                <a:gd name="connsiteX0" fmla="*/ 1465002 w 2930004"/>
                <a:gd name="connsiteY0" fmla="*/ 0 h 1464999"/>
                <a:gd name="connsiteX1" fmla="*/ 2930004 w 2930004"/>
                <a:gd name="connsiteY1" fmla="*/ 1464999 h 1464999"/>
                <a:gd name="connsiteX2" fmla="*/ 0 w 2930004"/>
                <a:gd name="connsiteY2" fmla="*/ 1464999 h 1464999"/>
                <a:gd name="connsiteX3" fmla="*/ 1465002 w 2930004"/>
                <a:gd name="connsiteY3" fmla="*/ 0 h 1464999"/>
              </a:gdLst>
              <a:ahLst/>
              <a:cxnLst>
                <a:cxn ang="0">
                  <a:pos x="connsiteX0" y="connsiteY0"/>
                </a:cxn>
                <a:cxn ang="0">
                  <a:pos x="connsiteX1" y="connsiteY1"/>
                </a:cxn>
                <a:cxn ang="0">
                  <a:pos x="connsiteX2" y="connsiteY2"/>
                </a:cxn>
                <a:cxn ang="0">
                  <a:pos x="connsiteX3" y="connsiteY3"/>
                </a:cxn>
              </a:cxnLst>
              <a:rect l="l" t="t" r="r" b="b"/>
              <a:pathLst>
                <a:path w="2930004" h="1464999">
                  <a:moveTo>
                    <a:pt x="1465002" y="0"/>
                  </a:moveTo>
                  <a:cubicBezTo>
                    <a:pt x="2274100" y="0"/>
                    <a:pt x="2930004" y="655902"/>
                    <a:pt x="2930004" y="1464999"/>
                  </a:cubicBezTo>
                  <a:lnTo>
                    <a:pt x="0" y="1464999"/>
                  </a:lnTo>
                  <a:cubicBezTo>
                    <a:pt x="0" y="655902"/>
                    <a:pt x="655904" y="0"/>
                    <a:pt x="1465002" y="0"/>
                  </a:cubicBezTo>
                  <a:close/>
                </a:path>
              </a:pathLst>
            </a:custGeom>
            <a:solidFill>
              <a:schemeClr val="bg2"/>
            </a:solidFill>
            <a:ln w="19050">
              <a:solidFill>
                <a:schemeClr val="accent2"/>
              </a:solidFill>
              <a:prstDash val="solid"/>
              <a:round/>
              <a:headEnd/>
              <a:tailEnd/>
            </a:ln>
            <a:extLst/>
          </p:spPr>
          <p:txBody>
            <a:bodyPr rot="0" spcFirstLastPara="0" vertOverflow="overflow" horzOverflow="overflow" vert="horz" wrap="square" lIns="0" tIns="0" rIns="0" bIns="720000" numCol="1" spcCol="0" rtlCol="0" fromWordArt="0" anchor="ctr" anchorCtr="0" forceAA="0" compatLnSpc="1">
              <a:prstTxWarp prst="textNoShape">
                <a:avLst/>
              </a:prstTxWarp>
              <a:noAutofit/>
            </a:bodyPr>
            <a:lstStyle/>
            <a:p>
              <a:pPr algn="ctr"/>
              <a:r>
                <a:rPr lang="de-DE" sz="1000" b="1" dirty="0">
                  <a:solidFill>
                    <a:schemeClr val="bg1"/>
                  </a:solidFill>
                </a:rPr>
                <a:t>Zone 2</a:t>
              </a:r>
            </a:p>
          </p:txBody>
        </p:sp>
        <p:sp>
          <p:nvSpPr>
            <p:cNvPr id="44" name="Freeform: Shape 43">
              <a:extLst>
                <a:ext uri="{FF2B5EF4-FFF2-40B4-BE49-F238E27FC236}">
                  <a16:creationId xmlns:a16="http://schemas.microsoft.com/office/drawing/2014/main" id="{D84FEA48-9863-49C3-9C01-119F71DB588B}"/>
                </a:ext>
              </a:extLst>
            </p:cNvPr>
            <p:cNvSpPr/>
            <p:nvPr/>
          </p:nvSpPr>
          <p:spPr bwMode="gray">
            <a:xfrm>
              <a:off x="5246115" y="4346319"/>
              <a:ext cx="1699770" cy="849882"/>
            </a:xfrm>
            <a:custGeom>
              <a:avLst/>
              <a:gdLst>
                <a:gd name="connsiteX0" fmla="*/ 1465002 w 2930004"/>
                <a:gd name="connsiteY0" fmla="*/ 0 h 1464999"/>
                <a:gd name="connsiteX1" fmla="*/ 2930004 w 2930004"/>
                <a:gd name="connsiteY1" fmla="*/ 1464999 h 1464999"/>
                <a:gd name="connsiteX2" fmla="*/ 0 w 2930004"/>
                <a:gd name="connsiteY2" fmla="*/ 1464999 h 1464999"/>
                <a:gd name="connsiteX3" fmla="*/ 1465002 w 2930004"/>
                <a:gd name="connsiteY3" fmla="*/ 0 h 1464999"/>
              </a:gdLst>
              <a:ahLst/>
              <a:cxnLst>
                <a:cxn ang="0">
                  <a:pos x="connsiteX0" y="connsiteY0"/>
                </a:cxn>
                <a:cxn ang="0">
                  <a:pos x="connsiteX1" y="connsiteY1"/>
                </a:cxn>
                <a:cxn ang="0">
                  <a:pos x="connsiteX2" y="connsiteY2"/>
                </a:cxn>
                <a:cxn ang="0">
                  <a:pos x="connsiteX3" y="connsiteY3"/>
                </a:cxn>
              </a:cxnLst>
              <a:rect l="l" t="t" r="r" b="b"/>
              <a:pathLst>
                <a:path w="2930004" h="1464999">
                  <a:moveTo>
                    <a:pt x="1465002" y="0"/>
                  </a:moveTo>
                  <a:cubicBezTo>
                    <a:pt x="2274100" y="0"/>
                    <a:pt x="2930004" y="655902"/>
                    <a:pt x="2930004" y="1464999"/>
                  </a:cubicBezTo>
                  <a:lnTo>
                    <a:pt x="0" y="1464999"/>
                  </a:lnTo>
                  <a:cubicBezTo>
                    <a:pt x="0" y="655902"/>
                    <a:pt x="655904" y="0"/>
                    <a:pt x="1465002" y="0"/>
                  </a:cubicBezTo>
                  <a:close/>
                </a:path>
              </a:pathLst>
            </a:custGeom>
            <a:solidFill>
              <a:schemeClr val="bg1"/>
            </a:solidFill>
            <a:ln w="19050">
              <a:solidFill>
                <a:schemeClr val="accent2"/>
              </a:solidFill>
              <a:prstDash val="solid"/>
              <a:round/>
              <a:headEnd/>
              <a:tailEnd/>
            </a:ln>
            <a:extLst/>
          </p:spPr>
          <p:txBody>
            <a:bodyPr rot="0" spcFirstLastPara="0" vertOverflow="overflow" horzOverflow="overflow" vert="horz" wrap="square" lIns="0" tIns="0" rIns="0" bIns="432000" numCol="1" spcCol="0" rtlCol="0" fromWordArt="0" anchor="ctr" anchorCtr="0" forceAA="0" compatLnSpc="1">
              <a:prstTxWarp prst="textNoShape">
                <a:avLst/>
              </a:prstTxWarp>
              <a:noAutofit/>
            </a:bodyPr>
            <a:lstStyle/>
            <a:p>
              <a:pPr algn="ctr"/>
              <a:r>
                <a:rPr lang="de-DE" sz="1000" dirty="0">
                  <a:solidFill>
                    <a:schemeClr val="accent2"/>
                  </a:solidFill>
                </a:rPr>
                <a:t>Zone 1</a:t>
              </a:r>
            </a:p>
          </p:txBody>
        </p:sp>
        <p:sp>
          <p:nvSpPr>
            <p:cNvPr id="45" name="Rectangle 44">
              <a:extLst>
                <a:ext uri="{FF2B5EF4-FFF2-40B4-BE49-F238E27FC236}">
                  <a16:creationId xmlns:a16="http://schemas.microsoft.com/office/drawing/2014/main" id="{9D789C67-AC80-4D9E-9097-67029CCF9FF3}"/>
                </a:ext>
              </a:extLst>
            </p:cNvPr>
            <p:cNvSpPr/>
            <p:nvPr/>
          </p:nvSpPr>
          <p:spPr bwMode="gray">
            <a:xfrm>
              <a:off x="4827270" y="5196201"/>
              <a:ext cx="2537460" cy="122559"/>
            </a:xfrm>
            <a:prstGeom prst="rect">
              <a:avLst/>
            </a:prstGeom>
            <a:grpFill/>
            <a:ln w="19050">
              <a:solidFill>
                <a:schemeClr val="accent2"/>
              </a:solidFill>
              <a:prstDash val="solid"/>
              <a:round/>
              <a:headEnd/>
              <a:tailEnd/>
            </a:ln>
          </p:spPr>
          <p:txBody>
            <a:bodyPr rtlCol="0" anchor="ctr"/>
            <a:lstStyle/>
            <a:p>
              <a:pPr algn="ctr"/>
              <a:endParaRPr lang="de-DE" sz="1000" dirty="0" err="1">
                <a:solidFill>
                  <a:schemeClr val="accent2"/>
                </a:solidFill>
              </a:endParaRPr>
            </a:p>
          </p:txBody>
        </p:sp>
        <p:sp>
          <p:nvSpPr>
            <p:cNvPr id="46" name="Rectangle 45">
              <a:extLst>
                <a:ext uri="{FF2B5EF4-FFF2-40B4-BE49-F238E27FC236}">
                  <a16:creationId xmlns:a16="http://schemas.microsoft.com/office/drawing/2014/main" id="{DFC0C3A0-8EC8-4F41-910A-E417238D0103}"/>
                </a:ext>
              </a:extLst>
            </p:cNvPr>
            <p:cNvSpPr/>
            <p:nvPr/>
          </p:nvSpPr>
          <p:spPr bwMode="gray">
            <a:xfrm>
              <a:off x="5246115" y="5196201"/>
              <a:ext cx="1699770" cy="122559"/>
            </a:xfrm>
            <a:prstGeom prst="rect">
              <a:avLst/>
            </a:prstGeom>
            <a:pattFill prst="wdUpDiag">
              <a:fgClr>
                <a:schemeClr val="accent2"/>
              </a:fgClr>
              <a:bgClr>
                <a:schemeClr val="bg1"/>
              </a:bgClr>
            </a:pattFill>
            <a:ln w="19050">
              <a:solidFill>
                <a:schemeClr val="accent2"/>
              </a:solidFill>
              <a:prstDash val="solid"/>
              <a:round/>
              <a:headEnd/>
              <a:tailEnd/>
            </a:ln>
          </p:spPr>
          <p:txBody>
            <a:bodyPr rtlCol="0" anchor="ctr"/>
            <a:lstStyle/>
            <a:p>
              <a:pPr algn="ctr"/>
              <a:endParaRPr lang="de-DE" sz="1000" dirty="0" err="1"/>
            </a:p>
          </p:txBody>
        </p:sp>
        <p:grpSp>
          <p:nvGrpSpPr>
            <p:cNvPr id="47" name="Group 46">
              <a:extLst>
                <a:ext uri="{FF2B5EF4-FFF2-40B4-BE49-F238E27FC236}">
                  <a16:creationId xmlns:a16="http://schemas.microsoft.com/office/drawing/2014/main" id="{2F2E6624-E54B-43FB-A82C-07F4C070214B}"/>
                </a:ext>
              </a:extLst>
            </p:cNvPr>
            <p:cNvGrpSpPr/>
            <p:nvPr/>
          </p:nvGrpSpPr>
          <p:grpSpPr bwMode="gray">
            <a:xfrm>
              <a:off x="5535274" y="4652774"/>
              <a:ext cx="1124606" cy="543427"/>
              <a:chOff x="5512563" y="4652774"/>
              <a:chExt cx="1170027" cy="543427"/>
            </a:xfrm>
            <a:grpFill/>
          </p:grpSpPr>
          <p:grpSp>
            <p:nvGrpSpPr>
              <p:cNvPr id="48" name="Group 47">
                <a:extLst>
                  <a:ext uri="{FF2B5EF4-FFF2-40B4-BE49-F238E27FC236}">
                    <a16:creationId xmlns:a16="http://schemas.microsoft.com/office/drawing/2014/main" id="{BD1480F1-28C9-4F27-A15C-3C451D2FCCD6}"/>
                  </a:ext>
                </a:extLst>
              </p:cNvPr>
              <p:cNvGrpSpPr/>
              <p:nvPr/>
            </p:nvGrpSpPr>
            <p:grpSpPr bwMode="gray">
              <a:xfrm>
                <a:off x="5512563" y="4652774"/>
                <a:ext cx="1170027" cy="478026"/>
                <a:chOff x="3779250" y="4410034"/>
                <a:chExt cx="954292" cy="334935"/>
              </a:xfrm>
              <a:grpFill/>
            </p:grpSpPr>
            <p:sp>
              <p:nvSpPr>
                <p:cNvPr id="51" name="Freeform: Shape 50">
                  <a:extLst>
                    <a:ext uri="{FF2B5EF4-FFF2-40B4-BE49-F238E27FC236}">
                      <a16:creationId xmlns:a16="http://schemas.microsoft.com/office/drawing/2014/main" id="{146CA217-B20C-4AB0-A9CB-97F8CCC1D4A8}"/>
                    </a:ext>
                  </a:extLst>
                </p:cNvPr>
                <p:cNvSpPr/>
                <p:nvPr/>
              </p:nvSpPr>
              <p:spPr bwMode="gray">
                <a:xfrm>
                  <a:off x="3779250" y="4410034"/>
                  <a:ext cx="954292" cy="213849"/>
                </a:xfrm>
                <a:custGeom>
                  <a:avLst/>
                  <a:gdLst>
                    <a:gd name="connsiteX0" fmla="*/ 141232 w 954292"/>
                    <a:gd name="connsiteY0" fmla="*/ 0 h 213849"/>
                    <a:gd name="connsiteX1" fmla="*/ 813060 w 954292"/>
                    <a:gd name="connsiteY1" fmla="*/ 0 h 213849"/>
                    <a:gd name="connsiteX2" fmla="*/ 954292 w 954292"/>
                    <a:gd name="connsiteY2" fmla="*/ 141232 h 213849"/>
                    <a:gd name="connsiteX3" fmla="*/ 954292 w 954292"/>
                    <a:gd name="connsiteY3" fmla="*/ 193703 h 213849"/>
                    <a:gd name="connsiteX4" fmla="*/ 950225 w 954292"/>
                    <a:gd name="connsiteY4" fmla="*/ 213849 h 213849"/>
                    <a:gd name="connsiteX5" fmla="*/ 4067 w 954292"/>
                    <a:gd name="connsiteY5" fmla="*/ 213849 h 213849"/>
                    <a:gd name="connsiteX6" fmla="*/ 0 w 954292"/>
                    <a:gd name="connsiteY6" fmla="*/ 193703 h 213849"/>
                    <a:gd name="connsiteX7" fmla="*/ 0 w 954292"/>
                    <a:gd name="connsiteY7" fmla="*/ 141232 h 213849"/>
                    <a:gd name="connsiteX8" fmla="*/ 141232 w 954292"/>
                    <a:gd name="connsiteY8" fmla="*/ 0 h 21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292" h="213849">
                      <a:moveTo>
                        <a:pt x="141232" y="0"/>
                      </a:moveTo>
                      <a:lnTo>
                        <a:pt x="813060" y="0"/>
                      </a:lnTo>
                      <a:cubicBezTo>
                        <a:pt x="891060" y="0"/>
                        <a:pt x="954292" y="63232"/>
                        <a:pt x="954292" y="141232"/>
                      </a:cubicBezTo>
                      <a:lnTo>
                        <a:pt x="954292" y="193703"/>
                      </a:lnTo>
                      <a:lnTo>
                        <a:pt x="950225" y="213849"/>
                      </a:lnTo>
                      <a:lnTo>
                        <a:pt x="4067" y="213849"/>
                      </a:lnTo>
                      <a:lnTo>
                        <a:pt x="0" y="193703"/>
                      </a:lnTo>
                      <a:lnTo>
                        <a:pt x="0" y="141232"/>
                      </a:lnTo>
                      <a:cubicBezTo>
                        <a:pt x="0" y="63232"/>
                        <a:pt x="63232" y="0"/>
                        <a:pt x="141232" y="0"/>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a:solidFill>
                        <a:schemeClr val="accent2"/>
                      </a:solidFill>
                    </a:rPr>
                    <a:t>Zone 0</a:t>
                  </a:r>
                </a:p>
              </p:txBody>
            </p:sp>
            <p:sp>
              <p:nvSpPr>
                <p:cNvPr id="52" name="Freeform: Shape 51">
                  <a:extLst>
                    <a:ext uri="{FF2B5EF4-FFF2-40B4-BE49-F238E27FC236}">
                      <a16:creationId xmlns:a16="http://schemas.microsoft.com/office/drawing/2014/main" id="{EC858631-5431-4CEB-AEB0-A33796CC9B28}"/>
                    </a:ext>
                  </a:extLst>
                </p:cNvPr>
                <p:cNvSpPr/>
                <p:nvPr/>
              </p:nvSpPr>
              <p:spPr bwMode="gray">
                <a:xfrm>
                  <a:off x="3783316" y="4623883"/>
                  <a:ext cx="946157" cy="121086"/>
                </a:xfrm>
                <a:custGeom>
                  <a:avLst/>
                  <a:gdLst>
                    <a:gd name="connsiteX0" fmla="*/ 0 w 946157"/>
                    <a:gd name="connsiteY0" fmla="*/ 0 h 121086"/>
                    <a:gd name="connsiteX1" fmla="*/ 946157 w 946157"/>
                    <a:gd name="connsiteY1" fmla="*/ 0 h 121086"/>
                    <a:gd name="connsiteX2" fmla="*/ 939125 w 946157"/>
                    <a:gd name="connsiteY2" fmla="*/ 34828 h 121086"/>
                    <a:gd name="connsiteX3" fmla="*/ 808992 w 946157"/>
                    <a:gd name="connsiteY3" fmla="*/ 121086 h 121086"/>
                    <a:gd name="connsiteX4" fmla="*/ 137164 w 946157"/>
                    <a:gd name="connsiteY4" fmla="*/ 121086 h 121086"/>
                    <a:gd name="connsiteX5" fmla="*/ 7031 w 946157"/>
                    <a:gd name="connsiteY5" fmla="*/ 34828 h 12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157" h="121086">
                      <a:moveTo>
                        <a:pt x="0" y="0"/>
                      </a:moveTo>
                      <a:lnTo>
                        <a:pt x="946157" y="0"/>
                      </a:lnTo>
                      <a:lnTo>
                        <a:pt x="939125" y="34828"/>
                      </a:lnTo>
                      <a:cubicBezTo>
                        <a:pt x="917685" y="85518"/>
                        <a:pt x="867492" y="121086"/>
                        <a:pt x="808992" y="121086"/>
                      </a:cubicBezTo>
                      <a:lnTo>
                        <a:pt x="137164" y="121086"/>
                      </a:lnTo>
                      <a:cubicBezTo>
                        <a:pt x="78664" y="121086"/>
                        <a:pt x="28471" y="85518"/>
                        <a:pt x="7031" y="34828"/>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000" dirty="0">
                    <a:solidFill>
                      <a:schemeClr val="accent2"/>
                    </a:solidFill>
                  </a:endParaRPr>
                </a:p>
              </p:txBody>
            </p:sp>
          </p:grpSp>
          <p:cxnSp>
            <p:nvCxnSpPr>
              <p:cNvPr id="49" name="Straight Connector 48">
                <a:extLst>
                  <a:ext uri="{FF2B5EF4-FFF2-40B4-BE49-F238E27FC236}">
                    <a16:creationId xmlns:a16="http://schemas.microsoft.com/office/drawing/2014/main" id="{DA5E5A31-4571-48CB-B8AB-7125C8A3A68E}"/>
                  </a:ext>
                </a:extLst>
              </p:cNvPr>
              <p:cNvCxnSpPr>
                <a:cxnSpLocks/>
                <a:stCxn id="52" idx="4"/>
              </p:cNvCxnSpPr>
              <p:nvPr/>
            </p:nvCxnSpPr>
            <p:spPr bwMode="gray">
              <a:xfrm flipH="1">
                <a:off x="5685554" y="5130800"/>
                <a:ext cx="166" cy="65401"/>
              </a:xfrm>
              <a:prstGeom prst="line">
                <a:avLst/>
              </a:prstGeom>
              <a:grpFill/>
              <a:ln w="19050">
                <a:solidFill>
                  <a:schemeClr val="accent2"/>
                </a:solidFill>
                <a:prstDash val="solid"/>
                <a:round/>
                <a:headEnd/>
                <a:tailEnd/>
              </a:ln>
            </p:spPr>
          </p:cxnSp>
          <p:cxnSp>
            <p:nvCxnSpPr>
              <p:cNvPr id="50" name="Straight Connector 49">
                <a:extLst>
                  <a:ext uri="{FF2B5EF4-FFF2-40B4-BE49-F238E27FC236}">
                    <a16:creationId xmlns:a16="http://schemas.microsoft.com/office/drawing/2014/main" id="{E684D3CB-211A-4B3C-ACA7-418054A0E89B}"/>
                  </a:ext>
                </a:extLst>
              </p:cNvPr>
              <p:cNvCxnSpPr>
                <a:cxnSpLocks/>
                <a:stCxn id="52" idx="3"/>
              </p:cNvCxnSpPr>
              <p:nvPr/>
            </p:nvCxnSpPr>
            <p:spPr bwMode="gray">
              <a:xfrm>
                <a:off x="6509427" y="5130800"/>
                <a:ext cx="0" cy="65401"/>
              </a:xfrm>
              <a:prstGeom prst="line">
                <a:avLst/>
              </a:prstGeom>
              <a:grpFill/>
              <a:ln w="19050">
                <a:solidFill>
                  <a:schemeClr val="accent2"/>
                </a:solidFill>
                <a:prstDash val="solid"/>
                <a:round/>
                <a:headEnd/>
                <a:tailEnd/>
              </a:ln>
            </p:spPr>
          </p:cxnSp>
        </p:grpSp>
      </p:grpSp>
      <p:grpSp>
        <p:nvGrpSpPr>
          <p:cNvPr id="72" name="Group 71">
            <a:extLst>
              <a:ext uri="{FF2B5EF4-FFF2-40B4-BE49-F238E27FC236}">
                <a16:creationId xmlns:a16="http://schemas.microsoft.com/office/drawing/2014/main" id="{8904E3CE-6764-4DAB-A06B-A52B94A7E6EE}"/>
              </a:ext>
            </a:extLst>
          </p:cNvPr>
          <p:cNvGrpSpPr/>
          <p:nvPr/>
        </p:nvGrpSpPr>
        <p:grpSpPr bwMode="gray">
          <a:xfrm>
            <a:off x="2892680" y="4739816"/>
            <a:ext cx="613558" cy="238299"/>
            <a:chOff x="2892680" y="4556084"/>
            <a:chExt cx="613558" cy="238299"/>
          </a:xfrm>
        </p:grpSpPr>
        <p:pic>
          <p:nvPicPr>
            <p:cNvPr id="67" name="Grafik 12">
              <a:extLst>
                <a:ext uri="{FF2B5EF4-FFF2-40B4-BE49-F238E27FC236}">
                  <a16:creationId xmlns:a16="http://schemas.microsoft.com/office/drawing/2014/main" id="{E6029A00-8B7C-4F72-A332-4C346ADA2A47}"/>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3267939" y="4556084"/>
              <a:ext cx="238299" cy="238299"/>
            </a:xfrm>
            <a:prstGeom prst="rect">
              <a:avLst/>
            </a:prstGeom>
            <a:noFill/>
            <a:ln w="9525">
              <a:noFill/>
              <a:miter lim="800000"/>
              <a:headEnd/>
              <a:tailEnd/>
            </a:ln>
          </p:spPr>
        </p:pic>
        <p:pic>
          <p:nvPicPr>
            <p:cNvPr id="54" name="Grafik 8">
              <a:extLst>
                <a:ext uri="{FF2B5EF4-FFF2-40B4-BE49-F238E27FC236}">
                  <a16:creationId xmlns:a16="http://schemas.microsoft.com/office/drawing/2014/main" id="{0D82E6A3-0A85-45F8-AA97-1FDFF0DC669E}"/>
                </a:ext>
              </a:extLst>
            </p:cNvPr>
            <p:cNvPicPr>
              <a:picLocks noChangeAspect="1"/>
            </p:cNvPicPr>
            <p:nvPr/>
          </p:nvPicPr>
          <p:blipFill>
            <a:blip r:embed="rId6">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2892680" y="4561421"/>
              <a:ext cx="189245" cy="227624"/>
            </a:xfrm>
            <a:prstGeom prst="rect">
              <a:avLst/>
            </a:prstGeom>
            <a:noFill/>
            <a:ln w="9525">
              <a:noFill/>
              <a:miter lim="800000"/>
              <a:headEnd/>
              <a:tailEnd/>
            </a:ln>
          </p:spPr>
        </p:pic>
      </p:grpSp>
      <p:pic>
        <p:nvPicPr>
          <p:cNvPr id="64" name="Grafik 15">
            <a:extLst>
              <a:ext uri="{FF2B5EF4-FFF2-40B4-BE49-F238E27FC236}">
                <a16:creationId xmlns:a16="http://schemas.microsoft.com/office/drawing/2014/main" id="{D47C3EED-7610-40DD-822C-89680E6FCDCF}"/>
              </a:ext>
            </a:extLst>
          </p:cNvPr>
          <p:cNvPicPr>
            <a:picLocks noChangeAspect="1"/>
          </p:cNvPicPr>
          <p:nvPr/>
        </p:nvPicPr>
        <p:blipFill>
          <a:blip r:embed="rId7">
            <a:duotone>
              <a:schemeClr val="accent2">
                <a:shade val="45000"/>
                <a:satMod val="135000"/>
              </a:schemeClr>
              <a:prstClr val="white"/>
            </a:duotone>
          </a:blip>
          <a:stretch>
            <a:fillRect/>
          </a:stretch>
        </p:blipFill>
        <p:spPr bwMode="gray">
          <a:xfrm>
            <a:off x="689251" y="4957870"/>
            <a:ext cx="250622" cy="242127"/>
          </a:xfrm>
          <a:prstGeom prst="rect">
            <a:avLst/>
          </a:prstGeom>
          <a:noFill/>
          <a:ln w="9525">
            <a:noFill/>
            <a:miter lim="800000"/>
            <a:headEnd/>
            <a:tailEnd/>
          </a:ln>
        </p:spPr>
      </p:pic>
      <p:grpSp>
        <p:nvGrpSpPr>
          <p:cNvPr id="78" name="Group 77">
            <a:extLst>
              <a:ext uri="{FF2B5EF4-FFF2-40B4-BE49-F238E27FC236}">
                <a16:creationId xmlns:a16="http://schemas.microsoft.com/office/drawing/2014/main" id="{C1F01A1D-C907-41FD-B323-7D4B30DC8278}"/>
              </a:ext>
            </a:extLst>
          </p:cNvPr>
          <p:cNvGrpSpPr/>
          <p:nvPr/>
        </p:nvGrpSpPr>
        <p:grpSpPr bwMode="gray">
          <a:xfrm>
            <a:off x="11137723" y="3981057"/>
            <a:ext cx="743958" cy="643249"/>
            <a:chOff x="10435243" y="3828862"/>
            <a:chExt cx="743958" cy="643249"/>
          </a:xfrm>
        </p:grpSpPr>
        <p:grpSp>
          <p:nvGrpSpPr>
            <p:cNvPr id="79" name="Group 78">
              <a:extLst>
                <a:ext uri="{FF2B5EF4-FFF2-40B4-BE49-F238E27FC236}">
                  <a16:creationId xmlns:a16="http://schemas.microsoft.com/office/drawing/2014/main" id="{09F0DA17-FF74-40B7-A9C9-57C7C9339016}"/>
                </a:ext>
              </a:extLst>
            </p:cNvPr>
            <p:cNvGrpSpPr/>
            <p:nvPr/>
          </p:nvGrpSpPr>
          <p:grpSpPr bwMode="gray">
            <a:xfrm>
              <a:off x="10599656" y="3828862"/>
              <a:ext cx="415133" cy="194710"/>
              <a:chOff x="10515916" y="3811924"/>
              <a:chExt cx="487364" cy="228587"/>
            </a:xfrm>
          </p:grpSpPr>
          <p:grpSp>
            <p:nvGrpSpPr>
              <p:cNvPr id="81" name="Group 80">
                <a:extLst>
                  <a:ext uri="{FF2B5EF4-FFF2-40B4-BE49-F238E27FC236}">
                    <a16:creationId xmlns:a16="http://schemas.microsoft.com/office/drawing/2014/main" id="{02F14C9A-0EB9-4409-83B4-EFBF42F2346A}"/>
                  </a:ext>
                </a:extLst>
              </p:cNvPr>
              <p:cNvGrpSpPr/>
              <p:nvPr/>
            </p:nvGrpSpPr>
            <p:grpSpPr bwMode="gray">
              <a:xfrm>
                <a:off x="10515916" y="3811924"/>
                <a:ext cx="228586" cy="228587"/>
                <a:chOff x="10833472" y="5375716"/>
                <a:chExt cx="212874" cy="212875"/>
              </a:xfrm>
            </p:grpSpPr>
            <p:sp>
              <p:nvSpPr>
                <p:cNvPr id="86" name="Freeform 90">
                  <a:extLst>
                    <a:ext uri="{FF2B5EF4-FFF2-40B4-BE49-F238E27FC236}">
                      <a16:creationId xmlns:a16="http://schemas.microsoft.com/office/drawing/2014/main" id="{EA713E19-F413-43F1-9AE8-5A58417797FB}"/>
                    </a:ext>
                  </a:extLst>
                </p:cNvPr>
                <p:cNvSpPr>
                  <a:spLocks/>
                </p:cNvSpPr>
                <p:nvPr/>
              </p:nvSpPr>
              <p:spPr bwMode="gray">
                <a:xfrm rot="2700000">
                  <a:off x="10920767" y="5463011"/>
                  <a:ext cx="38284" cy="38285"/>
                </a:xfrm>
                <a:prstGeom prst="ellips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87" name="Freeform 91">
                  <a:extLst>
                    <a:ext uri="{FF2B5EF4-FFF2-40B4-BE49-F238E27FC236}">
                      <a16:creationId xmlns:a16="http://schemas.microsoft.com/office/drawing/2014/main" id="{49D7F607-CF15-48EF-8888-3D75BBD1FC1F}"/>
                    </a:ext>
                  </a:extLst>
                </p:cNvPr>
                <p:cNvSpPr>
                  <a:spLocks/>
                </p:cNvSpPr>
                <p:nvPr/>
              </p:nvSpPr>
              <p:spPr bwMode="gray">
                <a:xfrm rot="2700000">
                  <a:off x="10895244" y="5437488"/>
                  <a:ext cx="89330" cy="89330"/>
                </a:xfrm>
                <a:prstGeom prst="ellips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88" name="Freeform: Shape 87">
                  <a:extLst>
                    <a:ext uri="{FF2B5EF4-FFF2-40B4-BE49-F238E27FC236}">
                      <a16:creationId xmlns:a16="http://schemas.microsoft.com/office/drawing/2014/main" id="{B9A76CFB-8711-4811-B2CB-5B596EA2A98D}"/>
                    </a:ext>
                  </a:extLst>
                </p:cNvPr>
                <p:cNvSpPr/>
                <p:nvPr/>
              </p:nvSpPr>
              <p:spPr bwMode="gray">
                <a:xfrm rot="2700000">
                  <a:off x="10977440" y="5375716"/>
                  <a:ext cx="49496" cy="88317"/>
                </a:xfrm>
                <a:custGeom>
                  <a:avLst/>
                  <a:gdLst>
                    <a:gd name="connsiteX0" fmla="*/ 312891 w 625781"/>
                    <a:gd name="connsiteY0" fmla="*/ 0 h 1116609"/>
                    <a:gd name="connsiteX1" fmla="*/ 592943 w 625781"/>
                    <a:gd name="connsiteY1" fmla="*/ 199547 h 1116609"/>
                    <a:gd name="connsiteX2" fmla="*/ 608688 w 625781"/>
                    <a:gd name="connsiteY2" fmla="*/ 254073 h 1116609"/>
                    <a:gd name="connsiteX3" fmla="*/ 610717 w 625781"/>
                    <a:gd name="connsiteY3" fmla="*/ 259700 h 1116609"/>
                    <a:gd name="connsiteX4" fmla="*/ 601128 w 625781"/>
                    <a:gd name="connsiteY4" fmla="*/ 573182 h 1116609"/>
                    <a:gd name="connsiteX5" fmla="*/ 454113 w 625781"/>
                    <a:gd name="connsiteY5" fmla="*/ 995588 h 1116609"/>
                    <a:gd name="connsiteX6" fmla="*/ 406296 w 625781"/>
                    <a:gd name="connsiteY6" fmla="*/ 1116560 h 1116609"/>
                    <a:gd name="connsiteX7" fmla="*/ 312890 w 625781"/>
                    <a:gd name="connsiteY7" fmla="*/ 1107144 h 1116609"/>
                    <a:gd name="connsiteX8" fmla="*/ 219001 w 625781"/>
                    <a:gd name="connsiteY8" fmla="*/ 1116609 h 1116609"/>
                    <a:gd name="connsiteX9" fmla="*/ 168436 w 625781"/>
                    <a:gd name="connsiteY9" fmla="*/ 989547 h 1116609"/>
                    <a:gd name="connsiteX10" fmla="*/ 24653 w 625781"/>
                    <a:gd name="connsiteY10" fmla="*/ 573182 h 1116609"/>
                    <a:gd name="connsiteX11" fmla="*/ 15064 w 625781"/>
                    <a:gd name="connsiteY11" fmla="*/ 259700 h 1116609"/>
                    <a:gd name="connsiteX12" fmla="*/ 17095 w 625781"/>
                    <a:gd name="connsiteY12" fmla="*/ 254066 h 1116609"/>
                    <a:gd name="connsiteX13" fmla="*/ 32839 w 625781"/>
                    <a:gd name="connsiteY13" fmla="*/ 199547 h 1116609"/>
                    <a:gd name="connsiteX14" fmla="*/ 312891 w 625781"/>
                    <a:gd name="connsiteY14" fmla="*/ 0 h 111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781" h="1116609">
                      <a:moveTo>
                        <a:pt x="312891" y="0"/>
                      </a:moveTo>
                      <a:cubicBezTo>
                        <a:pt x="438786" y="0"/>
                        <a:pt x="546802" y="82282"/>
                        <a:pt x="592943" y="199547"/>
                      </a:cubicBezTo>
                      <a:lnTo>
                        <a:pt x="608688" y="254073"/>
                      </a:lnTo>
                      <a:lnTo>
                        <a:pt x="610717" y="259700"/>
                      </a:lnTo>
                      <a:cubicBezTo>
                        <a:pt x="634090" y="348834"/>
                        <a:pt x="629787" y="456801"/>
                        <a:pt x="601128" y="573182"/>
                      </a:cubicBezTo>
                      <a:cubicBezTo>
                        <a:pt x="565967" y="701371"/>
                        <a:pt x="508517" y="856074"/>
                        <a:pt x="454113" y="995588"/>
                      </a:cubicBezTo>
                      <a:lnTo>
                        <a:pt x="406296" y="1116560"/>
                      </a:lnTo>
                      <a:lnTo>
                        <a:pt x="312890" y="1107144"/>
                      </a:lnTo>
                      <a:lnTo>
                        <a:pt x="219001" y="1116609"/>
                      </a:lnTo>
                      <a:lnTo>
                        <a:pt x="168436" y="989547"/>
                      </a:lnTo>
                      <a:cubicBezTo>
                        <a:pt x="112954" y="848019"/>
                        <a:pt x="55504" y="693317"/>
                        <a:pt x="24653" y="573182"/>
                      </a:cubicBezTo>
                      <a:cubicBezTo>
                        <a:pt x="-4006" y="456801"/>
                        <a:pt x="-8309" y="348834"/>
                        <a:pt x="15064" y="259700"/>
                      </a:cubicBezTo>
                      <a:lnTo>
                        <a:pt x="17095" y="254066"/>
                      </a:lnTo>
                      <a:lnTo>
                        <a:pt x="32839" y="199547"/>
                      </a:lnTo>
                      <a:cubicBezTo>
                        <a:pt x="78979" y="82282"/>
                        <a:pt x="186996" y="0"/>
                        <a:pt x="312891" y="0"/>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89" name="Freeform: Shape 88">
                  <a:extLst>
                    <a:ext uri="{FF2B5EF4-FFF2-40B4-BE49-F238E27FC236}">
                      <a16:creationId xmlns:a16="http://schemas.microsoft.com/office/drawing/2014/main" id="{1BA5B198-2779-4B8A-BA40-0AFF8B146D49}"/>
                    </a:ext>
                  </a:extLst>
                </p:cNvPr>
                <p:cNvSpPr/>
                <p:nvPr/>
              </p:nvSpPr>
              <p:spPr bwMode="gray">
                <a:xfrm rot="13500000">
                  <a:off x="10852883" y="5500273"/>
                  <a:ext cx="49496" cy="88318"/>
                </a:xfrm>
                <a:custGeom>
                  <a:avLst/>
                  <a:gdLst>
                    <a:gd name="connsiteX0" fmla="*/ 219001 w 625781"/>
                    <a:gd name="connsiteY0" fmla="*/ 1116610 h 1116610"/>
                    <a:gd name="connsiteX1" fmla="*/ 168435 w 625781"/>
                    <a:gd name="connsiteY1" fmla="*/ 989547 h 1116610"/>
                    <a:gd name="connsiteX2" fmla="*/ 24653 w 625781"/>
                    <a:gd name="connsiteY2" fmla="*/ 573182 h 1116610"/>
                    <a:gd name="connsiteX3" fmla="*/ 15064 w 625781"/>
                    <a:gd name="connsiteY3" fmla="*/ 259700 h 1116610"/>
                    <a:gd name="connsiteX4" fmla="*/ 17095 w 625781"/>
                    <a:gd name="connsiteY4" fmla="*/ 254066 h 1116610"/>
                    <a:gd name="connsiteX5" fmla="*/ 32839 w 625781"/>
                    <a:gd name="connsiteY5" fmla="*/ 199547 h 1116610"/>
                    <a:gd name="connsiteX6" fmla="*/ 312891 w 625781"/>
                    <a:gd name="connsiteY6" fmla="*/ 0 h 1116610"/>
                    <a:gd name="connsiteX7" fmla="*/ 592943 w 625781"/>
                    <a:gd name="connsiteY7" fmla="*/ 199547 h 1116610"/>
                    <a:gd name="connsiteX8" fmla="*/ 608688 w 625781"/>
                    <a:gd name="connsiteY8" fmla="*/ 254073 h 1116610"/>
                    <a:gd name="connsiteX9" fmla="*/ 610717 w 625781"/>
                    <a:gd name="connsiteY9" fmla="*/ 259700 h 1116610"/>
                    <a:gd name="connsiteX10" fmla="*/ 601128 w 625781"/>
                    <a:gd name="connsiteY10" fmla="*/ 573182 h 1116610"/>
                    <a:gd name="connsiteX11" fmla="*/ 454113 w 625781"/>
                    <a:gd name="connsiteY11" fmla="*/ 995588 h 1116610"/>
                    <a:gd name="connsiteX12" fmla="*/ 406296 w 625781"/>
                    <a:gd name="connsiteY12" fmla="*/ 1116561 h 1116610"/>
                    <a:gd name="connsiteX13" fmla="*/ 312891 w 625781"/>
                    <a:gd name="connsiteY13" fmla="*/ 1107145 h 111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5781" h="1116610">
                      <a:moveTo>
                        <a:pt x="219001" y="1116610"/>
                      </a:moveTo>
                      <a:lnTo>
                        <a:pt x="168435" y="989547"/>
                      </a:lnTo>
                      <a:cubicBezTo>
                        <a:pt x="112954" y="848019"/>
                        <a:pt x="55504" y="693317"/>
                        <a:pt x="24653" y="573182"/>
                      </a:cubicBezTo>
                      <a:cubicBezTo>
                        <a:pt x="-4006" y="456801"/>
                        <a:pt x="-8309" y="348834"/>
                        <a:pt x="15064" y="259700"/>
                      </a:cubicBezTo>
                      <a:lnTo>
                        <a:pt x="17095" y="254066"/>
                      </a:lnTo>
                      <a:lnTo>
                        <a:pt x="32839" y="199547"/>
                      </a:lnTo>
                      <a:cubicBezTo>
                        <a:pt x="78979" y="82282"/>
                        <a:pt x="186996" y="0"/>
                        <a:pt x="312891" y="0"/>
                      </a:cubicBezTo>
                      <a:cubicBezTo>
                        <a:pt x="438786" y="0"/>
                        <a:pt x="546802" y="82282"/>
                        <a:pt x="592943" y="199547"/>
                      </a:cubicBezTo>
                      <a:lnTo>
                        <a:pt x="608688" y="254073"/>
                      </a:lnTo>
                      <a:lnTo>
                        <a:pt x="610717" y="259700"/>
                      </a:lnTo>
                      <a:cubicBezTo>
                        <a:pt x="634090" y="348834"/>
                        <a:pt x="629787" y="456801"/>
                        <a:pt x="601128" y="573182"/>
                      </a:cubicBezTo>
                      <a:cubicBezTo>
                        <a:pt x="565967" y="701371"/>
                        <a:pt x="508518" y="856074"/>
                        <a:pt x="454113" y="995588"/>
                      </a:cubicBezTo>
                      <a:lnTo>
                        <a:pt x="406296" y="1116561"/>
                      </a:lnTo>
                      <a:lnTo>
                        <a:pt x="312891" y="1107145"/>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90" name="Freeform: Shape 89">
                  <a:extLst>
                    <a:ext uri="{FF2B5EF4-FFF2-40B4-BE49-F238E27FC236}">
                      <a16:creationId xmlns:a16="http://schemas.microsoft.com/office/drawing/2014/main" id="{48184BB3-0E43-4999-BB4B-EE75E5ABCA15}"/>
                    </a:ext>
                  </a:extLst>
                </p:cNvPr>
                <p:cNvSpPr/>
                <p:nvPr/>
              </p:nvSpPr>
              <p:spPr bwMode="gray">
                <a:xfrm rot="8100000">
                  <a:off x="10977440" y="5500273"/>
                  <a:ext cx="49496" cy="88318"/>
                </a:xfrm>
                <a:custGeom>
                  <a:avLst/>
                  <a:gdLst>
                    <a:gd name="connsiteX0" fmla="*/ 347 w 625781"/>
                    <a:gd name="connsiteY0" fmla="*/ 406223 h 1116610"/>
                    <a:gd name="connsiteX1" fmla="*/ 15064 w 625781"/>
                    <a:gd name="connsiteY1" fmla="*/ 259699 h 1116610"/>
                    <a:gd name="connsiteX2" fmla="*/ 17095 w 625781"/>
                    <a:gd name="connsiteY2" fmla="*/ 254066 h 1116610"/>
                    <a:gd name="connsiteX3" fmla="*/ 32839 w 625781"/>
                    <a:gd name="connsiteY3" fmla="*/ 199547 h 1116610"/>
                    <a:gd name="connsiteX4" fmla="*/ 312891 w 625781"/>
                    <a:gd name="connsiteY4" fmla="*/ 0 h 1116610"/>
                    <a:gd name="connsiteX5" fmla="*/ 592943 w 625781"/>
                    <a:gd name="connsiteY5" fmla="*/ 199547 h 1116610"/>
                    <a:gd name="connsiteX6" fmla="*/ 608688 w 625781"/>
                    <a:gd name="connsiteY6" fmla="*/ 254073 h 1116610"/>
                    <a:gd name="connsiteX7" fmla="*/ 610717 w 625781"/>
                    <a:gd name="connsiteY7" fmla="*/ 259699 h 1116610"/>
                    <a:gd name="connsiteX8" fmla="*/ 601128 w 625781"/>
                    <a:gd name="connsiteY8" fmla="*/ 573182 h 1116610"/>
                    <a:gd name="connsiteX9" fmla="*/ 454113 w 625781"/>
                    <a:gd name="connsiteY9" fmla="*/ 995588 h 1116610"/>
                    <a:gd name="connsiteX10" fmla="*/ 406296 w 625781"/>
                    <a:gd name="connsiteY10" fmla="*/ 1116561 h 1116610"/>
                    <a:gd name="connsiteX11" fmla="*/ 312890 w 625781"/>
                    <a:gd name="connsiteY11" fmla="*/ 1107145 h 1116610"/>
                    <a:gd name="connsiteX12" fmla="*/ 219001 w 625781"/>
                    <a:gd name="connsiteY12" fmla="*/ 1116610 h 1116610"/>
                    <a:gd name="connsiteX13" fmla="*/ 168436 w 625781"/>
                    <a:gd name="connsiteY13" fmla="*/ 989547 h 1116610"/>
                    <a:gd name="connsiteX14" fmla="*/ 24653 w 625781"/>
                    <a:gd name="connsiteY14" fmla="*/ 573182 h 1116610"/>
                    <a:gd name="connsiteX15" fmla="*/ 347 w 625781"/>
                    <a:gd name="connsiteY15" fmla="*/ 406223 h 111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781" h="1116610">
                      <a:moveTo>
                        <a:pt x="347" y="406223"/>
                      </a:moveTo>
                      <a:cubicBezTo>
                        <a:pt x="-1390" y="353542"/>
                        <a:pt x="3378" y="304266"/>
                        <a:pt x="15064" y="259699"/>
                      </a:cubicBezTo>
                      <a:lnTo>
                        <a:pt x="17095" y="254066"/>
                      </a:lnTo>
                      <a:lnTo>
                        <a:pt x="32839" y="199547"/>
                      </a:lnTo>
                      <a:cubicBezTo>
                        <a:pt x="78979" y="82282"/>
                        <a:pt x="186996" y="0"/>
                        <a:pt x="312891" y="0"/>
                      </a:cubicBezTo>
                      <a:cubicBezTo>
                        <a:pt x="438786" y="0"/>
                        <a:pt x="546802" y="82282"/>
                        <a:pt x="592943" y="199547"/>
                      </a:cubicBezTo>
                      <a:lnTo>
                        <a:pt x="608688" y="254073"/>
                      </a:lnTo>
                      <a:lnTo>
                        <a:pt x="610717" y="259699"/>
                      </a:lnTo>
                      <a:cubicBezTo>
                        <a:pt x="634090" y="348834"/>
                        <a:pt x="629787" y="456801"/>
                        <a:pt x="601128" y="573182"/>
                      </a:cubicBezTo>
                      <a:cubicBezTo>
                        <a:pt x="565967" y="701371"/>
                        <a:pt x="508517" y="856074"/>
                        <a:pt x="454113" y="995588"/>
                      </a:cubicBezTo>
                      <a:lnTo>
                        <a:pt x="406296" y="1116561"/>
                      </a:lnTo>
                      <a:lnTo>
                        <a:pt x="312890" y="1107145"/>
                      </a:lnTo>
                      <a:lnTo>
                        <a:pt x="219001" y="1116610"/>
                      </a:lnTo>
                      <a:lnTo>
                        <a:pt x="168436" y="989547"/>
                      </a:lnTo>
                      <a:cubicBezTo>
                        <a:pt x="112954" y="848019"/>
                        <a:pt x="55504" y="693317"/>
                        <a:pt x="24653" y="573182"/>
                      </a:cubicBezTo>
                      <a:cubicBezTo>
                        <a:pt x="10324" y="514992"/>
                        <a:pt x="2083" y="458904"/>
                        <a:pt x="347" y="406223"/>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91" name="Freeform: Shape 90">
                  <a:extLst>
                    <a:ext uri="{FF2B5EF4-FFF2-40B4-BE49-F238E27FC236}">
                      <a16:creationId xmlns:a16="http://schemas.microsoft.com/office/drawing/2014/main" id="{BBFD8BE6-8394-4EBD-A331-CB58A2EB6F40}"/>
                    </a:ext>
                  </a:extLst>
                </p:cNvPr>
                <p:cNvSpPr/>
                <p:nvPr/>
              </p:nvSpPr>
              <p:spPr bwMode="gray">
                <a:xfrm rot="18900000">
                  <a:off x="10852883" y="5375716"/>
                  <a:ext cx="49496" cy="88317"/>
                </a:xfrm>
                <a:custGeom>
                  <a:avLst/>
                  <a:gdLst>
                    <a:gd name="connsiteX0" fmla="*/ 625434 w 625780"/>
                    <a:gd name="connsiteY0" fmla="*/ 406223 h 1116609"/>
                    <a:gd name="connsiteX1" fmla="*/ 601128 w 625780"/>
                    <a:gd name="connsiteY1" fmla="*/ 573182 h 1116609"/>
                    <a:gd name="connsiteX2" fmla="*/ 454113 w 625780"/>
                    <a:gd name="connsiteY2" fmla="*/ 995588 h 1116609"/>
                    <a:gd name="connsiteX3" fmla="*/ 406296 w 625780"/>
                    <a:gd name="connsiteY3" fmla="*/ 1116560 h 1116609"/>
                    <a:gd name="connsiteX4" fmla="*/ 312891 w 625780"/>
                    <a:gd name="connsiteY4" fmla="*/ 1107144 h 1116609"/>
                    <a:gd name="connsiteX5" fmla="*/ 219001 w 625780"/>
                    <a:gd name="connsiteY5" fmla="*/ 1116609 h 1116609"/>
                    <a:gd name="connsiteX6" fmla="*/ 168436 w 625780"/>
                    <a:gd name="connsiteY6" fmla="*/ 989547 h 1116609"/>
                    <a:gd name="connsiteX7" fmla="*/ 24653 w 625780"/>
                    <a:gd name="connsiteY7" fmla="*/ 573182 h 1116609"/>
                    <a:gd name="connsiteX8" fmla="*/ 15064 w 625780"/>
                    <a:gd name="connsiteY8" fmla="*/ 259699 h 1116609"/>
                    <a:gd name="connsiteX9" fmla="*/ 17095 w 625780"/>
                    <a:gd name="connsiteY9" fmla="*/ 254066 h 1116609"/>
                    <a:gd name="connsiteX10" fmla="*/ 32839 w 625780"/>
                    <a:gd name="connsiteY10" fmla="*/ 199547 h 1116609"/>
                    <a:gd name="connsiteX11" fmla="*/ 312891 w 625780"/>
                    <a:gd name="connsiteY11" fmla="*/ 0 h 1116609"/>
                    <a:gd name="connsiteX12" fmla="*/ 592943 w 625780"/>
                    <a:gd name="connsiteY12" fmla="*/ 199547 h 1116609"/>
                    <a:gd name="connsiteX13" fmla="*/ 608688 w 625780"/>
                    <a:gd name="connsiteY13" fmla="*/ 254073 h 1116609"/>
                    <a:gd name="connsiteX14" fmla="*/ 610717 w 625780"/>
                    <a:gd name="connsiteY14" fmla="*/ 259699 h 1116609"/>
                    <a:gd name="connsiteX15" fmla="*/ 625434 w 625780"/>
                    <a:gd name="connsiteY15" fmla="*/ 406223 h 111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780" h="1116609">
                      <a:moveTo>
                        <a:pt x="625434" y="406223"/>
                      </a:moveTo>
                      <a:cubicBezTo>
                        <a:pt x="623698" y="458905"/>
                        <a:pt x="615457" y="514992"/>
                        <a:pt x="601128" y="573182"/>
                      </a:cubicBezTo>
                      <a:cubicBezTo>
                        <a:pt x="565967" y="701371"/>
                        <a:pt x="508517" y="856074"/>
                        <a:pt x="454113" y="995588"/>
                      </a:cubicBezTo>
                      <a:lnTo>
                        <a:pt x="406296" y="1116560"/>
                      </a:lnTo>
                      <a:lnTo>
                        <a:pt x="312891" y="1107144"/>
                      </a:lnTo>
                      <a:lnTo>
                        <a:pt x="219001" y="1116609"/>
                      </a:lnTo>
                      <a:lnTo>
                        <a:pt x="168436" y="989547"/>
                      </a:lnTo>
                      <a:cubicBezTo>
                        <a:pt x="112954" y="848019"/>
                        <a:pt x="55504" y="693317"/>
                        <a:pt x="24653" y="573182"/>
                      </a:cubicBezTo>
                      <a:cubicBezTo>
                        <a:pt x="-4006" y="456801"/>
                        <a:pt x="-8309" y="348834"/>
                        <a:pt x="15064" y="259699"/>
                      </a:cubicBezTo>
                      <a:lnTo>
                        <a:pt x="17095" y="254066"/>
                      </a:lnTo>
                      <a:lnTo>
                        <a:pt x="32839" y="199547"/>
                      </a:lnTo>
                      <a:cubicBezTo>
                        <a:pt x="78979" y="82282"/>
                        <a:pt x="186996" y="0"/>
                        <a:pt x="312891" y="0"/>
                      </a:cubicBezTo>
                      <a:cubicBezTo>
                        <a:pt x="438786" y="0"/>
                        <a:pt x="546802" y="82282"/>
                        <a:pt x="592943" y="199547"/>
                      </a:cubicBezTo>
                      <a:lnTo>
                        <a:pt x="608688" y="254073"/>
                      </a:lnTo>
                      <a:lnTo>
                        <a:pt x="610717" y="259699"/>
                      </a:lnTo>
                      <a:cubicBezTo>
                        <a:pt x="622403" y="304267"/>
                        <a:pt x="627171" y="353542"/>
                        <a:pt x="625434" y="406223"/>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grpSp>
          <p:grpSp>
            <p:nvGrpSpPr>
              <p:cNvPr id="82" name="Group 81">
                <a:extLst>
                  <a:ext uri="{FF2B5EF4-FFF2-40B4-BE49-F238E27FC236}">
                    <a16:creationId xmlns:a16="http://schemas.microsoft.com/office/drawing/2014/main" id="{04B1DAB2-7FD9-4677-ABC7-ADD0B228B2F3}"/>
                  </a:ext>
                </a:extLst>
              </p:cNvPr>
              <p:cNvGrpSpPr/>
              <p:nvPr/>
            </p:nvGrpSpPr>
            <p:grpSpPr bwMode="gray">
              <a:xfrm>
                <a:off x="10712659" y="3815739"/>
                <a:ext cx="290621" cy="213336"/>
                <a:chOff x="11053115" y="5295900"/>
                <a:chExt cx="501319" cy="253296"/>
              </a:xfrm>
            </p:grpSpPr>
            <p:sp>
              <p:nvSpPr>
                <p:cNvPr id="83" name="Freeform 66">
                  <a:extLst>
                    <a:ext uri="{FF2B5EF4-FFF2-40B4-BE49-F238E27FC236}">
                      <a16:creationId xmlns:a16="http://schemas.microsoft.com/office/drawing/2014/main" id="{FB4B8A3A-F90A-4D83-9E85-FCB3FD1B9033}"/>
                    </a:ext>
                  </a:extLst>
                </p:cNvPr>
                <p:cNvSpPr/>
                <p:nvPr/>
              </p:nvSpPr>
              <p:spPr bwMode="gray">
                <a:xfrm>
                  <a:off x="11120893" y="5295900"/>
                  <a:ext cx="294531" cy="81641"/>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8173 w 371072"/>
                    <a:gd name="connsiteY1" fmla="*/ 241661 h 264795"/>
                    <a:gd name="connsiteX2" fmla="*/ 367665 w 371072"/>
                    <a:gd name="connsiteY2" fmla="*/ 99060 h 264795"/>
                    <a:gd name="connsiteX3" fmla="*/ 316230 w 371072"/>
                    <a:gd name="connsiteY3" fmla="*/ 0 h 264795"/>
                    <a:gd name="connsiteX0" fmla="*/ 0 w 316230"/>
                    <a:gd name="connsiteY0" fmla="*/ 264795 h 267865"/>
                    <a:gd name="connsiteX1" fmla="*/ 278173 w 316230"/>
                    <a:gd name="connsiteY1" fmla="*/ 241661 h 267865"/>
                    <a:gd name="connsiteX2" fmla="*/ 316230 w 316230"/>
                    <a:gd name="connsiteY2" fmla="*/ 0 h 267865"/>
                    <a:gd name="connsiteX0" fmla="*/ 0 w 348201"/>
                    <a:gd name="connsiteY0" fmla="*/ 264795 h 267865"/>
                    <a:gd name="connsiteX1" fmla="*/ 329008 w 348201"/>
                    <a:gd name="connsiteY1" fmla="*/ 241661 h 267865"/>
                    <a:gd name="connsiteX2" fmla="*/ 316230 w 348201"/>
                    <a:gd name="connsiteY2" fmla="*/ 0 h 267865"/>
                    <a:gd name="connsiteX0" fmla="*/ 0 w 377767"/>
                    <a:gd name="connsiteY0" fmla="*/ 264795 h 267865"/>
                    <a:gd name="connsiteX1" fmla="*/ 329008 w 377767"/>
                    <a:gd name="connsiteY1" fmla="*/ 241661 h 267865"/>
                    <a:gd name="connsiteX2" fmla="*/ 377767 w 377767"/>
                    <a:gd name="connsiteY2" fmla="*/ 0 h 267865"/>
                    <a:gd name="connsiteX0" fmla="*/ 0 w 351892"/>
                    <a:gd name="connsiteY0" fmla="*/ 205831 h 205831"/>
                    <a:gd name="connsiteX1" fmla="*/ 329008 w 351892"/>
                    <a:gd name="connsiteY1" fmla="*/ 182697 h 205831"/>
                    <a:gd name="connsiteX2" fmla="*/ 329608 w 351892"/>
                    <a:gd name="connsiteY2" fmla="*/ 0 h 205831"/>
                    <a:gd name="connsiteX0" fmla="*/ 0 w 380444"/>
                    <a:gd name="connsiteY0" fmla="*/ 211727 h 211727"/>
                    <a:gd name="connsiteX1" fmla="*/ 329008 w 380444"/>
                    <a:gd name="connsiteY1" fmla="*/ 188593 h 211727"/>
                    <a:gd name="connsiteX2" fmla="*/ 380444 w 380444"/>
                    <a:gd name="connsiteY2" fmla="*/ 0 h 211727"/>
                    <a:gd name="connsiteX0" fmla="*/ 0 w 341777"/>
                    <a:gd name="connsiteY0" fmla="*/ 235312 h 236529"/>
                    <a:gd name="connsiteX1" fmla="*/ 329008 w 341777"/>
                    <a:gd name="connsiteY1" fmla="*/ 212178 h 236529"/>
                    <a:gd name="connsiteX2" fmla="*/ 284125 w 341777"/>
                    <a:gd name="connsiteY2" fmla="*/ 0 h 236529"/>
                    <a:gd name="connsiteX0" fmla="*/ 0 w 349318"/>
                    <a:gd name="connsiteY0" fmla="*/ 235312 h 236526"/>
                    <a:gd name="connsiteX1" fmla="*/ 329008 w 349318"/>
                    <a:gd name="connsiteY1" fmla="*/ 212178 h 236526"/>
                    <a:gd name="connsiteX2" fmla="*/ 284125 w 349318"/>
                    <a:gd name="connsiteY2" fmla="*/ 0 h 236526"/>
                    <a:gd name="connsiteX0" fmla="*/ 0 w 357781"/>
                    <a:gd name="connsiteY0" fmla="*/ 211727 h 211727"/>
                    <a:gd name="connsiteX1" fmla="*/ 329008 w 357781"/>
                    <a:gd name="connsiteY1" fmla="*/ 188593 h 211727"/>
                    <a:gd name="connsiteX2" fmla="*/ 308205 w 357781"/>
                    <a:gd name="connsiteY2" fmla="*/ 0 h 211727"/>
                    <a:gd name="connsiteX0" fmla="*/ 0 w 360084"/>
                    <a:gd name="connsiteY0" fmla="*/ 211727 h 211727"/>
                    <a:gd name="connsiteX1" fmla="*/ 329008 w 360084"/>
                    <a:gd name="connsiteY1" fmla="*/ 188593 h 211727"/>
                    <a:gd name="connsiteX2" fmla="*/ 313556 w 360084"/>
                    <a:gd name="connsiteY2" fmla="*/ 0 h 211727"/>
                    <a:gd name="connsiteX0" fmla="*/ 0 w 360906"/>
                    <a:gd name="connsiteY0" fmla="*/ 211727 h 211727"/>
                    <a:gd name="connsiteX1" fmla="*/ 329008 w 360906"/>
                    <a:gd name="connsiteY1" fmla="*/ 188593 h 211727"/>
                    <a:gd name="connsiteX2" fmla="*/ 313556 w 360906"/>
                    <a:gd name="connsiteY2" fmla="*/ 0 h 211727"/>
                    <a:gd name="connsiteX0" fmla="*/ 0 w 350666"/>
                    <a:gd name="connsiteY0" fmla="*/ 217623 h 217800"/>
                    <a:gd name="connsiteX1" fmla="*/ 329008 w 350666"/>
                    <a:gd name="connsiteY1" fmla="*/ 194489 h 217800"/>
                    <a:gd name="connsiteX2" fmla="*/ 286800 w 350666"/>
                    <a:gd name="connsiteY2" fmla="*/ 0 h 217800"/>
                    <a:gd name="connsiteX0" fmla="*/ 0 w 357945"/>
                    <a:gd name="connsiteY0" fmla="*/ 218487 h 218660"/>
                    <a:gd name="connsiteX1" fmla="*/ 329008 w 357945"/>
                    <a:gd name="connsiteY1" fmla="*/ 195353 h 218660"/>
                    <a:gd name="connsiteX2" fmla="*/ 286800 w 357945"/>
                    <a:gd name="connsiteY2" fmla="*/ 864 h 218660"/>
                  </a:gdLst>
                  <a:ahLst/>
                  <a:cxnLst>
                    <a:cxn ang="0">
                      <a:pos x="connsiteX0" y="connsiteY0"/>
                    </a:cxn>
                    <a:cxn ang="0">
                      <a:pos x="connsiteX1" y="connsiteY1"/>
                    </a:cxn>
                    <a:cxn ang="0">
                      <a:pos x="connsiteX2" y="connsiteY2"/>
                    </a:cxn>
                  </a:cxnLst>
                  <a:rect l="l" t="t" r="r" b="b"/>
                  <a:pathLst>
                    <a:path w="357945" h="218660">
                      <a:moveTo>
                        <a:pt x="0" y="218487"/>
                      </a:moveTo>
                      <a:cubicBezTo>
                        <a:pt x="40878" y="213328"/>
                        <a:pt x="281208" y="231624"/>
                        <a:pt x="329008" y="195353"/>
                      </a:cubicBezTo>
                      <a:cubicBezTo>
                        <a:pt x="376808" y="159083"/>
                        <a:pt x="367163" y="-13649"/>
                        <a:pt x="286800" y="864"/>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84" name="Freeform 68">
                  <a:extLst>
                    <a:ext uri="{FF2B5EF4-FFF2-40B4-BE49-F238E27FC236}">
                      <a16:creationId xmlns:a16="http://schemas.microsoft.com/office/drawing/2014/main" id="{6FAF7A67-E1FD-4911-B493-0E10BEC8D4A9}"/>
                    </a:ext>
                  </a:extLst>
                </p:cNvPr>
                <p:cNvSpPr/>
                <p:nvPr/>
              </p:nvSpPr>
              <p:spPr bwMode="gray">
                <a:xfrm>
                  <a:off x="11053115" y="5303732"/>
                  <a:ext cx="501319" cy="123352"/>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3187 w 371072"/>
                    <a:gd name="connsiteY1" fmla="*/ 242681 h 264795"/>
                    <a:gd name="connsiteX2" fmla="*/ 367665 w 371072"/>
                    <a:gd name="connsiteY2" fmla="*/ 99060 h 264795"/>
                    <a:gd name="connsiteX3" fmla="*/ 316230 w 371072"/>
                    <a:gd name="connsiteY3" fmla="*/ 0 h 264795"/>
                    <a:gd name="connsiteX0" fmla="*/ 0 w 316230"/>
                    <a:gd name="connsiteY0" fmla="*/ 264795 h 268412"/>
                    <a:gd name="connsiteX1" fmla="*/ 273187 w 316230"/>
                    <a:gd name="connsiteY1" fmla="*/ 242681 h 268412"/>
                    <a:gd name="connsiteX2" fmla="*/ 316230 w 316230"/>
                    <a:gd name="connsiteY2" fmla="*/ 0 h 268412"/>
                    <a:gd name="connsiteX0" fmla="*/ 0 w 397022"/>
                    <a:gd name="connsiteY0" fmla="*/ 264795 h 264795"/>
                    <a:gd name="connsiteX1" fmla="*/ 384390 w 397022"/>
                    <a:gd name="connsiteY1" fmla="*/ 231864 h 264795"/>
                    <a:gd name="connsiteX2" fmla="*/ 316230 w 397022"/>
                    <a:gd name="connsiteY2" fmla="*/ 0 h 264795"/>
                    <a:gd name="connsiteX0" fmla="*/ 0 w 410446"/>
                    <a:gd name="connsiteY0" fmla="*/ 264795 h 264795"/>
                    <a:gd name="connsiteX1" fmla="*/ 384390 w 410446"/>
                    <a:gd name="connsiteY1" fmla="*/ 231864 h 264795"/>
                    <a:gd name="connsiteX2" fmla="*/ 316230 w 410446"/>
                    <a:gd name="connsiteY2" fmla="*/ 0 h 264795"/>
                    <a:gd name="connsiteX0" fmla="*/ 0 w 410446"/>
                    <a:gd name="connsiteY0" fmla="*/ 264795 h 264795"/>
                    <a:gd name="connsiteX1" fmla="*/ 384390 w 410446"/>
                    <a:gd name="connsiteY1" fmla="*/ 253498 h 264795"/>
                    <a:gd name="connsiteX2" fmla="*/ 316230 w 410446"/>
                    <a:gd name="connsiteY2" fmla="*/ 0 h 264795"/>
                    <a:gd name="connsiteX0" fmla="*/ 0 w 410446"/>
                    <a:gd name="connsiteY0" fmla="*/ 264795 h 264795"/>
                    <a:gd name="connsiteX1" fmla="*/ 384390 w 410446"/>
                    <a:gd name="connsiteY1" fmla="*/ 258907 h 264795"/>
                    <a:gd name="connsiteX2" fmla="*/ 316230 w 410446"/>
                    <a:gd name="connsiteY2" fmla="*/ 0 h 264795"/>
                    <a:gd name="connsiteX0" fmla="*/ 0 w 440789"/>
                    <a:gd name="connsiteY0" fmla="*/ 271717 h 271717"/>
                    <a:gd name="connsiteX1" fmla="*/ 384390 w 440789"/>
                    <a:gd name="connsiteY1" fmla="*/ 265829 h 271717"/>
                    <a:gd name="connsiteX2" fmla="*/ 316230 w 440789"/>
                    <a:gd name="connsiteY2" fmla="*/ 6922 h 271717"/>
                    <a:gd name="connsiteX0" fmla="*/ 0 w 461170"/>
                    <a:gd name="connsiteY0" fmla="*/ 288655 h 303978"/>
                    <a:gd name="connsiteX1" fmla="*/ 384390 w 461170"/>
                    <a:gd name="connsiteY1" fmla="*/ 282767 h 303978"/>
                    <a:gd name="connsiteX2" fmla="*/ 377077 w 461170"/>
                    <a:gd name="connsiteY2" fmla="*/ 7634 h 303978"/>
                    <a:gd name="connsiteX0" fmla="*/ 0 w 437194"/>
                    <a:gd name="connsiteY0" fmla="*/ 281021 h 296344"/>
                    <a:gd name="connsiteX1" fmla="*/ 384390 w 437194"/>
                    <a:gd name="connsiteY1" fmla="*/ 275133 h 296344"/>
                    <a:gd name="connsiteX2" fmla="*/ 377077 w 437194"/>
                    <a:gd name="connsiteY2" fmla="*/ 0 h 296344"/>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308064 h 309112"/>
                    <a:gd name="connsiteX1" fmla="*/ 384390 w 432414"/>
                    <a:gd name="connsiteY1" fmla="*/ 275133 h 309112"/>
                    <a:gd name="connsiteX2" fmla="*/ 377077 w 432414"/>
                    <a:gd name="connsiteY2" fmla="*/ 0 h 309112"/>
                    <a:gd name="connsiteX0" fmla="*/ 0 w 432414"/>
                    <a:gd name="connsiteY0" fmla="*/ 308064 h 318424"/>
                    <a:gd name="connsiteX1" fmla="*/ 384390 w 432414"/>
                    <a:gd name="connsiteY1" fmla="*/ 275133 h 318424"/>
                    <a:gd name="connsiteX2" fmla="*/ 377077 w 432414"/>
                    <a:gd name="connsiteY2" fmla="*/ 0 h 318424"/>
                    <a:gd name="connsiteX0" fmla="*/ 0 w 432414"/>
                    <a:gd name="connsiteY0" fmla="*/ 281021 h 302303"/>
                    <a:gd name="connsiteX1" fmla="*/ 384390 w 432414"/>
                    <a:gd name="connsiteY1" fmla="*/ 275133 h 302303"/>
                    <a:gd name="connsiteX2" fmla="*/ 377077 w 432414"/>
                    <a:gd name="connsiteY2" fmla="*/ 0 h 302303"/>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297247 h 303044"/>
                    <a:gd name="connsiteX1" fmla="*/ 384390 w 432414"/>
                    <a:gd name="connsiteY1" fmla="*/ 275133 h 303044"/>
                    <a:gd name="connsiteX2" fmla="*/ 377077 w 432414"/>
                    <a:gd name="connsiteY2" fmla="*/ 0 h 303044"/>
                  </a:gdLst>
                  <a:ahLst/>
                  <a:cxnLst>
                    <a:cxn ang="0">
                      <a:pos x="connsiteX0" y="connsiteY0"/>
                    </a:cxn>
                    <a:cxn ang="0">
                      <a:pos x="connsiteX1" y="connsiteY1"/>
                    </a:cxn>
                    <a:cxn ang="0">
                      <a:pos x="connsiteX2" y="connsiteY2"/>
                    </a:cxn>
                  </a:cxnLst>
                  <a:rect l="l" t="t" r="r" b="b"/>
                  <a:pathLst>
                    <a:path w="432414" h="303044">
                      <a:moveTo>
                        <a:pt x="0" y="297247"/>
                      </a:moveTo>
                      <a:cubicBezTo>
                        <a:pt x="181455" y="292088"/>
                        <a:pt x="321544" y="324674"/>
                        <a:pt x="384390" y="275133"/>
                      </a:cubicBezTo>
                      <a:cubicBezTo>
                        <a:pt x="447236" y="225592"/>
                        <a:pt x="452036" y="12699"/>
                        <a:pt x="377077"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85" name="Freeform 66">
                  <a:extLst>
                    <a:ext uri="{FF2B5EF4-FFF2-40B4-BE49-F238E27FC236}">
                      <a16:creationId xmlns:a16="http://schemas.microsoft.com/office/drawing/2014/main" id="{6774AD4C-F488-426A-8454-B3D434DC95B3}"/>
                    </a:ext>
                  </a:extLst>
                </p:cNvPr>
                <p:cNvSpPr/>
                <p:nvPr/>
              </p:nvSpPr>
              <p:spPr bwMode="gray">
                <a:xfrm flipV="1">
                  <a:off x="11111020" y="5469901"/>
                  <a:ext cx="374492" cy="79295"/>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8173 w 371072"/>
                    <a:gd name="connsiteY1" fmla="*/ 241661 h 264795"/>
                    <a:gd name="connsiteX2" fmla="*/ 367665 w 371072"/>
                    <a:gd name="connsiteY2" fmla="*/ 99060 h 264795"/>
                    <a:gd name="connsiteX3" fmla="*/ 316230 w 371072"/>
                    <a:gd name="connsiteY3" fmla="*/ 0 h 264795"/>
                    <a:gd name="connsiteX0" fmla="*/ 0 w 316230"/>
                    <a:gd name="connsiteY0" fmla="*/ 264795 h 267865"/>
                    <a:gd name="connsiteX1" fmla="*/ 278173 w 316230"/>
                    <a:gd name="connsiteY1" fmla="*/ 241661 h 267865"/>
                    <a:gd name="connsiteX2" fmla="*/ 316230 w 316230"/>
                    <a:gd name="connsiteY2" fmla="*/ 0 h 267865"/>
                    <a:gd name="connsiteX0" fmla="*/ 0 w 348201"/>
                    <a:gd name="connsiteY0" fmla="*/ 264795 h 267865"/>
                    <a:gd name="connsiteX1" fmla="*/ 329008 w 348201"/>
                    <a:gd name="connsiteY1" fmla="*/ 241661 h 267865"/>
                    <a:gd name="connsiteX2" fmla="*/ 316230 w 348201"/>
                    <a:gd name="connsiteY2" fmla="*/ 0 h 267865"/>
                    <a:gd name="connsiteX0" fmla="*/ 0 w 377767"/>
                    <a:gd name="connsiteY0" fmla="*/ 264795 h 267865"/>
                    <a:gd name="connsiteX1" fmla="*/ 329008 w 377767"/>
                    <a:gd name="connsiteY1" fmla="*/ 241661 h 267865"/>
                    <a:gd name="connsiteX2" fmla="*/ 377767 w 377767"/>
                    <a:gd name="connsiteY2" fmla="*/ 0 h 267865"/>
                    <a:gd name="connsiteX0" fmla="*/ 0 w 351892"/>
                    <a:gd name="connsiteY0" fmla="*/ 205831 h 205831"/>
                    <a:gd name="connsiteX1" fmla="*/ 329008 w 351892"/>
                    <a:gd name="connsiteY1" fmla="*/ 182697 h 205831"/>
                    <a:gd name="connsiteX2" fmla="*/ 329608 w 351892"/>
                    <a:gd name="connsiteY2" fmla="*/ 0 h 205831"/>
                    <a:gd name="connsiteX0" fmla="*/ 0 w 380444"/>
                    <a:gd name="connsiteY0" fmla="*/ 211727 h 211727"/>
                    <a:gd name="connsiteX1" fmla="*/ 329008 w 380444"/>
                    <a:gd name="connsiteY1" fmla="*/ 188593 h 211727"/>
                    <a:gd name="connsiteX2" fmla="*/ 380444 w 380444"/>
                    <a:gd name="connsiteY2" fmla="*/ 0 h 211727"/>
                    <a:gd name="connsiteX0" fmla="*/ 0 w 341777"/>
                    <a:gd name="connsiteY0" fmla="*/ 235312 h 236529"/>
                    <a:gd name="connsiteX1" fmla="*/ 329008 w 341777"/>
                    <a:gd name="connsiteY1" fmla="*/ 212178 h 236529"/>
                    <a:gd name="connsiteX2" fmla="*/ 284125 w 341777"/>
                    <a:gd name="connsiteY2" fmla="*/ 0 h 236529"/>
                    <a:gd name="connsiteX0" fmla="*/ 0 w 349318"/>
                    <a:gd name="connsiteY0" fmla="*/ 235312 h 236526"/>
                    <a:gd name="connsiteX1" fmla="*/ 329008 w 349318"/>
                    <a:gd name="connsiteY1" fmla="*/ 212178 h 236526"/>
                    <a:gd name="connsiteX2" fmla="*/ 284125 w 349318"/>
                    <a:gd name="connsiteY2" fmla="*/ 0 h 236526"/>
                    <a:gd name="connsiteX0" fmla="*/ 0 w 357781"/>
                    <a:gd name="connsiteY0" fmla="*/ 211727 h 211727"/>
                    <a:gd name="connsiteX1" fmla="*/ 329008 w 357781"/>
                    <a:gd name="connsiteY1" fmla="*/ 188593 h 211727"/>
                    <a:gd name="connsiteX2" fmla="*/ 308205 w 357781"/>
                    <a:gd name="connsiteY2" fmla="*/ 0 h 211727"/>
                    <a:gd name="connsiteX0" fmla="*/ 0 w 360084"/>
                    <a:gd name="connsiteY0" fmla="*/ 211727 h 211727"/>
                    <a:gd name="connsiteX1" fmla="*/ 329008 w 360084"/>
                    <a:gd name="connsiteY1" fmla="*/ 188593 h 211727"/>
                    <a:gd name="connsiteX2" fmla="*/ 313556 w 360084"/>
                    <a:gd name="connsiteY2" fmla="*/ 0 h 211727"/>
                    <a:gd name="connsiteX0" fmla="*/ 0 w 360906"/>
                    <a:gd name="connsiteY0" fmla="*/ 211727 h 211727"/>
                    <a:gd name="connsiteX1" fmla="*/ 329008 w 360906"/>
                    <a:gd name="connsiteY1" fmla="*/ 188593 h 211727"/>
                    <a:gd name="connsiteX2" fmla="*/ 313556 w 360906"/>
                    <a:gd name="connsiteY2" fmla="*/ 0 h 211727"/>
                    <a:gd name="connsiteX0" fmla="*/ 0 w 365049"/>
                    <a:gd name="connsiteY0" fmla="*/ 211727 h 211727"/>
                    <a:gd name="connsiteX1" fmla="*/ 329008 w 365049"/>
                    <a:gd name="connsiteY1" fmla="*/ 188593 h 211727"/>
                    <a:gd name="connsiteX2" fmla="*/ 322140 w 365049"/>
                    <a:gd name="connsiteY2" fmla="*/ 0 h 211727"/>
                  </a:gdLst>
                  <a:ahLst/>
                  <a:cxnLst>
                    <a:cxn ang="0">
                      <a:pos x="connsiteX0" y="connsiteY0"/>
                    </a:cxn>
                    <a:cxn ang="0">
                      <a:pos x="connsiteX1" y="connsiteY1"/>
                    </a:cxn>
                    <a:cxn ang="0">
                      <a:pos x="connsiteX2" y="connsiteY2"/>
                    </a:cxn>
                  </a:cxnLst>
                  <a:rect l="l" t="t" r="r" b="b"/>
                  <a:pathLst>
                    <a:path w="365049" h="211727">
                      <a:moveTo>
                        <a:pt x="0" y="211727"/>
                      </a:moveTo>
                      <a:cubicBezTo>
                        <a:pt x="40878" y="206568"/>
                        <a:pt x="275318" y="223881"/>
                        <a:pt x="329008" y="188593"/>
                      </a:cubicBezTo>
                      <a:cubicBezTo>
                        <a:pt x="382698" y="153305"/>
                        <a:pt x="373072" y="3176"/>
                        <a:pt x="322140"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grpSp>
        </p:grpSp>
        <p:sp>
          <p:nvSpPr>
            <p:cNvPr id="80" name="TextBox 79">
              <a:extLst>
                <a:ext uri="{FF2B5EF4-FFF2-40B4-BE49-F238E27FC236}">
                  <a16:creationId xmlns:a16="http://schemas.microsoft.com/office/drawing/2014/main" id="{4F5A71AD-C526-4682-B18A-64608A44F1E5}"/>
                </a:ext>
              </a:extLst>
            </p:cNvPr>
            <p:cNvSpPr txBox="1"/>
            <p:nvPr/>
          </p:nvSpPr>
          <p:spPr bwMode="gray">
            <a:xfrm>
              <a:off x="10435243"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Purgeable</a:t>
              </a:r>
            </a:p>
          </p:txBody>
        </p:sp>
      </p:grpSp>
      <p:grpSp>
        <p:nvGrpSpPr>
          <p:cNvPr id="92" name="Group 91">
            <a:extLst>
              <a:ext uri="{FF2B5EF4-FFF2-40B4-BE49-F238E27FC236}">
                <a16:creationId xmlns:a16="http://schemas.microsoft.com/office/drawing/2014/main" id="{F1A1BDCE-0626-4749-9774-EE18E1FE9A37}"/>
              </a:ext>
            </a:extLst>
          </p:cNvPr>
          <p:cNvGrpSpPr/>
          <p:nvPr/>
        </p:nvGrpSpPr>
        <p:grpSpPr bwMode="gray">
          <a:xfrm>
            <a:off x="9619594" y="3926617"/>
            <a:ext cx="743958" cy="697689"/>
            <a:chOff x="11233438" y="3774422"/>
            <a:chExt cx="743958" cy="697689"/>
          </a:xfrm>
        </p:grpSpPr>
        <p:grpSp>
          <p:nvGrpSpPr>
            <p:cNvPr id="93" name="Group 92">
              <a:extLst>
                <a:ext uri="{FF2B5EF4-FFF2-40B4-BE49-F238E27FC236}">
                  <a16:creationId xmlns:a16="http://schemas.microsoft.com/office/drawing/2014/main" id="{E0AA95CD-4FB3-4771-9327-E7F1489F8410}"/>
                </a:ext>
              </a:extLst>
            </p:cNvPr>
            <p:cNvGrpSpPr/>
            <p:nvPr/>
          </p:nvGrpSpPr>
          <p:grpSpPr bwMode="gray">
            <a:xfrm>
              <a:off x="11416585" y="3774422"/>
              <a:ext cx="377664" cy="303591"/>
              <a:chOff x="11597449" y="4332540"/>
              <a:chExt cx="405544" cy="326002"/>
            </a:xfrm>
          </p:grpSpPr>
          <p:sp>
            <p:nvSpPr>
              <p:cNvPr id="95" name="Freeform: Shape 94">
                <a:extLst>
                  <a:ext uri="{FF2B5EF4-FFF2-40B4-BE49-F238E27FC236}">
                    <a16:creationId xmlns:a16="http://schemas.microsoft.com/office/drawing/2014/main" id="{2CBF7CB1-12CD-433E-B714-42E20924318D}"/>
                  </a:ext>
                </a:extLst>
              </p:cNvPr>
              <p:cNvSpPr/>
              <p:nvPr/>
            </p:nvSpPr>
            <p:spPr bwMode="gray">
              <a:xfrm rot="18169347">
                <a:off x="11540279" y="4389710"/>
                <a:ext cx="308462" cy="194121"/>
              </a:xfrm>
              <a:custGeom>
                <a:avLst/>
                <a:gdLst>
                  <a:gd name="connsiteX0" fmla="*/ 1093381 w 2462577"/>
                  <a:gd name="connsiteY0" fmla="*/ 0 h 1802393"/>
                  <a:gd name="connsiteX1" fmla="*/ 1640754 w 2462577"/>
                  <a:gd name="connsiteY1" fmla="*/ 362823 h 1802393"/>
                  <a:gd name="connsiteX2" fmla="*/ 1655501 w 2462577"/>
                  <a:gd name="connsiteY2" fmla="*/ 410329 h 1802393"/>
                  <a:gd name="connsiteX3" fmla="*/ 1706127 w 2462577"/>
                  <a:gd name="connsiteY3" fmla="*/ 394614 h 1802393"/>
                  <a:gd name="connsiteX4" fmla="*/ 1793034 w 2462577"/>
                  <a:gd name="connsiteY4" fmla="*/ 385853 h 1802393"/>
                  <a:gd name="connsiteX5" fmla="*/ 2224263 w 2462577"/>
                  <a:gd name="connsiteY5" fmla="*/ 817082 h 1802393"/>
                  <a:gd name="connsiteX6" fmla="*/ 2190375 w 2462577"/>
                  <a:gd name="connsiteY6" fmla="*/ 984936 h 1802393"/>
                  <a:gd name="connsiteX7" fmla="*/ 2185612 w 2462577"/>
                  <a:gd name="connsiteY7" fmla="*/ 993711 h 1802393"/>
                  <a:gd name="connsiteX8" fmla="*/ 2190745 w 2462577"/>
                  <a:gd name="connsiteY8" fmla="*/ 994229 h 1802393"/>
                  <a:gd name="connsiteX9" fmla="*/ 2462577 w 2462577"/>
                  <a:gd name="connsiteY9" fmla="*/ 1327755 h 1802393"/>
                  <a:gd name="connsiteX10" fmla="*/ 2362864 w 2462577"/>
                  <a:gd name="connsiteY10" fmla="*/ 1568484 h 1802393"/>
                  <a:gd name="connsiteX11" fmla="*/ 2313995 w 2462577"/>
                  <a:gd name="connsiteY11" fmla="*/ 1608805 h 1802393"/>
                  <a:gd name="connsiteX12" fmla="*/ 2313995 w 2462577"/>
                  <a:gd name="connsiteY12" fmla="*/ 1802393 h 1802393"/>
                  <a:gd name="connsiteX13" fmla="*/ 591875 w 2462577"/>
                  <a:gd name="connsiteY13" fmla="*/ 1802393 h 1802393"/>
                  <a:gd name="connsiteX14" fmla="*/ 591875 w 2462577"/>
                  <a:gd name="connsiteY14" fmla="*/ 1795250 h 1802393"/>
                  <a:gd name="connsiteX15" fmla="*/ 521029 w 2462577"/>
                  <a:gd name="connsiteY15" fmla="*/ 1802392 h 1802393"/>
                  <a:gd name="connsiteX16" fmla="*/ 0 w 2462577"/>
                  <a:gd name="connsiteY16" fmla="*/ 1281363 h 1802393"/>
                  <a:gd name="connsiteX17" fmla="*/ 521029 w 2462577"/>
                  <a:gd name="connsiteY17" fmla="*/ 760334 h 1802393"/>
                  <a:gd name="connsiteX18" fmla="*/ 526000 w 2462577"/>
                  <a:gd name="connsiteY18" fmla="*/ 760835 h 1802393"/>
                  <a:gd name="connsiteX19" fmla="*/ 511393 w 2462577"/>
                  <a:gd name="connsiteY19" fmla="*/ 713780 h 1802393"/>
                  <a:gd name="connsiteX20" fmla="*/ 499324 w 2462577"/>
                  <a:gd name="connsiteY20" fmla="*/ 594057 h 1802393"/>
                  <a:gd name="connsiteX21" fmla="*/ 1093381 w 2462577"/>
                  <a:gd name="connsiteY21" fmla="*/ 0 h 1802393"/>
                  <a:gd name="connsiteX0" fmla="*/ 2313995 w 2462577"/>
                  <a:gd name="connsiteY0" fmla="*/ 1802393 h 1893833"/>
                  <a:gd name="connsiteX1" fmla="*/ 591875 w 2462577"/>
                  <a:gd name="connsiteY1" fmla="*/ 1802393 h 1893833"/>
                  <a:gd name="connsiteX2" fmla="*/ 591875 w 2462577"/>
                  <a:gd name="connsiteY2" fmla="*/ 1795250 h 1893833"/>
                  <a:gd name="connsiteX3" fmla="*/ 521029 w 2462577"/>
                  <a:gd name="connsiteY3" fmla="*/ 1802392 h 1893833"/>
                  <a:gd name="connsiteX4" fmla="*/ 0 w 2462577"/>
                  <a:gd name="connsiteY4" fmla="*/ 1281363 h 1893833"/>
                  <a:gd name="connsiteX5" fmla="*/ 521029 w 2462577"/>
                  <a:gd name="connsiteY5" fmla="*/ 760334 h 1893833"/>
                  <a:gd name="connsiteX6" fmla="*/ 526000 w 2462577"/>
                  <a:gd name="connsiteY6" fmla="*/ 760835 h 1893833"/>
                  <a:gd name="connsiteX7" fmla="*/ 511393 w 2462577"/>
                  <a:gd name="connsiteY7" fmla="*/ 713780 h 1893833"/>
                  <a:gd name="connsiteX8" fmla="*/ 499324 w 2462577"/>
                  <a:gd name="connsiteY8" fmla="*/ 594057 h 1893833"/>
                  <a:gd name="connsiteX9" fmla="*/ 1093381 w 2462577"/>
                  <a:gd name="connsiteY9" fmla="*/ 0 h 1893833"/>
                  <a:gd name="connsiteX10" fmla="*/ 1640754 w 2462577"/>
                  <a:gd name="connsiteY10" fmla="*/ 362823 h 1893833"/>
                  <a:gd name="connsiteX11" fmla="*/ 1655501 w 2462577"/>
                  <a:gd name="connsiteY11" fmla="*/ 410329 h 1893833"/>
                  <a:gd name="connsiteX12" fmla="*/ 1706127 w 2462577"/>
                  <a:gd name="connsiteY12" fmla="*/ 394614 h 1893833"/>
                  <a:gd name="connsiteX13" fmla="*/ 1793034 w 2462577"/>
                  <a:gd name="connsiteY13" fmla="*/ 385853 h 1893833"/>
                  <a:gd name="connsiteX14" fmla="*/ 2224263 w 2462577"/>
                  <a:gd name="connsiteY14" fmla="*/ 817082 h 1893833"/>
                  <a:gd name="connsiteX15" fmla="*/ 2190375 w 2462577"/>
                  <a:gd name="connsiteY15" fmla="*/ 984936 h 1893833"/>
                  <a:gd name="connsiteX16" fmla="*/ 2185612 w 2462577"/>
                  <a:gd name="connsiteY16" fmla="*/ 993711 h 1893833"/>
                  <a:gd name="connsiteX17" fmla="*/ 2190745 w 2462577"/>
                  <a:gd name="connsiteY17" fmla="*/ 994229 h 1893833"/>
                  <a:gd name="connsiteX18" fmla="*/ 2462577 w 2462577"/>
                  <a:gd name="connsiteY18" fmla="*/ 1327755 h 1893833"/>
                  <a:gd name="connsiteX19" fmla="*/ 2362864 w 2462577"/>
                  <a:gd name="connsiteY19" fmla="*/ 1568484 h 1893833"/>
                  <a:gd name="connsiteX20" fmla="*/ 2313995 w 2462577"/>
                  <a:gd name="connsiteY20" fmla="*/ 1608805 h 1893833"/>
                  <a:gd name="connsiteX21" fmla="*/ 2405435 w 2462577"/>
                  <a:gd name="connsiteY21" fmla="*/ 1893833 h 1893833"/>
                  <a:gd name="connsiteX0" fmla="*/ 2313995 w 2462577"/>
                  <a:gd name="connsiteY0" fmla="*/ 1802393 h 1802393"/>
                  <a:gd name="connsiteX1" fmla="*/ 591875 w 2462577"/>
                  <a:gd name="connsiteY1" fmla="*/ 1802393 h 1802393"/>
                  <a:gd name="connsiteX2" fmla="*/ 591875 w 2462577"/>
                  <a:gd name="connsiteY2" fmla="*/ 1795250 h 1802393"/>
                  <a:gd name="connsiteX3" fmla="*/ 521029 w 2462577"/>
                  <a:gd name="connsiteY3" fmla="*/ 1802392 h 1802393"/>
                  <a:gd name="connsiteX4" fmla="*/ 0 w 2462577"/>
                  <a:gd name="connsiteY4" fmla="*/ 1281363 h 1802393"/>
                  <a:gd name="connsiteX5" fmla="*/ 521029 w 2462577"/>
                  <a:gd name="connsiteY5" fmla="*/ 760334 h 1802393"/>
                  <a:gd name="connsiteX6" fmla="*/ 526000 w 2462577"/>
                  <a:gd name="connsiteY6" fmla="*/ 760835 h 1802393"/>
                  <a:gd name="connsiteX7" fmla="*/ 511393 w 2462577"/>
                  <a:gd name="connsiteY7" fmla="*/ 713780 h 1802393"/>
                  <a:gd name="connsiteX8" fmla="*/ 499324 w 2462577"/>
                  <a:gd name="connsiteY8" fmla="*/ 594057 h 1802393"/>
                  <a:gd name="connsiteX9" fmla="*/ 1093381 w 2462577"/>
                  <a:gd name="connsiteY9" fmla="*/ 0 h 1802393"/>
                  <a:gd name="connsiteX10" fmla="*/ 1640754 w 2462577"/>
                  <a:gd name="connsiteY10" fmla="*/ 362823 h 1802393"/>
                  <a:gd name="connsiteX11" fmla="*/ 1655501 w 2462577"/>
                  <a:gd name="connsiteY11" fmla="*/ 410329 h 1802393"/>
                  <a:gd name="connsiteX12" fmla="*/ 1706127 w 2462577"/>
                  <a:gd name="connsiteY12" fmla="*/ 394614 h 1802393"/>
                  <a:gd name="connsiteX13" fmla="*/ 1793034 w 2462577"/>
                  <a:gd name="connsiteY13" fmla="*/ 385853 h 1802393"/>
                  <a:gd name="connsiteX14" fmla="*/ 2224263 w 2462577"/>
                  <a:gd name="connsiteY14" fmla="*/ 817082 h 1802393"/>
                  <a:gd name="connsiteX15" fmla="*/ 2190375 w 2462577"/>
                  <a:gd name="connsiteY15" fmla="*/ 984936 h 1802393"/>
                  <a:gd name="connsiteX16" fmla="*/ 2185612 w 2462577"/>
                  <a:gd name="connsiteY16" fmla="*/ 993711 h 1802393"/>
                  <a:gd name="connsiteX17" fmla="*/ 2190745 w 2462577"/>
                  <a:gd name="connsiteY17" fmla="*/ 994229 h 1802393"/>
                  <a:gd name="connsiteX18" fmla="*/ 2462577 w 2462577"/>
                  <a:gd name="connsiteY18" fmla="*/ 1327755 h 1802393"/>
                  <a:gd name="connsiteX19" fmla="*/ 2362864 w 2462577"/>
                  <a:gd name="connsiteY19" fmla="*/ 1568484 h 1802393"/>
                  <a:gd name="connsiteX20" fmla="*/ 2313995 w 2462577"/>
                  <a:gd name="connsiteY20" fmla="*/ 1608805 h 1802393"/>
                  <a:gd name="connsiteX0" fmla="*/ 591875 w 2462577"/>
                  <a:gd name="connsiteY0" fmla="*/ 1802393 h 1802393"/>
                  <a:gd name="connsiteX1" fmla="*/ 591875 w 2462577"/>
                  <a:gd name="connsiteY1" fmla="*/ 1795250 h 1802393"/>
                  <a:gd name="connsiteX2" fmla="*/ 521029 w 2462577"/>
                  <a:gd name="connsiteY2" fmla="*/ 1802392 h 1802393"/>
                  <a:gd name="connsiteX3" fmla="*/ 0 w 2462577"/>
                  <a:gd name="connsiteY3" fmla="*/ 1281363 h 1802393"/>
                  <a:gd name="connsiteX4" fmla="*/ 521029 w 2462577"/>
                  <a:gd name="connsiteY4" fmla="*/ 760334 h 1802393"/>
                  <a:gd name="connsiteX5" fmla="*/ 526000 w 2462577"/>
                  <a:gd name="connsiteY5" fmla="*/ 760835 h 1802393"/>
                  <a:gd name="connsiteX6" fmla="*/ 511393 w 2462577"/>
                  <a:gd name="connsiteY6" fmla="*/ 713780 h 1802393"/>
                  <a:gd name="connsiteX7" fmla="*/ 499324 w 2462577"/>
                  <a:gd name="connsiteY7" fmla="*/ 594057 h 1802393"/>
                  <a:gd name="connsiteX8" fmla="*/ 1093381 w 2462577"/>
                  <a:gd name="connsiteY8" fmla="*/ 0 h 1802393"/>
                  <a:gd name="connsiteX9" fmla="*/ 1640754 w 2462577"/>
                  <a:gd name="connsiteY9" fmla="*/ 362823 h 1802393"/>
                  <a:gd name="connsiteX10" fmla="*/ 1655501 w 2462577"/>
                  <a:gd name="connsiteY10" fmla="*/ 410329 h 1802393"/>
                  <a:gd name="connsiteX11" fmla="*/ 1706127 w 2462577"/>
                  <a:gd name="connsiteY11" fmla="*/ 394614 h 1802393"/>
                  <a:gd name="connsiteX12" fmla="*/ 1793034 w 2462577"/>
                  <a:gd name="connsiteY12" fmla="*/ 385853 h 1802393"/>
                  <a:gd name="connsiteX13" fmla="*/ 2224263 w 2462577"/>
                  <a:gd name="connsiteY13" fmla="*/ 817082 h 1802393"/>
                  <a:gd name="connsiteX14" fmla="*/ 2190375 w 2462577"/>
                  <a:gd name="connsiteY14" fmla="*/ 984936 h 1802393"/>
                  <a:gd name="connsiteX15" fmla="*/ 2185612 w 2462577"/>
                  <a:gd name="connsiteY15" fmla="*/ 993711 h 1802393"/>
                  <a:gd name="connsiteX16" fmla="*/ 2190745 w 2462577"/>
                  <a:gd name="connsiteY16" fmla="*/ 994229 h 1802393"/>
                  <a:gd name="connsiteX17" fmla="*/ 2462577 w 2462577"/>
                  <a:gd name="connsiteY17" fmla="*/ 1327755 h 1802393"/>
                  <a:gd name="connsiteX18" fmla="*/ 2362864 w 2462577"/>
                  <a:gd name="connsiteY18" fmla="*/ 1568484 h 1802393"/>
                  <a:gd name="connsiteX19" fmla="*/ 2313995 w 2462577"/>
                  <a:gd name="connsiteY19" fmla="*/ 1608805 h 1802393"/>
                  <a:gd name="connsiteX0" fmla="*/ 591875 w 2462577"/>
                  <a:gd name="connsiteY0" fmla="*/ 1802393 h 1802393"/>
                  <a:gd name="connsiteX1" fmla="*/ 591875 w 2462577"/>
                  <a:gd name="connsiteY1" fmla="*/ 1795250 h 1802393"/>
                  <a:gd name="connsiteX2" fmla="*/ 521029 w 2462577"/>
                  <a:gd name="connsiteY2" fmla="*/ 1802392 h 1802393"/>
                  <a:gd name="connsiteX3" fmla="*/ 0 w 2462577"/>
                  <a:gd name="connsiteY3" fmla="*/ 1281363 h 1802393"/>
                  <a:gd name="connsiteX4" fmla="*/ 521029 w 2462577"/>
                  <a:gd name="connsiteY4" fmla="*/ 760334 h 1802393"/>
                  <a:gd name="connsiteX5" fmla="*/ 526000 w 2462577"/>
                  <a:gd name="connsiteY5" fmla="*/ 760835 h 1802393"/>
                  <a:gd name="connsiteX6" fmla="*/ 511393 w 2462577"/>
                  <a:gd name="connsiteY6" fmla="*/ 713780 h 1802393"/>
                  <a:gd name="connsiteX7" fmla="*/ 499324 w 2462577"/>
                  <a:gd name="connsiteY7" fmla="*/ 594057 h 1802393"/>
                  <a:gd name="connsiteX8" fmla="*/ 1093381 w 2462577"/>
                  <a:gd name="connsiteY8" fmla="*/ 0 h 1802393"/>
                  <a:gd name="connsiteX9" fmla="*/ 1640754 w 2462577"/>
                  <a:gd name="connsiteY9" fmla="*/ 362823 h 1802393"/>
                  <a:gd name="connsiteX10" fmla="*/ 1655501 w 2462577"/>
                  <a:gd name="connsiteY10" fmla="*/ 410329 h 1802393"/>
                  <a:gd name="connsiteX11" fmla="*/ 1706127 w 2462577"/>
                  <a:gd name="connsiteY11" fmla="*/ 394614 h 1802393"/>
                  <a:gd name="connsiteX12" fmla="*/ 1793034 w 2462577"/>
                  <a:gd name="connsiteY12" fmla="*/ 385853 h 1802393"/>
                  <a:gd name="connsiteX13" fmla="*/ 2224263 w 2462577"/>
                  <a:gd name="connsiteY13" fmla="*/ 817082 h 1802393"/>
                  <a:gd name="connsiteX14" fmla="*/ 2190375 w 2462577"/>
                  <a:gd name="connsiteY14" fmla="*/ 984936 h 1802393"/>
                  <a:gd name="connsiteX15" fmla="*/ 2185612 w 2462577"/>
                  <a:gd name="connsiteY15" fmla="*/ 993711 h 1802393"/>
                  <a:gd name="connsiteX16" fmla="*/ 2190745 w 2462577"/>
                  <a:gd name="connsiteY16" fmla="*/ 994229 h 1802393"/>
                  <a:gd name="connsiteX17" fmla="*/ 2462577 w 2462577"/>
                  <a:gd name="connsiteY17" fmla="*/ 1327755 h 1802393"/>
                  <a:gd name="connsiteX18" fmla="*/ 2362864 w 2462577"/>
                  <a:gd name="connsiteY18" fmla="*/ 1568484 h 1802393"/>
                  <a:gd name="connsiteX0" fmla="*/ 615476 w 2486178"/>
                  <a:gd name="connsiteY0" fmla="*/ 1802393 h 1802393"/>
                  <a:gd name="connsiteX1" fmla="*/ 615476 w 2486178"/>
                  <a:gd name="connsiteY1" fmla="*/ 1795250 h 1802393"/>
                  <a:gd name="connsiteX2" fmla="*/ 544630 w 2486178"/>
                  <a:gd name="connsiteY2" fmla="*/ 1802392 h 1802393"/>
                  <a:gd name="connsiteX3" fmla="*/ 135127 w 2486178"/>
                  <a:gd name="connsiteY3" fmla="*/ 1607207 h 1802393"/>
                  <a:gd name="connsiteX4" fmla="*/ 23601 w 2486178"/>
                  <a:gd name="connsiteY4" fmla="*/ 1281363 h 1802393"/>
                  <a:gd name="connsiteX5" fmla="*/ 544630 w 2486178"/>
                  <a:gd name="connsiteY5" fmla="*/ 760334 h 1802393"/>
                  <a:gd name="connsiteX6" fmla="*/ 549601 w 2486178"/>
                  <a:gd name="connsiteY6" fmla="*/ 760835 h 1802393"/>
                  <a:gd name="connsiteX7" fmla="*/ 534994 w 2486178"/>
                  <a:gd name="connsiteY7" fmla="*/ 713780 h 1802393"/>
                  <a:gd name="connsiteX8" fmla="*/ 522925 w 2486178"/>
                  <a:gd name="connsiteY8" fmla="*/ 594057 h 1802393"/>
                  <a:gd name="connsiteX9" fmla="*/ 1116982 w 2486178"/>
                  <a:gd name="connsiteY9" fmla="*/ 0 h 1802393"/>
                  <a:gd name="connsiteX10" fmla="*/ 1664355 w 2486178"/>
                  <a:gd name="connsiteY10" fmla="*/ 362823 h 1802393"/>
                  <a:gd name="connsiteX11" fmla="*/ 1679102 w 2486178"/>
                  <a:gd name="connsiteY11" fmla="*/ 410329 h 1802393"/>
                  <a:gd name="connsiteX12" fmla="*/ 1729728 w 2486178"/>
                  <a:gd name="connsiteY12" fmla="*/ 394614 h 1802393"/>
                  <a:gd name="connsiteX13" fmla="*/ 1816635 w 2486178"/>
                  <a:gd name="connsiteY13" fmla="*/ 385853 h 1802393"/>
                  <a:gd name="connsiteX14" fmla="*/ 2247864 w 2486178"/>
                  <a:gd name="connsiteY14" fmla="*/ 817082 h 1802393"/>
                  <a:gd name="connsiteX15" fmla="*/ 2213976 w 2486178"/>
                  <a:gd name="connsiteY15" fmla="*/ 984936 h 1802393"/>
                  <a:gd name="connsiteX16" fmla="*/ 2209213 w 2486178"/>
                  <a:gd name="connsiteY16" fmla="*/ 993711 h 1802393"/>
                  <a:gd name="connsiteX17" fmla="*/ 2214346 w 2486178"/>
                  <a:gd name="connsiteY17" fmla="*/ 994229 h 1802393"/>
                  <a:gd name="connsiteX18" fmla="*/ 2486178 w 2486178"/>
                  <a:gd name="connsiteY18" fmla="*/ 1327755 h 1802393"/>
                  <a:gd name="connsiteX19" fmla="*/ 2386465 w 2486178"/>
                  <a:gd name="connsiteY19" fmla="*/ 1568484 h 1802393"/>
                  <a:gd name="connsiteX0" fmla="*/ 598395 w 2469097"/>
                  <a:gd name="connsiteY0" fmla="*/ 1802393 h 1802393"/>
                  <a:gd name="connsiteX1" fmla="*/ 598395 w 2469097"/>
                  <a:gd name="connsiteY1" fmla="*/ 1795250 h 1802393"/>
                  <a:gd name="connsiteX2" fmla="*/ 527549 w 2469097"/>
                  <a:gd name="connsiteY2" fmla="*/ 1802392 h 1802393"/>
                  <a:gd name="connsiteX3" fmla="*/ 118046 w 2469097"/>
                  <a:gd name="connsiteY3" fmla="*/ 1607207 h 1802393"/>
                  <a:gd name="connsiteX4" fmla="*/ 6520 w 2469097"/>
                  <a:gd name="connsiteY4" fmla="*/ 1281363 h 1802393"/>
                  <a:gd name="connsiteX5" fmla="*/ 527549 w 2469097"/>
                  <a:gd name="connsiteY5" fmla="*/ 760334 h 1802393"/>
                  <a:gd name="connsiteX6" fmla="*/ 532520 w 2469097"/>
                  <a:gd name="connsiteY6" fmla="*/ 760835 h 1802393"/>
                  <a:gd name="connsiteX7" fmla="*/ 517913 w 2469097"/>
                  <a:gd name="connsiteY7" fmla="*/ 713780 h 1802393"/>
                  <a:gd name="connsiteX8" fmla="*/ 505844 w 2469097"/>
                  <a:gd name="connsiteY8" fmla="*/ 594057 h 1802393"/>
                  <a:gd name="connsiteX9" fmla="*/ 1099901 w 2469097"/>
                  <a:gd name="connsiteY9" fmla="*/ 0 h 1802393"/>
                  <a:gd name="connsiteX10" fmla="*/ 1647274 w 2469097"/>
                  <a:gd name="connsiteY10" fmla="*/ 362823 h 1802393"/>
                  <a:gd name="connsiteX11" fmla="*/ 1662021 w 2469097"/>
                  <a:gd name="connsiteY11" fmla="*/ 410329 h 1802393"/>
                  <a:gd name="connsiteX12" fmla="*/ 1712647 w 2469097"/>
                  <a:gd name="connsiteY12" fmla="*/ 394614 h 1802393"/>
                  <a:gd name="connsiteX13" fmla="*/ 1799554 w 2469097"/>
                  <a:gd name="connsiteY13" fmla="*/ 385853 h 1802393"/>
                  <a:gd name="connsiteX14" fmla="*/ 2230783 w 2469097"/>
                  <a:gd name="connsiteY14" fmla="*/ 817082 h 1802393"/>
                  <a:gd name="connsiteX15" fmla="*/ 2196895 w 2469097"/>
                  <a:gd name="connsiteY15" fmla="*/ 984936 h 1802393"/>
                  <a:gd name="connsiteX16" fmla="*/ 2192132 w 2469097"/>
                  <a:gd name="connsiteY16" fmla="*/ 993711 h 1802393"/>
                  <a:gd name="connsiteX17" fmla="*/ 2197265 w 2469097"/>
                  <a:gd name="connsiteY17" fmla="*/ 994229 h 1802393"/>
                  <a:gd name="connsiteX18" fmla="*/ 2469097 w 2469097"/>
                  <a:gd name="connsiteY18" fmla="*/ 1327755 h 1802393"/>
                  <a:gd name="connsiteX19" fmla="*/ 2369384 w 2469097"/>
                  <a:gd name="connsiteY19" fmla="*/ 1568484 h 1802393"/>
                  <a:gd name="connsiteX0" fmla="*/ 596882 w 2467584"/>
                  <a:gd name="connsiteY0" fmla="*/ 1802393 h 1802393"/>
                  <a:gd name="connsiteX1" fmla="*/ 596882 w 2467584"/>
                  <a:gd name="connsiteY1" fmla="*/ 1795250 h 1802393"/>
                  <a:gd name="connsiteX2" fmla="*/ 526036 w 2467584"/>
                  <a:gd name="connsiteY2" fmla="*/ 1802392 h 1802393"/>
                  <a:gd name="connsiteX3" fmla="*/ 116533 w 2467584"/>
                  <a:gd name="connsiteY3" fmla="*/ 1607207 h 1802393"/>
                  <a:gd name="connsiteX4" fmla="*/ 5007 w 2467584"/>
                  <a:gd name="connsiteY4" fmla="*/ 1281363 h 1802393"/>
                  <a:gd name="connsiteX5" fmla="*/ 526036 w 2467584"/>
                  <a:gd name="connsiteY5" fmla="*/ 760334 h 1802393"/>
                  <a:gd name="connsiteX6" fmla="*/ 531007 w 2467584"/>
                  <a:gd name="connsiteY6" fmla="*/ 760835 h 1802393"/>
                  <a:gd name="connsiteX7" fmla="*/ 516400 w 2467584"/>
                  <a:gd name="connsiteY7" fmla="*/ 713780 h 1802393"/>
                  <a:gd name="connsiteX8" fmla="*/ 504331 w 2467584"/>
                  <a:gd name="connsiteY8" fmla="*/ 594057 h 1802393"/>
                  <a:gd name="connsiteX9" fmla="*/ 1098388 w 2467584"/>
                  <a:gd name="connsiteY9" fmla="*/ 0 h 1802393"/>
                  <a:gd name="connsiteX10" fmla="*/ 1645761 w 2467584"/>
                  <a:gd name="connsiteY10" fmla="*/ 362823 h 1802393"/>
                  <a:gd name="connsiteX11" fmla="*/ 1660508 w 2467584"/>
                  <a:gd name="connsiteY11" fmla="*/ 410329 h 1802393"/>
                  <a:gd name="connsiteX12" fmla="*/ 1711134 w 2467584"/>
                  <a:gd name="connsiteY12" fmla="*/ 394614 h 1802393"/>
                  <a:gd name="connsiteX13" fmla="*/ 1798041 w 2467584"/>
                  <a:gd name="connsiteY13" fmla="*/ 385853 h 1802393"/>
                  <a:gd name="connsiteX14" fmla="*/ 2229270 w 2467584"/>
                  <a:gd name="connsiteY14" fmla="*/ 817082 h 1802393"/>
                  <a:gd name="connsiteX15" fmla="*/ 2195382 w 2467584"/>
                  <a:gd name="connsiteY15" fmla="*/ 984936 h 1802393"/>
                  <a:gd name="connsiteX16" fmla="*/ 2190619 w 2467584"/>
                  <a:gd name="connsiteY16" fmla="*/ 993711 h 1802393"/>
                  <a:gd name="connsiteX17" fmla="*/ 2195752 w 2467584"/>
                  <a:gd name="connsiteY17" fmla="*/ 994229 h 1802393"/>
                  <a:gd name="connsiteX18" fmla="*/ 2467584 w 2467584"/>
                  <a:gd name="connsiteY18" fmla="*/ 1327755 h 1802393"/>
                  <a:gd name="connsiteX19" fmla="*/ 2367871 w 2467584"/>
                  <a:gd name="connsiteY19" fmla="*/ 1568484 h 1802393"/>
                  <a:gd name="connsiteX0" fmla="*/ 596882 w 2467584"/>
                  <a:gd name="connsiteY0" fmla="*/ 1802393 h 1802393"/>
                  <a:gd name="connsiteX1" fmla="*/ 526036 w 2467584"/>
                  <a:gd name="connsiteY1" fmla="*/ 1802392 h 1802393"/>
                  <a:gd name="connsiteX2" fmla="*/ 116533 w 2467584"/>
                  <a:gd name="connsiteY2" fmla="*/ 1607207 h 1802393"/>
                  <a:gd name="connsiteX3" fmla="*/ 5007 w 2467584"/>
                  <a:gd name="connsiteY3" fmla="*/ 1281363 h 1802393"/>
                  <a:gd name="connsiteX4" fmla="*/ 526036 w 2467584"/>
                  <a:gd name="connsiteY4" fmla="*/ 760334 h 1802393"/>
                  <a:gd name="connsiteX5" fmla="*/ 531007 w 2467584"/>
                  <a:gd name="connsiteY5" fmla="*/ 760835 h 1802393"/>
                  <a:gd name="connsiteX6" fmla="*/ 516400 w 2467584"/>
                  <a:gd name="connsiteY6" fmla="*/ 713780 h 1802393"/>
                  <a:gd name="connsiteX7" fmla="*/ 504331 w 2467584"/>
                  <a:gd name="connsiteY7" fmla="*/ 594057 h 1802393"/>
                  <a:gd name="connsiteX8" fmla="*/ 1098388 w 2467584"/>
                  <a:gd name="connsiteY8" fmla="*/ 0 h 1802393"/>
                  <a:gd name="connsiteX9" fmla="*/ 1645761 w 2467584"/>
                  <a:gd name="connsiteY9" fmla="*/ 362823 h 1802393"/>
                  <a:gd name="connsiteX10" fmla="*/ 1660508 w 2467584"/>
                  <a:gd name="connsiteY10" fmla="*/ 410329 h 1802393"/>
                  <a:gd name="connsiteX11" fmla="*/ 1711134 w 2467584"/>
                  <a:gd name="connsiteY11" fmla="*/ 394614 h 1802393"/>
                  <a:gd name="connsiteX12" fmla="*/ 1798041 w 2467584"/>
                  <a:gd name="connsiteY12" fmla="*/ 385853 h 1802393"/>
                  <a:gd name="connsiteX13" fmla="*/ 2229270 w 2467584"/>
                  <a:gd name="connsiteY13" fmla="*/ 817082 h 1802393"/>
                  <a:gd name="connsiteX14" fmla="*/ 2195382 w 2467584"/>
                  <a:gd name="connsiteY14" fmla="*/ 984936 h 1802393"/>
                  <a:gd name="connsiteX15" fmla="*/ 2190619 w 2467584"/>
                  <a:gd name="connsiteY15" fmla="*/ 993711 h 1802393"/>
                  <a:gd name="connsiteX16" fmla="*/ 2195752 w 2467584"/>
                  <a:gd name="connsiteY16" fmla="*/ 994229 h 1802393"/>
                  <a:gd name="connsiteX17" fmla="*/ 2467584 w 2467584"/>
                  <a:gd name="connsiteY17" fmla="*/ 1327755 h 1802393"/>
                  <a:gd name="connsiteX18" fmla="*/ 2367871 w 2467584"/>
                  <a:gd name="connsiteY18" fmla="*/ 1568484 h 1802393"/>
                  <a:gd name="connsiteX0" fmla="*/ 596882 w 2467584"/>
                  <a:gd name="connsiteY0" fmla="*/ 1802393 h 1802393"/>
                  <a:gd name="connsiteX1" fmla="*/ 116533 w 2467584"/>
                  <a:gd name="connsiteY1" fmla="*/ 1607207 h 1802393"/>
                  <a:gd name="connsiteX2" fmla="*/ 5007 w 2467584"/>
                  <a:gd name="connsiteY2" fmla="*/ 1281363 h 1802393"/>
                  <a:gd name="connsiteX3" fmla="*/ 526036 w 2467584"/>
                  <a:gd name="connsiteY3" fmla="*/ 760334 h 1802393"/>
                  <a:gd name="connsiteX4" fmla="*/ 531007 w 2467584"/>
                  <a:gd name="connsiteY4" fmla="*/ 760835 h 1802393"/>
                  <a:gd name="connsiteX5" fmla="*/ 516400 w 2467584"/>
                  <a:gd name="connsiteY5" fmla="*/ 713780 h 1802393"/>
                  <a:gd name="connsiteX6" fmla="*/ 504331 w 2467584"/>
                  <a:gd name="connsiteY6" fmla="*/ 594057 h 1802393"/>
                  <a:gd name="connsiteX7" fmla="*/ 1098388 w 2467584"/>
                  <a:gd name="connsiteY7" fmla="*/ 0 h 1802393"/>
                  <a:gd name="connsiteX8" fmla="*/ 1645761 w 2467584"/>
                  <a:gd name="connsiteY8" fmla="*/ 362823 h 1802393"/>
                  <a:gd name="connsiteX9" fmla="*/ 1660508 w 2467584"/>
                  <a:gd name="connsiteY9" fmla="*/ 410329 h 1802393"/>
                  <a:gd name="connsiteX10" fmla="*/ 1711134 w 2467584"/>
                  <a:gd name="connsiteY10" fmla="*/ 394614 h 1802393"/>
                  <a:gd name="connsiteX11" fmla="*/ 1798041 w 2467584"/>
                  <a:gd name="connsiteY11" fmla="*/ 385853 h 1802393"/>
                  <a:gd name="connsiteX12" fmla="*/ 2229270 w 2467584"/>
                  <a:gd name="connsiteY12" fmla="*/ 817082 h 1802393"/>
                  <a:gd name="connsiteX13" fmla="*/ 2195382 w 2467584"/>
                  <a:gd name="connsiteY13" fmla="*/ 984936 h 1802393"/>
                  <a:gd name="connsiteX14" fmla="*/ 2190619 w 2467584"/>
                  <a:gd name="connsiteY14" fmla="*/ 993711 h 1802393"/>
                  <a:gd name="connsiteX15" fmla="*/ 2195752 w 2467584"/>
                  <a:gd name="connsiteY15" fmla="*/ 994229 h 1802393"/>
                  <a:gd name="connsiteX16" fmla="*/ 2467584 w 2467584"/>
                  <a:gd name="connsiteY16" fmla="*/ 1327755 h 1802393"/>
                  <a:gd name="connsiteX17" fmla="*/ 2367871 w 2467584"/>
                  <a:gd name="connsiteY17" fmla="*/ 1568484 h 1802393"/>
                  <a:gd name="connsiteX0" fmla="*/ 116533 w 2467584"/>
                  <a:gd name="connsiteY0" fmla="*/ 1607207 h 1607207"/>
                  <a:gd name="connsiteX1" fmla="*/ 5007 w 2467584"/>
                  <a:gd name="connsiteY1" fmla="*/ 1281363 h 1607207"/>
                  <a:gd name="connsiteX2" fmla="*/ 526036 w 2467584"/>
                  <a:gd name="connsiteY2" fmla="*/ 760334 h 1607207"/>
                  <a:gd name="connsiteX3" fmla="*/ 531007 w 2467584"/>
                  <a:gd name="connsiteY3" fmla="*/ 760835 h 1607207"/>
                  <a:gd name="connsiteX4" fmla="*/ 516400 w 2467584"/>
                  <a:gd name="connsiteY4" fmla="*/ 713780 h 1607207"/>
                  <a:gd name="connsiteX5" fmla="*/ 504331 w 2467584"/>
                  <a:gd name="connsiteY5" fmla="*/ 594057 h 1607207"/>
                  <a:gd name="connsiteX6" fmla="*/ 1098388 w 2467584"/>
                  <a:gd name="connsiteY6" fmla="*/ 0 h 1607207"/>
                  <a:gd name="connsiteX7" fmla="*/ 1645761 w 2467584"/>
                  <a:gd name="connsiteY7" fmla="*/ 362823 h 1607207"/>
                  <a:gd name="connsiteX8" fmla="*/ 1660508 w 2467584"/>
                  <a:gd name="connsiteY8" fmla="*/ 410329 h 1607207"/>
                  <a:gd name="connsiteX9" fmla="*/ 1711134 w 2467584"/>
                  <a:gd name="connsiteY9" fmla="*/ 394614 h 1607207"/>
                  <a:gd name="connsiteX10" fmla="*/ 1798041 w 2467584"/>
                  <a:gd name="connsiteY10" fmla="*/ 385853 h 1607207"/>
                  <a:gd name="connsiteX11" fmla="*/ 2229270 w 2467584"/>
                  <a:gd name="connsiteY11" fmla="*/ 817082 h 1607207"/>
                  <a:gd name="connsiteX12" fmla="*/ 2195382 w 2467584"/>
                  <a:gd name="connsiteY12" fmla="*/ 984936 h 1607207"/>
                  <a:gd name="connsiteX13" fmla="*/ 2190619 w 2467584"/>
                  <a:gd name="connsiteY13" fmla="*/ 993711 h 1607207"/>
                  <a:gd name="connsiteX14" fmla="*/ 2195752 w 2467584"/>
                  <a:gd name="connsiteY14" fmla="*/ 994229 h 1607207"/>
                  <a:gd name="connsiteX15" fmla="*/ 2467584 w 2467584"/>
                  <a:gd name="connsiteY15" fmla="*/ 1327755 h 1607207"/>
                  <a:gd name="connsiteX16" fmla="*/ 2367871 w 2467584"/>
                  <a:gd name="connsiteY16" fmla="*/ 1568484 h 1607207"/>
                  <a:gd name="connsiteX0" fmla="*/ 116533 w 2467584"/>
                  <a:gd name="connsiteY0" fmla="*/ 1607207 h 1607207"/>
                  <a:gd name="connsiteX1" fmla="*/ 5007 w 2467584"/>
                  <a:gd name="connsiteY1" fmla="*/ 1281363 h 1607207"/>
                  <a:gd name="connsiteX2" fmla="*/ 526036 w 2467584"/>
                  <a:gd name="connsiteY2" fmla="*/ 760334 h 1607207"/>
                  <a:gd name="connsiteX3" fmla="*/ 531007 w 2467584"/>
                  <a:gd name="connsiteY3" fmla="*/ 760835 h 1607207"/>
                  <a:gd name="connsiteX4" fmla="*/ 516400 w 2467584"/>
                  <a:gd name="connsiteY4" fmla="*/ 713780 h 1607207"/>
                  <a:gd name="connsiteX5" fmla="*/ 504331 w 2467584"/>
                  <a:gd name="connsiteY5" fmla="*/ 594057 h 1607207"/>
                  <a:gd name="connsiteX6" fmla="*/ 1098388 w 2467584"/>
                  <a:gd name="connsiteY6" fmla="*/ 0 h 1607207"/>
                  <a:gd name="connsiteX7" fmla="*/ 1645761 w 2467584"/>
                  <a:gd name="connsiteY7" fmla="*/ 362823 h 1607207"/>
                  <a:gd name="connsiteX8" fmla="*/ 1660508 w 2467584"/>
                  <a:gd name="connsiteY8" fmla="*/ 410329 h 1607207"/>
                  <a:gd name="connsiteX9" fmla="*/ 1711134 w 2467584"/>
                  <a:gd name="connsiteY9" fmla="*/ 394614 h 1607207"/>
                  <a:gd name="connsiteX10" fmla="*/ 1798041 w 2467584"/>
                  <a:gd name="connsiteY10" fmla="*/ 385853 h 1607207"/>
                  <a:gd name="connsiteX11" fmla="*/ 2229270 w 2467584"/>
                  <a:gd name="connsiteY11" fmla="*/ 817082 h 1607207"/>
                  <a:gd name="connsiteX12" fmla="*/ 2195382 w 2467584"/>
                  <a:gd name="connsiteY12" fmla="*/ 984936 h 1607207"/>
                  <a:gd name="connsiteX13" fmla="*/ 2190619 w 2467584"/>
                  <a:gd name="connsiteY13" fmla="*/ 993711 h 1607207"/>
                  <a:gd name="connsiteX14" fmla="*/ 2195752 w 2467584"/>
                  <a:gd name="connsiteY14" fmla="*/ 994229 h 1607207"/>
                  <a:gd name="connsiteX15" fmla="*/ 2467584 w 2467584"/>
                  <a:gd name="connsiteY15" fmla="*/ 1327755 h 1607207"/>
                  <a:gd name="connsiteX16" fmla="*/ 2367871 w 2467584"/>
                  <a:gd name="connsiteY16" fmla="*/ 1568484 h 1607207"/>
                  <a:gd name="connsiteX0" fmla="*/ 5007 w 2467584"/>
                  <a:gd name="connsiteY0" fmla="*/ 1281363 h 1568484"/>
                  <a:gd name="connsiteX1" fmla="*/ 526036 w 2467584"/>
                  <a:gd name="connsiteY1" fmla="*/ 760334 h 1568484"/>
                  <a:gd name="connsiteX2" fmla="*/ 531007 w 2467584"/>
                  <a:gd name="connsiteY2" fmla="*/ 760835 h 1568484"/>
                  <a:gd name="connsiteX3" fmla="*/ 516400 w 2467584"/>
                  <a:gd name="connsiteY3" fmla="*/ 713780 h 1568484"/>
                  <a:gd name="connsiteX4" fmla="*/ 504331 w 2467584"/>
                  <a:gd name="connsiteY4" fmla="*/ 594057 h 1568484"/>
                  <a:gd name="connsiteX5" fmla="*/ 1098388 w 2467584"/>
                  <a:gd name="connsiteY5" fmla="*/ 0 h 1568484"/>
                  <a:gd name="connsiteX6" fmla="*/ 1645761 w 2467584"/>
                  <a:gd name="connsiteY6" fmla="*/ 362823 h 1568484"/>
                  <a:gd name="connsiteX7" fmla="*/ 1660508 w 2467584"/>
                  <a:gd name="connsiteY7" fmla="*/ 410329 h 1568484"/>
                  <a:gd name="connsiteX8" fmla="*/ 1711134 w 2467584"/>
                  <a:gd name="connsiteY8" fmla="*/ 394614 h 1568484"/>
                  <a:gd name="connsiteX9" fmla="*/ 1798041 w 2467584"/>
                  <a:gd name="connsiteY9" fmla="*/ 385853 h 1568484"/>
                  <a:gd name="connsiteX10" fmla="*/ 2229270 w 2467584"/>
                  <a:gd name="connsiteY10" fmla="*/ 817082 h 1568484"/>
                  <a:gd name="connsiteX11" fmla="*/ 2195382 w 2467584"/>
                  <a:gd name="connsiteY11" fmla="*/ 984936 h 1568484"/>
                  <a:gd name="connsiteX12" fmla="*/ 2190619 w 2467584"/>
                  <a:gd name="connsiteY12" fmla="*/ 993711 h 1568484"/>
                  <a:gd name="connsiteX13" fmla="*/ 2195752 w 2467584"/>
                  <a:gd name="connsiteY13" fmla="*/ 994229 h 1568484"/>
                  <a:gd name="connsiteX14" fmla="*/ 2467584 w 2467584"/>
                  <a:gd name="connsiteY14" fmla="*/ 1327755 h 1568484"/>
                  <a:gd name="connsiteX15" fmla="*/ 2367871 w 2467584"/>
                  <a:gd name="connsiteY15" fmla="*/ 1568484 h 1568484"/>
                  <a:gd name="connsiteX0" fmla="*/ 7654 w 2355931"/>
                  <a:gd name="connsiteY0" fmla="*/ 1388043 h 1568484"/>
                  <a:gd name="connsiteX1" fmla="*/ 414383 w 2355931"/>
                  <a:gd name="connsiteY1" fmla="*/ 760334 h 1568484"/>
                  <a:gd name="connsiteX2" fmla="*/ 419354 w 2355931"/>
                  <a:gd name="connsiteY2" fmla="*/ 760835 h 1568484"/>
                  <a:gd name="connsiteX3" fmla="*/ 404747 w 2355931"/>
                  <a:gd name="connsiteY3" fmla="*/ 713780 h 1568484"/>
                  <a:gd name="connsiteX4" fmla="*/ 392678 w 2355931"/>
                  <a:gd name="connsiteY4" fmla="*/ 594057 h 1568484"/>
                  <a:gd name="connsiteX5" fmla="*/ 986735 w 2355931"/>
                  <a:gd name="connsiteY5" fmla="*/ 0 h 1568484"/>
                  <a:gd name="connsiteX6" fmla="*/ 1534108 w 2355931"/>
                  <a:gd name="connsiteY6" fmla="*/ 362823 h 1568484"/>
                  <a:gd name="connsiteX7" fmla="*/ 1548855 w 2355931"/>
                  <a:gd name="connsiteY7" fmla="*/ 410329 h 1568484"/>
                  <a:gd name="connsiteX8" fmla="*/ 1599481 w 2355931"/>
                  <a:gd name="connsiteY8" fmla="*/ 394614 h 1568484"/>
                  <a:gd name="connsiteX9" fmla="*/ 1686388 w 2355931"/>
                  <a:gd name="connsiteY9" fmla="*/ 385853 h 1568484"/>
                  <a:gd name="connsiteX10" fmla="*/ 2117617 w 2355931"/>
                  <a:gd name="connsiteY10" fmla="*/ 817082 h 1568484"/>
                  <a:gd name="connsiteX11" fmla="*/ 2083729 w 2355931"/>
                  <a:gd name="connsiteY11" fmla="*/ 984936 h 1568484"/>
                  <a:gd name="connsiteX12" fmla="*/ 2078966 w 2355931"/>
                  <a:gd name="connsiteY12" fmla="*/ 993711 h 1568484"/>
                  <a:gd name="connsiteX13" fmla="*/ 2084099 w 2355931"/>
                  <a:gd name="connsiteY13" fmla="*/ 994229 h 1568484"/>
                  <a:gd name="connsiteX14" fmla="*/ 2355931 w 2355931"/>
                  <a:gd name="connsiteY14" fmla="*/ 1327755 h 1568484"/>
                  <a:gd name="connsiteX15" fmla="*/ 2256218 w 2355931"/>
                  <a:gd name="connsiteY15"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35286 w 2386470"/>
                  <a:gd name="connsiteY3" fmla="*/ 713780 h 1568484"/>
                  <a:gd name="connsiteX4" fmla="*/ 423217 w 2386470"/>
                  <a:gd name="connsiteY4" fmla="*/ 594057 h 1568484"/>
                  <a:gd name="connsiteX5" fmla="*/ 1017274 w 2386470"/>
                  <a:gd name="connsiteY5" fmla="*/ 0 h 1568484"/>
                  <a:gd name="connsiteX6" fmla="*/ 1564647 w 2386470"/>
                  <a:gd name="connsiteY6" fmla="*/ 362823 h 1568484"/>
                  <a:gd name="connsiteX7" fmla="*/ 1579394 w 2386470"/>
                  <a:gd name="connsiteY7" fmla="*/ 410329 h 1568484"/>
                  <a:gd name="connsiteX8" fmla="*/ 1630020 w 2386470"/>
                  <a:gd name="connsiteY8" fmla="*/ 394614 h 1568484"/>
                  <a:gd name="connsiteX9" fmla="*/ 1716927 w 2386470"/>
                  <a:gd name="connsiteY9" fmla="*/ 385853 h 1568484"/>
                  <a:gd name="connsiteX10" fmla="*/ 2148156 w 2386470"/>
                  <a:gd name="connsiteY10" fmla="*/ 817082 h 1568484"/>
                  <a:gd name="connsiteX11" fmla="*/ 2114268 w 2386470"/>
                  <a:gd name="connsiteY11" fmla="*/ 984936 h 1568484"/>
                  <a:gd name="connsiteX12" fmla="*/ 2109505 w 2386470"/>
                  <a:gd name="connsiteY12" fmla="*/ 993711 h 1568484"/>
                  <a:gd name="connsiteX13" fmla="*/ 2114638 w 2386470"/>
                  <a:gd name="connsiteY13" fmla="*/ 994229 h 1568484"/>
                  <a:gd name="connsiteX14" fmla="*/ 2386470 w 2386470"/>
                  <a:gd name="connsiteY14" fmla="*/ 1327755 h 1568484"/>
                  <a:gd name="connsiteX15" fmla="*/ 2286757 w 2386470"/>
                  <a:gd name="connsiteY15"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556573 w 2386470"/>
                  <a:gd name="connsiteY2" fmla="*/ 77226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47485 w 2316215"/>
                  <a:gd name="connsiteY0" fmla="*/ 1513047 h 1568484"/>
                  <a:gd name="connsiteX1" fmla="*/ 374667 w 2316215"/>
                  <a:gd name="connsiteY1" fmla="*/ 760334 h 1568484"/>
                  <a:gd name="connsiteX2" fmla="*/ 349152 w 2316215"/>
                  <a:gd name="connsiteY2" fmla="*/ 575007 h 1568484"/>
                  <a:gd name="connsiteX3" fmla="*/ 947019 w 2316215"/>
                  <a:gd name="connsiteY3" fmla="*/ 0 h 1568484"/>
                  <a:gd name="connsiteX4" fmla="*/ 1494392 w 2316215"/>
                  <a:gd name="connsiteY4" fmla="*/ 362823 h 1568484"/>
                  <a:gd name="connsiteX5" fmla="*/ 1509139 w 2316215"/>
                  <a:gd name="connsiteY5" fmla="*/ 410329 h 1568484"/>
                  <a:gd name="connsiteX6" fmla="*/ 1646672 w 2316215"/>
                  <a:gd name="connsiteY6" fmla="*/ 385853 h 1568484"/>
                  <a:gd name="connsiteX7" fmla="*/ 2077901 w 2316215"/>
                  <a:gd name="connsiteY7" fmla="*/ 817082 h 1568484"/>
                  <a:gd name="connsiteX8" fmla="*/ 2044013 w 2316215"/>
                  <a:gd name="connsiteY8" fmla="*/ 984936 h 1568484"/>
                  <a:gd name="connsiteX9" fmla="*/ 2039250 w 2316215"/>
                  <a:gd name="connsiteY9" fmla="*/ 993711 h 1568484"/>
                  <a:gd name="connsiteX10" fmla="*/ 2044383 w 2316215"/>
                  <a:gd name="connsiteY10" fmla="*/ 994229 h 1568484"/>
                  <a:gd name="connsiteX11" fmla="*/ 2316215 w 2316215"/>
                  <a:gd name="connsiteY11" fmla="*/ 1327755 h 1568484"/>
                  <a:gd name="connsiteX12" fmla="*/ 2216502 w 2316215"/>
                  <a:gd name="connsiteY12" fmla="*/ 1568484 h 1568484"/>
                  <a:gd name="connsiteX0" fmla="*/ 81035 w 2349765"/>
                  <a:gd name="connsiteY0" fmla="*/ 1513047 h 1568484"/>
                  <a:gd name="connsiteX1" fmla="*/ 408217 w 2349765"/>
                  <a:gd name="connsiteY1" fmla="*/ 760334 h 1568484"/>
                  <a:gd name="connsiteX2" fmla="*/ 382702 w 2349765"/>
                  <a:gd name="connsiteY2" fmla="*/ 575007 h 1568484"/>
                  <a:gd name="connsiteX3" fmla="*/ 980569 w 2349765"/>
                  <a:gd name="connsiteY3" fmla="*/ 0 h 1568484"/>
                  <a:gd name="connsiteX4" fmla="*/ 1527942 w 2349765"/>
                  <a:gd name="connsiteY4" fmla="*/ 362823 h 1568484"/>
                  <a:gd name="connsiteX5" fmla="*/ 1542689 w 2349765"/>
                  <a:gd name="connsiteY5" fmla="*/ 410329 h 1568484"/>
                  <a:gd name="connsiteX6" fmla="*/ 1680222 w 2349765"/>
                  <a:gd name="connsiteY6" fmla="*/ 385853 h 1568484"/>
                  <a:gd name="connsiteX7" fmla="*/ 2111451 w 2349765"/>
                  <a:gd name="connsiteY7" fmla="*/ 817082 h 1568484"/>
                  <a:gd name="connsiteX8" fmla="*/ 2077563 w 2349765"/>
                  <a:gd name="connsiteY8" fmla="*/ 984936 h 1568484"/>
                  <a:gd name="connsiteX9" fmla="*/ 2072800 w 2349765"/>
                  <a:gd name="connsiteY9" fmla="*/ 993711 h 1568484"/>
                  <a:gd name="connsiteX10" fmla="*/ 2077933 w 2349765"/>
                  <a:gd name="connsiteY10" fmla="*/ 994229 h 1568484"/>
                  <a:gd name="connsiteX11" fmla="*/ 2349765 w 2349765"/>
                  <a:gd name="connsiteY11" fmla="*/ 1327755 h 1568484"/>
                  <a:gd name="connsiteX12" fmla="*/ 2250052 w 2349765"/>
                  <a:gd name="connsiteY12" fmla="*/ 1568484 h 1568484"/>
                  <a:gd name="connsiteX0" fmla="*/ 110397 w 2379127"/>
                  <a:gd name="connsiteY0" fmla="*/ 1513047 h 1568484"/>
                  <a:gd name="connsiteX1" fmla="*/ 437579 w 2379127"/>
                  <a:gd name="connsiteY1" fmla="*/ 760334 h 1568484"/>
                  <a:gd name="connsiteX2" fmla="*/ 412064 w 2379127"/>
                  <a:gd name="connsiteY2" fmla="*/ 575007 h 1568484"/>
                  <a:gd name="connsiteX3" fmla="*/ 1009931 w 2379127"/>
                  <a:gd name="connsiteY3" fmla="*/ 0 h 1568484"/>
                  <a:gd name="connsiteX4" fmla="*/ 1557304 w 2379127"/>
                  <a:gd name="connsiteY4" fmla="*/ 362823 h 1568484"/>
                  <a:gd name="connsiteX5" fmla="*/ 1572051 w 2379127"/>
                  <a:gd name="connsiteY5" fmla="*/ 410329 h 1568484"/>
                  <a:gd name="connsiteX6" fmla="*/ 1709584 w 2379127"/>
                  <a:gd name="connsiteY6" fmla="*/ 385853 h 1568484"/>
                  <a:gd name="connsiteX7" fmla="*/ 2140813 w 2379127"/>
                  <a:gd name="connsiteY7" fmla="*/ 817082 h 1568484"/>
                  <a:gd name="connsiteX8" fmla="*/ 2106925 w 2379127"/>
                  <a:gd name="connsiteY8" fmla="*/ 984936 h 1568484"/>
                  <a:gd name="connsiteX9" fmla="*/ 2102162 w 2379127"/>
                  <a:gd name="connsiteY9" fmla="*/ 993711 h 1568484"/>
                  <a:gd name="connsiteX10" fmla="*/ 2107295 w 2379127"/>
                  <a:gd name="connsiteY10" fmla="*/ 994229 h 1568484"/>
                  <a:gd name="connsiteX11" fmla="*/ 2379127 w 2379127"/>
                  <a:gd name="connsiteY11" fmla="*/ 1327755 h 1568484"/>
                  <a:gd name="connsiteX12" fmla="*/ 2279414 w 2379127"/>
                  <a:gd name="connsiteY12" fmla="*/ 1568484 h 1568484"/>
                  <a:gd name="connsiteX0" fmla="*/ 126784 w 2395514"/>
                  <a:gd name="connsiteY0" fmla="*/ 1513047 h 1568484"/>
                  <a:gd name="connsiteX1" fmla="*/ 453966 w 2395514"/>
                  <a:gd name="connsiteY1" fmla="*/ 760334 h 1568484"/>
                  <a:gd name="connsiteX2" fmla="*/ 428451 w 2395514"/>
                  <a:gd name="connsiteY2" fmla="*/ 575007 h 1568484"/>
                  <a:gd name="connsiteX3" fmla="*/ 1026318 w 2395514"/>
                  <a:gd name="connsiteY3" fmla="*/ 0 h 1568484"/>
                  <a:gd name="connsiteX4" fmla="*/ 1573691 w 2395514"/>
                  <a:gd name="connsiteY4" fmla="*/ 362823 h 1568484"/>
                  <a:gd name="connsiteX5" fmla="*/ 1588438 w 2395514"/>
                  <a:gd name="connsiteY5" fmla="*/ 410329 h 1568484"/>
                  <a:gd name="connsiteX6" fmla="*/ 1725971 w 2395514"/>
                  <a:gd name="connsiteY6" fmla="*/ 385853 h 1568484"/>
                  <a:gd name="connsiteX7" fmla="*/ 2157200 w 2395514"/>
                  <a:gd name="connsiteY7" fmla="*/ 817082 h 1568484"/>
                  <a:gd name="connsiteX8" fmla="*/ 2123312 w 2395514"/>
                  <a:gd name="connsiteY8" fmla="*/ 984936 h 1568484"/>
                  <a:gd name="connsiteX9" fmla="*/ 2118549 w 2395514"/>
                  <a:gd name="connsiteY9" fmla="*/ 993711 h 1568484"/>
                  <a:gd name="connsiteX10" fmla="*/ 2123682 w 2395514"/>
                  <a:gd name="connsiteY10" fmla="*/ 994229 h 1568484"/>
                  <a:gd name="connsiteX11" fmla="*/ 2395514 w 2395514"/>
                  <a:gd name="connsiteY11" fmla="*/ 1327755 h 1568484"/>
                  <a:gd name="connsiteX12" fmla="*/ 2295801 w 2395514"/>
                  <a:gd name="connsiteY12" fmla="*/ 1568484 h 1568484"/>
                  <a:gd name="connsiteX0" fmla="*/ 132147 w 2378149"/>
                  <a:gd name="connsiteY0" fmla="*/ 1603960 h 1603960"/>
                  <a:gd name="connsiteX1" fmla="*/ 436601 w 2378149"/>
                  <a:gd name="connsiteY1" fmla="*/ 760334 h 1603960"/>
                  <a:gd name="connsiteX2" fmla="*/ 411086 w 2378149"/>
                  <a:gd name="connsiteY2" fmla="*/ 575007 h 1603960"/>
                  <a:gd name="connsiteX3" fmla="*/ 1008953 w 2378149"/>
                  <a:gd name="connsiteY3" fmla="*/ 0 h 1603960"/>
                  <a:gd name="connsiteX4" fmla="*/ 1556326 w 2378149"/>
                  <a:gd name="connsiteY4" fmla="*/ 362823 h 1603960"/>
                  <a:gd name="connsiteX5" fmla="*/ 1571073 w 2378149"/>
                  <a:gd name="connsiteY5" fmla="*/ 410329 h 1603960"/>
                  <a:gd name="connsiteX6" fmla="*/ 1708606 w 2378149"/>
                  <a:gd name="connsiteY6" fmla="*/ 385853 h 1603960"/>
                  <a:gd name="connsiteX7" fmla="*/ 2139835 w 2378149"/>
                  <a:gd name="connsiteY7" fmla="*/ 817082 h 1603960"/>
                  <a:gd name="connsiteX8" fmla="*/ 2105947 w 2378149"/>
                  <a:gd name="connsiteY8" fmla="*/ 984936 h 1603960"/>
                  <a:gd name="connsiteX9" fmla="*/ 2101184 w 2378149"/>
                  <a:gd name="connsiteY9" fmla="*/ 993711 h 1603960"/>
                  <a:gd name="connsiteX10" fmla="*/ 2106317 w 2378149"/>
                  <a:gd name="connsiteY10" fmla="*/ 994229 h 1603960"/>
                  <a:gd name="connsiteX11" fmla="*/ 2378149 w 2378149"/>
                  <a:gd name="connsiteY11" fmla="*/ 1327755 h 1603960"/>
                  <a:gd name="connsiteX12" fmla="*/ 2278436 w 2378149"/>
                  <a:gd name="connsiteY12" fmla="*/ 1568484 h 1603960"/>
                  <a:gd name="connsiteX0" fmla="*/ 152328 w 2398330"/>
                  <a:gd name="connsiteY0" fmla="*/ 1603960 h 1603960"/>
                  <a:gd name="connsiteX1" fmla="*/ 456782 w 2398330"/>
                  <a:gd name="connsiteY1" fmla="*/ 760334 h 1603960"/>
                  <a:gd name="connsiteX2" fmla="*/ 431267 w 2398330"/>
                  <a:gd name="connsiteY2" fmla="*/ 575007 h 1603960"/>
                  <a:gd name="connsiteX3" fmla="*/ 1029134 w 2398330"/>
                  <a:gd name="connsiteY3" fmla="*/ 0 h 1603960"/>
                  <a:gd name="connsiteX4" fmla="*/ 1576507 w 2398330"/>
                  <a:gd name="connsiteY4" fmla="*/ 362823 h 1603960"/>
                  <a:gd name="connsiteX5" fmla="*/ 1591254 w 2398330"/>
                  <a:gd name="connsiteY5" fmla="*/ 410329 h 1603960"/>
                  <a:gd name="connsiteX6" fmla="*/ 1728787 w 2398330"/>
                  <a:gd name="connsiteY6" fmla="*/ 385853 h 1603960"/>
                  <a:gd name="connsiteX7" fmla="*/ 2160016 w 2398330"/>
                  <a:gd name="connsiteY7" fmla="*/ 817082 h 1603960"/>
                  <a:gd name="connsiteX8" fmla="*/ 2126128 w 2398330"/>
                  <a:gd name="connsiteY8" fmla="*/ 984936 h 1603960"/>
                  <a:gd name="connsiteX9" fmla="*/ 2121365 w 2398330"/>
                  <a:gd name="connsiteY9" fmla="*/ 993711 h 1603960"/>
                  <a:gd name="connsiteX10" fmla="*/ 2126498 w 2398330"/>
                  <a:gd name="connsiteY10" fmla="*/ 994229 h 1603960"/>
                  <a:gd name="connsiteX11" fmla="*/ 2398330 w 2398330"/>
                  <a:gd name="connsiteY11" fmla="*/ 1327755 h 1603960"/>
                  <a:gd name="connsiteX12" fmla="*/ 2298617 w 2398330"/>
                  <a:gd name="connsiteY12" fmla="*/ 1568484 h 1603960"/>
                  <a:gd name="connsiteX0" fmla="*/ 117007 w 2363009"/>
                  <a:gd name="connsiteY0" fmla="*/ 1603960 h 1603960"/>
                  <a:gd name="connsiteX1" fmla="*/ 421461 w 2363009"/>
                  <a:gd name="connsiteY1" fmla="*/ 760334 h 1603960"/>
                  <a:gd name="connsiteX2" fmla="*/ 395946 w 2363009"/>
                  <a:gd name="connsiteY2" fmla="*/ 575007 h 1603960"/>
                  <a:gd name="connsiteX3" fmla="*/ 993813 w 2363009"/>
                  <a:gd name="connsiteY3" fmla="*/ 0 h 1603960"/>
                  <a:gd name="connsiteX4" fmla="*/ 1541186 w 2363009"/>
                  <a:gd name="connsiteY4" fmla="*/ 362823 h 1603960"/>
                  <a:gd name="connsiteX5" fmla="*/ 1555933 w 2363009"/>
                  <a:gd name="connsiteY5" fmla="*/ 410329 h 1603960"/>
                  <a:gd name="connsiteX6" fmla="*/ 1693466 w 2363009"/>
                  <a:gd name="connsiteY6" fmla="*/ 385853 h 1603960"/>
                  <a:gd name="connsiteX7" fmla="*/ 2124695 w 2363009"/>
                  <a:gd name="connsiteY7" fmla="*/ 817082 h 1603960"/>
                  <a:gd name="connsiteX8" fmla="*/ 2090807 w 2363009"/>
                  <a:gd name="connsiteY8" fmla="*/ 984936 h 1603960"/>
                  <a:gd name="connsiteX9" fmla="*/ 2086044 w 2363009"/>
                  <a:gd name="connsiteY9" fmla="*/ 993711 h 1603960"/>
                  <a:gd name="connsiteX10" fmla="*/ 2091177 w 2363009"/>
                  <a:gd name="connsiteY10" fmla="*/ 994229 h 1603960"/>
                  <a:gd name="connsiteX11" fmla="*/ 2363009 w 2363009"/>
                  <a:gd name="connsiteY11" fmla="*/ 1327755 h 1603960"/>
                  <a:gd name="connsiteX12" fmla="*/ 2263296 w 2363009"/>
                  <a:gd name="connsiteY12" fmla="*/ 1568484 h 1603960"/>
                  <a:gd name="connsiteX0" fmla="*/ 117007 w 2363009"/>
                  <a:gd name="connsiteY0" fmla="*/ 1603960 h 1603960"/>
                  <a:gd name="connsiteX1" fmla="*/ 421461 w 2363009"/>
                  <a:gd name="connsiteY1" fmla="*/ 760334 h 1603960"/>
                  <a:gd name="connsiteX2" fmla="*/ 993813 w 2363009"/>
                  <a:gd name="connsiteY2" fmla="*/ 0 h 1603960"/>
                  <a:gd name="connsiteX3" fmla="*/ 1541186 w 2363009"/>
                  <a:gd name="connsiteY3" fmla="*/ 362823 h 1603960"/>
                  <a:gd name="connsiteX4" fmla="*/ 1555933 w 2363009"/>
                  <a:gd name="connsiteY4" fmla="*/ 410329 h 1603960"/>
                  <a:gd name="connsiteX5" fmla="*/ 1693466 w 2363009"/>
                  <a:gd name="connsiteY5" fmla="*/ 385853 h 1603960"/>
                  <a:gd name="connsiteX6" fmla="*/ 2124695 w 2363009"/>
                  <a:gd name="connsiteY6" fmla="*/ 817082 h 1603960"/>
                  <a:gd name="connsiteX7" fmla="*/ 2090807 w 2363009"/>
                  <a:gd name="connsiteY7" fmla="*/ 984936 h 1603960"/>
                  <a:gd name="connsiteX8" fmla="*/ 2086044 w 2363009"/>
                  <a:gd name="connsiteY8" fmla="*/ 993711 h 1603960"/>
                  <a:gd name="connsiteX9" fmla="*/ 2091177 w 2363009"/>
                  <a:gd name="connsiteY9" fmla="*/ 994229 h 1603960"/>
                  <a:gd name="connsiteX10" fmla="*/ 2363009 w 2363009"/>
                  <a:gd name="connsiteY10" fmla="*/ 1327755 h 1603960"/>
                  <a:gd name="connsiteX11" fmla="*/ 2263296 w 2363009"/>
                  <a:gd name="connsiteY11" fmla="*/ 1568484 h 1603960"/>
                  <a:gd name="connsiteX0" fmla="*/ 106776 w 2352778"/>
                  <a:gd name="connsiteY0" fmla="*/ 1603960 h 1603960"/>
                  <a:gd name="connsiteX1" fmla="*/ 456689 w 2352778"/>
                  <a:gd name="connsiteY1" fmla="*/ 760335 h 1603960"/>
                  <a:gd name="connsiteX2" fmla="*/ 983582 w 2352778"/>
                  <a:gd name="connsiteY2" fmla="*/ 0 h 1603960"/>
                  <a:gd name="connsiteX3" fmla="*/ 1530955 w 2352778"/>
                  <a:gd name="connsiteY3" fmla="*/ 362823 h 1603960"/>
                  <a:gd name="connsiteX4" fmla="*/ 1545702 w 2352778"/>
                  <a:gd name="connsiteY4" fmla="*/ 410329 h 1603960"/>
                  <a:gd name="connsiteX5" fmla="*/ 1683235 w 2352778"/>
                  <a:gd name="connsiteY5" fmla="*/ 385853 h 1603960"/>
                  <a:gd name="connsiteX6" fmla="*/ 2114464 w 2352778"/>
                  <a:gd name="connsiteY6" fmla="*/ 817082 h 1603960"/>
                  <a:gd name="connsiteX7" fmla="*/ 2080576 w 2352778"/>
                  <a:gd name="connsiteY7" fmla="*/ 984936 h 1603960"/>
                  <a:gd name="connsiteX8" fmla="*/ 2075813 w 2352778"/>
                  <a:gd name="connsiteY8" fmla="*/ 993711 h 1603960"/>
                  <a:gd name="connsiteX9" fmla="*/ 2080946 w 2352778"/>
                  <a:gd name="connsiteY9" fmla="*/ 994229 h 1603960"/>
                  <a:gd name="connsiteX10" fmla="*/ 2352778 w 2352778"/>
                  <a:gd name="connsiteY10" fmla="*/ 1327755 h 1603960"/>
                  <a:gd name="connsiteX11" fmla="*/ 2253065 w 2352778"/>
                  <a:gd name="connsiteY11" fmla="*/ 1568484 h 1603960"/>
                  <a:gd name="connsiteX0" fmla="*/ 106776 w 2352778"/>
                  <a:gd name="connsiteY0" fmla="*/ 1603960 h 1603960"/>
                  <a:gd name="connsiteX1" fmla="*/ 456689 w 2352778"/>
                  <a:gd name="connsiteY1" fmla="*/ 760335 h 1603960"/>
                  <a:gd name="connsiteX2" fmla="*/ 983582 w 2352778"/>
                  <a:gd name="connsiteY2" fmla="*/ 0 h 1603960"/>
                  <a:gd name="connsiteX3" fmla="*/ 1530955 w 2352778"/>
                  <a:gd name="connsiteY3" fmla="*/ 362823 h 1603960"/>
                  <a:gd name="connsiteX4" fmla="*/ 1545702 w 2352778"/>
                  <a:gd name="connsiteY4" fmla="*/ 410329 h 1603960"/>
                  <a:gd name="connsiteX5" fmla="*/ 1683235 w 2352778"/>
                  <a:gd name="connsiteY5" fmla="*/ 385853 h 1603960"/>
                  <a:gd name="connsiteX6" fmla="*/ 2114464 w 2352778"/>
                  <a:gd name="connsiteY6" fmla="*/ 817082 h 1603960"/>
                  <a:gd name="connsiteX7" fmla="*/ 2080576 w 2352778"/>
                  <a:gd name="connsiteY7" fmla="*/ 984936 h 1603960"/>
                  <a:gd name="connsiteX8" fmla="*/ 2075813 w 2352778"/>
                  <a:gd name="connsiteY8" fmla="*/ 993711 h 1603960"/>
                  <a:gd name="connsiteX9" fmla="*/ 2080946 w 2352778"/>
                  <a:gd name="connsiteY9" fmla="*/ 994229 h 1603960"/>
                  <a:gd name="connsiteX10" fmla="*/ 2352778 w 2352778"/>
                  <a:gd name="connsiteY10" fmla="*/ 1327755 h 1603960"/>
                  <a:gd name="connsiteX11" fmla="*/ 2253065 w 2352778"/>
                  <a:gd name="connsiteY11" fmla="*/ 1568484 h 1603960"/>
                  <a:gd name="connsiteX0" fmla="*/ 106776 w 2352778"/>
                  <a:gd name="connsiteY0" fmla="*/ 1610605 h 1610605"/>
                  <a:gd name="connsiteX1" fmla="*/ 456689 w 2352778"/>
                  <a:gd name="connsiteY1" fmla="*/ 766980 h 1610605"/>
                  <a:gd name="connsiteX2" fmla="*/ 983582 w 2352778"/>
                  <a:gd name="connsiteY2" fmla="*/ 6645 h 1610605"/>
                  <a:gd name="connsiteX3" fmla="*/ 1530955 w 2352778"/>
                  <a:gd name="connsiteY3" fmla="*/ 369468 h 1610605"/>
                  <a:gd name="connsiteX4" fmla="*/ 1545702 w 2352778"/>
                  <a:gd name="connsiteY4" fmla="*/ 416974 h 1610605"/>
                  <a:gd name="connsiteX5" fmla="*/ 1683235 w 2352778"/>
                  <a:gd name="connsiteY5" fmla="*/ 392498 h 1610605"/>
                  <a:gd name="connsiteX6" fmla="*/ 2114464 w 2352778"/>
                  <a:gd name="connsiteY6" fmla="*/ 823727 h 1610605"/>
                  <a:gd name="connsiteX7" fmla="*/ 2080576 w 2352778"/>
                  <a:gd name="connsiteY7" fmla="*/ 991581 h 1610605"/>
                  <a:gd name="connsiteX8" fmla="*/ 2075813 w 2352778"/>
                  <a:gd name="connsiteY8" fmla="*/ 1000356 h 1610605"/>
                  <a:gd name="connsiteX9" fmla="*/ 2080946 w 2352778"/>
                  <a:gd name="connsiteY9" fmla="*/ 1000874 h 1610605"/>
                  <a:gd name="connsiteX10" fmla="*/ 2352778 w 2352778"/>
                  <a:gd name="connsiteY10" fmla="*/ 1334400 h 1610605"/>
                  <a:gd name="connsiteX11" fmla="*/ 2253065 w 2352778"/>
                  <a:gd name="connsiteY11" fmla="*/ 1575129 h 1610605"/>
                  <a:gd name="connsiteX0" fmla="*/ 106776 w 2352778"/>
                  <a:gd name="connsiteY0" fmla="*/ 1610605 h 1610605"/>
                  <a:gd name="connsiteX1" fmla="*/ 456689 w 2352778"/>
                  <a:gd name="connsiteY1" fmla="*/ 766980 h 1610605"/>
                  <a:gd name="connsiteX2" fmla="*/ 983582 w 2352778"/>
                  <a:gd name="connsiteY2" fmla="*/ 6645 h 1610605"/>
                  <a:gd name="connsiteX3" fmla="*/ 1530955 w 2352778"/>
                  <a:gd name="connsiteY3" fmla="*/ 369468 h 1610605"/>
                  <a:gd name="connsiteX4" fmla="*/ 1683235 w 2352778"/>
                  <a:gd name="connsiteY4" fmla="*/ 392498 h 1610605"/>
                  <a:gd name="connsiteX5" fmla="*/ 2114464 w 2352778"/>
                  <a:gd name="connsiteY5" fmla="*/ 823727 h 1610605"/>
                  <a:gd name="connsiteX6" fmla="*/ 2080576 w 2352778"/>
                  <a:gd name="connsiteY6" fmla="*/ 991581 h 1610605"/>
                  <a:gd name="connsiteX7" fmla="*/ 2075813 w 2352778"/>
                  <a:gd name="connsiteY7" fmla="*/ 1000356 h 1610605"/>
                  <a:gd name="connsiteX8" fmla="*/ 2080946 w 2352778"/>
                  <a:gd name="connsiteY8" fmla="*/ 1000874 h 1610605"/>
                  <a:gd name="connsiteX9" fmla="*/ 2352778 w 2352778"/>
                  <a:gd name="connsiteY9" fmla="*/ 1334400 h 1610605"/>
                  <a:gd name="connsiteX10" fmla="*/ 2253065 w 2352778"/>
                  <a:gd name="connsiteY10" fmla="*/ 1575129 h 1610605"/>
                  <a:gd name="connsiteX0" fmla="*/ 106776 w 2352778"/>
                  <a:gd name="connsiteY0" fmla="*/ 1612114 h 1612114"/>
                  <a:gd name="connsiteX1" fmla="*/ 456689 w 2352778"/>
                  <a:gd name="connsiteY1" fmla="*/ 768489 h 1612114"/>
                  <a:gd name="connsiteX2" fmla="*/ 983582 w 2352778"/>
                  <a:gd name="connsiteY2" fmla="*/ 8154 h 1612114"/>
                  <a:gd name="connsiteX3" fmla="*/ 1683235 w 2352778"/>
                  <a:gd name="connsiteY3" fmla="*/ 394007 h 1612114"/>
                  <a:gd name="connsiteX4" fmla="*/ 2114464 w 2352778"/>
                  <a:gd name="connsiteY4" fmla="*/ 825236 h 1612114"/>
                  <a:gd name="connsiteX5" fmla="*/ 2080576 w 2352778"/>
                  <a:gd name="connsiteY5" fmla="*/ 993090 h 1612114"/>
                  <a:gd name="connsiteX6" fmla="*/ 2075813 w 2352778"/>
                  <a:gd name="connsiteY6" fmla="*/ 1001865 h 1612114"/>
                  <a:gd name="connsiteX7" fmla="*/ 2080946 w 2352778"/>
                  <a:gd name="connsiteY7" fmla="*/ 1002383 h 1612114"/>
                  <a:gd name="connsiteX8" fmla="*/ 2352778 w 2352778"/>
                  <a:gd name="connsiteY8" fmla="*/ 1335909 h 1612114"/>
                  <a:gd name="connsiteX9" fmla="*/ 2253065 w 2352778"/>
                  <a:gd name="connsiteY9" fmla="*/ 1576638 h 1612114"/>
                  <a:gd name="connsiteX0" fmla="*/ 106776 w 2352778"/>
                  <a:gd name="connsiteY0" fmla="*/ 1611207 h 1611207"/>
                  <a:gd name="connsiteX1" fmla="*/ 456689 w 2352778"/>
                  <a:gd name="connsiteY1" fmla="*/ 767582 h 1611207"/>
                  <a:gd name="connsiteX2" fmla="*/ 983582 w 2352778"/>
                  <a:gd name="connsiteY2" fmla="*/ 7247 h 1611207"/>
                  <a:gd name="connsiteX3" fmla="*/ 1558230 w 2352778"/>
                  <a:gd name="connsiteY3" fmla="*/ 438554 h 1611207"/>
                  <a:gd name="connsiteX4" fmla="*/ 2114464 w 2352778"/>
                  <a:gd name="connsiteY4" fmla="*/ 824329 h 1611207"/>
                  <a:gd name="connsiteX5" fmla="*/ 2080576 w 2352778"/>
                  <a:gd name="connsiteY5" fmla="*/ 992183 h 1611207"/>
                  <a:gd name="connsiteX6" fmla="*/ 2075813 w 2352778"/>
                  <a:gd name="connsiteY6" fmla="*/ 1000958 h 1611207"/>
                  <a:gd name="connsiteX7" fmla="*/ 2080946 w 2352778"/>
                  <a:gd name="connsiteY7" fmla="*/ 1001476 h 1611207"/>
                  <a:gd name="connsiteX8" fmla="*/ 2352778 w 2352778"/>
                  <a:gd name="connsiteY8" fmla="*/ 1335002 h 1611207"/>
                  <a:gd name="connsiteX9" fmla="*/ 2253065 w 2352778"/>
                  <a:gd name="connsiteY9" fmla="*/ 1575731 h 1611207"/>
                  <a:gd name="connsiteX0" fmla="*/ 106776 w 2352778"/>
                  <a:gd name="connsiteY0" fmla="*/ 1608821 h 1608821"/>
                  <a:gd name="connsiteX1" fmla="*/ 456689 w 2352778"/>
                  <a:gd name="connsiteY1" fmla="*/ 765196 h 1608821"/>
                  <a:gd name="connsiteX2" fmla="*/ 983582 w 2352778"/>
                  <a:gd name="connsiteY2" fmla="*/ 4861 h 1608821"/>
                  <a:gd name="connsiteX3" fmla="*/ 1558230 w 2352778"/>
                  <a:gd name="connsiteY3" fmla="*/ 436168 h 1608821"/>
                  <a:gd name="connsiteX4" fmla="*/ 2114464 w 2352778"/>
                  <a:gd name="connsiteY4" fmla="*/ 821943 h 1608821"/>
                  <a:gd name="connsiteX5" fmla="*/ 2080576 w 2352778"/>
                  <a:gd name="connsiteY5" fmla="*/ 989797 h 1608821"/>
                  <a:gd name="connsiteX6" fmla="*/ 2075813 w 2352778"/>
                  <a:gd name="connsiteY6" fmla="*/ 998572 h 1608821"/>
                  <a:gd name="connsiteX7" fmla="*/ 2080946 w 2352778"/>
                  <a:gd name="connsiteY7" fmla="*/ 999090 h 1608821"/>
                  <a:gd name="connsiteX8" fmla="*/ 2352778 w 2352778"/>
                  <a:gd name="connsiteY8" fmla="*/ 1332616 h 1608821"/>
                  <a:gd name="connsiteX9" fmla="*/ 2253065 w 2352778"/>
                  <a:gd name="connsiteY9" fmla="*/ 1573345 h 1608821"/>
                  <a:gd name="connsiteX0" fmla="*/ 106776 w 2352778"/>
                  <a:gd name="connsiteY0" fmla="*/ 1608821 h 1608821"/>
                  <a:gd name="connsiteX1" fmla="*/ 456689 w 2352778"/>
                  <a:gd name="connsiteY1" fmla="*/ 765196 h 1608821"/>
                  <a:gd name="connsiteX2" fmla="*/ 983582 w 2352778"/>
                  <a:gd name="connsiteY2" fmla="*/ 4861 h 1608821"/>
                  <a:gd name="connsiteX3" fmla="*/ 1558230 w 2352778"/>
                  <a:gd name="connsiteY3" fmla="*/ 436168 h 1608821"/>
                  <a:gd name="connsiteX4" fmla="*/ 2114464 w 2352778"/>
                  <a:gd name="connsiteY4" fmla="*/ 821943 h 1608821"/>
                  <a:gd name="connsiteX5" fmla="*/ 2080576 w 2352778"/>
                  <a:gd name="connsiteY5" fmla="*/ 989797 h 1608821"/>
                  <a:gd name="connsiteX6" fmla="*/ 2075813 w 2352778"/>
                  <a:gd name="connsiteY6" fmla="*/ 998572 h 1608821"/>
                  <a:gd name="connsiteX7" fmla="*/ 2080946 w 2352778"/>
                  <a:gd name="connsiteY7" fmla="*/ 999090 h 1608821"/>
                  <a:gd name="connsiteX8" fmla="*/ 2352778 w 2352778"/>
                  <a:gd name="connsiteY8" fmla="*/ 1332616 h 1608821"/>
                  <a:gd name="connsiteX9" fmla="*/ 2253065 w 2352778"/>
                  <a:gd name="connsiteY9" fmla="*/ 1573345 h 1608821"/>
                  <a:gd name="connsiteX0" fmla="*/ 106776 w 2352778"/>
                  <a:gd name="connsiteY0" fmla="*/ 1615532 h 1615532"/>
                  <a:gd name="connsiteX1" fmla="*/ 456689 w 2352778"/>
                  <a:gd name="connsiteY1" fmla="*/ 771907 h 1615532"/>
                  <a:gd name="connsiteX2" fmla="*/ 983582 w 2352778"/>
                  <a:gd name="connsiteY2" fmla="*/ 11572 h 1615532"/>
                  <a:gd name="connsiteX3" fmla="*/ 1558230 w 2352778"/>
                  <a:gd name="connsiteY3" fmla="*/ 442879 h 1615532"/>
                  <a:gd name="connsiteX4" fmla="*/ 2114464 w 2352778"/>
                  <a:gd name="connsiteY4" fmla="*/ 828654 h 1615532"/>
                  <a:gd name="connsiteX5" fmla="*/ 2080576 w 2352778"/>
                  <a:gd name="connsiteY5" fmla="*/ 996508 h 1615532"/>
                  <a:gd name="connsiteX6" fmla="*/ 2075813 w 2352778"/>
                  <a:gd name="connsiteY6" fmla="*/ 1005283 h 1615532"/>
                  <a:gd name="connsiteX7" fmla="*/ 2080946 w 2352778"/>
                  <a:gd name="connsiteY7" fmla="*/ 1005801 h 1615532"/>
                  <a:gd name="connsiteX8" fmla="*/ 2352778 w 2352778"/>
                  <a:gd name="connsiteY8" fmla="*/ 1339327 h 1615532"/>
                  <a:gd name="connsiteX9" fmla="*/ 2253065 w 2352778"/>
                  <a:gd name="connsiteY9" fmla="*/ 1580056 h 1615532"/>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075813 w 2352778"/>
                  <a:gd name="connsiteY5" fmla="*/ 1006291 h 1616540"/>
                  <a:gd name="connsiteX6" fmla="*/ 2080946 w 2352778"/>
                  <a:gd name="connsiteY6" fmla="*/ 1006809 h 1616540"/>
                  <a:gd name="connsiteX7" fmla="*/ 2352778 w 2352778"/>
                  <a:gd name="connsiteY7" fmla="*/ 1340335 h 1616540"/>
                  <a:gd name="connsiteX8" fmla="*/ 2253065 w 2352778"/>
                  <a:gd name="connsiteY8"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075813 w 2352778"/>
                  <a:gd name="connsiteY5" fmla="*/ 1006291 h 1616540"/>
                  <a:gd name="connsiteX6" fmla="*/ 2352778 w 2352778"/>
                  <a:gd name="connsiteY6" fmla="*/ 1340335 h 1616540"/>
                  <a:gd name="connsiteX7" fmla="*/ 2253065 w 2352778"/>
                  <a:gd name="connsiteY7" fmla="*/ 1581064 h 1616540"/>
                  <a:gd name="connsiteX0" fmla="*/ 106776 w 2519017"/>
                  <a:gd name="connsiteY0" fmla="*/ 1616540 h 1616540"/>
                  <a:gd name="connsiteX1" fmla="*/ 456689 w 2519017"/>
                  <a:gd name="connsiteY1" fmla="*/ 772915 h 1616540"/>
                  <a:gd name="connsiteX2" fmla="*/ 983582 w 2519017"/>
                  <a:gd name="connsiteY2" fmla="*/ 12580 h 1616540"/>
                  <a:gd name="connsiteX3" fmla="*/ 1558230 w 2519017"/>
                  <a:gd name="connsiteY3" fmla="*/ 443887 h 1616540"/>
                  <a:gd name="connsiteX4" fmla="*/ 2080576 w 2519017"/>
                  <a:gd name="connsiteY4" fmla="*/ 997516 h 1616540"/>
                  <a:gd name="connsiteX5" fmla="*/ 2519017 w 2519017"/>
                  <a:gd name="connsiteY5" fmla="*/ 790371 h 1616540"/>
                  <a:gd name="connsiteX6" fmla="*/ 2352778 w 2519017"/>
                  <a:gd name="connsiteY6" fmla="*/ 1340335 h 1616540"/>
                  <a:gd name="connsiteX7" fmla="*/ 2253065 w 2519017"/>
                  <a:gd name="connsiteY7"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352778 w 2352778"/>
                  <a:gd name="connsiteY5" fmla="*/ 1340335 h 1616540"/>
                  <a:gd name="connsiteX6" fmla="*/ 2253065 w 2352778"/>
                  <a:gd name="connsiteY6" fmla="*/ 1581064 h 1616540"/>
                  <a:gd name="connsiteX0" fmla="*/ 106776 w 2253066"/>
                  <a:gd name="connsiteY0" fmla="*/ 1616540 h 1616540"/>
                  <a:gd name="connsiteX1" fmla="*/ 456689 w 2253066"/>
                  <a:gd name="connsiteY1" fmla="*/ 772915 h 1616540"/>
                  <a:gd name="connsiteX2" fmla="*/ 983582 w 2253066"/>
                  <a:gd name="connsiteY2" fmla="*/ 12580 h 1616540"/>
                  <a:gd name="connsiteX3" fmla="*/ 1558230 w 2253066"/>
                  <a:gd name="connsiteY3" fmla="*/ 443887 h 1616540"/>
                  <a:gd name="connsiteX4" fmla="*/ 2080576 w 2253066"/>
                  <a:gd name="connsiteY4" fmla="*/ 997516 h 1616540"/>
                  <a:gd name="connsiteX5" fmla="*/ 2253065 w 2253066"/>
                  <a:gd name="connsiteY5" fmla="*/ 1581064 h 1616540"/>
                  <a:gd name="connsiteX0" fmla="*/ 106776 w 2307178"/>
                  <a:gd name="connsiteY0" fmla="*/ 1616540 h 1616540"/>
                  <a:gd name="connsiteX1" fmla="*/ 456689 w 2307178"/>
                  <a:gd name="connsiteY1" fmla="*/ 772915 h 1616540"/>
                  <a:gd name="connsiteX2" fmla="*/ 983582 w 2307178"/>
                  <a:gd name="connsiteY2" fmla="*/ 12580 h 1616540"/>
                  <a:gd name="connsiteX3" fmla="*/ 1558230 w 2307178"/>
                  <a:gd name="connsiteY3" fmla="*/ 443887 h 1616540"/>
                  <a:gd name="connsiteX4" fmla="*/ 2080576 w 2307178"/>
                  <a:gd name="connsiteY4" fmla="*/ 997516 h 1616540"/>
                  <a:gd name="connsiteX5" fmla="*/ 2253065 w 2307178"/>
                  <a:gd name="connsiteY5" fmla="*/ 1581064 h 1616540"/>
                  <a:gd name="connsiteX0" fmla="*/ 106776 w 2403693"/>
                  <a:gd name="connsiteY0" fmla="*/ 1616540 h 1616540"/>
                  <a:gd name="connsiteX1" fmla="*/ 456689 w 2403693"/>
                  <a:gd name="connsiteY1" fmla="*/ 772915 h 1616540"/>
                  <a:gd name="connsiteX2" fmla="*/ 983582 w 2403693"/>
                  <a:gd name="connsiteY2" fmla="*/ 12580 h 1616540"/>
                  <a:gd name="connsiteX3" fmla="*/ 1558230 w 2403693"/>
                  <a:gd name="connsiteY3" fmla="*/ 443887 h 1616540"/>
                  <a:gd name="connsiteX4" fmla="*/ 2080576 w 2403693"/>
                  <a:gd name="connsiteY4" fmla="*/ 997516 h 1616540"/>
                  <a:gd name="connsiteX5" fmla="*/ 2253065 w 2403693"/>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60046 h 1660046"/>
                  <a:gd name="connsiteX1" fmla="*/ 456689 w 2380744"/>
                  <a:gd name="connsiteY1" fmla="*/ 816421 h 1660046"/>
                  <a:gd name="connsiteX2" fmla="*/ 972216 w 2380744"/>
                  <a:gd name="connsiteY2" fmla="*/ 10631 h 1660046"/>
                  <a:gd name="connsiteX3" fmla="*/ 1558230 w 2380744"/>
                  <a:gd name="connsiteY3" fmla="*/ 487393 h 1660046"/>
                  <a:gd name="connsiteX4" fmla="*/ 2080576 w 2380744"/>
                  <a:gd name="connsiteY4" fmla="*/ 1041022 h 1660046"/>
                  <a:gd name="connsiteX5" fmla="*/ 2253065 w 2380744"/>
                  <a:gd name="connsiteY5" fmla="*/ 1624570 h 1660046"/>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73898 h 1673898"/>
                  <a:gd name="connsiteX1" fmla="*/ 456689 w 2380744"/>
                  <a:gd name="connsiteY1" fmla="*/ 830273 h 1673898"/>
                  <a:gd name="connsiteX2" fmla="*/ 972216 w 2380744"/>
                  <a:gd name="connsiteY2" fmla="*/ 24483 h 1673898"/>
                  <a:gd name="connsiteX3" fmla="*/ 1558230 w 2380744"/>
                  <a:gd name="connsiteY3" fmla="*/ 501245 h 1673898"/>
                  <a:gd name="connsiteX4" fmla="*/ 2080576 w 2380744"/>
                  <a:gd name="connsiteY4" fmla="*/ 1054874 h 1673898"/>
                  <a:gd name="connsiteX5" fmla="*/ 2253065 w 2380744"/>
                  <a:gd name="connsiteY5" fmla="*/ 1638422 h 1673898"/>
                  <a:gd name="connsiteX0" fmla="*/ 106776 w 2380744"/>
                  <a:gd name="connsiteY0" fmla="*/ 1663232 h 1663232"/>
                  <a:gd name="connsiteX1" fmla="*/ 456689 w 2380744"/>
                  <a:gd name="connsiteY1" fmla="*/ 819607 h 1663232"/>
                  <a:gd name="connsiteX2" fmla="*/ 972216 w 2380744"/>
                  <a:gd name="connsiteY2" fmla="*/ 13817 h 1663232"/>
                  <a:gd name="connsiteX3" fmla="*/ 1558230 w 2380744"/>
                  <a:gd name="connsiteY3" fmla="*/ 490579 h 1663232"/>
                  <a:gd name="connsiteX4" fmla="*/ 2080576 w 2380744"/>
                  <a:gd name="connsiteY4" fmla="*/ 1044208 h 1663232"/>
                  <a:gd name="connsiteX5" fmla="*/ 2253065 w 2380744"/>
                  <a:gd name="connsiteY5" fmla="*/ 1627756 h 1663232"/>
                  <a:gd name="connsiteX0" fmla="*/ 106776 w 2380744"/>
                  <a:gd name="connsiteY0" fmla="*/ 1620102 h 1620102"/>
                  <a:gd name="connsiteX1" fmla="*/ 456689 w 2380744"/>
                  <a:gd name="connsiteY1" fmla="*/ 776477 h 1620102"/>
                  <a:gd name="connsiteX2" fmla="*/ 801754 w 2380744"/>
                  <a:gd name="connsiteY2" fmla="*/ 16142 h 1620102"/>
                  <a:gd name="connsiteX3" fmla="*/ 1558230 w 2380744"/>
                  <a:gd name="connsiteY3" fmla="*/ 447449 h 1620102"/>
                  <a:gd name="connsiteX4" fmla="*/ 2080576 w 2380744"/>
                  <a:gd name="connsiteY4" fmla="*/ 1001078 h 1620102"/>
                  <a:gd name="connsiteX5" fmla="*/ 2253065 w 2380744"/>
                  <a:gd name="connsiteY5" fmla="*/ 1584626 h 1620102"/>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487430"/>
                  <a:gd name="connsiteY0" fmla="*/ 1631741 h 1631741"/>
                  <a:gd name="connsiteX1" fmla="*/ 456689 w 2487430"/>
                  <a:gd name="connsiteY1" fmla="*/ 788116 h 1631741"/>
                  <a:gd name="connsiteX2" fmla="*/ 801754 w 2487430"/>
                  <a:gd name="connsiteY2" fmla="*/ 27781 h 1631741"/>
                  <a:gd name="connsiteX3" fmla="*/ 1558230 w 2487430"/>
                  <a:gd name="connsiteY3" fmla="*/ 459088 h 1631741"/>
                  <a:gd name="connsiteX4" fmla="*/ 2080576 w 2487430"/>
                  <a:gd name="connsiteY4" fmla="*/ 1012717 h 1631741"/>
                  <a:gd name="connsiteX5" fmla="*/ 2414980 w 2487430"/>
                  <a:gd name="connsiteY5" fmla="*/ 1410071 h 1631741"/>
                  <a:gd name="connsiteX0" fmla="*/ 106776 w 2529784"/>
                  <a:gd name="connsiteY0" fmla="*/ 1631741 h 1631741"/>
                  <a:gd name="connsiteX1" fmla="*/ 456689 w 2529784"/>
                  <a:gd name="connsiteY1" fmla="*/ 788116 h 1631741"/>
                  <a:gd name="connsiteX2" fmla="*/ 801754 w 2529784"/>
                  <a:gd name="connsiteY2" fmla="*/ 27781 h 1631741"/>
                  <a:gd name="connsiteX3" fmla="*/ 1558230 w 2529784"/>
                  <a:gd name="connsiteY3" fmla="*/ 459088 h 1631741"/>
                  <a:gd name="connsiteX4" fmla="*/ 2212636 w 2529784"/>
                  <a:gd name="connsiteY4" fmla="*/ 808070 h 1631741"/>
                  <a:gd name="connsiteX5" fmla="*/ 2414980 w 2529784"/>
                  <a:gd name="connsiteY5" fmla="*/ 1410071 h 1631741"/>
                  <a:gd name="connsiteX0" fmla="*/ 106776 w 2529784"/>
                  <a:gd name="connsiteY0" fmla="*/ 1631741 h 1631741"/>
                  <a:gd name="connsiteX1" fmla="*/ 456689 w 2529784"/>
                  <a:gd name="connsiteY1" fmla="*/ 788116 h 1631741"/>
                  <a:gd name="connsiteX2" fmla="*/ 801754 w 2529784"/>
                  <a:gd name="connsiteY2" fmla="*/ 27781 h 1631741"/>
                  <a:gd name="connsiteX3" fmla="*/ 1558230 w 2529784"/>
                  <a:gd name="connsiteY3" fmla="*/ 459088 h 1631741"/>
                  <a:gd name="connsiteX4" fmla="*/ 2212636 w 2529784"/>
                  <a:gd name="connsiteY4" fmla="*/ 808070 h 1631741"/>
                  <a:gd name="connsiteX5" fmla="*/ 2414980 w 2529784"/>
                  <a:gd name="connsiteY5" fmla="*/ 1410071 h 1631741"/>
                  <a:gd name="connsiteX0" fmla="*/ 106776 w 2529784"/>
                  <a:gd name="connsiteY0" fmla="*/ 1631741 h 1631741"/>
                  <a:gd name="connsiteX1" fmla="*/ 456689 w 2529784"/>
                  <a:gd name="connsiteY1" fmla="*/ 788116 h 1631741"/>
                  <a:gd name="connsiteX2" fmla="*/ 801754 w 2529784"/>
                  <a:gd name="connsiteY2" fmla="*/ 27781 h 1631741"/>
                  <a:gd name="connsiteX3" fmla="*/ 1558230 w 2529784"/>
                  <a:gd name="connsiteY3" fmla="*/ 459088 h 1631741"/>
                  <a:gd name="connsiteX4" fmla="*/ 2212636 w 2529784"/>
                  <a:gd name="connsiteY4" fmla="*/ 808070 h 1631741"/>
                  <a:gd name="connsiteX5" fmla="*/ 2414980 w 2529784"/>
                  <a:gd name="connsiteY5" fmla="*/ 1410071 h 1631741"/>
                  <a:gd name="connsiteX0" fmla="*/ 106776 w 2521755"/>
                  <a:gd name="connsiteY0" fmla="*/ 1631741 h 1631741"/>
                  <a:gd name="connsiteX1" fmla="*/ 456689 w 2521755"/>
                  <a:gd name="connsiteY1" fmla="*/ 788116 h 1631741"/>
                  <a:gd name="connsiteX2" fmla="*/ 801754 w 2521755"/>
                  <a:gd name="connsiteY2" fmla="*/ 27781 h 1631741"/>
                  <a:gd name="connsiteX3" fmla="*/ 1558230 w 2521755"/>
                  <a:gd name="connsiteY3" fmla="*/ 459088 h 1631741"/>
                  <a:gd name="connsiteX4" fmla="*/ 2212636 w 2521755"/>
                  <a:gd name="connsiteY4" fmla="*/ 808070 h 1631741"/>
                  <a:gd name="connsiteX5" fmla="*/ 2414980 w 2521755"/>
                  <a:gd name="connsiteY5" fmla="*/ 1410071 h 1631741"/>
                  <a:gd name="connsiteX0" fmla="*/ 187110 w 2602089"/>
                  <a:gd name="connsiteY0" fmla="*/ 1631741 h 1631741"/>
                  <a:gd name="connsiteX1" fmla="*/ 537023 w 2602089"/>
                  <a:gd name="connsiteY1" fmla="*/ 788116 h 1631741"/>
                  <a:gd name="connsiteX2" fmla="*/ 882088 w 2602089"/>
                  <a:gd name="connsiteY2" fmla="*/ 27781 h 1631741"/>
                  <a:gd name="connsiteX3" fmla="*/ 1638564 w 2602089"/>
                  <a:gd name="connsiteY3" fmla="*/ 459088 h 1631741"/>
                  <a:gd name="connsiteX4" fmla="*/ 2292970 w 2602089"/>
                  <a:gd name="connsiteY4" fmla="*/ 808070 h 1631741"/>
                  <a:gd name="connsiteX5" fmla="*/ 2495314 w 2602089"/>
                  <a:gd name="connsiteY5" fmla="*/ 1410071 h 1631741"/>
                  <a:gd name="connsiteX0" fmla="*/ 203397 w 2618376"/>
                  <a:gd name="connsiteY0" fmla="*/ 1631741 h 1631741"/>
                  <a:gd name="connsiteX1" fmla="*/ 486034 w 2618376"/>
                  <a:gd name="connsiteY1" fmla="*/ 679189 h 1631741"/>
                  <a:gd name="connsiteX2" fmla="*/ 898375 w 2618376"/>
                  <a:gd name="connsiteY2" fmla="*/ 27781 h 1631741"/>
                  <a:gd name="connsiteX3" fmla="*/ 1654851 w 2618376"/>
                  <a:gd name="connsiteY3" fmla="*/ 459088 h 1631741"/>
                  <a:gd name="connsiteX4" fmla="*/ 2309257 w 2618376"/>
                  <a:gd name="connsiteY4" fmla="*/ 808070 h 1631741"/>
                  <a:gd name="connsiteX5" fmla="*/ 2511601 w 2618376"/>
                  <a:gd name="connsiteY5" fmla="*/ 1410071 h 1631741"/>
                  <a:gd name="connsiteX0" fmla="*/ 203397 w 2618376"/>
                  <a:gd name="connsiteY0" fmla="*/ 1631741 h 1631741"/>
                  <a:gd name="connsiteX1" fmla="*/ 486034 w 2618376"/>
                  <a:gd name="connsiteY1" fmla="*/ 679189 h 1631741"/>
                  <a:gd name="connsiteX2" fmla="*/ 898375 w 2618376"/>
                  <a:gd name="connsiteY2" fmla="*/ 27781 h 1631741"/>
                  <a:gd name="connsiteX3" fmla="*/ 1654851 w 2618376"/>
                  <a:gd name="connsiteY3" fmla="*/ 459088 h 1631741"/>
                  <a:gd name="connsiteX4" fmla="*/ 2309257 w 2618376"/>
                  <a:gd name="connsiteY4" fmla="*/ 808070 h 1631741"/>
                  <a:gd name="connsiteX5" fmla="*/ 2511601 w 2618376"/>
                  <a:gd name="connsiteY5" fmla="*/ 1410071 h 1631741"/>
                  <a:gd name="connsiteX0" fmla="*/ 203397 w 2618376"/>
                  <a:gd name="connsiteY0" fmla="*/ 1631741 h 1631741"/>
                  <a:gd name="connsiteX1" fmla="*/ 486034 w 2618376"/>
                  <a:gd name="connsiteY1" fmla="*/ 679189 h 1631741"/>
                  <a:gd name="connsiteX2" fmla="*/ 898375 w 2618376"/>
                  <a:gd name="connsiteY2" fmla="*/ 27781 h 1631741"/>
                  <a:gd name="connsiteX3" fmla="*/ 1654851 w 2618376"/>
                  <a:gd name="connsiteY3" fmla="*/ 459088 h 1631741"/>
                  <a:gd name="connsiteX4" fmla="*/ 2309257 w 2618376"/>
                  <a:gd name="connsiteY4" fmla="*/ 808070 h 1631741"/>
                  <a:gd name="connsiteX5" fmla="*/ 2511601 w 2618376"/>
                  <a:gd name="connsiteY5" fmla="*/ 1410071 h 1631741"/>
                  <a:gd name="connsiteX0" fmla="*/ 203400 w 2618376"/>
                  <a:gd name="connsiteY0" fmla="*/ 1634574 h 1634574"/>
                  <a:gd name="connsiteX1" fmla="*/ 486037 w 2618376"/>
                  <a:gd name="connsiteY1" fmla="*/ 682022 h 1634574"/>
                  <a:gd name="connsiteX2" fmla="*/ 898378 w 2618376"/>
                  <a:gd name="connsiteY2" fmla="*/ 30614 h 1634574"/>
                  <a:gd name="connsiteX3" fmla="*/ 1666936 w 2618376"/>
                  <a:gd name="connsiteY3" fmla="*/ 430111 h 1634574"/>
                  <a:gd name="connsiteX4" fmla="*/ 2309260 w 2618376"/>
                  <a:gd name="connsiteY4" fmla="*/ 810903 h 1634574"/>
                  <a:gd name="connsiteX5" fmla="*/ 2511604 w 2618376"/>
                  <a:gd name="connsiteY5" fmla="*/ 1412904 h 1634574"/>
                  <a:gd name="connsiteX0" fmla="*/ 203400 w 2618376"/>
                  <a:gd name="connsiteY0" fmla="*/ 1634576 h 1634576"/>
                  <a:gd name="connsiteX1" fmla="*/ 486037 w 2618376"/>
                  <a:gd name="connsiteY1" fmla="*/ 682024 h 1634576"/>
                  <a:gd name="connsiteX2" fmla="*/ 898378 w 2618376"/>
                  <a:gd name="connsiteY2" fmla="*/ 30616 h 1634576"/>
                  <a:gd name="connsiteX3" fmla="*/ 1666936 w 2618376"/>
                  <a:gd name="connsiteY3" fmla="*/ 430113 h 1634576"/>
                  <a:gd name="connsiteX4" fmla="*/ 2309260 w 2618376"/>
                  <a:gd name="connsiteY4" fmla="*/ 810905 h 1634576"/>
                  <a:gd name="connsiteX5" fmla="*/ 2511604 w 2618376"/>
                  <a:gd name="connsiteY5" fmla="*/ 1412906 h 1634576"/>
                  <a:gd name="connsiteX0" fmla="*/ 203400 w 2605750"/>
                  <a:gd name="connsiteY0" fmla="*/ 1634576 h 1634576"/>
                  <a:gd name="connsiteX1" fmla="*/ 486037 w 2605750"/>
                  <a:gd name="connsiteY1" fmla="*/ 682024 h 1634576"/>
                  <a:gd name="connsiteX2" fmla="*/ 898378 w 2605750"/>
                  <a:gd name="connsiteY2" fmla="*/ 30616 h 1634576"/>
                  <a:gd name="connsiteX3" fmla="*/ 1666936 w 2605750"/>
                  <a:gd name="connsiteY3" fmla="*/ 430113 h 1634576"/>
                  <a:gd name="connsiteX4" fmla="*/ 2309260 w 2605750"/>
                  <a:gd name="connsiteY4" fmla="*/ 810905 h 1634576"/>
                  <a:gd name="connsiteX5" fmla="*/ 2511604 w 2605750"/>
                  <a:gd name="connsiteY5" fmla="*/ 1412906 h 1634576"/>
                  <a:gd name="connsiteX0" fmla="*/ 203400 w 2605750"/>
                  <a:gd name="connsiteY0" fmla="*/ 1634576 h 1634576"/>
                  <a:gd name="connsiteX1" fmla="*/ 486037 w 2605750"/>
                  <a:gd name="connsiteY1" fmla="*/ 682024 h 1634576"/>
                  <a:gd name="connsiteX2" fmla="*/ 898378 w 2605750"/>
                  <a:gd name="connsiteY2" fmla="*/ 30616 h 1634576"/>
                  <a:gd name="connsiteX3" fmla="*/ 1666936 w 2605750"/>
                  <a:gd name="connsiteY3" fmla="*/ 430113 h 1634576"/>
                  <a:gd name="connsiteX4" fmla="*/ 2309260 w 2605750"/>
                  <a:gd name="connsiteY4" fmla="*/ 810905 h 1634576"/>
                  <a:gd name="connsiteX5" fmla="*/ 2511604 w 2605750"/>
                  <a:gd name="connsiteY5" fmla="*/ 1412906 h 1634576"/>
                  <a:gd name="connsiteX0" fmla="*/ 203400 w 2605750"/>
                  <a:gd name="connsiteY0" fmla="*/ 1634576 h 1634576"/>
                  <a:gd name="connsiteX1" fmla="*/ 486037 w 2605750"/>
                  <a:gd name="connsiteY1" fmla="*/ 682024 h 1634576"/>
                  <a:gd name="connsiteX2" fmla="*/ 898378 w 2605750"/>
                  <a:gd name="connsiteY2" fmla="*/ 30616 h 1634576"/>
                  <a:gd name="connsiteX3" fmla="*/ 1666936 w 2605750"/>
                  <a:gd name="connsiteY3" fmla="*/ 430113 h 1634576"/>
                  <a:gd name="connsiteX4" fmla="*/ 2309260 w 2605750"/>
                  <a:gd name="connsiteY4" fmla="*/ 810905 h 1634576"/>
                  <a:gd name="connsiteX5" fmla="*/ 2511604 w 2605750"/>
                  <a:gd name="connsiteY5" fmla="*/ 1412906 h 1634576"/>
                  <a:gd name="connsiteX0" fmla="*/ 203400 w 2605750"/>
                  <a:gd name="connsiteY0" fmla="*/ 1595920 h 1595920"/>
                  <a:gd name="connsiteX1" fmla="*/ 486037 w 2605750"/>
                  <a:gd name="connsiteY1" fmla="*/ 643368 h 1595920"/>
                  <a:gd name="connsiteX2" fmla="*/ 925217 w 2605750"/>
                  <a:gd name="connsiteY2" fmla="*/ 35420 h 1595920"/>
                  <a:gd name="connsiteX3" fmla="*/ 1666936 w 2605750"/>
                  <a:gd name="connsiteY3" fmla="*/ 391457 h 1595920"/>
                  <a:gd name="connsiteX4" fmla="*/ 2309260 w 2605750"/>
                  <a:gd name="connsiteY4" fmla="*/ 772249 h 1595920"/>
                  <a:gd name="connsiteX5" fmla="*/ 2511604 w 2605750"/>
                  <a:gd name="connsiteY5" fmla="*/ 1374250 h 1595920"/>
                  <a:gd name="connsiteX0" fmla="*/ 203400 w 2605750"/>
                  <a:gd name="connsiteY0" fmla="*/ 1604035 h 1604035"/>
                  <a:gd name="connsiteX1" fmla="*/ 486037 w 2605750"/>
                  <a:gd name="connsiteY1" fmla="*/ 651483 h 1604035"/>
                  <a:gd name="connsiteX2" fmla="*/ 925217 w 2605750"/>
                  <a:gd name="connsiteY2" fmla="*/ 43535 h 1604035"/>
                  <a:gd name="connsiteX3" fmla="*/ 1666936 w 2605750"/>
                  <a:gd name="connsiteY3" fmla="*/ 399572 h 1604035"/>
                  <a:gd name="connsiteX4" fmla="*/ 2309260 w 2605750"/>
                  <a:gd name="connsiteY4" fmla="*/ 780364 h 1604035"/>
                  <a:gd name="connsiteX5" fmla="*/ 2511604 w 2605750"/>
                  <a:gd name="connsiteY5" fmla="*/ 1382365 h 1604035"/>
                  <a:gd name="connsiteX0" fmla="*/ 203400 w 2605750"/>
                  <a:gd name="connsiteY0" fmla="*/ 1618577 h 1618577"/>
                  <a:gd name="connsiteX1" fmla="*/ 486037 w 2605750"/>
                  <a:gd name="connsiteY1" fmla="*/ 666025 h 1618577"/>
                  <a:gd name="connsiteX2" fmla="*/ 914894 w 2605750"/>
                  <a:gd name="connsiteY2" fmla="*/ 41361 h 1618577"/>
                  <a:gd name="connsiteX3" fmla="*/ 1666936 w 2605750"/>
                  <a:gd name="connsiteY3" fmla="*/ 414114 h 1618577"/>
                  <a:gd name="connsiteX4" fmla="*/ 2309260 w 2605750"/>
                  <a:gd name="connsiteY4" fmla="*/ 794906 h 1618577"/>
                  <a:gd name="connsiteX5" fmla="*/ 2511604 w 2605750"/>
                  <a:gd name="connsiteY5" fmla="*/ 1396907 h 1618577"/>
                  <a:gd name="connsiteX0" fmla="*/ 203400 w 2605750"/>
                  <a:gd name="connsiteY0" fmla="*/ 1618577 h 1618577"/>
                  <a:gd name="connsiteX1" fmla="*/ 486037 w 2605750"/>
                  <a:gd name="connsiteY1" fmla="*/ 666025 h 1618577"/>
                  <a:gd name="connsiteX2" fmla="*/ 914894 w 2605750"/>
                  <a:gd name="connsiteY2" fmla="*/ 41361 h 1618577"/>
                  <a:gd name="connsiteX3" fmla="*/ 1666936 w 2605750"/>
                  <a:gd name="connsiteY3" fmla="*/ 414114 h 1618577"/>
                  <a:gd name="connsiteX4" fmla="*/ 2309260 w 2605750"/>
                  <a:gd name="connsiteY4" fmla="*/ 794906 h 1618577"/>
                  <a:gd name="connsiteX5" fmla="*/ 2511604 w 2605750"/>
                  <a:gd name="connsiteY5" fmla="*/ 1396907 h 1618577"/>
                  <a:gd name="connsiteX0" fmla="*/ 188344 w 2590694"/>
                  <a:gd name="connsiteY0" fmla="*/ 1618577 h 1618577"/>
                  <a:gd name="connsiteX1" fmla="*/ 532822 w 2590694"/>
                  <a:gd name="connsiteY1" fmla="*/ 700107 h 1618577"/>
                  <a:gd name="connsiteX2" fmla="*/ 899838 w 2590694"/>
                  <a:gd name="connsiteY2" fmla="*/ 41361 h 1618577"/>
                  <a:gd name="connsiteX3" fmla="*/ 1651880 w 2590694"/>
                  <a:gd name="connsiteY3" fmla="*/ 414114 h 1618577"/>
                  <a:gd name="connsiteX4" fmla="*/ 2294204 w 2590694"/>
                  <a:gd name="connsiteY4" fmla="*/ 794906 h 1618577"/>
                  <a:gd name="connsiteX5" fmla="*/ 2496548 w 2590694"/>
                  <a:gd name="connsiteY5" fmla="*/ 1396907 h 1618577"/>
                  <a:gd name="connsiteX0" fmla="*/ 193743 w 2572967"/>
                  <a:gd name="connsiteY0" fmla="*/ 1626667 h 1626666"/>
                  <a:gd name="connsiteX1" fmla="*/ 515095 w 2572967"/>
                  <a:gd name="connsiteY1" fmla="*/ 700107 h 1626666"/>
                  <a:gd name="connsiteX2" fmla="*/ 882111 w 2572967"/>
                  <a:gd name="connsiteY2" fmla="*/ 41361 h 1626666"/>
                  <a:gd name="connsiteX3" fmla="*/ 1634153 w 2572967"/>
                  <a:gd name="connsiteY3" fmla="*/ 414114 h 1626666"/>
                  <a:gd name="connsiteX4" fmla="*/ 2276477 w 2572967"/>
                  <a:gd name="connsiteY4" fmla="*/ 794906 h 1626666"/>
                  <a:gd name="connsiteX5" fmla="*/ 2478821 w 2572967"/>
                  <a:gd name="connsiteY5" fmla="*/ 1396907 h 1626666"/>
                  <a:gd name="connsiteX0" fmla="*/ 155226 w 2534450"/>
                  <a:gd name="connsiteY0" fmla="*/ 1626667 h 1626668"/>
                  <a:gd name="connsiteX1" fmla="*/ 476578 w 2534450"/>
                  <a:gd name="connsiteY1" fmla="*/ 700107 h 1626668"/>
                  <a:gd name="connsiteX2" fmla="*/ 843594 w 2534450"/>
                  <a:gd name="connsiteY2" fmla="*/ 41361 h 1626668"/>
                  <a:gd name="connsiteX3" fmla="*/ 1595636 w 2534450"/>
                  <a:gd name="connsiteY3" fmla="*/ 414114 h 1626668"/>
                  <a:gd name="connsiteX4" fmla="*/ 2237960 w 2534450"/>
                  <a:gd name="connsiteY4" fmla="*/ 794906 h 1626668"/>
                  <a:gd name="connsiteX5" fmla="*/ 2440304 w 2534450"/>
                  <a:gd name="connsiteY5" fmla="*/ 1396907 h 1626668"/>
                  <a:gd name="connsiteX0" fmla="*/ 155127 w 2534768"/>
                  <a:gd name="connsiteY0" fmla="*/ 1655351 h 1655352"/>
                  <a:gd name="connsiteX1" fmla="*/ 476896 w 2534768"/>
                  <a:gd name="connsiteY1" fmla="*/ 700107 h 1655352"/>
                  <a:gd name="connsiteX2" fmla="*/ 843912 w 2534768"/>
                  <a:gd name="connsiteY2" fmla="*/ 41361 h 1655352"/>
                  <a:gd name="connsiteX3" fmla="*/ 1595954 w 2534768"/>
                  <a:gd name="connsiteY3" fmla="*/ 414114 h 1655352"/>
                  <a:gd name="connsiteX4" fmla="*/ 2238278 w 2534768"/>
                  <a:gd name="connsiteY4" fmla="*/ 794906 h 1655352"/>
                  <a:gd name="connsiteX5" fmla="*/ 2440622 w 2534768"/>
                  <a:gd name="connsiteY5" fmla="*/ 1396907 h 1655352"/>
                  <a:gd name="connsiteX0" fmla="*/ 137185 w 2516826"/>
                  <a:gd name="connsiteY0" fmla="*/ 1655351 h 1655350"/>
                  <a:gd name="connsiteX1" fmla="*/ 458954 w 2516826"/>
                  <a:gd name="connsiteY1" fmla="*/ 700107 h 1655350"/>
                  <a:gd name="connsiteX2" fmla="*/ 825970 w 2516826"/>
                  <a:gd name="connsiteY2" fmla="*/ 41361 h 1655350"/>
                  <a:gd name="connsiteX3" fmla="*/ 1578012 w 2516826"/>
                  <a:gd name="connsiteY3" fmla="*/ 414114 h 1655350"/>
                  <a:gd name="connsiteX4" fmla="*/ 2220336 w 2516826"/>
                  <a:gd name="connsiteY4" fmla="*/ 794906 h 1655350"/>
                  <a:gd name="connsiteX5" fmla="*/ 2422680 w 2516826"/>
                  <a:gd name="connsiteY5" fmla="*/ 1396907 h 1655350"/>
                  <a:gd name="connsiteX0" fmla="*/ 138688 w 2511928"/>
                  <a:gd name="connsiteY0" fmla="*/ 1651040 h 1651040"/>
                  <a:gd name="connsiteX1" fmla="*/ 454056 w 2511928"/>
                  <a:gd name="connsiteY1" fmla="*/ 700107 h 1651040"/>
                  <a:gd name="connsiteX2" fmla="*/ 821072 w 2511928"/>
                  <a:gd name="connsiteY2" fmla="*/ 41361 h 1651040"/>
                  <a:gd name="connsiteX3" fmla="*/ 1573114 w 2511928"/>
                  <a:gd name="connsiteY3" fmla="*/ 414114 h 1651040"/>
                  <a:gd name="connsiteX4" fmla="*/ 2215438 w 2511928"/>
                  <a:gd name="connsiteY4" fmla="*/ 794906 h 1651040"/>
                  <a:gd name="connsiteX5" fmla="*/ 2417782 w 2511928"/>
                  <a:gd name="connsiteY5" fmla="*/ 1396907 h 165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1928" h="1651040">
                    <a:moveTo>
                      <a:pt x="138688" y="1651040"/>
                    </a:moveTo>
                    <a:cubicBezTo>
                      <a:pt x="-167196" y="1116914"/>
                      <a:pt x="75386" y="700109"/>
                      <a:pt x="454056" y="700107"/>
                    </a:cubicBezTo>
                    <a:cubicBezTo>
                      <a:pt x="400668" y="276539"/>
                      <a:pt x="684972" y="91210"/>
                      <a:pt x="821072" y="41361"/>
                    </a:cubicBezTo>
                    <a:cubicBezTo>
                      <a:pt x="1120179" y="-86468"/>
                      <a:pt x="1509421" y="94326"/>
                      <a:pt x="1573114" y="414114"/>
                    </a:cubicBezTo>
                    <a:cubicBezTo>
                      <a:pt x="1749855" y="193419"/>
                      <a:pt x="2233236" y="222103"/>
                      <a:pt x="2215438" y="794906"/>
                    </a:cubicBezTo>
                    <a:cubicBezTo>
                      <a:pt x="2569023" y="817065"/>
                      <a:pt x="2564843" y="1270577"/>
                      <a:pt x="2417782" y="1396907"/>
                    </a:cubicBez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96" name="Freeform 592">
                <a:extLst>
                  <a:ext uri="{FF2B5EF4-FFF2-40B4-BE49-F238E27FC236}">
                    <a16:creationId xmlns:a16="http://schemas.microsoft.com/office/drawing/2014/main" id="{39B49A55-828F-4360-83EB-A129F67D4450}"/>
                  </a:ext>
                </a:extLst>
              </p:cNvPr>
              <p:cNvSpPr>
                <a:spLocks/>
              </p:cNvSpPr>
              <p:nvPr/>
            </p:nvSpPr>
            <p:spPr bwMode="gray">
              <a:xfrm rot="18169347">
                <a:off x="11649617" y="4428563"/>
                <a:ext cx="190373" cy="240310"/>
              </a:xfrm>
              <a:custGeom>
                <a:avLst/>
                <a:gdLst>
                  <a:gd name="T0" fmla="*/ 24 w 192"/>
                  <a:gd name="T1" fmla="*/ 192 h 192"/>
                  <a:gd name="T2" fmla="*/ 0 w 192"/>
                  <a:gd name="T3" fmla="*/ 156 h 192"/>
                  <a:gd name="T4" fmla="*/ 42 w 192"/>
                  <a:gd name="T5" fmla="*/ 174 h 192"/>
                  <a:gd name="T6" fmla="*/ 12 w 192"/>
                  <a:gd name="T7" fmla="*/ 81 h 192"/>
                  <a:gd name="T8" fmla="*/ 66 w 192"/>
                  <a:gd name="T9" fmla="*/ 132 h 192"/>
                  <a:gd name="T10" fmla="*/ 84 w 192"/>
                  <a:gd name="T11" fmla="*/ 0 h 192"/>
                  <a:gd name="T12" fmla="*/ 108 w 192"/>
                  <a:gd name="T13" fmla="*/ 164 h 192"/>
                  <a:gd name="T14" fmla="*/ 156 w 192"/>
                  <a:gd name="T15" fmla="*/ 96 h 192"/>
                  <a:gd name="T16" fmla="*/ 144 w 192"/>
                  <a:gd name="T17" fmla="*/ 168 h 192"/>
                  <a:gd name="T18" fmla="*/ 192 w 192"/>
                  <a:gd name="T19" fmla="*/ 144 h 192"/>
                  <a:gd name="T20" fmla="*/ 162 w 192"/>
                  <a:gd name="T21" fmla="*/ 192 h 192"/>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7956 w 10000"/>
                  <a:gd name="connsiteY7" fmla="*/ 3094 h 10000"/>
                  <a:gd name="connsiteX8" fmla="*/ 7500 w 10000"/>
                  <a:gd name="connsiteY8" fmla="*/ 8750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7956 w 10000"/>
                  <a:gd name="connsiteY7" fmla="*/ 3094 h 10000"/>
                  <a:gd name="connsiteX8" fmla="*/ 7913 w 10000"/>
                  <a:gd name="connsiteY8" fmla="*/ 5938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7956 w 10000"/>
                  <a:gd name="connsiteY7" fmla="*/ 3094 h 10000"/>
                  <a:gd name="connsiteX8" fmla="*/ 7640 w 10000"/>
                  <a:gd name="connsiteY8" fmla="*/ 6008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8560 w 10000"/>
                  <a:gd name="connsiteY7" fmla="*/ 2386 h 10000"/>
                  <a:gd name="connsiteX8" fmla="*/ 7640 w 10000"/>
                  <a:gd name="connsiteY8" fmla="*/ 6008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8560 w 10000"/>
                  <a:gd name="connsiteY7" fmla="*/ 2386 h 10000"/>
                  <a:gd name="connsiteX8" fmla="*/ 8420 w 10000"/>
                  <a:gd name="connsiteY8" fmla="*/ 5081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9123 w 10000"/>
                  <a:gd name="connsiteY7" fmla="*/ 2765 h 10000"/>
                  <a:gd name="connsiteX8" fmla="*/ 8420 w 10000"/>
                  <a:gd name="connsiteY8" fmla="*/ 5081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413 w 10000"/>
                  <a:gd name="connsiteY6" fmla="*/ 6240 h 10000"/>
                  <a:gd name="connsiteX7" fmla="*/ 9123 w 10000"/>
                  <a:gd name="connsiteY7" fmla="*/ 2765 h 10000"/>
                  <a:gd name="connsiteX8" fmla="*/ 8420 w 10000"/>
                  <a:gd name="connsiteY8" fmla="*/ 5081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413 w 10000"/>
                  <a:gd name="connsiteY6" fmla="*/ 6240 h 10000"/>
                  <a:gd name="connsiteX7" fmla="*/ 9123 w 10000"/>
                  <a:gd name="connsiteY7" fmla="*/ 2765 h 10000"/>
                  <a:gd name="connsiteX8" fmla="*/ 8420 w 10000"/>
                  <a:gd name="connsiteY8" fmla="*/ 5081 h 10000"/>
                  <a:gd name="connsiteX9" fmla="*/ 10000 w 10000"/>
                  <a:gd name="connsiteY9" fmla="*/ 7500 h 10000"/>
                  <a:gd name="connsiteX0" fmla="*/ 1250 w 9123"/>
                  <a:gd name="connsiteY0" fmla="*/ 10000 h 10000"/>
                  <a:gd name="connsiteX1" fmla="*/ 0 w 9123"/>
                  <a:gd name="connsiteY1" fmla="*/ 8125 h 10000"/>
                  <a:gd name="connsiteX2" fmla="*/ 2188 w 9123"/>
                  <a:gd name="connsiteY2" fmla="*/ 9063 h 10000"/>
                  <a:gd name="connsiteX3" fmla="*/ 625 w 9123"/>
                  <a:gd name="connsiteY3" fmla="*/ 4219 h 10000"/>
                  <a:gd name="connsiteX4" fmla="*/ 3438 w 9123"/>
                  <a:gd name="connsiteY4" fmla="*/ 6875 h 10000"/>
                  <a:gd name="connsiteX5" fmla="*/ 4375 w 9123"/>
                  <a:gd name="connsiteY5" fmla="*/ 0 h 10000"/>
                  <a:gd name="connsiteX6" fmla="*/ 5413 w 9123"/>
                  <a:gd name="connsiteY6" fmla="*/ 6240 h 10000"/>
                  <a:gd name="connsiteX7" fmla="*/ 9123 w 9123"/>
                  <a:gd name="connsiteY7" fmla="*/ 2765 h 10000"/>
                  <a:gd name="connsiteX8" fmla="*/ 8420 w 9123"/>
                  <a:gd name="connsiteY8" fmla="*/ 5081 h 10000"/>
                  <a:gd name="connsiteX0" fmla="*/ 3146 w 10000"/>
                  <a:gd name="connsiteY0" fmla="*/ 12348 h 12348"/>
                  <a:gd name="connsiteX1" fmla="*/ 0 w 10000"/>
                  <a:gd name="connsiteY1" fmla="*/ 8125 h 12348"/>
                  <a:gd name="connsiteX2" fmla="*/ 2398 w 10000"/>
                  <a:gd name="connsiteY2" fmla="*/ 9063 h 12348"/>
                  <a:gd name="connsiteX3" fmla="*/ 685 w 10000"/>
                  <a:gd name="connsiteY3" fmla="*/ 4219 h 12348"/>
                  <a:gd name="connsiteX4" fmla="*/ 3768 w 10000"/>
                  <a:gd name="connsiteY4" fmla="*/ 6875 h 12348"/>
                  <a:gd name="connsiteX5" fmla="*/ 4796 w 10000"/>
                  <a:gd name="connsiteY5" fmla="*/ 0 h 12348"/>
                  <a:gd name="connsiteX6" fmla="*/ 5933 w 10000"/>
                  <a:gd name="connsiteY6" fmla="*/ 6240 h 12348"/>
                  <a:gd name="connsiteX7" fmla="*/ 10000 w 10000"/>
                  <a:gd name="connsiteY7" fmla="*/ 2765 h 12348"/>
                  <a:gd name="connsiteX8" fmla="*/ 9229 w 10000"/>
                  <a:gd name="connsiteY8" fmla="*/ 5081 h 12348"/>
                  <a:gd name="connsiteX0" fmla="*/ 3088 w 10000"/>
                  <a:gd name="connsiteY0" fmla="*/ 12594 h 12594"/>
                  <a:gd name="connsiteX1" fmla="*/ 0 w 10000"/>
                  <a:gd name="connsiteY1" fmla="*/ 8125 h 12594"/>
                  <a:gd name="connsiteX2" fmla="*/ 2398 w 10000"/>
                  <a:gd name="connsiteY2" fmla="*/ 9063 h 12594"/>
                  <a:gd name="connsiteX3" fmla="*/ 685 w 10000"/>
                  <a:gd name="connsiteY3" fmla="*/ 4219 h 12594"/>
                  <a:gd name="connsiteX4" fmla="*/ 3768 w 10000"/>
                  <a:gd name="connsiteY4" fmla="*/ 6875 h 12594"/>
                  <a:gd name="connsiteX5" fmla="*/ 4796 w 10000"/>
                  <a:gd name="connsiteY5" fmla="*/ 0 h 12594"/>
                  <a:gd name="connsiteX6" fmla="*/ 5933 w 10000"/>
                  <a:gd name="connsiteY6" fmla="*/ 6240 h 12594"/>
                  <a:gd name="connsiteX7" fmla="*/ 10000 w 10000"/>
                  <a:gd name="connsiteY7" fmla="*/ 2765 h 12594"/>
                  <a:gd name="connsiteX8" fmla="*/ 9229 w 10000"/>
                  <a:gd name="connsiteY8" fmla="*/ 5081 h 12594"/>
                  <a:gd name="connsiteX0" fmla="*/ 3146 w 10000"/>
                  <a:gd name="connsiteY0" fmla="*/ 12348 h 12348"/>
                  <a:gd name="connsiteX1" fmla="*/ 0 w 10000"/>
                  <a:gd name="connsiteY1" fmla="*/ 8125 h 12348"/>
                  <a:gd name="connsiteX2" fmla="*/ 2398 w 10000"/>
                  <a:gd name="connsiteY2" fmla="*/ 9063 h 12348"/>
                  <a:gd name="connsiteX3" fmla="*/ 685 w 10000"/>
                  <a:gd name="connsiteY3" fmla="*/ 4219 h 12348"/>
                  <a:gd name="connsiteX4" fmla="*/ 3768 w 10000"/>
                  <a:gd name="connsiteY4" fmla="*/ 6875 h 12348"/>
                  <a:gd name="connsiteX5" fmla="*/ 4796 w 10000"/>
                  <a:gd name="connsiteY5" fmla="*/ 0 h 12348"/>
                  <a:gd name="connsiteX6" fmla="*/ 5933 w 10000"/>
                  <a:gd name="connsiteY6" fmla="*/ 6240 h 12348"/>
                  <a:gd name="connsiteX7" fmla="*/ 10000 w 10000"/>
                  <a:gd name="connsiteY7" fmla="*/ 2765 h 12348"/>
                  <a:gd name="connsiteX8" fmla="*/ 9229 w 10000"/>
                  <a:gd name="connsiteY8" fmla="*/ 5081 h 12348"/>
                  <a:gd name="connsiteX0" fmla="*/ 3182 w 10000"/>
                  <a:gd name="connsiteY0" fmla="*/ 12561 h 12561"/>
                  <a:gd name="connsiteX1" fmla="*/ 0 w 10000"/>
                  <a:gd name="connsiteY1" fmla="*/ 8125 h 12561"/>
                  <a:gd name="connsiteX2" fmla="*/ 2398 w 10000"/>
                  <a:gd name="connsiteY2" fmla="*/ 9063 h 12561"/>
                  <a:gd name="connsiteX3" fmla="*/ 685 w 10000"/>
                  <a:gd name="connsiteY3" fmla="*/ 4219 h 12561"/>
                  <a:gd name="connsiteX4" fmla="*/ 3768 w 10000"/>
                  <a:gd name="connsiteY4" fmla="*/ 6875 h 12561"/>
                  <a:gd name="connsiteX5" fmla="*/ 4796 w 10000"/>
                  <a:gd name="connsiteY5" fmla="*/ 0 h 12561"/>
                  <a:gd name="connsiteX6" fmla="*/ 5933 w 10000"/>
                  <a:gd name="connsiteY6" fmla="*/ 6240 h 12561"/>
                  <a:gd name="connsiteX7" fmla="*/ 10000 w 10000"/>
                  <a:gd name="connsiteY7" fmla="*/ 2765 h 12561"/>
                  <a:gd name="connsiteX8" fmla="*/ 9229 w 10000"/>
                  <a:gd name="connsiteY8" fmla="*/ 5081 h 12561"/>
                  <a:gd name="connsiteX0" fmla="*/ 3074 w 10000"/>
                  <a:gd name="connsiteY0" fmla="*/ 12651 h 12651"/>
                  <a:gd name="connsiteX1" fmla="*/ 0 w 10000"/>
                  <a:gd name="connsiteY1" fmla="*/ 8125 h 12651"/>
                  <a:gd name="connsiteX2" fmla="*/ 2398 w 10000"/>
                  <a:gd name="connsiteY2" fmla="*/ 9063 h 12651"/>
                  <a:gd name="connsiteX3" fmla="*/ 685 w 10000"/>
                  <a:gd name="connsiteY3" fmla="*/ 4219 h 12651"/>
                  <a:gd name="connsiteX4" fmla="*/ 3768 w 10000"/>
                  <a:gd name="connsiteY4" fmla="*/ 6875 h 12651"/>
                  <a:gd name="connsiteX5" fmla="*/ 4796 w 10000"/>
                  <a:gd name="connsiteY5" fmla="*/ 0 h 12651"/>
                  <a:gd name="connsiteX6" fmla="*/ 5933 w 10000"/>
                  <a:gd name="connsiteY6" fmla="*/ 6240 h 12651"/>
                  <a:gd name="connsiteX7" fmla="*/ 10000 w 10000"/>
                  <a:gd name="connsiteY7" fmla="*/ 2765 h 12651"/>
                  <a:gd name="connsiteX8" fmla="*/ 9229 w 10000"/>
                  <a:gd name="connsiteY8" fmla="*/ 5081 h 12651"/>
                  <a:gd name="connsiteX0" fmla="*/ 3173 w 10000"/>
                  <a:gd name="connsiteY0" fmla="*/ 12671 h 12671"/>
                  <a:gd name="connsiteX1" fmla="*/ 0 w 10000"/>
                  <a:gd name="connsiteY1" fmla="*/ 8125 h 12671"/>
                  <a:gd name="connsiteX2" fmla="*/ 2398 w 10000"/>
                  <a:gd name="connsiteY2" fmla="*/ 9063 h 12671"/>
                  <a:gd name="connsiteX3" fmla="*/ 685 w 10000"/>
                  <a:gd name="connsiteY3" fmla="*/ 4219 h 12671"/>
                  <a:gd name="connsiteX4" fmla="*/ 3768 w 10000"/>
                  <a:gd name="connsiteY4" fmla="*/ 6875 h 12671"/>
                  <a:gd name="connsiteX5" fmla="*/ 4796 w 10000"/>
                  <a:gd name="connsiteY5" fmla="*/ 0 h 12671"/>
                  <a:gd name="connsiteX6" fmla="*/ 5933 w 10000"/>
                  <a:gd name="connsiteY6" fmla="*/ 6240 h 12671"/>
                  <a:gd name="connsiteX7" fmla="*/ 10000 w 10000"/>
                  <a:gd name="connsiteY7" fmla="*/ 2765 h 12671"/>
                  <a:gd name="connsiteX8" fmla="*/ 9229 w 10000"/>
                  <a:gd name="connsiteY8" fmla="*/ 5081 h 12671"/>
                  <a:gd name="connsiteX0" fmla="*/ 3246 w 10000"/>
                  <a:gd name="connsiteY0" fmla="*/ 12654 h 12654"/>
                  <a:gd name="connsiteX1" fmla="*/ 0 w 10000"/>
                  <a:gd name="connsiteY1" fmla="*/ 8125 h 12654"/>
                  <a:gd name="connsiteX2" fmla="*/ 2398 w 10000"/>
                  <a:gd name="connsiteY2" fmla="*/ 9063 h 12654"/>
                  <a:gd name="connsiteX3" fmla="*/ 685 w 10000"/>
                  <a:gd name="connsiteY3" fmla="*/ 4219 h 12654"/>
                  <a:gd name="connsiteX4" fmla="*/ 3768 w 10000"/>
                  <a:gd name="connsiteY4" fmla="*/ 6875 h 12654"/>
                  <a:gd name="connsiteX5" fmla="*/ 4796 w 10000"/>
                  <a:gd name="connsiteY5" fmla="*/ 0 h 12654"/>
                  <a:gd name="connsiteX6" fmla="*/ 5933 w 10000"/>
                  <a:gd name="connsiteY6" fmla="*/ 6240 h 12654"/>
                  <a:gd name="connsiteX7" fmla="*/ 10000 w 10000"/>
                  <a:gd name="connsiteY7" fmla="*/ 2765 h 12654"/>
                  <a:gd name="connsiteX8" fmla="*/ 9229 w 10000"/>
                  <a:gd name="connsiteY8" fmla="*/ 5081 h 12654"/>
                  <a:gd name="connsiteX0" fmla="*/ 3633 w 10000"/>
                  <a:gd name="connsiteY0" fmla="*/ 13363 h 13363"/>
                  <a:gd name="connsiteX1" fmla="*/ 0 w 10000"/>
                  <a:gd name="connsiteY1" fmla="*/ 8125 h 13363"/>
                  <a:gd name="connsiteX2" fmla="*/ 2398 w 10000"/>
                  <a:gd name="connsiteY2" fmla="*/ 9063 h 13363"/>
                  <a:gd name="connsiteX3" fmla="*/ 685 w 10000"/>
                  <a:gd name="connsiteY3" fmla="*/ 4219 h 13363"/>
                  <a:gd name="connsiteX4" fmla="*/ 3768 w 10000"/>
                  <a:gd name="connsiteY4" fmla="*/ 6875 h 13363"/>
                  <a:gd name="connsiteX5" fmla="*/ 4796 w 10000"/>
                  <a:gd name="connsiteY5" fmla="*/ 0 h 13363"/>
                  <a:gd name="connsiteX6" fmla="*/ 5933 w 10000"/>
                  <a:gd name="connsiteY6" fmla="*/ 6240 h 13363"/>
                  <a:gd name="connsiteX7" fmla="*/ 10000 w 10000"/>
                  <a:gd name="connsiteY7" fmla="*/ 2765 h 13363"/>
                  <a:gd name="connsiteX8" fmla="*/ 9229 w 10000"/>
                  <a:gd name="connsiteY8" fmla="*/ 5081 h 13363"/>
                  <a:gd name="connsiteX0" fmla="*/ 3679 w 10000"/>
                  <a:gd name="connsiteY0" fmla="*/ 13388 h 13388"/>
                  <a:gd name="connsiteX1" fmla="*/ 0 w 10000"/>
                  <a:gd name="connsiteY1" fmla="*/ 8125 h 13388"/>
                  <a:gd name="connsiteX2" fmla="*/ 2398 w 10000"/>
                  <a:gd name="connsiteY2" fmla="*/ 9063 h 13388"/>
                  <a:gd name="connsiteX3" fmla="*/ 685 w 10000"/>
                  <a:gd name="connsiteY3" fmla="*/ 4219 h 13388"/>
                  <a:gd name="connsiteX4" fmla="*/ 3768 w 10000"/>
                  <a:gd name="connsiteY4" fmla="*/ 6875 h 13388"/>
                  <a:gd name="connsiteX5" fmla="*/ 4796 w 10000"/>
                  <a:gd name="connsiteY5" fmla="*/ 0 h 13388"/>
                  <a:gd name="connsiteX6" fmla="*/ 5933 w 10000"/>
                  <a:gd name="connsiteY6" fmla="*/ 6240 h 13388"/>
                  <a:gd name="connsiteX7" fmla="*/ 10000 w 10000"/>
                  <a:gd name="connsiteY7" fmla="*/ 2765 h 13388"/>
                  <a:gd name="connsiteX8" fmla="*/ 9229 w 10000"/>
                  <a:gd name="connsiteY8" fmla="*/ 5081 h 13388"/>
                  <a:gd name="connsiteX0" fmla="*/ 3778 w 10000"/>
                  <a:gd name="connsiteY0" fmla="*/ 13408 h 13408"/>
                  <a:gd name="connsiteX1" fmla="*/ 0 w 10000"/>
                  <a:gd name="connsiteY1" fmla="*/ 8125 h 13408"/>
                  <a:gd name="connsiteX2" fmla="*/ 2398 w 10000"/>
                  <a:gd name="connsiteY2" fmla="*/ 9063 h 13408"/>
                  <a:gd name="connsiteX3" fmla="*/ 685 w 10000"/>
                  <a:gd name="connsiteY3" fmla="*/ 4219 h 13408"/>
                  <a:gd name="connsiteX4" fmla="*/ 3768 w 10000"/>
                  <a:gd name="connsiteY4" fmla="*/ 6875 h 13408"/>
                  <a:gd name="connsiteX5" fmla="*/ 4796 w 10000"/>
                  <a:gd name="connsiteY5" fmla="*/ 0 h 13408"/>
                  <a:gd name="connsiteX6" fmla="*/ 5933 w 10000"/>
                  <a:gd name="connsiteY6" fmla="*/ 6240 h 13408"/>
                  <a:gd name="connsiteX7" fmla="*/ 10000 w 10000"/>
                  <a:gd name="connsiteY7" fmla="*/ 2765 h 13408"/>
                  <a:gd name="connsiteX8" fmla="*/ 9229 w 10000"/>
                  <a:gd name="connsiteY8" fmla="*/ 5081 h 13408"/>
                  <a:gd name="connsiteX0" fmla="*/ 3778 w 10000"/>
                  <a:gd name="connsiteY0" fmla="*/ 13408 h 13408"/>
                  <a:gd name="connsiteX1" fmla="*/ 0 w 10000"/>
                  <a:gd name="connsiteY1" fmla="*/ 8125 h 13408"/>
                  <a:gd name="connsiteX2" fmla="*/ 2398 w 10000"/>
                  <a:gd name="connsiteY2" fmla="*/ 9063 h 13408"/>
                  <a:gd name="connsiteX3" fmla="*/ 685 w 10000"/>
                  <a:gd name="connsiteY3" fmla="*/ 4219 h 13408"/>
                  <a:gd name="connsiteX4" fmla="*/ 3768 w 10000"/>
                  <a:gd name="connsiteY4" fmla="*/ 6875 h 13408"/>
                  <a:gd name="connsiteX5" fmla="*/ 4796 w 10000"/>
                  <a:gd name="connsiteY5" fmla="*/ 0 h 13408"/>
                  <a:gd name="connsiteX6" fmla="*/ 5933 w 10000"/>
                  <a:gd name="connsiteY6" fmla="*/ 6240 h 13408"/>
                  <a:gd name="connsiteX7" fmla="*/ 10000 w 10000"/>
                  <a:gd name="connsiteY7" fmla="*/ 2765 h 13408"/>
                  <a:gd name="connsiteX8" fmla="*/ 9229 w 10000"/>
                  <a:gd name="connsiteY8" fmla="*/ 5081 h 13408"/>
                  <a:gd name="connsiteX0" fmla="*/ 3731 w 10000"/>
                  <a:gd name="connsiteY0" fmla="*/ 13462 h 13462"/>
                  <a:gd name="connsiteX1" fmla="*/ 0 w 10000"/>
                  <a:gd name="connsiteY1" fmla="*/ 8125 h 13462"/>
                  <a:gd name="connsiteX2" fmla="*/ 2398 w 10000"/>
                  <a:gd name="connsiteY2" fmla="*/ 9063 h 13462"/>
                  <a:gd name="connsiteX3" fmla="*/ 685 w 10000"/>
                  <a:gd name="connsiteY3" fmla="*/ 4219 h 13462"/>
                  <a:gd name="connsiteX4" fmla="*/ 3768 w 10000"/>
                  <a:gd name="connsiteY4" fmla="*/ 6875 h 13462"/>
                  <a:gd name="connsiteX5" fmla="*/ 4796 w 10000"/>
                  <a:gd name="connsiteY5" fmla="*/ 0 h 13462"/>
                  <a:gd name="connsiteX6" fmla="*/ 5933 w 10000"/>
                  <a:gd name="connsiteY6" fmla="*/ 6240 h 13462"/>
                  <a:gd name="connsiteX7" fmla="*/ 10000 w 10000"/>
                  <a:gd name="connsiteY7" fmla="*/ 2765 h 13462"/>
                  <a:gd name="connsiteX8" fmla="*/ 9229 w 10000"/>
                  <a:gd name="connsiteY8" fmla="*/ 5081 h 13462"/>
                  <a:gd name="connsiteX0" fmla="*/ 3731 w 10000"/>
                  <a:gd name="connsiteY0" fmla="*/ 13462 h 13462"/>
                  <a:gd name="connsiteX1" fmla="*/ 0 w 10000"/>
                  <a:gd name="connsiteY1" fmla="*/ 8125 h 13462"/>
                  <a:gd name="connsiteX2" fmla="*/ 2398 w 10000"/>
                  <a:gd name="connsiteY2" fmla="*/ 9063 h 13462"/>
                  <a:gd name="connsiteX3" fmla="*/ 685 w 10000"/>
                  <a:gd name="connsiteY3" fmla="*/ 4219 h 13462"/>
                  <a:gd name="connsiteX4" fmla="*/ 3768 w 10000"/>
                  <a:gd name="connsiteY4" fmla="*/ 6875 h 13462"/>
                  <a:gd name="connsiteX5" fmla="*/ 4796 w 10000"/>
                  <a:gd name="connsiteY5" fmla="*/ 0 h 13462"/>
                  <a:gd name="connsiteX6" fmla="*/ 5933 w 10000"/>
                  <a:gd name="connsiteY6" fmla="*/ 6240 h 13462"/>
                  <a:gd name="connsiteX7" fmla="*/ 10000 w 10000"/>
                  <a:gd name="connsiteY7" fmla="*/ 2765 h 13462"/>
                  <a:gd name="connsiteX8" fmla="*/ 9229 w 10000"/>
                  <a:gd name="connsiteY8" fmla="*/ 5081 h 13462"/>
                  <a:gd name="connsiteX0" fmla="*/ 3791 w 10000"/>
                  <a:gd name="connsiteY0" fmla="*/ 13426 h 13426"/>
                  <a:gd name="connsiteX1" fmla="*/ 0 w 10000"/>
                  <a:gd name="connsiteY1" fmla="*/ 8125 h 13426"/>
                  <a:gd name="connsiteX2" fmla="*/ 2398 w 10000"/>
                  <a:gd name="connsiteY2" fmla="*/ 9063 h 13426"/>
                  <a:gd name="connsiteX3" fmla="*/ 685 w 10000"/>
                  <a:gd name="connsiteY3" fmla="*/ 4219 h 13426"/>
                  <a:gd name="connsiteX4" fmla="*/ 3768 w 10000"/>
                  <a:gd name="connsiteY4" fmla="*/ 6875 h 13426"/>
                  <a:gd name="connsiteX5" fmla="*/ 4796 w 10000"/>
                  <a:gd name="connsiteY5" fmla="*/ 0 h 13426"/>
                  <a:gd name="connsiteX6" fmla="*/ 5933 w 10000"/>
                  <a:gd name="connsiteY6" fmla="*/ 6240 h 13426"/>
                  <a:gd name="connsiteX7" fmla="*/ 10000 w 10000"/>
                  <a:gd name="connsiteY7" fmla="*/ 2765 h 13426"/>
                  <a:gd name="connsiteX8" fmla="*/ 9229 w 10000"/>
                  <a:gd name="connsiteY8" fmla="*/ 5081 h 13426"/>
                  <a:gd name="connsiteX0" fmla="*/ 3731 w 10000"/>
                  <a:gd name="connsiteY0" fmla="*/ 13462 h 13462"/>
                  <a:gd name="connsiteX1" fmla="*/ 0 w 10000"/>
                  <a:gd name="connsiteY1" fmla="*/ 8125 h 13462"/>
                  <a:gd name="connsiteX2" fmla="*/ 2398 w 10000"/>
                  <a:gd name="connsiteY2" fmla="*/ 9063 h 13462"/>
                  <a:gd name="connsiteX3" fmla="*/ 685 w 10000"/>
                  <a:gd name="connsiteY3" fmla="*/ 4219 h 13462"/>
                  <a:gd name="connsiteX4" fmla="*/ 3768 w 10000"/>
                  <a:gd name="connsiteY4" fmla="*/ 6875 h 13462"/>
                  <a:gd name="connsiteX5" fmla="*/ 4796 w 10000"/>
                  <a:gd name="connsiteY5" fmla="*/ 0 h 13462"/>
                  <a:gd name="connsiteX6" fmla="*/ 5933 w 10000"/>
                  <a:gd name="connsiteY6" fmla="*/ 6240 h 13462"/>
                  <a:gd name="connsiteX7" fmla="*/ 10000 w 10000"/>
                  <a:gd name="connsiteY7" fmla="*/ 2765 h 13462"/>
                  <a:gd name="connsiteX8" fmla="*/ 9229 w 10000"/>
                  <a:gd name="connsiteY8" fmla="*/ 5081 h 13462"/>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229 w 10000"/>
                  <a:gd name="connsiteY8" fmla="*/ 5081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6688 w 10000"/>
                  <a:gd name="connsiteY6" fmla="*/ 5613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6908 w 10000"/>
                  <a:gd name="connsiteY6" fmla="*/ 5561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949 w 10000"/>
                  <a:gd name="connsiteY2" fmla="*/ 9156 h 13438"/>
                  <a:gd name="connsiteX3" fmla="*/ 685 w 10000"/>
                  <a:gd name="connsiteY3" fmla="*/ 4219 h 13438"/>
                  <a:gd name="connsiteX4" fmla="*/ 3768 w 10000"/>
                  <a:gd name="connsiteY4" fmla="*/ 6875 h 13438"/>
                  <a:gd name="connsiteX5" fmla="*/ 4796 w 10000"/>
                  <a:gd name="connsiteY5" fmla="*/ 0 h 13438"/>
                  <a:gd name="connsiteX6" fmla="*/ 6908 w 10000"/>
                  <a:gd name="connsiteY6" fmla="*/ 5561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949 w 10000"/>
                  <a:gd name="connsiteY2" fmla="*/ 9156 h 13438"/>
                  <a:gd name="connsiteX3" fmla="*/ 685 w 10000"/>
                  <a:gd name="connsiteY3" fmla="*/ 4219 h 13438"/>
                  <a:gd name="connsiteX4" fmla="*/ 4516 w 10000"/>
                  <a:gd name="connsiteY4" fmla="*/ 7086 h 13438"/>
                  <a:gd name="connsiteX5" fmla="*/ 4796 w 10000"/>
                  <a:gd name="connsiteY5" fmla="*/ 0 h 13438"/>
                  <a:gd name="connsiteX6" fmla="*/ 6908 w 10000"/>
                  <a:gd name="connsiteY6" fmla="*/ 5561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949 w 10000"/>
                  <a:gd name="connsiteY2" fmla="*/ 9156 h 13438"/>
                  <a:gd name="connsiteX3" fmla="*/ 685 w 10000"/>
                  <a:gd name="connsiteY3" fmla="*/ 4219 h 13438"/>
                  <a:gd name="connsiteX4" fmla="*/ 4516 w 10000"/>
                  <a:gd name="connsiteY4" fmla="*/ 7086 h 13438"/>
                  <a:gd name="connsiteX5" fmla="*/ 4796 w 10000"/>
                  <a:gd name="connsiteY5" fmla="*/ 0 h 13438"/>
                  <a:gd name="connsiteX6" fmla="*/ 7477 w 10000"/>
                  <a:gd name="connsiteY6" fmla="*/ 5721 h 13438"/>
                  <a:gd name="connsiteX7" fmla="*/ 10000 w 10000"/>
                  <a:gd name="connsiteY7" fmla="*/ 2765 h 13438"/>
                  <a:gd name="connsiteX8" fmla="*/ 9349 w 10000"/>
                  <a:gd name="connsiteY8" fmla="*/ 5453 h 13438"/>
                  <a:gd name="connsiteX0" fmla="*/ 3771 w 10300"/>
                  <a:gd name="connsiteY0" fmla="*/ 13438 h 13438"/>
                  <a:gd name="connsiteX1" fmla="*/ 0 w 10300"/>
                  <a:gd name="connsiteY1" fmla="*/ 8125 h 13438"/>
                  <a:gd name="connsiteX2" fmla="*/ 2949 w 10300"/>
                  <a:gd name="connsiteY2" fmla="*/ 9156 h 13438"/>
                  <a:gd name="connsiteX3" fmla="*/ 685 w 10300"/>
                  <a:gd name="connsiteY3" fmla="*/ 4219 h 13438"/>
                  <a:gd name="connsiteX4" fmla="*/ 4516 w 10300"/>
                  <a:gd name="connsiteY4" fmla="*/ 7086 h 13438"/>
                  <a:gd name="connsiteX5" fmla="*/ 4796 w 10300"/>
                  <a:gd name="connsiteY5" fmla="*/ 0 h 13438"/>
                  <a:gd name="connsiteX6" fmla="*/ 7477 w 10300"/>
                  <a:gd name="connsiteY6" fmla="*/ 5721 h 13438"/>
                  <a:gd name="connsiteX7" fmla="*/ 10300 w 10300"/>
                  <a:gd name="connsiteY7" fmla="*/ 2302 h 13438"/>
                  <a:gd name="connsiteX8" fmla="*/ 9349 w 10300"/>
                  <a:gd name="connsiteY8" fmla="*/ 5453 h 13438"/>
                  <a:gd name="connsiteX0" fmla="*/ 3771 w 10300"/>
                  <a:gd name="connsiteY0" fmla="*/ 13438 h 13438"/>
                  <a:gd name="connsiteX1" fmla="*/ 0 w 10300"/>
                  <a:gd name="connsiteY1" fmla="*/ 8125 h 13438"/>
                  <a:gd name="connsiteX2" fmla="*/ 2949 w 10300"/>
                  <a:gd name="connsiteY2" fmla="*/ 9156 h 13438"/>
                  <a:gd name="connsiteX3" fmla="*/ 685 w 10300"/>
                  <a:gd name="connsiteY3" fmla="*/ 4219 h 13438"/>
                  <a:gd name="connsiteX4" fmla="*/ 4516 w 10300"/>
                  <a:gd name="connsiteY4" fmla="*/ 7086 h 13438"/>
                  <a:gd name="connsiteX5" fmla="*/ 4796 w 10300"/>
                  <a:gd name="connsiteY5" fmla="*/ 0 h 13438"/>
                  <a:gd name="connsiteX6" fmla="*/ 7477 w 10300"/>
                  <a:gd name="connsiteY6" fmla="*/ 5721 h 13438"/>
                  <a:gd name="connsiteX7" fmla="*/ 10300 w 10300"/>
                  <a:gd name="connsiteY7" fmla="*/ 2302 h 13438"/>
                  <a:gd name="connsiteX8" fmla="*/ 10169 w 10300"/>
                  <a:gd name="connsiteY8" fmla="*/ 4918 h 13438"/>
                  <a:gd name="connsiteX0" fmla="*/ 3771 w 10177"/>
                  <a:gd name="connsiteY0" fmla="*/ 13438 h 13438"/>
                  <a:gd name="connsiteX1" fmla="*/ 0 w 10177"/>
                  <a:gd name="connsiteY1" fmla="*/ 8125 h 13438"/>
                  <a:gd name="connsiteX2" fmla="*/ 2949 w 10177"/>
                  <a:gd name="connsiteY2" fmla="*/ 9156 h 13438"/>
                  <a:gd name="connsiteX3" fmla="*/ 685 w 10177"/>
                  <a:gd name="connsiteY3" fmla="*/ 4219 h 13438"/>
                  <a:gd name="connsiteX4" fmla="*/ 4516 w 10177"/>
                  <a:gd name="connsiteY4" fmla="*/ 7086 h 13438"/>
                  <a:gd name="connsiteX5" fmla="*/ 4796 w 10177"/>
                  <a:gd name="connsiteY5" fmla="*/ 0 h 13438"/>
                  <a:gd name="connsiteX6" fmla="*/ 7477 w 10177"/>
                  <a:gd name="connsiteY6" fmla="*/ 5721 h 13438"/>
                  <a:gd name="connsiteX7" fmla="*/ 10105 w 10177"/>
                  <a:gd name="connsiteY7" fmla="*/ 2026 h 13438"/>
                  <a:gd name="connsiteX8" fmla="*/ 10169 w 10177"/>
                  <a:gd name="connsiteY8" fmla="*/ 4918 h 13438"/>
                  <a:gd name="connsiteX0" fmla="*/ 3030 w 10177"/>
                  <a:gd name="connsiteY0" fmla="*/ 12390 h 12390"/>
                  <a:gd name="connsiteX1" fmla="*/ 0 w 10177"/>
                  <a:gd name="connsiteY1" fmla="*/ 8125 h 12390"/>
                  <a:gd name="connsiteX2" fmla="*/ 2949 w 10177"/>
                  <a:gd name="connsiteY2" fmla="*/ 9156 h 12390"/>
                  <a:gd name="connsiteX3" fmla="*/ 685 w 10177"/>
                  <a:gd name="connsiteY3" fmla="*/ 4219 h 12390"/>
                  <a:gd name="connsiteX4" fmla="*/ 4516 w 10177"/>
                  <a:gd name="connsiteY4" fmla="*/ 7086 h 12390"/>
                  <a:gd name="connsiteX5" fmla="*/ 4796 w 10177"/>
                  <a:gd name="connsiteY5" fmla="*/ 0 h 12390"/>
                  <a:gd name="connsiteX6" fmla="*/ 7477 w 10177"/>
                  <a:gd name="connsiteY6" fmla="*/ 5721 h 12390"/>
                  <a:gd name="connsiteX7" fmla="*/ 10105 w 10177"/>
                  <a:gd name="connsiteY7" fmla="*/ 2026 h 12390"/>
                  <a:gd name="connsiteX8" fmla="*/ 10169 w 10177"/>
                  <a:gd name="connsiteY8" fmla="*/ 4918 h 12390"/>
                  <a:gd name="connsiteX0" fmla="*/ 3030 w 10204"/>
                  <a:gd name="connsiteY0" fmla="*/ 12390 h 12390"/>
                  <a:gd name="connsiteX1" fmla="*/ 0 w 10204"/>
                  <a:gd name="connsiteY1" fmla="*/ 8125 h 12390"/>
                  <a:gd name="connsiteX2" fmla="*/ 2949 w 10204"/>
                  <a:gd name="connsiteY2" fmla="*/ 9156 h 12390"/>
                  <a:gd name="connsiteX3" fmla="*/ 685 w 10204"/>
                  <a:gd name="connsiteY3" fmla="*/ 4219 h 12390"/>
                  <a:gd name="connsiteX4" fmla="*/ 4516 w 10204"/>
                  <a:gd name="connsiteY4" fmla="*/ 7086 h 12390"/>
                  <a:gd name="connsiteX5" fmla="*/ 4796 w 10204"/>
                  <a:gd name="connsiteY5" fmla="*/ 0 h 12390"/>
                  <a:gd name="connsiteX6" fmla="*/ 7477 w 10204"/>
                  <a:gd name="connsiteY6" fmla="*/ 5721 h 12390"/>
                  <a:gd name="connsiteX7" fmla="*/ 10105 w 10204"/>
                  <a:gd name="connsiteY7" fmla="*/ 2026 h 12390"/>
                  <a:gd name="connsiteX8" fmla="*/ 10198 w 10204"/>
                  <a:gd name="connsiteY8" fmla="*/ 4354 h 12390"/>
                  <a:gd name="connsiteX0" fmla="*/ 3030 w 10105"/>
                  <a:gd name="connsiteY0" fmla="*/ 12390 h 12390"/>
                  <a:gd name="connsiteX1" fmla="*/ 0 w 10105"/>
                  <a:gd name="connsiteY1" fmla="*/ 8125 h 12390"/>
                  <a:gd name="connsiteX2" fmla="*/ 2949 w 10105"/>
                  <a:gd name="connsiteY2" fmla="*/ 9156 h 12390"/>
                  <a:gd name="connsiteX3" fmla="*/ 685 w 10105"/>
                  <a:gd name="connsiteY3" fmla="*/ 4219 h 12390"/>
                  <a:gd name="connsiteX4" fmla="*/ 4516 w 10105"/>
                  <a:gd name="connsiteY4" fmla="*/ 7086 h 12390"/>
                  <a:gd name="connsiteX5" fmla="*/ 4796 w 10105"/>
                  <a:gd name="connsiteY5" fmla="*/ 0 h 12390"/>
                  <a:gd name="connsiteX6" fmla="*/ 7477 w 10105"/>
                  <a:gd name="connsiteY6" fmla="*/ 5721 h 12390"/>
                  <a:gd name="connsiteX7" fmla="*/ 10105 w 10105"/>
                  <a:gd name="connsiteY7" fmla="*/ 2026 h 12390"/>
                  <a:gd name="connsiteX8" fmla="*/ 9861 w 10105"/>
                  <a:gd name="connsiteY8" fmla="*/ 4604 h 12390"/>
                  <a:gd name="connsiteX0" fmla="*/ 3030 w 10105"/>
                  <a:gd name="connsiteY0" fmla="*/ 12390 h 12390"/>
                  <a:gd name="connsiteX1" fmla="*/ 0 w 10105"/>
                  <a:gd name="connsiteY1" fmla="*/ 8125 h 12390"/>
                  <a:gd name="connsiteX2" fmla="*/ 2949 w 10105"/>
                  <a:gd name="connsiteY2" fmla="*/ 9156 h 12390"/>
                  <a:gd name="connsiteX3" fmla="*/ 685 w 10105"/>
                  <a:gd name="connsiteY3" fmla="*/ 4219 h 12390"/>
                  <a:gd name="connsiteX4" fmla="*/ 4516 w 10105"/>
                  <a:gd name="connsiteY4" fmla="*/ 7086 h 12390"/>
                  <a:gd name="connsiteX5" fmla="*/ 4796 w 10105"/>
                  <a:gd name="connsiteY5" fmla="*/ 0 h 12390"/>
                  <a:gd name="connsiteX6" fmla="*/ 7430 w 10105"/>
                  <a:gd name="connsiteY6" fmla="*/ 4968 h 12390"/>
                  <a:gd name="connsiteX7" fmla="*/ 10105 w 10105"/>
                  <a:gd name="connsiteY7" fmla="*/ 2026 h 12390"/>
                  <a:gd name="connsiteX8" fmla="*/ 9861 w 10105"/>
                  <a:gd name="connsiteY8" fmla="*/ 4604 h 12390"/>
                  <a:gd name="connsiteX0" fmla="*/ 3030 w 10105"/>
                  <a:gd name="connsiteY0" fmla="*/ 12390 h 12390"/>
                  <a:gd name="connsiteX1" fmla="*/ 0 w 10105"/>
                  <a:gd name="connsiteY1" fmla="*/ 8125 h 12390"/>
                  <a:gd name="connsiteX2" fmla="*/ 2949 w 10105"/>
                  <a:gd name="connsiteY2" fmla="*/ 9156 h 12390"/>
                  <a:gd name="connsiteX3" fmla="*/ 685 w 10105"/>
                  <a:gd name="connsiteY3" fmla="*/ 4219 h 12390"/>
                  <a:gd name="connsiteX4" fmla="*/ 4848 w 10105"/>
                  <a:gd name="connsiteY4" fmla="*/ 6708 h 12390"/>
                  <a:gd name="connsiteX5" fmla="*/ 4796 w 10105"/>
                  <a:gd name="connsiteY5" fmla="*/ 0 h 12390"/>
                  <a:gd name="connsiteX6" fmla="*/ 7430 w 10105"/>
                  <a:gd name="connsiteY6" fmla="*/ 4968 h 12390"/>
                  <a:gd name="connsiteX7" fmla="*/ 10105 w 10105"/>
                  <a:gd name="connsiteY7" fmla="*/ 2026 h 12390"/>
                  <a:gd name="connsiteX8" fmla="*/ 9861 w 10105"/>
                  <a:gd name="connsiteY8" fmla="*/ 4604 h 12390"/>
                  <a:gd name="connsiteX0" fmla="*/ 3030 w 10105"/>
                  <a:gd name="connsiteY0" fmla="*/ 12074 h 12074"/>
                  <a:gd name="connsiteX1" fmla="*/ 0 w 10105"/>
                  <a:gd name="connsiteY1" fmla="*/ 7809 h 12074"/>
                  <a:gd name="connsiteX2" fmla="*/ 2949 w 10105"/>
                  <a:gd name="connsiteY2" fmla="*/ 8840 h 12074"/>
                  <a:gd name="connsiteX3" fmla="*/ 685 w 10105"/>
                  <a:gd name="connsiteY3" fmla="*/ 3903 h 12074"/>
                  <a:gd name="connsiteX4" fmla="*/ 4848 w 10105"/>
                  <a:gd name="connsiteY4" fmla="*/ 6392 h 12074"/>
                  <a:gd name="connsiteX5" fmla="*/ 4392 w 10105"/>
                  <a:gd name="connsiteY5" fmla="*/ 0 h 12074"/>
                  <a:gd name="connsiteX6" fmla="*/ 7430 w 10105"/>
                  <a:gd name="connsiteY6" fmla="*/ 4652 h 12074"/>
                  <a:gd name="connsiteX7" fmla="*/ 10105 w 10105"/>
                  <a:gd name="connsiteY7" fmla="*/ 1710 h 12074"/>
                  <a:gd name="connsiteX8" fmla="*/ 9861 w 10105"/>
                  <a:gd name="connsiteY8" fmla="*/ 4288 h 12074"/>
                  <a:gd name="connsiteX0" fmla="*/ 3030 w 10105"/>
                  <a:gd name="connsiteY0" fmla="*/ 12074 h 12074"/>
                  <a:gd name="connsiteX1" fmla="*/ 0 w 10105"/>
                  <a:gd name="connsiteY1" fmla="*/ 7809 h 12074"/>
                  <a:gd name="connsiteX2" fmla="*/ 2949 w 10105"/>
                  <a:gd name="connsiteY2" fmla="*/ 8840 h 12074"/>
                  <a:gd name="connsiteX3" fmla="*/ 685 w 10105"/>
                  <a:gd name="connsiteY3" fmla="*/ 3903 h 12074"/>
                  <a:gd name="connsiteX4" fmla="*/ 4848 w 10105"/>
                  <a:gd name="connsiteY4" fmla="*/ 6392 h 12074"/>
                  <a:gd name="connsiteX5" fmla="*/ 4392 w 10105"/>
                  <a:gd name="connsiteY5" fmla="*/ 0 h 12074"/>
                  <a:gd name="connsiteX6" fmla="*/ 7430 w 10105"/>
                  <a:gd name="connsiteY6" fmla="*/ 4652 h 12074"/>
                  <a:gd name="connsiteX7" fmla="*/ 10105 w 10105"/>
                  <a:gd name="connsiteY7" fmla="*/ 1710 h 12074"/>
                  <a:gd name="connsiteX8" fmla="*/ 9886 w 10105"/>
                  <a:gd name="connsiteY8" fmla="*/ 3961 h 12074"/>
                  <a:gd name="connsiteX0" fmla="*/ 3030 w 10105"/>
                  <a:gd name="connsiteY0" fmla="*/ 12074 h 12074"/>
                  <a:gd name="connsiteX1" fmla="*/ 1907 w 10105"/>
                  <a:gd name="connsiteY1" fmla="*/ 10330 h 12074"/>
                  <a:gd name="connsiteX2" fmla="*/ 0 w 10105"/>
                  <a:gd name="connsiteY2" fmla="*/ 7809 h 12074"/>
                  <a:gd name="connsiteX3" fmla="*/ 2949 w 10105"/>
                  <a:gd name="connsiteY3" fmla="*/ 8840 h 12074"/>
                  <a:gd name="connsiteX4" fmla="*/ 685 w 10105"/>
                  <a:gd name="connsiteY4" fmla="*/ 3903 h 12074"/>
                  <a:gd name="connsiteX5" fmla="*/ 4848 w 10105"/>
                  <a:gd name="connsiteY5" fmla="*/ 6392 h 12074"/>
                  <a:gd name="connsiteX6" fmla="*/ 4392 w 10105"/>
                  <a:gd name="connsiteY6" fmla="*/ 0 h 12074"/>
                  <a:gd name="connsiteX7" fmla="*/ 7430 w 10105"/>
                  <a:gd name="connsiteY7" fmla="*/ 4652 h 12074"/>
                  <a:gd name="connsiteX8" fmla="*/ 10105 w 10105"/>
                  <a:gd name="connsiteY8" fmla="*/ 1710 h 12074"/>
                  <a:gd name="connsiteX9" fmla="*/ 9886 w 10105"/>
                  <a:gd name="connsiteY9" fmla="*/ 3961 h 12074"/>
                  <a:gd name="connsiteX0" fmla="*/ 3030 w 10105"/>
                  <a:gd name="connsiteY0" fmla="*/ 12074 h 12074"/>
                  <a:gd name="connsiteX1" fmla="*/ 1592 w 10105"/>
                  <a:gd name="connsiteY1" fmla="*/ 10046 h 12074"/>
                  <a:gd name="connsiteX2" fmla="*/ 0 w 10105"/>
                  <a:gd name="connsiteY2" fmla="*/ 7809 h 12074"/>
                  <a:gd name="connsiteX3" fmla="*/ 2949 w 10105"/>
                  <a:gd name="connsiteY3" fmla="*/ 8840 h 12074"/>
                  <a:gd name="connsiteX4" fmla="*/ 685 w 10105"/>
                  <a:gd name="connsiteY4" fmla="*/ 3903 h 12074"/>
                  <a:gd name="connsiteX5" fmla="*/ 4848 w 10105"/>
                  <a:gd name="connsiteY5" fmla="*/ 6392 h 12074"/>
                  <a:gd name="connsiteX6" fmla="*/ 4392 w 10105"/>
                  <a:gd name="connsiteY6" fmla="*/ 0 h 12074"/>
                  <a:gd name="connsiteX7" fmla="*/ 7430 w 10105"/>
                  <a:gd name="connsiteY7" fmla="*/ 4652 h 12074"/>
                  <a:gd name="connsiteX8" fmla="*/ 10105 w 10105"/>
                  <a:gd name="connsiteY8" fmla="*/ 1710 h 12074"/>
                  <a:gd name="connsiteX9" fmla="*/ 9886 w 10105"/>
                  <a:gd name="connsiteY9" fmla="*/ 3961 h 12074"/>
                  <a:gd name="connsiteX0" fmla="*/ 1592 w 10105"/>
                  <a:gd name="connsiteY0" fmla="*/ 10046 h 10046"/>
                  <a:gd name="connsiteX1" fmla="*/ 0 w 10105"/>
                  <a:gd name="connsiteY1" fmla="*/ 7809 h 10046"/>
                  <a:gd name="connsiteX2" fmla="*/ 2949 w 10105"/>
                  <a:gd name="connsiteY2" fmla="*/ 8840 h 10046"/>
                  <a:gd name="connsiteX3" fmla="*/ 685 w 10105"/>
                  <a:gd name="connsiteY3" fmla="*/ 3903 h 10046"/>
                  <a:gd name="connsiteX4" fmla="*/ 4848 w 10105"/>
                  <a:gd name="connsiteY4" fmla="*/ 6392 h 10046"/>
                  <a:gd name="connsiteX5" fmla="*/ 4392 w 10105"/>
                  <a:gd name="connsiteY5" fmla="*/ 0 h 10046"/>
                  <a:gd name="connsiteX6" fmla="*/ 7430 w 10105"/>
                  <a:gd name="connsiteY6" fmla="*/ 4652 h 10046"/>
                  <a:gd name="connsiteX7" fmla="*/ 10105 w 10105"/>
                  <a:gd name="connsiteY7" fmla="*/ 1710 h 10046"/>
                  <a:gd name="connsiteX8" fmla="*/ 9886 w 10105"/>
                  <a:gd name="connsiteY8" fmla="*/ 3961 h 10046"/>
                  <a:gd name="connsiteX0" fmla="*/ 3929 w 10105"/>
                  <a:gd name="connsiteY0" fmla="*/ 10728 h 10728"/>
                  <a:gd name="connsiteX1" fmla="*/ 0 w 10105"/>
                  <a:gd name="connsiteY1" fmla="*/ 7809 h 10728"/>
                  <a:gd name="connsiteX2" fmla="*/ 2949 w 10105"/>
                  <a:gd name="connsiteY2" fmla="*/ 8840 h 10728"/>
                  <a:gd name="connsiteX3" fmla="*/ 685 w 10105"/>
                  <a:gd name="connsiteY3" fmla="*/ 3903 h 10728"/>
                  <a:gd name="connsiteX4" fmla="*/ 4848 w 10105"/>
                  <a:gd name="connsiteY4" fmla="*/ 6392 h 10728"/>
                  <a:gd name="connsiteX5" fmla="*/ 4392 w 10105"/>
                  <a:gd name="connsiteY5" fmla="*/ 0 h 10728"/>
                  <a:gd name="connsiteX6" fmla="*/ 7430 w 10105"/>
                  <a:gd name="connsiteY6" fmla="*/ 4652 h 10728"/>
                  <a:gd name="connsiteX7" fmla="*/ 10105 w 10105"/>
                  <a:gd name="connsiteY7" fmla="*/ 1710 h 10728"/>
                  <a:gd name="connsiteX8" fmla="*/ 9886 w 10105"/>
                  <a:gd name="connsiteY8" fmla="*/ 3961 h 10728"/>
                  <a:gd name="connsiteX0" fmla="*/ 3929 w 10105"/>
                  <a:gd name="connsiteY0" fmla="*/ 10728 h 10728"/>
                  <a:gd name="connsiteX1" fmla="*/ 0 w 10105"/>
                  <a:gd name="connsiteY1" fmla="*/ 7809 h 10728"/>
                  <a:gd name="connsiteX2" fmla="*/ 4206 w 10105"/>
                  <a:gd name="connsiteY2" fmla="*/ 8439 h 10728"/>
                  <a:gd name="connsiteX3" fmla="*/ 685 w 10105"/>
                  <a:gd name="connsiteY3" fmla="*/ 3903 h 10728"/>
                  <a:gd name="connsiteX4" fmla="*/ 4848 w 10105"/>
                  <a:gd name="connsiteY4" fmla="*/ 6392 h 10728"/>
                  <a:gd name="connsiteX5" fmla="*/ 4392 w 10105"/>
                  <a:gd name="connsiteY5" fmla="*/ 0 h 10728"/>
                  <a:gd name="connsiteX6" fmla="*/ 7430 w 10105"/>
                  <a:gd name="connsiteY6" fmla="*/ 4652 h 10728"/>
                  <a:gd name="connsiteX7" fmla="*/ 10105 w 10105"/>
                  <a:gd name="connsiteY7" fmla="*/ 1710 h 10728"/>
                  <a:gd name="connsiteX8" fmla="*/ 9886 w 10105"/>
                  <a:gd name="connsiteY8" fmla="*/ 3961 h 10728"/>
                  <a:gd name="connsiteX0" fmla="*/ 3929 w 10105"/>
                  <a:gd name="connsiteY0" fmla="*/ 10728 h 10728"/>
                  <a:gd name="connsiteX1" fmla="*/ 0 w 10105"/>
                  <a:gd name="connsiteY1" fmla="*/ 7809 h 10728"/>
                  <a:gd name="connsiteX2" fmla="*/ 4206 w 10105"/>
                  <a:gd name="connsiteY2" fmla="*/ 8439 h 10728"/>
                  <a:gd name="connsiteX3" fmla="*/ 685 w 10105"/>
                  <a:gd name="connsiteY3" fmla="*/ 3903 h 10728"/>
                  <a:gd name="connsiteX4" fmla="*/ 5572 w 10105"/>
                  <a:gd name="connsiteY4" fmla="*/ 6044 h 10728"/>
                  <a:gd name="connsiteX5" fmla="*/ 4392 w 10105"/>
                  <a:gd name="connsiteY5" fmla="*/ 0 h 10728"/>
                  <a:gd name="connsiteX6" fmla="*/ 7430 w 10105"/>
                  <a:gd name="connsiteY6" fmla="*/ 4652 h 10728"/>
                  <a:gd name="connsiteX7" fmla="*/ 10105 w 10105"/>
                  <a:gd name="connsiteY7" fmla="*/ 1710 h 10728"/>
                  <a:gd name="connsiteX8" fmla="*/ 9886 w 10105"/>
                  <a:gd name="connsiteY8" fmla="*/ 3961 h 10728"/>
                  <a:gd name="connsiteX0" fmla="*/ 4127 w 10105"/>
                  <a:gd name="connsiteY0" fmla="*/ 10403 h 10403"/>
                  <a:gd name="connsiteX1" fmla="*/ 0 w 10105"/>
                  <a:gd name="connsiteY1" fmla="*/ 7809 h 10403"/>
                  <a:gd name="connsiteX2" fmla="*/ 4206 w 10105"/>
                  <a:gd name="connsiteY2" fmla="*/ 8439 h 10403"/>
                  <a:gd name="connsiteX3" fmla="*/ 685 w 10105"/>
                  <a:gd name="connsiteY3" fmla="*/ 3903 h 10403"/>
                  <a:gd name="connsiteX4" fmla="*/ 5572 w 10105"/>
                  <a:gd name="connsiteY4" fmla="*/ 6044 h 10403"/>
                  <a:gd name="connsiteX5" fmla="*/ 4392 w 10105"/>
                  <a:gd name="connsiteY5" fmla="*/ 0 h 10403"/>
                  <a:gd name="connsiteX6" fmla="*/ 7430 w 10105"/>
                  <a:gd name="connsiteY6" fmla="*/ 4652 h 10403"/>
                  <a:gd name="connsiteX7" fmla="*/ 10105 w 10105"/>
                  <a:gd name="connsiteY7" fmla="*/ 1710 h 10403"/>
                  <a:gd name="connsiteX8" fmla="*/ 9886 w 10105"/>
                  <a:gd name="connsiteY8" fmla="*/ 3961 h 10403"/>
                  <a:gd name="connsiteX0" fmla="*/ 3442 w 9420"/>
                  <a:gd name="connsiteY0" fmla="*/ 10403 h 10403"/>
                  <a:gd name="connsiteX1" fmla="*/ 700 w 9420"/>
                  <a:gd name="connsiteY1" fmla="*/ 8556 h 10403"/>
                  <a:gd name="connsiteX2" fmla="*/ 3521 w 9420"/>
                  <a:gd name="connsiteY2" fmla="*/ 8439 h 10403"/>
                  <a:gd name="connsiteX3" fmla="*/ 0 w 9420"/>
                  <a:gd name="connsiteY3" fmla="*/ 3903 h 10403"/>
                  <a:gd name="connsiteX4" fmla="*/ 4887 w 9420"/>
                  <a:gd name="connsiteY4" fmla="*/ 6044 h 10403"/>
                  <a:gd name="connsiteX5" fmla="*/ 3707 w 9420"/>
                  <a:gd name="connsiteY5" fmla="*/ 0 h 10403"/>
                  <a:gd name="connsiteX6" fmla="*/ 6745 w 9420"/>
                  <a:gd name="connsiteY6" fmla="*/ 4652 h 10403"/>
                  <a:gd name="connsiteX7" fmla="*/ 9420 w 9420"/>
                  <a:gd name="connsiteY7" fmla="*/ 1710 h 10403"/>
                  <a:gd name="connsiteX8" fmla="*/ 9201 w 9420"/>
                  <a:gd name="connsiteY8" fmla="*/ 3961 h 10403"/>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682 w 10000"/>
                  <a:gd name="connsiteY0" fmla="*/ 9610 h 9610"/>
                  <a:gd name="connsiteX1" fmla="*/ 743 w 10000"/>
                  <a:gd name="connsiteY1" fmla="*/ 8225 h 9610"/>
                  <a:gd name="connsiteX2" fmla="*/ 3738 w 10000"/>
                  <a:gd name="connsiteY2" fmla="*/ 8112 h 9610"/>
                  <a:gd name="connsiteX3" fmla="*/ 0 w 10000"/>
                  <a:gd name="connsiteY3" fmla="*/ 3752 h 9610"/>
                  <a:gd name="connsiteX4" fmla="*/ 5188 w 10000"/>
                  <a:gd name="connsiteY4" fmla="*/ 5810 h 9610"/>
                  <a:gd name="connsiteX5" fmla="*/ 3935 w 10000"/>
                  <a:gd name="connsiteY5" fmla="*/ 0 h 9610"/>
                  <a:gd name="connsiteX6" fmla="*/ 7160 w 10000"/>
                  <a:gd name="connsiteY6" fmla="*/ 4472 h 9610"/>
                  <a:gd name="connsiteX7" fmla="*/ 10000 w 10000"/>
                  <a:gd name="connsiteY7" fmla="*/ 1644 h 9610"/>
                  <a:gd name="connsiteX8" fmla="*/ 9768 w 10000"/>
                  <a:gd name="connsiteY8" fmla="*/ 3808 h 9610"/>
                  <a:gd name="connsiteX0" fmla="*/ 3682 w 10000"/>
                  <a:gd name="connsiteY0" fmla="*/ 10000 h 10000"/>
                  <a:gd name="connsiteX1" fmla="*/ 743 w 10000"/>
                  <a:gd name="connsiteY1" fmla="*/ 8559 h 10000"/>
                  <a:gd name="connsiteX2" fmla="*/ 3880 w 10000"/>
                  <a:gd name="connsiteY2" fmla="*/ 8388 h 10000"/>
                  <a:gd name="connsiteX3" fmla="*/ 0 w 10000"/>
                  <a:gd name="connsiteY3" fmla="*/ 3904 h 10000"/>
                  <a:gd name="connsiteX4" fmla="*/ 5188 w 10000"/>
                  <a:gd name="connsiteY4" fmla="*/ 6046 h 10000"/>
                  <a:gd name="connsiteX5" fmla="*/ 3935 w 10000"/>
                  <a:gd name="connsiteY5" fmla="*/ 0 h 10000"/>
                  <a:gd name="connsiteX6" fmla="*/ 7160 w 10000"/>
                  <a:gd name="connsiteY6" fmla="*/ 4653 h 10000"/>
                  <a:gd name="connsiteX7" fmla="*/ 10000 w 10000"/>
                  <a:gd name="connsiteY7" fmla="*/ 1711 h 10000"/>
                  <a:gd name="connsiteX8" fmla="*/ 9768 w 10000"/>
                  <a:gd name="connsiteY8" fmla="*/ 3963 h 10000"/>
                  <a:gd name="connsiteX0" fmla="*/ 3682 w 10000"/>
                  <a:gd name="connsiteY0" fmla="*/ 10000 h 10000"/>
                  <a:gd name="connsiteX1" fmla="*/ 743 w 10000"/>
                  <a:gd name="connsiteY1" fmla="*/ 8559 h 10000"/>
                  <a:gd name="connsiteX2" fmla="*/ 3880 w 10000"/>
                  <a:gd name="connsiteY2" fmla="*/ 8388 h 10000"/>
                  <a:gd name="connsiteX3" fmla="*/ 0 w 10000"/>
                  <a:gd name="connsiteY3" fmla="*/ 3904 h 10000"/>
                  <a:gd name="connsiteX4" fmla="*/ 5188 w 10000"/>
                  <a:gd name="connsiteY4" fmla="*/ 6046 h 10000"/>
                  <a:gd name="connsiteX5" fmla="*/ 3935 w 10000"/>
                  <a:gd name="connsiteY5" fmla="*/ 0 h 10000"/>
                  <a:gd name="connsiteX6" fmla="*/ 7711 w 10000"/>
                  <a:gd name="connsiteY6" fmla="*/ 4217 h 10000"/>
                  <a:gd name="connsiteX7" fmla="*/ 10000 w 10000"/>
                  <a:gd name="connsiteY7" fmla="*/ 1711 h 10000"/>
                  <a:gd name="connsiteX8" fmla="*/ 9768 w 10000"/>
                  <a:gd name="connsiteY8" fmla="*/ 3963 h 10000"/>
                  <a:gd name="connsiteX0" fmla="*/ 3682 w 10055"/>
                  <a:gd name="connsiteY0" fmla="*/ 10000 h 10000"/>
                  <a:gd name="connsiteX1" fmla="*/ 743 w 10055"/>
                  <a:gd name="connsiteY1" fmla="*/ 8559 h 10000"/>
                  <a:gd name="connsiteX2" fmla="*/ 3880 w 10055"/>
                  <a:gd name="connsiteY2" fmla="*/ 8388 h 10000"/>
                  <a:gd name="connsiteX3" fmla="*/ 0 w 10055"/>
                  <a:gd name="connsiteY3" fmla="*/ 3904 h 10000"/>
                  <a:gd name="connsiteX4" fmla="*/ 5188 w 10055"/>
                  <a:gd name="connsiteY4" fmla="*/ 6046 h 10000"/>
                  <a:gd name="connsiteX5" fmla="*/ 3935 w 10055"/>
                  <a:gd name="connsiteY5" fmla="*/ 0 h 10000"/>
                  <a:gd name="connsiteX6" fmla="*/ 7711 w 10055"/>
                  <a:gd name="connsiteY6" fmla="*/ 4217 h 10000"/>
                  <a:gd name="connsiteX7" fmla="*/ 10000 w 10055"/>
                  <a:gd name="connsiteY7" fmla="*/ 1711 h 10000"/>
                  <a:gd name="connsiteX8" fmla="*/ 10046 w 10055"/>
                  <a:gd name="connsiteY8" fmla="*/ 3809 h 10000"/>
                  <a:gd name="connsiteX0" fmla="*/ 3682 w 10055"/>
                  <a:gd name="connsiteY0" fmla="*/ 10000 h 10000"/>
                  <a:gd name="connsiteX1" fmla="*/ 743 w 10055"/>
                  <a:gd name="connsiteY1" fmla="*/ 8559 h 10000"/>
                  <a:gd name="connsiteX2" fmla="*/ 3870 w 10055"/>
                  <a:gd name="connsiteY2" fmla="*/ 7769 h 10000"/>
                  <a:gd name="connsiteX3" fmla="*/ 0 w 10055"/>
                  <a:gd name="connsiteY3" fmla="*/ 3904 h 10000"/>
                  <a:gd name="connsiteX4" fmla="*/ 5188 w 10055"/>
                  <a:gd name="connsiteY4" fmla="*/ 6046 h 10000"/>
                  <a:gd name="connsiteX5" fmla="*/ 3935 w 10055"/>
                  <a:gd name="connsiteY5" fmla="*/ 0 h 10000"/>
                  <a:gd name="connsiteX6" fmla="*/ 7711 w 10055"/>
                  <a:gd name="connsiteY6" fmla="*/ 4217 h 10000"/>
                  <a:gd name="connsiteX7" fmla="*/ 10000 w 10055"/>
                  <a:gd name="connsiteY7" fmla="*/ 1711 h 10000"/>
                  <a:gd name="connsiteX8" fmla="*/ 10046 w 10055"/>
                  <a:gd name="connsiteY8" fmla="*/ 3809 h 10000"/>
                  <a:gd name="connsiteX0" fmla="*/ 3682 w 10055"/>
                  <a:gd name="connsiteY0" fmla="*/ 10000 h 10000"/>
                  <a:gd name="connsiteX1" fmla="*/ 2365 w 10055"/>
                  <a:gd name="connsiteY1" fmla="*/ 9339 h 10000"/>
                  <a:gd name="connsiteX2" fmla="*/ 743 w 10055"/>
                  <a:gd name="connsiteY2" fmla="*/ 8559 h 10000"/>
                  <a:gd name="connsiteX3" fmla="*/ 3870 w 10055"/>
                  <a:gd name="connsiteY3" fmla="*/ 7769 h 10000"/>
                  <a:gd name="connsiteX4" fmla="*/ 0 w 10055"/>
                  <a:gd name="connsiteY4" fmla="*/ 3904 h 10000"/>
                  <a:gd name="connsiteX5" fmla="*/ 5188 w 10055"/>
                  <a:gd name="connsiteY5" fmla="*/ 6046 h 10000"/>
                  <a:gd name="connsiteX6" fmla="*/ 3935 w 10055"/>
                  <a:gd name="connsiteY6" fmla="*/ 0 h 10000"/>
                  <a:gd name="connsiteX7" fmla="*/ 7711 w 10055"/>
                  <a:gd name="connsiteY7" fmla="*/ 4217 h 10000"/>
                  <a:gd name="connsiteX8" fmla="*/ 10000 w 10055"/>
                  <a:gd name="connsiteY8" fmla="*/ 1711 h 10000"/>
                  <a:gd name="connsiteX9" fmla="*/ 10046 w 10055"/>
                  <a:gd name="connsiteY9" fmla="*/ 3809 h 10000"/>
                  <a:gd name="connsiteX0" fmla="*/ 3682 w 10055"/>
                  <a:gd name="connsiteY0" fmla="*/ 10000 h 10000"/>
                  <a:gd name="connsiteX1" fmla="*/ 2529 w 10055"/>
                  <a:gd name="connsiteY1" fmla="*/ 9274 h 10000"/>
                  <a:gd name="connsiteX2" fmla="*/ 743 w 10055"/>
                  <a:gd name="connsiteY2" fmla="*/ 8559 h 10000"/>
                  <a:gd name="connsiteX3" fmla="*/ 3870 w 10055"/>
                  <a:gd name="connsiteY3" fmla="*/ 7769 h 10000"/>
                  <a:gd name="connsiteX4" fmla="*/ 0 w 10055"/>
                  <a:gd name="connsiteY4" fmla="*/ 3904 h 10000"/>
                  <a:gd name="connsiteX5" fmla="*/ 5188 w 10055"/>
                  <a:gd name="connsiteY5" fmla="*/ 6046 h 10000"/>
                  <a:gd name="connsiteX6" fmla="*/ 3935 w 10055"/>
                  <a:gd name="connsiteY6" fmla="*/ 0 h 10000"/>
                  <a:gd name="connsiteX7" fmla="*/ 7711 w 10055"/>
                  <a:gd name="connsiteY7" fmla="*/ 4217 h 10000"/>
                  <a:gd name="connsiteX8" fmla="*/ 10000 w 10055"/>
                  <a:gd name="connsiteY8" fmla="*/ 1711 h 10000"/>
                  <a:gd name="connsiteX9" fmla="*/ 10046 w 10055"/>
                  <a:gd name="connsiteY9" fmla="*/ 3809 h 10000"/>
                  <a:gd name="connsiteX0" fmla="*/ 3095 w 10055"/>
                  <a:gd name="connsiteY0" fmla="*/ 12044 h 12044"/>
                  <a:gd name="connsiteX1" fmla="*/ 2529 w 10055"/>
                  <a:gd name="connsiteY1" fmla="*/ 9274 h 12044"/>
                  <a:gd name="connsiteX2" fmla="*/ 743 w 10055"/>
                  <a:gd name="connsiteY2" fmla="*/ 8559 h 12044"/>
                  <a:gd name="connsiteX3" fmla="*/ 3870 w 10055"/>
                  <a:gd name="connsiteY3" fmla="*/ 7769 h 12044"/>
                  <a:gd name="connsiteX4" fmla="*/ 0 w 10055"/>
                  <a:gd name="connsiteY4" fmla="*/ 3904 h 12044"/>
                  <a:gd name="connsiteX5" fmla="*/ 5188 w 10055"/>
                  <a:gd name="connsiteY5" fmla="*/ 6046 h 12044"/>
                  <a:gd name="connsiteX6" fmla="*/ 3935 w 10055"/>
                  <a:gd name="connsiteY6" fmla="*/ 0 h 12044"/>
                  <a:gd name="connsiteX7" fmla="*/ 7711 w 10055"/>
                  <a:gd name="connsiteY7" fmla="*/ 4217 h 12044"/>
                  <a:gd name="connsiteX8" fmla="*/ 10000 w 10055"/>
                  <a:gd name="connsiteY8" fmla="*/ 1711 h 12044"/>
                  <a:gd name="connsiteX9" fmla="*/ 10046 w 10055"/>
                  <a:gd name="connsiteY9" fmla="*/ 3809 h 12044"/>
                  <a:gd name="connsiteX0" fmla="*/ 3095 w 10055"/>
                  <a:gd name="connsiteY0" fmla="*/ 12044 h 12044"/>
                  <a:gd name="connsiteX1" fmla="*/ 2782 w 10055"/>
                  <a:gd name="connsiteY1" fmla="*/ 10540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908 w 10055"/>
                  <a:gd name="connsiteY2" fmla="*/ 10183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908 w 10055"/>
                  <a:gd name="connsiteY2" fmla="*/ 10183 h 12044"/>
                  <a:gd name="connsiteX3" fmla="*/ 743 w 10055"/>
                  <a:gd name="connsiteY3" fmla="*/ 8559 h 12044"/>
                  <a:gd name="connsiteX4" fmla="*/ 3711 w 10055"/>
                  <a:gd name="connsiteY4" fmla="*/ 8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908 w 10055"/>
                  <a:gd name="connsiteY2" fmla="*/ 10183 h 12044"/>
                  <a:gd name="connsiteX3" fmla="*/ 258 w 10055"/>
                  <a:gd name="connsiteY3" fmla="*/ 8437 h 12044"/>
                  <a:gd name="connsiteX4" fmla="*/ 3711 w 10055"/>
                  <a:gd name="connsiteY4" fmla="*/ 8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481 w 10441"/>
                  <a:gd name="connsiteY0" fmla="*/ 12044 h 12044"/>
                  <a:gd name="connsiteX1" fmla="*/ 1869 w 10441"/>
                  <a:gd name="connsiteY1" fmla="*/ 11312 h 12044"/>
                  <a:gd name="connsiteX2" fmla="*/ 3294 w 10441"/>
                  <a:gd name="connsiteY2" fmla="*/ 10183 h 12044"/>
                  <a:gd name="connsiteX3" fmla="*/ 0 w 10441"/>
                  <a:gd name="connsiteY3" fmla="*/ 8508 h 12044"/>
                  <a:gd name="connsiteX4" fmla="*/ 4097 w 10441"/>
                  <a:gd name="connsiteY4" fmla="*/ 8769 h 12044"/>
                  <a:gd name="connsiteX5" fmla="*/ 386 w 10441"/>
                  <a:gd name="connsiteY5" fmla="*/ 3904 h 12044"/>
                  <a:gd name="connsiteX6" fmla="*/ 5574 w 10441"/>
                  <a:gd name="connsiteY6" fmla="*/ 6046 h 12044"/>
                  <a:gd name="connsiteX7" fmla="*/ 4321 w 10441"/>
                  <a:gd name="connsiteY7" fmla="*/ 0 h 12044"/>
                  <a:gd name="connsiteX8" fmla="*/ 8097 w 10441"/>
                  <a:gd name="connsiteY8" fmla="*/ 4217 h 12044"/>
                  <a:gd name="connsiteX9" fmla="*/ 10386 w 10441"/>
                  <a:gd name="connsiteY9" fmla="*/ 1711 h 12044"/>
                  <a:gd name="connsiteX10" fmla="*/ 10432 w 10441"/>
                  <a:gd name="connsiteY10" fmla="*/ 3809 h 12044"/>
                  <a:gd name="connsiteX0" fmla="*/ 3481 w 10441"/>
                  <a:gd name="connsiteY0" fmla="*/ 12044 h 12044"/>
                  <a:gd name="connsiteX1" fmla="*/ 1869 w 10441"/>
                  <a:gd name="connsiteY1" fmla="*/ 11312 h 12044"/>
                  <a:gd name="connsiteX2" fmla="*/ 3294 w 10441"/>
                  <a:gd name="connsiteY2" fmla="*/ 10183 h 12044"/>
                  <a:gd name="connsiteX3" fmla="*/ 0 w 10441"/>
                  <a:gd name="connsiteY3" fmla="*/ 8508 h 12044"/>
                  <a:gd name="connsiteX4" fmla="*/ 3824 w 10441"/>
                  <a:gd name="connsiteY4" fmla="*/ 8243 h 12044"/>
                  <a:gd name="connsiteX5" fmla="*/ 386 w 10441"/>
                  <a:gd name="connsiteY5" fmla="*/ 3904 h 12044"/>
                  <a:gd name="connsiteX6" fmla="*/ 5574 w 10441"/>
                  <a:gd name="connsiteY6" fmla="*/ 6046 h 12044"/>
                  <a:gd name="connsiteX7" fmla="*/ 4321 w 10441"/>
                  <a:gd name="connsiteY7" fmla="*/ 0 h 12044"/>
                  <a:gd name="connsiteX8" fmla="*/ 8097 w 10441"/>
                  <a:gd name="connsiteY8" fmla="*/ 4217 h 12044"/>
                  <a:gd name="connsiteX9" fmla="*/ 10386 w 10441"/>
                  <a:gd name="connsiteY9" fmla="*/ 1711 h 12044"/>
                  <a:gd name="connsiteX10" fmla="*/ 10432 w 10441"/>
                  <a:gd name="connsiteY10" fmla="*/ 3809 h 12044"/>
                  <a:gd name="connsiteX0" fmla="*/ 3444 w 10441"/>
                  <a:gd name="connsiteY0" fmla="*/ 11752 h 11752"/>
                  <a:gd name="connsiteX1" fmla="*/ 1869 w 10441"/>
                  <a:gd name="connsiteY1" fmla="*/ 11312 h 11752"/>
                  <a:gd name="connsiteX2" fmla="*/ 3294 w 10441"/>
                  <a:gd name="connsiteY2" fmla="*/ 10183 h 11752"/>
                  <a:gd name="connsiteX3" fmla="*/ 0 w 10441"/>
                  <a:gd name="connsiteY3" fmla="*/ 8508 h 11752"/>
                  <a:gd name="connsiteX4" fmla="*/ 3824 w 10441"/>
                  <a:gd name="connsiteY4" fmla="*/ 8243 h 11752"/>
                  <a:gd name="connsiteX5" fmla="*/ 386 w 10441"/>
                  <a:gd name="connsiteY5" fmla="*/ 3904 h 11752"/>
                  <a:gd name="connsiteX6" fmla="*/ 5574 w 10441"/>
                  <a:gd name="connsiteY6" fmla="*/ 6046 h 11752"/>
                  <a:gd name="connsiteX7" fmla="*/ 4321 w 10441"/>
                  <a:gd name="connsiteY7" fmla="*/ 0 h 11752"/>
                  <a:gd name="connsiteX8" fmla="*/ 8097 w 10441"/>
                  <a:gd name="connsiteY8" fmla="*/ 4217 h 11752"/>
                  <a:gd name="connsiteX9" fmla="*/ 10386 w 10441"/>
                  <a:gd name="connsiteY9" fmla="*/ 1711 h 11752"/>
                  <a:gd name="connsiteX10" fmla="*/ 10432 w 10441"/>
                  <a:gd name="connsiteY10" fmla="*/ 3809 h 11752"/>
                  <a:gd name="connsiteX0" fmla="*/ 3444 w 10441"/>
                  <a:gd name="connsiteY0" fmla="*/ 11752 h 11752"/>
                  <a:gd name="connsiteX1" fmla="*/ 1869 w 10441"/>
                  <a:gd name="connsiteY1" fmla="*/ 11312 h 11752"/>
                  <a:gd name="connsiteX2" fmla="*/ 3370 w 10441"/>
                  <a:gd name="connsiteY2" fmla="*/ 10688 h 11752"/>
                  <a:gd name="connsiteX3" fmla="*/ 0 w 10441"/>
                  <a:gd name="connsiteY3" fmla="*/ 8508 h 11752"/>
                  <a:gd name="connsiteX4" fmla="*/ 3824 w 10441"/>
                  <a:gd name="connsiteY4" fmla="*/ 8243 h 11752"/>
                  <a:gd name="connsiteX5" fmla="*/ 386 w 10441"/>
                  <a:gd name="connsiteY5" fmla="*/ 3904 h 11752"/>
                  <a:gd name="connsiteX6" fmla="*/ 5574 w 10441"/>
                  <a:gd name="connsiteY6" fmla="*/ 6046 h 11752"/>
                  <a:gd name="connsiteX7" fmla="*/ 4321 w 10441"/>
                  <a:gd name="connsiteY7" fmla="*/ 0 h 11752"/>
                  <a:gd name="connsiteX8" fmla="*/ 8097 w 10441"/>
                  <a:gd name="connsiteY8" fmla="*/ 4217 h 11752"/>
                  <a:gd name="connsiteX9" fmla="*/ 10386 w 10441"/>
                  <a:gd name="connsiteY9" fmla="*/ 1711 h 11752"/>
                  <a:gd name="connsiteX10" fmla="*/ 10432 w 10441"/>
                  <a:gd name="connsiteY10" fmla="*/ 3809 h 11752"/>
                  <a:gd name="connsiteX0" fmla="*/ 3437 w 10441"/>
                  <a:gd name="connsiteY0" fmla="*/ 12147 h 12147"/>
                  <a:gd name="connsiteX1" fmla="*/ 1869 w 10441"/>
                  <a:gd name="connsiteY1" fmla="*/ 11312 h 12147"/>
                  <a:gd name="connsiteX2" fmla="*/ 3370 w 10441"/>
                  <a:gd name="connsiteY2" fmla="*/ 10688 h 12147"/>
                  <a:gd name="connsiteX3" fmla="*/ 0 w 10441"/>
                  <a:gd name="connsiteY3" fmla="*/ 8508 h 12147"/>
                  <a:gd name="connsiteX4" fmla="*/ 3824 w 10441"/>
                  <a:gd name="connsiteY4" fmla="*/ 8243 h 12147"/>
                  <a:gd name="connsiteX5" fmla="*/ 386 w 10441"/>
                  <a:gd name="connsiteY5" fmla="*/ 3904 h 12147"/>
                  <a:gd name="connsiteX6" fmla="*/ 5574 w 10441"/>
                  <a:gd name="connsiteY6" fmla="*/ 6046 h 12147"/>
                  <a:gd name="connsiteX7" fmla="*/ 4321 w 10441"/>
                  <a:gd name="connsiteY7" fmla="*/ 0 h 12147"/>
                  <a:gd name="connsiteX8" fmla="*/ 8097 w 10441"/>
                  <a:gd name="connsiteY8" fmla="*/ 4217 h 12147"/>
                  <a:gd name="connsiteX9" fmla="*/ 10386 w 10441"/>
                  <a:gd name="connsiteY9" fmla="*/ 1711 h 12147"/>
                  <a:gd name="connsiteX10" fmla="*/ 10432 w 10441"/>
                  <a:gd name="connsiteY10" fmla="*/ 3809 h 12147"/>
                  <a:gd name="connsiteX0" fmla="*/ 3464 w 10441"/>
                  <a:gd name="connsiteY0" fmla="*/ 11820 h 11820"/>
                  <a:gd name="connsiteX1" fmla="*/ 1869 w 10441"/>
                  <a:gd name="connsiteY1" fmla="*/ 11312 h 11820"/>
                  <a:gd name="connsiteX2" fmla="*/ 3370 w 10441"/>
                  <a:gd name="connsiteY2" fmla="*/ 10688 h 11820"/>
                  <a:gd name="connsiteX3" fmla="*/ 0 w 10441"/>
                  <a:gd name="connsiteY3" fmla="*/ 8508 h 11820"/>
                  <a:gd name="connsiteX4" fmla="*/ 3824 w 10441"/>
                  <a:gd name="connsiteY4" fmla="*/ 8243 h 11820"/>
                  <a:gd name="connsiteX5" fmla="*/ 386 w 10441"/>
                  <a:gd name="connsiteY5" fmla="*/ 3904 h 11820"/>
                  <a:gd name="connsiteX6" fmla="*/ 5574 w 10441"/>
                  <a:gd name="connsiteY6" fmla="*/ 6046 h 11820"/>
                  <a:gd name="connsiteX7" fmla="*/ 4321 w 10441"/>
                  <a:gd name="connsiteY7" fmla="*/ 0 h 11820"/>
                  <a:gd name="connsiteX8" fmla="*/ 8097 w 10441"/>
                  <a:gd name="connsiteY8" fmla="*/ 4217 h 11820"/>
                  <a:gd name="connsiteX9" fmla="*/ 10386 w 10441"/>
                  <a:gd name="connsiteY9" fmla="*/ 1711 h 11820"/>
                  <a:gd name="connsiteX10" fmla="*/ 10432 w 10441"/>
                  <a:gd name="connsiteY10" fmla="*/ 3809 h 11820"/>
                  <a:gd name="connsiteX0" fmla="*/ 3464 w 10441"/>
                  <a:gd name="connsiteY0" fmla="*/ 11820 h 11820"/>
                  <a:gd name="connsiteX1" fmla="*/ 1869 w 10441"/>
                  <a:gd name="connsiteY1" fmla="*/ 11312 h 11820"/>
                  <a:gd name="connsiteX2" fmla="*/ 3549 w 10441"/>
                  <a:gd name="connsiteY2" fmla="*/ 10563 h 11820"/>
                  <a:gd name="connsiteX3" fmla="*/ 0 w 10441"/>
                  <a:gd name="connsiteY3" fmla="*/ 8508 h 11820"/>
                  <a:gd name="connsiteX4" fmla="*/ 3824 w 10441"/>
                  <a:gd name="connsiteY4" fmla="*/ 8243 h 11820"/>
                  <a:gd name="connsiteX5" fmla="*/ 386 w 10441"/>
                  <a:gd name="connsiteY5" fmla="*/ 3904 h 11820"/>
                  <a:gd name="connsiteX6" fmla="*/ 5574 w 10441"/>
                  <a:gd name="connsiteY6" fmla="*/ 6046 h 11820"/>
                  <a:gd name="connsiteX7" fmla="*/ 4321 w 10441"/>
                  <a:gd name="connsiteY7" fmla="*/ 0 h 11820"/>
                  <a:gd name="connsiteX8" fmla="*/ 8097 w 10441"/>
                  <a:gd name="connsiteY8" fmla="*/ 4217 h 11820"/>
                  <a:gd name="connsiteX9" fmla="*/ 10386 w 10441"/>
                  <a:gd name="connsiteY9" fmla="*/ 1711 h 11820"/>
                  <a:gd name="connsiteX10" fmla="*/ 10432 w 10441"/>
                  <a:gd name="connsiteY10" fmla="*/ 3809 h 11820"/>
                  <a:gd name="connsiteX0" fmla="*/ 3464 w 10441"/>
                  <a:gd name="connsiteY0" fmla="*/ 11820 h 11820"/>
                  <a:gd name="connsiteX1" fmla="*/ 1869 w 10441"/>
                  <a:gd name="connsiteY1" fmla="*/ 11312 h 11820"/>
                  <a:gd name="connsiteX2" fmla="*/ 3549 w 10441"/>
                  <a:gd name="connsiteY2" fmla="*/ 10563 h 11820"/>
                  <a:gd name="connsiteX3" fmla="*/ 0 w 10441"/>
                  <a:gd name="connsiteY3" fmla="*/ 8508 h 11820"/>
                  <a:gd name="connsiteX4" fmla="*/ 3942 w 10441"/>
                  <a:gd name="connsiteY4" fmla="*/ 8360 h 11820"/>
                  <a:gd name="connsiteX5" fmla="*/ 386 w 10441"/>
                  <a:gd name="connsiteY5" fmla="*/ 3904 h 11820"/>
                  <a:gd name="connsiteX6" fmla="*/ 5574 w 10441"/>
                  <a:gd name="connsiteY6" fmla="*/ 6046 h 11820"/>
                  <a:gd name="connsiteX7" fmla="*/ 4321 w 10441"/>
                  <a:gd name="connsiteY7" fmla="*/ 0 h 11820"/>
                  <a:gd name="connsiteX8" fmla="*/ 8097 w 10441"/>
                  <a:gd name="connsiteY8" fmla="*/ 4217 h 11820"/>
                  <a:gd name="connsiteX9" fmla="*/ 10386 w 10441"/>
                  <a:gd name="connsiteY9" fmla="*/ 1711 h 11820"/>
                  <a:gd name="connsiteX10" fmla="*/ 10432 w 10441"/>
                  <a:gd name="connsiteY10" fmla="*/ 3809 h 11820"/>
                  <a:gd name="connsiteX0" fmla="*/ 3464 w 10441"/>
                  <a:gd name="connsiteY0" fmla="*/ 11820 h 11820"/>
                  <a:gd name="connsiteX1" fmla="*/ 1869 w 10441"/>
                  <a:gd name="connsiteY1" fmla="*/ 11312 h 11820"/>
                  <a:gd name="connsiteX2" fmla="*/ 3549 w 10441"/>
                  <a:gd name="connsiteY2" fmla="*/ 10563 h 11820"/>
                  <a:gd name="connsiteX3" fmla="*/ 0 w 10441"/>
                  <a:gd name="connsiteY3" fmla="*/ 8508 h 11820"/>
                  <a:gd name="connsiteX4" fmla="*/ 3942 w 10441"/>
                  <a:gd name="connsiteY4" fmla="*/ 8360 h 11820"/>
                  <a:gd name="connsiteX5" fmla="*/ 386 w 10441"/>
                  <a:gd name="connsiteY5" fmla="*/ 3904 h 11820"/>
                  <a:gd name="connsiteX6" fmla="*/ 5574 w 10441"/>
                  <a:gd name="connsiteY6" fmla="*/ 6046 h 11820"/>
                  <a:gd name="connsiteX7" fmla="*/ 4321 w 10441"/>
                  <a:gd name="connsiteY7" fmla="*/ 0 h 11820"/>
                  <a:gd name="connsiteX8" fmla="*/ 8064 w 10441"/>
                  <a:gd name="connsiteY8" fmla="*/ 4496 h 11820"/>
                  <a:gd name="connsiteX9" fmla="*/ 10386 w 10441"/>
                  <a:gd name="connsiteY9" fmla="*/ 1711 h 11820"/>
                  <a:gd name="connsiteX10" fmla="*/ 10432 w 10441"/>
                  <a:gd name="connsiteY10" fmla="*/ 3809 h 11820"/>
                  <a:gd name="connsiteX0" fmla="*/ 3464 w 10567"/>
                  <a:gd name="connsiteY0" fmla="*/ 11820 h 11820"/>
                  <a:gd name="connsiteX1" fmla="*/ 1869 w 10567"/>
                  <a:gd name="connsiteY1" fmla="*/ 11312 h 11820"/>
                  <a:gd name="connsiteX2" fmla="*/ 3549 w 10567"/>
                  <a:gd name="connsiteY2" fmla="*/ 10563 h 11820"/>
                  <a:gd name="connsiteX3" fmla="*/ 0 w 10567"/>
                  <a:gd name="connsiteY3" fmla="*/ 8508 h 11820"/>
                  <a:gd name="connsiteX4" fmla="*/ 3942 w 10567"/>
                  <a:gd name="connsiteY4" fmla="*/ 8360 h 11820"/>
                  <a:gd name="connsiteX5" fmla="*/ 386 w 10567"/>
                  <a:gd name="connsiteY5" fmla="*/ 3904 h 11820"/>
                  <a:gd name="connsiteX6" fmla="*/ 5574 w 10567"/>
                  <a:gd name="connsiteY6" fmla="*/ 6046 h 11820"/>
                  <a:gd name="connsiteX7" fmla="*/ 4321 w 10567"/>
                  <a:gd name="connsiteY7" fmla="*/ 0 h 11820"/>
                  <a:gd name="connsiteX8" fmla="*/ 8064 w 10567"/>
                  <a:gd name="connsiteY8" fmla="*/ 4496 h 11820"/>
                  <a:gd name="connsiteX9" fmla="*/ 10386 w 10567"/>
                  <a:gd name="connsiteY9" fmla="*/ 1711 h 11820"/>
                  <a:gd name="connsiteX10" fmla="*/ 10562 w 10567"/>
                  <a:gd name="connsiteY10" fmla="*/ 4023 h 11820"/>
                  <a:gd name="connsiteX0" fmla="*/ 3464 w 10564"/>
                  <a:gd name="connsiteY0" fmla="*/ 11820 h 11820"/>
                  <a:gd name="connsiteX1" fmla="*/ 1869 w 10564"/>
                  <a:gd name="connsiteY1" fmla="*/ 11312 h 11820"/>
                  <a:gd name="connsiteX2" fmla="*/ 3549 w 10564"/>
                  <a:gd name="connsiteY2" fmla="*/ 10563 h 11820"/>
                  <a:gd name="connsiteX3" fmla="*/ 0 w 10564"/>
                  <a:gd name="connsiteY3" fmla="*/ 8508 h 11820"/>
                  <a:gd name="connsiteX4" fmla="*/ 3942 w 10564"/>
                  <a:gd name="connsiteY4" fmla="*/ 8360 h 11820"/>
                  <a:gd name="connsiteX5" fmla="*/ 386 w 10564"/>
                  <a:gd name="connsiteY5" fmla="*/ 3904 h 11820"/>
                  <a:gd name="connsiteX6" fmla="*/ 5574 w 10564"/>
                  <a:gd name="connsiteY6" fmla="*/ 6046 h 11820"/>
                  <a:gd name="connsiteX7" fmla="*/ 4321 w 10564"/>
                  <a:gd name="connsiteY7" fmla="*/ 0 h 11820"/>
                  <a:gd name="connsiteX8" fmla="*/ 8064 w 10564"/>
                  <a:gd name="connsiteY8" fmla="*/ 4496 h 11820"/>
                  <a:gd name="connsiteX9" fmla="*/ 9928 w 10564"/>
                  <a:gd name="connsiteY9" fmla="*/ 2069 h 11820"/>
                  <a:gd name="connsiteX10" fmla="*/ 10562 w 10564"/>
                  <a:gd name="connsiteY10" fmla="*/ 4023 h 11820"/>
                  <a:gd name="connsiteX0" fmla="*/ 3464 w 10565"/>
                  <a:gd name="connsiteY0" fmla="*/ 11820 h 11820"/>
                  <a:gd name="connsiteX1" fmla="*/ 1869 w 10565"/>
                  <a:gd name="connsiteY1" fmla="*/ 11312 h 11820"/>
                  <a:gd name="connsiteX2" fmla="*/ 3549 w 10565"/>
                  <a:gd name="connsiteY2" fmla="*/ 10563 h 11820"/>
                  <a:gd name="connsiteX3" fmla="*/ 0 w 10565"/>
                  <a:gd name="connsiteY3" fmla="*/ 8508 h 11820"/>
                  <a:gd name="connsiteX4" fmla="*/ 3942 w 10565"/>
                  <a:gd name="connsiteY4" fmla="*/ 8360 h 11820"/>
                  <a:gd name="connsiteX5" fmla="*/ 386 w 10565"/>
                  <a:gd name="connsiteY5" fmla="*/ 3904 h 11820"/>
                  <a:gd name="connsiteX6" fmla="*/ 5574 w 10565"/>
                  <a:gd name="connsiteY6" fmla="*/ 6046 h 11820"/>
                  <a:gd name="connsiteX7" fmla="*/ 4321 w 10565"/>
                  <a:gd name="connsiteY7" fmla="*/ 0 h 11820"/>
                  <a:gd name="connsiteX8" fmla="*/ 8064 w 10565"/>
                  <a:gd name="connsiteY8" fmla="*/ 4496 h 11820"/>
                  <a:gd name="connsiteX9" fmla="*/ 9928 w 10565"/>
                  <a:gd name="connsiteY9" fmla="*/ 2069 h 11820"/>
                  <a:gd name="connsiteX10" fmla="*/ 10562 w 10565"/>
                  <a:gd name="connsiteY10" fmla="*/ 4023 h 11820"/>
                  <a:gd name="connsiteX0" fmla="*/ 3464 w 10562"/>
                  <a:gd name="connsiteY0" fmla="*/ 11820 h 11820"/>
                  <a:gd name="connsiteX1" fmla="*/ 1869 w 10562"/>
                  <a:gd name="connsiteY1" fmla="*/ 11312 h 11820"/>
                  <a:gd name="connsiteX2" fmla="*/ 3549 w 10562"/>
                  <a:gd name="connsiteY2" fmla="*/ 10563 h 11820"/>
                  <a:gd name="connsiteX3" fmla="*/ 0 w 10562"/>
                  <a:gd name="connsiteY3" fmla="*/ 8508 h 11820"/>
                  <a:gd name="connsiteX4" fmla="*/ 3942 w 10562"/>
                  <a:gd name="connsiteY4" fmla="*/ 8360 h 11820"/>
                  <a:gd name="connsiteX5" fmla="*/ 386 w 10562"/>
                  <a:gd name="connsiteY5" fmla="*/ 3904 h 11820"/>
                  <a:gd name="connsiteX6" fmla="*/ 5574 w 10562"/>
                  <a:gd name="connsiteY6" fmla="*/ 6046 h 11820"/>
                  <a:gd name="connsiteX7" fmla="*/ 4321 w 10562"/>
                  <a:gd name="connsiteY7" fmla="*/ 0 h 11820"/>
                  <a:gd name="connsiteX8" fmla="*/ 8064 w 10562"/>
                  <a:gd name="connsiteY8" fmla="*/ 4496 h 11820"/>
                  <a:gd name="connsiteX9" fmla="*/ 9928 w 10562"/>
                  <a:gd name="connsiteY9" fmla="*/ 2069 h 11820"/>
                  <a:gd name="connsiteX10" fmla="*/ 10562 w 10562"/>
                  <a:gd name="connsiteY10" fmla="*/ 4023 h 11820"/>
                  <a:gd name="connsiteX0" fmla="*/ 3464 w 10362"/>
                  <a:gd name="connsiteY0" fmla="*/ 11820 h 11820"/>
                  <a:gd name="connsiteX1" fmla="*/ 1869 w 10362"/>
                  <a:gd name="connsiteY1" fmla="*/ 11312 h 11820"/>
                  <a:gd name="connsiteX2" fmla="*/ 3549 w 10362"/>
                  <a:gd name="connsiteY2" fmla="*/ 10563 h 11820"/>
                  <a:gd name="connsiteX3" fmla="*/ 0 w 10362"/>
                  <a:gd name="connsiteY3" fmla="*/ 8508 h 11820"/>
                  <a:gd name="connsiteX4" fmla="*/ 3942 w 10362"/>
                  <a:gd name="connsiteY4" fmla="*/ 8360 h 11820"/>
                  <a:gd name="connsiteX5" fmla="*/ 386 w 10362"/>
                  <a:gd name="connsiteY5" fmla="*/ 3904 h 11820"/>
                  <a:gd name="connsiteX6" fmla="*/ 5574 w 10362"/>
                  <a:gd name="connsiteY6" fmla="*/ 6046 h 11820"/>
                  <a:gd name="connsiteX7" fmla="*/ 4321 w 10362"/>
                  <a:gd name="connsiteY7" fmla="*/ 0 h 11820"/>
                  <a:gd name="connsiteX8" fmla="*/ 8064 w 10362"/>
                  <a:gd name="connsiteY8" fmla="*/ 4496 h 11820"/>
                  <a:gd name="connsiteX9" fmla="*/ 9928 w 10362"/>
                  <a:gd name="connsiteY9" fmla="*/ 2069 h 11820"/>
                  <a:gd name="connsiteX10" fmla="*/ 10362 w 10362"/>
                  <a:gd name="connsiteY10" fmla="*/ 4160 h 11820"/>
                  <a:gd name="connsiteX0" fmla="*/ 3464 w 10362"/>
                  <a:gd name="connsiteY0" fmla="*/ 11820 h 11820"/>
                  <a:gd name="connsiteX1" fmla="*/ 1869 w 10362"/>
                  <a:gd name="connsiteY1" fmla="*/ 11312 h 11820"/>
                  <a:gd name="connsiteX2" fmla="*/ 3549 w 10362"/>
                  <a:gd name="connsiteY2" fmla="*/ 10563 h 11820"/>
                  <a:gd name="connsiteX3" fmla="*/ 0 w 10362"/>
                  <a:gd name="connsiteY3" fmla="*/ 8508 h 11820"/>
                  <a:gd name="connsiteX4" fmla="*/ 3942 w 10362"/>
                  <a:gd name="connsiteY4" fmla="*/ 8360 h 11820"/>
                  <a:gd name="connsiteX5" fmla="*/ 2112 w 10362"/>
                  <a:gd name="connsiteY5" fmla="*/ 5317 h 11820"/>
                  <a:gd name="connsiteX6" fmla="*/ 5574 w 10362"/>
                  <a:gd name="connsiteY6" fmla="*/ 6046 h 11820"/>
                  <a:gd name="connsiteX7" fmla="*/ 4321 w 10362"/>
                  <a:gd name="connsiteY7" fmla="*/ 0 h 11820"/>
                  <a:gd name="connsiteX8" fmla="*/ 8064 w 10362"/>
                  <a:gd name="connsiteY8" fmla="*/ 4496 h 11820"/>
                  <a:gd name="connsiteX9" fmla="*/ 9928 w 10362"/>
                  <a:gd name="connsiteY9" fmla="*/ 2069 h 11820"/>
                  <a:gd name="connsiteX10" fmla="*/ 10362 w 10362"/>
                  <a:gd name="connsiteY10" fmla="*/ 4160 h 11820"/>
                  <a:gd name="connsiteX0" fmla="*/ 3464 w 10362"/>
                  <a:gd name="connsiteY0" fmla="*/ 11820 h 11820"/>
                  <a:gd name="connsiteX1" fmla="*/ 1869 w 10362"/>
                  <a:gd name="connsiteY1" fmla="*/ 11312 h 11820"/>
                  <a:gd name="connsiteX2" fmla="*/ 3549 w 10362"/>
                  <a:gd name="connsiteY2" fmla="*/ 10563 h 11820"/>
                  <a:gd name="connsiteX3" fmla="*/ 0 w 10362"/>
                  <a:gd name="connsiteY3" fmla="*/ 8508 h 11820"/>
                  <a:gd name="connsiteX4" fmla="*/ 3942 w 10362"/>
                  <a:gd name="connsiteY4" fmla="*/ 8360 h 11820"/>
                  <a:gd name="connsiteX5" fmla="*/ 1619 w 10362"/>
                  <a:gd name="connsiteY5" fmla="*/ 4861 h 11820"/>
                  <a:gd name="connsiteX6" fmla="*/ 5574 w 10362"/>
                  <a:gd name="connsiteY6" fmla="*/ 6046 h 11820"/>
                  <a:gd name="connsiteX7" fmla="*/ 4321 w 10362"/>
                  <a:gd name="connsiteY7" fmla="*/ 0 h 11820"/>
                  <a:gd name="connsiteX8" fmla="*/ 8064 w 10362"/>
                  <a:gd name="connsiteY8" fmla="*/ 4496 h 11820"/>
                  <a:gd name="connsiteX9" fmla="*/ 9928 w 10362"/>
                  <a:gd name="connsiteY9" fmla="*/ 2069 h 11820"/>
                  <a:gd name="connsiteX10" fmla="*/ 10362 w 10362"/>
                  <a:gd name="connsiteY10" fmla="*/ 4160 h 11820"/>
                  <a:gd name="connsiteX0" fmla="*/ 3464 w 10362"/>
                  <a:gd name="connsiteY0" fmla="*/ 11106 h 11106"/>
                  <a:gd name="connsiteX1" fmla="*/ 1869 w 10362"/>
                  <a:gd name="connsiteY1" fmla="*/ 10598 h 11106"/>
                  <a:gd name="connsiteX2" fmla="*/ 3549 w 10362"/>
                  <a:gd name="connsiteY2" fmla="*/ 9849 h 11106"/>
                  <a:gd name="connsiteX3" fmla="*/ 0 w 10362"/>
                  <a:gd name="connsiteY3" fmla="*/ 7794 h 11106"/>
                  <a:gd name="connsiteX4" fmla="*/ 3942 w 10362"/>
                  <a:gd name="connsiteY4" fmla="*/ 7646 h 11106"/>
                  <a:gd name="connsiteX5" fmla="*/ 1619 w 10362"/>
                  <a:gd name="connsiteY5" fmla="*/ 4147 h 11106"/>
                  <a:gd name="connsiteX6" fmla="*/ 5574 w 10362"/>
                  <a:gd name="connsiteY6" fmla="*/ 5332 h 11106"/>
                  <a:gd name="connsiteX7" fmla="*/ 4584 w 10362"/>
                  <a:gd name="connsiteY7" fmla="*/ 0 h 11106"/>
                  <a:gd name="connsiteX8" fmla="*/ 8064 w 10362"/>
                  <a:gd name="connsiteY8" fmla="*/ 3782 h 11106"/>
                  <a:gd name="connsiteX9" fmla="*/ 9928 w 10362"/>
                  <a:gd name="connsiteY9" fmla="*/ 1355 h 11106"/>
                  <a:gd name="connsiteX10" fmla="*/ 10362 w 10362"/>
                  <a:gd name="connsiteY10" fmla="*/ 3446 h 11106"/>
                  <a:gd name="connsiteX0" fmla="*/ 3566 w 10362"/>
                  <a:gd name="connsiteY0" fmla="*/ 11727 h 11727"/>
                  <a:gd name="connsiteX1" fmla="*/ 1869 w 10362"/>
                  <a:gd name="connsiteY1" fmla="*/ 10598 h 11727"/>
                  <a:gd name="connsiteX2" fmla="*/ 3549 w 10362"/>
                  <a:gd name="connsiteY2" fmla="*/ 9849 h 11727"/>
                  <a:gd name="connsiteX3" fmla="*/ 0 w 10362"/>
                  <a:gd name="connsiteY3" fmla="*/ 7794 h 11727"/>
                  <a:gd name="connsiteX4" fmla="*/ 3942 w 10362"/>
                  <a:gd name="connsiteY4" fmla="*/ 7646 h 11727"/>
                  <a:gd name="connsiteX5" fmla="*/ 1619 w 10362"/>
                  <a:gd name="connsiteY5" fmla="*/ 4147 h 11727"/>
                  <a:gd name="connsiteX6" fmla="*/ 5574 w 10362"/>
                  <a:gd name="connsiteY6" fmla="*/ 5332 h 11727"/>
                  <a:gd name="connsiteX7" fmla="*/ 4584 w 10362"/>
                  <a:gd name="connsiteY7" fmla="*/ 0 h 11727"/>
                  <a:gd name="connsiteX8" fmla="*/ 8064 w 10362"/>
                  <a:gd name="connsiteY8" fmla="*/ 3782 h 11727"/>
                  <a:gd name="connsiteX9" fmla="*/ 9928 w 10362"/>
                  <a:gd name="connsiteY9" fmla="*/ 1355 h 11727"/>
                  <a:gd name="connsiteX10" fmla="*/ 10362 w 10362"/>
                  <a:gd name="connsiteY10" fmla="*/ 3446 h 11727"/>
                  <a:gd name="connsiteX0" fmla="*/ 3522 w 10362"/>
                  <a:gd name="connsiteY0" fmla="*/ 11244 h 11244"/>
                  <a:gd name="connsiteX1" fmla="*/ 1869 w 10362"/>
                  <a:gd name="connsiteY1" fmla="*/ 10598 h 11244"/>
                  <a:gd name="connsiteX2" fmla="*/ 3549 w 10362"/>
                  <a:gd name="connsiteY2" fmla="*/ 9849 h 11244"/>
                  <a:gd name="connsiteX3" fmla="*/ 0 w 10362"/>
                  <a:gd name="connsiteY3" fmla="*/ 7794 h 11244"/>
                  <a:gd name="connsiteX4" fmla="*/ 3942 w 10362"/>
                  <a:gd name="connsiteY4" fmla="*/ 7646 h 11244"/>
                  <a:gd name="connsiteX5" fmla="*/ 1619 w 10362"/>
                  <a:gd name="connsiteY5" fmla="*/ 4147 h 11244"/>
                  <a:gd name="connsiteX6" fmla="*/ 5574 w 10362"/>
                  <a:gd name="connsiteY6" fmla="*/ 5332 h 11244"/>
                  <a:gd name="connsiteX7" fmla="*/ 4584 w 10362"/>
                  <a:gd name="connsiteY7" fmla="*/ 0 h 11244"/>
                  <a:gd name="connsiteX8" fmla="*/ 8064 w 10362"/>
                  <a:gd name="connsiteY8" fmla="*/ 3782 h 11244"/>
                  <a:gd name="connsiteX9" fmla="*/ 9928 w 10362"/>
                  <a:gd name="connsiteY9" fmla="*/ 1355 h 11244"/>
                  <a:gd name="connsiteX10" fmla="*/ 10362 w 10362"/>
                  <a:gd name="connsiteY10" fmla="*/ 3446 h 1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62" h="11244">
                    <a:moveTo>
                      <a:pt x="3522" y="11244"/>
                    </a:moveTo>
                    <a:lnTo>
                      <a:pt x="1869" y="10598"/>
                    </a:lnTo>
                    <a:lnTo>
                      <a:pt x="3549" y="9849"/>
                    </a:lnTo>
                    <a:lnTo>
                      <a:pt x="0" y="7794"/>
                    </a:lnTo>
                    <a:lnTo>
                      <a:pt x="3942" y="7646"/>
                    </a:lnTo>
                    <a:lnTo>
                      <a:pt x="1619" y="4147"/>
                    </a:lnTo>
                    <a:lnTo>
                      <a:pt x="5574" y="5332"/>
                    </a:lnTo>
                    <a:lnTo>
                      <a:pt x="4584" y="0"/>
                    </a:lnTo>
                    <a:lnTo>
                      <a:pt x="8064" y="3782"/>
                    </a:lnTo>
                    <a:lnTo>
                      <a:pt x="9928" y="1355"/>
                    </a:lnTo>
                    <a:cubicBezTo>
                      <a:pt x="10073" y="2052"/>
                      <a:pt x="10217" y="2749"/>
                      <a:pt x="10362" y="3446"/>
                    </a:cubicBez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97" name="Line 594">
                <a:extLst>
                  <a:ext uri="{FF2B5EF4-FFF2-40B4-BE49-F238E27FC236}">
                    <a16:creationId xmlns:a16="http://schemas.microsoft.com/office/drawing/2014/main" id="{F0B1BD93-72D7-439B-AB8B-22644C918F39}"/>
                  </a:ext>
                </a:extLst>
              </p:cNvPr>
              <p:cNvSpPr>
                <a:spLocks noChangeShapeType="1"/>
              </p:cNvSpPr>
              <p:nvPr/>
            </p:nvSpPr>
            <p:spPr bwMode="gray">
              <a:xfrm rot="18169347">
                <a:off x="11733052" y="4551454"/>
                <a:ext cx="0" cy="0"/>
              </a:xfrm>
              <a:prstGeom prst="lin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98" name="Freeform: Shape 97">
                <a:extLst>
                  <a:ext uri="{FF2B5EF4-FFF2-40B4-BE49-F238E27FC236}">
                    <a16:creationId xmlns:a16="http://schemas.microsoft.com/office/drawing/2014/main" id="{2EDC5A53-31A6-4110-88CD-6FC20BAFFA83}"/>
                  </a:ext>
                </a:extLst>
              </p:cNvPr>
              <p:cNvSpPr/>
              <p:nvPr/>
            </p:nvSpPr>
            <p:spPr bwMode="gray">
              <a:xfrm flipV="1">
                <a:off x="11772451" y="4378959"/>
                <a:ext cx="230542" cy="279583"/>
              </a:xfrm>
              <a:custGeom>
                <a:avLst/>
                <a:gdLst>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70163 w 321381"/>
                  <a:gd name="connsiteY5" fmla="*/ 8444 h 395810"/>
                  <a:gd name="connsiteX6" fmla="*/ 166021 w 321381"/>
                  <a:gd name="connsiteY6" fmla="*/ 0 h 395810"/>
                  <a:gd name="connsiteX7" fmla="*/ 160691 w 321381"/>
                  <a:gd name="connsiteY7" fmla="*/ 3041 h 395810"/>
                  <a:gd name="connsiteX8" fmla="*/ 155360 w 321381"/>
                  <a:gd name="connsiteY8" fmla="*/ 0 h 395810"/>
                  <a:gd name="connsiteX9" fmla="*/ 151218 w 321381"/>
                  <a:gd name="connsiteY9" fmla="*/ 8444 h 395810"/>
                  <a:gd name="connsiteX10" fmla="*/ 119662 w 321381"/>
                  <a:gd name="connsiteY10" fmla="*/ 26443 h 395810"/>
                  <a:gd name="connsiteX11" fmla="*/ 0 w 321381"/>
                  <a:gd name="connsiteY11" fmla="*/ 318980 h 395810"/>
                  <a:gd name="connsiteX12" fmla="*/ 160305 w 321381"/>
                  <a:gd name="connsiteY12"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70163 w 321381"/>
                  <a:gd name="connsiteY5" fmla="*/ 8444 h 395810"/>
                  <a:gd name="connsiteX6" fmla="*/ 166021 w 321381"/>
                  <a:gd name="connsiteY6" fmla="*/ 0 h 395810"/>
                  <a:gd name="connsiteX7" fmla="*/ 160691 w 321381"/>
                  <a:gd name="connsiteY7" fmla="*/ 3041 h 395810"/>
                  <a:gd name="connsiteX8" fmla="*/ 155360 w 321381"/>
                  <a:gd name="connsiteY8" fmla="*/ 0 h 395810"/>
                  <a:gd name="connsiteX9" fmla="*/ 119662 w 321381"/>
                  <a:gd name="connsiteY9" fmla="*/ 26443 h 395810"/>
                  <a:gd name="connsiteX10" fmla="*/ 0 w 321381"/>
                  <a:gd name="connsiteY10" fmla="*/ 318980 h 395810"/>
                  <a:gd name="connsiteX11" fmla="*/ 160305 w 321381"/>
                  <a:gd name="connsiteY11"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70163 w 321381"/>
                  <a:gd name="connsiteY5" fmla="*/ 8444 h 395810"/>
                  <a:gd name="connsiteX6" fmla="*/ 160691 w 321381"/>
                  <a:gd name="connsiteY6" fmla="*/ 3041 h 395810"/>
                  <a:gd name="connsiteX7" fmla="*/ 155360 w 321381"/>
                  <a:gd name="connsiteY7" fmla="*/ 0 h 395810"/>
                  <a:gd name="connsiteX8" fmla="*/ 119662 w 321381"/>
                  <a:gd name="connsiteY8" fmla="*/ 26443 h 395810"/>
                  <a:gd name="connsiteX9" fmla="*/ 0 w 321381"/>
                  <a:gd name="connsiteY9" fmla="*/ 318980 h 395810"/>
                  <a:gd name="connsiteX10" fmla="*/ 160305 w 321381"/>
                  <a:gd name="connsiteY10"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60691 w 321381"/>
                  <a:gd name="connsiteY5" fmla="*/ 3041 h 395810"/>
                  <a:gd name="connsiteX6" fmla="*/ 155360 w 321381"/>
                  <a:gd name="connsiteY6" fmla="*/ 0 h 395810"/>
                  <a:gd name="connsiteX7" fmla="*/ 119662 w 321381"/>
                  <a:gd name="connsiteY7" fmla="*/ 26443 h 395810"/>
                  <a:gd name="connsiteX8" fmla="*/ 0 w 321381"/>
                  <a:gd name="connsiteY8" fmla="*/ 318980 h 395810"/>
                  <a:gd name="connsiteX9" fmla="*/ 160305 w 321381"/>
                  <a:gd name="connsiteY9"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160691 w 321381"/>
                  <a:gd name="connsiteY4" fmla="*/ 3041 h 395810"/>
                  <a:gd name="connsiteX5" fmla="*/ 155360 w 321381"/>
                  <a:gd name="connsiteY5" fmla="*/ 0 h 395810"/>
                  <a:gd name="connsiteX6" fmla="*/ 119662 w 321381"/>
                  <a:gd name="connsiteY6" fmla="*/ 26443 h 395810"/>
                  <a:gd name="connsiteX7" fmla="*/ 0 w 321381"/>
                  <a:gd name="connsiteY7" fmla="*/ 318980 h 395810"/>
                  <a:gd name="connsiteX8" fmla="*/ 160305 w 321381"/>
                  <a:gd name="connsiteY8" fmla="*/ 395810 h 395810"/>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119662 w 321381"/>
                  <a:gd name="connsiteY5" fmla="*/ 23402 h 392769"/>
                  <a:gd name="connsiteX6" fmla="*/ 0 w 321381"/>
                  <a:gd name="connsiteY6" fmla="*/ 315939 h 392769"/>
                  <a:gd name="connsiteX7" fmla="*/ 160305 w 321381"/>
                  <a:gd name="connsiteY7"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0 w 321381"/>
                  <a:gd name="connsiteY0" fmla="*/ 31593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381" h="389746">
                    <a:moveTo>
                      <a:pt x="0" y="315939"/>
                    </a:moveTo>
                    <a:cubicBezTo>
                      <a:pt x="80010" y="319937"/>
                      <a:pt x="133845" y="376941"/>
                      <a:pt x="160691" y="389746"/>
                    </a:cubicBezTo>
                    <a:cubicBezTo>
                      <a:pt x="187584" y="372601"/>
                      <a:pt x="210891" y="327557"/>
                      <a:pt x="321381" y="315939"/>
                    </a:cubicBezTo>
                    <a:cubicBezTo>
                      <a:pt x="315602" y="178088"/>
                      <a:pt x="275991" y="41733"/>
                      <a:pt x="160691" y="0"/>
                    </a:cubicBezTo>
                    <a:cubicBezTo>
                      <a:pt x="65217" y="31018"/>
                      <a:pt x="5939" y="155381"/>
                      <a:pt x="0" y="315939"/>
                    </a:cubicBezTo>
                    <a:close/>
                  </a:path>
                </a:pathLst>
              </a:custGeom>
              <a:solidFill>
                <a:schemeClr val="bg1"/>
              </a:solidFill>
              <a:ln w="1905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de-DE" dirty="0" err="1"/>
              </a:p>
            </p:txBody>
          </p:sp>
        </p:grpSp>
        <p:sp>
          <p:nvSpPr>
            <p:cNvPr id="94" name="TextBox 93">
              <a:extLst>
                <a:ext uri="{FF2B5EF4-FFF2-40B4-BE49-F238E27FC236}">
                  <a16:creationId xmlns:a16="http://schemas.microsoft.com/office/drawing/2014/main" id="{218A324C-2E11-418F-892E-1BE623B60499}"/>
                </a:ext>
              </a:extLst>
            </p:cNvPr>
            <p:cNvSpPr txBox="1"/>
            <p:nvPr/>
          </p:nvSpPr>
          <p:spPr bwMode="gray">
            <a:xfrm>
              <a:off x="11233438"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Explosion proof </a:t>
              </a:r>
            </a:p>
          </p:txBody>
        </p:sp>
      </p:grpSp>
      <p:cxnSp>
        <p:nvCxnSpPr>
          <p:cNvPr id="99" name="Straight Connector 98">
            <a:extLst>
              <a:ext uri="{FF2B5EF4-FFF2-40B4-BE49-F238E27FC236}">
                <a16:creationId xmlns:a16="http://schemas.microsoft.com/office/drawing/2014/main" id="{613A8806-9451-45EE-8FF0-89CE270D415C}"/>
              </a:ext>
            </a:extLst>
          </p:cNvPr>
          <p:cNvCxnSpPr>
            <a:cxnSpLocks/>
          </p:cNvCxnSpPr>
          <p:nvPr/>
        </p:nvCxnSpPr>
        <p:spPr bwMode="gray">
          <a:xfrm>
            <a:off x="9648010" y="3686812"/>
            <a:ext cx="220525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8DFBCB4-3380-40C1-824A-651054159BF0}"/>
              </a:ext>
            </a:extLst>
          </p:cNvPr>
          <p:cNvCxnSpPr>
            <a:cxnSpLocks/>
          </p:cNvCxnSpPr>
          <p:nvPr/>
        </p:nvCxnSpPr>
        <p:spPr bwMode="gray">
          <a:xfrm>
            <a:off x="9648010" y="4762209"/>
            <a:ext cx="220525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55" name="AutoShape 6">
            <a:hlinkClick r:id="rId8" action="ppaction://hlinksldjump" highlightClick="1"/>
            <a:extLst>
              <a:ext uri="{FF2B5EF4-FFF2-40B4-BE49-F238E27FC236}">
                <a16:creationId xmlns:a16="http://schemas.microsoft.com/office/drawing/2014/main" id="{63C1A643-52FF-402B-B666-F666A8DE4390}"/>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
        <p:nvSpPr>
          <p:cNvPr id="57" name="TextBox 56">
            <a:extLst>
              <a:ext uri="{FF2B5EF4-FFF2-40B4-BE49-F238E27FC236}">
                <a16:creationId xmlns:a16="http://schemas.microsoft.com/office/drawing/2014/main" id="{CC12075B-D96B-411B-8850-1D58A27D3973}"/>
              </a:ext>
            </a:extLst>
          </p:cNvPr>
          <p:cNvSpPr txBox="1"/>
          <p:nvPr/>
        </p:nvSpPr>
        <p:spPr bwMode="gray">
          <a:xfrm>
            <a:off x="8622081" y="642837"/>
            <a:ext cx="2401785" cy="375827"/>
          </a:xfrm>
          <a:prstGeom prst="rect">
            <a:avLst/>
          </a:prstGeom>
          <a:noFill/>
        </p:spPr>
        <p:txBody>
          <a:bodyPr wrap="square" lIns="72000" tIns="72000" rIns="72000" bIns="72000" rtlCol="0">
            <a:noAutofit/>
          </a:bodyPr>
          <a:lstStyle/>
          <a:p>
            <a:pPr algn="r"/>
            <a:r>
              <a:rPr lang="en-US" sz="1400" b="1" dirty="0">
                <a:solidFill>
                  <a:schemeClr val="tx2"/>
                </a:solidFill>
              </a:rPr>
              <a:t>Back to previous section</a:t>
            </a:r>
          </a:p>
        </p:txBody>
      </p:sp>
    </p:spTree>
    <p:custDataLst>
      <p:tags r:id="rId1"/>
    </p:custDataLst>
    <p:extLst>
      <p:ext uri="{BB962C8B-B14F-4D97-AF65-F5344CB8AC3E}">
        <p14:creationId xmlns:p14="http://schemas.microsoft.com/office/powerpoint/2010/main" val="2495340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12">
            <a:extLst>
              <a:ext uri="{FF2B5EF4-FFF2-40B4-BE49-F238E27FC236}">
                <a16:creationId xmlns:a16="http://schemas.microsoft.com/office/drawing/2014/main" id="{417D51BC-34CE-4F91-94B1-50B651BBAFB2}"/>
              </a:ext>
            </a:extLst>
          </p:cNvPr>
          <p:cNvSpPr>
            <a:spLocks noGrp="1"/>
          </p:cNvSpPr>
          <p:nvPr>
            <p:ph type="ftr" sz="quarter" idx="15"/>
          </p:nvPr>
        </p:nvSpPr>
        <p:spPr bwMode="gray"/>
        <p:txBody>
          <a:bodyPr/>
          <a:lstStyle/>
          <a:p>
            <a:pPr lvl="8"/>
            <a:endParaRPr lang="en-US" dirty="0"/>
          </a:p>
        </p:txBody>
      </p:sp>
      <p:sp>
        <p:nvSpPr>
          <p:cNvPr id="52" name="Rectangle 51">
            <a:extLst>
              <a:ext uri="{FF2B5EF4-FFF2-40B4-BE49-F238E27FC236}">
                <a16:creationId xmlns:a16="http://schemas.microsoft.com/office/drawing/2014/main" id="{5BA9EF79-F52E-450D-82F5-E00DC44EAC94}"/>
              </a:ext>
            </a:extLst>
          </p:cNvPr>
          <p:cNvSpPr/>
          <p:nvPr/>
        </p:nvSpPr>
        <p:spPr bwMode="gray">
          <a:xfrm>
            <a:off x="336550" y="1931988"/>
            <a:ext cx="5601017" cy="31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de-DE" sz="1600" b="1" dirty="0">
                <a:solidFill>
                  <a:schemeClr val="bg1">
                    <a:lumMod val="50000"/>
                  </a:schemeClr>
                </a:solidFill>
              </a:rPr>
              <a:t>EL3060</a:t>
            </a:r>
          </a:p>
        </p:txBody>
      </p:sp>
      <p:sp>
        <p:nvSpPr>
          <p:cNvPr id="2" name="Titel 1">
            <a:extLst>
              <a:ext uri="{FF2B5EF4-FFF2-40B4-BE49-F238E27FC236}">
                <a16:creationId xmlns:a16="http://schemas.microsoft.com/office/drawing/2014/main" id="{04F0CD01-70F0-45AE-8F06-5F7545CEC57A}"/>
              </a:ext>
            </a:extLst>
          </p:cNvPr>
          <p:cNvSpPr>
            <a:spLocks noGrp="1"/>
          </p:cNvSpPr>
          <p:nvPr>
            <p:ph type="title"/>
          </p:nvPr>
        </p:nvSpPr>
        <p:spPr bwMode="gray"/>
        <p:txBody>
          <a:bodyPr/>
          <a:lstStyle/>
          <a:p>
            <a:r>
              <a:rPr lang="de-DE" altLang="de-DE" dirty="0"/>
              <a:t>Zone 1</a:t>
            </a:r>
            <a:endParaRPr lang="de-DE" dirty="0"/>
          </a:p>
        </p:txBody>
      </p:sp>
      <p:sp>
        <p:nvSpPr>
          <p:cNvPr id="15" name="Untertitel 14">
            <a:extLst>
              <a:ext uri="{FF2B5EF4-FFF2-40B4-BE49-F238E27FC236}">
                <a16:creationId xmlns:a16="http://schemas.microsoft.com/office/drawing/2014/main" id="{4E333C61-D2A4-48C9-B2D6-F215DB1362A6}"/>
              </a:ext>
            </a:extLst>
          </p:cNvPr>
          <p:cNvSpPr>
            <a:spLocks noGrp="1"/>
          </p:cNvSpPr>
          <p:nvPr>
            <p:ph type="subTitle" idx="13"/>
          </p:nvPr>
        </p:nvSpPr>
        <p:spPr bwMode="gray">
          <a:xfrm>
            <a:off x="332367" y="1085213"/>
            <a:ext cx="11520898" cy="504000"/>
          </a:xfrm>
        </p:spPr>
        <p:txBody>
          <a:bodyPr/>
          <a:lstStyle/>
          <a:p>
            <a:r>
              <a:rPr lang="de-DE" dirty="0"/>
              <a:t>Cat. 2G / EPL </a:t>
            </a:r>
            <a:r>
              <a:rPr lang="de-DE" dirty="0" err="1"/>
              <a:t>Gb</a:t>
            </a:r>
            <a:endParaRPr lang="de-DE" dirty="0"/>
          </a:p>
        </p:txBody>
      </p:sp>
      <p:sp>
        <p:nvSpPr>
          <p:cNvPr id="46" name="Inhaltsplatzhalter 16">
            <a:extLst>
              <a:ext uri="{FF2B5EF4-FFF2-40B4-BE49-F238E27FC236}">
                <a16:creationId xmlns:a16="http://schemas.microsoft.com/office/drawing/2014/main" id="{67F740D7-215A-4A6A-AAEA-124CBD557E92}"/>
              </a:ext>
            </a:extLst>
          </p:cNvPr>
          <p:cNvSpPr txBox="1">
            <a:spLocks/>
          </p:cNvSpPr>
          <p:nvPr/>
        </p:nvSpPr>
        <p:spPr bwMode="gray">
          <a:xfrm>
            <a:off x="333264" y="2317640"/>
            <a:ext cx="5605200" cy="3594475"/>
          </a:xfrm>
          <a:prstGeom prst="rect">
            <a:avLst/>
          </a:prstGeom>
        </p:spPr>
        <p:txBody>
          <a:bodyPr lIns="0" tIns="0" rIns="0" bIns="3600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400"/>
              </a:spcBef>
            </a:pPr>
            <a:r>
              <a:rPr lang="en-GB" altLang="de-DE" dirty="0"/>
              <a:t>Explosion proof design: Ex </a:t>
            </a:r>
            <a:r>
              <a:rPr lang="en-GB" altLang="de-DE" dirty="0" err="1"/>
              <a:t>db</a:t>
            </a:r>
            <a:r>
              <a:rPr lang="en-GB" altLang="de-DE" dirty="0"/>
              <a:t> </a:t>
            </a:r>
            <a:r>
              <a:rPr lang="en-GB" altLang="de-DE" dirty="0" err="1"/>
              <a:t>eb</a:t>
            </a:r>
            <a:r>
              <a:rPr lang="en-GB" altLang="de-DE" dirty="0"/>
              <a:t> IIC T4 Gb</a:t>
            </a:r>
          </a:p>
          <a:p>
            <a:pPr lvl="1">
              <a:spcBef>
                <a:spcPts val="400"/>
              </a:spcBef>
            </a:pPr>
            <a:r>
              <a:rPr lang="en-GB" altLang="de-DE" dirty="0"/>
              <a:t>Explosion proof design: Ex </a:t>
            </a:r>
            <a:r>
              <a:rPr lang="en-GB" altLang="de-DE" dirty="0" err="1"/>
              <a:t>db</a:t>
            </a:r>
            <a:r>
              <a:rPr lang="en-GB" altLang="de-DE" dirty="0"/>
              <a:t> IIC T4 Gb</a:t>
            </a:r>
          </a:p>
          <a:p>
            <a:pPr lvl="1">
              <a:spcBef>
                <a:spcPts val="400"/>
              </a:spcBef>
            </a:pPr>
            <a:r>
              <a:rPr lang="en-US" altLang="de-DE" dirty="0"/>
              <a:t>IIC classification, able for Acetylene-Hydrogen ambiances</a:t>
            </a:r>
          </a:p>
          <a:p>
            <a:pPr lvl="1">
              <a:spcBef>
                <a:spcPts val="400"/>
              </a:spcBef>
            </a:pPr>
            <a:r>
              <a:rPr lang="en-GB" altLang="de-DE" dirty="0"/>
              <a:t>Flammable or non flammable sample gas (Zone 1 gas)</a:t>
            </a:r>
            <a:r>
              <a:rPr lang="en-US" altLang="de-DE" dirty="0"/>
              <a:t> </a:t>
            </a:r>
            <a:endParaRPr lang="en-GB" altLang="de-DE" dirty="0"/>
          </a:p>
          <a:p>
            <a:pPr lvl="1">
              <a:spcBef>
                <a:spcPts val="400"/>
              </a:spcBef>
            </a:pPr>
            <a:r>
              <a:rPr lang="en-GB" altLang="de-DE" dirty="0"/>
              <a:t>Analyzer can be purged for corrosion protection</a:t>
            </a:r>
          </a:p>
          <a:p>
            <a:pPr lvl="1">
              <a:spcBef>
                <a:spcPts val="400"/>
              </a:spcBef>
            </a:pPr>
            <a:r>
              <a:rPr lang="en-GB" altLang="de-DE" dirty="0"/>
              <a:t>Uras26, Magnos28, Caldos25/27 </a:t>
            </a:r>
          </a:p>
          <a:p>
            <a:pPr lvl="1">
              <a:spcBef>
                <a:spcPts val="400"/>
              </a:spcBef>
            </a:pPr>
            <a:r>
              <a:rPr lang="en-GB" altLang="de-DE" dirty="0"/>
              <a:t>Combi-Analyzer System</a:t>
            </a:r>
          </a:p>
          <a:p>
            <a:pPr lvl="1">
              <a:spcBef>
                <a:spcPts val="400"/>
              </a:spcBef>
            </a:pPr>
            <a:r>
              <a:rPr lang="en-GB" altLang="de-DE" dirty="0"/>
              <a:t>Certified in accordance to: </a:t>
            </a:r>
          </a:p>
          <a:p>
            <a:pPr>
              <a:spcBef>
                <a:spcPts val="400"/>
              </a:spcBef>
            </a:pPr>
            <a:endParaRPr lang="de-DE" dirty="0"/>
          </a:p>
        </p:txBody>
      </p:sp>
      <p:cxnSp>
        <p:nvCxnSpPr>
          <p:cNvPr id="53" name="Straight Connector 52">
            <a:extLst>
              <a:ext uri="{FF2B5EF4-FFF2-40B4-BE49-F238E27FC236}">
                <a16:creationId xmlns:a16="http://schemas.microsoft.com/office/drawing/2014/main" id="{CBE02A83-1C2E-48C9-8109-F6467424B882}"/>
              </a:ext>
            </a:extLst>
          </p:cNvPr>
          <p:cNvCxnSpPr>
            <a:cxnSpLocks/>
          </p:cNvCxnSpPr>
          <p:nvPr/>
        </p:nvCxnSpPr>
        <p:spPr bwMode="gray">
          <a:xfrm flipH="1">
            <a:off x="336551" y="2247134"/>
            <a:ext cx="5601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e Placeholder 11">
            <a:extLst>
              <a:ext uri="{FF2B5EF4-FFF2-40B4-BE49-F238E27FC236}">
                <a16:creationId xmlns:a16="http://schemas.microsoft.com/office/drawing/2014/main" id="{82E2C33C-D29C-4840-8BE0-54796E78921E}"/>
              </a:ext>
            </a:extLst>
          </p:cNvPr>
          <p:cNvSpPr>
            <a:spLocks noGrp="1"/>
          </p:cNvSpPr>
          <p:nvPr>
            <p:ph type="dt" sz="half" idx="14"/>
          </p:nvPr>
        </p:nvSpPr>
        <p:spPr bwMode="gray"/>
        <p:txBody>
          <a:bodyPr/>
          <a:lstStyle/>
          <a:p>
            <a:fld id="{877D6D57-8251-4CE2-917B-543B77AA16A6}" type="datetime4">
              <a:rPr lang="en-US" smtClean="0"/>
              <a:t>September 8, 2019</a:t>
            </a:fld>
            <a:endParaRPr lang="en-US" dirty="0"/>
          </a:p>
        </p:txBody>
      </p:sp>
      <p:sp>
        <p:nvSpPr>
          <p:cNvPr id="14" name="Slide Number Placeholder 13">
            <a:extLst>
              <a:ext uri="{FF2B5EF4-FFF2-40B4-BE49-F238E27FC236}">
                <a16:creationId xmlns:a16="http://schemas.microsoft.com/office/drawing/2014/main" id="{803F58B2-0A0F-4BE7-9203-B5FAF911ADB2}"/>
              </a:ext>
            </a:extLst>
          </p:cNvPr>
          <p:cNvSpPr>
            <a:spLocks noGrp="1"/>
          </p:cNvSpPr>
          <p:nvPr>
            <p:ph type="sldNum" sz="quarter" idx="16"/>
          </p:nvPr>
        </p:nvSpPr>
        <p:spPr bwMode="gray"/>
        <p:txBody>
          <a:bodyPr/>
          <a:lstStyle/>
          <a:p>
            <a:r>
              <a:rPr lang="en-US"/>
              <a:t>Slide </a:t>
            </a:r>
            <a:fld id="{619F89D8-7AE3-494A-97F3-03D680869632}" type="slidenum">
              <a:rPr lang="en-US" smtClean="0"/>
              <a:pPr/>
              <a:t>113</a:t>
            </a:fld>
            <a:endParaRPr lang="en-US" dirty="0"/>
          </a:p>
        </p:txBody>
      </p:sp>
      <p:grpSp>
        <p:nvGrpSpPr>
          <p:cNvPr id="66" name="Group 65">
            <a:extLst>
              <a:ext uri="{FF2B5EF4-FFF2-40B4-BE49-F238E27FC236}">
                <a16:creationId xmlns:a16="http://schemas.microsoft.com/office/drawing/2014/main" id="{EC3C35CC-286A-409D-8E8D-D50EA3396A3F}"/>
              </a:ext>
            </a:extLst>
          </p:cNvPr>
          <p:cNvGrpSpPr/>
          <p:nvPr/>
        </p:nvGrpSpPr>
        <p:grpSpPr bwMode="gray">
          <a:xfrm>
            <a:off x="9648010" y="2247134"/>
            <a:ext cx="2205254" cy="1209137"/>
            <a:chOff x="4827270" y="3927475"/>
            <a:chExt cx="2537460" cy="1391285"/>
          </a:xfrm>
          <a:solidFill>
            <a:schemeClr val="bg1"/>
          </a:solidFill>
        </p:grpSpPr>
        <p:sp>
          <p:nvSpPr>
            <p:cNvPr id="67" name="Freeform: Shape 66">
              <a:extLst>
                <a:ext uri="{FF2B5EF4-FFF2-40B4-BE49-F238E27FC236}">
                  <a16:creationId xmlns:a16="http://schemas.microsoft.com/office/drawing/2014/main" id="{D6F00C3D-DC03-4B4F-8F85-B63A50ABBA68}"/>
                </a:ext>
              </a:extLst>
            </p:cNvPr>
            <p:cNvSpPr/>
            <p:nvPr/>
          </p:nvSpPr>
          <p:spPr bwMode="gray">
            <a:xfrm>
              <a:off x="4827270" y="3927475"/>
              <a:ext cx="2537460" cy="1268726"/>
            </a:xfrm>
            <a:custGeom>
              <a:avLst/>
              <a:gdLst>
                <a:gd name="connsiteX0" fmla="*/ 1465002 w 2930004"/>
                <a:gd name="connsiteY0" fmla="*/ 0 h 1464999"/>
                <a:gd name="connsiteX1" fmla="*/ 2930004 w 2930004"/>
                <a:gd name="connsiteY1" fmla="*/ 1464999 h 1464999"/>
                <a:gd name="connsiteX2" fmla="*/ 0 w 2930004"/>
                <a:gd name="connsiteY2" fmla="*/ 1464999 h 1464999"/>
                <a:gd name="connsiteX3" fmla="*/ 1465002 w 2930004"/>
                <a:gd name="connsiteY3" fmla="*/ 0 h 1464999"/>
              </a:gdLst>
              <a:ahLst/>
              <a:cxnLst>
                <a:cxn ang="0">
                  <a:pos x="connsiteX0" y="connsiteY0"/>
                </a:cxn>
                <a:cxn ang="0">
                  <a:pos x="connsiteX1" y="connsiteY1"/>
                </a:cxn>
                <a:cxn ang="0">
                  <a:pos x="connsiteX2" y="connsiteY2"/>
                </a:cxn>
                <a:cxn ang="0">
                  <a:pos x="connsiteX3" y="connsiteY3"/>
                </a:cxn>
              </a:cxnLst>
              <a:rect l="l" t="t" r="r" b="b"/>
              <a:pathLst>
                <a:path w="2930004" h="1464999">
                  <a:moveTo>
                    <a:pt x="1465002" y="0"/>
                  </a:moveTo>
                  <a:cubicBezTo>
                    <a:pt x="2274100" y="0"/>
                    <a:pt x="2930004" y="655902"/>
                    <a:pt x="2930004" y="1464999"/>
                  </a:cubicBezTo>
                  <a:lnTo>
                    <a:pt x="0" y="1464999"/>
                  </a:lnTo>
                  <a:cubicBezTo>
                    <a:pt x="0" y="655902"/>
                    <a:pt x="655904" y="0"/>
                    <a:pt x="1465002" y="0"/>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720000" numCol="1" spcCol="0" rtlCol="0" fromWordArt="0" anchor="ctr" anchorCtr="0" forceAA="0" compatLnSpc="1">
              <a:prstTxWarp prst="textNoShape">
                <a:avLst/>
              </a:prstTxWarp>
              <a:noAutofit/>
            </a:bodyPr>
            <a:lstStyle/>
            <a:p>
              <a:pPr algn="ctr"/>
              <a:r>
                <a:rPr lang="de-DE" sz="1000" dirty="0">
                  <a:solidFill>
                    <a:schemeClr val="accent2"/>
                  </a:solidFill>
                </a:rPr>
                <a:t>Zone 2</a:t>
              </a:r>
            </a:p>
          </p:txBody>
        </p:sp>
        <p:sp>
          <p:nvSpPr>
            <p:cNvPr id="68" name="Freeform: Shape 67">
              <a:extLst>
                <a:ext uri="{FF2B5EF4-FFF2-40B4-BE49-F238E27FC236}">
                  <a16:creationId xmlns:a16="http://schemas.microsoft.com/office/drawing/2014/main" id="{8A7761CD-CB8C-47F3-8CC4-818FEB931507}"/>
                </a:ext>
              </a:extLst>
            </p:cNvPr>
            <p:cNvSpPr/>
            <p:nvPr/>
          </p:nvSpPr>
          <p:spPr bwMode="gray">
            <a:xfrm>
              <a:off x="5246115" y="4346319"/>
              <a:ext cx="1699770" cy="849882"/>
            </a:xfrm>
            <a:custGeom>
              <a:avLst/>
              <a:gdLst>
                <a:gd name="connsiteX0" fmla="*/ 1465002 w 2930004"/>
                <a:gd name="connsiteY0" fmla="*/ 0 h 1464999"/>
                <a:gd name="connsiteX1" fmla="*/ 2930004 w 2930004"/>
                <a:gd name="connsiteY1" fmla="*/ 1464999 h 1464999"/>
                <a:gd name="connsiteX2" fmla="*/ 0 w 2930004"/>
                <a:gd name="connsiteY2" fmla="*/ 1464999 h 1464999"/>
                <a:gd name="connsiteX3" fmla="*/ 1465002 w 2930004"/>
                <a:gd name="connsiteY3" fmla="*/ 0 h 1464999"/>
              </a:gdLst>
              <a:ahLst/>
              <a:cxnLst>
                <a:cxn ang="0">
                  <a:pos x="connsiteX0" y="connsiteY0"/>
                </a:cxn>
                <a:cxn ang="0">
                  <a:pos x="connsiteX1" y="connsiteY1"/>
                </a:cxn>
                <a:cxn ang="0">
                  <a:pos x="connsiteX2" y="connsiteY2"/>
                </a:cxn>
                <a:cxn ang="0">
                  <a:pos x="connsiteX3" y="connsiteY3"/>
                </a:cxn>
              </a:cxnLst>
              <a:rect l="l" t="t" r="r" b="b"/>
              <a:pathLst>
                <a:path w="2930004" h="1464999">
                  <a:moveTo>
                    <a:pt x="1465002" y="0"/>
                  </a:moveTo>
                  <a:cubicBezTo>
                    <a:pt x="2274100" y="0"/>
                    <a:pt x="2930004" y="655902"/>
                    <a:pt x="2930004" y="1464999"/>
                  </a:cubicBezTo>
                  <a:lnTo>
                    <a:pt x="0" y="1464999"/>
                  </a:lnTo>
                  <a:cubicBezTo>
                    <a:pt x="0" y="655902"/>
                    <a:pt x="655904" y="0"/>
                    <a:pt x="1465002" y="0"/>
                  </a:cubicBezTo>
                  <a:close/>
                </a:path>
              </a:pathLst>
            </a:custGeom>
            <a:solidFill>
              <a:schemeClr val="bg2"/>
            </a:solidFill>
            <a:ln w="19050">
              <a:solidFill>
                <a:schemeClr val="accent2"/>
              </a:solidFill>
              <a:prstDash val="solid"/>
              <a:round/>
              <a:headEnd/>
              <a:tailEnd/>
            </a:ln>
            <a:extLst/>
          </p:spPr>
          <p:txBody>
            <a:bodyPr rot="0" spcFirstLastPara="0" vertOverflow="overflow" horzOverflow="overflow" vert="horz" wrap="square" lIns="0" tIns="0" rIns="0" bIns="432000" numCol="1" spcCol="0" rtlCol="0" fromWordArt="0" anchor="ctr" anchorCtr="0" forceAA="0" compatLnSpc="1">
              <a:prstTxWarp prst="textNoShape">
                <a:avLst/>
              </a:prstTxWarp>
              <a:noAutofit/>
            </a:bodyPr>
            <a:lstStyle/>
            <a:p>
              <a:pPr algn="ctr"/>
              <a:r>
                <a:rPr lang="de-DE" sz="1000" b="1" dirty="0">
                  <a:solidFill>
                    <a:schemeClr val="bg1"/>
                  </a:solidFill>
                </a:rPr>
                <a:t>Zone 1</a:t>
              </a:r>
            </a:p>
          </p:txBody>
        </p:sp>
        <p:sp>
          <p:nvSpPr>
            <p:cNvPr id="69" name="Rectangle 68">
              <a:extLst>
                <a:ext uri="{FF2B5EF4-FFF2-40B4-BE49-F238E27FC236}">
                  <a16:creationId xmlns:a16="http://schemas.microsoft.com/office/drawing/2014/main" id="{83D1ED34-75E0-4583-BA3E-CA9A446F913A}"/>
                </a:ext>
              </a:extLst>
            </p:cNvPr>
            <p:cNvSpPr/>
            <p:nvPr/>
          </p:nvSpPr>
          <p:spPr bwMode="gray">
            <a:xfrm>
              <a:off x="4827270" y="5196201"/>
              <a:ext cx="2537460" cy="122559"/>
            </a:xfrm>
            <a:prstGeom prst="rect">
              <a:avLst/>
            </a:prstGeom>
            <a:grpFill/>
            <a:ln w="19050">
              <a:solidFill>
                <a:schemeClr val="accent2"/>
              </a:solidFill>
              <a:prstDash val="solid"/>
              <a:round/>
              <a:headEnd/>
              <a:tailEnd/>
            </a:ln>
          </p:spPr>
          <p:txBody>
            <a:bodyPr rtlCol="0" anchor="ctr"/>
            <a:lstStyle/>
            <a:p>
              <a:pPr algn="ctr"/>
              <a:endParaRPr lang="de-DE" sz="1000" dirty="0" err="1">
                <a:solidFill>
                  <a:schemeClr val="accent2"/>
                </a:solidFill>
              </a:endParaRPr>
            </a:p>
          </p:txBody>
        </p:sp>
        <p:sp>
          <p:nvSpPr>
            <p:cNvPr id="70" name="Rectangle 69">
              <a:extLst>
                <a:ext uri="{FF2B5EF4-FFF2-40B4-BE49-F238E27FC236}">
                  <a16:creationId xmlns:a16="http://schemas.microsoft.com/office/drawing/2014/main" id="{BD852CD5-8F12-4BBD-9B9D-FBF5CAA89009}"/>
                </a:ext>
              </a:extLst>
            </p:cNvPr>
            <p:cNvSpPr/>
            <p:nvPr/>
          </p:nvSpPr>
          <p:spPr bwMode="gray">
            <a:xfrm>
              <a:off x="5246115" y="5196201"/>
              <a:ext cx="1699770" cy="122559"/>
            </a:xfrm>
            <a:prstGeom prst="rect">
              <a:avLst/>
            </a:prstGeom>
            <a:pattFill prst="wdUpDiag">
              <a:fgClr>
                <a:schemeClr val="accent2"/>
              </a:fgClr>
              <a:bgClr>
                <a:schemeClr val="bg1"/>
              </a:bgClr>
            </a:pattFill>
            <a:ln w="19050">
              <a:solidFill>
                <a:schemeClr val="accent2"/>
              </a:solidFill>
              <a:prstDash val="solid"/>
              <a:round/>
              <a:headEnd/>
              <a:tailEnd/>
            </a:ln>
          </p:spPr>
          <p:txBody>
            <a:bodyPr rtlCol="0" anchor="ctr"/>
            <a:lstStyle/>
            <a:p>
              <a:pPr algn="ctr"/>
              <a:endParaRPr lang="de-DE" sz="1000" dirty="0" err="1"/>
            </a:p>
          </p:txBody>
        </p:sp>
        <p:grpSp>
          <p:nvGrpSpPr>
            <p:cNvPr id="71" name="Group 70">
              <a:extLst>
                <a:ext uri="{FF2B5EF4-FFF2-40B4-BE49-F238E27FC236}">
                  <a16:creationId xmlns:a16="http://schemas.microsoft.com/office/drawing/2014/main" id="{F5B8CE80-C473-4DF0-84FF-FF68B3961FF3}"/>
                </a:ext>
              </a:extLst>
            </p:cNvPr>
            <p:cNvGrpSpPr/>
            <p:nvPr/>
          </p:nvGrpSpPr>
          <p:grpSpPr bwMode="gray">
            <a:xfrm>
              <a:off x="5535274" y="4652774"/>
              <a:ext cx="1124606" cy="543427"/>
              <a:chOff x="5512563" y="4652774"/>
              <a:chExt cx="1170027" cy="543427"/>
            </a:xfrm>
            <a:grpFill/>
          </p:grpSpPr>
          <p:grpSp>
            <p:nvGrpSpPr>
              <p:cNvPr id="72" name="Group 71">
                <a:extLst>
                  <a:ext uri="{FF2B5EF4-FFF2-40B4-BE49-F238E27FC236}">
                    <a16:creationId xmlns:a16="http://schemas.microsoft.com/office/drawing/2014/main" id="{76A0D036-489E-4CE4-8562-FF22031A937E}"/>
                  </a:ext>
                </a:extLst>
              </p:cNvPr>
              <p:cNvGrpSpPr/>
              <p:nvPr/>
            </p:nvGrpSpPr>
            <p:grpSpPr bwMode="gray">
              <a:xfrm>
                <a:off x="5512563" y="4652774"/>
                <a:ext cx="1170027" cy="478026"/>
                <a:chOff x="3779250" y="4410034"/>
                <a:chExt cx="954292" cy="334935"/>
              </a:xfrm>
              <a:grpFill/>
            </p:grpSpPr>
            <p:sp>
              <p:nvSpPr>
                <p:cNvPr id="75" name="Freeform: Shape 74">
                  <a:extLst>
                    <a:ext uri="{FF2B5EF4-FFF2-40B4-BE49-F238E27FC236}">
                      <a16:creationId xmlns:a16="http://schemas.microsoft.com/office/drawing/2014/main" id="{B5DACF6D-D2DF-493D-825A-1E0E145C8FAA}"/>
                    </a:ext>
                  </a:extLst>
                </p:cNvPr>
                <p:cNvSpPr/>
                <p:nvPr/>
              </p:nvSpPr>
              <p:spPr bwMode="gray">
                <a:xfrm>
                  <a:off x="3779250" y="4410034"/>
                  <a:ext cx="954292" cy="213849"/>
                </a:xfrm>
                <a:custGeom>
                  <a:avLst/>
                  <a:gdLst>
                    <a:gd name="connsiteX0" fmla="*/ 141232 w 954292"/>
                    <a:gd name="connsiteY0" fmla="*/ 0 h 213849"/>
                    <a:gd name="connsiteX1" fmla="*/ 813060 w 954292"/>
                    <a:gd name="connsiteY1" fmla="*/ 0 h 213849"/>
                    <a:gd name="connsiteX2" fmla="*/ 954292 w 954292"/>
                    <a:gd name="connsiteY2" fmla="*/ 141232 h 213849"/>
                    <a:gd name="connsiteX3" fmla="*/ 954292 w 954292"/>
                    <a:gd name="connsiteY3" fmla="*/ 193703 h 213849"/>
                    <a:gd name="connsiteX4" fmla="*/ 950225 w 954292"/>
                    <a:gd name="connsiteY4" fmla="*/ 213849 h 213849"/>
                    <a:gd name="connsiteX5" fmla="*/ 4067 w 954292"/>
                    <a:gd name="connsiteY5" fmla="*/ 213849 h 213849"/>
                    <a:gd name="connsiteX6" fmla="*/ 0 w 954292"/>
                    <a:gd name="connsiteY6" fmla="*/ 193703 h 213849"/>
                    <a:gd name="connsiteX7" fmla="*/ 0 w 954292"/>
                    <a:gd name="connsiteY7" fmla="*/ 141232 h 213849"/>
                    <a:gd name="connsiteX8" fmla="*/ 141232 w 954292"/>
                    <a:gd name="connsiteY8" fmla="*/ 0 h 21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292" h="213849">
                      <a:moveTo>
                        <a:pt x="141232" y="0"/>
                      </a:moveTo>
                      <a:lnTo>
                        <a:pt x="813060" y="0"/>
                      </a:lnTo>
                      <a:cubicBezTo>
                        <a:pt x="891060" y="0"/>
                        <a:pt x="954292" y="63232"/>
                        <a:pt x="954292" y="141232"/>
                      </a:cubicBezTo>
                      <a:lnTo>
                        <a:pt x="954292" y="193703"/>
                      </a:lnTo>
                      <a:lnTo>
                        <a:pt x="950225" y="213849"/>
                      </a:lnTo>
                      <a:lnTo>
                        <a:pt x="4067" y="213849"/>
                      </a:lnTo>
                      <a:lnTo>
                        <a:pt x="0" y="193703"/>
                      </a:lnTo>
                      <a:lnTo>
                        <a:pt x="0" y="141232"/>
                      </a:lnTo>
                      <a:cubicBezTo>
                        <a:pt x="0" y="63232"/>
                        <a:pt x="63232" y="0"/>
                        <a:pt x="141232" y="0"/>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a:solidFill>
                        <a:schemeClr val="accent2"/>
                      </a:solidFill>
                    </a:rPr>
                    <a:t>Zone 0</a:t>
                  </a:r>
                </a:p>
              </p:txBody>
            </p:sp>
            <p:sp>
              <p:nvSpPr>
                <p:cNvPr id="76" name="Freeform: Shape 75">
                  <a:extLst>
                    <a:ext uri="{FF2B5EF4-FFF2-40B4-BE49-F238E27FC236}">
                      <a16:creationId xmlns:a16="http://schemas.microsoft.com/office/drawing/2014/main" id="{B78F71A8-106E-4DF5-81C9-2035B6F71A06}"/>
                    </a:ext>
                  </a:extLst>
                </p:cNvPr>
                <p:cNvSpPr/>
                <p:nvPr/>
              </p:nvSpPr>
              <p:spPr bwMode="gray">
                <a:xfrm>
                  <a:off x="3783316" y="4623883"/>
                  <a:ext cx="946157" cy="121086"/>
                </a:xfrm>
                <a:custGeom>
                  <a:avLst/>
                  <a:gdLst>
                    <a:gd name="connsiteX0" fmla="*/ 0 w 946157"/>
                    <a:gd name="connsiteY0" fmla="*/ 0 h 121086"/>
                    <a:gd name="connsiteX1" fmla="*/ 946157 w 946157"/>
                    <a:gd name="connsiteY1" fmla="*/ 0 h 121086"/>
                    <a:gd name="connsiteX2" fmla="*/ 939125 w 946157"/>
                    <a:gd name="connsiteY2" fmla="*/ 34828 h 121086"/>
                    <a:gd name="connsiteX3" fmla="*/ 808992 w 946157"/>
                    <a:gd name="connsiteY3" fmla="*/ 121086 h 121086"/>
                    <a:gd name="connsiteX4" fmla="*/ 137164 w 946157"/>
                    <a:gd name="connsiteY4" fmla="*/ 121086 h 121086"/>
                    <a:gd name="connsiteX5" fmla="*/ 7031 w 946157"/>
                    <a:gd name="connsiteY5" fmla="*/ 34828 h 12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157" h="121086">
                      <a:moveTo>
                        <a:pt x="0" y="0"/>
                      </a:moveTo>
                      <a:lnTo>
                        <a:pt x="946157" y="0"/>
                      </a:lnTo>
                      <a:lnTo>
                        <a:pt x="939125" y="34828"/>
                      </a:lnTo>
                      <a:cubicBezTo>
                        <a:pt x="917685" y="85518"/>
                        <a:pt x="867492" y="121086"/>
                        <a:pt x="808992" y="121086"/>
                      </a:cubicBezTo>
                      <a:lnTo>
                        <a:pt x="137164" y="121086"/>
                      </a:lnTo>
                      <a:cubicBezTo>
                        <a:pt x="78664" y="121086"/>
                        <a:pt x="28471" y="85518"/>
                        <a:pt x="7031" y="34828"/>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000" dirty="0">
                    <a:solidFill>
                      <a:schemeClr val="accent2"/>
                    </a:solidFill>
                  </a:endParaRPr>
                </a:p>
              </p:txBody>
            </p:sp>
          </p:grpSp>
          <p:cxnSp>
            <p:nvCxnSpPr>
              <p:cNvPr id="73" name="Straight Connector 72">
                <a:extLst>
                  <a:ext uri="{FF2B5EF4-FFF2-40B4-BE49-F238E27FC236}">
                    <a16:creationId xmlns:a16="http://schemas.microsoft.com/office/drawing/2014/main" id="{00E0C7D4-F2EA-4B53-B10B-D07352945747}"/>
                  </a:ext>
                </a:extLst>
              </p:cNvPr>
              <p:cNvCxnSpPr>
                <a:cxnSpLocks/>
                <a:stCxn id="76" idx="4"/>
              </p:cNvCxnSpPr>
              <p:nvPr/>
            </p:nvCxnSpPr>
            <p:spPr bwMode="gray">
              <a:xfrm flipH="1">
                <a:off x="5685554" y="5130800"/>
                <a:ext cx="166" cy="65401"/>
              </a:xfrm>
              <a:prstGeom prst="line">
                <a:avLst/>
              </a:prstGeom>
              <a:grpFill/>
              <a:ln w="19050">
                <a:solidFill>
                  <a:schemeClr val="accent2"/>
                </a:solidFill>
                <a:prstDash val="solid"/>
                <a:round/>
                <a:headEnd/>
                <a:tailEnd/>
              </a:ln>
            </p:spPr>
          </p:cxnSp>
          <p:cxnSp>
            <p:nvCxnSpPr>
              <p:cNvPr id="74" name="Straight Connector 73">
                <a:extLst>
                  <a:ext uri="{FF2B5EF4-FFF2-40B4-BE49-F238E27FC236}">
                    <a16:creationId xmlns:a16="http://schemas.microsoft.com/office/drawing/2014/main" id="{0689B6AE-08AB-4ACC-B60D-299FBB509AA5}"/>
                  </a:ext>
                </a:extLst>
              </p:cNvPr>
              <p:cNvCxnSpPr>
                <a:cxnSpLocks/>
                <a:stCxn id="76" idx="3"/>
              </p:cNvCxnSpPr>
              <p:nvPr/>
            </p:nvCxnSpPr>
            <p:spPr bwMode="gray">
              <a:xfrm>
                <a:off x="6509427" y="5130800"/>
                <a:ext cx="0" cy="65401"/>
              </a:xfrm>
              <a:prstGeom prst="line">
                <a:avLst/>
              </a:prstGeom>
              <a:grpFill/>
              <a:ln w="19050">
                <a:solidFill>
                  <a:schemeClr val="accent2"/>
                </a:solidFill>
                <a:prstDash val="solid"/>
                <a:round/>
                <a:headEnd/>
                <a:tailEnd/>
              </a:ln>
            </p:spPr>
          </p:cxnSp>
        </p:grpSp>
      </p:grpSp>
      <p:grpSp>
        <p:nvGrpSpPr>
          <p:cNvPr id="88" name="Group 87">
            <a:extLst>
              <a:ext uri="{FF2B5EF4-FFF2-40B4-BE49-F238E27FC236}">
                <a16:creationId xmlns:a16="http://schemas.microsoft.com/office/drawing/2014/main" id="{672F266F-DEED-4F1F-8A4C-9E95FEC255A3}"/>
              </a:ext>
            </a:extLst>
          </p:cNvPr>
          <p:cNvGrpSpPr/>
          <p:nvPr/>
        </p:nvGrpSpPr>
        <p:grpSpPr bwMode="gray">
          <a:xfrm>
            <a:off x="2892680" y="4150538"/>
            <a:ext cx="2353662" cy="320103"/>
            <a:chOff x="805366" y="4680090"/>
            <a:chExt cx="3855598" cy="524370"/>
          </a:xfrm>
        </p:grpSpPr>
        <p:pic>
          <p:nvPicPr>
            <p:cNvPr id="89" name="Grafik 8">
              <a:extLst>
                <a:ext uri="{FF2B5EF4-FFF2-40B4-BE49-F238E27FC236}">
                  <a16:creationId xmlns:a16="http://schemas.microsoft.com/office/drawing/2014/main" id="{BFD6225A-A7E9-4842-A9E6-C881A8291CFD}"/>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805366" y="4730015"/>
              <a:ext cx="310007" cy="372876"/>
            </a:xfrm>
            <a:prstGeom prst="rect">
              <a:avLst/>
            </a:prstGeom>
            <a:noFill/>
            <a:ln w="9525">
              <a:noFill/>
              <a:miter lim="800000"/>
              <a:headEnd/>
              <a:tailEnd/>
            </a:ln>
          </p:spPr>
        </p:pic>
        <p:pic>
          <p:nvPicPr>
            <p:cNvPr id="91" name="Grafik 11">
              <a:extLst>
                <a:ext uri="{FF2B5EF4-FFF2-40B4-BE49-F238E27FC236}">
                  <a16:creationId xmlns:a16="http://schemas.microsoft.com/office/drawing/2014/main" id="{E1DC5000-D117-4391-93A3-2E7963E965D8}"/>
                </a:ext>
              </a:extLst>
            </p:cNvPr>
            <p:cNvPicPr>
              <a:picLocks noChangeAspect="1"/>
            </p:cNvPicPr>
            <p:nvPr/>
          </p:nvPicPr>
          <p:blipFill rotWithShape="1">
            <a:blip r:embed="rId5">
              <a:duotone>
                <a:schemeClr val="accent2">
                  <a:shade val="45000"/>
                  <a:satMod val="135000"/>
                </a:schemeClr>
                <a:prstClr val="white"/>
              </a:duotone>
              <a:extLst>
                <a:ext uri="{28A0092B-C50C-407E-A947-70E740481C1C}">
                  <a14:useLocalDpi xmlns:a14="http://schemas.microsoft.com/office/drawing/2010/main" val="0"/>
                </a:ext>
              </a:extLst>
            </a:blip>
            <a:srcRect b="14527"/>
            <a:stretch/>
          </p:blipFill>
          <p:spPr bwMode="gray">
            <a:xfrm>
              <a:off x="3064621" y="4730015"/>
              <a:ext cx="436135" cy="474445"/>
            </a:xfrm>
            <a:prstGeom prst="rect">
              <a:avLst/>
            </a:prstGeom>
            <a:noFill/>
            <a:ln w="9525">
              <a:noFill/>
              <a:miter lim="800000"/>
              <a:headEnd/>
              <a:tailEnd/>
            </a:ln>
          </p:spPr>
        </p:pic>
        <p:pic>
          <p:nvPicPr>
            <p:cNvPr id="92" name="Grafik 12">
              <a:extLst>
                <a:ext uri="{FF2B5EF4-FFF2-40B4-BE49-F238E27FC236}">
                  <a16:creationId xmlns:a16="http://schemas.microsoft.com/office/drawing/2014/main" id="{352229A6-FDD6-4080-85EB-1426D2AB2640}"/>
                </a:ext>
              </a:extLst>
            </p:cNvPr>
            <p:cNvPicPr>
              <a:picLocks noChangeAspect="1"/>
            </p:cNvPicPr>
            <p:nvPr/>
          </p:nvPicPr>
          <p:blipFill>
            <a:blip r:embed="rId6"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3668768" y="4720879"/>
              <a:ext cx="390364" cy="390364"/>
            </a:xfrm>
            <a:prstGeom prst="rect">
              <a:avLst/>
            </a:prstGeom>
            <a:noFill/>
            <a:ln w="9525">
              <a:noFill/>
              <a:miter lim="800000"/>
              <a:headEnd/>
              <a:tailEnd/>
            </a:ln>
          </p:spPr>
        </p:pic>
        <p:pic>
          <p:nvPicPr>
            <p:cNvPr id="93" name="Grafik 13">
              <a:extLst>
                <a:ext uri="{FF2B5EF4-FFF2-40B4-BE49-F238E27FC236}">
                  <a16:creationId xmlns:a16="http://schemas.microsoft.com/office/drawing/2014/main" id="{E088FE3C-EB78-4153-B92E-AA849FFF15AC}"/>
                </a:ext>
              </a:extLst>
            </p:cNvPr>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4257805" y="4714942"/>
              <a:ext cx="403159" cy="403157"/>
            </a:xfrm>
            <a:prstGeom prst="rect">
              <a:avLst/>
            </a:prstGeom>
            <a:noFill/>
            <a:ln w="9525">
              <a:noFill/>
              <a:miter lim="800000"/>
              <a:headEnd/>
              <a:tailEnd/>
            </a:ln>
          </p:spPr>
        </p:pic>
        <p:pic>
          <p:nvPicPr>
            <p:cNvPr id="94" name="Grafik 14">
              <a:extLst>
                <a:ext uri="{FF2B5EF4-FFF2-40B4-BE49-F238E27FC236}">
                  <a16:creationId xmlns:a16="http://schemas.microsoft.com/office/drawing/2014/main" id="{5DD49297-CC12-4261-9D35-BBE7FDBCD348}"/>
                </a:ext>
              </a:extLst>
            </p:cNvPr>
            <p:cNvPicPr>
              <a:picLocks noChangeAspect="1"/>
            </p:cNvPicPr>
            <p:nvPr/>
          </p:nvPicPr>
          <p:blipFill rotWithShape="1">
            <a:blip r:embed="rId8">
              <a:duotone>
                <a:schemeClr val="accent2">
                  <a:shade val="45000"/>
                  <a:satMod val="135000"/>
                </a:schemeClr>
                <a:prstClr val="white"/>
              </a:duotone>
              <a:extLst>
                <a:ext uri="{28A0092B-C50C-407E-A947-70E740481C1C}">
                  <a14:useLocalDpi xmlns:a14="http://schemas.microsoft.com/office/drawing/2010/main" val="0"/>
                </a:ext>
              </a:extLst>
            </a:blip>
            <a:srcRect l="22034" t="53210" r="24741"/>
            <a:stretch/>
          </p:blipFill>
          <p:spPr bwMode="gray">
            <a:xfrm>
              <a:off x="2077764" y="4680090"/>
              <a:ext cx="855718" cy="422800"/>
            </a:xfrm>
            <a:prstGeom prst="rect">
              <a:avLst/>
            </a:prstGeom>
            <a:noFill/>
            <a:ln w="9525">
              <a:noFill/>
              <a:miter lim="800000"/>
              <a:headEnd/>
              <a:tailEnd/>
            </a:ln>
          </p:spPr>
        </p:pic>
        <p:pic>
          <p:nvPicPr>
            <p:cNvPr id="95" name="Grafik 15">
              <a:extLst>
                <a:ext uri="{FF2B5EF4-FFF2-40B4-BE49-F238E27FC236}">
                  <a16:creationId xmlns:a16="http://schemas.microsoft.com/office/drawing/2014/main" id="{242D29DB-6DF7-47BD-BF83-6AD85423014E}"/>
                </a:ext>
              </a:extLst>
            </p:cNvPr>
            <p:cNvPicPr>
              <a:picLocks noChangeAspect="1"/>
            </p:cNvPicPr>
            <p:nvPr/>
          </p:nvPicPr>
          <p:blipFill>
            <a:blip r:embed="rId9">
              <a:duotone>
                <a:schemeClr val="accent2">
                  <a:shade val="45000"/>
                  <a:satMod val="135000"/>
                </a:schemeClr>
                <a:prstClr val="white"/>
              </a:duotone>
            </a:blip>
            <a:stretch>
              <a:fillRect/>
            </a:stretch>
          </p:blipFill>
          <p:spPr bwMode="gray">
            <a:xfrm>
              <a:off x="1414964" y="4719854"/>
              <a:ext cx="410550" cy="396634"/>
            </a:xfrm>
            <a:prstGeom prst="rect">
              <a:avLst/>
            </a:prstGeom>
            <a:noFill/>
            <a:ln w="9525">
              <a:noFill/>
              <a:miter lim="800000"/>
              <a:headEnd/>
              <a:tailEnd/>
            </a:ln>
          </p:spPr>
        </p:pic>
      </p:grpSp>
      <p:cxnSp>
        <p:nvCxnSpPr>
          <p:cNvPr id="324" name="Straight Connector 323">
            <a:extLst>
              <a:ext uri="{FF2B5EF4-FFF2-40B4-BE49-F238E27FC236}">
                <a16:creationId xmlns:a16="http://schemas.microsoft.com/office/drawing/2014/main" id="{42EB59B7-9376-469D-9276-83D6E07AFA14}"/>
              </a:ext>
            </a:extLst>
          </p:cNvPr>
          <p:cNvCxnSpPr>
            <a:cxnSpLocks/>
          </p:cNvCxnSpPr>
          <p:nvPr/>
        </p:nvCxnSpPr>
        <p:spPr bwMode="gray">
          <a:xfrm>
            <a:off x="9648010" y="3686812"/>
            <a:ext cx="220525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26" name="Group 325">
            <a:extLst>
              <a:ext uri="{FF2B5EF4-FFF2-40B4-BE49-F238E27FC236}">
                <a16:creationId xmlns:a16="http://schemas.microsoft.com/office/drawing/2014/main" id="{0F1814B8-2A6D-4AE8-B675-F0FB97B2A5AE}"/>
              </a:ext>
            </a:extLst>
          </p:cNvPr>
          <p:cNvGrpSpPr/>
          <p:nvPr/>
        </p:nvGrpSpPr>
        <p:grpSpPr bwMode="gray">
          <a:xfrm>
            <a:off x="10378658" y="3909838"/>
            <a:ext cx="743958" cy="714468"/>
            <a:chOff x="9592408" y="3757643"/>
            <a:chExt cx="743958" cy="714468"/>
          </a:xfrm>
        </p:grpSpPr>
        <p:sp>
          <p:nvSpPr>
            <p:cNvPr id="348" name="TextBox 347">
              <a:extLst>
                <a:ext uri="{FF2B5EF4-FFF2-40B4-BE49-F238E27FC236}">
                  <a16:creationId xmlns:a16="http://schemas.microsoft.com/office/drawing/2014/main" id="{1EFFD5D7-4ACB-4AC8-AEA1-05D031E3B03F}"/>
                </a:ext>
              </a:extLst>
            </p:cNvPr>
            <p:cNvSpPr txBox="1"/>
            <p:nvPr/>
          </p:nvSpPr>
          <p:spPr bwMode="gray">
            <a:xfrm>
              <a:off x="9592408"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Zone 1 gas</a:t>
              </a:r>
            </a:p>
          </p:txBody>
        </p:sp>
        <p:grpSp>
          <p:nvGrpSpPr>
            <p:cNvPr id="349" name="Group 348">
              <a:extLst>
                <a:ext uri="{FF2B5EF4-FFF2-40B4-BE49-F238E27FC236}">
                  <a16:creationId xmlns:a16="http://schemas.microsoft.com/office/drawing/2014/main" id="{6785730B-134D-4C4C-A03A-1EB264DE3EB4}"/>
                </a:ext>
              </a:extLst>
            </p:cNvPr>
            <p:cNvGrpSpPr/>
            <p:nvPr/>
          </p:nvGrpSpPr>
          <p:grpSpPr bwMode="gray">
            <a:xfrm>
              <a:off x="9847910" y="3757643"/>
              <a:ext cx="232954" cy="337148"/>
              <a:chOff x="4801097" y="3272685"/>
              <a:chExt cx="202720" cy="293391"/>
            </a:xfrm>
          </p:grpSpPr>
          <p:sp>
            <p:nvSpPr>
              <p:cNvPr id="350" name="Freeform 514">
                <a:extLst>
                  <a:ext uri="{FF2B5EF4-FFF2-40B4-BE49-F238E27FC236}">
                    <a16:creationId xmlns:a16="http://schemas.microsoft.com/office/drawing/2014/main" id="{05EBD242-DF02-4A63-83DB-B64514BD5714}"/>
                  </a:ext>
                </a:extLst>
              </p:cNvPr>
              <p:cNvSpPr>
                <a:spLocks/>
              </p:cNvSpPr>
              <p:nvPr/>
            </p:nvSpPr>
            <p:spPr bwMode="gray">
              <a:xfrm>
                <a:off x="4801097" y="3272685"/>
                <a:ext cx="202720" cy="293294"/>
              </a:xfrm>
              <a:custGeom>
                <a:avLst/>
                <a:gdLst>
                  <a:gd name="T0" fmla="*/ 57 w 139"/>
                  <a:gd name="T1" fmla="*/ 202 h 202"/>
                  <a:gd name="T2" fmla="*/ 57 w 139"/>
                  <a:gd name="T3" fmla="*/ 202 h 202"/>
                  <a:gd name="T4" fmla="*/ 51 w 139"/>
                  <a:gd name="T5" fmla="*/ 199 h 202"/>
                  <a:gd name="T6" fmla="*/ 40 w 139"/>
                  <a:gd name="T7" fmla="*/ 193 h 202"/>
                  <a:gd name="T8" fmla="*/ 27 w 139"/>
                  <a:gd name="T9" fmla="*/ 183 h 202"/>
                  <a:gd name="T10" fmla="*/ 21 w 139"/>
                  <a:gd name="T11" fmla="*/ 177 h 202"/>
                  <a:gd name="T12" fmla="*/ 15 w 139"/>
                  <a:gd name="T13" fmla="*/ 169 h 202"/>
                  <a:gd name="T14" fmla="*/ 9 w 139"/>
                  <a:gd name="T15" fmla="*/ 160 h 202"/>
                  <a:gd name="T16" fmla="*/ 4 w 139"/>
                  <a:gd name="T17" fmla="*/ 151 h 202"/>
                  <a:gd name="T18" fmla="*/ 1 w 139"/>
                  <a:gd name="T19" fmla="*/ 141 h 202"/>
                  <a:gd name="T20" fmla="*/ 0 w 139"/>
                  <a:gd name="T21" fmla="*/ 130 h 202"/>
                  <a:gd name="T22" fmla="*/ 1 w 139"/>
                  <a:gd name="T23" fmla="*/ 118 h 202"/>
                  <a:gd name="T24" fmla="*/ 4 w 139"/>
                  <a:gd name="T25" fmla="*/ 105 h 202"/>
                  <a:gd name="T26" fmla="*/ 12 w 139"/>
                  <a:gd name="T27" fmla="*/ 91 h 202"/>
                  <a:gd name="T28" fmla="*/ 22 w 139"/>
                  <a:gd name="T29" fmla="*/ 76 h 202"/>
                  <a:gd name="T30" fmla="*/ 22 w 139"/>
                  <a:gd name="T31" fmla="*/ 76 h 202"/>
                  <a:gd name="T32" fmla="*/ 27 w 139"/>
                  <a:gd name="T33" fmla="*/ 70 h 202"/>
                  <a:gd name="T34" fmla="*/ 36 w 139"/>
                  <a:gd name="T35" fmla="*/ 55 h 202"/>
                  <a:gd name="T36" fmla="*/ 42 w 139"/>
                  <a:gd name="T37" fmla="*/ 43 h 202"/>
                  <a:gd name="T38" fmla="*/ 46 w 139"/>
                  <a:gd name="T39" fmla="*/ 31 h 202"/>
                  <a:gd name="T40" fmla="*/ 49 w 139"/>
                  <a:gd name="T41" fmla="*/ 16 h 202"/>
                  <a:gd name="T42" fmla="*/ 51 w 139"/>
                  <a:gd name="T43" fmla="*/ 0 h 202"/>
                  <a:gd name="T44" fmla="*/ 51 w 139"/>
                  <a:gd name="T45" fmla="*/ 0 h 202"/>
                  <a:gd name="T46" fmla="*/ 60 w 139"/>
                  <a:gd name="T47" fmla="*/ 6 h 202"/>
                  <a:gd name="T48" fmla="*/ 81 w 139"/>
                  <a:gd name="T49" fmla="*/ 22 h 202"/>
                  <a:gd name="T50" fmla="*/ 93 w 139"/>
                  <a:gd name="T51" fmla="*/ 34 h 202"/>
                  <a:gd name="T52" fmla="*/ 106 w 139"/>
                  <a:gd name="T53" fmla="*/ 46 h 202"/>
                  <a:gd name="T54" fmla="*/ 117 w 139"/>
                  <a:gd name="T55" fmla="*/ 61 h 202"/>
                  <a:gd name="T56" fmla="*/ 127 w 139"/>
                  <a:gd name="T57" fmla="*/ 76 h 202"/>
                  <a:gd name="T58" fmla="*/ 127 w 139"/>
                  <a:gd name="T59" fmla="*/ 76 h 202"/>
                  <a:gd name="T60" fmla="*/ 135 w 139"/>
                  <a:gd name="T61" fmla="*/ 93 h 202"/>
                  <a:gd name="T62" fmla="*/ 138 w 139"/>
                  <a:gd name="T63" fmla="*/ 111 h 202"/>
                  <a:gd name="T64" fmla="*/ 139 w 139"/>
                  <a:gd name="T65" fmla="*/ 127 h 202"/>
                  <a:gd name="T66" fmla="*/ 136 w 139"/>
                  <a:gd name="T67" fmla="*/ 144 h 202"/>
                  <a:gd name="T68" fmla="*/ 133 w 139"/>
                  <a:gd name="T69" fmla="*/ 153 h 202"/>
                  <a:gd name="T70" fmla="*/ 129 w 139"/>
                  <a:gd name="T71" fmla="*/ 160 h 202"/>
                  <a:gd name="T72" fmla="*/ 124 w 139"/>
                  <a:gd name="T73" fmla="*/ 168 h 202"/>
                  <a:gd name="T74" fmla="*/ 118 w 139"/>
                  <a:gd name="T75" fmla="*/ 175 h 202"/>
                  <a:gd name="T76" fmla="*/ 112 w 139"/>
                  <a:gd name="T77" fmla="*/ 183 h 202"/>
                  <a:gd name="T78" fmla="*/ 105 w 139"/>
                  <a:gd name="T79" fmla="*/ 190 h 202"/>
                  <a:gd name="T80" fmla="*/ 96 w 139"/>
                  <a:gd name="T81" fmla="*/ 196 h 202"/>
                  <a:gd name="T82" fmla="*/ 87 w 139"/>
                  <a:gd name="T83" fmla="*/ 202 h 202"/>
                  <a:gd name="T84" fmla="*/ 57 w 139"/>
                  <a:gd name="T85" fmla="*/ 202 h 202"/>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8417 w 10000"/>
                  <a:gd name="connsiteY27" fmla="*/ 3020 h 10000"/>
                  <a:gd name="connsiteX28" fmla="*/ 9137 w 10000"/>
                  <a:gd name="connsiteY28" fmla="*/ 3762 h 10000"/>
                  <a:gd name="connsiteX29" fmla="*/ 9712 w 10000"/>
                  <a:gd name="connsiteY29" fmla="*/ 4604 h 10000"/>
                  <a:gd name="connsiteX30" fmla="*/ 9928 w 10000"/>
                  <a:gd name="connsiteY30" fmla="*/ 5495 h 10000"/>
                  <a:gd name="connsiteX31" fmla="*/ 10000 w 10000"/>
                  <a:gd name="connsiteY31" fmla="*/ 6287 h 10000"/>
                  <a:gd name="connsiteX32" fmla="*/ 9784 w 10000"/>
                  <a:gd name="connsiteY32" fmla="*/ 7129 h 10000"/>
                  <a:gd name="connsiteX33" fmla="*/ 9568 w 10000"/>
                  <a:gd name="connsiteY33" fmla="*/ 7574 h 10000"/>
                  <a:gd name="connsiteX34" fmla="*/ 9281 w 10000"/>
                  <a:gd name="connsiteY34" fmla="*/ 7921 h 10000"/>
                  <a:gd name="connsiteX35" fmla="*/ 8921 w 10000"/>
                  <a:gd name="connsiteY35" fmla="*/ 8317 h 10000"/>
                  <a:gd name="connsiteX36" fmla="*/ 8489 w 10000"/>
                  <a:gd name="connsiteY36" fmla="*/ 8663 h 10000"/>
                  <a:gd name="connsiteX37" fmla="*/ 8058 w 10000"/>
                  <a:gd name="connsiteY37" fmla="*/ 9059 h 10000"/>
                  <a:gd name="connsiteX38" fmla="*/ 7554 w 10000"/>
                  <a:gd name="connsiteY38" fmla="*/ 9406 h 10000"/>
                  <a:gd name="connsiteX39" fmla="*/ 6906 w 10000"/>
                  <a:gd name="connsiteY39" fmla="*/ 9703 h 10000"/>
                  <a:gd name="connsiteX40" fmla="*/ 6259 w 10000"/>
                  <a:gd name="connsiteY40" fmla="*/ 10000 h 10000"/>
                  <a:gd name="connsiteX41" fmla="*/ 4101 w 10000"/>
                  <a:gd name="connsiteY41"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9137 w 10000"/>
                  <a:gd name="connsiteY27" fmla="*/ 3762 h 10000"/>
                  <a:gd name="connsiteX28" fmla="*/ 9712 w 10000"/>
                  <a:gd name="connsiteY28" fmla="*/ 4604 h 10000"/>
                  <a:gd name="connsiteX29" fmla="*/ 9928 w 10000"/>
                  <a:gd name="connsiteY29" fmla="*/ 5495 h 10000"/>
                  <a:gd name="connsiteX30" fmla="*/ 10000 w 10000"/>
                  <a:gd name="connsiteY30" fmla="*/ 6287 h 10000"/>
                  <a:gd name="connsiteX31" fmla="*/ 9784 w 10000"/>
                  <a:gd name="connsiteY31" fmla="*/ 7129 h 10000"/>
                  <a:gd name="connsiteX32" fmla="*/ 9568 w 10000"/>
                  <a:gd name="connsiteY32" fmla="*/ 7574 h 10000"/>
                  <a:gd name="connsiteX33" fmla="*/ 9281 w 10000"/>
                  <a:gd name="connsiteY33" fmla="*/ 7921 h 10000"/>
                  <a:gd name="connsiteX34" fmla="*/ 8921 w 10000"/>
                  <a:gd name="connsiteY34" fmla="*/ 8317 h 10000"/>
                  <a:gd name="connsiteX35" fmla="*/ 8489 w 10000"/>
                  <a:gd name="connsiteY35" fmla="*/ 8663 h 10000"/>
                  <a:gd name="connsiteX36" fmla="*/ 8058 w 10000"/>
                  <a:gd name="connsiteY36" fmla="*/ 9059 h 10000"/>
                  <a:gd name="connsiteX37" fmla="*/ 7554 w 10000"/>
                  <a:gd name="connsiteY37" fmla="*/ 9406 h 10000"/>
                  <a:gd name="connsiteX38" fmla="*/ 6906 w 10000"/>
                  <a:gd name="connsiteY38" fmla="*/ 9703 h 10000"/>
                  <a:gd name="connsiteX39" fmla="*/ 6259 w 10000"/>
                  <a:gd name="connsiteY39" fmla="*/ 10000 h 10000"/>
                  <a:gd name="connsiteX40" fmla="*/ 4101 w 10000"/>
                  <a:gd name="connsiteY40"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9137 w 10000"/>
                  <a:gd name="connsiteY26" fmla="*/ 3762 h 10000"/>
                  <a:gd name="connsiteX27" fmla="*/ 9712 w 10000"/>
                  <a:gd name="connsiteY27" fmla="*/ 4604 h 10000"/>
                  <a:gd name="connsiteX28" fmla="*/ 9928 w 10000"/>
                  <a:gd name="connsiteY28" fmla="*/ 5495 h 10000"/>
                  <a:gd name="connsiteX29" fmla="*/ 10000 w 10000"/>
                  <a:gd name="connsiteY29" fmla="*/ 6287 h 10000"/>
                  <a:gd name="connsiteX30" fmla="*/ 9784 w 10000"/>
                  <a:gd name="connsiteY30" fmla="*/ 7129 h 10000"/>
                  <a:gd name="connsiteX31" fmla="*/ 9568 w 10000"/>
                  <a:gd name="connsiteY31" fmla="*/ 7574 h 10000"/>
                  <a:gd name="connsiteX32" fmla="*/ 9281 w 10000"/>
                  <a:gd name="connsiteY32" fmla="*/ 7921 h 10000"/>
                  <a:gd name="connsiteX33" fmla="*/ 8921 w 10000"/>
                  <a:gd name="connsiteY33" fmla="*/ 8317 h 10000"/>
                  <a:gd name="connsiteX34" fmla="*/ 8489 w 10000"/>
                  <a:gd name="connsiteY34" fmla="*/ 8663 h 10000"/>
                  <a:gd name="connsiteX35" fmla="*/ 8058 w 10000"/>
                  <a:gd name="connsiteY35" fmla="*/ 9059 h 10000"/>
                  <a:gd name="connsiteX36" fmla="*/ 7554 w 10000"/>
                  <a:gd name="connsiteY36" fmla="*/ 9406 h 10000"/>
                  <a:gd name="connsiteX37" fmla="*/ 6906 w 10000"/>
                  <a:gd name="connsiteY37" fmla="*/ 9703 h 10000"/>
                  <a:gd name="connsiteX38" fmla="*/ 6259 w 10000"/>
                  <a:gd name="connsiteY38" fmla="*/ 10000 h 10000"/>
                  <a:gd name="connsiteX39" fmla="*/ 4101 w 10000"/>
                  <a:gd name="connsiteY39"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9137 w 10000"/>
                  <a:gd name="connsiteY25" fmla="*/ 3762 h 10000"/>
                  <a:gd name="connsiteX26" fmla="*/ 9712 w 10000"/>
                  <a:gd name="connsiteY26" fmla="*/ 4604 h 10000"/>
                  <a:gd name="connsiteX27" fmla="*/ 9928 w 10000"/>
                  <a:gd name="connsiteY27" fmla="*/ 5495 h 10000"/>
                  <a:gd name="connsiteX28" fmla="*/ 10000 w 10000"/>
                  <a:gd name="connsiteY28" fmla="*/ 6287 h 10000"/>
                  <a:gd name="connsiteX29" fmla="*/ 9784 w 10000"/>
                  <a:gd name="connsiteY29" fmla="*/ 7129 h 10000"/>
                  <a:gd name="connsiteX30" fmla="*/ 9568 w 10000"/>
                  <a:gd name="connsiteY30" fmla="*/ 7574 h 10000"/>
                  <a:gd name="connsiteX31" fmla="*/ 9281 w 10000"/>
                  <a:gd name="connsiteY31" fmla="*/ 7921 h 10000"/>
                  <a:gd name="connsiteX32" fmla="*/ 8921 w 10000"/>
                  <a:gd name="connsiteY32" fmla="*/ 8317 h 10000"/>
                  <a:gd name="connsiteX33" fmla="*/ 8489 w 10000"/>
                  <a:gd name="connsiteY33" fmla="*/ 8663 h 10000"/>
                  <a:gd name="connsiteX34" fmla="*/ 8058 w 10000"/>
                  <a:gd name="connsiteY34" fmla="*/ 9059 h 10000"/>
                  <a:gd name="connsiteX35" fmla="*/ 7554 w 10000"/>
                  <a:gd name="connsiteY35" fmla="*/ 9406 h 10000"/>
                  <a:gd name="connsiteX36" fmla="*/ 6906 w 10000"/>
                  <a:gd name="connsiteY36" fmla="*/ 9703 h 10000"/>
                  <a:gd name="connsiteX37" fmla="*/ 6259 w 10000"/>
                  <a:gd name="connsiteY37" fmla="*/ 10000 h 10000"/>
                  <a:gd name="connsiteX38" fmla="*/ 4101 w 10000"/>
                  <a:gd name="connsiteY38"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712 w 10000"/>
                  <a:gd name="connsiteY25" fmla="*/ 4604 h 10000"/>
                  <a:gd name="connsiteX26" fmla="*/ 9928 w 10000"/>
                  <a:gd name="connsiteY26" fmla="*/ 5495 h 10000"/>
                  <a:gd name="connsiteX27" fmla="*/ 10000 w 10000"/>
                  <a:gd name="connsiteY27" fmla="*/ 6287 h 10000"/>
                  <a:gd name="connsiteX28" fmla="*/ 9784 w 10000"/>
                  <a:gd name="connsiteY28" fmla="*/ 7129 h 10000"/>
                  <a:gd name="connsiteX29" fmla="*/ 9568 w 10000"/>
                  <a:gd name="connsiteY29" fmla="*/ 7574 h 10000"/>
                  <a:gd name="connsiteX30" fmla="*/ 9281 w 10000"/>
                  <a:gd name="connsiteY30" fmla="*/ 7921 h 10000"/>
                  <a:gd name="connsiteX31" fmla="*/ 8921 w 10000"/>
                  <a:gd name="connsiteY31" fmla="*/ 8317 h 10000"/>
                  <a:gd name="connsiteX32" fmla="*/ 8489 w 10000"/>
                  <a:gd name="connsiteY32" fmla="*/ 8663 h 10000"/>
                  <a:gd name="connsiteX33" fmla="*/ 8058 w 10000"/>
                  <a:gd name="connsiteY33" fmla="*/ 9059 h 10000"/>
                  <a:gd name="connsiteX34" fmla="*/ 7554 w 10000"/>
                  <a:gd name="connsiteY34" fmla="*/ 9406 h 10000"/>
                  <a:gd name="connsiteX35" fmla="*/ 6906 w 10000"/>
                  <a:gd name="connsiteY35" fmla="*/ 9703 h 10000"/>
                  <a:gd name="connsiteX36" fmla="*/ 6259 w 10000"/>
                  <a:gd name="connsiteY36" fmla="*/ 10000 h 10000"/>
                  <a:gd name="connsiteX37" fmla="*/ 4101 w 10000"/>
                  <a:gd name="connsiteY37"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928 w 10000"/>
                  <a:gd name="connsiteY25" fmla="*/ 5495 h 10000"/>
                  <a:gd name="connsiteX26" fmla="*/ 10000 w 10000"/>
                  <a:gd name="connsiteY26" fmla="*/ 6287 h 10000"/>
                  <a:gd name="connsiteX27" fmla="*/ 9784 w 10000"/>
                  <a:gd name="connsiteY27" fmla="*/ 7129 h 10000"/>
                  <a:gd name="connsiteX28" fmla="*/ 9568 w 10000"/>
                  <a:gd name="connsiteY28" fmla="*/ 7574 h 10000"/>
                  <a:gd name="connsiteX29" fmla="*/ 9281 w 10000"/>
                  <a:gd name="connsiteY29" fmla="*/ 7921 h 10000"/>
                  <a:gd name="connsiteX30" fmla="*/ 8921 w 10000"/>
                  <a:gd name="connsiteY30" fmla="*/ 8317 h 10000"/>
                  <a:gd name="connsiteX31" fmla="*/ 8489 w 10000"/>
                  <a:gd name="connsiteY31" fmla="*/ 8663 h 10000"/>
                  <a:gd name="connsiteX32" fmla="*/ 8058 w 10000"/>
                  <a:gd name="connsiteY32" fmla="*/ 9059 h 10000"/>
                  <a:gd name="connsiteX33" fmla="*/ 7554 w 10000"/>
                  <a:gd name="connsiteY33" fmla="*/ 9406 h 10000"/>
                  <a:gd name="connsiteX34" fmla="*/ 6906 w 10000"/>
                  <a:gd name="connsiteY34" fmla="*/ 9703 h 10000"/>
                  <a:gd name="connsiteX35" fmla="*/ 6259 w 10000"/>
                  <a:gd name="connsiteY35" fmla="*/ 10000 h 10000"/>
                  <a:gd name="connsiteX36" fmla="*/ 4101 w 10000"/>
                  <a:gd name="connsiteY36"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928 w 10000"/>
                  <a:gd name="connsiteY24" fmla="*/ 5495 h 10000"/>
                  <a:gd name="connsiteX25" fmla="*/ 10000 w 10000"/>
                  <a:gd name="connsiteY25" fmla="*/ 6287 h 10000"/>
                  <a:gd name="connsiteX26" fmla="*/ 9784 w 10000"/>
                  <a:gd name="connsiteY26" fmla="*/ 7129 h 10000"/>
                  <a:gd name="connsiteX27" fmla="*/ 9568 w 10000"/>
                  <a:gd name="connsiteY27" fmla="*/ 7574 h 10000"/>
                  <a:gd name="connsiteX28" fmla="*/ 9281 w 10000"/>
                  <a:gd name="connsiteY28" fmla="*/ 7921 h 10000"/>
                  <a:gd name="connsiteX29" fmla="*/ 8921 w 10000"/>
                  <a:gd name="connsiteY29" fmla="*/ 8317 h 10000"/>
                  <a:gd name="connsiteX30" fmla="*/ 8489 w 10000"/>
                  <a:gd name="connsiteY30" fmla="*/ 8663 h 10000"/>
                  <a:gd name="connsiteX31" fmla="*/ 8058 w 10000"/>
                  <a:gd name="connsiteY31" fmla="*/ 9059 h 10000"/>
                  <a:gd name="connsiteX32" fmla="*/ 7554 w 10000"/>
                  <a:gd name="connsiteY32" fmla="*/ 9406 h 10000"/>
                  <a:gd name="connsiteX33" fmla="*/ 6906 w 10000"/>
                  <a:gd name="connsiteY33" fmla="*/ 9703 h 10000"/>
                  <a:gd name="connsiteX34" fmla="*/ 6259 w 10000"/>
                  <a:gd name="connsiteY34" fmla="*/ 10000 h 10000"/>
                  <a:gd name="connsiteX35" fmla="*/ 4101 w 10000"/>
                  <a:gd name="connsiteY35" fmla="*/ 10000 h 10000"/>
                  <a:gd name="connsiteX0" fmla="*/ 4101 w 9928"/>
                  <a:gd name="connsiteY0" fmla="*/ 10000 h 10000"/>
                  <a:gd name="connsiteX1" fmla="*/ 4101 w 9928"/>
                  <a:gd name="connsiteY1" fmla="*/ 10000 h 10000"/>
                  <a:gd name="connsiteX2" fmla="*/ 3669 w 9928"/>
                  <a:gd name="connsiteY2" fmla="*/ 9851 h 10000"/>
                  <a:gd name="connsiteX3" fmla="*/ 2878 w 9928"/>
                  <a:gd name="connsiteY3" fmla="*/ 9554 h 10000"/>
                  <a:gd name="connsiteX4" fmla="*/ 1942 w 9928"/>
                  <a:gd name="connsiteY4" fmla="*/ 9059 h 10000"/>
                  <a:gd name="connsiteX5" fmla="*/ 1511 w 9928"/>
                  <a:gd name="connsiteY5" fmla="*/ 8762 h 10000"/>
                  <a:gd name="connsiteX6" fmla="*/ 1079 w 9928"/>
                  <a:gd name="connsiteY6" fmla="*/ 8366 h 10000"/>
                  <a:gd name="connsiteX7" fmla="*/ 647 w 9928"/>
                  <a:gd name="connsiteY7" fmla="*/ 7921 h 10000"/>
                  <a:gd name="connsiteX8" fmla="*/ 288 w 9928"/>
                  <a:gd name="connsiteY8" fmla="*/ 7475 h 10000"/>
                  <a:gd name="connsiteX9" fmla="*/ 72 w 9928"/>
                  <a:gd name="connsiteY9" fmla="*/ 6980 h 10000"/>
                  <a:gd name="connsiteX10" fmla="*/ 0 w 9928"/>
                  <a:gd name="connsiteY10" fmla="*/ 6436 h 10000"/>
                  <a:gd name="connsiteX11" fmla="*/ 72 w 9928"/>
                  <a:gd name="connsiteY11" fmla="*/ 5842 h 10000"/>
                  <a:gd name="connsiteX12" fmla="*/ 288 w 9928"/>
                  <a:gd name="connsiteY12" fmla="*/ 5198 h 10000"/>
                  <a:gd name="connsiteX13" fmla="*/ 863 w 9928"/>
                  <a:gd name="connsiteY13" fmla="*/ 4505 h 10000"/>
                  <a:gd name="connsiteX14" fmla="*/ 1583 w 9928"/>
                  <a:gd name="connsiteY14" fmla="*/ 3762 h 10000"/>
                  <a:gd name="connsiteX15" fmla="*/ 1583 w 9928"/>
                  <a:gd name="connsiteY15" fmla="*/ 3762 h 10000"/>
                  <a:gd name="connsiteX16" fmla="*/ 1942 w 9928"/>
                  <a:gd name="connsiteY16" fmla="*/ 3465 h 10000"/>
                  <a:gd name="connsiteX17" fmla="*/ 2590 w 9928"/>
                  <a:gd name="connsiteY17" fmla="*/ 2723 h 10000"/>
                  <a:gd name="connsiteX18" fmla="*/ 3022 w 9928"/>
                  <a:gd name="connsiteY18" fmla="*/ 2129 h 10000"/>
                  <a:gd name="connsiteX19" fmla="*/ 3309 w 9928"/>
                  <a:gd name="connsiteY19" fmla="*/ 1535 h 10000"/>
                  <a:gd name="connsiteX20" fmla="*/ 3525 w 9928"/>
                  <a:gd name="connsiteY20" fmla="*/ 792 h 10000"/>
                  <a:gd name="connsiteX21" fmla="*/ 3669 w 9928"/>
                  <a:gd name="connsiteY21" fmla="*/ 0 h 10000"/>
                  <a:gd name="connsiteX22" fmla="*/ 3669 w 9928"/>
                  <a:gd name="connsiteY22" fmla="*/ 0 h 10000"/>
                  <a:gd name="connsiteX23" fmla="*/ 4317 w 9928"/>
                  <a:gd name="connsiteY23" fmla="*/ 297 h 10000"/>
                  <a:gd name="connsiteX24" fmla="*/ 9928 w 9928"/>
                  <a:gd name="connsiteY24" fmla="*/ 5495 h 10000"/>
                  <a:gd name="connsiteX25" fmla="*/ 9784 w 9928"/>
                  <a:gd name="connsiteY25" fmla="*/ 7129 h 10000"/>
                  <a:gd name="connsiteX26" fmla="*/ 9568 w 9928"/>
                  <a:gd name="connsiteY26" fmla="*/ 7574 h 10000"/>
                  <a:gd name="connsiteX27" fmla="*/ 9281 w 9928"/>
                  <a:gd name="connsiteY27" fmla="*/ 7921 h 10000"/>
                  <a:gd name="connsiteX28" fmla="*/ 8921 w 9928"/>
                  <a:gd name="connsiteY28" fmla="*/ 8317 h 10000"/>
                  <a:gd name="connsiteX29" fmla="*/ 8489 w 9928"/>
                  <a:gd name="connsiteY29" fmla="*/ 8663 h 10000"/>
                  <a:gd name="connsiteX30" fmla="*/ 8058 w 9928"/>
                  <a:gd name="connsiteY30" fmla="*/ 9059 h 10000"/>
                  <a:gd name="connsiteX31" fmla="*/ 7554 w 9928"/>
                  <a:gd name="connsiteY31" fmla="*/ 9406 h 10000"/>
                  <a:gd name="connsiteX32" fmla="*/ 6906 w 9928"/>
                  <a:gd name="connsiteY32" fmla="*/ 9703 h 10000"/>
                  <a:gd name="connsiteX33" fmla="*/ 6259 w 9928"/>
                  <a:gd name="connsiteY33" fmla="*/ 10000 h 10000"/>
                  <a:gd name="connsiteX34" fmla="*/ 4101 w 9928"/>
                  <a:gd name="connsiteY34"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48 w 10000"/>
                  <a:gd name="connsiteY26" fmla="*/ 7921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33 w 10000"/>
                  <a:gd name="connsiteY26" fmla="*/ 7808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214"/>
                  <a:gd name="connsiteY0" fmla="*/ 10000 h 10000"/>
                  <a:gd name="connsiteX1" fmla="*/ 4131 w 10214"/>
                  <a:gd name="connsiteY1" fmla="*/ 10000 h 10000"/>
                  <a:gd name="connsiteX2" fmla="*/ 3696 w 10214"/>
                  <a:gd name="connsiteY2" fmla="*/ 9851 h 10000"/>
                  <a:gd name="connsiteX3" fmla="*/ 2899 w 10214"/>
                  <a:gd name="connsiteY3" fmla="*/ 9554 h 10000"/>
                  <a:gd name="connsiteX4" fmla="*/ 1956 w 10214"/>
                  <a:gd name="connsiteY4" fmla="*/ 9059 h 10000"/>
                  <a:gd name="connsiteX5" fmla="*/ 1522 w 10214"/>
                  <a:gd name="connsiteY5" fmla="*/ 8762 h 10000"/>
                  <a:gd name="connsiteX6" fmla="*/ 1087 w 10214"/>
                  <a:gd name="connsiteY6" fmla="*/ 8366 h 10000"/>
                  <a:gd name="connsiteX7" fmla="*/ 652 w 10214"/>
                  <a:gd name="connsiteY7" fmla="*/ 7921 h 10000"/>
                  <a:gd name="connsiteX8" fmla="*/ 290 w 10214"/>
                  <a:gd name="connsiteY8" fmla="*/ 7475 h 10000"/>
                  <a:gd name="connsiteX9" fmla="*/ 73 w 10214"/>
                  <a:gd name="connsiteY9" fmla="*/ 6980 h 10000"/>
                  <a:gd name="connsiteX10" fmla="*/ 0 w 10214"/>
                  <a:gd name="connsiteY10" fmla="*/ 6436 h 10000"/>
                  <a:gd name="connsiteX11" fmla="*/ 73 w 10214"/>
                  <a:gd name="connsiteY11" fmla="*/ 5842 h 10000"/>
                  <a:gd name="connsiteX12" fmla="*/ 290 w 10214"/>
                  <a:gd name="connsiteY12" fmla="*/ 5198 h 10000"/>
                  <a:gd name="connsiteX13" fmla="*/ 869 w 10214"/>
                  <a:gd name="connsiteY13" fmla="*/ 4505 h 10000"/>
                  <a:gd name="connsiteX14" fmla="*/ 1594 w 10214"/>
                  <a:gd name="connsiteY14" fmla="*/ 3762 h 10000"/>
                  <a:gd name="connsiteX15" fmla="*/ 1594 w 10214"/>
                  <a:gd name="connsiteY15" fmla="*/ 3762 h 10000"/>
                  <a:gd name="connsiteX16" fmla="*/ 1956 w 10214"/>
                  <a:gd name="connsiteY16" fmla="*/ 3465 h 10000"/>
                  <a:gd name="connsiteX17" fmla="*/ 2609 w 10214"/>
                  <a:gd name="connsiteY17" fmla="*/ 2723 h 10000"/>
                  <a:gd name="connsiteX18" fmla="*/ 3044 w 10214"/>
                  <a:gd name="connsiteY18" fmla="*/ 2129 h 10000"/>
                  <a:gd name="connsiteX19" fmla="*/ 3333 w 10214"/>
                  <a:gd name="connsiteY19" fmla="*/ 1535 h 10000"/>
                  <a:gd name="connsiteX20" fmla="*/ 3551 w 10214"/>
                  <a:gd name="connsiteY20" fmla="*/ 792 h 10000"/>
                  <a:gd name="connsiteX21" fmla="*/ 3696 w 10214"/>
                  <a:gd name="connsiteY21" fmla="*/ 0 h 10000"/>
                  <a:gd name="connsiteX22" fmla="*/ 3696 w 10214"/>
                  <a:gd name="connsiteY22" fmla="*/ 0 h 10000"/>
                  <a:gd name="connsiteX23" fmla="*/ 4348 w 10214"/>
                  <a:gd name="connsiteY23" fmla="*/ 297 h 10000"/>
                  <a:gd name="connsiteX24" fmla="*/ 10000 w 10214"/>
                  <a:gd name="connsiteY24" fmla="*/ 5495 h 10000"/>
                  <a:gd name="connsiteX25" fmla="*/ 8986 w 10214"/>
                  <a:gd name="connsiteY25" fmla="*/ 8317 h 10000"/>
                  <a:gd name="connsiteX26" fmla="*/ 8551 w 10214"/>
                  <a:gd name="connsiteY26" fmla="*/ 8663 h 10000"/>
                  <a:gd name="connsiteX27" fmla="*/ 8116 w 10214"/>
                  <a:gd name="connsiteY27" fmla="*/ 9059 h 10000"/>
                  <a:gd name="connsiteX28" fmla="*/ 7609 w 10214"/>
                  <a:gd name="connsiteY28" fmla="*/ 9406 h 10000"/>
                  <a:gd name="connsiteX29" fmla="*/ 6956 w 10214"/>
                  <a:gd name="connsiteY29" fmla="*/ 9703 h 10000"/>
                  <a:gd name="connsiteX30" fmla="*/ 6304 w 10214"/>
                  <a:gd name="connsiteY30" fmla="*/ 10000 h 10000"/>
                  <a:gd name="connsiteX31" fmla="*/ 4131 w 10214"/>
                  <a:gd name="connsiteY31" fmla="*/ 10000 h 10000"/>
                  <a:gd name="connsiteX0" fmla="*/ 4131 w 10158"/>
                  <a:gd name="connsiteY0" fmla="*/ 10000 h 10000"/>
                  <a:gd name="connsiteX1" fmla="*/ 4131 w 10158"/>
                  <a:gd name="connsiteY1" fmla="*/ 10000 h 10000"/>
                  <a:gd name="connsiteX2" fmla="*/ 3696 w 10158"/>
                  <a:gd name="connsiteY2" fmla="*/ 9851 h 10000"/>
                  <a:gd name="connsiteX3" fmla="*/ 2899 w 10158"/>
                  <a:gd name="connsiteY3" fmla="*/ 9554 h 10000"/>
                  <a:gd name="connsiteX4" fmla="*/ 1956 w 10158"/>
                  <a:gd name="connsiteY4" fmla="*/ 9059 h 10000"/>
                  <a:gd name="connsiteX5" fmla="*/ 1522 w 10158"/>
                  <a:gd name="connsiteY5" fmla="*/ 8762 h 10000"/>
                  <a:gd name="connsiteX6" fmla="*/ 1087 w 10158"/>
                  <a:gd name="connsiteY6" fmla="*/ 8366 h 10000"/>
                  <a:gd name="connsiteX7" fmla="*/ 652 w 10158"/>
                  <a:gd name="connsiteY7" fmla="*/ 7921 h 10000"/>
                  <a:gd name="connsiteX8" fmla="*/ 290 w 10158"/>
                  <a:gd name="connsiteY8" fmla="*/ 7475 h 10000"/>
                  <a:gd name="connsiteX9" fmla="*/ 73 w 10158"/>
                  <a:gd name="connsiteY9" fmla="*/ 6980 h 10000"/>
                  <a:gd name="connsiteX10" fmla="*/ 0 w 10158"/>
                  <a:gd name="connsiteY10" fmla="*/ 6436 h 10000"/>
                  <a:gd name="connsiteX11" fmla="*/ 73 w 10158"/>
                  <a:gd name="connsiteY11" fmla="*/ 5842 h 10000"/>
                  <a:gd name="connsiteX12" fmla="*/ 290 w 10158"/>
                  <a:gd name="connsiteY12" fmla="*/ 5198 h 10000"/>
                  <a:gd name="connsiteX13" fmla="*/ 869 w 10158"/>
                  <a:gd name="connsiteY13" fmla="*/ 4505 h 10000"/>
                  <a:gd name="connsiteX14" fmla="*/ 1594 w 10158"/>
                  <a:gd name="connsiteY14" fmla="*/ 3762 h 10000"/>
                  <a:gd name="connsiteX15" fmla="*/ 1594 w 10158"/>
                  <a:gd name="connsiteY15" fmla="*/ 3762 h 10000"/>
                  <a:gd name="connsiteX16" fmla="*/ 1956 w 10158"/>
                  <a:gd name="connsiteY16" fmla="*/ 3465 h 10000"/>
                  <a:gd name="connsiteX17" fmla="*/ 2609 w 10158"/>
                  <a:gd name="connsiteY17" fmla="*/ 2723 h 10000"/>
                  <a:gd name="connsiteX18" fmla="*/ 3044 w 10158"/>
                  <a:gd name="connsiteY18" fmla="*/ 2129 h 10000"/>
                  <a:gd name="connsiteX19" fmla="*/ 3333 w 10158"/>
                  <a:gd name="connsiteY19" fmla="*/ 1535 h 10000"/>
                  <a:gd name="connsiteX20" fmla="*/ 3551 w 10158"/>
                  <a:gd name="connsiteY20" fmla="*/ 792 h 10000"/>
                  <a:gd name="connsiteX21" fmla="*/ 3696 w 10158"/>
                  <a:gd name="connsiteY21" fmla="*/ 0 h 10000"/>
                  <a:gd name="connsiteX22" fmla="*/ 3696 w 10158"/>
                  <a:gd name="connsiteY22" fmla="*/ 0 h 10000"/>
                  <a:gd name="connsiteX23" fmla="*/ 4348 w 10158"/>
                  <a:gd name="connsiteY23" fmla="*/ 297 h 10000"/>
                  <a:gd name="connsiteX24" fmla="*/ 10000 w 10158"/>
                  <a:gd name="connsiteY24" fmla="*/ 5495 h 10000"/>
                  <a:gd name="connsiteX25" fmla="*/ 8551 w 10158"/>
                  <a:gd name="connsiteY25" fmla="*/ 8663 h 10000"/>
                  <a:gd name="connsiteX26" fmla="*/ 8116 w 10158"/>
                  <a:gd name="connsiteY26" fmla="*/ 9059 h 10000"/>
                  <a:gd name="connsiteX27" fmla="*/ 7609 w 10158"/>
                  <a:gd name="connsiteY27" fmla="*/ 9406 h 10000"/>
                  <a:gd name="connsiteX28" fmla="*/ 6956 w 10158"/>
                  <a:gd name="connsiteY28" fmla="*/ 9703 h 10000"/>
                  <a:gd name="connsiteX29" fmla="*/ 6304 w 10158"/>
                  <a:gd name="connsiteY29" fmla="*/ 10000 h 10000"/>
                  <a:gd name="connsiteX30" fmla="*/ 4131 w 10158"/>
                  <a:gd name="connsiteY30" fmla="*/ 10000 h 10000"/>
                  <a:gd name="connsiteX0" fmla="*/ 4131 w 10115"/>
                  <a:gd name="connsiteY0" fmla="*/ 10000 h 10000"/>
                  <a:gd name="connsiteX1" fmla="*/ 4131 w 10115"/>
                  <a:gd name="connsiteY1" fmla="*/ 10000 h 10000"/>
                  <a:gd name="connsiteX2" fmla="*/ 3696 w 10115"/>
                  <a:gd name="connsiteY2" fmla="*/ 9851 h 10000"/>
                  <a:gd name="connsiteX3" fmla="*/ 2899 w 10115"/>
                  <a:gd name="connsiteY3" fmla="*/ 9554 h 10000"/>
                  <a:gd name="connsiteX4" fmla="*/ 1956 w 10115"/>
                  <a:gd name="connsiteY4" fmla="*/ 9059 h 10000"/>
                  <a:gd name="connsiteX5" fmla="*/ 1522 w 10115"/>
                  <a:gd name="connsiteY5" fmla="*/ 8762 h 10000"/>
                  <a:gd name="connsiteX6" fmla="*/ 1087 w 10115"/>
                  <a:gd name="connsiteY6" fmla="*/ 8366 h 10000"/>
                  <a:gd name="connsiteX7" fmla="*/ 652 w 10115"/>
                  <a:gd name="connsiteY7" fmla="*/ 7921 h 10000"/>
                  <a:gd name="connsiteX8" fmla="*/ 290 w 10115"/>
                  <a:gd name="connsiteY8" fmla="*/ 7475 h 10000"/>
                  <a:gd name="connsiteX9" fmla="*/ 73 w 10115"/>
                  <a:gd name="connsiteY9" fmla="*/ 6980 h 10000"/>
                  <a:gd name="connsiteX10" fmla="*/ 0 w 10115"/>
                  <a:gd name="connsiteY10" fmla="*/ 6436 h 10000"/>
                  <a:gd name="connsiteX11" fmla="*/ 73 w 10115"/>
                  <a:gd name="connsiteY11" fmla="*/ 5842 h 10000"/>
                  <a:gd name="connsiteX12" fmla="*/ 290 w 10115"/>
                  <a:gd name="connsiteY12" fmla="*/ 5198 h 10000"/>
                  <a:gd name="connsiteX13" fmla="*/ 869 w 10115"/>
                  <a:gd name="connsiteY13" fmla="*/ 4505 h 10000"/>
                  <a:gd name="connsiteX14" fmla="*/ 1594 w 10115"/>
                  <a:gd name="connsiteY14" fmla="*/ 3762 h 10000"/>
                  <a:gd name="connsiteX15" fmla="*/ 1594 w 10115"/>
                  <a:gd name="connsiteY15" fmla="*/ 3762 h 10000"/>
                  <a:gd name="connsiteX16" fmla="*/ 1956 w 10115"/>
                  <a:gd name="connsiteY16" fmla="*/ 3465 h 10000"/>
                  <a:gd name="connsiteX17" fmla="*/ 2609 w 10115"/>
                  <a:gd name="connsiteY17" fmla="*/ 2723 h 10000"/>
                  <a:gd name="connsiteX18" fmla="*/ 3044 w 10115"/>
                  <a:gd name="connsiteY18" fmla="*/ 2129 h 10000"/>
                  <a:gd name="connsiteX19" fmla="*/ 3333 w 10115"/>
                  <a:gd name="connsiteY19" fmla="*/ 1535 h 10000"/>
                  <a:gd name="connsiteX20" fmla="*/ 3551 w 10115"/>
                  <a:gd name="connsiteY20" fmla="*/ 792 h 10000"/>
                  <a:gd name="connsiteX21" fmla="*/ 3696 w 10115"/>
                  <a:gd name="connsiteY21" fmla="*/ 0 h 10000"/>
                  <a:gd name="connsiteX22" fmla="*/ 3696 w 10115"/>
                  <a:gd name="connsiteY22" fmla="*/ 0 h 10000"/>
                  <a:gd name="connsiteX23" fmla="*/ 4348 w 10115"/>
                  <a:gd name="connsiteY23" fmla="*/ 297 h 10000"/>
                  <a:gd name="connsiteX24" fmla="*/ 10000 w 10115"/>
                  <a:gd name="connsiteY24" fmla="*/ 5495 h 10000"/>
                  <a:gd name="connsiteX25" fmla="*/ 8116 w 10115"/>
                  <a:gd name="connsiteY25" fmla="*/ 9059 h 10000"/>
                  <a:gd name="connsiteX26" fmla="*/ 7609 w 10115"/>
                  <a:gd name="connsiteY26" fmla="*/ 9406 h 10000"/>
                  <a:gd name="connsiteX27" fmla="*/ 6956 w 10115"/>
                  <a:gd name="connsiteY27" fmla="*/ 9703 h 10000"/>
                  <a:gd name="connsiteX28" fmla="*/ 6304 w 10115"/>
                  <a:gd name="connsiteY28" fmla="*/ 10000 h 10000"/>
                  <a:gd name="connsiteX29" fmla="*/ 4131 w 10115"/>
                  <a:gd name="connsiteY29" fmla="*/ 10000 h 10000"/>
                  <a:gd name="connsiteX0" fmla="*/ 4131 w 10078"/>
                  <a:gd name="connsiteY0" fmla="*/ 10000 h 10000"/>
                  <a:gd name="connsiteX1" fmla="*/ 4131 w 10078"/>
                  <a:gd name="connsiteY1" fmla="*/ 10000 h 10000"/>
                  <a:gd name="connsiteX2" fmla="*/ 3696 w 10078"/>
                  <a:gd name="connsiteY2" fmla="*/ 9851 h 10000"/>
                  <a:gd name="connsiteX3" fmla="*/ 2899 w 10078"/>
                  <a:gd name="connsiteY3" fmla="*/ 9554 h 10000"/>
                  <a:gd name="connsiteX4" fmla="*/ 1956 w 10078"/>
                  <a:gd name="connsiteY4" fmla="*/ 9059 h 10000"/>
                  <a:gd name="connsiteX5" fmla="*/ 1522 w 10078"/>
                  <a:gd name="connsiteY5" fmla="*/ 8762 h 10000"/>
                  <a:gd name="connsiteX6" fmla="*/ 1087 w 10078"/>
                  <a:gd name="connsiteY6" fmla="*/ 8366 h 10000"/>
                  <a:gd name="connsiteX7" fmla="*/ 652 w 10078"/>
                  <a:gd name="connsiteY7" fmla="*/ 7921 h 10000"/>
                  <a:gd name="connsiteX8" fmla="*/ 290 w 10078"/>
                  <a:gd name="connsiteY8" fmla="*/ 7475 h 10000"/>
                  <a:gd name="connsiteX9" fmla="*/ 73 w 10078"/>
                  <a:gd name="connsiteY9" fmla="*/ 6980 h 10000"/>
                  <a:gd name="connsiteX10" fmla="*/ 0 w 10078"/>
                  <a:gd name="connsiteY10" fmla="*/ 6436 h 10000"/>
                  <a:gd name="connsiteX11" fmla="*/ 73 w 10078"/>
                  <a:gd name="connsiteY11" fmla="*/ 5842 h 10000"/>
                  <a:gd name="connsiteX12" fmla="*/ 290 w 10078"/>
                  <a:gd name="connsiteY12" fmla="*/ 5198 h 10000"/>
                  <a:gd name="connsiteX13" fmla="*/ 869 w 10078"/>
                  <a:gd name="connsiteY13" fmla="*/ 4505 h 10000"/>
                  <a:gd name="connsiteX14" fmla="*/ 1594 w 10078"/>
                  <a:gd name="connsiteY14" fmla="*/ 3762 h 10000"/>
                  <a:gd name="connsiteX15" fmla="*/ 1594 w 10078"/>
                  <a:gd name="connsiteY15" fmla="*/ 3762 h 10000"/>
                  <a:gd name="connsiteX16" fmla="*/ 1956 w 10078"/>
                  <a:gd name="connsiteY16" fmla="*/ 3465 h 10000"/>
                  <a:gd name="connsiteX17" fmla="*/ 2609 w 10078"/>
                  <a:gd name="connsiteY17" fmla="*/ 2723 h 10000"/>
                  <a:gd name="connsiteX18" fmla="*/ 3044 w 10078"/>
                  <a:gd name="connsiteY18" fmla="*/ 2129 h 10000"/>
                  <a:gd name="connsiteX19" fmla="*/ 3333 w 10078"/>
                  <a:gd name="connsiteY19" fmla="*/ 1535 h 10000"/>
                  <a:gd name="connsiteX20" fmla="*/ 3551 w 10078"/>
                  <a:gd name="connsiteY20" fmla="*/ 792 h 10000"/>
                  <a:gd name="connsiteX21" fmla="*/ 3696 w 10078"/>
                  <a:gd name="connsiteY21" fmla="*/ 0 h 10000"/>
                  <a:gd name="connsiteX22" fmla="*/ 3696 w 10078"/>
                  <a:gd name="connsiteY22" fmla="*/ 0 h 10000"/>
                  <a:gd name="connsiteX23" fmla="*/ 4348 w 10078"/>
                  <a:gd name="connsiteY23" fmla="*/ 297 h 10000"/>
                  <a:gd name="connsiteX24" fmla="*/ 10000 w 10078"/>
                  <a:gd name="connsiteY24" fmla="*/ 5495 h 10000"/>
                  <a:gd name="connsiteX25" fmla="*/ 7609 w 10078"/>
                  <a:gd name="connsiteY25" fmla="*/ 9406 h 10000"/>
                  <a:gd name="connsiteX26" fmla="*/ 6956 w 10078"/>
                  <a:gd name="connsiteY26" fmla="*/ 9703 h 10000"/>
                  <a:gd name="connsiteX27" fmla="*/ 6304 w 10078"/>
                  <a:gd name="connsiteY27" fmla="*/ 10000 h 10000"/>
                  <a:gd name="connsiteX28" fmla="*/ 4131 w 10078"/>
                  <a:gd name="connsiteY28" fmla="*/ 10000 h 10000"/>
                  <a:gd name="connsiteX0" fmla="*/ 4131 w 10044"/>
                  <a:gd name="connsiteY0" fmla="*/ 10000 h 10000"/>
                  <a:gd name="connsiteX1" fmla="*/ 4131 w 10044"/>
                  <a:gd name="connsiteY1" fmla="*/ 10000 h 10000"/>
                  <a:gd name="connsiteX2" fmla="*/ 3696 w 10044"/>
                  <a:gd name="connsiteY2" fmla="*/ 9851 h 10000"/>
                  <a:gd name="connsiteX3" fmla="*/ 2899 w 10044"/>
                  <a:gd name="connsiteY3" fmla="*/ 9554 h 10000"/>
                  <a:gd name="connsiteX4" fmla="*/ 1956 w 10044"/>
                  <a:gd name="connsiteY4" fmla="*/ 9059 h 10000"/>
                  <a:gd name="connsiteX5" fmla="*/ 1522 w 10044"/>
                  <a:gd name="connsiteY5" fmla="*/ 8762 h 10000"/>
                  <a:gd name="connsiteX6" fmla="*/ 1087 w 10044"/>
                  <a:gd name="connsiteY6" fmla="*/ 8366 h 10000"/>
                  <a:gd name="connsiteX7" fmla="*/ 652 w 10044"/>
                  <a:gd name="connsiteY7" fmla="*/ 7921 h 10000"/>
                  <a:gd name="connsiteX8" fmla="*/ 290 w 10044"/>
                  <a:gd name="connsiteY8" fmla="*/ 7475 h 10000"/>
                  <a:gd name="connsiteX9" fmla="*/ 73 w 10044"/>
                  <a:gd name="connsiteY9" fmla="*/ 6980 h 10000"/>
                  <a:gd name="connsiteX10" fmla="*/ 0 w 10044"/>
                  <a:gd name="connsiteY10" fmla="*/ 6436 h 10000"/>
                  <a:gd name="connsiteX11" fmla="*/ 73 w 10044"/>
                  <a:gd name="connsiteY11" fmla="*/ 5842 h 10000"/>
                  <a:gd name="connsiteX12" fmla="*/ 290 w 10044"/>
                  <a:gd name="connsiteY12" fmla="*/ 5198 h 10000"/>
                  <a:gd name="connsiteX13" fmla="*/ 869 w 10044"/>
                  <a:gd name="connsiteY13" fmla="*/ 4505 h 10000"/>
                  <a:gd name="connsiteX14" fmla="*/ 1594 w 10044"/>
                  <a:gd name="connsiteY14" fmla="*/ 3762 h 10000"/>
                  <a:gd name="connsiteX15" fmla="*/ 1594 w 10044"/>
                  <a:gd name="connsiteY15" fmla="*/ 3762 h 10000"/>
                  <a:gd name="connsiteX16" fmla="*/ 1956 w 10044"/>
                  <a:gd name="connsiteY16" fmla="*/ 3465 h 10000"/>
                  <a:gd name="connsiteX17" fmla="*/ 2609 w 10044"/>
                  <a:gd name="connsiteY17" fmla="*/ 2723 h 10000"/>
                  <a:gd name="connsiteX18" fmla="*/ 3044 w 10044"/>
                  <a:gd name="connsiteY18" fmla="*/ 2129 h 10000"/>
                  <a:gd name="connsiteX19" fmla="*/ 3333 w 10044"/>
                  <a:gd name="connsiteY19" fmla="*/ 1535 h 10000"/>
                  <a:gd name="connsiteX20" fmla="*/ 3551 w 10044"/>
                  <a:gd name="connsiteY20" fmla="*/ 792 h 10000"/>
                  <a:gd name="connsiteX21" fmla="*/ 3696 w 10044"/>
                  <a:gd name="connsiteY21" fmla="*/ 0 h 10000"/>
                  <a:gd name="connsiteX22" fmla="*/ 3696 w 10044"/>
                  <a:gd name="connsiteY22" fmla="*/ 0 h 10000"/>
                  <a:gd name="connsiteX23" fmla="*/ 4348 w 10044"/>
                  <a:gd name="connsiteY23" fmla="*/ 297 h 10000"/>
                  <a:gd name="connsiteX24" fmla="*/ 10000 w 10044"/>
                  <a:gd name="connsiteY24" fmla="*/ 5495 h 10000"/>
                  <a:gd name="connsiteX25" fmla="*/ 6956 w 10044"/>
                  <a:gd name="connsiteY25" fmla="*/ 9703 h 10000"/>
                  <a:gd name="connsiteX26" fmla="*/ 6304 w 10044"/>
                  <a:gd name="connsiteY26" fmla="*/ 10000 h 10000"/>
                  <a:gd name="connsiteX27" fmla="*/ 4131 w 10044"/>
                  <a:gd name="connsiteY27"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4131 w 10024"/>
                  <a:gd name="connsiteY26"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5029 w 10024"/>
                  <a:gd name="connsiteY26" fmla="*/ 9977 h 10000"/>
                  <a:gd name="connsiteX27" fmla="*/ 4131 w 10024"/>
                  <a:gd name="connsiteY27" fmla="*/ 10000 h 10000"/>
                  <a:gd name="connsiteX0" fmla="*/ 4131 w 10002"/>
                  <a:gd name="connsiteY0" fmla="*/ 10000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26" fmla="*/ 4131 w 10002"/>
                  <a:gd name="connsiteY26" fmla="*/ 10000 h 10000"/>
                  <a:gd name="connsiteX0" fmla="*/ 5029 w 10002"/>
                  <a:gd name="connsiteY0" fmla="*/ 9977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3696 w 10002"/>
                  <a:gd name="connsiteY2" fmla="*/ 9851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10000"/>
                  <a:gd name="connsiteX1" fmla="*/ 4131 w 10002"/>
                  <a:gd name="connsiteY1" fmla="*/ 10000 h 10000"/>
                  <a:gd name="connsiteX2" fmla="*/ 3696 w 10002"/>
                  <a:gd name="connsiteY2" fmla="*/ 9851 h 10000"/>
                  <a:gd name="connsiteX3" fmla="*/ 2984 w 10002"/>
                  <a:gd name="connsiteY3" fmla="*/ 9495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2984 w 10002"/>
                  <a:gd name="connsiteY2" fmla="*/ 9495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9977"/>
                  <a:gd name="connsiteX1" fmla="*/ 2984 w 10002"/>
                  <a:gd name="connsiteY1" fmla="*/ 9495 h 9977"/>
                  <a:gd name="connsiteX2" fmla="*/ 1956 w 10002"/>
                  <a:gd name="connsiteY2" fmla="*/ 9059 h 9977"/>
                  <a:gd name="connsiteX3" fmla="*/ 1522 w 10002"/>
                  <a:gd name="connsiteY3" fmla="*/ 8762 h 9977"/>
                  <a:gd name="connsiteX4" fmla="*/ 1087 w 10002"/>
                  <a:gd name="connsiteY4" fmla="*/ 8366 h 9977"/>
                  <a:gd name="connsiteX5" fmla="*/ 652 w 10002"/>
                  <a:gd name="connsiteY5" fmla="*/ 7921 h 9977"/>
                  <a:gd name="connsiteX6" fmla="*/ 290 w 10002"/>
                  <a:gd name="connsiteY6" fmla="*/ 7475 h 9977"/>
                  <a:gd name="connsiteX7" fmla="*/ 73 w 10002"/>
                  <a:gd name="connsiteY7" fmla="*/ 6980 h 9977"/>
                  <a:gd name="connsiteX8" fmla="*/ 0 w 10002"/>
                  <a:gd name="connsiteY8" fmla="*/ 6436 h 9977"/>
                  <a:gd name="connsiteX9" fmla="*/ 73 w 10002"/>
                  <a:gd name="connsiteY9" fmla="*/ 5842 h 9977"/>
                  <a:gd name="connsiteX10" fmla="*/ 290 w 10002"/>
                  <a:gd name="connsiteY10" fmla="*/ 5198 h 9977"/>
                  <a:gd name="connsiteX11" fmla="*/ 869 w 10002"/>
                  <a:gd name="connsiteY11" fmla="*/ 4505 h 9977"/>
                  <a:gd name="connsiteX12" fmla="*/ 1594 w 10002"/>
                  <a:gd name="connsiteY12" fmla="*/ 3762 h 9977"/>
                  <a:gd name="connsiteX13" fmla="*/ 1594 w 10002"/>
                  <a:gd name="connsiteY13" fmla="*/ 3762 h 9977"/>
                  <a:gd name="connsiteX14" fmla="*/ 1956 w 10002"/>
                  <a:gd name="connsiteY14" fmla="*/ 3465 h 9977"/>
                  <a:gd name="connsiteX15" fmla="*/ 2609 w 10002"/>
                  <a:gd name="connsiteY15" fmla="*/ 2723 h 9977"/>
                  <a:gd name="connsiteX16" fmla="*/ 3044 w 10002"/>
                  <a:gd name="connsiteY16" fmla="*/ 2129 h 9977"/>
                  <a:gd name="connsiteX17" fmla="*/ 3333 w 10002"/>
                  <a:gd name="connsiteY17" fmla="*/ 1535 h 9977"/>
                  <a:gd name="connsiteX18" fmla="*/ 3551 w 10002"/>
                  <a:gd name="connsiteY18" fmla="*/ 792 h 9977"/>
                  <a:gd name="connsiteX19" fmla="*/ 3696 w 10002"/>
                  <a:gd name="connsiteY19" fmla="*/ 0 h 9977"/>
                  <a:gd name="connsiteX20" fmla="*/ 3696 w 10002"/>
                  <a:gd name="connsiteY20" fmla="*/ 0 h 9977"/>
                  <a:gd name="connsiteX21" fmla="*/ 4348 w 10002"/>
                  <a:gd name="connsiteY21" fmla="*/ 297 h 9977"/>
                  <a:gd name="connsiteX22" fmla="*/ 10000 w 10002"/>
                  <a:gd name="connsiteY22" fmla="*/ 5495 h 9977"/>
                  <a:gd name="connsiteX23" fmla="*/ 5029 w 10002"/>
                  <a:gd name="connsiteY23" fmla="*/ 9977 h 9977"/>
                  <a:gd name="connsiteX0" fmla="*/ 5028 w 10000"/>
                  <a:gd name="connsiteY0" fmla="*/ 10000 h 10000"/>
                  <a:gd name="connsiteX1" fmla="*/ 1956 w 10000"/>
                  <a:gd name="connsiteY1" fmla="*/ 9080 h 10000"/>
                  <a:gd name="connsiteX2" fmla="*/ 1522 w 10000"/>
                  <a:gd name="connsiteY2" fmla="*/ 8782 h 10000"/>
                  <a:gd name="connsiteX3" fmla="*/ 1087 w 10000"/>
                  <a:gd name="connsiteY3" fmla="*/ 8385 h 10000"/>
                  <a:gd name="connsiteX4" fmla="*/ 652 w 10000"/>
                  <a:gd name="connsiteY4" fmla="*/ 7939 h 10000"/>
                  <a:gd name="connsiteX5" fmla="*/ 290 w 10000"/>
                  <a:gd name="connsiteY5" fmla="*/ 7492 h 10000"/>
                  <a:gd name="connsiteX6" fmla="*/ 73 w 10000"/>
                  <a:gd name="connsiteY6" fmla="*/ 6996 h 10000"/>
                  <a:gd name="connsiteX7" fmla="*/ 0 w 10000"/>
                  <a:gd name="connsiteY7" fmla="*/ 6451 h 10000"/>
                  <a:gd name="connsiteX8" fmla="*/ 73 w 10000"/>
                  <a:gd name="connsiteY8" fmla="*/ 5855 h 10000"/>
                  <a:gd name="connsiteX9" fmla="*/ 290 w 10000"/>
                  <a:gd name="connsiteY9" fmla="*/ 5210 h 10000"/>
                  <a:gd name="connsiteX10" fmla="*/ 869 w 10000"/>
                  <a:gd name="connsiteY10" fmla="*/ 4515 h 10000"/>
                  <a:gd name="connsiteX11" fmla="*/ 1594 w 10000"/>
                  <a:gd name="connsiteY11" fmla="*/ 3771 h 10000"/>
                  <a:gd name="connsiteX12" fmla="*/ 1594 w 10000"/>
                  <a:gd name="connsiteY12" fmla="*/ 3771 h 10000"/>
                  <a:gd name="connsiteX13" fmla="*/ 1956 w 10000"/>
                  <a:gd name="connsiteY13" fmla="*/ 3473 h 10000"/>
                  <a:gd name="connsiteX14" fmla="*/ 2608 w 10000"/>
                  <a:gd name="connsiteY14" fmla="*/ 2729 h 10000"/>
                  <a:gd name="connsiteX15" fmla="*/ 3043 w 10000"/>
                  <a:gd name="connsiteY15" fmla="*/ 2134 h 10000"/>
                  <a:gd name="connsiteX16" fmla="*/ 3332 w 10000"/>
                  <a:gd name="connsiteY16" fmla="*/ 1539 h 10000"/>
                  <a:gd name="connsiteX17" fmla="*/ 3550 w 10000"/>
                  <a:gd name="connsiteY17" fmla="*/ 794 h 10000"/>
                  <a:gd name="connsiteX18" fmla="*/ 3695 w 10000"/>
                  <a:gd name="connsiteY18" fmla="*/ 0 h 10000"/>
                  <a:gd name="connsiteX19" fmla="*/ 3695 w 10000"/>
                  <a:gd name="connsiteY19" fmla="*/ 0 h 10000"/>
                  <a:gd name="connsiteX20" fmla="*/ 4347 w 10000"/>
                  <a:gd name="connsiteY20" fmla="*/ 298 h 10000"/>
                  <a:gd name="connsiteX21" fmla="*/ 9998 w 10000"/>
                  <a:gd name="connsiteY21" fmla="*/ 5508 h 10000"/>
                  <a:gd name="connsiteX22" fmla="*/ 5028 w 10000"/>
                  <a:gd name="connsiteY22" fmla="*/ 10000 h 10000"/>
                  <a:gd name="connsiteX0" fmla="*/ 5028 w 10000"/>
                  <a:gd name="connsiteY0" fmla="*/ 10000 h 10000"/>
                  <a:gd name="connsiteX1" fmla="*/ 1956 w 10000"/>
                  <a:gd name="connsiteY1" fmla="*/ 9080 h 10000"/>
                  <a:gd name="connsiteX2" fmla="*/ 1087 w 10000"/>
                  <a:gd name="connsiteY2" fmla="*/ 8385 h 10000"/>
                  <a:gd name="connsiteX3" fmla="*/ 652 w 10000"/>
                  <a:gd name="connsiteY3" fmla="*/ 7939 h 10000"/>
                  <a:gd name="connsiteX4" fmla="*/ 290 w 10000"/>
                  <a:gd name="connsiteY4" fmla="*/ 7492 h 10000"/>
                  <a:gd name="connsiteX5" fmla="*/ 73 w 10000"/>
                  <a:gd name="connsiteY5" fmla="*/ 6996 h 10000"/>
                  <a:gd name="connsiteX6" fmla="*/ 0 w 10000"/>
                  <a:gd name="connsiteY6" fmla="*/ 6451 h 10000"/>
                  <a:gd name="connsiteX7" fmla="*/ 73 w 10000"/>
                  <a:gd name="connsiteY7" fmla="*/ 5855 h 10000"/>
                  <a:gd name="connsiteX8" fmla="*/ 290 w 10000"/>
                  <a:gd name="connsiteY8" fmla="*/ 5210 h 10000"/>
                  <a:gd name="connsiteX9" fmla="*/ 869 w 10000"/>
                  <a:gd name="connsiteY9" fmla="*/ 4515 h 10000"/>
                  <a:gd name="connsiteX10" fmla="*/ 1594 w 10000"/>
                  <a:gd name="connsiteY10" fmla="*/ 3771 h 10000"/>
                  <a:gd name="connsiteX11" fmla="*/ 1594 w 10000"/>
                  <a:gd name="connsiteY11" fmla="*/ 3771 h 10000"/>
                  <a:gd name="connsiteX12" fmla="*/ 1956 w 10000"/>
                  <a:gd name="connsiteY12" fmla="*/ 3473 h 10000"/>
                  <a:gd name="connsiteX13" fmla="*/ 2608 w 10000"/>
                  <a:gd name="connsiteY13" fmla="*/ 2729 h 10000"/>
                  <a:gd name="connsiteX14" fmla="*/ 3043 w 10000"/>
                  <a:gd name="connsiteY14" fmla="*/ 2134 h 10000"/>
                  <a:gd name="connsiteX15" fmla="*/ 3332 w 10000"/>
                  <a:gd name="connsiteY15" fmla="*/ 1539 h 10000"/>
                  <a:gd name="connsiteX16" fmla="*/ 3550 w 10000"/>
                  <a:gd name="connsiteY16" fmla="*/ 794 h 10000"/>
                  <a:gd name="connsiteX17" fmla="*/ 3695 w 10000"/>
                  <a:gd name="connsiteY17" fmla="*/ 0 h 10000"/>
                  <a:gd name="connsiteX18" fmla="*/ 3695 w 10000"/>
                  <a:gd name="connsiteY18" fmla="*/ 0 h 10000"/>
                  <a:gd name="connsiteX19" fmla="*/ 4347 w 10000"/>
                  <a:gd name="connsiteY19" fmla="*/ 298 h 10000"/>
                  <a:gd name="connsiteX20" fmla="*/ 9998 w 10000"/>
                  <a:gd name="connsiteY20" fmla="*/ 5508 h 10000"/>
                  <a:gd name="connsiteX21" fmla="*/ 5028 w 10000"/>
                  <a:gd name="connsiteY21" fmla="*/ 10000 h 10000"/>
                  <a:gd name="connsiteX0" fmla="*/ 5028 w 10000"/>
                  <a:gd name="connsiteY0" fmla="*/ 10000 h 10000"/>
                  <a:gd name="connsiteX1" fmla="*/ 1087 w 10000"/>
                  <a:gd name="connsiteY1" fmla="*/ 8385 h 10000"/>
                  <a:gd name="connsiteX2" fmla="*/ 652 w 10000"/>
                  <a:gd name="connsiteY2" fmla="*/ 7939 h 10000"/>
                  <a:gd name="connsiteX3" fmla="*/ 290 w 10000"/>
                  <a:gd name="connsiteY3" fmla="*/ 7492 h 10000"/>
                  <a:gd name="connsiteX4" fmla="*/ 73 w 10000"/>
                  <a:gd name="connsiteY4" fmla="*/ 6996 h 10000"/>
                  <a:gd name="connsiteX5" fmla="*/ 0 w 10000"/>
                  <a:gd name="connsiteY5" fmla="*/ 6451 h 10000"/>
                  <a:gd name="connsiteX6" fmla="*/ 73 w 10000"/>
                  <a:gd name="connsiteY6" fmla="*/ 5855 h 10000"/>
                  <a:gd name="connsiteX7" fmla="*/ 290 w 10000"/>
                  <a:gd name="connsiteY7" fmla="*/ 5210 h 10000"/>
                  <a:gd name="connsiteX8" fmla="*/ 869 w 10000"/>
                  <a:gd name="connsiteY8" fmla="*/ 4515 h 10000"/>
                  <a:gd name="connsiteX9" fmla="*/ 1594 w 10000"/>
                  <a:gd name="connsiteY9" fmla="*/ 3771 h 10000"/>
                  <a:gd name="connsiteX10" fmla="*/ 1594 w 10000"/>
                  <a:gd name="connsiteY10" fmla="*/ 3771 h 10000"/>
                  <a:gd name="connsiteX11" fmla="*/ 1956 w 10000"/>
                  <a:gd name="connsiteY11" fmla="*/ 3473 h 10000"/>
                  <a:gd name="connsiteX12" fmla="*/ 2608 w 10000"/>
                  <a:gd name="connsiteY12" fmla="*/ 2729 h 10000"/>
                  <a:gd name="connsiteX13" fmla="*/ 3043 w 10000"/>
                  <a:gd name="connsiteY13" fmla="*/ 2134 h 10000"/>
                  <a:gd name="connsiteX14" fmla="*/ 3332 w 10000"/>
                  <a:gd name="connsiteY14" fmla="*/ 1539 h 10000"/>
                  <a:gd name="connsiteX15" fmla="*/ 3550 w 10000"/>
                  <a:gd name="connsiteY15" fmla="*/ 794 h 10000"/>
                  <a:gd name="connsiteX16" fmla="*/ 3695 w 10000"/>
                  <a:gd name="connsiteY16" fmla="*/ 0 h 10000"/>
                  <a:gd name="connsiteX17" fmla="*/ 3695 w 10000"/>
                  <a:gd name="connsiteY17" fmla="*/ 0 h 10000"/>
                  <a:gd name="connsiteX18" fmla="*/ 4347 w 10000"/>
                  <a:gd name="connsiteY18" fmla="*/ 298 h 10000"/>
                  <a:gd name="connsiteX19" fmla="*/ 9998 w 10000"/>
                  <a:gd name="connsiteY19" fmla="*/ 5508 h 10000"/>
                  <a:gd name="connsiteX20" fmla="*/ 5028 w 10000"/>
                  <a:gd name="connsiteY20" fmla="*/ 10000 h 10000"/>
                  <a:gd name="connsiteX0" fmla="*/ 5028 w 10000"/>
                  <a:gd name="connsiteY0" fmla="*/ 10000 h 10000"/>
                  <a:gd name="connsiteX1" fmla="*/ 652 w 10000"/>
                  <a:gd name="connsiteY1" fmla="*/ 7939 h 10000"/>
                  <a:gd name="connsiteX2" fmla="*/ 290 w 10000"/>
                  <a:gd name="connsiteY2" fmla="*/ 7492 h 10000"/>
                  <a:gd name="connsiteX3" fmla="*/ 73 w 10000"/>
                  <a:gd name="connsiteY3" fmla="*/ 6996 h 10000"/>
                  <a:gd name="connsiteX4" fmla="*/ 0 w 10000"/>
                  <a:gd name="connsiteY4" fmla="*/ 6451 h 10000"/>
                  <a:gd name="connsiteX5" fmla="*/ 73 w 10000"/>
                  <a:gd name="connsiteY5" fmla="*/ 5855 h 10000"/>
                  <a:gd name="connsiteX6" fmla="*/ 290 w 10000"/>
                  <a:gd name="connsiteY6" fmla="*/ 5210 h 10000"/>
                  <a:gd name="connsiteX7" fmla="*/ 869 w 10000"/>
                  <a:gd name="connsiteY7" fmla="*/ 4515 h 10000"/>
                  <a:gd name="connsiteX8" fmla="*/ 1594 w 10000"/>
                  <a:gd name="connsiteY8" fmla="*/ 3771 h 10000"/>
                  <a:gd name="connsiteX9" fmla="*/ 1594 w 10000"/>
                  <a:gd name="connsiteY9" fmla="*/ 3771 h 10000"/>
                  <a:gd name="connsiteX10" fmla="*/ 1956 w 10000"/>
                  <a:gd name="connsiteY10" fmla="*/ 3473 h 10000"/>
                  <a:gd name="connsiteX11" fmla="*/ 2608 w 10000"/>
                  <a:gd name="connsiteY11" fmla="*/ 2729 h 10000"/>
                  <a:gd name="connsiteX12" fmla="*/ 3043 w 10000"/>
                  <a:gd name="connsiteY12" fmla="*/ 2134 h 10000"/>
                  <a:gd name="connsiteX13" fmla="*/ 3332 w 10000"/>
                  <a:gd name="connsiteY13" fmla="*/ 1539 h 10000"/>
                  <a:gd name="connsiteX14" fmla="*/ 3550 w 10000"/>
                  <a:gd name="connsiteY14" fmla="*/ 794 h 10000"/>
                  <a:gd name="connsiteX15" fmla="*/ 3695 w 10000"/>
                  <a:gd name="connsiteY15" fmla="*/ 0 h 10000"/>
                  <a:gd name="connsiteX16" fmla="*/ 3695 w 10000"/>
                  <a:gd name="connsiteY16" fmla="*/ 0 h 10000"/>
                  <a:gd name="connsiteX17" fmla="*/ 4347 w 10000"/>
                  <a:gd name="connsiteY17" fmla="*/ 298 h 10000"/>
                  <a:gd name="connsiteX18" fmla="*/ 9998 w 10000"/>
                  <a:gd name="connsiteY18" fmla="*/ 5508 h 10000"/>
                  <a:gd name="connsiteX19" fmla="*/ 5028 w 10000"/>
                  <a:gd name="connsiteY19" fmla="*/ 10000 h 10000"/>
                  <a:gd name="connsiteX0" fmla="*/ 5028 w 10000"/>
                  <a:gd name="connsiteY0" fmla="*/ 10000 h 10000"/>
                  <a:gd name="connsiteX1" fmla="*/ 290 w 10000"/>
                  <a:gd name="connsiteY1" fmla="*/ 7492 h 10000"/>
                  <a:gd name="connsiteX2" fmla="*/ 73 w 10000"/>
                  <a:gd name="connsiteY2" fmla="*/ 6996 h 10000"/>
                  <a:gd name="connsiteX3" fmla="*/ 0 w 10000"/>
                  <a:gd name="connsiteY3" fmla="*/ 6451 h 10000"/>
                  <a:gd name="connsiteX4" fmla="*/ 73 w 10000"/>
                  <a:gd name="connsiteY4" fmla="*/ 5855 h 10000"/>
                  <a:gd name="connsiteX5" fmla="*/ 290 w 10000"/>
                  <a:gd name="connsiteY5" fmla="*/ 5210 h 10000"/>
                  <a:gd name="connsiteX6" fmla="*/ 869 w 10000"/>
                  <a:gd name="connsiteY6" fmla="*/ 4515 h 10000"/>
                  <a:gd name="connsiteX7" fmla="*/ 1594 w 10000"/>
                  <a:gd name="connsiteY7" fmla="*/ 3771 h 10000"/>
                  <a:gd name="connsiteX8" fmla="*/ 1594 w 10000"/>
                  <a:gd name="connsiteY8" fmla="*/ 3771 h 10000"/>
                  <a:gd name="connsiteX9" fmla="*/ 1956 w 10000"/>
                  <a:gd name="connsiteY9" fmla="*/ 3473 h 10000"/>
                  <a:gd name="connsiteX10" fmla="*/ 2608 w 10000"/>
                  <a:gd name="connsiteY10" fmla="*/ 2729 h 10000"/>
                  <a:gd name="connsiteX11" fmla="*/ 3043 w 10000"/>
                  <a:gd name="connsiteY11" fmla="*/ 2134 h 10000"/>
                  <a:gd name="connsiteX12" fmla="*/ 3332 w 10000"/>
                  <a:gd name="connsiteY12" fmla="*/ 1539 h 10000"/>
                  <a:gd name="connsiteX13" fmla="*/ 3550 w 10000"/>
                  <a:gd name="connsiteY13" fmla="*/ 794 h 10000"/>
                  <a:gd name="connsiteX14" fmla="*/ 3695 w 10000"/>
                  <a:gd name="connsiteY14" fmla="*/ 0 h 10000"/>
                  <a:gd name="connsiteX15" fmla="*/ 3695 w 10000"/>
                  <a:gd name="connsiteY15" fmla="*/ 0 h 10000"/>
                  <a:gd name="connsiteX16" fmla="*/ 4347 w 10000"/>
                  <a:gd name="connsiteY16" fmla="*/ 298 h 10000"/>
                  <a:gd name="connsiteX17" fmla="*/ 9998 w 10000"/>
                  <a:gd name="connsiteY17" fmla="*/ 5508 h 10000"/>
                  <a:gd name="connsiteX18" fmla="*/ 5028 w 10000"/>
                  <a:gd name="connsiteY18" fmla="*/ 10000 h 10000"/>
                  <a:gd name="connsiteX0" fmla="*/ 5028 w 10000"/>
                  <a:gd name="connsiteY0" fmla="*/ 10000 h 10000"/>
                  <a:gd name="connsiteX1" fmla="*/ 73 w 10000"/>
                  <a:gd name="connsiteY1" fmla="*/ 6996 h 10000"/>
                  <a:gd name="connsiteX2" fmla="*/ 0 w 10000"/>
                  <a:gd name="connsiteY2" fmla="*/ 6451 h 10000"/>
                  <a:gd name="connsiteX3" fmla="*/ 73 w 10000"/>
                  <a:gd name="connsiteY3" fmla="*/ 5855 h 10000"/>
                  <a:gd name="connsiteX4" fmla="*/ 290 w 10000"/>
                  <a:gd name="connsiteY4" fmla="*/ 5210 h 10000"/>
                  <a:gd name="connsiteX5" fmla="*/ 869 w 10000"/>
                  <a:gd name="connsiteY5" fmla="*/ 4515 h 10000"/>
                  <a:gd name="connsiteX6" fmla="*/ 1594 w 10000"/>
                  <a:gd name="connsiteY6" fmla="*/ 3771 h 10000"/>
                  <a:gd name="connsiteX7" fmla="*/ 1594 w 10000"/>
                  <a:gd name="connsiteY7" fmla="*/ 3771 h 10000"/>
                  <a:gd name="connsiteX8" fmla="*/ 1956 w 10000"/>
                  <a:gd name="connsiteY8" fmla="*/ 3473 h 10000"/>
                  <a:gd name="connsiteX9" fmla="*/ 2608 w 10000"/>
                  <a:gd name="connsiteY9" fmla="*/ 2729 h 10000"/>
                  <a:gd name="connsiteX10" fmla="*/ 3043 w 10000"/>
                  <a:gd name="connsiteY10" fmla="*/ 2134 h 10000"/>
                  <a:gd name="connsiteX11" fmla="*/ 3332 w 10000"/>
                  <a:gd name="connsiteY11" fmla="*/ 1539 h 10000"/>
                  <a:gd name="connsiteX12" fmla="*/ 3550 w 10000"/>
                  <a:gd name="connsiteY12" fmla="*/ 794 h 10000"/>
                  <a:gd name="connsiteX13" fmla="*/ 3695 w 10000"/>
                  <a:gd name="connsiteY13" fmla="*/ 0 h 10000"/>
                  <a:gd name="connsiteX14" fmla="*/ 3695 w 10000"/>
                  <a:gd name="connsiteY14" fmla="*/ 0 h 10000"/>
                  <a:gd name="connsiteX15" fmla="*/ 4347 w 10000"/>
                  <a:gd name="connsiteY15" fmla="*/ 298 h 10000"/>
                  <a:gd name="connsiteX16" fmla="*/ 9998 w 10000"/>
                  <a:gd name="connsiteY16" fmla="*/ 5508 h 10000"/>
                  <a:gd name="connsiteX17" fmla="*/ 5028 w 10000"/>
                  <a:gd name="connsiteY17" fmla="*/ 10000 h 10000"/>
                  <a:gd name="connsiteX0" fmla="*/ 5028 w 10000"/>
                  <a:gd name="connsiteY0" fmla="*/ 10000 h 10000"/>
                  <a:gd name="connsiteX1" fmla="*/ 0 w 10000"/>
                  <a:gd name="connsiteY1" fmla="*/ 6451 h 10000"/>
                  <a:gd name="connsiteX2" fmla="*/ 73 w 10000"/>
                  <a:gd name="connsiteY2" fmla="*/ 5855 h 10000"/>
                  <a:gd name="connsiteX3" fmla="*/ 290 w 10000"/>
                  <a:gd name="connsiteY3" fmla="*/ 5210 h 10000"/>
                  <a:gd name="connsiteX4" fmla="*/ 869 w 10000"/>
                  <a:gd name="connsiteY4" fmla="*/ 4515 h 10000"/>
                  <a:gd name="connsiteX5" fmla="*/ 1594 w 10000"/>
                  <a:gd name="connsiteY5" fmla="*/ 3771 h 10000"/>
                  <a:gd name="connsiteX6" fmla="*/ 1594 w 10000"/>
                  <a:gd name="connsiteY6" fmla="*/ 3771 h 10000"/>
                  <a:gd name="connsiteX7" fmla="*/ 1956 w 10000"/>
                  <a:gd name="connsiteY7" fmla="*/ 3473 h 10000"/>
                  <a:gd name="connsiteX8" fmla="*/ 2608 w 10000"/>
                  <a:gd name="connsiteY8" fmla="*/ 2729 h 10000"/>
                  <a:gd name="connsiteX9" fmla="*/ 3043 w 10000"/>
                  <a:gd name="connsiteY9" fmla="*/ 2134 h 10000"/>
                  <a:gd name="connsiteX10" fmla="*/ 3332 w 10000"/>
                  <a:gd name="connsiteY10" fmla="*/ 1539 h 10000"/>
                  <a:gd name="connsiteX11" fmla="*/ 3550 w 10000"/>
                  <a:gd name="connsiteY11" fmla="*/ 794 h 10000"/>
                  <a:gd name="connsiteX12" fmla="*/ 3695 w 10000"/>
                  <a:gd name="connsiteY12" fmla="*/ 0 h 10000"/>
                  <a:gd name="connsiteX13" fmla="*/ 3695 w 10000"/>
                  <a:gd name="connsiteY13" fmla="*/ 0 h 10000"/>
                  <a:gd name="connsiteX14" fmla="*/ 4347 w 10000"/>
                  <a:gd name="connsiteY14" fmla="*/ 298 h 10000"/>
                  <a:gd name="connsiteX15" fmla="*/ 9998 w 10000"/>
                  <a:gd name="connsiteY15" fmla="*/ 5508 h 10000"/>
                  <a:gd name="connsiteX16" fmla="*/ 5028 w 10000"/>
                  <a:gd name="connsiteY16" fmla="*/ 10000 h 10000"/>
                  <a:gd name="connsiteX0" fmla="*/ 4955 w 9927"/>
                  <a:gd name="connsiteY0" fmla="*/ 10000 h 10000"/>
                  <a:gd name="connsiteX1" fmla="*/ 0 w 9927"/>
                  <a:gd name="connsiteY1" fmla="*/ 5855 h 10000"/>
                  <a:gd name="connsiteX2" fmla="*/ 217 w 9927"/>
                  <a:gd name="connsiteY2" fmla="*/ 5210 h 10000"/>
                  <a:gd name="connsiteX3" fmla="*/ 796 w 9927"/>
                  <a:gd name="connsiteY3" fmla="*/ 4515 h 10000"/>
                  <a:gd name="connsiteX4" fmla="*/ 1521 w 9927"/>
                  <a:gd name="connsiteY4" fmla="*/ 3771 h 10000"/>
                  <a:gd name="connsiteX5" fmla="*/ 1521 w 9927"/>
                  <a:gd name="connsiteY5" fmla="*/ 3771 h 10000"/>
                  <a:gd name="connsiteX6" fmla="*/ 1883 w 9927"/>
                  <a:gd name="connsiteY6" fmla="*/ 3473 h 10000"/>
                  <a:gd name="connsiteX7" fmla="*/ 2535 w 9927"/>
                  <a:gd name="connsiteY7" fmla="*/ 2729 h 10000"/>
                  <a:gd name="connsiteX8" fmla="*/ 2970 w 9927"/>
                  <a:gd name="connsiteY8" fmla="*/ 2134 h 10000"/>
                  <a:gd name="connsiteX9" fmla="*/ 3259 w 9927"/>
                  <a:gd name="connsiteY9" fmla="*/ 1539 h 10000"/>
                  <a:gd name="connsiteX10" fmla="*/ 3477 w 9927"/>
                  <a:gd name="connsiteY10" fmla="*/ 794 h 10000"/>
                  <a:gd name="connsiteX11" fmla="*/ 3622 w 9927"/>
                  <a:gd name="connsiteY11" fmla="*/ 0 h 10000"/>
                  <a:gd name="connsiteX12" fmla="*/ 3622 w 9927"/>
                  <a:gd name="connsiteY12" fmla="*/ 0 h 10000"/>
                  <a:gd name="connsiteX13" fmla="*/ 4274 w 9927"/>
                  <a:gd name="connsiteY13" fmla="*/ 298 h 10000"/>
                  <a:gd name="connsiteX14" fmla="*/ 9925 w 9927"/>
                  <a:gd name="connsiteY14" fmla="*/ 5508 h 10000"/>
                  <a:gd name="connsiteX15" fmla="*/ 4955 w 9927"/>
                  <a:gd name="connsiteY15" fmla="*/ 10000 h 10000"/>
                  <a:gd name="connsiteX0" fmla="*/ 4991 w 10000"/>
                  <a:gd name="connsiteY0" fmla="*/ 10000 h 10000"/>
                  <a:gd name="connsiteX1" fmla="*/ 0 w 10000"/>
                  <a:gd name="connsiteY1" fmla="*/ 5855 h 10000"/>
                  <a:gd name="connsiteX2" fmla="*/ 802 w 10000"/>
                  <a:gd name="connsiteY2" fmla="*/ 4515 h 10000"/>
                  <a:gd name="connsiteX3" fmla="*/ 1532 w 10000"/>
                  <a:gd name="connsiteY3" fmla="*/ 3771 h 10000"/>
                  <a:gd name="connsiteX4" fmla="*/ 1532 w 10000"/>
                  <a:gd name="connsiteY4" fmla="*/ 3771 h 10000"/>
                  <a:gd name="connsiteX5" fmla="*/ 1897 w 10000"/>
                  <a:gd name="connsiteY5" fmla="*/ 3473 h 10000"/>
                  <a:gd name="connsiteX6" fmla="*/ 2554 w 10000"/>
                  <a:gd name="connsiteY6" fmla="*/ 2729 h 10000"/>
                  <a:gd name="connsiteX7" fmla="*/ 2992 w 10000"/>
                  <a:gd name="connsiteY7" fmla="*/ 2134 h 10000"/>
                  <a:gd name="connsiteX8" fmla="*/ 3283 w 10000"/>
                  <a:gd name="connsiteY8" fmla="*/ 1539 h 10000"/>
                  <a:gd name="connsiteX9" fmla="*/ 3503 w 10000"/>
                  <a:gd name="connsiteY9" fmla="*/ 794 h 10000"/>
                  <a:gd name="connsiteX10" fmla="*/ 3649 w 10000"/>
                  <a:gd name="connsiteY10" fmla="*/ 0 h 10000"/>
                  <a:gd name="connsiteX11" fmla="*/ 3649 w 10000"/>
                  <a:gd name="connsiteY11" fmla="*/ 0 h 10000"/>
                  <a:gd name="connsiteX12" fmla="*/ 4305 w 10000"/>
                  <a:gd name="connsiteY12" fmla="*/ 298 h 10000"/>
                  <a:gd name="connsiteX13" fmla="*/ 9998 w 10000"/>
                  <a:gd name="connsiteY13" fmla="*/ 5508 h 10000"/>
                  <a:gd name="connsiteX14" fmla="*/ 4991 w 10000"/>
                  <a:gd name="connsiteY14" fmla="*/ 10000 h 10000"/>
                  <a:gd name="connsiteX0" fmla="*/ 4991 w 10000"/>
                  <a:gd name="connsiteY0" fmla="*/ 10000 h 10000"/>
                  <a:gd name="connsiteX1" fmla="*/ 0 w 10000"/>
                  <a:gd name="connsiteY1" fmla="*/ 5855 h 10000"/>
                  <a:gd name="connsiteX2" fmla="*/ 1532 w 10000"/>
                  <a:gd name="connsiteY2" fmla="*/ 3771 h 10000"/>
                  <a:gd name="connsiteX3" fmla="*/ 1532 w 10000"/>
                  <a:gd name="connsiteY3" fmla="*/ 3771 h 10000"/>
                  <a:gd name="connsiteX4" fmla="*/ 1897 w 10000"/>
                  <a:gd name="connsiteY4" fmla="*/ 3473 h 10000"/>
                  <a:gd name="connsiteX5" fmla="*/ 2554 w 10000"/>
                  <a:gd name="connsiteY5" fmla="*/ 2729 h 10000"/>
                  <a:gd name="connsiteX6" fmla="*/ 2992 w 10000"/>
                  <a:gd name="connsiteY6" fmla="*/ 2134 h 10000"/>
                  <a:gd name="connsiteX7" fmla="*/ 3283 w 10000"/>
                  <a:gd name="connsiteY7" fmla="*/ 1539 h 10000"/>
                  <a:gd name="connsiteX8" fmla="*/ 3503 w 10000"/>
                  <a:gd name="connsiteY8" fmla="*/ 794 h 10000"/>
                  <a:gd name="connsiteX9" fmla="*/ 3649 w 10000"/>
                  <a:gd name="connsiteY9" fmla="*/ 0 h 10000"/>
                  <a:gd name="connsiteX10" fmla="*/ 3649 w 10000"/>
                  <a:gd name="connsiteY10" fmla="*/ 0 h 10000"/>
                  <a:gd name="connsiteX11" fmla="*/ 4305 w 10000"/>
                  <a:gd name="connsiteY11" fmla="*/ 298 h 10000"/>
                  <a:gd name="connsiteX12" fmla="*/ 9998 w 10000"/>
                  <a:gd name="connsiteY12" fmla="*/ 5508 h 10000"/>
                  <a:gd name="connsiteX13" fmla="*/ 4991 w 10000"/>
                  <a:gd name="connsiteY13" fmla="*/ 10000 h 10000"/>
                  <a:gd name="connsiteX0" fmla="*/ 4991 w 10000"/>
                  <a:gd name="connsiteY0" fmla="*/ 10000 h 10000"/>
                  <a:gd name="connsiteX1" fmla="*/ 0 w 10000"/>
                  <a:gd name="connsiteY1" fmla="*/ 5855 h 10000"/>
                  <a:gd name="connsiteX2" fmla="*/ 1532 w 10000"/>
                  <a:gd name="connsiteY2" fmla="*/ 3771 h 10000"/>
                  <a:gd name="connsiteX3" fmla="*/ 1897 w 10000"/>
                  <a:gd name="connsiteY3" fmla="*/ 3473 h 10000"/>
                  <a:gd name="connsiteX4" fmla="*/ 2554 w 10000"/>
                  <a:gd name="connsiteY4" fmla="*/ 2729 h 10000"/>
                  <a:gd name="connsiteX5" fmla="*/ 2992 w 10000"/>
                  <a:gd name="connsiteY5" fmla="*/ 2134 h 10000"/>
                  <a:gd name="connsiteX6" fmla="*/ 3283 w 10000"/>
                  <a:gd name="connsiteY6" fmla="*/ 1539 h 10000"/>
                  <a:gd name="connsiteX7" fmla="*/ 3503 w 10000"/>
                  <a:gd name="connsiteY7" fmla="*/ 794 h 10000"/>
                  <a:gd name="connsiteX8" fmla="*/ 3649 w 10000"/>
                  <a:gd name="connsiteY8" fmla="*/ 0 h 10000"/>
                  <a:gd name="connsiteX9" fmla="*/ 3649 w 10000"/>
                  <a:gd name="connsiteY9" fmla="*/ 0 h 10000"/>
                  <a:gd name="connsiteX10" fmla="*/ 4305 w 10000"/>
                  <a:gd name="connsiteY10" fmla="*/ 298 h 10000"/>
                  <a:gd name="connsiteX11" fmla="*/ 9998 w 10000"/>
                  <a:gd name="connsiteY11" fmla="*/ 5508 h 10000"/>
                  <a:gd name="connsiteX12" fmla="*/ 4991 w 10000"/>
                  <a:gd name="connsiteY12" fmla="*/ 10000 h 10000"/>
                  <a:gd name="connsiteX0" fmla="*/ 4991 w 10000"/>
                  <a:gd name="connsiteY0" fmla="*/ 10000 h 10000"/>
                  <a:gd name="connsiteX1" fmla="*/ 0 w 10000"/>
                  <a:gd name="connsiteY1" fmla="*/ 5855 h 10000"/>
                  <a:gd name="connsiteX2" fmla="*/ 1532 w 10000"/>
                  <a:gd name="connsiteY2" fmla="*/ 3771 h 10000"/>
                  <a:gd name="connsiteX3" fmla="*/ 2554 w 10000"/>
                  <a:gd name="connsiteY3" fmla="*/ 2729 h 10000"/>
                  <a:gd name="connsiteX4" fmla="*/ 2992 w 10000"/>
                  <a:gd name="connsiteY4" fmla="*/ 2134 h 10000"/>
                  <a:gd name="connsiteX5" fmla="*/ 3283 w 10000"/>
                  <a:gd name="connsiteY5" fmla="*/ 1539 h 10000"/>
                  <a:gd name="connsiteX6" fmla="*/ 3503 w 10000"/>
                  <a:gd name="connsiteY6" fmla="*/ 794 h 10000"/>
                  <a:gd name="connsiteX7" fmla="*/ 3649 w 10000"/>
                  <a:gd name="connsiteY7" fmla="*/ 0 h 10000"/>
                  <a:gd name="connsiteX8" fmla="*/ 3649 w 10000"/>
                  <a:gd name="connsiteY8" fmla="*/ 0 h 10000"/>
                  <a:gd name="connsiteX9" fmla="*/ 4305 w 10000"/>
                  <a:gd name="connsiteY9" fmla="*/ 298 h 10000"/>
                  <a:gd name="connsiteX10" fmla="*/ 9998 w 10000"/>
                  <a:gd name="connsiteY10" fmla="*/ 5508 h 10000"/>
                  <a:gd name="connsiteX11" fmla="*/ 4991 w 10000"/>
                  <a:gd name="connsiteY11" fmla="*/ 10000 h 10000"/>
                  <a:gd name="connsiteX0" fmla="*/ 4991 w 10000"/>
                  <a:gd name="connsiteY0" fmla="*/ 10000 h 10000"/>
                  <a:gd name="connsiteX1" fmla="*/ 0 w 10000"/>
                  <a:gd name="connsiteY1" fmla="*/ 5855 h 10000"/>
                  <a:gd name="connsiteX2" fmla="*/ 2554 w 10000"/>
                  <a:gd name="connsiteY2" fmla="*/ 2729 h 10000"/>
                  <a:gd name="connsiteX3" fmla="*/ 2992 w 10000"/>
                  <a:gd name="connsiteY3" fmla="*/ 2134 h 10000"/>
                  <a:gd name="connsiteX4" fmla="*/ 3283 w 10000"/>
                  <a:gd name="connsiteY4" fmla="*/ 1539 h 10000"/>
                  <a:gd name="connsiteX5" fmla="*/ 3503 w 10000"/>
                  <a:gd name="connsiteY5" fmla="*/ 794 h 10000"/>
                  <a:gd name="connsiteX6" fmla="*/ 3649 w 10000"/>
                  <a:gd name="connsiteY6" fmla="*/ 0 h 10000"/>
                  <a:gd name="connsiteX7" fmla="*/ 3649 w 10000"/>
                  <a:gd name="connsiteY7" fmla="*/ 0 h 10000"/>
                  <a:gd name="connsiteX8" fmla="*/ 4305 w 10000"/>
                  <a:gd name="connsiteY8" fmla="*/ 298 h 10000"/>
                  <a:gd name="connsiteX9" fmla="*/ 9998 w 10000"/>
                  <a:gd name="connsiteY9" fmla="*/ 5508 h 10000"/>
                  <a:gd name="connsiteX10" fmla="*/ 4991 w 10000"/>
                  <a:gd name="connsiteY10" fmla="*/ 10000 h 10000"/>
                  <a:gd name="connsiteX0" fmla="*/ 4991 w 10000"/>
                  <a:gd name="connsiteY0" fmla="*/ 10000 h 10000"/>
                  <a:gd name="connsiteX1" fmla="*/ 0 w 10000"/>
                  <a:gd name="connsiteY1" fmla="*/ 5855 h 10000"/>
                  <a:gd name="connsiteX2" fmla="*/ 2992 w 10000"/>
                  <a:gd name="connsiteY2" fmla="*/ 2134 h 10000"/>
                  <a:gd name="connsiteX3" fmla="*/ 3283 w 10000"/>
                  <a:gd name="connsiteY3" fmla="*/ 1539 h 10000"/>
                  <a:gd name="connsiteX4" fmla="*/ 3503 w 10000"/>
                  <a:gd name="connsiteY4" fmla="*/ 794 h 10000"/>
                  <a:gd name="connsiteX5" fmla="*/ 3649 w 10000"/>
                  <a:gd name="connsiteY5" fmla="*/ 0 h 10000"/>
                  <a:gd name="connsiteX6" fmla="*/ 3649 w 10000"/>
                  <a:gd name="connsiteY6" fmla="*/ 0 h 10000"/>
                  <a:gd name="connsiteX7" fmla="*/ 4305 w 10000"/>
                  <a:gd name="connsiteY7" fmla="*/ 298 h 10000"/>
                  <a:gd name="connsiteX8" fmla="*/ 9998 w 10000"/>
                  <a:gd name="connsiteY8" fmla="*/ 5508 h 10000"/>
                  <a:gd name="connsiteX9" fmla="*/ 4991 w 10000"/>
                  <a:gd name="connsiteY9" fmla="*/ 10000 h 10000"/>
                  <a:gd name="connsiteX0" fmla="*/ 4991 w 10000"/>
                  <a:gd name="connsiteY0" fmla="*/ 10000 h 10000"/>
                  <a:gd name="connsiteX1" fmla="*/ 0 w 10000"/>
                  <a:gd name="connsiteY1" fmla="*/ 5855 h 10000"/>
                  <a:gd name="connsiteX2" fmla="*/ 3283 w 10000"/>
                  <a:gd name="connsiteY2" fmla="*/ 1539 h 10000"/>
                  <a:gd name="connsiteX3" fmla="*/ 3503 w 10000"/>
                  <a:gd name="connsiteY3" fmla="*/ 794 h 10000"/>
                  <a:gd name="connsiteX4" fmla="*/ 3649 w 10000"/>
                  <a:gd name="connsiteY4" fmla="*/ 0 h 10000"/>
                  <a:gd name="connsiteX5" fmla="*/ 3649 w 10000"/>
                  <a:gd name="connsiteY5" fmla="*/ 0 h 10000"/>
                  <a:gd name="connsiteX6" fmla="*/ 4305 w 10000"/>
                  <a:gd name="connsiteY6" fmla="*/ 298 h 10000"/>
                  <a:gd name="connsiteX7" fmla="*/ 9998 w 10000"/>
                  <a:gd name="connsiteY7" fmla="*/ 5508 h 10000"/>
                  <a:gd name="connsiteX8" fmla="*/ 4991 w 10000"/>
                  <a:gd name="connsiteY8" fmla="*/ 10000 h 10000"/>
                  <a:gd name="connsiteX0" fmla="*/ 4991 w 10000"/>
                  <a:gd name="connsiteY0" fmla="*/ 10000 h 10000"/>
                  <a:gd name="connsiteX1" fmla="*/ 0 w 10000"/>
                  <a:gd name="connsiteY1" fmla="*/ 5855 h 10000"/>
                  <a:gd name="connsiteX2" fmla="*/ 3503 w 10000"/>
                  <a:gd name="connsiteY2" fmla="*/ 794 h 10000"/>
                  <a:gd name="connsiteX3" fmla="*/ 3649 w 10000"/>
                  <a:gd name="connsiteY3" fmla="*/ 0 h 10000"/>
                  <a:gd name="connsiteX4" fmla="*/ 3649 w 10000"/>
                  <a:gd name="connsiteY4" fmla="*/ 0 h 10000"/>
                  <a:gd name="connsiteX5" fmla="*/ 4305 w 10000"/>
                  <a:gd name="connsiteY5" fmla="*/ 298 h 10000"/>
                  <a:gd name="connsiteX6" fmla="*/ 9998 w 10000"/>
                  <a:gd name="connsiteY6" fmla="*/ 5508 h 10000"/>
                  <a:gd name="connsiteX7" fmla="*/ 4991 w 10000"/>
                  <a:gd name="connsiteY7"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4305 w 10000"/>
                  <a:gd name="connsiteY4" fmla="*/ 298 h 10000"/>
                  <a:gd name="connsiteX5" fmla="*/ 9998 w 10000"/>
                  <a:gd name="connsiteY5" fmla="*/ 5508 h 10000"/>
                  <a:gd name="connsiteX6" fmla="*/ 4991 w 10000"/>
                  <a:gd name="connsiteY6"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9998 w 10000"/>
                  <a:gd name="connsiteY4" fmla="*/ 5508 h 10000"/>
                  <a:gd name="connsiteX5" fmla="*/ 4991 w 10000"/>
                  <a:gd name="connsiteY5" fmla="*/ 10000 h 10000"/>
                  <a:gd name="connsiteX0" fmla="*/ 4991 w 10004"/>
                  <a:gd name="connsiteY0" fmla="*/ 10000 h 10000"/>
                  <a:gd name="connsiteX1" fmla="*/ 0 w 10004"/>
                  <a:gd name="connsiteY1" fmla="*/ 5855 h 10000"/>
                  <a:gd name="connsiteX2" fmla="*/ 3649 w 10004"/>
                  <a:gd name="connsiteY2" fmla="*/ 0 h 10000"/>
                  <a:gd name="connsiteX3" fmla="*/ 3649 w 10004"/>
                  <a:gd name="connsiteY3" fmla="*/ 0 h 10000"/>
                  <a:gd name="connsiteX4" fmla="*/ 9998 w 10004"/>
                  <a:gd name="connsiteY4" fmla="*/ 5508 h 10000"/>
                  <a:gd name="connsiteX5" fmla="*/ 4991 w 10004"/>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77 w 10090"/>
                  <a:gd name="connsiteY0" fmla="*/ 10000 h 10000"/>
                  <a:gd name="connsiteX1" fmla="*/ 86 w 10090"/>
                  <a:gd name="connsiteY1" fmla="*/ 5855 h 10000"/>
                  <a:gd name="connsiteX2" fmla="*/ 3735 w 10090"/>
                  <a:gd name="connsiteY2" fmla="*/ 0 h 10000"/>
                  <a:gd name="connsiteX3" fmla="*/ 3735 w 10090"/>
                  <a:gd name="connsiteY3" fmla="*/ 0 h 10000"/>
                  <a:gd name="connsiteX4" fmla="*/ 10084 w 10090"/>
                  <a:gd name="connsiteY4" fmla="*/ 5508 h 10000"/>
                  <a:gd name="connsiteX5" fmla="*/ 5077 w 10090"/>
                  <a:gd name="connsiteY5" fmla="*/ 10000 h 10000"/>
                  <a:gd name="connsiteX0" fmla="*/ 5060 w 10073"/>
                  <a:gd name="connsiteY0" fmla="*/ 10000 h 10000"/>
                  <a:gd name="connsiteX1" fmla="*/ 69 w 10073"/>
                  <a:gd name="connsiteY1" fmla="*/ 5855 h 10000"/>
                  <a:gd name="connsiteX2" fmla="*/ 3718 w 10073"/>
                  <a:gd name="connsiteY2" fmla="*/ 0 h 10000"/>
                  <a:gd name="connsiteX3" fmla="*/ 3718 w 10073"/>
                  <a:gd name="connsiteY3" fmla="*/ 0 h 10000"/>
                  <a:gd name="connsiteX4" fmla="*/ 10067 w 10073"/>
                  <a:gd name="connsiteY4" fmla="*/ 5508 h 10000"/>
                  <a:gd name="connsiteX5" fmla="*/ 5060 w 10073"/>
                  <a:gd name="connsiteY5" fmla="*/ 10000 h 10000"/>
                  <a:gd name="connsiteX0" fmla="*/ 4956 w 9965"/>
                  <a:gd name="connsiteY0" fmla="*/ 10000 h 10000"/>
                  <a:gd name="connsiteX1" fmla="*/ 36 w 9965"/>
                  <a:gd name="connsiteY1" fmla="*/ 5565 h 10000"/>
                  <a:gd name="connsiteX2" fmla="*/ 3614 w 9965"/>
                  <a:gd name="connsiteY2" fmla="*/ 0 h 10000"/>
                  <a:gd name="connsiteX3" fmla="*/ 3614 w 9965"/>
                  <a:gd name="connsiteY3" fmla="*/ 0 h 10000"/>
                  <a:gd name="connsiteX4" fmla="*/ 9963 w 9965"/>
                  <a:gd name="connsiteY4" fmla="*/ 5508 h 10000"/>
                  <a:gd name="connsiteX5" fmla="*/ 4956 w 9965"/>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37"/>
                  <a:gd name="connsiteY0" fmla="*/ 10000 h 10001"/>
                  <a:gd name="connsiteX1" fmla="*/ 171 w 10137"/>
                  <a:gd name="connsiteY1" fmla="*/ 5565 h 10001"/>
                  <a:gd name="connsiteX2" fmla="*/ 3762 w 10137"/>
                  <a:gd name="connsiteY2" fmla="*/ 0 h 10001"/>
                  <a:gd name="connsiteX3" fmla="*/ 4332 w 10137"/>
                  <a:gd name="connsiteY3" fmla="*/ 580 h 10001"/>
                  <a:gd name="connsiteX4" fmla="*/ 10133 w 10137"/>
                  <a:gd name="connsiteY4" fmla="*/ 5508 h 10001"/>
                  <a:gd name="connsiteX5" fmla="*/ 5108 w 10137"/>
                  <a:gd name="connsiteY5" fmla="*/ 10000 h 10001"/>
                  <a:gd name="connsiteX0" fmla="*/ 5108 w 10151"/>
                  <a:gd name="connsiteY0" fmla="*/ 10145 h 10146"/>
                  <a:gd name="connsiteX1" fmla="*/ 171 w 10151"/>
                  <a:gd name="connsiteY1" fmla="*/ 5710 h 10146"/>
                  <a:gd name="connsiteX2" fmla="*/ 3762 w 10151"/>
                  <a:gd name="connsiteY2" fmla="*/ 145 h 10146"/>
                  <a:gd name="connsiteX3" fmla="*/ 6685 w 10151"/>
                  <a:gd name="connsiteY3" fmla="*/ 0 h 10146"/>
                  <a:gd name="connsiteX4" fmla="*/ 10133 w 10151"/>
                  <a:gd name="connsiteY4" fmla="*/ 5653 h 10146"/>
                  <a:gd name="connsiteX5" fmla="*/ 5108 w 10151"/>
                  <a:gd name="connsiteY5" fmla="*/ 10145 h 10146"/>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46"/>
                  <a:gd name="connsiteY0" fmla="*/ 10000 h 10001"/>
                  <a:gd name="connsiteX1" fmla="*/ 171 w 10146"/>
                  <a:gd name="connsiteY1" fmla="*/ 5565 h 10001"/>
                  <a:gd name="connsiteX2" fmla="*/ 3762 w 10146"/>
                  <a:gd name="connsiteY2" fmla="*/ 0 h 10001"/>
                  <a:gd name="connsiteX3" fmla="*/ 10133 w 10146"/>
                  <a:gd name="connsiteY3" fmla="*/ 5508 h 10001"/>
                  <a:gd name="connsiteX4" fmla="*/ 5108 w 10146"/>
                  <a:gd name="connsiteY4" fmla="*/ 10000 h 10001"/>
                  <a:gd name="connsiteX0" fmla="*/ 5108 w 10135"/>
                  <a:gd name="connsiteY0" fmla="*/ 10000 h 10001"/>
                  <a:gd name="connsiteX1" fmla="*/ 171 w 10135"/>
                  <a:gd name="connsiteY1" fmla="*/ 5565 h 10001"/>
                  <a:gd name="connsiteX2" fmla="*/ 3762 w 10135"/>
                  <a:gd name="connsiteY2" fmla="*/ 0 h 10001"/>
                  <a:gd name="connsiteX3" fmla="*/ 10133 w 10135"/>
                  <a:gd name="connsiteY3" fmla="*/ 5508 h 10001"/>
                  <a:gd name="connsiteX4" fmla="*/ 5108 w 10135"/>
                  <a:gd name="connsiteY4" fmla="*/ 10000 h 10001"/>
                  <a:gd name="connsiteX0" fmla="*/ 5108 w 10139"/>
                  <a:gd name="connsiteY0" fmla="*/ 10000 h 10001"/>
                  <a:gd name="connsiteX1" fmla="*/ 171 w 10139"/>
                  <a:gd name="connsiteY1" fmla="*/ 5565 h 10001"/>
                  <a:gd name="connsiteX2" fmla="*/ 3762 w 10139"/>
                  <a:gd name="connsiteY2" fmla="*/ 0 h 10001"/>
                  <a:gd name="connsiteX3" fmla="*/ 10133 w 10139"/>
                  <a:gd name="connsiteY3" fmla="*/ 5508 h 10001"/>
                  <a:gd name="connsiteX4" fmla="*/ 5108 w 10139"/>
                  <a:gd name="connsiteY4" fmla="*/ 10000 h 10001"/>
                  <a:gd name="connsiteX0" fmla="*/ 5108 w 10164"/>
                  <a:gd name="connsiteY0" fmla="*/ 10000 h 10001"/>
                  <a:gd name="connsiteX1" fmla="*/ 171 w 10164"/>
                  <a:gd name="connsiteY1" fmla="*/ 5565 h 10001"/>
                  <a:gd name="connsiteX2" fmla="*/ 3762 w 10164"/>
                  <a:gd name="connsiteY2" fmla="*/ 0 h 10001"/>
                  <a:gd name="connsiteX3" fmla="*/ 10133 w 10164"/>
                  <a:gd name="connsiteY3" fmla="*/ 5508 h 10001"/>
                  <a:gd name="connsiteX4" fmla="*/ 5108 w 10164"/>
                  <a:gd name="connsiteY4" fmla="*/ 10000 h 10001"/>
                  <a:gd name="connsiteX0" fmla="*/ 5088 w 10139"/>
                  <a:gd name="connsiteY0" fmla="*/ 10000 h 10000"/>
                  <a:gd name="connsiteX1" fmla="*/ 151 w 10139"/>
                  <a:gd name="connsiteY1" fmla="*/ 5565 h 10000"/>
                  <a:gd name="connsiteX2" fmla="*/ 3742 w 10139"/>
                  <a:gd name="connsiteY2" fmla="*/ 0 h 10000"/>
                  <a:gd name="connsiteX3" fmla="*/ 10113 w 10139"/>
                  <a:gd name="connsiteY3" fmla="*/ 5605 h 10000"/>
                  <a:gd name="connsiteX4" fmla="*/ 5088 w 10139"/>
                  <a:gd name="connsiteY4" fmla="*/ 10000 h 10000"/>
                  <a:gd name="connsiteX0" fmla="*/ 5088 w 10173"/>
                  <a:gd name="connsiteY0" fmla="*/ 10000 h 10000"/>
                  <a:gd name="connsiteX1" fmla="*/ 151 w 10173"/>
                  <a:gd name="connsiteY1" fmla="*/ 5565 h 10000"/>
                  <a:gd name="connsiteX2" fmla="*/ 3742 w 10173"/>
                  <a:gd name="connsiteY2" fmla="*/ 0 h 10000"/>
                  <a:gd name="connsiteX3" fmla="*/ 10113 w 10173"/>
                  <a:gd name="connsiteY3" fmla="*/ 5605 h 10000"/>
                  <a:gd name="connsiteX4" fmla="*/ 5088 w 10173"/>
                  <a:gd name="connsiteY4" fmla="*/ 10000 h 10000"/>
                  <a:gd name="connsiteX0" fmla="*/ 5108 w 10202"/>
                  <a:gd name="connsiteY0" fmla="*/ 10000 h 10000"/>
                  <a:gd name="connsiteX1" fmla="*/ 171 w 10202"/>
                  <a:gd name="connsiteY1" fmla="*/ 5565 h 10000"/>
                  <a:gd name="connsiteX2" fmla="*/ 3762 w 10202"/>
                  <a:gd name="connsiteY2" fmla="*/ 0 h 10000"/>
                  <a:gd name="connsiteX3" fmla="*/ 10133 w 10202"/>
                  <a:gd name="connsiteY3" fmla="*/ 5605 h 10000"/>
                  <a:gd name="connsiteX4" fmla="*/ 5108 w 10202"/>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2" h="10000">
                    <a:moveTo>
                      <a:pt x="5108" y="10000"/>
                    </a:moveTo>
                    <a:cubicBezTo>
                      <a:pt x="2806" y="10041"/>
                      <a:pt x="-834" y="8097"/>
                      <a:pt x="171" y="5565"/>
                    </a:cubicBezTo>
                    <a:cubicBezTo>
                      <a:pt x="1176" y="3033"/>
                      <a:pt x="4038" y="3160"/>
                      <a:pt x="3762" y="0"/>
                    </a:cubicBezTo>
                    <a:cubicBezTo>
                      <a:pt x="6670" y="1353"/>
                      <a:pt x="9540" y="2513"/>
                      <a:pt x="10133" y="5605"/>
                    </a:cubicBezTo>
                    <a:cubicBezTo>
                      <a:pt x="10726" y="8697"/>
                      <a:pt x="7410" y="9959"/>
                      <a:pt x="5108" y="1000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a:lnSpc>
                    <a:spcPct val="90000"/>
                  </a:lnSpc>
                </a:pPr>
                <a:endParaRPr lang="en-US" sz="1200"/>
              </a:p>
            </p:txBody>
          </p:sp>
          <p:sp>
            <p:nvSpPr>
              <p:cNvPr id="351" name="Freeform 514">
                <a:extLst>
                  <a:ext uri="{FF2B5EF4-FFF2-40B4-BE49-F238E27FC236}">
                    <a16:creationId xmlns:a16="http://schemas.microsoft.com/office/drawing/2014/main" id="{FDA03C8F-174E-4282-AC12-C2796AA26933}"/>
                  </a:ext>
                </a:extLst>
              </p:cNvPr>
              <p:cNvSpPr>
                <a:spLocks/>
              </p:cNvSpPr>
              <p:nvPr/>
            </p:nvSpPr>
            <p:spPr bwMode="gray">
              <a:xfrm>
                <a:off x="4853850" y="3417463"/>
                <a:ext cx="102719" cy="148613"/>
              </a:xfrm>
              <a:custGeom>
                <a:avLst/>
                <a:gdLst>
                  <a:gd name="T0" fmla="*/ 57 w 139"/>
                  <a:gd name="T1" fmla="*/ 202 h 202"/>
                  <a:gd name="T2" fmla="*/ 57 w 139"/>
                  <a:gd name="T3" fmla="*/ 202 h 202"/>
                  <a:gd name="T4" fmla="*/ 51 w 139"/>
                  <a:gd name="T5" fmla="*/ 199 h 202"/>
                  <a:gd name="T6" fmla="*/ 40 w 139"/>
                  <a:gd name="T7" fmla="*/ 193 h 202"/>
                  <a:gd name="T8" fmla="*/ 27 w 139"/>
                  <a:gd name="T9" fmla="*/ 183 h 202"/>
                  <a:gd name="T10" fmla="*/ 21 w 139"/>
                  <a:gd name="T11" fmla="*/ 177 h 202"/>
                  <a:gd name="T12" fmla="*/ 15 w 139"/>
                  <a:gd name="T13" fmla="*/ 169 h 202"/>
                  <a:gd name="T14" fmla="*/ 9 w 139"/>
                  <a:gd name="T15" fmla="*/ 160 h 202"/>
                  <a:gd name="T16" fmla="*/ 4 w 139"/>
                  <a:gd name="T17" fmla="*/ 151 h 202"/>
                  <a:gd name="T18" fmla="*/ 1 w 139"/>
                  <a:gd name="T19" fmla="*/ 141 h 202"/>
                  <a:gd name="T20" fmla="*/ 0 w 139"/>
                  <a:gd name="T21" fmla="*/ 130 h 202"/>
                  <a:gd name="T22" fmla="*/ 1 w 139"/>
                  <a:gd name="T23" fmla="*/ 118 h 202"/>
                  <a:gd name="T24" fmla="*/ 4 w 139"/>
                  <a:gd name="T25" fmla="*/ 105 h 202"/>
                  <a:gd name="T26" fmla="*/ 12 w 139"/>
                  <a:gd name="T27" fmla="*/ 91 h 202"/>
                  <a:gd name="T28" fmla="*/ 22 w 139"/>
                  <a:gd name="T29" fmla="*/ 76 h 202"/>
                  <a:gd name="T30" fmla="*/ 22 w 139"/>
                  <a:gd name="T31" fmla="*/ 76 h 202"/>
                  <a:gd name="T32" fmla="*/ 27 w 139"/>
                  <a:gd name="T33" fmla="*/ 70 h 202"/>
                  <a:gd name="T34" fmla="*/ 36 w 139"/>
                  <a:gd name="T35" fmla="*/ 55 h 202"/>
                  <a:gd name="T36" fmla="*/ 42 w 139"/>
                  <a:gd name="T37" fmla="*/ 43 h 202"/>
                  <a:gd name="T38" fmla="*/ 46 w 139"/>
                  <a:gd name="T39" fmla="*/ 31 h 202"/>
                  <a:gd name="T40" fmla="*/ 49 w 139"/>
                  <a:gd name="T41" fmla="*/ 16 h 202"/>
                  <a:gd name="T42" fmla="*/ 51 w 139"/>
                  <a:gd name="T43" fmla="*/ 0 h 202"/>
                  <a:gd name="T44" fmla="*/ 51 w 139"/>
                  <a:gd name="T45" fmla="*/ 0 h 202"/>
                  <a:gd name="T46" fmla="*/ 60 w 139"/>
                  <a:gd name="T47" fmla="*/ 6 h 202"/>
                  <a:gd name="T48" fmla="*/ 81 w 139"/>
                  <a:gd name="T49" fmla="*/ 22 h 202"/>
                  <a:gd name="T50" fmla="*/ 93 w 139"/>
                  <a:gd name="T51" fmla="*/ 34 h 202"/>
                  <a:gd name="T52" fmla="*/ 106 w 139"/>
                  <a:gd name="T53" fmla="*/ 46 h 202"/>
                  <a:gd name="T54" fmla="*/ 117 w 139"/>
                  <a:gd name="T55" fmla="*/ 61 h 202"/>
                  <a:gd name="T56" fmla="*/ 127 w 139"/>
                  <a:gd name="T57" fmla="*/ 76 h 202"/>
                  <a:gd name="T58" fmla="*/ 127 w 139"/>
                  <a:gd name="T59" fmla="*/ 76 h 202"/>
                  <a:gd name="T60" fmla="*/ 135 w 139"/>
                  <a:gd name="T61" fmla="*/ 93 h 202"/>
                  <a:gd name="T62" fmla="*/ 138 w 139"/>
                  <a:gd name="T63" fmla="*/ 111 h 202"/>
                  <a:gd name="T64" fmla="*/ 139 w 139"/>
                  <a:gd name="T65" fmla="*/ 127 h 202"/>
                  <a:gd name="T66" fmla="*/ 136 w 139"/>
                  <a:gd name="T67" fmla="*/ 144 h 202"/>
                  <a:gd name="T68" fmla="*/ 133 w 139"/>
                  <a:gd name="T69" fmla="*/ 153 h 202"/>
                  <a:gd name="T70" fmla="*/ 129 w 139"/>
                  <a:gd name="T71" fmla="*/ 160 h 202"/>
                  <a:gd name="T72" fmla="*/ 124 w 139"/>
                  <a:gd name="T73" fmla="*/ 168 h 202"/>
                  <a:gd name="T74" fmla="*/ 118 w 139"/>
                  <a:gd name="T75" fmla="*/ 175 h 202"/>
                  <a:gd name="T76" fmla="*/ 112 w 139"/>
                  <a:gd name="T77" fmla="*/ 183 h 202"/>
                  <a:gd name="T78" fmla="*/ 105 w 139"/>
                  <a:gd name="T79" fmla="*/ 190 h 202"/>
                  <a:gd name="T80" fmla="*/ 96 w 139"/>
                  <a:gd name="T81" fmla="*/ 196 h 202"/>
                  <a:gd name="T82" fmla="*/ 87 w 139"/>
                  <a:gd name="T83" fmla="*/ 202 h 202"/>
                  <a:gd name="T84" fmla="*/ 57 w 139"/>
                  <a:gd name="T85" fmla="*/ 202 h 202"/>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8417 w 10000"/>
                  <a:gd name="connsiteY27" fmla="*/ 3020 h 10000"/>
                  <a:gd name="connsiteX28" fmla="*/ 9137 w 10000"/>
                  <a:gd name="connsiteY28" fmla="*/ 3762 h 10000"/>
                  <a:gd name="connsiteX29" fmla="*/ 9712 w 10000"/>
                  <a:gd name="connsiteY29" fmla="*/ 4604 h 10000"/>
                  <a:gd name="connsiteX30" fmla="*/ 9928 w 10000"/>
                  <a:gd name="connsiteY30" fmla="*/ 5495 h 10000"/>
                  <a:gd name="connsiteX31" fmla="*/ 10000 w 10000"/>
                  <a:gd name="connsiteY31" fmla="*/ 6287 h 10000"/>
                  <a:gd name="connsiteX32" fmla="*/ 9784 w 10000"/>
                  <a:gd name="connsiteY32" fmla="*/ 7129 h 10000"/>
                  <a:gd name="connsiteX33" fmla="*/ 9568 w 10000"/>
                  <a:gd name="connsiteY33" fmla="*/ 7574 h 10000"/>
                  <a:gd name="connsiteX34" fmla="*/ 9281 w 10000"/>
                  <a:gd name="connsiteY34" fmla="*/ 7921 h 10000"/>
                  <a:gd name="connsiteX35" fmla="*/ 8921 w 10000"/>
                  <a:gd name="connsiteY35" fmla="*/ 8317 h 10000"/>
                  <a:gd name="connsiteX36" fmla="*/ 8489 w 10000"/>
                  <a:gd name="connsiteY36" fmla="*/ 8663 h 10000"/>
                  <a:gd name="connsiteX37" fmla="*/ 8058 w 10000"/>
                  <a:gd name="connsiteY37" fmla="*/ 9059 h 10000"/>
                  <a:gd name="connsiteX38" fmla="*/ 7554 w 10000"/>
                  <a:gd name="connsiteY38" fmla="*/ 9406 h 10000"/>
                  <a:gd name="connsiteX39" fmla="*/ 6906 w 10000"/>
                  <a:gd name="connsiteY39" fmla="*/ 9703 h 10000"/>
                  <a:gd name="connsiteX40" fmla="*/ 6259 w 10000"/>
                  <a:gd name="connsiteY40" fmla="*/ 10000 h 10000"/>
                  <a:gd name="connsiteX41" fmla="*/ 4101 w 10000"/>
                  <a:gd name="connsiteY41"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9137 w 10000"/>
                  <a:gd name="connsiteY27" fmla="*/ 3762 h 10000"/>
                  <a:gd name="connsiteX28" fmla="*/ 9712 w 10000"/>
                  <a:gd name="connsiteY28" fmla="*/ 4604 h 10000"/>
                  <a:gd name="connsiteX29" fmla="*/ 9928 w 10000"/>
                  <a:gd name="connsiteY29" fmla="*/ 5495 h 10000"/>
                  <a:gd name="connsiteX30" fmla="*/ 10000 w 10000"/>
                  <a:gd name="connsiteY30" fmla="*/ 6287 h 10000"/>
                  <a:gd name="connsiteX31" fmla="*/ 9784 w 10000"/>
                  <a:gd name="connsiteY31" fmla="*/ 7129 h 10000"/>
                  <a:gd name="connsiteX32" fmla="*/ 9568 w 10000"/>
                  <a:gd name="connsiteY32" fmla="*/ 7574 h 10000"/>
                  <a:gd name="connsiteX33" fmla="*/ 9281 w 10000"/>
                  <a:gd name="connsiteY33" fmla="*/ 7921 h 10000"/>
                  <a:gd name="connsiteX34" fmla="*/ 8921 w 10000"/>
                  <a:gd name="connsiteY34" fmla="*/ 8317 h 10000"/>
                  <a:gd name="connsiteX35" fmla="*/ 8489 w 10000"/>
                  <a:gd name="connsiteY35" fmla="*/ 8663 h 10000"/>
                  <a:gd name="connsiteX36" fmla="*/ 8058 w 10000"/>
                  <a:gd name="connsiteY36" fmla="*/ 9059 h 10000"/>
                  <a:gd name="connsiteX37" fmla="*/ 7554 w 10000"/>
                  <a:gd name="connsiteY37" fmla="*/ 9406 h 10000"/>
                  <a:gd name="connsiteX38" fmla="*/ 6906 w 10000"/>
                  <a:gd name="connsiteY38" fmla="*/ 9703 h 10000"/>
                  <a:gd name="connsiteX39" fmla="*/ 6259 w 10000"/>
                  <a:gd name="connsiteY39" fmla="*/ 10000 h 10000"/>
                  <a:gd name="connsiteX40" fmla="*/ 4101 w 10000"/>
                  <a:gd name="connsiteY40"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9137 w 10000"/>
                  <a:gd name="connsiteY26" fmla="*/ 3762 h 10000"/>
                  <a:gd name="connsiteX27" fmla="*/ 9712 w 10000"/>
                  <a:gd name="connsiteY27" fmla="*/ 4604 h 10000"/>
                  <a:gd name="connsiteX28" fmla="*/ 9928 w 10000"/>
                  <a:gd name="connsiteY28" fmla="*/ 5495 h 10000"/>
                  <a:gd name="connsiteX29" fmla="*/ 10000 w 10000"/>
                  <a:gd name="connsiteY29" fmla="*/ 6287 h 10000"/>
                  <a:gd name="connsiteX30" fmla="*/ 9784 w 10000"/>
                  <a:gd name="connsiteY30" fmla="*/ 7129 h 10000"/>
                  <a:gd name="connsiteX31" fmla="*/ 9568 w 10000"/>
                  <a:gd name="connsiteY31" fmla="*/ 7574 h 10000"/>
                  <a:gd name="connsiteX32" fmla="*/ 9281 w 10000"/>
                  <a:gd name="connsiteY32" fmla="*/ 7921 h 10000"/>
                  <a:gd name="connsiteX33" fmla="*/ 8921 w 10000"/>
                  <a:gd name="connsiteY33" fmla="*/ 8317 h 10000"/>
                  <a:gd name="connsiteX34" fmla="*/ 8489 w 10000"/>
                  <a:gd name="connsiteY34" fmla="*/ 8663 h 10000"/>
                  <a:gd name="connsiteX35" fmla="*/ 8058 w 10000"/>
                  <a:gd name="connsiteY35" fmla="*/ 9059 h 10000"/>
                  <a:gd name="connsiteX36" fmla="*/ 7554 w 10000"/>
                  <a:gd name="connsiteY36" fmla="*/ 9406 h 10000"/>
                  <a:gd name="connsiteX37" fmla="*/ 6906 w 10000"/>
                  <a:gd name="connsiteY37" fmla="*/ 9703 h 10000"/>
                  <a:gd name="connsiteX38" fmla="*/ 6259 w 10000"/>
                  <a:gd name="connsiteY38" fmla="*/ 10000 h 10000"/>
                  <a:gd name="connsiteX39" fmla="*/ 4101 w 10000"/>
                  <a:gd name="connsiteY39"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9137 w 10000"/>
                  <a:gd name="connsiteY25" fmla="*/ 3762 h 10000"/>
                  <a:gd name="connsiteX26" fmla="*/ 9712 w 10000"/>
                  <a:gd name="connsiteY26" fmla="*/ 4604 h 10000"/>
                  <a:gd name="connsiteX27" fmla="*/ 9928 w 10000"/>
                  <a:gd name="connsiteY27" fmla="*/ 5495 h 10000"/>
                  <a:gd name="connsiteX28" fmla="*/ 10000 w 10000"/>
                  <a:gd name="connsiteY28" fmla="*/ 6287 h 10000"/>
                  <a:gd name="connsiteX29" fmla="*/ 9784 w 10000"/>
                  <a:gd name="connsiteY29" fmla="*/ 7129 h 10000"/>
                  <a:gd name="connsiteX30" fmla="*/ 9568 w 10000"/>
                  <a:gd name="connsiteY30" fmla="*/ 7574 h 10000"/>
                  <a:gd name="connsiteX31" fmla="*/ 9281 w 10000"/>
                  <a:gd name="connsiteY31" fmla="*/ 7921 h 10000"/>
                  <a:gd name="connsiteX32" fmla="*/ 8921 w 10000"/>
                  <a:gd name="connsiteY32" fmla="*/ 8317 h 10000"/>
                  <a:gd name="connsiteX33" fmla="*/ 8489 w 10000"/>
                  <a:gd name="connsiteY33" fmla="*/ 8663 h 10000"/>
                  <a:gd name="connsiteX34" fmla="*/ 8058 w 10000"/>
                  <a:gd name="connsiteY34" fmla="*/ 9059 h 10000"/>
                  <a:gd name="connsiteX35" fmla="*/ 7554 w 10000"/>
                  <a:gd name="connsiteY35" fmla="*/ 9406 h 10000"/>
                  <a:gd name="connsiteX36" fmla="*/ 6906 w 10000"/>
                  <a:gd name="connsiteY36" fmla="*/ 9703 h 10000"/>
                  <a:gd name="connsiteX37" fmla="*/ 6259 w 10000"/>
                  <a:gd name="connsiteY37" fmla="*/ 10000 h 10000"/>
                  <a:gd name="connsiteX38" fmla="*/ 4101 w 10000"/>
                  <a:gd name="connsiteY38"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712 w 10000"/>
                  <a:gd name="connsiteY25" fmla="*/ 4604 h 10000"/>
                  <a:gd name="connsiteX26" fmla="*/ 9928 w 10000"/>
                  <a:gd name="connsiteY26" fmla="*/ 5495 h 10000"/>
                  <a:gd name="connsiteX27" fmla="*/ 10000 w 10000"/>
                  <a:gd name="connsiteY27" fmla="*/ 6287 h 10000"/>
                  <a:gd name="connsiteX28" fmla="*/ 9784 w 10000"/>
                  <a:gd name="connsiteY28" fmla="*/ 7129 h 10000"/>
                  <a:gd name="connsiteX29" fmla="*/ 9568 w 10000"/>
                  <a:gd name="connsiteY29" fmla="*/ 7574 h 10000"/>
                  <a:gd name="connsiteX30" fmla="*/ 9281 w 10000"/>
                  <a:gd name="connsiteY30" fmla="*/ 7921 h 10000"/>
                  <a:gd name="connsiteX31" fmla="*/ 8921 w 10000"/>
                  <a:gd name="connsiteY31" fmla="*/ 8317 h 10000"/>
                  <a:gd name="connsiteX32" fmla="*/ 8489 w 10000"/>
                  <a:gd name="connsiteY32" fmla="*/ 8663 h 10000"/>
                  <a:gd name="connsiteX33" fmla="*/ 8058 w 10000"/>
                  <a:gd name="connsiteY33" fmla="*/ 9059 h 10000"/>
                  <a:gd name="connsiteX34" fmla="*/ 7554 w 10000"/>
                  <a:gd name="connsiteY34" fmla="*/ 9406 h 10000"/>
                  <a:gd name="connsiteX35" fmla="*/ 6906 w 10000"/>
                  <a:gd name="connsiteY35" fmla="*/ 9703 h 10000"/>
                  <a:gd name="connsiteX36" fmla="*/ 6259 w 10000"/>
                  <a:gd name="connsiteY36" fmla="*/ 10000 h 10000"/>
                  <a:gd name="connsiteX37" fmla="*/ 4101 w 10000"/>
                  <a:gd name="connsiteY37"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928 w 10000"/>
                  <a:gd name="connsiteY25" fmla="*/ 5495 h 10000"/>
                  <a:gd name="connsiteX26" fmla="*/ 10000 w 10000"/>
                  <a:gd name="connsiteY26" fmla="*/ 6287 h 10000"/>
                  <a:gd name="connsiteX27" fmla="*/ 9784 w 10000"/>
                  <a:gd name="connsiteY27" fmla="*/ 7129 h 10000"/>
                  <a:gd name="connsiteX28" fmla="*/ 9568 w 10000"/>
                  <a:gd name="connsiteY28" fmla="*/ 7574 h 10000"/>
                  <a:gd name="connsiteX29" fmla="*/ 9281 w 10000"/>
                  <a:gd name="connsiteY29" fmla="*/ 7921 h 10000"/>
                  <a:gd name="connsiteX30" fmla="*/ 8921 w 10000"/>
                  <a:gd name="connsiteY30" fmla="*/ 8317 h 10000"/>
                  <a:gd name="connsiteX31" fmla="*/ 8489 w 10000"/>
                  <a:gd name="connsiteY31" fmla="*/ 8663 h 10000"/>
                  <a:gd name="connsiteX32" fmla="*/ 8058 w 10000"/>
                  <a:gd name="connsiteY32" fmla="*/ 9059 h 10000"/>
                  <a:gd name="connsiteX33" fmla="*/ 7554 w 10000"/>
                  <a:gd name="connsiteY33" fmla="*/ 9406 h 10000"/>
                  <a:gd name="connsiteX34" fmla="*/ 6906 w 10000"/>
                  <a:gd name="connsiteY34" fmla="*/ 9703 h 10000"/>
                  <a:gd name="connsiteX35" fmla="*/ 6259 w 10000"/>
                  <a:gd name="connsiteY35" fmla="*/ 10000 h 10000"/>
                  <a:gd name="connsiteX36" fmla="*/ 4101 w 10000"/>
                  <a:gd name="connsiteY36"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928 w 10000"/>
                  <a:gd name="connsiteY24" fmla="*/ 5495 h 10000"/>
                  <a:gd name="connsiteX25" fmla="*/ 10000 w 10000"/>
                  <a:gd name="connsiteY25" fmla="*/ 6287 h 10000"/>
                  <a:gd name="connsiteX26" fmla="*/ 9784 w 10000"/>
                  <a:gd name="connsiteY26" fmla="*/ 7129 h 10000"/>
                  <a:gd name="connsiteX27" fmla="*/ 9568 w 10000"/>
                  <a:gd name="connsiteY27" fmla="*/ 7574 h 10000"/>
                  <a:gd name="connsiteX28" fmla="*/ 9281 w 10000"/>
                  <a:gd name="connsiteY28" fmla="*/ 7921 h 10000"/>
                  <a:gd name="connsiteX29" fmla="*/ 8921 w 10000"/>
                  <a:gd name="connsiteY29" fmla="*/ 8317 h 10000"/>
                  <a:gd name="connsiteX30" fmla="*/ 8489 w 10000"/>
                  <a:gd name="connsiteY30" fmla="*/ 8663 h 10000"/>
                  <a:gd name="connsiteX31" fmla="*/ 8058 w 10000"/>
                  <a:gd name="connsiteY31" fmla="*/ 9059 h 10000"/>
                  <a:gd name="connsiteX32" fmla="*/ 7554 w 10000"/>
                  <a:gd name="connsiteY32" fmla="*/ 9406 h 10000"/>
                  <a:gd name="connsiteX33" fmla="*/ 6906 w 10000"/>
                  <a:gd name="connsiteY33" fmla="*/ 9703 h 10000"/>
                  <a:gd name="connsiteX34" fmla="*/ 6259 w 10000"/>
                  <a:gd name="connsiteY34" fmla="*/ 10000 h 10000"/>
                  <a:gd name="connsiteX35" fmla="*/ 4101 w 10000"/>
                  <a:gd name="connsiteY35" fmla="*/ 10000 h 10000"/>
                  <a:gd name="connsiteX0" fmla="*/ 4101 w 9928"/>
                  <a:gd name="connsiteY0" fmla="*/ 10000 h 10000"/>
                  <a:gd name="connsiteX1" fmla="*/ 4101 w 9928"/>
                  <a:gd name="connsiteY1" fmla="*/ 10000 h 10000"/>
                  <a:gd name="connsiteX2" fmla="*/ 3669 w 9928"/>
                  <a:gd name="connsiteY2" fmla="*/ 9851 h 10000"/>
                  <a:gd name="connsiteX3" fmla="*/ 2878 w 9928"/>
                  <a:gd name="connsiteY3" fmla="*/ 9554 h 10000"/>
                  <a:gd name="connsiteX4" fmla="*/ 1942 w 9928"/>
                  <a:gd name="connsiteY4" fmla="*/ 9059 h 10000"/>
                  <a:gd name="connsiteX5" fmla="*/ 1511 w 9928"/>
                  <a:gd name="connsiteY5" fmla="*/ 8762 h 10000"/>
                  <a:gd name="connsiteX6" fmla="*/ 1079 w 9928"/>
                  <a:gd name="connsiteY6" fmla="*/ 8366 h 10000"/>
                  <a:gd name="connsiteX7" fmla="*/ 647 w 9928"/>
                  <a:gd name="connsiteY7" fmla="*/ 7921 h 10000"/>
                  <a:gd name="connsiteX8" fmla="*/ 288 w 9928"/>
                  <a:gd name="connsiteY8" fmla="*/ 7475 h 10000"/>
                  <a:gd name="connsiteX9" fmla="*/ 72 w 9928"/>
                  <a:gd name="connsiteY9" fmla="*/ 6980 h 10000"/>
                  <a:gd name="connsiteX10" fmla="*/ 0 w 9928"/>
                  <a:gd name="connsiteY10" fmla="*/ 6436 h 10000"/>
                  <a:gd name="connsiteX11" fmla="*/ 72 w 9928"/>
                  <a:gd name="connsiteY11" fmla="*/ 5842 h 10000"/>
                  <a:gd name="connsiteX12" fmla="*/ 288 w 9928"/>
                  <a:gd name="connsiteY12" fmla="*/ 5198 h 10000"/>
                  <a:gd name="connsiteX13" fmla="*/ 863 w 9928"/>
                  <a:gd name="connsiteY13" fmla="*/ 4505 h 10000"/>
                  <a:gd name="connsiteX14" fmla="*/ 1583 w 9928"/>
                  <a:gd name="connsiteY14" fmla="*/ 3762 h 10000"/>
                  <a:gd name="connsiteX15" fmla="*/ 1583 w 9928"/>
                  <a:gd name="connsiteY15" fmla="*/ 3762 h 10000"/>
                  <a:gd name="connsiteX16" fmla="*/ 1942 w 9928"/>
                  <a:gd name="connsiteY16" fmla="*/ 3465 h 10000"/>
                  <a:gd name="connsiteX17" fmla="*/ 2590 w 9928"/>
                  <a:gd name="connsiteY17" fmla="*/ 2723 h 10000"/>
                  <a:gd name="connsiteX18" fmla="*/ 3022 w 9928"/>
                  <a:gd name="connsiteY18" fmla="*/ 2129 h 10000"/>
                  <a:gd name="connsiteX19" fmla="*/ 3309 w 9928"/>
                  <a:gd name="connsiteY19" fmla="*/ 1535 h 10000"/>
                  <a:gd name="connsiteX20" fmla="*/ 3525 w 9928"/>
                  <a:gd name="connsiteY20" fmla="*/ 792 h 10000"/>
                  <a:gd name="connsiteX21" fmla="*/ 3669 w 9928"/>
                  <a:gd name="connsiteY21" fmla="*/ 0 h 10000"/>
                  <a:gd name="connsiteX22" fmla="*/ 3669 w 9928"/>
                  <a:gd name="connsiteY22" fmla="*/ 0 h 10000"/>
                  <a:gd name="connsiteX23" fmla="*/ 4317 w 9928"/>
                  <a:gd name="connsiteY23" fmla="*/ 297 h 10000"/>
                  <a:gd name="connsiteX24" fmla="*/ 9928 w 9928"/>
                  <a:gd name="connsiteY24" fmla="*/ 5495 h 10000"/>
                  <a:gd name="connsiteX25" fmla="*/ 9784 w 9928"/>
                  <a:gd name="connsiteY25" fmla="*/ 7129 h 10000"/>
                  <a:gd name="connsiteX26" fmla="*/ 9568 w 9928"/>
                  <a:gd name="connsiteY26" fmla="*/ 7574 h 10000"/>
                  <a:gd name="connsiteX27" fmla="*/ 9281 w 9928"/>
                  <a:gd name="connsiteY27" fmla="*/ 7921 h 10000"/>
                  <a:gd name="connsiteX28" fmla="*/ 8921 w 9928"/>
                  <a:gd name="connsiteY28" fmla="*/ 8317 h 10000"/>
                  <a:gd name="connsiteX29" fmla="*/ 8489 w 9928"/>
                  <a:gd name="connsiteY29" fmla="*/ 8663 h 10000"/>
                  <a:gd name="connsiteX30" fmla="*/ 8058 w 9928"/>
                  <a:gd name="connsiteY30" fmla="*/ 9059 h 10000"/>
                  <a:gd name="connsiteX31" fmla="*/ 7554 w 9928"/>
                  <a:gd name="connsiteY31" fmla="*/ 9406 h 10000"/>
                  <a:gd name="connsiteX32" fmla="*/ 6906 w 9928"/>
                  <a:gd name="connsiteY32" fmla="*/ 9703 h 10000"/>
                  <a:gd name="connsiteX33" fmla="*/ 6259 w 9928"/>
                  <a:gd name="connsiteY33" fmla="*/ 10000 h 10000"/>
                  <a:gd name="connsiteX34" fmla="*/ 4101 w 9928"/>
                  <a:gd name="connsiteY34"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48 w 10000"/>
                  <a:gd name="connsiteY26" fmla="*/ 7921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33 w 10000"/>
                  <a:gd name="connsiteY26" fmla="*/ 7808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214"/>
                  <a:gd name="connsiteY0" fmla="*/ 10000 h 10000"/>
                  <a:gd name="connsiteX1" fmla="*/ 4131 w 10214"/>
                  <a:gd name="connsiteY1" fmla="*/ 10000 h 10000"/>
                  <a:gd name="connsiteX2" fmla="*/ 3696 w 10214"/>
                  <a:gd name="connsiteY2" fmla="*/ 9851 h 10000"/>
                  <a:gd name="connsiteX3" fmla="*/ 2899 w 10214"/>
                  <a:gd name="connsiteY3" fmla="*/ 9554 h 10000"/>
                  <a:gd name="connsiteX4" fmla="*/ 1956 w 10214"/>
                  <a:gd name="connsiteY4" fmla="*/ 9059 h 10000"/>
                  <a:gd name="connsiteX5" fmla="*/ 1522 w 10214"/>
                  <a:gd name="connsiteY5" fmla="*/ 8762 h 10000"/>
                  <a:gd name="connsiteX6" fmla="*/ 1087 w 10214"/>
                  <a:gd name="connsiteY6" fmla="*/ 8366 h 10000"/>
                  <a:gd name="connsiteX7" fmla="*/ 652 w 10214"/>
                  <a:gd name="connsiteY7" fmla="*/ 7921 h 10000"/>
                  <a:gd name="connsiteX8" fmla="*/ 290 w 10214"/>
                  <a:gd name="connsiteY8" fmla="*/ 7475 h 10000"/>
                  <a:gd name="connsiteX9" fmla="*/ 73 w 10214"/>
                  <a:gd name="connsiteY9" fmla="*/ 6980 h 10000"/>
                  <a:gd name="connsiteX10" fmla="*/ 0 w 10214"/>
                  <a:gd name="connsiteY10" fmla="*/ 6436 h 10000"/>
                  <a:gd name="connsiteX11" fmla="*/ 73 w 10214"/>
                  <a:gd name="connsiteY11" fmla="*/ 5842 h 10000"/>
                  <a:gd name="connsiteX12" fmla="*/ 290 w 10214"/>
                  <a:gd name="connsiteY12" fmla="*/ 5198 h 10000"/>
                  <a:gd name="connsiteX13" fmla="*/ 869 w 10214"/>
                  <a:gd name="connsiteY13" fmla="*/ 4505 h 10000"/>
                  <a:gd name="connsiteX14" fmla="*/ 1594 w 10214"/>
                  <a:gd name="connsiteY14" fmla="*/ 3762 h 10000"/>
                  <a:gd name="connsiteX15" fmla="*/ 1594 w 10214"/>
                  <a:gd name="connsiteY15" fmla="*/ 3762 h 10000"/>
                  <a:gd name="connsiteX16" fmla="*/ 1956 w 10214"/>
                  <a:gd name="connsiteY16" fmla="*/ 3465 h 10000"/>
                  <a:gd name="connsiteX17" fmla="*/ 2609 w 10214"/>
                  <a:gd name="connsiteY17" fmla="*/ 2723 h 10000"/>
                  <a:gd name="connsiteX18" fmla="*/ 3044 w 10214"/>
                  <a:gd name="connsiteY18" fmla="*/ 2129 h 10000"/>
                  <a:gd name="connsiteX19" fmla="*/ 3333 w 10214"/>
                  <a:gd name="connsiteY19" fmla="*/ 1535 h 10000"/>
                  <a:gd name="connsiteX20" fmla="*/ 3551 w 10214"/>
                  <a:gd name="connsiteY20" fmla="*/ 792 h 10000"/>
                  <a:gd name="connsiteX21" fmla="*/ 3696 w 10214"/>
                  <a:gd name="connsiteY21" fmla="*/ 0 h 10000"/>
                  <a:gd name="connsiteX22" fmla="*/ 3696 w 10214"/>
                  <a:gd name="connsiteY22" fmla="*/ 0 h 10000"/>
                  <a:gd name="connsiteX23" fmla="*/ 4348 w 10214"/>
                  <a:gd name="connsiteY23" fmla="*/ 297 h 10000"/>
                  <a:gd name="connsiteX24" fmla="*/ 10000 w 10214"/>
                  <a:gd name="connsiteY24" fmla="*/ 5495 h 10000"/>
                  <a:gd name="connsiteX25" fmla="*/ 8986 w 10214"/>
                  <a:gd name="connsiteY25" fmla="*/ 8317 h 10000"/>
                  <a:gd name="connsiteX26" fmla="*/ 8551 w 10214"/>
                  <a:gd name="connsiteY26" fmla="*/ 8663 h 10000"/>
                  <a:gd name="connsiteX27" fmla="*/ 8116 w 10214"/>
                  <a:gd name="connsiteY27" fmla="*/ 9059 h 10000"/>
                  <a:gd name="connsiteX28" fmla="*/ 7609 w 10214"/>
                  <a:gd name="connsiteY28" fmla="*/ 9406 h 10000"/>
                  <a:gd name="connsiteX29" fmla="*/ 6956 w 10214"/>
                  <a:gd name="connsiteY29" fmla="*/ 9703 h 10000"/>
                  <a:gd name="connsiteX30" fmla="*/ 6304 w 10214"/>
                  <a:gd name="connsiteY30" fmla="*/ 10000 h 10000"/>
                  <a:gd name="connsiteX31" fmla="*/ 4131 w 10214"/>
                  <a:gd name="connsiteY31" fmla="*/ 10000 h 10000"/>
                  <a:gd name="connsiteX0" fmla="*/ 4131 w 10158"/>
                  <a:gd name="connsiteY0" fmla="*/ 10000 h 10000"/>
                  <a:gd name="connsiteX1" fmla="*/ 4131 w 10158"/>
                  <a:gd name="connsiteY1" fmla="*/ 10000 h 10000"/>
                  <a:gd name="connsiteX2" fmla="*/ 3696 w 10158"/>
                  <a:gd name="connsiteY2" fmla="*/ 9851 h 10000"/>
                  <a:gd name="connsiteX3" fmla="*/ 2899 w 10158"/>
                  <a:gd name="connsiteY3" fmla="*/ 9554 h 10000"/>
                  <a:gd name="connsiteX4" fmla="*/ 1956 w 10158"/>
                  <a:gd name="connsiteY4" fmla="*/ 9059 h 10000"/>
                  <a:gd name="connsiteX5" fmla="*/ 1522 w 10158"/>
                  <a:gd name="connsiteY5" fmla="*/ 8762 h 10000"/>
                  <a:gd name="connsiteX6" fmla="*/ 1087 w 10158"/>
                  <a:gd name="connsiteY6" fmla="*/ 8366 h 10000"/>
                  <a:gd name="connsiteX7" fmla="*/ 652 w 10158"/>
                  <a:gd name="connsiteY7" fmla="*/ 7921 h 10000"/>
                  <a:gd name="connsiteX8" fmla="*/ 290 w 10158"/>
                  <a:gd name="connsiteY8" fmla="*/ 7475 h 10000"/>
                  <a:gd name="connsiteX9" fmla="*/ 73 w 10158"/>
                  <a:gd name="connsiteY9" fmla="*/ 6980 h 10000"/>
                  <a:gd name="connsiteX10" fmla="*/ 0 w 10158"/>
                  <a:gd name="connsiteY10" fmla="*/ 6436 h 10000"/>
                  <a:gd name="connsiteX11" fmla="*/ 73 w 10158"/>
                  <a:gd name="connsiteY11" fmla="*/ 5842 h 10000"/>
                  <a:gd name="connsiteX12" fmla="*/ 290 w 10158"/>
                  <a:gd name="connsiteY12" fmla="*/ 5198 h 10000"/>
                  <a:gd name="connsiteX13" fmla="*/ 869 w 10158"/>
                  <a:gd name="connsiteY13" fmla="*/ 4505 h 10000"/>
                  <a:gd name="connsiteX14" fmla="*/ 1594 w 10158"/>
                  <a:gd name="connsiteY14" fmla="*/ 3762 h 10000"/>
                  <a:gd name="connsiteX15" fmla="*/ 1594 w 10158"/>
                  <a:gd name="connsiteY15" fmla="*/ 3762 h 10000"/>
                  <a:gd name="connsiteX16" fmla="*/ 1956 w 10158"/>
                  <a:gd name="connsiteY16" fmla="*/ 3465 h 10000"/>
                  <a:gd name="connsiteX17" fmla="*/ 2609 w 10158"/>
                  <a:gd name="connsiteY17" fmla="*/ 2723 h 10000"/>
                  <a:gd name="connsiteX18" fmla="*/ 3044 w 10158"/>
                  <a:gd name="connsiteY18" fmla="*/ 2129 h 10000"/>
                  <a:gd name="connsiteX19" fmla="*/ 3333 w 10158"/>
                  <a:gd name="connsiteY19" fmla="*/ 1535 h 10000"/>
                  <a:gd name="connsiteX20" fmla="*/ 3551 w 10158"/>
                  <a:gd name="connsiteY20" fmla="*/ 792 h 10000"/>
                  <a:gd name="connsiteX21" fmla="*/ 3696 w 10158"/>
                  <a:gd name="connsiteY21" fmla="*/ 0 h 10000"/>
                  <a:gd name="connsiteX22" fmla="*/ 3696 w 10158"/>
                  <a:gd name="connsiteY22" fmla="*/ 0 h 10000"/>
                  <a:gd name="connsiteX23" fmla="*/ 4348 w 10158"/>
                  <a:gd name="connsiteY23" fmla="*/ 297 h 10000"/>
                  <a:gd name="connsiteX24" fmla="*/ 10000 w 10158"/>
                  <a:gd name="connsiteY24" fmla="*/ 5495 h 10000"/>
                  <a:gd name="connsiteX25" fmla="*/ 8551 w 10158"/>
                  <a:gd name="connsiteY25" fmla="*/ 8663 h 10000"/>
                  <a:gd name="connsiteX26" fmla="*/ 8116 w 10158"/>
                  <a:gd name="connsiteY26" fmla="*/ 9059 h 10000"/>
                  <a:gd name="connsiteX27" fmla="*/ 7609 w 10158"/>
                  <a:gd name="connsiteY27" fmla="*/ 9406 h 10000"/>
                  <a:gd name="connsiteX28" fmla="*/ 6956 w 10158"/>
                  <a:gd name="connsiteY28" fmla="*/ 9703 h 10000"/>
                  <a:gd name="connsiteX29" fmla="*/ 6304 w 10158"/>
                  <a:gd name="connsiteY29" fmla="*/ 10000 h 10000"/>
                  <a:gd name="connsiteX30" fmla="*/ 4131 w 10158"/>
                  <a:gd name="connsiteY30" fmla="*/ 10000 h 10000"/>
                  <a:gd name="connsiteX0" fmla="*/ 4131 w 10115"/>
                  <a:gd name="connsiteY0" fmla="*/ 10000 h 10000"/>
                  <a:gd name="connsiteX1" fmla="*/ 4131 w 10115"/>
                  <a:gd name="connsiteY1" fmla="*/ 10000 h 10000"/>
                  <a:gd name="connsiteX2" fmla="*/ 3696 w 10115"/>
                  <a:gd name="connsiteY2" fmla="*/ 9851 h 10000"/>
                  <a:gd name="connsiteX3" fmla="*/ 2899 w 10115"/>
                  <a:gd name="connsiteY3" fmla="*/ 9554 h 10000"/>
                  <a:gd name="connsiteX4" fmla="*/ 1956 w 10115"/>
                  <a:gd name="connsiteY4" fmla="*/ 9059 h 10000"/>
                  <a:gd name="connsiteX5" fmla="*/ 1522 w 10115"/>
                  <a:gd name="connsiteY5" fmla="*/ 8762 h 10000"/>
                  <a:gd name="connsiteX6" fmla="*/ 1087 w 10115"/>
                  <a:gd name="connsiteY6" fmla="*/ 8366 h 10000"/>
                  <a:gd name="connsiteX7" fmla="*/ 652 w 10115"/>
                  <a:gd name="connsiteY7" fmla="*/ 7921 h 10000"/>
                  <a:gd name="connsiteX8" fmla="*/ 290 w 10115"/>
                  <a:gd name="connsiteY8" fmla="*/ 7475 h 10000"/>
                  <a:gd name="connsiteX9" fmla="*/ 73 w 10115"/>
                  <a:gd name="connsiteY9" fmla="*/ 6980 h 10000"/>
                  <a:gd name="connsiteX10" fmla="*/ 0 w 10115"/>
                  <a:gd name="connsiteY10" fmla="*/ 6436 h 10000"/>
                  <a:gd name="connsiteX11" fmla="*/ 73 w 10115"/>
                  <a:gd name="connsiteY11" fmla="*/ 5842 h 10000"/>
                  <a:gd name="connsiteX12" fmla="*/ 290 w 10115"/>
                  <a:gd name="connsiteY12" fmla="*/ 5198 h 10000"/>
                  <a:gd name="connsiteX13" fmla="*/ 869 w 10115"/>
                  <a:gd name="connsiteY13" fmla="*/ 4505 h 10000"/>
                  <a:gd name="connsiteX14" fmla="*/ 1594 w 10115"/>
                  <a:gd name="connsiteY14" fmla="*/ 3762 h 10000"/>
                  <a:gd name="connsiteX15" fmla="*/ 1594 w 10115"/>
                  <a:gd name="connsiteY15" fmla="*/ 3762 h 10000"/>
                  <a:gd name="connsiteX16" fmla="*/ 1956 w 10115"/>
                  <a:gd name="connsiteY16" fmla="*/ 3465 h 10000"/>
                  <a:gd name="connsiteX17" fmla="*/ 2609 w 10115"/>
                  <a:gd name="connsiteY17" fmla="*/ 2723 h 10000"/>
                  <a:gd name="connsiteX18" fmla="*/ 3044 w 10115"/>
                  <a:gd name="connsiteY18" fmla="*/ 2129 h 10000"/>
                  <a:gd name="connsiteX19" fmla="*/ 3333 w 10115"/>
                  <a:gd name="connsiteY19" fmla="*/ 1535 h 10000"/>
                  <a:gd name="connsiteX20" fmla="*/ 3551 w 10115"/>
                  <a:gd name="connsiteY20" fmla="*/ 792 h 10000"/>
                  <a:gd name="connsiteX21" fmla="*/ 3696 w 10115"/>
                  <a:gd name="connsiteY21" fmla="*/ 0 h 10000"/>
                  <a:gd name="connsiteX22" fmla="*/ 3696 w 10115"/>
                  <a:gd name="connsiteY22" fmla="*/ 0 h 10000"/>
                  <a:gd name="connsiteX23" fmla="*/ 4348 w 10115"/>
                  <a:gd name="connsiteY23" fmla="*/ 297 h 10000"/>
                  <a:gd name="connsiteX24" fmla="*/ 10000 w 10115"/>
                  <a:gd name="connsiteY24" fmla="*/ 5495 h 10000"/>
                  <a:gd name="connsiteX25" fmla="*/ 8116 w 10115"/>
                  <a:gd name="connsiteY25" fmla="*/ 9059 h 10000"/>
                  <a:gd name="connsiteX26" fmla="*/ 7609 w 10115"/>
                  <a:gd name="connsiteY26" fmla="*/ 9406 h 10000"/>
                  <a:gd name="connsiteX27" fmla="*/ 6956 w 10115"/>
                  <a:gd name="connsiteY27" fmla="*/ 9703 h 10000"/>
                  <a:gd name="connsiteX28" fmla="*/ 6304 w 10115"/>
                  <a:gd name="connsiteY28" fmla="*/ 10000 h 10000"/>
                  <a:gd name="connsiteX29" fmla="*/ 4131 w 10115"/>
                  <a:gd name="connsiteY29" fmla="*/ 10000 h 10000"/>
                  <a:gd name="connsiteX0" fmla="*/ 4131 w 10078"/>
                  <a:gd name="connsiteY0" fmla="*/ 10000 h 10000"/>
                  <a:gd name="connsiteX1" fmla="*/ 4131 w 10078"/>
                  <a:gd name="connsiteY1" fmla="*/ 10000 h 10000"/>
                  <a:gd name="connsiteX2" fmla="*/ 3696 w 10078"/>
                  <a:gd name="connsiteY2" fmla="*/ 9851 h 10000"/>
                  <a:gd name="connsiteX3" fmla="*/ 2899 w 10078"/>
                  <a:gd name="connsiteY3" fmla="*/ 9554 h 10000"/>
                  <a:gd name="connsiteX4" fmla="*/ 1956 w 10078"/>
                  <a:gd name="connsiteY4" fmla="*/ 9059 h 10000"/>
                  <a:gd name="connsiteX5" fmla="*/ 1522 w 10078"/>
                  <a:gd name="connsiteY5" fmla="*/ 8762 h 10000"/>
                  <a:gd name="connsiteX6" fmla="*/ 1087 w 10078"/>
                  <a:gd name="connsiteY6" fmla="*/ 8366 h 10000"/>
                  <a:gd name="connsiteX7" fmla="*/ 652 w 10078"/>
                  <a:gd name="connsiteY7" fmla="*/ 7921 h 10000"/>
                  <a:gd name="connsiteX8" fmla="*/ 290 w 10078"/>
                  <a:gd name="connsiteY8" fmla="*/ 7475 h 10000"/>
                  <a:gd name="connsiteX9" fmla="*/ 73 w 10078"/>
                  <a:gd name="connsiteY9" fmla="*/ 6980 h 10000"/>
                  <a:gd name="connsiteX10" fmla="*/ 0 w 10078"/>
                  <a:gd name="connsiteY10" fmla="*/ 6436 h 10000"/>
                  <a:gd name="connsiteX11" fmla="*/ 73 w 10078"/>
                  <a:gd name="connsiteY11" fmla="*/ 5842 h 10000"/>
                  <a:gd name="connsiteX12" fmla="*/ 290 w 10078"/>
                  <a:gd name="connsiteY12" fmla="*/ 5198 h 10000"/>
                  <a:gd name="connsiteX13" fmla="*/ 869 w 10078"/>
                  <a:gd name="connsiteY13" fmla="*/ 4505 h 10000"/>
                  <a:gd name="connsiteX14" fmla="*/ 1594 w 10078"/>
                  <a:gd name="connsiteY14" fmla="*/ 3762 h 10000"/>
                  <a:gd name="connsiteX15" fmla="*/ 1594 w 10078"/>
                  <a:gd name="connsiteY15" fmla="*/ 3762 h 10000"/>
                  <a:gd name="connsiteX16" fmla="*/ 1956 w 10078"/>
                  <a:gd name="connsiteY16" fmla="*/ 3465 h 10000"/>
                  <a:gd name="connsiteX17" fmla="*/ 2609 w 10078"/>
                  <a:gd name="connsiteY17" fmla="*/ 2723 h 10000"/>
                  <a:gd name="connsiteX18" fmla="*/ 3044 w 10078"/>
                  <a:gd name="connsiteY18" fmla="*/ 2129 h 10000"/>
                  <a:gd name="connsiteX19" fmla="*/ 3333 w 10078"/>
                  <a:gd name="connsiteY19" fmla="*/ 1535 h 10000"/>
                  <a:gd name="connsiteX20" fmla="*/ 3551 w 10078"/>
                  <a:gd name="connsiteY20" fmla="*/ 792 h 10000"/>
                  <a:gd name="connsiteX21" fmla="*/ 3696 w 10078"/>
                  <a:gd name="connsiteY21" fmla="*/ 0 h 10000"/>
                  <a:gd name="connsiteX22" fmla="*/ 3696 w 10078"/>
                  <a:gd name="connsiteY22" fmla="*/ 0 h 10000"/>
                  <a:gd name="connsiteX23" fmla="*/ 4348 w 10078"/>
                  <a:gd name="connsiteY23" fmla="*/ 297 h 10000"/>
                  <a:gd name="connsiteX24" fmla="*/ 10000 w 10078"/>
                  <a:gd name="connsiteY24" fmla="*/ 5495 h 10000"/>
                  <a:gd name="connsiteX25" fmla="*/ 7609 w 10078"/>
                  <a:gd name="connsiteY25" fmla="*/ 9406 h 10000"/>
                  <a:gd name="connsiteX26" fmla="*/ 6956 w 10078"/>
                  <a:gd name="connsiteY26" fmla="*/ 9703 h 10000"/>
                  <a:gd name="connsiteX27" fmla="*/ 6304 w 10078"/>
                  <a:gd name="connsiteY27" fmla="*/ 10000 h 10000"/>
                  <a:gd name="connsiteX28" fmla="*/ 4131 w 10078"/>
                  <a:gd name="connsiteY28" fmla="*/ 10000 h 10000"/>
                  <a:gd name="connsiteX0" fmla="*/ 4131 w 10044"/>
                  <a:gd name="connsiteY0" fmla="*/ 10000 h 10000"/>
                  <a:gd name="connsiteX1" fmla="*/ 4131 w 10044"/>
                  <a:gd name="connsiteY1" fmla="*/ 10000 h 10000"/>
                  <a:gd name="connsiteX2" fmla="*/ 3696 w 10044"/>
                  <a:gd name="connsiteY2" fmla="*/ 9851 h 10000"/>
                  <a:gd name="connsiteX3" fmla="*/ 2899 w 10044"/>
                  <a:gd name="connsiteY3" fmla="*/ 9554 h 10000"/>
                  <a:gd name="connsiteX4" fmla="*/ 1956 w 10044"/>
                  <a:gd name="connsiteY4" fmla="*/ 9059 h 10000"/>
                  <a:gd name="connsiteX5" fmla="*/ 1522 w 10044"/>
                  <a:gd name="connsiteY5" fmla="*/ 8762 h 10000"/>
                  <a:gd name="connsiteX6" fmla="*/ 1087 w 10044"/>
                  <a:gd name="connsiteY6" fmla="*/ 8366 h 10000"/>
                  <a:gd name="connsiteX7" fmla="*/ 652 w 10044"/>
                  <a:gd name="connsiteY7" fmla="*/ 7921 h 10000"/>
                  <a:gd name="connsiteX8" fmla="*/ 290 w 10044"/>
                  <a:gd name="connsiteY8" fmla="*/ 7475 h 10000"/>
                  <a:gd name="connsiteX9" fmla="*/ 73 w 10044"/>
                  <a:gd name="connsiteY9" fmla="*/ 6980 h 10000"/>
                  <a:gd name="connsiteX10" fmla="*/ 0 w 10044"/>
                  <a:gd name="connsiteY10" fmla="*/ 6436 h 10000"/>
                  <a:gd name="connsiteX11" fmla="*/ 73 w 10044"/>
                  <a:gd name="connsiteY11" fmla="*/ 5842 h 10000"/>
                  <a:gd name="connsiteX12" fmla="*/ 290 w 10044"/>
                  <a:gd name="connsiteY12" fmla="*/ 5198 h 10000"/>
                  <a:gd name="connsiteX13" fmla="*/ 869 w 10044"/>
                  <a:gd name="connsiteY13" fmla="*/ 4505 h 10000"/>
                  <a:gd name="connsiteX14" fmla="*/ 1594 w 10044"/>
                  <a:gd name="connsiteY14" fmla="*/ 3762 h 10000"/>
                  <a:gd name="connsiteX15" fmla="*/ 1594 w 10044"/>
                  <a:gd name="connsiteY15" fmla="*/ 3762 h 10000"/>
                  <a:gd name="connsiteX16" fmla="*/ 1956 w 10044"/>
                  <a:gd name="connsiteY16" fmla="*/ 3465 h 10000"/>
                  <a:gd name="connsiteX17" fmla="*/ 2609 w 10044"/>
                  <a:gd name="connsiteY17" fmla="*/ 2723 h 10000"/>
                  <a:gd name="connsiteX18" fmla="*/ 3044 w 10044"/>
                  <a:gd name="connsiteY18" fmla="*/ 2129 h 10000"/>
                  <a:gd name="connsiteX19" fmla="*/ 3333 w 10044"/>
                  <a:gd name="connsiteY19" fmla="*/ 1535 h 10000"/>
                  <a:gd name="connsiteX20" fmla="*/ 3551 w 10044"/>
                  <a:gd name="connsiteY20" fmla="*/ 792 h 10000"/>
                  <a:gd name="connsiteX21" fmla="*/ 3696 w 10044"/>
                  <a:gd name="connsiteY21" fmla="*/ 0 h 10000"/>
                  <a:gd name="connsiteX22" fmla="*/ 3696 w 10044"/>
                  <a:gd name="connsiteY22" fmla="*/ 0 h 10000"/>
                  <a:gd name="connsiteX23" fmla="*/ 4348 w 10044"/>
                  <a:gd name="connsiteY23" fmla="*/ 297 h 10000"/>
                  <a:gd name="connsiteX24" fmla="*/ 10000 w 10044"/>
                  <a:gd name="connsiteY24" fmla="*/ 5495 h 10000"/>
                  <a:gd name="connsiteX25" fmla="*/ 6956 w 10044"/>
                  <a:gd name="connsiteY25" fmla="*/ 9703 h 10000"/>
                  <a:gd name="connsiteX26" fmla="*/ 6304 w 10044"/>
                  <a:gd name="connsiteY26" fmla="*/ 10000 h 10000"/>
                  <a:gd name="connsiteX27" fmla="*/ 4131 w 10044"/>
                  <a:gd name="connsiteY27"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4131 w 10024"/>
                  <a:gd name="connsiteY26"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5029 w 10024"/>
                  <a:gd name="connsiteY26" fmla="*/ 9977 h 10000"/>
                  <a:gd name="connsiteX27" fmla="*/ 4131 w 10024"/>
                  <a:gd name="connsiteY27" fmla="*/ 10000 h 10000"/>
                  <a:gd name="connsiteX0" fmla="*/ 4131 w 10002"/>
                  <a:gd name="connsiteY0" fmla="*/ 10000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26" fmla="*/ 4131 w 10002"/>
                  <a:gd name="connsiteY26" fmla="*/ 10000 h 10000"/>
                  <a:gd name="connsiteX0" fmla="*/ 5029 w 10002"/>
                  <a:gd name="connsiteY0" fmla="*/ 9977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3696 w 10002"/>
                  <a:gd name="connsiteY2" fmla="*/ 9851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10000"/>
                  <a:gd name="connsiteX1" fmla="*/ 4131 w 10002"/>
                  <a:gd name="connsiteY1" fmla="*/ 10000 h 10000"/>
                  <a:gd name="connsiteX2" fmla="*/ 3696 w 10002"/>
                  <a:gd name="connsiteY2" fmla="*/ 9851 h 10000"/>
                  <a:gd name="connsiteX3" fmla="*/ 2984 w 10002"/>
                  <a:gd name="connsiteY3" fmla="*/ 9495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2984 w 10002"/>
                  <a:gd name="connsiteY2" fmla="*/ 9495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9977"/>
                  <a:gd name="connsiteX1" fmla="*/ 2984 w 10002"/>
                  <a:gd name="connsiteY1" fmla="*/ 9495 h 9977"/>
                  <a:gd name="connsiteX2" fmla="*/ 1956 w 10002"/>
                  <a:gd name="connsiteY2" fmla="*/ 9059 h 9977"/>
                  <a:gd name="connsiteX3" fmla="*/ 1522 w 10002"/>
                  <a:gd name="connsiteY3" fmla="*/ 8762 h 9977"/>
                  <a:gd name="connsiteX4" fmla="*/ 1087 w 10002"/>
                  <a:gd name="connsiteY4" fmla="*/ 8366 h 9977"/>
                  <a:gd name="connsiteX5" fmla="*/ 652 w 10002"/>
                  <a:gd name="connsiteY5" fmla="*/ 7921 h 9977"/>
                  <a:gd name="connsiteX6" fmla="*/ 290 w 10002"/>
                  <a:gd name="connsiteY6" fmla="*/ 7475 h 9977"/>
                  <a:gd name="connsiteX7" fmla="*/ 73 w 10002"/>
                  <a:gd name="connsiteY7" fmla="*/ 6980 h 9977"/>
                  <a:gd name="connsiteX8" fmla="*/ 0 w 10002"/>
                  <a:gd name="connsiteY8" fmla="*/ 6436 h 9977"/>
                  <a:gd name="connsiteX9" fmla="*/ 73 w 10002"/>
                  <a:gd name="connsiteY9" fmla="*/ 5842 h 9977"/>
                  <a:gd name="connsiteX10" fmla="*/ 290 w 10002"/>
                  <a:gd name="connsiteY10" fmla="*/ 5198 h 9977"/>
                  <a:gd name="connsiteX11" fmla="*/ 869 w 10002"/>
                  <a:gd name="connsiteY11" fmla="*/ 4505 h 9977"/>
                  <a:gd name="connsiteX12" fmla="*/ 1594 w 10002"/>
                  <a:gd name="connsiteY12" fmla="*/ 3762 h 9977"/>
                  <a:gd name="connsiteX13" fmla="*/ 1594 w 10002"/>
                  <a:gd name="connsiteY13" fmla="*/ 3762 h 9977"/>
                  <a:gd name="connsiteX14" fmla="*/ 1956 w 10002"/>
                  <a:gd name="connsiteY14" fmla="*/ 3465 h 9977"/>
                  <a:gd name="connsiteX15" fmla="*/ 2609 w 10002"/>
                  <a:gd name="connsiteY15" fmla="*/ 2723 h 9977"/>
                  <a:gd name="connsiteX16" fmla="*/ 3044 w 10002"/>
                  <a:gd name="connsiteY16" fmla="*/ 2129 h 9977"/>
                  <a:gd name="connsiteX17" fmla="*/ 3333 w 10002"/>
                  <a:gd name="connsiteY17" fmla="*/ 1535 h 9977"/>
                  <a:gd name="connsiteX18" fmla="*/ 3551 w 10002"/>
                  <a:gd name="connsiteY18" fmla="*/ 792 h 9977"/>
                  <a:gd name="connsiteX19" fmla="*/ 3696 w 10002"/>
                  <a:gd name="connsiteY19" fmla="*/ 0 h 9977"/>
                  <a:gd name="connsiteX20" fmla="*/ 3696 w 10002"/>
                  <a:gd name="connsiteY20" fmla="*/ 0 h 9977"/>
                  <a:gd name="connsiteX21" fmla="*/ 4348 w 10002"/>
                  <a:gd name="connsiteY21" fmla="*/ 297 h 9977"/>
                  <a:gd name="connsiteX22" fmla="*/ 10000 w 10002"/>
                  <a:gd name="connsiteY22" fmla="*/ 5495 h 9977"/>
                  <a:gd name="connsiteX23" fmla="*/ 5029 w 10002"/>
                  <a:gd name="connsiteY23" fmla="*/ 9977 h 9977"/>
                  <a:gd name="connsiteX0" fmla="*/ 5028 w 10000"/>
                  <a:gd name="connsiteY0" fmla="*/ 10000 h 10000"/>
                  <a:gd name="connsiteX1" fmla="*/ 1956 w 10000"/>
                  <a:gd name="connsiteY1" fmla="*/ 9080 h 10000"/>
                  <a:gd name="connsiteX2" fmla="*/ 1522 w 10000"/>
                  <a:gd name="connsiteY2" fmla="*/ 8782 h 10000"/>
                  <a:gd name="connsiteX3" fmla="*/ 1087 w 10000"/>
                  <a:gd name="connsiteY3" fmla="*/ 8385 h 10000"/>
                  <a:gd name="connsiteX4" fmla="*/ 652 w 10000"/>
                  <a:gd name="connsiteY4" fmla="*/ 7939 h 10000"/>
                  <a:gd name="connsiteX5" fmla="*/ 290 w 10000"/>
                  <a:gd name="connsiteY5" fmla="*/ 7492 h 10000"/>
                  <a:gd name="connsiteX6" fmla="*/ 73 w 10000"/>
                  <a:gd name="connsiteY6" fmla="*/ 6996 h 10000"/>
                  <a:gd name="connsiteX7" fmla="*/ 0 w 10000"/>
                  <a:gd name="connsiteY7" fmla="*/ 6451 h 10000"/>
                  <a:gd name="connsiteX8" fmla="*/ 73 w 10000"/>
                  <a:gd name="connsiteY8" fmla="*/ 5855 h 10000"/>
                  <a:gd name="connsiteX9" fmla="*/ 290 w 10000"/>
                  <a:gd name="connsiteY9" fmla="*/ 5210 h 10000"/>
                  <a:gd name="connsiteX10" fmla="*/ 869 w 10000"/>
                  <a:gd name="connsiteY10" fmla="*/ 4515 h 10000"/>
                  <a:gd name="connsiteX11" fmla="*/ 1594 w 10000"/>
                  <a:gd name="connsiteY11" fmla="*/ 3771 h 10000"/>
                  <a:gd name="connsiteX12" fmla="*/ 1594 w 10000"/>
                  <a:gd name="connsiteY12" fmla="*/ 3771 h 10000"/>
                  <a:gd name="connsiteX13" fmla="*/ 1956 w 10000"/>
                  <a:gd name="connsiteY13" fmla="*/ 3473 h 10000"/>
                  <a:gd name="connsiteX14" fmla="*/ 2608 w 10000"/>
                  <a:gd name="connsiteY14" fmla="*/ 2729 h 10000"/>
                  <a:gd name="connsiteX15" fmla="*/ 3043 w 10000"/>
                  <a:gd name="connsiteY15" fmla="*/ 2134 h 10000"/>
                  <a:gd name="connsiteX16" fmla="*/ 3332 w 10000"/>
                  <a:gd name="connsiteY16" fmla="*/ 1539 h 10000"/>
                  <a:gd name="connsiteX17" fmla="*/ 3550 w 10000"/>
                  <a:gd name="connsiteY17" fmla="*/ 794 h 10000"/>
                  <a:gd name="connsiteX18" fmla="*/ 3695 w 10000"/>
                  <a:gd name="connsiteY18" fmla="*/ 0 h 10000"/>
                  <a:gd name="connsiteX19" fmla="*/ 3695 w 10000"/>
                  <a:gd name="connsiteY19" fmla="*/ 0 h 10000"/>
                  <a:gd name="connsiteX20" fmla="*/ 4347 w 10000"/>
                  <a:gd name="connsiteY20" fmla="*/ 298 h 10000"/>
                  <a:gd name="connsiteX21" fmla="*/ 9998 w 10000"/>
                  <a:gd name="connsiteY21" fmla="*/ 5508 h 10000"/>
                  <a:gd name="connsiteX22" fmla="*/ 5028 w 10000"/>
                  <a:gd name="connsiteY22" fmla="*/ 10000 h 10000"/>
                  <a:gd name="connsiteX0" fmla="*/ 5028 w 10000"/>
                  <a:gd name="connsiteY0" fmla="*/ 10000 h 10000"/>
                  <a:gd name="connsiteX1" fmla="*/ 1956 w 10000"/>
                  <a:gd name="connsiteY1" fmla="*/ 9080 h 10000"/>
                  <a:gd name="connsiteX2" fmla="*/ 1087 w 10000"/>
                  <a:gd name="connsiteY2" fmla="*/ 8385 h 10000"/>
                  <a:gd name="connsiteX3" fmla="*/ 652 w 10000"/>
                  <a:gd name="connsiteY3" fmla="*/ 7939 h 10000"/>
                  <a:gd name="connsiteX4" fmla="*/ 290 w 10000"/>
                  <a:gd name="connsiteY4" fmla="*/ 7492 h 10000"/>
                  <a:gd name="connsiteX5" fmla="*/ 73 w 10000"/>
                  <a:gd name="connsiteY5" fmla="*/ 6996 h 10000"/>
                  <a:gd name="connsiteX6" fmla="*/ 0 w 10000"/>
                  <a:gd name="connsiteY6" fmla="*/ 6451 h 10000"/>
                  <a:gd name="connsiteX7" fmla="*/ 73 w 10000"/>
                  <a:gd name="connsiteY7" fmla="*/ 5855 h 10000"/>
                  <a:gd name="connsiteX8" fmla="*/ 290 w 10000"/>
                  <a:gd name="connsiteY8" fmla="*/ 5210 h 10000"/>
                  <a:gd name="connsiteX9" fmla="*/ 869 w 10000"/>
                  <a:gd name="connsiteY9" fmla="*/ 4515 h 10000"/>
                  <a:gd name="connsiteX10" fmla="*/ 1594 w 10000"/>
                  <a:gd name="connsiteY10" fmla="*/ 3771 h 10000"/>
                  <a:gd name="connsiteX11" fmla="*/ 1594 w 10000"/>
                  <a:gd name="connsiteY11" fmla="*/ 3771 h 10000"/>
                  <a:gd name="connsiteX12" fmla="*/ 1956 w 10000"/>
                  <a:gd name="connsiteY12" fmla="*/ 3473 h 10000"/>
                  <a:gd name="connsiteX13" fmla="*/ 2608 w 10000"/>
                  <a:gd name="connsiteY13" fmla="*/ 2729 h 10000"/>
                  <a:gd name="connsiteX14" fmla="*/ 3043 w 10000"/>
                  <a:gd name="connsiteY14" fmla="*/ 2134 h 10000"/>
                  <a:gd name="connsiteX15" fmla="*/ 3332 w 10000"/>
                  <a:gd name="connsiteY15" fmla="*/ 1539 h 10000"/>
                  <a:gd name="connsiteX16" fmla="*/ 3550 w 10000"/>
                  <a:gd name="connsiteY16" fmla="*/ 794 h 10000"/>
                  <a:gd name="connsiteX17" fmla="*/ 3695 w 10000"/>
                  <a:gd name="connsiteY17" fmla="*/ 0 h 10000"/>
                  <a:gd name="connsiteX18" fmla="*/ 3695 w 10000"/>
                  <a:gd name="connsiteY18" fmla="*/ 0 h 10000"/>
                  <a:gd name="connsiteX19" fmla="*/ 4347 w 10000"/>
                  <a:gd name="connsiteY19" fmla="*/ 298 h 10000"/>
                  <a:gd name="connsiteX20" fmla="*/ 9998 w 10000"/>
                  <a:gd name="connsiteY20" fmla="*/ 5508 h 10000"/>
                  <a:gd name="connsiteX21" fmla="*/ 5028 w 10000"/>
                  <a:gd name="connsiteY21" fmla="*/ 10000 h 10000"/>
                  <a:gd name="connsiteX0" fmla="*/ 5028 w 10000"/>
                  <a:gd name="connsiteY0" fmla="*/ 10000 h 10000"/>
                  <a:gd name="connsiteX1" fmla="*/ 1087 w 10000"/>
                  <a:gd name="connsiteY1" fmla="*/ 8385 h 10000"/>
                  <a:gd name="connsiteX2" fmla="*/ 652 w 10000"/>
                  <a:gd name="connsiteY2" fmla="*/ 7939 h 10000"/>
                  <a:gd name="connsiteX3" fmla="*/ 290 w 10000"/>
                  <a:gd name="connsiteY3" fmla="*/ 7492 h 10000"/>
                  <a:gd name="connsiteX4" fmla="*/ 73 w 10000"/>
                  <a:gd name="connsiteY4" fmla="*/ 6996 h 10000"/>
                  <a:gd name="connsiteX5" fmla="*/ 0 w 10000"/>
                  <a:gd name="connsiteY5" fmla="*/ 6451 h 10000"/>
                  <a:gd name="connsiteX6" fmla="*/ 73 w 10000"/>
                  <a:gd name="connsiteY6" fmla="*/ 5855 h 10000"/>
                  <a:gd name="connsiteX7" fmla="*/ 290 w 10000"/>
                  <a:gd name="connsiteY7" fmla="*/ 5210 h 10000"/>
                  <a:gd name="connsiteX8" fmla="*/ 869 w 10000"/>
                  <a:gd name="connsiteY8" fmla="*/ 4515 h 10000"/>
                  <a:gd name="connsiteX9" fmla="*/ 1594 w 10000"/>
                  <a:gd name="connsiteY9" fmla="*/ 3771 h 10000"/>
                  <a:gd name="connsiteX10" fmla="*/ 1594 w 10000"/>
                  <a:gd name="connsiteY10" fmla="*/ 3771 h 10000"/>
                  <a:gd name="connsiteX11" fmla="*/ 1956 w 10000"/>
                  <a:gd name="connsiteY11" fmla="*/ 3473 h 10000"/>
                  <a:gd name="connsiteX12" fmla="*/ 2608 w 10000"/>
                  <a:gd name="connsiteY12" fmla="*/ 2729 h 10000"/>
                  <a:gd name="connsiteX13" fmla="*/ 3043 w 10000"/>
                  <a:gd name="connsiteY13" fmla="*/ 2134 h 10000"/>
                  <a:gd name="connsiteX14" fmla="*/ 3332 w 10000"/>
                  <a:gd name="connsiteY14" fmla="*/ 1539 h 10000"/>
                  <a:gd name="connsiteX15" fmla="*/ 3550 w 10000"/>
                  <a:gd name="connsiteY15" fmla="*/ 794 h 10000"/>
                  <a:gd name="connsiteX16" fmla="*/ 3695 w 10000"/>
                  <a:gd name="connsiteY16" fmla="*/ 0 h 10000"/>
                  <a:gd name="connsiteX17" fmla="*/ 3695 w 10000"/>
                  <a:gd name="connsiteY17" fmla="*/ 0 h 10000"/>
                  <a:gd name="connsiteX18" fmla="*/ 4347 w 10000"/>
                  <a:gd name="connsiteY18" fmla="*/ 298 h 10000"/>
                  <a:gd name="connsiteX19" fmla="*/ 9998 w 10000"/>
                  <a:gd name="connsiteY19" fmla="*/ 5508 h 10000"/>
                  <a:gd name="connsiteX20" fmla="*/ 5028 w 10000"/>
                  <a:gd name="connsiteY20" fmla="*/ 10000 h 10000"/>
                  <a:gd name="connsiteX0" fmla="*/ 5028 w 10000"/>
                  <a:gd name="connsiteY0" fmla="*/ 10000 h 10000"/>
                  <a:gd name="connsiteX1" fmla="*/ 652 w 10000"/>
                  <a:gd name="connsiteY1" fmla="*/ 7939 h 10000"/>
                  <a:gd name="connsiteX2" fmla="*/ 290 w 10000"/>
                  <a:gd name="connsiteY2" fmla="*/ 7492 h 10000"/>
                  <a:gd name="connsiteX3" fmla="*/ 73 w 10000"/>
                  <a:gd name="connsiteY3" fmla="*/ 6996 h 10000"/>
                  <a:gd name="connsiteX4" fmla="*/ 0 w 10000"/>
                  <a:gd name="connsiteY4" fmla="*/ 6451 h 10000"/>
                  <a:gd name="connsiteX5" fmla="*/ 73 w 10000"/>
                  <a:gd name="connsiteY5" fmla="*/ 5855 h 10000"/>
                  <a:gd name="connsiteX6" fmla="*/ 290 w 10000"/>
                  <a:gd name="connsiteY6" fmla="*/ 5210 h 10000"/>
                  <a:gd name="connsiteX7" fmla="*/ 869 w 10000"/>
                  <a:gd name="connsiteY7" fmla="*/ 4515 h 10000"/>
                  <a:gd name="connsiteX8" fmla="*/ 1594 w 10000"/>
                  <a:gd name="connsiteY8" fmla="*/ 3771 h 10000"/>
                  <a:gd name="connsiteX9" fmla="*/ 1594 w 10000"/>
                  <a:gd name="connsiteY9" fmla="*/ 3771 h 10000"/>
                  <a:gd name="connsiteX10" fmla="*/ 1956 w 10000"/>
                  <a:gd name="connsiteY10" fmla="*/ 3473 h 10000"/>
                  <a:gd name="connsiteX11" fmla="*/ 2608 w 10000"/>
                  <a:gd name="connsiteY11" fmla="*/ 2729 h 10000"/>
                  <a:gd name="connsiteX12" fmla="*/ 3043 w 10000"/>
                  <a:gd name="connsiteY12" fmla="*/ 2134 h 10000"/>
                  <a:gd name="connsiteX13" fmla="*/ 3332 w 10000"/>
                  <a:gd name="connsiteY13" fmla="*/ 1539 h 10000"/>
                  <a:gd name="connsiteX14" fmla="*/ 3550 w 10000"/>
                  <a:gd name="connsiteY14" fmla="*/ 794 h 10000"/>
                  <a:gd name="connsiteX15" fmla="*/ 3695 w 10000"/>
                  <a:gd name="connsiteY15" fmla="*/ 0 h 10000"/>
                  <a:gd name="connsiteX16" fmla="*/ 3695 w 10000"/>
                  <a:gd name="connsiteY16" fmla="*/ 0 h 10000"/>
                  <a:gd name="connsiteX17" fmla="*/ 4347 w 10000"/>
                  <a:gd name="connsiteY17" fmla="*/ 298 h 10000"/>
                  <a:gd name="connsiteX18" fmla="*/ 9998 w 10000"/>
                  <a:gd name="connsiteY18" fmla="*/ 5508 h 10000"/>
                  <a:gd name="connsiteX19" fmla="*/ 5028 w 10000"/>
                  <a:gd name="connsiteY19" fmla="*/ 10000 h 10000"/>
                  <a:gd name="connsiteX0" fmla="*/ 5028 w 10000"/>
                  <a:gd name="connsiteY0" fmla="*/ 10000 h 10000"/>
                  <a:gd name="connsiteX1" fmla="*/ 290 w 10000"/>
                  <a:gd name="connsiteY1" fmla="*/ 7492 h 10000"/>
                  <a:gd name="connsiteX2" fmla="*/ 73 w 10000"/>
                  <a:gd name="connsiteY2" fmla="*/ 6996 h 10000"/>
                  <a:gd name="connsiteX3" fmla="*/ 0 w 10000"/>
                  <a:gd name="connsiteY3" fmla="*/ 6451 h 10000"/>
                  <a:gd name="connsiteX4" fmla="*/ 73 w 10000"/>
                  <a:gd name="connsiteY4" fmla="*/ 5855 h 10000"/>
                  <a:gd name="connsiteX5" fmla="*/ 290 w 10000"/>
                  <a:gd name="connsiteY5" fmla="*/ 5210 h 10000"/>
                  <a:gd name="connsiteX6" fmla="*/ 869 w 10000"/>
                  <a:gd name="connsiteY6" fmla="*/ 4515 h 10000"/>
                  <a:gd name="connsiteX7" fmla="*/ 1594 w 10000"/>
                  <a:gd name="connsiteY7" fmla="*/ 3771 h 10000"/>
                  <a:gd name="connsiteX8" fmla="*/ 1594 w 10000"/>
                  <a:gd name="connsiteY8" fmla="*/ 3771 h 10000"/>
                  <a:gd name="connsiteX9" fmla="*/ 1956 w 10000"/>
                  <a:gd name="connsiteY9" fmla="*/ 3473 h 10000"/>
                  <a:gd name="connsiteX10" fmla="*/ 2608 w 10000"/>
                  <a:gd name="connsiteY10" fmla="*/ 2729 h 10000"/>
                  <a:gd name="connsiteX11" fmla="*/ 3043 w 10000"/>
                  <a:gd name="connsiteY11" fmla="*/ 2134 h 10000"/>
                  <a:gd name="connsiteX12" fmla="*/ 3332 w 10000"/>
                  <a:gd name="connsiteY12" fmla="*/ 1539 h 10000"/>
                  <a:gd name="connsiteX13" fmla="*/ 3550 w 10000"/>
                  <a:gd name="connsiteY13" fmla="*/ 794 h 10000"/>
                  <a:gd name="connsiteX14" fmla="*/ 3695 w 10000"/>
                  <a:gd name="connsiteY14" fmla="*/ 0 h 10000"/>
                  <a:gd name="connsiteX15" fmla="*/ 3695 w 10000"/>
                  <a:gd name="connsiteY15" fmla="*/ 0 h 10000"/>
                  <a:gd name="connsiteX16" fmla="*/ 4347 w 10000"/>
                  <a:gd name="connsiteY16" fmla="*/ 298 h 10000"/>
                  <a:gd name="connsiteX17" fmla="*/ 9998 w 10000"/>
                  <a:gd name="connsiteY17" fmla="*/ 5508 h 10000"/>
                  <a:gd name="connsiteX18" fmla="*/ 5028 w 10000"/>
                  <a:gd name="connsiteY18" fmla="*/ 10000 h 10000"/>
                  <a:gd name="connsiteX0" fmla="*/ 5028 w 10000"/>
                  <a:gd name="connsiteY0" fmla="*/ 10000 h 10000"/>
                  <a:gd name="connsiteX1" fmla="*/ 73 w 10000"/>
                  <a:gd name="connsiteY1" fmla="*/ 6996 h 10000"/>
                  <a:gd name="connsiteX2" fmla="*/ 0 w 10000"/>
                  <a:gd name="connsiteY2" fmla="*/ 6451 h 10000"/>
                  <a:gd name="connsiteX3" fmla="*/ 73 w 10000"/>
                  <a:gd name="connsiteY3" fmla="*/ 5855 h 10000"/>
                  <a:gd name="connsiteX4" fmla="*/ 290 w 10000"/>
                  <a:gd name="connsiteY4" fmla="*/ 5210 h 10000"/>
                  <a:gd name="connsiteX5" fmla="*/ 869 w 10000"/>
                  <a:gd name="connsiteY5" fmla="*/ 4515 h 10000"/>
                  <a:gd name="connsiteX6" fmla="*/ 1594 w 10000"/>
                  <a:gd name="connsiteY6" fmla="*/ 3771 h 10000"/>
                  <a:gd name="connsiteX7" fmla="*/ 1594 w 10000"/>
                  <a:gd name="connsiteY7" fmla="*/ 3771 h 10000"/>
                  <a:gd name="connsiteX8" fmla="*/ 1956 w 10000"/>
                  <a:gd name="connsiteY8" fmla="*/ 3473 h 10000"/>
                  <a:gd name="connsiteX9" fmla="*/ 2608 w 10000"/>
                  <a:gd name="connsiteY9" fmla="*/ 2729 h 10000"/>
                  <a:gd name="connsiteX10" fmla="*/ 3043 w 10000"/>
                  <a:gd name="connsiteY10" fmla="*/ 2134 h 10000"/>
                  <a:gd name="connsiteX11" fmla="*/ 3332 w 10000"/>
                  <a:gd name="connsiteY11" fmla="*/ 1539 h 10000"/>
                  <a:gd name="connsiteX12" fmla="*/ 3550 w 10000"/>
                  <a:gd name="connsiteY12" fmla="*/ 794 h 10000"/>
                  <a:gd name="connsiteX13" fmla="*/ 3695 w 10000"/>
                  <a:gd name="connsiteY13" fmla="*/ 0 h 10000"/>
                  <a:gd name="connsiteX14" fmla="*/ 3695 w 10000"/>
                  <a:gd name="connsiteY14" fmla="*/ 0 h 10000"/>
                  <a:gd name="connsiteX15" fmla="*/ 4347 w 10000"/>
                  <a:gd name="connsiteY15" fmla="*/ 298 h 10000"/>
                  <a:gd name="connsiteX16" fmla="*/ 9998 w 10000"/>
                  <a:gd name="connsiteY16" fmla="*/ 5508 h 10000"/>
                  <a:gd name="connsiteX17" fmla="*/ 5028 w 10000"/>
                  <a:gd name="connsiteY17" fmla="*/ 10000 h 10000"/>
                  <a:gd name="connsiteX0" fmla="*/ 5028 w 10000"/>
                  <a:gd name="connsiteY0" fmla="*/ 10000 h 10000"/>
                  <a:gd name="connsiteX1" fmla="*/ 0 w 10000"/>
                  <a:gd name="connsiteY1" fmla="*/ 6451 h 10000"/>
                  <a:gd name="connsiteX2" fmla="*/ 73 w 10000"/>
                  <a:gd name="connsiteY2" fmla="*/ 5855 h 10000"/>
                  <a:gd name="connsiteX3" fmla="*/ 290 w 10000"/>
                  <a:gd name="connsiteY3" fmla="*/ 5210 h 10000"/>
                  <a:gd name="connsiteX4" fmla="*/ 869 w 10000"/>
                  <a:gd name="connsiteY4" fmla="*/ 4515 h 10000"/>
                  <a:gd name="connsiteX5" fmla="*/ 1594 w 10000"/>
                  <a:gd name="connsiteY5" fmla="*/ 3771 h 10000"/>
                  <a:gd name="connsiteX6" fmla="*/ 1594 w 10000"/>
                  <a:gd name="connsiteY6" fmla="*/ 3771 h 10000"/>
                  <a:gd name="connsiteX7" fmla="*/ 1956 w 10000"/>
                  <a:gd name="connsiteY7" fmla="*/ 3473 h 10000"/>
                  <a:gd name="connsiteX8" fmla="*/ 2608 w 10000"/>
                  <a:gd name="connsiteY8" fmla="*/ 2729 h 10000"/>
                  <a:gd name="connsiteX9" fmla="*/ 3043 w 10000"/>
                  <a:gd name="connsiteY9" fmla="*/ 2134 h 10000"/>
                  <a:gd name="connsiteX10" fmla="*/ 3332 w 10000"/>
                  <a:gd name="connsiteY10" fmla="*/ 1539 h 10000"/>
                  <a:gd name="connsiteX11" fmla="*/ 3550 w 10000"/>
                  <a:gd name="connsiteY11" fmla="*/ 794 h 10000"/>
                  <a:gd name="connsiteX12" fmla="*/ 3695 w 10000"/>
                  <a:gd name="connsiteY12" fmla="*/ 0 h 10000"/>
                  <a:gd name="connsiteX13" fmla="*/ 3695 w 10000"/>
                  <a:gd name="connsiteY13" fmla="*/ 0 h 10000"/>
                  <a:gd name="connsiteX14" fmla="*/ 4347 w 10000"/>
                  <a:gd name="connsiteY14" fmla="*/ 298 h 10000"/>
                  <a:gd name="connsiteX15" fmla="*/ 9998 w 10000"/>
                  <a:gd name="connsiteY15" fmla="*/ 5508 h 10000"/>
                  <a:gd name="connsiteX16" fmla="*/ 5028 w 10000"/>
                  <a:gd name="connsiteY16" fmla="*/ 10000 h 10000"/>
                  <a:gd name="connsiteX0" fmla="*/ 4955 w 9927"/>
                  <a:gd name="connsiteY0" fmla="*/ 10000 h 10000"/>
                  <a:gd name="connsiteX1" fmla="*/ 0 w 9927"/>
                  <a:gd name="connsiteY1" fmla="*/ 5855 h 10000"/>
                  <a:gd name="connsiteX2" fmla="*/ 217 w 9927"/>
                  <a:gd name="connsiteY2" fmla="*/ 5210 h 10000"/>
                  <a:gd name="connsiteX3" fmla="*/ 796 w 9927"/>
                  <a:gd name="connsiteY3" fmla="*/ 4515 h 10000"/>
                  <a:gd name="connsiteX4" fmla="*/ 1521 w 9927"/>
                  <a:gd name="connsiteY4" fmla="*/ 3771 h 10000"/>
                  <a:gd name="connsiteX5" fmla="*/ 1521 w 9927"/>
                  <a:gd name="connsiteY5" fmla="*/ 3771 h 10000"/>
                  <a:gd name="connsiteX6" fmla="*/ 1883 w 9927"/>
                  <a:gd name="connsiteY6" fmla="*/ 3473 h 10000"/>
                  <a:gd name="connsiteX7" fmla="*/ 2535 w 9927"/>
                  <a:gd name="connsiteY7" fmla="*/ 2729 h 10000"/>
                  <a:gd name="connsiteX8" fmla="*/ 2970 w 9927"/>
                  <a:gd name="connsiteY8" fmla="*/ 2134 h 10000"/>
                  <a:gd name="connsiteX9" fmla="*/ 3259 w 9927"/>
                  <a:gd name="connsiteY9" fmla="*/ 1539 h 10000"/>
                  <a:gd name="connsiteX10" fmla="*/ 3477 w 9927"/>
                  <a:gd name="connsiteY10" fmla="*/ 794 h 10000"/>
                  <a:gd name="connsiteX11" fmla="*/ 3622 w 9927"/>
                  <a:gd name="connsiteY11" fmla="*/ 0 h 10000"/>
                  <a:gd name="connsiteX12" fmla="*/ 3622 w 9927"/>
                  <a:gd name="connsiteY12" fmla="*/ 0 h 10000"/>
                  <a:gd name="connsiteX13" fmla="*/ 4274 w 9927"/>
                  <a:gd name="connsiteY13" fmla="*/ 298 h 10000"/>
                  <a:gd name="connsiteX14" fmla="*/ 9925 w 9927"/>
                  <a:gd name="connsiteY14" fmla="*/ 5508 h 10000"/>
                  <a:gd name="connsiteX15" fmla="*/ 4955 w 9927"/>
                  <a:gd name="connsiteY15" fmla="*/ 10000 h 10000"/>
                  <a:gd name="connsiteX0" fmla="*/ 4991 w 10000"/>
                  <a:gd name="connsiteY0" fmla="*/ 10000 h 10000"/>
                  <a:gd name="connsiteX1" fmla="*/ 0 w 10000"/>
                  <a:gd name="connsiteY1" fmla="*/ 5855 h 10000"/>
                  <a:gd name="connsiteX2" fmla="*/ 802 w 10000"/>
                  <a:gd name="connsiteY2" fmla="*/ 4515 h 10000"/>
                  <a:gd name="connsiteX3" fmla="*/ 1532 w 10000"/>
                  <a:gd name="connsiteY3" fmla="*/ 3771 h 10000"/>
                  <a:gd name="connsiteX4" fmla="*/ 1532 w 10000"/>
                  <a:gd name="connsiteY4" fmla="*/ 3771 h 10000"/>
                  <a:gd name="connsiteX5" fmla="*/ 1897 w 10000"/>
                  <a:gd name="connsiteY5" fmla="*/ 3473 h 10000"/>
                  <a:gd name="connsiteX6" fmla="*/ 2554 w 10000"/>
                  <a:gd name="connsiteY6" fmla="*/ 2729 h 10000"/>
                  <a:gd name="connsiteX7" fmla="*/ 2992 w 10000"/>
                  <a:gd name="connsiteY7" fmla="*/ 2134 h 10000"/>
                  <a:gd name="connsiteX8" fmla="*/ 3283 w 10000"/>
                  <a:gd name="connsiteY8" fmla="*/ 1539 h 10000"/>
                  <a:gd name="connsiteX9" fmla="*/ 3503 w 10000"/>
                  <a:gd name="connsiteY9" fmla="*/ 794 h 10000"/>
                  <a:gd name="connsiteX10" fmla="*/ 3649 w 10000"/>
                  <a:gd name="connsiteY10" fmla="*/ 0 h 10000"/>
                  <a:gd name="connsiteX11" fmla="*/ 3649 w 10000"/>
                  <a:gd name="connsiteY11" fmla="*/ 0 h 10000"/>
                  <a:gd name="connsiteX12" fmla="*/ 4305 w 10000"/>
                  <a:gd name="connsiteY12" fmla="*/ 298 h 10000"/>
                  <a:gd name="connsiteX13" fmla="*/ 9998 w 10000"/>
                  <a:gd name="connsiteY13" fmla="*/ 5508 h 10000"/>
                  <a:gd name="connsiteX14" fmla="*/ 4991 w 10000"/>
                  <a:gd name="connsiteY14" fmla="*/ 10000 h 10000"/>
                  <a:gd name="connsiteX0" fmla="*/ 4991 w 10000"/>
                  <a:gd name="connsiteY0" fmla="*/ 10000 h 10000"/>
                  <a:gd name="connsiteX1" fmla="*/ 0 w 10000"/>
                  <a:gd name="connsiteY1" fmla="*/ 5855 h 10000"/>
                  <a:gd name="connsiteX2" fmla="*/ 1532 w 10000"/>
                  <a:gd name="connsiteY2" fmla="*/ 3771 h 10000"/>
                  <a:gd name="connsiteX3" fmla="*/ 1532 w 10000"/>
                  <a:gd name="connsiteY3" fmla="*/ 3771 h 10000"/>
                  <a:gd name="connsiteX4" fmla="*/ 1897 w 10000"/>
                  <a:gd name="connsiteY4" fmla="*/ 3473 h 10000"/>
                  <a:gd name="connsiteX5" fmla="*/ 2554 w 10000"/>
                  <a:gd name="connsiteY5" fmla="*/ 2729 h 10000"/>
                  <a:gd name="connsiteX6" fmla="*/ 2992 w 10000"/>
                  <a:gd name="connsiteY6" fmla="*/ 2134 h 10000"/>
                  <a:gd name="connsiteX7" fmla="*/ 3283 w 10000"/>
                  <a:gd name="connsiteY7" fmla="*/ 1539 h 10000"/>
                  <a:gd name="connsiteX8" fmla="*/ 3503 w 10000"/>
                  <a:gd name="connsiteY8" fmla="*/ 794 h 10000"/>
                  <a:gd name="connsiteX9" fmla="*/ 3649 w 10000"/>
                  <a:gd name="connsiteY9" fmla="*/ 0 h 10000"/>
                  <a:gd name="connsiteX10" fmla="*/ 3649 w 10000"/>
                  <a:gd name="connsiteY10" fmla="*/ 0 h 10000"/>
                  <a:gd name="connsiteX11" fmla="*/ 4305 w 10000"/>
                  <a:gd name="connsiteY11" fmla="*/ 298 h 10000"/>
                  <a:gd name="connsiteX12" fmla="*/ 9998 w 10000"/>
                  <a:gd name="connsiteY12" fmla="*/ 5508 h 10000"/>
                  <a:gd name="connsiteX13" fmla="*/ 4991 w 10000"/>
                  <a:gd name="connsiteY13" fmla="*/ 10000 h 10000"/>
                  <a:gd name="connsiteX0" fmla="*/ 4991 w 10000"/>
                  <a:gd name="connsiteY0" fmla="*/ 10000 h 10000"/>
                  <a:gd name="connsiteX1" fmla="*/ 0 w 10000"/>
                  <a:gd name="connsiteY1" fmla="*/ 5855 h 10000"/>
                  <a:gd name="connsiteX2" fmla="*/ 1532 w 10000"/>
                  <a:gd name="connsiteY2" fmla="*/ 3771 h 10000"/>
                  <a:gd name="connsiteX3" fmla="*/ 1897 w 10000"/>
                  <a:gd name="connsiteY3" fmla="*/ 3473 h 10000"/>
                  <a:gd name="connsiteX4" fmla="*/ 2554 w 10000"/>
                  <a:gd name="connsiteY4" fmla="*/ 2729 h 10000"/>
                  <a:gd name="connsiteX5" fmla="*/ 2992 w 10000"/>
                  <a:gd name="connsiteY5" fmla="*/ 2134 h 10000"/>
                  <a:gd name="connsiteX6" fmla="*/ 3283 w 10000"/>
                  <a:gd name="connsiteY6" fmla="*/ 1539 h 10000"/>
                  <a:gd name="connsiteX7" fmla="*/ 3503 w 10000"/>
                  <a:gd name="connsiteY7" fmla="*/ 794 h 10000"/>
                  <a:gd name="connsiteX8" fmla="*/ 3649 w 10000"/>
                  <a:gd name="connsiteY8" fmla="*/ 0 h 10000"/>
                  <a:gd name="connsiteX9" fmla="*/ 3649 w 10000"/>
                  <a:gd name="connsiteY9" fmla="*/ 0 h 10000"/>
                  <a:gd name="connsiteX10" fmla="*/ 4305 w 10000"/>
                  <a:gd name="connsiteY10" fmla="*/ 298 h 10000"/>
                  <a:gd name="connsiteX11" fmla="*/ 9998 w 10000"/>
                  <a:gd name="connsiteY11" fmla="*/ 5508 h 10000"/>
                  <a:gd name="connsiteX12" fmla="*/ 4991 w 10000"/>
                  <a:gd name="connsiteY12" fmla="*/ 10000 h 10000"/>
                  <a:gd name="connsiteX0" fmla="*/ 4991 w 10000"/>
                  <a:gd name="connsiteY0" fmla="*/ 10000 h 10000"/>
                  <a:gd name="connsiteX1" fmla="*/ 0 w 10000"/>
                  <a:gd name="connsiteY1" fmla="*/ 5855 h 10000"/>
                  <a:gd name="connsiteX2" fmla="*/ 1532 w 10000"/>
                  <a:gd name="connsiteY2" fmla="*/ 3771 h 10000"/>
                  <a:gd name="connsiteX3" fmla="*/ 2554 w 10000"/>
                  <a:gd name="connsiteY3" fmla="*/ 2729 h 10000"/>
                  <a:gd name="connsiteX4" fmla="*/ 2992 w 10000"/>
                  <a:gd name="connsiteY4" fmla="*/ 2134 h 10000"/>
                  <a:gd name="connsiteX5" fmla="*/ 3283 w 10000"/>
                  <a:gd name="connsiteY5" fmla="*/ 1539 h 10000"/>
                  <a:gd name="connsiteX6" fmla="*/ 3503 w 10000"/>
                  <a:gd name="connsiteY6" fmla="*/ 794 h 10000"/>
                  <a:gd name="connsiteX7" fmla="*/ 3649 w 10000"/>
                  <a:gd name="connsiteY7" fmla="*/ 0 h 10000"/>
                  <a:gd name="connsiteX8" fmla="*/ 3649 w 10000"/>
                  <a:gd name="connsiteY8" fmla="*/ 0 h 10000"/>
                  <a:gd name="connsiteX9" fmla="*/ 4305 w 10000"/>
                  <a:gd name="connsiteY9" fmla="*/ 298 h 10000"/>
                  <a:gd name="connsiteX10" fmla="*/ 9998 w 10000"/>
                  <a:gd name="connsiteY10" fmla="*/ 5508 h 10000"/>
                  <a:gd name="connsiteX11" fmla="*/ 4991 w 10000"/>
                  <a:gd name="connsiteY11" fmla="*/ 10000 h 10000"/>
                  <a:gd name="connsiteX0" fmla="*/ 4991 w 10000"/>
                  <a:gd name="connsiteY0" fmla="*/ 10000 h 10000"/>
                  <a:gd name="connsiteX1" fmla="*/ 0 w 10000"/>
                  <a:gd name="connsiteY1" fmla="*/ 5855 h 10000"/>
                  <a:gd name="connsiteX2" fmla="*/ 2554 w 10000"/>
                  <a:gd name="connsiteY2" fmla="*/ 2729 h 10000"/>
                  <a:gd name="connsiteX3" fmla="*/ 2992 w 10000"/>
                  <a:gd name="connsiteY3" fmla="*/ 2134 h 10000"/>
                  <a:gd name="connsiteX4" fmla="*/ 3283 w 10000"/>
                  <a:gd name="connsiteY4" fmla="*/ 1539 h 10000"/>
                  <a:gd name="connsiteX5" fmla="*/ 3503 w 10000"/>
                  <a:gd name="connsiteY5" fmla="*/ 794 h 10000"/>
                  <a:gd name="connsiteX6" fmla="*/ 3649 w 10000"/>
                  <a:gd name="connsiteY6" fmla="*/ 0 h 10000"/>
                  <a:gd name="connsiteX7" fmla="*/ 3649 w 10000"/>
                  <a:gd name="connsiteY7" fmla="*/ 0 h 10000"/>
                  <a:gd name="connsiteX8" fmla="*/ 4305 w 10000"/>
                  <a:gd name="connsiteY8" fmla="*/ 298 h 10000"/>
                  <a:gd name="connsiteX9" fmla="*/ 9998 w 10000"/>
                  <a:gd name="connsiteY9" fmla="*/ 5508 h 10000"/>
                  <a:gd name="connsiteX10" fmla="*/ 4991 w 10000"/>
                  <a:gd name="connsiteY10" fmla="*/ 10000 h 10000"/>
                  <a:gd name="connsiteX0" fmla="*/ 4991 w 10000"/>
                  <a:gd name="connsiteY0" fmla="*/ 10000 h 10000"/>
                  <a:gd name="connsiteX1" fmla="*/ 0 w 10000"/>
                  <a:gd name="connsiteY1" fmla="*/ 5855 h 10000"/>
                  <a:gd name="connsiteX2" fmla="*/ 2992 w 10000"/>
                  <a:gd name="connsiteY2" fmla="*/ 2134 h 10000"/>
                  <a:gd name="connsiteX3" fmla="*/ 3283 w 10000"/>
                  <a:gd name="connsiteY3" fmla="*/ 1539 h 10000"/>
                  <a:gd name="connsiteX4" fmla="*/ 3503 w 10000"/>
                  <a:gd name="connsiteY4" fmla="*/ 794 h 10000"/>
                  <a:gd name="connsiteX5" fmla="*/ 3649 w 10000"/>
                  <a:gd name="connsiteY5" fmla="*/ 0 h 10000"/>
                  <a:gd name="connsiteX6" fmla="*/ 3649 w 10000"/>
                  <a:gd name="connsiteY6" fmla="*/ 0 h 10000"/>
                  <a:gd name="connsiteX7" fmla="*/ 4305 w 10000"/>
                  <a:gd name="connsiteY7" fmla="*/ 298 h 10000"/>
                  <a:gd name="connsiteX8" fmla="*/ 9998 w 10000"/>
                  <a:gd name="connsiteY8" fmla="*/ 5508 h 10000"/>
                  <a:gd name="connsiteX9" fmla="*/ 4991 w 10000"/>
                  <a:gd name="connsiteY9" fmla="*/ 10000 h 10000"/>
                  <a:gd name="connsiteX0" fmla="*/ 4991 w 10000"/>
                  <a:gd name="connsiteY0" fmla="*/ 10000 h 10000"/>
                  <a:gd name="connsiteX1" fmla="*/ 0 w 10000"/>
                  <a:gd name="connsiteY1" fmla="*/ 5855 h 10000"/>
                  <a:gd name="connsiteX2" fmla="*/ 3283 w 10000"/>
                  <a:gd name="connsiteY2" fmla="*/ 1539 h 10000"/>
                  <a:gd name="connsiteX3" fmla="*/ 3503 w 10000"/>
                  <a:gd name="connsiteY3" fmla="*/ 794 h 10000"/>
                  <a:gd name="connsiteX4" fmla="*/ 3649 w 10000"/>
                  <a:gd name="connsiteY4" fmla="*/ 0 h 10000"/>
                  <a:gd name="connsiteX5" fmla="*/ 3649 w 10000"/>
                  <a:gd name="connsiteY5" fmla="*/ 0 h 10000"/>
                  <a:gd name="connsiteX6" fmla="*/ 4305 w 10000"/>
                  <a:gd name="connsiteY6" fmla="*/ 298 h 10000"/>
                  <a:gd name="connsiteX7" fmla="*/ 9998 w 10000"/>
                  <a:gd name="connsiteY7" fmla="*/ 5508 h 10000"/>
                  <a:gd name="connsiteX8" fmla="*/ 4991 w 10000"/>
                  <a:gd name="connsiteY8" fmla="*/ 10000 h 10000"/>
                  <a:gd name="connsiteX0" fmla="*/ 4991 w 10000"/>
                  <a:gd name="connsiteY0" fmla="*/ 10000 h 10000"/>
                  <a:gd name="connsiteX1" fmla="*/ 0 w 10000"/>
                  <a:gd name="connsiteY1" fmla="*/ 5855 h 10000"/>
                  <a:gd name="connsiteX2" fmla="*/ 3503 w 10000"/>
                  <a:gd name="connsiteY2" fmla="*/ 794 h 10000"/>
                  <a:gd name="connsiteX3" fmla="*/ 3649 w 10000"/>
                  <a:gd name="connsiteY3" fmla="*/ 0 h 10000"/>
                  <a:gd name="connsiteX4" fmla="*/ 3649 w 10000"/>
                  <a:gd name="connsiteY4" fmla="*/ 0 h 10000"/>
                  <a:gd name="connsiteX5" fmla="*/ 4305 w 10000"/>
                  <a:gd name="connsiteY5" fmla="*/ 298 h 10000"/>
                  <a:gd name="connsiteX6" fmla="*/ 9998 w 10000"/>
                  <a:gd name="connsiteY6" fmla="*/ 5508 h 10000"/>
                  <a:gd name="connsiteX7" fmla="*/ 4991 w 10000"/>
                  <a:gd name="connsiteY7"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4305 w 10000"/>
                  <a:gd name="connsiteY4" fmla="*/ 298 h 10000"/>
                  <a:gd name="connsiteX5" fmla="*/ 9998 w 10000"/>
                  <a:gd name="connsiteY5" fmla="*/ 5508 h 10000"/>
                  <a:gd name="connsiteX6" fmla="*/ 4991 w 10000"/>
                  <a:gd name="connsiteY6"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9998 w 10000"/>
                  <a:gd name="connsiteY4" fmla="*/ 5508 h 10000"/>
                  <a:gd name="connsiteX5" fmla="*/ 4991 w 10000"/>
                  <a:gd name="connsiteY5" fmla="*/ 10000 h 10000"/>
                  <a:gd name="connsiteX0" fmla="*/ 4991 w 10004"/>
                  <a:gd name="connsiteY0" fmla="*/ 10000 h 10000"/>
                  <a:gd name="connsiteX1" fmla="*/ 0 w 10004"/>
                  <a:gd name="connsiteY1" fmla="*/ 5855 h 10000"/>
                  <a:gd name="connsiteX2" fmla="*/ 3649 w 10004"/>
                  <a:gd name="connsiteY2" fmla="*/ 0 h 10000"/>
                  <a:gd name="connsiteX3" fmla="*/ 3649 w 10004"/>
                  <a:gd name="connsiteY3" fmla="*/ 0 h 10000"/>
                  <a:gd name="connsiteX4" fmla="*/ 9998 w 10004"/>
                  <a:gd name="connsiteY4" fmla="*/ 5508 h 10000"/>
                  <a:gd name="connsiteX5" fmla="*/ 4991 w 10004"/>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77 w 10090"/>
                  <a:gd name="connsiteY0" fmla="*/ 10000 h 10000"/>
                  <a:gd name="connsiteX1" fmla="*/ 86 w 10090"/>
                  <a:gd name="connsiteY1" fmla="*/ 5855 h 10000"/>
                  <a:gd name="connsiteX2" fmla="*/ 3735 w 10090"/>
                  <a:gd name="connsiteY2" fmla="*/ 0 h 10000"/>
                  <a:gd name="connsiteX3" fmla="*/ 3735 w 10090"/>
                  <a:gd name="connsiteY3" fmla="*/ 0 h 10000"/>
                  <a:gd name="connsiteX4" fmla="*/ 10084 w 10090"/>
                  <a:gd name="connsiteY4" fmla="*/ 5508 h 10000"/>
                  <a:gd name="connsiteX5" fmla="*/ 5077 w 10090"/>
                  <a:gd name="connsiteY5" fmla="*/ 10000 h 10000"/>
                  <a:gd name="connsiteX0" fmla="*/ 5060 w 10073"/>
                  <a:gd name="connsiteY0" fmla="*/ 10000 h 10000"/>
                  <a:gd name="connsiteX1" fmla="*/ 69 w 10073"/>
                  <a:gd name="connsiteY1" fmla="*/ 5855 h 10000"/>
                  <a:gd name="connsiteX2" fmla="*/ 3718 w 10073"/>
                  <a:gd name="connsiteY2" fmla="*/ 0 h 10000"/>
                  <a:gd name="connsiteX3" fmla="*/ 3718 w 10073"/>
                  <a:gd name="connsiteY3" fmla="*/ 0 h 10000"/>
                  <a:gd name="connsiteX4" fmla="*/ 10067 w 10073"/>
                  <a:gd name="connsiteY4" fmla="*/ 5508 h 10000"/>
                  <a:gd name="connsiteX5" fmla="*/ 5060 w 10073"/>
                  <a:gd name="connsiteY5" fmla="*/ 10000 h 10000"/>
                  <a:gd name="connsiteX0" fmla="*/ 4956 w 9965"/>
                  <a:gd name="connsiteY0" fmla="*/ 10000 h 10000"/>
                  <a:gd name="connsiteX1" fmla="*/ 36 w 9965"/>
                  <a:gd name="connsiteY1" fmla="*/ 5565 h 10000"/>
                  <a:gd name="connsiteX2" fmla="*/ 3614 w 9965"/>
                  <a:gd name="connsiteY2" fmla="*/ 0 h 10000"/>
                  <a:gd name="connsiteX3" fmla="*/ 3614 w 9965"/>
                  <a:gd name="connsiteY3" fmla="*/ 0 h 10000"/>
                  <a:gd name="connsiteX4" fmla="*/ 9963 w 9965"/>
                  <a:gd name="connsiteY4" fmla="*/ 5508 h 10000"/>
                  <a:gd name="connsiteX5" fmla="*/ 4956 w 9965"/>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37"/>
                  <a:gd name="connsiteY0" fmla="*/ 10000 h 10001"/>
                  <a:gd name="connsiteX1" fmla="*/ 171 w 10137"/>
                  <a:gd name="connsiteY1" fmla="*/ 5565 h 10001"/>
                  <a:gd name="connsiteX2" fmla="*/ 3762 w 10137"/>
                  <a:gd name="connsiteY2" fmla="*/ 0 h 10001"/>
                  <a:gd name="connsiteX3" fmla="*/ 4332 w 10137"/>
                  <a:gd name="connsiteY3" fmla="*/ 580 h 10001"/>
                  <a:gd name="connsiteX4" fmla="*/ 10133 w 10137"/>
                  <a:gd name="connsiteY4" fmla="*/ 5508 h 10001"/>
                  <a:gd name="connsiteX5" fmla="*/ 5108 w 10137"/>
                  <a:gd name="connsiteY5" fmla="*/ 10000 h 10001"/>
                  <a:gd name="connsiteX0" fmla="*/ 5108 w 10151"/>
                  <a:gd name="connsiteY0" fmla="*/ 10145 h 10146"/>
                  <a:gd name="connsiteX1" fmla="*/ 171 w 10151"/>
                  <a:gd name="connsiteY1" fmla="*/ 5710 h 10146"/>
                  <a:gd name="connsiteX2" fmla="*/ 3762 w 10151"/>
                  <a:gd name="connsiteY2" fmla="*/ 145 h 10146"/>
                  <a:gd name="connsiteX3" fmla="*/ 6685 w 10151"/>
                  <a:gd name="connsiteY3" fmla="*/ 0 h 10146"/>
                  <a:gd name="connsiteX4" fmla="*/ 10133 w 10151"/>
                  <a:gd name="connsiteY4" fmla="*/ 5653 h 10146"/>
                  <a:gd name="connsiteX5" fmla="*/ 5108 w 10151"/>
                  <a:gd name="connsiteY5" fmla="*/ 10145 h 10146"/>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46"/>
                  <a:gd name="connsiteY0" fmla="*/ 10000 h 10001"/>
                  <a:gd name="connsiteX1" fmla="*/ 171 w 10146"/>
                  <a:gd name="connsiteY1" fmla="*/ 5565 h 10001"/>
                  <a:gd name="connsiteX2" fmla="*/ 3762 w 10146"/>
                  <a:gd name="connsiteY2" fmla="*/ 0 h 10001"/>
                  <a:gd name="connsiteX3" fmla="*/ 10133 w 10146"/>
                  <a:gd name="connsiteY3" fmla="*/ 5508 h 10001"/>
                  <a:gd name="connsiteX4" fmla="*/ 5108 w 10146"/>
                  <a:gd name="connsiteY4" fmla="*/ 10000 h 10001"/>
                  <a:gd name="connsiteX0" fmla="*/ 5108 w 10135"/>
                  <a:gd name="connsiteY0" fmla="*/ 10000 h 10001"/>
                  <a:gd name="connsiteX1" fmla="*/ 171 w 10135"/>
                  <a:gd name="connsiteY1" fmla="*/ 5565 h 10001"/>
                  <a:gd name="connsiteX2" fmla="*/ 3762 w 10135"/>
                  <a:gd name="connsiteY2" fmla="*/ 0 h 10001"/>
                  <a:gd name="connsiteX3" fmla="*/ 10133 w 10135"/>
                  <a:gd name="connsiteY3" fmla="*/ 5508 h 10001"/>
                  <a:gd name="connsiteX4" fmla="*/ 5108 w 10135"/>
                  <a:gd name="connsiteY4" fmla="*/ 10000 h 10001"/>
                  <a:gd name="connsiteX0" fmla="*/ 5108 w 10139"/>
                  <a:gd name="connsiteY0" fmla="*/ 10000 h 10001"/>
                  <a:gd name="connsiteX1" fmla="*/ 171 w 10139"/>
                  <a:gd name="connsiteY1" fmla="*/ 5565 h 10001"/>
                  <a:gd name="connsiteX2" fmla="*/ 3762 w 10139"/>
                  <a:gd name="connsiteY2" fmla="*/ 0 h 10001"/>
                  <a:gd name="connsiteX3" fmla="*/ 10133 w 10139"/>
                  <a:gd name="connsiteY3" fmla="*/ 5508 h 10001"/>
                  <a:gd name="connsiteX4" fmla="*/ 5108 w 10139"/>
                  <a:gd name="connsiteY4" fmla="*/ 10000 h 10001"/>
                  <a:gd name="connsiteX0" fmla="*/ 5108 w 10164"/>
                  <a:gd name="connsiteY0" fmla="*/ 10000 h 10001"/>
                  <a:gd name="connsiteX1" fmla="*/ 171 w 10164"/>
                  <a:gd name="connsiteY1" fmla="*/ 5565 h 10001"/>
                  <a:gd name="connsiteX2" fmla="*/ 3762 w 10164"/>
                  <a:gd name="connsiteY2" fmla="*/ 0 h 10001"/>
                  <a:gd name="connsiteX3" fmla="*/ 10133 w 10164"/>
                  <a:gd name="connsiteY3" fmla="*/ 5508 h 10001"/>
                  <a:gd name="connsiteX4" fmla="*/ 5108 w 10164"/>
                  <a:gd name="connsiteY4" fmla="*/ 10000 h 10001"/>
                  <a:gd name="connsiteX0" fmla="*/ 5088 w 10139"/>
                  <a:gd name="connsiteY0" fmla="*/ 10000 h 10000"/>
                  <a:gd name="connsiteX1" fmla="*/ 151 w 10139"/>
                  <a:gd name="connsiteY1" fmla="*/ 5565 h 10000"/>
                  <a:gd name="connsiteX2" fmla="*/ 3742 w 10139"/>
                  <a:gd name="connsiteY2" fmla="*/ 0 h 10000"/>
                  <a:gd name="connsiteX3" fmla="*/ 10113 w 10139"/>
                  <a:gd name="connsiteY3" fmla="*/ 5605 h 10000"/>
                  <a:gd name="connsiteX4" fmla="*/ 5088 w 10139"/>
                  <a:gd name="connsiteY4" fmla="*/ 10000 h 10000"/>
                  <a:gd name="connsiteX0" fmla="*/ 5088 w 10173"/>
                  <a:gd name="connsiteY0" fmla="*/ 10000 h 10000"/>
                  <a:gd name="connsiteX1" fmla="*/ 151 w 10173"/>
                  <a:gd name="connsiteY1" fmla="*/ 5565 h 10000"/>
                  <a:gd name="connsiteX2" fmla="*/ 3742 w 10173"/>
                  <a:gd name="connsiteY2" fmla="*/ 0 h 10000"/>
                  <a:gd name="connsiteX3" fmla="*/ 10113 w 10173"/>
                  <a:gd name="connsiteY3" fmla="*/ 5605 h 10000"/>
                  <a:gd name="connsiteX4" fmla="*/ 5088 w 10173"/>
                  <a:gd name="connsiteY4" fmla="*/ 10000 h 10000"/>
                  <a:gd name="connsiteX0" fmla="*/ 5108 w 10202"/>
                  <a:gd name="connsiteY0" fmla="*/ 10000 h 10000"/>
                  <a:gd name="connsiteX1" fmla="*/ 171 w 10202"/>
                  <a:gd name="connsiteY1" fmla="*/ 5565 h 10000"/>
                  <a:gd name="connsiteX2" fmla="*/ 3762 w 10202"/>
                  <a:gd name="connsiteY2" fmla="*/ 0 h 10000"/>
                  <a:gd name="connsiteX3" fmla="*/ 10133 w 10202"/>
                  <a:gd name="connsiteY3" fmla="*/ 5605 h 10000"/>
                  <a:gd name="connsiteX4" fmla="*/ 5108 w 10202"/>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2" h="10000">
                    <a:moveTo>
                      <a:pt x="5108" y="10000"/>
                    </a:moveTo>
                    <a:cubicBezTo>
                      <a:pt x="2806" y="10041"/>
                      <a:pt x="-834" y="8097"/>
                      <a:pt x="171" y="5565"/>
                    </a:cubicBezTo>
                    <a:cubicBezTo>
                      <a:pt x="1176" y="3033"/>
                      <a:pt x="4038" y="3160"/>
                      <a:pt x="3762" y="0"/>
                    </a:cubicBezTo>
                    <a:cubicBezTo>
                      <a:pt x="6670" y="1353"/>
                      <a:pt x="9540" y="2513"/>
                      <a:pt x="10133" y="5605"/>
                    </a:cubicBezTo>
                    <a:cubicBezTo>
                      <a:pt x="10726" y="8697"/>
                      <a:pt x="7410" y="9959"/>
                      <a:pt x="5108" y="1000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a:lnSpc>
                    <a:spcPct val="90000"/>
                  </a:lnSpc>
                </a:pPr>
                <a:endParaRPr lang="en-US" sz="1200"/>
              </a:p>
            </p:txBody>
          </p:sp>
        </p:grpSp>
      </p:grpSp>
      <p:grpSp>
        <p:nvGrpSpPr>
          <p:cNvPr id="327" name="Group 326">
            <a:extLst>
              <a:ext uri="{FF2B5EF4-FFF2-40B4-BE49-F238E27FC236}">
                <a16:creationId xmlns:a16="http://schemas.microsoft.com/office/drawing/2014/main" id="{D597E0E8-DDA9-4C72-B2D2-78482B17A15F}"/>
              </a:ext>
            </a:extLst>
          </p:cNvPr>
          <p:cNvGrpSpPr/>
          <p:nvPr/>
        </p:nvGrpSpPr>
        <p:grpSpPr bwMode="gray">
          <a:xfrm>
            <a:off x="11137723" y="3981057"/>
            <a:ext cx="743958" cy="643249"/>
            <a:chOff x="10435243" y="3828862"/>
            <a:chExt cx="743958" cy="643249"/>
          </a:xfrm>
        </p:grpSpPr>
        <p:grpSp>
          <p:nvGrpSpPr>
            <p:cNvPr id="335" name="Group 334">
              <a:extLst>
                <a:ext uri="{FF2B5EF4-FFF2-40B4-BE49-F238E27FC236}">
                  <a16:creationId xmlns:a16="http://schemas.microsoft.com/office/drawing/2014/main" id="{8F98B0FB-AA60-484D-AADD-CDC33CB24653}"/>
                </a:ext>
              </a:extLst>
            </p:cNvPr>
            <p:cNvGrpSpPr/>
            <p:nvPr/>
          </p:nvGrpSpPr>
          <p:grpSpPr bwMode="gray">
            <a:xfrm>
              <a:off x="10599656" y="3828862"/>
              <a:ext cx="415133" cy="194710"/>
              <a:chOff x="10515916" y="3811924"/>
              <a:chExt cx="487364" cy="228587"/>
            </a:xfrm>
          </p:grpSpPr>
          <p:grpSp>
            <p:nvGrpSpPr>
              <p:cNvPr id="337" name="Group 336">
                <a:extLst>
                  <a:ext uri="{FF2B5EF4-FFF2-40B4-BE49-F238E27FC236}">
                    <a16:creationId xmlns:a16="http://schemas.microsoft.com/office/drawing/2014/main" id="{B17244B7-B53A-40B1-9C41-3CFB415FB43D}"/>
                  </a:ext>
                </a:extLst>
              </p:cNvPr>
              <p:cNvGrpSpPr/>
              <p:nvPr/>
            </p:nvGrpSpPr>
            <p:grpSpPr bwMode="gray">
              <a:xfrm>
                <a:off x="10515916" y="3811924"/>
                <a:ext cx="228586" cy="228587"/>
                <a:chOff x="10833472" y="5375716"/>
                <a:chExt cx="212874" cy="212875"/>
              </a:xfrm>
            </p:grpSpPr>
            <p:sp>
              <p:nvSpPr>
                <p:cNvPr id="342" name="Freeform 90">
                  <a:extLst>
                    <a:ext uri="{FF2B5EF4-FFF2-40B4-BE49-F238E27FC236}">
                      <a16:creationId xmlns:a16="http://schemas.microsoft.com/office/drawing/2014/main" id="{4135DF3E-7721-4F8C-9EB7-1B340C33521C}"/>
                    </a:ext>
                  </a:extLst>
                </p:cNvPr>
                <p:cNvSpPr>
                  <a:spLocks/>
                </p:cNvSpPr>
                <p:nvPr/>
              </p:nvSpPr>
              <p:spPr bwMode="gray">
                <a:xfrm rot="2700000">
                  <a:off x="10920767" y="5463011"/>
                  <a:ext cx="38284" cy="38285"/>
                </a:xfrm>
                <a:prstGeom prst="ellips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343" name="Freeform 91">
                  <a:extLst>
                    <a:ext uri="{FF2B5EF4-FFF2-40B4-BE49-F238E27FC236}">
                      <a16:creationId xmlns:a16="http://schemas.microsoft.com/office/drawing/2014/main" id="{E8D4019D-6D44-4336-8671-018E4DC9231E}"/>
                    </a:ext>
                  </a:extLst>
                </p:cNvPr>
                <p:cNvSpPr>
                  <a:spLocks/>
                </p:cNvSpPr>
                <p:nvPr/>
              </p:nvSpPr>
              <p:spPr bwMode="gray">
                <a:xfrm rot="2700000">
                  <a:off x="10895244" y="5437488"/>
                  <a:ext cx="89330" cy="89330"/>
                </a:xfrm>
                <a:prstGeom prst="ellips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344" name="Freeform: Shape 343">
                  <a:extLst>
                    <a:ext uri="{FF2B5EF4-FFF2-40B4-BE49-F238E27FC236}">
                      <a16:creationId xmlns:a16="http://schemas.microsoft.com/office/drawing/2014/main" id="{4D688819-6E58-4333-834D-27065663220D}"/>
                    </a:ext>
                  </a:extLst>
                </p:cNvPr>
                <p:cNvSpPr/>
                <p:nvPr/>
              </p:nvSpPr>
              <p:spPr bwMode="gray">
                <a:xfrm rot="2700000">
                  <a:off x="10977440" y="5375716"/>
                  <a:ext cx="49496" cy="88317"/>
                </a:xfrm>
                <a:custGeom>
                  <a:avLst/>
                  <a:gdLst>
                    <a:gd name="connsiteX0" fmla="*/ 312891 w 625781"/>
                    <a:gd name="connsiteY0" fmla="*/ 0 h 1116609"/>
                    <a:gd name="connsiteX1" fmla="*/ 592943 w 625781"/>
                    <a:gd name="connsiteY1" fmla="*/ 199547 h 1116609"/>
                    <a:gd name="connsiteX2" fmla="*/ 608688 w 625781"/>
                    <a:gd name="connsiteY2" fmla="*/ 254073 h 1116609"/>
                    <a:gd name="connsiteX3" fmla="*/ 610717 w 625781"/>
                    <a:gd name="connsiteY3" fmla="*/ 259700 h 1116609"/>
                    <a:gd name="connsiteX4" fmla="*/ 601128 w 625781"/>
                    <a:gd name="connsiteY4" fmla="*/ 573182 h 1116609"/>
                    <a:gd name="connsiteX5" fmla="*/ 454113 w 625781"/>
                    <a:gd name="connsiteY5" fmla="*/ 995588 h 1116609"/>
                    <a:gd name="connsiteX6" fmla="*/ 406296 w 625781"/>
                    <a:gd name="connsiteY6" fmla="*/ 1116560 h 1116609"/>
                    <a:gd name="connsiteX7" fmla="*/ 312890 w 625781"/>
                    <a:gd name="connsiteY7" fmla="*/ 1107144 h 1116609"/>
                    <a:gd name="connsiteX8" fmla="*/ 219001 w 625781"/>
                    <a:gd name="connsiteY8" fmla="*/ 1116609 h 1116609"/>
                    <a:gd name="connsiteX9" fmla="*/ 168436 w 625781"/>
                    <a:gd name="connsiteY9" fmla="*/ 989547 h 1116609"/>
                    <a:gd name="connsiteX10" fmla="*/ 24653 w 625781"/>
                    <a:gd name="connsiteY10" fmla="*/ 573182 h 1116609"/>
                    <a:gd name="connsiteX11" fmla="*/ 15064 w 625781"/>
                    <a:gd name="connsiteY11" fmla="*/ 259700 h 1116609"/>
                    <a:gd name="connsiteX12" fmla="*/ 17095 w 625781"/>
                    <a:gd name="connsiteY12" fmla="*/ 254066 h 1116609"/>
                    <a:gd name="connsiteX13" fmla="*/ 32839 w 625781"/>
                    <a:gd name="connsiteY13" fmla="*/ 199547 h 1116609"/>
                    <a:gd name="connsiteX14" fmla="*/ 312891 w 625781"/>
                    <a:gd name="connsiteY14" fmla="*/ 0 h 111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781" h="1116609">
                      <a:moveTo>
                        <a:pt x="312891" y="0"/>
                      </a:moveTo>
                      <a:cubicBezTo>
                        <a:pt x="438786" y="0"/>
                        <a:pt x="546802" y="82282"/>
                        <a:pt x="592943" y="199547"/>
                      </a:cubicBezTo>
                      <a:lnTo>
                        <a:pt x="608688" y="254073"/>
                      </a:lnTo>
                      <a:lnTo>
                        <a:pt x="610717" y="259700"/>
                      </a:lnTo>
                      <a:cubicBezTo>
                        <a:pt x="634090" y="348834"/>
                        <a:pt x="629787" y="456801"/>
                        <a:pt x="601128" y="573182"/>
                      </a:cubicBezTo>
                      <a:cubicBezTo>
                        <a:pt x="565967" y="701371"/>
                        <a:pt x="508517" y="856074"/>
                        <a:pt x="454113" y="995588"/>
                      </a:cubicBezTo>
                      <a:lnTo>
                        <a:pt x="406296" y="1116560"/>
                      </a:lnTo>
                      <a:lnTo>
                        <a:pt x="312890" y="1107144"/>
                      </a:lnTo>
                      <a:lnTo>
                        <a:pt x="219001" y="1116609"/>
                      </a:lnTo>
                      <a:lnTo>
                        <a:pt x="168436" y="989547"/>
                      </a:lnTo>
                      <a:cubicBezTo>
                        <a:pt x="112954" y="848019"/>
                        <a:pt x="55504" y="693317"/>
                        <a:pt x="24653" y="573182"/>
                      </a:cubicBezTo>
                      <a:cubicBezTo>
                        <a:pt x="-4006" y="456801"/>
                        <a:pt x="-8309" y="348834"/>
                        <a:pt x="15064" y="259700"/>
                      </a:cubicBezTo>
                      <a:lnTo>
                        <a:pt x="17095" y="254066"/>
                      </a:lnTo>
                      <a:lnTo>
                        <a:pt x="32839" y="199547"/>
                      </a:lnTo>
                      <a:cubicBezTo>
                        <a:pt x="78979" y="82282"/>
                        <a:pt x="186996" y="0"/>
                        <a:pt x="312891" y="0"/>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345" name="Freeform: Shape 344">
                  <a:extLst>
                    <a:ext uri="{FF2B5EF4-FFF2-40B4-BE49-F238E27FC236}">
                      <a16:creationId xmlns:a16="http://schemas.microsoft.com/office/drawing/2014/main" id="{86DF9A90-4DE0-4813-B4B7-0CB294E906F2}"/>
                    </a:ext>
                  </a:extLst>
                </p:cNvPr>
                <p:cNvSpPr/>
                <p:nvPr/>
              </p:nvSpPr>
              <p:spPr bwMode="gray">
                <a:xfrm rot="13500000">
                  <a:off x="10852883" y="5500273"/>
                  <a:ext cx="49496" cy="88318"/>
                </a:xfrm>
                <a:custGeom>
                  <a:avLst/>
                  <a:gdLst>
                    <a:gd name="connsiteX0" fmla="*/ 219001 w 625781"/>
                    <a:gd name="connsiteY0" fmla="*/ 1116610 h 1116610"/>
                    <a:gd name="connsiteX1" fmla="*/ 168435 w 625781"/>
                    <a:gd name="connsiteY1" fmla="*/ 989547 h 1116610"/>
                    <a:gd name="connsiteX2" fmla="*/ 24653 w 625781"/>
                    <a:gd name="connsiteY2" fmla="*/ 573182 h 1116610"/>
                    <a:gd name="connsiteX3" fmla="*/ 15064 w 625781"/>
                    <a:gd name="connsiteY3" fmla="*/ 259700 h 1116610"/>
                    <a:gd name="connsiteX4" fmla="*/ 17095 w 625781"/>
                    <a:gd name="connsiteY4" fmla="*/ 254066 h 1116610"/>
                    <a:gd name="connsiteX5" fmla="*/ 32839 w 625781"/>
                    <a:gd name="connsiteY5" fmla="*/ 199547 h 1116610"/>
                    <a:gd name="connsiteX6" fmla="*/ 312891 w 625781"/>
                    <a:gd name="connsiteY6" fmla="*/ 0 h 1116610"/>
                    <a:gd name="connsiteX7" fmla="*/ 592943 w 625781"/>
                    <a:gd name="connsiteY7" fmla="*/ 199547 h 1116610"/>
                    <a:gd name="connsiteX8" fmla="*/ 608688 w 625781"/>
                    <a:gd name="connsiteY8" fmla="*/ 254073 h 1116610"/>
                    <a:gd name="connsiteX9" fmla="*/ 610717 w 625781"/>
                    <a:gd name="connsiteY9" fmla="*/ 259700 h 1116610"/>
                    <a:gd name="connsiteX10" fmla="*/ 601128 w 625781"/>
                    <a:gd name="connsiteY10" fmla="*/ 573182 h 1116610"/>
                    <a:gd name="connsiteX11" fmla="*/ 454113 w 625781"/>
                    <a:gd name="connsiteY11" fmla="*/ 995588 h 1116610"/>
                    <a:gd name="connsiteX12" fmla="*/ 406296 w 625781"/>
                    <a:gd name="connsiteY12" fmla="*/ 1116561 h 1116610"/>
                    <a:gd name="connsiteX13" fmla="*/ 312891 w 625781"/>
                    <a:gd name="connsiteY13" fmla="*/ 1107145 h 111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5781" h="1116610">
                      <a:moveTo>
                        <a:pt x="219001" y="1116610"/>
                      </a:moveTo>
                      <a:lnTo>
                        <a:pt x="168435" y="989547"/>
                      </a:lnTo>
                      <a:cubicBezTo>
                        <a:pt x="112954" y="848019"/>
                        <a:pt x="55504" y="693317"/>
                        <a:pt x="24653" y="573182"/>
                      </a:cubicBezTo>
                      <a:cubicBezTo>
                        <a:pt x="-4006" y="456801"/>
                        <a:pt x="-8309" y="348834"/>
                        <a:pt x="15064" y="259700"/>
                      </a:cubicBezTo>
                      <a:lnTo>
                        <a:pt x="17095" y="254066"/>
                      </a:lnTo>
                      <a:lnTo>
                        <a:pt x="32839" y="199547"/>
                      </a:lnTo>
                      <a:cubicBezTo>
                        <a:pt x="78979" y="82282"/>
                        <a:pt x="186996" y="0"/>
                        <a:pt x="312891" y="0"/>
                      </a:cubicBezTo>
                      <a:cubicBezTo>
                        <a:pt x="438786" y="0"/>
                        <a:pt x="546802" y="82282"/>
                        <a:pt x="592943" y="199547"/>
                      </a:cubicBezTo>
                      <a:lnTo>
                        <a:pt x="608688" y="254073"/>
                      </a:lnTo>
                      <a:lnTo>
                        <a:pt x="610717" y="259700"/>
                      </a:lnTo>
                      <a:cubicBezTo>
                        <a:pt x="634090" y="348834"/>
                        <a:pt x="629787" y="456801"/>
                        <a:pt x="601128" y="573182"/>
                      </a:cubicBezTo>
                      <a:cubicBezTo>
                        <a:pt x="565967" y="701371"/>
                        <a:pt x="508518" y="856074"/>
                        <a:pt x="454113" y="995588"/>
                      </a:cubicBezTo>
                      <a:lnTo>
                        <a:pt x="406296" y="1116561"/>
                      </a:lnTo>
                      <a:lnTo>
                        <a:pt x="312891" y="1107145"/>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346" name="Freeform: Shape 345">
                  <a:extLst>
                    <a:ext uri="{FF2B5EF4-FFF2-40B4-BE49-F238E27FC236}">
                      <a16:creationId xmlns:a16="http://schemas.microsoft.com/office/drawing/2014/main" id="{D3CFC8F3-433C-458D-855D-113663CC1A09}"/>
                    </a:ext>
                  </a:extLst>
                </p:cNvPr>
                <p:cNvSpPr/>
                <p:nvPr/>
              </p:nvSpPr>
              <p:spPr bwMode="gray">
                <a:xfrm rot="8100000">
                  <a:off x="10977440" y="5500273"/>
                  <a:ext cx="49496" cy="88318"/>
                </a:xfrm>
                <a:custGeom>
                  <a:avLst/>
                  <a:gdLst>
                    <a:gd name="connsiteX0" fmla="*/ 347 w 625781"/>
                    <a:gd name="connsiteY0" fmla="*/ 406223 h 1116610"/>
                    <a:gd name="connsiteX1" fmla="*/ 15064 w 625781"/>
                    <a:gd name="connsiteY1" fmla="*/ 259699 h 1116610"/>
                    <a:gd name="connsiteX2" fmla="*/ 17095 w 625781"/>
                    <a:gd name="connsiteY2" fmla="*/ 254066 h 1116610"/>
                    <a:gd name="connsiteX3" fmla="*/ 32839 w 625781"/>
                    <a:gd name="connsiteY3" fmla="*/ 199547 h 1116610"/>
                    <a:gd name="connsiteX4" fmla="*/ 312891 w 625781"/>
                    <a:gd name="connsiteY4" fmla="*/ 0 h 1116610"/>
                    <a:gd name="connsiteX5" fmla="*/ 592943 w 625781"/>
                    <a:gd name="connsiteY5" fmla="*/ 199547 h 1116610"/>
                    <a:gd name="connsiteX6" fmla="*/ 608688 w 625781"/>
                    <a:gd name="connsiteY6" fmla="*/ 254073 h 1116610"/>
                    <a:gd name="connsiteX7" fmla="*/ 610717 w 625781"/>
                    <a:gd name="connsiteY7" fmla="*/ 259699 h 1116610"/>
                    <a:gd name="connsiteX8" fmla="*/ 601128 w 625781"/>
                    <a:gd name="connsiteY8" fmla="*/ 573182 h 1116610"/>
                    <a:gd name="connsiteX9" fmla="*/ 454113 w 625781"/>
                    <a:gd name="connsiteY9" fmla="*/ 995588 h 1116610"/>
                    <a:gd name="connsiteX10" fmla="*/ 406296 w 625781"/>
                    <a:gd name="connsiteY10" fmla="*/ 1116561 h 1116610"/>
                    <a:gd name="connsiteX11" fmla="*/ 312890 w 625781"/>
                    <a:gd name="connsiteY11" fmla="*/ 1107145 h 1116610"/>
                    <a:gd name="connsiteX12" fmla="*/ 219001 w 625781"/>
                    <a:gd name="connsiteY12" fmla="*/ 1116610 h 1116610"/>
                    <a:gd name="connsiteX13" fmla="*/ 168436 w 625781"/>
                    <a:gd name="connsiteY13" fmla="*/ 989547 h 1116610"/>
                    <a:gd name="connsiteX14" fmla="*/ 24653 w 625781"/>
                    <a:gd name="connsiteY14" fmla="*/ 573182 h 1116610"/>
                    <a:gd name="connsiteX15" fmla="*/ 347 w 625781"/>
                    <a:gd name="connsiteY15" fmla="*/ 406223 h 111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781" h="1116610">
                      <a:moveTo>
                        <a:pt x="347" y="406223"/>
                      </a:moveTo>
                      <a:cubicBezTo>
                        <a:pt x="-1390" y="353542"/>
                        <a:pt x="3378" y="304266"/>
                        <a:pt x="15064" y="259699"/>
                      </a:cubicBezTo>
                      <a:lnTo>
                        <a:pt x="17095" y="254066"/>
                      </a:lnTo>
                      <a:lnTo>
                        <a:pt x="32839" y="199547"/>
                      </a:lnTo>
                      <a:cubicBezTo>
                        <a:pt x="78979" y="82282"/>
                        <a:pt x="186996" y="0"/>
                        <a:pt x="312891" y="0"/>
                      </a:cubicBezTo>
                      <a:cubicBezTo>
                        <a:pt x="438786" y="0"/>
                        <a:pt x="546802" y="82282"/>
                        <a:pt x="592943" y="199547"/>
                      </a:cubicBezTo>
                      <a:lnTo>
                        <a:pt x="608688" y="254073"/>
                      </a:lnTo>
                      <a:lnTo>
                        <a:pt x="610717" y="259699"/>
                      </a:lnTo>
                      <a:cubicBezTo>
                        <a:pt x="634090" y="348834"/>
                        <a:pt x="629787" y="456801"/>
                        <a:pt x="601128" y="573182"/>
                      </a:cubicBezTo>
                      <a:cubicBezTo>
                        <a:pt x="565967" y="701371"/>
                        <a:pt x="508517" y="856074"/>
                        <a:pt x="454113" y="995588"/>
                      </a:cubicBezTo>
                      <a:lnTo>
                        <a:pt x="406296" y="1116561"/>
                      </a:lnTo>
                      <a:lnTo>
                        <a:pt x="312890" y="1107145"/>
                      </a:lnTo>
                      <a:lnTo>
                        <a:pt x="219001" y="1116610"/>
                      </a:lnTo>
                      <a:lnTo>
                        <a:pt x="168436" y="989547"/>
                      </a:lnTo>
                      <a:cubicBezTo>
                        <a:pt x="112954" y="848019"/>
                        <a:pt x="55504" y="693317"/>
                        <a:pt x="24653" y="573182"/>
                      </a:cubicBezTo>
                      <a:cubicBezTo>
                        <a:pt x="10324" y="514992"/>
                        <a:pt x="2083" y="458904"/>
                        <a:pt x="347" y="406223"/>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347" name="Freeform: Shape 346">
                  <a:extLst>
                    <a:ext uri="{FF2B5EF4-FFF2-40B4-BE49-F238E27FC236}">
                      <a16:creationId xmlns:a16="http://schemas.microsoft.com/office/drawing/2014/main" id="{FAC2A109-F702-497C-A3C5-98FDC792B184}"/>
                    </a:ext>
                  </a:extLst>
                </p:cNvPr>
                <p:cNvSpPr/>
                <p:nvPr/>
              </p:nvSpPr>
              <p:spPr bwMode="gray">
                <a:xfrm rot="18900000">
                  <a:off x="10852883" y="5375716"/>
                  <a:ext cx="49496" cy="88317"/>
                </a:xfrm>
                <a:custGeom>
                  <a:avLst/>
                  <a:gdLst>
                    <a:gd name="connsiteX0" fmla="*/ 625434 w 625780"/>
                    <a:gd name="connsiteY0" fmla="*/ 406223 h 1116609"/>
                    <a:gd name="connsiteX1" fmla="*/ 601128 w 625780"/>
                    <a:gd name="connsiteY1" fmla="*/ 573182 h 1116609"/>
                    <a:gd name="connsiteX2" fmla="*/ 454113 w 625780"/>
                    <a:gd name="connsiteY2" fmla="*/ 995588 h 1116609"/>
                    <a:gd name="connsiteX3" fmla="*/ 406296 w 625780"/>
                    <a:gd name="connsiteY3" fmla="*/ 1116560 h 1116609"/>
                    <a:gd name="connsiteX4" fmla="*/ 312891 w 625780"/>
                    <a:gd name="connsiteY4" fmla="*/ 1107144 h 1116609"/>
                    <a:gd name="connsiteX5" fmla="*/ 219001 w 625780"/>
                    <a:gd name="connsiteY5" fmla="*/ 1116609 h 1116609"/>
                    <a:gd name="connsiteX6" fmla="*/ 168436 w 625780"/>
                    <a:gd name="connsiteY6" fmla="*/ 989547 h 1116609"/>
                    <a:gd name="connsiteX7" fmla="*/ 24653 w 625780"/>
                    <a:gd name="connsiteY7" fmla="*/ 573182 h 1116609"/>
                    <a:gd name="connsiteX8" fmla="*/ 15064 w 625780"/>
                    <a:gd name="connsiteY8" fmla="*/ 259699 h 1116609"/>
                    <a:gd name="connsiteX9" fmla="*/ 17095 w 625780"/>
                    <a:gd name="connsiteY9" fmla="*/ 254066 h 1116609"/>
                    <a:gd name="connsiteX10" fmla="*/ 32839 w 625780"/>
                    <a:gd name="connsiteY10" fmla="*/ 199547 h 1116609"/>
                    <a:gd name="connsiteX11" fmla="*/ 312891 w 625780"/>
                    <a:gd name="connsiteY11" fmla="*/ 0 h 1116609"/>
                    <a:gd name="connsiteX12" fmla="*/ 592943 w 625780"/>
                    <a:gd name="connsiteY12" fmla="*/ 199547 h 1116609"/>
                    <a:gd name="connsiteX13" fmla="*/ 608688 w 625780"/>
                    <a:gd name="connsiteY13" fmla="*/ 254073 h 1116609"/>
                    <a:gd name="connsiteX14" fmla="*/ 610717 w 625780"/>
                    <a:gd name="connsiteY14" fmla="*/ 259699 h 1116609"/>
                    <a:gd name="connsiteX15" fmla="*/ 625434 w 625780"/>
                    <a:gd name="connsiteY15" fmla="*/ 406223 h 111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780" h="1116609">
                      <a:moveTo>
                        <a:pt x="625434" y="406223"/>
                      </a:moveTo>
                      <a:cubicBezTo>
                        <a:pt x="623698" y="458905"/>
                        <a:pt x="615457" y="514992"/>
                        <a:pt x="601128" y="573182"/>
                      </a:cubicBezTo>
                      <a:cubicBezTo>
                        <a:pt x="565967" y="701371"/>
                        <a:pt x="508517" y="856074"/>
                        <a:pt x="454113" y="995588"/>
                      </a:cubicBezTo>
                      <a:lnTo>
                        <a:pt x="406296" y="1116560"/>
                      </a:lnTo>
                      <a:lnTo>
                        <a:pt x="312891" y="1107144"/>
                      </a:lnTo>
                      <a:lnTo>
                        <a:pt x="219001" y="1116609"/>
                      </a:lnTo>
                      <a:lnTo>
                        <a:pt x="168436" y="989547"/>
                      </a:lnTo>
                      <a:cubicBezTo>
                        <a:pt x="112954" y="848019"/>
                        <a:pt x="55504" y="693317"/>
                        <a:pt x="24653" y="573182"/>
                      </a:cubicBezTo>
                      <a:cubicBezTo>
                        <a:pt x="-4006" y="456801"/>
                        <a:pt x="-8309" y="348834"/>
                        <a:pt x="15064" y="259699"/>
                      </a:cubicBezTo>
                      <a:lnTo>
                        <a:pt x="17095" y="254066"/>
                      </a:lnTo>
                      <a:lnTo>
                        <a:pt x="32839" y="199547"/>
                      </a:lnTo>
                      <a:cubicBezTo>
                        <a:pt x="78979" y="82282"/>
                        <a:pt x="186996" y="0"/>
                        <a:pt x="312891" y="0"/>
                      </a:cubicBezTo>
                      <a:cubicBezTo>
                        <a:pt x="438786" y="0"/>
                        <a:pt x="546802" y="82282"/>
                        <a:pt x="592943" y="199547"/>
                      </a:cubicBezTo>
                      <a:lnTo>
                        <a:pt x="608688" y="254073"/>
                      </a:lnTo>
                      <a:lnTo>
                        <a:pt x="610717" y="259699"/>
                      </a:lnTo>
                      <a:cubicBezTo>
                        <a:pt x="622403" y="304267"/>
                        <a:pt x="627171" y="353542"/>
                        <a:pt x="625434" y="406223"/>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grpSp>
          <p:grpSp>
            <p:nvGrpSpPr>
              <p:cNvPr id="338" name="Group 337">
                <a:extLst>
                  <a:ext uri="{FF2B5EF4-FFF2-40B4-BE49-F238E27FC236}">
                    <a16:creationId xmlns:a16="http://schemas.microsoft.com/office/drawing/2014/main" id="{95C8C645-91A5-4723-A6C0-8F9754F90809}"/>
                  </a:ext>
                </a:extLst>
              </p:cNvPr>
              <p:cNvGrpSpPr/>
              <p:nvPr/>
            </p:nvGrpSpPr>
            <p:grpSpPr bwMode="gray">
              <a:xfrm>
                <a:off x="10712659" y="3815739"/>
                <a:ext cx="290621" cy="213336"/>
                <a:chOff x="11053115" y="5295900"/>
                <a:chExt cx="501319" cy="253296"/>
              </a:xfrm>
            </p:grpSpPr>
            <p:sp>
              <p:nvSpPr>
                <p:cNvPr id="339" name="Freeform 66">
                  <a:extLst>
                    <a:ext uri="{FF2B5EF4-FFF2-40B4-BE49-F238E27FC236}">
                      <a16:creationId xmlns:a16="http://schemas.microsoft.com/office/drawing/2014/main" id="{532039B1-7A83-48C2-A90B-150860852907}"/>
                    </a:ext>
                  </a:extLst>
                </p:cNvPr>
                <p:cNvSpPr/>
                <p:nvPr/>
              </p:nvSpPr>
              <p:spPr bwMode="gray">
                <a:xfrm>
                  <a:off x="11120893" y="5295900"/>
                  <a:ext cx="294531" cy="81641"/>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8173 w 371072"/>
                    <a:gd name="connsiteY1" fmla="*/ 241661 h 264795"/>
                    <a:gd name="connsiteX2" fmla="*/ 367665 w 371072"/>
                    <a:gd name="connsiteY2" fmla="*/ 99060 h 264795"/>
                    <a:gd name="connsiteX3" fmla="*/ 316230 w 371072"/>
                    <a:gd name="connsiteY3" fmla="*/ 0 h 264795"/>
                    <a:gd name="connsiteX0" fmla="*/ 0 w 316230"/>
                    <a:gd name="connsiteY0" fmla="*/ 264795 h 267865"/>
                    <a:gd name="connsiteX1" fmla="*/ 278173 w 316230"/>
                    <a:gd name="connsiteY1" fmla="*/ 241661 h 267865"/>
                    <a:gd name="connsiteX2" fmla="*/ 316230 w 316230"/>
                    <a:gd name="connsiteY2" fmla="*/ 0 h 267865"/>
                    <a:gd name="connsiteX0" fmla="*/ 0 w 348201"/>
                    <a:gd name="connsiteY0" fmla="*/ 264795 h 267865"/>
                    <a:gd name="connsiteX1" fmla="*/ 329008 w 348201"/>
                    <a:gd name="connsiteY1" fmla="*/ 241661 h 267865"/>
                    <a:gd name="connsiteX2" fmla="*/ 316230 w 348201"/>
                    <a:gd name="connsiteY2" fmla="*/ 0 h 267865"/>
                    <a:gd name="connsiteX0" fmla="*/ 0 w 377767"/>
                    <a:gd name="connsiteY0" fmla="*/ 264795 h 267865"/>
                    <a:gd name="connsiteX1" fmla="*/ 329008 w 377767"/>
                    <a:gd name="connsiteY1" fmla="*/ 241661 h 267865"/>
                    <a:gd name="connsiteX2" fmla="*/ 377767 w 377767"/>
                    <a:gd name="connsiteY2" fmla="*/ 0 h 267865"/>
                    <a:gd name="connsiteX0" fmla="*/ 0 w 351892"/>
                    <a:gd name="connsiteY0" fmla="*/ 205831 h 205831"/>
                    <a:gd name="connsiteX1" fmla="*/ 329008 w 351892"/>
                    <a:gd name="connsiteY1" fmla="*/ 182697 h 205831"/>
                    <a:gd name="connsiteX2" fmla="*/ 329608 w 351892"/>
                    <a:gd name="connsiteY2" fmla="*/ 0 h 205831"/>
                    <a:gd name="connsiteX0" fmla="*/ 0 w 380444"/>
                    <a:gd name="connsiteY0" fmla="*/ 211727 h 211727"/>
                    <a:gd name="connsiteX1" fmla="*/ 329008 w 380444"/>
                    <a:gd name="connsiteY1" fmla="*/ 188593 h 211727"/>
                    <a:gd name="connsiteX2" fmla="*/ 380444 w 380444"/>
                    <a:gd name="connsiteY2" fmla="*/ 0 h 211727"/>
                    <a:gd name="connsiteX0" fmla="*/ 0 w 341777"/>
                    <a:gd name="connsiteY0" fmla="*/ 235312 h 236529"/>
                    <a:gd name="connsiteX1" fmla="*/ 329008 w 341777"/>
                    <a:gd name="connsiteY1" fmla="*/ 212178 h 236529"/>
                    <a:gd name="connsiteX2" fmla="*/ 284125 w 341777"/>
                    <a:gd name="connsiteY2" fmla="*/ 0 h 236529"/>
                    <a:gd name="connsiteX0" fmla="*/ 0 w 349318"/>
                    <a:gd name="connsiteY0" fmla="*/ 235312 h 236526"/>
                    <a:gd name="connsiteX1" fmla="*/ 329008 w 349318"/>
                    <a:gd name="connsiteY1" fmla="*/ 212178 h 236526"/>
                    <a:gd name="connsiteX2" fmla="*/ 284125 w 349318"/>
                    <a:gd name="connsiteY2" fmla="*/ 0 h 236526"/>
                    <a:gd name="connsiteX0" fmla="*/ 0 w 357781"/>
                    <a:gd name="connsiteY0" fmla="*/ 211727 h 211727"/>
                    <a:gd name="connsiteX1" fmla="*/ 329008 w 357781"/>
                    <a:gd name="connsiteY1" fmla="*/ 188593 h 211727"/>
                    <a:gd name="connsiteX2" fmla="*/ 308205 w 357781"/>
                    <a:gd name="connsiteY2" fmla="*/ 0 h 211727"/>
                    <a:gd name="connsiteX0" fmla="*/ 0 w 360084"/>
                    <a:gd name="connsiteY0" fmla="*/ 211727 h 211727"/>
                    <a:gd name="connsiteX1" fmla="*/ 329008 w 360084"/>
                    <a:gd name="connsiteY1" fmla="*/ 188593 h 211727"/>
                    <a:gd name="connsiteX2" fmla="*/ 313556 w 360084"/>
                    <a:gd name="connsiteY2" fmla="*/ 0 h 211727"/>
                    <a:gd name="connsiteX0" fmla="*/ 0 w 360906"/>
                    <a:gd name="connsiteY0" fmla="*/ 211727 h 211727"/>
                    <a:gd name="connsiteX1" fmla="*/ 329008 w 360906"/>
                    <a:gd name="connsiteY1" fmla="*/ 188593 h 211727"/>
                    <a:gd name="connsiteX2" fmla="*/ 313556 w 360906"/>
                    <a:gd name="connsiteY2" fmla="*/ 0 h 211727"/>
                    <a:gd name="connsiteX0" fmla="*/ 0 w 350666"/>
                    <a:gd name="connsiteY0" fmla="*/ 217623 h 217800"/>
                    <a:gd name="connsiteX1" fmla="*/ 329008 w 350666"/>
                    <a:gd name="connsiteY1" fmla="*/ 194489 h 217800"/>
                    <a:gd name="connsiteX2" fmla="*/ 286800 w 350666"/>
                    <a:gd name="connsiteY2" fmla="*/ 0 h 217800"/>
                    <a:gd name="connsiteX0" fmla="*/ 0 w 357945"/>
                    <a:gd name="connsiteY0" fmla="*/ 218487 h 218660"/>
                    <a:gd name="connsiteX1" fmla="*/ 329008 w 357945"/>
                    <a:gd name="connsiteY1" fmla="*/ 195353 h 218660"/>
                    <a:gd name="connsiteX2" fmla="*/ 286800 w 357945"/>
                    <a:gd name="connsiteY2" fmla="*/ 864 h 218660"/>
                  </a:gdLst>
                  <a:ahLst/>
                  <a:cxnLst>
                    <a:cxn ang="0">
                      <a:pos x="connsiteX0" y="connsiteY0"/>
                    </a:cxn>
                    <a:cxn ang="0">
                      <a:pos x="connsiteX1" y="connsiteY1"/>
                    </a:cxn>
                    <a:cxn ang="0">
                      <a:pos x="connsiteX2" y="connsiteY2"/>
                    </a:cxn>
                  </a:cxnLst>
                  <a:rect l="l" t="t" r="r" b="b"/>
                  <a:pathLst>
                    <a:path w="357945" h="218660">
                      <a:moveTo>
                        <a:pt x="0" y="218487"/>
                      </a:moveTo>
                      <a:cubicBezTo>
                        <a:pt x="40878" y="213328"/>
                        <a:pt x="281208" y="231624"/>
                        <a:pt x="329008" y="195353"/>
                      </a:cubicBezTo>
                      <a:cubicBezTo>
                        <a:pt x="376808" y="159083"/>
                        <a:pt x="367163" y="-13649"/>
                        <a:pt x="286800" y="864"/>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340" name="Freeform 68">
                  <a:extLst>
                    <a:ext uri="{FF2B5EF4-FFF2-40B4-BE49-F238E27FC236}">
                      <a16:creationId xmlns:a16="http://schemas.microsoft.com/office/drawing/2014/main" id="{2B3C4D33-6AD4-453E-9D1F-D699E554B1E6}"/>
                    </a:ext>
                  </a:extLst>
                </p:cNvPr>
                <p:cNvSpPr/>
                <p:nvPr/>
              </p:nvSpPr>
              <p:spPr bwMode="gray">
                <a:xfrm>
                  <a:off x="11053115" y="5303732"/>
                  <a:ext cx="501319" cy="123352"/>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3187 w 371072"/>
                    <a:gd name="connsiteY1" fmla="*/ 242681 h 264795"/>
                    <a:gd name="connsiteX2" fmla="*/ 367665 w 371072"/>
                    <a:gd name="connsiteY2" fmla="*/ 99060 h 264795"/>
                    <a:gd name="connsiteX3" fmla="*/ 316230 w 371072"/>
                    <a:gd name="connsiteY3" fmla="*/ 0 h 264795"/>
                    <a:gd name="connsiteX0" fmla="*/ 0 w 316230"/>
                    <a:gd name="connsiteY0" fmla="*/ 264795 h 268412"/>
                    <a:gd name="connsiteX1" fmla="*/ 273187 w 316230"/>
                    <a:gd name="connsiteY1" fmla="*/ 242681 h 268412"/>
                    <a:gd name="connsiteX2" fmla="*/ 316230 w 316230"/>
                    <a:gd name="connsiteY2" fmla="*/ 0 h 268412"/>
                    <a:gd name="connsiteX0" fmla="*/ 0 w 397022"/>
                    <a:gd name="connsiteY0" fmla="*/ 264795 h 264795"/>
                    <a:gd name="connsiteX1" fmla="*/ 384390 w 397022"/>
                    <a:gd name="connsiteY1" fmla="*/ 231864 h 264795"/>
                    <a:gd name="connsiteX2" fmla="*/ 316230 w 397022"/>
                    <a:gd name="connsiteY2" fmla="*/ 0 h 264795"/>
                    <a:gd name="connsiteX0" fmla="*/ 0 w 410446"/>
                    <a:gd name="connsiteY0" fmla="*/ 264795 h 264795"/>
                    <a:gd name="connsiteX1" fmla="*/ 384390 w 410446"/>
                    <a:gd name="connsiteY1" fmla="*/ 231864 h 264795"/>
                    <a:gd name="connsiteX2" fmla="*/ 316230 w 410446"/>
                    <a:gd name="connsiteY2" fmla="*/ 0 h 264795"/>
                    <a:gd name="connsiteX0" fmla="*/ 0 w 410446"/>
                    <a:gd name="connsiteY0" fmla="*/ 264795 h 264795"/>
                    <a:gd name="connsiteX1" fmla="*/ 384390 w 410446"/>
                    <a:gd name="connsiteY1" fmla="*/ 253498 h 264795"/>
                    <a:gd name="connsiteX2" fmla="*/ 316230 w 410446"/>
                    <a:gd name="connsiteY2" fmla="*/ 0 h 264795"/>
                    <a:gd name="connsiteX0" fmla="*/ 0 w 410446"/>
                    <a:gd name="connsiteY0" fmla="*/ 264795 h 264795"/>
                    <a:gd name="connsiteX1" fmla="*/ 384390 w 410446"/>
                    <a:gd name="connsiteY1" fmla="*/ 258907 h 264795"/>
                    <a:gd name="connsiteX2" fmla="*/ 316230 w 410446"/>
                    <a:gd name="connsiteY2" fmla="*/ 0 h 264795"/>
                    <a:gd name="connsiteX0" fmla="*/ 0 w 440789"/>
                    <a:gd name="connsiteY0" fmla="*/ 271717 h 271717"/>
                    <a:gd name="connsiteX1" fmla="*/ 384390 w 440789"/>
                    <a:gd name="connsiteY1" fmla="*/ 265829 h 271717"/>
                    <a:gd name="connsiteX2" fmla="*/ 316230 w 440789"/>
                    <a:gd name="connsiteY2" fmla="*/ 6922 h 271717"/>
                    <a:gd name="connsiteX0" fmla="*/ 0 w 461170"/>
                    <a:gd name="connsiteY0" fmla="*/ 288655 h 303978"/>
                    <a:gd name="connsiteX1" fmla="*/ 384390 w 461170"/>
                    <a:gd name="connsiteY1" fmla="*/ 282767 h 303978"/>
                    <a:gd name="connsiteX2" fmla="*/ 377077 w 461170"/>
                    <a:gd name="connsiteY2" fmla="*/ 7634 h 303978"/>
                    <a:gd name="connsiteX0" fmla="*/ 0 w 437194"/>
                    <a:gd name="connsiteY0" fmla="*/ 281021 h 296344"/>
                    <a:gd name="connsiteX1" fmla="*/ 384390 w 437194"/>
                    <a:gd name="connsiteY1" fmla="*/ 275133 h 296344"/>
                    <a:gd name="connsiteX2" fmla="*/ 377077 w 437194"/>
                    <a:gd name="connsiteY2" fmla="*/ 0 h 296344"/>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308064 h 309112"/>
                    <a:gd name="connsiteX1" fmla="*/ 384390 w 432414"/>
                    <a:gd name="connsiteY1" fmla="*/ 275133 h 309112"/>
                    <a:gd name="connsiteX2" fmla="*/ 377077 w 432414"/>
                    <a:gd name="connsiteY2" fmla="*/ 0 h 309112"/>
                    <a:gd name="connsiteX0" fmla="*/ 0 w 432414"/>
                    <a:gd name="connsiteY0" fmla="*/ 308064 h 318424"/>
                    <a:gd name="connsiteX1" fmla="*/ 384390 w 432414"/>
                    <a:gd name="connsiteY1" fmla="*/ 275133 h 318424"/>
                    <a:gd name="connsiteX2" fmla="*/ 377077 w 432414"/>
                    <a:gd name="connsiteY2" fmla="*/ 0 h 318424"/>
                    <a:gd name="connsiteX0" fmla="*/ 0 w 432414"/>
                    <a:gd name="connsiteY0" fmla="*/ 281021 h 302303"/>
                    <a:gd name="connsiteX1" fmla="*/ 384390 w 432414"/>
                    <a:gd name="connsiteY1" fmla="*/ 275133 h 302303"/>
                    <a:gd name="connsiteX2" fmla="*/ 377077 w 432414"/>
                    <a:gd name="connsiteY2" fmla="*/ 0 h 302303"/>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297247 h 303044"/>
                    <a:gd name="connsiteX1" fmla="*/ 384390 w 432414"/>
                    <a:gd name="connsiteY1" fmla="*/ 275133 h 303044"/>
                    <a:gd name="connsiteX2" fmla="*/ 377077 w 432414"/>
                    <a:gd name="connsiteY2" fmla="*/ 0 h 303044"/>
                  </a:gdLst>
                  <a:ahLst/>
                  <a:cxnLst>
                    <a:cxn ang="0">
                      <a:pos x="connsiteX0" y="connsiteY0"/>
                    </a:cxn>
                    <a:cxn ang="0">
                      <a:pos x="connsiteX1" y="connsiteY1"/>
                    </a:cxn>
                    <a:cxn ang="0">
                      <a:pos x="connsiteX2" y="connsiteY2"/>
                    </a:cxn>
                  </a:cxnLst>
                  <a:rect l="l" t="t" r="r" b="b"/>
                  <a:pathLst>
                    <a:path w="432414" h="303044">
                      <a:moveTo>
                        <a:pt x="0" y="297247"/>
                      </a:moveTo>
                      <a:cubicBezTo>
                        <a:pt x="181455" y="292088"/>
                        <a:pt x="321544" y="324674"/>
                        <a:pt x="384390" y="275133"/>
                      </a:cubicBezTo>
                      <a:cubicBezTo>
                        <a:pt x="447236" y="225592"/>
                        <a:pt x="452036" y="12699"/>
                        <a:pt x="377077"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341" name="Freeform 66">
                  <a:extLst>
                    <a:ext uri="{FF2B5EF4-FFF2-40B4-BE49-F238E27FC236}">
                      <a16:creationId xmlns:a16="http://schemas.microsoft.com/office/drawing/2014/main" id="{59A09ACC-FAAB-48BF-BFB1-47C974EFB005}"/>
                    </a:ext>
                  </a:extLst>
                </p:cNvPr>
                <p:cNvSpPr/>
                <p:nvPr/>
              </p:nvSpPr>
              <p:spPr bwMode="gray">
                <a:xfrm flipV="1">
                  <a:off x="11111020" y="5469901"/>
                  <a:ext cx="374492" cy="79295"/>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8173 w 371072"/>
                    <a:gd name="connsiteY1" fmla="*/ 241661 h 264795"/>
                    <a:gd name="connsiteX2" fmla="*/ 367665 w 371072"/>
                    <a:gd name="connsiteY2" fmla="*/ 99060 h 264795"/>
                    <a:gd name="connsiteX3" fmla="*/ 316230 w 371072"/>
                    <a:gd name="connsiteY3" fmla="*/ 0 h 264795"/>
                    <a:gd name="connsiteX0" fmla="*/ 0 w 316230"/>
                    <a:gd name="connsiteY0" fmla="*/ 264795 h 267865"/>
                    <a:gd name="connsiteX1" fmla="*/ 278173 w 316230"/>
                    <a:gd name="connsiteY1" fmla="*/ 241661 h 267865"/>
                    <a:gd name="connsiteX2" fmla="*/ 316230 w 316230"/>
                    <a:gd name="connsiteY2" fmla="*/ 0 h 267865"/>
                    <a:gd name="connsiteX0" fmla="*/ 0 w 348201"/>
                    <a:gd name="connsiteY0" fmla="*/ 264795 h 267865"/>
                    <a:gd name="connsiteX1" fmla="*/ 329008 w 348201"/>
                    <a:gd name="connsiteY1" fmla="*/ 241661 h 267865"/>
                    <a:gd name="connsiteX2" fmla="*/ 316230 w 348201"/>
                    <a:gd name="connsiteY2" fmla="*/ 0 h 267865"/>
                    <a:gd name="connsiteX0" fmla="*/ 0 w 377767"/>
                    <a:gd name="connsiteY0" fmla="*/ 264795 h 267865"/>
                    <a:gd name="connsiteX1" fmla="*/ 329008 w 377767"/>
                    <a:gd name="connsiteY1" fmla="*/ 241661 h 267865"/>
                    <a:gd name="connsiteX2" fmla="*/ 377767 w 377767"/>
                    <a:gd name="connsiteY2" fmla="*/ 0 h 267865"/>
                    <a:gd name="connsiteX0" fmla="*/ 0 w 351892"/>
                    <a:gd name="connsiteY0" fmla="*/ 205831 h 205831"/>
                    <a:gd name="connsiteX1" fmla="*/ 329008 w 351892"/>
                    <a:gd name="connsiteY1" fmla="*/ 182697 h 205831"/>
                    <a:gd name="connsiteX2" fmla="*/ 329608 w 351892"/>
                    <a:gd name="connsiteY2" fmla="*/ 0 h 205831"/>
                    <a:gd name="connsiteX0" fmla="*/ 0 w 380444"/>
                    <a:gd name="connsiteY0" fmla="*/ 211727 h 211727"/>
                    <a:gd name="connsiteX1" fmla="*/ 329008 w 380444"/>
                    <a:gd name="connsiteY1" fmla="*/ 188593 h 211727"/>
                    <a:gd name="connsiteX2" fmla="*/ 380444 w 380444"/>
                    <a:gd name="connsiteY2" fmla="*/ 0 h 211727"/>
                    <a:gd name="connsiteX0" fmla="*/ 0 w 341777"/>
                    <a:gd name="connsiteY0" fmla="*/ 235312 h 236529"/>
                    <a:gd name="connsiteX1" fmla="*/ 329008 w 341777"/>
                    <a:gd name="connsiteY1" fmla="*/ 212178 h 236529"/>
                    <a:gd name="connsiteX2" fmla="*/ 284125 w 341777"/>
                    <a:gd name="connsiteY2" fmla="*/ 0 h 236529"/>
                    <a:gd name="connsiteX0" fmla="*/ 0 w 349318"/>
                    <a:gd name="connsiteY0" fmla="*/ 235312 h 236526"/>
                    <a:gd name="connsiteX1" fmla="*/ 329008 w 349318"/>
                    <a:gd name="connsiteY1" fmla="*/ 212178 h 236526"/>
                    <a:gd name="connsiteX2" fmla="*/ 284125 w 349318"/>
                    <a:gd name="connsiteY2" fmla="*/ 0 h 236526"/>
                    <a:gd name="connsiteX0" fmla="*/ 0 w 357781"/>
                    <a:gd name="connsiteY0" fmla="*/ 211727 h 211727"/>
                    <a:gd name="connsiteX1" fmla="*/ 329008 w 357781"/>
                    <a:gd name="connsiteY1" fmla="*/ 188593 h 211727"/>
                    <a:gd name="connsiteX2" fmla="*/ 308205 w 357781"/>
                    <a:gd name="connsiteY2" fmla="*/ 0 h 211727"/>
                    <a:gd name="connsiteX0" fmla="*/ 0 w 360084"/>
                    <a:gd name="connsiteY0" fmla="*/ 211727 h 211727"/>
                    <a:gd name="connsiteX1" fmla="*/ 329008 w 360084"/>
                    <a:gd name="connsiteY1" fmla="*/ 188593 h 211727"/>
                    <a:gd name="connsiteX2" fmla="*/ 313556 w 360084"/>
                    <a:gd name="connsiteY2" fmla="*/ 0 h 211727"/>
                    <a:gd name="connsiteX0" fmla="*/ 0 w 360906"/>
                    <a:gd name="connsiteY0" fmla="*/ 211727 h 211727"/>
                    <a:gd name="connsiteX1" fmla="*/ 329008 w 360906"/>
                    <a:gd name="connsiteY1" fmla="*/ 188593 h 211727"/>
                    <a:gd name="connsiteX2" fmla="*/ 313556 w 360906"/>
                    <a:gd name="connsiteY2" fmla="*/ 0 h 211727"/>
                    <a:gd name="connsiteX0" fmla="*/ 0 w 365049"/>
                    <a:gd name="connsiteY0" fmla="*/ 211727 h 211727"/>
                    <a:gd name="connsiteX1" fmla="*/ 329008 w 365049"/>
                    <a:gd name="connsiteY1" fmla="*/ 188593 h 211727"/>
                    <a:gd name="connsiteX2" fmla="*/ 322140 w 365049"/>
                    <a:gd name="connsiteY2" fmla="*/ 0 h 211727"/>
                  </a:gdLst>
                  <a:ahLst/>
                  <a:cxnLst>
                    <a:cxn ang="0">
                      <a:pos x="connsiteX0" y="connsiteY0"/>
                    </a:cxn>
                    <a:cxn ang="0">
                      <a:pos x="connsiteX1" y="connsiteY1"/>
                    </a:cxn>
                    <a:cxn ang="0">
                      <a:pos x="connsiteX2" y="connsiteY2"/>
                    </a:cxn>
                  </a:cxnLst>
                  <a:rect l="l" t="t" r="r" b="b"/>
                  <a:pathLst>
                    <a:path w="365049" h="211727">
                      <a:moveTo>
                        <a:pt x="0" y="211727"/>
                      </a:moveTo>
                      <a:cubicBezTo>
                        <a:pt x="40878" y="206568"/>
                        <a:pt x="275318" y="223881"/>
                        <a:pt x="329008" y="188593"/>
                      </a:cubicBezTo>
                      <a:cubicBezTo>
                        <a:pt x="382698" y="153305"/>
                        <a:pt x="373072" y="3176"/>
                        <a:pt x="322140"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grpSp>
        </p:grpSp>
        <p:sp>
          <p:nvSpPr>
            <p:cNvPr id="336" name="TextBox 335">
              <a:extLst>
                <a:ext uri="{FF2B5EF4-FFF2-40B4-BE49-F238E27FC236}">
                  <a16:creationId xmlns:a16="http://schemas.microsoft.com/office/drawing/2014/main" id="{0296FB0F-42A6-4581-8F77-769B7A2353DF}"/>
                </a:ext>
              </a:extLst>
            </p:cNvPr>
            <p:cNvSpPr txBox="1"/>
            <p:nvPr/>
          </p:nvSpPr>
          <p:spPr bwMode="gray">
            <a:xfrm>
              <a:off x="10435243"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Purgeable</a:t>
              </a:r>
            </a:p>
          </p:txBody>
        </p:sp>
      </p:grpSp>
      <p:grpSp>
        <p:nvGrpSpPr>
          <p:cNvPr id="328" name="Group 327">
            <a:extLst>
              <a:ext uri="{FF2B5EF4-FFF2-40B4-BE49-F238E27FC236}">
                <a16:creationId xmlns:a16="http://schemas.microsoft.com/office/drawing/2014/main" id="{F069E434-A459-41B0-97F4-2BF231472F1A}"/>
              </a:ext>
            </a:extLst>
          </p:cNvPr>
          <p:cNvGrpSpPr/>
          <p:nvPr/>
        </p:nvGrpSpPr>
        <p:grpSpPr bwMode="gray">
          <a:xfrm>
            <a:off x="9619594" y="3926617"/>
            <a:ext cx="743958" cy="697689"/>
            <a:chOff x="11233438" y="3774422"/>
            <a:chExt cx="743958" cy="697689"/>
          </a:xfrm>
        </p:grpSpPr>
        <p:grpSp>
          <p:nvGrpSpPr>
            <p:cNvPr id="329" name="Group 328">
              <a:extLst>
                <a:ext uri="{FF2B5EF4-FFF2-40B4-BE49-F238E27FC236}">
                  <a16:creationId xmlns:a16="http://schemas.microsoft.com/office/drawing/2014/main" id="{5A93712F-BB6D-4157-ADD5-B0FAF53F5463}"/>
                </a:ext>
              </a:extLst>
            </p:cNvPr>
            <p:cNvGrpSpPr/>
            <p:nvPr/>
          </p:nvGrpSpPr>
          <p:grpSpPr bwMode="gray">
            <a:xfrm>
              <a:off x="11416585" y="3774422"/>
              <a:ext cx="377664" cy="303591"/>
              <a:chOff x="11597449" y="4332540"/>
              <a:chExt cx="405544" cy="326002"/>
            </a:xfrm>
          </p:grpSpPr>
          <p:sp>
            <p:nvSpPr>
              <p:cNvPr id="331" name="Freeform: Shape 330">
                <a:extLst>
                  <a:ext uri="{FF2B5EF4-FFF2-40B4-BE49-F238E27FC236}">
                    <a16:creationId xmlns:a16="http://schemas.microsoft.com/office/drawing/2014/main" id="{96081316-91E2-4F02-9B1D-4EEA309C4A3B}"/>
                  </a:ext>
                </a:extLst>
              </p:cNvPr>
              <p:cNvSpPr/>
              <p:nvPr/>
            </p:nvSpPr>
            <p:spPr bwMode="gray">
              <a:xfrm rot="18169347">
                <a:off x="11540279" y="4389710"/>
                <a:ext cx="308462" cy="194121"/>
              </a:xfrm>
              <a:custGeom>
                <a:avLst/>
                <a:gdLst>
                  <a:gd name="connsiteX0" fmla="*/ 1093381 w 2462577"/>
                  <a:gd name="connsiteY0" fmla="*/ 0 h 1802393"/>
                  <a:gd name="connsiteX1" fmla="*/ 1640754 w 2462577"/>
                  <a:gd name="connsiteY1" fmla="*/ 362823 h 1802393"/>
                  <a:gd name="connsiteX2" fmla="*/ 1655501 w 2462577"/>
                  <a:gd name="connsiteY2" fmla="*/ 410329 h 1802393"/>
                  <a:gd name="connsiteX3" fmla="*/ 1706127 w 2462577"/>
                  <a:gd name="connsiteY3" fmla="*/ 394614 h 1802393"/>
                  <a:gd name="connsiteX4" fmla="*/ 1793034 w 2462577"/>
                  <a:gd name="connsiteY4" fmla="*/ 385853 h 1802393"/>
                  <a:gd name="connsiteX5" fmla="*/ 2224263 w 2462577"/>
                  <a:gd name="connsiteY5" fmla="*/ 817082 h 1802393"/>
                  <a:gd name="connsiteX6" fmla="*/ 2190375 w 2462577"/>
                  <a:gd name="connsiteY6" fmla="*/ 984936 h 1802393"/>
                  <a:gd name="connsiteX7" fmla="*/ 2185612 w 2462577"/>
                  <a:gd name="connsiteY7" fmla="*/ 993711 h 1802393"/>
                  <a:gd name="connsiteX8" fmla="*/ 2190745 w 2462577"/>
                  <a:gd name="connsiteY8" fmla="*/ 994229 h 1802393"/>
                  <a:gd name="connsiteX9" fmla="*/ 2462577 w 2462577"/>
                  <a:gd name="connsiteY9" fmla="*/ 1327755 h 1802393"/>
                  <a:gd name="connsiteX10" fmla="*/ 2362864 w 2462577"/>
                  <a:gd name="connsiteY10" fmla="*/ 1568484 h 1802393"/>
                  <a:gd name="connsiteX11" fmla="*/ 2313995 w 2462577"/>
                  <a:gd name="connsiteY11" fmla="*/ 1608805 h 1802393"/>
                  <a:gd name="connsiteX12" fmla="*/ 2313995 w 2462577"/>
                  <a:gd name="connsiteY12" fmla="*/ 1802393 h 1802393"/>
                  <a:gd name="connsiteX13" fmla="*/ 591875 w 2462577"/>
                  <a:gd name="connsiteY13" fmla="*/ 1802393 h 1802393"/>
                  <a:gd name="connsiteX14" fmla="*/ 591875 w 2462577"/>
                  <a:gd name="connsiteY14" fmla="*/ 1795250 h 1802393"/>
                  <a:gd name="connsiteX15" fmla="*/ 521029 w 2462577"/>
                  <a:gd name="connsiteY15" fmla="*/ 1802392 h 1802393"/>
                  <a:gd name="connsiteX16" fmla="*/ 0 w 2462577"/>
                  <a:gd name="connsiteY16" fmla="*/ 1281363 h 1802393"/>
                  <a:gd name="connsiteX17" fmla="*/ 521029 w 2462577"/>
                  <a:gd name="connsiteY17" fmla="*/ 760334 h 1802393"/>
                  <a:gd name="connsiteX18" fmla="*/ 526000 w 2462577"/>
                  <a:gd name="connsiteY18" fmla="*/ 760835 h 1802393"/>
                  <a:gd name="connsiteX19" fmla="*/ 511393 w 2462577"/>
                  <a:gd name="connsiteY19" fmla="*/ 713780 h 1802393"/>
                  <a:gd name="connsiteX20" fmla="*/ 499324 w 2462577"/>
                  <a:gd name="connsiteY20" fmla="*/ 594057 h 1802393"/>
                  <a:gd name="connsiteX21" fmla="*/ 1093381 w 2462577"/>
                  <a:gd name="connsiteY21" fmla="*/ 0 h 1802393"/>
                  <a:gd name="connsiteX0" fmla="*/ 2313995 w 2462577"/>
                  <a:gd name="connsiteY0" fmla="*/ 1802393 h 1893833"/>
                  <a:gd name="connsiteX1" fmla="*/ 591875 w 2462577"/>
                  <a:gd name="connsiteY1" fmla="*/ 1802393 h 1893833"/>
                  <a:gd name="connsiteX2" fmla="*/ 591875 w 2462577"/>
                  <a:gd name="connsiteY2" fmla="*/ 1795250 h 1893833"/>
                  <a:gd name="connsiteX3" fmla="*/ 521029 w 2462577"/>
                  <a:gd name="connsiteY3" fmla="*/ 1802392 h 1893833"/>
                  <a:gd name="connsiteX4" fmla="*/ 0 w 2462577"/>
                  <a:gd name="connsiteY4" fmla="*/ 1281363 h 1893833"/>
                  <a:gd name="connsiteX5" fmla="*/ 521029 w 2462577"/>
                  <a:gd name="connsiteY5" fmla="*/ 760334 h 1893833"/>
                  <a:gd name="connsiteX6" fmla="*/ 526000 w 2462577"/>
                  <a:gd name="connsiteY6" fmla="*/ 760835 h 1893833"/>
                  <a:gd name="connsiteX7" fmla="*/ 511393 w 2462577"/>
                  <a:gd name="connsiteY7" fmla="*/ 713780 h 1893833"/>
                  <a:gd name="connsiteX8" fmla="*/ 499324 w 2462577"/>
                  <a:gd name="connsiteY8" fmla="*/ 594057 h 1893833"/>
                  <a:gd name="connsiteX9" fmla="*/ 1093381 w 2462577"/>
                  <a:gd name="connsiteY9" fmla="*/ 0 h 1893833"/>
                  <a:gd name="connsiteX10" fmla="*/ 1640754 w 2462577"/>
                  <a:gd name="connsiteY10" fmla="*/ 362823 h 1893833"/>
                  <a:gd name="connsiteX11" fmla="*/ 1655501 w 2462577"/>
                  <a:gd name="connsiteY11" fmla="*/ 410329 h 1893833"/>
                  <a:gd name="connsiteX12" fmla="*/ 1706127 w 2462577"/>
                  <a:gd name="connsiteY12" fmla="*/ 394614 h 1893833"/>
                  <a:gd name="connsiteX13" fmla="*/ 1793034 w 2462577"/>
                  <a:gd name="connsiteY13" fmla="*/ 385853 h 1893833"/>
                  <a:gd name="connsiteX14" fmla="*/ 2224263 w 2462577"/>
                  <a:gd name="connsiteY14" fmla="*/ 817082 h 1893833"/>
                  <a:gd name="connsiteX15" fmla="*/ 2190375 w 2462577"/>
                  <a:gd name="connsiteY15" fmla="*/ 984936 h 1893833"/>
                  <a:gd name="connsiteX16" fmla="*/ 2185612 w 2462577"/>
                  <a:gd name="connsiteY16" fmla="*/ 993711 h 1893833"/>
                  <a:gd name="connsiteX17" fmla="*/ 2190745 w 2462577"/>
                  <a:gd name="connsiteY17" fmla="*/ 994229 h 1893833"/>
                  <a:gd name="connsiteX18" fmla="*/ 2462577 w 2462577"/>
                  <a:gd name="connsiteY18" fmla="*/ 1327755 h 1893833"/>
                  <a:gd name="connsiteX19" fmla="*/ 2362864 w 2462577"/>
                  <a:gd name="connsiteY19" fmla="*/ 1568484 h 1893833"/>
                  <a:gd name="connsiteX20" fmla="*/ 2313995 w 2462577"/>
                  <a:gd name="connsiteY20" fmla="*/ 1608805 h 1893833"/>
                  <a:gd name="connsiteX21" fmla="*/ 2405435 w 2462577"/>
                  <a:gd name="connsiteY21" fmla="*/ 1893833 h 1893833"/>
                  <a:gd name="connsiteX0" fmla="*/ 2313995 w 2462577"/>
                  <a:gd name="connsiteY0" fmla="*/ 1802393 h 1802393"/>
                  <a:gd name="connsiteX1" fmla="*/ 591875 w 2462577"/>
                  <a:gd name="connsiteY1" fmla="*/ 1802393 h 1802393"/>
                  <a:gd name="connsiteX2" fmla="*/ 591875 w 2462577"/>
                  <a:gd name="connsiteY2" fmla="*/ 1795250 h 1802393"/>
                  <a:gd name="connsiteX3" fmla="*/ 521029 w 2462577"/>
                  <a:gd name="connsiteY3" fmla="*/ 1802392 h 1802393"/>
                  <a:gd name="connsiteX4" fmla="*/ 0 w 2462577"/>
                  <a:gd name="connsiteY4" fmla="*/ 1281363 h 1802393"/>
                  <a:gd name="connsiteX5" fmla="*/ 521029 w 2462577"/>
                  <a:gd name="connsiteY5" fmla="*/ 760334 h 1802393"/>
                  <a:gd name="connsiteX6" fmla="*/ 526000 w 2462577"/>
                  <a:gd name="connsiteY6" fmla="*/ 760835 h 1802393"/>
                  <a:gd name="connsiteX7" fmla="*/ 511393 w 2462577"/>
                  <a:gd name="connsiteY7" fmla="*/ 713780 h 1802393"/>
                  <a:gd name="connsiteX8" fmla="*/ 499324 w 2462577"/>
                  <a:gd name="connsiteY8" fmla="*/ 594057 h 1802393"/>
                  <a:gd name="connsiteX9" fmla="*/ 1093381 w 2462577"/>
                  <a:gd name="connsiteY9" fmla="*/ 0 h 1802393"/>
                  <a:gd name="connsiteX10" fmla="*/ 1640754 w 2462577"/>
                  <a:gd name="connsiteY10" fmla="*/ 362823 h 1802393"/>
                  <a:gd name="connsiteX11" fmla="*/ 1655501 w 2462577"/>
                  <a:gd name="connsiteY11" fmla="*/ 410329 h 1802393"/>
                  <a:gd name="connsiteX12" fmla="*/ 1706127 w 2462577"/>
                  <a:gd name="connsiteY12" fmla="*/ 394614 h 1802393"/>
                  <a:gd name="connsiteX13" fmla="*/ 1793034 w 2462577"/>
                  <a:gd name="connsiteY13" fmla="*/ 385853 h 1802393"/>
                  <a:gd name="connsiteX14" fmla="*/ 2224263 w 2462577"/>
                  <a:gd name="connsiteY14" fmla="*/ 817082 h 1802393"/>
                  <a:gd name="connsiteX15" fmla="*/ 2190375 w 2462577"/>
                  <a:gd name="connsiteY15" fmla="*/ 984936 h 1802393"/>
                  <a:gd name="connsiteX16" fmla="*/ 2185612 w 2462577"/>
                  <a:gd name="connsiteY16" fmla="*/ 993711 h 1802393"/>
                  <a:gd name="connsiteX17" fmla="*/ 2190745 w 2462577"/>
                  <a:gd name="connsiteY17" fmla="*/ 994229 h 1802393"/>
                  <a:gd name="connsiteX18" fmla="*/ 2462577 w 2462577"/>
                  <a:gd name="connsiteY18" fmla="*/ 1327755 h 1802393"/>
                  <a:gd name="connsiteX19" fmla="*/ 2362864 w 2462577"/>
                  <a:gd name="connsiteY19" fmla="*/ 1568484 h 1802393"/>
                  <a:gd name="connsiteX20" fmla="*/ 2313995 w 2462577"/>
                  <a:gd name="connsiteY20" fmla="*/ 1608805 h 1802393"/>
                  <a:gd name="connsiteX0" fmla="*/ 591875 w 2462577"/>
                  <a:gd name="connsiteY0" fmla="*/ 1802393 h 1802393"/>
                  <a:gd name="connsiteX1" fmla="*/ 591875 w 2462577"/>
                  <a:gd name="connsiteY1" fmla="*/ 1795250 h 1802393"/>
                  <a:gd name="connsiteX2" fmla="*/ 521029 w 2462577"/>
                  <a:gd name="connsiteY2" fmla="*/ 1802392 h 1802393"/>
                  <a:gd name="connsiteX3" fmla="*/ 0 w 2462577"/>
                  <a:gd name="connsiteY3" fmla="*/ 1281363 h 1802393"/>
                  <a:gd name="connsiteX4" fmla="*/ 521029 w 2462577"/>
                  <a:gd name="connsiteY4" fmla="*/ 760334 h 1802393"/>
                  <a:gd name="connsiteX5" fmla="*/ 526000 w 2462577"/>
                  <a:gd name="connsiteY5" fmla="*/ 760835 h 1802393"/>
                  <a:gd name="connsiteX6" fmla="*/ 511393 w 2462577"/>
                  <a:gd name="connsiteY6" fmla="*/ 713780 h 1802393"/>
                  <a:gd name="connsiteX7" fmla="*/ 499324 w 2462577"/>
                  <a:gd name="connsiteY7" fmla="*/ 594057 h 1802393"/>
                  <a:gd name="connsiteX8" fmla="*/ 1093381 w 2462577"/>
                  <a:gd name="connsiteY8" fmla="*/ 0 h 1802393"/>
                  <a:gd name="connsiteX9" fmla="*/ 1640754 w 2462577"/>
                  <a:gd name="connsiteY9" fmla="*/ 362823 h 1802393"/>
                  <a:gd name="connsiteX10" fmla="*/ 1655501 w 2462577"/>
                  <a:gd name="connsiteY10" fmla="*/ 410329 h 1802393"/>
                  <a:gd name="connsiteX11" fmla="*/ 1706127 w 2462577"/>
                  <a:gd name="connsiteY11" fmla="*/ 394614 h 1802393"/>
                  <a:gd name="connsiteX12" fmla="*/ 1793034 w 2462577"/>
                  <a:gd name="connsiteY12" fmla="*/ 385853 h 1802393"/>
                  <a:gd name="connsiteX13" fmla="*/ 2224263 w 2462577"/>
                  <a:gd name="connsiteY13" fmla="*/ 817082 h 1802393"/>
                  <a:gd name="connsiteX14" fmla="*/ 2190375 w 2462577"/>
                  <a:gd name="connsiteY14" fmla="*/ 984936 h 1802393"/>
                  <a:gd name="connsiteX15" fmla="*/ 2185612 w 2462577"/>
                  <a:gd name="connsiteY15" fmla="*/ 993711 h 1802393"/>
                  <a:gd name="connsiteX16" fmla="*/ 2190745 w 2462577"/>
                  <a:gd name="connsiteY16" fmla="*/ 994229 h 1802393"/>
                  <a:gd name="connsiteX17" fmla="*/ 2462577 w 2462577"/>
                  <a:gd name="connsiteY17" fmla="*/ 1327755 h 1802393"/>
                  <a:gd name="connsiteX18" fmla="*/ 2362864 w 2462577"/>
                  <a:gd name="connsiteY18" fmla="*/ 1568484 h 1802393"/>
                  <a:gd name="connsiteX19" fmla="*/ 2313995 w 2462577"/>
                  <a:gd name="connsiteY19" fmla="*/ 1608805 h 1802393"/>
                  <a:gd name="connsiteX0" fmla="*/ 591875 w 2462577"/>
                  <a:gd name="connsiteY0" fmla="*/ 1802393 h 1802393"/>
                  <a:gd name="connsiteX1" fmla="*/ 591875 w 2462577"/>
                  <a:gd name="connsiteY1" fmla="*/ 1795250 h 1802393"/>
                  <a:gd name="connsiteX2" fmla="*/ 521029 w 2462577"/>
                  <a:gd name="connsiteY2" fmla="*/ 1802392 h 1802393"/>
                  <a:gd name="connsiteX3" fmla="*/ 0 w 2462577"/>
                  <a:gd name="connsiteY3" fmla="*/ 1281363 h 1802393"/>
                  <a:gd name="connsiteX4" fmla="*/ 521029 w 2462577"/>
                  <a:gd name="connsiteY4" fmla="*/ 760334 h 1802393"/>
                  <a:gd name="connsiteX5" fmla="*/ 526000 w 2462577"/>
                  <a:gd name="connsiteY5" fmla="*/ 760835 h 1802393"/>
                  <a:gd name="connsiteX6" fmla="*/ 511393 w 2462577"/>
                  <a:gd name="connsiteY6" fmla="*/ 713780 h 1802393"/>
                  <a:gd name="connsiteX7" fmla="*/ 499324 w 2462577"/>
                  <a:gd name="connsiteY7" fmla="*/ 594057 h 1802393"/>
                  <a:gd name="connsiteX8" fmla="*/ 1093381 w 2462577"/>
                  <a:gd name="connsiteY8" fmla="*/ 0 h 1802393"/>
                  <a:gd name="connsiteX9" fmla="*/ 1640754 w 2462577"/>
                  <a:gd name="connsiteY9" fmla="*/ 362823 h 1802393"/>
                  <a:gd name="connsiteX10" fmla="*/ 1655501 w 2462577"/>
                  <a:gd name="connsiteY10" fmla="*/ 410329 h 1802393"/>
                  <a:gd name="connsiteX11" fmla="*/ 1706127 w 2462577"/>
                  <a:gd name="connsiteY11" fmla="*/ 394614 h 1802393"/>
                  <a:gd name="connsiteX12" fmla="*/ 1793034 w 2462577"/>
                  <a:gd name="connsiteY12" fmla="*/ 385853 h 1802393"/>
                  <a:gd name="connsiteX13" fmla="*/ 2224263 w 2462577"/>
                  <a:gd name="connsiteY13" fmla="*/ 817082 h 1802393"/>
                  <a:gd name="connsiteX14" fmla="*/ 2190375 w 2462577"/>
                  <a:gd name="connsiteY14" fmla="*/ 984936 h 1802393"/>
                  <a:gd name="connsiteX15" fmla="*/ 2185612 w 2462577"/>
                  <a:gd name="connsiteY15" fmla="*/ 993711 h 1802393"/>
                  <a:gd name="connsiteX16" fmla="*/ 2190745 w 2462577"/>
                  <a:gd name="connsiteY16" fmla="*/ 994229 h 1802393"/>
                  <a:gd name="connsiteX17" fmla="*/ 2462577 w 2462577"/>
                  <a:gd name="connsiteY17" fmla="*/ 1327755 h 1802393"/>
                  <a:gd name="connsiteX18" fmla="*/ 2362864 w 2462577"/>
                  <a:gd name="connsiteY18" fmla="*/ 1568484 h 1802393"/>
                  <a:gd name="connsiteX0" fmla="*/ 615476 w 2486178"/>
                  <a:gd name="connsiteY0" fmla="*/ 1802393 h 1802393"/>
                  <a:gd name="connsiteX1" fmla="*/ 615476 w 2486178"/>
                  <a:gd name="connsiteY1" fmla="*/ 1795250 h 1802393"/>
                  <a:gd name="connsiteX2" fmla="*/ 544630 w 2486178"/>
                  <a:gd name="connsiteY2" fmla="*/ 1802392 h 1802393"/>
                  <a:gd name="connsiteX3" fmla="*/ 135127 w 2486178"/>
                  <a:gd name="connsiteY3" fmla="*/ 1607207 h 1802393"/>
                  <a:gd name="connsiteX4" fmla="*/ 23601 w 2486178"/>
                  <a:gd name="connsiteY4" fmla="*/ 1281363 h 1802393"/>
                  <a:gd name="connsiteX5" fmla="*/ 544630 w 2486178"/>
                  <a:gd name="connsiteY5" fmla="*/ 760334 h 1802393"/>
                  <a:gd name="connsiteX6" fmla="*/ 549601 w 2486178"/>
                  <a:gd name="connsiteY6" fmla="*/ 760835 h 1802393"/>
                  <a:gd name="connsiteX7" fmla="*/ 534994 w 2486178"/>
                  <a:gd name="connsiteY7" fmla="*/ 713780 h 1802393"/>
                  <a:gd name="connsiteX8" fmla="*/ 522925 w 2486178"/>
                  <a:gd name="connsiteY8" fmla="*/ 594057 h 1802393"/>
                  <a:gd name="connsiteX9" fmla="*/ 1116982 w 2486178"/>
                  <a:gd name="connsiteY9" fmla="*/ 0 h 1802393"/>
                  <a:gd name="connsiteX10" fmla="*/ 1664355 w 2486178"/>
                  <a:gd name="connsiteY10" fmla="*/ 362823 h 1802393"/>
                  <a:gd name="connsiteX11" fmla="*/ 1679102 w 2486178"/>
                  <a:gd name="connsiteY11" fmla="*/ 410329 h 1802393"/>
                  <a:gd name="connsiteX12" fmla="*/ 1729728 w 2486178"/>
                  <a:gd name="connsiteY12" fmla="*/ 394614 h 1802393"/>
                  <a:gd name="connsiteX13" fmla="*/ 1816635 w 2486178"/>
                  <a:gd name="connsiteY13" fmla="*/ 385853 h 1802393"/>
                  <a:gd name="connsiteX14" fmla="*/ 2247864 w 2486178"/>
                  <a:gd name="connsiteY14" fmla="*/ 817082 h 1802393"/>
                  <a:gd name="connsiteX15" fmla="*/ 2213976 w 2486178"/>
                  <a:gd name="connsiteY15" fmla="*/ 984936 h 1802393"/>
                  <a:gd name="connsiteX16" fmla="*/ 2209213 w 2486178"/>
                  <a:gd name="connsiteY16" fmla="*/ 993711 h 1802393"/>
                  <a:gd name="connsiteX17" fmla="*/ 2214346 w 2486178"/>
                  <a:gd name="connsiteY17" fmla="*/ 994229 h 1802393"/>
                  <a:gd name="connsiteX18" fmla="*/ 2486178 w 2486178"/>
                  <a:gd name="connsiteY18" fmla="*/ 1327755 h 1802393"/>
                  <a:gd name="connsiteX19" fmla="*/ 2386465 w 2486178"/>
                  <a:gd name="connsiteY19" fmla="*/ 1568484 h 1802393"/>
                  <a:gd name="connsiteX0" fmla="*/ 598395 w 2469097"/>
                  <a:gd name="connsiteY0" fmla="*/ 1802393 h 1802393"/>
                  <a:gd name="connsiteX1" fmla="*/ 598395 w 2469097"/>
                  <a:gd name="connsiteY1" fmla="*/ 1795250 h 1802393"/>
                  <a:gd name="connsiteX2" fmla="*/ 527549 w 2469097"/>
                  <a:gd name="connsiteY2" fmla="*/ 1802392 h 1802393"/>
                  <a:gd name="connsiteX3" fmla="*/ 118046 w 2469097"/>
                  <a:gd name="connsiteY3" fmla="*/ 1607207 h 1802393"/>
                  <a:gd name="connsiteX4" fmla="*/ 6520 w 2469097"/>
                  <a:gd name="connsiteY4" fmla="*/ 1281363 h 1802393"/>
                  <a:gd name="connsiteX5" fmla="*/ 527549 w 2469097"/>
                  <a:gd name="connsiteY5" fmla="*/ 760334 h 1802393"/>
                  <a:gd name="connsiteX6" fmla="*/ 532520 w 2469097"/>
                  <a:gd name="connsiteY6" fmla="*/ 760835 h 1802393"/>
                  <a:gd name="connsiteX7" fmla="*/ 517913 w 2469097"/>
                  <a:gd name="connsiteY7" fmla="*/ 713780 h 1802393"/>
                  <a:gd name="connsiteX8" fmla="*/ 505844 w 2469097"/>
                  <a:gd name="connsiteY8" fmla="*/ 594057 h 1802393"/>
                  <a:gd name="connsiteX9" fmla="*/ 1099901 w 2469097"/>
                  <a:gd name="connsiteY9" fmla="*/ 0 h 1802393"/>
                  <a:gd name="connsiteX10" fmla="*/ 1647274 w 2469097"/>
                  <a:gd name="connsiteY10" fmla="*/ 362823 h 1802393"/>
                  <a:gd name="connsiteX11" fmla="*/ 1662021 w 2469097"/>
                  <a:gd name="connsiteY11" fmla="*/ 410329 h 1802393"/>
                  <a:gd name="connsiteX12" fmla="*/ 1712647 w 2469097"/>
                  <a:gd name="connsiteY12" fmla="*/ 394614 h 1802393"/>
                  <a:gd name="connsiteX13" fmla="*/ 1799554 w 2469097"/>
                  <a:gd name="connsiteY13" fmla="*/ 385853 h 1802393"/>
                  <a:gd name="connsiteX14" fmla="*/ 2230783 w 2469097"/>
                  <a:gd name="connsiteY14" fmla="*/ 817082 h 1802393"/>
                  <a:gd name="connsiteX15" fmla="*/ 2196895 w 2469097"/>
                  <a:gd name="connsiteY15" fmla="*/ 984936 h 1802393"/>
                  <a:gd name="connsiteX16" fmla="*/ 2192132 w 2469097"/>
                  <a:gd name="connsiteY16" fmla="*/ 993711 h 1802393"/>
                  <a:gd name="connsiteX17" fmla="*/ 2197265 w 2469097"/>
                  <a:gd name="connsiteY17" fmla="*/ 994229 h 1802393"/>
                  <a:gd name="connsiteX18" fmla="*/ 2469097 w 2469097"/>
                  <a:gd name="connsiteY18" fmla="*/ 1327755 h 1802393"/>
                  <a:gd name="connsiteX19" fmla="*/ 2369384 w 2469097"/>
                  <a:gd name="connsiteY19" fmla="*/ 1568484 h 1802393"/>
                  <a:gd name="connsiteX0" fmla="*/ 596882 w 2467584"/>
                  <a:gd name="connsiteY0" fmla="*/ 1802393 h 1802393"/>
                  <a:gd name="connsiteX1" fmla="*/ 596882 w 2467584"/>
                  <a:gd name="connsiteY1" fmla="*/ 1795250 h 1802393"/>
                  <a:gd name="connsiteX2" fmla="*/ 526036 w 2467584"/>
                  <a:gd name="connsiteY2" fmla="*/ 1802392 h 1802393"/>
                  <a:gd name="connsiteX3" fmla="*/ 116533 w 2467584"/>
                  <a:gd name="connsiteY3" fmla="*/ 1607207 h 1802393"/>
                  <a:gd name="connsiteX4" fmla="*/ 5007 w 2467584"/>
                  <a:gd name="connsiteY4" fmla="*/ 1281363 h 1802393"/>
                  <a:gd name="connsiteX5" fmla="*/ 526036 w 2467584"/>
                  <a:gd name="connsiteY5" fmla="*/ 760334 h 1802393"/>
                  <a:gd name="connsiteX6" fmla="*/ 531007 w 2467584"/>
                  <a:gd name="connsiteY6" fmla="*/ 760835 h 1802393"/>
                  <a:gd name="connsiteX7" fmla="*/ 516400 w 2467584"/>
                  <a:gd name="connsiteY7" fmla="*/ 713780 h 1802393"/>
                  <a:gd name="connsiteX8" fmla="*/ 504331 w 2467584"/>
                  <a:gd name="connsiteY8" fmla="*/ 594057 h 1802393"/>
                  <a:gd name="connsiteX9" fmla="*/ 1098388 w 2467584"/>
                  <a:gd name="connsiteY9" fmla="*/ 0 h 1802393"/>
                  <a:gd name="connsiteX10" fmla="*/ 1645761 w 2467584"/>
                  <a:gd name="connsiteY10" fmla="*/ 362823 h 1802393"/>
                  <a:gd name="connsiteX11" fmla="*/ 1660508 w 2467584"/>
                  <a:gd name="connsiteY11" fmla="*/ 410329 h 1802393"/>
                  <a:gd name="connsiteX12" fmla="*/ 1711134 w 2467584"/>
                  <a:gd name="connsiteY12" fmla="*/ 394614 h 1802393"/>
                  <a:gd name="connsiteX13" fmla="*/ 1798041 w 2467584"/>
                  <a:gd name="connsiteY13" fmla="*/ 385853 h 1802393"/>
                  <a:gd name="connsiteX14" fmla="*/ 2229270 w 2467584"/>
                  <a:gd name="connsiteY14" fmla="*/ 817082 h 1802393"/>
                  <a:gd name="connsiteX15" fmla="*/ 2195382 w 2467584"/>
                  <a:gd name="connsiteY15" fmla="*/ 984936 h 1802393"/>
                  <a:gd name="connsiteX16" fmla="*/ 2190619 w 2467584"/>
                  <a:gd name="connsiteY16" fmla="*/ 993711 h 1802393"/>
                  <a:gd name="connsiteX17" fmla="*/ 2195752 w 2467584"/>
                  <a:gd name="connsiteY17" fmla="*/ 994229 h 1802393"/>
                  <a:gd name="connsiteX18" fmla="*/ 2467584 w 2467584"/>
                  <a:gd name="connsiteY18" fmla="*/ 1327755 h 1802393"/>
                  <a:gd name="connsiteX19" fmla="*/ 2367871 w 2467584"/>
                  <a:gd name="connsiteY19" fmla="*/ 1568484 h 1802393"/>
                  <a:gd name="connsiteX0" fmla="*/ 596882 w 2467584"/>
                  <a:gd name="connsiteY0" fmla="*/ 1802393 h 1802393"/>
                  <a:gd name="connsiteX1" fmla="*/ 526036 w 2467584"/>
                  <a:gd name="connsiteY1" fmla="*/ 1802392 h 1802393"/>
                  <a:gd name="connsiteX2" fmla="*/ 116533 w 2467584"/>
                  <a:gd name="connsiteY2" fmla="*/ 1607207 h 1802393"/>
                  <a:gd name="connsiteX3" fmla="*/ 5007 w 2467584"/>
                  <a:gd name="connsiteY3" fmla="*/ 1281363 h 1802393"/>
                  <a:gd name="connsiteX4" fmla="*/ 526036 w 2467584"/>
                  <a:gd name="connsiteY4" fmla="*/ 760334 h 1802393"/>
                  <a:gd name="connsiteX5" fmla="*/ 531007 w 2467584"/>
                  <a:gd name="connsiteY5" fmla="*/ 760835 h 1802393"/>
                  <a:gd name="connsiteX6" fmla="*/ 516400 w 2467584"/>
                  <a:gd name="connsiteY6" fmla="*/ 713780 h 1802393"/>
                  <a:gd name="connsiteX7" fmla="*/ 504331 w 2467584"/>
                  <a:gd name="connsiteY7" fmla="*/ 594057 h 1802393"/>
                  <a:gd name="connsiteX8" fmla="*/ 1098388 w 2467584"/>
                  <a:gd name="connsiteY8" fmla="*/ 0 h 1802393"/>
                  <a:gd name="connsiteX9" fmla="*/ 1645761 w 2467584"/>
                  <a:gd name="connsiteY9" fmla="*/ 362823 h 1802393"/>
                  <a:gd name="connsiteX10" fmla="*/ 1660508 w 2467584"/>
                  <a:gd name="connsiteY10" fmla="*/ 410329 h 1802393"/>
                  <a:gd name="connsiteX11" fmla="*/ 1711134 w 2467584"/>
                  <a:gd name="connsiteY11" fmla="*/ 394614 h 1802393"/>
                  <a:gd name="connsiteX12" fmla="*/ 1798041 w 2467584"/>
                  <a:gd name="connsiteY12" fmla="*/ 385853 h 1802393"/>
                  <a:gd name="connsiteX13" fmla="*/ 2229270 w 2467584"/>
                  <a:gd name="connsiteY13" fmla="*/ 817082 h 1802393"/>
                  <a:gd name="connsiteX14" fmla="*/ 2195382 w 2467584"/>
                  <a:gd name="connsiteY14" fmla="*/ 984936 h 1802393"/>
                  <a:gd name="connsiteX15" fmla="*/ 2190619 w 2467584"/>
                  <a:gd name="connsiteY15" fmla="*/ 993711 h 1802393"/>
                  <a:gd name="connsiteX16" fmla="*/ 2195752 w 2467584"/>
                  <a:gd name="connsiteY16" fmla="*/ 994229 h 1802393"/>
                  <a:gd name="connsiteX17" fmla="*/ 2467584 w 2467584"/>
                  <a:gd name="connsiteY17" fmla="*/ 1327755 h 1802393"/>
                  <a:gd name="connsiteX18" fmla="*/ 2367871 w 2467584"/>
                  <a:gd name="connsiteY18" fmla="*/ 1568484 h 1802393"/>
                  <a:gd name="connsiteX0" fmla="*/ 596882 w 2467584"/>
                  <a:gd name="connsiteY0" fmla="*/ 1802393 h 1802393"/>
                  <a:gd name="connsiteX1" fmla="*/ 116533 w 2467584"/>
                  <a:gd name="connsiteY1" fmla="*/ 1607207 h 1802393"/>
                  <a:gd name="connsiteX2" fmla="*/ 5007 w 2467584"/>
                  <a:gd name="connsiteY2" fmla="*/ 1281363 h 1802393"/>
                  <a:gd name="connsiteX3" fmla="*/ 526036 w 2467584"/>
                  <a:gd name="connsiteY3" fmla="*/ 760334 h 1802393"/>
                  <a:gd name="connsiteX4" fmla="*/ 531007 w 2467584"/>
                  <a:gd name="connsiteY4" fmla="*/ 760835 h 1802393"/>
                  <a:gd name="connsiteX5" fmla="*/ 516400 w 2467584"/>
                  <a:gd name="connsiteY5" fmla="*/ 713780 h 1802393"/>
                  <a:gd name="connsiteX6" fmla="*/ 504331 w 2467584"/>
                  <a:gd name="connsiteY6" fmla="*/ 594057 h 1802393"/>
                  <a:gd name="connsiteX7" fmla="*/ 1098388 w 2467584"/>
                  <a:gd name="connsiteY7" fmla="*/ 0 h 1802393"/>
                  <a:gd name="connsiteX8" fmla="*/ 1645761 w 2467584"/>
                  <a:gd name="connsiteY8" fmla="*/ 362823 h 1802393"/>
                  <a:gd name="connsiteX9" fmla="*/ 1660508 w 2467584"/>
                  <a:gd name="connsiteY9" fmla="*/ 410329 h 1802393"/>
                  <a:gd name="connsiteX10" fmla="*/ 1711134 w 2467584"/>
                  <a:gd name="connsiteY10" fmla="*/ 394614 h 1802393"/>
                  <a:gd name="connsiteX11" fmla="*/ 1798041 w 2467584"/>
                  <a:gd name="connsiteY11" fmla="*/ 385853 h 1802393"/>
                  <a:gd name="connsiteX12" fmla="*/ 2229270 w 2467584"/>
                  <a:gd name="connsiteY12" fmla="*/ 817082 h 1802393"/>
                  <a:gd name="connsiteX13" fmla="*/ 2195382 w 2467584"/>
                  <a:gd name="connsiteY13" fmla="*/ 984936 h 1802393"/>
                  <a:gd name="connsiteX14" fmla="*/ 2190619 w 2467584"/>
                  <a:gd name="connsiteY14" fmla="*/ 993711 h 1802393"/>
                  <a:gd name="connsiteX15" fmla="*/ 2195752 w 2467584"/>
                  <a:gd name="connsiteY15" fmla="*/ 994229 h 1802393"/>
                  <a:gd name="connsiteX16" fmla="*/ 2467584 w 2467584"/>
                  <a:gd name="connsiteY16" fmla="*/ 1327755 h 1802393"/>
                  <a:gd name="connsiteX17" fmla="*/ 2367871 w 2467584"/>
                  <a:gd name="connsiteY17" fmla="*/ 1568484 h 1802393"/>
                  <a:gd name="connsiteX0" fmla="*/ 116533 w 2467584"/>
                  <a:gd name="connsiteY0" fmla="*/ 1607207 h 1607207"/>
                  <a:gd name="connsiteX1" fmla="*/ 5007 w 2467584"/>
                  <a:gd name="connsiteY1" fmla="*/ 1281363 h 1607207"/>
                  <a:gd name="connsiteX2" fmla="*/ 526036 w 2467584"/>
                  <a:gd name="connsiteY2" fmla="*/ 760334 h 1607207"/>
                  <a:gd name="connsiteX3" fmla="*/ 531007 w 2467584"/>
                  <a:gd name="connsiteY3" fmla="*/ 760835 h 1607207"/>
                  <a:gd name="connsiteX4" fmla="*/ 516400 w 2467584"/>
                  <a:gd name="connsiteY4" fmla="*/ 713780 h 1607207"/>
                  <a:gd name="connsiteX5" fmla="*/ 504331 w 2467584"/>
                  <a:gd name="connsiteY5" fmla="*/ 594057 h 1607207"/>
                  <a:gd name="connsiteX6" fmla="*/ 1098388 w 2467584"/>
                  <a:gd name="connsiteY6" fmla="*/ 0 h 1607207"/>
                  <a:gd name="connsiteX7" fmla="*/ 1645761 w 2467584"/>
                  <a:gd name="connsiteY7" fmla="*/ 362823 h 1607207"/>
                  <a:gd name="connsiteX8" fmla="*/ 1660508 w 2467584"/>
                  <a:gd name="connsiteY8" fmla="*/ 410329 h 1607207"/>
                  <a:gd name="connsiteX9" fmla="*/ 1711134 w 2467584"/>
                  <a:gd name="connsiteY9" fmla="*/ 394614 h 1607207"/>
                  <a:gd name="connsiteX10" fmla="*/ 1798041 w 2467584"/>
                  <a:gd name="connsiteY10" fmla="*/ 385853 h 1607207"/>
                  <a:gd name="connsiteX11" fmla="*/ 2229270 w 2467584"/>
                  <a:gd name="connsiteY11" fmla="*/ 817082 h 1607207"/>
                  <a:gd name="connsiteX12" fmla="*/ 2195382 w 2467584"/>
                  <a:gd name="connsiteY12" fmla="*/ 984936 h 1607207"/>
                  <a:gd name="connsiteX13" fmla="*/ 2190619 w 2467584"/>
                  <a:gd name="connsiteY13" fmla="*/ 993711 h 1607207"/>
                  <a:gd name="connsiteX14" fmla="*/ 2195752 w 2467584"/>
                  <a:gd name="connsiteY14" fmla="*/ 994229 h 1607207"/>
                  <a:gd name="connsiteX15" fmla="*/ 2467584 w 2467584"/>
                  <a:gd name="connsiteY15" fmla="*/ 1327755 h 1607207"/>
                  <a:gd name="connsiteX16" fmla="*/ 2367871 w 2467584"/>
                  <a:gd name="connsiteY16" fmla="*/ 1568484 h 1607207"/>
                  <a:gd name="connsiteX0" fmla="*/ 116533 w 2467584"/>
                  <a:gd name="connsiteY0" fmla="*/ 1607207 h 1607207"/>
                  <a:gd name="connsiteX1" fmla="*/ 5007 w 2467584"/>
                  <a:gd name="connsiteY1" fmla="*/ 1281363 h 1607207"/>
                  <a:gd name="connsiteX2" fmla="*/ 526036 w 2467584"/>
                  <a:gd name="connsiteY2" fmla="*/ 760334 h 1607207"/>
                  <a:gd name="connsiteX3" fmla="*/ 531007 w 2467584"/>
                  <a:gd name="connsiteY3" fmla="*/ 760835 h 1607207"/>
                  <a:gd name="connsiteX4" fmla="*/ 516400 w 2467584"/>
                  <a:gd name="connsiteY4" fmla="*/ 713780 h 1607207"/>
                  <a:gd name="connsiteX5" fmla="*/ 504331 w 2467584"/>
                  <a:gd name="connsiteY5" fmla="*/ 594057 h 1607207"/>
                  <a:gd name="connsiteX6" fmla="*/ 1098388 w 2467584"/>
                  <a:gd name="connsiteY6" fmla="*/ 0 h 1607207"/>
                  <a:gd name="connsiteX7" fmla="*/ 1645761 w 2467584"/>
                  <a:gd name="connsiteY7" fmla="*/ 362823 h 1607207"/>
                  <a:gd name="connsiteX8" fmla="*/ 1660508 w 2467584"/>
                  <a:gd name="connsiteY8" fmla="*/ 410329 h 1607207"/>
                  <a:gd name="connsiteX9" fmla="*/ 1711134 w 2467584"/>
                  <a:gd name="connsiteY9" fmla="*/ 394614 h 1607207"/>
                  <a:gd name="connsiteX10" fmla="*/ 1798041 w 2467584"/>
                  <a:gd name="connsiteY10" fmla="*/ 385853 h 1607207"/>
                  <a:gd name="connsiteX11" fmla="*/ 2229270 w 2467584"/>
                  <a:gd name="connsiteY11" fmla="*/ 817082 h 1607207"/>
                  <a:gd name="connsiteX12" fmla="*/ 2195382 w 2467584"/>
                  <a:gd name="connsiteY12" fmla="*/ 984936 h 1607207"/>
                  <a:gd name="connsiteX13" fmla="*/ 2190619 w 2467584"/>
                  <a:gd name="connsiteY13" fmla="*/ 993711 h 1607207"/>
                  <a:gd name="connsiteX14" fmla="*/ 2195752 w 2467584"/>
                  <a:gd name="connsiteY14" fmla="*/ 994229 h 1607207"/>
                  <a:gd name="connsiteX15" fmla="*/ 2467584 w 2467584"/>
                  <a:gd name="connsiteY15" fmla="*/ 1327755 h 1607207"/>
                  <a:gd name="connsiteX16" fmla="*/ 2367871 w 2467584"/>
                  <a:gd name="connsiteY16" fmla="*/ 1568484 h 1607207"/>
                  <a:gd name="connsiteX0" fmla="*/ 5007 w 2467584"/>
                  <a:gd name="connsiteY0" fmla="*/ 1281363 h 1568484"/>
                  <a:gd name="connsiteX1" fmla="*/ 526036 w 2467584"/>
                  <a:gd name="connsiteY1" fmla="*/ 760334 h 1568484"/>
                  <a:gd name="connsiteX2" fmla="*/ 531007 w 2467584"/>
                  <a:gd name="connsiteY2" fmla="*/ 760835 h 1568484"/>
                  <a:gd name="connsiteX3" fmla="*/ 516400 w 2467584"/>
                  <a:gd name="connsiteY3" fmla="*/ 713780 h 1568484"/>
                  <a:gd name="connsiteX4" fmla="*/ 504331 w 2467584"/>
                  <a:gd name="connsiteY4" fmla="*/ 594057 h 1568484"/>
                  <a:gd name="connsiteX5" fmla="*/ 1098388 w 2467584"/>
                  <a:gd name="connsiteY5" fmla="*/ 0 h 1568484"/>
                  <a:gd name="connsiteX6" fmla="*/ 1645761 w 2467584"/>
                  <a:gd name="connsiteY6" fmla="*/ 362823 h 1568484"/>
                  <a:gd name="connsiteX7" fmla="*/ 1660508 w 2467584"/>
                  <a:gd name="connsiteY7" fmla="*/ 410329 h 1568484"/>
                  <a:gd name="connsiteX8" fmla="*/ 1711134 w 2467584"/>
                  <a:gd name="connsiteY8" fmla="*/ 394614 h 1568484"/>
                  <a:gd name="connsiteX9" fmla="*/ 1798041 w 2467584"/>
                  <a:gd name="connsiteY9" fmla="*/ 385853 h 1568484"/>
                  <a:gd name="connsiteX10" fmla="*/ 2229270 w 2467584"/>
                  <a:gd name="connsiteY10" fmla="*/ 817082 h 1568484"/>
                  <a:gd name="connsiteX11" fmla="*/ 2195382 w 2467584"/>
                  <a:gd name="connsiteY11" fmla="*/ 984936 h 1568484"/>
                  <a:gd name="connsiteX12" fmla="*/ 2190619 w 2467584"/>
                  <a:gd name="connsiteY12" fmla="*/ 993711 h 1568484"/>
                  <a:gd name="connsiteX13" fmla="*/ 2195752 w 2467584"/>
                  <a:gd name="connsiteY13" fmla="*/ 994229 h 1568484"/>
                  <a:gd name="connsiteX14" fmla="*/ 2467584 w 2467584"/>
                  <a:gd name="connsiteY14" fmla="*/ 1327755 h 1568484"/>
                  <a:gd name="connsiteX15" fmla="*/ 2367871 w 2467584"/>
                  <a:gd name="connsiteY15" fmla="*/ 1568484 h 1568484"/>
                  <a:gd name="connsiteX0" fmla="*/ 7654 w 2355931"/>
                  <a:gd name="connsiteY0" fmla="*/ 1388043 h 1568484"/>
                  <a:gd name="connsiteX1" fmla="*/ 414383 w 2355931"/>
                  <a:gd name="connsiteY1" fmla="*/ 760334 h 1568484"/>
                  <a:gd name="connsiteX2" fmla="*/ 419354 w 2355931"/>
                  <a:gd name="connsiteY2" fmla="*/ 760835 h 1568484"/>
                  <a:gd name="connsiteX3" fmla="*/ 404747 w 2355931"/>
                  <a:gd name="connsiteY3" fmla="*/ 713780 h 1568484"/>
                  <a:gd name="connsiteX4" fmla="*/ 392678 w 2355931"/>
                  <a:gd name="connsiteY4" fmla="*/ 594057 h 1568484"/>
                  <a:gd name="connsiteX5" fmla="*/ 986735 w 2355931"/>
                  <a:gd name="connsiteY5" fmla="*/ 0 h 1568484"/>
                  <a:gd name="connsiteX6" fmla="*/ 1534108 w 2355931"/>
                  <a:gd name="connsiteY6" fmla="*/ 362823 h 1568484"/>
                  <a:gd name="connsiteX7" fmla="*/ 1548855 w 2355931"/>
                  <a:gd name="connsiteY7" fmla="*/ 410329 h 1568484"/>
                  <a:gd name="connsiteX8" fmla="*/ 1599481 w 2355931"/>
                  <a:gd name="connsiteY8" fmla="*/ 394614 h 1568484"/>
                  <a:gd name="connsiteX9" fmla="*/ 1686388 w 2355931"/>
                  <a:gd name="connsiteY9" fmla="*/ 385853 h 1568484"/>
                  <a:gd name="connsiteX10" fmla="*/ 2117617 w 2355931"/>
                  <a:gd name="connsiteY10" fmla="*/ 817082 h 1568484"/>
                  <a:gd name="connsiteX11" fmla="*/ 2083729 w 2355931"/>
                  <a:gd name="connsiteY11" fmla="*/ 984936 h 1568484"/>
                  <a:gd name="connsiteX12" fmla="*/ 2078966 w 2355931"/>
                  <a:gd name="connsiteY12" fmla="*/ 993711 h 1568484"/>
                  <a:gd name="connsiteX13" fmla="*/ 2084099 w 2355931"/>
                  <a:gd name="connsiteY13" fmla="*/ 994229 h 1568484"/>
                  <a:gd name="connsiteX14" fmla="*/ 2355931 w 2355931"/>
                  <a:gd name="connsiteY14" fmla="*/ 1327755 h 1568484"/>
                  <a:gd name="connsiteX15" fmla="*/ 2256218 w 2355931"/>
                  <a:gd name="connsiteY15"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35286 w 2386470"/>
                  <a:gd name="connsiteY3" fmla="*/ 713780 h 1568484"/>
                  <a:gd name="connsiteX4" fmla="*/ 423217 w 2386470"/>
                  <a:gd name="connsiteY4" fmla="*/ 594057 h 1568484"/>
                  <a:gd name="connsiteX5" fmla="*/ 1017274 w 2386470"/>
                  <a:gd name="connsiteY5" fmla="*/ 0 h 1568484"/>
                  <a:gd name="connsiteX6" fmla="*/ 1564647 w 2386470"/>
                  <a:gd name="connsiteY6" fmla="*/ 362823 h 1568484"/>
                  <a:gd name="connsiteX7" fmla="*/ 1579394 w 2386470"/>
                  <a:gd name="connsiteY7" fmla="*/ 410329 h 1568484"/>
                  <a:gd name="connsiteX8" fmla="*/ 1630020 w 2386470"/>
                  <a:gd name="connsiteY8" fmla="*/ 394614 h 1568484"/>
                  <a:gd name="connsiteX9" fmla="*/ 1716927 w 2386470"/>
                  <a:gd name="connsiteY9" fmla="*/ 385853 h 1568484"/>
                  <a:gd name="connsiteX10" fmla="*/ 2148156 w 2386470"/>
                  <a:gd name="connsiteY10" fmla="*/ 817082 h 1568484"/>
                  <a:gd name="connsiteX11" fmla="*/ 2114268 w 2386470"/>
                  <a:gd name="connsiteY11" fmla="*/ 984936 h 1568484"/>
                  <a:gd name="connsiteX12" fmla="*/ 2109505 w 2386470"/>
                  <a:gd name="connsiteY12" fmla="*/ 993711 h 1568484"/>
                  <a:gd name="connsiteX13" fmla="*/ 2114638 w 2386470"/>
                  <a:gd name="connsiteY13" fmla="*/ 994229 h 1568484"/>
                  <a:gd name="connsiteX14" fmla="*/ 2386470 w 2386470"/>
                  <a:gd name="connsiteY14" fmla="*/ 1327755 h 1568484"/>
                  <a:gd name="connsiteX15" fmla="*/ 2286757 w 2386470"/>
                  <a:gd name="connsiteY15"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556573 w 2386470"/>
                  <a:gd name="connsiteY2" fmla="*/ 77226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47485 w 2316215"/>
                  <a:gd name="connsiteY0" fmla="*/ 1513047 h 1568484"/>
                  <a:gd name="connsiteX1" fmla="*/ 374667 w 2316215"/>
                  <a:gd name="connsiteY1" fmla="*/ 760334 h 1568484"/>
                  <a:gd name="connsiteX2" fmla="*/ 349152 w 2316215"/>
                  <a:gd name="connsiteY2" fmla="*/ 575007 h 1568484"/>
                  <a:gd name="connsiteX3" fmla="*/ 947019 w 2316215"/>
                  <a:gd name="connsiteY3" fmla="*/ 0 h 1568484"/>
                  <a:gd name="connsiteX4" fmla="*/ 1494392 w 2316215"/>
                  <a:gd name="connsiteY4" fmla="*/ 362823 h 1568484"/>
                  <a:gd name="connsiteX5" fmla="*/ 1509139 w 2316215"/>
                  <a:gd name="connsiteY5" fmla="*/ 410329 h 1568484"/>
                  <a:gd name="connsiteX6" fmla="*/ 1646672 w 2316215"/>
                  <a:gd name="connsiteY6" fmla="*/ 385853 h 1568484"/>
                  <a:gd name="connsiteX7" fmla="*/ 2077901 w 2316215"/>
                  <a:gd name="connsiteY7" fmla="*/ 817082 h 1568484"/>
                  <a:gd name="connsiteX8" fmla="*/ 2044013 w 2316215"/>
                  <a:gd name="connsiteY8" fmla="*/ 984936 h 1568484"/>
                  <a:gd name="connsiteX9" fmla="*/ 2039250 w 2316215"/>
                  <a:gd name="connsiteY9" fmla="*/ 993711 h 1568484"/>
                  <a:gd name="connsiteX10" fmla="*/ 2044383 w 2316215"/>
                  <a:gd name="connsiteY10" fmla="*/ 994229 h 1568484"/>
                  <a:gd name="connsiteX11" fmla="*/ 2316215 w 2316215"/>
                  <a:gd name="connsiteY11" fmla="*/ 1327755 h 1568484"/>
                  <a:gd name="connsiteX12" fmla="*/ 2216502 w 2316215"/>
                  <a:gd name="connsiteY12" fmla="*/ 1568484 h 1568484"/>
                  <a:gd name="connsiteX0" fmla="*/ 81035 w 2349765"/>
                  <a:gd name="connsiteY0" fmla="*/ 1513047 h 1568484"/>
                  <a:gd name="connsiteX1" fmla="*/ 408217 w 2349765"/>
                  <a:gd name="connsiteY1" fmla="*/ 760334 h 1568484"/>
                  <a:gd name="connsiteX2" fmla="*/ 382702 w 2349765"/>
                  <a:gd name="connsiteY2" fmla="*/ 575007 h 1568484"/>
                  <a:gd name="connsiteX3" fmla="*/ 980569 w 2349765"/>
                  <a:gd name="connsiteY3" fmla="*/ 0 h 1568484"/>
                  <a:gd name="connsiteX4" fmla="*/ 1527942 w 2349765"/>
                  <a:gd name="connsiteY4" fmla="*/ 362823 h 1568484"/>
                  <a:gd name="connsiteX5" fmla="*/ 1542689 w 2349765"/>
                  <a:gd name="connsiteY5" fmla="*/ 410329 h 1568484"/>
                  <a:gd name="connsiteX6" fmla="*/ 1680222 w 2349765"/>
                  <a:gd name="connsiteY6" fmla="*/ 385853 h 1568484"/>
                  <a:gd name="connsiteX7" fmla="*/ 2111451 w 2349765"/>
                  <a:gd name="connsiteY7" fmla="*/ 817082 h 1568484"/>
                  <a:gd name="connsiteX8" fmla="*/ 2077563 w 2349765"/>
                  <a:gd name="connsiteY8" fmla="*/ 984936 h 1568484"/>
                  <a:gd name="connsiteX9" fmla="*/ 2072800 w 2349765"/>
                  <a:gd name="connsiteY9" fmla="*/ 993711 h 1568484"/>
                  <a:gd name="connsiteX10" fmla="*/ 2077933 w 2349765"/>
                  <a:gd name="connsiteY10" fmla="*/ 994229 h 1568484"/>
                  <a:gd name="connsiteX11" fmla="*/ 2349765 w 2349765"/>
                  <a:gd name="connsiteY11" fmla="*/ 1327755 h 1568484"/>
                  <a:gd name="connsiteX12" fmla="*/ 2250052 w 2349765"/>
                  <a:gd name="connsiteY12" fmla="*/ 1568484 h 1568484"/>
                  <a:gd name="connsiteX0" fmla="*/ 110397 w 2379127"/>
                  <a:gd name="connsiteY0" fmla="*/ 1513047 h 1568484"/>
                  <a:gd name="connsiteX1" fmla="*/ 437579 w 2379127"/>
                  <a:gd name="connsiteY1" fmla="*/ 760334 h 1568484"/>
                  <a:gd name="connsiteX2" fmla="*/ 412064 w 2379127"/>
                  <a:gd name="connsiteY2" fmla="*/ 575007 h 1568484"/>
                  <a:gd name="connsiteX3" fmla="*/ 1009931 w 2379127"/>
                  <a:gd name="connsiteY3" fmla="*/ 0 h 1568484"/>
                  <a:gd name="connsiteX4" fmla="*/ 1557304 w 2379127"/>
                  <a:gd name="connsiteY4" fmla="*/ 362823 h 1568484"/>
                  <a:gd name="connsiteX5" fmla="*/ 1572051 w 2379127"/>
                  <a:gd name="connsiteY5" fmla="*/ 410329 h 1568484"/>
                  <a:gd name="connsiteX6" fmla="*/ 1709584 w 2379127"/>
                  <a:gd name="connsiteY6" fmla="*/ 385853 h 1568484"/>
                  <a:gd name="connsiteX7" fmla="*/ 2140813 w 2379127"/>
                  <a:gd name="connsiteY7" fmla="*/ 817082 h 1568484"/>
                  <a:gd name="connsiteX8" fmla="*/ 2106925 w 2379127"/>
                  <a:gd name="connsiteY8" fmla="*/ 984936 h 1568484"/>
                  <a:gd name="connsiteX9" fmla="*/ 2102162 w 2379127"/>
                  <a:gd name="connsiteY9" fmla="*/ 993711 h 1568484"/>
                  <a:gd name="connsiteX10" fmla="*/ 2107295 w 2379127"/>
                  <a:gd name="connsiteY10" fmla="*/ 994229 h 1568484"/>
                  <a:gd name="connsiteX11" fmla="*/ 2379127 w 2379127"/>
                  <a:gd name="connsiteY11" fmla="*/ 1327755 h 1568484"/>
                  <a:gd name="connsiteX12" fmla="*/ 2279414 w 2379127"/>
                  <a:gd name="connsiteY12" fmla="*/ 1568484 h 1568484"/>
                  <a:gd name="connsiteX0" fmla="*/ 126784 w 2395514"/>
                  <a:gd name="connsiteY0" fmla="*/ 1513047 h 1568484"/>
                  <a:gd name="connsiteX1" fmla="*/ 453966 w 2395514"/>
                  <a:gd name="connsiteY1" fmla="*/ 760334 h 1568484"/>
                  <a:gd name="connsiteX2" fmla="*/ 428451 w 2395514"/>
                  <a:gd name="connsiteY2" fmla="*/ 575007 h 1568484"/>
                  <a:gd name="connsiteX3" fmla="*/ 1026318 w 2395514"/>
                  <a:gd name="connsiteY3" fmla="*/ 0 h 1568484"/>
                  <a:gd name="connsiteX4" fmla="*/ 1573691 w 2395514"/>
                  <a:gd name="connsiteY4" fmla="*/ 362823 h 1568484"/>
                  <a:gd name="connsiteX5" fmla="*/ 1588438 w 2395514"/>
                  <a:gd name="connsiteY5" fmla="*/ 410329 h 1568484"/>
                  <a:gd name="connsiteX6" fmla="*/ 1725971 w 2395514"/>
                  <a:gd name="connsiteY6" fmla="*/ 385853 h 1568484"/>
                  <a:gd name="connsiteX7" fmla="*/ 2157200 w 2395514"/>
                  <a:gd name="connsiteY7" fmla="*/ 817082 h 1568484"/>
                  <a:gd name="connsiteX8" fmla="*/ 2123312 w 2395514"/>
                  <a:gd name="connsiteY8" fmla="*/ 984936 h 1568484"/>
                  <a:gd name="connsiteX9" fmla="*/ 2118549 w 2395514"/>
                  <a:gd name="connsiteY9" fmla="*/ 993711 h 1568484"/>
                  <a:gd name="connsiteX10" fmla="*/ 2123682 w 2395514"/>
                  <a:gd name="connsiteY10" fmla="*/ 994229 h 1568484"/>
                  <a:gd name="connsiteX11" fmla="*/ 2395514 w 2395514"/>
                  <a:gd name="connsiteY11" fmla="*/ 1327755 h 1568484"/>
                  <a:gd name="connsiteX12" fmla="*/ 2295801 w 2395514"/>
                  <a:gd name="connsiteY12" fmla="*/ 1568484 h 1568484"/>
                  <a:gd name="connsiteX0" fmla="*/ 132147 w 2378149"/>
                  <a:gd name="connsiteY0" fmla="*/ 1603960 h 1603960"/>
                  <a:gd name="connsiteX1" fmla="*/ 436601 w 2378149"/>
                  <a:gd name="connsiteY1" fmla="*/ 760334 h 1603960"/>
                  <a:gd name="connsiteX2" fmla="*/ 411086 w 2378149"/>
                  <a:gd name="connsiteY2" fmla="*/ 575007 h 1603960"/>
                  <a:gd name="connsiteX3" fmla="*/ 1008953 w 2378149"/>
                  <a:gd name="connsiteY3" fmla="*/ 0 h 1603960"/>
                  <a:gd name="connsiteX4" fmla="*/ 1556326 w 2378149"/>
                  <a:gd name="connsiteY4" fmla="*/ 362823 h 1603960"/>
                  <a:gd name="connsiteX5" fmla="*/ 1571073 w 2378149"/>
                  <a:gd name="connsiteY5" fmla="*/ 410329 h 1603960"/>
                  <a:gd name="connsiteX6" fmla="*/ 1708606 w 2378149"/>
                  <a:gd name="connsiteY6" fmla="*/ 385853 h 1603960"/>
                  <a:gd name="connsiteX7" fmla="*/ 2139835 w 2378149"/>
                  <a:gd name="connsiteY7" fmla="*/ 817082 h 1603960"/>
                  <a:gd name="connsiteX8" fmla="*/ 2105947 w 2378149"/>
                  <a:gd name="connsiteY8" fmla="*/ 984936 h 1603960"/>
                  <a:gd name="connsiteX9" fmla="*/ 2101184 w 2378149"/>
                  <a:gd name="connsiteY9" fmla="*/ 993711 h 1603960"/>
                  <a:gd name="connsiteX10" fmla="*/ 2106317 w 2378149"/>
                  <a:gd name="connsiteY10" fmla="*/ 994229 h 1603960"/>
                  <a:gd name="connsiteX11" fmla="*/ 2378149 w 2378149"/>
                  <a:gd name="connsiteY11" fmla="*/ 1327755 h 1603960"/>
                  <a:gd name="connsiteX12" fmla="*/ 2278436 w 2378149"/>
                  <a:gd name="connsiteY12" fmla="*/ 1568484 h 1603960"/>
                  <a:gd name="connsiteX0" fmla="*/ 152328 w 2398330"/>
                  <a:gd name="connsiteY0" fmla="*/ 1603960 h 1603960"/>
                  <a:gd name="connsiteX1" fmla="*/ 456782 w 2398330"/>
                  <a:gd name="connsiteY1" fmla="*/ 760334 h 1603960"/>
                  <a:gd name="connsiteX2" fmla="*/ 431267 w 2398330"/>
                  <a:gd name="connsiteY2" fmla="*/ 575007 h 1603960"/>
                  <a:gd name="connsiteX3" fmla="*/ 1029134 w 2398330"/>
                  <a:gd name="connsiteY3" fmla="*/ 0 h 1603960"/>
                  <a:gd name="connsiteX4" fmla="*/ 1576507 w 2398330"/>
                  <a:gd name="connsiteY4" fmla="*/ 362823 h 1603960"/>
                  <a:gd name="connsiteX5" fmla="*/ 1591254 w 2398330"/>
                  <a:gd name="connsiteY5" fmla="*/ 410329 h 1603960"/>
                  <a:gd name="connsiteX6" fmla="*/ 1728787 w 2398330"/>
                  <a:gd name="connsiteY6" fmla="*/ 385853 h 1603960"/>
                  <a:gd name="connsiteX7" fmla="*/ 2160016 w 2398330"/>
                  <a:gd name="connsiteY7" fmla="*/ 817082 h 1603960"/>
                  <a:gd name="connsiteX8" fmla="*/ 2126128 w 2398330"/>
                  <a:gd name="connsiteY8" fmla="*/ 984936 h 1603960"/>
                  <a:gd name="connsiteX9" fmla="*/ 2121365 w 2398330"/>
                  <a:gd name="connsiteY9" fmla="*/ 993711 h 1603960"/>
                  <a:gd name="connsiteX10" fmla="*/ 2126498 w 2398330"/>
                  <a:gd name="connsiteY10" fmla="*/ 994229 h 1603960"/>
                  <a:gd name="connsiteX11" fmla="*/ 2398330 w 2398330"/>
                  <a:gd name="connsiteY11" fmla="*/ 1327755 h 1603960"/>
                  <a:gd name="connsiteX12" fmla="*/ 2298617 w 2398330"/>
                  <a:gd name="connsiteY12" fmla="*/ 1568484 h 1603960"/>
                  <a:gd name="connsiteX0" fmla="*/ 117007 w 2363009"/>
                  <a:gd name="connsiteY0" fmla="*/ 1603960 h 1603960"/>
                  <a:gd name="connsiteX1" fmla="*/ 421461 w 2363009"/>
                  <a:gd name="connsiteY1" fmla="*/ 760334 h 1603960"/>
                  <a:gd name="connsiteX2" fmla="*/ 395946 w 2363009"/>
                  <a:gd name="connsiteY2" fmla="*/ 575007 h 1603960"/>
                  <a:gd name="connsiteX3" fmla="*/ 993813 w 2363009"/>
                  <a:gd name="connsiteY3" fmla="*/ 0 h 1603960"/>
                  <a:gd name="connsiteX4" fmla="*/ 1541186 w 2363009"/>
                  <a:gd name="connsiteY4" fmla="*/ 362823 h 1603960"/>
                  <a:gd name="connsiteX5" fmla="*/ 1555933 w 2363009"/>
                  <a:gd name="connsiteY5" fmla="*/ 410329 h 1603960"/>
                  <a:gd name="connsiteX6" fmla="*/ 1693466 w 2363009"/>
                  <a:gd name="connsiteY6" fmla="*/ 385853 h 1603960"/>
                  <a:gd name="connsiteX7" fmla="*/ 2124695 w 2363009"/>
                  <a:gd name="connsiteY7" fmla="*/ 817082 h 1603960"/>
                  <a:gd name="connsiteX8" fmla="*/ 2090807 w 2363009"/>
                  <a:gd name="connsiteY8" fmla="*/ 984936 h 1603960"/>
                  <a:gd name="connsiteX9" fmla="*/ 2086044 w 2363009"/>
                  <a:gd name="connsiteY9" fmla="*/ 993711 h 1603960"/>
                  <a:gd name="connsiteX10" fmla="*/ 2091177 w 2363009"/>
                  <a:gd name="connsiteY10" fmla="*/ 994229 h 1603960"/>
                  <a:gd name="connsiteX11" fmla="*/ 2363009 w 2363009"/>
                  <a:gd name="connsiteY11" fmla="*/ 1327755 h 1603960"/>
                  <a:gd name="connsiteX12" fmla="*/ 2263296 w 2363009"/>
                  <a:gd name="connsiteY12" fmla="*/ 1568484 h 1603960"/>
                  <a:gd name="connsiteX0" fmla="*/ 117007 w 2363009"/>
                  <a:gd name="connsiteY0" fmla="*/ 1603960 h 1603960"/>
                  <a:gd name="connsiteX1" fmla="*/ 421461 w 2363009"/>
                  <a:gd name="connsiteY1" fmla="*/ 760334 h 1603960"/>
                  <a:gd name="connsiteX2" fmla="*/ 993813 w 2363009"/>
                  <a:gd name="connsiteY2" fmla="*/ 0 h 1603960"/>
                  <a:gd name="connsiteX3" fmla="*/ 1541186 w 2363009"/>
                  <a:gd name="connsiteY3" fmla="*/ 362823 h 1603960"/>
                  <a:gd name="connsiteX4" fmla="*/ 1555933 w 2363009"/>
                  <a:gd name="connsiteY4" fmla="*/ 410329 h 1603960"/>
                  <a:gd name="connsiteX5" fmla="*/ 1693466 w 2363009"/>
                  <a:gd name="connsiteY5" fmla="*/ 385853 h 1603960"/>
                  <a:gd name="connsiteX6" fmla="*/ 2124695 w 2363009"/>
                  <a:gd name="connsiteY6" fmla="*/ 817082 h 1603960"/>
                  <a:gd name="connsiteX7" fmla="*/ 2090807 w 2363009"/>
                  <a:gd name="connsiteY7" fmla="*/ 984936 h 1603960"/>
                  <a:gd name="connsiteX8" fmla="*/ 2086044 w 2363009"/>
                  <a:gd name="connsiteY8" fmla="*/ 993711 h 1603960"/>
                  <a:gd name="connsiteX9" fmla="*/ 2091177 w 2363009"/>
                  <a:gd name="connsiteY9" fmla="*/ 994229 h 1603960"/>
                  <a:gd name="connsiteX10" fmla="*/ 2363009 w 2363009"/>
                  <a:gd name="connsiteY10" fmla="*/ 1327755 h 1603960"/>
                  <a:gd name="connsiteX11" fmla="*/ 2263296 w 2363009"/>
                  <a:gd name="connsiteY11" fmla="*/ 1568484 h 1603960"/>
                  <a:gd name="connsiteX0" fmla="*/ 106776 w 2352778"/>
                  <a:gd name="connsiteY0" fmla="*/ 1603960 h 1603960"/>
                  <a:gd name="connsiteX1" fmla="*/ 456689 w 2352778"/>
                  <a:gd name="connsiteY1" fmla="*/ 760335 h 1603960"/>
                  <a:gd name="connsiteX2" fmla="*/ 983582 w 2352778"/>
                  <a:gd name="connsiteY2" fmla="*/ 0 h 1603960"/>
                  <a:gd name="connsiteX3" fmla="*/ 1530955 w 2352778"/>
                  <a:gd name="connsiteY3" fmla="*/ 362823 h 1603960"/>
                  <a:gd name="connsiteX4" fmla="*/ 1545702 w 2352778"/>
                  <a:gd name="connsiteY4" fmla="*/ 410329 h 1603960"/>
                  <a:gd name="connsiteX5" fmla="*/ 1683235 w 2352778"/>
                  <a:gd name="connsiteY5" fmla="*/ 385853 h 1603960"/>
                  <a:gd name="connsiteX6" fmla="*/ 2114464 w 2352778"/>
                  <a:gd name="connsiteY6" fmla="*/ 817082 h 1603960"/>
                  <a:gd name="connsiteX7" fmla="*/ 2080576 w 2352778"/>
                  <a:gd name="connsiteY7" fmla="*/ 984936 h 1603960"/>
                  <a:gd name="connsiteX8" fmla="*/ 2075813 w 2352778"/>
                  <a:gd name="connsiteY8" fmla="*/ 993711 h 1603960"/>
                  <a:gd name="connsiteX9" fmla="*/ 2080946 w 2352778"/>
                  <a:gd name="connsiteY9" fmla="*/ 994229 h 1603960"/>
                  <a:gd name="connsiteX10" fmla="*/ 2352778 w 2352778"/>
                  <a:gd name="connsiteY10" fmla="*/ 1327755 h 1603960"/>
                  <a:gd name="connsiteX11" fmla="*/ 2253065 w 2352778"/>
                  <a:gd name="connsiteY11" fmla="*/ 1568484 h 1603960"/>
                  <a:gd name="connsiteX0" fmla="*/ 106776 w 2352778"/>
                  <a:gd name="connsiteY0" fmla="*/ 1603960 h 1603960"/>
                  <a:gd name="connsiteX1" fmla="*/ 456689 w 2352778"/>
                  <a:gd name="connsiteY1" fmla="*/ 760335 h 1603960"/>
                  <a:gd name="connsiteX2" fmla="*/ 983582 w 2352778"/>
                  <a:gd name="connsiteY2" fmla="*/ 0 h 1603960"/>
                  <a:gd name="connsiteX3" fmla="*/ 1530955 w 2352778"/>
                  <a:gd name="connsiteY3" fmla="*/ 362823 h 1603960"/>
                  <a:gd name="connsiteX4" fmla="*/ 1545702 w 2352778"/>
                  <a:gd name="connsiteY4" fmla="*/ 410329 h 1603960"/>
                  <a:gd name="connsiteX5" fmla="*/ 1683235 w 2352778"/>
                  <a:gd name="connsiteY5" fmla="*/ 385853 h 1603960"/>
                  <a:gd name="connsiteX6" fmla="*/ 2114464 w 2352778"/>
                  <a:gd name="connsiteY6" fmla="*/ 817082 h 1603960"/>
                  <a:gd name="connsiteX7" fmla="*/ 2080576 w 2352778"/>
                  <a:gd name="connsiteY7" fmla="*/ 984936 h 1603960"/>
                  <a:gd name="connsiteX8" fmla="*/ 2075813 w 2352778"/>
                  <a:gd name="connsiteY8" fmla="*/ 993711 h 1603960"/>
                  <a:gd name="connsiteX9" fmla="*/ 2080946 w 2352778"/>
                  <a:gd name="connsiteY9" fmla="*/ 994229 h 1603960"/>
                  <a:gd name="connsiteX10" fmla="*/ 2352778 w 2352778"/>
                  <a:gd name="connsiteY10" fmla="*/ 1327755 h 1603960"/>
                  <a:gd name="connsiteX11" fmla="*/ 2253065 w 2352778"/>
                  <a:gd name="connsiteY11" fmla="*/ 1568484 h 1603960"/>
                  <a:gd name="connsiteX0" fmla="*/ 106776 w 2352778"/>
                  <a:gd name="connsiteY0" fmla="*/ 1610605 h 1610605"/>
                  <a:gd name="connsiteX1" fmla="*/ 456689 w 2352778"/>
                  <a:gd name="connsiteY1" fmla="*/ 766980 h 1610605"/>
                  <a:gd name="connsiteX2" fmla="*/ 983582 w 2352778"/>
                  <a:gd name="connsiteY2" fmla="*/ 6645 h 1610605"/>
                  <a:gd name="connsiteX3" fmla="*/ 1530955 w 2352778"/>
                  <a:gd name="connsiteY3" fmla="*/ 369468 h 1610605"/>
                  <a:gd name="connsiteX4" fmla="*/ 1545702 w 2352778"/>
                  <a:gd name="connsiteY4" fmla="*/ 416974 h 1610605"/>
                  <a:gd name="connsiteX5" fmla="*/ 1683235 w 2352778"/>
                  <a:gd name="connsiteY5" fmla="*/ 392498 h 1610605"/>
                  <a:gd name="connsiteX6" fmla="*/ 2114464 w 2352778"/>
                  <a:gd name="connsiteY6" fmla="*/ 823727 h 1610605"/>
                  <a:gd name="connsiteX7" fmla="*/ 2080576 w 2352778"/>
                  <a:gd name="connsiteY7" fmla="*/ 991581 h 1610605"/>
                  <a:gd name="connsiteX8" fmla="*/ 2075813 w 2352778"/>
                  <a:gd name="connsiteY8" fmla="*/ 1000356 h 1610605"/>
                  <a:gd name="connsiteX9" fmla="*/ 2080946 w 2352778"/>
                  <a:gd name="connsiteY9" fmla="*/ 1000874 h 1610605"/>
                  <a:gd name="connsiteX10" fmla="*/ 2352778 w 2352778"/>
                  <a:gd name="connsiteY10" fmla="*/ 1334400 h 1610605"/>
                  <a:gd name="connsiteX11" fmla="*/ 2253065 w 2352778"/>
                  <a:gd name="connsiteY11" fmla="*/ 1575129 h 1610605"/>
                  <a:gd name="connsiteX0" fmla="*/ 106776 w 2352778"/>
                  <a:gd name="connsiteY0" fmla="*/ 1610605 h 1610605"/>
                  <a:gd name="connsiteX1" fmla="*/ 456689 w 2352778"/>
                  <a:gd name="connsiteY1" fmla="*/ 766980 h 1610605"/>
                  <a:gd name="connsiteX2" fmla="*/ 983582 w 2352778"/>
                  <a:gd name="connsiteY2" fmla="*/ 6645 h 1610605"/>
                  <a:gd name="connsiteX3" fmla="*/ 1530955 w 2352778"/>
                  <a:gd name="connsiteY3" fmla="*/ 369468 h 1610605"/>
                  <a:gd name="connsiteX4" fmla="*/ 1683235 w 2352778"/>
                  <a:gd name="connsiteY4" fmla="*/ 392498 h 1610605"/>
                  <a:gd name="connsiteX5" fmla="*/ 2114464 w 2352778"/>
                  <a:gd name="connsiteY5" fmla="*/ 823727 h 1610605"/>
                  <a:gd name="connsiteX6" fmla="*/ 2080576 w 2352778"/>
                  <a:gd name="connsiteY6" fmla="*/ 991581 h 1610605"/>
                  <a:gd name="connsiteX7" fmla="*/ 2075813 w 2352778"/>
                  <a:gd name="connsiteY7" fmla="*/ 1000356 h 1610605"/>
                  <a:gd name="connsiteX8" fmla="*/ 2080946 w 2352778"/>
                  <a:gd name="connsiteY8" fmla="*/ 1000874 h 1610605"/>
                  <a:gd name="connsiteX9" fmla="*/ 2352778 w 2352778"/>
                  <a:gd name="connsiteY9" fmla="*/ 1334400 h 1610605"/>
                  <a:gd name="connsiteX10" fmla="*/ 2253065 w 2352778"/>
                  <a:gd name="connsiteY10" fmla="*/ 1575129 h 1610605"/>
                  <a:gd name="connsiteX0" fmla="*/ 106776 w 2352778"/>
                  <a:gd name="connsiteY0" fmla="*/ 1612114 h 1612114"/>
                  <a:gd name="connsiteX1" fmla="*/ 456689 w 2352778"/>
                  <a:gd name="connsiteY1" fmla="*/ 768489 h 1612114"/>
                  <a:gd name="connsiteX2" fmla="*/ 983582 w 2352778"/>
                  <a:gd name="connsiteY2" fmla="*/ 8154 h 1612114"/>
                  <a:gd name="connsiteX3" fmla="*/ 1683235 w 2352778"/>
                  <a:gd name="connsiteY3" fmla="*/ 394007 h 1612114"/>
                  <a:gd name="connsiteX4" fmla="*/ 2114464 w 2352778"/>
                  <a:gd name="connsiteY4" fmla="*/ 825236 h 1612114"/>
                  <a:gd name="connsiteX5" fmla="*/ 2080576 w 2352778"/>
                  <a:gd name="connsiteY5" fmla="*/ 993090 h 1612114"/>
                  <a:gd name="connsiteX6" fmla="*/ 2075813 w 2352778"/>
                  <a:gd name="connsiteY6" fmla="*/ 1001865 h 1612114"/>
                  <a:gd name="connsiteX7" fmla="*/ 2080946 w 2352778"/>
                  <a:gd name="connsiteY7" fmla="*/ 1002383 h 1612114"/>
                  <a:gd name="connsiteX8" fmla="*/ 2352778 w 2352778"/>
                  <a:gd name="connsiteY8" fmla="*/ 1335909 h 1612114"/>
                  <a:gd name="connsiteX9" fmla="*/ 2253065 w 2352778"/>
                  <a:gd name="connsiteY9" fmla="*/ 1576638 h 1612114"/>
                  <a:gd name="connsiteX0" fmla="*/ 106776 w 2352778"/>
                  <a:gd name="connsiteY0" fmla="*/ 1611207 h 1611207"/>
                  <a:gd name="connsiteX1" fmla="*/ 456689 w 2352778"/>
                  <a:gd name="connsiteY1" fmla="*/ 767582 h 1611207"/>
                  <a:gd name="connsiteX2" fmla="*/ 983582 w 2352778"/>
                  <a:gd name="connsiteY2" fmla="*/ 7247 h 1611207"/>
                  <a:gd name="connsiteX3" fmla="*/ 1558230 w 2352778"/>
                  <a:gd name="connsiteY3" fmla="*/ 438554 h 1611207"/>
                  <a:gd name="connsiteX4" fmla="*/ 2114464 w 2352778"/>
                  <a:gd name="connsiteY4" fmla="*/ 824329 h 1611207"/>
                  <a:gd name="connsiteX5" fmla="*/ 2080576 w 2352778"/>
                  <a:gd name="connsiteY5" fmla="*/ 992183 h 1611207"/>
                  <a:gd name="connsiteX6" fmla="*/ 2075813 w 2352778"/>
                  <a:gd name="connsiteY6" fmla="*/ 1000958 h 1611207"/>
                  <a:gd name="connsiteX7" fmla="*/ 2080946 w 2352778"/>
                  <a:gd name="connsiteY7" fmla="*/ 1001476 h 1611207"/>
                  <a:gd name="connsiteX8" fmla="*/ 2352778 w 2352778"/>
                  <a:gd name="connsiteY8" fmla="*/ 1335002 h 1611207"/>
                  <a:gd name="connsiteX9" fmla="*/ 2253065 w 2352778"/>
                  <a:gd name="connsiteY9" fmla="*/ 1575731 h 1611207"/>
                  <a:gd name="connsiteX0" fmla="*/ 106776 w 2352778"/>
                  <a:gd name="connsiteY0" fmla="*/ 1608821 h 1608821"/>
                  <a:gd name="connsiteX1" fmla="*/ 456689 w 2352778"/>
                  <a:gd name="connsiteY1" fmla="*/ 765196 h 1608821"/>
                  <a:gd name="connsiteX2" fmla="*/ 983582 w 2352778"/>
                  <a:gd name="connsiteY2" fmla="*/ 4861 h 1608821"/>
                  <a:gd name="connsiteX3" fmla="*/ 1558230 w 2352778"/>
                  <a:gd name="connsiteY3" fmla="*/ 436168 h 1608821"/>
                  <a:gd name="connsiteX4" fmla="*/ 2114464 w 2352778"/>
                  <a:gd name="connsiteY4" fmla="*/ 821943 h 1608821"/>
                  <a:gd name="connsiteX5" fmla="*/ 2080576 w 2352778"/>
                  <a:gd name="connsiteY5" fmla="*/ 989797 h 1608821"/>
                  <a:gd name="connsiteX6" fmla="*/ 2075813 w 2352778"/>
                  <a:gd name="connsiteY6" fmla="*/ 998572 h 1608821"/>
                  <a:gd name="connsiteX7" fmla="*/ 2080946 w 2352778"/>
                  <a:gd name="connsiteY7" fmla="*/ 999090 h 1608821"/>
                  <a:gd name="connsiteX8" fmla="*/ 2352778 w 2352778"/>
                  <a:gd name="connsiteY8" fmla="*/ 1332616 h 1608821"/>
                  <a:gd name="connsiteX9" fmla="*/ 2253065 w 2352778"/>
                  <a:gd name="connsiteY9" fmla="*/ 1573345 h 1608821"/>
                  <a:gd name="connsiteX0" fmla="*/ 106776 w 2352778"/>
                  <a:gd name="connsiteY0" fmla="*/ 1608821 h 1608821"/>
                  <a:gd name="connsiteX1" fmla="*/ 456689 w 2352778"/>
                  <a:gd name="connsiteY1" fmla="*/ 765196 h 1608821"/>
                  <a:gd name="connsiteX2" fmla="*/ 983582 w 2352778"/>
                  <a:gd name="connsiteY2" fmla="*/ 4861 h 1608821"/>
                  <a:gd name="connsiteX3" fmla="*/ 1558230 w 2352778"/>
                  <a:gd name="connsiteY3" fmla="*/ 436168 h 1608821"/>
                  <a:gd name="connsiteX4" fmla="*/ 2114464 w 2352778"/>
                  <a:gd name="connsiteY4" fmla="*/ 821943 h 1608821"/>
                  <a:gd name="connsiteX5" fmla="*/ 2080576 w 2352778"/>
                  <a:gd name="connsiteY5" fmla="*/ 989797 h 1608821"/>
                  <a:gd name="connsiteX6" fmla="*/ 2075813 w 2352778"/>
                  <a:gd name="connsiteY6" fmla="*/ 998572 h 1608821"/>
                  <a:gd name="connsiteX7" fmla="*/ 2080946 w 2352778"/>
                  <a:gd name="connsiteY7" fmla="*/ 999090 h 1608821"/>
                  <a:gd name="connsiteX8" fmla="*/ 2352778 w 2352778"/>
                  <a:gd name="connsiteY8" fmla="*/ 1332616 h 1608821"/>
                  <a:gd name="connsiteX9" fmla="*/ 2253065 w 2352778"/>
                  <a:gd name="connsiteY9" fmla="*/ 1573345 h 1608821"/>
                  <a:gd name="connsiteX0" fmla="*/ 106776 w 2352778"/>
                  <a:gd name="connsiteY0" fmla="*/ 1615532 h 1615532"/>
                  <a:gd name="connsiteX1" fmla="*/ 456689 w 2352778"/>
                  <a:gd name="connsiteY1" fmla="*/ 771907 h 1615532"/>
                  <a:gd name="connsiteX2" fmla="*/ 983582 w 2352778"/>
                  <a:gd name="connsiteY2" fmla="*/ 11572 h 1615532"/>
                  <a:gd name="connsiteX3" fmla="*/ 1558230 w 2352778"/>
                  <a:gd name="connsiteY3" fmla="*/ 442879 h 1615532"/>
                  <a:gd name="connsiteX4" fmla="*/ 2114464 w 2352778"/>
                  <a:gd name="connsiteY4" fmla="*/ 828654 h 1615532"/>
                  <a:gd name="connsiteX5" fmla="*/ 2080576 w 2352778"/>
                  <a:gd name="connsiteY5" fmla="*/ 996508 h 1615532"/>
                  <a:gd name="connsiteX6" fmla="*/ 2075813 w 2352778"/>
                  <a:gd name="connsiteY6" fmla="*/ 1005283 h 1615532"/>
                  <a:gd name="connsiteX7" fmla="*/ 2080946 w 2352778"/>
                  <a:gd name="connsiteY7" fmla="*/ 1005801 h 1615532"/>
                  <a:gd name="connsiteX8" fmla="*/ 2352778 w 2352778"/>
                  <a:gd name="connsiteY8" fmla="*/ 1339327 h 1615532"/>
                  <a:gd name="connsiteX9" fmla="*/ 2253065 w 2352778"/>
                  <a:gd name="connsiteY9" fmla="*/ 1580056 h 1615532"/>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075813 w 2352778"/>
                  <a:gd name="connsiteY5" fmla="*/ 1006291 h 1616540"/>
                  <a:gd name="connsiteX6" fmla="*/ 2080946 w 2352778"/>
                  <a:gd name="connsiteY6" fmla="*/ 1006809 h 1616540"/>
                  <a:gd name="connsiteX7" fmla="*/ 2352778 w 2352778"/>
                  <a:gd name="connsiteY7" fmla="*/ 1340335 h 1616540"/>
                  <a:gd name="connsiteX8" fmla="*/ 2253065 w 2352778"/>
                  <a:gd name="connsiteY8"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075813 w 2352778"/>
                  <a:gd name="connsiteY5" fmla="*/ 1006291 h 1616540"/>
                  <a:gd name="connsiteX6" fmla="*/ 2352778 w 2352778"/>
                  <a:gd name="connsiteY6" fmla="*/ 1340335 h 1616540"/>
                  <a:gd name="connsiteX7" fmla="*/ 2253065 w 2352778"/>
                  <a:gd name="connsiteY7" fmla="*/ 1581064 h 1616540"/>
                  <a:gd name="connsiteX0" fmla="*/ 106776 w 2519017"/>
                  <a:gd name="connsiteY0" fmla="*/ 1616540 h 1616540"/>
                  <a:gd name="connsiteX1" fmla="*/ 456689 w 2519017"/>
                  <a:gd name="connsiteY1" fmla="*/ 772915 h 1616540"/>
                  <a:gd name="connsiteX2" fmla="*/ 983582 w 2519017"/>
                  <a:gd name="connsiteY2" fmla="*/ 12580 h 1616540"/>
                  <a:gd name="connsiteX3" fmla="*/ 1558230 w 2519017"/>
                  <a:gd name="connsiteY3" fmla="*/ 443887 h 1616540"/>
                  <a:gd name="connsiteX4" fmla="*/ 2080576 w 2519017"/>
                  <a:gd name="connsiteY4" fmla="*/ 997516 h 1616540"/>
                  <a:gd name="connsiteX5" fmla="*/ 2519017 w 2519017"/>
                  <a:gd name="connsiteY5" fmla="*/ 790371 h 1616540"/>
                  <a:gd name="connsiteX6" fmla="*/ 2352778 w 2519017"/>
                  <a:gd name="connsiteY6" fmla="*/ 1340335 h 1616540"/>
                  <a:gd name="connsiteX7" fmla="*/ 2253065 w 2519017"/>
                  <a:gd name="connsiteY7"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352778 w 2352778"/>
                  <a:gd name="connsiteY5" fmla="*/ 1340335 h 1616540"/>
                  <a:gd name="connsiteX6" fmla="*/ 2253065 w 2352778"/>
                  <a:gd name="connsiteY6" fmla="*/ 1581064 h 1616540"/>
                  <a:gd name="connsiteX0" fmla="*/ 106776 w 2253066"/>
                  <a:gd name="connsiteY0" fmla="*/ 1616540 h 1616540"/>
                  <a:gd name="connsiteX1" fmla="*/ 456689 w 2253066"/>
                  <a:gd name="connsiteY1" fmla="*/ 772915 h 1616540"/>
                  <a:gd name="connsiteX2" fmla="*/ 983582 w 2253066"/>
                  <a:gd name="connsiteY2" fmla="*/ 12580 h 1616540"/>
                  <a:gd name="connsiteX3" fmla="*/ 1558230 w 2253066"/>
                  <a:gd name="connsiteY3" fmla="*/ 443887 h 1616540"/>
                  <a:gd name="connsiteX4" fmla="*/ 2080576 w 2253066"/>
                  <a:gd name="connsiteY4" fmla="*/ 997516 h 1616540"/>
                  <a:gd name="connsiteX5" fmla="*/ 2253065 w 2253066"/>
                  <a:gd name="connsiteY5" fmla="*/ 1581064 h 1616540"/>
                  <a:gd name="connsiteX0" fmla="*/ 106776 w 2307178"/>
                  <a:gd name="connsiteY0" fmla="*/ 1616540 h 1616540"/>
                  <a:gd name="connsiteX1" fmla="*/ 456689 w 2307178"/>
                  <a:gd name="connsiteY1" fmla="*/ 772915 h 1616540"/>
                  <a:gd name="connsiteX2" fmla="*/ 983582 w 2307178"/>
                  <a:gd name="connsiteY2" fmla="*/ 12580 h 1616540"/>
                  <a:gd name="connsiteX3" fmla="*/ 1558230 w 2307178"/>
                  <a:gd name="connsiteY3" fmla="*/ 443887 h 1616540"/>
                  <a:gd name="connsiteX4" fmla="*/ 2080576 w 2307178"/>
                  <a:gd name="connsiteY4" fmla="*/ 997516 h 1616540"/>
                  <a:gd name="connsiteX5" fmla="*/ 2253065 w 2307178"/>
                  <a:gd name="connsiteY5" fmla="*/ 1581064 h 1616540"/>
                  <a:gd name="connsiteX0" fmla="*/ 106776 w 2403693"/>
                  <a:gd name="connsiteY0" fmla="*/ 1616540 h 1616540"/>
                  <a:gd name="connsiteX1" fmla="*/ 456689 w 2403693"/>
                  <a:gd name="connsiteY1" fmla="*/ 772915 h 1616540"/>
                  <a:gd name="connsiteX2" fmla="*/ 983582 w 2403693"/>
                  <a:gd name="connsiteY2" fmla="*/ 12580 h 1616540"/>
                  <a:gd name="connsiteX3" fmla="*/ 1558230 w 2403693"/>
                  <a:gd name="connsiteY3" fmla="*/ 443887 h 1616540"/>
                  <a:gd name="connsiteX4" fmla="*/ 2080576 w 2403693"/>
                  <a:gd name="connsiteY4" fmla="*/ 997516 h 1616540"/>
                  <a:gd name="connsiteX5" fmla="*/ 2253065 w 2403693"/>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60046 h 1660046"/>
                  <a:gd name="connsiteX1" fmla="*/ 456689 w 2380744"/>
                  <a:gd name="connsiteY1" fmla="*/ 816421 h 1660046"/>
                  <a:gd name="connsiteX2" fmla="*/ 972216 w 2380744"/>
                  <a:gd name="connsiteY2" fmla="*/ 10631 h 1660046"/>
                  <a:gd name="connsiteX3" fmla="*/ 1558230 w 2380744"/>
                  <a:gd name="connsiteY3" fmla="*/ 487393 h 1660046"/>
                  <a:gd name="connsiteX4" fmla="*/ 2080576 w 2380744"/>
                  <a:gd name="connsiteY4" fmla="*/ 1041022 h 1660046"/>
                  <a:gd name="connsiteX5" fmla="*/ 2253065 w 2380744"/>
                  <a:gd name="connsiteY5" fmla="*/ 1624570 h 1660046"/>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73898 h 1673898"/>
                  <a:gd name="connsiteX1" fmla="*/ 456689 w 2380744"/>
                  <a:gd name="connsiteY1" fmla="*/ 830273 h 1673898"/>
                  <a:gd name="connsiteX2" fmla="*/ 972216 w 2380744"/>
                  <a:gd name="connsiteY2" fmla="*/ 24483 h 1673898"/>
                  <a:gd name="connsiteX3" fmla="*/ 1558230 w 2380744"/>
                  <a:gd name="connsiteY3" fmla="*/ 501245 h 1673898"/>
                  <a:gd name="connsiteX4" fmla="*/ 2080576 w 2380744"/>
                  <a:gd name="connsiteY4" fmla="*/ 1054874 h 1673898"/>
                  <a:gd name="connsiteX5" fmla="*/ 2253065 w 2380744"/>
                  <a:gd name="connsiteY5" fmla="*/ 1638422 h 1673898"/>
                  <a:gd name="connsiteX0" fmla="*/ 106776 w 2380744"/>
                  <a:gd name="connsiteY0" fmla="*/ 1663232 h 1663232"/>
                  <a:gd name="connsiteX1" fmla="*/ 456689 w 2380744"/>
                  <a:gd name="connsiteY1" fmla="*/ 819607 h 1663232"/>
                  <a:gd name="connsiteX2" fmla="*/ 972216 w 2380744"/>
                  <a:gd name="connsiteY2" fmla="*/ 13817 h 1663232"/>
                  <a:gd name="connsiteX3" fmla="*/ 1558230 w 2380744"/>
                  <a:gd name="connsiteY3" fmla="*/ 490579 h 1663232"/>
                  <a:gd name="connsiteX4" fmla="*/ 2080576 w 2380744"/>
                  <a:gd name="connsiteY4" fmla="*/ 1044208 h 1663232"/>
                  <a:gd name="connsiteX5" fmla="*/ 2253065 w 2380744"/>
                  <a:gd name="connsiteY5" fmla="*/ 1627756 h 1663232"/>
                  <a:gd name="connsiteX0" fmla="*/ 106776 w 2380744"/>
                  <a:gd name="connsiteY0" fmla="*/ 1620102 h 1620102"/>
                  <a:gd name="connsiteX1" fmla="*/ 456689 w 2380744"/>
                  <a:gd name="connsiteY1" fmla="*/ 776477 h 1620102"/>
                  <a:gd name="connsiteX2" fmla="*/ 801754 w 2380744"/>
                  <a:gd name="connsiteY2" fmla="*/ 16142 h 1620102"/>
                  <a:gd name="connsiteX3" fmla="*/ 1558230 w 2380744"/>
                  <a:gd name="connsiteY3" fmla="*/ 447449 h 1620102"/>
                  <a:gd name="connsiteX4" fmla="*/ 2080576 w 2380744"/>
                  <a:gd name="connsiteY4" fmla="*/ 1001078 h 1620102"/>
                  <a:gd name="connsiteX5" fmla="*/ 2253065 w 2380744"/>
                  <a:gd name="connsiteY5" fmla="*/ 1584626 h 1620102"/>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487430"/>
                  <a:gd name="connsiteY0" fmla="*/ 1631741 h 1631741"/>
                  <a:gd name="connsiteX1" fmla="*/ 456689 w 2487430"/>
                  <a:gd name="connsiteY1" fmla="*/ 788116 h 1631741"/>
                  <a:gd name="connsiteX2" fmla="*/ 801754 w 2487430"/>
                  <a:gd name="connsiteY2" fmla="*/ 27781 h 1631741"/>
                  <a:gd name="connsiteX3" fmla="*/ 1558230 w 2487430"/>
                  <a:gd name="connsiteY3" fmla="*/ 459088 h 1631741"/>
                  <a:gd name="connsiteX4" fmla="*/ 2080576 w 2487430"/>
                  <a:gd name="connsiteY4" fmla="*/ 1012717 h 1631741"/>
                  <a:gd name="connsiteX5" fmla="*/ 2414980 w 2487430"/>
                  <a:gd name="connsiteY5" fmla="*/ 1410071 h 1631741"/>
                  <a:gd name="connsiteX0" fmla="*/ 106776 w 2529784"/>
                  <a:gd name="connsiteY0" fmla="*/ 1631741 h 1631741"/>
                  <a:gd name="connsiteX1" fmla="*/ 456689 w 2529784"/>
                  <a:gd name="connsiteY1" fmla="*/ 788116 h 1631741"/>
                  <a:gd name="connsiteX2" fmla="*/ 801754 w 2529784"/>
                  <a:gd name="connsiteY2" fmla="*/ 27781 h 1631741"/>
                  <a:gd name="connsiteX3" fmla="*/ 1558230 w 2529784"/>
                  <a:gd name="connsiteY3" fmla="*/ 459088 h 1631741"/>
                  <a:gd name="connsiteX4" fmla="*/ 2212636 w 2529784"/>
                  <a:gd name="connsiteY4" fmla="*/ 808070 h 1631741"/>
                  <a:gd name="connsiteX5" fmla="*/ 2414980 w 2529784"/>
                  <a:gd name="connsiteY5" fmla="*/ 1410071 h 1631741"/>
                  <a:gd name="connsiteX0" fmla="*/ 106776 w 2529784"/>
                  <a:gd name="connsiteY0" fmla="*/ 1631741 h 1631741"/>
                  <a:gd name="connsiteX1" fmla="*/ 456689 w 2529784"/>
                  <a:gd name="connsiteY1" fmla="*/ 788116 h 1631741"/>
                  <a:gd name="connsiteX2" fmla="*/ 801754 w 2529784"/>
                  <a:gd name="connsiteY2" fmla="*/ 27781 h 1631741"/>
                  <a:gd name="connsiteX3" fmla="*/ 1558230 w 2529784"/>
                  <a:gd name="connsiteY3" fmla="*/ 459088 h 1631741"/>
                  <a:gd name="connsiteX4" fmla="*/ 2212636 w 2529784"/>
                  <a:gd name="connsiteY4" fmla="*/ 808070 h 1631741"/>
                  <a:gd name="connsiteX5" fmla="*/ 2414980 w 2529784"/>
                  <a:gd name="connsiteY5" fmla="*/ 1410071 h 1631741"/>
                  <a:gd name="connsiteX0" fmla="*/ 106776 w 2529784"/>
                  <a:gd name="connsiteY0" fmla="*/ 1631741 h 1631741"/>
                  <a:gd name="connsiteX1" fmla="*/ 456689 w 2529784"/>
                  <a:gd name="connsiteY1" fmla="*/ 788116 h 1631741"/>
                  <a:gd name="connsiteX2" fmla="*/ 801754 w 2529784"/>
                  <a:gd name="connsiteY2" fmla="*/ 27781 h 1631741"/>
                  <a:gd name="connsiteX3" fmla="*/ 1558230 w 2529784"/>
                  <a:gd name="connsiteY3" fmla="*/ 459088 h 1631741"/>
                  <a:gd name="connsiteX4" fmla="*/ 2212636 w 2529784"/>
                  <a:gd name="connsiteY4" fmla="*/ 808070 h 1631741"/>
                  <a:gd name="connsiteX5" fmla="*/ 2414980 w 2529784"/>
                  <a:gd name="connsiteY5" fmla="*/ 1410071 h 1631741"/>
                  <a:gd name="connsiteX0" fmla="*/ 106776 w 2521755"/>
                  <a:gd name="connsiteY0" fmla="*/ 1631741 h 1631741"/>
                  <a:gd name="connsiteX1" fmla="*/ 456689 w 2521755"/>
                  <a:gd name="connsiteY1" fmla="*/ 788116 h 1631741"/>
                  <a:gd name="connsiteX2" fmla="*/ 801754 w 2521755"/>
                  <a:gd name="connsiteY2" fmla="*/ 27781 h 1631741"/>
                  <a:gd name="connsiteX3" fmla="*/ 1558230 w 2521755"/>
                  <a:gd name="connsiteY3" fmla="*/ 459088 h 1631741"/>
                  <a:gd name="connsiteX4" fmla="*/ 2212636 w 2521755"/>
                  <a:gd name="connsiteY4" fmla="*/ 808070 h 1631741"/>
                  <a:gd name="connsiteX5" fmla="*/ 2414980 w 2521755"/>
                  <a:gd name="connsiteY5" fmla="*/ 1410071 h 1631741"/>
                  <a:gd name="connsiteX0" fmla="*/ 187110 w 2602089"/>
                  <a:gd name="connsiteY0" fmla="*/ 1631741 h 1631741"/>
                  <a:gd name="connsiteX1" fmla="*/ 537023 w 2602089"/>
                  <a:gd name="connsiteY1" fmla="*/ 788116 h 1631741"/>
                  <a:gd name="connsiteX2" fmla="*/ 882088 w 2602089"/>
                  <a:gd name="connsiteY2" fmla="*/ 27781 h 1631741"/>
                  <a:gd name="connsiteX3" fmla="*/ 1638564 w 2602089"/>
                  <a:gd name="connsiteY3" fmla="*/ 459088 h 1631741"/>
                  <a:gd name="connsiteX4" fmla="*/ 2292970 w 2602089"/>
                  <a:gd name="connsiteY4" fmla="*/ 808070 h 1631741"/>
                  <a:gd name="connsiteX5" fmla="*/ 2495314 w 2602089"/>
                  <a:gd name="connsiteY5" fmla="*/ 1410071 h 1631741"/>
                  <a:gd name="connsiteX0" fmla="*/ 203397 w 2618376"/>
                  <a:gd name="connsiteY0" fmla="*/ 1631741 h 1631741"/>
                  <a:gd name="connsiteX1" fmla="*/ 486034 w 2618376"/>
                  <a:gd name="connsiteY1" fmla="*/ 679189 h 1631741"/>
                  <a:gd name="connsiteX2" fmla="*/ 898375 w 2618376"/>
                  <a:gd name="connsiteY2" fmla="*/ 27781 h 1631741"/>
                  <a:gd name="connsiteX3" fmla="*/ 1654851 w 2618376"/>
                  <a:gd name="connsiteY3" fmla="*/ 459088 h 1631741"/>
                  <a:gd name="connsiteX4" fmla="*/ 2309257 w 2618376"/>
                  <a:gd name="connsiteY4" fmla="*/ 808070 h 1631741"/>
                  <a:gd name="connsiteX5" fmla="*/ 2511601 w 2618376"/>
                  <a:gd name="connsiteY5" fmla="*/ 1410071 h 1631741"/>
                  <a:gd name="connsiteX0" fmla="*/ 203397 w 2618376"/>
                  <a:gd name="connsiteY0" fmla="*/ 1631741 h 1631741"/>
                  <a:gd name="connsiteX1" fmla="*/ 486034 w 2618376"/>
                  <a:gd name="connsiteY1" fmla="*/ 679189 h 1631741"/>
                  <a:gd name="connsiteX2" fmla="*/ 898375 w 2618376"/>
                  <a:gd name="connsiteY2" fmla="*/ 27781 h 1631741"/>
                  <a:gd name="connsiteX3" fmla="*/ 1654851 w 2618376"/>
                  <a:gd name="connsiteY3" fmla="*/ 459088 h 1631741"/>
                  <a:gd name="connsiteX4" fmla="*/ 2309257 w 2618376"/>
                  <a:gd name="connsiteY4" fmla="*/ 808070 h 1631741"/>
                  <a:gd name="connsiteX5" fmla="*/ 2511601 w 2618376"/>
                  <a:gd name="connsiteY5" fmla="*/ 1410071 h 1631741"/>
                  <a:gd name="connsiteX0" fmla="*/ 203397 w 2618376"/>
                  <a:gd name="connsiteY0" fmla="*/ 1631741 h 1631741"/>
                  <a:gd name="connsiteX1" fmla="*/ 486034 w 2618376"/>
                  <a:gd name="connsiteY1" fmla="*/ 679189 h 1631741"/>
                  <a:gd name="connsiteX2" fmla="*/ 898375 w 2618376"/>
                  <a:gd name="connsiteY2" fmla="*/ 27781 h 1631741"/>
                  <a:gd name="connsiteX3" fmla="*/ 1654851 w 2618376"/>
                  <a:gd name="connsiteY3" fmla="*/ 459088 h 1631741"/>
                  <a:gd name="connsiteX4" fmla="*/ 2309257 w 2618376"/>
                  <a:gd name="connsiteY4" fmla="*/ 808070 h 1631741"/>
                  <a:gd name="connsiteX5" fmla="*/ 2511601 w 2618376"/>
                  <a:gd name="connsiteY5" fmla="*/ 1410071 h 1631741"/>
                  <a:gd name="connsiteX0" fmla="*/ 203400 w 2618376"/>
                  <a:gd name="connsiteY0" fmla="*/ 1634574 h 1634574"/>
                  <a:gd name="connsiteX1" fmla="*/ 486037 w 2618376"/>
                  <a:gd name="connsiteY1" fmla="*/ 682022 h 1634574"/>
                  <a:gd name="connsiteX2" fmla="*/ 898378 w 2618376"/>
                  <a:gd name="connsiteY2" fmla="*/ 30614 h 1634574"/>
                  <a:gd name="connsiteX3" fmla="*/ 1666936 w 2618376"/>
                  <a:gd name="connsiteY3" fmla="*/ 430111 h 1634574"/>
                  <a:gd name="connsiteX4" fmla="*/ 2309260 w 2618376"/>
                  <a:gd name="connsiteY4" fmla="*/ 810903 h 1634574"/>
                  <a:gd name="connsiteX5" fmla="*/ 2511604 w 2618376"/>
                  <a:gd name="connsiteY5" fmla="*/ 1412904 h 1634574"/>
                  <a:gd name="connsiteX0" fmla="*/ 203400 w 2618376"/>
                  <a:gd name="connsiteY0" fmla="*/ 1634576 h 1634576"/>
                  <a:gd name="connsiteX1" fmla="*/ 486037 w 2618376"/>
                  <a:gd name="connsiteY1" fmla="*/ 682024 h 1634576"/>
                  <a:gd name="connsiteX2" fmla="*/ 898378 w 2618376"/>
                  <a:gd name="connsiteY2" fmla="*/ 30616 h 1634576"/>
                  <a:gd name="connsiteX3" fmla="*/ 1666936 w 2618376"/>
                  <a:gd name="connsiteY3" fmla="*/ 430113 h 1634576"/>
                  <a:gd name="connsiteX4" fmla="*/ 2309260 w 2618376"/>
                  <a:gd name="connsiteY4" fmla="*/ 810905 h 1634576"/>
                  <a:gd name="connsiteX5" fmla="*/ 2511604 w 2618376"/>
                  <a:gd name="connsiteY5" fmla="*/ 1412906 h 1634576"/>
                  <a:gd name="connsiteX0" fmla="*/ 203400 w 2605750"/>
                  <a:gd name="connsiteY0" fmla="*/ 1634576 h 1634576"/>
                  <a:gd name="connsiteX1" fmla="*/ 486037 w 2605750"/>
                  <a:gd name="connsiteY1" fmla="*/ 682024 h 1634576"/>
                  <a:gd name="connsiteX2" fmla="*/ 898378 w 2605750"/>
                  <a:gd name="connsiteY2" fmla="*/ 30616 h 1634576"/>
                  <a:gd name="connsiteX3" fmla="*/ 1666936 w 2605750"/>
                  <a:gd name="connsiteY3" fmla="*/ 430113 h 1634576"/>
                  <a:gd name="connsiteX4" fmla="*/ 2309260 w 2605750"/>
                  <a:gd name="connsiteY4" fmla="*/ 810905 h 1634576"/>
                  <a:gd name="connsiteX5" fmla="*/ 2511604 w 2605750"/>
                  <a:gd name="connsiteY5" fmla="*/ 1412906 h 1634576"/>
                  <a:gd name="connsiteX0" fmla="*/ 203400 w 2605750"/>
                  <a:gd name="connsiteY0" fmla="*/ 1634576 h 1634576"/>
                  <a:gd name="connsiteX1" fmla="*/ 486037 w 2605750"/>
                  <a:gd name="connsiteY1" fmla="*/ 682024 h 1634576"/>
                  <a:gd name="connsiteX2" fmla="*/ 898378 w 2605750"/>
                  <a:gd name="connsiteY2" fmla="*/ 30616 h 1634576"/>
                  <a:gd name="connsiteX3" fmla="*/ 1666936 w 2605750"/>
                  <a:gd name="connsiteY3" fmla="*/ 430113 h 1634576"/>
                  <a:gd name="connsiteX4" fmla="*/ 2309260 w 2605750"/>
                  <a:gd name="connsiteY4" fmla="*/ 810905 h 1634576"/>
                  <a:gd name="connsiteX5" fmla="*/ 2511604 w 2605750"/>
                  <a:gd name="connsiteY5" fmla="*/ 1412906 h 1634576"/>
                  <a:gd name="connsiteX0" fmla="*/ 203400 w 2605750"/>
                  <a:gd name="connsiteY0" fmla="*/ 1634576 h 1634576"/>
                  <a:gd name="connsiteX1" fmla="*/ 486037 w 2605750"/>
                  <a:gd name="connsiteY1" fmla="*/ 682024 h 1634576"/>
                  <a:gd name="connsiteX2" fmla="*/ 898378 w 2605750"/>
                  <a:gd name="connsiteY2" fmla="*/ 30616 h 1634576"/>
                  <a:gd name="connsiteX3" fmla="*/ 1666936 w 2605750"/>
                  <a:gd name="connsiteY3" fmla="*/ 430113 h 1634576"/>
                  <a:gd name="connsiteX4" fmla="*/ 2309260 w 2605750"/>
                  <a:gd name="connsiteY4" fmla="*/ 810905 h 1634576"/>
                  <a:gd name="connsiteX5" fmla="*/ 2511604 w 2605750"/>
                  <a:gd name="connsiteY5" fmla="*/ 1412906 h 1634576"/>
                  <a:gd name="connsiteX0" fmla="*/ 203400 w 2605750"/>
                  <a:gd name="connsiteY0" fmla="*/ 1595920 h 1595920"/>
                  <a:gd name="connsiteX1" fmla="*/ 486037 w 2605750"/>
                  <a:gd name="connsiteY1" fmla="*/ 643368 h 1595920"/>
                  <a:gd name="connsiteX2" fmla="*/ 925217 w 2605750"/>
                  <a:gd name="connsiteY2" fmla="*/ 35420 h 1595920"/>
                  <a:gd name="connsiteX3" fmla="*/ 1666936 w 2605750"/>
                  <a:gd name="connsiteY3" fmla="*/ 391457 h 1595920"/>
                  <a:gd name="connsiteX4" fmla="*/ 2309260 w 2605750"/>
                  <a:gd name="connsiteY4" fmla="*/ 772249 h 1595920"/>
                  <a:gd name="connsiteX5" fmla="*/ 2511604 w 2605750"/>
                  <a:gd name="connsiteY5" fmla="*/ 1374250 h 1595920"/>
                  <a:gd name="connsiteX0" fmla="*/ 203400 w 2605750"/>
                  <a:gd name="connsiteY0" fmla="*/ 1604035 h 1604035"/>
                  <a:gd name="connsiteX1" fmla="*/ 486037 w 2605750"/>
                  <a:gd name="connsiteY1" fmla="*/ 651483 h 1604035"/>
                  <a:gd name="connsiteX2" fmla="*/ 925217 w 2605750"/>
                  <a:gd name="connsiteY2" fmla="*/ 43535 h 1604035"/>
                  <a:gd name="connsiteX3" fmla="*/ 1666936 w 2605750"/>
                  <a:gd name="connsiteY3" fmla="*/ 399572 h 1604035"/>
                  <a:gd name="connsiteX4" fmla="*/ 2309260 w 2605750"/>
                  <a:gd name="connsiteY4" fmla="*/ 780364 h 1604035"/>
                  <a:gd name="connsiteX5" fmla="*/ 2511604 w 2605750"/>
                  <a:gd name="connsiteY5" fmla="*/ 1382365 h 1604035"/>
                  <a:gd name="connsiteX0" fmla="*/ 203400 w 2605750"/>
                  <a:gd name="connsiteY0" fmla="*/ 1618577 h 1618577"/>
                  <a:gd name="connsiteX1" fmla="*/ 486037 w 2605750"/>
                  <a:gd name="connsiteY1" fmla="*/ 666025 h 1618577"/>
                  <a:gd name="connsiteX2" fmla="*/ 914894 w 2605750"/>
                  <a:gd name="connsiteY2" fmla="*/ 41361 h 1618577"/>
                  <a:gd name="connsiteX3" fmla="*/ 1666936 w 2605750"/>
                  <a:gd name="connsiteY3" fmla="*/ 414114 h 1618577"/>
                  <a:gd name="connsiteX4" fmla="*/ 2309260 w 2605750"/>
                  <a:gd name="connsiteY4" fmla="*/ 794906 h 1618577"/>
                  <a:gd name="connsiteX5" fmla="*/ 2511604 w 2605750"/>
                  <a:gd name="connsiteY5" fmla="*/ 1396907 h 1618577"/>
                  <a:gd name="connsiteX0" fmla="*/ 203400 w 2605750"/>
                  <a:gd name="connsiteY0" fmla="*/ 1618577 h 1618577"/>
                  <a:gd name="connsiteX1" fmla="*/ 486037 w 2605750"/>
                  <a:gd name="connsiteY1" fmla="*/ 666025 h 1618577"/>
                  <a:gd name="connsiteX2" fmla="*/ 914894 w 2605750"/>
                  <a:gd name="connsiteY2" fmla="*/ 41361 h 1618577"/>
                  <a:gd name="connsiteX3" fmla="*/ 1666936 w 2605750"/>
                  <a:gd name="connsiteY3" fmla="*/ 414114 h 1618577"/>
                  <a:gd name="connsiteX4" fmla="*/ 2309260 w 2605750"/>
                  <a:gd name="connsiteY4" fmla="*/ 794906 h 1618577"/>
                  <a:gd name="connsiteX5" fmla="*/ 2511604 w 2605750"/>
                  <a:gd name="connsiteY5" fmla="*/ 1396907 h 1618577"/>
                  <a:gd name="connsiteX0" fmla="*/ 188344 w 2590694"/>
                  <a:gd name="connsiteY0" fmla="*/ 1618577 h 1618577"/>
                  <a:gd name="connsiteX1" fmla="*/ 532822 w 2590694"/>
                  <a:gd name="connsiteY1" fmla="*/ 700107 h 1618577"/>
                  <a:gd name="connsiteX2" fmla="*/ 899838 w 2590694"/>
                  <a:gd name="connsiteY2" fmla="*/ 41361 h 1618577"/>
                  <a:gd name="connsiteX3" fmla="*/ 1651880 w 2590694"/>
                  <a:gd name="connsiteY3" fmla="*/ 414114 h 1618577"/>
                  <a:gd name="connsiteX4" fmla="*/ 2294204 w 2590694"/>
                  <a:gd name="connsiteY4" fmla="*/ 794906 h 1618577"/>
                  <a:gd name="connsiteX5" fmla="*/ 2496548 w 2590694"/>
                  <a:gd name="connsiteY5" fmla="*/ 1396907 h 1618577"/>
                  <a:gd name="connsiteX0" fmla="*/ 193743 w 2572967"/>
                  <a:gd name="connsiteY0" fmla="*/ 1626667 h 1626666"/>
                  <a:gd name="connsiteX1" fmla="*/ 515095 w 2572967"/>
                  <a:gd name="connsiteY1" fmla="*/ 700107 h 1626666"/>
                  <a:gd name="connsiteX2" fmla="*/ 882111 w 2572967"/>
                  <a:gd name="connsiteY2" fmla="*/ 41361 h 1626666"/>
                  <a:gd name="connsiteX3" fmla="*/ 1634153 w 2572967"/>
                  <a:gd name="connsiteY3" fmla="*/ 414114 h 1626666"/>
                  <a:gd name="connsiteX4" fmla="*/ 2276477 w 2572967"/>
                  <a:gd name="connsiteY4" fmla="*/ 794906 h 1626666"/>
                  <a:gd name="connsiteX5" fmla="*/ 2478821 w 2572967"/>
                  <a:gd name="connsiteY5" fmla="*/ 1396907 h 1626666"/>
                  <a:gd name="connsiteX0" fmla="*/ 155226 w 2534450"/>
                  <a:gd name="connsiteY0" fmla="*/ 1626667 h 1626668"/>
                  <a:gd name="connsiteX1" fmla="*/ 476578 w 2534450"/>
                  <a:gd name="connsiteY1" fmla="*/ 700107 h 1626668"/>
                  <a:gd name="connsiteX2" fmla="*/ 843594 w 2534450"/>
                  <a:gd name="connsiteY2" fmla="*/ 41361 h 1626668"/>
                  <a:gd name="connsiteX3" fmla="*/ 1595636 w 2534450"/>
                  <a:gd name="connsiteY3" fmla="*/ 414114 h 1626668"/>
                  <a:gd name="connsiteX4" fmla="*/ 2237960 w 2534450"/>
                  <a:gd name="connsiteY4" fmla="*/ 794906 h 1626668"/>
                  <a:gd name="connsiteX5" fmla="*/ 2440304 w 2534450"/>
                  <a:gd name="connsiteY5" fmla="*/ 1396907 h 1626668"/>
                  <a:gd name="connsiteX0" fmla="*/ 155127 w 2534768"/>
                  <a:gd name="connsiteY0" fmla="*/ 1655351 h 1655352"/>
                  <a:gd name="connsiteX1" fmla="*/ 476896 w 2534768"/>
                  <a:gd name="connsiteY1" fmla="*/ 700107 h 1655352"/>
                  <a:gd name="connsiteX2" fmla="*/ 843912 w 2534768"/>
                  <a:gd name="connsiteY2" fmla="*/ 41361 h 1655352"/>
                  <a:gd name="connsiteX3" fmla="*/ 1595954 w 2534768"/>
                  <a:gd name="connsiteY3" fmla="*/ 414114 h 1655352"/>
                  <a:gd name="connsiteX4" fmla="*/ 2238278 w 2534768"/>
                  <a:gd name="connsiteY4" fmla="*/ 794906 h 1655352"/>
                  <a:gd name="connsiteX5" fmla="*/ 2440622 w 2534768"/>
                  <a:gd name="connsiteY5" fmla="*/ 1396907 h 1655352"/>
                  <a:gd name="connsiteX0" fmla="*/ 137185 w 2516826"/>
                  <a:gd name="connsiteY0" fmla="*/ 1655351 h 1655350"/>
                  <a:gd name="connsiteX1" fmla="*/ 458954 w 2516826"/>
                  <a:gd name="connsiteY1" fmla="*/ 700107 h 1655350"/>
                  <a:gd name="connsiteX2" fmla="*/ 825970 w 2516826"/>
                  <a:gd name="connsiteY2" fmla="*/ 41361 h 1655350"/>
                  <a:gd name="connsiteX3" fmla="*/ 1578012 w 2516826"/>
                  <a:gd name="connsiteY3" fmla="*/ 414114 h 1655350"/>
                  <a:gd name="connsiteX4" fmla="*/ 2220336 w 2516826"/>
                  <a:gd name="connsiteY4" fmla="*/ 794906 h 1655350"/>
                  <a:gd name="connsiteX5" fmla="*/ 2422680 w 2516826"/>
                  <a:gd name="connsiteY5" fmla="*/ 1396907 h 1655350"/>
                  <a:gd name="connsiteX0" fmla="*/ 138688 w 2511928"/>
                  <a:gd name="connsiteY0" fmla="*/ 1651040 h 1651040"/>
                  <a:gd name="connsiteX1" fmla="*/ 454056 w 2511928"/>
                  <a:gd name="connsiteY1" fmla="*/ 700107 h 1651040"/>
                  <a:gd name="connsiteX2" fmla="*/ 821072 w 2511928"/>
                  <a:gd name="connsiteY2" fmla="*/ 41361 h 1651040"/>
                  <a:gd name="connsiteX3" fmla="*/ 1573114 w 2511928"/>
                  <a:gd name="connsiteY3" fmla="*/ 414114 h 1651040"/>
                  <a:gd name="connsiteX4" fmla="*/ 2215438 w 2511928"/>
                  <a:gd name="connsiteY4" fmla="*/ 794906 h 1651040"/>
                  <a:gd name="connsiteX5" fmla="*/ 2417782 w 2511928"/>
                  <a:gd name="connsiteY5" fmla="*/ 1396907 h 165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1928" h="1651040">
                    <a:moveTo>
                      <a:pt x="138688" y="1651040"/>
                    </a:moveTo>
                    <a:cubicBezTo>
                      <a:pt x="-167196" y="1116914"/>
                      <a:pt x="75386" y="700109"/>
                      <a:pt x="454056" y="700107"/>
                    </a:cubicBezTo>
                    <a:cubicBezTo>
                      <a:pt x="400668" y="276539"/>
                      <a:pt x="684972" y="91210"/>
                      <a:pt x="821072" y="41361"/>
                    </a:cubicBezTo>
                    <a:cubicBezTo>
                      <a:pt x="1120179" y="-86468"/>
                      <a:pt x="1509421" y="94326"/>
                      <a:pt x="1573114" y="414114"/>
                    </a:cubicBezTo>
                    <a:cubicBezTo>
                      <a:pt x="1749855" y="193419"/>
                      <a:pt x="2233236" y="222103"/>
                      <a:pt x="2215438" y="794906"/>
                    </a:cubicBezTo>
                    <a:cubicBezTo>
                      <a:pt x="2569023" y="817065"/>
                      <a:pt x="2564843" y="1270577"/>
                      <a:pt x="2417782" y="1396907"/>
                    </a:cubicBez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332" name="Freeform 592">
                <a:extLst>
                  <a:ext uri="{FF2B5EF4-FFF2-40B4-BE49-F238E27FC236}">
                    <a16:creationId xmlns:a16="http://schemas.microsoft.com/office/drawing/2014/main" id="{1E7EABA2-3D5B-4A0C-B52F-28DC85C6858A}"/>
                  </a:ext>
                </a:extLst>
              </p:cNvPr>
              <p:cNvSpPr>
                <a:spLocks/>
              </p:cNvSpPr>
              <p:nvPr/>
            </p:nvSpPr>
            <p:spPr bwMode="gray">
              <a:xfrm rot="18169347">
                <a:off x="11649617" y="4428563"/>
                <a:ext cx="190373" cy="240310"/>
              </a:xfrm>
              <a:custGeom>
                <a:avLst/>
                <a:gdLst>
                  <a:gd name="T0" fmla="*/ 24 w 192"/>
                  <a:gd name="T1" fmla="*/ 192 h 192"/>
                  <a:gd name="T2" fmla="*/ 0 w 192"/>
                  <a:gd name="T3" fmla="*/ 156 h 192"/>
                  <a:gd name="T4" fmla="*/ 42 w 192"/>
                  <a:gd name="T5" fmla="*/ 174 h 192"/>
                  <a:gd name="T6" fmla="*/ 12 w 192"/>
                  <a:gd name="T7" fmla="*/ 81 h 192"/>
                  <a:gd name="T8" fmla="*/ 66 w 192"/>
                  <a:gd name="T9" fmla="*/ 132 h 192"/>
                  <a:gd name="T10" fmla="*/ 84 w 192"/>
                  <a:gd name="T11" fmla="*/ 0 h 192"/>
                  <a:gd name="T12" fmla="*/ 108 w 192"/>
                  <a:gd name="T13" fmla="*/ 164 h 192"/>
                  <a:gd name="T14" fmla="*/ 156 w 192"/>
                  <a:gd name="T15" fmla="*/ 96 h 192"/>
                  <a:gd name="T16" fmla="*/ 144 w 192"/>
                  <a:gd name="T17" fmla="*/ 168 h 192"/>
                  <a:gd name="T18" fmla="*/ 192 w 192"/>
                  <a:gd name="T19" fmla="*/ 144 h 192"/>
                  <a:gd name="T20" fmla="*/ 162 w 192"/>
                  <a:gd name="T21" fmla="*/ 192 h 192"/>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7956 w 10000"/>
                  <a:gd name="connsiteY7" fmla="*/ 3094 h 10000"/>
                  <a:gd name="connsiteX8" fmla="*/ 7500 w 10000"/>
                  <a:gd name="connsiteY8" fmla="*/ 8750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7956 w 10000"/>
                  <a:gd name="connsiteY7" fmla="*/ 3094 h 10000"/>
                  <a:gd name="connsiteX8" fmla="*/ 7913 w 10000"/>
                  <a:gd name="connsiteY8" fmla="*/ 5938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7956 w 10000"/>
                  <a:gd name="connsiteY7" fmla="*/ 3094 h 10000"/>
                  <a:gd name="connsiteX8" fmla="*/ 7640 w 10000"/>
                  <a:gd name="connsiteY8" fmla="*/ 6008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8560 w 10000"/>
                  <a:gd name="connsiteY7" fmla="*/ 2386 h 10000"/>
                  <a:gd name="connsiteX8" fmla="*/ 7640 w 10000"/>
                  <a:gd name="connsiteY8" fmla="*/ 6008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8560 w 10000"/>
                  <a:gd name="connsiteY7" fmla="*/ 2386 h 10000"/>
                  <a:gd name="connsiteX8" fmla="*/ 8420 w 10000"/>
                  <a:gd name="connsiteY8" fmla="*/ 5081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9123 w 10000"/>
                  <a:gd name="connsiteY7" fmla="*/ 2765 h 10000"/>
                  <a:gd name="connsiteX8" fmla="*/ 8420 w 10000"/>
                  <a:gd name="connsiteY8" fmla="*/ 5081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413 w 10000"/>
                  <a:gd name="connsiteY6" fmla="*/ 6240 h 10000"/>
                  <a:gd name="connsiteX7" fmla="*/ 9123 w 10000"/>
                  <a:gd name="connsiteY7" fmla="*/ 2765 h 10000"/>
                  <a:gd name="connsiteX8" fmla="*/ 8420 w 10000"/>
                  <a:gd name="connsiteY8" fmla="*/ 5081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413 w 10000"/>
                  <a:gd name="connsiteY6" fmla="*/ 6240 h 10000"/>
                  <a:gd name="connsiteX7" fmla="*/ 9123 w 10000"/>
                  <a:gd name="connsiteY7" fmla="*/ 2765 h 10000"/>
                  <a:gd name="connsiteX8" fmla="*/ 8420 w 10000"/>
                  <a:gd name="connsiteY8" fmla="*/ 5081 h 10000"/>
                  <a:gd name="connsiteX9" fmla="*/ 10000 w 10000"/>
                  <a:gd name="connsiteY9" fmla="*/ 7500 h 10000"/>
                  <a:gd name="connsiteX0" fmla="*/ 1250 w 9123"/>
                  <a:gd name="connsiteY0" fmla="*/ 10000 h 10000"/>
                  <a:gd name="connsiteX1" fmla="*/ 0 w 9123"/>
                  <a:gd name="connsiteY1" fmla="*/ 8125 h 10000"/>
                  <a:gd name="connsiteX2" fmla="*/ 2188 w 9123"/>
                  <a:gd name="connsiteY2" fmla="*/ 9063 h 10000"/>
                  <a:gd name="connsiteX3" fmla="*/ 625 w 9123"/>
                  <a:gd name="connsiteY3" fmla="*/ 4219 h 10000"/>
                  <a:gd name="connsiteX4" fmla="*/ 3438 w 9123"/>
                  <a:gd name="connsiteY4" fmla="*/ 6875 h 10000"/>
                  <a:gd name="connsiteX5" fmla="*/ 4375 w 9123"/>
                  <a:gd name="connsiteY5" fmla="*/ 0 h 10000"/>
                  <a:gd name="connsiteX6" fmla="*/ 5413 w 9123"/>
                  <a:gd name="connsiteY6" fmla="*/ 6240 h 10000"/>
                  <a:gd name="connsiteX7" fmla="*/ 9123 w 9123"/>
                  <a:gd name="connsiteY7" fmla="*/ 2765 h 10000"/>
                  <a:gd name="connsiteX8" fmla="*/ 8420 w 9123"/>
                  <a:gd name="connsiteY8" fmla="*/ 5081 h 10000"/>
                  <a:gd name="connsiteX0" fmla="*/ 3146 w 10000"/>
                  <a:gd name="connsiteY0" fmla="*/ 12348 h 12348"/>
                  <a:gd name="connsiteX1" fmla="*/ 0 w 10000"/>
                  <a:gd name="connsiteY1" fmla="*/ 8125 h 12348"/>
                  <a:gd name="connsiteX2" fmla="*/ 2398 w 10000"/>
                  <a:gd name="connsiteY2" fmla="*/ 9063 h 12348"/>
                  <a:gd name="connsiteX3" fmla="*/ 685 w 10000"/>
                  <a:gd name="connsiteY3" fmla="*/ 4219 h 12348"/>
                  <a:gd name="connsiteX4" fmla="*/ 3768 w 10000"/>
                  <a:gd name="connsiteY4" fmla="*/ 6875 h 12348"/>
                  <a:gd name="connsiteX5" fmla="*/ 4796 w 10000"/>
                  <a:gd name="connsiteY5" fmla="*/ 0 h 12348"/>
                  <a:gd name="connsiteX6" fmla="*/ 5933 w 10000"/>
                  <a:gd name="connsiteY6" fmla="*/ 6240 h 12348"/>
                  <a:gd name="connsiteX7" fmla="*/ 10000 w 10000"/>
                  <a:gd name="connsiteY7" fmla="*/ 2765 h 12348"/>
                  <a:gd name="connsiteX8" fmla="*/ 9229 w 10000"/>
                  <a:gd name="connsiteY8" fmla="*/ 5081 h 12348"/>
                  <a:gd name="connsiteX0" fmla="*/ 3088 w 10000"/>
                  <a:gd name="connsiteY0" fmla="*/ 12594 h 12594"/>
                  <a:gd name="connsiteX1" fmla="*/ 0 w 10000"/>
                  <a:gd name="connsiteY1" fmla="*/ 8125 h 12594"/>
                  <a:gd name="connsiteX2" fmla="*/ 2398 w 10000"/>
                  <a:gd name="connsiteY2" fmla="*/ 9063 h 12594"/>
                  <a:gd name="connsiteX3" fmla="*/ 685 w 10000"/>
                  <a:gd name="connsiteY3" fmla="*/ 4219 h 12594"/>
                  <a:gd name="connsiteX4" fmla="*/ 3768 w 10000"/>
                  <a:gd name="connsiteY4" fmla="*/ 6875 h 12594"/>
                  <a:gd name="connsiteX5" fmla="*/ 4796 w 10000"/>
                  <a:gd name="connsiteY5" fmla="*/ 0 h 12594"/>
                  <a:gd name="connsiteX6" fmla="*/ 5933 w 10000"/>
                  <a:gd name="connsiteY6" fmla="*/ 6240 h 12594"/>
                  <a:gd name="connsiteX7" fmla="*/ 10000 w 10000"/>
                  <a:gd name="connsiteY7" fmla="*/ 2765 h 12594"/>
                  <a:gd name="connsiteX8" fmla="*/ 9229 w 10000"/>
                  <a:gd name="connsiteY8" fmla="*/ 5081 h 12594"/>
                  <a:gd name="connsiteX0" fmla="*/ 3146 w 10000"/>
                  <a:gd name="connsiteY0" fmla="*/ 12348 h 12348"/>
                  <a:gd name="connsiteX1" fmla="*/ 0 w 10000"/>
                  <a:gd name="connsiteY1" fmla="*/ 8125 h 12348"/>
                  <a:gd name="connsiteX2" fmla="*/ 2398 w 10000"/>
                  <a:gd name="connsiteY2" fmla="*/ 9063 h 12348"/>
                  <a:gd name="connsiteX3" fmla="*/ 685 w 10000"/>
                  <a:gd name="connsiteY3" fmla="*/ 4219 h 12348"/>
                  <a:gd name="connsiteX4" fmla="*/ 3768 w 10000"/>
                  <a:gd name="connsiteY4" fmla="*/ 6875 h 12348"/>
                  <a:gd name="connsiteX5" fmla="*/ 4796 w 10000"/>
                  <a:gd name="connsiteY5" fmla="*/ 0 h 12348"/>
                  <a:gd name="connsiteX6" fmla="*/ 5933 w 10000"/>
                  <a:gd name="connsiteY6" fmla="*/ 6240 h 12348"/>
                  <a:gd name="connsiteX7" fmla="*/ 10000 w 10000"/>
                  <a:gd name="connsiteY7" fmla="*/ 2765 h 12348"/>
                  <a:gd name="connsiteX8" fmla="*/ 9229 w 10000"/>
                  <a:gd name="connsiteY8" fmla="*/ 5081 h 12348"/>
                  <a:gd name="connsiteX0" fmla="*/ 3182 w 10000"/>
                  <a:gd name="connsiteY0" fmla="*/ 12561 h 12561"/>
                  <a:gd name="connsiteX1" fmla="*/ 0 w 10000"/>
                  <a:gd name="connsiteY1" fmla="*/ 8125 h 12561"/>
                  <a:gd name="connsiteX2" fmla="*/ 2398 w 10000"/>
                  <a:gd name="connsiteY2" fmla="*/ 9063 h 12561"/>
                  <a:gd name="connsiteX3" fmla="*/ 685 w 10000"/>
                  <a:gd name="connsiteY3" fmla="*/ 4219 h 12561"/>
                  <a:gd name="connsiteX4" fmla="*/ 3768 w 10000"/>
                  <a:gd name="connsiteY4" fmla="*/ 6875 h 12561"/>
                  <a:gd name="connsiteX5" fmla="*/ 4796 w 10000"/>
                  <a:gd name="connsiteY5" fmla="*/ 0 h 12561"/>
                  <a:gd name="connsiteX6" fmla="*/ 5933 w 10000"/>
                  <a:gd name="connsiteY6" fmla="*/ 6240 h 12561"/>
                  <a:gd name="connsiteX7" fmla="*/ 10000 w 10000"/>
                  <a:gd name="connsiteY7" fmla="*/ 2765 h 12561"/>
                  <a:gd name="connsiteX8" fmla="*/ 9229 w 10000"/>
                  <a:gd name="connsiteY8" fmla="*/ 5081 h 12561"/>
                  <a:gd name="connsiteX0" fmla="*/ 3074 w 10000"/>
                  <a:gd name="connsiteY0" fmla="*/ 12651 h 12651"/>
                  <a:gd name="connsiteX1" fmla="*/ 0 w 10000"/>
                  <a:gd name="connsiteY1" fmla="*/ 8125 h 12651"/>
                  <a:gd name="connsiteX2" fmla="*/ 2398 w 10000"/>
                  <a:gd name="connsiteY2" fmla="*/ 9063 h 12651"/>
                  <a:gd name="connsiteX3" fmla="*/ 685 w 10000"/>
                  <a:gd name="connsiteY3" fmla="*/ 4219 h 12651"/>
                  <a:gd name="connsiteX4" fmla="*/ 3768 w 10000"/>
                  <a:gd name="connsiteY4" fmla="*/ 6875 h 12651"/>
                  <a:gd name="connsiteX5" fmla="*/ 4796 w 10000"/>
                  <a:gd name="connsiteY5" fmla="*/ 0 h 12651"/>
                  <a:gd name="connsiteX6" fmla="*/ 5933 w 10000"/>
                  <a:gd name="connsiteY6" fmla="*/ 6240 h 12651"/>
                  <a:gd name="connsiteX7" fmla="*/ 10000 w 10000"/>
                  <a:gd name="connsiteY7" fmla="*/ 2765 h 12651"/>
                  <a:gd name="connsiteX8" fmla="*/ 9229 w 10000"/>
                  <a:gd name="connsiteY8" fmla="*/ 5081 h 12651"/>
                  <a:gd name="connsiteX0" fmla="*/ 3173 w 10000"/>
                  <a:gd name="connsiteY0" fmla="*/ 12671 h 12671"/>
                  <a:gd name="connsiteX1" fmla="*/ 0 w 10000"/>
                  <a:gd name="connsiteY1" fmla="*/ 8125 h 12671"/>
                  <a:gd name="connsiteX2" fmla="*/ 2398 w 10000"/>
                  <a:gd name="connsiteY2" fmla="*/ 9063 h 12671"/>
                  <a:gd name="connsiteX3" fmla="*/ 685 w 10000"/>
                  <a:gd name="connsiteY3" fmla="*/ 4219 h 12671"/>
                  <a:gd name="connsiteX4" fmla="*/ 3768 w 10000"/>
                  <a:gd name="connsiteY4" fmla="*/ 6875 h 12671"/>
                  <a:gd name="connsiteX5" fmla="*/ 4796 w 10000"/>
                  <a:gd name="connsiteY5" fmla="*/ 0 h 12671"/>
                  <a:gd name="connsiteX6" fmla="*/ 5933 w 10000"/>
                  <a:gd name="connsiteY6" fmla="*/ 6240 h 12671"/>
                  <a:gd name="connsiteX7" fmla="*/ 10000 w 10000"/>
                  <a:gd name="connsiteY7" fmla="*/ 2765 h 12671"/>
                  <a:gd name="connsiteX8" fmla="*/ 9229 w 10000"/>
                  <a:gd name="connsiteY8" fmla="*/ 5081 h 12671"/>
                  <a:gd name="connsiteX0" fmla="*/ 3246 w 10000"/>
                  <a:gd name="connsiteY0" fmla="*/ 12654 h 12654"/>
                  <a:gd name="connsiteX1" fmla="*/ 0 w 10000"/>
                  <a:gd name="connsiteY1" fmla="*/ 8125 h 12654"/>
                  <a:gd name="connsiteX2" fmla="*/ 2398 w 10000"/>
                  <a:gd name="connsiteY2" fmla="*/ 9063 h 12654"/>
                  <a:gd name="connsiteX3" fmla="*/ 685 w 10000"/>
                  <a:gd name="connsiteY3" fmla="*/ 4219 h 12654"/>
                  <a:gd name="connsiteX4" fmla="*/ 3768 w 10000"/>
                  <a:gd name="connsiteY4" fmla="*/ 6875 h 12654"/>
                  <a:gd name="connsiteX5" fmla="*/ 4796 w 10000"/>
                  <a:gd name="connsiteY5" fmla="*/ 0 h 12654"/>
                  <a:gd name="connsiteX6" fmla="*/ 5933 w 10000"/>
                  <a:gd name="connsiteY6" fmla="*/ 6240 h 12654"/>
                  <a:gd name="connsiteX7" fmla="*/ 10000 w 10000"/>
                  <a:gd name="connsiteY7" fmla="*/ 2765 h 12654"/>
                  <a:gd name="connsiteX8" fmla="*/ 9229 w 10000"/>
                  <a:gd name="connsiteY8" fmla="*/ 5081 h 12654"/>
                  <a:gd name="connsiteX0" fmla="*/ 3633 w 10000"/>
                  <a:gd name="connsiteY0" fmla="*/ 13363 h 13363"/>
                  <a:gd name="connsiteX1" fmla="*/ 0 w 10000"/>
                  <a:gd name="connsiteY1" fmla="*/ 8125 h 13363"/>
                  <a:gd name="connsiteX2" fmla="*/ 2398 w 10000"/>
                  <a:gd name="connsiteY2" fmla="*/ 9063 h 13363"/>
                  <a:gd name="connsiteX3" fmla="*/ 685 w 10000"/>
                  <a:gd name="connsiteY3" fmla="*/ 4219 h 13363"/>
                  <a:gd name="connsiteX4" fmla="*/ 3768 w 10000"/>
                  <a:gd name="connsiteY4" fmla="*/ 6875 h 13363"/>
                  <a:gd name="connsiteX5" fmla="*/ 4796 w 10000"/>
                  <a:gd name="connsiteY5" fmla="*/ 0 h 13363"/>
                  <a:gd name="connsiteX6" fmla="*/ 5933 w 10000"/>
                  <a:gd name="connsiteY6" fmla="*/ 6240 h 13363"/>
                  <a:gd name="connsiteX7" fmla="*/ 10000 w 10000"/>
                  <a:gd name="connsiteY7" fmla="*/ 2765 h 13363"/>
                  <a:gd name="connsiteX8" fmla="*/ 9229 w 10000"/>
                  <a:gd name="connsiteY8" fmla="*/ 5081 h 13363"/>
                  <a:gd name="connsiteX0" fmla="*/ 3679 w 10000"/>
                  <a:gd name="connsiteY0" fmla="*/ 13388 h 13388"/>
                  <a:gd name="connsiteX1" fmla="*/ 0 w 10000"/>
                  <a:gd name="connsiteY1" fmla="*/ 8125 h 13388"/>
                  <a:gd name="connsiteX2" fmla="*/ 2398 w 10000"/>
                  <a:gd name="connsiteY2" fmla="*/ 9063 h 13388"/>
                  <a:gd name="connsiteX3" fmla="*/ 685 w 10000"/>
                  <a:gd name="connsiteY3" fmla="*/ 4219 h 13388"/>
                  <a:gd name="connsiteX4" fmla="*/ 3768 w 10000"/>
                  <a:gd name="connsiteY4" fmla="*/ 6875 h 13388"/>
                  <a:gd name="connsiteX5" fmla="*/ 4796 w 10000"/>
                  <a:gd name="connsiteY5" fmla="*/ 0 h 13388"/>
                  <a:gd name="connsiteX6" fmla="*/ 5933 w 10000"/>
                  <a:gd name="connsiteY6" fmla="*/ 6240 h 13388"/>
                  <a:gd name="connsiteX7" fmla="*/ 10000 w 10000"/>
                  <a:gd name="connsiteY7" fmla="*/ 2765 h 13388"/>
                  <a:gd name="connsiteX8" fmla="*/ 9229 w 10000"/>
                  <a:gd name="connsiteY8" fmla="*/ 5081 h 13388"/>
                  <a:gd name="connsiteX0" fmla="*/ 3778 w 10000"/>
                  <a:gd name="connsiteY0" fmla="*/ 13408 h 13408"/>
                  <a:gd name="connsiteX1" fmla="*/ 0 w 10000"/>
                  <a:gd name="connsiteY1" fmla="*/ 8125 h 13408"/>
                  <a:gd name="connsiteX2" fmla="*/ 2398 w 10000"/>
                  <a:gd name="connsiteY2" fmla="*/ 9063 h 13408"/>
                  <a:gd name="connsiteX3" fmla="*/ 685 w 10000"/>
                  <a:gd name="connsiteY3" fmla="*/ 4219 h 13408"/>
                  <a:gd name="connsiteX4" fmla="*/ 3768 w 10000"/>
                  <a:gd name="connsiteY4" fmla="*/ 6875 h 13408"/>
                  <a:gd name="connsiteX5" fmla="*/ 4796 w 10000"/>
                  <a:gd name="connsiteY5" fmla="*/ 0 h 13408"/>
                  <a:gd name="connsiteX6" fmla="*/ 5933 w 10000"/>
                  <a:gd name="connsiteY6" fmla="*/ 6240 h 13408"/>
                  <a:gd name="connsiteX7" fmla="*/ 10000 w 10000"/>
                  <a:gd name="connsiteY7" fmla="*/ 2765 h 13408"/>
                  <a:gd name="connsiteX8" fmla="*/ 9229 w 10000"/>
                  <a:gd name="connsiteY8" fmla="*/ 5081 h 13408"/>
                  <a:gd name="connsiteX0" fmla="*/ 3778 w 10000"/>
                  <a:gd name="connsiteY0" fmla="*/ 13408 h 13408"/>
                  <a:gd name="connsiteX1" fmla="*/ 0 w 10000"/>
                  <a:gd name="connsiteY1" fmla="*/ 8125 h 13408"/>
                  <a:gd name="connsiteX2" fmla="*/ 2398 w 10000"/>
                  <a:gd name="connsiteY2" fmla="*/ 9063 h 13408"/>
                  <a:gd name="connsiteX3" fmla="*/ 685 w 10000"/>
                  <a:gd name="connsiteY3" fmla="*/ 4219 h 13408"/>
                  <a:gd name="connsiteX4" fmla="*/ 3768 w 10000"/>
                  <a:gd name="connsiteY4" fmla="*/ 6875 h 13408"/>
                  <a:gd name="connsiteX5" fmla="*/ 4796 w 10000"/>
                  <a:gd name="connsiteY5" fmla="*/ 0 h 13408"/>
                  <a:gd name="connsiteX6" fmla="*/ 5933 w 10000"/>
                  <a:gd name="connsiteY6" fmla="*/ 6240 h 13408"/>
                  <a:gd name="connsiteX7" fmla="*/ 10000 w 10000"/>
                  <a:gd name="connsiteY7" fmla="*/ 2765 h 13408"/>
                  <a:gd name="connsiteX8" fmla="*/ 9229 w 10000"/>
                  <a:gd name="connsiteY8" fmla="*/ 5081 h 13408"/>
                  <a:gd name="connsiteX0" fmla="*/ 3731 w 10000"/>
                  <a:gd name="connsiteY0" fmla="*/ 13462 h 13462"/>
                  <a:gd name="connsiteX1" fmla="*/ 0 w 10000"/>
                  <a:gd name="connsiteY1" fmla="*/ 8125 h 13462"/>
                  <a:gd name="connsiteX2" fmla="*/ 2398 w 10000"/>
                  <a:gd name="connsiteY2" fmla="*/ 9063 h 13462"/>
                  <a:gd name="connsiteX3" fmla="*/ 685 w 10000"/>
                  <a:gd name="connsiteY3" fmla="*/ 4219 h 13462"/>
                  <a:gd name="connsiteX4" fmla="*/ 3768 w 10000"/>
                  <a:gd name="connsiteY4" fmla="*/ 6875 h 13462"/>
                  <a:gd name="connsiteX5" fmla="*/ 4796 w 10000"/>
                  <a:gd name="connsiteY5" fmla="*/ 0 h 13462"/>
                  <a:gd name="connsiteX6" fmla="*/ 5933 w 10000"/>
                  <a:gd name="connsiteY6" fmla="*/ 6240 h 13462"/>
                  <a:gd name="connsiteX7" fmla="*/ 10000 w 10000"/>
                  <a:gd name="connsiteY7" fmla="*/ 2765 h 13462"/>
                  <a:gd name="connsiteX8" fmla="*/ 9229 w 10000"/>
                  <a:gd name="connsiteY8" fmla="*/ 5081 h 13462"/>
                  <a:gd name="connsiteX0" fmla="*/ 3731 w 10000"/>
                  <a:gd name="connsiteY0" fmla="*/ 13462 h 13462"/>
                  <a:gd name="connsiteX1" fmla="*/ 0 w 10000"/>
                  <a:gd name="connsiteY1" fmla="*/ 8125 h 13462"/>
                  <a:gd name="connsiteX2" fmla="*/ 2398 w 10000"/>
                  <a:gd name="connsiteY2" fmla="*/ 9063 h 13462"/>
                  <a:gd name="connsiteX3" fmla="*/ 685 w 10000"/>
                  <a:gd name="connsiteY3" fmla="*/ 4219 h 13462"/>
                  <a:gd name="connsiteX4" fmla="*/ 3768 w 10000"/>
                  <a:gd name="connsiteY4" fmla="*/ 6875 h 13462"/>
                  <a:gd name="connsiteX5" fmla="*/ 4796 w 10000"/>
                  <a:gd name="connsiteY5" fmla="*/ 0 h 13462"/>
                  <a:gd name="connsiteX6" fmla="*/ 5933 w 10000"/>
                  <a:gd name="connsiteY6" fmla="*/ 6240 h 13462"/>
                  <a:gd name="connsiteX7" fmla="*/ 10000 w 10000"/>
                  <a:gd name="connsiteY7" fmla="*/ 2765 h 13462"/>
                  <a:gd name="connsiteX8" fmla="*/ 9229 w 10000"/>
                  <a:gd name="connsiteY8" fmla="*/ 5081 h 13462"/>
                  <a:gd name="connsiteX0" fmla="*/ 3791 w 10000"/>
                  <a:gd name="connsiteY0" fmla="*/ 13426 h 13426"/>
                  <a:gd name="connsiteX1" fmla="*/ 0 w 10000"/>
                  <a:gd name="connsiteY1" fmla="*/ 8125 h 13426"/>
                  <a:gd name="connsiteX2" fmla="*/ 2398 w 10000"/>
                  <a:gd name="connsiteY2" fmla="*/ 9063 h 13426"/>
                  <a:gd name="connsiteX3" fmla="*/ 685 w 10000"/>
                  <a:gd name="connsiteY3" fmla="*/ 4219 h 13426"/>
                  <a:gd name="connsiteX4" fmla="*/ 3768 w 10000"/>
                  <a:gd name="connsiteY4" fmla="*/ 6875 h 13426"/>
                  <a:gd name="connsiteX5" fmla="*/ 4796 w 10000"/>
                  <a:gd name="connsiteY5" fmla="*/ 0 h 13426"/>
                  <a:gd name="connsiteX6" fmla="*/ 5933 w 10000"/>
                  <a:gd name="connsiteY6" fmla="*/ 6240 h 13426"/>
                  <a:gd name="connsiteX7" fmla="*/ 10000 w 10000"/>
                  <a:gd name="connsiteY7" fmla="*/ 2765 h 13426"/>
                  <a:gd name="connsiteX8" fmla="*/ 9229 w 10000"/>
                  <a:gd name="connsiteY8" fmla="*/ 5081 h 13426"/>
                  <a:gd name="connsiteX0" fmla="*/ 3731 w 10000"/>
                  <a:gd name="connsiteY0" fmla="*/ 13462 h 13462"/>
                  <a:gd name="connsiteX1" fmla="*/ 0 w 10000"/>
                  <a:gd name="connsiteY1" fmla="*/ 8125 h 13462"/>
                  <a:gd name="connsiteX2" fmla="*/ 2398 w 10000"/>
                  <a:gd name="connsiteY2" fmla="*/ 9063 h 13462"/>
                  <a:gd name="connsiteX3" fmla="*/ 685 w 10000"/>
                  <a:gd name="connsiteY3" fmla="*/ 4219 h 13462"/>
                  <a:gd name="connsiteX4" fmla="*/ 3768 w 10000"/>
                  <a:gd name="connsiteY4" fmla="*/ 6875 h 13462"/>
                  <a:gd name="connsiteX5" fmla="*/ 4796 w 10000"/>
                  <a:gd name="connsiteY5" fmla="*/ 0 h 13462"/>
                  <a:gd name="connsiteX6" fmla="*/ 5933 w 10000"/>
                  <a:gd name="connsiteY6" fmla="*/ 6240 h 13462"/>
                  <a:gd name="connsiteX7" fmla="*/ 10000 w 10000"/>
                  <a:gd name="connsiteY7" fmla="*/ 2765 h 13462"/>
                  <a:gd name="connsiteX8" fmla="*/ 9229 w 10000"/>
                  <a:gd name="connsiteY8" fmla="*/ 5081 h 13462"/>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229 w 10000"/>
                  <a:gd name="connsiteY8" fmla="*/ 5081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6688 w 10000"/>
                  <a:gd name="connsiteY6" fmla="*/ 5613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6908 w 10000"/>
                  <a:gd name="connsiteY6" fmla="*/ 5561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949 w 10000"/>
                  <a:gd name="connsiteY2" fmla="*/ 9156 h 13438"/>
                  <a:gd name="connsiteX3" fmla="*/ 685 w 10000"/>
                  <a:gd name="connsiteY3" fmla="*/ 4219 h 13438"/>
                  <a:gd name="connsiteX4" fmla="*/ 3768 w 10000"/>
                  <a:gd name="connsiteY4" fmla="*/ 6875 h 13438"/>
                  <a:gd name="connsiteX5" fmla="*/ 4796 w 10000"/>
                  <a:gd name="connsiteY5" fmla="*/ 0 h 13438"/>
                  <a:gd name="connsiteX6" fmla="*/ 6908 w 10000"/>
                  <a:gd name="connsiteY6" fmla="*/ 5561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949 w 10000"/>
                  <a:gd name="connsiteY2" fmla="*/ 9156 h 13438"/>
                  <a:gd name="connsiteX3" fmla="*/ 685 w 10000"/>
                  <a:gd name="connsiteY3" fmla="*/ 4219 h 13438"/>
                  <a:gd name="connsiteX4" fmla="*/ 4516 w 10000"/>
                  <a:gd name="connsiteY4" fmla="*/ 7086 h 13438"/>
                  <a:gd name="connsiteX5" fmla="*/ 4796 w 10000"/>
                  <a:gd name="connsiteY5" fmla="*/ 0 h 13438"/>
                  <a:gd name="connsiteX6" fmla="*/ 6908 w 10000"/>
                  <a:gd name="connsiteY6" fmla="*/ 5561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949 w 10000"/>
                  <a:gd name="connsiteY2" fmla="*/ 9156 h 13438"/>
                  <a:gd name="connsiteX3" fmla="*/ 685 w 10000"/>
                  <a:gd name="connsiteY3" fmla="*/ 4219 h 13438"/>
                  <a:gd name="connsiteX4" fmla="*/ 4516 w 10000"/>
                  <a:gd name="connsiteY4" fmla="*/ 7086 h 13438"/>
                  <a:gd name="connsiteX5" fmla="*/ 4796 w 10000"/>
                  <a:gd name="connsiteY5" fmla="*/ 0 h 13438"/>
                  <a:gd name="connsiteX6" fmla="*/ 7477 w 10000"/>
                  <a:gd name="connsiteY6" fmla="*/ 5721 h 13438"/>
                  <a:gd name="connsiteX7" fmla="*/ 10000 w 10000"/>
                  <a:gd name="connsiteY7" fmla="*/ 2765 h 13438"/>
                  <a:gd name="connsiteX8" fmla="*/ 9349 w 10000"/>
                  <a:gd name="connsiteY8" fmla="*/ 5453 h 13438"/>
                  <a:gd name="connsiteX0" fmla="*/ 3771 w 10300"/>
                  <a:gd name="connsiteY0" fmla="*/ 13438 h 13438"/>
                  <a:gd name="connsiteX1" fmla="*/ 0 w 10300"/>
                  <a:gd name="connsiteY1" fmla="*/ 8125 h 13438"/>
                  <a:gd name="connsiteX2" fmla="*/ 2949 w 10300"/>
                  <a:gd name="connsiteY2" fmla="*/ 9156 h 13438"/>
                  <a:gd name="connsiteX3" fmla="*/ 685 w 10300"/>
                  <a:gd name="connsiteY3" fmla="*/ 4219 h 13438"/>
                  <a:gd name="connsiteX4" fmla="*/ 4516 w 10300"/>
                  <a:gd name="connsiteY4" fmla="*/ 7086 h 13438"/>
                  <a:gd name="connsiteX5" fmla="*/ 4796 w 10300"/>
                  <a:gd name="connsiteY5" fmla="*/ 0 h 13438"/>
                  <a:gd name="connsiteX6" fmla="*/ 7477 w 10300"/>
                  <a:gd name="connsiteY6" fmla="*/ 5721 h 13438"/>
                  <a:gd name="connsiteX7" fmla="*/ 10300 w 10300"/>
                  <a:gd name="connsiteY7" fmla="*/ 2302 h 13438"/>
                  <a:gd name="connsiteX8" fmla="*/ 9349 w 10300"/>
                  <a:gd name="connsiteY8" fmla="*/ 5453 h 13438"/>
                  <a:gd name="connsiteX0" fmla="*/ 3771 w 10300"/>
                  <a:gd name="connsiteY0" fmla="*/ 13438 h 13438"/>
                  <a:gd name="connsiteX1" fmla="*/ 0 w 10300"/>
                  <a:gd name="connsiteY1" fmla="*/ 8125 h 13438"/>
                  <a:gd name="connsiteX2" fmla="*/ 2949 w 10300"/>
                  <a:gd name="connsiteY2" fmla="*/ 9156 h 13438"/>
                  <a:gd name="connsiteX3" fmla="*/ 685 w 10300"/>
                  <a:gd name="connsiteY3" fmla="*/ 4219 h 13438"/>
                  <a:gd name="connsiteX4" fmla="*/ 4516 w 10300"/>
                  <a:gd name="connsiteY4" fmla="*/ 7086 h 13438"/>
                  <a:gd name="connsiteX5" fmla="*/ 4796 w 10300"/>
                  <a:gd name="connsiteY5" fmla="*/ 0 h 13438"/>
                  <a:gd name="connsiteX6" fmla="*/ 7477 w 10300"/>
                  <a:gd name="connsiteY6" fmla="*/ 5721 h 13438"/>
                  <a:gd name="connsiteX7" fmla="*/ 10300 w 10300"/>
                  <a:gd name="connsiteY7" fmla="*/ 2302 h 13438"/>
                  <a:gd name="connsiteX8" fmla="*/ 10169 w 10300"/>
                  <a:gd name="connsiteY8" fmla="*/ 4918 h 13438"/>
                  <a:gd name="connsiteX0" fmla="*/ 3771 w 10177"/>
                  <a:gd name="connsiteY0" fmla="*/ 13438 h 13438"/>
                  <a:gd name="connsiteX1" fmla="*/ 0 w 10177"/>
                  <a:gd name="connsiteY1" fmla="*/ 8125 h 13438"/>
                  <a:gd name="connsiteX2" fmla="*/ 2949 w 10177"/>
                  <a:gd name="connsiteY2" fmla="*/ 9156 h 13438"/>
                  <a:gd name="connsiteX3" fmla="*/ 685 w 10177"/>
                  <a:gd name="connsiteY3" fmla="*/ 4219 h 13438"/>
                  <a:gd name="connsiteX4" fmla="*/ 4516 w 10177"/>
                  <a:gd name="connsiteY4" fmla="*/ 7086 h 13438"/>
                  <a:gd name="connsiteX5" fmla="*/ 4796 w 10177"/>
                  <a:gd name="connsiteY5" fmla="*/ 0 h 13438"/>
                  <a:gd name="connsiteX6" fmla="*/ 7477 w 10177"/>
                  <a:gd name="connsiteY6" fmla="*/ 5721 h 13438"/>
                  <a:gd name="connsiteX7" fmla="*/ 10105 w 10177"/>
                  <a:gd name="connsiteY7" fmla="*/ 2026 h 13438"/>
                  <a:gd name="connsiteX8" fmla="*/ 10169 w 10177"/>
                  <a:gd name="connsiteY8" fmla="*/ 4918 h 13438"/>
                  <a:gd name="connsiteX0" fmla="*/ 3030 w 10177"/>
                  <a:gd name="connsiteY0" fmla="*/ 12390 h 12390"/>
                  <a:gd name="connsiteX1" fmla="*/ 0 w 10177"/>
                  <a:gd name="connsiteY1" fmla="*/ 8125 h 12390"/>
                  <a:gd name="connsiteX2" fmla="*/ 2949 w 10177"/>
                  <a:gd name="connsiteY2" fmla="*/ 9156 h 12390"/>
                  <a:gd name="connsiteX3" fmla="*/ 685 w 10177"/>
                  <a:gd name="connsiteY3" fmla="*/ 4219 h 12390"/>
                  <a:gd name="connsiteX4" fmla="*/ 4516 w 10177"/>
                  <a:gd name="connsiteY4" fmla="*/ 7086 h 12390"/>
                  <a:gd name="connsiteX5" fmla="*/ 4796 w 10177"/>
                  <a:gd name="connsiteY5" fmla="*/ 0 h 12390"/>
                  <a:gd name="connsiteX6" fmla="*/ 7477 w 10177"/>
                  <a:gd name="connsiteY6" fmla="*/ 5721 h 12390"/>
                  <a:gd name="connsiteX7" fmla="*/ 10105 w 10177"/>
                  <a:gd name="connsiteY7" fmla="*/ 2026 h 12390"/>
                  <a:gd name="connsiteX8" fmla="*/ 10169 w 10177"/>
                  <a:gd name="connsiteY8" fmla="*/ 4918 h 12390"/>
                  <a:gd name="connsiteX0" fmla="*/ 3030 w 10204"/>
                  <a:gd name="connsiteY0" fmla="*/ 12390 h 12390"/>
                  <a:gd name="connsiteX1" fmla="*/ 0 w 10204"/>
                  <a:gd name="connsiteY1" fmla="*/ 8125 h 12390"/>
                  <a:gd name="connsiteX2" fmla="*/ 2949 w 10204"/>
                  <a:gd name="connsiteY2" fmla="*/ 9156 h 12390"/>
                  <a:gd name="connsiteX3" fmla="*/ 685 w 10204"/>
                  <a:gd name="connsiteY3" fmla="*/ 4219 h 12390"/>
                  <a:gd name="connsiteX4" fmla="*/ 4516 w 10204"/>
                  <a:gd name="connsiteY4" fmla="*/ 7086 h 12390"/>
                  <a:gd name="connsiteX5" fmla="*/ 4796 w 10204"/>
                  <a:gd name="connsiteY5" fmla="*/ 0 h 12390"/>
                  <a:gd name="connsiteX6" fmla="*/ 7477 w 10204"/>
                  <a:gd name="connsiteY6" fmla="*/ 5721 h 12390"/>
                  <a:gd name="connsiteX7" fmla="*/ 10105 w 10204"/>
                  <a:gd name="connsiteY7" fmla="*/ 2026 h 12390"/>
                  <a:gd name="connsiteX8" fmla="*/ 10198 w 10204"/>
                  <a:gd name="connsiteY8" fmla="*/ 4354 h 12390"/>
                  <a:gd name="connsiteX0" fmla="*/ 3030 w 10105"/>
                  <a:gd name="connsiteY0" fmla="*/ 12390 h 12390"/>
                  <a:gd name="connsiteX1" fmla="*/ 0 w 10105"/>
                  <a:gd name="connsiteY1" fmla="*/ 8125 h 12390"/>
                  <a:gd name="connsiteX2" fmla="*/ 2949 w 10105"/>
                  <a:gd name="connsiteY2" fmla="*/ 9156 h 12390"/>
                  <a:gd name="connsiteX3" fmla="*/ 685 w 10105"/>
                  <a:gd name="connsiteY3" fmla="*/ 4219 h 12390"/>
                  <a:gd name="connsiteX4" fmla="*/ 4516 w 10105"/>
                  <a:gd name="connsiteY4" fmla="*/ 7086 h 12390"/>
                  <a:gd name="connsiteX5" fmla="*/ 4796 w 10105"/>
                  <a:gd name="connsiteY5" fmla="*/ 0 h 12390"/>
                  <a:gd name="connsiteX6" fmla="*/ 7477 w 10105"/>
                  <a:gd name="connsiteY6" fmla="*/ 5721 h 12390"/>
                  <a:gd name="connsiteX7" fmla="*/ 10105 w 10105"/>
                  <a:gd name="connsiteY7" fmla="*/ 2026 h 12390"/>
                  <a:gd name="connsiteX8" fmla="*/ 9861 w 10105"/>
                  <a:gd name="connsiteY8" fmla="*/ 4604 h 12390"/>
                  <a:gd name="connsiteX0" fmla="*/ 3030 w 10105"/>
                  <a:gd name="connsiteY0" fmla="*/ 12390 h 12390"/>
                  <a:gd name="connsiteX1" fmla="*/ 0 w 10105"/>
                  <a:gd name="connsiteY1" fmla="*/ 8125 h 12390"/>
                  <a:gd name="connsiteX2" fmla="*/ 2949 w 10105"/>
                  <a:gd name="connsiteY2" fmla="*/ 9156 h 12390"/>
                  <a:gd name="connsiteX3" fmla="*/ 685 w 10105"/>
                  <a:gd name="connsiteY3" fmla="*/ 4219 h 12390"/>
                  <a:gd name="connsiteX4" fmla="*/ 4516 w 10105"/>
                  <a:gd name="connsiteY4" fmla="*/ 7086 h 12390"/>
                  <a:gd name="connsiteX5" fmla="*/ 4796 w 10105"/>
                  <a:gd name="connsiteY5" fmla="*/ 0 h 12390"/>
                  <a:gd name="connsiteX6" fmla="*/ 7430 w 10105"/>
                  <a:gd name="connsiteY6" fmla="*/ 4968 h 12390"/>
                  <a:gd name="connsiteX7" fmla="*/ 10105 w 10105"/>
                  <a:gd name="connsiteY7" fmla="*/ 2026 h 12390"/>
                  <a:gd name="connsiteX8" fmla="*/ 9861 w 10105"/>
                  <a:gd name="connsiteY8" fmla="*/ 4604 h 12390"/>
                  <a:gd name="connsiteX0" fmla="*/ 3030 w 10105"/>
                  <a:gd name="connsiteY0" fmla="*/ 12390 h 12390"/>
                  <a:gd name="connsiteX1" fmla="*/ 0 w 10105"/>
                  <a:gd name="connsiteY1" fmla="*/ 8125 h 12390"/>
                  <a:gd name="connsiteX2" fmla="*/ 2949 w 10105"/>
                  <a:gd name="connsiteY2" fmla="*/ 9156 h 12390"/>
                  <a:gd name="connsiteX3" fmla="*/ 685 w 10105"/>
                  <a:gd name="connsiteY3" fmla="*/ 4219 h 12390"/>
                  <a:gd name="connsiteX4" fmla="*/ 4848 w 10105"/>
                  <a:gd name="connsiteY4" fmla="*/ 6708 h 12390"/>
                  <a:gd name="connsiteX5" fmla="*/ 4796 w 10105"/>
                  <a:gd name="connsiteY5" fmla="*/ 0 h 12390"/>
                  <a:gd name="connsiteX6" fmla="*/ 7430 w 10105"/>
                  <a:gd name="connsiteY6" fmla="*/ 4968 h 12390"/>
                  <a:gd name="connsiteX7" fmla="*/ 10105 w 10105"/>
                  <a:gd name="connsiteY7" fmla="*/ 2026 h 12390"/>
                  <a:gd name="connsiteX8" fmla="*/ 9861 w 10105"/>
                  <a:gd name="connsiteY8" fmla="*/ 4604 h 12390"/>
                  <a:gd name="connsiteX0" fmla="*/ 3030 w 10105"/>
                  <a:gd name="connsiteY0" fmla="*/ 12074 h 12074"/>
                  <a:gd name="connsiteX1" fmla="*/ 0 w 10105"/>
                  <a:gd name="connsiteY1" fmla="*/ 7809 h 12074"/>
                  <a:gd name="connsiteX2" fmla="*/ 2949 w 10105"/>
                  <a:gd name="connsiteY2" fmla="*/ 8840 h 12074"/>
                  <a:gd name="connsiteX3" fmla="*/ 685 w 10105"/>
                  <a:gd name="connsiteY3" fmla="*/ 3903 h 12074"/>
                  <a:gd name="connsiteX4" fmla="*/ 4848 w 10105"/>
                  <a:gd name="connsiteY4" fmla="*/ 6392 h 12074"/>
                  <a:gd name="connsiteX5" fmla="*/ 4392 w 10105"/>
                  <a:gd name="connsiteY5" fmla="*/ 0 h 12074"/>
                  <a:gd name="connsiteX6" fmla="*/ 7430 w 10105"/>
                  <a:gd name="connsiteY6" fmla="*/ 4652 h 12074"/>
                  <a:gd name="connsiteX7" fmla="*/ 10105 w 10105"/>
                  <a:gd name="connsiteY7" fmla="*/ 1710 h 12074"/>
                  <a:gd name="connsiteX8" fmla="*/ 9861 w 10105"/>
                  <a:gd name="connsiteY8" fmla="*/ 4288 h 12074"/>
                  <a:gd name="connsiteX0" fmla="*/ 3030 w 10105"/>
                  <a:gd name="connsiteY0" fmla="*/ 12074 h 12074"/>
                  <a:gd name="connsiteX1" fmla="*/ 0 w 10105"/>
                  <a:gd name="connsiteY1" fmla="*/ 7809 h 12074"/>
                  <a:gd name="connsiteX2" fmla="*/ 2949 w 10105"/>
                  <a:gd name="connsiteY2" fmla="*/ 8840 h 12074"/>
                  <a:gd name="connsiteX3" fmla="*/ 685 w 10105"/>
                  <a:gd name="connsiteY3" fmla="*/ 3903 h 12074"/>
                  <a:gd name="connsiteX4" fmla="*/ 4848 w 10105"/>
                  <a:gd name="connsiteY4" fmla="*/ 6392 h 12074"/>
                  <a:gd name="connsiteX5" fmla="*/ 4392 w 10105"/>
                  <a:gd name="connsiteY5" fmla="*/ 0 h 12074"/>
                  <a:gd name="connsiteX6" fmla="*/ 7430 w 10105"/>
                  <a:gd name="connsiteY6" fmla="*/ 4652 h 12074"/>
                  <a:gd name="connsiteX7" fmla="*/ 10105 w 10105"/>
                  <a:gd name="connsiteY7" fmla="*/ 1710 h 12074"/>
                  <a:gd name="connsiteX8" fmla="*/ 9886 w 10105"/>
                  <a:gd name="connsiteY8" fmla="*/ 3961 h 12074"/>
                  <a:gd name="connsiteX0" fmla="*/ 3030 w 10105"/>
                  <a:gd name="connsiteY0" fmla="*/ 12074 h 12074"/>
                  <a:gd name="connsiteX1" fmla="*/ 1907 w 10105"/>
                  <a:gd name="connsiteY1" fmla="*/ 10330 h 12074"/>
                  <a:gd name="connsiteX2" fmla="*/ 0 w 10105"/>
                  <a:gd name="connsiteY2" fmla="*/ 7809 h 12074"/>
                  <a:gd name="connsiteX3" fmla="*/ 2949 w 10105"/>
                  <a:gd name="connsiteY3" fmla="*/ 8840 h 12074"/>
                  <a:gd name="connsiteX4" fmla="*/ 685 w 10105"/>
                  <a:gd name="connsiteY4" fmla="*/ 3903 h 12074"/>
                  <a:gd name="connsiteX5" fmla="*/ 4848 w 10105"/>
                  <a:gd name="connsiteY5" fmla="*/ 6392 h 12074"/>
                  <a:gd name="connsiteX6" fmla="*/ 4392 w 10105"/>
                  <a:gd name="connsiteY6" fmla="*/ 0 h 12074"/>
                  <a:gd name="connsiteX7" fmla="*/ 7430 w 10105"/>
                  <a:gd name="connsiteY7" fmla="*/ 4652 h 12074"/>
                  <a:gd name="connsiteX8" fmla="*/ 10105 w 10105"/>
                  <a:gd name="connsiteY8" fmla="*/ 1710 h 12074"/>
                  <a:gd name="connsiteX9" fmla="*/ 9886 w 10105"/>
                  <a:gd name="connsiteY9" fmla="*/ 3961 h 12074"/>
                  <a:gd name="connsiteX0" fmla="*/ 3030 w 10105"/>
                  <a:gd name="connsiteY0" fmla="*/ 12074 h 12074"/>
                  <a:gd name="connsiteX1" fmla="*/ 1592 w 10105"/>
                  <a:gd name="connsiteY1" fmla="*/ 10046 h 12074"/>
                  <a:gd name="connsiteX2" fmla="*/ 0 w 10105"/>
                  <a:gd name="connsiteY2" fmla="*/ 7809 h 12074"/>
                  <a:gd name="connsiteX3" fmla="*/ 2949 w 10105"/>
                  <a:gd name="connsiteY3" fmla="*/ 8840 h 12074"/>
                  <a:gd name="connsiteX4" fmla="*/ 685 w 10105"/>
                  <a:gd name="connsiteY4" fmla="*/ 3903 h 12074"/>
                  <a:gd name="connsiteX5" fmla="*/ 4848 w 10105"/>
                  <a:gd name="connsiteY5" fmla="*/ 6392 h 12074"/>
                  <a:gd name="connsiteX6" fmla="*/ 4392 w 10105"/>
                  <a:gd name="connsiteY6" fmla="*/ 0 h 12074"/>
                  <a:gd name="connsiteX7" fmla="*/ 7430 w 10105"/>
                  <a:gd name="connsiteY7" fmla="*/ 4652 h 12074"/>
                  <a:gd name="connsiteX8" fmla="*/ 10105 w 10105"/>
                  <a:gd name="connsiteY8" fmla="*/ 1710 h 12074"/>
                  <a:gd name="connsiteX9" fmla="*/ 9886 w 10105"/>
                  <a:gd name="connsiteY9" fmla="*/ 3961 h 12074"/>
                  <a:gd name="connsiteX0" fmla="*/ 1592 w 10105"/>
                  <a:gd name="connsiteY0" fmla="*/ 10046 h 10046"/>
                  <a:gd name="connsiteX1" fmla="*/ 0 w 10105"/>
                  <a:gd name="connsiteY1" fmla="*/ 7809 h 10046"/>
                  <a:gd name="connsiteX2" fmla="*/ 2949 w 10105"/>
                  <a:gd name="connsiteY2" fmla="*/ 8840 h 10046"/>
                  <a:gd name="connsiteX3" fmla="*/ 685 w 10105"/>
                  <a:gd name="connsiteY3" fmla="*/ 3903 h 10046"/>
                  <a:gd name="connsiteX4" fmla="*/ 4848 w 10105"/>
                  <a:gd name="connsiteY4" fmla="*/ 6392 h 10046"/>
                  <a:gd name="connsiteX5" fmla="*/ 4392 w 10105"/>
                  <a:gd name="connsiteY5" fmla="*/ 0 h 10046"/>
                  <a:gd name="connsiteX6" fmla="*/ 7430 w 10105"/>
                  <a:gd name="connsiteY6" fmla="*/ 4652 h 10046"/>
                  <a:gd name="connsiteX7" fmla="*/ 10105 w 10105"/>
                  <a:gd name="connsiteY7" fmla="*/ 1710 h 10046"/>
                  <a:gd name="connsiteX8" fmla="*/ 9886 w 10105"/>
                  <a:gd name="connsiteY8" fmla="*/ 3961 h 10046"/>
                  <a:gd name="connsiteX0" fmla="*/ 3929 w 10105"/>
                  <a:gd name="connsiteY0" fmla="*/ 10728 h 10728"/>
                  <a:gd name="connsiteX1" fmla="*/ 0 w 10105"/>
                  <a:gd name="connsiteY1" fmla="*/ 7809 h 10728"/>
                  <a:gd name="connsiteX2" fmla="*/ 2949 w 10105"/>
                  <a:gd name="connsiteY2" fmla="*/ 8840 h 10728"/>
                  <a:gd name="connsiteX3" fmla="*/ 685 w 10105"/>
                  <a:gd name="connsiteY3" fmla="*/ 3903 h 10728"/>
                  <a:gd name="connsiteX4" fmla="*/ 4848 w 10105"/>
                  <a:gd name="connsiteY4" fmla="*/ 6392 h 10728"/>
                  <a:gd name="connsiteX5" fmla="*/ 4392 w 10105"/>
                  <a:gd name="connsiteY5" fmla="*/ 0 h 10728"/>
                  <a:gd name="connsiteX6" fmla="*/ 7430 w 10105"/>
                  <a:gd name="connsiteY6" fmla="*/ 4652 h 10728"/>
                  <a:gd name="connsiteX7" fmla="*/ 10105 w 10105"/>
                  <a:gd name="connsiteY7" fmla="*/ 1710 h 10728"/>
                  <a:gd name="connsiteX8" fmla="*/ 9886 w 10105"/>
                  <a:gd name="connsiteY8" fmla="*/ 3961 h 10728"/>
                  <a:gd name="connsiteX0" fmla="*/ 3929 w 10105"/>
                  <a:gd name="connsiteY0" fmla="*/ 10728 h 10728"/>
                  <a:gd name="connsiteX1" fmla="*/ 0 w 10105"/>
                  <a:gd name="connsiteY1" fmla="*/ 7809 h 10728"/>
                  <a:gd name="connsiteX2" fmla="*/ 4206 w 10105"/>
                  <a:gd name="connsiteY2" fmla="*/ 8439 h 10728"/>
                  <a:gd name="connsiteX3" fmla="*/ 685 w 10105"/>
                  <a:gd name="connsiteY3" fmla="*/ 3903 h 10728"/>
                  <a:gd name="connsiteX4" fmla="*/ 4848 w 10105"/>
                  <a:gd name="connsiteY4" fmla="*/ 6392 h 10728"/>
                  <a:gd name="connsiteX5" fmla="*/ 4392 w 10105"/>
                  <a:gd name="connsiteY5" fmla="*/ 0 h 10728"/>
                  <a:gd name="connsiteX6" fmla="*/ 7430 w 10105"/>
                  <a:gd name="connsiteY6" fmla="*/ 4652 h 10728"/>
                  <a:gd name="connsiteX7" fmla="*/ 10105 w 10105"/>
                  <a:gd name="connsiteY7" fmla="*/ 1710 h 10728"/>
                  <a:gd name="connsiteX8" fmla="*/ 9886 w 10105"/>
                  <a:gd name="connsiteY8" fmla="*/ 3961 h 10728"/>
                  <a:gd name="connsiteX0" fmla="*/ 3929 w 10105"/>
                  <a:gd name="connsiteY0" fmla="*/ 10728 h 10728"/>
                  <a:gd name="connsiteX1" fmla="*/ 0 w 10105"/>
                  <a:gd name="connsiteY1" fmla="*/ 7809 h 10728"/>
                  <a:gd name="connsiteX2" fmla="*/ 4206 w 10105"/>
                  <a:gd name="connsiteY2" fmla="*/ 8439 h 10728"/>
                  <a:gd name="connsiteX3" fmla="*/ 685 w 10105"/>
                  <a:gd name="connsiteY3" fmla="*/ 3903 h 10728"/>
                  <a:gd name="connsiteX4" fmla="*/ 5572 w 10105"/>
                  <a:gd name="connsiteY4" fmla="*/ 6044 h 10728"/>
                  <a:gd name="connsiteX5" fmla="*/ 4392 w 10105"/>
                  <a:gd name="connsiteY5" fmla="*/ 0 h 10728"/>
                  <a:gd name="connsiteX6" fmla="*/ 7430 w 10105"/>
                  <a:gd name="connsiteY6" fmla="*/ 4652 h 10728"/>
                  <a:gd name="connsiteX7" fmla="*/ 10105 w 10105"/>
                  <a:gd name="connsiteY7" fmla="*/ 1710 h 10728"/>
                  <a:gd name="connsiteX8" fmla="*/ 9886 w 10105"/>
                  <a:gd name="connsiteY8" fmla="*/ 3961 h 10728"/>
                  <a:gd name="connsiteX0" fmla="*/ 4127 w 10105"/>
                  <a:gd name="connsiteY0" fmla="*/ 10403 h 10403"/>
                  <a:gd name="connsiteX1" fmla="*/ 0 w 10105"/>
                  <a:gd name="connsiteY1" fmla="*/ 7809 h 10403"/>
                  <a:gd name="connsiteX2" fmla="*/ 4206 w 10105"/>
                  <a:gd name="connsiteY2" fmla="*/ 8439 h 10403"/>
                  <a:gd name="connsiteX3" fmla="*/ 685 w 10105"/>
                  <a:gd name="connsiteY3" fmla="*/ 3903 h 10403"/>
                  <a:gd name="connsiteX4" fmla="*/ 5572 w 10105"/>
                  <a:gd name="connsiteY4" fmla="*/ 6044 h 10403"/>
                  <a:gd name="connsiteX5" fmla="*/ 4392 w 10105"/>
                  <a:gd name="connsiteY5" fmla="*/ 0 h 10403"/>
                  <a:gd name="connsiteX6" fmla="*/ 7430 w 10105"/>
                  <a:gd name="connsiteY6" fmla="*/ 4652 h 10403"/>
                  <a:gd name="connsiteX7" fmla="*/ 10105 w 10105"/>
                  <a:gd name="connsiteY7" fmla="*/ 1710 h 10403"/>
                  <a:gd name="connsiteX8" fmla="*/ 9886 w 10105"/>
                  <a:gd name="connsiteY8" fmla="*/ 3961 h 10403"/>
                  <a:gd name="connsiteX0" fmla="*/ 3442 w 9420"/>
                  <a:gd name="connsiteY0" fmla="*/ 10403 h 10403"/>
                  <a:gd name="connsiteX1" fmla="*/ 700 w 9420"/>
                  <a:gd name="connsiteY1" fmla="*/ 8556 h 10403"/>
                  <a:gd name="connsiteX2" fmla="*/ 3521 w 9420"/>
                  <a:gd name="connsiteY2" fmla="*/ 8439 h 10403"/>
                  <a:gd name="connsiteX3" fmla="*/ 0 w 9420"/>
                  <a:gd name="connsiteY3" fmla="*/ 3903 h 10403"/>
                  <a:gd name="connsiteX4" fmla="*/ 4887 w 9420"/>
                  <a:gd name="connsiteY4" fmla="*/ 6044 h 10403"/>
                  <a:gd name="connsiteX5" fmla="*/ 3707 w 9420"/>
                  <a:gd name="connsiteY5" fmla="*/ 0 h 10403"/>
                  <a:gd name="connsiteX6" fmla="*/ 6745 w 9420"/>
                  <a:gd name="connsiteY6" fmla="*/ 4652 h 10403"/>
                  <a:gd name="connsiteX7" fmla="*/ 9420 w 9420"/>
                  <a:gd name="connsiteY7" fmla="*/ 1710 h 10403"/>
                  <a:gd name="connsiteX8" fmla="*/ 9201 w 9420"/>
                  <a:gd name="connsiteY8" fmla="*/ 3961 h 10403"/>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682 w 10000"/>
                  <a:gd name="connsiteY0" fmla="*/ 9610 h 9610"/>
                  <a:gd name="connsiteX1" fmla="*/ 743 w 10000"/>
                  <a:gd name="connsiteY1" fmla="*/ 8225 h 9610"/>
                  <a:gd name="connsiteX2" fmla="*/ 3738 w 10000"/>
                  <a:gd name="connsiteY2" fmla="*/ 8112 h 9610"/>
                  <a:gd name="connsiteX3" fmla="*/ 0 w 10000"/>
                  <a:gd name="connsiteY3" fmla="*/ 3752 h 9610"/>
                  <a:gd name="connsiteX4" fmla="*/ 5188 w 10000"/>
                  <a:gd name="connsiteY4" fmla="*/ 5810 h 9610"/>
                  <a:gd name="connsiteX5" fmla="*/ 3935 w 10000"/>
                  <a:gd name="connsiteY5" fmla="*/ 0 h 9610"/>
                  <a:gd name="connsiteX6" fmla="*/ 7160 w 10000"/>
                  <a:gd name="connsiteY6" fmla="*/ 4472 h 9610"/>
                  <a:gd name="connsiteX7" fmla="*/ 10000 w 10000"/>
                  <a:gd name="connsiteY7" fmla="*/ 1644 h 9610"/>
                  <a:gd name="connsiteX8" fmla="*/ 9768 w 10000"/>
                  <a:gd name="connsiteY8" fmla="*/ 3808 h 9610"/>
                  <a:gd name="connsiteX0" fmla="*/ 3682 w 10000"/>
                  <a:gd name="connsiteY0" fmla="*/ 10000 h 10000"/>
                  <a:gd name="connsiteX1" fmla="*/ 743 w 10000"/>
                  <a:gd name="connsiteY1" fmla="*/ 8559 h 10000"/>
                  <a:gd name="connsiteX2" fmla="*/ 3880 w 10000"/>
                  <a:gd name="connsiteY2" fmla="*/ 8388 h 10000"/>
                  <a:gd name="connsiteX3" fmla="*/ 0 w 10000"/>
                  <a:gd name="connsiteY3" fmla="*/ 3904 h 10000"/>
                  <a:gd name="connsiteX4" fmla="*/ 5188 w 10000"/>
                  <a:gd name="connsiteY4" fmla="*/ 6046 h 10000"/>
                  <a:gd name="connsiteX5" fmla="*/ 3935 w 10000"/>
                  <a:gd name="connsiteY5" fmla="*/ 0 h 10000"/>
                  <a:gd name="connsiteX6" fmla="*/ 7160 w 10000"/>
                  <a:gd name="connsiteY6" fmla="*/ 4653 h 10000"/>
                  <a:gd name="connsiteX7" fmla="*/ 10000 w 10000"/>
                  <a:gd name="connsiteY7" fmla="*/ 1711 h 10000"/>
                  <a:gd name="connsiteX8" fmla="*/ 9768 w 10000"/>
                  <a:gd name="connsiteY8" fmla="*/ 3963 h 10000"/>
                  <a:gd name="connsiteX0" fmla="*/ 3682 w 10000"/>
                  <a:gd name="connsiteY0" fmla="*/ 10000 h 10000"/>
                  <a:gd name="connsiteX1" fmla="*/ 743 w 10000"/>
                  <a:gd name="connsiteY1" fmla="*/ 8559 h 10000"/>
                  <a:gd name="connsiteX2" fmla="*/ 3880 w 10000"/>
                  <a:gd name="connsiteY2" fmla="*/ 8388 h 10000"/>
                  <a:gd name="connsiteX3" fmla="*/ 0 w 10000"/>
                  <a:gd name="connsiteY3" fmla="*/ 3904 h 10000"/>
                  <a:gd name="connsiteX4" fmla="*/ 5188 w 10000"/>
                  <a:gd name="connsiteY4" fmla="*/ 6046 h 10000"/>
                  <a:gd name="connsiteX5" fmla="*/ 3935 w 10000"/>
                  <a:gd name="connsiteY5" fmla="*/ 0 h 10000"/>
                  <a:gd name="connsiteX6" fmla="*/ 7711 w 10000"/>
                  <a:gd name="connsiteY6" fmla="*/ 4217 h 10000"/>
                  <a:gd name="connsiteX7" fmla="*/ 10000 w 10000"/>
                  <a:gd name="connsiteY7" fmla="*/ 1711 h 10000"/>
                  <a:gd name="connsiteX8" fmla="*/ 9768 w 10000"/>
                  <a:gd name="connsiteY8" fmla="*/ 3963 h 10000"/>
                  <a:gd name="connsiteX0" fmla="*/ 3682 w 10055"/>
                  <a:gd name="connsiteY0" fmla="*/ 10000 h 10000"/>
                  <a:gd name="connsiteX1" fmla="*/ 743 w 10055"/>
                  <a:gd name="connsiteY1" fmla="*/ 8559 h 10000"/>
                  <a:gd name="connsiteX2" fmla="*/ 3880 w 10055"/>
                  <a:gd name="connsiteY2" fmla="*/ 8388 h 10000"/>
                  <a:gd name="connsiteX3" fmla="*/ 0 w 10055"/>
                  <a:gd name="connsiteY3" fmla="*/ 3904 h 10000"/>
                  <a:gd name="connsiteX4" fmla="*/ 5188 w 10055"/>
                  <a:gd name="connsiteY4" fmla="*/ 6046 h 10000"/>
                  <a:gd name="connsiteX5" fmla="*/ 3935 w 10055"/>
                  <a:gd name="connsiteY5" fmla="*/ 0 h 10000"/>
                  <a:gd name="connsiteX6" fmla="*/ 7711 w 10055"/>
                  <a:gd name="connsiteY6" fmla="*/ 4217 h 10000"/>
                  <a:gd name="connsiteX7" fmla="*/ 10000 w 10055"/>
                  <a:gd name="connsiteY7" fmla="*/ 1711 h 10000"/>
                  <a:gd name="connsiteX8" fmla="*/ 10046 w 10055"/>
                  <a:gd name="connsiteY8" fmla="*/ 3809 h 10000"/>
                  <a:gd name="connsiteX0" fmla="*/ 3682 w 10055"/>
                  <a:gd name="connsiteY0" fmla="*/ 10000 h 10000"/>
                  <a:gd name="connsiteX1" fmla="*/ 743 w 10055"/>
                  <a:gd name="connsiteY1" fmla="*/ 8559 h 10000"/>
                  <a:gd name="connsiteX2" fmla="*/ 3870 w 10055"/>
                  <a:gd name="connsiteY2" fmla="*/ 7769 h 10000"/>
                  <a:gd name="connsiteX3" fmla="*/ 0 w 10055"/>
                  <a:gd name="connsiteY3" fmla="*/ 3904 h 10000"/>
                  <a:gd name="connsiteX4" fmla="*/ 5188 w 10055"/>
                  <a:gd name="connsiteY4" fmla="*/ 6046 h 10000"/>
                  <a:gd name="connsiteX5" fmla="*/ 3935 w 10055"/>
                  <a:gd name="connsiteY5" fmla="*/ 0 h 10000"/>
                  <a:gd name="connsiteX6" fmla="*/ 7711 w 10055"/>
                  <a:gd name="connsiteY6" fmla="*/ 4217 h 10000"/>
                  <a:gd name="connsiteX7" fmla="*/ 10000 w 10055"/>
                  <a:gd name="connsiteY7" fmla="*/ 1711 h 10000"/>
                  <a:gd name="connsiteX8" fmla="*/ 10046 w 10055"/>
                  <a:gd name="connsiteY8" fmla="*/ 3809 h 10000"/>
                  <a:gd name="connsiteX0" fmla="*/ 3682 w 10055"/>
                  <a:gd name="connsiteY0" fmla="*/ 10000 h 10000"/>
                  <a:gd name="connsiteX1" fmla="*/ 2365 w 10055"/>
                  <a:gd name="connsiteY1" fmla="*/ 9339 h 10000"/>
                  <a:gd name="connsiteX2" fmla="*/ 743 w 10055"/>
                  <a:gd name="connsiteY2" fmla="*/ 8559 h 10000"/>
                  <a:gd name="connsiteX3" fmla="*/ 3870 w 10055"/>
                  <a:gd name="connsiteY3" fmla="*/ 7769 h 10000"/>
                  <a:gd name="connsiteX4" fmla="*/ 0 w 10055"/>
                  <a:gd name="connsiteY4" fmla="*/ 3904 h 10000"/>
                  <a:gd name="connsiteX5" fmla="*/ 5188 w 10055"/>
                  <a:gd name="connsiteY5" fmla="*/ 6046 h 10000"/>
                  <a:gd name="connsiteX6" fmla="*/ 3935 w 10055"/>
                  <a:gd name="connsiteY6" fmla="*/ 0 h 10000"/>
                  <a:gd name="connsiteX7" fmla="*/ 7711 w 10055"/>
                  <a:gd name="connsiteY7" fmla="*/ 4217 h 10000"/>
                  <a:gd name="connsiteX8" fmla="*/ 10000 w 10055"/>
                  <a:gd name="connsiteY8" fmla="*/ 1711 h 10000"/>
                  <a:gd name="connsiteX9" fmla="*/ 10046 w 10055"/>
                  <a:gd name="connsiteY9" fmla="*/ 3809 h 10000"/>
                  <a:gd name="connsiteX0" fmla="*/ 3682 w 10055"/>
                  <a:gd name="connsiteY0" fmla="*/ 10000 h 10000"/>
                  <a:gd name="connsiteX1" fmla="*/ 2529 w 10055"/>
                  <a:gd name="connsiteY1" fmla="*/ 9274 h 10000"/>
                  <a:gd name="connsiteX2" fmla="*/ 743 w 10055"/>
                  <a:gd name="connsiteY2" fmla="*/ 8559 h 10000"/>
                  <a:gd name="connsiteX3" fmla="*/ 3870 w 10055"/>
                  <a:gd name="connsiteY3" fmla="*/ 7769 h 10000"/>
                  <a:gd name="connsiteX4" fmla="*/ 0 w 10055"/>
                  <a:gd name="connsiteY4" fmla="*/ 3904 h 10000"/>
                  <a:gd name="connsiteX5" fmla="*/ 5188 w 10055"/>
                  <a:gd name="connsiteY5" fmla="*/ 6046 h 10000"/>
                  <a:gd name="connsiteX6" fmla="*/ 3935 w 10055"/>
                  <a:gd name="connsiteY6" fmla="*/ 0 h 10000"/>
                  <a:gd name="connsiteX7" fmla="*/ 7711 w 10055"/>
                  <a:gd name="connsiteY7" fmla="*/ 4217 h 10000"/>
                  <a:gd name="connsiteX8" fmla="*/ 10000 w 10055"/>
                  <a:gd name="connsiteY8" fmla="*/ 1711 h 10000"/>
                  <a:gd name="connsiteX9" fmla="*/ 10046 w 10055"/>
                  <a:gd name="connsiteY9" fmla="*/ 3809 h 10000"/>
                  <a:gd name="connsiteX0" fmla="*/ 3095 w 10055"/>
                  <a:gd name="connsiteY0" fmla="*/ 12044 h 12044"/>
                  <a:gd name="connsiteX1" fmla="*/ 2529 w 10055"/>
                  <a:gd name="connsiteY1" fmla="*/ 9274 h 12044"/>
                  <a:gd name="connsiteX2" fmla="*/ 743 w 10055"/>
                  <a:gd name="connsiteY2" fmla="*/ 8559 h 12044"/>
                  <a:gd name="connsiteX3" fmla="*/ 3870 w 10055"/>
                  <a:gd name="connsiteY3" fmla="*/ 7769 h 12044"/>
                  <a:gd name="connsiteX4" fmla="*/ 0 w 10055"/>
                  <a:gd name="connsiteY4" fmla="*/ 3904 h 12044"/>
                  <a:gd name="connsiteX5" fmla="*/ 5188 w 10055"/>
                  <a:gd name="connsiteY5" fmla="*/ 6046 h 12044"/>
                  <a:gd name="connsiteX6" fmla="*/ 3935 w 10055"/>
                  <a:gd name="connsiteY6" fmla="*/ 0 h 12044"/>
                  <a:gd name="connsiteX7" fmla="*/ 7711 w 10055"/>
                  <a:gd name="connsiteY7" fmla="*/ 4217 h 12044"/>
                  <a:gd name="connsiteX8" fmla="*/ 10000 w 10055"/>
                  <a:gd name="connsiteY8" fmla="*/ 1711 h 12044"/>
                  <a:gd name="connsiteX9" fmla="*/ 10046 w 10055"/>
                  <a:gd name="connsiteY9" fmla="*/ 3809 h 12044"/>
                  <a:gd name="connsiteX0" fmla="*/ 3095 w 10055"/>
                  <a:gd name="connsiteY0" fmla="*/ 12044 h 12044"/>
                  <a:gd name="connsiteX1" fmla="*/ 2782 w 10055"/>
                  <a:gd name="connsiteY1" fmla="*/ 10540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908 w 10055"/>
                  <a:gd name="connsiteY2" fmla="*/ 10183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908 w 10055"/>
                  <a:gd name="connsiteY2" fmla="*/ 10183 h 12044"/>
                  <a:gd name="connsiteX3" fmla="*/ 743 w 10055"/>
                  <a:gd name="connsiteY3" fmla="*/ 8559 h 12044"/>
                  <a:gd name="connsiteX4" fmla="*/ 3711 w 10055"/>
                  <a:gd name="connsiteY4" fmla="*/ 8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908 w 10055"/>
                  <a:gd name="connsiteY2" fmla="*/ 10183 h 12044"/>
                  <a:gd name="connsiteX3" fmla="*/ 258 w 10055"/>
                  <a:gd name="connsiteY3" fmla="*/ 8437 h 12044"/>
                  <a:gd name="connsiteX4" fmla="*/ 3711 w 10055"/>
                  <a:gd name="connsiteY4" fmla="*/ 8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481 w 10441"/>
                  <a:gd name="connsiteY0" fmla="*/ 12044 h 12044"/>
                  <a:gd name="connsiteX1" fmla="*/ 1869 w 10441"/>
                  <a:gd name="connsiteY1" fmla="*/ 11312 h 12044"/>
                  <a:gd name="connsiteX2" fmla="*/ 3294 w 10441"/>
                  <a:gd name="connsiteY2" fmla="*/ 10183 h 12044"/>
                  <a:gd name="connsiteX3" fmla="*/ 0 w 10441"/>
                  <a:gd name="connsiteY3" fmla="*/ 8508 h 12044"/>
                  <a:gd name="connsiteX4" fmla="*/ 4097 w 10441"/>
                  <a:gd name="connsiteY4" fmla="*/ 8769 h 12044"/>
                  <a:gd name="connsiteX5" fmla="*/ 386 w 10441"/>
                  <a:gd name="connsiteY5" fmla="*/ 3904 h 12044"/>
                  <a:gd name="connsiteX6" fmla="*/ 5574 w 10441"/>
                  <a:gd name="connsiteY6" fmla="*/ 6046 h 12044"/>
                  <a:gd name="connsiteX7" fmla="*/ 4321 w 10441"/>
                  <a:gd name="connsiteY7" fmla="*/ 0 h 12044"/>
                  <a:gd name="connsiteX8" fmla="*/ 8097 w 10441"/>
                  <a:gd name="connsiteY8" fmla="*/ 4217 h 12044"/>
                  <a:gd name="connsiteX9" fmla="*/ 10386 w 10441"/>
                  <a:gd name="connsiteY9" fmla="*/ 1711 h 12044"/>
                  <a:gd name="connsiteX10" fmla="*/ 10432 w 10441"/>
                  <a:gd name="connsiteY10" fmla="*/ 3809 h 12044"/>
                  <a:gd name="connsiteX0" fmla="*/ 3481 w 10441"/>
                  <a:gd name="connsiteY0" fmla="*/ 12044 h 12044"/>
                  <a:gd name="connsiteX1" fmla="*/ 1869 w 10441"/>
                  <a:gd name="connsiteY1" fmla="*/ 11312 h 12044"/>
                  <a:gd name="connsiteX2" fmla="*/ 3294 w 10441"/>
                  <a:gd name="connsiteY2" fmla="*/ 10183 h 12044"/>
                  <a:gd name="connsiteX3" fmla="*/ 0 w 10441"/>
                  <a:gd name="connsiteY3" fmla="*/ 8508 h 12044"/>
                  <a:gd name="connsiteX4" fmla="*/ 3824 w 10441"/>
                  <a:gd name="connsiteY4" fmla="*/ 8243 h 12044"/>
                  <a:gd name="connsiteX5" fmla="*/ 386 w 10441"/>
                  <a:gd name="connsiteY5" fmla="*/ 3904 h 12044"/>
                  <a:gd name="connsiteX6" fmla="*/ 5574 w 10441"/>
                  <a:gd name="connsiteY6" fmla="*/ 6046 h 12044"/>
                  <a:gd name="connsiteX7" fmla="*/ 4321 w 10441"/>
                  <a:gd name="connsiteY7" fmla="*/ 0 h 12044"/>
                  <a:gd name="connsiteX8" fmla="*/ 8097 w 10441"/>
                  <a:gd name="connsiteY8" fmla="*/ 4217 h 12044"/>
                  <a:gd name="connsiteX9" fmla="*/ 10386 w 10441"/>
                  <a:gd name="connsiteY9" fmla="*/ 1711 h 12044"/>
                  <a:gd name="connsiteX10" fmla="*/ 10432 w 10441"/>
                  <a:gd name="connsiteY10" fmla="*/ 3809 h 12044"/>
                  <a:gd name="connsiteX0" fmla="*/ 3444 w 10441"/>
                  <a:gd name="connsiteY0" fmla="*/ 11752 h 11752"/>
                  <a:gd name="connsiteX1" fmla="*/ 1869 w 10441"/>
                  <a:gd name="connsiteY1" fmla="*/ 11312 h 11752"/>
                  <a:gd name="connsiteX2" fmla="*/ 3294 w 10441"/>
                  <a:gd name="connsiteY2" fmla="*/ 10183 h 11752"/>
                  <a:gd name="connsiteX3" fmla="*/ 0 w 10441"/>
                  <a:gd name="connsiteY3" fmla="*/ 8508 h 11752"/>
                  <a:gd name="connsiteX4" fmla="*/ 3824 w 10441"/>
                  <a:gd name="connsiteY4" fmla="*/ 8243 h 11752"/>
                  <a:gd name="connsiteX5" fmla="*/ 386 w 10441"/>
                  <a:gd name="connsiteY5" fmla="*/ 3904 h 11752"/>
                  <a:gd name="connsiteX6" fmla="*/ 5574 w 10441"/>
                  <a:gd name="connsiteY6" fmla="*/ 6046 h 11752"/>
                  <a:gd name="connsiteX7" fmla="*/ 4321 w 10441"/>
                  <a:gd name="connsiteY7" fmla="*/ 0 h 11752"/>
                  <a:gd name="connsiteX8" fmla="*/ 8097 w 10441"/>
                  <a:gd name="connsiteY8" fmla="*/ 4217 h 11752"/>
                  <a:gd name="connsiteX9" fmla="*/ 10386 w 10441"/>
                  <a:gd name="connsiteY9" fmla="*/ 1711 h 11752"/>
                  <a:gd name="connsiteX10" fmla="*/ 10432 w 10441"/>
                  <a:gd name="connsiteY10" fmla="*/ 3809 h 11752"/>
                  <a:gd name="connsiteX0" fmla="*/ 3444 w 10441"/>
                  <a:gd name="connsiteY0" fmla="*/ 11752 h 11752"/>
                  <a:gd name="connsiteX1" fmla="*/ 1869 w 10441"/>
                  <a:gd name="connsiteY1" fmla="*/ 11312 h 11752"/>
                  <a:gd name="connsiteX2" fmla="*/ 3370 w 10441"/>
                  <a:gd name="connsiteY2" fmla="*/ 10688 h 11752"/>
                  <a:gd name="connsiteX3" fmla="*/ 0 w 10441"/>
                  <a:gd name="connsiteY3" fmla="*/ 8508 h 11752"/>
                  <a:gd name="connsiteX4" fmla="*/ 3824 w 10441"/>
                  <a:gd name="connsiteY4" fmla="*/ 8243 h 11752"/>
                  <a:gd name="connsiteX5" fmla="*/ 386 w 10441"/>
                  <a:gd name="connsiteY5" fmla="*/ 3904 h 11752"/>
                  <a:gd name="connsiteX6" fmla="*/ 5574 w 10441"/>
                  <a:gd name="connsiteY6" fmla="*/ 6046 h 11752"/>
                  <a:gd name="connsiteX7" fmla="*/ 4321 w 10441"/>
                  <a:gd name="connsiteY7" fmla="*/ 0 h 11752"/>
                  <a:gd name="connsiteX8" fmla="*/ 8097 w 10441"/>
                  <a:gd name="connsiteY8" fmla="*/ 4217 h 11752"/>
                  <a:gd name="connsiteX9" fmla="*/ 10386 w 10441"/>
                  <a:gd name="connsiteY9" fmla="*/ 1711 h 11752"/>
                  <a:gd name="connsiteX10" fmla="*/ 10432 w 10441"/>
                  <a:gd name="connsiteY10" fmla="*/ 3809 h 11752"/>
                  <a:gd name="connsiteX0" fmla="*/ 3437 w 10441"/>
                  <a:gd name="connsiteY0" fmla="*/ 12147 h 12147"/>
                  <a:gd name="connsiteX1" fmla="*/ 1869 w 10441"/>
                  <a:gd name="connsiteY1" fmla="*/ 11312 h 12147"/>
                  <a:gd name="connsiteX2" fmla="*/ 3370 w 10441"/>
                  <a:gd name="connsiteY2" fmla="*/ 10688 h 12147"/>
                  <a:gd name="connsiteX3" fmla="*/ 0 w 10441"/>
                  <a:gd name="connsiteY3" fmla="*/ 8508 h 12147"/>
                  <a:gd name="connsiteX4" fmla="*/ 3824 w 10441"/>
                  <a:gd name="connsiteY4" fmla="*/ 8243 h 12147"/>
                  <a:gd name="connsiteX5" fmla="*/ 386 w 10441"/>
                  <a:gd name="connsiteY5" fmla="*/ 3904 h 12147"/>
                  <a:gd name="connsiteX6" fmla="*/ 5574 w 10441"/>
                  <a:gd name="connsiteY6" fmla="*/ 6046 h 12147"/>
                  <a:gd name="connsiteX7" fmla="*/ 4321 w 10441"/>
                  <a:gd name="connsiteY7" fmla="*/ 0 h 12147"/>
                  <a:gd name="connsiteX8" fmla="*/ 8097 w 10441"/>
                  <a:gd name="connsiteY8" fmla="*/ 4217 h 12147"/>
                  <a:gd name="connsiteX9" fmla="*/ 10386 w 10441"/>
                  <a:gd name="connsiteY9" fmla="*/ 1711 h 12147"/>
                  <a:gd name="connsiteX10" fmla="*/ 10432 w 10441"/>
                  <a:gd name="connsiteY10" fmla="*/ 3809 h 12147"/>
                  <a:gd name="connsiteX0" fmla="*/ 3464 w 10441"/>
                  <a:gd name="connsiteY0" fmla="*/ 11820 h 11820"/>
                  <a:gd name="connsiteX1" fmla="*/ 1869 w 10441"/>
                  <a:gd name="connsiteY1" fmla="*/ 11312 h 11820"/>
                  <a:gd name="connsiteX2" fmla="*/ 3370 w 10441"/>
                  <a:gd name="connsiteY2" fmla="*/ 10688 h 11820"/>
                  <a:gd name="connsiteX3" fmla="*/ 0 w 10441"/>
                  <a:gd name="connsiteY3" fmla="*/ 8508 h 11820"/>
                  <a:gd name="connsiteX4" fmla="*/ 3824 w 10441"/>
                  <a:gd name="connsiteY4" fmla="*/ 8243 h 11820"/>
                  <a:gd name="connsiteX5" fmla="*/ 386 w 10441"/>
                  <a:gd name="connsiteY5" fmla="*/ 3904 h 11820"/>
                  <a:gd name="connsiteX6" fmla="*/ 5574 w 10441"/>
                  <a:gd name="connsiteY6" fmla="*/ 6046 h 11820"/>
                  <a:gd name="connsiteX7" fmla="*/ 4321 w 10441"/>
                  <a:gd name="connsiteY7" fmla="*/ 0 h 11820"/>
                  <a:gd name="connsiteX8" fmla="*/ 8097 w 10441"/>
                  <a:gd name="connsiteY8" fmla="*/ 4217 h 11820"/>
                  <a:gd name="connsiteX9" fmla="*/ 10386 w 10441"/>
                  <a:gd name="connsiteY9" fmla="*/ 1711 h 11820"/>
                  <a:gd name="connsiteX10" fmla="*/ 10432 w 10441"/>
                  <a:gd name="connsiteY10" fmla="*/ 3809 h 11820"/>
                  <a:gd name="connsiteX0" fmla="*/ 3464 w 10441"/>
                  <a:gd name="connsiteY0" fmla="*/ 11820 h 11820"/>
                  <a:gd name="connsiteX1" fmla="*/ 1869 w 10441"/>
                  <a:gd name="connsiteY1" fmla="*/ 11312 h 11820"/>
                  <a:gd name="connsiteX2" fmla="*/ 3549 w 10441"/>
                  <a:gd name="connsiteY2" fmla="*/ 10563 h 11820"/>
                  <a:gd name="connsiteX3" fmla="*/ 0 w 10441"/>
                  <a:gd name="connsiteY3" fmla="*/ 8508 h 11820"/>
                  <a:gd name="connsiteX4" fmla="*/ 3824 w 10441"/>
                  <a:gd name="connsiteY4" fmla="*/ 8243 h 11820"/>
                  <a:gd name="connsiteX5" fmla="*/ 386 w 10441"/>
                  <a:gd name="connsiteY5" fmla="*/ 3904 h 11820"/>
                  <a:gd name="connsiteX6" fmla="*/ 5574 w 10441"/>
                  <a:gd name="connsiteY6" fmla="*/ 6046 h 11820"/>
                  <a:gd name="connsiteX7" fmla="*/ 4321 w 10441"/>
                  <a:gd name="connsiteY7" fmla="*/ 0 h 11820"/>
                  <a:gd name="connsiteX8" fmla="*/ 8097 w 10441"/>
                  <a:gd name="connsiteY8" fmla="*/ 4217 h 11820"/>
                  <a:gd name="connsiteX9" fmla="*/ 10386 w 10441"/>
                  <a:gd name="connsiteY9" fmla="*/ 1711 h 11820"/>
                  <a:gd name="connsiteX10" fmla="*/ 10432 w 10441"/>
                  <a:gd name="connsiteY10" fmla="*/ 3809 h 11820"/>
                  <a:gd name="connsiteX0" fmla="*/ 3464 w 10441"/>
                  <a:gd name="connsiteY0" fmla="*/ 11820 h 11820"/>
                  <a:gd name="connsiteX1" fmla="*/ 1869 w 10441"/>
                  <a:gd name="connsiteY1" fmla="*/ 11312 h 11820"/>
                  <a:gd name="connsiteX2" fmla="*/ 3549 w 10441"/>
                  <a:gd name="connsiteY2" fmla="*/ 10563 h 11820"/>
                  <a:gd name="connsiteX3" fmla="*/ 0 w 10441"/>
                  <a:gd name="connsiteY3" fmla="*/ 8508 h 11820"/>
                  <a:gd name="connsiteX4" fmla="*/ 3942 w 10441"/>
                  <a:gd name="connsiteY4" fmla="*/ 8360 h 11820"/>
                  <a:gd name="connsiteX5" fmla="*/ 386 w 10441"/>
                  <a:gd name="connsiteY5" fmla="*/ 3904 h 11820"/>
                  <a:gd name="connsiteX6" fmla="*/ 5574 w 10441"/>
                  <a:gd name="connsiteY6" fmla="*/ 6046 h 11820"/>
                  <a:gd name="connsiteX7" fmla="*/ 4321 w 10441"/>
                  <a:gd name="connsiteY7" fmla="*/ 0 h 11820"/>
                  <a:gd name="connsiteX8" fmla="*/ 8097 w 10441"/>
                  <a:gd name="connsiteY8" fmla="*/ 4217 h 11820"/>
                  <a:gd name="connsiteX9" fmla="*/ 10386 w 10441"/>
                  <a:gd name="connsiteY9" fmla="*/ 1711 h 11820"/>
                  <a:gd name="connsiteX10" fmla="*/ 10432 w 10441"/>
                  <a:gd name="connsiteY10" fmla="*/ 3809 h 11820"/>
                  <a:gd name="connsiteX0" fmla="*/ 3464 w 10441"/>
                  <a:gd name="connsiteY0" fmla="*/ 11820 h 11820"/>
                  <a:gd name="connsiteX1" fmla="*/ 1869 w 10441"/>
                  <a:gd name="connsiteY1" fmla="*/ 11312 h 11820"/>
                  <a:gd name="connsiteX2" fmla="*/ 3549 w 10441"/>
                  <a:gd name="connsiteY2" fmla="*/ 10563 h 11820"/>
                  <a:gd name="connsiteX3" fmla="*/ 0 w 10441"/>
                  <a:gd name="connsiteY3" fmla="*/ 8508 h 11820"/>
                  <a:gd name="connsiteX4" fmla="*/ 3942 w 10441"/>
                  <a:gd name="connsiteY4" fmla="*/ 8360 h 11820"/>
                  <a:gd name="connsiteX5" fmla="*/ 386 w 10441"/>
                  <a:gd name="connsiteY5" fmla="*/ 3904 h 11820"/>
                  <a:gd name="connsiteX6" fmla="*/ 5574 w 10441"/>
                  <a:gd name="connsiteY6" fmla="*/ 6046 h 11820"/>
                  <a:gd name="connsiteX7" fmla="*/ 4321 w 10441"/>
                  <a:gd name="connsiteY7" fmla="*/ 0 h 11820"/>
                  <a:gd name="connsiteX8" fmla="*/ 8064 w 10441"/>
                  <a:gd name="connsiteY8" fmla="*/ 4496 h 11820"/>
                  <a:gd name="connsiteX9" fmla="*/ 10386 w 10441"/>
                  <a:gd name="connsiteY9" fmla="*/ 1711 h 11820"/>
                  <a:gd name="connsiteX10" fmla="*/ 10432 w 10441"/>
                  <a:gd name="connsiteY10" fmla="*/ 3809 h 11820"/>
                  <a:gd name="connsiteX0" fmla="*/ 3464 w 10567"/>
                  <a:gd name="connsiteY0" fmla="*/ 11820 h 11820"/>
                  <a:gd name="connsiteX1" fmla="*/ 1869 w 10567"/>
                  <a:gd name="connsiteY1" fmla="*/ 11312 h 11820"/>
                  <a:gd name="connsiteX2" fmla="*/ 3549 w 10567"/>
                  <a:gd name="connsiteY2" fmla="*/ 10563 h 11820"/>
                  <a:gd name="connsiteX3" fmla="*/ 0 w 10567"/>
                  <a:gd name="connsiteY3" fmla="*/ 8508 h 11820"/>
                  <a:gd name="connsiteX4" fmla="*/ 3942 w 10567"/>
                  <a:gd name="connsiteY4" fmla="*/ 8360 h 11820"/>
                  <a:gd name="connsiteX5" fmla="*/ 386 w 10567"/>
                  <a:gd name="connsiteY5" fmla="*/ 3904 h 11820"/>
                  <a:gd name="connsiteX6" fmla="*/ 5574 w 10567"/>
                  <a:gd name="connsiteY6" fmla="*/ 6046 h 11820"/>
                  <a:gd name="connsiteX7" fmla="*/ 4321 w 10567"/>
                  <a:gd name="connsiteY7" fmla="*/ 0 h 11820"/>
                  <a:gd name="connsiteX8" fmla="*/ 8064 w 10567"/>
                  <a:gd name="connsiteY8" fmla="*/ 4496 h 11820"/>
                  <a:gd name="connsiteX9" fmla="*/ 10386 w 10567"/>
                  <a:gd name="connsiteY9" fmla="*/ 1711 h 11820"/>
                  <a:gd name="connsiteX10" fmla="*/ 10562 w 10567"/>
                  <a:gd name="connsiteY10" fmla="*/ 4023 h 11820"/>
                  <a:gd name="connsiteX0" fmla="*/ 3464 w 10564"/>
                  <a:gd name="connsiteY0" fmla="*/ 11820 h 11820"/>
                  <a:gd name="connsiteX1" fmla="*/ 1869 w 10564"/>
                  <a:gd name="connsiteY1" fmla="*/ 11312 h 11820"/>
                  <a:gd name="connsiteX2" fmla="*/ 3549 w 10564"/>
                  <a:gd name="connsiteY2" fmla="*/ 10563 h 11820"/>
                  <a:gd name="connsiteX3" fmla="*/ 0 w 10564"/>
                  <a:gd name="connsiteY3" fmla="*/ 8508 h 11820"/>
                  <a:gd name="connsiteX4" fmla="*/ 3942 w 10564"/>
                  <a:gd name="connsiteY4" fmla="*/ 8360 h 11820"/>
                  <a:gd name="connsiteX5" fmla="*/ 386 w 10564"/>
                  <a:gd name="connsiteY5" fmla="*/ 3904 h 11820"/>
                  <a:gd name="connsiteX6" fmla="*/ 5574 w 10564"/>
                  <a:gd name="connsiteY6" fmla="*/ 6046 h 11820"/>
                  <a:gd name="connsiteX7" fmla="*/ 4321 w 10564"/>
                  <a:gd name="connsiteY7" fmla="*/ 0 h 11820"/>
                  <a:gd name="connsiteX8" fmla="*/ 8064 w 10564"/>
                  <a:gd name="connsiteY8" fmla="*/ 4496 h 11820"/>
                  <a:gd name="connsiteX9" fmla="*/ 9928 w 10564"/>
                  <a:gd name="connsiteY9" fmla="*/ 2069 h 11820"/>
                  <a:gd name="connsiteX10" fmla="*/ 10562 w 10564"/>
                  <a:gd name="connsiteY10" fmla="*/ 4023 h 11820"/>
                  <a:gd name="connsiteX0" fmla="*/ 3464 w 10565"/>
                  <a:gd name="connsiteY0" fmla="*/ 11820 h 11820"/>
                  <a:gd name="connsiteX1" fmla="*/ 1869 w 10565"/>
                  <a:gd name="connsiteY1" fmla="*/ 11312 h 11820"/>
                  <a:gd name="connsiteX2" fmla="*/ 3549 w 10565"/>
                  <a:gd name="connsiteY2" fmla="*/ 10563 h 11820"/>
                  <a:gd name="connsiteX3" fmla="*/ 0 w 10565"/>
                  <a:gd name="connsiteY3" fmla="*/ 8508 h 11820"/>
                  <a:gd name="connsiteX4" fmla="*/ 3942 w 10565"/>
                  <a:gd name="connsiteY4" fmla="*/ 8360 h 11820"/>
                  <a:gd name="connsiteX5" fmla="*/ 386 w 10565"/>
                  <a:gd name="connsiteY5" fmla="*/ 3904 h 11820"/>
                  <a:gd name="connsiteX6" fmla="*/ 5574 w 10565"/>
                  <a:gd name="connsiteY6" fmla="*/ 6046 h 11820"/>
                  <a:gd name="connsiteX7" fmla="*/ 4321 w 10565"/>
                  <a:gd name="connsiteY7" fmla="*/ 0 h 11820"/>
                  <a:gd name="connsiteX8" fmla="*/ 8064 w 10565"/>
                  <a:gd name="connsiteY8" fmla="*/ 4496 h 11820"/>
                  <a:gd name="connsiteX9" fmla="*/ 9928 w 10565"/>
                  <a:gd name="connsiteY9" fmla="*/ 2069 h 11820"/>
                  <a:gd name="connsiteX10" fmla="*/ 10562 w 10565"/>
                  <a:gd name="connsiteY10" fmla="*/ 4023 h 11820"/>
                  <a:gd name="connsiteX0" fmla="*/ 3464 w 10562"/>
                  <a:gd name="connsiteY0" fmla="*/ 11820 h 11820"/>
                  <a:gd name="connsiteX1" fmla="*/ 1869 w 10562"/>
                  <a:gd name="connsiteY1" fmla="*/ 11312 h 11820"/>
                  <a:gd name="connsiteX2" fmla="*/ 3549 w 10562"/>
                  <a:gd name="connsiteY2" fmla="*/ 10563 h 11820"/>
                  <a:gd name="connsiteX3" fmla="*/ 0 w 10562"/>
                  <a:gd name="connsiteY3" fmla="*/ 8508 h 11820"/>
                  <a:gd name="connsiteX4" fmla="*/ 3942 w 10562"/>
                  <a:gd name="connsiteY4" fmla="*/ 8360 h 11820"/>
                  <a:gd name="connsiteX5" fmla="*/ 386 w 10562"/>
                  <a:gd name="connsiteY5" fmla="*/ 3904 h 11820"/>
                  <a:gd name="connsiteX6" fmla="*/ 5574 w 10562"/>
                  <a:gd name="connsiteY6" fmla="*/ 6046 h 11820"/>
                  <a:gd name="connsiteX7" fmla="*/ 4321 w 10562"/>
                  <a:gd name="connsiteY7" fmla="*/ 0 h 11820"/>
                  <a:gd name="connsiteX8" fmla="*/ 8064 w 10562"/>
                  <a:gd name="connsiteY8" fmla="*/ 4496 h 11820"/>
                  <a:gd name="connsiteX9" fmla="*/ 9928 w 10562"/>
                  <a:gd name="connsiteY9" fmla="*/ 2069 h 11820"/>
                  <a:gd name="connsiteX10" fmla="*/ 10562 w 10562"/>
                  <a:gd name="connsiteY10" fmla="*/ 4023 h 11820"/>
                  <a:gd name="connsiteX0" fmla="*/ 3464 w 10362"/>
                  <a:gd name="connsiteY0" fmla="*/ 11820 h 11820"/>
                  <a:gd name="connsiteX1" fmla="*/ 1869 w 10362"/>
                  <a:gd name="connsiteY1" fmla="*/ 11312 h 11820"/>
                  <a:gd name="connsiteX2" fmla="*/ 3549 w 10362"/>
                  <a:gd name="connsiteY2" fmla="*/ 10563 h 11820"/>
                  <a:gd name="connsiteX3" fmla="*/ 0 w 10362"/>
                  <a:gd name="connsiteY3" fmla="*/ 8508 h 11820"/>
                  <a:gd name="connsiteX4" fmla="*/ 3942 w 10362"/>
                  <a:gd name="connsiteY4" fmla="*/ 8360 h 11820"/>
                  <a:gd name="connsiteX5" fmla="*/ 386 w 10362"/>
                  <a:gd name="connsiteY5" fmla="*/ 3904 h 11820"/>
                  <a:gd name="connsiteX6" fmla="*/ 5574 w 10362"/>
                  <a:gd name="connsiteY6" fmla="*/ 6046 h 11820"/>
                  <a:gd name="connsiteX7" fmla="*/ 4321 w 10362"/>
                  <a:gd name="connsiteY7" fmla="*/ 0 h 11820"/>
                  <a:gd name="connsiteX8" fmla="*/ 8064 w 10362"/>
                  <a:gd name="connsiteY8" fmla="*/ 4496 h 11820"/>
                  <a:gd name="connsiteX9" fmla="*/ 9928 w 10362"/>
                  <a:gd name="connsiteY9" fmla="*/ 2069 h 11820"/>
                  <a:gd name="connsiteX10" fmla="*/ 10362 w 10362"/>
                  <a:gd name="connsiteY10" fmla="*/ 4160 h 11820"/>
                  <a:gd name="connsiteX0" fmla="*/ 3464 w 10362"/>
                  <a:gd name="connsiteY0" fmla="*/ 11820 h 11820"/>
                  <a:gd name="connsiteX1" fmla="*/ 1869 w 10362"/>
                  <a:gd name="connsiteY1" fmla="*/ 11312 h 11820"/>
                  <a:gd name="connsiteX2" fmla="*/ 3549 w 10362"/>
                  <a:gd name="connsiteY2" fmla="*/ 10563 h 11820"/>
                  <a:gd name="connsiteX3" fmla="*/ 0 w 10362"/>
                  <a:gd name="connsiteY3" fmla="*/ 8508 h 11820"/>
                  <a:gd name="connsiteX4" fmla="*/ 3942 w 10362"/>
                  <a:gd name="connsiteY4" fmla="*/ 8360 h 11820"/>
                  <a:gd name="connsiteX5" fmla="*/ 2112 w 10362"/>
                  <a:gd name="connsiteY5" fmla="*/ 5317 h 11820"/>
                  <a:gd name="connsiteX6" fmla="*/ 5574 w 10362"/>
                  <a:gd name="connsiteY6" fmla="*/ 6046 h 11820"/>
                  <a:gd name="connsiteX7" fmla="*/ 4321 w 10362"/>
                  <a:gd name="connsiteY7" fmla="*/ 0 h 11820"/>
                  <a:gd name="connsiteX8" fmla="*/ 8064 w 10362"/>
                  <a:gd name="connsiteY8" fmla="*/ 4496 h 11820"/>
                  <a:gd name="connsiteX9" fmla="*/ 9928 w 10362"/>
                  <a:gd name="connsiteY9" fmla="*/ 2069 h 11820"/>
                  <a:gd name="connsiteX10" fmla="*/ 10362 w 10362"/>
                  <a:gd name="connsiteY10" fmla="*/ 4160 h 11820"/>
                  <a:gd name="connsiteX0" fmla="*/ 3464 w 10362"/>
                  <a:gd name="connsiteY0" fmla="*/ 11820 h 11820"/>
                  <a:gd name="connsiteX1" fmla="*/ 1869 w 10362"/>
                  <a:gd name="connsiteY1" fmla="*/ 11312 h 11820"/>
                  <a:gd name="connsiteX2" fmla="*/ 3549 w 10362"/>
                  <a:gd name="connsiteY2" fmla="*/ 10563 h 11820"/>
                  <a:gd name="connsiteX3" fmla="*/ 0 w 10362"/>
                  <a:gd name="connsiteY3" fmla="*/ 8508 h 11820"/>
                  <a:gd name="connsiteX4" fmla="*/ 3942 w 10362"/>
                  <a:gd name="connsiteY4" fmla="*/ 8360 h 11820"/>
                  <a:gd name="connsiteX5" fmla="*/ 1619 w 10362"/>
                  <a:gd name="connsiteY5" fmla="*/ 4861 h 11820"/>
                  <a:gd name="connsiteX6" fmla="*/ 5574 w 10362"/>
                  <a:gd name="connsiteY6" fmla="*/ 6046 h 11820"/>
                  <a:gd name="connsiteX7" fmla="*/ 4321 w 10362"/>
                  <a:gd name="connsiteY7" fmla="*/ 0 h 11820"/>
                  <a:gd name="connsiteX8" fmla="*/ 8064 w 10362"/>
                  <a:gd name="connsiteY8" fmla="*/ 4496 h 11820"/>
                  <a:gd name="connsiteX9" fmla="*/ 9928 w 10362"/>
                  <a:gd name="connsiteY9" fmla="*/ 2069 h 11820"/>
                  <a:gd name="connsiteX10" fmla="*/ 10362 w 10362"/>
                  <a:gd name="connsiteY10" fmla="*/ 4160 h 11820"/>
                  <a:gd name="connsiteX0" fmla="*/ 3464 w 10362"/>
                  <a:gd name="connsiteY0" fmla="*/ 11106 h 11106"/>
                  <a:gd name="connsiteX1" fmla="*/ 1869 w 10362"/>
                  <a:gd name="connsiteY1" fmla="*/ 10598 h 11106"/>
                  <a:gd name="connsiteX2" fmla="*/ 3549 w 10362"/>
                  <a:gd name="connsiteY2" fmla="*/ 9849 h 11106"/>
                  <a:gd name="connsiteX3" fmla="*/ 0 w 10362"/>
                  <a:gd name="connsiteY3" fmla="*/ 7794 h 11106"/>
                  <a:gd name="connsiteX4" fmla="*/ 3942 w 10362"/>
                  <a:gd name="connsiteY4" fmla="*/ 7646 h 11106"/>
                  <a:gd name="connsiteX5" fmla="*/ 1619 w 10362"/>
                  <a:gd name="connsiteY5" fmla="*/ 4147 h 11106"/>
                  <a:gd name="connsiteX6" fmla="*/ 5574 w 10362"/>
                  <a:gd name="connsiteY6" fmla="*/ 5332 h 11106"/>
                  <a:gd name="connsiteX7" fmla="*/ 4584 w 10362"/>
                  <a:gd name="connsiteY7" fmla="*/ 0 h 11106"/>
                  <a:gd name="connsiteX8" fmla="*/ 8064 w 10362"/>
                  <a:gd name="connsiteY8" fmla="*/ 3782 h 11106"/>
                  <a:gd name="connsiteX9" fmla="*/ 9928 w 10362"/>
                  <a:gd name="connsiteY9" fmla="*/ 1355 h 11106"/>
                  <a:gd name="connsiteX10" fmla="*/ 10362 w 10362"/>
                  <a:gd name="connsiteY10" fmla="*/ 3446 h 11106"/>
                  <a:gd name="connsiteX0" fmla="*/ 3566 w 10362"/>
                  <a:gd name="connsiteY0" fmla="*/ 11727 h 11727"/>
                  <a:gd name="connsiteX1" fmla="*/ 1869 w 10362"/>
                  <a:gd name="connsiteY1" fmla="*/ 10598 h 11727"/>
                  <a:gd name="connsiteX2" fmla="*/ 3549 w 10362"/>
                  <a:gd name="connsiteY2" fmla="*/ 9849 h 11727"/>
                  <a:gd name="connsiteX3" fmla="*/ 0 w 10362"/>
                  <a:gd name="connsiteY3" fmla="*/ 7794 h 11727"/>
                  <a:gd name="connsiteX4" fmla="*/ 3942 w 10362"/>
                  <a:gd name="connsiteY4" fmla="*/ 7646 h 11727"/>
                  <a:gd name="connsiteX5" fmla="*/ 1619 w 10362"/>
                  <a:gd name="connsiteY5" fmla="*/ 4147 h 11727"/>
                  <a:gd name="connsiteX6" fmla="*/ 5574 w 10362"/>
                  <a:gd name="connsiteY6" fmla="*/ 5332 h 11727"/>
                  <a:gd name="connsiteX7" fmla="*/ 4584 w 10362"/>
                  <a:gd name="connsiteY7" fmla="*/ 0 h 11727"/>
                  <a:gd name="connsiteX8" fmla="*/ 8064 w 10362"/>
                  <a:gd name="connsiteY8" fmla="*/ 3782 h 11727"/>
                  <a:gd name="connsiteX9" fmla="*/ 9928 w 10362"/>
                  <a:gd name="connsiteY9" fmla="*/ 1355 h 11727"/>
                  <a:gd name="connsiteX10" fmla="*/ 10362 w 10362"/>
                  <a:gd name="connsiteY10" fmla="*/ 3446 h 11727"/>
                  <a:gd name="connsiteX0" fmla="*/ 3522 w 10362"/>
                  <a:gd name="connsiteY0" fmla="*/ 11244 h 11244"/>
                  <a:gd name="connsiteX1" fmla="*/ 1869 w 10362"/>
                  <a:gd name="connsiteY1" fmla="*/ 10598 h 11244"/>
                  <a:gd name="connsiteX2" fmla="*/ 3549 w 10362"/>
                  <a:gd name="connsiteY2" fmla="*/ 9849 h 11244"/>
                  <a:gd name="connsiteX3" fmla="*/ 0 w 10362"/>
                  <a:gd name="connsiteY3" fmla="*/ 7794 h 11244"/>
                  <a:gd name="connsiteX4" fmla="*/ 3942 w 10362"/>
                  <a:gd name="connsiteY4" fmla="*/ 7646 h 11244"/>
                  <a:gd name="connsiteX5" fmla="*/ 1619 w 10362"/>
                  <a:gd name="connsiteY5" fmla="*/ 4147 h 11244"/>
                  <a:gd name="connsiteX6" fmla="*/ 5574 w 10362"/>
                  <a:gd name="connsiteY6" fmla="*/ 5332 h 11244"/>
                  <a:gd name="connsiteX7" fmla="*/ 4584 w 10362"/>
                  <a:gd name="connsiteY7" fmla="*/ 0 h 11244"/>
                  <a:gd name="connsiteX8" fmla="*/ 8064 w 10362"/>
                  <a:gd name="connsiteY8" fmla="*/ 3782 h 11244"/>
                  <a:gd name="connsiteX9" fmla="*/ 9928 w 10362"/>
                  <a:gd name="connsiteY9" fmla="*/ 1355 h 11244"/>
                  <a:gd name="connsiteX10" fmla="*/ 10362 w 10362"/>
                  <a:gd name="connsiteY10" fmla="*/ 3446 h 1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62" h="11244">
                    <a:moveTo>
                      <a:pt x="3522" y="11244"/>
                    </a:moveTo>
                    <a:lnTo>
                      <a:pt x="1869" y="10598"/>
                    </a:lnTo>
                    <a:lnTo>
                      <a:pt x="3549" y="9849"/>
                    </a:lnTo>
                    <a:lnTo>
                      <a:pt x="0" y="7794"/>
                    </a:lnTo>
                    <a:lnTo>
                      <a:pt x="3942" y="7646"/>
                    </a:lnTo>
                    <a:lnTo>
                      <a:pt x="1619" y="4147"/>
                    </a:lnTo>
                    <a:lnTo>
                      <a:pt x="5574" y="5332"/>
                    </a:lnTo>
                    <a:lnTo>
                      <a:pt x="4584" y="0"/>
                    </a:lnTo>
                    <a:lnTo>
                      <a:pt x="8064" y="3782"/>
                    </a:lnTo>
                    <a:lnTo>
                      <a:pt x="9928" y="1355"/>
                    </a:lnTo>
                    <a:cubicBezTo>
                      <a:pt x="10073" y="2052"/>
                      <a:pt x="10217" y="2749"/>
                      <a:pt x="10362" y="3446"/>
                    </a:cubicBez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333" name="Line 594">
                <a:extLst>
                  <a:ext uri="{FF2B5EF4-FFF2-40B4-BE49-F238E27FC236}">
                    <a16:creationId xmlns:a16="http://schemas.microsoft.com/office/drawing/2014/main" id="{771C6354-429C-4A72-A80A-3D406635C30A}"/>
                  </a:ext>
                </a:extLst>
              </p:cNvPr>
              <p:cNvSpPr>
                <a:spLocks noChangeShapeType="1"/>
              </p:cNvSpPr>
              <p:nvPr/>
            </p:nvSpPr>
            <p:spPr bwMode="gray">
              <a:xfrm rot="18169347">
                <a:off x="11733052" y="4551454"/>
                <a:ext cx="0" cy="0"/>
              </a:xfrm>
              <a:prstGeom prst="lin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334" name="Freeform: Shape 333">
                <a:extLst>
                  <a:ext uri="{FF2B5EF4-FFF2-40B4-BE49-F238E27FC236}">
                    <a16:creationId xmlns:a16="http://schemas.microsoft.com/office/drawing/2014/main" id="{81BAC0A2-0562-4E1D-A2C0-B39BB3009A72}"/>
                  </a:ext>
                </a:extLst>
              </p:cNvPr>
              <p:cNvSpPr/>
              <p:nvPr/>
            </p:nvSpPr>
            <p:spPr bwMode="gray">
              <a:xfrm flipV="1">
                <a:off x="11772451" y="4378959"/>
                <a:ext cx="230542" cy="279583"/>
              </a:xfrm>
              <a:custGeom>
                <a:avLst/>
                <a:gdLst>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70163 w 321381"/>
                  <a:gd name="connsiteY5" fmla="*/ 8444 h 395810"/>
                  <a:gd name="connsiteX6" fmla="*/ 166021 w 321381"/>
                  <a:gd name="connsiteY6" fmla="*/ 0 h 395810"/>
                  <a:gd name="connsiteX7" fmla="*/ 160691 w 321381"/>
                  <a:gd name="connsiteY7" fmla="*/ 3041 h 395810"/>
                  <a:gd name="connsiteX8" fmla="*/ 155360 w 321381"/>
                  <a:gd name="connsiteY8" fmla="*/ 0 h 395810"/>
                  <a:gd name="connsiteX9" fmla="*/ 151218 w 321381"/>
                  <a:gd name="connsiteY9" fmla="*/ 8444 h 395810"/>
                  <a:gd name="connsiteX10" fmla="*/ 119662 w 321381"/>
                  <a:gd name="connsiteY10" fmla="*/ 26443 h 395810"/>
                  <a:gd name="connsiteX11" fmla="*/ 0 w 321381"/>
                  <a:gd name="connsiteY11" fmla="*/ 318980 h 395810"/>
                  <a:gd name="connsiteX12" fmla="*/ 160305 w 321381"/>
                  <a:gd name="connsiteY12"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70163 w 321381"/>
                  <a:gd name="connsiteY5" fmla="*/ 8444 h 395810"/>
                  <a:gd name="connsiteX6" fmla="*/ 166021 w 321381"/>
                  <a:gd name="connsiteY6" fmla="*/ 0 h 395810"/>
                  <a:gd name="connsiteX7" fmla="*/ 160691 w 321381"/>
                  <a:gd name="connsiteY7" fmla="*/ 3041 h 395810"/>
                  <a:gd name="connsiteX8" fmla="*/ 155360 w 321381"/>
                  <a:gd name="connsiteY8" fmla="*/ 0 h 395810"/>
                  <a:gd name="connsiteX9" fmla="*/ 119662 w 321381"/>
                  <a:gd name="connsiteY9" fmla="*/ 26443 h 395810"/>
                  <a:gd name="connsiteX10" fmla="*/ 0 w 321381"/>
                  <a:gd name="connsiteY10" fmla="*/ 318980 h 395810"/>
                  <a:gd name="connsiteX11" fmla="*/ 160305 w 321381"/>
                  <a:gd name="connsiteY11"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70163 w 321381"/>
                  <a:gd name="connsiteY5" fmla="*/ 8444 h 395810"/>
                  <a:gd name="connsiteX6" fmla="*/ 160691 w 321381"/>
                  <a:gd name="connsiteY6" fmla="*/ 3041 h 395810"/>
                  <a:gd name="connsiteX7" fmla="*/ 155360 w 321381"/>
                  <a:gd name="connsiteY7" fmla="*/ 0 h 395810"/>
                  <a:gd name="connsiteX8" fmla="*/ 119662 w 321381"/>
                  <a:gd name="connsiteY8" fmla="*/ 26443 h 395810"/>
                  <a:gd name="connsiteX9" fmla="*/ 0 w 321381"/>
                  <a:gd name="connsiteY9" fmla="*/ 318980 h 395810"/>
                  <a:gd name="connsiteX10" fmla="*/ 160305 w 321381"/>
                  <a:gd name="connsiteY10"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60691 w 321381"/>
                  <a:gd name="connsiteY5" fmla="*/ 3041 h 395810"/>
                  <a:gd name="connsiteX6" fmla="*/ 155360 w 321381"/>
                  <a:gd name="connsiteY6" fmla="*/ 0 h 395810"/>
                  <a:gd name="connsiteX7" fmla="*/ 119662 w 321381"/>
                  <a:gd name="connsiteY7" fmla="*/ 26443 h 395810"/>
                  <a:gd name="connsiteX8" fmla="*/ 0 w 321381"/>
                  <a:gd name="connsiteY8" fmla="*/ 318980 h 395810"/>
                  <a:gd name="connsiteX9" fmla="*/ 160305 w 321381"/>
                  <a:gd name="connsiteY9"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160691 w 321381"/>
                  <a:gd name="connsiteY4" fmla="*/ 3041 h 395810"/>
                  <a:gd name="connsiteX5" fmla="*/ 155360 w 321381"/>
                  <a:gd name="connsiteY5" fmla="*/ 0 h 395810"/>
                  <a:gd name="connsiteX6" fmla="*/ 119662 w 321381"/>
                  <a:gd name="connsiteY6" fmla="*/ 26443 h 395810"/>
                  <a:gd name="connsiteX7" fmla="*/ 0 w 321381"/>
                  <a:gd name="connsiteY7" fmla="*/ 318980 h 395810"/>
                  <a:gd name="connsiteX8" fmla="*/ 160305 w 321381"/>
                  <a:gd name="connsiteY8" fmla="*/ 395810 h 395810"/>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119662 w 321381"/>
                  <a:gd name="connsiteY5" fmla="*/ 23402 h 392769"/>
                  <a:gd name="connsiteX6" fmla="*/ 0 w 321381"/>
                  <a:gd name="connsiteY6" fmla="*/ 315939 h 392769"/>
                  <a:gd name="connsiteX7" fmla="*/ 160305 w 321381"/>
                  <a:gd name="connsiteY7"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0 w 321381"/>
                  <a:gd name="connsiteY0" fmla="*/ 31593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381" h="389746">
                    <a:moveTo>
                      <a:pt x="0" y="315939"/>
                    </a:moveTo>
                    <a:cubicBezTo>
                      <a:pt x="80010" y="319937"/>
                      <a:pt x="133845" y="376941"/>
                      <a:pt x="160691" y="389746"/>
                    </a:cubicBezTo>
                    <a:cubicBezTo>
                      <a:pt x="187584" y="372601"/>
                      <a:pt x="210891" y="327557"/>
                      <a:pt x="321381" y="315939"/>
                    </a:cubicBezTo>
                    <a:cubicBezTo>
                      <a:pt x="315602" y="178088"/>
                      <a:pt x="275991" y="41733"/>
                      <a:pt x="160691" y="0"/>
                    </a:cubicBezTo>
                    <a:cubicBezTo>
                      <a:pt x="65217" y="31018"/>
                      <a:pt x="5939" y="155381"/>
                      <a:pt x="0" y="315939"/>
                    </a:cubicBezTo>
                    <a:close/>
                  </a:path>
                </a:pathLst>
              </a:custGeom>
              <a:solidFill>
                <a:schemeClr val="bg1"/>
              </a:solidFill>
              <a:ln w="1905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de-DE" dirty="0" err="1"/>
              </a:p>
            </p:txBody>
          </p:sp>
        </p:grpSp>
        <p:sp>
          <p:nvSpPr>
            <p:cNvPr id="330" name="TextBox 329">
              <a:extLst>
                <a:ext uri="{FF2B5EF4-FFF2-40B4-BE49-F238E27FC236}">
                  <a16:creationId xmlns:a16="http://schemas.microsoft.com/office/drawing/2014/main" id="{F468D264-8336-4630-97C0-29EE8EF73CBD}"/>
                </a:ext>
              </a:extLst>
            </p:cNvPr>
            <p:cNvSpPr txBox="1"/>
            <p:nvPr/>
          </p:nvSpPr>
          <p:spPr bwMode="gray">
            <a:xfrm>
              <a:off x="11233438"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Explosion proof </a:t>
              </a:r>
            </a:p>
          </p:txBody>
        </p:sp>
      </p:grpSp>
      <p:cxnSp>
        <p:nvCxnSpPr>
          <p:cNvPr id="352" name="Straight Connector 351">
            <a:extLst>
              <a:ext uri="{FF2B5EF4-FFF2-40B4-BE49-F238E27FC236}">
                <a16:creationId xmlns:a16="http://schemas.microsoft.com/office/drawing/2014/main" id="{FEC55C1F-A088-4AC3-B5A5-781E0CE5A615}"/>
              </a:ext>
            </a:extLst>
          </p:cNvPr>
          <p:cNvCxnSpPr>
            <a:cxnSpLocks/>
          </p:cNvCxnSpPr>
          <p:nvPr/>
        </p:nvCxnSpPr>
        <p:spPr bwMode="gray">
          <a:xfrm>
            <a:off x="9648010" y="4762209"/>
            <a:ext cx="220525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65" name="Picture 19" descr="AO2060_3Drechts_lowres">
            <a:extLst>
              <a:ext uri="{FF2B5EF4-FFF2-40B4-BE49-F238E27FC236}">
                <a16:creationId xmlns:a16="http://schemas.microsoft.com/office/drawing/2014/main" id="{91B82A08-E76F-4609-8F3C-0A63F5CAEDC2}"/>
              </a:ext>
            </a:extLst>
          </p:cNvPr>
          <p:cNvPicPr>
            <a:picLocks noChangeAspect="1" noChangeArrowheads="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8023695" y="3027271"/>
            <a:ext cx="1230774" cy="1765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7" name="Group 10">
            <a:extLst>
              <a:ext uri="{FF2B5EF4-FFF2-40B4-BE49-F238E27FC236}">
                <a16:creationId xmlns:a16="http://schemas.microsoft.com/office/drawing/2014/main" id="{17033165-51A4-4090-B99F-27E4A9AD9E70}"/>
              </a:ext>
            </a:extLst>
          </p:cNvPr>
          <p:cNvGrpSpPr>
            <a:grpSpLocks noChangeAspect="1"/>
          </p:cNvGrpSpPr>
          <p:nvPr/>
        </p:nvGrpSpPr>
        <p:grpSpPr bwMode="gray">
          <a:xfrm>
            <a:off x="6423645" y="2129253"/>
            <a:ext cx="1953757" cy="2671200"/>
            <a:chOff x="957" y="1158"/>
            <a:chExt cx="1108" cy="1434"/>
          </a:xfrm>
        </p:grpSpPr>
        <p:sp>
          <p:nvSpPr>
            <p:cNvPr id="78" name="Rectangle 11">
              <a:extLst>
                <a:ext uri="{FF2B5EF4-FFF2-40B4-BE49-F238E27FC236}">
                  <a16:creationId xmlns:a16="http://schemas.microsoft.com/office/drawing/2014/main" id="{D08D1914-CD17-44F9-A701-03EC1F44E2B0}"/>
                </a:ext>
              </a:extLst>
            </p:cNvPr>
            <p:cNvSpPr>
              <a:spLocks noChangeArrowheads="1"/>
            </p:cNvSpPr>
            <p:nvPr/>
          </p:nvSpPr>
          <p:spPr bwMode="gray">
            <a:xfrm>
              <a:off x="1605" y="1275"/>
              <a:ext cx="264" cy="864"/>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endParaRPr lang="de-DE" altLang="de-DE">
                <a:solidFill>
                  <a:srgbClr val="000000"/>
                </a:solidFill>
              </a:endParaRPr>
            </a:p>
          </p:txBody>
        </p:sp>
        <p:sp>
          <p:nvSpPr>
            <p:cNvPr id="79" name="Rectangle 12">
              <a:extLst>
                <a:ext uri="{FF2B5EF4-FFF2-40B4-BE49-F238E27FC236}">
                  <a16:creationId xmlns:a16="http://schemas.microsoft.com/office/drawing/2014/main" id="{EF23E3DD-AA50-462F-A380-6714F9FE278A}"/>
                </a:ext>
              </a:extLst>
            </p:cNvPr>
            <p:cNvSpPr>
              <a:spLocks noChangeArrowheads="1"/>
            </p:cNvSpPr>
            <p:nvPr/>
          </p:nvSpPr>
          <p:spPr bwMode="gray">
            <a:xfrm>
              <a:off x="1035" y="1548"/>
              <a:ext cx="156" cy="198"/>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endParaRPr lang="de-DE" altLang="de-DE">
                <a:solidFill>
                  <a:srgbClr val="000000"/>
                </a:solidFill>
              </a:endParaRPr>
            </a:p>
          </p:txBody>
        </p:sp>
        <p:pic>
          <p:nvPicPr>
            <p:cNvPr id="80" name="Picture 13" descr="EL3060_3dr_O2">
              <a:extLst>
                <a:ext uri="{FF2B5EF4-FFF2-40B4-BE49-F238E27FC236}">
                  <a16:creationId xmlns:a16="http://schemas.microsoft.com/office/drawing/2014/main" id="{5B75A1C6-2601-41A6-81E0-BCEC9735456A}"/>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957" y="1158"/>
              <a:ext cx="1108" cy="1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1" name="AutoShape 6">
            <a:hlinkClick r:id="rId12" action="ppaction://hlinksldjump" highlightClick="1"/>
            <a:extLst>
              <a:ext uri="{FF2B5EF4-FFF2-40B4-BE49-F238E27FC236}">
                <a16:creationId xmlns:a16="http://schemas.microsoft.com/office/drawing/2014/main" id="{D29FB306-CBBD-4FA5-A379-6D09F6771D7E}"/>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
        <p:nvSpPr>
          <p:cNvPr id="82" name="TextBox 81">
            <a:extLst>
              <a:ext uri="{FF2B5EF4-FFF2-40B4-BE49-F238E27FC236}">
                <a16:creationId xmlns:a16="http://schemas.microsoft.com/office/drawing/2014/main" id="{3BF82129-225E-4E10-8EC1-EB0EECE197FF}"/>
              </a:ext>
            </a:extLst>
          </p:cNvPr>
          <p:cNvSpPr txBox="1"/>
          <p:nvPr/>
        </p:nvSpPr>
        <p:spPr bwMode="gray">
          <a:xfrm>
            <a:off x="8622081" y="642837"/>
            <a:ext cx="2401785" cy="375827"/>
          </a:xfrm>
          <a:prstGeom prst="rect">
            <a:avLst/>
          </a:prstGeom>
          <a:noFill/>
        </p:spPr>
        <p:txBody>
          <a:bodyPr wrap="square" lIns="72000" tIns="72000" rIns="72000" bIns="72000" rtlCol="0">
            <a:noAutofit/>
          </a:bodyPr>
          <a:lstStyle/>
          <a:p>
            <a:pPr algn="r"/>
            <a:r>
              <a:rPr lang="en-US" sz="1400" b="1" dirty="0">
                <a:solidFill>
                  <a:schemeClr val="tx2"/>
                </a:solidFill>
              </a:rPr>
              <a:t>Back to previous section</a:t>
            </a:r>
          </a:p>
        </p:txBody>
      </p:sp>
    </p:spTree>
    <p:custDataLst>
      <p:tags r:id="rId1"/>
    </p:custDataLst>
    <p:extLst>
      <p:ext uri="{BB962C8B-B14F-4D97-AF65-F5344CB8AC3E}">
        <p14:creationId xmlns:p14="http://schemas.microsoft.com/office/powerpoint/2010/main" val="3441510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31">
            <a:extLst>
              <a:ext uri="{FF2B5EF4-FFF2-40B4-BE49-F238E27FC236}">
                <a16:creationId xmlns:a16="http://schemas.microsoft.com/office/drawing/2014/main" id="{8EE7C87F-16CA-45E5-B162-9A4AE7986E1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gray">
          <a:xfrm>
            <a:off x="6111184" y="2479039"/>
            <a:ext cx="3657083" cy="243805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el 5">
            <a:extLst>
              <a:ext uri="{FF2B5EF4-FFF2-40B4-BE49-F238E27FC236}">
                <a16:creationId xmlns:a16="http://schemas.microsoft.com/office/drawing/2014/main" id="{D12019B4-36D2-4214-8AEC-31397A726417}"/>
              </a:ext>
            </a:extLst>
          </p:cNvPr>
          <p:cNvSpPr>
            <a:spLocks noGrp="1"/>
          </p:cNvSpPr>
          <p:nvPr>
            <p:ph type="title"/>
          </p:nvPr>
        </p:nvSpPr>
        <p:spPr bwMode="gray"/>
        <p:txBody>
          <a:bodyPr/>
          <a:lstStyle/>
          <a:p>
            <a:r>
              <a:rPr lang="en-US" altLang="de-DE" dirty="0"/>
              <a:t>General Purpose</a:t>
            </a:r>
            <a:endParaRPr lang="de-DE" dirty="0"/>
          </a:p>
        </p:txBody>
      </p:sp>
      <p:sp>
        <p:nvSpPr>
          <p:cNvPr id="7" name="Untertitel 6">
            <a:extLst>
              <a:ext uri="{FF2B5EF4-FFF2-40B4-BE49-F238E27FC236}">
                <a16:creationId xmlns:a16="http://schemas.microsoft.com/office/drawing/2014/main" id="{7F296E45-8CE5-4688-9890-0BA598D90BA5}"/>
              </a:ext>
            </a:extLst>
          </p:cNvPr>
          <p:cNvSpPr>
            <a:spLocks noGrp="1"/>
          </p:cNvSpPr>
          <p:nvPr>
            <p:ph type="subTitle" idx="13"/>
          </p:nvPr>
        </p:nvSpPr>
        <p:spPr bwMode="gray"/>
        <p:txBody>
          <a:bodyPr/>
          <a:lstStyle/>
          <a:p>
            <a:r>
              <a:rPr kumimoji="1" lang="en-US" altLang="de-DE" dirty="0">
                <a:solidFill>
                  <a:schemeClr val="accent1"/>
                </a:solidFill>
              </a:rPr>
              <a:t>Flammable Gases</a:t>
            </a:r>
            <a:endParaRPr lang="de-DE" dirty="0"/>
          </a:p>
        </p:txBody>
      </p:sp>
      <p:sp>
        <p:nvSpPr>
          <p:cNvPr id="20" name="Inhaltsplatzhalter 8">
            <a:extLst>
              <a:ext uri="{FF2B5EF4-FFF2-40B4-BE49-F238E27FC236}">
                <a16:creationId xmlns:a16="http://schemas.microsoft.com/office/drawing/2014/main" id="{FC50C0E2-D77C-4EE9-9B4A-B52E673AE9F9}"/>
              </a:ext>
            </a:extLst>
          </p:cNvPr>
          <p:cNvSpPr txBox="1">
            <a:spLocks/>
          </p:cNvSpPr>
          <p:nvPr/>
        </p:nvSpPr>
        <p:spPr bwMode="gray">
          <a:xfrm>
            <a:off x="333264" y="2317640"/>
            <a:ext cx="5605200" cy="3594475"/>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lnSpc>
                <a:spcPct val="90000"/>
              </a:lnSpc>
              <a:spcBef>
                <a:spcPts val="400"/>
              </a:spcBef>
              <a:defRPr/>
            </a:pPr>
            <a:r>
              <a:rPr lang="en-GB" altLang="de-DE" dirty="0"/>
              <a:t>Manufacture Declaration </a:t>
            </a:r>
          </a:p>
          <a:p>
            <a:pPr lvl="1">
              <a:lnSpc>
                <a:spcPct val="90000"/>
              </a:lnSpc>
              <a:spcBef>
                <a:spcPts val="400"/>
              </a:spcBef>
              <a:defRPr/>
            </a:pPr>
            <a:r>
              <a:rPr lang="en-GB" altLang="de-DE" dirty="0"/>
              <a:t>flammable sample gas </a:t>
            </a:r>
          </a:p>
          <a:p>
            <a:pPr lvl="1">
              <a:lnSpc>
                <a:spcPct val="90000"/>
              </a:lnSpc>
              <a:spcBef>
                <a:spcPts val="400"/>
              </a:spcBef>
              <a:defRPr/>
            </a:pPr>
            <a:r>
              <a:rPr lang="en-US" altLang="de-DE" dirty="0"/>
              <a:t>IP54 Housing, housing purge necessary</a:t>
            </a:r>
          </a:p>
          <a:p>
            <a:pPr lvl="1">
              <a:lnSpc>
                <a:spcPct val="90000"/>
              </a:lnSpc>
              <a:spcBef>
                <a:spcPts val="400"/>
              </a:spcBef>
              <a:defRPr/>
            </a:pPr>
            <a:r>
              <a:rPr lang="en-GB" altLang="de-DE" dirty="0"/>
              <a:t>AO2000 </a:t>
            </a:r>
            <a:r>
              <a:rPr lang="en-GB" altLang="de-DE" dirty="0" err="1"/>
              <a:t>analyzer</a:t>
            </a:r>
            <a:r>
              <a:rPr lang="en-GB" altLang="de-DE" dirty="0"/>
              <a:t> modules</a:t>
            </a:r>
          </a:p>
          <a:p>
            <a:pPr marL="360036" lvl="1">
              <a:lnSpc>
                <a:spcPct val="90000"/>
              </a:lnSpc>
              <a:spcBef>
                <a:spcPts val="400"/>
              </a:spcBef>
              <a:buFont typeface="Arial" panose="020B0604020202020204" pitchFamily="34" charset="0"/>
              <a:buChar char="•"/>
              <a:defRPr/>
            </a:pPr>
            <a:r>
              <a:rPr lang="en-US" altLang="de-DE" dirty="0"/>
              <a:t>Uras26 </a:t>
            </a:r>
          </a:p>
          <a:p>
            <a:pPr marL="360036" lvl="1">
              <a:lnSpc>
                <a:spcPct val="90000"/>
              </a:lnSpc>
              <a:spcBef>
                <a:spcPts val="400"/>
              </a:spcBef>
              <a:buFont typeface="Arial" panose="020B0604020202020204" pitchFamily="34" charset="0"/>
              <a:buChar char="•"/>
              <a:defRPr/>
            </a:pPr>
            <a:r>
              <a:rPr lang="en-US" altLang="de-DE" dirty="0"/>
              <a:t>Caldos25/27</a:t>
            </a:r>
          </a:p>
          <a:p>
            <a:pPr marL="360036" lvl="1">
              <a:lnSpc>
                <a:spcPct val="90000"/>
              </a:lnSpc>
              <a:spcBef>
                <a:spcPts val="400"/>
              </a:spcBef>
              <a:buFont typeface="Arial" panose="020B0604020202020204" pitchFamily="34" charset="0"/>
              <a:buChar char="•"/>
              <a:defRPr/>
            </a:pPr>
            <a:r>
              <a:rPr lang="en-US" altLang="de-DE" dirty="0"/>
              <a:t>Magnos27/28 </a:t>
            </a:r>
          </a:p>
          <a:p>
            <a:pPr marL="360036" lvl="1">
              <a:lnSpc>
                <a:spcPct val="90000"/>
              </a:lnSpc>
              <a:spcBef>
                <a:spcPts val="400"/>
              </a:spcBef>
              <a:buFont typeface="Arial" panose="020B0604020202020204" pitchFamily="34" charset="0"/>
              <a:buChar char="•"/>
              <a:defRPr/>
            </a:pPr>
            <a:r>
              <a:rPr lang="en-US" altLang="de-DE" dirty="0"/>
              <a:t>Limas21 UV</a:t>
            </a:r>
          </a:p>
          <a:p>
            <a:pPr lvl="1">
              <a:lnSpc>
                <a:spcPct val="90000"/>
              </a:lnSpc>
              <a:spcBef>
                <a:spcPts val="400"/>
              </a:spcBef>
              <a:defRPr/>
            </a:pPr>
            <a:r>
              <a:rPr lang="en-US" altLang="de-DE" dirty="0"/>
              <a:t>Multi-analyzer systems possible</a:t>
            </a:r>
            <a:endParaRPr lang="en-GB" altLang="de-DE" dirty="0"/>
          </a:p>
          <a:p>
            <a:pPr lvl="1">
              <a:lnSpc>
                <a:spcPct val="90000"/>
              </a:lnSpc>
              <a:spcBef>
                <a:spcPts val="400"/>
              </a:spcBef>
              <a:defRPr/>
            </a:pPr>
            <a:r>
              <a:rPr lang="en-GB" altLang="de-DE" dirty="0"/>
              <a:t>Stainless steel tubing (</a:t>
            </a:r>
            <a:r>
              <a:rPr lang="en-GB" altLang="de-DE" dirty="0" err="1"/>
              <a:t>Uras</a:t>
            </a:r>
            <a:r>
              <a:rPr lang="en-GB" altLang="de-DE" dirty="0"/>
              <a:t>/</a:t>
            </a:r>
            <a:r>
              <a:rPr lang="en-GB" altLang="de-DE" dirty="0" err="1"/>
              <a:t>Limas</a:t>
            </a:r>
            <a:r>
              <a:rPr lang="en-GB" altLang="de-DE" dirty="0"/>
              <a:t>) and </a:t>
            </a:r>
            <a:br>
              <a:rPr lang="en-GB" altLang="de-DE" dirty="0"/>
            </a:br>
            <a:r>
              <a:rPr lang="en-GB" altLang="de-DE" dirty="0"/>
              <a:t>direct access </a:t>
            </a:r>
            <a:r>
              <a:rPr lang="en-GB" altLang="de-DE" dirty="0" err="1"/>
              <a:t>analyzers</a:t>
            </a:r>
            <a:r>
              <a:rPr lang="en-GB" altLang="de-DE" dirty="0"/>
              <a:t> (</a:t>
            </a:r>
            <a:r>
              <a:rPr lang="en-GB" altLang="de-DE" dirty="0" err="1"/>
              <a:t>Caldos</a:t>
            </a:r>
            <a:r>
              <a:rPr lang="en-GB" altLang="de-DE" dirty="0"/>
              <a:t>/</a:t>
            </a:r>
            <a:r>
              <a:rPr lang="en-GB" altLang="de-DE" dirty="0" err="1"/>
              <a:t>Magnos</a:t>
            </a:r>
            <a:r>
              <a:rPr lang="en-GB" altLang="de-DE" dirty="0"/>
              <a:t>)</a:t>
            </a:r>
          </a:p>
          <a:p>
            <a:pPr lvl="1">
              <a:lnSpc>
                <a:spcPct val="90000"/>
              </a:lnSpc>
              <a:spcBef>
                <a:spcPts val="400"/>
              </a:spcBef>
              <a:defRPr/>
            </a:pPr>
            <a:r>
              <a:rPr lang="en-GB" altLang="de-DE" dirty="0"/>
              <a:t>Flame Barriers (optional)</a:t>
            </a:r>
          </a:p>
        </p:txBody>
      </p:sp>
      <p:sp>
        <p:nvSpPr>
          <p:cNvPr id="22" name="Rectangle 21">
            <a:extLst>
              <a:ext uri="{FF2B5EF4-FFF2-40B4-BE49-F238E27FC236}">
                <a16:creationId xmlns:a16="http://schemas.microsoft.com/office/drawing/2014/main" id="{08418EF2-BE13-4494-8628-1600AF2C9D54}"/>
              </a:ext>
            </a:extLst>
          </p:cNvPr>
          <p:cNvSpPr/>
          <p:nvPr/>
        </p:nvSpPr>
        <p:spPr bwMode="gray">
          <a:xfrm>
            <a:off x="336550" y="1931988"/>
            <a:ext cx="5601017" cy="31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de-DE" sz="1600" b="1" dirty="0">
                <a:solidFill>
                  <a:schemeClr val="bg1">
                    <a:lumMod val="50000"/>
                  </a:schemeClr>
                </a:solidFill>
              </a:rPr>
              <a:t>AO2000</a:t>
            </a:r>
          </a:p>
        </p:txBody>
      </p:sp>
      <p:cxnSp>
        <p:nvCxnSpPr>
          <p:cNvPr id="23" name="Straight Connector 22">
            <a:extLst>
              <a:ext uri="{FF2B5EF4-FFF2-40B4-BE49-F238E27FC236}">
                <a16:creationId xmlns:a16="http://schemas.microsoft.com/office/drawing/2014/main" id="{0000F00E-5064-4818-8820-2542BFC17BEC}"/>
              </a:ext>
            </a:extLst>
          </p:cNvPr>
          <p:cNvCxnSpPr>
            <a:cxnSpLocks/>
          </p:cNvCxnSpPr>
          <p:nvPr/>
        </p:nvCxnSpPr>
        <p:spPr bwMode="gray">
          <a:xfrm flipH="1">
            <a:off x="336551" y="2247134"/>
            <a:ext cx="5601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Date Placeholder 23">
            <a:extLst>
              <a:ext uri="{FF2B5EF4-FFF2-40B4-BE49-F238E27FC236}">
                <a16:creationId xmlns:a16="http://schemas.microsoft.com/office/drawing/2014/main" id="{DBF3C041-A5F7-4B5C-97CF-FE52240D2F3A}"/>
              </a:ext>
            </a:extLst>
          </p:cNvPr>
          <p:cNvSpPr>
            <a:spLocks noGrp="1"/>
          </p:cNvSpPr>
          <p:nvPr>
            <p:ph type="dt" sz="half" idx="14"/>
          </p:nvPr>
        </p:nvSpPr>
        <p:spPr bwMode="gray"/>
        <p:txBody>
          <a:bodyPr/>
          <a:lstStyle/>
          <a:p>
            <a:fld id="{0F505D1F-DC95-4B0B-9A45-EA01A641F1C9}" type="datetime4">
              <a:rPr lang="en-US" smtClean="0"/>
              <a:t>September 8, 2019</a:t>
            </a:fld>
            <a:endParaRPr lang="en-US" dirty="0"/>
          </a:p>
        </p:txBody>
      </p:sp>
      <p:sp>
        <p:nvSpPr>
          <p:cNvPr id="25" name="Footer Placeholder 24">
            <a:extLst>
              <a:ext uri="{FF2B5EF4-FFF2-40B4-BE49-F238E27FC236}">
                <a16:creationId xmlns:a16="http://schemas.microsoft.com/office/drawing/2014/main" id="{2F0A51BD-CC46-4DDB-9F6F-577945FBB800}"/>
              </a:ext>
            </a:extLst>
          </p:cNvPr>
          <p:cNvSpPr>
            <a:spLocks noGrp="1"/>
          </p:cNvSpPr>
          <p:nvPr>
            <p:ph type="ftr" sz="quarter" idx="15"/>
          </p:nvPr>
        </p:nvSpPr>
        <p:spPr bwMode="gray"/>
        <p:txBody>
          <a:bodyPr/>
          <a:lstStyle/>
          <a:p>
            <a:pPr lvl="8"/>
            <a:endParaRPr lang="en-US" dirty="0"/>
          </a:p>
        </p:txBody>
      </p:sp>
      <p:sp>
        <p:nvSpPr>
          <p:cNvPr id="26" name="Slide Number Placeholder 25">
            <a:extLst>
              <a:ext uri="{FF2B5EF4-FFF2-40B4-BE49-F238E27FC236}">
                <a16:creationId xmlns:a16="http://schemas.microsoft.com/office/drawing/2014/main" id="{1A90EED6-F5DB-4052-B123-934D1997D47A}"/>
              </a:ext>
            </a:extLst>
          </p:cNvPr>
          <p:cNvSpPr>
            <a:spLocks noGrp="1"/>
          </p:cNvSpPr>
          <p:nvPr>
            <p:ph type="sldNum" sz="quarter" idx="16"/>
          </p:nvPr>
        </p:nvSpPr>
        <p:spPr bwMode="gray"/>
        <p:txBody>
          <a:bodyPr/>
          <a:lstStyle/>
          <a:p>
            <a:r>
              <a:rPr lang="en-US"/>
              <a:t>Slide </a:t>
            </a:r>
            <a:fld id="{619F89D8-7AE3-494A-97F3-03D680869632}" type="slidenum">
              <a:rPr lang="en-US" smtClean="0"/>
              <a:pPr/>
              <a:t>114</a:t>
            </a:fld>
            <a:endParaRPr lang="en-US" dirty="0"/>
          </a:p>
        </p:txBody>
      </p:sp>
      <p:grpSp>
        <p:nvGrpSpPr>
          <p:cNvPr id="28" name="Group 27">
            <a:extLst>
              <a:ext uri="{FF2B5EF4-FFF2-40B4-BE49-F238E27FC236}">
                <a16:creationId xmlns:a16="http://schemas.microsoft.com/office/drawing/2014/main" id="{95F954B4-D634-4C5D-A6BE-66CDA55C1158}"/>
              </a:ext>
            </a:extLst>
          </p:cNvPr>
          <p:cNvGrpSpPr/>
          <p:nvPr/>
        </p:nvGrpSpPr>
        <p:grpSpPr bwMode="gray">
          <a:xfrm>
            <a:off x="9648010" y="2247134"/>
            <a:ext cx="2205254" cy="1209137"/>
            <a:chOff x="4827270" y="3927475"/>
            <a:chExt cx="2537460" cy="1391285"/>
          </a:xfrm>
          <a:solidFill>
            <a:schemeClr val="bg1"/>
          </a:solidFill>
        </p:grpSpPr>
        <p:sp>
          <p:nvSpPr>
            <p:cNvPr id="29" name="Freeform: Shape 28">
              <a:extLst>
                <a:ext uri="{FF2B5EF4-FFF2-40B4-BE49-F238E27FC236}">
                  <a16:creationId xmlns:a16="http://schemas.microsoft.com/office/drawing/2014/main" id="{B470A1CE-606B-411D-9B9C-458C14D795B1}"/>
                </a:ext>
              </a:extLst>
            </p:cNvPr>
            <p:cNvSpPr/>
            <p:nvPr/>
          </p:nvSpPr>
          <p:spPr bwMode="gray">
            <a:xfrm>
              <a:off x="4827270" y="3927475"/>
              <a:ext cx="2537460" cy="1268726"/>
            </a:xfrm>
            <a:custGeom>
              <a:avLst/>
              <a:gdLst>
                <a:gd name="connsiteX0" fmla="*/ 1465002 w 2930004"/>
                <a:gd name="connsiteY0" fmla="*/ 0 h 1464999"/>
                <a:gd name="connsiteX1" fmla="*/ 2930004 w 2930004"/>
                <a:gd name="connsiteY1" fmla="*/ 1464999 h 1464999"/>
                <a:gd name="connsiteX2" fmla="*/ 0 w 2930004"/>
                <a:gd name="connsiteY2" fmla="*/ 1464999 h 1464999"/>
                <a:gd name="connsiteX3" fmla="*/ 1465002 w 2930004"/>
                <a:gd name="connsiteY3" fmla="*/ 0 h 1464999"/>
              </a:gdLst>
              <a:ahLst/>
              <a:cxnLst>
                <a:cxn ang="0">
                  <a:pos x="connsiteX0" y="connsiteY0"/>
                </a:cxn>
                <a:cxn ang="0">
                  <a:pos x="connsiteX1" y="connsiteY1"/>
                </a:cxn>
                <a:cxn ang="0">
                  <a:pos x="connsiteX2" y="connsiteY2"/>
                </a:cxn>
                <a:cxn ang="0">
                  <a:pos x="connsiteX3" y="connsiteY3"/>
                </a:cxn>
              </a:cxnLst>
              <a:rect l="l" t="t" r="r" b="b"/>
              <a:pathLst>
                <a:path w="2930004" h="1464999">
                  <a:moveTo>
                    <a:pt x="1465002" y="0"/>
                  </a:moveTo>
                  <a:cubicBezTo>
                    <a:pt x="2274100" y="0"/>
                    <a:pt x="2930004" y="655902"/>
                    <a:pt x="2930004" y="1464999"/>
                  </a:cubicBezTo>
                  <a:lnTo>
                    <a:pt x="0" y="1464999"/>
                  </a:lnTo>
                  <a:cubicBezTo>
                    <a:pt x="0" y="655902"/>
                    <a:pt x="655904" y="0"/>
                    <a:pt x="1465002" y="0"/>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720000" numCol="1" spcCol="0" rtlCol="0" fromWordArt="0" anchor="ctr" anchorCtr="0" forceAA="0" compatLnSpc="1">
              <a:prstTxWarp prst="textNoShape">
                <a:avLst/>
              </a:prstTxWarp>
              <a:noAutofit/>
            </a:bodyPr>
            <a:lstStyle/>
            <a:p>
              <a:pPr algn="ctr"/>
              <a:r>
                <a:rPr lang="de-DE" sz="1000" dirty="0">
                  <a:solidFill>
                    <a:schemeClr val="accent2"/>
                  </a:solidFill>
                </a:rPr>
                <a:t>Zone 2</a:t>
              </a:r>
            </a:p>
          </p:txBody>
        </p:sp>
        <p:sp>
          <p:nvSpPr>
            <p:cNvPr id="30" name="Freeform: Shape 29">
              <a:extLst>
                <a:ext uri="{FF2B5EF4-FFF2-40B4-BE49-F238E27FC236}">
                  <a16:creationId xmlns:a16="http://schemas.microsoft.com/office/drawing/2014/main" id="{D654B20E-2864-4367-A344-8DB6E09FA129}"/>
                </a:ext>
              </a:extLst>
            </p:cNvPr>
            <p:cNvSpPr/>
            <p:nvPr/>
          </p:nvSpPr>
          <p:spPr bwMode="gray">
            <a:xfrm>
              <a:off x="5246115" y="4346319"/>
              <a:ext cx="1699770" cy="849882"/>
            </a:xfrm>
            <a:custGeom>
              <a:avLst/>
              <a:gdLst>
                <a:gd name="connsiteX0" fmla="*/ 1465002 w 2930004"/>
                <a:gd name="connsiteY0" fmla="*/ 0 h 1464999"/>
                <a:gd name="connsiteX1" fmla="*/ 2930004 w 2930004"/>
                <a:gd name="connsiteY1" fmla="*/ 1464999 h 1464999"/>
                <a:gd name="connsiteX2" fmla="*/ 0 w 2930004"/>
                <a:gd name="connsiteY2" fmla="*/ 1464999 h 1464999"/>
                <a:gd name="connsiteX3" fmla="*/ 1465002 w 2930004"/>
                <a:gd name="connsiteY3" fmla="*/ 0 h 1464999"/>
              </a:gdLst>
              <a:ahLst/>
              <a:cxnLst>
                <a:cxn ang="0">
                  <a:pos x="connsiteX0" y="connsiteY0"/>
                </a:cxn>
                <a:cxn ang="0">
                  <a:pos x="connsiteX1" y="connsiteY1"/>
                </a:cxn>
                <a:cxn ang="0">
                  <a:pos x="connsiteX2" y="connsiteY2"/>
                </a:cxn>
                <a:cxn ang="0">
                  <a:pos x="connsiteX3" y="connsiteY3"/>
                </a:cxn>
              </a:cxnLst>
              <a:rect l="l" t="t" r="r" b="b"/>
              <a:pathLst>
                <a:path w="2930004" h="1464999">
                  <a:moveTo>
                    <a:pt x="1465002" y="0"/>
                  </a:moveTo>
                  <a:cubicBezTo>
                    <a:pt x="2274100" y="0"/>
                    <a:pt x="2930004" y="655902"/>
                    <a:pt x="2930004" y="1464999"/>
                  </a:cubicBezTo>
                  <a:lnTo>
                    <a:pt x="0" y="1464999"/>
                  </a:lnTo>
                  <a:cubicBezTo>
                    <a:pt x="0" y="655902"/>
                    <a:pt x="655904" y="0"/>
                    <a:pt x="1465002" y="0"/>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432000" numCol="1" spcCol="0" rtlCol="0" fromWordArt="0" anchor="ctr" anchorCtr="0" forceAA="0" compatLnSpc="1">
              <a:prstTxWarp prst="textNoShape">
                <a:avLst/>
              </a:prstTxWarp>
              <a:noAutofit/>
            </a:bodyPr>
            <a:lstStyle/>
            <a:p>
              <a:pPr algn="ctr"/>
              <a:r>
                <a:rPr lang="de-DE" sz="1000" dirty="0">
                  <a:solidFill>
                    <a:schemeClr val="accent2"/>
                  </a:solidFill>
                </a:rPr>
                <a:t>Zone 1</a:t>
              </a:r>
            </a:p>
          </p:txBody>
        </p:sp>
        <p:sp>
          <p:nvSpPr>
            <p:cNvPr id="31" name="Rectangle 30">
              <a:extLst>
                <a:ext uri="{FF2B5EF4-FFF2-40B4-BE49-F238E27FC236}">
                  <a16:creationId xmlns:a16="http://schemas.microsoft.com/office/drawing/2014/main" id="{EB1FC8A7-8743-4422-8651-7CA47BBEDAD3}"/>
                </a:ext>
              </a:extLst>
            </p:cNvPr>
            <p:cNvSpPr/>
            <p:nvPr/>
          </p:nvSpPr>
          <p:spPr bwMode="gray">
            <a:xfrm>
              <a:off x="4827270" y="5196201"/>
              <a:ext cx="2537460" cy="122559"/>
            </a:xfrm>
            <a:prstGeom prst="rect">
              <a:avLst/>
            </a:prstGeom>
            <a:grpFill/>
            <a:ln w="19050">
              <a:solidFill>
                <a:schemeClr val="accent2"/>
              </a:solidFill>
              <a:prstDash val="solid"/>
              <a:round/>
              <a:headEnd/>
              <a:tailEnd/>
            </a:ln>
          </p:spPr>
          <p:txBody>
            <a:bodyPr rtlCol="0" anchor="ctr"/>
            <a:lstStyle/>
            <a:p>
              <a:pPr algn="ctr"/>
              <a:endParaRPr lang="de-DE" sz="1000" dirty="0" err="1">
                <a:solidFill>
                  <a:schemeClr val="accent2"/>
                </a:solidFill>
              </a:endParaRPr>
            </a:p>
          </p:txBody>
        </p:sp>
        <p:sp>
          <p:nvSpPr>
            <p:cNvPr id="32" name="Rectangle 31">
              <a:extLst>
                <a:ext uri="{FF2B5EF4-FFF2-40B4-BE49-F238E27FC236}">
                  <a16:creationId xmlns:a16="http://schemas.microsoft.com/office/drawing/2014/main" id="{98F6ED9B-1A35-4427-8630-352FCC00AC6F}"/>
                </a:ext>
              </a:extLst>
            </p:cNvPr>
            <p:cNvSpPr/>
            <p:nvPr/>
          </p:nvSpPr>
          <p:spPr bwMode="gray">
            <a:xfrm>
              <a:off x="5246115" y="5196201"/>
              <a:ext cx="1699770" cy="122559"/>
            </a:xfrm>
            <a:prstGeom prst="rect">
              <a:avLst/>
            </a:prstGeom>
            <a:grpFill/>
            <a:ln w="19050">
              <a:solidFill>
                <a:schemeClr val="accent2"/>
              </a:solidFill>
              <a:prstDash val="solid"/>
              <a:round/>
              <a:headEnd/>
              <a:tailEnd/>
            </a:ln>
          </p:spPr>
          <p:txBody>
            <a:bodyPr rtlCol="0" anchor="ctr"/>
            <a:lstStyle/>
            <a:p>
              <a:pPr algn="ctr"/>
              <a:endParaRPr lang="de-DE" sz="1000" dirty="0" err="1"/>
            </a:p>
          </p:txBody>
        </p:sp>
        <p:grpSp>
          <p:nvGrpSpPr>
            <p:cNvPr id="33" name="Group 32">
              <a:extLst>
                <a:ext uri="{FF2B5EF4-FFF2-40B4-BE49-F238E27FC236}">
                  <a16:creationId xmlns:a16="http://schemas.microsoft.com/office/drawing/2014/main" id="{58443772-AA73-4067-B625-86209105105C}"/>
                </a:ext>
              </a:extLst>
            </p:cNvPr>
            <p:cNvGrpSpPr/>
            <p:nvPr/>
          </p:nvGrpSpPr>
          <p:grpSpPr bwMode="gray">
            <a:xfrm>
              <a:off x="5535274" y="4652774"/>
              <a:ext cx="1124606" cy="543427"/>
              <a:chOff x="5512563" y="4652774"/>
              <a:chExt cx="1170027" cy="543427"/>
            </a:xfrm>
            <a:grpFill/>
          </p:grpSpPr>
          <p:grpSp>
            <p:nvGrpSpPr>
              <p:cNvPr id="34" name="Group 33">
                <a:extLst>
                  <a:ext uri="{FF2B5EF4-FFF2-40B4-BE49-F238E27FC236}">
                    <a16:creationId xmlns:a16="http://schemas.microsoft.com/office/drawing/2014/main" id="{0354ACB1-63A9-4BF3-BDFC-A98D478F415A}"/>
                  </a:ext>
                </a:extLst>
              </p:cNvPr>
              <p:cNvGrpSpPr/>
              <p:nvPr/>
            </p:nvGrpSpPr>
            <p:grpSpPr bwMode="gray">
              <a:xfrm>
                <a:off x="5512563" y="4652774"/>
                <a:ext cx="1170027" cy="478026"/>
                <a:chOff x="3779250" y="4410034"/>
                <a:chExt cx="954292" cy="334935"/>
              </a:xfrm>
              <a:grpFill/>
            </p:grpSpPr>
            <p:sp>
              <p:nvSpPr>
                <p:cNvPr id="37" name="Freeform: Shape 36">
                  <a:extLst>
                    <a:ext uri="{FF2B5EF4-FFF2-40B4-BE49-F238E27FC236}">
                      <a16:creationId xmlns:a16="http://schemas.microsoft.com/office/drawing/2014/main" id="{07491FEA-84F8-430F-BBC6-E000E5A8C1D0}"/>
                    </a:ext>
                  </a:extLst>
                </p:cNvPr>
                <p:cNvSpPr/>
                <p:nvPr/>
              </p:nvSpPr>
              <p:spPr bwMode="gray">
                <a:xfrm>
                  <a:off x="3779250" y="4410034"/>
                  <a:ext cx="954292" cy="213849"/>
                </a:xfrm>
                <a:custGeom>
                  <a:avLst/>
                  <a:gdLst>
                    <a:gd name="connsiteX0" fmla="*/ 141232 w 954292"/>
                    <a:gd name="connsiteY0" fmla="*/ 0 h 213849"/>
                    <a:gd name="connsiteX1" fmla="*/ 813060 w 954292"/>
                    <a:gd name="connsiteY1" fmla="*/ 0 h 213849"/>
                    <a:gd name="connsiteX2" fmla="*/ 954292 w 954292"/>
                    <a:gd name="connsiteY2" fmla="*/ 141232 h 213849"/>
                    <a:gd name="connsiteX3" fmla="*/ 954292 w 954292"/>
                    <a:gd name="connsiteY3" fmla="*/ 193703 h 213849"/>
                    <a:gd name="connsiteX4" fmla="*/ 950225 w 954292"/>
                    <a:gd name="connsiteY4" fmla="*/ 213849 h 213849"/>
                    <a:gd name="connsiteX5" fmla="*/ 4067 w 954292"/>
                    <a:gd name="connsiteY5" fmla="*/ 213849 h 213849"/>
                    <a:gd name="connsiteX6" fmla="*/ 0 w 954292"/>
                    <a:gd name="connsiteY6" fmla="*/ 193703 h 213849"/>
                    <a:gd name="connsiteX7" fmla="*/ 0 w 954292"/>
                    <a:gd name="connsiteY7" fmla="*/ 141232 h 213849"/>
                    <a:gd name="connsiteX8" fmla="*/ 141232 w 954292"/>
                    <a:gd name="connsiteY8" fmla="*/ 0 h 21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292" h="213849">
                      <a:moveTo>
                        <a:pt x="141232" y="0"/>
                      </a:moveTo>
                      <a:lnTo>
                        <a:pt x="813060" y="0"/>
                      </a:lnTo>
                      <a:cubicBezTo>
                        <a:pt x="891060" y="0"/>
                        <a:pt x="954292" y="63232"/>
                        <a:pt x="954292" y="141232"/>
                      </a:cubicBezTo>
                      <a:lnTo>
                        <a:pt x="954292" y="193703"/>
                      </a:lnTo>
                      <a:lnTo>
                        <a:pt x="950225" y="213849"/>
                      </a:lnTo>
                      <a:lnTo>
                        <a:pt x="4067" y="213849"/>
                      </a:lnTo>
                      <a:lnTo>
                        <a:pt x="0" y="193703"/>
                      </a:lnTo>
                      <a:lnTo>
                        <a:pt x="0" y="141232"/>
                      </a:lnTo>
                      <a:cubicBezTo>
                        <a:pt x="0" y="63232"/>
                        <a:pt x="63232" y="0"/>
                        <a:pt x="141232" y="0"/>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a:solidFill>
                        <a:schemeClr val="accent2"/>
                      </a:solidFill>
                    </a:rPr>
                    <a:t>Zone 0</a:t>
                  </a:r>
                </a:p>
              </p:txBody>
            </p:sp>
            <p:sp>
              <p:nvSpPr>
                <p:cNvPr id="38" name="Freeform: Shape 37">
                  <a:extLst>
                    <a:ext uri="{FF2B5EF4-FFF2-40B4-BE49-F238E27FC236}">
                      <a16:creationId xmlns:a16="http://schemas.microsoft.com/office/drawing/2014/main" id="{168EA90D-2E58-46ED-9E5C-E31D77AFBF5B}"/>
                    </a:ext>
                  </a:extLst>
                </p:cNvPr>
                <p:cNvSpPr/>
                <p:nvPr/>
              </p:nvSpPr>
              <p:spPr bwMode="gray">
                <a:xfrm>
                  <a:off x="3783316" y="4623883"/>
                  <a:ext cx="946157" cy="121086"/>
                </a:xfrm>
                <a:custGeom>
                  <a:avLst/>
                  <a:gdLst>
                    <a:gd name="connsiteX0" fmla="*/ 0 w 946157"/>
                    <a:gd name="connsiteY0" fmla="*/ 0 h 121086"/>
                    <a:gd name="connsiteX1" fmla="*/ 946157 w 946157"/>
                    <a:gd name="connsiteY1" fmla="*/ 0 h 121086"/>
                    <a:gd name="connsiteX2" fmla="*/ 939125 w 946157"/>
                    <a:gd name="connsiteY2" fmla="*/ 34828 h 121086"/>
                    <a:gd name="connsiteX3" fmla="*/ 808992 w 946157"/>
                    <a:gd name="connsiteY3" fmla="*/ 121086 h 121086"/>
                    <a:gd name="connsiteX4" fmla="*/ 137164 w 946157"/>
                    <a:gd name="connsiteY4" fmla="*/ 121086 h 121086"/>
                    <a:gd name="connsiteX5" fmla="*/ 7031 w 946157"/>
                    <a:gd name="connsiteY5" fmla="*/ 34828 h 12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157" h="121086">
                      <a:moveTo>
                        <a:pt x="0" y="0"/>
                      </a:moveTo>
                      <a:lnTo>
                        <a:pt x="946157" y="0"/>
                      </a:lnTo>
                      <a:lnTo>
                        <a:pt x="939125" y="34828"/>
                      </a:lnTo>
                      <a:cubicBezTo>
                        <a:pt x="917685" y="85518"/>
                        <a:pt x="867492" y="121086"/>
                        <a:pt x="808992" y="121086"/>
                      </a:cubicBezTo>
                      <a:lnTo>
                        <a:pt x="137164" y="121086"/>
                      </a:lnTo>
                      <a:cubicBezTo>
                        <a:pt x="78664" y="121086"/>
                        <a:pt x="28471" y="85518"/>
                        <a:pt x="7031" y="34828"/>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000" dirty="0">
                    <a:solidFill>
                      <a:schemeClr val="accent2"/>
                    </a:solidFill>
                  </a:endParaRPr>
                </a:p>
              </p:txBody>
            </p:sp>
          </p:grpSp>
          <p:cxnSp>
            <p:nvCxnSpPr>
              <p:cNvPr id="35" name="Straight Connector 34">
                <a:extLst>
                  <a:ext uri="{FF2B5EF4-FFF2-40B4-BE49-F238E27FC236}">
                    <a16:creationId xmlns:a16="http://schemas.microsoft.com/office/drawing/2014/main" id="{5790BC6B-E6D7-4238-9F43-E7DDF294B1E7}"/>
                  </a:ext>
                </a:extLst>
              </p:cNvPr>
              <p:cNvCxnSpPr>
                <a:cxnSpLocks/>
                <a:stCxn id="38" idx="4"/>
              </p:cNvCxnSpPr>
              <p:nvPr/>
            </p:nvCxnSpPr>
            <p:spPr bwMode="gray">
              <a:xfrm flipH="1">
                <a:off x="5685554" y="5130800"/>
                <a:ext cx="166" cy="65401"/>
              </a:xfrm>
              <a:prstGeom prst="line">
                <a:avLst/>
              </a:prstGeom>
              <a:grpFill/>
              <a:ln w="19050">
                <a:solidFill>
                  <a:schemeClr val="accent2"/>
                </a:solidFill>
                <a:prstDash val="solid"/>
                <a:round/>
                <a:headEnd/>
                <a:tailEnd/>
              </a:ln>
            </p:spPr>
          </p:cxnSp>
          <p:cxnSp>
            <p:nvCxnSpPr>
              <p:cNvPr id="36" name="Straight Connector 35">
                <a:extLst>
                  <a:ext uri="{FF2B5EF4-FFF2-40B4-BE49-F238E27FC236}">
                    <a16:creationId xmlns:a16="http://schemas.microsoft.com/office/drawing/2014/main" id="{C281010C-8A5C-4007-8D0D-BE38E4683F85}"/>
                  </a:ext>
                </a:extLst>
              </p:cNvPr>
              <p:cNvCxnSpPr>
                <a:cxnSpLocks/>
                <a:stCxn id="38" idx="3"/>
              </p:cNvCxnSpPr>
              <p:nvPr/>
            </p:nvCxnSpPr>
            <p:spPr bwMode="gray">
              <a:xfrm>
                <a:off x="6509427" y="5130800"/>
                <a:ext cx="0" cy="65401"/>
              </a:xfrm>
              <a:prstGeom prst="line">
                <a:avLst/>
              </a:prstGeom>
              <a:grpFill/>
              <a:ln w="19050">
                <a:solidFill>
                  <a:schemeClr val="accent2"/>
                </a:solidFill>
                <a:prstDash val="solid"/>
                <a:round/>
                <a:headEnd/>
                <a:tailEnd/>
              </a:ln>
            </p:spPr>
          </p:cxnSp>
        </p:grpSp>
      </p:grpSp>
      <p:grpSp>
        <p:nvGrpSpPr>
          <p:cNvPr id="39" name="Group 38">
            <a:extLst>
              <a:ext uri="{FF2B5EF4-FFF2-40B4-BE49-F238E27FC236}">
                <a16:creationId xmlns:a16="http://schemas.microsoft.com/office/drawing/2014/main" id="{63848515-F800-4B6A-B1B9-DADB49AF43DF}"/>
              </a:ext>
            </a:extLst>
          </p:cNvPr>
          <p:cNvGrpSpPr/>
          <p:nvPr/>
        </p:nvGrpSpPr>
        <p:grpSpPr bwMode="gray">
          <a:xfrm>
            <a:off x="9648010" y="2116128"/>
            <a:ext cx="2205254" cy="1522696"/>
            <a:chOff x="9648010" y="2116128"/>
            <a:chExt cx="2205254" cy="1522696"/>
          </a:xfrm>
        </p:grpSpPr>
        <p:cxnSp>
          <p:nvCxnSpPr>
            <p:cNvPr id="40" name="Straight Connector 39">
              <a:extLst>
                <a:ext uri="{FF2B5EF4-FFF2-40B4-BE49-F238E27FC236}">
                  <a16:creationId xmlns:a16="http://schemas.microsoft.com/office/drawing/2014/main" id="{8C80693C-91A7-4BEB-BE10-862A60EE6CB9}"/>
                </a:ext>
              </a:extLst>
            </p:cNvPr>
            <p:cNvCxnSpPr/>
            <p:nvPr/>
          </p:nvCxnSpPr>
          <p:spPr bwMode="gray">
            <a:xfrm flipH="1">
              <a:off x="9648010" y="2116128"/>
              <a:ext cx="2205253" cy="15226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3A1D6749-05E8-46D1-A281-19FE99657AB4}"/>
                </a:ext>
              </a:extLst>
            </p:cNvPr>
            <p:cNvCxnSpPr>
              <a:cxnSpLocks/>
            </p:cNvCxnSpPr>
            <p:nvPr/>
          </p:nvCxnSpPr>
          <p:spPr bwMode="gray">
            <a:xfrm>
              <a:off x="9648011" y="2116128"/>
              <a:ext cx="2205253" cy="15226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57382ABE-7B75-4E7D-A7B7-7C8E5BF180A6}"/>
              </a:ext>
            </a:extLst>
          </p:cNvPr>
          <p:cNvGrpSpPr/>
          <p:nvPr/>
        </p:nvGrpSpPr>
        <p:grpSpPr bwMode="gray">
          <a:xfrm>
            <a:off x="10378658" y="3909838"/>
            <a:ext cx="743958" cy="714468"/>
            <a:chOff x="9592408" y="3757643"/>
            <a:chExt cx="743958" cy="714468"/>
          </a:xfrm>
        </p:grpSpPr>
        <p:sp>
          <p:nvSpPr>
            <p:cNvPr id="43" name="TextBox 42">
              <a:extLst>
                <a:ext uri="{FF2B5EF4-FFF2-40B4-BE49-F238E27FC236}">
                  <a16:creationId xmlns:a16="http://schemas.microsoft.com/office/drawing/2014/main" id="{22C99B19-2C44-4772-82B7-59417862BD63}"/>
                </a:ext>
              </a:extLst>
            </p:cNvPr>
            <p:cNvSpPr txBox="1"/>
            <p:nvPr/>
          </p:nvSpPr>
          <p:spPr bwMode="gray">
            <a:xfrm>
              <a:off x="9592408"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Gas</a:t>
              </a:r>
            </a:p>
          </p:txBody>
        </p:sp>
        <p:grpSp>
          <p:nvGrpSpPr>
            <p:cNvPr id="44" name="Group 43">
              <a:extLst>
                <a:ext uri="{FF2B5EF4-FFF2-40B4-BE49-F238E27FC236}">
                  <a16:creationId xmlns:a16="http://schemas.microsoft.com/office/drawing/2014/main" id="{77F650A5-66DE-43B3-92E0-1EC12F4F1699}"/>
                </a:ext>
              </a:extLst>
            </p:cNvPr>
            <p:cNvGrpSpPr/>
            <p:nvPr/>
          </p:nvGrpSpPr>
          <p:grpSpPr bwMode="gray">
            <a:xfrm>
              <a:off x="9847910" y="3757643"/>
              <a:ext cx="232954" cy="337148"/>
              <a:chOff x="4801097" y="3272685"/>
              <a:chExt cx="202720" cy="293391"/>
            </a:xfrm>
          </p:grpSpPr>
          <p:sp>
            <p:nvSpPr>
              <p:cNvPr id="45" name="Freeform 514">
                <a:extLst>
                  <a:ext uri="{FF2B5EF4-FFF2-40B4-BE49-F238E27FC236}">
                    <a16:creationId xmlns:a16="http://schemas.microsoft.com/office/drawing/2014/main" id="{58E2517F-BF5F-47FF-9A8C-5BD51FFD2974}"/>
                  </a:ext>
                </a:extLst>
              </p:cNvPr>
              <p:cNvSpPr>
                <a:spLocks/>
              </p:cNvSpPr>
              <p:nvPr/>
            </p:nvSpPr>
            <p:spPr bwMode="gray">
              <a:xfrm>
                <a:off x="4801097" y="3272685"/>
                <a:ext cx="202720" cy="293294"/>
              </a:xfrm>
              <a:custGeom>
                <a:avLst/>
                <a:gdLst>
                  <a:gd name="T0" fmla="*/ 57 w 139"/>
                  <a:gd name="T1" fmla="*/ 202 h 202"/>
                  <a:gd name="T2" fmla="*/ 57 w 139"/>
                  <a:gd name="T3" fmla="*/ 202 h 202"/>
                  <a:gd name="T4" fmla="*/ 51 w 139"/>
                  <a:gd name="T5" fmla="*/ 199 h 202"/>
                  <a:gd name="T6" fmla="*/ 40 w 139"/>
                  <a:gd name="T7" fmla="*/ 193 h 202"/>
                  <a:gd name="T8" fmla="*/ 27 w 139"/>
                  <a:gd name="T9" fmla="*/ 183 h 202"/>
                  <a:gd name="T10" fmla="*/ 21 w 139"/>
                  <a:gd name="T11" fmla="*/ 177 h 202"/>
                  <a:gd name="T12" fmla="*/ 15 w 139"/>
                  <a:gd name="T13" fmla="*/ 169 h 202"/>
                  <a:gd name="T14" fmla="*/ 9 w 139"/>
                  <a:gd name="T15" fmla="*/ 160 h 202"/>
                  <a:gd name="T16" fmla="*/ 4 w 139"/>
                  <a:gd name="T17" fmla="*/ 151 h 202"/>
                  <a:gd name="T18" fmla="*/ 1 w 139"/>
                  <a:gd name="T19" fmla="*/ 141 h 202"/>
                  <a:gd name="T20" fmla="*/ 0 w 139"/>
                  <a:gd name="T21" fmla="*/ 130 h 202"/>
                  <a:gd name="T22" fmla="*/ 1 w 139"/>
                  <a:gd name="T23" fmla="*/ 118 h 202"/>
                  <a:gd name="T24" fmla="*/ 4 w 139"/>
                  <a:gd name="T25" fmla="*/ 105 h 202"/>
                  <a:gd name="T26" fmla="*/ 12 w 139"/>
                  <a:gd name="T27" fmla="*/ 91 h 202"/>
                  <a:gd name="T28" fmla="*/ 22 w 139"/>
                  <a:gd name="T29" fmla="*/ 76 h 202"/>
                  <a:gd name="T30" fmla="*/ 22 w 139"/>
                  <a:gd name="T31" fmla="*/ 76 h 202"/>
                  <a:gd name="T32" fmla="*/ 27 w 139"/>
                  <a:gd name="T33" fmla="*/ 70 h 202"/>
                  <a:gd name="T34" fmla="*/ 36 w 139"/>
                  <a:gd name="T35" fmla="*/ 55 h 202"/>
                  <a:gd name="T36" fmla="*/ 42 w 139"/>
                  <a:gd name="T37" fmla="*/ 43 h 202"/>
                  <a:gd name="T38" fmla="*/ 46 w 139"/>
                  <a:gd name="T39" fmla="*/ 31 h 202"/>
                  <a:gd name="T40" fmla="*/ 49 w 139"/>
                  <a:gd name="T41" fmla="*/ 16 h 202"/>
                  <a:gd name="T42" fmla="*/ 51 w 139"/>
                  <a:gd name="T43" fmla="*/ 0 h 202"/>
                  <a:gd name="T44" fmla="*/ 51 w 139"/>
                  <a:gd name="T45" fmla="*/ 0 h 202"/>
                  <a:gd name="T46" fmla="*/ 60 w 139"/>
                  <a:gd name="T47" fmla="*/ 6 h 202"/>
                  <a:gd name="T48" fmla="*/ 81 w 139"/>
                  <a:gd name="T49" fmla="*/ 22 h 202"/>
                  <a:gd name="T50" fmla="*/ 93 w 139"/>
                  <a:gd name="T51" fmla="*/ 34 h 202"/>
                  <a:gd name="T52" fmla="*/ 106 w 139"/>
                  <a:gd name="T53" fmla="*/ 46 h 202"/>
                  <a:gd name="T54" fmla="*/ 117 w 139"/>
                  <a:gd name="T55" fmla="*/ 61 h 202"/>
                  <a:gd name="T56" fmla="*/ 127 w 139"/>
                  <a:gd name="T57" fmla="*/ 76 h 202"/>
                  <a:gd name="T58" fmla="*/ 127 w 139"/>
                  <a:gd name="T59" fmla="*/ 76 h 202"/>
                  <a:gd name="T60" fmla="*/ 135 w 139"/>
                  <a:gd name="T61" fmla="*/ 93 h 202"/>
                  <a:gd name="T62" fmla="*/ 138 w 139"/>
                  <a:gd name="T63" fmla="*/ 111 h 202"/>
                  <a:gd name="T64" fmla="*/ 139 w 139"/>
                  <a:gd name="T65" fmla="*/ 127 h 202"/>
                  <a:gd name="T66" fmla="*/ 136 w 139"/>
                  <a:gd name="T67" fmla="*/ 144 h 202"/>
                  <a:gd name="T68" fmla="*/ 133 w 139"/>
                  <a:gd name="T69" fmla="*/ 153 h 202"/>
                  <a:gd name="T70" fmla="*/ 129 w 139"/>
                  <a:gd name="T71" fmla="*/ 160 h 202"/>
                  <a:gd name="T72" fmla="*/ 124 w 139"/>
                  <a:gd name="T73" fmla="*/ 168 h 202"/>
                  <a:gd name="T74" fmla="*/ 118 w 139"/>
                  <a:gd name="T75" fmla="*/ 175 h 202"/>
                  <a:gd name="T76" fmla="*/ 112 w 139"/>
                  <a:gd name="T77" fmla="*/ 183 h 202"/>
                  <a:gd name="T78" fmla="*/ 105 w 139"/>
                  <a:gd name="T79" fmla="*/ 190 h 202"/>
                  <a:gd name="T80" fmla="*/ 96 w 139"/>
                  <a:gd name="T81" fmla="*/ 196 h 202"/>
                  <a:gd name="T82" fmla="*/ 87 w 139"/>
                  <a:gd name="T83" fmla="*/ 202 h 202"/>
                  <a:gd name="T84" fmla="*/ 57 w 139"/>
                  <a:gd name="T85" fmla="*/ 202 h 202"/>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8417 w 10000"/>
                  <a:gd name="connsiteY27" fmla="*/ 3020 h 10000"/>
                  <a:gd name="connsiteX28" fmla="*/ 9137 w 10000"/>
                  <a:gd name="connsiteY28" fmla="*/ 3762 h 10000"/>
                  <a:gd name="connsiteX29" fmla="*/ 9712 w 10000"/>
                  <a:gd name="connsiteY29" fmla="*/ 4604 h 10000"/>
                  <a:gd name="connsiteX30" fmla="*/ 9928 w 10000"/>
                  <a:gd name="connsiteY30" fmla="*/ 5495 h 10000"/>
                  <a:gd name="connsiteX31" fmla="*/ 10000 w 10000"/>
                  <a:gd name="connsiteY31" fmla="*/ 6287 h 10000"/>
                  <a:gd name="connsiteX32" fmla="*/ 9784 w 10000"/>
                  <a:gd name="connsiteY32" fmla="*/ 7129 h 10000"/>
                  <a:gd name="connsiteX33" fmla="*/ 9568 w 10000"/>
                  <a:gd name="connsiteY33" fmla="*/ 7574 h 10000"/>
                  <a:gd name="connsiteX34" fmla="*/ 9281 w 10000"/>
                  <a:gd name="connsiteY34" fmla="*/ 7921 h 10000"/>
                  <a:gd name="connsiteX35" fmla="*/ 8921 w 10000"/>
                  <a:gd name="connsiteY35" fmla="*/ 8317 h 10000"/>
                  <a:gd name="connsiteX36" fmla="*/ 8489 w 10000"/>
                  <a:gd name="connsiteY36" fmla="*/ 8663 h 10000"/>
                  <a:gd name="connsiteX37" fmla="*/ 8058 w 10000"/>
                  <a:gd name="connsiteY37" fmla="*/ 9059 h 10000"/>
                  <a:gd name="connsiteX38" fmla="*/ 7554 w 10000"/>
                  <a:gd name="connsiteY38" fmla="*/ 9406 h 10000"/>
                  <a:gd name="connsiteX39" fmla="*/ 6906 w 10000"/>
                  <a:gd name="connsiteY39" fmla="*/ 9703 h 10000"/>
                  <a:gd name="connsiteX40" fmla="*/ 6259 w 10000"/>
                  <a:gd name="connsiteY40" fmla="*/ 10000 h 10000"/>
                  <a:gd name="connsiteX41" fmla="*/ 4101 w 10000"/>
                  <a:gd name="connsiteY41"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9137 w 10000"/>
                  <a:gd name="connsiteY27" fmla="*/ 3762 h 10000"/>
                  <a:gd name="connsiteX28" fmla="*/ 9712 w 10000"/>
                  <a:gd name="connsiteY28" fmla="*/ 4604 h 10000"/>
                  <a:gd name="connsiteX29" fmla="*/ 9928 w 10000"/>
                  <a:gd name="connsiteY29" fmla="*/ 5495 h 10000"/>
                  <a:gd name="connsiteX30" fmla="*/ 10000 w 10000"/>
                  <a:gd name="connsiteY30" fmla="*/ 6287 h 10000"/>
                  <a:gd name="connsiteX31" fmla="*/ 9784 w 10000"/>
                  <a:gd name="connsiteY31" fmla="*/ 7129 h 10000"/>
                  <a:gd name="connsiteX32" fmla="*/ 9568 w 10000"/>
                  <a:gd name="connsiteY32" fmla="*/ 7574 h 10000"/>
                  <a:gd name="connsiteX33" fmla="*/ 9281 w 10000"/>
                  <a:gd name="connsiteY33" fmla="*/ 7921 h 10000"/>
                  <a:gd name="connsiteX34" fmla="*/ 8921 w 10000"/>
                  <a:gd name="connsiteY34" fmla="*/ 8317 h 10000"/>
                  <a:gd name="connsiteX35" fmla="*/ 8489 w 10000"/>
                  <a:gd name="connsiteY35" fmla="*/ 8663 h 10000"/>
                  <a:gd name="connsiteX36" fmla="*/ 8058 w 10000"/>
                  <a:gd name="connsiteY36" fmla="*/ 9059 h 10000"/>
                  <a:gd name="connsiteX37" fmla="*/ 7554 w 10000"/>
                  <a:gd name="connsiteY37" fmla="*/ 9406 h 10000"/>
                  <a:gd name="connsiteX38" fmla="*/ 6906 w 10000"/>
                  <a:gd name="connsiteY38" fmla="*/ 9703 h 10000"/>
                  <a:gd name="connsiteX39" fmla="*/ 6259 w 10000"/>
                  <a:gd name="connsiteY39" fmla="*/ 10000 h 10000"/>
                  <a:gd name="connsiteX40" fmla="*/ 4101 w 10000"/>
                  <a:gd name="connsiteY40"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9137 w 10000"/>
                  <a:gd name="connsiteY26" fmla="*/ 3762 h 10000"/>
                  <a:gd name="connsiteX27" fmla="*/ 9712 w 10000"/>
                  <a:gd name="connsiteY27" fmla="*/ 4604 h 10000"/>
                  <a:gd name="connsiteX28" fmla="*/ 9928 w 10000"/>
                  <a:gd name="connsiteY28" fmla="*/ 5495 h 10000"/>
                  <a:gd name="connsiteX29" fmla="*/ 10000 w 10000"/>
                  <a:gd name="connsiteY29" fmla="*/ 6287 h 10000"/>
                  <a:gd name="connsiteX30" fmla="*/ 9784 w 10000"/>
                  <a:gd name="connsiteY30" fmla="*/ 7129 h 10000"/>
                  <a:gd name="connsiteX31" fmla="*/ 9568 w 10000"/>
                  <a:gd name="connsiteY31" fmla="*/ 7574 h 10000"/>
                  <a:gd name="connsiteX32" fmla="*/ 9281 w 10000"/>
                  <a:gd name="connsiteY32" fmla="*/ 7921 h 10000"/>
                  <a:gd name="connsiteX33" fmla="*/ 8921 w 10000"/>
                  <a:gd name="connsiteY33" fmla="*/ 8317 h 10000"/>
                  <a:gd name="connsiteX34" fmla="*/ 8489 w 10000"/>
                  <a:gd name="connsiteY34" fmla="*/ 8663 h 10000"/>
                  <a:gd name="connsiteX35" fmla="*/ 8058 w 10000"/>
                  <a:gd name="connsiteY35" fmla="*/ 9059 h 10000"/>
                  <a:gd name="connsiteX36" fmla="*/ 7554 w 10000"/>
                  <a:gd name="connsiteY36" fmla="*/ 9406 h 10000"/>
                  <a:gd name="connsiteX37" fmla="*/ 6906 w 10000"/>
                  <a:gd name="connsiteY37" fmla="*/ 9703 h 10000"/>
                  <a:gd name="connsiteX38" fmla="*/ 6259 w 10000"/>
                  <a:gd name="connsiteY38" fmla="*/ 10000 h 10000"/>
                  <a:gd name="connsiteX39" fmla="*/ 4101 w 10000"/>
                  <a:gd name="connsiteY39"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9137 w 10000"/>
                  <a:gd name="connsiteY25" fmla="*/ 3762 h 10000"/>
                  <a:gd name="connsiteX26" fmla="*/ 9712 w 10000"/>
                  <a:gd name="connsiteY26" fmla="*/ 4604 h 10000"/>
                  <a:gd name="connsiteX27" fmla="*/ 9928 w 10000"/>
                  <a:gd name="connsiteY27" fmla="*/ 5495 h 10000"/>
                  <a:gd name="connsiteX28" fmla="*/ 10000 w 10000"/>
                  <a:gd name="connsiteY28" fmla="*/ 6287 h 10000"/>
                  <a:gd name="connsiteX29" fmla="*/ 9784 w 10000"/>
                  <a:gd name="connsiteY29" fmla="*/ 7129 h 10000"/>
                  <a:gd name="connsiteX30" fmla="*/ 9568 w 10000"/>
                  <a:gd name="connsiteY30" fmla="*/ 7574 h 10000"/>
                  <a:gd name="connsiteX31" fmla="*/ 9281 w 10000"/>
                  <a:gd name="connsiteY31" fmla="*/ 7921 h 10000"/>
                  <a:gd name="connsiteX32" fmla="*/ 8921 w 10000"/>
                  <a:gd name="connsiteY32" fmla="*/ 8317 h 10000"/>
                  <a:gd name="connsiteX33" fmla="*/ 8489 w 10000"/>
                  <a:gd name="connsiteY33" fmla="*/ 8663 h 10000"/>
                  <a:gd name="connsiteX34" fmla="*/ 8058 w 10000"/>
                  <a:gd name="connsiteY34" fmla="*/ 9059 h 10000"/>
                  <a:gd name="connsiteX35" fmla="*/ 7554 w 10000"/>
                  <a:gd name="connsiteY35" fmla="*/ 9406 h 10000"/>
                  <a:gd name="connsiteX36" fmla="*/ 6906 w 10000"/>
                  <a:gd name="connsiteY36" fmla="*/ 9703 h 10000"/>
                  <a:gd name="connsiteX37" fmla="*/ 6259 w 10000"/>
                  <a:gd name="connsiteY37" fmla="*/ 10000 h 10000"/>
                  <a:gd name="connsiteX38" fmla="*/ 4101 w 10000"/>
                  <a:gd name="connsiteY38"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712 w 10000"/>
                  <a:gd name="connsiteY25" fmla="*/ 4604 h 10000"/>
                  <a:gd name="connsiteX26" fmla="*/ 9928 w 10000"/>
                  <a:gd name="connsiteY26" fmla="*/ 5495 h 10000"/>
                  <a:gd name="connsiteX27" fmla="*/ 10000 w 10000"/>
                  <a:gd name="connsiteY27" fmla="*/ 6287 h 10000"/>
                  <a:gd name="connsiteX28" fmla="*/ 9784 w 10000"/>
                  <a:gd name="connsiteY28" fmla="*/ 7129 h 10000"/>
                  <a:gd name="connsiteX29" fmla="*/ 9568 w 10000"/>
                  <a:gd name="connsiteY29" fmla="*/ 7574 h 10000"/>
                  <a:gd name="connsiteX30" fmla="*/ 9281 w 10000"/>
                  <a:gd name="connsiteY30" fmla="*/ 7921 h 10000"/>
                  <a:gd name="connsiteX31" fmla="*/ 8921 w 10000"/>
                  <a:gd name="connsiteY31" fmla="*/ 8317 h 10000"/>
                  <a:gd name="connsiteX32" fmla="*/ 8489 w 10000"/>
                  <a:gd name="connsiteY32" fmla="*/ 8663 h 10000"/>
                  <a:gd name="connsiteX33" fmla="*/ 8058 w 10000"/>
                  <a:gd name="connsiteY33" fmla="*/ 9059 h 10000"/>
                  <a:gd name="connsiteX34" fmla="*/ 7554 w 10000"/>
                  <a:gd name="connsiteY34" fmla="*/ 9406 h 10000"/>
                  <a:gd name="connsiteX35" fmla="*/ 6906 w 10000"/>
                  <a:gd name="connsiteY35" fmla="*/ 9703 h 10000"/>
                  <a:gd name="connsiteX36" fmla="*/ 6259 w 10000"/>
                  <a:gd name="connsiteY36" fmla="*/ 10000 h 10000"/>
                  <a:gd name="connsiteX37" fmla="*/ 4101 w 10000"/>
                  <a:gd name="connsiteY37"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928 w 10000"/>
                  <a:gd name="connsiteY25" fmla="*/ 5495 h 10000"/>
                  <a:gd name="connsiteX26" fmla="*/ 10000 w 10000"/>
                  <a:gd name="connsiteY26" fmla="*/ 6287 h 10000"/>
                  <a:gd name="connsiteX27" fmla="*/ 9784 w 10000"/>
                  <a:gd name="connsiteY27" fmla="*/ 7129 h 10000"/>
                  <a:gd name="connsiteX28" fmla="*/ 9568 w 10000"/>
                  <a:gd name="connsiteY28" fmla="*/ 7574 h 10000"/>
                  <a:gd name="connsiteX29" fmla="*/ 9281 w 10000"/>
                  <a:gd name="connsiteY29" fmla="*/ 7921 h 10000"/>
                  <a:gd name="connsiteX30" fmla="*/ 8921 w 10000"/>
                  <a:gd name="connsiteY30" fmla="*/ 8317 h 10000"/>
                  <a:gd name="connsiteX31" fmla="*/ 8489 w 10000"/>
                  <a:gd name="connsiteY31" fmla="*/ 8663 h 10000"/>
                  <a:gd name="connsiteX32" fmla="*/ 8058 w 10000"/>
                  <a:gd name="connsiteY32" fmla="*/ 9059 h 10000"/>
                  <a:gd name="connsiteX33" fmla="*/ 7554 w 10000"/>
                  <a:gd name="connsiteY33" fmla="*/ 9406 h 10000"/>
                  <a:gd name="connsiteX34" fmla="*/ 6906 w 10000"/>
                  <a:gd name="connsiteY34" fmla="*/ 9703 h 10000"/>
                  <a:gd name="connsiteX35" fmla="*/ 6259 w 10000"/>
                  <a:gd name="connsiteY35" fmla="*/ 10000 h 10000"/>
                  <a:gd name="connsiteX36" fmla="*/ 4101 w 10000"/>
                  <a:gd name="connsiteY36"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928 w 10000"/>
                  <a:gd name="connsiteY24" fmla="*/ 5495 h 10000"/>
                  <a:gd name="connsiteX25" fmla="*/ 10000 w 10000"/>
                  <a:gd name="connsiteY25" fmla="*/ 6287 h 10000"/>
                  <a:gd name="connsiteX26" fmla="*/ 9784 w 10000"/>
                  <a:gd name="connsiteY26" fmla="*/ 7129 h 10000"/>
                  <a:gd name="connsiteX27" fmla="*/ 9568 w 10000"/>
                  <a:gd name="connsiteY27" fmla="*/ 7574 h 10000"/>
                  <a:gd name="connsiteX28" fmla="*/ 9281 w 10000"/>
                  <a:gd name="connsiteY28" fmla="*/ 7921 h 10000"/>
                  <a:gd name="connsiteX29" fmla="*/ 8921 w 10000"/>
                  <a:gd name="connsiteY29" fmla="*/ 8317 h 10000"/>
                  <a:gd name="connsiteX30" fmla="*/ 8489 w 10000"/>
                  <a:gd name="connsiteY30" fmla="*/ 8663 h 10000"/>
                  <a:gd name="connsiteX31" fmla="*/ 8058 w 10000"/>
                  <a:gd name="connsiteY31" fmla="*/ 9059 h 10000"/>
                  <a:gd name="connsiteX32" fmla="*/ 7554 w 10000"/>
                  <a:gd name="connsiteY32" fmla="*/ 9406 h 10000"/>
                  <a:gd name="connsiteX33" fmla="*/ 6906 w 10000"/>
                  <a:gd name="connsiteY33" fmla="*/ 9703 h 10000"/>
                  <a:gd name="connsiteX34" fmla="*/ 6259 w 10000"/>
                  <a:gd name="connsiteY34" fmla="*/ 10000 h 10000"/>
                  <a:gd name="connsiteX35" fmla="*/ 4101 w 10000"/>
                  <a:gd name="connsiteY35" fmla="*/ 10000 h 10000"/>
                  <a:gd name="connsiteX0" fmla="*/ 4101 w 9928"/>
                  <a:gd name="connsiteY0" fmla="*/ 10000 h 10000"/>
                  <a:gd name="connsiteX1" fmla="*/ 4101 w 9928"/>
                  <a:gd name="connsiteY1" fmla="*/ 10000 h 10000"/>
                  <a:gd name="connsiteX2" fmla="*/ 3669 w 9928"/>
                  <a:gd name="connsiteY2" fmla="*/ 9851 h 10000"/>
                  <a:gd name="connsiteX3" fmla="*/ 2878 w 9928"/>
                  <a:gd name="connsiteY3" fmla="*/ 9554 h 10000"/>
                  <a:gd name="connsiteX4" fmla="*/ 1942 w 9928"/>
                  <a:gd name="connsiteY4" fmla="*/ 9059 h 10000"/>
                  <a:gd name="connsiteX5" fmla="*/ 1511 w 9928"/>
                  <a:gd name="connsiteY5" fmla="*/ 8762 h 10000"/>
                  <a:gd name="connsiteX6" fmla="*/ 1079 w 9928"/>
                  <a:gd name="connsiteY6" fmla="*/ 8366 h 10000"/>
                  <a:gd name="connsiteX7" fmla="*/ 647 w 9928"/>
                  <a:gd name="connsiteY7" fmla="*/ 7921 h 10000"/>
                  <a:gd name="connsiteX8" fmla="*/ 288 w 9928"/>
                  <a:gd name="connsiteY8" fmla="*/ 7475 h 10000"/>
                  <a:gd name="connsiteX9" fmla="*/ 72 w 9928"/>
                  <a:gd name="connsiteY9" fmla="*/ 6980 h 10000"/>
                  <a:gd name="connsiteX10" fmla="*/ 0 w 9928"/>
                  <a:gd name="connsiteY10" fmla="*/ 6436 h 10000"/>
                  <a:gd name="connsiteX11" fmla="*/ 72 w 9928"/>
                  <a:gd name="connsiteY11" fmla="*/ 5842 h 10000"/>
                  <a:gd name="connsiteX12" fmla="*/ 288 w 9928"/>
                  <a:gd name="connsiteY12" fmla="*/ 5198 h 10000"/>
                  <a:gd name="connsiteX13" fmla="*/ 863 w 9928"/>
                  <a:gd name="connsiteY13" fmla="*/ 4505 h 10000"/>
                  <a:gd name="connsiteX14" fmla="*/ 1583 w 9928"/>
                  <a:gd name="connsiteY14" fmla="*/ 3762 h 10000"/>
                  <a:gd name="connsiteX15" fmla="*/ 1583 w 9928"/>
                  <a:gd name="connsiteY15" fmla="*/ 3762 h 10000"/>
                  <a:gd name="connsiteX16" fmla="*/ 1942 w 9928"/>
                  <a:gd name="connsiteY16" fmla="*/ 3465 h 10000"/>
                  <a:gd name="connsiteX17" fmla="*/ 2590 w 9928"/>
                  <a:gd name="connsiteY17" fmla="*/ 2723 h 10000"/>
                  <a:gd name="connsiteX18" fmla="*/ 3022 w 9928"/>
                  <a:gd name="connsiteY18" fmla="*/ 2129 h 10000"/>
                  <a:gd name="connsiteX19" fmla="*/ 3309 w 9928"/>
                  <a:gd name="connsiteY19" fmla="*/ 1535 h 10000"/>
                  <a:gd name="connsiteX20" fmla="*/ 3525 w 9928"/>
                  <a:gd name="connsiteY20" fmla="*/ 792 h 10000"/>
                  <a:gd name="connsiteX21" fmla="*/ 3669 w 9928"/>
                  <a:gd name="connsiteY21" fmla="*/ 0 h 10000"/>
                  <a:gd name="connsiteX22" fmla="*/ 3669 w 9928"/>
                  <a:gd name="connsiteY22" fmla="*/ 0 h 10000"/>
                  <a:gd name="connsiteX23" fmla="*/ 4317 w 9928"/>
                  <a:gd name="connsiteY23" fmla="*/ 297 h 10000"/>
                  <a:gd name="connsiteX24" fmla="*/ 9928 w 9928"/>
                  <a:gd name="connsiteY24" fmla="*/ 5495 h 10000"/>
                  <a:gd name="connsiteX25" fmla="*/ 9784 w 9928"/>
                  <a:gd name="connsiteY25" fmla="*/ 7129 h 10000"/>
                  <a:gd name="connsiteX26" fmla="*/ 9568 w 9928"/>
                  <a:gd name="connsiteY26" fmla="*/ 7574 h 10000"/>
                  <a:gd name="connsiteX27" fmla="*/ 9281 w 9928"/>
                  <a:gd name="connsiteY27" fmla="*/ 7921 h 10000"/>
                  <a:gd name="connsiteX28" fmla="*/ 8921 w 9928"/>
                  <a:gd name="connsiteY28" fmla="*/ 8317 h 10000"/>
                  <a:gd name="connsiteX29" fmla="*/ 8489 w 9928"/>
                  <a:gd name="connsiteY29" fmla="*/ 8663 h 10000"/>
                  <a:gd name="connsiteX30" fmla="*/ 8058 w 9928"/>
                  <a:gd name="connsiteY30" fmla="*/ 9059 h 10000"/>
                  <a:gd name="connsiteX31" fmla="*/ 7554 w 9928"/>
                  <a:gd name="connsiteY31" fmla="*/ 9406 h 10000"/>
                  <a:gd name="connsiteX32" fmla="*/ 6906 w 9928"/>
                  <a:gd name="connsiteY32" fmla="*/ 9703 h 10000"/>
                  <a:gd name="connsiteX33" fmla="*/ 6259 w 9928"/>
                  <a:gd name="connsiteY33" fmla="*/ 10000 h 10000"/>
                  <a:gd name="connsiteX34" fmla="*/ 4101 w 9928"/>
                  <a:gd name="connsiteY34"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48 w 10000"/>
                  <a:gd name="connsiteY26" fmla="*/ 7921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33 w 10000"/>
                  <a:gd name="connsiteY26" fmla="*/ 7808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214"/>
                  <a:gd name="connsiteY0" fmla="*/ 10000 h 10000"/>
                  <a:gd name="connsiteX1" fmla="*/ 4131 w 10214"/>
                  <a:gd name="connsiteY1" fmla="*/ 10000 h 10000"/>
                  <a:gd name="connsiteX2" fmla="*/ 3696 w 10214"/>
                  <a:gd name="connsiteY2" fmla="*/ 9851 h 10000"/>
                  <a:gd name="connsiteX3" fmla="*/ 2899 w 10214"/>
                  <a:gd name="connsiteY3" fmla="*/ 9554 h 10000"/>
                  <a:gd name="connsiteX4" fmla="*/ 1956 w 10214"/>
                  <a:gd name="connsiteY4" fmla="*/ 9059 h 10000"/>
                  <a:gd name="connsiteX5" fmla="*/ 1522 w 10214"/>
                  <a:gd name="connsiteY5" fmla="*/ 8762 h 10000"/>
                  <a:gd name="connsiteX6" fmla="*/ 1087 w 10214"/>
                  <a:gd name="connsiteY6" fmla="*/ 8366 h 10000"/>
                  <a:gd name="connsiteX7" fmla="*/ 652 w 10214"/>
                  <a:gd name="connsiteY7" fmla="*/ 7921 h 10000"/>
                  <a:gd name="connsiteX8" fmla="*/ 290 w 10214"/>
                  <a:gd name="connsiteY8" fmla="*/ 7475 h 10000"/>
                  <a:gd name="connsiteX9" fmla="*/ 73 w 10214"/>
                  <a:gd name="connsiteY9" fmla="*/ 6980 h 10000"/>
                  <a:gd name="connsiteX10" fmla="*/ 0 w 10214"/>
                  <a:gd name="connsiteY10" fmla="*/ 6436 h 10000"/>
                  <a:gd name="connsiteX11" fmla="*/ 73 w 10214"/>
                  <a:gd name="connsiteY11" fmla="*/ 5842 h 10000"/>
                  <a:gd name="connsiteX12" fmla="*/ 290 w 10214"/>
                  <a:gd name="connsiteY12" fmla="*/ 5198 h 10000"/>
                  <a:gd name="connsiteX13" fmla="*/ 869 w 10214"/>
                  <a:gd name="connsiteY13" fmla="*/ 4505 h 10000"/>
                  <a:gd name="connsiteX14" fmla="*/ 1594 w 10214"/>
                  <a:gd name="connsiteY14" fmla="*/ 3762 h 10000"/>
                  <a:gd name="connsiteX15" fmla="*/ 1594 w 10214"/>
                  <a:gd name="connsiteY15" fmla="*/ 3762 h 10000"/>
                  <a:gd name="connsiteX16" fmla="*/ 1956 w 10214"/>
                  <a:gd name="connsiteY16" fmla="*/ 3465 h 10000"/>
                  <a:gd name="connsiteX17" fmla="*/ 2609 w 10214"/>
                  <a:gd name="connsiteY17" fmla="*/ 2723 h 10000"/>
                  <a:gd name="connsiteX18" fmla="*/ 3044 w 10214"/>
                  <a:gd name="connsiteY18" fmla="*/ 2129 h 10000"/>
                  <a:gd name="connsiteX19" fmla="*/ 3333 w 10214"/>
                  <a:gd name="connsiteY19" fmla="*/ 1535 h 10000"/>
                  <a:gd name="connsiteX20" fmla="*/ 3551 w 10214"/>
                  <a:gd name="connsiteY20" fmla="*/ 792 h 10000"/>
                  <a:gd name="connsiteX21" fmla="*/ 3696 w 10214"/>
                  <a:gd name="connsiteY21" fmla="*/ 0 h 10000"/>
                  <a:gd name="connsiteX22" fmla="*/ 3696 w 10214"/>
                  <a:gd name="connsiteY22" fmla="*/ 0 h 10000"/>
                  <a:gd name="connsiteX23" fmla="*/ 4348 w 10214"/>
                  <a:gd name="connsiteY23" fmla="*/ 297 h 10000"/>
                  <a:gd name="connsiteX24" fmla="*/ 10000 w 10214"/>
                  <a:gd name="connsiteY24" fmla="*/ 5495 h 10000"/>
                  <a:gd name="connsiteX25" fmla="*/ 8986 w 10214"/>
                  <a:gd name="connsiteY25" fmla="*/ 8317 h 10000"/>
                  <a:gd name="connsiteX26" fmla="*/ 8551 w 10214"/>
                  <a:gd name="connsiteY26" fmla="*/ 8663 h 10000"/>
                  <a:gd name="connsiteX27" fmla="*/ 8116 w 10214"/>
                  <a:gd name="connsiteY27" fmla="*/ 9059 h 10000"/>
                  <a:gd name="connsiteX28" fmla="*/ 7609 w 10214"/>
                  <a:gd name="connsiteY28" fmla="*/ 9406 h 10000"/>
                  <a:gd name="connsiteX29" fmla="*/ 6956 w 10214"/>
                  <a:gd name="connsiteY29" fmla="*/ 9703 h 10000"/>
                  <a:gd name="connsiteX30" fmla="*/ 6304 w 10214"/>
                  <a:gd name="connsiteY30" fmla="*/ 10000 h 10000"/>
                  <a:gd name="connsiteX31" fmla="*/ 4131 w 10214"/>
                  <a:gd name="connsiteY31" fmla="*/ 10000 h 10000"/>
                  <a:gd name="connsiteX0" fmla="*/ 4131 w 10158"/>
                  <a:gd name="connsiteY0" fmla="*/ 10000 h 10000"/>
                  <a:gd name="connsiteX1" fmla="*/ 4131 w 10158"/>
                  <a:gd name="connsiteY1" fmla="*/ 10000 h 10000"/>
                  <a:gd name="connsiteX2" fmla="*/ 3696 w 10158"/>
                  <a:gd name="connsiteY2" fmla="*/ 9851 h 10000"/>
                  <a:gd name="connsiteX3" fmla="*/ 2899 w 10158"/>
                  <a:gd name="connsiteY3" fmla="*/ 9554 h 10000"/>
                  <a:gd name="connsiteX4" fmla="*/ 1956 w 10158"/>
                  <a:gd name="connsiteY4" fmla="*/ 9059 h 10000"/>
                  <a:gd name="connsiteX5" fmla="*/ 1522 w 10158"/>
                  <a:gd name="connsiteY5" fmla="*/ 8762 h 10000"/>
                  <a:gd name="connsiteX6" fmla="*/ 1087 w 10158"/>
                  <a:gd name="connsiteY6" fmla="*/ 8366 h 10000"/>
                  <a:gd name="connsiteX7" fmla="*/ 652 w 10158"/>
                  <a:gd name="connsiteY7" fmla="*/ 7921 h 10000"/>
                  <a:gd name="connsiteX8" fmla="*/ 290 w 10158"/>
                  <a:gd name="connsiteY8" fmla="*/ 7475 h 10000"/>
                  <a:gd name="connsiteX9" fmla="*/ 73 w 10158"/>
                  <a:gd name="connsiteY9" fmla="*/ 6980 h 10000"/>
                  <a:gd name="connsiteX10" fmla="*/ 0 w 10158"/>
                  <a:gd name="connsiteY10" fmla="*/ 6436 h 10000"/>
                  <a:gd name="connsiteX11" fmla="*/ 73 w 10158"/>
                  <a:gd name="connsiteY11" fmla="*/ 5842 h 10000"/>
                  <a:gd name="connsiteX12" fmla="*/ 290 w 10158"/>
                  <a:gd name="connsiteY12" fmla="*/ 5198 h 10000"/>
                  <a:gd name="connsiteX13" fmla="*/ 869 w 10158"/>
                  <a:gd name="connsiteY13" fmla="*/ 4505 h 10000"/>
                  <a:gd name="connsiteX14" fmla="*/ 1594 w 10158"/>
                  <a:gd name="connsiteY14" fmla="*/ 3762 h 10000"/>
                  <a:gd name="connsiteX15" fmla="*/ 1594 w 10158"/>
                  <a:gd name="connsiteY15" fmla="*/ 3762 h 10000"/>
                  <a:gd name="connsiteX16" fmla="*/ 1956 w 10158"/>
                  <a:gd name="connsiteY16" fmla="*/ 3465 h 10000"/>
                  <a:gd name="connsiteX17" fmla="*/ 2609 w 10158"/>
                  <a:gd name="connsiteY17" fmla="*/ 2723 h 10000"/>
                  <a:gd name="connsiteX18" fmla="*/ 3044 w 10158"/>
                  <a:gd name="connsiteY18" fmla="*/ 2129 h 10000"/>
                  <a:gd name="connsiteX19" fmla="*/ 3333 w 10158"/>
                  <a:gd name="connsiteY19" fmla="*/ 1535 h 10000"/>
                  <a:gd name="connsiteX20" fmla="*/ 3551 w 10158"/>
                  <a:gd name="connsiteY20" fmla="*/ 792 h 10000"/>
                  <a:gd name="connsiteX21" fmla="*/ 3696 w 10158"/>
                  <a:gd name="connsiteY21" fmla="*/ 0 h 10000"/>
                  <a:gd name="connsiteX22" fmla="*/ 3696 w 10158"/>
                  <a:gd name="connsiteY22" fmla="*/ 0 h 10000"/>
                  <a:gd name="connsiteX23" fmla="*/ 4348 w 10158"/>
                  <a:gd name="connsiteY23" fmla="*/ 297 h 10000"/>
                  <a:gd name="connsiteX24" fmla="*/ 10000 w 10158"/>
                  <a:gd name="connsiteY24" fmla="*/ 5495 h 10000"/>
                  <a:gd name="connsiteX25" fmla="*/ 8551 w 10158"/>
                  <a:gd name="connsiteY25" fmla="*/ 8663 h 10000"/>
                  <a:gd name="connsiteX26" fmla="*/ 8116 w 10158"/>
                  <a:gd name="connsiteY26" fmla="*/ 9059 h 10000"/>
                  <a:gd name="connsiteX27" fmla="*/ 7609 w 10158"/>
                  <a:gd name="connsiteY27" fmla="*/ 9406 h 10000"/>
                  <a:gd name="connsiteX28" fmla="*/ 6956 w 10158"/>
                  <a:gd name="connsiteY28" fmla="*/ 9703 h 10000"/>
                  <a:gd name="connsiteX29" fmla="*/ 6304 w 10158"/>
                  <a:gd name="connsiteY29" fmla="*/ 10000 h 10000"/>
                  <a:gd name="connsiteX30" fmla="*/ 4131 w 10158"/>
                  <a:gd name="connsiteY30" fmla="*/ 10000 h 10000"/>
                  <a:gd name="connsiteX0" fmla="*/ 4131 w 10115"/>
                  <a:gd name="connsiteY0" fmla="*/ 10000 h 10000"/>
                  <a:gd name="connsiteX1" fmla="*/ 4131 w 10115"/>
                  <a:gd name="connsiteY1" fmla="*/ 10000 h 10000"/>
                  <a:gd name="connsiteX2" fmla="*/ 3696 w 10115"/>
                  <a:gd name="connsiteY2" fmla="*/ 9851 h 10000"/>
                  <a:gd name="connsiteX3" fmla="*/ 2899 w 10115"/>
                  <a:gd name="connsiteY3" fmla="*/ 9554 h 10000"/>
                  <a:gd name="connsiteX4" fmla="*/ 1956 w 10115"/>
                  <a:gd name="connsiteY4" fmla="*/ 9059 h 10000"/>
                  <a:gd name="connsiteX5" fmla="*/ 1522 w 10115"/>
                  <a:gd name="connsiteY5" fmla="*/ 8762 h 10000"/>
                  <a:gd name="connsiteX6" fmla="*/ 1087 w 10115"/>
                  <a:gd name="connsiteY6" fmla="*/ 8366 h 10000"/>
                  <a:gd name="connsiteX7" fmla="*/ 652 w 10115"/>
                  <a:gd name="connsiteY7" fmla="*/ 7921 h 10000"/>
                  <a:gd name="connsiteX8" fmla="*/ 290 w 10115"/>
                  <a:gd name="connsiteY8" fmla="*/ 7475 h 10000"/>
                  <a:gd name="connsiteX9" fmla="*/ 73 w 10115"/>
                  <a:gd name="connsiteY9" fmla="*/ 6980 h 10000"/>
                  <a:gd name="connsiteX10" fmla="*/ 0 w 10115"/>
                  <a:gd name="connsiteY10" fmla="*/ 6436 h 10000"/>
                  <a:gd name="connsiteX11" fmla="*/ 73 w 10115"/>
                  <a:gd name="connsiteY11" fmla="*/ 5842 h 10000"/>
                  <a:gd name="connsiteX12" fmla="*/ 290 w 10115"/>
                  <a:gd name="connsiteY12" fmla="*/ 5198 h 10000"/>
                  <a:gd name="connsiteX13" fmla="*/ 869 w 10115"/>
                  <a:gd name="connsiteY13" fmla="*/ 4505 h 10000"/>
                  <a:gd name="connsiteX14" fmla="*/ 1594 w 10115"/>
                  <a:gd name="connsiteY14" fmla="*/ 3762 h 10000"/>
                  <a:gd name="connsiteX15" fmla="*/ 1594 w 10115"/>
                  <a:gd name="connsiteY15" fmla="*/ 3762 h 10000"/>
                  <a:gd name="connsiteX16" fmla="*/ 1956 w 10115"/>
                  <a:gd name="connsiteY16" fmla="*/ 3465 h 10000"/>
                  <a:gd name="connsiteX17" fmla="*/ 2609 w 10115"/>
                  <a:gd name="connsiteY17" fmla="*/ 2723 h 10000"/>
                  <a:gd name="connsiteX18" fmla="*/ 3044 w 10115"/>
                  <a:gd name="connsiteY18" fmla="*/ 2129 h 10000"/>
                  <a:gd name="connsiteX19" fmla="*/ 3333 w 10115"/>
                  <a:gd name="connsiteY19" fmla="*/ 1535 h 10000"/>
                  <a:gd name="connsiteX20" fmla="*/ 3551 w 10115"/>
                  <a:gd name="connsiteY20" fmla="*/ 792 h 10000"/>
                  <a:gd name="connsiteX21" fmla="*/ 3696 w 10115"/>
                  <a:gd name="connsiteY21" fmla="*/ 0 h 10000"/>
                  <a:gd name="connsiteX22" fmla="*/ 3696 w 10115"/>
                  <a:gd name="connsiteY22" fmla="*/ 0 h 10000"/>
                  <a:gd name="connsiteX23" fmla="*/ 4348 w 10115"/>
                  <a:gd name="connsiteY23" fmla="*/ 297 h 10000"/>
                  <a:gd name="connsiteX24" fmla="*/ 10000 w 10115"/>
                  <a:gd name="connsiteY24" fmla="*/ 5495 h 10000"/>
                  <a:gd name="connsiteX25" fmla="*/ 8116 w 10115"/>
                  <a:gd name="connsiteY25" fmla="*/ 9059 h 10000"/>
                  <a:gd name="connsiteX26" fmla="*/ 7609 w 10115"/>
                  <a:gd name="connsiteY26" fmla="*/ 9406 h 10000"/>
                  <a:gd name="connsiteX27" fmla="*/ 6956 w 10115"/>
                  <a:gd name="connsiteY27" fmla="*/ 9703 h 10000"/>
                  <a:gd name="connsiteX28" fmla="*/ 6304 w 10115"/>
                  <a:gd name="connsiteY28" fmla="*/ 10000 h 10000"/>
                  <a:gd name="connsiteX29" fmla="*/ 4131 w 10115"/>
                  <a:gd name="connsiteY29" fmla="*/ 10000 h 10000"/>
                  <a:gd name="connsiteX0" fmla="*/ 4131 w 10078"/>
                  <a:gd name="connsiteY0" fmla="*/ 10000 h 10000"/>
                  <a:gd name="connsiteX1" fmla="*/ 4131 w 10078"/>
                  <a:gd name="connsiteY1" fmla="*/ 10000 h 10000"/>
                  <a:gd name="connsiteX2" fmla="*/ 3696 w 10078"/>
                  <a:gd name="connsiteY2" fmla="*/ 9851 h 10000"/>
                  <a:gd name="connsiteX3" fmla="*/ 2899 w 10078"/>
                  <a:gd name="connsiteY3" fmla="*/ 9554 h 10000"/>
                  <a:gd name="connsiteX4" fmla="*/ 1956 w 10078"/>
                  <a:gd name="connsiteY4" fmla="*/ 9059 h 10000"/>
                  <a:gd name="connsiteX5" fmla="*/ 1522 w 10078"/>
                  <a:gd name="connsiteY5" fmla="*/ 8762 h 10000"/>
                  <a:gd name="connsiteX6" fmla="*/ 1087 w 10078"/>
                  <a:gd name="connsiteY6" fmla="*/ 8366 h 10000"/>
                  <a:gd name="connsiteX7" fmla="*/ 652 w 10078"/>
                  <a:gd name="connsiteY7" fmla="*/ 7921 h 10000"/>
                  <a:gd name="connsiteX8" fmla="*/ 290 w 10078"/>
                  <a:gd name="connsiteY8" fmla="*/ 7475 h 10000"/>
                  <a:gd name="connsiteX9" fmla="*/ 73 w 10078"/>
                  <a:gd name="connsiteY9" fmla="*/ 6980 h 10000"/>
                  <a:gd name="connsiteX10" fmla="*/ 0 w 10078"/>
                  <a:gd name="connsiteY10" fmla="*/ 6436 h 10000"/>
                  <a:gd name="connsiteX11" fmla="*/ 73 w 10078"/>
                  <a:gd name="connsiteY11" fmla="*/ 5842 h 10000"/>
                  <a:gd name="connsiteX12" fmla="*/ 290 w 10078"/>
                  <a:gd name="connsiteY12" fmla="*/ 5198 h 10000"/>
                  <a:gd name="connsiteX13" fmla="*/ 869 w 10078"/>
                  <a:gd name="connsiteY13" fmla="*/ 4505 h 10000"/>
                  <a:gd name="connsiteX14" fmla="*/ 1594 w 10078"/>
                  <a:gd name="connsiteY14" fmla="*/ 3762 h 10000"/>
                  <a:gd name="connsiteX15" fmla="*/ 1594 w 10078"/>
                  <a:gd name="connsiteY15" fmla="*/ 3762 h 10000"/>
                  <a:gd name="connsiteX16" fmla="*/ 1956 w 10078"/>
                  <a:gd name="connsiteY16" fmla="*/ 3465 h 10000"/>
                  <a:gd name="connsiteX17" fmla="*/ 2609 w 10078"/>
                  <a:gd name="connsiteY17" fmla="*/ 2723 h 10000"/>
                  <a:gd name="connsiteX18" fmla="*/ 3044 w 10078"/>
                  <a:gd name="connsiteY18" fmla="*/ 2129 h 10000"/>
                  <a:gd name="connsiteX19" fmla="*/ 3333 w 10078"/>
                  <a:gd name="connsiteY19" fmla="*/ 1535 h 10000"/>
                  <a:gd name="connsiteX20" fmla="*/ 3551 w 10078"/>
                  <a:gd name="connsiteY20" fmla="*/ 792 h 10000"/>
                  <a:gd name="connsiteX21" fmla="*/ 3696 w 10078"/>
                  <a:gd name="connsiteY21" fmla="*/ 0 h 10000"/>
                  <a:gd name="connsiteX22" fmla="*/ 3696 w 10078"/>
                  <a:gd name="connsiteY22" fmla="*/ 0 h 10000"/>
                  <a:gd name="connsiteX23" fmla="*/ 4348 w 10078"/>
                  <a:gd name="connsiteY23" fmla="*/ 297 h 10000"/>
                  <a:gd name="connsiteX24" fmla="*/ 10000 w 10078"/>
                  <a:gd name="connsiteY24" fmla="*/ 5495 h 10000"/>
                  <a:gd name="connsiteX25" fmla="*/ 7609 w 10078"/>
                  <a:gd name="connsiteY25" fmla="*/ 9406 h 10000"/>
                  <a:gd name="connsiteX26" fmla="*/ 6956 w 10078"/>
                  <a:gd name="connsiteY26" fmla="*/ 9703 h 10000"/>
                  <a:gd name="connsiteX27" fmla="*/ 6304 w 10078"/>
                  <a:gd name="connsiteY27" fmla="*/ 10000 h 10000"/>
                  <a:gd name="connsiteX28" fmla="*/ 4131 w 10078"/>
                  <a:gd name="connsiteY28" fmla="*/ 10000 h 10000"/>
                  <a:gd name="connsiteX0" fmla="*/ 4131 w 10044"/>
                  <a:gd name="connsiteY0" fmla="*/ 10000 h 10000"/>
                  <a:gd name="connsiteX1" fmla="*/ 4131 w 10044"/>
                  <a:gd name="connsiteY1" fmla="*/ 10000 h 10000"/>
                  <a:gd name="connsiteX2" fmla="*/ 3696 w 10044"/>
                  <a:gd name="connsiteY2" fmla="*/ 9851 h 10000"/>
                  <a:gd name="connsiteX3" fmla="*/ 2899 w 10044"/>
                  <a:gd name="connsiteY3" fmla="*/ 9554 h 10000"/>
                  <a:gd name="connsiteX4" fmla="*/ 1956 w 10044"/>
                  <a:gd name="connsiteY4" fmla="*/ 9059 h 10000"/>
                  <a:gd name="connsiteX5" fmla="*/ 1522 w 10044"/>
                  <a:gd name="connsiteY5" fmla="*/ 8762 h 10000"/>
                  <a:gd name="connsiteX6" fmla="*/ 1087 w 10044"/>
                  <a:gd name="connsiteY6" fmla="*/ 8366 h 10000"/>
                  <a:gd name="connsiteX7" fmla="*/ 652 w 10044"/>
                  <a:gd name="connsiteY7" fmla="*/ 7921 h 10000"/>
                  <a:gd name="connsiteX8" fmla="*/ 290 w 10044"/>
                  <a:gd name="connsiteY8" fmla="*/ 7475 h 10000"/>
                  <a:gd name="connsiteX9" fmla="*/ 73 w 10044"/>
                  <a:gd name="connsiteY9" fmla="*/ 6980 h 10000"/>
                  <a:gd name="connsiteX10" fmla="*/ 0 w 10044"/>
                  <a:gd name="connsiteY10" fmla="*/ 6436 h 10000"/>
                  <a:gd name="connsiteX11" fmla="*/ 73 w 10044"/>
                  <a:gd name="connsiteY11" fmla="*/ 5842 h 10000"/>
                  <a:gd name="connsiteX12" fmla="*/ 290 w 10044"/>
                  <a:gd name="connsiteY12" fmla="*/ 5198 h 10000"/>
                  <a:gd name="connsiteX13" fmla="*/ 869 w 10044"/>
                  <a:gd name="connsiteY13" fmla="*/ 4505 h 10000"/>
                  <a:gd name="connsiteX14" fmla="*/ 1594 w 10044"/>
                  <a:gd name="connsiteY14" fmla="*/ 3762 h 10000"/>
                  <a:gd name="connsiteX15" fmla="*/ 1594 w 10044"/>
                  <a:gd name="connsiteY15" fmla="*/ 3762 h 10000"/>
                  <a:gd name="connsiteX16" fmla="*/ 1956 w 10044"/>
                  <a:gd name="connsiteY16" fmla="*/ 3465 h 10000"/>
                  <a:gd name="connsiteX17" fmla="*/ 2609 w 10044"/>
                  <a:gd name="connsiteY17" fmla="*/ 2723 h 10000"/>
                  <a:gd name="connsiteX18" fmla="*/ 3044 w 10044"/>
                  <a:gd name="connsiteY18" fmla="*/ 2129 h 10000"/>
                  <a:gd name="connsiteX19" fmla="*/ 3333 w 10044"/>
                  <a:gd name="connsiteY19" fmla="*/ 1535 h 10000"/>
                  <a:gd name="connsiteX20" fmla="*/ 3551 w 10044"/>
                  <a:gd name="connsiteY20" fmla="*/ 792 h 10000"/>
                  <a:gd name="connsiteX21" fmla="*/ 3696 w 10044"/>
                  <a:gd name="connsiteY21" fmla="*/ 0 h 10000"/>
                  <a:gd name="connsiteX22" fmla="*/ 3696 w 10044"/>
                  <a:gd name="connsiteY22" fmla="*/ 0 h 10000"/>
                  <a:gd name="connsiteX23" fmla="*/ 4348 w 10044"/>
                  <a:gd name="connsiteY23" fmla="*/ 297 h 10000"/>
                  <a:gd name="connsiteX24" fmla="*/ 10000 w 10044"/>
                  <a:gd name="connsiteY24" fmla="*/ 5495 h 10000"/>
                  <a:gd name="connsiteX25" fmla="*/ 6956 w 10044"/>
                  <a:gd name="connsiteY25" fmla="*/ 9703 h 10000"/>
                  <a:gd name="connsiteX26" fmla="*/ 6304 w 10044"/>
                  <a:gd name="connsiteY26" fmla="*/ 10000 h 10000"/>
                  <a:gd name="connsiteX27" fmla="*/ 4131 w 10044"/>
                  <a:gd name="connsiteY27"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4131 w 10024"/>
                  <a:gd name="connsiteY26"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5029 w 10024"/>
                  <a:gd name="connsiteY26" fmla="*/ 9977 h 10000"/>
                  <a:gd name="connsiteX27" fmla="*/ 4131 w 10024"/>
                  <a:gd name="connsiteY27" fmla="*/ 10000 h 10000"/>
                  <a:gd name="connsiteX0" fmla="*/ 4131 w 10002"/>
                  <a:gd name="connsiteY0" fmla="*/ 10000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26" fmla="*/ 4131 w 10002"/>
                  <a:gd name="connsiteY26" fmla="*/ 10000 h 10000"/>
                  <a:gd name="connsiteX0" fmla="*/ 5029 w 10002"/>
                  <a:gd name="connsiteY0" fmla="*/ 9977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3696 w 10002"/>
                  <a:gd name="connsiteY2" fmla="*/ 9851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10000"/>
                  <a:gd name="connsiteX1" fmla="*/ 4131 w 10002"/>
                  <a:gd name="connsiteY1" fmla="*/ 10000 h 10000"/>
                  <a:gd name="connsiteX2" fmla="*/ 3696 w 10002"/>
                  <a:gd name="connsiteY2" fmla="*/ 9851 h 10000"/>
                  <a:gd name="connsiteX3" fmla="*/ 2984 w 10002"/>
                  <a:gd name="connsiteY3" fmla="*/ 9495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2984 w 10002"/>
                  <a:gd name="connsiteY2" fmla="*/ 9495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9977"/>
                  <a:gd name="connsiteX1" fmla="*/ 2984 w 10002"/>
                  <a:gd name="connsiteY1" fmla="*/ 9495 h 9977"/>
                  <a:gd name="connsiteX2" fmla="*/ 1956 w 10002"/>
                  <a:gd name="connsiteY2" fmla="*/ 9059 h 9977"/>
                  <a:gd name="connsiteX3" fmla="*/ 1522 w 10002"/>
                  <a:gd name="connsiteY3" fmla="*/ 8762 h 9977"/>
                  <a:gd name="connsiteX4" fmla="*/ 1087 w 10002"/>
                  <a:gd name="connsiteY4" fmla="*/ 8366 h 9977"/>
                  <a:gd name="connsiteX5" fmla="*/ 652 w 10002"/>
                  <a:gd name="connsiteY5" fmla="*/ 7921 h 9977"/>
                  <a:gd name="connsiteX6" fmla="*/ 290 w 10002"/>
                  <a:gd name="connsiteY6" fmla="*/ 7475 h 9977"/>
                  <a:gd name="connsiteX7" fmla="*/ 73 w 10002"/>
                  <a:gd name="connsiteY7" fmla="*/ 6980 h 9977"/>
                  <a:gd name="connsiteX8" fmla="*/ 0 w 10002"/>
                  <a:gd name="connsiteY8" fmla="*/ 6436 h 9977"/>
                  <a:gd name="connsiteX9" fmla="*/ 73 w 10002"/>
                  <a:gd name="connsiteY9" fmla="*/ 5842 h 9977"/>
                  <a:gd name="connsiteX10" fmla="*/ 290 w 10002"/>
                  <a:gd name="connsiteY10" fmla="*/ 5198 h 9977"/>
                  <a:gd name="connsiteX11" fmla="*/ 869 w 10002"/>
                  <a:gd name="connsiteY11" fmla="*/ 4505 h 9977"/>
                  <a:gd name="connsiteX12" fmla="*/ 1594 w 10002"/>
                  <a:gd name="connsiteY12" fmla="*/ 3762 h 9977"/>
                  <a:gd name="connsiteX13" fmla="*/ 1594 w 10002"/>
                  <a:gd name="connsiteY13" fmla="*/ 3762 h 9977"/>
                  <a:gd name="connsiteX14" fmla="*/ 1956 w 10002"/>
                  <a:gd name="connsiteY14" fmla="*/ 3465 h 9977"/>
                  <a:gd name="connsiteX15" fmla="*/ 2609 w 10002"/>
                  <a:gd name="connsiteY15" fmla="*/ 2723 h 9977"/>
                  <a:gd name="connsiteX16" fmla="*/ 3044 w 10002"/>
                  <a:gd name="connsiteY16" fmla="*/ 2129 h 9977"/>
                  <a:gd name="connsiteX17" fmla="*/ 3333 w 10002"/>
                  <a:gd name="connsiteY17" fmla="*/ 1535 h 9977"/>
                  <a:gd name="connsiteX18" fmla="*/ 3551 w 10002"/>
                  <a:gd name="connsiteY18" fmla="*/ 792 h 9977"/>
                  <a:gd name="connsiteX19" fmla="*/ 3696 w 10002"/>
                  <a:gd name="connsiteY19" fmla="*/ 0 h 9977"/>
                  <a:gd name="connsiteX20" fmla="*/ 3696 w 10002"/>
                  <a:gd name="connsiteY20" fmla="*/ 0 h 9977"/>
                  <a:gd name="connsiteX21" fmla="*/ 4348 w 10002"/>
                  <a:gd name="connsiteY21" fmla="*/ 297 h 9977"/>
                  <a:gd name="connsiteX22" fmla="*/ 10000 w 10002"/>
                  <a:gd name="connsiteY22" fmla="*/ 5495 h 9977"/>
                  <a:gd name="connsiteX23" fmla="*/ 5029 w 10002"/>
                  <a:gd name="connsiteY23" fmla="*/ 9977 h 9977"/>
                  <a:gd name="connsiteX0" fmla="*/ 5028 w 10000"/>
                  <a:gd name="connsiteY0" fmla="*/ 10000 h 10000"/>
                  <a:gd name="connsiteX1" fmla="*/ 1956 w 10000"/>
                  <a:gd name="connsiteY1" fmla="*/ 9080 h 10000"/>
                  <a:gd name="connsiteX2" fmla="*/ 1522 w 10000"/>
                  <a:gd name="connsiteY2" fmla="*/ 8782 h 10000"/>
                  <a:gd name="connsiteX3" fmla="*/ 1087 w 10000"/>
                  <a:gd name="connsiteY3" fmla="*/ 8385 h 10000"/>
                  <a:gd name="connsiteX4" fmla="*/ 652 w 10000"/>
                  <a:gd name="connsiteY4" fmla="*/ 7939 h 10000"/>
                  <a:gd name="connsiteX5" fmla="*/ 290 w 10000"/>
                  <a:gd name="connsiteY5" fmla="*/ 7492 h 10000"/>
                  <a:gd name="connsiteX6" fmla="*/ 73 w 10000"/>
                  <a:gd name="connsiteY6" fmla="*/ 6996 h 10000"/>
                  <a:gd name="connsiteX7" fmla="*/ 0 w 10000"/>
                  <a:gd name="connsiteY7" fmla="*/ 6451 h 10000"/>
                  <a:gd name="connsiteX8" fmla="*/ 73 w 10000"/>
                  <a:gd name="connsiteY8" fmla="*/ 5855 h 10000"/>
                  <a:gd name="connsiteX9" fmla="*/ 290 w 10000"/>
                  <a:gd name="connsiteY9" fmla="*/ 5210 h 10000"/>
                  <a:gd name="connsiteX10" fmla="*/ 869 w 10000"/>
                  <a:gd name="connsiteY10" fmla="*/ 4515 h 10000"/>
                  <a:gd name="connsiteX11" fmla="*/ 1594 w 10000"/>
                  <a:gd name="connsiteY11" fmla="*/ 3771 h 10000"/>
                  <a:gd name="connsiteX12" fmla="*/ 1594 w 10000"/>
                  <a:gd name="connsiteY12" fmla="*/ 3771 h 10000"/>
                  <a:gd name="connsiteX13" fmla="*/ 1956 w 10000"/>
                  <a:gd name="connsiteY13" fmla="*/ 3473 h 10000"/>
                  <a:gd name="connsiteX14" fmla="*/ 2608 w 10000"/>
                  <a:gd name="connsiteY14" fmla="*/ 2729 h 10000"/>
                  <a:gd name="connsiteX15" fmla="*/ 3043 w 10000"/>
                  <a:gd name="connsiteY15" fmla="*/ 2134 h 10000"/>
                  <a:gd name="connsiteX16" fmla="*/ 3332 w 10000"/>
                  <a:gd name="connsiteY16" fmla="*/ 1539 h 10000"/>
                  <a:gd name="connsiteX17" fmla="*/ 3550 w 10000"/>
                  <a:gd name="connsiteY17" fmla="*/ 794 h 10000"/>
                  <a:gd name="connsiteX18" fmla="*/ 3695 w 10000"/>
                  <a:gd name="connsiteY18" fmla="*/ 0 h 10000"/>
                  <a:gd name="connsiteX19" fmla="*/ 3695 w 10000"/>
                  <a:gd name="connsiteY19" fmla="*/ 0 h 10000"/>
                  <a:gd name="connsiteX20" fmla="*/ 4347 w 10000"/>
                  <a:gd name="connsiteY20" fmla="*/ 298 h 10000"/>
                  <a:gd name="connsiteX21" fmla="*/ 9998 w 10000"/>
                  <a:gd name="connsiteY21" fmla="*/ 5508 h 10000"/>
                  <a:gd name="connsiteX22" fmla="*/ 5028 w 10000"/>
                  <a:gd name="connsiteY22" fmla="*/ 10000 h 10000"/>
                  <a:gd name="connsiteX0" fmla="*/ 5028 w 10000"/>
                  <a:gd name="connsiteY0" fmla="*/ 10000 h 10000"/>
                  <a:gd name="connsiteX1" fmla="*/ 1956 w 10000"/>
                  <a:gd name="connsiteY1" fmla="*/ 9080 h 10000"/>
                  <a:gd name="connsiteX2" fmla="*/ 1087 w 10000"/>
                  <a:gd name="connsiteY2" fmla="*/ 8385 h 10000"/>
                  <a:gd name="connsiteX3" fmla="*/ 652 w 10000"/>
                  <a:gd name="connsiteY3" fmla="*/ 7939 h 10000"/>
                  <a:gd name="connsiteX4" fmla="*/ 290 w 10000"/>
                  <a:gd name="connsiteY4" fmla="*/ 7492 h 10000"/>
                  <a:gd name="connsiteX5" fmla="*/ 73 w 10000"/>
                  <a:gd name="connsiteY5" fmla="*/ 6996 h 10000"/>
                  <a:gd name="connsiteX6" fmla="*/ 0 w 10000"/>
                  <a:gd name="connsiteY6" fmla="*/ 6451 h 10000"/>
                  <a:gd name="connsiteX7" fmla="*/ 73 w 10000"/>
                  <a:gd name="connsiteY7" fmla="*/ 5855 h 10000"/>
                  <a:gd name="connsiteX8" fmla="*/ 290 w 10000"/>
                  <a:gd name="connsiteY8" fmla="*/ 5210 h 10000"/>
                  <a:gd name="connsiteX9" fmla="*/ 869 w 10000"/>
                  <a:gd name="connsiteY9" fmla="*/ 4515 h 10000"/>
                  <a:gd name="connsiteX10" fmla="*/ 1594 w 10000"/>
                  <a:gd name="connsiteY10" fmla="*/ 3771 h 10000"/>
                  <a:gd name="connsiteX11" fmla="*/ 1594 w 10000"/>
                  <a:gd name="connsiteY11" fmla="*/ 3771 h 10000"/>
                  <a:gd name="connsiteX12" fmla="*/ 1956 w 10000"/>
                  <a:gd name="connsiteY12" fmla="*/ 3473 h 10000"/>
                  <a:gd name="connsiteX13" fmla="*/ 2608 w 10000"/>
                  <a:gd name="connsiteY13" fmla="*/ 2729 h 10000"/>
                  <a:gd name="connsiteX14" fmla="*/ 3043 w 10000"/>
                  <a:gd name="connsiteY14" fmla="*/ 2134 h 10000"/>
                  <a:gd name="connsiteX15" fmla="*/ 3332 w 10000"/>
                  <a:gd name="connsiteY15" fmla="*/ 1539 h 10000"/>
                  <a:gd name="connsiteX16" fmla="*/ 3550 w 10000"/>
                  <a:gd name="connsiteY16" fmla="*/ 794 h 10000"/>
                  <a:gd name="connsiteX17" fmla="*/ 3695 w 10000"/>
                  <a:gd name="connsiteY17" fmla="*/ 0 h 10000"/>
                  <a:gd name="connsiteX18" fmla="*/ 3695 w 10000"/>
                  <a:gd name="connsiteY18" fmla="*/ 0 h 10000"/>
                  <a:gd name="connsiteX19" fmla="*/ 4347 w 10000"/>
                  <a:gd name="connsiteY19" fmla="*/ 298 h 10000"/>
                  <a:gd name="connsiteX20" fmla="*/ 9998 w 10000"/>
                  <a:gd name="connsiteY20" fmla="*/ 5508 h 10000"/>
                  <a:gd name="connsiteX21" fmla="*/ 5028 w 10000"/>
                  <a:gd name="connsiteY21" fmla="*/ 10000 h 10000"/>
                  <a:gd name="connsiteX0" fmla="*/ 5028 w 10000"/>
                  <a:gd name="connsiteY0" fmla="*/ 10000 h 10000"/>
                  <a:gd name="connsiteX1" fmla="*/ 1087 w 10000"/>
                  <a:gd name="connsiteY1" fmla="*/ 8385 h 10000"/>
                  <a:gd name="connsiteX2" fmla="*/ 652 w 10000"/>
                  <a:gd name="connsiteY2" fmla="*/ 7939 h 10000"/>
                  <a:gd name="connsiteX3" fmla="*/ 290 w 10000"/>
                  <a:gd name="connsiteY3" fmla="*/ 7492 h 10000"/>
                  <a:gd name="connsiteX4" fmla="*/ 73 w 10000"/>
                  <a:gd name="connsiteY4" fmla="*/ 6996 h 10000"/>
                  <a:gd name="connsiteX5" fmla="*/ 0 w 10000"/>
                  <a:gd name="connsiteY5" fmla="*/ 6451 h 10000"/>
                  <a:gd name="connsiteX6" fmla="*/ 73 w 10000"/>
                  <a:gd name="connsiteY6" fmla="*/ 5855 h 10000"/>
                  <a:gd name="connsiteX7" fmla="*/ 290 w 10000"/>
                  <a:gd name="connsiteY7" fmla="*/ 5210 h 10000"/>
                  <a:gd name="connsiteX8" fmla="*/ 869 w 10000"/>
                  <a:gd name="connsiteY8" fmla="*/ 4515 h 10000"/>
                  <a:gd name="connsiteX9" fmla="*/ 1594 w 10000"/>
                  <a:gd name="connsiteY9" fmla="*/ 3771 h 10000"/>
                  <a:gd name="connsiteX10" fmla="*/ 1594 w 10000"/>
                  <a:gd name="connsiteY10" fmla="*/ 3771 h 10000"/>
                  <a:gd name="connsiteX11" fmla="*/ 1956 w 10000"/>
                  <a:gd name="connsiteY11" fmla="*/ 3473 h 10000"/>
                  <a:gd name="connsiteX12" fmla="*/ 2608 w 10000"/>
                  <a:gd name="connsiteY12" fmla="*/ 2729 h 10000"/>
                  <a:gd name="connsiteX13" fmla="*/ 3043 w 10000"/>
                  <a:gd name="connsiteY13" fmla="*/ 2134 h 10000"/>
                  <a:gd name="connsiteX14" fmla="*/ 3332 w 10000"/>
                  <a:gd name="connsiteY14" fmla="*/ 1539 h 10000"/>
                  <a:gd name="connsiteX15" fmla="*/ 3550 w 10000"/>
                  <a:gd name="connsiteY15" fmla="*/ 794 h 10000"/>
                  <a:gd name="connsiteX16" fmla="*/ 3695 w 10000"/>
                  <a:gd name="connsiteY16" fmla="*/ 0 h 10000"/>
                  <a:gd name="connsiteX17" fmla="*/ 3695 w 10000"/>
                  <a:gd name="connsiteY17" fmla="*/ 0 h 10000"/>
                  <a:gd name="connsiteX18" fmla="*/ 4347 w 10000"/>
                  <a:gd name="connsiteY18" fmla="*/ 298 h 10000"/>
                  <a:gd name="connsiteX19" fmla="*/ 9998 w 10000"/>
                  <a:gd name="connsiteY19" fmla="*/ 5508 h 10000"/>
                  <a:gd name="connsiteX20" fmla="*/ 5028 w 10000"/>
                  <a:gd name="connsiteY20" fmla="*/ 10000 h 10000"/>
                  <a:gd name="connsiteX0" fmla="*/ 5028 w 10000"/>
                  <a:gd name="connsiteY0" fmla="*/ 10000 h 10000"/>
                  <a:gd name="connsiteX1" fmla="*/ 652 w 10000"/>
                  <a:gd name="connsiteY1" fmla="*/ 7939 h 10000"/>
                  <a:gd name="connsiteX2" fmla="*/ 290 w 10000"/>
                  <a:gd name="connsiteY2" fmla="*/ 7492 h 10000"/>
                  <a:gd name="connsiteX3" fmla="*/ 73 w 10000"/>
                  <a:gd name="connsiteY3" fmla="*/ 6996 h 10000"/>
                  <a:gd name="connsiteX4" fmla="*/ 0 w 10000"/>
                  <a:gd name="connsiteY4" fmla="*/ 6451 h 10000"/>
                  <a:gd name="connsiteX5" fmla="*/ 73 w 10000"/>
                  <a:gd name="connsiteY5" fmla="*/ 5855 h 10000"/>
                  <a:gd name="connsiteX6" fmla="*/ 290 w 10000"/>
                  <a:gd name="connsiteY6" fmla="*/ 5210 h 10000"/>
                  <a:gd name="connsiteX7" fmla="*/ 869 w 10000"/>
                  <a:gd name="connsiteY7" fmla="*/ 4515 h 10000"/>
                  <a:gd name="connsiteX8" fmla="*/ 1594 w 10000"/>
                  <a:gd name="connsiteY8" fmla="*/ 3771 h 10000"/>
                  <a:gd name="connsiteX9" fmla="*/ 1594 w 10000"/>
                  <a:gd name="connsiteY9" fmla="*/ 3771 h 10000"/>
                  <a:gd name="connsiteX10" fmla="*/ 1956 w 10000"/>
                  <a:gd name="connsiteY10" fmla="*/ 3473 h 10000"/>
                  <a:gd name="connsiteX11" fmla="*/ 2608 w 10000"/>
                  <a:gd name="connsiteY11" fmla="*/ 2729 h 10000"/>
                  <a:gd name="connsiteX12" fmla="*/ 3043 w 10000"/>
                  <a:gd name="connsiteY12" fmla="*/ 2134 h 10000"/>
                  <a:gd name="connsiteX13" fmla="*/ 3332 w 10000"/>
                  <a:gd name="connsiteY13" fmla="*/ 1539 h 10000"/>
                  <a:gd name="connsiteX14" fmla="*/ 3550 w 10000"/>
                  <a:gd name="connsiteY14" fmla="*/ 794 h 10000"/>
                  <a:gd name="connsiteX15" fmla="*/ 3695 w 10000"/>
                  <a:gd name="connsiteY15" fmla="*/ 0 h 10000"/>
                  <a:gd name="connsiteX16" fmla="*/ 3695 w 10000"/>
                  <a:gd name="connsiteY16" fmla="*/ 0 h 10000"/>
                  <a:gd name="connsiteX17" fmla="*/ 4347 w 10000"/>
                  <a:gd name="connsiteY17" fmla="*/ 298 h 10000"/>
                  <a:gd name="connsiteX18" fmla="*/ 9998 w 10000"/>
                  <a:gd name="connsiteY18" fmla="*/ 5508 h 10000"/>
                  <a:gd name="connsiteX19" fmla="*/ 5028 w 10000"/>
                  <a:gd name="connsiteY19" fmla="*/ 10000 h 10000"/>
                  <a:gd name="connsiteX0" fmla="*/ 5028 w 10000"/>
                  <a:gd name="connsiteY0" fmla="*/ 10000 h 10000"/>
                  <a:gd name="connsiteX1" fmla="*/ 290 w 10000"/>
                  <a:gd name="connsiteY1" fmla="*/ 7492 h 10000"/>
                  <a:gd name="connsiteX2" fmla="*/ 73 w 10000"/>
                  <a:gd name="connsiteY2" fmla="*/ 6996 h 10000"/>
                  <a:gd name="connsiteX3" fmla="*/ 0 w 10000"/>
                  <a:gd name="connsiteY3" fmla="*/ 6451 h 10000"/>
                  <a:gd name="connsiteX4" fmla="*/ 73 w 10000"/>
                  <a:gd name="connsiteY4" fmla="*/ 5855 h 10000"/>
                  <a:gd name="connsiteX5" fmla="*/ 290 w 10000"/>
                  <a:gd name="connsiteY5" fmla="*/ 5210 h 10000"/>
                  <a:gd name="connsiteX6" fmla="*/ 869 w 10000"/>
                  <a:gd name="connsiteY6" fmla="*/ 4515 h 10000"/>
                  <a:gd name="connsiteX7" fmla="*/ 1594 w 10000"/>
                  <a:gd name="connsiteY7" fmla="*/ 3771 h 10000"/>
                  <a:gd name="connsiteX8" fmla="*/ 1594 w 10000"/>
                  <a:gd name="connsiteY8" fmla="*/ 3771 h 10000"/>
                  <a:gd name="connsiteX9" fmla="*/ 1956 w 10000"/>
                  <a:gd name="connsiteY9" fmla="*/ 3473 h 10000"/>
                  <a:gd name="connsiteX10" fmla="*/ 2608 w 10000"/>
                  <a:gd name="connsiteY10" fmla="*/ 2729 h 10000"/>
                  <a:gd name="connsiteX11" fmla="*/ 3043 w 10000"/>
                  <a:gd name="connsiteY11" fmla="*/ 2134 h 10000"/>
                  <a:gd name="connsiteX12" fmla="*/ 3332 w 10000"/>
                  <a:gd name="connsiteY12" fmla="*/ 1539 h 10000"/>
                  <a:gd name="connsiteX13" fmla="*/ 3550 w 10000"/>
                  <a:gd name="connsiteY13" fmla="*/ 794 h 10000"/>
                  <a:gd name="connsiteX14" fmla="*/ 3695 w 10000"/>
                  <a:gd name="connsiteY14" fmla="*/ 0 h 10000"/>
                  <a:gd name="connsiteX15" fmla="*/ 3695 w 10000"/>
                  <a:gd name="connsiteY15" fmla="*/ 0 h 10000"/>
                  <a:gd name="connsiteX16" fmla="*/ 4347 w 10000"/>
                  <a:gd name="connsiteY16" fmla="*/ 298 h 10000"/>
                  <a:gd name="connsiteX17" fmla="*/ 9998 w 10000"/>
                  <a:gd name="connsiteY17" fmla="*/ 5508 h 10000"/>
                  <a:gd name="connsiteX18" fmla="*/ 5028 w 10000"/>
                  <a:gd name="connsiteY18" fmla="*/ 10000 h 10000"/>
                  <a:gd name="connsiteX0" fmla="*/ 5028 w 10000"/>
                  <a:gd name="connsiteY0" fmla="*/ 10000 h 10000"/>
                  <a:gd name="connsiteX1" fmla="*/ 73 w 10000"/>
                  <a:gd name="connsiteY1" fmla="*/ 6996 h 10000"/>
                  <a:gd name="connsiteX2" fmla="*/ 0 w 10000"/>
                  <a:gd name="connsiteY2" fmla="*/ 6451 h 10000"/>
                  <a:gd name="connsiteX3" fmla="*/ 73 w 10000"/>
                  <a:gd name="connsiteY3" fmla="*/ 5855 h 10000"/>
                  <a:gd name="connsiteX4" fmla="*/ 290 w 10000"/>
                  <a:gd name="connsiteY4" fmla="*/ 5210 h 10000"/>
                  <a:gd name="connsiteX5" fmla="*/ 869 w 10000"/>
                  <a:gd name="connsiteY5" fmla="*/ 4515 h 10000"/>
                  <a:gd name="connsiteX6" fmla="*/ 1594 w 10000"/>
                  <a:gd name="connsiteY6" fmla="*/ 3771 h 10000"/>
                  <a:gd name="connsiteX7" fmla="*/ 1594 w 10000"/>
                  <a:gd name="connsiteY7" fmla="*/ 3771 h 10000"/>
                  <a:gd name="connsiteX8" fmla="*/ 1956 w 10000"/>
                  <a:gd name="connsiteY8" fmla="*/ 3473 h 10000"/>
                  <a:gd name="connsiteX9" fmla="*/ 2608 w 10000"/>
                  <a:gd name="connsiteY9" fmla="*/ 2729 h 10000"/>
                  <a:gd name="connsiteX10" fmla="*/ 3043 w 10000"/>
                  <a:gd name="connsiteY10" fmla="*/ 2134 h 10000"/>
                  <a:gd name="connsiteX11" fmla="*/ 3332 w 10000"/>
                  <a:gd name="connsiteY11" fmla="*/ 1539 h 10000"/>
                  <a:gd name="connsiteX12" fmla="*/ 3550 w 10000"/>
                  <a:gd name="connsiteY12" fmla="*/ 794 h 10000"/>
                  <a:gd name="connsiteX13" fmla="*/ 3695 w 10000"/>
                  <a:gd name="connsiteY13" fmla="*/ 0 h 10000"/>
                  <a:gd name="connsiteX14" fmla="*/ 3695 w 10000"/>
                  <a:gd name="connsiteY14" fmla="*/ 0 h 10000"/>
                  <a:gd name="connsiteX15" fmla="*/ 4347 w 10000"/>
                  <a:gd name="connsiteY15" fmla="*/ 298 h 10000"/>
                  <a:gd name="connsiteX16" fmla="*/ 9998 w 10000"/>
                  <a:gd name="connsiteY16" fmla="*/ 5508 h 10000"/>
                  <a:gd name="connsiteX17" fmla="*/ 5028 w 10000"/>
                  <a:gd name="connsiteY17" fmla="*/ 10000 h 10000"/>
                  <a:gd name="connsiteX0" fmla="*/ 5028 w 10000"/>
                  <a:gd name="connsiteY0" fmla="*/ 10000 h 10000"/>
                  <a:gd name="connsiteX1" fmla="*/ 0 w 10000"/>
                  <a:gd name="connsiteY1" fmla="*/ 6451 h 10000"/>
                  <a:gd name="connsiteX2" fmla="*/ 73 w 10000"/>
                  <a:gd name="connsiteY2" fmla="*/ 5855 h 10000"/>
                  <a:gd name="connsiteX3" fmla="*/ 290 w 10000"/>
                  <a:gd name="connsiteY3" fmla="*/ 5210 h 10000"/>
                  <a:gd name="connsiteX4" fmla="*/ 869 w 10000"/>
                  <a:gd name="connsiteY4" fmla="*/ 4515 h 10000"/>
                  <a:gd name="connsiteX5" fmla="*/ 1594 w 10000"/>
                  <a:gd name="connsiteY5" fmla="*/ 3771 h 10000"/>
                  <a:gd name="connsiteX6" fmla="*/ 1594 w 10000"/>
                  <a:gd name="connsiteY6" fmla="*/ 3771 h 10000"/>
                  <a:gd name="connsiteX7" fmla="*/ 1956 w 10000"/>
                  <a:gd name="connsiteY7" fmla="*/ 3473 h 10000"/>
                  <a:gd name="connsiteX8" fmla="*/ 2608 w 10000"/>
                  <a:gd name="connsiteY8" fmla="*/ 2729 h 10000"/>
                  <a:gd name="connsiteX9" fmla="*/ 3043 w 10000"/>
                  <a:gd name="connsiteY9" fmla="*/ 2134 h 10000"/>
                  <a:gd name="connsiteX10" fmla="*/ 3332 w 10000"/>
                  <a:gd name="connsiteY10" fmla="*/ 1539 h 10000"/>
                  <a:gd name="connsiteX11" fmla="*/ 3550 w 10000"/>
                  <a:gd name="connsiteY11" fmla="*/ 794 h 10000"/>
                  <a:gd name="connsiteX12" fmla="*/ 3695 w 10000"/>
                  <a:gd name="connsiteY12" fmla="*/ 0 h 10000"/>
                  <a:gd name="connsiteX13" fmla="*/ 3695 w 10000"/>
                  <a:gd name="connsiteY13" fmla="*/ 0 h 10000"/>
                  <a:gd name="connsiteX14" fmla="*/ 4347 w 10000"/>
                  <a:gd name="connsiteY14" fmla="*/ 298 h 10000"/>
                  <a:gd name="connsiteX15" fmla="*/ 9998 w 10000"/>
                  <a:gd name="connsiteY15" fmla="*/ 5508 h 10000"/>
                  <a:gd name="connsiteX16" fmla="*/ 5028 w 10000"/>
                  <a:gd name="connsiteY16" fmla="*/ 10000 h 10000"/>
                  <a:gd name="connsiteX0" fmla="*/ 4955 w 9927"/>
                  <a:gd name="connsiteY0" fmla="*/ 10000 h 10000"/>
                  <a:gd name="connsiteX1" fmla="*/ 0 w 9927"/>
                  <a:gd name="connsiteY1" fmla="*/ 5855 h 10000"/>
                  <a:gd name="connsiteX2" fmla="*/ 217 w 9927"/>
                  <a:gd name="connsiteY2" fmla="*/ 5210 h 10000"/>
                  <a:gd name="connsiteX3" fmla="*/ 796 w 9927"/>
                  <a:gd name="connsiteY3" fmla="*/ 4515 h 10000"/>
                  <a:gd name="connsiteX4" fmla="*/ 1521 w 9927"/>
                  <a:gd name="connsiteY4" fmla="*/ 3771 h 10000"/>
                  <a:gd name="connsiteX5" fmla="*/ 1521 w 9927"/>
                  <a:gd name="connsiteY5" fmla="*/ 3771 h 10000"/>
                  <a:gd name="connsiteX6" fmla="*/ 1883 w 9927"/>
                  <a:gd name="connsiteY6" fmla="*/ 3473 h 10000"/>
                  <a:gd name="connsiteX7" fmla="*/ 2535 w 9927"/>
                  <a:gd name="connsiteY7" fmla="*/ 2729 h 10000"/>
                  <a:gd name="connsiteX8" fmla="*/ 2970 w 9927"/>
                  <a:gd name="connsiteY8" fmla="*/ 2134 h 10000"/>
                  <a:gd name="connsiteX9" fmla="*/ 3259 w 9927"/>
                  <a:gd name="connsiteY9" fmla="*/ 1539 h 10000"/>
                  <a:gd name="connsiteX10" fmla="*/ 3477 w 9927"/>
                  <a:gd name="connsiteY10" fmla="*/ 794 h 10000"/>
                  <a:gd name="connsiteX11" fmla="*/ 3622 w 9927"/>
                  <a:gd name="connsiteY11" fmla="*/ 0 h 10000"/>
                  <a:gd name="connsiteX12" fmla="*/ 3622 w 9927"/>
                  <a:gd name="connsiteY12" fmla="*/ 0 h 10000"/>
                  <a:gd name="connsiteX13" fmla="*/ 4274 w 9927"/>
                  <a:gd name="connsiteY13" fmla="*/ 298 h 10000"/>
                  <a:gd name="connsiteX14" fmla="*/ 9925 w 9927"/>
                  <a:gd name="connsiteY14" fmla="*/ 5508 h 10000"/>
                  <a:gd name="connsiteX15" fmla="*/ 4955 w 9927"/>
                  <a:gd name="connsiteY15" fmla="*/ 10000 h 10000"/>
                  <a:gd name="connsiteX0" fmla="*/ 4991 w 10000"/>
                  <a:gd name="connsiteY0" fmla="*/ 10000 h 10000"/>
                  <a:gd name="connsiteX1" fmla="*/ 0 w 10000"/>
                  <a:gd name="connsiteY1" fmla="*/ 5855 h 10000"/>
                  <a:gd name="connsiteX2" fmla="*/ 802 w 10000"/>
                  <a:gd name="connsiteY2" fmla="*/ 4515 h 10000"/>
                  <a:gd name="connsiteX3" fmla="*/ 1532 w 10000"/>
                  <a:gd name="connsiteY3" fmla="*/ 3771 h 10000"/>
                  <a:gd name="connsiteX4" fmla="*/ 1532 w 10000"/>
                  <a:gd name="connsiteY4" fmla="*/ 3771 h 10000"/>
                  <a:gd name="connsiteX5" fmla="*/ 1897 w 10000"/>
                  <a:gd name="connsiteY5" fmla="*/ 3473 h 10000"/>
                  <a:gd name="connsiteX6" fmla="*/ 2554 w 10000"/>
                  <a:gd name="connsiteY6" fmla="*/ 2729 h 10000"/>
                  <a:gd name="connsiteX7" fmla="*/ 2992 w 10000"/>
                  <a:gd name="connsiteY7" fmla="*/ 2134 h 10000"/>
                  <a:gd name="connsiteX8" fmla="*/ 3283 w 10000"/>
                  <a:gd name="connsiteY8" fmla="*/ 1539 h 10000"/>
                  <a:gd name="connsiteX9" fmla="*/ 3503 w 10000"/>
                  <a:gd name="connsiteY9" fmla="*/ 794 h 10000"/>
                  <a:gd name="connsiteX10" fmla="*/ 3649 w 10000"/>
                  <a:gd name="connsiteY10" fmla="*/ 0 h 10000"/>
                  <a:gd name="connsiteX11" fmla="*/ 3649 w 10000"/>
                  <a:gd name="connsiteY11" fmla="*/ 0 h 10000"/>
                  <a:gd name="connsiteX12" fmla="*/ 4305 w 10000"/>
                  <a:gd name="connsiteY12" fmla="*/ 298 h 10000"/>
                  <a:gd name="connsiteX13" fmla="*/ 9998 w 10000"/>
                  <a:gd name="connsiteY13" fmla="*/ 5508 h 10000"/>
                  <a:gd name="connsiteX14" fmla="*/ 4991 w 10000"/>
                  <a:gd name="connsiteY14" fmla="*/ 10000 h 10000"/>
                  <a:gd name="connsiteX0" fmla="*/ 4991 w 10000"/>
                  <a:gd name="connsiteY0" fmla="*/ 10000 h 10000"/>
                  <a:gd name="connsiteX1" fmla="*/ 0 w 10000"/>
                  <a:gd name="connsiteY1" fmla="*/ 5855 h 10000"/>
                  <a:gd name="connsiteX2" fmla="*/ 1532 w 10000"/>
                  <a:gd name="connsiteY2" fmla="*/ 3771 h 10000"/>
                  <a:gd name="connsiteX3" fmla="*/ 1532 w 10000"/>
                  <a:gd name="connsiteY3" fmla="*/ 3771 h 10000"/>
                  <a:gd name="connsiteX4" fmla="*/ 1897 w 10000"/>
                  <a:gd name="connsiteY4" fmla="*/ 3473 h 10000"/>
                  <a:gd name="connsiteX5" fmla="*/ 2554 w 10000"/>
                  <a:gd name="connsiteY5" fmla="*/ 2729 h 10000"/>
                  <a:gd name="connsiteX6" fmla="*/ 2992 w 10000"/>
                  <a:gd name="connsiteY6" fmla="*/ 2134 h 10000"/>
                  <a:gd name="connsiteX7" fmla="*/ 3283 w 10000"/>
                  <a:gd name="connsiteY7" fmla="*/ 1539 h 10000"/>
                  <a:gd name="connsiteX8" fmla="*/ 3503 w 10000"/>
                  <a:gd name="connsiteY8" fmla="*/ 794 h 10000"/>
                  <a:gd name="connsiteX9" fmla="*/ 3649 w 10000"/>
                  <a:gd name="connsiteY9" fmla="*/ 0 h 10000"/>
                  <a:gd name="connsiteX10" fmla="*/ 3649 w 10000"/>
                  <a:gd name="connsiteY10" fmla="*/ 0 h 10000"/>
                  <a:gd name="connsiteX11" fmla="*/ 4305 w 10000"/>
                  <a:gd name="connsiteY11" fmla="*/ 298 h 10000"/>
                  <a:gd name="connsiteX12" fmla="*/ 9998 w 10000"/>
                  <a:gd name="connsiteY12" fmla="*/ 5508 h 10000"/>
                  <a:gd name="connsiteX13" fmla="*/ 4991 w 10000"/>
                  <a:gd name="connsiteY13" fmla="*/ 10000 h 10000"/>
                  <a:gd name="connsiteX0" fmla="*/ 4991 w 10000"/>
                  <a:gd name="connsiteY0" fmla="*/ 10000 h 10000"/>
                  <a:gd name="connsiteX1" fmla="*/ 0 w 10000"/>
                  <a:gd name="connsiteY1" fmla="*/ 5855 h 10000"/>
                  <a:gd name="connsiteX2" fmla="*/ 1532 w 10000"/>
                  <a:gd name="connsiteY2" fmla="*/ 3771 h 10000"/>
                  <a:gd name="connsiteX3" fmla="*/ 1897 w 10000"/>
                  <a:gd name="connsiteY3" fmla="*/ 3473 h 10000"/>
                  <a:gd name="connsiteX4" fmla="*/ 2554 w 10000"/>
                  <a:gd name="connsiteY4" fmla="*/ 2729 h 10000"/>
                  <a:gd name="connsiteX5" fmla="*/ 2992 w 10000"/>
                  <a:gd name="connsiteY5" fmla="*/ 2134 h 10000"/>
                  <a:gd name="connsiteX6" fmla="*/ 3283 w 10000"/>
                  <a:gd name="connsiteY6" fmla="*/ 1539 h 10000"/>
                  <a:gd name="connsiteX7" fmla="*/ 3503 w 10000"/>
                  <a:gd name="connsiteY7" fmla="*/ 794 h 10000"/>
                  <a:gd name="connsiteX8" fmla="*/ 3649 w 10000"/>
                  <a:gd name="connsiteY8" fmla="*/ 0 h 10000"/>
                  <a:gd name="connsiteX9" fmla="*/ 3649 w 10000"/>
                  <a:gd name="connsiteY9" fmla="*/ 0 h 10000"/>
                  <a:gd name="connsiteX10" fmla="*/ 4305 w 10000"/>
                  <a:gd name="connsiteY10" fmla="*/ 298 h 10000"/>
                  <a:gd name="connsiteX11" fmla="*/ 9998 w 10000"/>
                  <a:gd name="connsiteY11" fmla="*/ 5508 h 10000"/>
                  <a:gd name="connsiteX12" fmla="*/ 4991 w 10000"/>
                  <a:gd name="connsiteY12" fmla="*/ 10000 h 10000"/>
                  <a:gd name="connsiteX0" fmla="*/ 4991 w 10000"/>
                  <a:gd name="connsiteY0" fmla="*/ 10000 h 10000"/>
                  <a:gd name="connsiteX1" fmla="*/ 0 w 10000"/>
                  <a:gd name="connsiteY1" fmla="*/ 5855 h 10000"/>
                  <a:gd name="connsiteX2" fmla="*/ 1532 w 10000"/>
                  <a:gd name="connsiteY2" fmla="*/ 3771 h 10000"/>
                  <a:gd name="connsiteX3" fmla="*/ 2554 w 10000"/>
                  <a:gd name="connsiteY3" fmla="*/ 2729 h 10000"/>
                  <a:gd name="connsiteX4" fmla="*/ 2992 w 10000"/>
                  <a:gd name="connsiteY4" fmla="*/ 2134 h 10000"/>
                  <a:gd name="connsiteX5" fmla="*/ 3283 w 10000"/>
                  <a:gd name="connsiteY5" fmla="*/ 1539 h 10000"/>
                  <a:gd name="connsiteX6" fmla="*/ 3503 w 10000"/>
                  <a:gd name="connsiteY6" fmla="*/ 794 h 10000"/>
                  <a:gd name="connsiteX7" fmla="*/ 3649 w 10000"/>
                  <a:gd name="connsiteY7" fmla="*/ 0 h 10000"/>
                  <a:gd name="connsiteX8" fmla="*/ 3649 w 10000"/>
                  <a:gd name="connsiteY8" fmla="*/ 0 h 10000"/>
                  <a:gd name="connsiteX9" fmla="*/ 4305 w 10000"/>
                  <a:gd name="connsiteY9" fmla="*/ 298 h 10000"/>
                  <a:gd name="connsiteX10" fmla="*/ 9998 w 10000"/>
                  <a:gd name="connsiteY10" fmla="*/ 5508 h 10000"/>
                  <a:gd name="connsiteX11" fmla="*/ 4991 w 10000"/>
                  <a:gd name="connsiteY11" fmla="*/ 10000 h 10000"/>
                  <a:gd name="connsiteX0" fmla="*/ 4991 w 10000"/>
                  <a:gd name="connsiteY0" fmla="*/ 10000 h 10000"/>
                  <a:gd name="connsiteX1" fmla="*/ 0 w 10000"/>
                  <a:gd name="connsiteY1" fmla="*/ 5855 h 10000"/>
                  <a:gd name="connsiteX2" fmla="*/ 2554 w 10000"/>
                  <a:gd name="connsiteY2" fmla="*/ 2729 h 10000"/>
                  <a:gd name="connsiteX3" fmla="*/ 2992 w 10000"/>
                  <a:gd name="connsiteY3" fmla="*/ 2134 h 10000"/>
                  <a:gd name="connsiteX4" fmla="*/ 3283 w 10000"/>
                  <a:gd name="connsiteY4" fmla="*/ 1539 h 10000"/>
                  <a:gd name="connsiteX5" fmla="*/ 3503 w 10000"/>
                  <a:gd name="connsiteY5" fmla="*/ 794 h 10000"/>
                  <a:gd name="connsiteX6" fmla="*/ 3649 w 10000"/>
                  <a:gd name="connsiteY6" fmla="*/ 0 h 10000"/>
                  <a:gd name="connsiteX7" fmla="*/ 3649 w 10000"/>
                  <a:gd name="connsiteY7" fmla="*/ 0 h 10000"/>
                  <a:gd name="connsiteX8" fmla="*/ 4305 w 10000"/>
                  <a:gd name="connsiteY8" fmla="*/ 298 h 10000"/>
                  <a:gd name="connsiteX9" fmla="*/ 9998 w 10000"/>
                  <a:gd name="connsiteY9" fmla="*/ 5508 h 10000"/>
                  <a:gd name="connsiteX10" fmla="*/ 4991 w 10000"/>
                  <a:gd name="connsiteY10" fmla="*/ 10000 h 10000"/>
                  <a:gd name="connsiteX0" fmla="*/ 4991 w 10000"/>
                  <a:gd name="connsiteY0" fmla="*/ 10000 h 10000"/>
                  <a:gd name="connsiteX1" fmla="*/ 0 w 10000"/>
                  <a:gd name="connsiteY1" fmla="*/ 5855 h 10000"/>
                  <a:gd name="connsiteX2" fmla="*/ 2992 w 10000"/>
                  <a:gd name="connsiteY2" fmla="*/ 2134 h 10000"/>
                  <a:gd name="connsiteX3" fmla="*/ 3283 w 10000"/>
                  <a:gd name="connsiteY3" fmla="*/ 1539 h 10000"/>
                  <a:gd name="connsiteX4" fmla="*/ 3503 w 10000"/>
                  <a:gd name="connsiteY4" fmla="*/ 794 h 10000"/>
                  <a:gd name="connsiteX5" fmla="*/ 3649 w 10000"/>
                  <a:gd name="connsiteY5" fmla="*/ 0 h 10000"/>
                  <a:gd name="connsiteX6" fmla="*/ 3649 w 10000"/>
                  <a:gd name="connsiteY6" fmla="*/ 0 h 10000"/>
                  <a:gd name="connsiteX7" fmla="*/ 4305 w 10000"/>
                  <a:gd name="connsiteY7" fmla="*/ 298 h 10000"/>
                  <a:gd name="connsiteX8" fmla="*/ 9998 w 10000"/>
                  <a:gd name="connsiteY8" fmla="*/ 5508 h 10000"/>
                  <a:gd name="connsiteX9" fmla="*/ 4991 w 10000"/>
                  <a:gd name="connsiteY9" fmla="*/ 10000 h 10000"/>
                  <a:gd name="connsiteX0" fmla="*/ 4991 w 10000"/>
                  <a:gd name="connsiteY0" fmla="*/ 10000 h 10000"/>
                  <a:gd name="connsiteX1" fmla="*/ 0 w 10000"/>
                  <a:gd name="connsiteY1" fmla="*/ 5855 h 10000"/>
                  <a:gd name="connsiteX2" fmla="*/ 3283 w 10000"/>
                  <a:gd name="connsiteY2" fmla="*/ 1539 h 10000"/>
                  <a:gd name="connsiteX3" fmla="*/ 3503 w 10000"/>
                  <a:gd name="connsiteY3" fmla="*/ 794 h 10000"/>
                  <a:gd name="connsiteX4" fmla="*/ 3649 w 10000"/>
                  <a:gd name="connsiteY4" fmla="*/ 0 h 10000"/>
                  <a:gd name="connsiteX5" fmla="*/ 3649 w 10000"/>
                  <a:gd name="connsiteY5" fmla="*/ 0 h 10000"/>
                  <a:gd name="connsiteX6" fmla="*/ 4305 w 10000"/>
                  <a:gd name="connsiteY6" fmla="*/ 298 h 10000"/>
                  <a:gd name="connsiteX7" fmla="*/ 9998 w 10000"/>
                  <a:gd name="connsiteY7" fmla="*/ 5508 h 10000"/>
                  <a:gd name="connsiteX8" fmla="*/ 4991 w 10000"/>
                  <a:gd name="connsiteY8" fmla="*/ 10000 h 10000"/>
                  <a:gd name="connsiteX0" fmla="*/ 4991 w 10000"/>
                  <a:gd name="connsiteY0" fmla="*/ 10000 h 10000"/>
                  <a:gd name="connsiteX1" fmla="*/ 0 w 10000"/>
                  <a:gd name="connsiteY1" fmla="*/ 5855 h 10000"/>
                  <a:gd name="connsiteX2" fmla="*/ 3503 w 10000"/>
                  <a:gd name="connsiteY2" fmla="*/ 794 h 10000"/>
                  <a:gd name="connsiteX3" fmla="*/ 3649 w 10000"/>
                  <a:gd name="connsiteY3" fmla="*/ 0 h 10000"/>
                  <a:gd name="connsiteX4" fmla="*/ 3649 w 10000"/>
                  <a:gd name="connsiteY4" fmla="*/ 0 h 10000"/>
                  <a:gd name="connsiteX5" fmla="*/ 4305 w 10000"/>
                  <a:gd name="connsiteY5" fmla="*/ 298 h 10000"/>
                  <a:gd name="connsiteX6" fmla="*/ 9998 w 10000"/>
                  <a:gd name="connsiteY6" fmla="*/ 5508 h 10000"/>
                  <a:gd name="connsiteX7" fmla="*/ 4991 w 10000"/>
                  <a:gd name="connsiteY7"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4305 w 10000"/>
                  <a:gd name="connsiteY4" fmla="*/ 298 h 10000"/>
                  <a:gd name="connsiteX5" fmla="*/ 9998 w 10000"/>
                  <a:gd name="connsiteY5" fmla="*/ 5508 h 10000"/>
                  <a:gd name="connsiteX6" fmla="*/ 4991 w 10000"/>
                  <a:gd name="connsiteY6"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9998 w 10000"/>
                  <a:gd name="connsiteY4" fmla="*/ 5508 h 10000"/>
                  <a:gd name="connsiteX5" fmla="*/ 4991 w 10000"/>
                  <a:gd name="connsiteY5" fmla="*/ 10000 h 10000"/>
                  <a:gd name="connsiteX0" fmla="*/ 4991 w 10004"/>
                  <a:gd name="connsiteY0" fmla="*/ 10000 h 10000"/>
                  <a:gd name="connsiteX1" fmla="*/ 0 w 10004"/>
                  <a:gd name="connsiteY1" fmla="*/ 5855 h 10000"/>
                  <a:gd name="connsiteX2" fmla="*/ 3649 w 10004"/>
                  <a:gd name="connsiteY2" fmla="*/ 0 h 10000"/>
                  <a:gd name="connsiteX3" fmla="*/ 3649 w 10004"/>
                  <a:gd name="connsiteY3" fmla="*/ 0 h 10000"/>
                  <a:gd name="connsiteX4" fmla="*/ 9998 w 10004"/>
                  <a:gd name="connsiteY4" fmla="*/ 5508 h 10000"/>
                  <a:gd name="connsiteX5" fmla="*/ 4991 w 10004"/>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77 w 10090"/>
                  <a:gd name="connsiteY0" fmla="*/ 10000 h 10000"/>
                  <a:gd name="connsiteX1" fmla="*/ 86 w 10090"/>
                  <a:gd name="connsiteY1" fmla="*/ 5855 h 10000"/>
                  <a:gd name="connsiteX2" fmla="*/ 3735 w 10090"/>
                  <a:gd name="connsiteY2" fmla="*/ 0 h 10000"/>
                  <a:gd name="connsiteX3" fmla="*/ 3735 w 10090"/>
                  <a:gd name="connsiteY3" fmla="*/ 0 h 10000"/>
                  <a:gd name="connsiteX4" fmla="*/ 10084 w 10090"/>
                  <a:gd name="connsiteY4" fmla="*/ 5508 h 10000"/>
                  <a:gd name="connsiteX5" fmla="*/ 5077 w 10090"/>
                  <a:gd name="connsiteY5" fmla="*/ 10000 h 10000"/>
                  <a:gd name="connsiteX0" fmla="*/ 5060 w 10073"/>
                  <a:gd name="connsiteY0" fmla="*/ 10000 h 10000"/>
                  <a:gd name="connsiteX1" fmla="*/ 69 w 10073"/>
                  <a:gd name="connsiteY1" fmla="*/ 5855 h 10000"/>
                  <a:gd name="connsiteX2" fmla="*/ 3718 w 10073"/>
                  <a:gd name="connsiteY2" fmla="*/ 0 h 10000"/>
                  <a:gd name="connsiteX3" fmla="*/ 3718 w 10073"/>
                  <a:gd name="connsiteY3" fmla="*/ 0 h 10000"/>
                  <a:gd name="connsiteX4" fmla="*/ 10067 w 10073"/>
                  <a:gd name="connsiteY4" fmla="*/ 5508 h 10000"/>
                  <a:gd name="connsiteX5" fmla="*/ 5060 w 10073"/>
                  <a:gd name="connsiteY5" fmla="*/ 10000 h 10000"/>
                  <a:gd name="connsiteX0" fmla="*/ 4956 w 9965"/>
                  <a:gd name="connsiteY0" fmla="*/ 10000 h 10000"/>
                  <a:gd name="connsiteX1" fmla="*/ 36 w 9965"/>
                  <a:gd name="connsiteY1" fmla="*/ 5565 h 10000"/>
                  <a:gd name="connsiteX2" fmla="*/ 3614 w 9965"/>
                  <a:gd name="connsiteY2" fmla="*/ 0 h 10000"/>
                  <a:gd name="connsiteX3" fmla="*/ 3614 w 9965"/>
                  <a:gd name="connsiteY3" fmla="*/ 0 h 10000"/>
                  <a:gd name="connsiteX4" fmla="*/ 9963 w 9965"/>
                  <a:gd name="connsiteY4" fmla="*/ 5508 h 10000"/>
                  <a:gd name="connsiteX5" fmla="*/ 4956 w 9965"/>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37"/>
                  <a:gd name="connsiteY0" fmla="*/ 10000 h 10001"/>
                  <a:gd name="connsiteX1" fmla="*/ 171 w 10137"/>
                  <a:gd name="connsiteY1" fmla="*/ 5565 h 10001"/>
                  <a:gd name="connsiteX2" fmla="*/ 3762 w 10137"/>
                  <a:gd name="connsiteY2" fmla="*/ 0 h 10001"/>
                  <a:gd name="connsiteX3" fmla="*/ 4332 w 10137"/>
                  <a:gd name="connsiteY3" fmla="*/ 580 h 10001"/>
                  <a:gd name="connsiteX4" fmla="*/ 10133 w 10137"/>
                  <a:gd name="connsiteY4" fmla="*/ 5508 h 10001"/>
                  <a:gd name="connsiteX5" fmla="*/ 5108 w 10137"/>
                  <a:gd name="connsiteY5" fmla="*/ 10000 h 10001"/>
                  <a:gd name="connsiteX0" fmla="*/ 5108 w 10151"/>
                  <a:gd name="connsiteY0" fmla="*/ 10145 h 10146"/>
                  <a:gd name="connsiteX1" fmla="*/ 171 w 10151"/>
                  <a:gd name="connsiteY1" fmla="*/ 5710 h 10146"/>
                  <a:gd name="connsiteX2" fmla="*/ 3762 w 10151"/>
                  <a:gd name="connsiteY2" fmla="*/ 145 h 10146"/>
                  <a:gd name="connsiteX3" fmla="*/ 6685 w 10151"/>
                  <a:gd name="connsiteY3" fmla="*/ 0 h 10146"/>
                  <a:gd name="connsiteX4" fmla="*/ 10133 w 10151"/>
                  <a:gd name="connsiteY4" fmla="*/ 5653 h 10146"/>
                  <a:gd name="connsiteX5" fmla="*/ 5108 w 10151"/>
                  <a:gd name="connsiteY5" fmla="*/ 10145 h 10146"/>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46"/>
                  <a:gd name="connsiteY0" fmla="*/ 10000 h 10001"/>
                  <a:gd name="connsiteX1" fmla="*/ 171 w 10146"/>
                  <a:gd name="connsiteY1" fmla="*/ 5565 h 10001"/>
                  <a:gd name="connsiteX2" fmla="*/ 3762 w 10146"/>
                  <a:gd name="connsiteY2" fmla="*/ 0 h 10001"/>
                  <a:gd name="connsiteX3" fmla="*/ 10133 w 10146"/>
                  <a:gd name="connsiteY3" fmla="*/ 5508 h 10001"/>
                  <a:gd name="connsiteX4" fmla="*/ 5108 w 10146"/>
                  <a:gd name="connsiteY4" fmla="*/ 10000 h 10001"/>
                  <a:gd name="connsiteX0" fmla="*/ 5108 w 10135"/>
                  <a:gd name="connsiteY0" fmla="*/ 10000 h 10001"/>
                  <a:gd name="connsiteX1" fmla="*/ 171 w 10135"/>
                  <a:gd name="connsiteY1" fmla="*/ 5565 h 10001"/>
                  <a:gd name="connsiteX2" fmla="*/ 3762 w 10135"/>
                  <a:gd name="connsiteY2" fmla="*/ 0 h 10001"/>
                  <a:gd name="connsiteX3" fmla="*/ 10133 w 10135"/>
                  <a:gd name="connsiteY3" fmla="*/ 5508 h 10001"/>
                  <a:gd name="connsiteX4" fmla="*/ 5108 w 10135"/>
                  <a:gd name="connsiteY4" fmla="*/ 10000 h 10001"/>
                  <a:gd name="connsiteX0" fmla="*/ 5108 w 10139"/>
                  <a:gd name="connsiteY0" fmla="*/ 10000 h 10001"/>
                  <a:gd name="connsiteX1" fmla="*/ 171 w 10139"/>
                  <a:gd name="connsiteY1" fmla="*/ 5565 h 10001"/>
                  <a:gd name="connsiteX2" fmla="*/ 3762 w 10139"/>
                  <a:gd name="connsiteY2" fmla="*/ 0 h 10001"/>
                  <a:gd name="connsiteX3" fmla="*/ 10133 w 10139"/>
                  <a:gd name="connsiteY3" fmla="*/ 5508 h 10001"/>
                  <a:gd name="connsiteX4" fmla="*/ 5108 w 10139"/>
                  <a:gd name="connsiteY4" fmla="*/ 10000 h 10001"/>
                  <a:gd name="connsiteX0" fmla="*/ 5108 w 10164"/>
                  <a:gd name="connsiteY0" fmla="*/ 10000 h 10001"/>
                  <a:gd name="connsiteX1" fmla="*/ 171 w 10164"/>
                  <a:gd name="connsiteY1" fmla="*/ 5565 h 10001"/>
                  <a:gd name="connsiteX2" fmla="*/ 3762 w 10164"/>
                  <a:gd name="connsiteY2" fmla="*/ 0 h 10001"/>
                  <a:gd name="connsiteX3" fmla="*/ 10133 w 10164"/>
                  <a:gd name="connsiteY3" fmla="*/ 5508 h 10001"/>
                  <a:gd name="connsiteX4" fmla="*/ 5108 w 10164"/>
                  <a:gd name="connsiteY4" fmla="*/ 10000 h 10001"/>
                  <a:gd name="connsiteX0" fmla="*/ 5088 w 10139"/>
                  <a:gd name="connsiteY0" fmla="*/ 10000 h 10000"/>
                  <a:gd name="connsiteX1" fmla="*/ 151 w 10139"/>
                  <a:gd name="connsiteY1" fmla="*/ 5565 h 10000"/>
                  <a:gd name="connsiteX2" fmla="*/ 3742 w 10139"/>
                  <a:gd name="connsiteY2" fmla="*/ 0 h 10000"/>
                  <a:gd name="connsiteX3" fmla="*/ 10113 w 10139"/>
                  <a:gd name="connsiteY3" fmla="*/ 5605 h 10000"/>
                  <a:gd name="connsiteX4" fmla="*/ 5088 w 10139"/>
                  <a:gd name="connsiteY4" fmla="*/ 10000 h 10000"/>
                  <a:gd name="connsiteX0" fmla="*/ 5088 w 10173"/>
                  <a:gd name="connsiteY0" fmla="*/ 10000 h 10000"/>
                  <a:gd name="connsiteX1" fmla="*/ 151 w 10173"/>
                  <a:gd name="connsiteY1" fmla="*/ 5565 h 10000"/>
                  <a:gd name="connsiteX2" fmla="*/ 3742 w 10173"/>
                  <a:gd name="connsiteY2" fmla="*/ 0 h 10000"/>
                  <a:gd name="connsiteX3" fmla="*/ 10113 w 10173"/>
                  <a:gd name="connsiteY3" fmla="*/ 5605 h 10000"/>
                  <a:gd name="connsiteX4" fmla="*/ 5088 w 10173"/>
                  <a:gd name="connsiteY4" fmla="*/ 10000 h 10000"/>
                  <a:gd name="connsiteX0" fmla="*/ 5108 w 10202"/>
                  <a:gd name="connsiteY0" fmla="*/ 10000 h 10000"/>
                  <a:gd name="connsiteX1" fmla="*/ 171 w 10202"/>
                  <a:gd name="connsiteY1" fmla="*/ 5565 h 10000"/>
                  <a:gd name="connsiteX2" fmla="*/ 3762 w 10202"/>
                  <a:gd name="connsiteY2" fmla="*/ 0 h 10000"/>
                  <a:gd name="connsiteX3" fmla="*/ 10133 w 10202"/>
                  <a:gd name="connsiteY3" fmla="*/ 5605 h 10000"/>
                  <a:gd name="connsiteX4" fmla="*/ 5108 w 10202"/>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2" h="10000">
                    <a:moveTo>
                      <a:pt x="5108" y="10000"/>
                    </a:moveTo>
                    <a:cubicBezTo>
                      <a:pt x="2806" y="10041"/>
                      <a:pt x="-834" y="8097"/>
                      <a:pt x="171" y="5565"/>
                    </a:cubicBezTo>
                    <a:cubicBezTo>
                      <a:pt x="1176" y="3033"/>
                      <a:pt x="4038" y="3160"/>
                      <a:pt x="3762" y="0"/>
                    </a:cubicBezTo>
                    <a:cubicBezTo>
                      <a:pt x="6670" y="1353"/>
                      <a:pt x="9540" y="2513"/>
                      <a:pt x="10133" y="5605"/>
                    </a:cubicBezTo>
                    <a:cubicBezTo>
                      <a:pt x="10726" y="8697"/>
                      <a:pt x="7410" y="9959"/>
                      <a:pt x="5108" y="1000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a:lnSpc>
                    <a:spcPct val="90000"/>
                  </a:lnSpc>
                </a:pPr>
                <a:endParaRPr lang="en-US" sz="1200"/>
              </a:p>
            </p:txBody>
          </p:sp>
          <p:sp>
            <p:nvSpPr>
              <p:cNvPr id="46" name="Freeform 514">
                <a:extLst>
                  <a:ext uri="{FF2B5EF4-FFF2-40B4-BE49-F238E27FC236}">
                    <a16:creationId xmlns:a16="http://schemas.microsoft.com/office/drawing/2014/main" id="{4EA3484A-83D2-4D62-8D1F-EC3D84294FD6}"/>
                  </a:ext>
                </a:extLst>
              </p:cNvPr>
              <p:cNvSpPr>
                <a:spLocks/>
              </p:cNvSpPr>
              <p:nvPr/>
            </p:nvSpPr>
            <p:spPr bwMode="gray">
              <a:xfrm>
                <a:off x="4853850" y="3417463"/>
                <a:ext cx="102719" cy="148613"/>
              </a:xfrm>
              <a:custGeom>
                <a:avLst/>
                <a:gdLst>
                  <a:gd name="T0" fmla="*/ 57 w 139"/>
                  <a:gd name="T1" fmla="*/ 202 h 202"/>
                  <a:gd name="T2" fmla="*/ 57 w 139"/>
                  <a:gd name="T3" fmla="*/ 202 h 202"/>
                  <a:gd name="T4" fmla="*/ 51 w 139"/>
                  <a:gd name="T5" fmla="*/ 199 h 202"/>
                  <a:gd name="T6" fmla="*/ 40 w 139"/>
                  <a:gd name="T7" fmla="*/ 193 h 202"/>
                  <a:gd name="T8" fmla="*/ 27 w 139"/>
                  <a:gd name="T9" fmla="*/ 183 h 202"/>
                  <a:gd name="T10" fmla="*/ 21 w 139"/>
                  <a:gd name="T11" fmla="*/ 177 h 202"/>
                  <a:gd name="T12" fmla="*/ 15 w 139"/>
                  <a:gd name="T13" fmla="*/ 169 h 202"/>
                  <a:gd name="T14" fmla="*/ 9 w 139"/>
                  <a:gd name="T15" fmla="*/ 160 h 202"/>
                  <a:gd name="T16" fmla="*/ 4 w 139"/>
                  <a:gd name="T17" fmla="*/ 151 h 202"/>
                  <a:gd name="T18" fmla="*/ 1 w 139"/>
                  <a:gd name="T19" fmla="*/ 141 h 202"/>
                  <a:gd name="T20" fmla="*/ 0 w 139"/>
                  <a:gd name="T21" fmla="*/ 130 h 202"/>
                  <a:gd name="T22" fmla="*/ 1 w 139"/>
                  <a:gd name="T23" fmla="*/ 118 h 202"/>
                  <a:gd name="T24" fmla="*/ 4 w 139"/>
                  <a:gd name="T25" fmla="*/ 105 h 202"/>
                  <a:gd name="T26" fmla="*/ 12 w 139"/>
                  <a:gd name="T27" fmla="*/ 91 h 202"/>
                  <a:gd name="T28" fmla="*/ 22 w 139"/>
                  <a:gd name="T29" fmla="*/ 76 h 202"/>
                  <a:gd name="T30" fmla="*/ 22 w 139"/>
                  <a:gd name="T31" fmla="*/ 76 h 202"/>
                  <a:gd name="T32" fmla="*/ 27 w 139"/>
                  <a:gd name="T33" fmla="*/ 70 h 202"/>
                  <a:gd name="T34" fmla="*/ 36 w 139"/>
                  <a:gd name="T35" fmla="*/ 55 h 202"/>
                  <a:gd name="T36" fmla="*/ 42 w 139"/>
                  <a:gd name="T37" fmla="*/ 43 h 202"/>
                  <a:gd name="T38" fmla="*/ 46 w 139"/>
                  <a:gd name="T39" fmla="*/ 31 h 202"/>
                  <a:gd name="T40" fmla="*/ 49 w 139"/>
                  <a:gd name="T41" fmla="*/ 16 h 202"/>
                  <a:gd name="T42" fmla="*/ 51 w 139"/>
                  <a:gd name="T43" fmla="*/ 0 h 202"/>
                  <a:gd name="T44" fmla="*/ 51 w 139"/>
                  <a:gd name="T45" fmla="*/ 0 h 202"/>
                  <a:gd name="T46" fmla="*/ 60 w 139"/>
                  <a:gd name="T47" fmla="*/ 6 h 202"/>
                  <a:gd name="T48" fmla="*/ 81 w 139"/>
                  <a:gd name="T49" fmla="*/ 22 h 202"/>
                  <a:gd name="T50" fmla="*/ 93 w 139"/>
                  <a:gd name="T51" fmla="*/ 34 h 202"/>
                  <a:gd name="T52" fmla="*/ 106 w 139"/>
                  <a:gd name="T53" fmla="*/ 46 h 202"/>
                  <a:gd name="T54" fmla="*/ 117 w 139"/>
                  <a:gd name="T55" fmla="*/ 61 h 202"/>
                  <a:gd name="T56" fmla="*/ 127 w 139"/>
                  <a:gd name="T57" fmla="*/ 76 h 202"/>
                  <a:gd name="T58" fmla="*/ 127 w 139"/>
                  <a:gd name="T59" fmla="*/ 76 h 202"/>
                  <a:gd name="T60" fmla="*/ 135 w 139"/>
                  <a:gd name="T61" fmla="*/ 93 h 202"/>
                  <a:gd name="T62" fmla="*/ 138 w 139"/>
                  <a:gd name="T63" fmla="*/ 111 h 202"/>
                  <a:gd name="T64" fmla="*/ 139 w 139"/>
                  <a:gd name="T65" fmla="*/ 127 h 202"/>
                  <a:gd name="T66" fmla="*/ 136 w 139"/>
                  <a:gd name="T67" fmla="*/ 144 h 202"/>
                  <a:gd name="T68" fmla="*/ 133 w 139"/>
                  <a:gd name="T69" fmla="*/ 153 h 202"/>
                  <a:gd name="T70" fmla="*/ 129 w 139"/>
                  <a:gd name="T71" fmla="*/ 160 h 202"/>
                  <a:gd name="T72" fmla="*/ 124 w 139"/>
                  <a:gd name="T73" fmla="*/ 168 h 202"/>
                  <a:gd name="T74" fmla="*/ 118 w 139"/>
                  <a:gd name="T75" fmla="*/ 175 h 202"/>
                  <a:gd name="T76" fmla="*/ 112 w 139"/>
                  <a:gd name="T77" fmla="*/ 183 h 202"/>
                  <a:gd name="T78" fmla="*/ 105 w 139"/>
                  <a:gd name="T79" fmla="*/ 190 h 202"/>
                  <a:gd name="T80" fmla="*/ 96 w 139"/>
                  <a:gd name="T81" fmla="*/ 196 h 202"/>
                  <a:gd name="T82" fmla="*/ 87 w 139"/>
                  <a:gd name="T83" fmla="*/ 202 h 202"/>
                  <a:gd name="T84" fmla="*/ 57 w 139"/>
                  <a:gd name="T85" fmla="*/ 202 h 202"/>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8417 w 10000"/>
                  <a:gd name="connsiteY27" fmla="*/ 3020 h 10000"/>
                  <a:gd name="connsiteX28" fmla="*/ 9137 w 10000"/>
                  <a:gd name="connsiteY28" fmla="*/ 3762 h 10000"/>
                  <a:gd name="connsiteX29" fmla="*/ 9712 w 10000"/>
                  <a:gd name="connsiteY29" fmla="*/ 4604 h 10000"/>
                  <a:gd name="connsiteX30" fmla="*/ 9928 w 10000"/>
                  <a:gd name="connsiteY30" fmla="*/ 5495 h 10000"/>
                  <a:gd name="connsiteX31" fmla="*/ 10000 w 10000"/>
                  <a:gd name="connsiteY31" fmla="*/ 6287 h 10000"/>
                  <a:gd name="connsiteX32" fmla="*/ 9784 w 10000"/>
                  <a:gd name="connsiteY32" fmla="*/ 7129 h 10000"/>
                  <a:gd name="connsiteX33" fmla="*/ 9568 w 10000"/>
                  <a:gd name="connsiteY33" fmla="*/ 7574 h 10000"/>
                  <a:gd name="connsiteX34" fmla="*/ 9281 w 10000"/>
                  <a:gd name="connsiteY34" fmla="*/ 7921 h 10000"/>
                  <a:gd name="connsiteX35" fmla="*/ 8921 w 10000"/>
                  <a:gd name="connsiteY35" fmla="*/ 8317 h 10000"/>
                  <a:gd name="connsiteX36" fmla="*/ 8489 w 10000"/>
                  <a:gd name="connsiteY36" fmla="*/ 8663 h 10000"/>
                  <a:gd name="connsiteX37" fmla="*/ 8058 w 10000"/>
                  <a:gd name="connsiteY37" fmla="*/ 9059 h 10000"/>
                  <a:gd name="connsiteX38" fmla="*/ 7554 w 10000"/>
                  <a:gd name="connsiteY38" fmla="*/ 9406 h 10000"/>
                  <a:gd name="connsiteX39" fmla="*/ 6906 w 10000"/>
                  <a:gd name="connsiteY39" fmla="*/ 9703 h 10000"/>
                  <a:gd name="connsiteX40" fmla="*/ 6259 w 10000"/>
                  <a:gd name="connsiteY40" fmla="*/ 10000 h 10000"/>
                  <a:gd name="connsiteX41" fmla="*/ 4101 w 10000"/>
                  <a:gd name="connsiteY41"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9137 w 10000"/>
                  <a:gd name="connsiteY27" fmla="*/ 3762 h 10000"/>
                  <a:gd name="connsiteX28" fmla="*/ 9712 w 10000"/>
                  <a:gd name="connsiteY28" fmla="*/ 4604 h 10000"/>
                  <a:gd name="connsiteX29" fmla="*/ 9928 w 10000"/>
                  <a:gd name="connsiteY29" fmla="*/ 5495 h 10000"/>
                  <a:gd name="connsiteX30" fmla="*/ 10000 w 10000"/>
                  <a:gd name="connsiteY30" fmla="*/ 6287 h 10000"/>
                  <a:gd name="connsiteX31" fmla="*/ 9784 w 10000"/>
                  <a:gd name="connsiteY31" fmla="*/ 7129 h 10000"/>
                  <a:gd name="connsiteX32" fmla="*/ 9568 w 10000"/>
                  <a:gd name="connsiteY32" fmla="*/ 7574 h 10000"/>
                  <a:gd name="connsiteX33" fmla="*/ 9281 w 10000"/>
                  <a:gd name="connsiteY33" fmla="*/ 7921 h 10000"/>
                  <a:gd name="connsiteX34" fmla="*/ 8921 w 10000"/>
                  <a:gd name="connsiteY34" fmla="*/ 8317 h 10000"/>
                  <a:gd name="connsiteX35" fmla="*/ 8489 w 10000"/>
                  <a:gd name="connsiteY35" fmla="*/ 8663 h 10000"/>
                  <a:gd name="connsiteX36" fmla="*/ 8058 w 10000"/>
                  <a:gd name="connsiteY36" fmla="*/ 9059 h 10000"/>
                  <a:gd name="connsiteX37" fmla="*/ 7554 w 10000"/>
                  <a:gd name="connsiteY37" fmla="*/ 9406 h 10000"/>
                  <a:gd name="connsiteX38" fmla="*/ 6906 w 10000"/>
                  <a:gd name="connsiteY38" fmla="*/ 9703 h 10000"/>
                  <a:gd name="connsiteX39" fmla="*/ 6259 w 10000"/>
                  <a:gd name="connsiteY39" fmla="*/ 10000 h 10000"/>
                  <a:gd name="connsiteX40" fmla="*/ 4101 w 10000"/>
                  <a:gd name="connsiteY40"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9137 w 10000"/>
                  <a:gd name="connsiteY26" fmla="*/ 3762 h 10000"/>
                  <a:gd name="connsiteX27" fmla="*/ 9712 w 10000"/>
                  <a:gd name="connsiteY27" fmla="*/ 4604 h 10000"/>
                  <a:gd name="connsiteX28" fmla="*/ 9928 w 10000"/>
                  <a:gd name="connsiteY28" fmla="*/ 5495 h 10000"/>
                  <a:gd name="connsiteX29" fmla="*/ 10000 w 10000"/>
                  <a:gd name="connsiteY29" fmla="*/ 6287 h 10000"/>
                  <a:gd name="connsiteX30" fmla="*/ 9784 w 10000"/>
                  <a:gd name="connsiteY30" fmla="*/ 7129 h 10000"/>
                  <a:gd name="connsiteX31" fmla="*/ 9568 w 10000"/>
                  <a:gd name="connsiteY31" fmla="*/ 7574 h 10000"/>
                  <a:gd name="connsiteX32" fmla="*/ 9281 w 10000"/>
                  <a:gd name="connsiteY32" fmla="*/ 7921 h 10000"/>
                  <a:gd name="connsiteX33" fmla="*/ 8921 w 10000"/>
                  <a:gd name="connsiteY33" fmla="*/ 8317 h 10000"/>
                  <a:gd name="connsiteX34" fmla="*/ 8489 w 10000"/>
                  <a:gd name="connsiteY34" fmla="*/ 8663 h 10000"/>
                  <a:gd name="connsiteX35" fmla="*/ 8058 w 10000"/>
                  <a:gd name="connsiteY35" fmla="*/ 9059 h 10000"/>
                  <a:gd name="connsiteX36" fmla="*/ 7554 w 10000"/>
                  <a:gd name="connsiteY36" fmla="*/ 9406 h 10000"/>
                  <a:gd name="connsiteX37" fmla="*/ 6906 w 10000"/>
                  <a:gd name="connsiteY37" fmla="*/ 9703 h 10000"/>
                  <a:gd name="connsiteX38" fmla="*/ 6259 w 10000"/>
                  <a:gd name="connsiteY38" fmla="*/ 10000 h 10000"/>
                  <a:gd name="connsiteX39" fmla="*/ 4101 w 10000"/>
                  <a:gd name="connsiteY39"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9137 w 10000"/>
                  <a:gd name="connsiteY25" fmla="*/ 3762 h 10000"/>
                  <a:gd name="connsiteX26" fmla="*/ 9712 w 10000"/>
                  <a:gd name="connsiteY26" fmla="*/ 4604 h 10000"/>
                  <a:gd name="connsiteX27" fmla="*/ 9928 w 10000"/>
                  <a:gd name="connsiteY27" fmla="*/ 5495 h 10000"/>
                  <a:gd name="connsiteX28" fmla="*/ 10000 w 10000"/>
                  <a:gd name="connsiteY28" fmla="*/ 6287 h 10000"/>
                  <a:gd name="connsiteX29" fmla="*/ 9784 w 10000"/>
                  <a:gd name="connsiteY29" fmla="*/ 7129 h 10000"/>
                  <a:gd name="connsiteX30" fmla="*/ 9568 w 10000"/>
                  <a:gd name="connsiteY30" fmla="*/ 7574 h 10000"/>
                  <a:gd name="connsiteX31" fmla="*/ 9281 w 10000"/>
                  <a:gd name="connsiteY31" fmla="*/ 7921 h 10000"/>
                  <a:gd name="connsiteX32" fmla="*/ 8921 w 10000"/>
                  <a:gd name="connsiteY32" fmla="*/ 8317 h 10000"/>
                  <a:gd name="connsiteX33" fmla="*/ 8489 w 10000"/>
                  <a:gd name="connsiteY33" fmla="*/ 8663 h 10000"/>
                  <a:gd name="connsiteX34" fmla="*/ 8058 w 10000"/>
                  <a:gd name="connsiteY34" fmla="*/ 9059 h 10000"/>
                  <a:gd name="connsiteX35" fmla="*/ 7554 w 10000"/>
                  <a:gd name="connsiteY35" fmla="*/ 9406 h 10000"/>
                  <a:gd name="connsiteX36" fmla="*/ 6906 w 10000"/>
                  <a:gd name="connsiteY36" fmla="*/ 9703 h 10000"/>
                  <a:gd name="connsiteX37" fmla="*/ 6259 w 10000"/>
                  <a:gd name="connsiteY37" fmla="*/ 10000 h 10000"/>
                  <a:gd name="connsiteX38" fmla="*/ 4101 w 10000"/>
                  <a:gd name="connsiteY38"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712 w 10000"/>
                  <a:gd name="connsiteY25" fmla="*/ 4604 h 10000"/>
                  <a:gd name="connsiteX26" fmla="*/ 9928 w 10000"/>
                  <a:gd name="connsiteY26" fmla="*/ 5495 h 10000"/>
                  <a:gd name="connsiteX27" fmla="*/ 10000 w 10000"/>
                  <a:gd name="connsiteY27" fmla="*/ 6287 h 10000"/>
                  <a:gd name="connsiteX28" fmla="*/ 9784 w 10000"/>
                  <a:gd name="connsiteY28" fmla="*/ 7129 h 10000"/>
                  <a:gd name="connsiteX29" fmla="*/ 9568 w 10000"/>
                  <a:gd name="connsiteY29" fmla="*/ 7574 h 10000"/>
                  <a:gd name="connsiteX30" fmla="*/ 9281 w 10000"/>
                  <a:gd name="connsiteY30" fmla="*/ 7921 h 10000"/>
                  <a:gd name="connsiteX31" fmla="*/ 8921 w 10000"/>
                  <a:gd name="connsiteY31" fmla="*/ 8317 h 10000"/>
                  <a:gd name="connsiteX32" fmla="*/ 8489 w 10000"/>
                  <a:gd name="connsiteY32" fmla="*/ 8663 h 10000"/>
                  <a:gd name="connsiteX33" fmla="*/ 8058 w 10000"/>
                  <a:gd name="connsiteY33" fmla="*/ 9059 h 10000"/>
                  <a:gd name="connsiteX34" fmla="*/ 7554 w 10000"/>
                  <a:gd name="connsiteY34" fmla="*/ 9406 h 10000"/>
                  <a:gd name="connsiteX35" fmla="*/ 6906 w 10000"/>
                  <a:gd name="connsiteY35" fmla="*/ 9703 h 10000"/>
                  <a:gd name="connsiteX36" fmla="*/ 6259 w 10000"/>
                  <a:gd name="connsiteY36" fmla="*/ 10000 h 10000"/>
                  <a:gd name="connsiteX37" fmla="*/ 4101 w 10000"/>
                  <a:gd name="connsiteY37"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928 w 10000"/>
                  <a:gd name="connsiteY25" fmla="*/ 5495 h 10000"/>
                  <a:gd name="connsiteX26" fmla="*/ 10000 w 10000"/>
                  <a:gd name="connsiteY26" fmla="*/ 6287 h 10000"/>
                  <a:gd name="connsiteX27" fmla="*/ 9784 w 10000"/>
                  <a:gd name="connsiteY27" fmla="*/ 7129 h 10000"/>
                  <a:gd name="connsiteX28" fmla="*/ 9568 w 10000"/>
                  <a:gd name="connsiteY28" fmla="*/ 7574 h 10000"/>
                  <a:gd name="connsiteX29" fmla="*/ 9281 w 10000"/>
                  <a:gd name="connsiteY29" fmla="*/ 7921 h 10000"/>
                  <a:gd name="connsiteX30" fmla="*/ 8921 w 10000"/>
                  <a:gd name="connsiteY30" fmla="*/ 8317 h 10000"/>
                  <a:gd name="connsiteX31" fmla="*/ 8489 w 10000"/>
                  <a:gd name="connsiteY31" fmla="*/ 8663 h 10000"/>
                  <a:gd name="connsiteX32" fmla="*/ 8058 w 10000"/>
                  <a:gd name="connsiteY32" fmla="*/ 9059 h 10000"/>
                  <a:gd name="connsiteX33" fmla="*/ 7554 w 10000"/>
                  <a:gd name="connsiteY33" fmla="*/ 9406 h 10000"/>
                  <a:gd name="connsiteX34" fmla="*/ 6906 w 10000"/>
                  <a:gd name="connsiteY34" fmla="*/ 9703 h 10000"/>
                  <a:gd name="connsiteX35" fmla="*/ 6259 w 10000"/>
                  <a:gd name="connsiteY35" fmla="*/ 10000 h 10000"/>
                  <a:gd name="connsiteX36" fmla="*/ 4101 w 10000"/>
                  <a:gd name="connsiteY36"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928 w 10000"/>
                  <a:gd name="connsiteY24" fmla="*/ 5495 h 10000"/>
                  <a:gd name="connsiteX25" fmla="*/ 10000 w 10000"/>
                  <a:gd name="connsiteY25" fmla="*/ 6287 h 10000"/>
                  <a:gd name="connsiteX26" fmla="*/ 9784 w 10000"/>
                  <a:gd name="connsiteY26" fmla="*/ 7129 h 10000"/>
                  <a:gd name="connsiteX27" fmla="*/ 9568 w 10000"/>
                  <a:gd name="connsiteY27" fmla="*/ 7574 h 10000"/>
                  <a:gd name="connsiteX28" fmla="*/ 9281 w 10000"/>
                  <a:gd name="connsiteY28" fmla="*/ 7921 h 10000"/>
                  <a:gd name="connsiteX29" fmla="*/ 8921 w 10000"/>
                  <a:gd name="connsiteY29" fmla="*/ 8317 h 10000"/>
                  <a:gd name="connsiteX30" fmla="*/ 8489 w 10000"/>
                  <a:gd name="connsiteY30" fmla="*/ 8663 h 10000"/>
                  <a:gd name="connsiteX31" fmla="*/ 8058 w 10000"/>
                  <a:gd name="connsiteY31" fmla="*/ 9059 h 10000"/>
                  <a:gd name="connsiteX32" fmla="*/ 7554 w 10000"/>
                  <a:gd name="connsiteY32" fmla="*/ 9406 h 10000"/>
                  <a:gd name="connsiteX33" fmla="*/ 6906 w 10000"/>
                  <a:gd name="connsiteY33" fmla="*/ 9703 h 10000"/>
                  <a:gd name="connsiteX34" fmla="*/ 6259 w 10000"/>
                  <a:gd name="connsiteY34" fmla="*/ 10000 h 10000"/>
                  <a:gd name="connsiteX35" fmla="*/ 4101 w 10000"/>
                  <a:gd name="connsiteY35" fmla="*/ 10000 h 10000"/>
                  <a:gd name="connsiteX0" fmla="*/ 4101 w 9928"/>
                  <a:gd name="connsiteY0" fmla="*/ 10000 h 10000"/>
                  <a:gd name="connsiteX1" fmla="*/ 4101 w 9928"/>
                  <a:gd name="connsiteY1" fmla="*/ 10000 h 10000"/>
                  <a:gd name="connsiteX2" fmla="*/ 3669 w 9928"/>
                  <a:gd name="connsiteY2" fmla="*/ 9851 h 10000"/>
                  <a:gd name="connsiteX3" fmla="*/ 2878 w 9928"/>
                  <a:gd name="connsiteY3" fmla="*/ 9554 h 10000"/>
                  <a:gd name="connsiteX4" fmla="*/ 1942 w 9928"/>
                  <a:gd name="connsiteY4" fmla="*/ 9059 h 10000"/>
                  <a:gd name="connsiteX5" fmla="*/ 1511 w 9928"/>
                  <a:gd name="connsiteY5" fmla="*/ 8762 h 10000"/>
                  <a:gd name="connsiteX6" fmla="*/ 1079 w 9928"/>
                  <a:gd name="connsiteY6" fmla="*/ 8366 h 10000"/>
                  <a:gd name="connsiteX7" fmla="*/ 647 w 9928"/>
                  <a:gd name="connsiteY7" fmla="*/ 7921 h 10000"/>
                  <a:gd name="connsiteX8" fmla="*/ 288 w 9928"/>
                  <a:gd name="connsiteY8" fmla="*/ 7475 h 10000"/>
                  <a:gd name="connsiteX9" fmla="*/ 72 w 9928"/>
                  <a:gd name="connsiteY9" fmla="*/ 6980 h 10000"/>
                  <a:gd name="connsiteX10" fmla="*/ 0 w 9928"/>
                  <a:gd name="connsiteY10" fmla="*/ 6436 h 10000"/>
                  <a:gd name="connsiteX11" fmla="*/ 72 w 9928"/>
                  <a:gd name="connsiteY11" fmla="*/ 5842 h 10000"/>
                  <a:gd name="connsiteX12" fmla="*/ 288 w 9928"/>
                  <a:gd name="connsiteY12" fmla="*/ 5198 h 10000"/>
                  <a:gd name="connsiteX13" fmla="*/ 863 w 9928"/>
                  <a:gd name="connsiteY13" fmla="*/ 4505 h 10000"/>
                  <a:gd name="connsiteX14" fmla="*/ 1583 w 9928"/>
                  <a:gd name="connsiteY14" fmla="*/ 3762 h 10000"/>
                  <a:gd name="connsiteX15" fmla="*/ 1583 w 9928"/>
                  <a:gd name="connsiteY15" fmla="*/ 3762 h 10000"/>
                  <a:gd name="connsiteX16" fmla="*/ 1942 w 9928"/>
                  <a:gd name="connsiteY16" fmla="*/ 3465 h 10000"/>
                  <a:gd name="connsiteX17" fmla="*/ 2590 w 9928"/>
                  <a:gd name="connsiteY17" fmla="*/ 2723 h 10000"/>
                  <a:gd name="connsiteX18" fmla="*/ 3022 w 9928"/>
                  <a:gd name="connsiteY18" fmla="*/ 2129 h 10000"/>
                  <a:gd name="connsiteX19" fmla="*/ 3309 w 9928"/>
                  <a:gd name="connsiteY19" fmla="*/ 1535 h 10000"/>
                  <a:gd name="connsiteX20" fmla="*/ 3525 w 9928"/>
                  <a:gd name="connsiteY20" fmla="*/ 792 h 10000"/>
                  <a:gd name="connsiteX21" fmla="*/ 3669 w 9928"/>
                  <a:gd name="connsiteY21" fmla="*/ 0 h 10000"/>
                  <a:gd name="connsiteX22" fmla="*/ 3669 w 9928"/>
                  <a:gd name="connsiteY22" fmla="*/ 0 h 10000"/>
                  <a:gd name="connsiteX23" fmla="*/ 4317 w 9928"/>
                  <a:gd name="connsiteY23" fmla="*/ 297 h 10000"/>
                  <a:gd name="connsiteX24" fmla="*/ 9928 w 9928"/>
                  <a:gd name="connsiteY24" fmla="*/ 5495 h 10000"/>
                  <a:gd name="connsiteX25" fmla="*/ 9784 w 9928"/>
                  <a:gd name="connsiteY25" fmla="*/ 7129 h 10000"/>
                  <a:gd name="connsiteX26" fmla="*/ 9568 w 9928"/>
                  <a:gd name="connsiteY26" fmla="*/ 7574 h 10000"/>
                  <a:gd name="connsiteX27" fmla="*/ 9281 w 9928"/>
                  <a:gd name="connsiteY27" fmla="*/ 7921 h 10000"/>
                  <a:gd name="connsiteX28" fmla="*/ 8921 w 9928"/>
                  <a:gd name="connsiteY28" fmla="*/ 8317 h 10000"/>
                  <a:gd name="connsiteX29" fmla="*/ 8489 w 9928"/>
                  <a:gd name="connsiteY29" fmla="*/ 8663 h 10000"/>
                  <a:gd name="connsiteX30" fmla="*/ 8058 w 9928"/>
                  <a:gd name="connsiteY30" fmla="*/ 9059 h 10000"/>
                  <a:gd name="connsiteX31" fmla="*/ 7554 w 9928"/>
                  <a:gd name="connsiteY31" fmla="*/ 9406 h 10000"/>
                  <a:gd name="connsiteX32" fmla="*/ 6906 w 9928"/>
                  <a:gd name="connsiteY32" fmla="*/ 9703 h 10000"/>
                  <a:gd name="connsiteX33" fmla="*/ 6259 w 9928"/>
                  <a:gd name="connsiteY33" fmla="*/ 10000 h 10000"/>
                  <a:gd name="connsiteX34" fmla="*/ 4101 w 9928"/>
                  <a:gd name="connsiteY34"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48 w 10000"/>
                  <a:gd name="connsiteY26" fmla="*/ 7921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33 w 10000"/>
                  <a:gd name="connsiteY26" fmla="*/ 7808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214"/>
                  <a:gd name="connsiteY0" fmla="*/ 10000 h 10000"/>
                  <a:gd name="connsiteX1" fmla="*/ 4131 w 10214"/>
                  <a:gd name="connsiteY1" fmla="*/ 10000 h 10000"/>
                  <a:gd name="connsiteX2" fmla="*/ 3696 w 10214"/>
                  <a:gd name="connsiteY2" fmla="*/ 9851 h 10000"/>
                  <a:gd name="connsiteX3" fmla="*/ 2899 w 10214"/>
                  <a:gd name="connsiteY3" fmla="*/ 9554 h 10000"/>
                  <a:gd name="connsiteX4" fmla="*/ 1956 w 10214"/>
                  <a:gd name="connsiteY4" fmla="*/ 9059 h 10000"/>
                  <a:gd name="connsiteX5" fmla="*/ 1522 w 10214"/>
                  <a:gd name="connsiteY5" fmla="*/ 8762 h 10000"/>
                  <a:gd name="connsiteX6" fmla="*/ 1087 w 10214"/>
                  <a:gd name="connsiteY6" fmla="*/ 8366 h 10000"/>
                  <a:gd name="connsiteX7" fmla="*/ 652 w 10214"/>
                  <a:gd name="connsiteY7" fmla="*/ 7921 h 10000"/>
                  <a:gd name="connsiteX8" fmla="*/ 290 w 10214"/>
                  <a:gd name="connsiteY8" fmla="*/ 7475 h 10000"/>
                  <a:gd name="connsiteX9" fmla="*/ 73 w 10214"/>
                  <a:gd name="connsiteY9" fmla="*/ 6980 h 10000"/>
                  <a:gd name="connsiteX10" fmla="*/ 0 w 10214"/>
                  <a:gd name="connsiteY10" fmla="*/ 6436 h 10000"/>
                  <a:gd name="connsiteX11" fmla="*/ 73 w 10214"/>
                  <a:gd name="connsiteY11" fmla="*/ 5842 h 10000"/>
                  <a:gd name="connsiteX12" fmla="*/ 290 w 10214"/>
                  <a:gd name="connsiteY12" fmla="*/ 5198 h 10000"/>
                  <a:gd name="connsiteX13" fmla="*/ 869 w 10214"/>
                  <a:gd name="connsiteY13" fmla="*/ 4505 h 10000"/>
                  <a:gd name="connsiteX14" fmla="*/ 1594 w 10214"/>
                  <a:gd name="connsiteY14" fmla="*/ 3762 h 10000"/>
                  <a:gd name="connsiteX15" fmla="*/ 1594 w 10214"/>
                  <a:gd name="connsiteY15" fmla="*/ 3762 h 10000"/>
                  <a:gd name="connsiteX16" fmla="*/ 1956 w 10214"/>
                  <a:gd name="connsiteY16" fmla="*/ 3465 h 10000"/>
                  <a:gd name="connsiteX17" fmla="*/ 2609 w 10214"/>
                  <a:gd name="connsiteY17" fmla="*/ 2723 h 10000"/>
                  <a:gd name="connsiteX18" fmla="*/ 3044 w 10214"/>
                  <a:gd name="connsiteY18" fmla="*/ 2129 h 10000"/>
                  <a:gd name="connsiteX19" fmla="*/ 3333 w 10214"/>
                  <a:gd name="connsiteY19" fmla="*/ 1535 h 10000"/>
                  <a:gd name="connsiteX20" fmla="*/ 3551 w 10214"/>
                  <a:gd name="connsiteY20" fmla="*/ 792 h 10000"/>
                  <a:gd name="connsiteX21" fmla="*/ 3696 w 10214"/>
                  <a:gd name="connsiteY21" fmla="*/ 0 h 10000"/>
                  <a:gd name="connsiteX22" fmla="*/ 3696 w 10214"/>
                  <a:gd name="connsiteY22" fmla="*/ 0 h 10000"/>
                  <a:gd name="connsiteX23" fmla="*/ 4348 w 10214"/>
                  <a:gd name="connsiteY23" fmla="*/ 297 h 10000"/>
                  <a:gd name="connsiteX24" fmla="*/ 10000 w 10214"/>
                  <a:gd name="connsiteY24" fmla="*/ 5495 h 10000"/>
                  <a:gd name="connsiteX25" fmla="*/ 8986 w 10214"/>
                  <a:gd name="connsiteY25" fmla="*/ 8317 h 10000"/>
                  <a:gd name="connsiteX26" fmla="*/ 8551 w 10214"/>
                  <a:gd name="connsiteY26" fmla="*/ 8663 h 10000"/>
                  <a:gd name="connsiteX27" fmla="*/ 8116 w 10214"/>
                  <a:gd name="connsiteY27" fmla="*/ 9059 h 10000"/>
                  <a:gd name="connsiteX28" fmla="*/ 7609 w 10214"/>
                  <a:gd name="connsiteY28" fmla="*/ 9406 h 10000"/>
                  <a:gd name="connsiteX29" fmla="*/ 6956 w 10214"/>
                  <a:gd name="connsiteY29" fmla="*/ 9703 h 10000"/>
                  <a:gd name="connsiteX30" fmla="*/ 6304 w 10214"/>
                  <a:gd name="connsiteY30" fmla="*/ 10000 h 10000"/>
                  <a:gd name="connsiteX31" fmla="*/ 4131 w 10214"/>
                  <a:gd name="connsiteY31" fmla="*/ 10000 h 10000"/>
                  <a:gd name="connsiteX0" fmla="*/ 4131 w 10158"/>
                  <a:gd name="connsiteY0" fmla="*/ 10000 h 10000"/>
                  <a:gd name="connsiteX1" fmla="*/ 4131 w 10158"/>
                  <a:gd name="connsiteY1" fmla="*/ 10000 h 10000"/>
                  <a:gd name="connsiteX2" fmla="*/ 3696 w 10158"/>
                  <a:gd name="connsiteY2" fmla="*/ 9851 h 10000"/>
                  <a:gd name="connsiteX3" fmla="*/ 2899 w 10158"/>
                  <a:gd name="connsiteY3" fmla="*/ 9554 h 10000"/>
                  <a:gd name="connsiteX4" fmla="*/ 1956 w 10158"/>
                  <a:gd name="connsiteY4" fmla="*/ 9059 h 10000"/>
                  <a:gd name="connsiteX5" fmla="*/ 1522 w 10158"/>
                  <a:gd name="connsiteY5" fmla="*/ 8762 h 10000"/>
                  <a:gd name="connsiteX6" fmla="*/ 1087 w 10158"/>
                  <a:gd name="connsiteY6" fmla="*/ 8366 h 10000"/>
                  <a:gd name="connsiteX7" fmla="*/ 652 w 10158"/>
                  <a:gd name="connsiteY7" fmla="*/ 7921 h 10000"/>
                  <a:gd name="connsiteX8" fmla="*/ 290 w 10158"/>
                  <a:gd name="connsiteY8" fmla="*/ 7475 h 10000"/>
                  <a:gd name="connsiteX9" fmla="*/ 73 w 10158"/>
                  <a:gd name="connsiteY9" fmla="*/ 6980 h 10000"/>
                  <a:gd name="connsiteX10" fmla="*/ 0 w 10158"/>
                  <a:gd name="connsiteY10" fmla="*/ 6436 h 10000"/>
                  <a:gd name="connsiteX11" fmla="*/ 73 w 10158"/>
                  <a:gd name="connsiteY11" fmla="*/ 5842 h 10000"/>
                  <a:gd name="connsiteX12" fmla="*/ 290 w 10158"/>
                  <a:gd name="connsiteY12" fmla="*/ 5198 h 10000"/>
                  <a:gd name="connsiteX13" fmla="*/ 869 w 10158"/>
                  <a:gd name="connsiteY13" fmla="*/ 4505 h 10000"/>
                  <a:gd name="connsiteX14" fmla="*/ 1594 w 10158"/>
                  <a:gd name="connsiteY14" fmla="*/ 3762 h 10000"/>
                  <a:gd name="connsiteX15" fmla="*/ 1594 w 10158"/>
                  <a:gd name="connsiteY15" fmla="*/ 3762 h 10000"/>
                  <a:gd name="connsiteX16" fmla="*/ 1956 w 10158"/>
                  <a:gd name="connsiteY16" fmla="*/ 3465 h 10000"/>
                  <a:gd name="connsiteX17" fmla="*/ 2609 w 10158"/>
                  <a:gd name="connsiteY17" fmla="*/ 2723 h 10000"/>
                  <a:gd name="connsiteX18" fmla="*/ 3044 w 10158"/>
                  <a:gd name="connsiteY18" fmla="*/ 2129 h 10000"/>
                  <a:gd name="connsiteX19" fmla="*/ 3333 w 10158"/>
                  <a:gd name="connsiteY19" fmla="*/ 1535 h 10000"/>
                  <a:gd name="connsiteX20" fmla="*/ 3551 w 10158"/>
                  <a:gd name="connsiteY20" fmla="*/ 792 h 10000"/>
                  <a:gd name="connsiteX21" fmla="*/ 3696 w 10158"/>
                  <a:gd name="connsiteY21" fmla="*/ 0 h 10000"/>
                  <a:gd name="connsiteX22" fmla="*/ 3696 w 10158"/>
                  <a:gd name="connsiteY22" fmla="*/ 0 h 10000"/>
                  <a:gd name="connsiteX23" fmla="*/ 4348 w 10158"/>
                  <a:gd name="connsiteY23" fmla="*/ 297 h 10000"/>
                  <a:gd name="connsiteX24" fmla="*/ 10000 w 10158"/>
                  <a:gd name="connsiteY24" fmla="*/ 5495 h 10000"/>
                  <a:gd name="connsiteX25" fmla="*/ 8551 w 10158"/>
                  <a:gd name="connsiteY25" fmla="*/ 8663 h 10000"/>
                  <a:gd name="connsiteX26" fmla="*/ 8116 w 10158"/>
                  <a:gd name="connsiteY26" fmla="*/ 9059 h 10000"/>
                  <a:gd name="connsiteX27" fmla="*/ 7609 w 10158"/>
                  <a:gd name="connsiteY27" fmla="*/ 9406 h 10000"/>
                  <a:gd name="connsiteX28" fmla="*/ 6956 w 10158"/>
                  <a:gd name="connsiteY28" fmla="*/ 9703 h 10000"/>
                  <a:gd name="connsiteX29" fmla="*/ 6304 w 10158"/>
                  <a:gd name="connsiteY29" fmla="*/ 10000 h 10000"/>
                  <a:gd name="connsiteX30" fmla="*/ 4131 w 10158"/>
                  <a:gd name="connsiteY30" fmla="*/ 10000 h 10000"/>
                  <a:gd name="connsiteX0" fmla="*/ 4131 w 10115"/>
                  <a:gd name="connsiteY0" fmla="*/ 10000 h 10000"/>
                  <a:gd name="connsiteX1" fmla="*/ 4131 w 10115"/>
                  <a:gd name="connsiteY1" fmla="*/ 10000 h 10000"/>
                  <a:gd name="connsiteX2" fmla="*/ 3696 w 10115"/>
                  <a:gd name="connsiteY2" fmla="*/ 9851 h 10000"/>
                  <a:gd name="connsiteX3" fmla="*/ 2899 w 10115"/>
                  <a:gd name="connsiteY3" fmla="*/ 9554 h 10000"/>
                  <a:gd name="connsiteX4" fmla="*/ 1956 w 10115"/>
                  <a:gd name="connsiteY4" fmla="*/ 9059 h 10000"/>
                  <a:gd name="connsiteX5" fmla="*/ 1522 w 10115"/>
                  <a:gd name="connsiteY5" fmla="*/ 8762 h 10000"/>
                  <a:gd name="connsiteX6" fmla="*/ 1087 w 10115"/>
                  <a:gd name="connsiteY6" fmla="*/ 8366 h 10000"/>
                  <a:gd name="connsiteX7" fmla="*/ 652 w 10115"/>
                  <a:gd name="connsiteY7" fmla="*/ 7921 h 10000"/>
                  <a:gd name="connsiteX8" fmla="*/ 290 w 10115"/>
                  <a:gd name="connsiteY8" fmla="*/ 7475 h 10000"/>
                  <a:gd name="connsiteX9" fmla="*/ 73 w 10115"/>
                  <a:gd name="connsiteY9" fmla="*/ 6980 h 10000"/>
                  <a:gd name="connsiteX10" fmla="*/ 0 w 10115"/>
                  <a:gd name="connsiteY10" fmla="*/ 6436 h 10000"/>
                  <a:gd name="connsiteX11" fmla="*/ 73 w 10115"/>
                  <a:gd name="connsiteY11" fmla="*/ 5842 h 10000"/>
                  <a:gd name="connsiteX12" fmla="*/ 290 w 10115"/>
                  <a:gd name="connsiteY12" fmla="*/ 5198 h 10000"/>
                  <a:gd name="connsiteX13" fmla="*/ 869 w 10115"/>
                  <a:gd name="connsiteY13" fmla="*/ 4505 h 10000"/>
                  <a:gd name="connsiteX14" fmla="*/ 1594 w 10115"/>
                  <a:gd name="connsiteY14" fmla="*/ 3762 h 10000"/>
                  <a:gd name="connsiteX15" fmla="*/ 1594 w 10115"/>
                  <a:gd name="connsiteY15" fmla="*/ 3762 h 10000"/>
                  <a:gd name="connsiteX16" fmla="*/ 1956 w 10115"/>
                  <a:gd name="connsiteY16" fmla="*/ 3465 h 10000"/>
                  <a:gd name="connsiteX17" fmla="*/ 2609 w 10115"/>
                  <a:gd name="connsiteY17" fmla="*/ 2723 h 10000"/>
                  <a:gd name="connsiteX18" fmla="*/ 3044 w 10115"/>
                  <a:gd name="connsiteY18" fmla="*/ 2129 h 10000"/>
                  <a:gd name="connsiteX19" fmla="*/ 3333 w 10115"/>
                  <a:gd name="connsiteY19" fmla="*/ 1535 h 10000"/>
                  <a:gd name="connsiteX20" fmla="*/ 3551 w 10115"/>
                  <a:gd name="connsiteY20" fmla="*/ 792 h 10000"/>
                  <a:gd name="connsiteX21" fmla="*/ 3696 w 10115"/>
                  <a:gd name="connsiteY21" fmla="*/ 0 h 10000"/>
                  <a:gd name="connsiteX22" fmla="*/ 3696 w 10115"/>
                  <a:gd name="connsiteY22" fmla="*/ 0 h 10000"/>
                  <a:gd name="connsiteX23" fmla="*/ 4348 w 10115"/>
                  <a:gd name="connsiteY23" fmla="*/ 297 h 10000"/>
                  <a:gd name="connsiteX24" fmla="*/ 10000 w 10115"/>
                  <a:gd name="connsiteY24" fmla="*/ 5495 h 10000"/>
                  <a:gd name="connsiteX25" fmla="*/ 8116 w 10115"/>
                  <a:gd name="connsiteY25" fmla="*/ 9059 h 10000"/>
                  <a:gd name="connsiteX26" fmla="*/ 7609 w 10115"/>
                  <a:gd name="connsiteY26" fmla="*/ 9406 h 10000"/>
                  <a:gd name="connsiteX27" fmla="*/ 6956 w 10115"/>
                  <a:gd name="connsiteY27" fmla="*/ 9703 h 10000"/>
                  <a:gd name="connsiteX28" fmla="*/ 6304 w 10115"/>
                  <a:gd name="connsiteY28" fmla="*/ 10000 h 10000"/>
                  <a:gd name="connsiteX29" fmla="*/ 4131 w 10115"/>
                  <a:gd name="connsiteY29" fmla="*/ 10000 h 10000"/>
                  <a:gd name="connsiteX0" fmla="*/ 4131 w 10078"/>
                  <a:gd name="connsiteY0" fmla="*/ 10000 h 10000"/>
                  <a:gd name="connsiteX1" fmla="*/ 4131 w 10078"/>
                  <a:gd name="connsiteY1" fmla="*/ 10000 h 10000"/>
                  <a:gd name="connsiteX2" fmla="*/ 3696 w 10078"/>
                  <a:gd name="connsiteY2" fmla="*/ 9851 h 10000"/>
                  <a:gd name="connsiteX3" fmla="*/ 2899 w 10078"/>
                  <a:gd name="connsiteY3" fmla="*/ 9554 h 10000"/>
                  <a:gd name="connsiteX4" fmla="*/ 1956 w 10078"/>
                  <a:gd name="connsiteY4" fmla="*/ 9059 h 10000"/>
                  <a:gd name="connsiteX5" fmla="*/ 1522 w 10078"/>
                  <a:gd name="connsiteY5" fmla="*/ 8762 h 10000"/>
                  <a:gd name="connsiteX6" fmla="*/ 1087 w 10078"/>
                  <a:gd name="connsiteY6" fmla="*/ 8366 h 10000"/>
                  <a:gd name="connsiteX7" fmla="*/ 652 w 10078"/>
                  <a:gd name="connsiteY7" fmla="*/ 7921 h 10000"/>
                  <a:gd name="connsiteX8" fmla="*/ 290 w 10078"/>
                  <a:gd name="connsiteY8" fmla="*/ 7475 h 10000"/>
                  <a:gd name="connsiteX9" fmla="*/ 73 w 10078"/>
                  <a:gd name="connsiteY9" fmla="*/ 6980 h 10000"/>
                  <a:gd name="connsiteX10" fmla="*/ 0 w 10078"/>
                  <a:gd name="connsiteY10" fmla="*/ 6436 h 10000"/>
                  <a:gd name="connsiteX11" fmla="*/ 73 w 10078"/>
                  <a:gd name="connsiteY11" fmla="*/ 5842 h 10000"/>
                  <a:gd name="connsiteX12" fmla="*/ 290 w 10078"/>
                  <a:gd name="connsiteY12" fmla="*/ 5198 h 10000"/>
                  <a:gd name="connsiteX13" fmla="*/ 869 w 10078"/>
                  <a:gd name="connsiteY13" fmla="*/ 4505 h 10000"/>
                  <a:gd name="connsiteX14" fmla="*/ 1594 w 10078"/>
                  <a:gd name="connsiteY14" fmla="*/ 3762 h 10000"/>
                  <a:gd name="connsiteX15" fmla="*/ 1594 w 10078"/>
                  <a:gd name="connsiteY15" fmla="*/ 3762 h 10000"/>
                  <a:gd name="connsiteX16" fmla="*/ 1956 w 10078"/>
                  <a:gd name="connsiteY16" fmla="*/ 3465 h 10000"/>
                  <a:gd name="connsiteX17" fmla="*/ 2609 w 10078"/>
                  <a:gd name="connsiteY17" fmla="*/ 2723 h 10000"/>
                  <a:gd name="connsiteX18" fmla="*/ 3044 w 10078"/>
                  <a:gd name="connsiteY18" fmla="*/ 2129 h 10000"/>
                  <a:gd name="connsiteX19" fmla="*/ 3333 w 10078"/>
                  <a:gd name="connsiteY19" fmla="*/ 1535 h 10000"/>
                  <a:gd name="connsiteX20" fmla="*/ 3551 w 10078"/>
                  <a:gd name="connsiteY20" fmla="*/ 792 h 10000"/>
                  <a:gd name="connsiteX21" fmla="*/ 3696 w 10078"/>
                  <a:gd name="connsiteY21" fmla="*/ 0 h 10000"/>
                  <a:gd name="connsiteX22" fmla="*/ 3696 w 10078"/>
                  <a:gd name="connsiteY22" fmla="*/ 0 h 10000"/>
                  <a:gd name="connsiteX23" fmla="*/ 4348 w 10078"/>
                  <a:gd name="connsiteY23" fmla="*/ 297 h 10000"/>
                  <a:gd name="connsiteX24" fmla="*/ 10000 w 10078"/>
                  <a:gd name="connsiteY24" fmla="*/ 5495 h 10000"/>
                  <a:gd name="connsiteX25" fmla="*/ 7609 w 10078"/>
                  <a:gd name="connsiteY25" fmla="*/ 9406 h 10000"/>
                  <a:gd name="connsiteX26" fmla="*/ 6956 w 10078"/>
                  <a:gd name="connsiteY26" fmla="*/ 9703 h 10000"/>
                  <a:gd name="connsiteX27" fmla="*/ 6304 w 10078"/>
                  <a:gd name="connsiteY27" fmla="*/ 10000 h 10000"/>
                  <a:gd name="connsiteX28" fmla="*/ 4131 w 10078"/>
                  <a:gd name="connsiteY28" fmla="*/ 10000 h 10000"/>
                  <a:gd name="connsiteX0" fmla="*/ 4131 w 10044"/>
                  <a:gd name="connsiteY0" fmla="*/ 10000 h 10000"/>
                  <a:gd name="connsiteX1" fmla="*/ 4131 w 10044"/>
                  <a:gd name="connsiteY1" fmla="*/ 10000 h 10000"/>
                  <a:gd name="connsiteX2" fmla="*/ 3696 w 10044"/>
                  <a:gd name="connsiteY2" fmla="*/ 9851 h 10000"/>
                  <a:gd name="connsiteX3" fmla="*/ 2899 w 10044"/>
                  <a:gd name="connsiteY3" fmla="*/ 9554 h 10000"/>
                  <a:gd name="connsiteX4" fmla="*/ 1956 w 10044"/>
                  <a:gd name="connsiteY4" fmla="*/ 9059 h 10000"/>
                  <a:gd name="connsiteX5" fmla="*/ 1522 w 10044"/>
                  <a:gd name="connsiteY5" fmla="*/ 8762 h 10000"/>
                  <a:gd name="connsiteX6" fmla="*/ 1087 w 10044"/>
                  <a:gd name="connsiteY6" fmla="*/ 8366 h 10000"/>
                  <a:gd name="connsiteX7" fmla="*/ 652 w 10044"/>
                  <a:gd name="connsiteY7" fmla="*/ 7921 h 10000"/>
                  <a:gd name="connsiteX8" fmla="*/ 290 w 10044"/>
                  <a:gd name="connsiteY8" fmla="*/ 7475 h 10000"/>
                  <a:gd name="connsiteX9" fmla="*/ 73 w 10044"/>
                  <a:gd name="connsiteY9" fmla="*/ 6980 h 10000"/>
                  <a:gd name="connsiteX10" fmla="*/ 0 w 10044"/>
                  <a:gd name="connsiteY10" fmla="*/ 6436 h 10000"/>
                  <a:gd name="connsiteX11" fmla="*/ 73 w 10044"/>
                  <a:gd name="connsiteY11" fmla="*/ 5842 h 10000"/>
                  <a:gd name="connsiteX12" fmla="*/ 290 w 10044"/>
                  <a:gd name="connsiteY12" fmla="*/ 5198 h 10000"/>
                  <a:gd name="connsiteX13" fmla="*/ 869 w 10044"/>
                  <a:gd name="connsiteY13" fmla="*/ 4505 h 10000"/>
                  <a:gd name="connsiteX14" fmla="*/ 1594 w 10044"/>
                  <a:gd name="connsiteY14" fmla="*/ 3762 h 10000"/>
                  <a:gd name="connsiteX15" fmla="*/ 1594 w 10044"/>
                  <a:gd name="connsiteY15" fmla="*/ 3762 h 10000"/>
                  <a:gd name="connsiteX16" fmla="*/ 1956 w 10044"/>
                  <a:gd name="connsiteY16" fmla="*/ 3465 h 10000"/>
                  <a:gd name="connsiteX17" fmla="*/ 2609 w 10044"/>
                  <a:gd name="connsiteY17" fmla="*/ 2723 h 10000"/>
                  <a:gd name="connsiteX18" fmla="*/ 3044 w 10044"/>
                  <a:gd name="connsiteY18" fmla="*/ 2129 h 10000"/>
                  <a:gd name="connsiteX19" fmla="*/ 3333 w 10044"/>
                  <a:gd name="connsiteY19" fmla="*/ 1535 h 10000"/>
                  <a:gd name="connsiteX20" fmla="*/ 3551 w 10044"/>
                  <a:gd name="connsiteY20" fmla="*/ 792 h 10000"/>
                  <a:gd name="connsiteX21" fmla="*/ 3696 w 10044"/>
                  <a:gd name="connsiteY21" fmla="*/ 0 h 10000"/>
                  <a:gd name="connsiteX22" fmla="*/ 3696 w 10044"/>
                  <a:gd name="connsiteY22" fmla="*/ 0 h 10000"/>
                  <a:gd name="connsiteX23" fmla="*/ 4348 w 10044"/>
                  <a:gd name="connsiteY23" fmla="*/ 297 h 10000"/>
                  <a:gd name="connsiteX24" fmla="*/ 10000 w 10044"/>
                  <a:gd name="connsiteY24" fmla="*/ 5495 h 10000"/>
                  <a:gd name="connsiteX25" fmla="*/ 6956 w 10044"/>
                  <a:gd name="connsiteY25" fmla="*/ 9703 h 10000"/>
                  <a:gd name="connsiteX26" fmla="*/ 6304 w 10044"/>
                  <a:gd name="connsiteY26" fmla="*/ 10000 h 10000"/>
                  <a:gd name="connsiteX27" fmla="*/ 4131 w 10044"/>
                  <a:gd name="connsiteY27"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4131 w 10024"/>
                  <a:gd name="connsiteY26"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5029 w 10024"/>
                  <a:gd name="connsiteY26" fmla="*/ 9977 h 10000"/>
                  <a:gd name="connsiteX27" fmla="*/ 4131 w 10024"/>
                  <a:gd name="connsiteY27" fmla="*/ 10000 h 10000"/>
                  <a:gd name="connsiteX0" fmla="*/ 4131 w 10002"/>
                  <a:gd name="connsiteY0" fmla="*/ 10000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26" fmla="*/ 4131 w 10002"/>
                  <a:gd name="connsiteY26" fmla="*/ 10000 h 10000"/>
                  <a:gd name="connsiteX0" fmla="*/ 5029 w 10002"/>
                  <a:gd name="connsiteY0" fmla="*/ 9977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3696 w 10002"/>
                  <a:gd name="connsiteY2" fmla="*/ 9851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10000"/>
                  <a:gd name="connsiteX1" fmla="*/ 4131 w 10002"/>
                  <a:gd name="connsiteY1" fmla="*/ 10000 h 10000"/>
                  <a:gd name="connsiteX2" fmla="*/ 3696 w 10002"/>
                  <a:gd name="connsiteY2" fmla="*/ 9851 h 10000"/>
                  <a:gd name="connsiteX3" fmla="*/ 2984 w 10002"/>
                  <a:gd name="connsiteY3" fmla="*/ 9495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2984 w 10002"/>
                  <a:gd name="connsiteY2" fmla="*/ 9495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9977"/>
                  <a:gd name="connsiteX1" fmla="*/ 2984 w 10002"/>
                  <a:gd name="connsiteY1" fmla="*/ 9495 h 9977"/>
                  <a:gd name="connsiteX2" fmla="*/ 1956 w 10002"/>
                  <a:gd name="connsiteY2" fmla="*/ 9059 h 9977"/>
                  <a:gd name="connsiteX3" fmla="*/ 1522 w 10002"/>
                  <a:gd name="connsiteY3" fmla="*/ 8762 h 9977"/>
                  <a:gd name="connsiteX4" fmla="*/ 1087 w 10002"/>
                  <a:gd name="connsiteY4" fmla="*/ 8366 h 9977"/>
                  <a:gd name="connsiteX5" fmla="*/ 652 w 10002"/>
                  <a:gd name="connsiteY5" fmla="*/ 7921 h 9977"/>
                  <a:gd name="connsiteX6" fmla="*/ 290 w 10002"/>
                  <a:gd name="connsiteY6" fmla="*/ 7475 h 9977"/>
                  <a:gd name="connsiteX7" fmla="*/ 73 w 10002"/>
                  <a:gd name="connsiteY7" fmla="*/ 6980 h 9977"/>
                  <a:gd name="connsiteX8" fmla="*/ 0 w 10002"/>
                  <a:gd name="connsiteY8" fmla="*/ 6436 h 9977"/>
                  <a:gd name="connsiteX9" fmla="*/ 73 w 10002"/>
                  <a:gd name="connsiteY9" fmla="*/ 5842 h 9977"/>
                  <a:gd name="connsiteX10" fmla="*/ 290 w 10002"/>
                  <a:gd name="connsiteY10" fmla="*/ 5198 h 9977"/>
                  <a:gd name="connsiteX11" fmla="*/ 869 w 10002"/>
                  <a:gd name="connsiteY11" fmla="*/ 4505 h 9977"/>
                  <a:gd name="connsiteX12" fmla="*/ 1594 w 10002"/>
                  <a:gd name="connsiteY12" fmla="*/ 3762 h 9977"/>
                  <a:gd name="connsiteX13" fmla="*/ 1594 w 10002"/>
                  <a:gd name="connsiteY13" fmla="*/ 3762 h 9977"/>
                  <a:gd name="connsiteX14" fmla="*/ 1956 w 10002"/>
                  <a:gd name="connsiteY14" fmla="*/ 3465 h 9977"/>
                  <a:gd name="connsiteX15" fmla="*/ 2609 w 10002"/>
                  <a:gd name="connsiteY15" fmla="*/ 2723 h 9977"/>
                  <a:gd name="connsiteX16" fmla="*/ 3044 w 10002"/>
                  <a:gd name="connsiteY16" fmla="*/ 2129 h 9977"/>
                  <a:gd name="connsiteX17" fmla="*/ 3333 w 10002"/>
                  <a:gd name="connsiteY17" fmla="*/ 1535 h 9977"/>
                  <a:gd name="connsiteX18" fmla="*/ 3551 w 10002"/>
                  <a:gd name="connsiteY18" fmla="*/ 792 h 9977"/>
                  <a:gd name="connsiteX19" fmla="*/ 3696 w 10002"/>
                  <a:gd name="connsiteY19" fmla="*/ 0 h 9977"/>
                  <a:gd name="connsiteX20" fmla="*/ 3696 w 10002"/>
                  <a:gd name="connsiteY20" fmla="*/ 0 h 9977"/>
                  <a:gd name="connsiteX21" fmla="*/ 4348 w 10002"/>
                  <a:gd name="connsiteY21" fmla="*/ 297 h 9977"/>
                  <a:gd name="connsiteX22" fmla="*/ 10000 w 10002"/>
                  <a:gd name="connsiteY22" fmla="*/ 5495 h 9977"/>
                  <a:gd name="connsiteX23" fmla="*/ 5029 w 10002"/>
                  <a:gd name="connsiteY23" fmla="*/ 9977 h 9977"/>
                  <a:gd name="connsiteX0" fmla="*/ 5028 w 10000"/>
                  <a:gd name="connsiteY0" fmla="*/ 10000 h 10000"/>
                  <a:gd name="connsiteX1" fmla="*/ 1956 w 10000"/>
                  <a:gd name="connsiteY1" fmla="*/ 9080 h 10000"/>
                  <a:gd name="connsiteX2" fmla="*/ 1522 w 10000"/>
                  <a:gd name="connsiteY2" fmla="*/ 8782 h 10000"/>
                  <a:gd name="connsiteX3" fmla="*/ 1087 w 10000"/>
                  <a:gd name="connsiteY3" fmla="*/ 8385 h 10000"/>
                  <a:gd name="connsiteX4" fmla="*/ 652 w 10000"/>
                  <a:gd name="connsiteY4" fmla="*/ 7939 h 10000"/>
                  <a:gd name="connsiteX5" fmla="*/ 290 w 10000"/>
                  <a:gd name="connsiteY5" fmla="*/ 7492 h 10000"/>
                  <a:gd name="connsiteX6" fmla="*/ 73 w 10000"/>
                  <a:gd name="connsiteY6" fmla="*/ 6996 h 10000"/>
                  <a:gd name="connsiteX7" fmla="*/ 0 w 10000"/>
                  <a:gd name="connsiteY7" fmla="*/ 6451 h 10000"/>
                  <a:gd name="connsiteX8" fmla="*/ 73 w 10000"/>
                  <a:gd name="connsiteY8" fmla="*/ 5855 h 10000"/>
                  <a:gd name="connsiteX9" fmla="*/ 290 w 10000"/>
                  <a:gd name="connsiteY9" fmla="*/ 5210 h 10000"/>
                  <a:gd name="connsiteX10" fmla="*/ 869 w 10000"/>
                  <a:gd name="connsiteY10" fmla="*/ 4515 h 10000"/>
                  <a:gd name="connsiteX11" fmla="*/ 1594 w 10000"/>
                  <a:gd name="connsiteY11" fmla="*/ 3771 h 10000"/>
                  <a:gd name="connsiteX12" fmla="*/ 1594 w 10000"/>
                  <a:gd name="connsiteY12" fmla="*/ 3771 h 10000"/>
                  <a:gd name="connsiteX13" fmla="*/ 1956 w 10000"/>
                  <a:gd name="connsiteY13" fmla="*/ 3473 h 10000"/>
                  <a:gd name="connsiteX14" fmla="*/ 2608 w 10000"/>
                  <a:gd name="connsiteY14" fmla="*/ 2729 h 10000"/>
                  <a:gd name="connsiteX15" fmla="*/ 3043 w 10000"/>
                  <a:gd name="connsiteY15" fmla="*/ 2134 h 10000"/>
                  <a:gd name="connsiteX16" fmla="*/ 3332 w 10000"/>
                  <a:gd name="connsiteY16" fmla="*/ 1539 h 10000"/>
                  <a:gd name="connsiteX17" fmla="*/ 3550 w 10000"/>
                  <a:gd name="connsiteY17" fmla="*/ 794 h 10000"/>
                  <a:gd name="connsiteX18" fmla="*/ 3695 w 10000"/>
                  <a:gd name="connsiteY18" fmla="*/ 0 h 10000"/>
                  <a:gd name="connsiteX19" fmla="*/ 3695 w 10000"/>
                  <a:gd name="connsiteY19" fmla="*/ 0 h 10000"/>
                  <a:gd name="connsiteX20" fmla="*/ 4347 w 10000"/>
                  <a:gd name="connsiteY20" fmla="*/ 298 h 10000"/>
                  <a:gd name="connsiteX21" fmla="*/ 9998 w 10000"/>
                  <a:gd name="connsiteY21" fmla="*/ 5508 h 10000"/>
                  <a:gd name="connsiteX22" fmla="*/ 5028 w 10000"/>
                  <a:gd name="connsiteY22" fmla="*/ 10000 h 10000"/>
                  <a:gd name="connsiteX0" fmla="*/ 5028 w 10000"/>
                  <a:gd name="connsiteY0" fmla="*/ 10000 h 10000"/>
                  <a:gd name="connsiteX1" fmla="*/ 1956 w 10000"/>
                  <a:gd name="connsiteY1" fmla="*/ 9080 h 10000"/>
                  <a:gd name="connsiteX2" fmla="*/ 1087 w 10000"/>
                  <a:gd name="connsiteY2" fmla="*/ 8385 h 10000"/>
                  <a:gd name="connsiteX3" fmla="*/ 652 w 10000"/>
                  <a:gd name="connsiteY3" fmla="*/ 7939 h 10000"/>
                  <a:gd name="connsiteX4" fmla="*/ 290 w 10000"/>
                  <a:gd name="connsiteY4" fmla="*/ 7492 h 10000"/>
                  <a:gd name="connsiteX5" fmla="*/ 73 w 10000"/>
                  <a:gd name="connsiteY5" fmla="*/ 6996 h 10000"/>
                  <a:gd name="connsiteX6" fmla="*/ 0 w 10000"/>
                  <a:gd name="connsiteY6" fmla="*/ 6451 h 10000"/>
                  <a:gd name="connsiteX7" fmla="*/ 73 w 10000"/>
                  <a:gd name="connsiteY7" fmla="*/ 5855 h 10000"/>
                  <a:gd name="connsiteX8" fmla="*/ 290 w 10000"/>
                  <a:gd name="connsiteY8" fmla="*/ 5210 h 10000"/>
                  <a:gd name="connsiteX9" fmla="*/ 869 w 10000"/>
                  <a:gd name="connsiteY9" fmla="*/ 4515 h 10000"/>
                  <a:gd name="connsiteX10" fmla="*/ 1594 w 10000"/>
                  <a:gd name="connsiteY10" fmla="*/ 3771 h 10000"/>
                  <a:gd name="connsiteX11" fmla="*/ 1594 w 10000"/>
                  <a:gd name="connsiteY11" fmla="*/ 3771 h 10000"/>
                  <a:gd name="connsiteX12" fmla="*/ 1956 w 10000"/>
                  <a:gd name="connsiteY12" fmla="*/ 3473 h 10000"/>
                  <a:gd name="connsiteX13" fmla="*/ 2608 w 10000"/>
                  <a:gd name="connsiteY13" fmla="*/ 2729 h 10000"/>
                  <a:gd name="connsiteX14" fmla="*/ 3043 w 10000"/>
                  <a:gd name="connsiteY14" fmla="*/ 2134 h 10000"/>
                  <a:gd name="connsiteX15" fmla="*/ 3332 w 10000"/>
                  <a:gd name="connsiteY15" fmla="*/ 1539 h 10000"/>
                  <a:gd name="connsiteX16" fmla="*/ 3550 w 10000"/>
                  <a:gd name="connsiteY16" fmla="*/ 794 h 10000"/>
                  <a:gd name="connsiteX17" fmla="*/ 3695 w 10000"/>
                  <a:gd name="connsiteY17" fmla="*/ 0 h 10000"/>
                  <a:gd name="connsiteX18" fmla="*/ 3695 w 10000"/>
                  <a:gd name="connsiteY18" fmla="*/ 0 h 10000"/>
                  <a:gd name="connsiteX19" fmla="*/ 4347 w 10000"/>
                  <a:gd name="connsiteY19" fmla="*/ 298 h 10000"/>
                  <a:gd name="connsiteX20" fmla="*/ 9998 w 10000"/>
                  <a:gd name="connsiteY20" fmla="*/ 5508 h 10000"/>
                  <a:gd name="connsiteX21" fmla="*/ 5028 w 10000"/>
                  <a:gd name="connsiteY21" fmla="*/ 10000 h 10000"/>
                  <a:gd name="connsiteX0" fmla="*/ 5028 w 10000"/>
                  <a:gd name="connsiteY0" fmla="*/ 10000 h 10000"/>
                  <a:gd name="connsiteX1" fmla="*/ 1087 w 10000"/>
                  <a:gd name="connsiteY1" fmla="*/ 8385 h 10000"/>
                  <a:gd name="connsiteX2" fmla="*/ 652 w 10000"/>
                  <a:gd name="connsiteY2" fmla="*/ 7939 h 10000"/>
                  <a:gd name="connsiteX3" fmla="*/ 290 w 10000"/>
                  <a:gd name="connsiteY3" fmla="*/ 7492 h 10000"/>
                  <a:gd name="connsiteX4" fmla="*/ 73 w 10000"/>
                  <a:gd name="connsiteY4" fmla="*/ 6996 h 10000"/>
                  <a:gd name="connsiteX5" fmla="*/ 0 w 10000"/>
                  <a:gd name="connsiteY5" fmla="*/ 6451 h 10000"/>
                  <a:gd name="connsiteX6" fmla="*/ 73 w 10000"/>
                  <a:gd name="connsiteY6" fmla="*/ 5855 h 10000"/>
                  <a:gd name="connsiteX7" fmla="*/ 290 w 10000"/>
                  <a:gd name="connsiteY7" fmla="*/ 5210 h 10000"/>
                  <a:gd name="connsiteX8" fmla="*/ 869 w 10000"/>
                  <a:gd name="connsiteY8" fmla="*/ 4515 h 10000"/>
                  <a:gd name="connsiteX9" fmla="*/ 1594 w 10000"/>
                  <a:gd name="connsiteY9" fmla="*/ 3771 h 10000"/>
                  <a:gd name="connsiteX10" fmla="*/ 1594 w 10000"/>
                  <a:gd name="connsiteY10" fmla="*/ 3771 h 10000"/>
                  <a:gd name="connsiteX11" fmla="*/ 1956 w 10000"/>
                  <a:gd name="connsiteY11" fmla="*/ 3473 h 10000"/>
                  <a:gd name="connsiteX12" fmla="*/ 2608 w 10000"/>
                  <a:gd name="connsiteY12" fmla="*/ 2729 h 10000"/>
                  <a:gd name="connsiteX13" fmla="*/ 3043 w 10000"/>
                  <a:gd name="connsiteY13" fmla="*/ 2134 h 10000"/>
                  <a:gd name="connsiteX14" fmla="*/ 3332 w 10000"/>
                  <a:gd name="connsiteY14" fmla="*/ 1539 h 10000"/>
                  <a:gd name="connsiteX15" fmla="*/ 3550 w 10000"/>
                  <a:gd name="connsiteY15" fmla="*/ 794 h 10000"/>
                  <a:gd name="connsiteX16" fmla="*/ 3695 w 10000"/>
                  <a:gd name="connsiteY16" fmla="*/ 0 h 10000"/>
                  <a:gd name="connsiteX17" fmla="*/ 3695 w 10000"/>
                  <a:gd name="connsiteY17" fmla="*/ 0 h 10000"/>
                  <a:gd name="connsiteX18" fmla="*/ 4347 w 10000"/>
                  <a:gd name="connsiteY18" fmla="*/ 298 h 10000"/>
                  <a:gd name="connsiteX19" fmla="*/ 9998 w 10000"/>
                  <a:gd name="connsiteY19" fmla="*/ 5508 h 10000"/>
                  <a:gd name="connsiteX20" fmla="*/ 5028 w 10000"/>
                  <a:gd name="connsiteY20" fmla="*/ 10000 h 10000"/>
                  <a:gd name="connsiteX0" fmla="*/ 5028 w 10000"/>
                  <a:gd name="connsiteY0" fmla="*/ 10000 h 10000"/>
                  <a:gd name="connsiteX1" fmla="*/ 652 w 10000"/>
                  <a:gd name="connsiteY1" fmla="*/ 7939 h 10000"/>
                  <a:gd name="connsiteX2" fmla="*/ 290 w 10000"/>
                  <a:gd name="connsiteY2" fmla="*/ 7492 h 10000"/>
                  <a:gd name="connsiteX3" fmla="*/ 73 w 10000"/>
                  <a:gd name="connsiteY3" fmla="*/ 6996 h 10000"/>
                  <a:gd name="connsiteX4" fmla="*/ 0 w 10000"/>
                  <a:gd name="connsiteY4" fmla="*/ 6451 h 10000"/>
                  <a:gd name="connsiteX5" fmla="*/ 73 w 10000"/>
                  <a:gd name="connsiteY5" fmla="*/ 5855 h 10000"/>
                  <a:gd name="connsiteX6" fmla="*/ 290 w 10000"/>
                  <a:gd name="connsiteY6" fmla="*/ 5210 h 10000"/>
                  <a:gd name="connsiteX7" fmla="*/ 869 w 10000"/>
                  <a:gd name="connsiteY7" fmla="*/ 4515 h 10000"/>
                  <a:gd name="connsiteX8" fmla="*/ 1594 w 10000"/>
                  <a:gd name="connsiteY8" fmla="*/ 3771 h 10000"/>
                  <a:gd name="connsiteX9" fmla="*/ 1594 w 10000"/>
                  <a:gd name="connsiteY9" fmla="*/ 3771 h 10000"/>
                  <a:gd name="connsiteX10" fmla="*/ 1956 w 10000"/>
                  <a:gd name="connsiteY10" fmla="*/ 3473 h 10000"/>
                  <a:gd name="connsiteX11" fmla="*/ 2608 w 10000"/>
                  <a:gd name="connsiteY11" fmla="*/ 2729 h 10000"/>
                  <a:gd name="connsiteX12" fmla="*/ 3043 w 10000"/>
                  <a:gd name="connsiteY12" fmla="*/ 2134 h 10000"/>
                  <a:gd name="connsiteX13" fmla="*/ 3332 w 10000"/>
                  <a:gd name="connsiteY13" fmla="*/ 1539 h 10000"/>
                  <a:gd name="connsiteX14" fmla="*/ 3550 w 10000"/>
                  <a:gd name="connsiteY14" fmla="*/ 794 h 10000"/>
                  <a:gd name="connsiteX15" fmla="*/ 3695 w 10000"/>
                  <a:gd name="connsiteY15" fmla="*/ 0 h 10000"/>
                  <a:gd name="connsiteX16" fmla="*/ 3695 w 10000"/>
                  <a:gd name="connsiteY16" fmla="*/ 0 h 10000"/>
                  <a:gd name="connsiteX17" fmla="*/ 4347 w 10000"/>
                  <a:gd name="connsiteY17" fmla="*/ 298 h 10000"/>
                  <a:gd name="connsiteX18" fmla="*/ 9998 w 10000"/>
                  <a:gd name="connsiteY18" fmla="*/ 5508 h 10000"/>
                  <a:gd name="connsiteX19" fmla="*/ 5028 w 10000"/>
                  <a:gd name="connsiteY19" fmla="*/ 10000 h 10000"/>
                  <a:gd name="connsiteX0" fmla="*/ 5028 w 10000"/>
                  <a:gd name="connsiteY0" fmla="*/ 10000 h 10000"/>
                  <a:gd name="connsiteX1" fmla="*/ 290 w 10000"/>
                  <a:gd name="connsiteY1" fmla="*/ 7492 h 10000"/>
                  <a:gd name="connsiteX2" fmla="*/ 73 w 10000"/>
                  <a:gd name="connsiteY2" fmla="*/ 6996 h 10000"/>
                  <a:gd name="connsiteX3" fmla="*/ 0 w 10000"/>
                  <a:gd name="connsiteY3" fmla="*/ 6451 h 10000"/>
                  <a:gd name="connsiteX4" fmla="*/ 73 w 10000"/>
                  <a:gd name="connsiteY4" fmla="*/ 5855 h 10000"/>
                  <a:gd name="connsiteX5" fmla="*/ 290 w 10000"/>
                  <a:gd name="connsiteY5" fmla="*/ 5210 h 10000"/>
                  <a:gd name="connsiteX6" fmla="*/ 869 w 10000"/>
                  <a:gd name="connsiteY6" fmla="*/ 4515 h 10000"/>
                  <a:gd name="connsiteX7" fmla="*/ 1594 w 10000"/>
                  <a:gd name="connsiteY7" fmla="*/ 3771 h 10000"/>
                  <a:gd name="connsiteX8" fmla="*/ 1594 w 10000"/>
                  <a:gd name="connsiteY8" fmla="*/ 3771 h 10000"/>
                  <a:gd name="connsiteX9" fmla="*/ 1956 w 10000"/>
                  <a:gd name="connsiteY9" fmla="*/ 3473 h 10000"/>
                  <a:gd name="connsiteX10" fmla="*/ 2608 w 10000"/>
                  <a:gd name="connsiteY10" fmla="*/ 2729 h 10000"/>
                  <a:gd name="connsiteX11" fmla="*/ 3043 w 10000"/>
                  <a:gd name="connsiteY11" fmla="*/ 2134 h 10000"/>
                  <a:gd name="connsiteX12" fmla="*/ 3332 w 10000"/>
                  <a:gd name="connsiteY12" fmla="*/ 1539 h 10000"/>
                  <a:gd name="connsiteX13" fmla="*/ 3550 w 10000"/>
                  <a:gd name="connsiteY13" fmla="*/ 794 h 10000"/>
                  <a:gd name="connsiteX14" fmla="*/ 3695 w 10000"/>
                  <a:gd name="connsiteY14" fmla="*/ 0 h 10000"/>
                  <a:gd name="connsiteX15" fmla="*/ 3695 w 10000"/>
                  <a:gd name="connsiteY15" fmla="*/ 0 h 10000"/>
                  <a:gd name="connsiteX16" fmla="*/ 4347 w 10000"/>
                  <a:gd name="connsiteY16" fmla="*/ 298 h 10000"/>
                  <a:gd name="connsiteX17" fmla="*/ 9998 w 10000"/>
                  <a:gd name="connsiteY17" fmla="*/ 5508 h 10000"/>
                  <a:gd name="connsiteX18" fmla="*/ 5028 w 10000"/>
                  <a:gd name="connsiteY18" fmla="*/ 10000 h 10000"/>
                  <a:gd name="connsiteX0" fmla="*/ 5028 w 10000"/>
                  <a:gd name="connsiteY0" fmla="*/ 10000 h 10000"/>
                  <a:gd name="connsiteX1" fmla="*/ 73 w 10000"/>
                  <a:gd name="connsiteY1" fmla="*/ 6996 h 10000"/>
                  <a:gd name="connsiteX2" fmla="*/ 0 w 10000"/>
                  <a:gd name="connsiteY2" fmla="*/ 6451 h 10000"/>
                  <a:gd name="connsiteX3" fmla="*/ 73 w 10000"/>
                  <a:gd name="connsiteY3" fmla="*/ 5855 h 10000"/>
                  <a:gd name="connsiteX4" fmla="*/ 290 w 10000"/>
                  <a:gd name="connsiteY4" fmla="*/ 5210 h 10000"/>
                  <a:gd name="connsiteX5" fmla="*/ 869 w 10000"/>
                  <a:gd name="connsiteY5" fmla="*/ 4515 h 10000"/>
                  <a:gd name="connsiteX6" fmla="*/ 1594 w 10000"/>
                  <a:gd name="connsiteY6" fmla="*/ 3771 h 10000"/>
                  <a:gd name="connsiteX7" fmla="*/ 1594 w 10000"/>
                  <a:gd name="connsiteY7" fmla="*/ 3771 h 10000"/>
                  <a:gd name="connsiteX8" fmla="*/ 1956 w 10000"/>
                  <a:gd name="connsiteY8" fmla="*/ 3473 h 10000"/>
                  <a:gd name="connsiteX9" fmla="*/ 2608 w 10000"/>
                  <a:gd name="connsiteY9" fmla="*/ 2729 h 10000"/>
                  <a:gd name="connsiteX10" fmla="*/ 3043 w 10000"/>
                  <a:gd name="connsiteY10" fmla="*/ 2134 h 10000"/>
                  <a:gd name="connsiteX11" fmla="*/ 3332 w 10000"/>
                  <a:gd name="connsiteY11" fmla="*/ 1539 h 10000"/>
                  <a:gd name="connsiteX12" fmla="*/ 3550 w 10000"/>
                  <a:gd name="connsiteY12" fmla="*/ 794 h 10000"/>
                  <a:gd name="connsiteX13" fmla="*/ 3695 w 10000"/>
                  <a:gd name="connsiteY13" fmla="*/ 0 h 10000"/>
                  <a:gd name="connsiteX14" fmla="*/ 3695 w 10000"/>
                  <a:gd name="connsiteY14" fmla="*/ 0 h 10000"/>
                  <a:gd name="connsiteX15" fmla="*/ 4347 w 10000"/>
                  <a:gd name="connsiteY15" fmla="*/ 298 h 10000"/>
                  <a:gd name="connsiteX16" fmla="*/ 9998 w 10000"/>
                  <a:gd name="connsiteY16" fmla="*/ 5508 h 10000"/>
                  <a:gd name="connsiteX17" fmla="*/ 5028 w 10000"/>
                  <a:gd name="connsiteY17" fmla="*/ 10000 h 10000"/>
                  <a:gd name="connsiteX0" fmla="*/ 5028 w 10000"/>
                  <a:gd name="connsiteY0" fmla="*/ 10000 h 10000"/>
                  <a:gd name="connsiteX1" fmla="*/ 0 w 10000"/>
                  <a:gd name="connsiteY1" fmla="*/ 6451 h 10000"/>
                  <a:gd name="connsiteX2" fmla="*/ 73 w 10000"/>
                  <a:gd name="connsiteY2" fmla="*/ 5855 h 10000"/>
                  <a:gd name="connsiteX3" fmla="*/ 290 w 10000"/>
                  <a:gd name="connsiteY3" fmla="*/ 5210 h 10000"/>
                  <a:gd name="connsiteX4" fmla="*/ 869 w 10000"/>
                  <a:gd name="connsiteY4" fmla="*/ 4515 h 10000"/>
                  <a:gd name="connsiteX5" fmla="*/ 1594 w 10000"/>
                  <a:gd name="connsiteY5" fmla="*/ 3771 h 10000"/>
                  <a:gd name="connsiteX6" fmla="*/ 1594 w 10000"/>
                  <a:gd name="connsiteY6" fmla="*/ 3771 h 10000"/>
                  <a:gd name="connsiteX7" fmla="*/ 1956 w 10000"/>
                  <a:gd name="connsiteY7" fmla="*/ 3473 h 10000"/>
                  <a:gd name="connsiteX8" fmla="*/ 2608 w 10000"/>
                  <a:gd name="connsiteY8" fmla="*/ 2729 h 10000"/>
                  <a:gd name="connsiteX9" fmla="*/ 3043 w 10000"/>
                  <a:gd name="connsiteY9" fmla="*/ 2134 h 10000"/>
                  <a:gd name="connsiteX10" fmla="*/ 3332 w 10000"/>
                  <a:gd name="connsiteY10" fmla="*/ 1539 h 10000"/>
                  <a:gd name="connsiteX11" fmla="*/ 3550 w 10000"/>
                  <a:gd name="connsiteY11" fmla="*/ 794 h 10000"/>
                  <a:gd name="connsiteX12" fmla="*/ 3695 w 10000"/>
                  <a:gd name="connsiteY12" fmla="*/ 0 h 10000"/>
                  <a:gd name="connsiteX13" fmla="*/ 3695 w 10000"/>
                  <a:gd name="connsiteY13" fmla="*/ 0 h 10000"/>
                  <a:gd name="connsiteX14" fmla="*/ 4347 w 10000"/>
                  <a:gd name="connsiteY14" fmla="*/ 298 h 10000"/>
                  <a:gd name="connsiteX15" fmla="*/ 9998 w 10000"/>
                  <a:gd name="connsiteY15" fmla="*/ 5508 h 10000"/>
                  <a:gd name="connsiteX16" fmla="*/ 5028 w 10000"/>
                  <a:gd name="connsiteY16" fmla="*/ 10000 h 10000"/>
                  <a:gd name="connsiteX0" fmla="*/ 4955 w 9927"/>
                  <a:gd name="connsiteY0" fmla="*/ 10000 h 10000"/>
                  <a:gd name="connsiteX1" fmla="*/ 0 w 9927"/>
                  <a:gd name="connsiteY1" fmla="*/ 5855 h 10000"/>
                  <a:gd name="connsiteX2" fmla="*/ 217 w 9927"/>
                  <a:gd name="connsiteY2" fmla="*/ 5210 h 10000"/>
                  <a:gd name="connsiteX3" fmla="*/ 796 w 9927"/>
                  <a:gd name="connsiteY3" fmla="*/ 4515 h 10000"/>
                  <a:gd name="connsiteX4" fmla="*/ 1521 w 9927"/>
                  <a:gd name="connsiteY4" fmla="*/ 3771 h 10000"/>
                  <a:gd name="connsiteX5" fmla="*/ 1521 w 9927"/>
                  <a:gd name="connsiteY5" fmla="*/ 3771 h 10000"/>
                  <a:gd name="connsiteX6" fmla="*/ 1883 w 9927"/>
                  <a:gd name="connsiteY6" fmla="*/ 3473 h 10000"/>
                  <a:gd name="connsiteX7" fmla="*/ 2535 w 9927"/>
                  <a:gd name="connsiteY7" fmla="*/ 2729 h 10000"/>
                  <a:gd name="connsiteX8" fmla="*/ 2970 w 9927"/>
                  <a:gd name="connsiteY8" fmla="*/ 2134 h 10000"/>
                  <a:gd name="connsiteX9" fmla="*/ 3259 w 9927"/>
                  <a:gd name="connsiteY9" fmla="*/ 1539 h 10000"/>
                  <a:gd name="connsiteX10" fmla="*/ 3477 w 9927"/>
                  <a:gd name="connsiteY10" fmla="*/ 794 h 10000"/>
                  <a:gd name="connsiteX11" fmla="*/ 3622 w 9927"/>
                  <a:gd name="connsiteY11" fmla="*/ 0 h 10000"/>
                  <a:gd name="connsiteX12" fmla="*/ 3622 w 9927"/>
                  <a:gd name="connsiteY12" fmla="*/ 0 h 10000"/>
                  <a:gd name="connsiteX13" fmla="*/ 4274 w 9927"/>
                  <a:gd name="connsiteY13" fmla="*/ 298 h 10000"/>
                  <a:gd name="connsiteX14" fmla="*/ 9925 w 9927"/>
                  <a:gd name="connsiteY14" fmla="*/ 5508 h 10000"/>
                  <a:gd name="connsiteX15" fmla="*/ 4955 w 9927"/>
                  <a:gd name="connsiteY15" fmla="*/ 10000 h 10000"/>
                  <a:gd name="connsiteX0" fmla="*/ 4991 w 10000"/>
                  <a:gd name="connsiteY0" fmla="*/ 10000 h 10000"/>
                  <a:gd name="connsiteX1" fmla="*/ 0 w 10000"/>
                  <a:gd name="connsiteY1" fmla="*/ 5855 h 10000"/>
                  <a:gd name="connsiteX2" fmla="*/ 802 w 10000"/>
                  <a:gd name="connsiteY2" fmla="*/ 4515 h 10000"/>
                  <a:gd name="connsiteX3" fmla="*/ 1532 w 10000"/>
                  <a:gd name="connsiteY3" fmla="*/ 3771 h 10000"/>
                  <a:gd name="connsiteX4" fmla="*/ 1532 w 10000"/>
                  <a:gd name="connsiteY4" fmla="*/ 3771 h 10000"/>
                  <a:gd name="connsiteX5" fmla="*/ 1897 w 10000"/>
                  <a:gd name="connsiteY5" fmla="*/ 3473 h 10000"/>
                  <a:gd name="connsiteX6" fmla="*/ 2554 w 10000"/>
                  <a:gd name="connsiteY6" fmla="*/ 2729 h 10000"/>
                  <a:gd name="connsiteX7" fmla="*/ 2992 w 10000"/>
                  <a:gd name="connsiteY7" fmla="*/ 2134 h 10000"/>
                  <a:gd name="connsiteX8" fmla="*/ 3283 w 10000"/>
                  <a:gd name="connsiteY8" fmla="*/ 1539 h 10000"/>
                  <a:gd name="connsiteX9" fmla="*/ 3503 w 10000"/>
                  <a:gd name="connsiteY9" fmla="*/ 794 h 10000"/>
                  <a:gd name="connsiteX10" fmla="*/ 3649 w 10000"/>
                  <a:gd name="connsiteY10" fmla="*/ 0 h 10000"/>
                  <a:gd name="connsiteX11" fmla="*/ 3649 w 10000"/>
                  <a:gd name="connsiteY11" fmla="*/ 0 h 10000"/>
                  <a:gd name="connsiteX12" fmla="*/ 4305 w 10000"/>
                  <a:gd name="connsiteY12" fmla="*/ 298 h 10000"/>
                  <a:gd name="connsiteX13" fmla="*/ 9998 w 10000"/>
                  <a:gd name="connsiteY13" fmla="*/ 5508 h 10000"/>
                  <a:gd name="connsiteX14" fmla="*/ 4991 w 10000"/>
                  <a:gd name="connsiteY14" fmla="*/ 10000 h 10000"/>
                  <a:gd name="connsiteX0" fmla="*/ 4991 w 10000"/>
                  <a:gd name="connsiteY0" fmla="*/ 10000 h 10000"/>
                  <a:gd name="connsiteX1" fmla="*/ 0 w 10000"/>
                  <a:gd name="connsiteY1" fmla="*/ 5855 h 10000"/>
                  <a:gd name="connsiteX2" fmla="*/ 1532 w 10000"/>
                  <a:gd name="connsiteY2" fmla="*/ 3771 h 10000"/>
                  <a:gd name="connsiteX3" fmla="*/ 1532 w 10000"/>
                  <a:gd name="connsiteY3" fmla="*/ 3771 h 10000"/>
                  <a:gd name="connsiteX4" fmla="*/ 1897 w 10000"/>
                  <a:gd name="connsiteY4" fmla="*/ 3473 h 10000"/>
                  <a:gd name="connsiteX5" fmla="*/ 2554 w 10000"/>
                  <a:gd name="connsiteY5" fmla="*/ 2729 h 10000"/>
                  <a:gd name="connsiteX6" fmla="*/ 2992 w 10000"/>
                  <a:gd name="connsiteY6" fmla="*/ 2134 h 10000"/>
                  <a:gd name="connsiteX7" fmla="*/ 3283 w 10000"/>
                  <a:gd name="connsiteY7" fmla="*/ 1539 h 10000"/>
                  <a:gd name="connsiteX8" fmla="*/ 3503 w 10000"/>
                  <a:gd name="connsiteY8" fmla="*/ 794 h 10000"/>
                  <a:gd name="connsiteX9" fmla="*/ 3649 w 10000"/>
                  <a:gd name="connsiteY9" fmla="*/ 0 h 10000"/>
                  <a:gd name="connsiteX10" fmla="*/ 3649 w 10000"/>
                  <a:gd name="connsiteY10" fmla="*/ 0 h 10000"/>
                  <a:gd name="connsiteX11" fmla="*/ 4305 w 10000"/>
                  <a:gd name="connsiteY11" fmla="*/ 298 h 10000"/>
                  <a:gd name="connsiteX12" fmla="*/ 9998 w 10000"/>
                  <a:gd name="connsiteY12" fmla="*/ 5508 h 10000"/>
                  <a:gd name="connsiteX13" fmla="*/ 4991 w 10000"/>
                  <a:gd name="connsiteY13" fmla="*/ 10000 h 10000"/>
                  <a:gd name="connsiteX0" fmla="*/ 4991 w 10000"/>
                  <a:gd name="connsiteY0" fmla="*/ 10000 h 10000"/>
                  <a:gd name="connsiteX1" fmla="*/ 0 w 10000"/>
                  <a:gd name="connsiteY1" fmla="*/ 5855 h 10000"/>
                  <a:gd name="connsiteX2" fmla="*/ 1532 w 10000"/>
                  <a:gd name="connsiteY2" fmla="*/ 3771 h 10000"/>
                  <a:gd name="connsiteX3" fmla="*/ 1897 w 10000"/>
                  <a:gd name="connsiteY3" fmla="*/ 3473 h 10000"/>
                  <a:gd name="connsiteX4" fmla="*/ 2554 w 10000"/>
                  <a:gd name="connsiteY4" fmla="*/ 2729 h 10000"/>
                  <a:gd name="connsiteX5" fmla="*/ 2992 w 10000"/>
                  <a:gd name="connsiteY5" fmla="*/ 2134 h 10000"/>
                  <a:gd name="connsiteX6" fmla="*/ 3283 w 10000"/>
                  <a:gd name="connsiteY6" fmla="*/ 1539 h 10000"/>
                  <a:gd name="connsiteX7" fmla="*/ 3503 w 10000"/>
                  <a:gd name="connsiteY7" fmla="*/ 794 h 10000"/>
                  <a:gd name="connsiteX8" fmla="*/ 3649 w 10000"/>
                  <a:gd name="connsiteY8" fmla="*/ 0 h 10000"/>
                  <a:gd name="connsiteX9" fmla="*/ 3649 w 10000"/>
                  <a:gd name="connsiteY9" fmla="*/ 0 h 10000"/>
                  <a:gd name="connsiteX10" fmla="*/ 4305 w 10000"/>
                  <a:gd name="connsiteY10" fmla="*/ 298 h 10000"/>
                  <a:gd name="connsiteX11" fmla="*/ 9998 w 10000"/>
                  <a:gd name="connsiteY11" fmla="*/ 5508 h 10000"/>
                  <a:gd name="connsiteX12" fmla="*/ 4991 w 10000"/>
                  <a:gd name="connsiteY12" fmla="*/ 10000 h 10000"/>
                  <a:gd name="connsiteX0" fmla="*/ 4991 w 10000"/>
                  <a:gd name="connsiteY0" fmla="*/ 10000 h 10000"/>
                  <a:gd name="connsiteX1" fmla="*/ 0 w 10000"/>
                  <a:gd name="connsiteY1" fmla="*/ 5855 h 10000"/>
                  <a:gd name="connsiteX2" fmla="*/ 1532 w 10000"/>
                  <a:gd name="connsiteY2" fmla="*/ 3771 h 10000"/>
                  <a:gd name="connsiteX3" fmla="*/ 2554 w 10000"/>
                  <a:gd name="connsiteY3" fmla="*/ 2729 h 10000"/>
                  <a:gd name="connsiteX4" fmla="*/ 2992 w 10000"/>
                  <a:gd name="connsiteY4" fmla="*/ 2134 h 10000"/>
                  <a:gd name="connsiteX5" fmla="*/ 3283 w 10000"/>
                  <a:gd name="connsiteY5" fmla="*/ 1539 h 10000"/>
                  <a:gd name="connsiteX6" fmla="*/ 3503 w 10000"/>
                  <a:gd name="connsiteY6" fmla="*/ 794 h 10000"/>
                  <a:gd name="connsiteX7" fmla="*/ 3649 w 10000"/>
                  <a:gd name="connsiteY7" fmla="*/ 0 h 10000"/>
                  <a:gd name="connsiteX8" fmla="*/ 3649 w 10000"/>
                  <a:gd name="connsiteY8" fmla="*/ 0 h 10000"/>
                  <a:gd name="connsiteX9" fmla="*/ 4305 w 10000"/>
                  <a:gd name="connsiteY9" fmla="*/ 298 h 10000"/>
                  <a:gd name="connsiteX10" fmla="*/ 9998 w 10000"/>
                  <a:gd name="connsiteY10" fmla="*/ 5508 h 10000"/>
                  <a:gd name="connsiteX11" fmla="*/ 4991 w 10000"/>
                  <a:gd name="connsiteY11" fmla="*/ 10000 h 10000"/>
                  <a:gd name="connsiteX0" fmla="*/ 4991 w 10000"/>
                  <a:gd name="connsiteY0" fmla="*/ 10000 h 10000"/>
                  <a:gd name="connsiteX1" fmla="*/ 0 w 10000"/>
                  <a:gd name="connsiteY1" fmla="*/ 5855 h 10000"/>
                  <a:gd name="connsiteX2" fmla="*/ 2554 w 10000"/>
                  <a:gd name="connsiteY2" fmla="*/ 2729 h 10000"/>
                  <a:gd name="connsiteX3" fmla="*/ 2992 w 10000"/>
                  <a:gd name="connsiteY3" fmla="*/ 2134 h 10000"/>
                  <a:gd name="connsiteX4" fmla="*/ 3283 w 10000"/>
                  <a:gd name="connsiteY4" fmla="*/ 1539 h 10000"/>
                  <a:gd name="connsiteX5" fmla="*/ 3503 w 10000"/>
                  <a:gd name="connsiteY5" fmla="*/ 794 h 10000"/>
                  <a:gd name="connsiteX6" fmla="*/ 3649 w 10000"/>
                  <a:gd name="connsiteY6" fmla="*/ 0 h 10000"/>
                  <a:gd name="connsiteX7" fmla="*/ 3649 w 10000"/>
                  <a:gd name="connsiteY7" fmla="*/ 0 h 10000"/>
                  <a:gd name="connsiteX8" fmla="*/ 4305 w 10000"/>
                  <a:gd name="connsiteY8" fmla="*/ 298 h 10000"/>
                  <a:gd name="connsiteX9" fmla="*/ 9998 w 10000"/>
                  <a:gd name="connsiteY9" fmla="*/ 5508 h 10000"/>
                  <a:gd name="connsiteX10" fmla="*/ 4991 w 10000"/>
                  <a:gd name="connsiteY10" fmla="*/ 10000 h 10000"/>
                  <a:gd name="connsiteX0" fmla="*/ 4991 w 10000"/>
                  <a:gd name="connsiteY0" fmla="*/ 10000 h 10000"/>
                  <a:gd name="connsiteX1" fmla="*/ 0 w 10000"/>
                  <a:gd name="connsiteY1" fmla="*/ 5855 h 10000"/>
                  <a:gd name="connsiteX2" fmla="*/ 2992 w 10000"/>
                  <a:gd name="connsiteY2" fmla="*/ 2134 h 10000"/>
                  <a:gd name="connsiteX3" fmla="*/ 3283 w 10000"/>
                  <a:gd name="connsiteY3" fmla="*/ 1539 h 10000"/>
                  <a:gd name="connsiteX4" fmla="*/ 3503 w 10000"/>
                  <a:gd name="connsiteY4" fmla="*/ 794 h 10000"/>
                  <a:gd name="connsiteX5" fmla="*/ 3649 w 10000"/>
                  <a:gd name="connsiteY5" fmla="*/ 0 h 10000"/>
                  <a:gd name="connsiteX6" fmla="*/ 3649 w 10000"/>
                  <a:gd name="connsiteY6" fmla="*/ 0 h 10000"/>
                  <a:gd name="connsiteX7" fmla="*/ 4305 w 10000"/>
                  <a:gd name="connsiteY7" fmla="*/ 298 h 10000"/>
                  <a:gd name="connsiteX8" fmla="*/ 9998 w 10000"/>
                  <a:gd name="connsiteY8" fmla="*/ 5508 h 10000"/>
                  <a:gd name="connsiteX9" fmla="*/ 4991 w 10000"/>
                  <a:gd name="connsiteY9" fmla="*/ 10000 h 10000"/>
                  <a:gd name="connsiteX0" fmla="*/ 4991 w 10000"/>
                  <a:gd name="connsiteY0" fmla="*/ 10000 h 10000"/>
                  <a:gd name="connsiteX1" fmla="*/ 0 w 10000"/>
                  <a:gd name="connsiteY1" fmla="*/ 5855 h 10000"/>
                  <a:gd name="connsiteX2" fmla="*/ 3283 w 10000"/>
                  <a:gd name="connsiteY2" fmla="*/ 1539 h 10000"/>
                  <a:gd name="connsiteX3" fmla="*/ 3503 w 10000"/>
                  <a:gd name="connsiteY3" fmla="*/ 794 h 10000"/>
                  <a:gd name="connsiteX4" fmla="*/ 3649 w 10000"/>
                  <a:gd name="connsiteY4" fmla="*/ 0 h 10000"/>
                  <a:gd name="connsiteX5" fmla="*/ 3649 w 10000"/>
                  <a:gd name="connsiteY5" fmla="*/ 0 h 10000"/>
                  <a:gd name="connsiteX6" fmla="*/ 4305 w 10000"/>
                  <a:gd name="connsiteY6" fmla="*/ 298 h 10000"/>
                  <a:gd name="connsiteX7" fmla="*/ 9998 w 10000"/>
                  <a:gd name="connsiteY7" fmla="*/ 5508 h 10000"/>
                  <a:gd name="connsiteX8" fmla="*/ 4991 w 10000"/>
                  <a:gd name="connsiteY8" fmla="*/ 10000 h 10000"/>
                  <a:gd name="connsiteX0" fmla="*/ 4991 w 10000"/>
                  <a:gd name="connsiteY0" fmla="*/ 10000 h 10000"/>
                  <a:gd name="connsiteX1" fmla="*/ 0 w 10000"/>
                  <a:gd name="connsiteY1" fmla="*/ 5855 h 10000"/>
                  <a:gd name="connsiteX2" fmla="*/ 3503 w 10000"/>
                  <a:gd name="connsiteY2" fmla="*/ 794 h 10000"/>
                  <a:gd name="connsiteX3" fmla="*/ 3649 w 10000"/>
                  <a:gd name="connsiteY3" fmla="*/ 0 h 10000"/>
                  <a:gd name="connsiteX4" fmla="*/ 3649 w 10000"/>
                  <a:gd name="connsiteY4" fmla="*/ 0 h 10000"/>
                  <a:gd name="connsiteX5" fmla="*/ 4305 w 10000"/>
                  <a:gd name="connsiteY5" fmla="*/ 298 h 10000"/>
                  <a:gd name="connsiteX6" fmla="*/ 9998 w 10000"/>
                  <a:gd name="connsiteY6" fmla="*/ 5508 h 10000"/>
                  <a:gd name="connsiteX7" fmla="*/ 4991 w 10000"/>
                  <a:gd name="connsiteY7"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4305 w 10000"/>
                  <a:gd name="connsiteY4" fmla="*/ 298 h 10000"/>
                  <a:gd name="connsiteX5" fmla="*/ 9998 w 10000"/>
                  <a:gd name="connsiteY5" fmla="*/ 5508 h 10000"/>
                  <a:gd name="connsiteX6" fmla="*/ 4991 w 10000"/>
                  <a:gd name="connsiteY6"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9998 w 10000"/>
                  <a:gd name="connsiteY4" fmla="*/ 5508 h 10000"/>
                  <a:gd name="connsiteX5" fmla="*/ 4991 w 10000"/>
                  <a:gd name="connsiteY5" fmla="*/ 10000 h 10000"/>
                  <a:gd name="connsiteX0" fmla="*/ 4991 w 10004"/>
                  <a:gd name="connsiteY0" fmla="*/ 10000 h 10000"/>
                  <a:gd name="connsiteX1" fmla="*/ 0 w 10004"/>
                  <a:gd name="connsiteY1" fmla="*/ 5855 h 10000"/>
                  <a:gd name="connsiteX2" fmla="*/ 3649 w 10004"/>
                  <a:gd name="connsiteY2" fmla="*/ 0 h 10000"/>
                  <a:gd name="connsiteX3" fmla="*/ 3649 w 10004"/>
                  <a:gd name="connsiteY3" fmla="*/ 0 h 10000"/>
                  <a:gd name="connsiteX4" fmla="*/ 9998 w 10004"/>
                  <a:gd name="connsiteY4" fmla="*/ 5508 h 10000"/>
                  <a:gd name="connsiteX5" fmla="*/ 4991 w 10004"/>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77 w 10090"/>
                  <a:gd name="connsiteY0" fmla="*/ 10000 h 10000"/>
                  <a:gd name="connsiteX1" fmla="*/ 86 w 10090"/>
                  <a:gd name="connsiteY1" fmla="*/ 5855 h 10000"/>
                  <a:gd name="connsiteX2" fmla="*/ 3735 w 10090"/>
                  <a:gd name="connsiteY2" fmla="*/ 0 h 10000"/>
                  <a:gd name="connsiteX3" fmla="*/ 3735 w 10090"/>
                  <a:gd name="connsiteY3" fmla="*/ 0 h 10000"/>
                  <a:gd name="connsiteX4" fmla="*/ 10084 w 10090"/>
                  <a:gd name="connsiteY4" fmla="*/ 5508 h 10000"/>
                  <a:gd name="connsiteX5" fmla="*/ 5077 w 10090"/>
                  <a:gd name="connsiteY5" fmla="*/ 10000 h 10000"/>
                  <a:gd name="connsiteX0" fmla="*/ 5060 w 10073"/>
                  <a:gd name="connsiteY0" fmla="*/ 10000 h 10000"/>
                  <a:gd name="connsiteX1" fmla="*/ 69 w 10073"/>
                  <a:gd name="connsiteY1" fmla="*/ 5855 h 10000"/>
                  <a:gd name="connsiteX2" fmla="*/ 3718 w 10073"/>
                  <a:gd name="connsiteY2" fmla="*/ 0 h 10000"/>
                  <a:gd name="connsiteX3" fmla="*/ 3718 w 10073"/>
                  <a:gd name="connsiteY3" fmla="*/ 0 h 10000"/>
                  <a:gd name="connsiteX4" fmla="*/ 10067 w 10073"/>
                  <a:gd name="connsiteY4" fmla="*/ 5508 h 10000"/>
                  <a:gd name="connsiteX5" fmla="*/ 5060 w 10073"/>
                  <a:gd name="connsiteY5" fmla="*/ 10000 h 10000"/>
                  <a:gd name="connsiteX0" fmla="*/ 4956 w 9965"/>
                  <a:gd name="connsiteY0" fmla="*/ 10000 h 10000"/>
                  <a:gd name="connsiteX1" fmla="*/ 36 w 9965"/>
                  <a:gd name="connsiteY1" fmla="*/ 5565 h 10000"/>
                  <a:gd name="connsiteX2" fmla="*/ 3614 w 9965"/>
                  <a:gd name="connsiteY2" fmla="*/ 0 h 10000"/>
                  <a:gd name="connsiteX3" fmla="*/ 3614 w 9965"/>
                  <a:gd name="connsiteY3" fmla="*/ 0 h 10000"/>
                  <a:gd name="connsiteX4" fmla="*/ 9963 w 9965"/>
                  <a:gd name="connsiteY4" fmla="*/ 5508 h 10000"/>
                  <a:gd name="connsiteX5" fmla="*/ 4956 w 9965"/>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37"/>
                  <a:gd name="connsiteY0" fmla="*/ 10000 h 10001"/>
                  <a:gd name="connsiteX1" fmla="*/ 171 w 10137"/>
                  <a:gd name="connsiteY1" fmla="*/ 5565 h 10001"/>
                  <a:gd name="connsiteX2" fmla="*/ 3762 w 10137"/>
                  <a:gd name="connsiteY2" fmla="*/ 0 h 10001"/>
                  <a:gd name="connsiteX3" fmla="*/ 4332 w 10137"/>
                  <a:gd name="connsiteY3" fmla="*/ 580 h 10001"/>
                  <a:gd name="connsiteX4" fmla="*/ 10133 w 10137"/>
                  <a:gd name="connsiteY4" fmla="*/ 5508 h 10001"/>
                  <a:gd name="connsiteX5" fmla="*/ 5108 w 10137"/>
                  <a:gd name="connsiteY5" fmla="*/ 10000 h 10001"/>
                  <a:gd name="connsiteX0" fmla="*/ 5108 w 10151"/>
                  <a:gd name="connsiteY0" fmla="*/ 10145 h 10146"/>
                  <a:gd name="connsiteX1" fmla="*/ 171 w 10151"/>
                  <a:gd name="connsiteY1" fmla="*/ 5710 h 10146"/>
                  <a:gd name="connsiteX2" fmla="*/ 3762 w 10151"/>
                  <a:gd name="connsiteY2" fmla="*/ 145 h 10146"/>
                  <a:gd name="connsiteX3" fmla="*/ 6685 w 10151"/>
                  <a:gd name="connsiteY3" fmla="*/ 0 h 10146"/>
                  <a:gd name="connsiteX4" fmla="*/ 10133 w 10151"/>
                  <a:gd name="connsiteY4" fmla="*/ 5653 h 10146"/>
                  <a:gd name="connsiteX5" fmla="*/ 5108 w 10151"/>
                  <a:gd name="connsiteY5" fmla="*/ 10145 h 10146"/>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46"/>
                  <a:gd name="connsiteY0" fmla="*/ 10000 h 10001"/>
                  <a:gd name="connsiteX1" fmla="*/ 171 w 10146"/>
                  <a:gd name="connsiteY1" fmla="*/ 5565 h 10001"/>
                  <a:gd name="connsiteX2" fmla="*/ 3762 w 10146"/>
                  <a:gd name="connsiteY2" fmla="*/ 0 h 10001"/>
                  <a:gd name="connsiteX3" fmla="*/ 10133 w 10146"/>
                  <a:gd name="connsiteY3" fmla="*/ 5508 h 10001"/>
                  <a:gd name="connsiteX4" fmla="*/ 5108 w 10146"/>
                  <a:gd name="connsiteY4" fmla="*/ 10000 h 10001"/>
                  <a:gd name="connsiteX0" fmla="*/ 5108 w 10135"/>
                  <a:gd name="connsiteY0" fmla="*/ 10000 h 10001"/>
                  <a:gd name="connsiteX1" fmla="*/ 171 w 10135"/>
                  <a:gd name="connsiteY1" fmla="*/ 5565 h 10001"/>
                  <a:gd name="connsiteX2" fmla="*/ 3762 w 10135"/>
                  <a:gd name="connsiteY2" fmla="*/ 0 h 10001"/>
                  <a:gd name="connsiteX3" fmla="*/ 10133 w 10135"/>
                  <a:gd name="connsiteY3" fmla="*/ 5508 h 10001"/>
                  <a:gd name="connsiteX4" fmla="*/ 5108 w 10135"/>
                  <a:gd name="connsiteY4" fmla="*/ 10000 h 10001"/>
                  <a:gd name="connsiteX0" fmla="*/ 5108 w 10139"/>
                  <a:gd name="connsiteY0" fmla="*/ 10000 h 10001"/>
                  <a:gd name="connsiteX1" fmla="*/ 171 w 10139"/>
                  <a:gd name="connsiteY1" fmla="*/ 5565 h 10001"/>
                  <a:gd name="connsiteX2" fmla="*/ 3762 w 10139"/>
                  <a:gd name="connsiteY2" fmla="*/ 0 h 10001"/>
                  <a:gd name="connsiteX3" fmla="*/ 10133 w 10139"/>
                  <a:gd name="connsiteY3" fmla="*/ 5508 h 10001"/>
                  <a:gd name="connsiteX4" fmla="*/ 5108 w 10139"/>
                  <a:gd name="connsiteY4" fmla="*/ 10000 h 10001"/>
                  <a:gd name="connsiteX0" fmla="*/ 5108 w 10164"/>
                  <a:gd name="connsiteY0" fmla="*/ 10000 h 10001"/>
                  <a:gd name="connsiteX1" fmla="*/ 171 w 10164"/>
                  <a:gd name="connsiteY1" fmla="*/ 5565 h 10001"/>
                  <a:gd name="connsiteX2" fmla="*/ 3762 w 10164"/>
                  <a:gd name="connsiteY2" fmla="*/ 0 h 10001"/>
                  <a:gd name="connsiteX3" fmla="*/ 10133 w 10164"/>
                  <a:gd name="connsiteY3" fmla="*/ 5508 h 10001"/>
                  <a:gd name="connsiteX4" fmla="*/ 5108 w 10164"/>
                  <a:gd name="connsiteY4" fmla="*/ 10000 h 10001"/>
                  <a:gd name="connsiteX0" fmla="*/ 5088 w 10139"/>
                  <a:gd name="connsiteY0" fmla="*/ 10000 h 10000"/>
                  <a:gd name="connsiteX1" fmla="*/ 151 w 10139"/>
                  <a:gd name="connsiteY1" fmla="*/ 5565 h 10000"/>
                  <a:gd name="connsiteX2" fmla="*/ 3742 w 10139"/>
                  <a:gd name="connsiteY2" fmla="*/ 0 h 10000"/>
                  <a:gd name="connsiteX3" fmla="*/ 10113 w 10139"/>
                  <a:gd name="connsiteY3" fmla="*/ 5605 h 10000"/>
                  <a:gd name="connsiteX4" fmla="*/ 5088 w 10139"/>
                  <a:gd name="connsiteY4" fmla="*/ 10000 h 10000"/>
                  <a:gd name="connsiteX0" fmla="*/ 5088 w 10173"/>
                  <a:gd name="connsiteY0" fmla="*/ 10000 h 10000"/>
                  <a:gd name="connsiteX1" fmla="*/ 151 w 10173"/>
                  <a:gd name="connsiteY1" fmla="*/ 5565 h 10000"/>
                  <a:gd name="connsiteX2" fmla="*/ 3742 w 10173"/>
                  <a:gd name="connsiteY2" fmla="*/ 0 h 10000"/>
                  <a:gd name="connsiteX3" fmla="*/ 10113 w 10173"/>
                  <a:gd name="connsiteY3" fmla="*/ 5605 h 10000"/>
                  <a:gd name="connsiteX4" fmla="*/ 5088 w 10173"/>
                  <a:gd name="connsiteY4" fmla="*/ 10000 h 10000"/>
                  <a:gd name="connsiteX0" fmla="*/ 5108 w 10202"/>
                  <a:gd name="connsiteY0" fmla="*/ 10000 h 10000"/>
                  <a:gd name="connsiteX1" fmla="*/ 171 w 10202"/>
                  <a:gd name="connsiteY1" fmla="*/ 5565 h 10000"/>
                  <a:gd name="connsiteX2" fmla="*/ 3762 w 10202"/>
                  <a:gd name="connsiteY2" fmla="*/ 0 h 10000"/>
                  <a:gd name="connsiteX3" fmla="*/ 10133 w 10202"/>
                  <a:gd name="connsiteY3" fmla="*/ 5605 h 10000"/>
                  <a:gd name="connsiteX4" fmla="*/ 5108 w 10202"/>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2" h="10000">
                    <a:moveTo>
                      <a:pt x="5108" y="10000"/>
                    </a:moveTo>
                    <a:cubicBezTo>
                      <a:pt x="2806" y="10041"/>
                      <a:pt x="-834" y="8097"/>
                      <a:pt x="171" y="5565"/>
                    </a:cubicBezTo>
                    <a:cubicBezTo>
                      <a:pt x="1176" y="3033"/>
                      <a:pt x="4038" y="3160"/>
                      <a:pt x="3762" y="0"/>
                    </a:cubicBezTo>
                    <a:cubicBezTo>
                      <a:pt x="6670" y="1353"/>
                      <a:pt x="9540" y="2513"/>
                      <a:pt x="10133" y="5605"/>
                    </a:cubicBezTo>
                    <a:cubicBezTo>
                      <a:pt x="10726" y="8697"/>
                      <a:pt x="7410" y="9959"/>
                      <a:pt x="5108" y="1000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a:lnSpc>
                    <a:spcPct val="90000"/>
                  </a:lnSpc>
                </a:pPr>
                <a:endParaRPr lang="en-US" sz="1200"/>
              </a:p>
            </p:txBody>
          </p:sp>
        </p:grpSp>
      </p:grpSp>
      <p:grpSp>
        <p:nvGrpSpPr>
          <p:cNvPr id="47" name="Group 46">
            <a:extLst>
              <a:ext uri="{FF2B5EF4-FFF2-40B4-BE49-F238E27FC236}">
                <a16:creationId xmlns:a16="http://schemas.microsoft.com/office/drawing/2014/main" id="{546BA3D9-3F2C-42DB-821A-6B531DD5B8D1}"/>
              </a:ext>
            </a:extLst>
          </p:cNvPr>
          <p:cNvGrpSpPr/>
          <p:nvPr/>
        </p:nvGrpSpPr>
        <p:grpSpPr bwMode="gray">
          <a:xfrm>
            <a:off x="11137723" y="3981057"/>
            <a:ext cx="743958" cy="643249"/>
            <a:chOff x="10435243" y="3828862"/>
            <a:chExt cx="743958" cy="643249"/>
          </a:xfrm>
        </p:grpSpPr>
        <p:grpSp>
          <p:nvGrpSpPr>
            <p:cNvPr id="48" name="Group 47">
              <a:extLst>
                <a:ext uri="{FF2B5EF4-FFF2-40B4-BE49-F238E27FC236}">
                  <a16:creationId xmlns:a16="http://schemas.microsoft.com/office/drawing/2014/main" id="{80E10ACB-8B86-42D0-B3FE-2072580CCD31}"/>
                </a:ext>
              </a:extLst>
            </p:cNvPr>
            <p:cNvGrpSpPr/>
            <p:nvPr/>
          </p:nvGrpSpPr>
          <p:grpSpPr bwMode="gray">
            <a:xfrm>
              <a:off x="10599656" y="3828862"/>
              <a:ext cx="415133" cy="194710"/>
              <a:chOff x="10515916" y="3811924"/>
              <a:chExt cx="487364" cy="228587"/>
            </a:xfrm>
          </p:grpSpPr>
          <p:grpSp>
            <p:nvGrpSpPr>
              <p:cNvPr id="50" name="Group 49">
                <a:extLst>
                  <a:ext uri="{FF2B5EF4-FFF2-40B4-BE49-F238E27FC236}">
                    <a16:creationId xmlns:a16="http://schemas.microsoft.com/office/drawing/2014/main" id="{37B770B8-6BB2-4A13-8403-05D02C3BED53}"/>
                  </a:ext>
                </a:extLst>
              </p:cNvPr>
              <p:cNvGrpSpPr/>
              <p:nvPr/>
            </p:nvGrpSpPr>
            <p:grpSpPr bwMode="gray">
              <a:xfrm>
                <a:off x="10515916" y="3811924"/>
                <a:ext cx="228586" cy="228587"/>
                <a:chOff x="10833472" y="5375716"/>
                <a:chExt cx="212874" cy="212875"/>
              </a:xfrm>
            </p:grpSpPr>
            <p:sp>
              <p:nvSpPr>
                <p:cNvPr id="55" name="Freeform 90">
                  <a:extLst>
                    <a:ext uri="{FF2B5EF4-FFF2-40B4-BE49-F238E27FC236}">
                      <a16:creationId xmlns:a16="http://schemas.microsoft.com/office/drawing/2014/main" id="{3094B3E2-D4EA-4009-A8A2-3F2FDD8874B1}"/>
                    </a:ext>
                  </a:extLst>
                </p:cNvPr>
                <p:cNvSpPr>
                  <a:spLocks/>
                </p:cNvSpPr>
                <p:nvPr/>
              </p:nvSpPr>
              <p:spPr bwMode="gray">
                <a:xfrm rot="2700000">
                  <a:off x="10920767" y="5463011"/>
                  <a:ext cx="38284" cy="38285"/>
                </a:xfrm>
                <a:prstGeom prst="ellips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56" name="Freeform 91">
                  <a:extLst>
                    <a:ext uri="{FF2B5EF4-FFF2-40B4-BE49-F238E27FC236}">
                      <a16:creationId xmlns:a16="http://schemas.microsoft.com/office/drawing/2014/main" id="{030EAEF5-9C16-49A6-8CFD-1525F4D437B0}"/>
                    </a:ext>
                  </a:extLst>
                </p:cNvPr>
                <p:cNvSpPr>
                  <a:spLocks/>
                </p:cNvSpPr>
                <p:nvPr/>
              </p:nvSpPr>
              <p:spPr bwMode="gray">
                <a:xfrm rot="2700000">
                  <a:off x="10895244" y="5437488"/>
                  <a:ext cx="89330" cy="89330"/>
                </a:xfrm>
                <a:prstGeom prst="ellips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57" name="Freeform: Shape 56">
                  <a:extLst>
                    <a:ext uri="{FF2B5EF4-FFF2-40B4-BE49-F238E27FC236}">
                      <a16:creationId xmlns:a16="http://schemas.microsoft.com/office/drawing/2014/main" id="{89026997-B537-439F-AC34-27983E87F537}"/>
                    </a:ext>
                  </a:extLst>
                </p:cNvPr>
                <p:cNvSpPr/>
                <p:nvPr/>
              </p:nvSpPr>
              <p:spPr bwMode="gray">
                <a:xfrm rot="2700000">
                  <a:off x="10977440" y="5375716"/>
                  <a:ext cx="49496" cy="88317"/>
                </a:xfrm>
                <a:custGeom>
                  <a:avLst/>
                  <a:gdLst>
                    <a:gd name="connsiteX0" fmla="*/ 312891 w 625781"/>
                    <a:gd name="connsiteY0" fmla="*/ 0 h 1116609"/>
                    <a:gd name="connsiteX1" fmla="*/ 592943 w 625781"/>
                    <a:gd name="connsiteY1" fmla="*/ 199547 h 1116609"/>
                    <a:gd name="connsiteX2" fmla="*/ 608688 w 625781"/>
                    <a:gd name="connsiteY2" fmla="*/ 254073 h 1116609"/>
                    <a:gd name="connsiteX3" fmla="*/ 610717 w 625781"/>
                    <a:gd name="connsiteY3" fmla="*/ 259700 h 1116609"/>
                    <a:gd name="connsiteX4" fmla="*/ 601128 w 625781"/>
                    <a:gd name="connsiteY4" fmla="*/ 573182 h 1116609"/>
                    <a:gd name="connsiteX5" fmla="*/ 454113 w 625781"/>
                    <a:gd name="connsiteY5" fmla="*/ 995588 h 1116609"/>
                    <a:gd name="connsiteX6" fmla="*/ 406296 w 625781"/>
                    <a:gd name="connsiteY6" fmla="*/ 1116560 h 1116609"/>
                    <a:gd name="connsiteX7" fmla="*/ 312890 w 625781"/>
                    <a:gd name="connsiteY7" fmla="*/ 1107144 h 1116609"/>
                    <a:gd name="connsiteX8" fmla="*/ 219001 w 625781"/>
                    <a:gd name="connsiteY8" fmla="*/ 1116609 h 1116609"/>
                    <a:gd name="connsiteX9" fmla="*/ 168436 w 625781"/>
                    <a:gd name="connsiteY9" fmla="*/ 989547 h 1116609"/>
                    <a:gd name="connsiteX10" fmla="*/ 24653 w 625781"/>
                    <a:gd name="connsiteY10" fmla="*/ 573182 h 1116609"/>
                    <a:gd name="connsiteX11" fmla="*/ 15064 w 625781"/>
                    <a:gd name="connsiteY11" fmla="*/ 259700 h 1116609"/>
                    <a:gd name="connsiteX12" fmla="*/ 17095 w 625781"/>
                    <a:gd name="connsiteY12" fmla="*/ 254066 h 1116609"/>
                    <a:gd name="connsiteX13" fmla="*/ 32839 w 625781"/>
                    <a:gd name="connsiteY13" fmla="*/ 199547 h 1116609"/>
                    <a:gd name="connsiteX14" fmla="*/ 312891 w 625781"/>
                    <a:gd name="connsiteY14" fmla="*/ 0 h 111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781" h="1116609">
                      <a:moveTo>
                        <a:pt x="312891" y="0"/>
                      </a:moveTo>
                      <a:cubicBezTo>
                        <a:pt x="438786" y="0"/>
                        <a:pt x="546802" y="82282"/>
                        <a:pt x="592943" y="199547"/>
                      </a:cubicBezTo>
                      <a:lnTo>
                        <a:pt x="608688" y="254073"/>
                      </a:lnTo>
                      <a:lnTo>
                        <a:pt x="610717" y="259700"/>
                      </a:lnTo>
                      <a:cubicBezTo>
                        <a:pt x="634090" y="348834"/>
                        <a:pt x="629787" y="456801"/>
                        <a:pt x="601128" y="573182"/>
                      </a:cubicBezTo>
                      <a:cubicBezTo>
                        <a:pt x="565967" y="701371"/>
                        <a:pt x="508517" y="856074"/>
                        <a:pt x="454113" y="995588"/>
                      </a:cubicBezTo>
                      <a:lnTo>
                        <a:pt x="406296" y="1116560"/>
                      </a:lnTo>
                      <a:lnTo>
                        <a:pt x="312890" y="1107144"/>
                      </a:lnTo>
                      <a:lnTo>
                        <a:pt x="219001" y="1116609"/>
                      </a:lnTo>
                      <a:lnTo>
                        <a:pt x="168436" y="989547"/>
                      </a:lnTo>
                      <a:cubicBezTo>
                        <a:pt x="112954" y="848019"/>
                        <a:pt x="55504" y="693317"/>
                        <a:pt x="24653" y="573182"/>
                      </a:cubicBezTo>
                      <a:cubicBezTo>
                        <a:pt x="-4006" y="456801"/>
                        <a:pt x="-8309" y="348834"/>
                        <a:pt x="15064" y="259700"/>
                      </a:cubicBezTo>
                      <a:lnTo>
                        <a:pt x="17095" y="254066"/>
                      </a:lnTo>
                      <a:lnTo>
                        <a:pt x="32839" y="199547"/>
                      </a:lnTo>
                      <a:cubicBezTo>
                        <a:pt x="78979" y="82282"/>
                        <a:pt x="186996" y="0"/>
                        <a:pt x="312891" y="0"/>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58" name="Freeform: Shape 57">
                  <a:extLst>
                    <a:ext uri="{FF2B5EF4-FFF2-40B4-BE49-F238E27FC236}">
                      <a16:creationId xmlns:a16="http://schemas.microsoft.com/office/drawing/2014/main" id="{C33389BB-D93B-40B5-920E-A31FF09E05FF}"/>
                    </a:ext>
                  </a:extLst>
                </p:cNvPr>
                <p:cNvSpPr/>
                <p:nvPr/>
              </p:nvSpPr>
              <p:spPr bwMode="gray">
                <a:xfrm rot="13500000">
                  <a:off x="10852883" y="5500273"/>
                  <a:ext cx="49496" cy="88318"/>
                </a:xfrm>
                <a:custGeom>
                  <a:avLst/>
                  <a:gdLst>
                    <a:gd name="connsiteX0" fmla="*/ 219001 w 625781"/>
                    <a:gd name="connsiteY0" fmla="*/ 1116610 h 1116610"/>
                    <a:gd name="connsiteX1" fmla="*/ 168435 w 625781"/>
                    <a:gd name="connsiteY1" fmla="*/ 989547 h 1116610"/>
                    <a:gd name="connsiteX2" fmla="*/ 24653 w 625781"/>
                    <a:gd name="connsiteY2" fmla="*/ 573182 h 1116610"/>
                    <a:gd name="connsiteX3" fmla="*/ 15064 w 625781"/>
                    <a:gd name="connsiteY3" fmla="*/ 259700 h 1116610"/>
                    <a:gd name="connsiteX4" fmla="*/ 17095 w 625781"/>
                    <a:gd name="connsiteY4" fmla="*/ 254066 h 1116610"/>
                    <a:gd name="connsiteX5" fmla="*/ 32839 w 625781"/>
                    <a:gd name="connsiteY5" fmla="*/ 199547 h 1116610"/>
                    <a:gd name="connsiteX6" fmla="*/ 312891 w 625781"/>
                    <a:gd name="connsiteY6" fmla="*/ 0 h 1116610"/>
                    <a:gd name="connsiteX7" fmla="*/ 592943 w 625781"/>
                    <a:gd name="connsiteY7" fmla="*/ 199547 h 1116610"/>
                    <a:gd name="connsiteX8" fmla="*/ 608688 w 625781"/>
                    <a:gd name="connsiteY8" fmla="*/ 254073 h 1116610"/>
                    <a:gd name="connsiteX9" fmla="*/ 610717 w 625781"/>
                    <a:gd name="connsiteY9" fmla="*/ 259700 h 1116610"/>
                    <a:gd name="connsiteX10" fmla="*/ 601128 w 625781"/>
                    <a:gd name="connsiteY10" fmla="*/ 573182 h 1116610"/>
                    <a:gd name="connsiteX11" fmla="*/ 454113 w 625781"/>
                    <a:gd name="connsiteY11" fmla="*/ 995588 h 1116610"/>
                    <a:gd name="connsiteX12" fmla="*/ 406296 w 625781"/>
                    <a:gd name="connsiteY12" fmla="*/ 1116561 h 1116610"/>
                    <a:gd name="connsiteX13" fmla="*/ 312891 w 625781"/>
                    <a:gd name="connsiteY13" fmla="*/ 1107145 h 111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5781" h="1116610">
                      <a:moveTo>
                        <a:pt x="219001" y="1116610"/>
                      </a:moveTo>
                      <a:lnTo>
                        <a:pt x="168435" y="989547"/>
                      </a:lnTo>
                      <a:cubicBezTo>
                        <a:pt x="112954" y="848019"/>
                        <a:pt x="55504" y="693317"/>
                        <a:pt x="24653" y="573182"/>
                      </a:cubicBezTo>
                      <a:cubicBezTo>
                        <a:pt x="-4006" y="456801"/>
                        <a:pt x="-8309" y="348834"/>
                        <a:pt x="15064" y="259700"/>
                      </a:cubicBezTo>
                      <a:lnTo>
                        <a:pt x="17095" y="254066"/>
                      </a:lnTo>
                      <a:lnTo>
                        <a:pt x="32839" y="199547"/>
                      </a:lnTo>
                      <a:cubicBezTo>
                        <a:pt x="78979" y="82282"/>
                        <a:pt x="186996" y="0"/>
                        <a:pt x="312891" y="0"/>
                      </a:cubicBezTo>
                      <a:cubicBezTo>
                        <a:pt x="438786" y="0"/>
                        <a:pt x="546802" y="82282"/>
                        <a:pt x="592943" y="199547"/>
                      </a:cubicBezTo>
                      <a:lnTo>
                        <a:pt x="608688" y="254073"/>
                      </a:lnTo>
                      <a:lnTo>
                        <a:pt x="610717" y="259700"/>
                      </a:lnTo>
                      <a:cubicBezTo>
                        <a:pt x="634090" y="348834"/>
                        <a:pt x="629787" y="456801"/>
                        <a:pt x="601128" y="573182"/>
                      </a:cubicBezTo>
                      <a:cubicBezTo>
                        <a:pt x="565967" y="701371"/>
                        <a:pt x="508518" y="856074"/>
                        <a:pt x="454113" y="995588"/>
                      </a:cubicBezTo>
                      <a:lnTo>
                        <a:pt x="406296" y="1116561"/>
                      </a:lnTo>
                      <a:lnTo>
                        <a:pt x="312891" y="1107145"/>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59" name="Freeform: Shape 58">
                  <a:extLst>
                    <a:ext uri="{FF2B5EF4-FFF2-40B4-BE49-F238E27FC236}">
                      <a16:creationId xmlns:a16="http://schemas.microsoft.com/office/drawing/2014/main" id="{D9FEEED0-99B7-4B18-8610-5C25F2D34DE3}"/>
                    </a:ext>
                  </a:extLst>
                </p:cNvPr>
                <p:cNvSpPr/>
                <p:nvPr/>
              </p:nvSpPr>
              <p:spPr bwMode="gray">
                <a:xfrm rot="8100000">
                  <a:off x="10977440" y="5500273"/>
                  <a:ext cx="49496" cy="88318"/>
                </a:xfrm>
                <a:custGeom>
                  <a:avLst/>
                  <a:gdLst>
                    <a:gd name="connsiteX0" fmla="*/ 347 w 625781"/>
                    <a:gd name="connsiteY0" fmla="*/ 406223 h 1116610"/>
                    <a:gd name="connsiteX1" fmla="*/ 15064 w 625781"/>
                    <a:gd name="connsiteY1" fmla="*/ 259699 h 1116610"/>
                    <a:gd name="connsiteX2" fmla="*/ 17095 w 625781"/>
                    <a:gd name="connsiteY2" fmla="*/ 254066 h 1116610"/>
                    <a:gd name="connsiteX3" fmla="*/ 32839 w 625781"/>
                    <a:gd name="connsiteY3" fmla="*/ 199547 h 1116610"/>
                    <a:gd name="connsiteX4" fmla="*/ 312891 w 625781"/>
                    <a:gd name="connsiteY4" fmla="*/ 0 h 1116610"/>
                    <a:gd name="connsiteX5" fmla="*/ 592943 w 625781"/>
                    <a:gd name="connsiteY5" fmla="*/ 199547 h 1116610"/>
                    <a:gd name="connsiteX6" fmla="*/ 608688 w 625781"/>
                    <a:gd name="connsiteY6" fmla="*/ 254073 h 1116610"/>
                    <a:gd name="connsiteX7" fmla="*/ 610717 w 625781"/>
                    <a:gd name="connsiteY7" fmla="*/ 259699 h 1116610"/>
                    <a:gd name="connsiteX8" fmla="*/ 601128 w 625781"/>
                    <a:gd name="connsiteY8" fmla="*/ 573182 h 1116610"/>
                    <a:gd name="connsiteX9" fmla="*/ 454113 w 625781"/>
                    <a:gd name="connsiteY9" fmla="*/ 995588 h 1116610"/>
                    <a:gd name="connsiteX10" fmla="*/ 406296 w 625781"/>
                    <a:gd name="connsiteY10" fmla="*/ 1116561 h 1116610"/>
                    <a:gd name="connsiteX11" fmla="*/ 312890 w 625781"/>
                    <a:gd name="connsiteY11" fmla="*/ 1107145 h 1116610"/>
                    <a:gd name="connsiteX12" fmla="*/ 219001 w 625781"/>
                    <a:gd name="connsiteY12" fmla="*/ 1116610 h 1116610"/>
                    <a:gd name="connsiteX13" fmla="*/ 168436 w 625781"/>
                    <a:gd name="connsiteY13" fmla="*/ 989547 h 1116610"/>
                    <a:gd name="connsiteX14" fmla="*/ 24653 w 625781"/>
                    <a:gd name="connsiteY14" fmla="*/ 573182 h 1116610"/>
                    <a:gd name="connsiteX15" fmla="*/ 347 w 625781"/>
                    <a:gd name="connsiteY15" fmla="*/ 406223 h 111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781" h="1116610">
                      <a:moveTo>
                        <a:pt x="347" y="406223"/>
                      </a:moveTo>
                      <a:cubicBezTo>
                        <a:pt x="-1390" y="353542"/>
                        <a:pt x="3378" y="304266"/>
                        <a:pt x="15064" y="259699"/>
                      </a:cubicBezTo>
                      <a:lnTo>
                        <a:pt x="17095" y="254066"/>
                      </a:lnTo>
                      <a:lnTo>
                        <a:pt x="32839" y="199547"/>
                      </a:lnTo>
                      <a:cubicBezTo>
                        <a:pt x="78979" y="82282"/>
                        <a:pt x="186996" y="0"/>
                        <a:pt x="312891" y="0"/>
                      </a:cubicBezTo>
                      <a:cubicBezTo>
                        <a:pt x="438786" y="0"/>
                        <a:pt x="546802" y="82282"/>
                        <a:pt x="592943" y="199547"/>
                      </a:cubicBezTo>
                      <a:lnTo>
                        <a:pt x="608688" y="254073"/>
                      </a:lnTo>
                      <a:lnTo>
                        <a:pt x="610717" y="259699"/>
                      </a:lnTo>
                      <a:cubicBezTo>
                        <a:pt x="634090" y="348834"/>
                        <a:pt x="629787" y="456801"/>
                        <a:pt x="601128" y="573182"/>
                      </a:cubicBezTo>
                      <a:cubicBezTo>
                        <a:pt x="565967" y="701371"/>
                        <a:pt x="508517" y="856074"/>
                        <a:pt x="454113" y="995588"/>
                      </a:cubicBezTo>
                      <a:lnTo>
                        <a:pt x="406296" y="1116561"/>
                      </a:lnTo>
                      <a:lnTo>
                        <a:pt x="312890" y="1107145"/>
                      </a:lnTo>
                      <a:lnTo>
                        <a:pt x="219001" y="1116610"/>
                      </a:lnTo>
                      <a:lnTo>
                        <a:pt x="168436" y="989547"/>
                      </a:lnTo>
                      <a:cubicBezTo>
                        <a:pt x="112954" y="848019"/>
                        <a:pt x="55504" y="693317"/>
                        <a:pt x="24653" y="573182"/>
                      </a:cubicBezTo>
                      <a:cubicBezTo>
                        <a:pt x="10324" y="514992"/>
                        <a:pt x="2083" y="458904"/>
                        <a:pt x="347" y="406223"/>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60" name="Freeform: Shape 59">
                  <a:extLst>
                    <a:ext uri="{FF2B5EF4-FFF2-40B4-BE49-F238E27FC236}">
                      <a16:creationId xmlns:a16="http://schemas.microsoft.com/office/drawing/2014/main" id="{86370148-B9E7-49B9-8016-972E92EC8C6D}"/>
                    </a:ext>
                  </a:extLst>
                </p:cNvPr>
                <p:cNvSpPr/>
                <p:nvPr/>
              </p:nvSpPr>
              <p:spPr bwMode="gray">
                <a:xfrm rot="18900000">
                  <a:off x="10852883" y="5375716"/>
                  <a:ext cx="49496" cy="88317"/>
                </a:xfrm>
                <a:custGeom>
                  <a:avLst/>
                  <a:gdLst>
                    <a:gd name="connsiteX0" fmla="*/ 625434 w 625780"/>
                    <a:gd name="connsiteY0" fmla="*/ 406223 h 1116609"/>
                    <a:gd name="connsiteX1" fmla="*/ 601128 w 625780"/>
                    <a:gd name="connsiteY1" fmla="*/ 573182 h 1116609"/>
                    <a:gd name="connsiteX2" fmla="*/ 454113 w 625780"/>
                    <a:gd name="connsiteY2" fmla="*/ 995588 h 1116609"/>
                    <a:gd name="connsiteX3" fmla="*/ 406296 w 625780"/>
                    <a:gd name="connsiteY3" fmla="*/ 1116560 h 1116609"/>
                    <a:gd name="connsiteX4" fmla="*/ 312891 w 625780"/>
                    <a:gd name="connsiteY4" fmla="*/ 1107144 h 1116609"/>
                    <a:gd name="connsiteX5" fmla="*/ 219001 w 625780"/>
                    <a:gd name="connsiteY5" fmla="*/ 1116609 h 1116609"/>
                    <a:gd name="connsiteX6" fmla="*/ 168436 w 625780"/>
                    <a:gd name="connsiteY6" fmla="*/ 989547 h 1116609"/>
                    <a:gd name="connsiteX7" fmla="*/ 24653 w 625780"/>
                    <a:gd name="connsiteY7" fmla="*/ 573182 h 1116609"/>
                    <a:gd name="connsiteX8" fmla="*/ 15064 w 625780"/>
                    <a:gd name="connsiteY8" fmla="*/ 259699 h 1116609"/>
                    <a:gd name="connsiteX9" fmla="*/ 17095 w 625780"/>
                    <a:gd name="connsiteY9" fmla="*/ 254066 h 1116609"/>
                    <a:gd name="connsiteX10" fmla="*/ 32839 w 625780"/>
                    <a:gd name="connsiteY10" fmla="*/ 199547 h 1116609"/>
                    <a:gd name="connsiteX11" fmla="*/ 312891 w 625780"/>
                    <a:gd name="connsiteY11" fmla="*/ 0 h 1116609"/>
                    <a:gd name="connsiteX12" fmla="*/ 592943 w 625780"/>
                    <a:gd name="connsiteY12" fmla="*/ 199547 h 1116609"/>
                    <a:gd name="connsiteX13" fmla="*/ 608688 w 625780"/>
                    <a:gd name="connsiteY13" fmla="*/ 254073 h 1116609"/>
                    <a:gd name="connsiteX14" fmla="*/ 610717 w 625780"/>
                    <a:gd name="connsiteY14" fmla="*/ 259699 h 1116609"/>
                    <a:gd name="connsiteX15" fmla="*/ 625434 w 625780"/>
                    <a:gd name="connsiteY15" fmla="*/ 406223 h 111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780" h="1116609">
                      <a:moveTo>
                        <a:pt x="625434" y="406223"/>
                      </a:moveTo>
                      <a:cubicBezTo>
                        <a:pt x="623698" y="458905"/>
                        <a:pt x="615457" y="514992"/>
                        <a:pt x="601128" y="573182"/>
                      </a:cubicBezTo>
                      <a:cubicBezTo>
                        <a:pt x="565967" y="701371"/>
                        <a:pt x="508517" y="856074"/>
                        <a:pt x="454113" y="995588"/>
                      </a:cubicBezTo>
                      <a:lnTo>
                        <a:pt x="406296" y="1116560"/>
                      </a:lnTo>
                      <a:lnTo>
                        <a:pt x="312891" y="1107144"/>
                      </a:lnTo>
                      <a:lnTo>
                        <a:pt x="219001" y="1116609"/>
                      </a:lnTo>
                      <a:lnTo>
                        <a:pt x="168436" y="989547"/>
                      </a:lnTo>
                      <a:cubicBezTo>
                        <a:pt x="112954" y="848019"/>
                        <a:pt x="55504" y="693317"/>
                        <a:pt x="24653" y="573182"/>
                      </a:cubicBezTo>
                      <a:cubicBezTo>
                        <a:pt x="-4006" y="456801"/>
                        <a:pt x="-8309" y="348834"/>
                        <a:pt x="15064" y="259699"/>
                      </a:cubicBezTo>
                      <a:lnTo>
                        <a:pt x="17095" y="254066"/>
                      </a:lnTo>
                      <a:lnTo>
                        <a:pt x="32839" y="199547"/>
                      </a:lnTo>
                      <a:cubicBezTo>
                        <a:pt x="78979" y="82282"/>
                        <a:pt x="186996" y="0"/>
                        <a:pt x="312891" y="0"/>
                      </a:cubicBezTo>
                      <a:cubicBezTo>
                        <a:pt x="438786" y="0"/>
                        <a:pt x="546802" y="82282"/>
                        <a:pt x="592943" y="199547"/>
                      </a:cubicBezTo>
                      <a:lnTo>
                        <a:pt x="608688" y="254073"/>
                      </a:lnTo>
                      <a:lnTo>
                        <a:pt x="610717" y="259699"/>
                      </a:lnTo>
                      <a:cubicBezTo>
                        <a:pt x="622403" y="304267"/>
                        <a:pt x="627171" y="353542"/>
                        <a:pt x="625434" y="406223"/>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grpSp>
          <p:grpSp>
            <p:nvGrpSpPr>
              <p:cNvPr id="51" name="Group 50">
                <a:extLst>
                  <a:ext uri="{FF2B5EF4-FFF2-40B4-BE49-F238E27FC236}">
                    <a16:creationId xmlns:a16="http://schemas.microsoft.com/office/drawing/2014/main" id="{20FEBCD1-4252-4D8A-B584-B846AE781239}"/>
                  </a:ext>
                </a:extLst>
              </p:cNvPr>
              <p:cNvGrpSpPr/>
              <p:nvPr/>
            </p:nvGrpSpPr>
            <p:grpSpPr bwMode="gray">
              <a:xfrm>
                <a:off x="10712659" y="3815739"/>
                <a:ext cx="290621" cy="213336"/>
                <a:chOff x="11053115" y="5295900"/>
                <a:chExt cx="501319" cy="253296"/>
              </a:xfrm>
            </p:grpSpPr>
            <p:sp>
              <p:nvSpPr>
                <p:cNvPr id="52" name="Freeform 66">
                  <a:extLst>
                    <a:ext uri="{FF2B5EF4-FFF2-40B4-BE49-F238E27FC236}">
                      <a16:creationId xmlns:a16="http://schemas.microsoft.com/office/drawing/2014/main" id="{4E816C06-25ED-433E-B991-E5777BDEEEAE}"/>
                    </a:ext>
                  </a:extLst>
                </p:cNvPr>
                <p:cNvSpPr/>
                <p:nvPr/>
              </p:nvSpPr>
              <p:spPr bwMode="gray">
                <a:xfrm>
                  <a:off x="11120893" y="5295900"/>
                  <a:ext cx="294531" cy="81641"/>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8173 w 371072"/>
                    <a:gd name="connsiteY1" fmla="*/ 241661 h 264795"/>
                    <a:gd name="connsiteX2" fmla="*/ 367665 w 371072"/>
                    <a:gd name="connsiteY2" fmla="*/ 99060 h 264795"/>
                    <a:gd name="connsiteX3" fmla="*/ 316230 w 371072"/>
                    <a:gd name="connsiteY3" fmla="*/ 0 h 264795"/>
                    <a:gd name="connsiteX0" fmla="*/ 0 w 316230"/>
                    <a:gd name="connsiteY0" fmla="*/ 264795 h 267865"/>
                    <a:gd name="connsiteX1" fmla="*/ 278173 w 316230"/>
                    <a:gd name="connsiteY1" fmla="*/ 241661 h 267865"/>
                    <a:gd name="connsiteX2" fmla="*/ 316230 w 316230"/>
                    <a:gd name="connsiteY2" fmla="*/ 0 h 267865"/>
                    <a:gd name="connsiteX0" fmla="*/ 0 w 348201"/>
                    <a:gd name="connsiteY0" fmla="*/ 264795 h 267865"/>
                    <a:gd name="connsiteX1" fmla="*/ 329008 w 348201"/>
                    <a:gd name="connsiteY1" fmla="*/ 241661 h 267865"/>
                    <a:gd name="connsiteX2" fmla="*/ 316230 w 348201"/>
                    <a:gd name="connsiteY2" fmla="*/ 0 h 267865"/>
                    <a:gd name="connsiteX0" fmla="*/ 0 w 377767"/>
                    <a:gd name="connsiteY0" fmla="*/ 264795 h 267865"/>
                    <a:gd name="connsiteX1" fmla="*/ 329008 w 377767"/>
                    <a:gd name="connsiteY1" fmla="*/ 241661 h 267865"/>
                    <a:gd name="connsiteX2" fmla="*/ 377767 w 377767"/>
                    <a:gd name="connsiteY2" fmla="*/ 0 h 267865"/>
                    <a:gd name="connsiteX0" fmla="*/ 0 w 351892"/>
                    <a:gd name="connsiteY0" fmla="*/ 205831 h 205831"/>
                    <a:gd name="connsiteX1" fmla="*/ 329008 w 351892"/>
                    <a:gd name="connsiteY1" fmla="*/ 182697 h 205831"/>
                    <a:gd name="connsiteX2" fmla="*/ 329608 w 351892"/>
                    <a:gd name="connsiteY2" fmla="*/ 0 h 205831"/>
                    <a:gd name="connsiteX0" fmla="*/ 0 w 380444"/>
                    <a:gd name="connsiteY0" fmla="*/ 211727 h 211727"/>
                    <a:gd name="connsiteX1" fmla="*/ 329008 w 380444"/>
                    <a:gd name="connsiteY1" fmla="*/ 188593 h 211727"/>
                    <a:gd name="connsiteX2" fmla="*/ 380444 w 380444"/>
                    <a:gd name="connsiteY2" fmla="*/ 0 h 211727"/>
                    <a:gd name="connsiteX0" fmla="*/ 0 w 341777"/>
                    <a:gd name="connsiteY0" fmla="*/ 235312 h 236529"/>
                    <a:gd name="connsiteX1" fmla="*/ 329008 w 341777"/>
                    <a:gd name="connsiteY1" fmla="*/ 212178 h 236529"/>
                    <a:gd name="connsiteX2" fmla="*/ 284125 w 341777"/>
                    <a:gd name="connsiteY2" fmla="*/ 0 h 236529"/>
                    <a:gd name="connsiteX0" fmla="*/ 0 w 349318"/>
                    <a:gd name="connsiteY0" fmla="*/ 235312 h 236526"/>
                    <a:gd name="connsiteX1" fmla="*/ 329008 w 349318"/>
                    <a:gd name="connsiteY1" fmla="*/ 212178 h 236526"/>
                    <a:gd name="connsiteX2" fmla="*/ 284125 w 349318"/>
                    <a:gd name="connsiteY2" fmla="*/ 0 h 236526"/>
                    <a:gd name="connsiteX0" fmla="*/ 0 w 357781"/>
                    <a:gd name="connsiteY0" fmla="*/ 211727 h 211727"/>
                    <a:gd name="connsiteX1" fmla="*/ 329008 w 357781"/>
                    <a:gd name="connsiteY1" fmla="*/ 188593 h 211727"/>
                    <a:gd name="connsiteX2" fmla="*/ 308205 w 357781"/>
                    <a:gd name="connsiteY2" fmla="*/ 0 h 211727"/>
                    <a:gd name="connsiteX0" fmla="*/ 0 w 360084"/>
                    <a:gd name="connsiteY0" fmla="*/ 211727 h 211727"/>
                    <a:gd name="connsiteX1" fmla="*/ 329008 w 360084"/>
                    <a:gd name="connsiteY1" fmla="*/ 188593 h 211727"/>
                    <a:gd name="connsiteX2" fmla="*/ 313556 w 360084"/>
                    <a:gd name="connsiteY2" fmla="*/ 0 h 211727"/>
                    <a:gd name="connsiteX0" fmla="*/ 0 w 360906"/>
                    <a:gd name="connsiteY0" fmla="*/ 211727 h 211727"/>
                    <a:gd name="connsiteX1" fmla="*/ 329008 w 360906"/>
                    <a:gd name="connsiteY1" fmla="*/ 188593 h 211727"/>
                    <a:gd name="connsiteX2" fmla="*/ 313556 w 360906"/>
                    <a:gd name="connsiteY2" fmla="*/ 0 h 211727"/>
                    <a:gd name="connsiteX0" fmla="*/ 0 w 350666"/>
                    <a:gd name="connsiteY0" fmla="*/ 217623 h 217800"/>
                    <a:gd name="connsiteX1" fmla="*/ 329008 w 350666"/>
                    <a:gd name="connsiteY1" fmla="*/ 194489 h 217800"/>
                    <a:gd name="connsiteX2" fmla="*/ 286800 w 350666"/>
                    <a:gd name="connsiteY2" fmla="*/ 0 h 217800"/>
                    <a:gd name="connsiteX0" fmla="*/ 0 w 357945"/>
                    <a:gd name="connsiteY0" fmla="*/ 218487 h 218660"/>
                    <a:gd name="connsiteX1" fmla="*/ 329008 w 357945"/>
                    <a:gd name="connsiteY1" fmla="*/ 195353 h 218660"/>
                    <a:gd name="connsiteX2" fmla="*/ 286800 w 357945"/>
                    <a:gd name="connsiteY2" fmla="*/ 864 h 218660"/>
                  </a:gdLst>
                  <a:ahLst/>
                  <a:cxnLst>
                    <a:cxn ang="0">
                      <a:pos x="connsiteX0" y="connsiteY0"/>
                    </a:cxn>
                    <a:cxn ang="0">
                      <a:pos x="connsiteX1" y="connsiteY1"/>
                    </a:cxn>
                    <a:cxn ang="0">
                      <a:pos x="connsiteX2" y="connsiteY2"/>
                    </a:cxn>
                  </a:cxnLst>
                  <a:rect l="l" t="t" r="r" b="b"/>
                  <a:pathLst>
                    <a:path w="357945" h="218660">
                      <a:moveTo>
                        <a:pt x="0" y="218487"/>
                      </a:moveTo>
                      <a:cubicBezTo>
                        <a:pt x="40878" y="213328"/>
                        <a:pt x="281208" y="231624"/>
                        <a:pt x="329008" y="195353"/>
                      </a:cubicBezTo>
                      <a:cubicBezTo>
                        <a:pt x="376808" y="159083"/>
                        <a:pt x="367163" y="-13649"/>
                        <a:pt x="286800" y="864"/>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53" name="Freeform 68">
                  <a:extLst>
                    <a:ext uri="{FF2B5EF4-FFF2-40B4-BE49-F238E27FC236}">
                      <a16:creationId xmlns:a16="http://schemas.microsoft.com/office/drawing/2014/main" id="{2660D855-59A7-4720-B8C6-0F9448E03140}"/>
                    </a:ext>
                  </a:extLst>
                </p:cNvPr>
                <p:cNvSpPr/>
                <p:nvPr/>
              </p:nvSpPr>
              <p:spPr bwMode="gray">
                <a:xfrm>
                  <a:off x="11053115" y="5303732"/>
                  <a:ext cx="501319" cy="123352"/>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3187 w 371072"/>
                    <a:gd name="connsiteY1" fmla="*/ 242681 h 264795"/>
                    <a:gd name="connsiteX2" fmla="*/ 367665 w 371072"/>
                    <a:gd name="connsiteY2" fmla="*/ 99060 h 264795"/>
                    <a:gd name="connsiteX3" fmla="*/ 316230 w 371072"/>
                    <a:gd name="connsiteY3" fmla="*/ 0 h 264795"/>
                    <a:gd name="connsiteX0" fmla="*/ 0 w 316230"/>
                    <a:gd name="connsiteY0" fmla="*/ 264795 h 268412"/>
                    <a:gd name="connsiteX1" fmla="*/ 273187 w 316230"/>
                    <a:gd name="connsiteY1" fmla="*/ 242681 h 268412"/>
                    <a:gd name="connsiteX2" fmla="*/ 316230 w 316230"/>
                    <a:gd name="connsiteY2" fmla="*/ 0 h 268412"/>
                    <a:gd name="connsiteX0" fmla="*/ 0 w 397022"/>
                    <a:gd name="connsiteY0" fmla="*/ 264795 h 264795"/>
                    <a:gd name="connsiteX1" fmla="*/ 384390 w 397022"/>
                    <a:gd name="connsiteY1" fmla="*/ 231864 h 264795"/>
                    <a:gd name="connsiteX2" fmla="*/ 316230 w 397022"/>
                    <a:gd name="connsiteY2" fmla="*/ 0 h 264795"/>
                    <a:gd name="connsiteX0" fmla="*/ 0 w 410446"/>
                    <a:gd name="connsiteY0" fmla="*/ 264795 h 264795"/>
                    <a:gd name="connsiteX1" fmla="*/ 384390 w 410446"/>
                    <a:gd name="connsiteY1" fmla="*/ 231864 h 264795"/>
                    <a:gd name="connsiteX2" fmla="*/ 316230 w 410446"/>
                    <a:gd name="connsiteY2" fmla="*/ 0 h 264795"/>
                    <a:gd name="connsiteX0" fmla="*/ 0 w 410446"/>
                    <a:gd name="connsiteY0" fmla="*/ 264795 h 264795"/>
                    <a:gd name="connsiteX1" fmla="*/ 384390 w 410446"/>
                    <a:gd name="connsiteY1" fmla="*/ 253498 h 264795"/>
                    <a:gd name="connsiteX2" fmla="*/ 316230 w 410446"/>
                    <a:gd name="connsiteY2" fmla="*/ 0 h 264795"/>
                    <a:gd name="connsiteX0" fmla="*/ 0 w 410446"/>
                    <a:gd name="connsiteY0" fmla="*/ 264795 h 264795"/>
                    <a:gd name="connsiteX1" fmla="*/ 384390 w 410446"/>
                    <a:gd name="connsiteY1" fmla="*/ 258907 h 264795"/>
                    <a:gd name="connsiteX2" fmla="*/ 316230 w 410446"/>
                    <a:gd name="connsiteY2" fmla="*/ 0 h 264795"/>
                    <a:gd name="connsiteX0" fmla="*/ 0 w 440789"/>
                    <a:gd name="connsiteY0" fmla="*/ 271717 h 271717"/>
                    <a:gd name="connsiteX1" fmla="*/ 384390 w 440789"/>
                    <a:gd name="connsiteY1" fmla="*/ 265829 h 271717"/>
                    <a:gd name="connsiteX2" fmla="*/ 316230 w 440789"/>
                    <a:gd name="connsiteY2" fmla="*/ 6922 h 271717"/>
                    <a:gd name="connsiteX0" fmla="*/ 0 w 461170"/>
                    <a:gd name="connsiteY0" fmla="*/ 288655 h 303978"/>
                    <a:gd name="connsiteX1" fmla="*/ 384390 w 461170"/>
                    <a:gd name="connsiteY1" fmla="*/ 282767 h 303978"/>
                    <a:gd name="connsiteX2" fmla="*/ 377077 w 461170"/>
                    <a:gd name="connsiteY2" fmla="*/ 7634 h 303978"/>
                    <a:gd name="connsiteX0" fmla="*/ 0 w 437194"/>
                    <a:gd name="connsiteY0" fmla="*/ 281021 h 296344"/>
                    <a:gd name="connsiteX1" fmla="*/ 384390 w 437194"/>
                    <a:gd name="connsiteY1" fmla="*/ 275133 h 296344"/>
                    <a:gd name="connsiteX2" fmla="*/ 377077 w 437194"/>
                    <a:gd name="connsiteY2" fmla="*/ 0 h 296344"/>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308064 h 309112"/>
                    <a:gd name="connsiteX1" fmla="*/ 384390 w 432414"/>
                    <a:gd name="connsiteY1" fmla="*/ 275133 h 309112"/>
                    <a:gd name="connsiteX2" fmla="*/ 377077 w 432414"/>
                    <a:gd name="connsiteY2" fmla="*/ 0 h 309112"/>
                    <a:gd name="connsiteX0" fmla="*/ 0 w 432414"/>
                    <a:gd name="connsiteY0" fmla="*/ 308064 h 318424"/>
                    <a:gd name="connsiteX1" fmla="*/ 384390 w 432414"/>
                    <a:gd name="connsiteY1" fmla="*/ 275133 h 318424"/>
                    <a:gd name="connsiteX2" fmla="*/ 377077 w 432414"/>
                    <a:gd name="connsiteY2" fmla="*/ 0 h 318424"/>
                    <a:gd name="connsiteX0" fmla="*/ 0 w 432414"/>
                    <a:gd name="connsiteY0" fmla="*/ 281021 h 302303"/>
                    <a:gd name="connsiteX1" fmla="*/ 384390 w 432414"/>
                    <a:gd name="connsiteY1" fmla="*/ 275133 h 302303"/>
                    <a:gd name="connsiteX2" fmla="*/ 377077 w 432414"/>
                    <a:gd name="connsiteY2" fmla="*/ 0 h 302303"/>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297247 h 303044"/>
                    <a:gd name="connsiteX1" fmla="*/ 384390 w 432414"/>
                    <a:gd name="connsiteY1" fmla="*/ 275133 h 303044"/>
                    <a:gd name="connsiteX2" fmla="*/ 377077 w 432414"/>
                    <a:gd name="connsiteY2" fmla="*/ 0 h 303044"/>
                  </a:gdLst>
                  <a:ahLst/>
                  <a:cxnLst>
                    <a:cxn ang="0">
                      <a:pos x="connsiteX0" y="connsiteY0"/>
                    </a:cxn>
                    <a:cxn ang="0">
                      <a:pos x="connsiteX1" y="connsiteY1"/>
                    </a:cxn>
                    <a:cxn ang="0">
                      <a:pos x="connsiteX2" y="connsiteY2"/>
                    </a:cxn>
                  </a:cxnLst>
                  <a:rect l="l" t="t" r="r" b="b"/>
                  <a:pathLst>
                    <a:path w="432414" h="303044">
                      <a:moveTo>
                        <a:pt x="0" y="297247"/>
                      </a:moveTo>
                      <a:cubicBezTo>
                        <a:pt x="181455" y="292088"/>
                        <a:pt x="321544" y="324674"/>
                        <a:pt x="384390" y="275133"/>
                      </a:cubicBezTo>
                      <a:cubicBezTo>
                        <a:pt x="447236" y="225592"/>
                        <a:pt x="452036" y="12699"/>
                        <a:pt x="377077"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54" name="Freeform 66">
                  <a:extLst>
                    <a:ext uri="{FF2B5EF4-FFF2-40B4-BE49-F238E27FC236}">
                      <a16:creationId xmlns:a16="http://schemas.microsoft.com/office/drawing/2014/main" id="{EC88C13A-ADF8-4250-A568-C4DF02718F06}"/>
                    </a:ext>
                  </a:extLst>
                </p:cNvPr>
                <p:cNvSpPr/>
                <p:nvPr/>
              </p:nvSpPr>
              <p:spPr bwMode="gray">
                <a:xfrm flipV="1">
                  <a:off x="11111020" y="5469901"/>
                  <a:ext cx="374492" cy="79295"/>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8173 w 371072"/>
                    <a:gd name="connsiteY1" fmla="*/ 241661 h 264795"/>
                    <a:gd name="connsiteX2" fmla="*/ 367665 w 371072"/>
                    <a:gd name="connsiteY2" fmla="*/ 99060 h 264795"/>
                    <a:gd name="connsiteX3" fmla="*/ 316230 w 371072"/>
                    <a:gd name="connsiteY3" fmla="*/ 0 h 264795"/>
                    <a:gd name="connsiteX0" fmla="*/ 0 w 316230"/>
                    <a:gd name="connsiteY0" fmla="*/ 264795 h 267865"/>
                    <a:gd name="connsiteX1" fmla="*/ 278173 w 316230"/>
                    <a:gd name="connsiteY1" fmla="*/ 241661 h 267865"/>
                    <a:gd name="connsiteX2" fmla="*/ 316230 w 316230"/>
                    <a:gd name="connsiteY2" fmla="*/ 0 h 267865"/>
                    <a:gd name="connsiteX0" fmla="*/ 0 w 348201"/>
                    <a:gd name="connsiteY0" fmla="*/ 264795 h 267865"/>
                    <a:gd name="connsiteX1" fmla="*/ 329008 w 348201"/>
                    <a:gd name="connsiteY1" fmla="*/ 241661 h 267865"/>
                    <a:gd name="connsiteX2" fmla="*/ 316230 w 348201"/>
                    <a:gd name="connsiteY2" fmla="*/ 0 h 267865"/>
                    <a:gd name="connsiteX0" fmla="*/ 0 w 377767"/>
                    <a:gd name="connsiteY0" fmla="*/ 264795 h 267865"/>
                    <a:gd name="connsiteX1" fmla="*/ 329008 w 377767"/>
                    <a:gd name="connsiteY1" fmla="*/ 241661 h 267865"/>
                    <a:gd name="connsiteX2" fmla="*/ 377767 w 377767"/>
                    <a:gd name="connsiteY2" fmla="*/ 0 h 267865"/>
                    <a:gd name="connsiteX0" fmla="*/ 0 w 351892"/>
                    <a:gd name="connsiteY0" fmla="*/ 205831 h 205831"/>
                    <a:gd name="connsiteX1" fmla="*/ 329008 w 351892"/>
                    <a:gd name="connsiteY1" fmla="*/ 182697 h 205831"/>
                    <a:gd name="connsiteX2" fmla="*/ 329608 w 351892"/>
                    <a:gd name="connsiteY2" fmla="*/ 0 h 205831"/>
                    <a:gd name="connsiteX0" fmla="*/ 0 w 380444"/>
                    <a:gd name="connsiteY0" fmla="*/ 211727 h 211727"/>
                    <a:gd name="connsiteX1" fmla="*/ 329008 w 380444"/>
                    <a:gd name="connsiteY1" fmla="*/ 188593 h 211727"/>
                    <a:gd name="connsiteX2" fmla="*/ 380444 w 380444"/>
                    <a:gd name="connsiteY2" fmla="*/ 0 h 211727"/>
                    <a:gd name="connsiteX0" fmla="*/ 0 w 341777"/>
                    <a:gd name="connsiteY0" fmla="*/ 235312 h 236529"/>
                    <a:gd name="connsiteX1" fmla="*/ 329008 w 341777"/>
                    <a:gd name="connsiteY1" fmla="*/ 212178 h 236529"/>
                    <a:gd name="connsiteX2" fmla="*/ 284125 w 341777"/>
                    <a:gd name="connsiteY2" fmla="*/ 0 h 236529"/>
                    <a:gd name="connsiteX0" fmla="*/ 0 w 349318"/>
                    <a:gd name="connsiteY0" fmla="*/ 235312 h 236526"/>
                    <a:gd name="connsiteX1" fmla="*/ 329008 w 349318"/>
                    <a:gd name="connsiteY1" fmla="*/ 212178 h 236526"/>
                    <a:gd name="connsiteX2" fmla="*/ 284125 w 349318"/>
                    <a:gd name="connsiteY2" fmla="*/ 0 h 236526"/>
                    <a:gd name="connsiteX0" fmla="*/ 0 w 357781"/>
                    <a:gd name="connsiteY0" fmla="*/ 211727 h 211727"/>
                    <a:gd name="connsiteX1" fmla="*/ 329008 w 357781"/>
                    <a:gd name="connsiteY1" fmla="*/ 188593 h 211727"/>
                    <a:gd name="connsiteX2" fmla="*/ 308205 w 357781"/>
                    <a:gd name="connsiteY2" fmla="*/ 0 h 211727"/>
                    <a:gd name="connsiteX0" fmla="*/ 0 w 360084"/>
                    <a:gd name="connsiteY0" fmla="*/ 211727 h 211727"/>
                    <a:gd name="connsiteX1" fmla="*/ 329008 w 360084"/>
                    <a:gd name="connsiteY1" fmla="*/ 188593 h 211727"/>
                    <a:gd name="connsiteX2" fmla="*/ 313556 w 360084"/>
                    <a:gd name="connsiteY2" fmla="*/ 0 h 211727"/>
                    <a:gd name="connsiteX0" fmla="*/ 0 w 360906"/>
                    <a:gd name="connsiteY0" fmla="*/ 211727 h 211727"/>
                    <a:gd name="connsiteX1" fmla="*/ 329008 w 360906"/>
                    <a:gd name="connsiteY1" fmla="*/ 188593 h 211727"/>
                    <a:gd name="connsiteX2" fmla="*/ 313556 w 360906"/>
                    <a:gd name="connsiteY2" fmla="*/ 0 h 211727"/>
                    <a:gd name="connsiteX0" fmla="*/ 0 w 365049"/>
                    <a:gd name="connsiteY0" fmla="*/ 211727 h 211727"/>
                    <a:gd name="connsiteX1" fmla="*/ 329008 w 365049"/>
                    <a:gd name="connsiteY1" fmla="*/ 188593 h 211727"/>
                    <a:gd name="connsiteX2" fmla="*/ 322140 w 365049"/>
                    <a:gd name="connsiteY2" fmla="*/ 0 h 211727"/>
                  </a:gdLst>
                  <a:ahLst/>
                  <a:cxnLst>
                    <a:cxn ang="0">
                      <a:pos x="connsiteX0" y="connsiteY0"/>
                    </a:cxn>
                    <a:cxn ang="0">
                      <a:pos x="connsiteX1" y="connsiteY1"/>
                    </a:cxn>
                    <a:cxn ang="0">
                      <a:pos x="connsiteX2" y="connsiteY2"/>
                    </a:cxn>
                  </a:cxnLst>
                  <a:rect l="l" t="t" r="r" b="b"/>
                  <a:pathLst>
                    <a:path w="365049" h="211727">
                      <a:moveTo>
                        <a:pt x="0" y="211727"/>
                      </a:moveTo>
                      <a:cubicBezTo>
                        <a:pt x="40878" y="206568"/>
                        <a:pt x="275318" y="223881"/>
                        <a:pt x="329008" y="188593"/>
                      </a:cubicBezTo>
                      <a:cubicBezTo>
                        <a:pt x="382698" y="153305"/>
                        <a:pt x="373072" y="3176"/>
                        <a:pt x="322140"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grpSp>
        </p:grpSp>
        <p:sp>
          <p:nvSpPr>
            <p:cNvPr id="49" name="TextBox 48">
              <a:extLst>
                <a:ext uri="{FF2B5EF4-FFF2-40B4-BE49-F238E27FC236}">
                  <a16:creationId xmlns:a16="http://schemas.microsoft.com/office/drawing/2014/main" id="{1775D0B5-AD15-4C45-9D8D-BEE1765CA789}"/>
                </a:ext>
              </a:extLst>
            </p:cNvPr>
            <p:cNvSpPr txBox="1"/>
            <p:nvPr/>
          </p:nvSpPr>
          <p:spPr bwMode="gray">
            <a:xfrm>
              <a:off x="10435243"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Purged</a:t>
              </a:r>
            </a:p>
          </p:txBody>
        </p:sp>
      </p:grpSp>
      <p:cxnSp>
        <p:nvCxnSpPr>
          <p:cNvPr id="68" name="Straight Connector 67">
            <a:extLst>
              <a:ext uri="{FF2B5EF4-FFF2-40B4-BE49-F238E27FC236}">
                <a16:creationId xmlns:a16="http://schemas.microsoft.com/office/drawing/2014/main" id="{50FD23C8-1ED4-4324-B7EF-8105F4A0BA20}"/>
              </a:ext>
            </a:extLst>
          </p:cNvPr>
          <p:cNvCxnSpPr>
            <a:cxnSpLocks/>
          </p:cNvCxnSpPr>
          <p:nvPr/>
        </p:nvCxnSpPr>
        <p:spPr bwMode="gray">
          <a:xfrm>
            <a:off x="9648010" y="3686812"/>
            <a:ext cx="220525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E29B8FD-37DC-4D61-BB6A-A857B6F3FF5C}"/>
              </a:ext>
            </a:extLst>
          </p:cNvPr>
          <p:cNvCxnSpPr>
            <a:cxnSpLocks/>
          </p:cNvCxnSpPr>
          <p:nvPr/>
        </p:nvCxnSpPr>
        <p:spPr bwMode="gray">
          <a:xfrm>
            <a:off x="9648010" y="4762209"/>
            <a:ext cx="220525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27FD6A7E-4F43-4AA0-B53A-E058F21B7353}"/>
              </a:ext>
            </a:extLst>
          </p:cNvPr>
          <p:cNvGrpSpPr/>
          <p:nvPr/>
        </p:nvGrpSpPr>
        <p:grpSpPr>
          <a:xfrm>
            <a:off x="9619594" y="3824202"/>
            <a:ext cx="743958" cy="800104"/>
            <a:chOff x="9619594" y="3824202"/>
            <a:chExt cx="743958" cy="800104"/>
          </a:xfrm>
        </p:grpSpPr>
        <p:sp>
          <p:nvSpPr>
            <p:cNvPr id="97" name="TextBox 96">
              <a:extLst>
                <a:ext uri="{FF2B5EF4-FFF2-40B4-BE49-F238E27FC236}">
                  <a16:creationId xmlns:a16="http://schemas.microsoft.com/office/drawing/2014/main" id="{AC1D9B40-64E1-4E96-9139-979E671A9BB0}"/>
                </a:ext>
              </a:extLst>
            </p:cNvPr>
            <p:cNvSpPr txBox="1"/>
            <p:nvPr/>
          </p:nvSpPr>
          <p:spPr bwMode="gray">
            <a:xfrm>
              <a:off x="9619594" y="4309160"/>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Non-Ex</a:t>
              </a:r>
            </a:p>
          </p:txBody>
        </p:sp>
        <p:grpSp>
          <p:nvGrpSpPr>
            <p:cNvPr id="5" name="Group 4">
              <a:extLst>
                <a:ext uri="{FF2B5EF4-FFF2-40B4-BE49-F238E27FC236}">
                  <a16:creationId xmlns:a16="http://schemas.microsoft.com/office/drawing/2014/main" id="{90C876AE-3DD2-4BC8-B98E-9860CA399AFD}"/>
                </a:ext>
              </a:extLst>
            </p:cNvPr>
            <p:cNvGrpSpPr/>
            <p:nvPr/>
          </p:nvGrpSpPr>
          <p:grpSpPr>
            <a:xfrm>
              <a:off x="9670749" y="3824202"/>
              <a:ext cx="641652" cy="522157"/>
              <a:chOff x="9670749" y="3818487"/>
              <a:chExt cx="641652" cy="522157"/>
            </a:xfrm>
          </p:grpSpPr>
          <p:grpSp>
            <p:nvGrpSpPr>
              <p:cNvPr id="102" name="Group 101">
                <a:extLst>
                  <a:ext uri="{FF2B5EF4-FFF2-40B4-BE49-F238E27FC236}">
                    <a16:creationId xmlns:a16="http://schemas.microsoft.com/office/drawing/2014/main" id="{602C2018-11AC-49E7-AFC6-636A6474B654}"/>
                  </a:ext>
                </a:extLst>
              </p:cNvPr>
              <p:cNvGrpSpPr/>
              <p:nvPr/>
            </p:nvGrpSpPr>
            <p:grpSpPr bwMode="gray">
              <a:xfrm>
                <a:off x="9804190" y="3922559"/>
                <a:ext cx="374768" cy="314012"/>
                <a:chOff x="5382466" y="2044232"/>
                <a:chExt cx="937763" cy="785738"/>
              </a:xfrm>
              <a:solidFill>
                <a:schemeClr val="tx1"/>
              </a:solidFill>
            </p:grpSpPr>
            <p:grpSp>
              <p:nvGrpSpPr>
                <p:cNvPr id="103" name="Gruppieren 3076">
                  <a:extLst>
                    <a:ext uri="{FF2B5EF4-FFF2-40B4-BE49-F238E27FC236}">
                      <a16:creationId xmlns:a16="http://schemas.microsoft.com/office/drawing/2014/main" id="{05DDB4FD-E87A-4015-B11F-AC63B0B5FEF9}"/>
                    </a:ext>
                  </a:extLst>
                </p:cNvPr>
                <p:cNvGrpSpPr/>
                <p:nvPr/>
              </p:nvGrpSpPr>
              <p:grpSpPr bwMode="gray">
                <a:xfrm>
                  <a:off x="5624826" y="2208674"/>
                  <a:ext cx="453043" cy="460345"/>
                  <a:chOff x="6433785" y="4335053"/>
                  <a:chExt cx="453043" cy="460345"/>
                </a:xfrm>
                <a:grpFill/>
              </p:grpSpPr>
              <p:sp>
                <p:nvSpPr>
                  <p:cNvPr id="105" name="Rechteck 297">
                    <a:extLst>
                      <a:ext uri="{FF2B5EF4-FFF2-40B4-BE49-F238E27FC236}">
                        <a16:creationId xmlns:a16="http://schemas.microsoft.com/office/drawing/2014/main" id="{90BB0E4F-A508-45E2-909D-7115A6F710DB}"/>
                      </a:ext>
                    </a:extLst>
                  </p:cNvPr>
                  <p:cNvSpPr/>
                  <p:nvPr/>
                </p:nvSpPr>
                <p:spPr bwMode="gray">
                  <a:xfrm>
                    <a:off x="6684854" y="4541041"/>
                    <a:ext cx="201974" cy="254357"/>
                  </a:xfrm>
                  <a:custGeom>
                    <a:avLst/>
                    <a:gdLst/>
                    <a:ahLst/>
                    <a:cxnLst/>
                    <a:rect l="l" t="t" r="r" b="b"/>
                    <a:pathLst>
                      <a:path w="171193" h="215593">
                        <a:moveTo>
                          <a:pt x="2732" y="0"/>
                        </a:moveTo>
                        <a:cubicBezTo>
                          <a:pt x="31801" y="5583"/>
                          <a:pt x="45458" y="13241"/>
                          <a:pt x="55614" y="25569"/>
                        </a:cubicBezTo>
                        <a:lnTo>
                          <a:pt x="85597" y="78441"/>
                        </a:lnTo>
                        <a:lnTo>
                          <a:pt x="115579" y="25569"/>
                        </a:lnTo>
                        <a:cubicBezTo>
                          <a:pt x="125735" y="13241"/>
                          <a:pt x="139392" y="5583"/>
                          <a:pt x="168461" y="0"/>
                        </a:cubicBezTo>
                        <a:lnTo>
                          <a:pt x="169737" y="36539"/>
                        </a:lnTo>
                        <a:cubicBezTo>
                          <a:pt x="150035" y="44140"/>
                          <a:pt x="147302" y="43960"/>
                          <a:pt x="138661" y="56436"/>
                        </a:cubicBezTo>
                        <a:lnTo>
                          <a:pt x="104983" y="112627"/>
                        </a:lnTo>
                        <a:lnTo>
                          <a:pt x="132675" y="161459"/>
                        </a:lnTo>
                        <a:cubicBezTo>
                          <a:pt x="138215" y="169054"/>
                          <a:pt x="153825" y="177709"/>
                          <a:pt x="171193" y="182998"/>
                        </a:cubicBezTo>
                        <a:cubicBezTo>
                          <a:pt x="170615" y="193863"/>
                          <a:pt x="170036" y="204728"/>
                          <a:pt x="169458" y="215593"/>
                        </a:cubicBezTo>
                        <a:cubicBezTo>
                          <a:pt x="145227" y="213278"/>
                          <a:pt x="126884" y="206716"/>
                          <a:pt x="109815" y="185383"/>
                        </a:cubicBezTo>
                        <a:lnTo>
                          <a:pt x="85597" y="144974"/>
                        </a:lnTo>
                        <a:lnTo>
                          <a:pt x="61378" y="185383"/>
                        </a:lnTo>
                        <a:cubicBezTo>
                          <a:pt x="44309" y="206716"/>
                          <a:pt x="25966" y="213278"/>
                          <a:pt x="1735" y="215593"/>
                        </a:cubicBezTo>
                        <a:cubicBezTo>
                          <a:pt x="1157" y="204728"/>
                          <a:pt x="578" y="193863"/>
                          <a:pt x="0" y="182998"/>
                        </a:cubicBezTo>
                        <a:cubicBezTo>
                          <a:pt x="17368" y="177709"/>
                          <a:pt x="32978" y="169054"/>
                          <a:pt x="38518" y="161459"/>
                        </a:cubicBezTo>
                        <a:lnTo>
                          <a:pt x="66210" y="112627"/>
                        </a:lnTo>
                        <a:lnTo>
                          <a:pt x="32532" y="56436"/>
                        </a:lnTo>
                        <a:cubicBezTo>
                          <a:pt x="23891" y="43960"/>
                          <a:pt x="21158" y="44140"/>
                          <a:pt x="1456" y="36539"/>
                        </a:cubicBezTo>
                        <a:cubicBezTo>
                          <a:pt x="1881" y="24360"/>
                          <a:pt x="2307" y="12180"/>
                          <a:pt x="2732" y="0"/>
                        </a:cubicBez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en-US">
                      <a:solidFill>
                        <a:schemeClr val="tx1"/>
                      </a:solidFill>
                      <a:cs typeface="Arial" pitchFamily="34" charset="0"/>
                    </a:endParaRPr>
                  </a:p>
                </p:txBody>
              </p:sp>
              <p:sp>
                <p:nvSpPr>
                  <p:cNvPr id="106" name="Rechteck 305">
                    <a:extLst>
                      <a:ext uri="{FF2B5EF4-FFF2-40B4-BE49-F238E27FC236}">
                        <a16:creationId xmlns:a16="http://schemas.microsoft.com/office/drawing/2014/main" id="{D481BF9F-19C1-477E-97C3-E9C7F4E65944}"/>
                      </a:ext>
                    </a:extLst>
                  </p:cNvPr>
                  <p:cNvSpPr/>
                  <p:nvPr/>
                </p:nvSpPr>
                <p:spPr bwMode="gray">
                  <a:xfrm>
                    <a:off x="6433785" y="4335053"/>
                    <a:ext cx="212100" cy="452561"/>
                  </a:xfrm>
                  <a:custGeom>
                    <a:avLst/>
                    <a:gdLst/>
                    <a:ahLst/>
                    <a:cxnLst/>
                    <a:rect l="l" t="t" r="r" b="b"/>
                    <a:pathLst>
                      <a:path w="179776" h="383591">
                        <a:moveTo>
                          <a:pt x="104498" y="0"/>
                        </a:moveTo>
                        <a:cubicBezTo>
                          <a:pt x="134377" y="0"/>
                          <a:pt x="161327" y="12540"/>
                          <a:pt x="179776" y="33145"/>
                        </a:cubicBezTo>
                        <a:lnTo>
                          <a:pt x="151910" y="61011"/>
                        </a:lnTo>
                        <a:cubicBezTo>
                          <a:pt x="141353" y="45309"/>
                          <a:pt x="123149" y="36648"/>
                          <a:pt x="102922" y="36648"/>
                        </a:cubicBezTo>
                        <a:cubicBezTo>
                          <a:pt x="64629" y="36648"/>
                          <a:pt x="33587" y="67690"/>
                          <a:pt x="33587" y="105984"/>
                        </a:cubicBezTo>
                        <a:cubicBezTo>
                          <a:pt x="33587" y="142135"/>
                          <a:pt x="61253" y="171823"/>
                          <a:pt x="96657" y="174054"/>
                        </a:cubicBezTo>
                        <a:lnTo>
                          <a:pt x="109630" y="174595"/>
                        </a:lnTo>
                        <a:lnTo>
                          <a:pt x="140774" y="174595"/>
                        </a:lnTo>
                        <a:lnTo>
                          <a:pt x="140774" y="175318"/>
                        </a:lnTo>
                        <a:lnTo>
                          <a:pt x="140774" y="181919"/>
                        </a:lnTo>
                        <a:lnTo>
                          <a:pt x="140774" y="201672"/>
                        </a:lnTo>
                        <a:lnTo>
                          <a:pt x="140774" y="208273"/>
                        </a:lnTo>
                        <a:lnTo>
                          <a:pt x="140774" y="208996"/>
                        </a:lnTo>
                        <a:lnTo>
                          <a:pt x="109630" y="208996"/>
                        </a:lnTo>
                        <a:lnTo>
                          <a:pt x="96657" y="209537"/>
                        </a:lnTo>
                        <a:cubicBezTo>
                          <a:pt x="61253" y="211768"/>
                          <a:pt x="33587" y="241456"/>
                          <a:pt x="33587" y="277607"/>
                        </a:cubicBezTo>
                        <a:cubicBezTo>
                          <a:pt x="33587" y="315901"/>
                          <a:pt x="64629" y="346943"/>
                          <a:pt x="102922" y="346943"/>
                        </a:cubicBezTo>
                        <a:cubicBezTo>
                          <a:pt x="123149" y="346943"/>
                          <a:pt x="141353" y="338282"/>
                          <a:pt x="151910" y="322580"/>
                        </a:cubicBezTo>
                        <a:lnTo>
                          <a:pt x="179776" y="350446"/>
                        </a:lnTo>
                        <a:cubicBezTo>
                          <a:pt x="161327" y="371051"/>
                          <a:pt x="134377" y="383591"/>
                          <a:pt x="104498" y="383591"/>
                        </a:cubicBezTo>
                        <a:cubicBezTo>
                          <a:pt x="46785" y="383591"/>
                          <a:pt x="0" y="336806"/>
                          <a:pt x="0" y="279093"/>
                        </a:cubicBezTo>
                        <a:cubicBezTo>
                          <a:pt x="0" y="241544"/>
                          <a:pt x="19804" y="208621"/>
                          <a:pt x="50253" y="191796"/>
                        </a:cubicBezTo>
                        <a:cubicBezTo>
                          <a:pt x="19804" y="174970"/>
                          <a:pt x="0" y="142048"/>
                          <a:pt x="0" y="104498"/>
                        </a:cubicBezTo>
                        <a:cubicBezTo>
                          <a:pt x="0" y="46785"/>
                          <a:pt x="46785" y="0"/>
                          <a:pt x="104498" y="0"/>
                        </a:cubicBez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en-US">
                      <a:solidFill>
                        <a:schemeClr val="tx1"/>
                      </a:solidFill>
                      <a:cs typeface="Arial" pitchFamily="34" charset="0"/>
                    </a:endParaRPr>
                  </a:p>
                </p:txBody>
              </p:sp>
            </p:grpSp>
            <p:sp>
              <p:nvSpPr>
                <p:cNvPr id="104" name="Sechseck 314">
                  <a:extLst>
                    <a:ext uri="{FF2B5EF4-FFF2-40B4-BE49-F238E27FC236}">
                      <a16:creationId xmlns:a16="http://schemas.microsoft.com/office/drawing/2014/main" id="{AD08CFB5-2BCD-4055-AC78-907AA8A0D525}"/>
                    </a:ext>
                  </a:extLst>
                </p:cNvPr>
                <p:cNvSpPr/>
                <p:nvPr/>
              </p:nvSpPr>
              <p:spPr bwMode="gray">
                <a:xfrm>
                  <a:off x="5382466" y="2044232"/>
                  <a:ext cx="937763" cy="785738"/>
                </a:xfrm>
                <a:custGeom>
                  <a:avLst/>
                  <a:gdLst/>
                  <a:ahLst/>
                  <a:cxnLst/>
                  <a:rect l="l" t="t" r="r" b="b"/>
                  <a:pathLst>
                    <a:path w="988678" h="828399">
                      <a:moveTo>
                        <a:pt x="263630" y="43631"/>
                      </a:moveTo>
                      <a:lnTo>
                        <a:pt x="52073" y="414199"/>
                      </a:lnTo>
                      <a:lnTo>
                        <a:pt x="263630" y="784767"/>
                      </a:lnTo>
                      <a:lnTo>
                        <a:pt x="725049" y="784767"/>
                      </a:lnTo>
                      <a:lnTo>
                        <a:pt x="936606" y="414199"/>
                      </a:lnTo>
                      <a:lnTo>
                        <a:pt x="725049" y="43631"/>
                      </a:lnTo>
                      <a:close/>
                      <a:moveTo>
                        <a:pt x="236466" y="0"/>
                      </a:moveTo>
                      <a:lnTo>
                        <a:pt x="752212" y="0"/>
                      </a:lnTo>
                      <a:lnTo>
                        <a:pt x="988678" y="414200"/>
                      </a:lnTo>
                      <a:lnTo>
                        <a:pt x="752212" y="828399"/>
                      </a:lnTo>
                      <a:lnTo>
                        <a:pt x="236466" y="828399"/>
                      </a:lnTo>
                      <a:lnTo>
                        <a:pt x="0" y="414200"/>
                      </a:ln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en-US">
                    <a:solidFill>
                      <a:schemeClr val="tx1"/>
                    </a:solidFill>
                    <a:cs typeface="Arial" pitchFamily="34" charset="0"/>
                  </a:endParaRPr>
                </a:p>
              </p:txBody>
            </p:sp>
          </p:grpSp>
          <p:sp>
            <p:nvSpPr>
              <p:cNvPr id="4" name="Multiplication Sign 3">
                <a:extLst>
                  <a:ext uri="{FF2B5EF4-FFF2-40B4-BE49-F238E27FC236}">
                    <a16:creationId xmlns:a16="http://schemas.microsoft.com/office/drawing/2014/main" id="{7C904752-3222-46EC-9921-BDA5843193E5}"/>
                  </a:ext>
                </a:extLst>
              </p:cNvPr>
              <p:cNvSpPr/>
              <p:nvPr/>
            </p:nvSpPr>
            <p:spPr bwMode="gray">
              <a:xfrm>
                <a:off x="9670749" y="3818487"/>
                <a:ext cx="641652" cy="522157"/>
              </a:xfrm>
              <a:prstGeom prst="mathMultiply">
                <a:avLst>
                  <a:gd name="adj1" fmla="val 0"/>
                </a:avLst>
              </a:prstGeom>
              <a:solidFill>
                <a:schemeClr val="tx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sp>
        <p:nvSpPr>
          <p:cNvPr id="62" name="AutoShape 6">
            <a:hlinkClick r:id="rId5" action="ppaction://hlinksldjump" highlightClick="1"/>
            <a:extLst>
              <a:ext uri="{FF2B5EF4-FFF2-40B4-BE49-F238E27FC236}">
                <a16:creationId xmlns:a16="http://schemas.microsoft.com/office/drawing/2014/main" id="{D2FD59D6-DB37-4A76-A4E4-A6433AF57190}"/>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354961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12019B4-36D2-4214-8AEC-31397A726417}"/>
              </a:ext>
            </a:extLst>
          </p:cNvPr>
          <p:cNvSpPr>
            <a:spLocks noGrp="1"/>
          </p:cNvSpPr>
          <p:nvPr>
            <p:ph type="title"/>
          </p:nvPr>
        </p:nvSpPr>
        <p:spPr bwMode="gray"/>
        <p:txBody>
          <a:bodyPr/>
          <a:lstStyle/>
          <a:p>
            <a:r>
              <a:rPr lang="en-US" altLang="de-DE"/>
              <a:t>Zone 2</a:t>
            </a:r>
            <a:endParaRPr lang="de-DE" dirty="0"/>
          </a:p>
        </p:txBody>
      </p:sp>
      <p:sp>
        <p:nvSpPr>
          <p:cNvPr id="7" name="Untertitel 6">
            <a:extLst>
              <a:ext uri="{FF2B5EF4-FFF2-40B4-BE49-F238E27FC236}">
                <a16:creationId xmlns:a16="http://schemas.microsoft.com/office/drawing/2014/main" id="{7F296E45-8CE5-4688-9890-0BA598D90BA5}"/>
              </a:ext>
            </a:extLst>
          </p:cNvPr>
          <p:cNvSpPr>
            <a:spLocks noGrp="1"/>
          </p:cNvSpPr>
          <p:nvPr>
            <p:ph type="subTitle" idx="13"/>
          </p:nvPr>
        </p:nvSpPr>
        <p:spPr bwMode="gray"/>
        <p:txBody>
          <a:bodyPr/>
          <a:lstStyle/>
          <a:p>
            <a:r>
              <a:rPr lang="de-DE"/>
              <a:t>Cat. 3G / EPL Gc, non flammable gases</a:t>
            </a:r>
            <a:endParaRPr lang="de-DE" dirty="0"/>
          </a:p>
        </p:txBody>
      </p:sp>
      <p:sp>
        <p:nvSpPr>
          <p:cNvPr id="29" name="Inhaltsplatzhalter 8">
            <a:extLst>
              <a:ext uri="{FF2B5EF4-FFF2-40B4-BE49-F238E27FC236}">
                <a16:creationId xmlns:a16="http://schemas.microsoft.com/office/drawing/2014/main" id="{89176C50-9900-4969-A442-CBD8048C9B18}"/>
              </a:ext>
            </a:extLst>
          </p:cNvPr>
          <p:cNvSpPr txBox="1">
            <a:spLocks/>
          </p:cNvSpPr>
          <p:nvPr/>
        </p:nvSpPr>
        <p:spPr bwMode="gray">
          <a:xfrm>
            <a:off x="333264" y="2317640"/>
            <a:ext cx="5605200" cy="3594475"/>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lnSpc>
                <a:spcPct val="90000"/>
              </a:lnSpc>
              <a:spcBef>
                <a:spcPts val="400"/>
              </a:spcBef>
              <a:defRPr/>
            </a:pPr>
            <a:r>
              <a:rPr lang="en-GB" altLang="de-DE" dirty="0"/>
              <a:t>Manufacture Declaration (II 3G Ex </a:t>
            </a:r>
            <a:r>
              <a:rPr lang="en-GB" altLang="de-DE" dirty="0" err="1"/>
              <a:t>nA</a:t>
            </a:r>
            <a:r>
              <a:rPr lang="en-GB" altLang="de-DE" dirty="0"/>
              <a:t> </a:t>
            </a:r>
            <a:r>
              <a:rPr lang="en-GB" altLang="de-DE" dirty="0" err="1"/>
              <a:t>nC</a:t>
            </a:r>
            <a:r>
              <a:rPr lang="en-GB" altLang="de-DE" dirty="0"/>
              <a:t> II T4 </a:t>
            </a:r>
            <a:r>
              <a:rPr lang="en-GB" altLang="de-DE" dirty="0" err="1"/>
              <a:t>Gc</a:t>
            </a:r>
            <a:r>
              <a:rPr lang="en-GB" altLang="de-DE" dirty="0"/>
              <a:t>) </a:t>
            </a:r>
          </a:p>
          <a:p>
            <a:pPr lvl="1">
              <a:lnSpc>
                <a:spcPct val="90000"/>
              </a:lnSpc>
              <a:spcBef>
                <a:spcPts val="400"/>
              </a:spcBef>
              <a:defRPr/>
            </a:pPr>
            <a:r>
              <a:rPr lang="en-US" altLang="de-DE" dirty="0"/>
              <a:t>Ex </a:t>
            </a:r>
            <a:r>
              <a:rPr lang="en-US" altLang="de-DE" dirty="0" err="1"/>
              <a:t>nA</a:t>
            </a:r>
            <a:r>
              <a:rPr lang="en-US" altLang="de-DE" dirty="0"/>
              <a:t> </a:t>
            </a:r>
            <a:r>
              <a:rPr lang="en-US" altLang="de-DE" dirty="0" err="1"/>
              <a:t>nC</a:t>
            </a:r>
            <a:r>
              <a:rPr lang="en-US" altLang="de-DE" dirty="0"/>
              <a:t> (non </a:t>
            </a:r>
            <a:r>
              <a:rPr lang="en-US" altLang="de-DE" dirty="0" err="1"/>
              <a:t>incendive</a:t>
            </a:r>
            <a:r>
              <a:rPr lang="en-US" altLang="de-DE" dirty="0"/>
              <a:t>)</a:t>
            </a:r>
          </a:p>
          <a:p>
            <a:pPr lvl="1">
              <a:lnSpc>
                <a:spcPct val="90000"/>
              </a:lnSpc>
              <a:spcBef>
                <a:spcPts val="400"/>
              </a:spcBef>
              <a:defRPr/>
            </a:pPr>
            <a:r>
              <a:rPr lang="en-GB" altLang="de-DE" dirty="0"/>
              <a:t>non flammable sample gas </a:t>
            </a:r>
          </a:p>
          <a:p>
            <a:pPr lvl="1">
              <a:lnSpc>
                <a:spcPct val="90000"/>
              </a:lnSpc>
              <a:spcBef>
                <a:spcPts val="400"/>
              </a:spcBef>
              <a:defRPr/>
            </a:pPr>
            <a:r>
              <a:rPr lang="en-GB" altLang="de-DE" dirty="0"/>
              <a:t>IP54 Housing (AO2020 / AO2040) </a:t>
            </a:r>
          </a:p>
          <a:p>
            <a:pPr lvl="1">
              <a:lnSpc>
                <a:spcPct val="90000"/>
              </a:lnSpc>
              <a:spcBef>
                <a:spcPts val="400"/>
              </a:spcBef>
              <a:defRPr/>
            </a:pPr>
            <a:r>
              <a:rPr lang="en-GB" altLang="de-DE" dirty="0"/>
              <a:t>purgeable housing for corrosion protection</a:t>
            </a:r>
            <a:endParaRPr lang="en-US" altLang="de-DE" dirty="0"/>
          </a:p>
          <a:p>
            <a:pPr lvl="1">
              <a:lnSpc>
                <a:spcPct val="90000"/>
              </a:lnSpc>
              <a:spcBef>
                <a:spcPts val="400"/>
              </a:spcBef>
              <a:defRPr/>
            </a:pPr>
            <a:r>
              <a:rPr lang="en-GB" altLang="de-DE" dirty="0"/>
              <a:t>AO2000 </a:t>
            </a:r>
            <a:r>
              <a:rPr lang="en-GB" altLang="de-DE" dirty="0" err="1"/>
              <a:t>analyzer</a:t>
            </a:r>
            <a:r>
              <a:rPr lang="en-GB" altLang="de-DE" dirty="0"/>
              <a:t> modules</a:t>
            </a:r>
          </a:p>
          <a:p>
            <a:pPr marL="360036" lvl="1">
              <a:lnSpc>
                <a:spcPct val="90000"/>
              </a:lnSpc>
              <a:spcBef>
                <a:spcPts val="400"/>
              </a:spcBef>
              <a:buFont typeface="Arial" panose="020B0604020202020204" pitchFamily="34" charset="0"/>
              <a:buChar char="•"/>
              <a:defRPr/>
            </a:pPr>
            <a:r>
              <a:rPr lang="en-US" altLang="de-DE" dirty="0"/>
              <a:t>Uras26</a:t>
            </a:r>
          </a:p>
          <a:p>
            <a:pPr marL="360036" lvl="1">
              <a:lnSpc>
                <a:spcPct val="90000"/>
              </a:lnSpc>
              <a:spcBef>
                <a:spcPts val="400"/>
              </a:spcBef>
              <a:buFont typeface="Arial" panose="020B0604020202020204" pitchFamily="34" charset="0"/>
              <a:buChar char="•"/>
              <a:defRPr/>
            </a:pPr>
            <a:r>
              <a:rPr lang="en-US" altLang="de-DE" dirty="0"/>
              <a:t>Caldos25/27 </a:t>
            </a:r>
          </a:p>
          <a:p>
            <a:pPr marL="360036" lvl="1">
              <a:lnSpc>
                <a:spcPct val="90000"/>
              </a:lnSpc>
              <a:spcBef>
                <a:spcPts val="400"/>
              </a:spcBef>
              <a:buFont typeface="Arial" panose="020B0604020202020204" pitchFamily="34" charset="0"/>
              <a:buChar char="•"/>
              <a:defRPr/>
            </a:pPr>
            <a:r>
              <a:rPr lang="en-US" altLang="de-DE" dirty="0"/>
              <a:t>Magnos27/28 </a:t>
            </a:r>
          </a:p>
          <a:p>
            <a:pPr marL="360036" lvl="1">
              <a:lnSpc>
                <a:spcPct val="90000"/>
              </a:lnSpc>
              <a:spcBef>
                <a:spcPts val="400"/>
              </a:spcBef>
              <a:buFont typeface="Arial" panose="020B0604020202020204" pitchFamily="34" charset="0"/>
              <a:buChar char="•"/>
              <a:defRPr/>
            </a:pPr>
            <a:r>
              <a:rPr lang="en-US" altLang="de-DE" dirty="0"/>
              <a:t>Limas21 UV</a:t>
            </a:r>
          </a:p>
          <a:p>
            <a:pPr lvl="1">
              <a:lnSpc>
                <a:spcPct val="90000"/>
              </a:lnSpc>
              <a:spcBef>
                <a:spcPts val="400"/>
              </a:spcBef>
              <a:defRPr/>
            </a:pPr>
            <a:r>
              <a:rPr lang="en-US" altLang="de-DE" dirty="0"/>
              <a:t>Multi-analyzer systems possible</a:t>
            </a:r>
          </a:p>
          <a:p>
            <a:pPr lvl="1">
              <a:lnSpc>
                <a:spcPct val="90000"/>
              </a:lnSpc>
              <a:spcBef>
                <a:spcPts val="400"/>
              </a:spcBef>
              <a:defRPr/>
            </a:pPr>
            <a:r>
              <a:rPr lang="en-GB" altLang="de-DE" dirty="0"/>
              <a:t>Certified in accordance to: </a:t>
            </a:r>
          </a:p>
          <a:p>
            <a:pPr marL="1333500" lvl="1" indent="-1154113">
              <a:spcBef>
                <a:spcPts val="400"/>
              </a:spcBef>
              <a:buFont typeface="Arial" panose="020B0604020202020204" pitchFamily="34" charset="0"/>
              <a:buChar char="•"/>
              <a:defRPr/>
            </a:pPr>
            <a:r>
              <a:rPr lang="de-DE" dirty="0"/>
              <a:t>in preparation </a:t>
            </a:r>
          </a:p>
        </p:txBody>
      </p:sp>
      <p:sp>
        <p:nvSpPr>
          <p:cNvPr id="31" name="Rectangle 30">
            <a:extLst>
              <a:ext uri="{FF2B5EF4-FFF2-40B4-BE49-F238E27FC236}">
                <a16:creationId xmlns:a16="http://schemas.microsoft.com/office/drawing/2014/main" id="{5CEB8795-73B0-4CB6-A135-912699B111D0}"/>
              </a:ext>
            </a:extLst>
          </p:cNvPr>
          <p:cNvSpPr/>
          <p:nvPr/>
        </p:nvSpPr>
        <p:spPr bwMode="gray">
          <a:xfrm>
            <a:off x="336550" y="1931988"/>
            <a:ext cx="5601017" cy="31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de-DE" sz="1600" b="1" dirty="0">
                <a:solidFill>
                  <a:schemeClr val="bg1">
                    <a:lumMod val="50000"/>
                  </a:schemeClr>
                </a:solidFill>
              </a:rPr>
              <a:t>AO2000</a:t>
            </a:r>
          </a:p>
        </p:txBody>
      </p:sp>
      <p:cxnSp>
        <p:nvCxnSpPr>
          <p:cNvPr id="32" name="Straight Connector 31">
            <a:extLst>
              <a:ext uri="{FF2B5EF4-FFF2-40B4-BE49-F238E27FC236}">
                <a16:creationId xmlns:a16="http://schemas.microsoft.com/office/drawing/2014/main" id="{1AB8B598-F225-4784-90E0-73176E31624C}"/>
              </a:ext>
            </a:extLst>
          </p:cNvPr>
          <p:cNvCxnSpPr>
            <a:cxnSpLocks/>
          </p:cNvCxnSpPr>
          <p:nvPr/>
        </p:nvCxnSpPr>
        <p:spPr bwMode="gray">
          <a:xfrm flipH="1">
            <a:off x="336551" y="2247134"/>
            <a:ext cx="5601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Date Placeholder 32">
            <a:extLst>
              <a:ext uri="{FF2B5EF4-FFF2-40B4-BE49-F238E27FC236}">
                <a16:creationId xmlns:a16="http://schemas.microsoft.com/office/drawing/2014/main" id="{E9D96D3E-F235-4800-959D-E486AF8A7EC6}"/>
              </a:ext>
            </a:extLst>
          </p:cNvPr>
          <p:cNvSpPr>
            <a:spLocks noGrp="1"/>
          </p:cNvSpPr>
          <p:nvPr>
            <p:ph type="dt" sz="half" idx="14"/>
          </p:nvPr>
        </p:nvSpPr>
        <p:spPr bwMode="gray"/>
        <p:txBody>
          <a:bodyPr/>
          <a:lstStyle/>
          <a:p>
            <a:fld id="{31B31E0F-C2CD-45F7-A955-F52ED33D5A40}" type="datetime4">
              <a:rPr lang="en-US" smtClean="0"/>
              <a:t>September 8, 2019</a:t>
            </a:fld>
            <a:endParaRPr lang="en-US" dirty="0"/>
          </a:p>
        </p:txBody>
      </p:sp>
      <p:sp>
        <p:nvSpPr>
          <p:cNvPr id="34" name="Footer Placeholder 33">
            <a:extLst>
              <a:ext uri="{FF2B5EF4-FFF2-40B4-BE49-F238E27FC236}">
                <a16:creationId xmlns:a16="http://schemas.microsoft.com/office/drawing/2014/main" id="{AFE8A1B7-C25F-4A23-B0A2-C3DCD49A85EE}"/>
              </a:ext>
            </a:extLst>
          </p:cNvPr>
          <p:cNvSpPr>
            <a:spLocks noGrp="1"/>
          </p:cNvSpPr>
          <p:nvPr>
            <p:ph type="ftr" sz="quarter" idx="15"/>
          </p:nvPr>
        </p:nvSpPr>
        <p:spPr bwMode="gray"/>
        <p:txBody>
          <a:bodyPr/>
          <a:lstStyle/>
          <a:p>
            <a:pPr lvl="8"/>
            <a:endParaRPr lang="en-US" dirty="0"/>
          </a:p>
        </p:txBody>
      </p:sp>
      <p:sp>
        <p:nvSpPr>
          <p:cNvPr id="35" name="Slide Number Placeholder 34">
            <a:extLst>
              <a:ext uri="{FF2B5EF4-FFF2-40B4-BE49-F238E27FC236}">
                <a16:creationId xmlns:a16="http://schemas.microsoft.com/office/drawing/2014/main" id="{5A0CC5DE-A214-41D7-A43D-A709EF184DD4}"/>
              </a:ext>
            </a:extLst>
          </p:cNvPr>
          <p:cNvSpPr>
            <a:spLocks noGrp="1"/>
          </p:cNvSpPr>
          <p:nvPr>
            <p:ph type="sldNum" sz="quarter" idx="16"/>
          </p:nvPr>
        </p:nvSpPr>
        <p:spPr bwMode="gray"/>
        <p:txBody>
          <a:bodyPr/>
          <a:lstStyle/>
          <a:p>
            <a:r>
              <a:rPr lang="en-US"/>
              <a:t>Slide </a:t>
            </a:r>
            <a:fld id="{619F89D8-7AE3-494A-97F3-03D680869632}" type="slidenum">
              <a:rPr lang="en-US" smtClean="0"/>
              <a:pPr/>
              <a:t>115</a:t>
            </a:fld>
            <a:endParaRPr lang="en-US" dirty="0"/>
          </a:p>
        </p:txBody>
      </p:sp>
      <p:grpSp>
        <p:nvGrpSpPr>
          <p:cNvPr id="47" name="Group 46">
            <a:extLst>
              <a:ext uri="{FF2B5EF4-FFF2-40B4-BE49-F238E27FC236}">
                <a16:creationId xmlns:a16="http://schemas.microsoft.com/office/drawing/2014/main" id="{B7296846-BA5E-4157-9329-917588A35E0A}"/>
              </a:ext>
            </a:extLst>
          </p:cNvPr>
          <p:cNvGrpSpPr/>
          <p:nvPr/>
        </p:nvGrpSpPr>
        <p:grpSpPr bwMode="gray">
          <a:xfrm>
            <a:off x="9648010" y="2247134"/>
            <a:ext cx="2205254" cy="1209137"/>
            <a:chOff x="4827270" y="3927475"/>
            <a:chExt cx="2537460" cy="1391285"/>
          </a:xfrm>
          <a:solidFill>
            <a:schemeClr val="bg1"/>
          </a:solidFill>
        </p:grpSpPr>
        <p:sp>
          <p:nvSpPr>
            <p:cNvPr id="48" name="Freeform: Shape 47">
              <a:extLst>
                <a:ext uri="{FF2B5EF4-FFF2-40B4-BE49-F238E27FC236}">
                  <a16:creationId xmlns:a16="http://schemas.microsoft.com/office/drawing/2014/main" id="{03C986EF-A4FA-42CA-9A20-32174B217D86}"/>
                </a:ext>
              </a:extLst>
            </p:cNvPr>
            <p:cNvSpPr/>
            <p:nvPr/>
          </p:nvSpPr>
          <p:spPr bwMode="gray">
            <a:xfrm>
              <a:off x="4827270" y="3927475"/>
              <a:ext cx="2537460" cy="1268726"/>
            </a:xfrm>
            <a:custGeom>
              <a:avLst/>
              <a:gdLst>
                <a:gd name="connsiteX0" fmla="*/ 1465002 w 2930004"/>
                <a:gd name="connsiteY0" fmla="*/ 0 h 1464999"/>
                <a:gd name="connsiteX1" fmla="*/ 2930004 w 2930004"/>
                <a:gd name="connsiteY1" fmla="*/ 1464999 h 1464999"/>
                <a:gd name="connsiteX2" fmla="*/ 0 w 2930004"/>
                <a:gd name="connsiteY2" fmla="*/ 1464999 h 1464999"/>
                <a:gd name="connsiteX3" fmla="*/ 1465002 w 2930004"/>
                <a:gd name="connsiteY3" fmla="*/ 0 h 1464999"/>
              </a:gdLst>
              <a:ahLst/>
              <a:cxnLst>
                <a:cxn ang="0">
                  <a:pos x="connsiteX0" y="connsiteY0"/>
                </a:cxn>
                <a:cxn ang="0">
                  <a:pos x="connsiteX1" y="connsiteY1"/>
                </a:cxn>
                <a:cxn ang="0">
                  <a:pos x="connsiteX2" y="connsiteY2"/>
                </a:cxn>
                <a:cxn ang="0">
                  <a:pos x="connsiteX3" y="connsiteY3"/>
                </a:cxn>
              </a:cxnLst>
              <a:rect l="l" t="t" r="r" b="b"/>
              <a:pathLst>
                <a:path w="2930004" h="1464999">
                  <a:moveTo>
                    <a:pt x="1465002" y="0"/>
                  </a:moveTo>
                  <a:cubicBezTo>
                    <a:pt x="2274100" y="0"/>
                    <a:pt x="2930004" y="655902"/>
                    <a:pt x="2930004" y="1464999"/>
                  </a:cubicBezTo>
                  <a:lnTo>
                    <a:pt x="0" y="1464999"/>
                  </a:lnTo>
                  <a:cubicBezTo>
                    <a:pt x="0" y="655902"/>
                    <a:pt x="655904" y="0"/>
                    <a:pt x="1465002" y="0"/>
                  </a:cubicBezTo>
                  <a:close/>
                </a:path>
              </a:pathLst>
            </a:custGeom>
            <a:solidFill>
              <a:schemeClr val="bg2"/>
            </a:solidFill>
            <a:ln w="19050">
              <a:solidFill>
                <a:schemeClr val="accent2"/>
              </a:solidFill>
              <a:prstDash val="solid"/>
              <a:round/>
              <a:headEnd/>
              <a:tailEnd/>
            </a:ln>
            <a:extLst/>
          </p:spPr>
          <p:txBody>
            <a:bodyPr rot="0" spcFirstLastPara="0" vertOverflow="overflow" horzOverflow="overflow" vert="horz" wrap="square" lIns="0" tIns="0" rIns="0" bIns="720000" numCol="1" spcCol="0" rtlCol="0" fromWordArt="0" anchor="ctr" anchorCtr="0" forceAA="0" compatLnSpc="1">
              <a:prstTxWarp prst="textNoShape">
                <a:avLst/>
              </a:prstTxWarp>
              <a:noAutofit/>
            </a:bodyPr>
            <a:lstStyle/>
            <a:p>
              <a:pPr algn="ctr"/>
              <a:r>
                <a:rPr lang="de-DE" sz="1000" b="1" dirty="0">
                  <a:solidFill>
                    <a:schemeClr val="bg1"/>
                  </a:solidFill>
                </a:rPr>
                <a:t>Zone 2</a:t>
              </a:r>
            </a:p>
          </p:txBody>
        </p:sp>
        <p:sp>
          <p:nvSpPr>
            <p:cNvPr id="49" name="Freeform: Shape 48">
              <a:extLst>
                <a:ext uri="{FF2B5EF4-FFF2-40B4-BE49-F238E27FC236}">
                  <a16:creationId xmlns:a16="http://schemas.microsoft.com/office/drawing/2014/main" id="{862BA884-893D-4B69-A8B8-FB5110F4127A}"/>
                </a:ext>
              </a:extLst>
            </p:cNvPr>
            <p:cNvSpPr/>
            <p:nvPr/>
          </p:nvSpPr>
          <p:spPr bwMode="gray">
            <a:xfrm>
              <a:off x="5246115" y="4346319"/>
              <a:ext cx="1699770" cy="849882"/>
            </a:xfrm>
            <a:custGeom>
              <a:avLst/>
              <a:gdLst>
                <a:gd name="connsiteX0" fmla="*/ 1465002 w 2930004"/>
                <a:gd name="connsiteY0" fmla="*/ 0 h 1464999"/>
                <a:gd name="connsiteX1" fmla="*/ 2930004 w 2930004"/>
                <a:gd name="connsiteY1" fmla="*/ 1464999 h 1464999"/>
                <a:gd name="connsiteX2" fmla="*/ 0 w 2930004"/>
                <a:gd name="connsiteY2" fmla="*/ 1464999 h 1464999"/>
                <a:gd name="connsiteX3" fmla="*/ 1465002 w 2930004"/>
                <a:gd name="connsiteY3" fmla="*/ 0 h 1464999"/>
              </a:gdLst>
              <a:ahLst/>
              <a:cxnLst>
                <a:cxn ang="0">
                  <a:pos x="connsiteX0" y="connsiteY0"/>
                </a:cxn>
                <a:cxn ang="0">
                  <a:pos x="connsiteX1" y="connsiteY1"/>
                </a:cxn>
                <a:cxn ang="0">
                  <a:pos x="connsiteX2" y="connsiteY2"/>
                </a:cxn>
                <a:cxn ang="0">
                  <a:pos x="connsiteX3" y="connsiteY3"/>
                </a:cxn>
              </a:cxnLst>
              <a:rect l="l" t="t" r="r" b="b"/>
              <a:pathLst>
                <a:path w="2930004" h="1464999">
                  <a:moveTo>
                    <a:pt x="1465002" y="0"/>
                  </a:moveTo>
                  <a:cubicBezTo>
                    <a:pt x="2274100" y="0"/>
                    <a:pt x="2930004" y="655902"/>
                    <a:pt x="2930004" y="1464999"/>
                  </a:cubicBezTo>
                  <a:lnTo>
                    <a:pt x="0" y="1464999"/>
                  </a:lnTo>
                  <a:cubicBezTo>
                    <a:pt x="0" y="655902"/>
                    <a:pt x="655904" y="0"/>
                    <a:pt x="1465002" y="0"/>
                  </a:cubicBezTo>
                  <a:close/>
                </a:path>
              </a:pathLst>
            </a:custGeom>
            <a:solidFill>
              <a:schemeClr val="bg1"/>
            </a:solidFill>
            <a:ln w="19050">
              <a:solidFill>
                <a:schemeClr val="accent2"/>
              </a:solidFill>
              <a:prstDash val="solid"/>
              <a:round/>
              <a:headEnd/>
              <a:tailEnd/>
            </a:ln>
            <a:extLst/>
          </p:spPr>
          <p:txBody>
            <a:bodyPr rot="0" spcFirstLastPara="0" vertOverflow="overflow" horzOverflow="overflow" vert="horz" wrap="square" lIns="0" tIns="0" rIns="0" bIns="432000" numCol="1" spcCol="0" rtlCol="0" fromWordArt="0" anchor="ctr" anchorCtr="0" forceAA="0" compatLnSpc="1">
              <a:prstTxWarp prst="textNoShape">
                <a:avLst/>
              </a:prstTxWarp>
              <a:noAutofit/>
            </a:bodyPr>
            <a:lstStyle/>
            <a:p>
              <a:pPr algn="ctr"/>
              <a:r>
                <a:rPr lang="de-DE" sz="1000" dirty="0">
                  <a:solidFill>
                    <a:schemeClr val="accent2"/>
                  </a:solidFill>
                </a:rPr>
                <a:t>Zone 1</a:t>
              </a:r>
            </a:p>
          </p:txBody>
        </p:sp>
        <p:sp>
          <p:nvSpPr>
            <p:cNvPr id="50" name="Rectangle 49">
              <a:extLst>
                <a:ext uri="{FF2B5EF4-FFF2-40B4-BE49-F238E27FC236}">
                  <a16:creationId xmlns:a16="http://schemas.microsoft.com/office/drawing/2014/main" id="{87E583D3-72BC-495B-A237-D35ED354E2B5}"/>
                </a:ext>
              </a:extLst>
            </p:cNvPr>
            <p:cNvSpPr/>
            <p:nvPr/>
          </p:nvSpPr>
          <p:spPr bwMode="gray">
            <a:xfrm>
              <a:off x="4827270" y="5196201"/>
              <a:ext cx="2537460" cy="122559"/>
            </a:xfrm>
            <a:prstGeom prst="rect">
              <a:avLst/>
            </a:prstGeom>
            <a:grpFill/>
            <a:ln w="19050">
              <a:solidFill>
                <a:schemeClr val="accent2"/>
              </a:solidFill>
              <a:prstDash val="solid"/>
              <a:round/>
              <a:headEnd/>
              <a:tailEnd/>
            </a:ln>
          </p:spPr>
          <p:txBody>
            <a:bodyPr rtlCol="0" anchor="ctr"/>
            <a:lstStyle/>
            <a:p>
              <a:pPr algn="ctr"/>
              <a:endParaRPr lang="de-DE" sz="1000" dirty="0" err="1">
                <a:solidFill>
                  <a:schemeClr val="accent2"/>
                </a:solidFill>
              </a:endParaRPr>
            </a:p>
          </p:txBody>
        </p:sp>
        <p:sp>
          <p:nvSpPr>
            <p:cNvPr id="51" name="Rectangle 50">
              <a:extLst>
                <a:ext uri="{FF2B5EF4-FFF2-40B4-BE49-F238E27FC236}">
                  <a16:creationId xmlns:a16="http://schemas.microsoft.com/office/drawing/2014/main" id="{6F9DB042-A21C-4545-B49C-4406F9CDC5A7}"/>
                </a:ext>
              </a:extLst>
            </p:cNvPr>
            <p:cNvSpPr/>
            <p:nvPr/>
          </p:nvSpPr>
          <p:spPr bwMode="gray">
            <a:xfrm>
              <a:off x="5246115" y="5196201"/>
              <a:ext cx="1699770" cy="122559"/>
            </a:xfrm>
            <a:prstGeom prst="rect">
              <a:avLst/>
            </a:prstGeom>
            <a:pattFill prst="wdUpDiag">
              <a:fgClr>
                <a:schemeClr val="accent2"/>
              </a:fgClr>
              <a:bgClr>
                <a:schemeClr val="bg1"/>
              </a:bgClr>
            </a:pattFill>
            <a:ln w="19050">
              <a:solidFill>
                <a:schemeClr val="accent2"/>
              </a:solidFill>
              <a:prstDash val="solid"/>
              <a:round/>
              <a:headEnd/>
              <a:tailEnd/>
            </a:ln>
          </p:spPr>
          <p:txBody>
            <a:bodyPr rtlCol="0" anchor="ctr"/>
            <a:lstStyle/>
            <a:p>
              <a:pPr algn="ctr"/>
              <a:endParaRPr lang="de-DE" sz="1000" dirty="0" err="1"/>
            </a:p>
          </p:txBody>
        </p:sp>
        <p:grpSp>
          <p:nvGrpSpPr>
            <p:cNvPr id="52" name="Group 51">
              <a:extLst>
                <a:ext uri="{FF2B5EF4-FFF2-40B4-BE49-F238E27FC236}">
                  <a16:creationId xmlns:a16="http://schemas.microsoft.com/office/drawing/2014/main" id="{98A26FFA-EA36-4B6F-9B85-A3FD2F59C043}"/>
                </a:ext>
              </a:extLst>
            </p:cNvPr>
            <p:cNvGrpSpPr/>
            <p:nvPr/>
          </p:nvGrpSpPr>
          <p:grpSpPr bwMode="gray">
            <a:xfrm>
              <a:off x="5535274" y="4652774"/>
              <a:ext cx="1124606" cy="543427"/>
              <a:chOff x="5512563" y="4652774"/>
              <a:chExt cx="1170027" cy="543427"/>
            </a:xfrm>
            <a:grpFill/>
          </p:grpSpPr>
          <p:grpSp>
            <p:nvGrpSpPr>
              <p:cNvPr id="53" name="Group 52">
                <a:extLst>
                  <a:ext uri="{FF2B5EF4-FFF2-40B4-BE49-F238E27FC236}">
                    <a16:creationId xmlns:a16="http://schemas.microsoft.com/office/drawing/2014/main" id="{1B3D9608-A5A2-459F-A454-D952A0EAE510}"/>
                  </a:ext>
                </a:extLst>
              </p:cNvPr>
              <p:cNvGrpSpPr/>
              <p:nvPr/>
            </p:nvGrpSpPr>
            <p:grpSpPr bwMode="gray">
              <a:xfrm>
                <a:off x="5512563" y="4652774"/>
                <a:ext cx="1170027" cy="478026"/>
                <a:chOff x="3779250" y="4410034"/>
                <a:chExt cx="954292" cy="334935"/>
              </a:xfrm>
              <a:grpFill/>
            </p:grpSpPr>
            <p:sp>
              <p:nvSpPr>
                <p:cNvPr id="56" name="Freeform: Shape 55">
                  <a:extLst>
                    <a:ext uri="{FF2B5EF4-FFF2-40B4-BE49-F238E27FC236}">
                      <a16:creationId xmlns:a16="http://schemas.microsoft.com/office/drawing/2014/main" id="{75C068DC-4959-4A35-A484-5C5EC0D284CB}"/>
                    </a:ext>
                  </a:extLst>
                </p:cNvPr>
                <p:cNvSpPr/>
                <p:nvPr/>
              </p:nvSpPr>
              <p:spPr bwMode="gray">
                <a:xfrm>
                  <a:off x="3779250" y="4410034"/>
                  <a:ext cx="954292" cy="213849"/>
                </a:xfrm>
                <a:custGeom>
                  <a:avLst/>
                  <a:gdLst>
                    <a:gd name="connsiteX0" fmla="*/ 141232 w 954292"/>
                    <a:gd name="connsiteY0" fmla="*/ 0 h 213849"/>
                    <a:gd name="connsiteX1" fmla="*/ 813060 w 954292"/>
                    <a:gd name="connsiteY1" fmla="*/ 0 h 213849"/>
                    <a:gd name="connsiteX2" fmla="*/ 954292 w 954292"/>
                    <a:gd name="connsiteY2" fmla="*/ 141232 h 213849"/>
                    <a:gd name="connsiteX3" fmla="*/ 954292 w 954292"/>
                    <a:gd name="connsiteY3" fmla="*/ 193703 h 213849"/>
                    <a:gd name="connsiteX4" fmla="*/ 950225 w 954292"/>
                    <a:gd name="connsiteY4" fmla="*/ 213849 h 213849"/>
                    <a:gd name="connsiteX5" fmla="*/ 4067 w 954292"/>
                    <a:gd name="connsiteY5" fmla="*/ 213849 h 213849"/>
                    <a:gd name="connsiteX6" fmla="*/ 0 w 954292"/>
                    <a:gd name="connsiteY6" fmla="*/ 193703 h 213849"/>
                    <a:gd name="connsiteX7" fmla="*/ 0 w 954292"/>
                    <a:gd name="connsiteY7" fmla="*/ 141232 h 213849"/>
                    <a:gd name="connsiteX8" fmla="*/ 141232 w 954292"/>
                    <a:gd name="connsiteY8" fmla="*/ 0 h 21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292" h="213849">
                      <a:moveTo>
                        <a:pt x="141232" y="0"/>
                      </a:moveTo>
                      <a:lnTo>
                        <a:pt x="813060" y="0"/>
                      </a:lnTo>
                      <a:cubicBezTo>
                        <a:pt x="891060" y="0"/>
                        <a:pt x="954292" y="63232"/>
                        <a:pt x="954292" y="141232"/>
                      </a:cubicBezTo>
                      <a:lnTo>
                        <a:pt x="954292" y="193703"/>
                      </a:lnTo>
                      <a:lnTo>
                        <a:pt x="950225" y="213849"/>
                      </a:lnTo>
                      <a:lnTo>
                        <a:pt x="4067" y="213849"/>
                      </a:lnTo>
                      <a:lnTo>
                        <a:pt x="0" y="193703"/>
                      </a:lnTo>
                      <a:lnTo>
                        <a:pt x="0" y="141232"/>
                      </a:lnTo>
                      <a:cubicBezTo>
                        <a:pt x="0" y="63232"/>
                        <a:pt x="63232" y="0"/>
                        <a:pt x="141232" y="0"/>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a:solidFill>
                        <a:schemeClr val="accent2"/>
                      </a:solidFill>
                    </a:rPr>
                    <a:t>Zone 0</a:t>
                  </a:r>
                </a:p>
              </p:txBody>
            </p:sp>
            <p:sp>
              <p:nvSpPr>
                <p:cNvPr id="57" name="Freeform: Shape 56">
                  <a:extLst>
                    <a:ext uri="{FF2B5EF4-FFF2-40B4-BE49-F238E27FC236}">
                      <a16:creationId xmlns:a16="http://schemas.microsoft.com/office/drawing/2014/main" id="{A0B200D1-53D6-4FFC-812C-439BAA6E7766}"/>
                    </a:ext>
                  </a:extLst>
                </p:cNvPr>
                <p:cNvSpPr/>
                <p:nvPr/>
              </p:nvSpPr>
              <p:spPr bwMode="gray">
                <a:xfrm>
                  <a:off x="3783316" y="4623883"/>
                  <a:ext cx="946157" cy="121086"/>
                </a:xfrm>
                <a:custGeom>
                  <a:avLst/>
                  <a:gdLst>
                    <a:gd name="connsiteX0" fmla="*/ 0 w 946157"/>
                    <a:gd name="connsiteY0" fmla="*/ 0 h 121086"/>
                    <a:gd name="connsiteX1" fmla="*/ 946157 w 946157"/>
                    <a:gd name="connsiteY1" fmla="*/ 0 h 121086"/>
                    <a:gd name="connsiteX2" fmla="*/ 939125 w 946157"/>
                    <a:gd name="connsiteY2" fmla="*/ 34828 h 121086"/>
                    <a:gd name="connsiteX3" fmla="*/ 808992 w 946157"/>
                    <a:gd name="connsiteY3" fmla="*/ 121086 h 121086"/>
                    <a:gd name="connsiteX4" fmla="*/ 137164 w 946157"/>
                    <a:gd name="connsiteY4" fmla="*/ 121086 h 121086"/>
                    <a:gd name="connsiteX5" fmla="*/ 7031 w 946157"/>
                    <a:gd name="connsiteY5" fmla="*/ 34828 h 12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157" h="121086">
                      <a:moveTo>
                        <a:pt x="0" y="0"/>
                      </a:moveTo>
                      <a:lnTo>
                        <a:pt x="946157" y="0"/>
                      </a:lnTo>
                      <a:lnTo>
                        <a:pt x="939125" y="34828"/>
                      </a:lnTo>
                      <a:cubicBezTo>
                        <a:pt x="917685" y="85518"/>
                        <a:pt x="867492" y="121086"/>
                        <a:pt x="808992" y="121086"/>
                      </a:cubicBezTo>
                      <a:lnTo>
                        <a:pt x="137164" y="121086"/>
                      </a:lnTo>
                      <a:cubicBezTo>
                        <a:pt x="78664" y="121086"/>
                        <a:pt x="28471" y="85518"/>
                        <a:pt x="7031" y="34828"/>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000" dirty="0">
                    <a:solidFill>
                      <a:schemeClr val="accent2"/>
                    </a:solidFill>
                  </a:endParaRPr>
                </a:p>
              </p:txBody>
            </p:sp>
          </p:grpSp>
          <p:cxnSp>
            <p:nvCxnSpPr>
              <p:cNvPr id="54" name="Straight Connector 53">
                <a:extLst>
                  <a:ext uri="{FF2B5EF4-FFF2-40B4-BE49-F238E27FC236}">
                    <a16:creationId xmlns:a16="http://schemas.microsoft.com/office/drawing/2014/main" id="{37C28FDD-F64B-4F12-A126-3001117663FA}"/>
                  </a:ext>
                </a:extLst>
              </p:cNvPr>
              <p:cNvCxnSpPr>
                <a:cxnSpLocks/>
                <a:stCxn id="57" idx="4"/>
              </p:cNvCxnSpPr>
              <p:nvPr/>
            </p:nvCxnSpPr>
            <p:spPr bwMode="gray">
              <a:xfrm flipH="1">
                <a:off x="5685554" y="5130800"/>
                <a:ext cx="166" cy="65401"/>
              </a:xfrm>
              <a:prstGeom prst="line">
                <a:avLst/>
              </a:prstGeom>
              <a:grpFill/>
              <a:ln w="19050">
                <a:solidFill>
                  <a:schemeClr val="accent2"/>
                </a:solidFill>
                <a:prstDash val="solid"/>
                <a:round/>
                <a:headEnd/>
                <a:tailEnd/>
              </a:ln>
            </p:spPr>
          </p:cxnSp>
          <p:cxnSp>
            <p:nvCxnSpPr>
              <p:cNvPr id="55" name="Straight Connector 54">
                <a:extLst>
                  <a:ext uri="{FF2B5EF4-FFF2-40B4-BE49-F238E27FC236}">
                    <a16:creationId xmlns:a16="http://schemas.microsoft.com/office/drawing/2014/main" id="{3F233C2A-1DD2-4BE5-83CC-A562E41D2B86}"/>
                  </a:ext>
                </a:extLst>
              </p:cNvPr>
              <p:cNvCxnSpPr>
                <a:cxnSpLocks/>
                <a:stCxn id="57" idx="3"/>
              </p:cNvCxnSpPr>
              <p:nvPr/>
            </p:nvCxnSpPr>
            <p:spPr bwMode="gray">
              <a:xfrm>
                <a:off x="6509427" y="5130800"/>
                <a:ext cx="0" cy="65401"/>
              </a:xfrm>
              <a:prstGeom prst="line">
                <a:avLst/>
              </a:prstGeom>
              <a:grpFill/>
              <a:ln w="19050">
                <a:solidFill>
                  <a:schemeClr val="accent2"/>
                </a:solidFill>
                <a:prstDash val="solid"/>
                <a:round/>
                <a:headEnd/>
                <a:tailEnd/>
              </a:ln>
            </p:spPr>
          </p:cxnSp>
        </p:grpSp>
      </p:grpSp>
      <p:pic>
        <p:nvPicPr>
          <p:cNvPr id="58" name="Grafik 13">
            <a:extLst>
              <a:ext uri="{FF2B5EF4-FFF2-40B4-BE49-F238E27FC236}">
                <a16:creationId xmlns:a16="http://schemas.microsoft.com/office/drawing/2014/main" id="{749150CA-9870-4A2B-831D-4E26554E85B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gray">
          <a:xfrm>
            <a:off x="6683557" y="2463323"/>
            <a:ext cx="2415747" cy="286610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9" name="Group 58">
            <a:extLst>
              <a:ext uri="{FF2B5EF4-FFF2-40B4-BE49-F238E27FC236}">
                <a16:creationId xmlns:a16="http://schemas.microsoft.com/office/drawing/2014/main" id="{56A5BBAC-C02D-4995-8A67-BCD09108EC0F}"/>
              </a:ext>
            </a:extLst>
          </p:cNvPr>
          <p:cNvGrpSpPr/>
          <p:nvPr/>
        </p:nvGrpSpPr>
        <p:grpSpPr bwMode="gray">
          <a:xfrm>
            <a:off x="674928" y="5180661"/>
            <a:ext cx="881577" cy="263199"/>
            <a:chOff x="3620440" y="5360461"/>
            <a:chExt cx="881577" cy="263199"/>
          </a:xfrm>
        </p:grpSpPr>
        <p:pic>
          <p:nvPicPr>
            <p:cNvPr id="60" name="Grafik 12">
              <a:extLst>
                <a:ext uri="{FF2B5EF4-FFF2-40B4-BE49-F238E27FC236}">
                  <a16:creationId xmlns:a16="http://schemas.microsoft.com/office/drawing/2014/main" id="{A6AA8C9F-96B3-4F32-8590-2F5640A04F69}"/>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3620440" y="5385361"/>
              <a:ext cx="238299" cy="238299"/>
            </a:xfrm>
            <a:prstGeom prst="rect">
              <a:avLst/>
            </a:prstGeom>
            <a:noFill/>
            <a:ln w="9525">
              <a:noFill/>
              <a:miter lim="800000"/>
              <a:headEnd/>
              <a:tailEnd/>
            </a:ln>
          </p:spPr>
        </p:pic>
        <p:pic>
          <p:nvPicPr>
            <p:cNvPr id="61" name="Grafik 14">
              <a:extLst>
                <a:ext uri="{FF2B5EF4-FFF2-40B4-BE49-F238E27FC236}">
                  <a16:creationId xmlns:a16="http://schemas.microsoft.com/office/drawing/2014/main" id="{ABD90311-35F2-4219-AAD6-1AE0C9F6DC5E}"/>
                </a:ext>
              </a:extLst>
            </p:cNvPr>
            <p:cNvPicPr>
              <a:picLocks noChangeAspect="1"/>
            </p:cNvPicPr>
            <p:nvPr/>
          </p:nvPicPr>
          <p:blipFill rotWithShape="1">
            <a:blip r:embed="rId6">
              <a:duotone>
                <a:schemeClr val="accent2">
                  <a:shade val="45000"/>
                  <a:satMod val="135000"/>
                </a:schemeClr>
                <a:prstClr val="white"/>
              </a:duotone>
              <a:extLst>
                <a:ext uri="{28A0092B-C50C-407E-A947-70E740481C1C}">
                  <a14:useLocalDpi xmlns:a14="http://schemas.microsoft.com/office/drawing/2010/main" val="0"/>
                </a:ext>
              </a:extLst>
            </a:blip>
            <a:srcRect l="22034" t="53210" r="24741"/>
            <a:stretch/>
          </p:blipFill>
          <p:spPr bwMode="gray">
            <a:xfrm>
              <a:off x="3979641" y="5360461"/>
              <a:ext cx="522376" cy="258099"/>
            </a:xfrm>
            <a:prstGeom prst="rect">
              <a:avLst/>
            </a:prstGeom>
            <a:noFill/>
            <a:ln w="9525">
              <a:noFill/>
              <a:miter lim="800000"/>
              <a:headEnd/>
              <a:tailEnd/>
            </a:ln>
          </p:spPr>
        </p:pic>
      </p:grpSp>
      <p:pic>
        <p:nvPicPr>
          <p:cNvPr id="62" name="Grafik 8">
            <a:extLst>
              <a:ext uri="{FF2B5EF4-FFF2-40B4-BE49-F238E27FC236}">
                <a16:creationId xmlns:a16="http://schemas.microsoft.com/office/drawing/2014/main" id="{7EC8C5F2-8BAB-4863-B7C0-D6365071E9FF}"/>
              </a:ext>
            </a:extLst>
          </p:cNvPr>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2892680" y="4979397"/>
            <a:ext cx="189245" cy="227624"/>
          </a:xfrm>
          <a:prstGeom prst="rect">
            <a:avLst/>
          </a:prstGeom>
          <a:noFill/>
          <a:ln w="9525">
            <a:noFill/>
            <a:miter lim="800000"/>
            <a:headEnd/>
            <a:tailEnd/>
          </a:ln>
        </p:spPr>
      </p:pic>
      <p:cxnSp>
        <p:nvCxnSpPr>
          <p:cNvPr id="64" name="Straight Connector 63">
            <a:extLst>
              <a:ext uri="{FF2B5EF4-FFF2-40B4-BE49-F238E27FC236}">
                <a16:creationId xmlns:a16="http://schemas.microsoft.com/office/drawing/2014/main" id="{82A2EABF-B4B2-4F3E-BB22-AA0C34C826F9}"/>
              </a:ext>
            </a:extLst>
          </p:cNvPr>
          <p:cNvCxnSpPr>
            <a:cxnSpLocks/>
          </p:cNvCxnSpPr>
          <p:nvPr/>
        </p:nvCxnSpPr>
        <p:spPr bwMode="gray">
          <a:xfrm>
            <a:off x="9648010" y="3686812"/>
            <a:ext cx="220525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77811B87-7146-4B1C-98AA-5B2C0314C83B}"/>
              </a:ext>
            </a:extLst>
          </p:cNvPr>
          <p:cNvGrpSpPr/>
          <p:nvPr/>
        </p:nvGrpSpPr>
        <p:grpSpPr bwMode="gray">
          <a:xfrm>
            <a:off x="10378658" y="3909838"/>
            <a:ext cx="743958" cy="714468"/>
            <a:chOff x="9592408" y="3757643"/>
            <a:chExt cx="743958" cy="714468"/>
          </a:xfrm>
        </p:grpSpPr>
        <p:sp>
          <p:nvSpPr>
            <p:cNvPr id="66" name="TextBox 65">
              <a:extLst>
                <a:ext uri="{FF2B5EF4-FFF2-40B4-BE49-F238E27FC236}">
                  <a16:creationId xmlns:a16="http://schemas.microsoft.com/office/drawing/2014/main" id="{26DD7A1F-D587-4251-A7AA-086AF910E301}"/>
                </a:ext>
              </a:extLst>
            </p:cNvPr>
            <p:cNvSpPr txBox="1"/>
            <p:nvPr/>
          </p:nvSpPr>
          <p:spPr bwMode="gray">
            <a:xfrm>
              <a:off x="9592408"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Gas</a:t>
              </a:r>
            </a:p>
          </p:txBody>
        </p:sp>
        <p:grpSp>
          <p:nvGrpSpPr>
            <p:cNvPr id="67" name="Group 66">
              <a:extLst>
                <a:ext uri="{FF2B5EF4-FFF2-40B4-BE49-F238E27FC236}">
                  <a16:creationId xmlns:a16="http://schemas.microsoft.com/office/drawing/2014/main" id="{C1F24F5B-7078-42E5-A38A-7EA1FD72F02F}"/>
                </a:ext>
              </a:extLst>
            </p:cNvPr>
            <p:cNvGrpSpPr/>
            <p:nvPr/>
          </p:nvGrpSpPr>
          <p:grpSpPr bwMode="gray">
            <a:xfrm>
              <a:off x="9847910" y="3757643"/>
              <a:ext cx="232954" cy="337148"/>
              <a:chOff x="4801097" y="3272685"/>
              <a:chExt cx="202720" cy="293391"/>
            </a:xfrm>
          </p:grpSpPr>
          <p:sp>
            <p:nvSpPr>
              <p:cNvPr id="68" name="Freeform 514">
                <a:extLst>
                  <a:ext uri="{FF2B5EF4-FFF2-40B4-BE49-F238E27FC236}">
                    <a16:creationId xmlns:a16="http://schemas.microsoft.com/office/drawing/2014/main" id="{5A4E790D-1D2C-423B-B70F-BBB22249EBA1}"/>
                  </a:ext>
                </a:extLst>
              </p:cNvPr>
              <p:cNvSpPr>
                <a:spLocks/>
              </p:cNvSpPr>
              <p:nvPr/>
            </p:nvSpPr>
            <p:spPr bwMode="gray">
              <a:xfrm>
                <a:off x="4801097" y="3272685"/>
                <a:ext cx="202720" cy="293294"/>
              </a:xfrm>
              <a:custGeom>
                <a:avLst/>
                <a:gdLst>
                  <a:gd name="T0" fmla="*/ 57 w 139"/>
                  <a:gd name="T1" fmla="*/ 202 h 202"/>
                  <a:gd name="T2" fmla="*/ 57 w 139"/>
                  <a:gd name="T3" fmla="*/ 202 h 202"/>
                  <a:gd name="T4" fmla="*/ 51 w 139"/>
                  <a:gd name="T5" fmla="*/ 199 h 202"/>
                  <a:gd name="T6" fmla="*/ 40 w 139"/>
                  <a:gd name="T7" fmla="*/ 193 h 202"/>
                  <a:gd name="T8" fmla="*/ 27 w 139"/>
                  <a:gd name="T9" fmla="*/ 183 h 202"/>
                  <a:gd name="T10" fmla="*/ 21 w 139"/>
                  <a:gd name="T11" fmla="*/ 177 h 202"/>
                  <a:gd name="T12" fmla="*/ 15 w 139"/>
                  <a:gd name="T13" fmla="*/ 169 h 202"/>
                  <a:gd name="T14" fmla="*/ 9 w 139"/>
                  <a:gd name="T15" fmla="*/ 160 h 202"/>
                  <a:gd name="T16" fmla="*/ 4 w 139"/>
                  <a:gd name="T17" fmla="*/ 151 h 202"/>
                  <a:gd name="T18" fmla="*/ 1 w 139"/>
                  <a:gd name="T19" fmla="*/ 141 h 202"/>
                  <a:gd name="T20" fmla="*/ 0 w 139"/>
                  <a:gd name="T21" fmla="*/ 130 h 202"/>
                  <a:gd name="T22" fmla="*/ 1 w 139"/>
                  <a:gd name="T23" fmla="*/ 118 h 202"/>
                  <a:gd name="T24" fmla="*/ 4 w 139"/>
                  <a:gd name="T25" fmla="*/ 105 h 202"/>
                  <a:gd name="T26" fmla="*/ 12 w 139"/>
                  <a:gd name="T27" fmla="*/ 91 h 202"/>
                  <a:gd name="T28" fmla="*/ 22 w 139"/>
                  <a:gd name="T29" fmla="*/ 76 h 202"/>
                  <a:gd name="T30" fmla="*/ 22 w 139"/>
                  <a:gd name="T31" fmla="*/ 76 h 202"/>
                  <a:gd name="T32" fmla="*/ 27 w 139"/>
                  <a:gd name="T33" fmla="*/ 70 h 202"/>
                  <a:gd name="T34" fmla="*/ 36 w 139"/>
                  <a:gd name="T35" fmla="*/ 55 h 202"/>
                  <a:gd name="T36" fmla="*/ 42 w 139"/>
                  <a:gd name="T37" fmla="*/ 43 h 202"/>
                  <a:gd name="T38" fmla="*/ 46 w 139"/>
                  <a:gd name="T39" fmla="*/ 31 h 202"/>
                  <a:gd name="T40" fmla="*/ 49 w 139"/>
                  <a:gd name="T41" fmla="*/ 16 h 202"/>
                  <a:gd name="T42" fmla="*/ 51 w 139"/>
                  <a:gd name="T43" fmla="*/ 0 h 202"/>
                  <a:gd name="T44" fmla="*/ 51 w 139"/>
                  <a:gd name="T45" fmla="*/ 0 h 202"/>
                  <a:gd name="T46" fmla="*/ 60 w 139"/>
                  <a:gd name="T47" fmla="*/ 6 h 202"/>
                  <a:gd name="T48" fmla="*/ 81 w 139"/>
                  <a:gd name="T49" fmla="*/ 22 h 202"/>
                  <a:gd name="T50" fmla="*/ 93 w 139"/>
                  <a:gd name="T51" fmla="*/ 34 h 202"/>
                  <a:gd name="T52" fmla="*/ 106 w 139"/>
                  <a:gd name="T53" fmla="*/ 46 h 202"/>
                  <a:gd name="T54" fmla="*/ 117 w 139"/>
                  <a:gd name="T55" fmla="*/ 61 h 202"/>
                  <a:gd name="T56" fmla="*/ 127 w 139"/>
                  <a:gd name="T57" fmla="*/ 76 h 202"/>
                  <a:gd name="T58" fmla="*/ 127 w 139"/>
                  <a:gd name="T59" fmla="*/ 76 h 202"/>
                  <a:gd name="T60" fmla="*/ 135 w 139"/>
                  <a:gd name="T61" fmla="*/ 93 h 202"/>
                  <a:gd name="T62" fmla="*/ 138 w 139"/>
                  <a:gd name="T63" fmla="*/ 111 h 202"/>
                  <a:gd name="T64" fmla="*/ 139 w 139"/>
                  <a:gd name="T65" fmla="*/ 127 h 202"/>
                  <a:gd name="T66" fmla="*/ 136 w 139"/>
                  <a:gd name="T67" fmla="*/ 144 h 202"/>
                  <a:gd name="T68" fmla="*/ 133 w 139"/>
                  <a:gd name="T69" fmla="*/ 153 h 202"/>
                  <a:gd name="T70" fmla="*/ 129 w 139"/>
                  <a:gd name="T71" fmla="*/ 160 h 202"/>
                  <a:gd name="T72" fmla="*/ 124 w 139"/>
                  <a:gd name="T73" fmla="*/ 168 h 202"/>
                  <a:gd name="T74" fmla="*/ 118 w 139"/>
                  <a:gd name="T75" fmla="*/ 175 h 202"/>
                  <a:gd name="T76" fmla="*/ 112 w 139"/>
                  <a:gd name="T77" fmla="*/ 183 h 202"/>
                  <a:gd name="T78" fmla="*/ 105 w 139"/>
                  <a:gd name="T79" fmla="*/ 190 h 202"/>
                  <a:gd name="T80" fmla="*/ 96 w 139"/>
                  <a:gd name="T81" fmla="*/ 196 h 202"/>
                  <a:gd name="T82" fmla="*/ 87 w 139"/>
                  <a:gd name="T83" fmla="*/ 202 h 202"/>
                  <a:gd name="T84" fmla="*/ 57 w 139"/>
                  <a:gd name="T85" fmla="*/ 202 h 202"/>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8417 w 10000"/>
                  <a:gd name="connsiteY27" fmla="*/ 3020 h 10000"/>
                  <a:gd name="connsiteX28" fmla="*/ 9137 w 10000"/>
                  <a:gd name="connsiteY28" fmla="*/ 3762 h 10000"/>
                  <a:gd name="connsiteX29" fmla="*/ 9712 w 10000"/>
                  <a:gd name="connsiteY29" fmla="*/ 4604 h 10000"/>
                  <a:gd name="connsiteX30" fmla="*/ 9928 w 10000"/>
                  <a:gd name="connsiteY30" fmla="*/ 5495 h 10000"/>
                  <a:gd name="connsiteX31" fmla="*/ 10000 w 10000"/>
                  <a:gd name="connsiteY31" fmla="*/ 6287 h 10000"/>
                  <a:gd name="connsiteX32" fmla="*/ 9784 w 10000"/>
                  <a:gd name="connsiteY32" fmla="*/ 7129 h 10000"/>
                  <a:gd name="connsiteX33" fmla="*/ 9568 w 10000"/>
                  <a:gd name="connsiteY33" fmla="*/ 7574 h 10000"/>
                  <a:gd name="connsiteX34" fmla="*/ 9281 w 10000"/>
                  <a:gd name="connsiteY34" fmla="*/ 7921 h 10000"/>
                  <a:gd name="connsiteX35" fmla="*/ 8921 w 10000"/>
                  <a:gd name="connsiteY35" fmla="*/ 8317 h 10000"/>
                  <a:gd name="connsiteX36" fmla="*/ 8489 w 10000"/>
                  <a:gd name="connsiteY36" fmla="*/ 8663 h 10000"/>
                  <a:gd name="connsiteX37" fmla="*/ 8058 w 10000"/>
                  <a:gd name="connsiteY37" fmla="*/ 9059 h 10000"/>
                  <a:gd name="connsiteX38" fmla="*/ 7554 w 10000"/>
                  <a:gd name="connsiteY38" fmla="*/ 9406 h 10000"/>
                  <a:gd name="connsiteX39" fmla="*/ 6906 w 10000"/>
                  <a:gd name="connsiteY39" fmla="*/ 9703 h 10000"/>
                  <a:gd name="connsiteX40" fmla="*/ 6259 w 10000"/>
                  <a:gd name="connsiteY40" fmla="*/ 10000 h 10000"/>
                  <a:gd name="connsiteX41" fmla="*/ 4101 w 10000"/>
                  <a:gd name="connsiteY41"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9137 w 10000"/>
                  <a:gd name="connsiteY27" fmla="*/ 3762 h 10000"/>
                  <a:gd name="connsiteX28" fmla="*/ 9712 w 10000"/>
                  <a:gd name="connsiteY28" fmla="*/ 4604 h 10000"/>
                  <a:gd name="connsiteX29" fmla="*/ 9928 w 10000"/>
                  <a:gd name="connsiteY29" fmla="*/ 5495 h 10000"/>
                  <a:gd name="connsiteX30" fmla="*/ 10000 w 10000"/>
                  <a:gd name="connsiteY30" fmla="*/ 6287 h 10000"/>
                  <a:gd name="connsiteX31" fmla="*/ 9784 w 10000"/>
                  <a:gd name="connsiteY31" fmla="*/ 7129 h 10000"/>
                  <a:gd name="connsiteX32" fmla="*/ 9568 w 10000"/>
                  <a:gd name="connsiteY32" fmla="*/ 7574 h 10000"/>
                  <a:gd name="connsiteX33" fmla="*/ 9281 w 10000"/>
                  <a:gd name="connsiteY33" fmla="*/ 7921 h 10000"/>
                  <a:gd name="connsiteX34" fmla="*/ 8921 w 10000"/>
                  <a:gd name="connsiteY34" fmla="*/ 8317 h 10000"/>
                  <a:gd name="connsiteX35" fmla="*/ 8489 w 10000"/>
                  <a:gd name="connsiteY35" fmla="*/ 8663 h 10000"/>
                  <a:gd name="connsiteX36" fmla="*/ 8058 w 10000"/>
                  <a:gd name="connsiteY36" fmla="*/ 9059 h 10000"/>
                  <a:gd name="connsiteX37" fmla="*/ 7554 w 10000"/>
                  <a:gd name="connsiteY37" fmla="*/ 9406 h 10000"/>
                  <a:gd name="connsiteX38" fmla="*/ 6906 w 10000"/>
                  <a:gd name="connsiteY38" fmla="*/ 9703 h 10000"/>
                  <a:gd name="connsiteX39" fmla="*/ 6259 w 10000"/>
                  <a:gd name="connsiteY39" fmla="*/ 10000 h 10000"/>
                  <a:gd name="connsiteX40" fmla="*/ 4101 w 10000"/>
                  <a:gd name="connsiteY40"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9137 w 10000"/>
                  <a:gd name="connsiteY26" fmla="*/ 3762 h 10000"/>
                  <a:gd name="connsiteX27" fmla="*/ 9712 w 10000"/>
                  <a:gd name="connsiteY27" fmla="*/ 4604 h 10000"/>
                  <a:gd name="connsiteX28" fmla="*/ 9928 w 10000"/>
                  <a:gd name="connsiteY28" fmla="*/ 5495 h 10000"/>
                  <a:gd name="connsiteX29" fmla="*/ 10000 w 10000"/>
                  <a:gd name="connsiteY29" fmla="*/ 6287 h 10000"/>
                  <a:gd name="connsiteX30" fmla="*/ 9784 w 10000"/>
                  <a:gd name="connsiteY30" fmla="*/ 7129 h 10000"/>
                  <a:gd name="connsiteX31" fmla="*/ 9568 w 10000"/>
                  <a:gd name="connsiteY31" fmla="*/ 7574 h 10000"/>
                  <a:gd name="connsiteX32" fmla="*/ 9281 w 10000"/>
                  <a:gd name="connsiteY32" fmla="*/ 7921 h 10000"/>
                  <a:gd name="connsiteX33" fmla="*/ 8921 w 10000"/>
                  <a:gd name="connsiteY33" fmla="*/ 8317 h 10000"/>
                  <a:gd name="connsiteX34" fmla="*/ 8489 w 10000"/>
                  <a:gd name="connsiteY34" fmla="*/ 8663 h 10000"/>
                  <a:gd name="connsiteX35" fmla="*/ 8058 w 10000"/>
                  <a:gd name="connsiteY35" fmla="*/ 9059 h 10000"/>
                  <a:gd name="connsiteX36" fmla="*/ 7554 w 10000"/>
                  <a:gd name="connsiteY36" fmla="*/ 9406 h 10000"/>
                  <a:gd name="connsiteX37" fmla="*/ 6906 w 10000"/>
                  <a:gd name="connsiteY37" fmla="*/ 9703 h 10000"/>
                  <a:gd name="connsiteX38" fmla="*/ 6259 w 10000"/>
                  <a:gd name="connsiteY38" fmla="*/ 10000 h 10000"/>
                  <a:gd name="connsiteX39" fmla="*/ 4101 w 10000"/>
                  <a:gd name="connsiteY39"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9137 w 10000"/>
                  <a:gd name="connsiteY25" fmla="*/ 3762 h 10000"/>
                  <a:gd name="connsiteX26" fmla="*/ 9712 w 10000"/>
                  <a:gd name="connsiteY26" fmla="*/ 4604 h 10000"/>
                  <a:gd name="connsiteX27" fmla="*/ 9928 w 10000"/>
                  <a:gd name="connsiteY27" fmla="*/ 5495 h 10000"/>
                  <a:gd name="connsiteX28" fmla="*/ 10000 w 10000"/>
                  <a:gd name="connsiteY28" fmla="*/ 6287 h 10000"/>
                  <a:gd name="connsiteX29" fmla="*/ 9784 w 10000"/>
                  <a:gd name="connsiteY29" fmla="*/ 7129 h 10000"/>
                  <a:gd name="connsiteX30" fmla="*/ 9568 w 10000"/>
                  <a:gd name="connsiteY30" fmla="*/ 7574 h 10000"/>
                  <a:gd name="connsiteX31" fmla="*/ 9281 w 10000"/>
                  <a:gd name="connsiteY31" fmla="*/ 7921 h 10000"/>
                  <a:gd name="connsiteX32" fmla="*/ 8921 w 10000"/>
                  <a:gd name="connsiteY32" fmla="*/ 8317 h 10000"/>
                  <a:gd name="connsiteX33" fmla="*/ 8489 w 10000"/>
                  <a:gd name="connsiteY33" fmla="*/ 8663 h 10000"/>
                  <a:gd name="connsiteX34" fmla="*/ 8058 w 10000"/>
                  <a:gd name="connsiteY34" fmla="*/ 9059 h 10000"/>
                  <a:gd name="connsiteX35" fmla="*/ 7554 w 10000"/>
                  <a:gd name="connsiteY35" fmla="*/ 9406 h 10000"/>
                  <a:gd name="connsiteX36" fmla="*/ 6906 w 10000"/>
                  <a:gd name="connsiteY36" fmla="*/ 9703 h 10000"/>
                  <a:gd name="connsiteX37" fmla="*/ 6259 w 10000"/>
                  <a:gd name="connsiteY37" fmla="*/ 10000 h 10000"/>
                  <a:gd name="connsiteX38" fmla="*/ 4101 w 10000"/>
                  <a:gd name="connsiteY38"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712 w 10000"/>
                  <a:gd name="connsiteY25" fmla="*/ 4604 h 10000"/>
                  <a:gd name="connsiteX26" fmla="*/ 9928 w 10000"/>
                  <a:gd name="connsiteY26" fmla="*/ 5495 h 10000"/>
                  <a:gd name="connsiteX27" fmla="*/ 10000 w 10000"/>
                  <a:gd name="connsiteY27" fmla="*/ 6287 h 10000"/>
                  <a:gd name="connsiteX28" fmla="*/ 9784 w 10000"/>
                  <a:gd name="connsiteY28" fmla="*/ 7129 h 10000"/>
                  <a:gd name="connsiteX29" fmla="*/ 9568 w 10000"/>
                  <a:gd name="connsiteY29" fmla="*/ 7574 h 10000"/>
                  <a:gd name="connsiteX30" fmla="*/ 9281 w 10000"/>
                  <a:gd name="connsiteY30" fmla="*/ 7921 h 10000"/>
                  <a:gd name="connsiteX31" fmla="*/ 8921 w 10000"/>
                  <a:gd name="connsiteY31" fmla="*/ 8317 h 10000"/>
                  <a:gd name="connsiteX32" fmla="*/ 8489 w 10000"/>
                  <a:gd name="connsiteY32" fmla="*/ 8663 h 10000"/>
                  <a:gd name="connsiteX33" fmla="*/ 8058 w 10000"/>
                  <a:gd name="connsiteY33" fmla="*/ 9059 h 10000"/>
                  <a:gd name="connsiteX34" fmla="*/ 7554 w 10000"/>
                  <a:gd name="connsiteY34" fmla="*/ 9406 h 10000"/>
                  <a:gd name="connsiteX35" fmla="*/ 6906 w 10000"/>
                  <a:gd name="connsiteY35" fmla="*/ 9703 h 10000"/>
                  <a:gd name="connsiteX36" fmla="*/ 6259 w 10000"/>
                  <a:gd name="connsiteY36" fmla="*/ 10000 h 10000"/>
                  <a:gd name="connsiteX37" fmla="*/ 4101 w 10000"/>
                  <a:gd name="connsiteY37"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928 w 10000"/>
                  <a:gd name="connsiteY25" fmla="*/ 5495 h 10000"/>
                  <a:gd name="connsiteX26" fmla="*/ 10000 w 10000"/>
                  <a:gd name="connsiteY26" fmla="*/ 6287 h 10000"/>
                  <a:gd name="connsiteX27" fmla="*/ 9784 w 10000"/>
                  <a:gd name="connsiteY27" fmla="*/ 7129 h 10000"/>
                  <a:gd name="connsiteX28" fmla="*/ 9568 w 10000"/>
                  <a:gd name="connsiteY28" fmla="*/ 7574 h 10000"/>
                  <a:gd name="connsiteX29" fmla="*/ 9281 w 10000"/>
                  <a:gd name="connsiteY29" fmla="*/ 7921 h 10000"/>
                  <a:gd name="connsiteX30" fmla="*/ 8921 w 10000"/>
                  <a:gd name="connsiteY30" fmla="*/ 8317 h 10000"/>
                  <a:gd name="connsiteX31" fmla="*/ 8489 w 10000"/>
                  <a:gd name="connsiteY31" fmla="*/ 8663 h 10000"/>
                  <a:gd name="connsiteX32" fmla="*/ 8058 w 10000"/>
                  <a:gd name="connsiteY32" fmla="*/ 9059 h 10000"/>
                  <a:gd name="connsiteX33" fmla="*/ 7554 w 10000"/>
                  <a:gd name="connsiteY33" fmla="*/ 9406 h 10000"/>
                  <a:gd name="connsiteX34" fmla="*/ 6906 w 10000"/>
                  <a:gd name="connsiteY34" fmla="*/ 9703 h 10000"/>
                  <a:gd name="connsiteX35" fmla="*/ 6259 w 10000"/>
                  <a:gd name="connsiteY35" fmla="*/ 10000 h 10000"/>
                  <a:gd name="connsiteX36" fmla="*/ 4101 w 10000"/>
                  <a:gd name="connsiteY36"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928 w 10000"/>
                  <a:gd name="connsiteY24" fmla="*/ 5495 h 10000"/>
                  <a:gd name="connsiteX25" fmla="*/ 10000 w 10000"/>
                  <a:gd name="connsiteY25" fmla="*/ 6287 h 10000"/>
                  <a:gd name="connsiteX26" fmla="*/ 9784 w 10000"/>
                  <a:gd name="connsiteY26" fmla="*/ 7129 h 10000"/>
                  <a:gd name="connsiteX27" fmla="*/ 9568 w 10000"/>
                  <a:gd name="connsiteY27" fmla="*/ 7574 h 10000"/>
                  <a:gd name="connsiteX28" fmla="*/ 9281 w 10000"/>
                  <a:gd name="connsiteY28" fmla="*/ 7921 h 10000"/>
                  <a:gd name="connsiteX29" fmla="*/ 8921 w 10000"/>
                  <a:gd name="connsiteY29" fmla="*/ 8317 h 10000"/>
                  <a:gd name="connsiteX30" fmla="*/ 8489 w 10000"/>
                  <a:gd name="connsiteY30" fmla="*/ 8663 h 10000"/>
                  <a:gd name="connsiteX31" fmla="*/ 8058 w 10000"/>
                  <a:gd name="connsiteY31" fmla="*/ 9059 h 10000"/>
                  <a:gd name="connsiteX32" fmla="*/ 7554 w 10000"/>
                  <a:gd name="connsiteY32" fmla="*/ 9406 h 10000"/>
                  <a:gd name="connsiteX33" fmla="*/ 6906 w 10000"/>
                  <a:gd name="connsiteY33" fmla="*/ 9703 h 10000"/>
                  <a:gd name="connsiteX34" fmla="*/ 6259 w 10000"/>
                  <a:gd name="connsiteY34" fmla="*/ 10000 h 10000"/>
                  <a:gd name="connsiteX35" fmla="*/ 4101 w 10000"/>
                  <a:gd name="connsiteY35" fmla="*/ 10000 h 10000"/>
                  <a:gd name="connsiteX0" fmla="*/ 4101 w 9928"/>
                  <a:gd name="connsiteY0" fmla="*/ 10000 h 10000"/>
                  <a:gd name="connsiteX1" fmla="*/ 4101 w 9928"/>
                  <a:gd name="connsiteY1" fmla="*/ 10000 h 10000"/>
                  <a:gd name="connsiteX2" fmla="*/ 3669 w 9928"/>
                  <a:gd name="connsiteY2" fmla="*/ 9851 h 10000"/>
                  <a:gd name="connsiteX3" fmla="*/ 2878 w 9928"/>
                  <a:gd name="connsiteY3" fmla="*/ 9554 h 10000"/>
                  <a:gd name="connsiteX4" fmla="*/ 1942 w 9928"/>
                  <a:gd name="connsiteY4" fmla="*/ 9059 h 10000"/>
                  <a:gd name="connsiteX5" fmla="*/ 1511 w 9928"/>
                  <a:gd name="connsiteY5" fmla="*/ 8762 h 10000"/>
                  <a:gd name="connsiteX6" fmla="*/ 1079 w 9928"/>
                  <a:gd name="connsiteY6" fmla="*/ 8366 h 10000"/>
                  <a:gd name="connsiteX7" fmla="*/ 647 w 9928"/>
                  <a:gd name="connsiteY7" fmla="*/ 7921 h 10000"/>
                  <a:gd name="connsiteX8" fmla="*/ 288 w 9928"/>
                  <a:gd name="connsiteY8" fmla="*/ 7475 h 10000"/>
                  <a:gd name="connsiteX9" fmla="*/ 72 w 9928"/>
                  <a:gd name="connsiteY9" fmla="*/ 6980 h 10000"/>
                  <a:gd name="connsiteX10" fmla="*/ 0 w 9928"/>
                  <a:gd name="connsiteY10" fmla="*/ 6436 h 10000"/>
                  <a:gd name="connsiteX11" fmla="*/ 72 w 9928"/>
                  <a:gd name="connsiteY11" fmla="*/ 5842 h 10000"/>
                  <a:gd name="connsiteX12" fmla="*/ 288 w 9928"/>
                  <a:gd name="connsiteY12" fmla="*/ 5198 h 10000"/>
                  <a:gd name="connsiteX13" fmla="*/ 863 w 9928"/>
                  <a:gd name="connsiteY13" fmla="*/ 4505 h 10000"/>
                  <a:gd name="connsiteX14" fmla="*/ 1583 w 9928"/>
                  <a:gd name="connsiteY14" fmla="*/ 3762 h 10000"/>
                  <a:gd name="connsiteX15" fmla="*/ 1583 w 9928"/>
                  <a:gd name="connsiteY15" fmla="*/ 3762 h 10000"/>
                  <a:gd name="connsiteX16" fmla="*/ 1942 w 9928"/>
                  <a:gd name="connsiteY16" fmla="*/ 3465 h 10000"/>
                  <a:gd name="connsiteX17" fmla="*/ 2590 w 9928"/>
                  <a:gd name="connsiteY17" fmla="*/ 2723 h 10000"/>
                  <a:gd name="connsiteX18" fmla="*/ 3022 w 9928"/>
                  <a:gd name="connsiteY18" fmla="*/ 2129 h 10000"/>
                  <a:gd name="connsiteX19" fmla="*/ 3309 w 9928"/>
                  <a:gd name="connsiteY19" fmla="*/ 1535 h 10000"/>
                  <a:gd name="connsiteX20" fmla="*/ 3525 w 9928"/>
                  <a:gd name="connsiteY20" fmla="*/ 792 h 10000"/>
                  <a:gd name="connsiteX21" fmla="*/ 3669 w 9928"/>
                  <a:gd name="connsiteY21" fmla="*/ 0 h 10000"/>
                  <a:gd name="connsiteX22" fmla="*/ 3669 w 9928"/>
                  <a:gd name="connsiteY22" fmla="*/ 0 h 10000"/>
                  <a:gd name="connsiteX23" fmla="*/ 4317 w 9928"/>
                  <a:gd name="connsiteY23" fmla="*/ 297 h 10000"/>
                  <a:gd name="connsiteX24" fmla="*/ 9928 w 9928"/>
                  <a:gd name="connsiteY24" fmla="*/ 5495 h 10000"/>
                  <a:gd name="connsiteX25" fmla="*/ 9784 w 9928"/>
                  <a:gd name="connsiteY25" fmla="*/ 7129 h 10000"/>
                  <a:gd name="connsiteX26" fmla="*/ 9568 w 9928"/>
                  <a:gd name="connsiteY26" fmla="*/ 7574 h 10000"/>
                  <a:gd name="connsiteX27" fmla="*/ 9281 w 9928"/>
                  <a:gd name="connsiteY27" fmla="*/ 7921 h 10000"/>
                  <a:gd name="connsiteX28" fmla="*/ 8921 w 9928"/>
                  <a:gd name="connsiteY28" fmla="*/ 8317 h 10000"/>
                  <a:gd name="connsiteX29" fmla="*/ 8489 w 9928"/>
                  <a:gd name="connsiteY29" fmla="*/ 8663 h 10000"/>
                  <a:gd name="connsiteX30" fmla="*/ 8058 w 9928"/>
                  <a:gd name="connsiteY30" fmla="*/ 9059 h 10000"/>
                  <a:gd name="connsiteX31" fmla="*/ 7554 w 9928"/>
                  <a:gd name="connsiteY31" fmla="*/ 9406 h 10000"/>
                  <a:gd name="connsiteX32" fmla="*/ 6906 w 9928"/>
                  <a:gd name="connsiteY32" fmla="*/ 9703 h 10000"/>
                  <a:gd name="connsiteX33" fmla="*/ 6259 w 9928"/>
                  <a:gd name="connsiteY33" fmla="*/ 10000 h 10000"/>
                  <a:gd name="connsiteX34" fmla="*/ 4101 w 9928"/>
                  <a:gd name="connsiteY34"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48 w 10000"/>
                  <a:gd name="connsiteY26" fmla="*/ 7921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33 w 10000"/>
                  <a:gd name="connsiteY26" fmla="*/ 7808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214"/>
                  <a:gd name="connsiteY0" fmla="*/ 10000 h 10000"/>
                  <a:gd name="connsiteX1" fmla="*/ 4131 w 10214"/>
                  <a:gd name="connsiteY1" fmla="*/ 10000 h 10000"/>
                  <a:gd name="connsiteX2" fmla="*/ 3696 w 10214"/>
                  <a:gd name="connsiteY2" fmla="*/ 9851 h 10000"/>
                  <a:gd name="connsiteX3" fmla="*/ 2899 w 10214"/>
                  <a:gd name="connsiteY3" fmla="*/ 9554 h 10000"/>
                  <a:gd name="connsiteX4" fmla="*/ 1956 w 10214"/>
                  <a:gd name="connsiteY4" fmla="*/ 9059 h 10000"/>
                  <a:gd name="connsiteX5" fmla="*/ 1522 w 10214"/>
                  <a:gd name="connsiteY5" fmla="*/ 8762 h 10000"/>
                  <a:gd name="connsiteX6" fmla="*/ 1087 w 10214"/>
                  <a:gd name="connsiteY6" fmla="*/ 8366 h 10000"/>
                  <a:gd name="connsiteX7" fmla="*/ 652 w 10214"/>
                  <a:gd name="connsiteY7" fmla="*/ 7921 h 10000"/>
                  <a:gd name="connsiteX8" fmla="*/ 290 w 10214"/>
                  <a:gd name="connsiteY8" fmla="*/ 7475 h 10000"/>
                  <a:gd name="connsiteX9" fmla="*/ 73 w 10214"/>
                  <a:gd name="connsiteY9" fmla="*/ 6980 h 10000"/>
                  <a:gd name="connsiteX10" fmla="*/ 0 w 10214"/>
                  <a:gd name="connsiteY10" fmla="*/ 6436 h 10000"/>
                  <a:gd name="connsiteX11" fmla="*/ 73 w 10214"/>
                  <a:gd name="connsiteY11" fmla="*/ 5842 h 10000"/>
                  <a:gd name="connsiteX12" fmla="*/ 290 w 10214"/>
                  <a:gd name="connsiteY12" fmla="*/ 5198 h 10000"/>
                  <a:gd name="connsiteX13" fmla="*/ 869 w 10214"/>
                  <a:gd name="connsiteY13" fmla="*/ 4505 h 10000"/>
                  <a:gd name="connsiteX14" fmla="*/ 1594 w 10214"/>
                  <a:gd name="connsiteY14" fmla="*/ 3762 h 10000"/>
                  <a:gd name="connsiteX15" fmla="*/ 1594 w 10214"/>
                  <a:gd name="connsiteY15" fmla="*/ 3762 h 10000"/>
                  <a:gd name="connsiteX16" fmla="*/ 1956 w 10214"/>
                  <a:gd name="connsiteY16" fmla="*/ 3465 h 10000"/>
                  <a:gd name="connsiteX17" fmla="*/ 2609 w 10214"/>
                  <a:gd name="connsiteY17" fmla="*/ 2723 h 10000"/>
                  <a:gd name="connsiteX18" fmla="*/ 3044 w 10214"/>
                  <a:gd name="connsiteY18" fmla="*/ 2129 h 10000"/>
                  <a:gd name="connsiteX19" fmla="*/ 3333 w 10214"/>
                  <a:gd name="connsiteY19" fmla="*/ 1535 h 10000"/>
                  <a:gd name="connsiteX20" fmla="*/ 3551 w 10214"/>
                  <a:gd name="connsiteY20" fmla="*/ 792 h 10000"/>
                  <a:gd name="connsiteX21" fmla="*/ 3696 w 10214"/>
                  <a:gd name="connsiteY21" fmla="*/ 0 h 10000"/>
                  <a:gd name="connsiteX22" fmla="*/ 3696 w 10214"/>
                  <a:gd name="connsiteY22" fmla="*/ 0 h 10000"/>
                  <a:gd name="connsiteX23" fmla="*/ 4348 w 10214"/>
                  <a:gd name="connsiteY23" fmla="*/ 297 h 10000"/>
                  <a:gd name="connsiteX24" fmla="*/ 10000 w 10214"/>
                  <a:gd name="connsiteY24" fmla="*/ 5495 h 10000"/>
                  <a:gd name="connsiteX25" fmla="*/ 8986 w 10214"/>
                  <a:gd name="connsiteY25" fmla="*/ 8317 h 10000"/>
                  <a:gd name="connsiteX26" fmla="*/ 8551 w 10214"/>
                  <a:gd name="connsiteY26" fmla="*/ 8663 h 10000"/>
                  <a:gd name="connsiteX27" fmla="*/ 8116 w 10214"/>
                  <a:gd name="connsiteY27" fmla="*/ 9059 h 10000"/>
                  <a:gd name="connsiteX28" fmla="*/ 7609 w 10214"/>
                  <a:gd name="connsiteY28" fmla="*/ 9406 h 10000"/>
                  <a:gd name="connsiteX29" fmla="*/ 6956 w 10214"/>
                  <a:gd name="connsiteY29" fmla="*/ 9703 h 10000"/>
                  <a:gd name="connsiteX30" fmla="*/ 6304 w 10214"/>
                  <a:gd name="connsiteY30" fmla="*/ 10000 h 10000"/>
                  <a:gd name="connsiteX31" fmla="*/ 4131 w 10214"/>
                  <a:gd name="connsiteY31" fmla="*/ 10000 h 10000"/>
                  <a:gd name="connsiteX0" fmla="*/ 4131 w 10158"/>
                  <a:gd name="connsiteY0" fmla="*/ 10000 h 10000"/>
                  <a:gd name="connsiteX1" fmla="*/ 4131 w 10158"/>
                  <a:gd name="connsiteY1" fmla="*/ 10000 h 10000"/>
                  <a:gd name="connsiteX2" fmla="*/ 3696 w 10158"/>
                  <a:gd name="connsiteY2" fmla="*/ 9851 h 10000"/>
                  <a:gd name="connsiteX3" fmla="*/ 2899 w 10158"/>
                  <a:gd name="connsiteY3" fmla="*/ 9554 h 10000"/>
                  <a:gd name="connsiteX4" fmla="*/ 1956 w 10158"/>
                  <a:gd name="connsiteY4" fmla="*/ 9059 h 10000"/>
                  <a:gd name="connsiteX5" fmla="*/ 1522 w 10158"/>
                  <a:gd name="connsiteY5" fmla="*/ 8762 h 10000"/>
                  <a:gd name="connsiteX6" fmla="*/ 1087 w 10158"/>
                  <a:gd name="connsiteY6" fmla="*/ 8366 h 10000"/>
                  <a:gd name="connsiteX7" fmla="*/ 652 w 10158"/>
                  <a:gd name="connsiteY7" fmla="*/ 7921 h 10000"/>
                  <a:gd name="connsiteX8" fmla="*/ 290 w 10158"/>
                  <a:gd name="connsiteY8" fmla="*/ 7475 h 10000"/>
                  <a:gd name="connsiteX9" fmla="*/ 73 w 10158"/>
                  <a:gd name="connsiteY9" fmla="*/ 6980 h 10000"/>
                  <a:gd name="connsiteX10" fmla="*/ 0 w 10158"/>
                  <a:gd name="connsiteY10" fmla="*/ 6436 h 10000"/>
                  <a:gd name="connsiteX11" fmla="*/ 73 w 10158"/>
                  <a:gd name="connsiteY11" fmla="*/ 5842 h 10000"/>
                  <a:gd name="connsiteX12" fmla="*/ 290 w 10158"/>
                  <a:gd name="connsiteY12" fmla="*/ 5198 h 10000"/>
                  <a:gd name="connsiteX13" fmla="*/ 869 w 10158"/>
                  <a:gd name="connsiteY13" fmla="*/ 4505 h 10000"/>
                  <a:gd name="connsiteX14" fmla="*/ 1594 w 10158"/>
                  <a:gd name="connsiteY14" fmla="*/ 3762 h 10000"/>
                  <a:gd name="connsiteX15" fmla="*/ 1594 w 10158"/>
                  <a:gd name="connsiteY15" fmla="*/ 3762 h 10000"/>
                  <a:gd name="connsiteX16" fmla="*/ 1956 w 10158"/>
                  <a:gd name="connsiteY16" fmla="*/ 3465 h 10000"/>
                  <a:gd name="connsiteX17" fmla="*/ 2609 w 10158"/>
                  <a:gd name="connsiteY17" fmla="*/ 2723 h 10000"/>
                  <a:gd name="connsiteX18" fmla="*/ 3044 w 10158"/>
                  <a:gd name="connsiteY18" fmla="*/ 2129 h 10000"/>
                  <a:gd name="connsiteX19" fmla="*/ 3333 w 10158"/>
                  <a:gd name="connsiteY19" fmla="*/ 1535 h 10000"/>
                  <a:gd name="connsiteX20" fmla="*/ 3551 w 10158"/>
                  <a:gd name="connsiteY20" fmla="*/ 792 h 10000"/>
                  <a:gd name="connsiteX21" fmla="*/ 3696 w 10158"/>
                  <a:gd name="connsiteY21" fmla="*/ 0 h 10000"/>
                  <a:gd name="connsiteX22" fmla="*/ 3696 w 10158"/>
                  <a:gd name="connsiteY22" fmla="*/ 0 h 10000"/>
                  <a:gd name="connsiteX23" fmla="*/ 4348 w 10158"/>
                  <a:gd name="connsiteY23" fmla="*/ 297 h 10000"/>
                  <a:gd name="connsiteX24" fmla="*/ 10000 w 10158"/>
                  <a:gd name="connsiteY24" fmla="*/ 5495 h 10000"/>
                  <a:gd name="connsiteX25" fmla="*/ 8551 w 10158"/>
                  <a:gd name="connsiteY25" fmla="*/ 8663 h 10000"/>
                  <a:gd name="connsiteX26" fmla="*/ 8116 w 10158"/>
                  <a:gd name="connsiteY26" fmla="*/ 9059 h 10000"/>
                  <a:gd name="connsiteX27" fmla="*/ 7609 w 10158"/>
                  <a:gd name="connsiteY27" fmla="*/ 9406 h 10000"/>
                  <a:gd name="connsiteX28" fmla="*/ 6956 w 10158"/>
                  <a:gd name="connsiteY28" fmla="*/ 9703 h 10000"/>
                  <a:gd name="connsiteX29" fmla="*/ 6304 w 10158"/>
                  <a:gd name="connsiteY29" fmla="*/ 10000 h 10000"/>
                  <a:gd name="connsiteX30" fmla="*/ 4131 w 10158"/>
                  <a:gd name="connsiteY30" fmla="*/ 10000 h 10000"/>
                  <a:gd name="connsiteX0" fmla="*/ 4131 w 10115"/>
                  <a:gd name="connsiteY0" fmla="*/ 10000 h 10000"/>
                  <a:gd name="connsiteX1" fmla="*/ 4131 w 10115"/>
                  <a:gd name="connsiteY1" fmla="*/ 10000 h 10000"/>
                  <a:gd name="connsiteX2" fmla="*/ 3696 w 10115"/>
                  <a:gd name="connsiteY2" fmla="*/ 9851 h 10000"/>
                  <a:gd name="connsiteX3" fmla="*/ 2899 w 10115"/>
                  <a:gd name="connsiteY3" fmla="*/ 9554 h 10000"/>
                  <a:gd name="connsiteX4" fmla="*/ 1956 w 10115"/>
                  <a:gd name="connsiteY4" fmla="*/ 9059 h 10000"/>
                  <a:gd name="connsiteX5" fmla="*/ 1522 w 10115"/>
                  <a:gd name="connsiteY5" fmla="*/ 8762 h 10000"/>
                  <a:gd name="connsiteX6" fmla="*/ 1087 w 10115"/>
                  <a:gd name="connsiteY6" fmla="*/ 8366 h 10000"/>
                  <a:gd name="connsiteX7" fmla="*/ 652 w 10115"/>
                  <a:gd name="connsiteY7" fmla="*/ 7921 h 10000"/>
                  <a:gd name="connsiteX8" fmla="*/ 290 w 10115"/>
                  <a:gd name="connsiteY8" fmla="*/ 7475 h 10000"/>
                  <a:gd name="connsiteX9" fmla="*/ 73 w 10115"/>
                  <a:gd name="connsiteY9" fmla="*/ 6980 h 10000"/>
                  <a:gd name="connsiteX10" fmla="*/ 0 w 10115"/>
                  <a:gd name="connsiteY10" fmla="*/ 6436 h 10000"/>
                  <a:gd name="connsiteX11" fmla="*/ 73 w 10115"/>
                  <a:gd name="connsiteY11" fmla="*/ 5842 h 10000"/>
                  <a:gd name="connsiteX12" fmla="*/ 290 w 10115"/>
                  <a:gd name="connsiteY12" fmla="*/ 5198 h 10000"/>
                  <a:gd name="connsiteX13" fmla="*/ 869 w 10115"/>
                  <a:gd name="connsiteY13" fmla="*/ 4505 h 10000"/>
                  <a:gd name="connsiteX14" fmla="*/ 1594 w 10115"/>
                  <a:gd name="connsiteY14" fmla="*/ 3762 h 10000"/>
                  <a:gd name="connsiteX15" fmla="*/ 1594 w 10115"/>
                  <a:gd name="connsiteY15" fmla="*/ 3762 h 10000"/>
                  <a:gd name="connsiteX16" fmla="*/ 1956 w 10115"/>
                  <a:gd name="connsiteY16" fmla="*/ 3465 h 10000"/>
                  <a:gd name="connsiteX17" fmla="*/ 2609 w 10115"/>
                  <a:gd name="connsiteY17" fmla="*/ 2723 h 10000"/>
                  <a:gd name="connsiteX18" fmla="*/ 3044 w 10115"/>
                  <a:gd name="connsiteY18" fmla="*/ 2129 h 10000"/>
                  <a:gd name="connsiteX19" fmla="*/ 3333 w 10115"/>
                  <a:gd name="connsiteY19" fmla="*/ 1535 h 10000"/>
                  <a:gd name="connsiteX20" fmla="*/ 3551 w 10115"/>
                  <a:gd name="connsiteY20" fmla="*/ 792 h 10000"/>
                  <a:gd name="connsiteX21" fmla="*/ 3696 w 10115"/>
                  <a:gd name="connsiteY21" fmla="*/ 0 h 10000"/>
                  <a:gd name="connsiteX22" fmla="*/ 3696 w 10115"/>
                  <a:gd name="connsiteY22" fmla="*/ 0 h 10000"/>
                  <a:gd name="connsiteX23" fmla="*/ 4348 w 10115"/>
                  <a:gd name="connsiteY23" fmla="*/ 297 h 10000"/>
                  <a:gd name="connsiteX24" fmla="*/ 10000 w 10115"/>
                  <a:gd name="connsiteY24" fmla="*/ 5495 h 10000"/>
                  <a:gd name="connsiteX25" fmla="*/ 8116 w 10115"/>
                  <a:gd name="connsiteY25" fmla="*/ 9059 h 10000"/>
                  <a:gd name="connsiteX26" fmla="*/ 7609 w 10115"/>
                  <a:gd name="connsiteY26" fmla="*/ 9406 h 10000"/>
                  <a:gd name="connsiteX27" fmla="*/ 6956 w 10115"/>
                  <a:gd name="connsiteY27" fmla="*/ 9703 h 10000"/>
                  <a:gd name="connsiteX28" fmla="*/ 6304 w 10115"/>
                  <a:gd name="connsiteY28" fmla="*/ 10000 h 10000"/>
                  <a:gd name="connsiteX29" fmla="*/ 4131 w 10115"/>
                  <a:gd name="connsiteY29" fmla="*/ 10000 h 10000"/>
                  <a:gd name="connsiteX0" fmla="*/ 4131 w 10078"/>
                  <a:gd name="connsiteY0" fmla="*/ 10000 h 10000"/>
                  <a:gd name="connsiteX1" fmla="*/ 4131 w 10078"/>
                  <a:gd name="connsiteY1" fmla="*/ 10000 h 10000"/>
                  <a:gd name="connsiteX2" fmla="*/ 3696 w 10078"/>
                  <a:gd name="connsiteY2" fmla="*/ 9851 h 10000"/>
                  <a:gd name="connsiteX3" fmla="*/ 2899 w 10078"/>
                  <a:gd name="connsiteY3" fmla="*/ 9554 h 10000"/>
                  <a:gd name="connsiteX4" fmla="*/ 1956 w 10078"/>
                  <a:gd name="connsiteY4" fmla="*/ 9059 h 10000"/>
                  <a:gd name="connsiteX5" fmla="*/ 1522 w 10078"/>
                  <a:gd name="connsiteY5" fmla="*/ 8762 h 10000"/>
                  <a:gd name="connsiteX6" fmla="*/ 1087 w 10078"/>
                  <a:gd name="connsiteY6" fmla="*/ 8366 h 10000"/>
                  <a:gd name="connsiteX7" fmla="*/ 652 w 10078"/>
                  <a:gd name="connsiteY7" fmla="*/ 7921 h 10000"/>
                  <a:gd name="connsiteX8" fmla="*/ 290 w 10078"/>
                  <a:gd name="connsiteY8" fmla="*/ 7475 h 10000"/>
                  <a:gd name="connsiteX9" fmla="*/ 73 w 10078"/>
                  <a:gd name="connsiteY9" fmla="*/ 6980 h 10000"/>
                  <a:gd name="connsiteX10" fmla="*/ 0 w 10078"/>
                  <a:gd name="connsiteY10" fmla="*/ 6436 h 10000"/>
                  <a:gd name="connsiteX11" fmla="*/ 73 w 10078"/>
                  <a:gd name="connsiteY11" fmla="*/ 5842 h 10000"/>
                  <a:gd name="connsiteX12" fmla="*/ 290 w 10078"/>
                  <a:gd name="connsiteY12" fmla="*/ 5198 h 10000"/>
                  <a:gd name="connsiteX13" fmla="*/ 869 w 10078"/>
                  <a:gd name="connsiteY13" fmla="*/ 4505 h 10000"/>
                  <a:gd name="connsiteX14" fmla="*/ 1594 w 10078"/>
                  <a:gd name="connsiteY14" fmla="*/ 3762 h 10000"/>
                  <a:gd name="connsiteX15" fmla="*/ 1594 w 10078"/>
                  <a:gd name="connsiteY15" fmla="*/ 3762 h 10000"/>
                  <a:gd name="connsiteX16" fmla="*/ 1956 w 10078"/>
                  <a:gd name="connsiteY16" fmla="*/ 3465 h 10000"/>
                  <a:gd name="connsiteX17" fmla="*/ 2609 w 10078"/>
                  <a:gd name="connsiteY17" fmla="*/ 2723 h 10000"/>
                  <a:gd name="connsiteX18" fmla="*/ 3044 w 10078"/>
                  <a:gd name="connsiteY18" fmla="*/ 2129 h 10000"/>
                  <a:gd name="connsiteX19" fmla="*/ 3333 w 10078"/>
                  <a:gd name="connsiteY19" fmla="*/ 1535 h 10000"/>
                  <a:gd name="connsiteX20" fmla="*/ 3551 w 10078"/>
                  <a:gd name="connsiteY20" fmla="*/ 792 h 10000"/>
                  <a:gd name="connsiteX21" fmla="*/ 3696 w 10078"/>
                  <a:gd name="connsiteY21" fmla="*/ 0 h 10000"/>
                  <a:gd name="connsiteX22" fmla="*/ 3696 w 10078"/>
                  <a:gd name="connsiteY22" fmla="*/ 0 h 10000"/>
                  <a:gd name="connsiteX23" fmla="*/ 4348 w 10078"/>
                  <a:gd name="connsiteY23" fmla="*/ 297 h 10000"/>
                  <a:gd name="connsiteX24" fmla="*/ 10000 w 10078"/>
                  <a:gd name="connsiteY24" fmla="*/ 5495 h 10000"/>
                  <a:gd name="connsiteX25" fmla="*/ 7609 w 10078"/>
                  <a:gd name="connsiteY25" fmla="*/ 9406 h 10000"/>
                  <a:gd name="connsiteX26" fmla="*/ 6956 w 10078"/>
                  <a:gd name="connsiteY26" fmla="*/ 9703 h 10000"/>
                  <a:gd name="connsiteX27" fmla="*/ 6304 w 10078"/>
                  <a:gd name="connsiteY27" fmla="*/ 10000 h 10000"/>
                  <a:gd name="connsiteX28" fmla="*/ 4131 w 10078"/>
                  <a:gd name="connsiteY28" fmla="*/ 10000 h 10000"/>
                  <a:gd name="connsiteX0" fmla="*/ 4131 w 10044"/>
                  <a:gd name="connsiteY0" fmla="*/ 10000 h 10000"/>
                  <a:gd name="connsiteX1" fmla="*/ 4131 w 10044"/>
                  <a:gd name="connsiteY1" fmla="*/ 10000 h 10000"/>
                  <a:gd name="connsiteX2" fmla="*/ 3696 w 10044"/>
                  <a:gd name="connsiteY2" fmla="*/ 9851 h 10000"/>
                  <a:gd name="connsiteX3" fmla="*/ 2899 w 10044"/>
                  <a:gd name="connsiteY3" fmla="*/ 9554 h 10000"/>
                  <a:gd name="connsiteX4" fmla="*/ 1956 w 10044"/>
                  <a:gd name="connsiteY4" fmla="*/ 9059 h 10000"/>
                  <a:gd name="connsiteX5" fmla="*/ 1522 w 10044"/>
                  <a:gd name="connsiteY5" fmla="*/ 8762 h 10000"/>
                  <a:gd name="connsiteX6" fmla="*/ 1087 w 10044"/>
                  <a:gd name="connsiteY6" fmla="*/ 8366 h 10000"/>
                  <a:gd name="connsiteX7" fmla="*/ 652 w 10044"/>
                  <a:gd name="connsiteY7" fmla="*/ 7921 h 10000"/>
                  <a:gd name="connsiteX8" fmla="*/ 290 w 10044"/>
                  <a:gd name="connsiteY8" fmla="*/ 7475 h 10000"/>
                  <a:gd name="connsiteX9" fmla="*/ 73 w 10044"/>
                  <a:gd name="connsiteY9" fmla="*/ 6980 h 10000"/>
                  <a:gd name="connsiteX10" fmla="*/ 0 w 10044"/>
                  <a:gd name="connsiteY10" fmla="*/ 6436 h 10000"/>
                  <a:gd name="connsiteX11" fmla="*/ 73 w 10044"/>
                  <a:gd name="connsiteY11" fmla="*/ 5842 h 10000"/>
                  <a:gd name="connsiteX12" fmla="*/ 290 w 10044"/>
                  <a:gd name="connsiteY12" fmla="*/ 5198 h 10000"/>
                  <a:gd name="connsiteX13" fmla="*/ 869 w 10044"/>
                  <a:gd name="connsiteY13" fmla="*/ 4505 h 10000"/>
                  <a:gd name="connsiteX14" fmla="*/ 1594 w 10044"/>
                  <a:gd name="connsiteY14" fmla="*/ 3762 h 10000"/>
                  <a:gd name="connsiteX15" fmla="*/ 1594 w 10044"/>
                  <a:gd name="connsiteY15" fmla="*/ 3762 h 10000"/>
                  <a:gd name="connsiteX16" fmla="*/ 1956 w 10044"/>
                  <a:gd name="connsiteY16" fmla="*/ 3465 h 10000"/>
                  <a:gd name="connsiteX17" fmla="*/ 2609 w 10044"/>
                  <a:gd name="connsiteY17" fmla="*/ 2723 h 10000"/>
                  <a:gd name="connsiteX18" fmla="*/ 3044 w 10044"/>
                  <a:gd name="connsiteY18" fmla="*/ 2129 h 10000"/>
                  <a:gd name="connsiteX19" fmla="*/ 3333 w 10044"/>
                  <a:gd name="connsiteY19" fmla="*/ 1535 h 10000"/>
                  <a:gd name="connsiteX20" fmla="*/ 3551 w 10044"/>
                  <a:gd name="connsiteY20" fmla="*/ 792 h 10000"/>
                  <a:gd name="connsiteX21" fmla="*/ 3696 w 10044"/>
                  <a:gd name="connsiteY21" fmla="*/ 0 h 10000"/>
                  <a:gd name="connsiteX22" fmla="*/ 3696 w 10044"/>
                  <a:gd name="connsiteY22" fmla="*/ 0 h 10000"/>
                  <a:gd name="connsiteX23" fmla="*/ 4348 w 10044"/>
                  <a:gd name="connsiteY23" fmla="*/ 297 h 10000"/>
                  <a:gd name="connsiteX24" fmla="*/ 10000 w 10044"/>
                  <a:gd name="connsiteY24" fmla="*/ 5495 h 10000"/>
                  <a:gd name="connsiteX25" fmla="*/ 6956 w 10044"/>
                  <a:gd name="connsiteY25" fmla="*/ 9703 h 10000"/>
                  <a:gd name="connsiteX26" fmla="*/ 6304 w 10044"/>
                  <a:gd name="connsiteY26" fmla="*/ 10000 h 10000"/>
                  <a:gd name="connsiteX27" fmla="*/ 4131 w 10044"/>
                  <a:gd name="connsiteY27"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4131 w 10024"/>
                  <a:gd name="connsiteY26"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5029 w 10024"/>
                  <a:gd name="connsiteY26" fmla="*/ 9977 h 10000"/>
                  <a:gd name="connsiteX27" fmla="*/ 4131 w 10024"/>
                  <a:gd name="connsiteY27" fmla="*/ 10000 h 10000"/>
                  <a:gd name="connsiteX0" fmla="*/ 4131 w 10002"/>
                  <a:gd name="connsiteY0" fmla="*/ 10000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26" fmla="*/ 4131 w 10002"/>
                  <a:gd name="connsiteY26" fmla="*/ 10000 h 10000"/>
                  <a:gd name="connsiteX0" fmla="*/ 5029 w 10002"/>
                  <a:gd name="connsiteY0" fmla="*/ 9977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3696 w 10002"/>
                  <a:gd name="connsiteY2" fmla="*/ 9851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10000"/>
                  <a:gd name="connsiteX1" fmla="*/ 4131 w 10002"/>
                  <a:gd name="connsiteY1" fmla="*/ 10000 h 10000"/>
                  <a:gd name="connsiteX2" fmla="*/ 3696 w 10002"/>
                  <a:gd name="connsiteY2" fmla="*/ 9851 h 10000"/>
                  <a:gd name="connsiteX3" fmla="*/ 2984 w 10002"/>
                  <a:gd name="connsiteY3" fmla="*/ 9495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2984 w 10002"/>
                  <a:gd name="connsiteY2" fmla="*/ 9495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9977"/>
                  <a:gd name="connsiteX1" fmla="*/ 2984 w 10002"/>
                  <a:gd name="connsiteY1" fmla="*/ 9495 h 9977"/>
                  <a:gd name="connsiteX2" fmla="*/ 1956 w 10002"/>
                  <a:gd name="connsiteY2" fmla="*/ 9059 h 9977"/>
                  <a:gd name="connsiteX3" fmla="*/ 1522 w 10002"/>
                  <a:gd name="connsiteY3" fmla="*/ 8762 h 9977"/>
                  <a:gd name="connsiteX4" fmla="*/ 1087 w 10002"/>
                  <a:gd name="connsiteY4" fmla="*/ 8366 h 9977"/>
                  <a:gd name="connsiteX5" fmla="*/ 652 w 10002"/>
                  <a:gd name="connsiteY5" fmla="*/ 7921 h 9977"/>
                  <a:gd name="connsiteX6" fmla="*/ 290 w 10002"/>
                  <a:gd name="connsiteY6" fmla="*/ 7475 h 9977"/>
                  <a:gd name="connsiteX7" fmla="*/ 73 w 10002"/>
                  <a:gd name="connsiteY7" fmla="*/ 6980 h 9977"/>
                  <a:gd name="connsiteX8" fmla="*/ 0 w 10002"/>
                  <a:gd name="connsiteY8" fmla="*/ 6436 h 9977"/>
                  <a:gd name="connsiteX9" fmla="*/ 73 w 10002"/>
                  <a:gd name="connsiteY9" fmla="*/ 5842 h 9977"/>
                  <a:gd name="connsiteX10" fmla="*/ 290 w 10002"/>
                  <a:gd name="connsiteY10" fmla="*/ 5198 h 9977"/>
                  <a:gd name="connsiteX11" fmla="*/ 869 w 10002"/>
                  <a:gd name="connsiteY11" fmla="*/ 4505 h 9977"/>
                  <a:gd name="connsiteX12" fmla="*/ 1594 w 10002"/>
                  <a:gd name="connsiteY12" fmla="*/ 3762 h 9977"/>
                  <a:gd name="connsiteX13" fmla="*/ 1594 w 10002"/>
                  <a:gd name="connsiteY13" fmla="*/ 3762 h 9977"/>
                  <a:gd name="connsiteX14" fmla="*/ 1956 w 10002"/>
                  <a:gd name="connsiteY14" fmla="*/ 3465 h 9977"/>
                  <a:gd name="connsiteX15" fmla="*/ 2609 w 10002"/>
                  <a:gd name="connsiteY15" fmla="*/ 2723 h 9977"/>
                  <a:gd name="connsiteX16" fmla="*/ 3044 w 10002"/>
                  <a:gd name="connsiteY16" fmla="*/ 2129 h 9977"/>
                  <a:gd name="connsiteX17" fmla="*/ 3333 w 10002"/>
                  <a:gd name="connsiteY17" fmla="*/ 1535 h 9977"/>
                  <a:gd name="connsiteX18" fmla="*/ 3551 w 10002"/>
                  <a:gd name="connsiteY18" fmla="*/ 792 h 9977"/>
                  <a:gd name="connsiteX19" fmla="*/ 3696 w 10002"/>
                  <a:gd name="connsiteY19" fmla="*/ 0 h 9977"/>
                  <a:gd name="connsiteX20" fmla="*/ 3696 w 10002"/>
                  <a:gd name="connsiteY20" fmla="*/ 0 h 9977"/>
                  <a:gd name="connsiteX21" fmla="*/ 4348 w 10002"/>
                  <a:gd name="connsiteY21" fmla="*/ 297 h 9977"/>
                  <a:gd name="connsiteX22" fmla="*/ 10000 w 10002"/>
                  <a:gd name="connsiteY22" fmla="*/ 5495 h 9977"/>
                  <a:gd name="connsiteX23" fmla="*/ 5029 w 10002"/>
                  <a:gd name="connsiteY23" fmla="*/ 9977 h 9977"/>
                  <a:gd name="connsiteX0" fmla="*/ 5028 w 10000"/>
                  <a:gd name="connsiteY0" fmla="*/ 10000 h 10000"/>
                  <a:gd name="connsiteX1" fmla="*/ 1956 w 10000"/>
                  <a:gd name="connsiteY1" fmla="*/ 9080 h 10000"/>
                  <a:gd name="connsiteX2" fmla="*/ 1522 w 10000"/>
                  <a:gd name="connsiteY2" fmla="*/ 8782 h 10000"/>
                  <a:gd name="connsiteX3" fmla="*/ 1087 w 10000"/>
                  <a:gd name="connsiteY3" fmla="*/ 8385 h 10000"/>
                  <a:gd name="connsiteX4" fmla="*/ 652 w 10000"/>
                  <a:gd name="connsiteY4" fmla="*/ 7939 h 10000"/>
                  <a:gd name="connsiteX5" fmla="*/ 290 w 10000"/>
                  <a:gd name="connsiteY5" fmla="*/ 7492 h 10000"/>
                  <a:gd name="connsiteX6" fmla="*/ 73 w 10000"/>
                  <a:gd name="connsiteY6" fmla="*/ 6996 h 10000"/>
                  <a:gd name="connsiteX7" fmla="*/ 0 w 10000"/>
                  <a:gd name="connsiteY7" fmla="*/ 6451 h 10000"/>
                  <a:gd name="connsiteX8" fmla="*/ 73 w 10000"/>
                  <a:gd name="connsiteY8" fmla="*/ 5855 h 10000"/>
                  <a:gd name="connsiteX9" fmla="*/ 290 w 10000"/>
                  <a:gd name="connsiteY9" fmla="*/ 5210 h 10000"/>
                  <a:gd name="connsiteX10" fmla="*/ 869 w 10000"/>
                  <a:gd name="connsiteY10" fmla="*/ 4515 h 10000"/>
                  <a:gd name="connsiteX11" fmla="*/ 1594 w 10000"/>
                  <a:gd name="connsiteY11" fmla="*/ 3771 h 10000"/>
                  <a:gd name="connsiteX12" fmla="*/ 1594 w 10000"/>
                  <a:gd name="connsiteY12" fmla="*/ 3771 h 10000"/>
                  <a:gd name="connsiteX13" fmla="*/ 1956 w 10000"/>
                  <a:gd name="connsiteY13" fmla="*/ 3473 h 10000"/>
                  <a:gd name="connsiteX14" fmla="*/ 2608 w 10000"/>
                  <a:gd name="connsiteY14" fmla="*/ 2729 h 10000"/>
                  <a:gd name="connsiteX15" fmla="*/ 3043 w 10000"/>
                  <a:gd name="connsiteY15" fmla="*/ 2134 h 10000"/>
                  <a:gd name="connsiteX16" fmla="*/ 3332 w 10000"/>
                  <a:gd name="connsiteY16" fmla="*/ 1539 h 10000"/>
                  <a:gd name="connsiteX17" fmla="*/ 3550 w 10000"/>
                  <a:gd name="connsiteY17" fmla="*/ 794 h 10000"/>
                  <a:gd name="connsiteX18" fmla="*/ 3695 w 10000"/>
                  <a:gd name="connsiteY18" fmla="*/ 0 h 10000"/>
                  <a:gd name="connsiteX19" fmla="*/ 3695 w 10000"/>
                  <a:gd name="connsiteY19" fmla="*/ 0 h 10000"/>
                  <a:gd name="connsiteX20" fmla="*/ 4347 w 10000"/>
                  <a:gd name="connsiteY20" fmla="*/ 298 h 10000"/>
                  <a:gd name="connsiteX21" fmla="*/ 9998 w 10000"/>
                  <a:gd name="connsiteY21" fmla="*/ 5508 h 10000"/>
                  <a:gd name="connsiteX22" fmla="*/ 5028 w 10000"/>
                  <a:gd name="connsiteY22" fmla="*/ 10000 h 10000"/>
                  <a:gd name="connsiteX0" fmla="*/ 5028 w 10000"/>
                  <a:gd name="connsiteY0" fmla="*/ 10000 h 10000"/>
                  <a:gd name="connsiteX1" fmla="*/ 1956 w 10000"/>
                  <a:gd name="connsiteY1" fmla="*/ 9080 h 10000"/>
                  <a:gd name="connsiteX2" fmla="*/ 1087 w 10000"/>
                  <a:gd name="connsiteY2" fmla="*/ 8385 h 10000"/>
                  <a:gd name="connsiteX3" fmla="*/ 652 w 10000"/>
                  <a:gd name="connsiteY3" fmla="*/ 7939 h 10000"/>
                  <a:gd name="connsiteX4" fmla="*/ 290 w 10000"/>
                  <a:gd name="connsiteY4" fmla="*/ 7492 h 10000"/>
                  <a:gd name="connsiteX5" fmla="*/ 73 w 10000"/>
                  <a:gd name="connsiteY5" fmla="*/ 6996 h 10000"/>
                  <a:gd name="connsiteX6" fmla="*/ 0 w 10000"/>
                  <a:gd name="connsiteY6" fmla="*/ 6451 h 10000"/>
                  <a:gd name="connsiteX7" fmla="*/ 73 w 10000"/>
                  <a:gd name="connsiteY7" fmla="*/ 5855 h 10000"/>
                  <a:gd name="connsiteX8" fmla="*/ 290 w 10000"/>
                  <a:gd name="connsiteY8" fmla="*/ 5210 h 10000"/>
                  <a:gd name="connsiteX9" fmla="*/ 869 w 10000"/>
                  <a:gd name="connsiteY9" fmla="*/ 4515 h 10000"/>
                  <a:gd name="connsiteX10" fmla="*/ 1594 w 10000"/>
                  <a:gd name="connsiteY10" fmla="*/ 3771 h 10000"/>
                  <a:gd name="connsiteX11" fmla="*/ 1594 w 10000"/>
                  <a:gd name="connsiteY11" fmla="*/ 3771 h 10000"/>
                  <a:gd name="connsiteX12" fmla="*/ 1956 w 10000"/>
                  <a:gd name="connsiteY12" fmla="*/ 3473 h 10000"/>
                  <a:gd name="connsiteX13" fmla="*/ 2608 w 10000"/>
                  <a:gd name="connsiteY13" fmla="*/ 2729 h 10000"/>
                  <a:gd name="connsiteX14" fmla="*/ 3043 w 10000"/>
                  <a:gd name="connsiteY14" fmla="*/ 2134 h 10000"/>
                  <a:gd name="connsiteX15" fmla="*/ 3332 w 10000"/>
                  <a:gd name="connsiteY15" fmla="*/ 1539 h 10000"/>
                  <a:gd name="connsiteX16" fmla="*/ 3550 w 10000"/>
                  <a:gd name="connsiteY16" fmla="*/ 794 h 10000"/>
                  <a:gd name="connsiteX17" fmla="*/ 3695 w 10000"/>
                  <a:gd name="connsiteY17" fmla="*/ 0 h 10000"/>
                  <a:gd name="connsiteX18" fmla="*/ 3695 w 10000"/>
                  <a:gd name="connsiteY18" fmla="*/ 0 h 10000"/>
                  <a:gd name="connsiteX19" fmla="*/ 4347 w 10000"/>
                  <a:gd name="connsiteY19" fmla="*/ 298 h 10000"/>
                  <a:gd name="connsiteX20" fmla="*/ 9998 w 10000"/>
                  <a:gd name="connsiteY20" fmla="*/ 5508 h 10000"/>
                  <a:gd name="connsiteX21" fmla="*/ 5028 w 10000"/>
                  <a:gd name="connsiteY21" fmla="*/ 10000 h 10000"/>
                  <a:gd name="connsiteX0" fmla="*/ 5028 w 10000"/>
                  <a:gd name="connsiteY0" fmla="*/ 10000 h 10000"/>
                  <a:gd name="connsiteX1" fmla="*/ 1087 w 10000"/>
                  <a:gd name="connsiteY1" fmla="*/ 8385 h 10000"/>
                  <a:gd name="connsiteX2" fmla="*/ 652 w 10000"/>
                  <a:gd name="connsiteY2" fmla="*/ 7939 h 10000"/>
                  <a:gd name="connsiteX3" fmla="*/ 290 w 10000"/>
                  <a:gd name="connsiteY3" fmla="*/ 7492 h 10000"/>
                  <a:gd name="connsiteX4" fmla="*/ 73 w 10000"/>
                  <a:gd name="connsiteY4" fmla="*/ 6996 h 10000"/>
                  <a:gd name="connsiteX5" fmla="*/ 0 w 10000"/>
                  <a:gd name="connsiteY5" fmla="*/ 6451 h 10000"/>
                  <a:gd name="connsiteX6" fmla="*/ 73 w 10000"/>
                  <a:gd name="connsiteY6" fmla="*/ 5855 h 10000"/>
                  <a:gd name="connsiteX7" fmla="*/ 290 w 10000"/>
                  <a:gd name="connsiteY7" fmla="*/ 5210 h 10000"/>
                  <a:gd name="connsiteX8" fmla="*/ 869 w 10000"/>
                  <a:gd name="connsiteY8" fmla="*/ 4515 h 10000"/>
                  <a:gd name="connsiteX9" fmla="*/ 1594 w 10000"/>
                  <a:gd name="connsiteY9" fmla="*/ 3771 h 10000"/>
                  <a:gd name="connsiteX10" fmla="*/ 1594 w 10000"/>
                  <a:gd name="connsiteY10" fmla="*/ 3771 h 10000"/>
                  <a:gd name="connsiteX11" fmla="*/ 1956 w 10000"/>
                  <a:gd name="connsiteY11" fmla="*/ 3473 h 10000"/>
                  <a:gd name="connsiteX12" fmla="*/ 2608 w 10000"/>
                  <a:gd name="connsiteY12" fmla="*/ 2729 h 10000"/>
                  <a:gd name="connsiteX13" fmla="*/ 3043 w 10000"/>
                  <a:gd name="connsiteY13" fmla="*/ 2134 h 10000"/>
                  <a:gd name="connsiteX14" fmla="*/ 3332 w 10000"/>
                  <a:gd name="connsiteY14" fmla="*/ 1539 h 10000"/>
                  <a:gd name="connsiteX15" fmla="*/ 3550 w 10000"/>
                  <a:gd name="connsiteY15" fmla="*/ 794 h 10000"/>
                  <a:gd name="connsiteX16" fmla="*/ 3695 w 10000"/>
                  <a:gd name="connsiteY16" fmla="*/ 0 h 10000"/>
                  <a:gd name="connsiteX17" fmla="*/ 3695 w 10000"/>
                  <a:gd name="connsiteY17" fmla="*/ 0 h 10000"/>
                  <a:gd name="connsiteX18" fmla="*/ 4347 w 10000"/>
                  <a:gd name="connsiteY18" fmla="*/ 298 h 10000"/>
                  <a:gd name="connsiteX19" fmla="*/ 9998 w 10000"/>
                  <a:gd name="connsiteY19" fmla="*/ 5508 h 10000"/>
                  <a:gd name="connsiteX20" fmla="*/ 5028 w 10000"/>
                  <a:gd name="connsiteY20" fmla="*/ 10000 h 10000"/>
                  <a:gd name="connsiteX0" fmla="*/ 5028 w 10000"/>
                  <a:gd name="connsiteY0" fmla="*/ 10000 h 10000"/>
                  <a:gd name="connsiteX1" fmla="*/ 652 w 10000"/>
                  <a:gd name="connsiteY1" fmla="*/ 7939 h 10000"/>
                  <a:gd name="connsiteX2" fmla="*/ 290 w 10000"/>
                  <a:gd name="connsiteY2" fmla="*/ 7492 h 10000"/>
                  <a:gd name="connsiteX3" fmla="*/ 73 w 10000"/>
                  <a:gd name="connsiteY3" fmla="*/ 6996 h 10000"/>
                  <a:gd name="connsiteX4" fmla="*/ 0 w 10000"/>
                  <a:gd name="connsiteY4" fmla="*/ 6451 h 10000"/>
                  <a:gd name="connsiteX5" fmla="*/ 73 w 10000"/>
                  <a:gd name="connsiteY5" fmla="*/ 5855 h 10000"/>
                  <a:gd name="connsiteX6" fmla="*/ 290 w 10000"/>
                  <a:gd name="connsiteY6" fmla="*/ 5210 h 10000"/>
                  <a:gd name="connsiteX7" fmla="*/ 869 w 10000"/>
                  <a:gd name="connsiteY7" fmla="*/ 4515 h 10000"/>
                  <a:gd name="connsiteX8" fmla="*/ 1594 w 10000"/>
                  <a:gd name="connsiteY8" fmla="*/ 3771 h 10000"/>
                  <a:gd name="connsiteX9" fmla="*/ 1594 w 10000"/>
                  <a:gd name="connsiteY9" fmla="*/ 3771 h 10000"/>
                  <a:gd name="connsiteX10" fmla="*/ 1956 w 10000"/>
                  <a:gd name="connsiteY10" fmla="*/ 3473 h 10000"/>
                  <a:gd name="connsiteX11" fmla="*/ 2608 w 10000"/>
                  <a:gd name="connsiteY11" fmla="*/ 2729 h 10000"/>
                  <a:gd name="connsiteX12" fmla="*/ 3043 w 10000"/>
                  <a:gd name="connsiteY12" fmla="*/ 2134 h 10000"/>
                  <a:gd name="connsiteX13" fmla="*/ 3332 w 10000"/>
                  <a:gd name="connsiteY13" fmla="*/ 1539 h 10000"/>
                  <a:gd name="connsiteX14" fmla="*/ 3550 w 10000"/>
                  <a:gd name="connsiteY14" fmla="*/ 794 h 10000"/>
                  <a:gd name="connsiteX15" fmla="*/ 3695 w 10000"/>
                  <a:gd name="connsiteY15" fmla="*/ 0 h 10000"/>
                  <a:gd name="connsiteX16" fmla="*/ 3695 w 10000"/>
                  <a:gd name="connsiteY16" fmla="*/ 0 h 10000"/>
                  <a:gd name="connsiteX17" fmla="*/ 4347 w 10000"/>
                  <a:gd name="connsiteY17" fmla="*/ 298 h 10000"/>
                  <a:gd name="connsiteX18" fmla="*/ 9998 w 10000"/>
                  <a:gd name="connsiteY18" fmla="*/ 5508 h 10000"/>
                  <a:gd name="connsiteX19" fmla="*/ 5028 w 10000"/>
                  <a:gd name="connsiteY19" fmla="*/ 10000 h 10000"/>
                  <a:gd name="connsiteX0" fmla="*/ 5028 w 10000"/>
                  <a:gd name="connsiteY0" fmla="*/ 10000 h 10000"/>
                  <a:gd name="connsiteX1" fmla="*/ 290 w 10000"/>
                  <a:gd name="connsiteY1" fmla="*/ 7492 h 10000"/>
                  <a:gd name="connsiteX2" fmla="*/ 73 w 10000"/>
                  <a:gd name="connsiteY2" fmla="*/ 6996 h 10000"/>
                  <a:gd name="connsiteX3" fmla="*/ 0 w 10000"/>
                  <a:gd name="connsiteY3" fmla="*/ 6451 h 10000"/>
                  <a:gd name="connsiteX4" fmla="*/ 73 w 10000"/>
                  <a:gd name="connsiteY4" fmla="*/ 5855 h 10000"/>
                  <a:gd name="connsiteX5" fmla="*/ 290 w 10000"/>
                  <a:gd name="connsiteY5" fmla="*/ 5210 h 10000"/>
                  <a:gd name="connsiteX6" fmla="*/ 869 w 10000"/>
                  <a:gd name="connsiteY6" fmla="*/ 4515 h 10000"/>
                  <a:gd name="connsiteX7" fmla="*/ 1594 w 10000"/>
                  <a:gd name="connsiteY7" fmla="*/ 3771 h 10000"/>
                  <a:gd name="connsiteX8" fmla="*/ 1594 w 10000"/>
                  <a:gd name="connsiteY8" fmla="*/ 3771 h 10000"/>
                  <a:gd name="connsiteX9" fmla="*/ 1956 w 10000"/>
                  <a:gd name="connsiteY9" fmla="*/ 3473 h 10000"/>
                  <a:gd name="connsiteX10" fmla="*/ 2608 w 10000"/>
                  <a:gd name="connsiteY10" fmla="*/ 2729 h 10000"/>
                  <a:gd name="connsiteX11" fmla="*/ 3043 w 10000"/>
                  <a:gd name="connsiteY11" fmla="*/ 2134 h 10000"/>
                  <a:gd name="connsiteX12" fmla="*/ 3332 w 10000"/>
                  <a:gd name="connsiteY12" fmla="*/ 1539 h 10000"/>
                  <a:gd name="connsiteX13" fmla="*/ 3550 w 10000"/>
                  <a:gd name="connsiteY13" fmla="*/ 794 h 10000"/>
                  <a:gd name="connsiteX14" fmla="*/ 3695 w 10000"/>
                  <a:gd name="connsiteY14" fmla="*/ 0 h 10000"/>
                  <a:gd name="connsiteX15" fmla="*/ 3695 w 10000"/>
                  <a:gd name="connsiteY15" fmla="*/ 0 h 10000"/>
                  <a:gd name="connsiteX16" fmla="*/ 4347 w 10000"/>
                  <a:gd name="connsiteY16" fmla="*/ 298 h 10000"/>
                  <a:gd name="connsiteX17" fmla="*/ 9998 w 10000"/>
                  <a:gd name="connsiteY17" fmla="*/ 5508 h 10000"/>
                  <a:gd name="connsiteX18" fmla="*/ 5028 w 10000"/>
                  <a:gd name="connsiteY18" fmla="*/ 10000 h 10000"/>
                  <a:gd name="connsiteX0" fmla="*/ 5028 w 10000"/>
                  <a:gd name="connsiteY0" fmla="*/ 10000 h 10000"/>
                  <a:gd name="connsiteX1" fmla="*/ 73 w 10000"/>
                  <a:gd name="connsiteY1" fmla="*/ 6996 h 10000"/>
                  <a:gd name="connsiteX2" fmla="*/ 0 w 10000"/>
                  <a:gd name="connsiteY2" fmla="*/ 6451 h 10000"/>
                  <a:gd name="connsiteX3" fmla="*/ 73 w 10000"/>
                  <a:gd name="connsiteY3" fmla="*/ 5855 h 10000"/>
                  <a:gd name="connsiteX4" fmla="*/ 290 w 10000"/>
                  <a:gd name="connsiteY4" fmla="*/ 5210 h 10000"/>
                  <a:gd name="connsiteX5" fmla="*/ 869 w 10000"/>
                  <a:gd name="connsiteY5" fmla="*/ 4515 h 10000"/>
                  <a:gd name="connsiteX6" fmla="*/ 1594 w 10000"/>
                  <a:gd name="connsiteY6" fmla="*/ 3771 h 10000"/>
                  <a:gd name="connsiteX7" fmla="*/ 1594 w 10000"/>
                  <a:gd name="connsiteY7" fmla="*/ 3771 h 10000"/>
                  <a:gd name="connsiteX8" fmla="*/ 1956 w 10000"/>
                  <a:gd name="connsiteY8" fmla="*/ 3473 h 10000"/>
                  <a:gd name="connsiteX9" fmla="*/ 2608 w 10000"/>
                  <a:gd name="connsiteY9" fmla="*/ 2729 h 10000"/>
                  <a:gd name="connsiteX10" fmla="*/ 3043 w 10000"/>
                  <a:gd name="connsiteY10" fmla="*/ 2134 h 10000"/>
                  <a:gd name="connsiteX11" fmla="*/ 3332 w 10000"/>
                  <a:gd name="connsiteY11" fmla="*/ 1539 h 10000"/>
                  <a:gd name="connsiteX12" fmla="*/ 3550 w 10000"/>
                  <a:gd name="connsiteY12" fmla="*/ 794 h 10000"/>
                  <a:gd name="connsiteX13" fmla="*/ 3695 w 10000"/>
                  <a:gd name="connsiteY13" fmla="*/ 0 h 10000"/>
                  <a:gd name="connsiteX14" fmla="*/ 3695 w 10000"/>
                  <a:gd name="connsiteY14" fmla="*/ 0 h 10000"/>
                  <a:gd name="connsiteX15" fmla="*/ 4347 w 10000"/>
                  <a:gd name="connsiteY15" fmla="*/ 298 h 10000"/>
                  <a:gd name="connsiteX16" fmla="*/ 9998 w 10000"/>
                  <a:gd name="connsiteY16" fmla="*/ 5508 h 10000"/>
                  <a:gd name="connsiteX17" fmla="*/ 5028 w 10000"/>
                  <a:gd name="connsiteY17" fmla="*/ 10000 h 10000"/>
                  <a:gd name="connsiteX0" fmla="*/ 5028 w 10000"/>
                  <a:gd name="connsiteY0" fmla="*/ 10000 h 10000"/>
                  <a:gd name="connsiteX1" fmla="*/ 0 w 10000"/>
                  <a:gd name="connsiteY1" fmla="*/ 6451 h 10000"/>
                  <a:gd name="connsiteX2" fmla="*/ 73 w 10000"/>
                  <a:gd name="connsiteY2" fmla="*/ 5855 h 10000"/>
                  <a:gd name="connsiteX3" fmla="*/ 290 w 10000"/>
                  <a:gd name="connsiteY3" fmla="*/ 5210 h 10000"/>
                  <a:gd name="connsiteX4" fmla="*/ 869 w 10000"/>
                  <a:gd name="connsiteY4" fmla="*/ 4515 h 10000"/>
                  <a:gd name="connsiteX5" fmla="*/ 1594 w 10000"/>
                  <a:gd name="connsiteY5" fmla="*/ 3771 h 10000"/>
                  <a:gd name="connsiteX6" fmla="*/ 1594 w 10000"/>
                  <a:gd name="connsiteY6" fmla="*/ 3771 h 10000"/>
                  <a:gd name="connsiteX7" fmla="*/ 1956 w 10000"/>
                  <a:gd name="connsiteY7" fmla="*/ 3473 h 10000"/>
                  <a:gd name="connsiteX8" fmla="*/ 2608 w 10000"/>
                  <a:gd name="connsiteY8" fmla="*/ 2729 h 10000"/>
                  <a:gd name="connsiteX9" fmla="*/ 3043 w 10000"/>
                  <a:gd name="connsiteY9" fmla="*/ 2134 h 10000"/>
                  <a:gd name="connsiteX10" fmla="*/ 3332 w 10000"/>
                  <a:gd name="connsiteY10" fmla="*/ 1539 h 10000"/>
                  <a:gd name="connsiteX11" fmla="*/ 3550 w 10000"/>
                  <a:gd name="connsiteY11" fmla="*/ 794 h 10000"/>
                  <a:gd name="connsiteX12" fmla="*/ 3695 w 10000"/>
                  <a:gd name="connsiteY12" fmla="*/ 0 h 10000"/>
                  <a:gd name="connsiteX13" fmla="*/ 3695 w 10000"/>
                  <a:gd name="connsiteY13" fmla="*/ 0 h 10000"/>
                  <a:gd name="connsiteX14" fmla="*/ 4347 w 10000"/>
                  <a:gd name="connsiteY14" fmla="*/ 298 h 10000"/>
                  <a:gd name="connsiteX15" fmla="*/ 9998 w 10000"/>
                  <a:gd name="connsiteY15" fmla="*/ 5508 h 10000"/>
                  <a:gd name="connsiteX16" fmla="*/ 5028 w 10000"/>
                  <a:gd name="connsiteY16" fmla="*/ 10000 h 10000"/>
                  <a:gd name="connsiteX0" fmla="*/ 4955 w 9927"/>
                  <a:gd name="connsiteY0" fmla="*/ 10000 h 10000"/>
                  <a:gd name="connsiteX1" fmla="*/ 0 w 9927"/>
                  <a:gd name="connsiteY1" fmla="*/ 5855 h 10000"/>
                  <a:gd name="connsiteX2" fmla="*/ 217 w 9927"/>
                  <a:gd name="connsiteY2" fmla="*/ 5210 h 10000"/>
                  <a:gd name="connsiteX3" fmla="*/ 796 w 9927"/>
                  <a:gd name="connsiteY3" fmla="*/ 4515 h 10000"/>
                  <a:gd name="connsiteX4" fmla="*/ 1521 w 9927"/>
                  <a:gd name="connsiteY4" fmla="*/ 3771 h 10000"/>
                  <a:gd name="connsiteX5" fmla="*/ 1521 w 9927"/>
                  <a:gd name="connsiteY5" fmla="*/ 3771 h 10000"/>
                  <a:gd name="connsiteX6" fmla="*/ 1883 w 9927"/>
                  <a:gd name="connsiteY6" fmla="*/ 3473 h 10000"/>
                  <a:gd name="connsiteX7" fmla="*/ 2535 w 9927"/>
                  <a:gd name="connsiteY7" fmla="*/ 2729 h 10000"/>
                  <a:gd name="connsiteX8" fmla="*/ 2970 w 9927"/>
                  <a:gd name="connsiteY8" fmla="*/ 2134 h 10000"/>
                  <a:gd name="connsiteX9" fmla="*/ 3259 w 9927"/>
                  <a:gd name="connsiteY9" fmla="*/ 1539 h 10000"/>
                  <a:gd name="connsiteX10" fmla="*/ 3477 w 9927"/>
                  <a:gd name="connsiteY10" fmla="*/ 794 h 10000"/>
                  <a:gd name="connsiteX11" fmla="*/ 3622 w 9927"/>
                  <a:gd name="connsiteY11" fmla="*/ 0 h 10000"/>
                  <a:gd name="connsiteX12" fmla="*/ 3622 w 9927"/>
                  <a:gd name="connsiteY12" fmla="*/ 0 h 10000"/>
                  <a:gd name="connsiteX13" fmla="*/ 4274 w 9927"/>
                  <a:gd name="connsiteY13" fmla="*/ 298 h 10000"/>
                  <a:gd name="connsiteX14" fmla="*/ 9925 w 9927"/>
                  <a:gd name="connsiteY14" fmla="*/ 5508 h 10000"/>
                  <a:gd name="connsiteX15" fmla="*/ 4955 w 9927"/>
                  <a:gd name="connsiteY15" fmla="*/ 10000 h 10000"/>
                  <a:gd name="connsiteX0" fmla="*/ 4991 w 10000"/>
                  <a:gd name="connsiteY0" fmla="*/ 10000 h 10000"/>
                  <a:gd name="connsiteX1" fmla="*/ 0 w 10000"/>
                  <a:gd name="connsiteY1" fmla="*/ 5855 h 10000"/>
                  <a:gd name="connsiteX2" fmla="*/ 802 w 10000"/>
                  <a:gd name="connsiteY2" fmla="*/ 4515 h 10000"/>
                  <a:gd name="connsiteX3" fmla="*/ 1532 w 10000"/>
                  <a:gd name="connsiteY3" fmla="*/ 3771 h 10000"/>
                  <a:gd name="connsiteX4" fmla="*/ 1532 w 10000"/>
                  <a:gd name="connsiteY4" fmla="*/ 3771 h 10000"/>
                  <a:gd name="connsiteX5" fmla="*/ 1897 w 10000"/>
                  <a:gd name="connsiteY5" fmla="*/ 3473 h 10000"/>
                  <a:gd name="connsiteX6" fmla="*/ 2554 w 10000"/>
                  <a:gd name="connsiteY6" fmla="*/ 2729 h 10000"/>
                  <a:gd name="connsiteX7" fmla="*/ 2992 w 10000"/>
                  <a:gd name="connsiteY7" fmla="*/ 2134 h 10000"/>
                  <a:gd name="connsiteX8" fmla="*/ 3283 w 10000"/>
                  <a:gd name="connsiteY8" fmla="*/ 1539 h 10000"/>
                  <a:gd name="connsiteX9" fmla="*/ 3503 w 10000"/>
                  <a:gd name="connsiteY9" fmla="*/ 794 h 10000"/>
                  <a:gd name="connsiteX10" fmla="*/ 3649 w 10000"/>
                  <a:gd name="connsiteY10" fmla="*/ 0 h 10000"/>
                  <a:gd name="connsiteX11" fmla="*/ 3649 w 10000"/>
                  <a:gd name="connsiteY11" fmla="*/ 0 h 10000"/>
                  <a:gd name="connsiteX12" fmla="*/ 4305 w 10000"/>
                  <a:gd name="connsiteY12" fmla="*/ 298 h 10000"/>
                  <a:gd name="connsiteX13" fmla="*/ 9998 w 10000"/>
                  <a:gd name="connsiteY13" fmla="*/ 5508 h 10000"/>
                  <a:gd name="connsiteX14" fmla="*/ 4991 w 10000"/>
                  <a:gd name="connsiteY14" fmla="*/ 10000 h 10000"/>
                  <a:gd name="connsiteX0" fmla="*/ 4991 w 10000"/>
                  <a:gd name="connsiteY0" fmla="*/ 10000 h 10000"/>
                  <a:gd name="connsiteX1" fmla="*/ 0 w 10000"/>
                  <a:gd name="connsiteY1" fmla="*/ 5855 h 10000"/>
                  <a:gd name="connsiteX2" fmla="*/ 1532 w 10000"/>
                  <a:gd name="connsiteY2" fmla="*/ 3771 h 10000"/>
                  <a:gd name="connsiteX3" fmla="*/ 1532 w 10000"/>
                  <a:gd name="connsiteY3" fmla="*/ 3771 h 10000"/>
                  <a:gd name="connsiteX4" fmla="*/ 1897 w 10000"/>
                  <a:gd name="connsiteY4" fmla="*/ 3473 h 10000"/>
                  <a:gd name="connsiteX5" fmla="*/ 2554 w 10000"/>
                  <a:gd name="connsiteY5" fmla="*/ 2729 h 10000"/>
                  <a:gd name="connsiteX6" fmla="*/ 2992 w 10000"/>
                  <a:gd name="connsiteY6" fmla="*/ 2134 h 10000"/>
                  <a:gd name="connsiteX7" fmla="*/ 3283 w 10000"/>
                  <a:gd name="connsiteY7" fmla="*/ 1539 h 10000"/>
                  <a:gd name="connsiteX8" fmla="*/ 3503 w 10000"/>
                  <a:gd name="connsiteY8" fmla="*/ 794 h 10000"/>
                  <a:gd name="connsiteX9" fmla="*/ 3649 w 10000"/>
                  <a:gd name="connsiteY9" fmla="*/ 0 h 10000"/>
                  <a:gd name="connsiteX10" fmla="*/ 3649 w 10000"/>
                  <a:gd name="connsiteY10" fmla="*/ 0 h 10000"/>
                  <a:gd name="connsiteX11" fmla="*/ 4305 w 10000"/>
                  <a:gd name="connsiteY11" fmla="*/ 298 h 10000"/>
                  <a:gd name="connsiteX12" fmla="*/ 9998 w 10000"/>
                  <a:gd name="connsiteY12" fmla="*/ 5508 h 10000"/>
                  <a:gd name="connsiteX13" fmla="*/ 4991 w 10000"/>
                  <a:gd name="connsiteY13" fmla="*/ 10000 h 10000"/>
                  <a:gd name="connsiteX0" fmla="*/ 4991 w 10000"/>
                  <a:gd name="connsiteY0" fmla="*/ 10000 h 10000"/>
                  <a:gd name="connsiteX1" fmla="*/ 0 w 10000"/>
                  <a:gd name="connsiteY1" fmla="*/ 5855 h 10000"/>
                  <a:gd name="connsiteX2" fmla="*/ 1532 w 10000"/>
                  <a:gd name="connsiteY2" fmla="*/ 3771 h 10000"/>
                  <a:gd name="connsiteX3" fmla="*/ 1897 w 10000"/>
                  <a:gd name="connsiteY3" fmla="*/ 3473 h 10000"/>
                  <a:gd name="connsiteX4" fmla="*/ 2554 w 10000"/>
                  <a:gd name="connsiteY4" fmla="*/ 2729 h 10000"/>
                  <a:gd name="connsiteX5" fmla="*/ 2992 w 10000"/>
                  <a:gd name="connsiteY5" fmla="*/ 2134 h 10000"/>
                  <a:gd name="connsiteX6" fmla="*/ 3283 w 10000"/>
                  <a:gd name="connsiteY6" fmla="*/ 1539 h 10000"/>
                  <a:gd name="connsiteX7" fmla="*/ 3503 w 10000"/>
                  <a:gd name="connsiteY7" fmla="*/ 794 h 10000"/>
                  <a:gd name="connsiteX8" fmla="*/ 3649 w 10000"/>
                  <a:gd name="connsiteY8" fmla="*/ 0 h 10000"/>
                  <a:gd name="connsiteX9" fmla="*/ 3649 w 10000"/>
                  <a:gd name="connsiteY9" fmla="*/ 0 h 10000"/>
                  <a:gd name="connsiteX10" fmla="*/ 4305 w 10000"/>
                  <a:gd name="connsiteY10" fmla="*/ 298 h 10000"/>
                  <a:gd name="connsiteX11" fmla="*/ 9998 w 10000"/>
                  <a:gd name="connsiteY11" fmla="*/ 5508 h 10000"/>
                  <a:gd name="connsiteX12" fmla="*/ 4991 w 10000"/>
                  <a:gd name="connsiteY12" fmla="*/ 10000 h 10000"/>
                  <a:gd name="connsiteX0" fmla="*/ 4991 w 10000"/>
                  <a:gd name="connsiteY0" fmla="*/ 10000 h 10000"/>
                  <a:gd name="connsiteX1" fmla="*/ 0 w 10000"/>
                  <a:gd name="connsiteY1" fmla="*/ 5855 h 10000"/>
                  <a:gd name="connsiteX2" fmla="*/ 1532 w 10000"/>
                  <a:gd name="connsiteY2" fmla="*/ 3771 h 10000"/>
                  <a:gd name="connsiteX3" fmla="*/ 2554 w 10000"/>
                  <a:gd name="connsiteY3" fmla="*/ 2729 h 10000"/>
                  <a:gd name="connsiteX4" fmla="*/ 2992 w 10000"/>
                  <a:gd name="connsiteY4" fmla="*/ 2134 h 10000"/>
                  <a:gd name="connsiteX5" fmla="*/ 3283 w 10000"/>
                  <a:gd name="connsiteY5" fmla="*/ 1539 h 10000"/>
                  <a:gd name="connsiteX6" fmla="*/ 3503 w 10000"/>
                  <a:gd name="connsiteY6" fmla="*/ 794 h 10000"/>
                  <a:gd name="connsiteX7" fmla="*/ 3649 w 10000"/>
                  <a:gd name="connsiteY7" fmla="*/ 0 h 10000"/>
                  <a:gd name="connsiteX8" fmla="*/ 3649 w 10000"/>
                  <a:gd name="connsiteY8" fmla="*/ 0 h 10000"/>
                  <a:gd name="connsiteX9" fmla="*/ 4305 w 10000"/>
                  <a:gd name="connsiteY9" fmla="*/ 298 h 10000"/>
                  <a:gd name="connsiteX10" fmla="*/ 9998 w 10000"/>
                  <a:gd name="connsiteY10" fmla="*/ 5508 h 10000"/>
                  <a:gd name="connsiteX11" fmla="*/ 4991 w 10000"/>
                  <a:gd name="connsiteY11" fmla="*/ 10000 h 10000"/>
                  <a:gd name="connsiteX0" fmla="*/ 4991 w 10000"/>
                  <a:gd name="connsiteY0" fmla="*/ 10000 h 10000"/>
                  <a:gd name="connsiteX1" fmla="*/ 0 w 10000"/>
                  <a:gd name="connsiteY1" fmla="*/ 5855 h 10000"/>
                  <a:gd name="connsiteX2" fmla="*/ 2554 w 10000"/>
                  <a:gd name="connsiteY2" fmla="*/ 2729 h 10000"/>
                  <a:gd name="connsiteX3" fmla="*/ 2992 w 10000"/>
                  <a:gd name="connsiteY3" fmla="*/ 2134 h 10000"/>
                  <a:gd name="connsiteX4" fmla="*/ 3283 w 10000"/>
                  <a:gd name="connsiteY4" fmla="*/ 1539 h 10000"/>
                  <a:gd name="connsiteX5" fmla="*/ 3503 w 10000"/>
                  <a:gd name="connsiteY5" fmla="*/ 794 h 10000"/>
                  <a:gd name="connsiteX6" fmla="*/ 3649 w 10000"/>
                  <a:gd name="connsiteY6" fmla="*/ 0 h 10000"/>
                  <a:gd name="connsiteX7" fmla="*/ 3649 w 10000"/>
                  <a:gd name="connsiteY7" fmla="*/ 0 h 10000"/>
                  <a:gd name="connsiteX8" fmla="*/ 4305 w 10000"/>
                  <a:gd name="connsiteY8" fmla="*/ 298 h 10000"/>
                  <a:gd name="connsiteX9" fmla="*/ 9998 w 10000"/>
                  <a:gd name="connsiteY9" fmla="*/ 5508 h 10000"/>
                  <a:gd name="connsiteX10" fmla="*/ 4991 w 10000"/>
                  <a:gd name="connsiteY10" fmla="*/ 10000 h 10000"/>
                  <a:gd name="connsiteX0" fmla="*/ 4991 w 10000"/>
                  <a:gd name="connsiteY0" fmla="*/ 10000 h 10000"/>
                  <a:gd name="connsiteX1" fmla="*/ 0 w 10000"/>
                  <a:gd name="connsiteY1" fmla="*/ 5855 h 10000"/>
                  <a:gd name="connsiteX2" fmla="*/ 2992 w 10000"/>
                  <a:gd name="connsiteY2" fmla="*/ 2134 h 10000"/>
                  <a:gd name="connsiteX3" fmla="*/ 3283 w 10000"/>
                  <a:gd name="connsiteY3" fmla="*/ 1539 h 10000"/>
                  <a:gd name="connsiteX4" fmla="*/ 3503 w 10000"/>
                  <a:gd name="connsiteY4" fmla="*/ 794 h 10000"/>
                  <a:gd name="connsiteX5" fmla="*/ 3649 w 10000"/>
                  <a:gd name="connsiteY5" fmla="*/ 0 h 10000"/>
                  <a:gd name="connsiteX6" fmla="*/ 3649 w 10000"/>
                  <a:gd name="connsiteY6" fmla="*/ 0 h 10000"/>
                  <a:gd name="connsiteX7" fmla="*/ 4305 w 10000"/>
                  <a:gd name="connsiteY7" fmla="*/ 298 h 10000"/>
                  <a:gd name="connsiteX8" fmla="*/ 9998 w 10000"/>
                  <a:gd name="connsiteY8" fmla="*/ 5508 h 10000"/>
                  <a:gd name="connsiteX9" fmla="*/ 4991 w 10000"/>
                  <a:gd name="connsiteY9" fmla="*/ 10000 h 10000"/>
                  <a:gd name="connsiteX0" fmla="*/ 4991 w 10000"/>
                  <a:gd name="connsiteY0" fmla="*/ 10000 h 10000"/>
                  <a:gd name="connsiteX1" fmla="*/ 0 w 10000"/>
                  <a:gd name="connsiteY1" fmla="*/ 5855 h 10000"/>
                  <a:gd name="connsiteX2" fmla="*/ 3283 w 10000"/>
                  <a:gd name="connsiteY2" fmla="*/ 1539 h 10000"/>
                  <a:gd name="connsiteX3" fmla="*/ 3503 w 10000"/>
                  <a:gd name="connsiteY3" fmla="*/ 794 h 10000"/>
                  <a:gd name="connsiteX4" fmla="*/ 3649 w 10000"/>
                  <a:gd name="connsiteY4" fmla="*/ 0 h 10000"/>
                  <a:gd name="connsiteX5" fmla="*/ 3649 w 10000"/>
                  <a:gd name="connsiteY5" fmla="*/ 0 h 10000"/>
                  <a:gd name="connsiteX6" fmla="*/ 4305 w 10000"/>
                  <a:gd name="connsiteY6" fmla="*/ 298 h 10000"/>
                  <a:gd name="connsiteX7" fmla="*/ 9998 w 10000"/>
                  <a:gd name="connsiteY7" fmla="*/ 5508 h 10000"/>
                  <a:gd name="connsiteX8" fmla="*/ 4991 w 10000"/>
                  <a:gd name="connsiteY8" fmla="*/ 10000 h 10000"/>
                  <a:gd name="connsiteX0" fmla="*/ 4991 w 10000"/>
                  <a:gd name="connsiteY0" fmla="*/ 10000 h 10000"/>
                  <a:gd name="connsiteX1" fmla="*/ 0 w 10000"/>
                  <a:gd name="connsiteY1" fmla="*/ 5855 h 10000"/>
                  <a:gd name="connsiteX2" fmla="*/ 3503 w 10000"/>
                  <a:gd name="connsiteY2" fmla="*/ 794 h 10000"/>
                  <a:gd name="connsiteX3" fmla="*/ 3649 w 10000"/>
                  <a:gd name="connsiteY3" fmla="*/ 0 h 10000"/>
                  <a:gd name="connsiteX4" fmla="*/ 3649 w 10000"/>
                  <a:gd name="connsiteY4" fmla="*/ 0 h 10000"/>
                  <a:gd name="connsiteX5" fmla="*/ 4305 w 10000"/>
                  <a:gd name="connsiteY5" fmla="*/ 298 h 10000"/>
                  <a:gd name="connsiteX6" fmla="*/ 9998 w 10000"/>
                  <a:gd name="connsiteY6" fmla="*/ 5508 h 10000"/>
                  <a:gd name="connsiteX7" fmla="*/ 4991 w 10000"/>
                  <a:gd name="connsiteY7"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4305 w 10000"/>
                  <a:gd name="connsiteY4" fmla="*/ 298 h 10000"/>
                  <a:gd name="connsiteX5" fmla="*/ 9998 w 10000"/>
                  <a:gd name="connsiteY5" fmla="*/ 5508 h 10000"/>
                  <a:gd name="connsiteX6" fmla="*/ 4991 w 10000"/>
                  <a:gd name="connsiteY6"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9998 w 10000"/>
                  <a:gd name="connsiteY4" fmla="*/ 5508 h 10000"/>
                  <a:gd name="connsiteX5" fmla="*/ 4991 w 10000"/>
                  <a:gd name="connsiteY5" fmla="*/ 10000 h 10000"/>
                  <a:gd name="connsiteX0" fmla="*/ 4991 w 10004"/>
                  <a:gd name="connsiteY0" fmla="*/ 10000 h 10000"/>
                  <a:gd name="connsiteX1" fmla="*/ 0 w 10004"/>
                  <a:gd name="connsiteY1" fmla="*/ 5855 h 10000"/>
                  <a:gd name="connsiteX2" fmla="*/ 3649 w 10004"/>
                  <a:gd name="connsiteY2" fmla="*/ 0 h 10000"/>
                  <a:gd name="connsiteX3" fmla="*/ 3649 w 10004"/>
                  <a:gd name="connsiteY3" fmla="*/ 0 h 10000"/>
                  <a:gd name="connsiteX4" fmla="*/ 9998 w 10004"/>
                  <a:gd name="connsiteY4" fmla="*/ 5508 h 10000"/>
                  <a:gd name="connsiteX5" fmla="*/ 4991 w 10004"/>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77 w 10090"/>
                  <a:gd name="connsiteY0" fmla="*/ 10000 h 10000"/>
                  <a:gd name="connsiteX1" fmla="*/ 86 w 10090"/>
                  <a:gd name="connsiteY1" fmla="*/ 5855 h 10000"/>
                  <a:gd name="connsiteX2" fmla="*/ 3735 w 10090"/>
                  <a:gd name="connsiteY2" fmla="*/ 0 h 10000"/>
                  <a:gd name="connsiteX3" fmla="*/ 3735 w 10090"/>
                  <a:gd name="connsiteY3" fmla="*/ 0 h 10000"/>
                  <a:gd name="connsiteX4" fmla="*/ 10084 w 10090"/>
                  <a:gd name="connsiteY4" fmla="*/ 5508 h 10000"/>
                  <a:gd name="connsiteX5" fmla="*/ 5077 w 10090"/>
                  <a:gd name="connsiteY5" fmla="*/ 10000 h 10000"/>
                  <a:gd name="connsiteX0" fmla="*/ 5060 w 10073"/>
                  <a:gd name="connsiteY0" fmla="*/ 10000 h 10000"/>
                  <a:gd name="connsiteX1" fmla="*/ 69 w 10073"/>
                  <a:gd name="connsiteY1" fmla="*/ 5855 h 10000"/>
                  <a:gd name="connsiteX2" fmla="*/ 3718 w 10073"/>
                  <a:gd name="connsiteY2" fmla="*/ 0 h 10000"/>
                  <a:gd name="connsiteX3" fmla="*/ 3718 w 10073"/>
                  <a:gd name="connsiteY3" fmla="*/ 0 h 10000"/>
                  <a:gd name="connsiteX4" fmla="*/ 10067 w 10073"/>
                  <a:gd name="connsiteY4" fmla="*/ 5508 h 10000"/>
                  <a:gd name="connsiteX5" fmla="*/ 5060 w 10073"/>
                  <a:gd name="connsiteY5" fmla="*/ 10000 h 10000"/>
                  <a:gd name="connsiteX0" fmla="*/ 4956 w 9965"/>
                  <a:gd name="connsiteY0" fmla="*/ 10000 h 10000"/>
                  <a:gd name="connsiteX1" fmla="*/ 36 w 9965"/>
                  <a:gd name="connsiteY1" fmla="*/ 5565 h 10000"/>
                  <a:gd name="connsiteX2" fmla="*/ 3614 w 9965"/>
                  <a:gd name="connsiteY2" fmla="*/ 0 h 10000"/>
                  <a:gd name="connsiteX3" fmla="*/ 3614 w 9965"/>
                  <a:gd name="connsiteY3" fmla="*/ 0 h 10000"/>
                  <a:gd name="connsiteX4" fmla="*/ 9963 w 9965"/>
                  <a:gd name="connsiteY4" fmla="*/ 5508 h 10000"/>
                  <a:gd name="connsiteX5" fmla="*/ 4956 w 9965"/>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37"/>
                  <a:gd name="connsiteY0" fmla="*/ 10000 h 10001"/>
                  <a:gd name="connsiteX1" fmla="*/ 171 w 10137"/>
                  <a:gd name="connsiteY1" fmla="*/ 5565 h 10001"/>
                  <a:gd name="connsiteX2" fmla="*/ 3762 w 10137"/>
                  <a:gd name="connsiteY2" fmla="*/ 0 h 10001"/>
                  <a:gd name="connsiteX3" fmla="*/ 4332 w 10137"/>
                  <a:gd name="connsiteY3" fmla="*/ 580 h 10001"/>
                  <a:gd name="connsiteX4" fmla="*/ 10133 w 10137"/>
                  <a:gd name="connsiteY4" fmla="*/ 5508 h 10001"/>
                  <a:gd name="connsiteX5" fmla="*/ 5108 w 10137"/>
                  <a:gd name="connsiteY5" fmla="*/ 10000 h 10001"/>
                  <a:gd name="connsiteX0" fmla="*/ 5108 w 10151"/>
                  <a:gd name="connsiteY0" fmla="*/ 10145 h 10146"/>
                  <a:gd name="connsiteX1" fmla="*/ 171 w 10151"/>
                  <a:gd name="connsiteY1" fmla="*/ 5710 h 10146"/>
                  <a:gd name="connsiteX2" fmla="*/ 3762 w 10151"/>
                  <a:gd name="connsiteY2" fmla="*/ 145 h 10146"/>
                  <a:gd name="connsiteX3" fmla="*/ 6685 w 10151"/>
                  <a:gd name="connsiteY3" fmla="*/ 0 h 10146"/>
                  <a:gd name="connsiteX4" fmla="*/ 10133 w 10151"/>
                  <a:gd name="connsiteY4" fmla="*/ 5653 h 10146"/>
                  <a:gd name="connsiteX5" fmla="*/ 5108 w 10151"/>
                  <a:gd name="connsiteY5" fmla="*/ 10145 h 10146"/>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46"/>
                  <a:gd name="connsiteY0" fmla="*/ 10000 h 10001"/>
                  <a:gd name="connsiteX1" fmla="*/ 171 w 10146"/>
                  <a:gd name="connsiteY1" fmla="*/ 5565 h 10001"/>
                  <a:gd name="connsiteX2" fmla="*/ 3762 w 10146"/>
                  <a:gd name="connsiteY2" fmla="*/ 0 h 10001"/>
                  <a:gd name="connsiteX3" fmla="*/ 10133 w 10146"/>
                  <a:gd name="connsiteY3" fmla="*/ 5508 h 10001"/>
                  <a:gd name="connsiteX4" fmla="*/ 5108 w 10146"/>
                  <a:gd name="connsiteY4" fmla="*/ 10000 h 10001"/>
                  <a:gd name="connsiteX0" fmla="*/ 5108 w 10135"/>
                  <a:gd name="connsiteY0" fmla="*/ 10000 h 10001"/>
                  <a:gd name="connsiteX1" fmla="*/ 171 w 10135"/>
                  <a:gd name="connsiteY1" fmla="*/ 5565 h 10001"/>
                  <a:gd name="connsiteX2" fmla="*/ 3762 w 10135"/>
                  <a:gd name="connsiteY2" fmla="*/ 0 h 10001"/>
                  <a:gd name="connsiteX3" fmla="*/ 10133 w 10135"/>
                  <a:gd name="connsiteY3" fmla="*/ 5508 h 10001"/>
                  <a:gd name="connsiteX4" fmla="*/ 5108 w 10135"/>
                  <a:gd name="connsiteY4" fmla="*/ 10000 h 10001"/>
                  <a:gd name="connsiteX0" fmla="*/ 5108 w 10139"/>
                  <a:gd name="connsiteY0" fmla="*/ 10000 h 10001"/>
                  <a:gd name="connsiteX1" fmla="*/ 171 w 10139"/>
                  <a:gd name="connsiteY1" fmla="*/ 5565 h 10001"/>
                  <a:gd name="connsiteX2" fmla="*/ 3762 w 10139"/>
                  <a:gd name="connsiteY2" fmla="*/ 0 h 10001"/>
                  <a:gd name="connsiteX3" fmla="*/ 10133 w 10139"/>
                  <a:gd name="connsiteY3" fmla="*/ 5508 h 10001"/>
                  <a:gd name="connsiteX4" fmla="*/ 5108 w 10139"/>
                  <a:gd name="connsiteY4" fmla="*/ 10000 h 10001"/>
                  <a:gd name="connsiteX0" fmla="*/ 5108 w 10164"/>
                  <a:gd name="connsiteY0" fmla="*/ 10000 h 10001"/>
                  <a:gd name="connsiteX1" fmla="*/ 171 w 10164"/>
                  <a:gd name="connsiteY1" fmla="*/ 5565 h 10001"/>
                  <a:gd name="connsiteX2" fmla="*/ 3762 w 10164"/>
                  <a:gd name="connsiteY2" fmla="*/ 0 h 10001"/>
                  <a:gd name="connsiteX3" fmla="*/ 10133 w 10164"/>
                  <a:gd name="connsiteY3" fmla="*/ 5508 h 10001"/>
                  <a:gd name="connsiteX4" fmla="*/ 5108 w 10164"/>
                  <a:gd name="connsiteY4" fmla="*/ 10000 h 10001"/>
                  <a:gd name="connsiteX0" fmla="*/ 5088 w 10139"/>
                  <a:gd name="connsiteY0" fmla="*/ 10000 h 10000"/>
                  <a:gd name="connsiteX1" fmla="*/ 151 w 10139"/>
                  <a:gd name="connsiteY1" fmla="*/ 5565 h 10000"/>
                  <a:gd name="connsiteX2" fmla="*/ 3742 w 10139"/>
                  <a:gd name="connsiteY2" fmla="*/ 0 h 10000"/>
                  <a:gd name="connsiteX3" fmla="*/ 10113 w 10139"/>
                  <a:gd name="connsiteY3" fmla="*/ 5605 h 10000"/>
                  <a:gd name="connsiteX4" fmla="*/ 5088 w 10139"/>
                  <a:gd name="connsiteY4" fmla="*/ 10000 h 10000"/>
                  <a:gd name="connsiteX0" fmla="*/ 5088 w 10173"/>
                  <a:gd name="connsiteY0" fmla="*/ 10000 h 10000"/>
                  <a:gd name="connsiteX1" fmla="*/ 151 w 10173"/>
                  <a:gd name="connsiteY1" fmla="*/ 5565 h 10000"/>
                  <a:gd name="connsiteX2" fmla="*/ 3742 w 10173"/>
                  <a:gd name="connsiteY2" fmla="*/ 0 h 10000"/>
                  <a:gd name="connsiteX3" fmla="*/ 10113 w 10173"/>
                  <a:gd name="connsiteY3" fmla="*/ 5605 h 10000"/>
                  <a:gd name="connsiteX4" fmla="*/ 5088 w 10173"/>
                  <a:gd name="connsiteY4" fmla="*/ 10000 h 10000"/>
                  <a:gd name="connsiteX0" fmla="*/ 5108 w 10202"/>
                  <a:gd name="connsiteY0" fmla="*/ 10000 h 10000"/>
                  <a:gd name="connsiteX1" fmla="*/ 171 w 10202"/>
                  <a:gd name="connsiteY1" fmla="*/ 5565 h 10000"/>
                  <a:gd name="connsiteX2" fmla="*/ 3762 w 10202"/>
                  <a:gd name="connsiteY2" fmla="*/ 0 h 10000"/>
                  <a:gd name="connsiteX3" fmla="*/ 10133 w 10202"/>
                  <a:gd name="connsiteY3" fmla="*/ 5605 h 10000"/>
                  <a:gd name="connsiteX4" fmla="*/ 5108 w 10202"/>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2" h="10000">
                    <a:moveTo>
                      <a:pt x="5108" y="10000"/>
                    </a:moveTo>
                    <a:cubicBezTo>
                      <a:pt x="2806" y="10041"/>
                      <a:pt x="-834" y="8097"/>
                      <a:pt x="171" y="5565"/>
                    </a:cubicBezTo>
                    <a:cubicBezTo>
                      <a:pt x="1176" y="3033"/>
                      <a:pt x="4038" y="3160"/>
                      <a:pt x="3762" y="0"/>
                    </a:cubicBezTo>
                    <a:cubicBezTo>
                      <a:pt x="6670" y="1353"/>
                      <a:pt x="9540" y="2513"/>
                      <a:pt x="10133" y="5605"/>
                    </a:cubicBezTo>
                    <a:cubicBezTo>
                      <a:pt x="10726" y="8697"/>
                      <a:pt x="7410" y="9959"/>
                      <a:pt x="5108" y="1000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a:lnSpc>
                    <a:spcPct val="90000"/>
                  </a:lnSpc>
                </a:pPr>
                <a:endParaRPr lang="en-US" sz="1200"/>
              </a:p>
            </p:txBody>
          </p:sp>
          <p:sp>
            <p:nvSpPr>
              <p:cNvPr id="69" name="Freeform 514">
                <a:extLst>
                  <a:ext uri="{FF2B5EF4-FFF2-40B4-BE49-F238E27FC236}">
                    <a16:creationId xmlns:a16="http://schemas.microsoft.com/office/drawing/2014/main" id="{86F1D31C-50BF-491B-9CF4-C422CE7858D0}"/>
                  </a:ext>
                </a:extLst>
              </p:cNvPr>
              <p:cNvSpPr>
                <a:spLocks/>
              </p:cNvSpPr>
              <p:nvPr/>
            </p:nvSpPr>
            <p:spPr bwMode="gray">
              <a:xfrm>
                <a:off x="4853850" y="3417463"/>
                <a:ext cx="102719" cy="148613"/>
              </a:xfrm>
              <a:custGeom>
                <a:avLst/>
                <a:gdLst>
                  <a:gd name="T0" fmla="*/ 57 w 139"/>
                  <a:gd name="T1" fmla="*/ 202 h 202"/>
                  <a:gd name="T2" fmla="*/ 57 w 139"/>
                  <a:gd name="T3" fmla="*/ 202 h 202"/>
                  <a:gd name="T4" fmla="*/ 51 w 139"/>
                  <a:gd name="T5" fmla="*/ 199 h 202"/>
                  <a:gd name="T6" fmla="*/ 40 w 139"/>
                  <a:gd name="T7" fmla="*/ 193 h 202"/>
                  <a:gd name="T8" fmla="*/ 27 w 139"/>
                  <a:gd name="T9" fmla="*/ 183 h 202"/>
                  <a:gd name="T10" fmla="*/ 21 w 139"/>
                  <a:gd name="T11" fmla="*/ 177 h 202"/>
                  <a:gd name="T12" fmla="*/ 15 w 139"/>
                  <a:gd name="T13" fmla="*/ 169 h 202"/>
                  <a:gd name="T14" fmla="*/ 9 w 139"/>
                  <a:gd name="T15" fmla="*/ 160 h 202"/>
                  <a:gd name="T16" fmla="*/ 4 w 139"/>
                  <a:gd name="T17" fmla="*/ 151 h 202"/>
                  <a:gd name="T18" fmla="*/ 1 w 139"/>
                  <a:gd name="T19" fmla="*/ 141 h 202"/>
                  <a:gd name="T20" fmla="*/ 0 w 139"/>
                  <a:gd name="T21" fmla="*/ 130 h 202"/>
                  <a:gd name="T22" fmla="*/ 1 w 139"/>
                  <a:gd name="T23" fmla="*/ 118 h 202"/>
                  <a:gd name="T24" fmla="*/ 4 w 139"/>
                  <a:gd name="T25" fmla="*/ 105 h 202"/>
                  <a:gd name="T26" fmla="*/ 12 w 139"/>
                  <a:gd name="T27" fmla="*/ 91 h 202"/>
                  <a:gd name="T28" fmla="*/ 22 w 139"/>
                  <a:gd name="T29" fmla="*/ 76 h 202"/>
                  <a:gd name="T30" fmla="*/ 22 w 139"/>
                  <a:gd name="T31" fmla="*/ 76 h 202"/>
                  <a:gd name="T32" fmla="*/ 27 w 139"/>
                  <a:gd name="T33" fmla="*/ 70 h 202"/>
                  <a:gd name="T34" fmla="*/ 36 w 139"/>
                  <a:gd name="T35" fmla="*/ 55 h 202"/>
                  <a:gd name="T36" fmla="*/ 42 w 139"/>
                  <a:gd name="T37" fmla="*/ 43 h 202"/>
                  <a:gd name="T38" fmla="*/ 46 w 139"/>
                  <a:gd name="T39" fmla="*/ 31 h 202"/>
                  <a:gd name="T40" fmla="*/ 49 w 139"/>
                  <a:gd name="T41" fmla="*/ 16 h 202"/>
                  <a:gd name="T42" fmla="*/ 51 w 139"/>
                  <a:gd name="T43" fmla="*/ 0 h 202"/>
                  <a:gd name="T44" fmla="*/ 51 w 139"/>
                  <a:gd name="T45" fmla="*/ 0 h 202"/>
                  <a:gd name="T46" fmla="*/ 60 w 139"/>
                  <a:gd name="T47" fmla="*/ 6 h 202"/>
                  <a:gd name="T48" fmla="*/ 81 w 139"/>
                  <a:gd name="T49" fmla="*/ 22 h 202"/>
                  <a:gd name="T50" fmla="*/ 93 w 139"/>
                  <a:gd name="T51" fmla="*/ 34 h 202"/>
                  <a:gd name="T52" fmla="*/ 106 w 139"/>
                  <a:gd name="T53" fmla="*/ 46 h 202"/>
                  <a:gd name="T54" fmla="*/ 117 w 139"/>
                  <a:gd name="T55" fmla="*/ 61 h 202"/>
                  <a:gd name="T56" fmla="*/ 127 w 139"/>
                  <a:gd name="T57" fmla="*/ 76 h 202"/>
                  <a:gd name="T58" fmla="*/ 127 w 139"/>
                  <a:gd name="T59" fmla="*/ 76 h 202"/>
                  <a:gd name="T60" fmla="*/ 135 w 139"/>
                  <a:gd name="T61" fmla="*/ 93 h 202"/>
                  <a:gd name="T62" fmla="*/ 138 w 139"/>
                  <a:gd name="T63" fmla="*/ 111 h 202"/>
                  <a:gd name="T64" fmla="*/ 139 w 139"/>
                  <a:gd name="T65" fmla="*/ 127 h 202"/>
                  <a:gd name="T66" fmla="*/ 136 w 139"/>
                  <a:gd name="T67" fmla="*/ 144 h 202"/>
                  <a:gd name="T68" fmla="*/ 133 w 139"/>
                  <a:gd name="T69" fmla="*/ 153 h 202"/>
                  <a:gd name="T70" fmla="*/ 129 w 139"/>
                  <a:gd name="T71" fmla="*/ 160 h 202"/>
                  <a:gd name="T72" fmla="*/ 124 w 139"/>
                  <a:gd name="T73" fmla="*/ 168 h 202"/>
                  <a:gd name="T74" fmla="*/ 118 w 139"/>
                  <a:gd name="T75" fmla="*/ 175 h 202"/>
                  <a:gd name="T76" fmla="*/ 112 w 139"/>
                  <a:gd name="T77" fmla="*/ 183 h 202"/>
                  <a:gd name="T78" fmla="*/ 105 w 139"/>
                  <a:gd name="T79" fmla="*/ 190 h 202"/>
                  <a:gd name="T80" fmla="*/ 96 w 139"/>
                  <a:gd name="T81" fmla="*/ 196 h 202"/>
                  <a:gd name="T82" fmla="*/ 87 w 139"/>
                  <a:gd name="T83" fmla="*/ 202 h 202"/>
                  <a:gd name="T84" fmla="*/ 57 w 139"/>
                  <a:gd name="T85" fmla="*/ 202 h 202"/>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8417 w 10000"/>
                  <a:gd name="connsiteY27" fmla="*/ 3020 h 10000"/>
                  <a:gd name="connsiteX28" fmla="*/ 9137 w 10000"/>
                  <a:gd name="connsiteY28" fmla="*/ 3762 h 10000"/>
                  <a:gd name="connsiteX29" fmla="*/ 9712 w 10000"/>
                  <a:gd name="connsiteY29" fmla="*/ 4604 h 10000"/>
                  <a:gd name="connsiteX30" fmla="*/ 9928 w 10000"/>
                  <a:gd name="connsiteY30" fmla="*/ 5495 h 10000"/>
                  <a:gd name="connsiteX31" fmla="*/ 10000 w 10000"/>
                  <a:gd name="connsiteY31" fmla="*/ 6287 h 10000"/>
                  <a:gd name="connsiteX32" fmla="*/ 9784 w 10000"/>
                  <a:gd name="connsiteY32" fmla="*/ 7129 h 10000"/>
                  <a:gd name="connsiteX33" fmla="*/ 9568 w 10000"/>
                  <a:gd name="connsiteY33" fmla="*/ 7574 h 10000"/>
                  <a:gd name="connsiteX34" fmla="*/ 9281 w 10000"/>
                  <a:gd name="connsiteY34" fmla="*/ 7921 h 10000"/>
                  <a:gd name="connsiteX35" fmla="*/ 8921 w 10000"/>
                  <a:gd name="connsiteY35" fmla="*/ 8317 h 10000"/>
                  <a:gd name="connsiteX36" fmla="*/ 8489 w 10000"/>
                  <a:gd name="connsiteY36" fmla="*/ 8663 h 10000"/>
                  <a:gd name="connsiteX37" fmla="*/ 8058 w 10000"/>
                  <a:gd name="connsiteY37" fmla="*/ 9059 h 10000"/>
                  <a:gd name="connsiteX38" fmla="*/ 7554 w 10000"/>
                  <a:gd name="connsiteY38" fmla="*/ 9406 h 10000"/>
                  <a:gd name="connsiteX39" fmla="*/ 6906 w 10000"/>
                  <a:gd name="connsiteY39" fmla="*/ 9703 h 10000"/>
                  <a:gd name="connsiteX40" fmla="*/ 6259 w 10000"/>
                  <a:gd name="connsiteY40" fmla="*/ 10000 h 10000"/>
                  <a:gd name="connsiteX41" fmla="*/ 4101 w 10000"/>
                  <a:gd name="connsiteY41"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9137 w 10000"/>
                  <a:gd name="connsiteY27" fmla="*/ 3762 h 10000"/>
                  <a:gd name="connsiteX28" fmla="*/ 9712 w 10000"/>
                  <a:gd name="connsiteY28" fmla="*/ 4604 h 10000"/>
                  <a:gd name="connsiteX29" fmla="*/ 9928 w 10000"/>
                  <a:gd name="connsiteY29" fmla="*/ 5495 h 10000"/>
                  <a:gd name="connsiteX30" fmla="*/ 10000 w 10000"/>
                  <a:gd name="connsiteY30" fmla="*/ 6287 h 10000"/>
                  <a:gd name="connsiteX31" fmla="*/ 9784 w 10000"/>
                  <a:gd name="connsiteY31" fmla="*/ 7129 h 10000"/>
                  <a:gd name="connsiteX32" fmla="*/ 9568 w 10000"/>
                  <a:gd name="connsiteY32" fmla="*/ 7574 h 10000"/>
                  <a:gd name="connsiteX33" fmla="*/ 9281 w 10000"/>
                  <a:gd name="connsiteY33" fmla="*/ 7921 h 10000"/>
                  <a:gd name="connsiteX34" fmla="*/ 8921 w 10000"/>
                  <a:gd name="connsiteY34" fmla="*/ 8317 h 10000"/>
                  <a:gd name="connsiteX35" fmla="*/ 8489 w 10000"/>
                  <a:gd name="connsiteY35" fmla="*/ 8663 h 10000"/>
                  <a:gd name="connsiteX36" fmla="*/ 8058 w 10000"/>
                  <a:gd name="connsiteY36" fmla="*/ 9059 h 10000"/>
                  <a:gd name="connsiteX37" fmla="*/ 7554 w 10000"/>
                  <a:gd name="connsiteY37" fmla="*/ 9406 h 10000"/>
                  <a:gd name="connsiteX38" fmla="*/ 6906 w 10000"/>
                  <a:gd name="connsiteY38" fmla="*/ 9703 h 10000"/>
                  <a:gd name="connsiteX39" fmla="*/ 6259 w 10000"/>
                  <a:gd name="connsiteY39" fmla="*/ 10000 h 10000"/>
                  <a:gd name="connsiteX40" fmla="*/ 4101 w 10000"/>
                  <a:gd name="connsiteY40"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9137 w 10000"/>
                  <a:gd name="connsiteY26" fmla="*/ 3762 h 10000"/>
                  <a:gd name="connsiteX27" fmla="*/ 9712 w 10000"/>
                  <a:gd name="connsiteY27" fmla="*/ 4604 h 10000"/>
                  <a:gd name="connsiteX28" fmla="*/ 9928 w 10000"/>
                  <a:gd name="connsiteY28" fmla="*/ 5495 h 10000"/>
                  <a:gd name="connsiteX29" fmla="*/ 10000 w 10000"/>
                  <a:gd name="connsiteY29" fmla="*/ 6287 h 10000"/>
                  <a:gd name="connsiteX30" fmla="*/ 9784 w 10000"/>
                  <a:gd name="connsiteY30" fmla="*/ 7129 h 10000"/>
                  <a:gd name="connsiteX31" fmla="*/ 9568 w 10000"/>
                  <a:gd name="connsiteY31" fmla="*/ 7574 h 10000"/>
                  <a:gd name="connsiteX32" fmla="*/ 9281 w 10000"/>
                  <a:gd name="connsiteY32" fmla="*/ 7921 h 10000"/>
                  <a:gd name="connsiteX33" fmla="*/ 8921 w 10000"/>
                  <a:gd name="connsiteY33" fmla="*/ 8317 h 10000"/>
                  <a:gd name="connsiteX34" fmla="*/ 8489 w 10000"/>
                  <a:gd name="connsiteY34" fmla="*/ 8663 h 10000"/>
                  <a:gd name="connsiteX35" fmla="*/ 8058 w 10000"/>
                  <a:gd name="connsiteY35" fmla="*/ 9059 h 10000"/>
                  <a:gd name="connsiteX36" fmla="*/ 7554 w 10000"/>
                  <a:gd name="connsiteY36" fmla="*/ 9406 h 10000"/>
                  <a:gd name="connsiteX37" fmla="*/ 6906 w 10000"/>
                  <a:gd name="connsiteY37" fmla="*/ 9703 h 10000"/>
                  <a:gd name="connsiteX38" fmla="*/ 6259 w 10000"/>
                  <a:gd name="connsiteY38" fmla="*/ 10000 h 10000"/>
                  <a:gd name="connsiteX39" fmla="*/ 4101 w 10000"/>
                  <a:gd name="connsiteY39"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9137 w 10000"/>
                  <a:gd name="connsiteY25" fmla="*/ 3762 h 10000"/>
                  <a:gd name="connsiteX26" fmla="*/ 9712 w 10000"/>
                  <a:gd name="connsiteY26" fmla="*/ 4604 h 10000"/>
                  <a:gd name="connsiteX27" fmla="*/ 9928 w 10000"/>
                  <a:gd name="connsiteY27" fmla="*/ 5495 h 10000"/>
                  <a:gd name="connsiteX28" fmla="*/ 10000 w 10000"/>
                  <a:gd name="connsiteY28" fmla="*/ 6287 h 10000"/>
                  <a:gd name="connsiteX29" fmla="*/ 9784 w 10000"/>
                  <a:gd name="connsiteY29" fmla="*/ 7129 h 10000"/>
                  <a:gd name="connsiteX30" fmla="*/ 9568 w 10000"/>
                  <a:gd name="connsiteY30" fmla="*/ 7574 h 10000"/>
                  <a:gd name="connsiteX31" fmla="*/ 9281 w 10000"/>
                  <a:gd name="connsiteY31" fmla="*/ 7921 h 10000"/>
                  <a:gd name="connsiteX32" fmla="*/ 8921 w 10000"/>
                  <a:gd name="connsiteY32" fmla="*/ 8317 h 10000"/>
                  <a:gd name="connsiteX33" fmla="*/ 8489 w 10000"/>
                  <a:gd name="connsiteY33" fmla="*/ 8663 h 10000"/>
                  <a:gd name="connsiteX34" fmla="*/ 8058 w 10000"/>
                  <a:gd name="connsiteY34" fmla="*/ 9059 h 10000"/>
                  <a:gd name="connsiteX35" fmla="*/ 7554 w 10000"/>
                  <a:gd name="connsiteY35" fmla="*/ 9406 h 10000"/>
                  <a:gd name="connsiteX36" fmla="*/ 6906 w 10000"/>
                  <a:gd name="connsiteY36" fmla="*/ 9703 h 10000"/>
                  <a:gd name="connsiteX37" fmla="*/ 6259 w 10000"/>
                  <a:gd name="connsiteY37" fmla="*/ 10000 h 10000"/>
                  <a:gd name="connsiteX38" fmla="*/ 4101 w 10000"/>
                  <a:gd name="connsiteY38"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712 w 10000"/>
                  <a:gd name="connsiteY25" fmla="*/ 4604 h 10000"/>
                  <a:gd name="connsiteX26" fmla="*/ 9928 w 10000"/>
                  <a:gd name="connsiteY26" fmla="*/ 5495 h 10000"/>
                  <a:gd name="connsiteX27" fmla="*/ 10000 w 10000"/>
                  <a:gd name="connsiteY27" fmla="*/ 6287 h 10000"/>
                  <a:gd name="connsiteX28" fmla="*/ 9784 w 10000"/>
                  <a:gd name="connsiteY28" fmla="*/ 7129 h 10000"/>
                  <a:gd name="connsiteX29" fmla="*/ 9568 w 10000"/>
                  <a:gd name="connsiteY29" fmla="*/ 7574 h 10000"/>
                  <a:gd name="connsiteX30" fmla="*/ 9281 w 10000"/>
                  <a:gd name="connsiteY30" fmla="*/ 7921 h 10000"/>
                  <a:gd name="connsiteX31" fmla="*/ 8921 w 10000"/>
                  <a:gd name="connsiteY31" fmla="*/ 8317 h 10000"/>
                  <a:gd name="connsiteX32" fmla="*/ 8489 w 10000"/>
                  <a:gd name="connsiteY32" fmla="*/ 8663 h 10000"/>
                  <a:gd name="connsiteX33" fmla="*/ 8058 w 10000"/>
                  <a:gd name="connsiteY33" fmla="*/ 9059 h 10000"/>
                  <a:gd name="connsiteX34" fmla="*/ 7554 w 10000"/>
                  <a:gd name="connsiteY34" fmla="*/ 9406 h 10000"/>
                  <a:gd name="connsiteX35" fmla="*/ 6906 w 10000"/>
                  <a:gd name="connsiteY35" fmla="*/ 9703 h 10000"/>
                  <a:gd name="connsiteX36" fmla="*/ 6259 w 10000"/>
                  <a:gd name="connsiteY36" fmla="*/ 10000 h 10000"/>
                  <a:gd name="connsiteX37" fmla="*/ 4101 w 10000"/>
                  <a:gd name="connsiteY37"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928 w 10000"/>
                  <a:gd name="connsiteY25" fmla="*/ 5495 h 10000"/>
                  <a:gd name="connsiteX26" fmla="*/ 10000 w 10000"/>
                  <a:gd name="connsiteY26" fmla="*/ 6287 h 10000"/>
                  <a:gd name="connsiteX27" fmla="*/ 9784 w 10000"/>
                  <a:gd name="connsiteY27" fmla="*/ 7129 h 10000"/>
                  <a:gd name="connsiteX28" fmla="*/ 9568 w 10000"/>
                  <a:gd name="connsiteY28" fmla="*/ 7574 h 10000"/>
                  <a:gd name="connsiteX29" fmla="*/ 9281 w 10000"/>
                  <a:gd name="connsiteY29" fmla="*/ 7921 h 10000"/>
                  <a:gd name="connsiteX30" fmla="*/ 8921 w 10000"/>
                  <a:gd name="connsiteY30" fmla="*/ 8317 h 10000"/>
                  <a:gd name="connsiteX31" fmla="*/ 8489 w 10000"/>
                  <a:gd name="connsiteY31" fmla="*/ 8663 h 10000"/>
                  <a:gd name="connsiteX32" fmla="*/ 8058 w 10000"/>
                  <a:gd name="connsiteY32" fmla="*/ 9059 h 10000"/>
                  <a:gd name="connsiteX33" fmla="*/ 7554 w 10000"/>
                  <a:gd name="connsiteY33" fmla="*/ 9406 h 10000"/>
                  <a:gd name="connsiteX34" fmla="*/ 6906 w 10000"/>
                  <a:gd name="connsiteY34" fmla="*/ 9703 h 10000"/>
                  <a:gd name="connsiteX35" fmla="*/ 6259 w 10000"/>
                  <a:gd name="connsiteY35" fmla="*/ 10000 h 10000"/>
                  <a:gd name="connsiteX36" fmla="*/ 4101 w 10000"/>
                  <a:gd name="connsiteY36"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928 w 10000"/>
                  <a:gd name="connsiteY24" fmla="*/ 5495 h 10000"/>
                  <a:gd name="connsiteX25" fmla="*/ 10000 w 10000"/>
                  <a:gd name="connsiteY25" fmla="*/ 6287 h 10000"/>
                  <a:gd name="connsiteX26" fmla="*/ 9784 w 10000"/>
                  <a:gd name="connsiteY26" fmla="*/ 7129 h 10000"/>
                  <a:gd name="connsiteX27" fmla="*/ 9568 w 10000"/>
                  <a:gd name="connsiteY27" fmla="*/ 7574 h 10000"/>
                  <a:gd name="connsiteX28" fmla="*/ 9281 w 10000"/>
                  <a:gd name="connsiteY28" fmla="*/ 7921 h 10000"/>
                  <a:gd name="connsiteX29" fmla="*/ 8921 w 10000"/>
                  <a:gd name="connsiteY29" fmla="*/ 8317 h 10000"/>
                  <a:gd name="connsiteX30" fmla="*/ 8489 w 10000"/>
                  <a:gd name="connsiteY30" fmla="*/ 8663 h 10000"/>
                  <a:gd name="connsiteX31" fmla="*/ 8058 w 10000"/>
                  <a:gd name="connsiteY31" fmla="*/ 9059 h 10000"/>
                  <a:gd name="connsiteX32" fmla="*/ 7554 w 10000"/>
                  <a:gd name="connsiteY32" fmla="*/ 9406 h 10000"/>
                  <a:gd name="connsiteX33" fmla="*/ 6906 w 10000"/>
                  <a:gd name="connsiteY33" fmla="*/ 9703 h 10000"/>
                  <a:gd name="connsiteX34" fmla="*/ 6259 w 10000"/>
                  <a:gd name="connsiteY34" fmla="*/ 10000 h 10000"/>
                  <a:gd name="connsiteX35" fmla="*/ 4101 w 10000"/>
                  <a:gd name="connsiteY35" fmla="*/ 10000 h 10000"/>
                  <a:gd name="connsiteX0" fmla="*/ 4101 w 9928"/>
                  <a:gd name="connsiteY0" fmla="*/ 10000 h 10000"/>
                  <a:gd name="connsiteX1" fmla="*/ 4101 w 9928"/>
                  <a:gd name="connsiteY1" fmla="*/ 10000 h 10000"/>
                  <a:gd name="connsiteX2" fmla="*/ 3669 w 9928"/>
                  <a:gd name="connsiteY2" fmla="*/ 9851 h 10000"/>
                  <a:gd name="connsiteX3" fmla="*/ 2878 w 9928"/>
                  <a:gd name="connsiteY3" fmla="*/ 9554 h 10000"/>
                  <a:gd name="connsiteX4" fmla="*/ 1942 w 9928"/>
                  <a:gd name="connsiteY4" fmla="*/ 9059 h 10000"/>
                  <a:gd name="connsiteX5" fmla="*/ 1511 w 9928"/>
                  <a:gd name="connsiteY5" fmla="*/ 8762 h 10000"/>
                  <a:gd name="connsiteX6" fmla="*/ 1079 w 9928"/>
                  <a:gd name="connsiteY6" fmla="*/ 8366 h 10000"/>
                  <a:gd name="connsiteX7" fmla="*/ 647 w 9928"/>
                  <a:gd name="connsiteY7" fmla="*/ 7921 h 10000"/>
                  <a:gd name="connsiteX8" fmla="*/ 288 w 9928"/>
                  <a:gd name="connsiteY8" fmla="*/ 7475 h 10000"/>
                  <a:gd name="connsiteX9" fmla="*/ 72 w 9928"/>
                  <a:gd name="connsiteY9" fmla="*/ 6980 h 10000"/>
                  <a:gd name="connsiteX10" fmla="*/ 0 w 9928"/>
                  <a:gd name="connsiteY10" fmla="*/ 6436 h 10000"/>
                  <a:gd name="connsiteX11" fmla="*/ 72 w 9928"/>
                  <a:gd name="connsiteY11" fmla="*/ 5842 h 10000"/>
                  <a:gd name="connsiteX12" fmla="*/ 288 w 9928"/>
                  <a:gd name="connsiteY12" fmla="*/ 5198 h 10000"/>
                  <a:gd name="connsiteX13" fmla="*/ 863 w 9928"/>
                  <a:gd name="connsiteY13" fmla="*/ 4505 h 10000"/>
                  <a:gd name="connsiteX14" fmla="*/ 1583 w 9928"/>
                  <a:gd name="connsiteY14" fmla="*/ 3762 h 10000"/>
                  <a:gd name="connsiteX15" fmla="*/ 1583 w 9928"/>
                  <a:gd name="connsiteY15" fmla="*/ 3762 h 10000"/>
                  <a:gd name="connsiteX16" fmla="*/ 1942 w 9928"/>
                  <a:gd name="connsiteY16" fmla="*/ 3465 h 10000"/>
                  <a:gd name="connsiteX17" fmla="*/ 2590 w 9928"/>
                  <a:gd name="connsiteY17" fmla="*/ 2723 h 10000"/>
                  <a:gd name="connsiteX18" fmla="*/ 3022 w 9928"/>
                  <a:gd name="connsiteY18" fmla="*/ 2129 h 10000"/>
                  <a:gd name="connsiteX19" fmla="*/ 3309 w 9928"/>
                  <a:gd name="connsiteY19" fmla="*/ 1535 h 10000"/>
                  <a:gd name="connsiteX20" fmla="*/ 3525 w 9928"/>
                  <a:gd name="connsiteY20" fmla="*/ 792 h 10000"/>
                  <a:gd name="connsiteX21" fmla="*/ 3669 w 9928"/>
                  <a:gd name="connsiteY21" fmla="*/ 0 h 10000"/>
                  <a:gd name="connsiteX22" fmla="*/ 3669 w 9928"/>
                  <a:gd name="connsiteY22" fmla="*/ 0 h 10000"/>
                  <a:gd name="connsiteX23" fmla="*/ 4317 w 9928"/>
                  <a:gd name="connsiteY23" fmla="*/ 297 h 10000"/>
                  <a:gd name="connsiteX24" fmla="*/ 9928 w 9928"/>
                  <a:gd name="connsiteY24" fmla="*/ 5495 h 10000"/>
                  <a:gd name="connsiteX25" fmla="*/ 9784 w 9928"/>
                  <a:gd name="connsiteY25" fmla="*/ 7129 h 10000"/>
                  <a:gd name="connsiteX26" fmla="*/ 9568 w 9928"/>
                  <a:gd name="connsiteY26" fmla="*/ 7574 h 10000"/>
                  <a:gd name="connsiteX27" fmla="*/ 9281 w 9928"/>
                  <a:gd name="connsiteY27" fmla="*/ 7921 h 10000"/>
                  <a:gd name="connsiteX28" fmla="*/ 8921 w 9928"/>
                  <a:gd name="connsiteY28" fmla="*/ 8317 h 10000"/>
                  <a:gd name="connsiteX29" fmla="*/ 8489 w 9928"/>
                  <a:gd name="connsiteY29" fmla="*/ 8663 h 10000"/>
                  <a:gd name="connsiteX30" fmla="*/ 8058 w 9928"/>
                  <a:gd name="connsiteY30" fmla="*/ 9059 h 10000"/>
                  <a:gd name="connsiteX31" fmla="*/ 7554 w 9928"/>
                  <a:gd name="connsiteY31" fmla="*/ 9406 h 10000"/>
                  <a:gd name="connsiteX32" fmla="*/ 6906 w 9928"/>
                  <a:gd name="connsiteY32" fmla="*/ 9703 h 10000"/>
                  <a:gd name="connsiteX33" fmla="*/ 6259 w 9928"/>
                  <a:gd name="connsiteY33" fmla="*/ 10000 h 10000"/>
                  <a:gd name="connsiteX34" fmla="*/ 4101 w 9928"/>
                  <a:gd name="connsiteY34"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48 w 10000"/>
                  <a:gd name="connsiteY26" fmla="*/ 7921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33 w 10000"/>
                  <a:gd name="connsiteY26" fmla="*/ 7808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214"/>
                  <a:gd name="connsiteY0" fmla="*/ 10000 h 10000"/>
                  <a:gd name="connsiteX1" fmla="*/ 4131 w 10214"/>
                  <a:gd name="connsiteY1" fmla="*/ 10000 h 10000"/>
                  <a:gd name="connsiteX2" fmla="*/ 3696 w 10214"/>
                  <a:gd name="connsiteY2" fmla="*/ 9851 h 10000"/>
                  <a:gd name="connsiteX3" fmla="*/ 2899 w 10214"/>
                  <a:gd name="connsiteY3" fmla="*/ 9554 h 10000"/>
                  <a:gd name="connsiteX4" fmla="*/ 1956 w 10214"/>
                  <a:gd name="connsiteY4" fmla="*/ 9059 h 10000"/>
                  <a:gd name="connsiteX5" fmla="*/ 1522 w 10214"/>
                  <a:gd name="connsiteY5" fmla="*/ 8762 h 10000"/>
                  <a:gd name="connsiteX6" fmla="*/ 1087 w 10214"/>
                  <a:gd name="connsiteY6" fmla="*/ 8366 h 10000"/>
                  <a:gd name="connsiteX7" fmla="*/ 652 w 10214"/>
                  <a:gd name="connsiteY7" fmla="*/ 7921 h 10000"/>
                  <a:gd name="connsiteX8" fmla="*/ 290 w 10214"/>
                  <a:gd name="connsiteY8" fmla="*/ 7475 h 10000"/>
                  <a:gd name="connsiteX9" fmla="*/ 73 w 10214"/>
                  <a:gd name="connsiteY9" fmla="*/ 6980 h 10000"/>
                  <a:gd name="connsiteX10" fmla="*/ 0 w 10214"/>
                  <a:gd name="connsiteY10" fmla="*/ 6436 h 10000"/>
                  <a:gd name="connsiteX11" fmla="*/ 73 w 10214"/>
                  <a:gd name="connsiteY11" fmla="*/ 5842 h 10000"/>
                  <a:gd name="connsiteX12" fmla="*/ 290 w 10214"/>
                  <a:gd name="connsiteY12" fmla="*/ 5198 h 10000"/>
                  <a:gd name="connsiteX13" fmla="*/ 869 w 10214"/>
                  <a:gd name="connsiteY13" fmla="*/ 4505 h 10000"/>
                  <a:gd name="connsiteX14" fmla="*/ 1594 w 10214"/>
                  <a:gd name="connsiteY14" fmla="*/ 3762 h 10000"/>
                  <a:gd name="connsiteX15" fmla="*/ 1594 w 10214"/>
                  <a:gd name="connsiteY15" fmla="*/ 3762 h 10000"/>
                  <a:gd name="connsiteX16" fmla="*/ 1956 w 10214"/>
                  <a:gd name="connsiteY16" fmla="*/ 3465 h 10000"/>
                  <a:gd name="connsiteX17" fmla="*/ 2609 w 10214"/>
                  <a:gd name="connsiteY17" fmla="*/ 2723 h 10000"/>
                  <a:gd name="connsiteX18" fmla="*/ 3044 w 10214"/>
                  <a:gd name="connsiteY18" fmla="*/ 2129 h 10000"/>
                  <a:gd name="connsiteX19" fmla="*/ 3333 w 10214"/>
                  <a:gd name="connsiteY19" fmla="*/ 1535 h 10000"/>
                  <a:gd name="connsiteX20" fmla="*/ 3551 w 10214"/>
                  <a:gd name="connsiteY20" fmla="*/ 792 h 10000"/>
                  <a:gd name="connsiteX21" fmla="*/ 3696 w 10214"/>
                  <a:gd name="connsiteY21" fmla="*/ 0 h 10000"/>
                  <a:gd name="connsiteX22" fmla="*/ 3696 w 10214"/>
                  <a:gd name="connsiteY22" fmla="*/ 0 h 10000"/>
                  <a:gd name="connsiteX23" fmla="*/ 4348 w 10214"/>
                  <a:gd name="connsiteY23" fmla="*/ 297 h 10000"/>
                  <a:gd name="connsiteX24" fmla="*/ 10000 w 10214"/>
                  <a:gd name="connsiteY24" fmla="*/ 5495 h 10000"/>
                  <a:gd name="connsiteX25" fmla="*/ 8986 w 10214"/>
                  <a:gd name="connsiteY25" fmla="*/ 8317 h 10000"/>
                  <a:gd name="connsiteX26" fmla="*/ 8551 w 10214"/>
                  <a:gd name="connsiteY26" fmla="*/ 8663 h 10000"/>
                  <a:gd name="connsiteX27" fmla="*/ 8116 w 10214"/>
                  <a:gd name="connsiteY27" fmla="*/ 9059 h 10000"/>
                  <a:gd name="connsiteX28" fmla="*/ 7609 w 10214"/>
                  <a:gd name="connsiteY28" fmla="*/ 9406 h 10000"/>
                  <a:gd name="connsiteX29" fmla="*/ 6956 w 10214"/>
                  <a:gd name="connsiteY29" fmla="*/ 9703 h 10000"/>
                  <a:gd name="connsiteX30" fmla="*/ 6304 w 10214"/>
                  <a:gd name="connsiteY30" fmla="*/ 10000 h 10000"/>
                  <a:gd name="connsiteX31" fmla="*/ 4131 w 10214"/>
                  <a:gd name="connsiteY31" fmla="*/ 10000 h 10000"/>
                  <a:gd name="connsiteX0" fmla="*/ 4131 w 10158"/>
                  <a:gd name="connsiteY0" fmla="*/ 10000 h 10000"/>
                  <a:gd name="connsiteX1" fmla="*/ 4131 w 10158"/>
                  <a:gd name="connsiteY1" fmla="*/ 10000 h 10000"/>
                  <a:gd name="connsiteX2" fmla="*/ 3696 w 10158"/>
                  <a:gd name="connsiteY2" fmla="*/ 9851 h 10000"/>
                  <a:gd name="connsiteX3" fmla="*/ 2899 w 10158"/>
                  <a:gd name="connsiteY3" fmla="*/ 9554 h 10000"/>
                  <a:gd name="connsiteX4" fmla="*/ 1956 w 10158"/>
                  <a:gd name="connsiteY4" fmla="*/ 9059 h 10000"/>
                  <a:gd name="connsiteX5" fmla="*/ 1522 w 10158"/>
                  <a:gd name="connsiteY5" fmla="*/ 8762 h 10000"/>
                  <a:gd name="connsiteX6" fmla="*/ 1087 w 10158"/>
                  <a:gd name="connsiteY6" fmla="*/ 8366 h 10000"/>
                  <a:gd name="connsiteX7" fmla="*/ 652 w 10158"/>
                  <a:gd name="connsiteY7" fmla="*/ 7921 h 10000"/>
                  <a:gd name="connsiteX8" fmla="*/ 290 w 10158"/>
                  <a:gd name="connsiteY8" fmla="*/ 7475 h 10000"/>
                  <a:gd name="connsiteX9" fmla="*/ 73 w 10158"/>
                  <a:gd name="connsiteY9" fmla="*/ 6980 h 10000"/>
                  <a:gd name="connsiteX10" fmla="*/ 0 w 10158"/>
                  <a:gd name="connsiteY10" fmla="*/ 6436 h 10000"/>
                  <a:gd name="connsiteX11" fmla="*/ 73 w 10158"/>
                  <a:gd name="connsiteY11" fmla="*/ 5842 h 10000"/>
                  <a:gd name="connsiteX12" fmla="*/ 290 w 10158"/>
                  <a:gd name="connsiteY12" fmla="*/ 5198 h 10000"/>
                  <a:gd name="connsiteX13" fmla="*/ 869 w 10158"/>
                  <a:gd name="connsiteY13" fmla="*/ 4505 h 10000"/>
                  <a:gd name="connsiteX14" fmla="*/ 1594 w 10158"/>
                  <a:gd name="connsiteY14" fmla="*/ 3762 h 10000"/>
                  <a:gd name="connsiteX15" fmla="*/ 1594 w 10158"/>
                  <a:gd name="connsiteY15" fmla="*/ 3762 h 10000"/>
                  <a:gd name="connsiteX16" fmla="*/ 1956 w 10158"/>
                  <a:gd name="connsiteY16" fmla="*/ 3465 h 10000"/>
                  <a:gd name="connsiteX17" fmla="*/ 2609 w 10158"/>
                  <a:gd name="connsiteY17" fmla="*/ 2723 h 10000"/>
                  <a:gd name="connsiteX18" fmla="*/ 3044 w 10158"/>
                  <a:gd name="connsiteY18" fmla="*/ 2129 h 10000"/>
                  <a:gd name="connsiteX19" fmla="*/ 3333 w 10158"/>
                  <a:gd name="connsiteY19" fmla="*/ 1535 h 10000"/>
                  <a:gd name="connsiteX20" fmla="*/ 3551 w 10158"/>
                  <a:gd name="connsiteY20" fmla="*/ 792 h 10000"/>
                  <a:gd name="connsiteX21" fmla="*/ 3696 w 10158"/>
                  <a:gd name="connsiteY21" fmla="*/ 0 h 10000"/>
                  <a:gd name="connsiteX22" fmla="*/ 3696 w 10158"/>
                  <a:gd name="connsiteY22" fmla="*/ 0 h 10000"/>
                  <a:gd name="connsiteX23" fmla="*/ 4348 w 10158"/>
                  <a:gd name="connsiteY23" fmla="*/ 297 h 10000"/>
                  <a:gd name="connsiteX24" fmla="*/ 10000 w 10158"/>
                  <a:gd name="connsiteY24" fmla="*/ 5495 h 10000"/>
                  <a:gd name="connsiteX25" fmla="*/ 8551 w 10158"/>
                  <a:gd name="connsiteY25" fmla="*/ 8663 h 10000"/>
                  <a:gd name="connsiteX26" fmla="*/ 8116 w 10158"/>
                  <a:gd name="connsiteY26" fmla="*/ 9059 h 10000"/>
                  <a:gd name="connsiteX27" fmla="*/ 7609 w 10158"/>
                  <a:gd name="connsiteY27" fmla="*/ 9406 h 10000"/>
                  <a:gd name="connsiteX28" fmla="*/ 6956 w 10158"/>
                  <a:gd name="connsiteY28" fmla="*/ 9703 h 10000"/>
                  <a:gd name="connsiteX29" fmla="*/ 6304 w 10158"/>
                  <a:gd name="connsiteY29" fmla="*/ 10000 h 10000"/>
                  <a:gd name="connsiteX30" fmla="*/ 4131 w 10158"/>
                  <a:gd name="connsiteY30" fmla="*/ 10000 h 10000"/>
                  <a:gd name="connsiteX0" fmla="*/ 4131 w 10115"/>
                  <a:gd name="connsiteY0" fmla="*/ 10000 h 10000"/>
                  <a:gd name="connsiteX1" fmla="*/ 4131 w 10115"/>
                  <a:gd name="connsiteY1" fmla="*/ 10000 h 10000"/>
                  <a:gd name="connsiteX2" fmla="*/ 3696 w 10115"/>
                  <a:gd name="connsiteY2" fmla="*/ 9851 h 10000"/>
                  <a:gd name="connsiteX3" fmla="*/ 2899 w 10115"/>
                  <a:gd name="connsiteY3" fmla="*/ 9554 h 10000"/>
                  <a:gd name="connsiteX4" fmla="*/ 1956 w 10115"/>
                  <a:gd name="connsiteY4" fmla="*/ 9059 h 10000"/>
                  <a:gd name="connsiteX5" fmla="*/ 1522 w 10115"/>
                  <a:gd name="connsiteY5" fmla="*/ 8762 h 10000"/>
                  <a:gd name="connsiteX6" fmla="*/ 1087 w 10115"/>
                  <a:gd name="connsiteY6" fmla="*/ 8366 h 10000"/>
                  <a:gd name="connsiteX7" fmla="*/ 652 w 10115"/>
                  <a:gd name="connsiteY7" fmla="*/ 7921 h 10000"/>
                  <a:gd name="connsiteX8" fmla="*/ 290 w 10115"/>
                  <a:gd name="connsiteY8" fmla="*/ 7475 h 10000"/>
                  <a:gd name="connsiteX9" fmla="*/ 73 w 10115"/>
                  <a:gd name="connsiteY9" fmla="*/ 6980 h 10000"/>
                  <a:gd name="connsiteX10" fmla="*/ 0 w 10115"/>
                  <a:gd name="connsiteY10" fmla="*/ 6436 h 10000"/>
                  <a:gd name="connsiteX11" fmla="*/ 73 w 10115"/>
                  <a:gd name="connsiteY11" fmla="*/ 5842 h 10000"/>
                  <a:gd name="connsiteX12" fmla="*/ 290 w 10115"/>
                  <a:gd name="connsiteY12" fmla="*/ 5198 h 10000"/>
                  <a:gd name="connsiteX13" fmla="*/ 869 w 10115"/>
                  <a:gd name="connsiteY13" fmla="*/ 4505 h 10000"/>
                  <a:gd name="connsiteX14" fmla="*/ 1594 w 10115"/>
                  <a:gd name="connsiteY14" fmla="*/ 3762 h 10000"/>
                  <a:gd name="connsiteX15" fmla="*/ 1594 w 10115"/>
                  <a:gd name="connsiteY15" fmla="*/ 3762 h 10000"/>
                  <a:gd name="connsiteX16" fmla="*/ 1956 w 10115"/>
                  <a:gd name="connsiteY16" fmla="*/ 3465 h 10000"/>
                  <a:gd name="connsiteX17" fmla="*/ 2609 w 10115"/>
                  <a:gd name="connsiteY17" fmla="*/ 2723 h 10000"/>
                  <a:gd name="connsiteX18" fmla="*/ 3044 w 10115"/>
                  <a:gd name="connsiteY18" fmla="*/ 2129 h 10000"/>
                  <a:gd name="connsiteX19" fmla="*/ 3333 w 10115"/>
                  <a:gd name="connsiteY19" fmla="*/ 1535 h 10000"/>
                  <a:gd name="connsiteX20" fmla="*/ 3551 w 10115"/>
                  <a:gd name="connsiteY20" fmla="*/ 792 h 10000"/>
                  <a:gd name="connsiteX21" fmla="*/ 3696 w 10115"/>
                  <a:gd name="connsiteY21" fmla="*/ 0 h 10000"/>
                  <a:gd name="connsiteX22" fmla="*/ 3696 w 10115"/>
                  <a:gd name="connsiteY22" fmla="*/ 0 h 10000"/>
                  <a:gd name="connsiteX23" fmla="*/ 4348 w 10115"/>
                  <a:gd name="connsiteY23" fmla="*/ 297 h 10000"/>
                  <a:gd name="connsiteX24" fmla="*/ 10000 w 10115"/>
                  <a:gd name="connsiteY24" fmla="*/ 5495 h 10000"/>
                  <a:gd name="connsiteX25" fmla="*/ 8116 w 10115"/>
                  <a:gd name="connsiteY25" fmla="*/ 9059 h 10000"/>
                  <a:gd name="connsiteX26" fmla="*/ 7609 w 10115"/>
                  <a:gd name="connsiteY26" fmla="*/ 9406 h 10000"/>
                  <a:gd name="connsiteX27" fmla="*/ 6956 w 10115"/>
                  <a:gd name="connsiteY27" fmla="*/ 9703 h 10000"/>
                  <a:gd name="connsiteX28" fmla="*/ 6304 w 10115"/>
                  <a:gd name="connsiteY28" fmla="*/ 10000 h 10000"/>
                  <a:gd name="connsiteX29" fmla="*/ 4131 w 10115"/>
                  <a:gd name="connsiteY29" fmla="*/ 10000 h 10000"/>
                  <a:gd name="connsiteX0" fmla="*/ 4131 w 10078"/>
                  <a:gd name="connsiteY0" fmla="*/ 10000 h 10000"/>
                  <a:gd name="connsiteX1" fmla="*/ 4131 w 10078"/>
                  <a:gd name="connsiteY1" fmla="*/ 10000 h 10000"/>
                  <a:gd name="connsiteX2" fmla="*/ 3696 w 10078"/>
                  <a:gd name="connsiteY2" fmla="*/ 9851 h 10000"/>
                  <a:gd name="connsiteX3" fmla="*/ 2899 w 10078"/>
                  <a:gd name="connsiteY3" fmla="*/ 9554 h 10000"/>
                  <a:gd name="connsiteX4" fmla="*/ 1956 w 10078"/>
                  <a:gd name="connsiteY4" fmla="*/ 9059 h 10000"/>
                  <a:gd name="connsiteX5" fmla="*/ 1522 w 10078"/>
                  <a:gd name="connsiteY5" fmla="*/ 8762 h 10000"/>
                  <a:gd name="connsiteX6" fmla="*/ 1087 w 10078"/>
                  <a:gd name="connsiteY6" fmla="*/ 8366 h 10000"/>
                  <a:gd name="connsiteX7" fmla="*/ 652 w 10078"/>
                  <a:gd name="connsiteY7" fmla="*/ 7921 h 10000"/>
                  <a:gd name="connsiteX8" fmla="*/ 290 w 10078"/>
                  <a:gd name="connsiteY8" fmla="*/ 7475 h 10000"/>
                  <a:gd name="connsiteX9" fmla="*/ 73 w 10078"/>
                  <a:gd name="connsiteY9" fmla="*/ 6980 h 10000"/>
                  <a:gd name="connsiteX10" fmla="*/ 0 w 10078"/>
                  <a:gd name="connsiteY10" fmla="*/ 6436 h 10000"/>
                  <a:gd name="connsiteX11" fmla="*/ 73 w 10078"/>
                  <a:gd name="connsiteY11" fmla="*/ 5842 h 10000"/>
                  <a:gd name="connsiteX12" fmla="*/ 290 w 10078"/>
                  <a:gd name="connsiteY12" fmla="*/ 5198 h 10000"/>
                  <a:gd name="connsiteX13" fmla="*/ 869 w 10078"/>
                  <a:gd name="connsiteY13" fmla="*/ 4505 h 10000"/>
                  <a:gd name="connsiteX14" fmla="*/ 1594 w 10078"/>
                  <a:gd name="connsiteY14" fmla="*/ 3762 h 10000"/>
                  <a:gd name="connsiteX15" fmla="*/ 1594 w 10078"/>
                  <a:gd name="connsiteY15" fmla="*/ 3762 h 10000"/>
                  <a:gd name="connsiteX16" fmla="*/ 1956 w 10078"/>
                  <a:gd name="connsiteY16" fmla="*/ 3465 h 10000"/>
                  <a:gd name="connsiteX17" fmla="*/ 2609 w 10078"/>
                  <a:gd name="connsiteY17" fmla="*/ 2723 h 10000"/>
                  <a:gd name="connsiteX18" fmla="*/ 3044 w 10078"/>
                  <a:gd name="connsiteY18" fmla="*/ 2129 h 10000"/>
                  <a:gd name="connsiteX19" fmla="*/ 3333 w 10078"/>
                  <a:gd name="connsiteY19" fmla="*/ 1535 h 10000"/>
                  <a:gd name="connsiteX20" fmla="*/ 3551 w 10078"/>
                  <a:gd name="connsiteY20" fmla="*/ 792 h 10000"/>
                  <a:gd name="connsiteX21" fmla="*/ 3696 w 10078"/>
                  <a:gd name="connsiteY21" fmla="*/ 0 h 10000"/>
                  <a:gd name="connsiteX22" fmla="*/ 3696 w 10078"/>
                  <a:gd name="connsiteY22" fmla="*/ 0 h 10000"/>
                  <a:gd name="connsiteX23" fmla="*/ 4348 w 10078"/>
                  <a:gd name="connsiteY23" fmla="*/ 297 h 10000"/>
                  <a:gd name="connsiteX24" fmla="*/ 10000 w 10078"/>
                  <a:gd name="connsiteY24" fmla="*/ 5495 h 10000"/>
                  <a:gd name="connsiteX25" fmla="*/ 7609 w 10078"/>
                  <a:gd name="connsiteY25" fmla="*/ 9406 h 10000"/>
                  <a:gd name="connsiteX26" fmla="*/ 6956 w 10078"/>
                  <a:gd name="connsiteY26" fmla="*/ 9703 h 10000"/>
                  <a:gd name="connsiteX27" fmla="*/ 6304 w 10078"/>
                  <a:gd name="connsiteY27" fmla="*/ 10000 h 10000"/>
                  <a:gd name="connsiteX28" fmla="*/ 4131 w 10078"/>
                  <a:gd name="connsiteY28" fmla="*/ 10000 h 10000"/>
                  <a:gd name="connsiteX0" fmla="*/ 4131 w 10044"/>
                  <a:gd name="connsiteY0" fmla="*/ 10000 h 10000"/>
                  <a:gd name="connsiteX1" fmla="*/ 4131 w 10044"/>
                  <a:gd name="connsiteY1" fmla="*/ 10000 h 10000"/>
                  <a:gd name="connsiteX2" fmla="*/ 3696 w 10044"/>
                  <a:gd name="connsiteY2" fmla="*/ 9851 h 10000"/>
                  <a:gd name="connsiteX3" fmla="*/ 2899 w 10044"/>
                  <a:gd name="connsiteY3" fmla="*/ 9554 h 10000"/>
                  <a:gd name="connsiteX4" fmla="*/ 1956 w 10044"/>
                  <a:gd name="connsiteY4" fmla="*/ 9059 h 10000"/>
                  <a:gd name="connsiteX5" fmla="*/ 1522 w 10044"/>
                  <a:gd name="connsiteY5" fmla="*/ 8762 h 10000"/>
                  <a:gd name="connsiteX6" fmla="*/ 1087 w 10044"/>
                  <a:gd name="connsiteY6" fmla="*/ 8366 h 10000"/>
                  <a:gd name="connsiteX7" fmla="*/ 652 w 10044"/>
                  <a:gd name="connsiteY7" fmla="*/ 7921 h 10000"/>
                  <a:gd name="connsiteX8" fmla="*/ 290 w 10044"/>
                  <a:gd name="connsiteY8" fmla="*/ 7475 h 10000"/>
                  <a:gd name="connsiteX9" fmla="*/ 73 w 10044"/>
                  <a:gd name="connsiteY9" fmla="*/ 6980 h 10000"/>
                  <a:gd name="connsiteX10" fmla="*/ 0 w 10044"/>
                  <a:gd name="connsiteY10" fmla="*/ 6436 h 10000"/>
                  <a:gd name="connsiteX11" fmla="*/ 73 w 10044"/>
                  <a:gd name="connsiteY11" fmla="*/ 5842 h 10000"/>
                  <a:gd name="connsiteX12" fmla="*/ 290 w 10044"/>
                  <a:gd name="connsiteY12" fmla="*/ 5198 h 10000"/>
                  <a:gd name="connsiteX13" fmla="*/ 869 w 10044"/>
                  <a:gd name="connsiteY13" fmla="*/ 4505 h 10000"/>
                  <a:gd name="connsiteX14" fmla="*/ 1594 w 10044"/>
                  <a:gd name="connsiteY14" fmla="*/ 3762 h 10000"/>
                  <a:gd name="connsiteX15" fmla="*/ 1594 w 10044"/>
                  <a:gd name="connsiteY15" fmla="*/ 3762 h 10000"/>
                  <a:gd name="connsiteX16" fmla="*/ 1956 w 10044"/>
                  <a:gd name="connsiteY16" fmla="*/ 3465 h 10000"/>
                  <a:gd name="connsiteX17" fmla="*/ 2609 w 10044"/>
                  <a:gd name="connsiteY17" fmla="*/ 2723 h 10000"/>
                  <a:gd name="connsiteX18" fmla="*/ 3044 w 10044"/>
                  <a:gd name="connsiteY18" fmla="*/ 2129 h 10000"/>
                  <a:gd name="connsiteX19" fmla="*/ 3333 w 10044"/>
                  <a:gd name="connsiteY19" fmla="*/ 1535 h 10000"/>
                  <a:gd name="connsiteX20" fmla="*/ 3551 w 10044"/>
                  <a:gd name="connsiteY20" fmla="*/ 792 h 10000"/>
                  <a:gd name="connsiteX21" fmla="*/ 3696 w 10044"/>
                  <a:gd name="connsiteY21" fmla="*/ 0 h 10000"/>
                  <a:gd name="connsiteX22" fmla="*/ 3696 w 10044"/>
                  <a:gd name="connsiteY22" fmla="*/ 0 h 10000"/>
                  <a:gd name="connsiteX23" fmla="*/ 4348 w 10044"/>
                  <a:gd name="connsiteY23" fmla="*/ 297 h 10000"/>
                  <a:gd name="connsiteX24" fmla="*/ 10000 w 10044"/>
                  <a:gd name="connsiteY24" fmla="*/ 5495 h 10000"/>
                  <a:gd name="connsiteX25" fmla="*/ 6956 w 10044"/>
                  <a:gd name="connsiteY25" fmla="*/ 9703 h 10000"/>
                  <a:gd name="connsiteX26" fmla="*/ 6304 w 10044"/>
                  <a:gd name="connsiteY26" fmla="*/ 10000 h 10000"/>
                  <a:gd name="connsiteX27" fmla="*/ 4131 w 10044"/>
                  <a:gd name="connsiteY27"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4131 w 10024"/>
                  <a:gd name="connsiteY26"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5029 w 10024"/>
                  <a:gd name="connsiteY26" fmla="*/ 9977 h 10000"/>
                  <a:gd name="connsiteX27" fmla="*/ 4131 w 10024"/>
                  <a:gd name="connsiteY27" fmla="*/ 10000 h 10000"/>
                  <a:gd name="connsiteX0" fmla="*/ 4131 w 10002"/>
                  <a:gd name="connsiteY0" fmla="*/ 10000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26" fmla="*/ 4131 w 10002"/>
                  <a:gd name="connsiteY26" fmla="*/ 10000 h 10000"/>
                  <a:gd name="connsiteX0" fmla="*/ 5029 w 10002"/>
                  <a:gd name="connsiteY0" fmla="*/ 9977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3696 w 10002"/>
                  <a:gd name="connsiteY2" fmla="*/ 9851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10000"/>
                  <a:gd name="connsiteX1" fmla="*/ 4131 w 10002"/>
                  <a:gd name="connsiteY1" fmla="*/ 10000 h 10000"/>
                  <a:gd name="connsiteX2" fmla="*/ 3696 w 10002"/>
                  <a:gd name="connsiteY2" fmla="*/ 9851 h 10000"/>
                  <a:gd name="connsiteX3" fmla="*/ 2984 w 10002"/>
                  <a:gd name="connsiteY3" fmla="*/ 9495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2984 w 10002"/>
                  <a:gd name="connsiteY2" fmla="*/ 9495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9977"/>
                  <a:gd name="connsiteX1" fmla="*/ 2984 w 10002"/>
                  <a:gd name="connsiteY1" fmla="*/ 9495 h 9977"/>
                  <a:gd name="connsiteX2" fmla="*/ 1956 w 10002"/>
                  <a:gd name="connsiteY2" fmla="*/ 9059 h 9977"/>
                  <a:gd name="connsiteX3" fmla="*/ 1522 w 10002"/>
                  <a:gd name="connsiteY3" fmla="*/ 8762 h 9977"/>
                  <a:gd name="connsiteX4" fmla="*/ 1087 w 10002"/>
                  <a:gd name="connsiteY4" fmla="*/ 8366 h 9977"/>
                  <a:gd name="connsiteX5" fmla="*/ 652 w 10002"/>
                  <a:gd name="connsiteY5" fmla="*/ 7921 h 9977"/>
                  <a:gd name="connsiteX6" fmla="*/ 290 w 10002"/>
                  <a:gd name="connsiteY6" fmla="*/ 7475 h 9977"/>
                  <a:gd name="connsiteX7" fmla="*/ 73 w 10002"/>
                  <a:gd name="connsiteY7" fmla="*/ 6980 h 9977"/>
                  <a:gd name="connsiteX8" fmla="*/ 0 w 10002"/>
                  <a:gd name="connsiteY8" fmla="*/ 6436 h 9977"/>
                  <a:gd name="connsiteX9" fmla="*/ 73 w 10002"/>
                  <a:gd name="connsiteY9" fmla="*/ 5842 h 9977"/>
                  <a:gd name="connsiteX10" fmla="*/ 290 w 10002"/>
                  <a:gd name="connsiteY10" fmla="*/ 5198 h 9977"/>
                  <a:gd name="connsiteX11" fmla="*/ 869 w 10002"/>
                  <a:gd name="connsiteY11" fmla="*/ 4505 h 9977"/>
                  <a:gd name="connsiteX12" fmla="*/ 1594 w 10002"/>
                  <a:gd name="connsiteY12" fmla="*/ 3762 h 9977"/>
                  <a:gd name="connsiteX13" fmla="*/ 1594 w 10002"/>
                  <a:gd name="connsiteY13" fmla="*/ 3762 h 9977"/>
                  <a:gd name="connsiteX14" fmla="*/ 1956 w 10002"/>
                  <a:gd name="connsiteY14" fmla="*/ 3465 h 9977"/>
                  <a:gd name="connsiteX15" fmla="*/ 2609 w 10002"/>
                  <a:gd name="connsiteY15" fmla="*/ 2723 h 9977"/>
                  <a:gd name="connsiteX16" fmla="*/ 3044 w 10002"/>
                  <a:gd name="connsiteY16" fmla="*/ 2129 h 9977"/>
                  <a:gd name="connsiteX17" fmla="*/ 3333 w 10002"/>
                  <a:gd name="connsiteY17" fmla="*/ 1535 h 9977"/>
                  <a:gd name="connsiteX18" fmla="*/ 3551 w 10002"/>
                  <a:gd name="connsiteY18" fmla="*/ 792 h 9977"/>
                  <a:gd name="connsiteX19" fmla="*/ 3696 w 10002"/>
                  <a:gd name="connsiteY19" fmla="*/ 0 h 9977"/>
                  <a:gd name="connsiteX20" fmla="*/ 3696 w 10002"/>
                  <a:gd name="connsiteY20" fmla="*/ 0 h 9977"/>
                  <a:gd name="connsiteX21" fmla="*/ 4348 w 10002"/>
                  <a:gd name="connsiteY21" fmla="*/ 297 h 9977"/>
                  <a:gd name="connsiteX22" fmla="*/ 10000 w 10002"/>
                  <a:gd name="connsiteY22" fmla="*/ 5495 h 9977"/>
                  <a:gd name="connsiteX23" fmla="*/ 5029 w 10002"/>
                  <a:gd name="connsiteY23" fmla="*/ 9977 h 9977"/>
                  <a:gd name="connsiteX0" fmla="*/ 5028 w 10000"/>
                  <a:gd name="connsiteY0" fmla="*/ 10000 h 10000"/>
                  <a:gd name="connsiteX1" fmla="*/ 1956 w 10000"/>
                  <a:gd name="connsiteY1" fmla="*/ 9080 h 10000"/>
                  <a:gd name="connsiteX2" fmla="*/ 1522 w 10000"/>
                  <a:gd name="connsiteY2" fmla="*/ 8782 h 10000"/>
                  <a:gd name="connsiteX3" fmla="*/ 1087 w 10000"/>
                  <a:gd name="connsiteY3" fmla="*/ 8385 h 10000"/>
                  <a:gd name="connsiteX4" fmla="*/ 652 w 10000"/>
                  <a:gd name="connsiteY4" fmla="*/ 7939 h 10000"/>
                  <a:gd name="connsiteX5" fmla="*/ 290 w 10000"/>
                  <a:gd name="connsiteY5" fmla="*/ 7492 h 10000"/>
                  <a:gd name="connsiteX6" fmla="*/ 73 w 10000"/>
                  <a:gd name="connsiteY6" fmla="*/ 6996 h 10000"/>
                  <a:gd name="connsiteX7" fmla="*/ 0 w 10000"/>
                  <a:gd name="connsiteY7" fmla="*/ 6451 h 10000"/>
                  <a:gd name="connsiteX8" fmla="*/ 73 w 10000"/>
                  <a:gd name="connsiteY8" fmla="*/ 5855 h 10000"/>
                  <a:gd name="connsiteX9" fmla="*/ 290 w 10000"/>
                  <a:gd name="connsiteY9" fmla="*/ 5210 h 10000"/>
                  <a:gd name="connsiteX10" fmla="*/ 869 w 10000"/>
                  <a:gd name="connsiteY10" fmla="*/ 4515 h 10000"/>
                  <a:gd name="connsiteX11" fmla="*/ 1594 w 10000"/>
                  <a:gd name="connsiteY11" fmla="*/ 3771 h 10000"/>
                  <a:gd name="connsiteX12" fmla="*/ 1594 w 10000"/>
                  <a:gd name="connsiteY12" fmla="*/ 3771 h 10000"/>
                  <a:gd name="connsiteX13" fmla="*/ 1956 w 10000"/>
                  <a:gd name="connsiteY13" fmla="*/ 3473 h 10000"/>
                  <a:gd name="connsiteX14" fmla="*/ 2608 w 10000"/>
                  <a:gd name="connsiteY14" fmla="*/ 2729 h 10000"/>
                  <a:gd name="connsiteX15" fmla="*/ 3043 w 10000"/>
                  <a:gd name="connsiteY15" fmla="*/ 2134 h 10000"/>
                  <a:gd name="connsiteX16" fmla="*/ 3332 w 10000"/>
                  <a:gd name="connsiteY16" fmla="*/ 1539 h 10000"/>
                  <a:gd name="connsiteX17" fmla="*/ 3550 w 10000"/>
                  <a:gd name="connsiteY17" fmla="*/ 794 h 10000"/>
                  <a:gd name="connsiteX18" fmla="*/ 3695 w 10000"/>
                  <a:gd name="connsiteY18" fmla="*/ 0 h 10000"/>
                  <a:gd name="connsiteX19" fmla="*/ 3695 w 10000"/>
                  <a:gd name="connsiteY19" fmla="*/ 0 h 10000"/>
                  <a:gd name="connsiteX20" fmla="*/ 4347 w 10000"/>
                  <a:gd name="connsiteY20" fmla="*/ 298 h 10000"/>
                  <a:gd name="connsiteX21" fmla="*/ 9998 w 10000"/>
                  <a:gd name="connsiteY21" fmla="*/ 5508 h 10000"/>
                  <a:gd name="connsiteX22" fmla="*/ 5028 w 10000"/>
                  <a:gd name="connsiteY22" fmla="*/ 10000 h 10000"/>
                  <a:gd name="connsiteX0" fmla="*/ 5028 w 10000"/>
                  <a:gd name="connsiteY0" fmla="*/ 10000 h 10000"/>
                  <a:gd name="connsiteX1" fmla="*/ 1956 w 10000"/>
                  <a:gd name="connsiteY1" fmla="*/ 9080 h 10000"/>
                  <a:gd name="connsiteX2" fmla="*/ 1087 w 10000"/>
                  <a:gd name="connsiteY2" fmla="*/ 8385 h 10000"/>
                  <a:gd name="connsiteX3" fmla="*/ 652 w 10000"/>
                  <a:gd name="connsiteY3" fmla="*/ 7939 h 10000"/>
                  <a:gd name="connsiteX4" fmla="*/ 290 w 10000"/>
                  <a:gd name="connsiteY4" fmla="*/ 7492 h 10000"/>
                  <a:gd name="connsiteX5" fmla="*/ 73 w 10000"/>
                  <a:gd name="connsiteY5" fmla="*/ 6996 h 10000"/>
                  <a:gd name="connsiteX6" fmla="*/ 0 w 10000"/>
                  <a:gd name="connsiteY6" fmla="*/ 6451 h 10000"/>
                  <a:gd name="connsiteX7" fmla="*/ 73 w 10000"/>
                  <a:gd name="connsiteY7" fmla="*/ 5855 h 10000"/>
                  <a:gd name="connsiteX8" fmla="*/ 290 w 10000"/>
                  <a:gd name="connsiteY8" fmla="*/ 5210 h 10000"/>
                  <a:gd name="connsiteX9" fmla="*/ 869 w 10000"/>
                  <a:gd name="connsiteY9" fmla="*/ 4515 h 10000"/>
                  <a:gd name="connsiteX10" fmla="*/ 1594 w 10000"/>
                  <a:gd name="connsiteY10" fmla="*/ 3771 h 10000"/>
                  <a:gd name="connsiteX11" fmla="*/ 1594 w 10000"/>
                  <a:gd name="connsiteY11" fmla="*/ 3771 h 10000"/>
                  <a:gd name="connsiteX12" fmla="*/ 1956 w 10000"/>
                  <a:gd name="connsiteY12" fmla="*/ 3473 h 10000"/>
                  <a:gd name="connsiteX13" fmla="*/ 2608 w 10000"/>
                  <a:gd name="connsiteY13" fmla="*/ 2729 h 10000"/>
                  <a:gd name="connsiteX14" fmla="*/ 3043 w 10000"/>
                  <a:gd name="connsiteY14" fmla="*/ 2134 h 10000"/>
                  <a:gd name="connsiteX15" fmla="*/ 3332 w 10000"/>
                  <a:gd name="connsiteY15" fmla="*/ 1539 h 10000"/>
                  <a:gd name="connsiteX16" fmla="*/ 3550 w 10000"/>
                  <a:gd name="connsiteY16" fmla="*/ 794 h 10000"/>
                  <a:gd name="connsiteX17" fmla="*/ 3695 w 10000"/>
                  <a:gd name="connsiteY17" fmla="*/ 0 h 10000"/>
                  <a:gd name="connsiteX18" fmla="*/ 3695 w 10000"/>
                  <a:gd name="connsiteY18" fmla="*/ 0 h 10000"/>
                  <a:gd name="connsiteX19" fmla="*/ 4347 w 10000"/>
                  <a:gd name="connsiteY19" fmla="*/ 298 h 10000"/>
                  <a:gd name="connsiteX20" fmla="*/ 9998 w 10000"/>
                  <a:gd name="connsiteY20" fmla="*/ 5508 h 10000"/>
                  <a:gd name="connsiteX21" fmla="*/ 5028 w 10000"/>
                  <a:gd name="connsiteY21" fmla="*/ 10000 h 10000"/>
                  <a:gd name="connsiteX0" fmla="*/ 5028 w 10000"/>
                  <a:gd name="connsiteY0" fmla="*/ 10000 h 10000"/>
                  <a:gd name="connsiteX1" fmla="*/ 1087 w 10000"/>
                  <a:gd name="connsiteY1" fmla="*/ 8385 h 10000"/>
                  <a:gd name="connsiteX2" fmla="*/ 652 w 10000"/>
                  <a:gd name="connsiteY2" fmla="*/ 7939 h 10000"/>
                  <a:gd name="connsiteX3" fmla="*/ 290 w 10000"/>
                  <a:gd name="connsiteY3" fmla="*/ 7492 h 10000"/>
                  <a:gd name="connsiteX4" fmla="*/ 73 w 10000"/>
                  <a:gd name="connsiteY4" fmla="*/ 6996 h 10000"/>
                  <a:gd name="connsiteX5" fmla="*/ 0 w 10000"/>
                  <a:gd name="connsiteY5" fmla="*/ 6451 h 10000"/>
                  <a:gd name="connsiteX6" fmla="*/ 73 w 10000"/>
                  <a:gd name="connsiteY6" fmla="*/ 5855 h 10000"/>
                  <a:gd name="connsiteX7" fmla="*/ 290 w 10000"/>
                  <a:gd name="connsiteY7" fmla="*/ 5210 h 10000"/>
                  <a:gd name="connsiteX8" fmla="*/ 869 w 10000"/>
                  <a:gd name="connsiteY8" fmla="*/ 4515 h 10000"/>
                  <a:gd name="connsiteX9" fmla="*/ 1594 w 10000"/>
                  <a:gd name="connsiteY9" fmla="*/ 3771 h 10000"/>
                  <a:gd name="connsiteX10" fmla="*/ 1594 w 10000"/>
                  <a:gd name="connsiteY10" fmla="*/ 3771 h 10000"/>
                  <a:gd name="connsiteX11" fmla="*/ 1956 w 10000"/>
                  <a:gd name="connsiteY11" fmla="*/ 3473 h 10000"/>
                  <a:gd name="connsiteX12" fmla="*/ 2608 w 10000"/>
                  <a:gd name="connsiteY12" fmla="*/ 2729 h 10000"/>
                  <a:gd name="connsiteX13" fmla="*/ 3043 w 10000"/>
                  <a:gd name="connsiteY13" fmla="*/ 2134 h 10000"/>
                  <a:gd name="connsiteX14" fmla="*/ 3332 w 10000"/>
                  <a:gd name="connsiteY14" fmla="*/ 1539 h 10000"/>
                  <a:gd name="connsiteX15" fmla="*/ 3550 w 10000"/>
                  <a:gd name="connsiteY15" fmla="*/ 794 h 10000"/>
                  <a:gd name="connsiteX16" fmla="*/ 3695 w 10000"/>
                  <a:gd name="connsiteY16" fmla="*/ 0 h 10000"/>
                  <a:gd name="connsiteX17" fmla="*/ 3695 w 10000"/>
                  <a:gd name="connsiteY17" fmla="*/ 0 h 10000"/>
                  <a:gd name="connsiteX18" fmla="*/ 4347 w 10000"/>
                  <a:gd name="connsiteY18" fmla="*/ 298 h 10000"/>
                  <a:gd name="connsiteX19" fmla="*/ 9998 w 10000"/>
                  <a:gd name="connsiteY19" fmla="*/ 5508 h 10000"/>
                  <a:gd name="connsiteX20" fmla="*/ 5028 w 10000"/>
                  <a:gd name="connsiteY20" fmla="*/ 10000 h 10000"/>
                  <a:gd name="connsiteX0" fmla="*/ 5028 w 10000"/>
                  <a:gd name="connsiteY0" fmla="*/ 10000 h 10000"/>
                  <a:gd name="connsiteX1" fmla="*/ 652 w 10000"/>
                  <a:gd name="connsiteY1" fmla="*/ 7939 h 10000"/>
                  <a:gd name="connsiteX2" fmla="*/ 290 w 10000"/>
                  <a:gd name="connsiteY2" fmla="*/ 7492 h 10000"/>
                  <a:gd name="connsiteX3" fmla="*/ 73 w 10000"/>
                  <a:gd name="connsiteY3" fmla="*/ 6996 h 10000"/>
                  <a:gd name="connsiteX4" fmla="*/ 0 w 10000"/>
                  <a:gd name="connsiteY4" fmla="*/ 6451 h 10000"/>
                  <a:gd name="connsiteX5" fmla="*/ 73 w 10000"/>
                  <a:gd name="connsiteY5" fmla="*/ 5855 h 10000"/>
                  <a:gd name="connsiteX6" fmla="*/ 290 w 10000"/>
                  <a:gd name="connsiteY6" fmla="*/ 5210 h 10000"/>
                  <a:gd name="connsiteX7" fmla="*/ 869 w 10000"/>
                  <a:gd name="connsiteY7" fmla="*/ 4515 h 10000"/>
                  <a:gd name="connsiteX8" fmla="*/ 1594 w 10000"/>
                  <a:gd name="connsiteY8" fmla="*/ 3771 h 10000"/>
                  <a:gd name="connsiteX9" fmla="*/ 1594 w 10000"/>
                  <a:gd name="connsiteY9" fmla="*/ 3771 h 10000"/>
                  <a:gd name="connsiteX10" fmla="*/ 1956 w 10000"/>
                  <a:gd name="connsiteY10" fmla="*/ 3473 h 10000"/>
                  <a:gd name="connsiteX11" fmla="*/ 2608 w 10000"/>
                  <a:gd name="connsiteY11" fmla="*/ 2729 h 10000"/>
                  <a:gd name="connsiteX12" fmla="*/ 3043 w 10000"/>
                  <a:gd name="connsiteY12" fmla="*/ 2134 h 10000"/>
                  <a:gd name="connsiteX13" fmla="*/ 3332 w 10000"/>
                  <a:gd name="connsiteY13" fmla="*/ 1539 h 10000"/>
                  <a:gd name="connsiteX14" fmla="*/ 3550 w 10000"/>
                  <a:gd name="connsiteY14" fmla="*/ 794 h 10000"/>
                  <a:gd name="connsiteX15" fmla="*/ 3695 w 10000"/>
                  <a:gd name="connsiteY15" fmla="*/ 0 h 10000"/>
                  <a:gd name="connsiteX16" fmla="*/ 3695 w 10000"/>
                  <a:gd name="connsiteY16" fmla="*/ 0 h 10000"/>
                  <a:gd name="connsiteX17" fmla="*/ 4347 w 10000"/>
                  <a:gd name="connsiteY17" fmla="*/ 298 h 10000"/>
                  <a:gd name="connsiteX18" fmla="*/ 9998 w 10000"/>
                  <a:gd name="connsiteY18" fmla="*/ 5508 h 10000"/>
                  <a:gd name="connsiteX19" fmla="*/ 5028 w 10000"/>
                  <a:gd name="connsiteY19" fmla="*/ 10000 h 10000"/>
                  <a:gd name="connsiteX0" fmla="*/ 5028 w 10000"/>
                  <a:gd name="connsiteY0" fmla="*/ 10000 h 10000"/>
                  <a:gd name="connsiteX1" fmla="*/ 290 w 10000"/>
                  <a:gd name="connsiteY1" fmla="*/ 7492 h 10000"/>
                  <a:gd name="connsiteX2" fmla="*/ 73 w 10000"/>
                  <a:gd name="connsiteY2" fmla="*/ 6996 h 10000"/>
                  <a:gd name="connsiteX3" fmla="*/ 0 w 10000"/>
                  <a:gd name="connsiteY3" fmla="*/ 6451 h 10000"/>
                  <a:gd name="connsiteX4" fmla="*/ 73 w 10000"/>
                  <a:gd name="connsiteY4" fmla="*/ 5855 h 10000"/>
                  <a:gd name="connsiteX5" fmla="*/ 290 w 10000"/>
                  <a:gd name="connsiteY5" fmla="*/ 5210 h 10000"/>
                  <a:gd name="connsiteX6" fmla="*/ 869 w 10000"/>
                  <a:gd name="connsiteY6" fmla="*/ 4515 h 10000"/>
                  <a:gd name="connsiteX7" fmla="*/ 1594 w 10000"/>
                  <a:gd name="connsiteY7" fmla="*/ 3771 h 10000"/>
                  <a:gd name="connsiteX8" fmla="*/ 1594 w 10000"/>
                  <a:gd name="connsiteY8" fmla="*/ 3771 h 10000"/>
                  <a:gd name="connsiteX9" fmla="*/ 1956 w 10000"/>
                  <a:gd name="connsiteY9" fmla="*/ 3473 h 10000"/>
                  <a:gd name="connsiteX10" fmla="*/ 2608 w 10000"/>
                  <a:gd name="connsiteY10" fmla="*/ 2729 h 10000"/>
                  <a:gd name="connsiteX11" fmla="*/ 3043 w 10000"/>
                  <a:gd name="connsiteY11" fmla="*/ 2134 h 10000"/>
                  <a:gd name="connsiteX12" fmla="*/ 3332 w 10000"/>
                  <a:gd name="connsiteY12" fmla="*/ 1539 h 10000"/>
                  <a:gd name="connsiteX13" fmla="*/ 3550 w 10000"/>
                  <a:gd name="connsiteY13" fmla="*/ 794 h 10000"/>
                  <a:gd name="connsiteX14" fmla="*/ 3695 w 10000"/>
                  <a:gd name="connsiteY14" fmla="*/ 0 h 10000"/>
                  <a:gd name="connsiteX15" fmla="*/ 3695 w 10000"/>
                  <a:gd name="connsiteY15" fmla="*/ 0 h 10000"/>
                  <a:gd name="connsiteX16" fmla="*/ 4347 w 10000"/>
                  <a:gd name="connsiteY16" fmla="*/ 298 h 10000"/>
                  <a:gd name="connsiteX17" fmla="*/ 9998 w 10000"/>
                  <a:gd name="connsiteY17" fmla="*/ 5508 h 10000"/>
                  <a:gd name="connsiteX18" fmla="*/ 5028 w 10000"/>
                  <a:gd name="connsiteY18" fmla="*/ 10000 h 10000"/>
                  <a:gd name="connsiteX0" fmla="*/ 5028 w 10000"/>
                  <a:gd name="connsiteY0" fmla="*/ 10000 h 10000"/>
                  <a:gd name="connsiteX1" fmla="*/ 73 w 10000"/>
                  <a:gd name="connsiteY1" fmla="*/ 6996 h 10000"/>
                  <a:gd name="connsiteX2" fmla="*/ 0 w 10000"/>
                  <a:gd name="connsiteY2" fmla="*/ 6451 h 10000"/>
                  <a:gd name="connsiteX3" fmla="*/ 73 w 10000"/>
                  <a:gd name="connsiteY3" fmla="*/ 5855 h 10000"/>
                  <a:gd name="connsiteX4" fmla="*/ 290 w 10000"/>
                  <a:gd name="connsiteY4" fmla="*/ 5210 h 10000"/>
                  <a:gd name="connsiteX5" fmla="*/ 869 w 10000"/>
                  <a:gd name="connsiteY5" fmla="*/ 4515 h 10000"/>
                  <a:gd name="connsiteX6" fmla="*/ 1594 w 10000"/>
                  <a:gd name="connsiteY6" fmla="*/ 3771 h 10000"/>
                  <a:gd name="connsiteX7" fmla="*/ 1594 w 10000"/>
                  <a:gd name="connsiteY7" fmla="*/ 3771 h 10000"/>
                  <a:gd name="connsiteX8" fmla="*/ 1956 w 10000"/>
                  <a:gd name="connsiteY8" fmla="*/ 3473 h 10000"/>
                  <a:gd name="connsiteX9" fmla="*/ 2608 w 10000"/>
                  <a:gd name="connsiteY9" fmla="*/ 2729 h 10000"/>
                  <a:gd name="connsiteX10" fmla="*/ 3043 w 10000"/>
                  <a:gd name="connsiteY10" fmla="*/ 2134 h 10000"/>
                  <a:gd name="connsiteX11" fmla="*/ 3332 w 10000"/>
                  <a:gd name="connsiteY11" fmla="*/ 1539 h 10000"/>
                  <a:gd name="connsiteX12" fmla="*/ 3550 w 10000"/>
                  <a:gd name="connsiteY12" fmla="*/ 794 h 10000"/>
                  <a:gd name="connsiteX13" fmla="*/ 3695 w 10000"/>
                  <a:gd name="connsiteY13" fmla="*/ 0 h 10000"/>
                  <a:gd name="connsiteX14" fmla="*/ 3695 w 10000"/>
                  <a:gd name="connsiteY14" fmla="*/ 0 h 10000"/>
                  <a:gd name="connsiteX15" fmla="*/ 4347 w 10000"/>
                  <a:gd name="connsiteY15" fmla="*/ 298 h 10000"/>
                  <a:gd name="connsiteX16" fmla="*/ 9998 w 10000"/>
                  <a:gd name="connsiteY16" fmla="*/ 5508 h 10000"/>
                  <a:gd name="connsiteX17" fmla="*/ 5028 w 10000"/>
                  <a:gd name="connsiteY17" fmla="*/ 10000 h 10000"/>
                  <a:gd name="connsiteX0" fmla="*/ 5028 w 10000"/>
                  <a:gd name="connsiteY0" fmla="*/ 10000 h 10000"/>
                  <a:gd name="connsiteX1" fmla="*/ 0 w 10000"/>
                  <a:gd name="connsiteY1" fmla="*/ 6451 h 10000"/>
                  <a:gd name="connsiteX2" fmla="*/ 73 w 10000"/>
                  <a:gd name="connsiteY2" fmla="*/ 5855 h 10000"/>
                  <a:gd name="connsiteX3" fmla="*/ 290 w 10000"/>
                  <a:gd name="connsiteY3" fmla="*/ 5210 h 10000"/>
                  <a:gd name="connsiteX4" fmla="*/ 869 w 10000"/>
                  <a:gd name="connsiteY4" fmla="*/ 4515 h 10000"/>
                  <a:gd name="connsiteX5" fmla="*/ 1594 w 10000"/>
                  <a:gd name="connsiteY5" fmla="*/ 3771 h 10000"/>
                  <a:gd name="connsiteX6" fmla="*/ 1594 w 10000"/>
                  <a:gd name="connsiteY6" fmla="*/ 3771 h 10000"/>
                  <a:gd name="connsiteX7" fmla="*/ 1956 w 10000"/>
                  <a:gd name="connsiteY7" fmla="*/ 3473 h 10000"/>
                  <a:gd name="connsiteX8" fmla="*/ 2608 w 10000"/>
                  <a:gd name="connsiteY8" fmla="*/ 2729 h 10000"/>
                  <a:gd name="connsiteX9" fmla="*/ 3043 w 10000"/>
                  <a:gd name="connsiteY9" fmla="*/ 2134 h 10000"/>
                  <a:gd name="connsiteX10" fmla="*/ 3332 w 10000"/>
                  <a:gd name="connsiteY10" fmla="*/ 1539 h 10000"/>
                  <a:gd name="connsiteX11" fmla="*/ 3550 w 10000"/>
                  <a:gd name="connsiteY11" fmla="*/ 794 h 10000"/>
                  <a:gd name="connsiteX12" fmla="*/ 3695 w 10000"/>
                  <a:gd name="connsiteY12" fmla="*/ 0 h 10000"/>
                  <a:gd name="connsiteX13" fmla="*/ 3695 w 10000"/>
                  <a:gd name="connsiteY13" fmla="*/ 0 h 10000"/>
                  <a:gd name="connsiteX14" fmla="*/ 4347 w 10000"/>
                  <a:gd name="connsiteY14" fmla="*/ 298 h 10000"/>
                  <a:gd name="connsiteX15" fmla="*/ 9998 w 10000"/>
                  <a:gd name="connsiteY15" fmla="*/ 5508 h 10000"/>
                  <a:gd name="connsiteX16" fmla="*/ 5028 w 10000"/>
                  <a:gd name="connsiteY16" fmla="*/ 10000 h 10000"/>
                  <a:gd name="connsiteX0" fmla="*/ 4955 w 9927"/>
                  <a:gd name="connsiteY0" fmla="*/ 10000 h 10000"/>
                  <a:gd name="connsiteX1" fmla="*/ 0 w 9927"/>
                  <a:gd name="connsiteY1" fmla="*/ 5855 h 10000"/>
                  <a:gd name="connsiteX2" fmla="*/ 217 w 9927"/>
                  <a:gd name="connsiteY2" fmla="*/ 5210 h 10000"/>
                  <a:gd name="connsiteX3" fmla="*/ 796 w 9927"/>
                  <a:gd name="connsiteY3" fmla="*/ 4515 h 10000"/>
                  <a:gd name="connsiteX4" fmla="*/ 1521 w 9927"/>
                  <a:gd name="connsiteY4" fmla="*/ 3771 h 10000"/>
                  <a:gd name="connsiteX5" fmla="*/ 1521 w 9927"/>
                  <a:gd name="connsiteY5" fmla="*/ 3771 h 10000"/>
                  <a:gd name="connsiteX6" fmla="*/ 1883 w 9927"/>
                  <a:gd name="connsiteY6" fmla="*/ 3473 h 10000"/>
                  <a:gd name="connsiteX7" fmla="*/ 2535 w 9927"/>
                  <a:gd name="connsiteY7" fmla="*/ 2729 h 10000"/>
                  <a:gd name="connsiteX8" fmla="*/ 2970 w 9927"/>
                  <a:gd name="connsiteY8" fmla="*/ 2134 h 10000"/>
                  <a:gd name="connsiteX9" fmla="*/ 3259 w 9927"/>
                  <a:gd name="connsiteY9" fmla="*/ 1539 h 10000"/>
                  <a:gd name="connsiteX10" fmla="*/ 3477 w 9927"/>
                  <a:gd name="connsiteY10" fmla="*/ 794 h 10000"/>
                  <a:gd name="connsiteX11" fmla="*/ 3622 w 9927"/>
                  <a:gd name="connsiteY11" fmla="*/ 0 h 10000"/>
                  <a:gd name="connsiteX12" fmla="*/ 3622 w 9927"/>
                  <a:gd name="connsiteY12" fmla="*/ 0 h 10000"/>
                  <a:gd name="connsiteX13" fmla="*/ 4274 w 9927"/>
                  <a:gd name="connsiteY13" fmla="*/ 298 h 10000"/>
                  <a:gd name="connsiteX14" fmla="*/ 9925 w 9927"/>
                  <a:gd name="connsiteY14" fmla="*/ 5508 h 10000"/>
                  <a:gd name="connsiteX15" fmla="*/ 4955 w 9927"/>
                  <a:gd name="connsiteY15" fmla="*/ 10000 h 10000"/>
                  <a:gd name="connsiteX0" fmla="*/ 4991 w 10000"/>
                  <a:gd name="connsiteY0" fmla="*/ 10000 h 10000"/>
                  <a:gd name="connsiteX1" fmla="*/ 0 w 10000"/>
                  <a:gd name="connsiteY1" fmla="*/ 5855 h 10000"/>
                  <a:gd name="connsiteX2" fmla="*/ 802 w 10000"/>
                  <a:gd name="connsiteY2" fmla="*/ 4515 h 10000"/>
                  <a:gd name="connsiteX3" fmla="*/ 1532 w 10000"/>
                  <a:gd name="connsiteY3" fmla="*/ 3771 h 10000"/>
                  <a:gd name="connsiteX4" fmla="*/ 1532 w 10000"/>
                  <a:gd name="connsiteY4" fmla="*/ 3771 h 10000"/>
                  <a:gd name="connsiteX5" fmla="*/ 1897 w 10000"/>
                  <a:gd name="connsiteY5" fmla="*/ 3473 h 10000"/>
                  <a:gd name="connsiteX6" fmla="*/ 2554 w 10000"/>
                  <a:gd name="connsiteY6" fmla="*/ 2729 h 10000"/>
                  <a:gd name="connsiteX7" fmla="*/ 2992 w 10000"/>
                  <a:gd name="connsiteY7" fmla="*/ 2134 h 10000"/>
                  <a:gd name="connsiteX8" fmla="*/ 3283 w 10000"/>
                  <a:gd name="connsiteY8" fmla="*/ 1539 h 10000"/>
                  <a:gd name="connsiteX9" fmla="*/ 3503 w 10000"/>
                  <a:gd name="connsiteY9" fmla="*/ 794 h 10000"/>
                  <a:gd name="connsiteX10" fmla="*/ 3649 w 10000"/>
                  <a:gd name="connsiteY10" fmla="*/ 0 h 10000"/>
                  <a:gd name="connsiteX11" fmla="*/ 3649 w 10000"/>
                  <a:gd name="connsiteY11" fmla="*/ 0 h 10000"/>
                  <a:gd name="connsiteX12" fmla="*/ 4305 w 10000"/>
                  <a:gd name="connsiteY12" fmla="*/ 298 h 10000"/>
                  <a:gd name="connsiteX13" fmla="*/ 9998 w 10000"/>
                  <a:gd name="connsiteY13" fmla="*/ 5508 h 10000"/>
                  <a:gd name="connsiteX14" fmla="*/ 4991 w 10000"/>
                  <a:gd name="connsiteY14" fmla="*/ 10000 h 10000"/>
                  <a:gd name="connsiteX0" fmla="*/ 4991 w 10000"/>
                  <a:gd name="connsiteY0" fmla="*/ 10000 h 10000"/>
                  <a:gd name="connsiteX1" fmla="*/ 0 w 10000"/>
                  <a:gd name="connsiteY1" fmla="*/ 5855 h 10000"/>
                  <a:gd name="connsiteX2" fmla="*/ 1532 w 10000"/>
                  <a:gd name="connsiteY2" fmla="*/ 3771 h 10000"/>
                  <a:gd name="connsiteX3" fmla="*/ 1532 w 10000"/>
                  <a:gd name="connsiteY3" fmla="*/ 3771 h 10000"/>
                  <a:gd name="connsiteX4" fmla="*/ 1897 w 10000"/>
                  <a:gd name="connsiteY4" fmla="*/ 3473 h 10000"/>
                  <a:gd name="connsiteX5" fmla="*/ 2554 w 10000"/>
                  <a:gd name="connsiteY5" fmla="*/ 2729 h 10000"/>
                  <a:gd name="connsiteX6" fmla="*/ 2992 w 10000"/>
                  <a:gd name="connsiteY6" fmla="*/ 2134 h 10000"/>
                  <a:gd name="connsiteX7" fmla="*/ 3283 w 10000"/>
                  <a:gd name="connsiteY7" fmla="*/ 1539 h 10000"/>
                  <a:gd name="connsiteX8" fmla="*/ 3503 w 10000"/>
                  <a:gd name="connsiteY8" fmla="*/ 794 h 10000"/>
                  <a:gd name="connsiteX9" fmla="*/ 3649 w 10000"/>
                  <a:gd name="connsiteY9" fmla="*/ 0 h 10000"/>
                  <a:gd name="connsiteX10" fmla="*/ 3649 w 10000"/>
                  <a:gd name="connsiteY10" fmla="*/ 0 h 10000"/>
                  <a:gd name="connsiteX11" fmla="*/ 4305 w 10000"/>
                  <a:gd name="connsiteY11" fmla="*/ 298 h 10000"/>
                  <a:gd name="connsiteX12" fmla="*/ 9998 w 10000"/>
                  <a:gd name="connsiteY12" fmla="*/ 5508 h 10000"/>
                  <a:gd name="connsiteX13" fmla="*/ 4991 w 10000"/>
                  <a:gd name="connsiteY13" fmla="*/ 10000 h 10000"/>
                  <a:gd name="connsiteX0" fmla="*/ 4991 w 10000"/>
                  <a:gd name="connsiteY0" fmla="*/ 10000 h 10000"/>
                  <a:gd name="connsiteX1" fmla="*/ 0 w 10000"/>
                  <a:gd name="connsiteY1" fmla="*/ 5855 h 10000"/>
                  <a:gd name="connsiteX2" fmla="*/ 1532 w 10000"/>
                  <a:gd name="connsiteY2" fmla="*/ 3771 h 10000"/>
                  <a:gd name="connsiteX3" fmla="*/ 1897 w 10000"/>
                  <a:gd name="connsiteY3" fmla="*/ 3473 h 10000"/>
                  <a:gd name="connsiteX4" fmla="*/ 2554 w 10000"/>
                  <a:gd name="connsiteY4" fmla="*/ 2729 h 10000"/>
                  <a:gd name="connsiteX5" fmla="*/ 2992 w 10000"/>
                  <a:gd name="connsiteY5" fmla="*/ 2134 h 10000"/>
                  <a:gd name="connsiteX6" fmla="*/ 3283 w 10000"/>
                  <a:gd name="connsiteY6" fmla="*/ 1539 h 10000"/>
                  <a:gd name="connsiteX7" fmla="*/ 3503 w 10000"/>
                  <a:gd name="connsiteY7" fmla="*/ 794 h 10000"/>
                  <a:gd name="connsiteX8" fmla="*/ 3649 w 10000"/>
                  <a:gd name="connsiteY8" fmla="*/ 0 h 10000"/>
                  <a:gd name="connsiteX9" fmla="*/ 3649 w 10000"/>
                  <a:gd name="connsiteY9" fmla="*/ 0 h 10000"/>
                  <a:gd name="connsiteX10" fmla="*/ 4305 w 10000"/>
                  <a:gd name="connsiteY10" fmla="*/ 298 h 10000"/>
                  <a:gd name="connsiteX11" fmla="*/ 9998 w 10000"/>
                  <a:gd name="connsiteY11" fmla="*/ 5508 h 10000"/>
                  <a:gd name="connsiteX12" fmla="*/ 4991 w 10000"/>
                  <a:gd name="connsiteY12" fmla="*/ 10000 h 10000"/>
                  <a:gd name="connsiteX0" fmla="*/ 4991 w 10000"/>
                  <a:gd name="connsiteY0" fmla="*/ 10000 h 10000"/>
                  <a:gd name="connsiteX1" fmla="*/ 0 w 10000"/>
                  <a:gd name="connsiteY1" fmla="*/ 5855 h 10000"/>
                  <a:gd name="connsiteX2" fmla="*/ 1532 w 10000"/>
                  <a:gd name="connsiteY2" fmla="*/ 3771 h 10000"/>
                  <a:gd name="connsiteX3" fmla="*/ 2554 w 10000"/>
                  <a:gd name="connsiteY3" fmla="*/ 2729 h 10000"/>
                  <a:gd name="connsiteX4" fmla="*/ 2992 w 10000"/>
                  <a:gd name="connsiteY4" fmla="*/ 2134 h 10000"/>
                  <a:gd name="connsiteX5" fmla="*/ 3283 w 10000"/>
                  <a:gd name="connsiteY5" fmla="*/ 1539 h 10000"/>
                  <a:gd name="connsiteX6" fmla="*/ 3503 w 10000"/>
                  <a:gd name="connsiteY6" fmla="*/ 794 h 10000"/>
                  <a:gd name="connsiteX7" fmla="*/ 3649 w 10000"/>
                  <a:gd name="connsiteY7" fmla="*/ 0 h 10000"/>
                  <a:gd name="connsiteX8" fmla="*/ 3649 w 10000"/>
                  <a:gd name="connsiteY8" fmla="*/ 0 h 10000"/>
                  <a:gd name="connsiteX9" fmla="*/ 4305 w 10000"/>
                  <a:gd name="connsiteY9" fmla="*/ 298 h 10000"/>
                  <a:gd name="connsiteX10" fmla="*/ 9998 w 10000"/>
                  <a:gd name="connsiteY10" fmla="*/ 5508 h 10000"/>
                  <a:gd name="connsiteX11" fmla="*/ 4991 w 10000"/>
                  <a:gd name="connsiteY11" fmla="*/ 10000 h 10000"/>
                  <a:gd name="connsiteX0" fmla="*/ 4991 w 10000"/>
                  <a:gd name="connsiteY0" fmla="*/ 10000 h 10000"/>
                  <a:gd name="connsiteX1" fmla="*/ 0 w 10000"/>
                  <a:gd name="connsiteY1" fmla="*/ 5855 h 10000"/>
                  <a:gd name="connsiteX2" fmla="*/ 2554 w 10000"/>
                  <a:gd name="connsiteY2" fmla="*/ 2729 h 10000"/>
                  <a:gd name="connsiteX3" fmla="*/ 2992 w 10000"/>
                  <a:gd name="connsiteY3" fmla="*/ 2134 h 10000"/>
                  <a:gd name="connsiteX4" fmla="*/ 3283 w 10000"/>
                  <a:gd name="connsiteY4" fmla="*/ 1539 h 10000"/>
                  <a:gd name="connsiteX5" fmla="*/ 3503 w 10000"/>
                  <a:gd name="connsiteY5" fmla="*/ 794 h 10000"/>
                  <a:gd name="connsiteX6" fmla="*/ 3649 w 10000"/>
                  <a:gd name="connsiteY6" fmla="*/ 0 h 10000"/>
                  <a:gd name="connsiteX7" fmla="*/ 3649 w 10000"/>
                  <a:gd name="connsiteY7" fmla="*/ 0 h 10000"/>
                  <a:gd name="connsiteX8" fmla="*/ 4305 w 10000"/>
                  <a:gd name="connsiteY8" fmla="*/ 298 h 10000"/>
                  <a:gd name="connsiteX9" fmla="*/ 9998 w 10000"/>
                  <a:gd name="connsiteY9" fmla="*/ 5508 h 10000"/>
                  <a:gd name="connsiteX10" fmla="*/ 4991 w 10000"/>
                  <a:gd name="connsiteY10" fmla="*/ 10000 h 10000"/>
                  <a:gd name="connsiteX0" fmla="*/ 4991 w 10000"/>
                  <a:gd name="connsiteY0" fmla="*/ 10000 h 10000"/>
                  <a:gd name="connsiteX1" fmla="*/ 0 w 10000"/>
                  <a:gd name="connsiteY1" fmla="*/ 5855 h 10000"/>
                  <a:gd name="connsiteX2" fmla="*/ 2992 w 10000"/>
                  <a:gd name="connsiteY2" fmla="*/ 2134 h 10000"/>
                  <a:gd name="connsiteX3" fmla="*/ 3283 w 10000"/>
                  <a:gd name="connsiteY3" fmla="*/ 1539 h 10000"/>
                  <a:gd name="connsiteX4" fmla="*/ 3503 w 10000"/>
                  <a:gd name="connsiteY4" fmla="*/ 794 h 10000"/>
                  <a:gd name="connsiteX5" fmla="*/ 3649 w 10000"/>
                  <a:gd name="connsiteY5" fmla="*/ 0 h 10000"/>
                  <a:gd name="connsiteX6" fmla="*/ 3649 w 10000"/>
                  <a:gd name="connsiteY6" fmla="*/ 0 h 10000"/>
                  <a:gd name="connsiteX7" fmla="*/ 4305 w 10000"/>
                  <a:gd name="connsiteY7" fmla="*/ 298 h 10000"/>
                  <a:gd name="connsiteX8" fmla="*/ 9998 w 10000"/>
                  <a:gd name="connsiteY8" fmla="*/ 5508 h 10000"/>
                  <a:gd name="connsiteX9" fmla="*/ 4991 w 10000"/>
                  <a:gd name="connsiteY9" fmla="*/ 10000 h 10000"/>
                  <a:gd name="connsiteX0" fmla="*/ 4991 w 10000"/>
                  <a:gd name="connsiteY0" fmla="*/ 10000 h 10000"/>
                  <a:gd name="connsiteX1" fmla="*/ 0 w 10000"/>
                  <a:gd name="connsiteY1" fmla="*/ 5855 h 10000"/>
                  <a:gd name="connsiteX2" fmla="*/ 3283 w 10000"/>
                  <a:gd name="connsiteY2" fmla="*/ 1539 h 10000"/>
                  <a:gd name="connsiteX3" fmla="*/ 3503 w 10000"/>
                  <a:gd name="connsiteY3" fmla="*/ 794 h 10000"/>
                  <a:gd name="connsiteX4" fmla="*/ 3649 w 10000"/>
                  <a:gd name="connsiteY4" fmla="*/ 0 h 10000"/>
                  <a:gd name="connsiteX5" fmla="*/ 3649 w 10000"/>
                  <a:gd name="connsiteY5" fmla="*/ 0 h 10000"/>
                  <a:gd name="connsiteX6" fmla="*/ 4305 w 10000"/>
                  <a:gd name="connsiteY6" fmla="*/ 298 h 10000"/>
                  <a:gd name="connsiteX7" fmla="*/ 9998 w 10000"/>
                  <a:gd name="connsiteY7" fmla="*/ 5508 h 10000"/>
                  <a:gd name="connsiteX8" fmla="*/ 4991 w 10000"/>
                  <a:gd name="connsiteY8" fmla="*/ 10000 h 10000"/>
                  <a:gd name="connsiteX0" fmla="*/ 4991 w 10000"/>
                  <a:gd name="connsiteY0" fmla="*/ 10000 h 10000"/>
                  <a:gd name="connsiteX1" fmla="*/ 0 w 10000"/>
                  <a:gd name="connsiteY1" fmla="*/ 5855 h 10000"/>
                  <a:gd name="connsiteX2" fmla="*/ 3503 w 10000"/>
                  <a:gd name="connsiteY2" fmla="*/ 794 h 10000"/>
                  <a:gd name="connsiteX3" fmla="*/ 3649 w 10000"/>
                  <a:gd name="connsiteY3" fmla="*/ 0 h 10000"/>
                  <a:gd name="connsiteX4" fmla="*/ 3649 w 10000"/>
                  <a:gd name="connsiteY4" fmla="*/ 0 h 10000"/>
                  <a:gd name="connsiteX5" fmla="*/ 4305 w 10000"/>
                  <a:gd name="connsiteY5" fmla="*/ 298 h 10000"/>
                  <a:gd name="connsiteX6" fmla="*/ 9998 w 10000"/>
                  <a:gd name="connsiteY6" fmla="*/ 5508 h 10000"/>
                  <a:gd name="connsiteX7" fmla="*/ 4991 w 10000"/>
                  <a:gd name="connsiteY7"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4305 w 10000"/>
                  <a:gd name="connsiteY4" fmla="*/ 298 h 10000"/>
                  <a:gd name="connsiteX5" fmla="*/ 9998 w 10000"/>
                  <a:gd name="connsiteY5" fmla="*/ 5508 h 10000"/>
                  <a:gd name="connsiteX6" fmla="*/ 4991 w 10000"/>
                  <a:gd name="connsiteY6"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9998 w 10000"/>
                  <a:gd name="connsiteY4" fmla="*/ 5508 h 10000"/>
                  <a:gd name="connsiteX5" fmla="*/ 4991 w 10000"/>
                  <a:gd name="connsiteY5" fmla="*/ 10000 h 10000"/>
                  <a:gd name="connsiteX0" fmla="*/ 4991 w 10004"/>
                  <a:gd name="connsiteY0" fmla="*/ 10000 h 10000"/>
                  <a:gd name="connsiteX1" fmla="*/ 0 w 10004"/>
                  <a:gd name="connsiteY1" fmla="*/ 5855 h 10000"/>
                  <a:gd name="connsiteX2" fmla="*/ 3649 w 10004"/>
                  <a:gd name="connsiteY2" fmla="*/ 0 h 10000"/>
                  <a:gd name="connsiteX3" fmla="*/ 3649 w 10004"/>
                  <a:gd name="connsiteY3" fmla="*/ 0 h 10000"/>
                  <a:gd name="connsiteX4" fmla="*/ 9998 w 10004"/>
                  <a:gd name="connsiteY4" fmla="*/ 5508 h 10000"/>
                  <a:gd name="connsiteX5" fmla="*/ 4991 w 10004"/>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77 w 10090"/>
                  <a:gd name="connsiteY0" fmla="*/ 10000 h 10000"/>
                  <a:gd name="connsiteX1" fmla="*/ 86 w 10090"/>
                  <a:gd name="connsiteY1" fmla="*/ 5855 h 10000"/>
                  <a:gd name="connsiteX2" fmla="*/ 3735 w 10090"/>
                  <a:gd name="connsiteY2" fmla="*/ 0 h 10000"/>
                  <a:gd name="connsiteX3" fmla="*/ 3735 w 10090"/>
                  <a:gd name="connsiteY3" fmla="*/ 0 h 10000"/>
                  <a:gd name="connsiteX4" fmla="*/ 10084 w 10090"/>
                  <a:gd name="connsiteY4" fmla="*/ 5508 h 10000"/>
                  <a:gd name="connsiteX5" fmla="*/ 5077 w 10090"/>
                  <a:gd name="connsiteY5" fmla="*/ 10000 h 10000"/>
                  <a:gd name="connsiteX0" fmla="*/ 5060 w 10073"/>
                  <a:gd name="connsiteY0" fmla="*/ 10000 h 10000"/>
                  <a:gd name="connsiteX1" fmla="*/ 69 w 10073"/>
                  <a:gd name="connsiteY1" fmla="*/ 5855 h 10000"/>
                  <a:gd name="connsiteX2" fmla="*/ 3718 w 10073"/>
                  <a:gd name="connsiteY2" fmla="*/ 0 h 10000"/>
                  <a:gd name="connsiteX3" fmla="*/ 3718 w 10073"/>
                  <a:gd name="connsiteY3" fmla="*/ 0 h 10000"/>
                  <a:gd name="connsiteX4" fmla="*/ 10067 w 10073"/>
                  <a:gd name="connsiteY4" fmla="*/ 5508 h 10000"/>
                  <a:gd name="connsiteX5" fmla="*/ 5060 w 10073"/>
                  <a:gd name="connsiteY5" fmla="*/ 10000 h 10000"/>
                  <a:gd name="connsiteX0" fmla="*/ 4956 w 9965"/>
                  <a:gd name="connsiteY0" fmla="*/ 10000 h 10000"/>
                  <a:gd name="connsiteX1" fmla="*/ 36 w 9965"/>
                  <a:gd name="connsiteY1" fmla="*/ 5565 h 10000"/>
                  <a:gd name="connsiteX2" fmla="*/ 3614 w 9965"/>
                  <a:gd name="connsiteY2" fmla="*/ 0 h 10000"/>
                  <a:gd name="connsiteX3" fmla="*/ 3614 w 9965"/>
                  <a:gd name="connsiteY3" fmla="*/ 0 h 10000"/>
                  <a:gd name="connsiteX4" fmla="*/ 9963 w 9965"/>
                  <a:gd name="connsiteY4" fmla="*/ 5508 h 10000"/>
                  <a:gd name="connsiteX5" fmla="*/ 4956 w 9965"/>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37"/>
                  <a:gd name="connsiteY0" fmla="*/ 10000 h 10001"/>
                  <a:gd name="connsiteX1" fmla="*/ 171 w 10137"/>
                  <a:gd name="connsiteY1" fmla="*/ 5565 h 10001"/>
                  <a:gd name="connsiteX2" fmla="*/ 3762 w 10137"/>
                  <a:gd name="connsiteY2" fmla="*/ 0 h 10001"/>
                  <a:gd name="connsiteX3" fmla="*/ 4332 w 10137"/>
                  <a:gd name="connsiteY3" fmla="*/ 580 h 10001"/>
                  <a:gd name="connsiteX4" fmla="*/ 10133 w 10137"/>
                  <a:gd name="connsiteY4" fmla="*/ 5508 h 10001"/>
                  <a:gd name="connsiteX5" fmla="*/ 5108 w 10137"/>
                  <a:gd name="connsiteY5" fmla="*/ 10000 h 10001"/>
                  <a:gd name="connsiteX0" fmla="*/ 5108 w 10151"/>
                  <a:gd name="connsiteY0" fmla="*/ 10145 h 10146"/>
                  <a:gd name="connsiteX1" fmla="*/ 171 w 10151"/>
                  <a:gd name="connsiteY1" fmla="*/ 5710 h 10146"/>
                  <a:gd name="connsiteX2" fmla="*/ 3762 w 10151"/>
                  <a:gd name="connsiteY2" fmla="*/ 145 h 10146"/>
                  <a:gd name="connsiteX3" fmla="*/ 6685 w 10151"/>
                  <a:gd name="connsiteY3" fmla="*/ 0 h 10146"/>
                  <a:gd name="connsiteX4" fmla="*/ 10133 w 10151"/>
                  <a:gd name="connsiteY4" fmla="*/ 5653 h 10146"/>
                  <a:gd name="connsiteX5" fmla="*/ 5108 w 10151"/>
                  <a:gd name="connsiteY5" fmla="*/ 10145 h 10146"/>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46"/>
                  <a:gd name="connsiteY0" fmla="*/ 10000 h 10001"/>
                  <a:gd name="connsiteX1" fmla="*/ 171 w 10146"/>
                  <a:gd name="connsiteY1" fmla="*/ 5565 h 10001"/>
                  <a:gd name="connsiteX2" fmla="*/ 3762 w 10146"/>
                  <a:gd name="connsiteY2" fmla="*/ 0 h 10001"/>
                  <a:gd name="connsiteX3" fmla="*/ 10133 w 10146"/>
                  <a:gd name="connsiteY3" fmla="*/ 5508 h 10001"/>
                  <a:gd name="connsiteX4" fmla="*/ 5108 w 10146"/>
                  <a:gd name="connsiteY4" fmla="*/ 10000 h 10001"/>
                  <a:gd name="connsiteX0" fmla="*/ 5108 w 10135"/>
                  <a:gd name="connsiteY0" fmla="*/ 10000 h 10001"/>
                  <a:gd name="connsiteX1" fmla="*/ 171 w 10135"/>
                  <a:gd name="connsiteY1" fmla="*/ 5565 h 10001"/>
                  <a:gd name="connsiteX2" fmla="*/ 3762 w 10135"/>
                  <a:gd name="connsiteY2" fmla="*/ 0 h 10001"/>
                  <a:gd name="connsiteX3" fmla="*/ 10133 w 10135"/>
                  <a:gd name="connsiteY3" fmla="*/ 5508 h 10001"/>
                  <a:gd name="connsiteX4" fmla="*/ 5108 w 10135"/>
                  <a:gd name="connsiteY4" fmla="*/ 10000 h 10001"/>
                  <a:gd name="connsiteX0" fmla="*/ 5108 w 10139"/>
                  <a:gd name="connsiteY0" fmla="*/ 10000 h 10001"/>
                  <a:gd name="connsiteX1" fmla="*/ 171 w 10139"/>
                  <a:gd name="connsiteY1" fmla="*/ 5565 h 10001"/>
                  <a:gd name="connsiteX2" fmla="*/ 3762 w 10139"/>
                  <a:gd name="connsiteY2" fmla="*/ 0 h 10001"/>
                  <a:gd name="connsiteX3" fmla="*/ 10133 w 10139"/>
                  <a:gd name="connsiteY3" fmla="*/ 5508 h 10001"/>
                  <a:gd name="connsiteX4" fmla="*/ 5108 w 10139"/>
                  <a:gd name="connsiteY4" fmla="*/ 10000 h 10001"/>
                  <a:gd name="connsiteX0" fmla="*/ 5108 w 10164"/>
                  <a:gd name="connsiteY0" fmla="*/ 10000 h 10001"/>
                  <a:gd name="connsiteX1" fmla="*/ 171 w 10164"/>
                  <a:gd name="connsiteY1" fmla="*/ 5565 h 10001"/>
                  <a:gd name="connsiteX2" fmla="*/ 3762 w 10164"/>
                  <a:gd name="connsiteY2" fmla="*/ 0 h 10001"/>
                  <a:gd name="connsiteX3" fmla="*/ 10133 w 10164"/>
                  <a:gd name="connsiteY3" fmla="*/ 5508 h 10001"/>
                  <a:gd name="connsiteX4" fmla="*/ 5108 w 10164"/>
                  <a:gd name="connsiteY4" fmla="*/ 10000 h 10001"/>
                  <a:gd name="connsiteX0" fmla="*/ 5088 w 10139"/>
                  <a:gd name="connsiteY0" fmla="*/ 10000 h 10000"/>
                  <a:gd name="connsiteX1" fmla="*/ 151 w 10139"/>
                  <a:gd name="connsiteY1" fmla="*/ 5565 h 10000"/>
                  <a:gd name="connsiteX2" fmla="*/ 3742 w 10139"/>
                  <a:gd name="connsiteY2" fmla="*/ 0 h 10000"/>
                  <a:gd name="connsiteX3" fmla="*/ 10113 w 10139"/>
                  <a:gd name="connsiteY3" fmla="*/ 5605 h 10000"/>
                  <a:gd name="connsiteX4" fmla="*/ 5088 w 10139"/>
                  <a:gd name="connsiteY4" fmla="*/ 10000 h 10000"/>
                  <a:gd name="connsiteX0" fmla="*/ 5088 w 10173"/>
                  <a:gd name="connsiteY0" fmla="*/ 10000 h 10000"/>
                  <a:gd name="connsiteX1" fmla="*/ 151 w 10173"/>
                  <a:gd name="connsiteY1" fmla="*/ 5565 h 10000"/>
                  <a:gd name="connsiteX2" fmla="*/ 3742 w 10173"/>
                  <a:gd name="connsiteY2" fmla="*/ 0 h 10000"/>
                  <a:gd name="connsiteX3" fmla="*/ 10113 w 10173"/>
                  <a:gd name="connsiteY3" fmla="*/ 5605 h 10000"/>
                  <a:gd name="connsiteX4" fmla="*/ 5088 w 10173"/>
                  <a:gd name="connsiteY4" fmla="*/ 10000 h 10000"/>
                  <a:gd name="connsiteX0" fmla="*/ 5108 w 10202"/>
                  <a:gd name="connsiteY0" fmla="*/ 10000 h 10000"/>
                  <a:gd name="connsiteX1" fmla="*/ 171 w 10202"/>
                  <a:gd name="connsiteY1" fmla="*/ 5565 h 10000"/>
                  <a:gd name="connsiteX2" fmla="*/ 3762 w 10202"/>
                  <a:gd name="connsiteY2" fmla="*/ 0 h 10000"/>
                  <a:gd name="connsiteX3" fmla="*/ 10133 w 10202"/>
                  <a:gd name="connsiteY3" fmla="*/ 5605 h 10000"/>
                  <a:gd name="connsiteX4" fmla="*/ 5108 w 10202"/>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2" h="10000">
                    <a:moveTo>
                      <a:pt x="5108" y="10000"/>
                    </a:moveTo>
                    <a:cubicBezTo>
                      <a:pt x="2806" y="10041"/>
                      <a:pt x="-834" y="8097"/>
                      <a:pt x="171" y="5565"/>
                    </a:cubicBezTo>
                    <a:cubicBezTo>
                      <a:pt x="1176" y="3033"/>
                      <a:pt x="4038" y="3160"/>
                      <a:pt x="3762" y="0"/>
                    </a:cubicBezTo>
                    <a:cubicBezTo>
                      <a:pt x="6670" y="1353"/>
                      <a:pt x="9540" y="2513"/>
                      <a:pt x="10133" y="5605"/>
                    </a:cubicBezTo>
                    <a:cubicBezTo>
                      <a:pt x="10726" y="8697"/>
                      <a:pt x="7410" y="9959"/>
                      <a:pt x="5108" y="1000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a:lnSpc>
                    <a:spcPct val="90000"/>
                  </a:lnSpc>
                </a:pPr>
                <a:endParaRPr lang="en-US" sz="1200"/>
              </a:p>
            </p:txBody>
          </p:sp>
        </p:grpSp>
      </p:grpSp>
      <p:grpSp>
        <p:nvGrpSpPr>
          <p:cNvPr id="70" name="Group 69">
            <a:extLst>
              <a:ext uri="{FF2B5EF4-FFF2-40B4-BE49-F238E27FC236}">
                <a16:creationId xmlns:a16="http://schemas.microsoft.com/office/drawing/2014/main" id="{9671DD92-8ED1-43F7-A0F2-3C1B57E97A90}"/>
              </a:ext>
            </a:extLst>
          </p:cNvPr>
          <p:cNvGrpSpPr/>
          <p:nvPr/>
        </p:nvGrpSpPr>
        <p:grpSpPr bwMode="gray">
          <a:xfrm>
            <a:off x="11137723" y="3981057"/>
            <a:ext cx="743958" cy="643249"/>
            <a:chOff x="10435243" y="3828862"/>
            <a:chExt cx="743958" cy="643249"/>
          </a:xfrm>
        </p:grpSpPr>
        <p:grpSp>
          <p:nvGrpSpPr>
            <p:cNvPr id="71" name="Group 70">
              <a:extLst>
                <a:ext uri="{FF2B5EF4-FFF2-40B4-BE49-F238E27FC236}">
                  <a16:creationId xmlns:a16="http://schemas.microsoft.com/office/drawing/2014/main" id="{3E663F27-0A8E-4B2B-A93A-9432F8BE27A7}"/>
                </a:ext>
              </a:extLst>
            </p:cNvPr>
            <p:cNvGrpSpPr/>
            <p:nvPr/>
          </p:nvGrpSpPr>
          <p:grpSpPr bwMode="gray">
            <a:xfrm>
              <a:off x="10599656" y="3828862"/>
              <a:ext cx="415133" cy="194710"/>
              <a:chOff x="10515916" y="3811924"/>
              <a:chExt cx="487364" cy="228587"/>
            </a:xfrm>
          </p:grpSpPr>
          <p:grpSp>
            <p:nvGrpSpPr>
              <p:cNvPr id="73" name="Group 72">
                <a:extLst>
                  <a:ext uri="{FF2B5EF4-FFF2-40B4-BE49-F238E27FC236}">
                    <a16:creationId xmlns:a16="http://schemas.microsoft.com/office/drawing/2014/main" id="{A77E413D-EE79-44D9-959E-174A9823386B}"/>
                  </a:ext>
                </a:extLst>
              </p:cNvPr>
              <p:cNvGrpSpPr/>
              <p:nvPr/>
            </p:nvGrpSpPr>
            <p:grpSpPr bwMode="gray">
              <a:xfrm>
                <a:off x="10515916" y="3811924"/>
                <a:ext cx="228586" cy="228587"/>
                <a:chOff x="10833472" y="5375716"/>
                <a:chExt cx="212874" cy="212875"/>
              </a:xfrm>
            </p:grpSpPr>
            <p:sp>
              <p:nvSpPr>
                <p:cNvPr id="78" name="Freeform 90">
                  <a:extLst>
                    <a:ext uri="{FF2B5EF4-FFF2-40B4-BE49-F238E27FC236}">
                      <a16:creationId xmlns:a16="http://schemas.microsoft.com/office/drawing/2014/main" id="{1A9CF38E-42EA-4352-88EC-A2735FCA4667}"/>
                    </a:ext>
                  </a:extLst>
                </p:cNvPr>
                <p:cNvSpPr>
                  <a:spLocks/>
                </p:cNvSpPr>
                <p:nvPr/>
              </p:nvSpPr>
              <p:spPr bwMode="gray">
                <a:xfrm rot="2700000">
                  <a:off x="10920767" y="5463011"/>
                  <a:ext cx="38284" cy="38285"/>
                </a:xfrm>
                <a:prstGeom prst="ellips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79" name="Freeform 91">
                  <a:extLst>
                    <a:ext uri="{FF2B5EF4-FFF2-40B4-BE49-F238E27FC236}">
                      <a16:creationId xmlns:a16="http://schemas.microsoft.com/office/drawing/2014/main" id="{DC5F8C63-7E52-41D0-8CC4-F412F9B00953}"/>
                    </a:ext>
                  </a:extLst>
                </p:cNvPr>
                <p:cNvSpPr>
                  <a:spLocks/>
                </p:cNvSpPr>
                <p:nvPr/>
              </p:nvSpPr>
              <p:spPr bwMode="gray">
                <a:xfrm rot="2700000">
                  <a:off x="10895244" y="5437488"/>
                  <a:ext cx="89330" cy="89330"/>
                </a:xfrm>
                <a:prstGeom prst="ellips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80" name="Freeform: Shape 79">
                  <a:extLst>
                    <a:ext uri="{FF2B5EF4-FFF2-40B4-BE49-F238E27FC236}">
                      <a16:creationId xmlns:a16="http://schemas.microsoft.com/office/drawing/2014/main" id="{C89D7A4D-94F9-4345-9A93-6192469AD732}"/>
                    </a:ext>
                  </a:extLst>
                </p:cNvPr>
                <p:cNvSpPr/>
                <p:nvPr/>
              </p:nvSpPr>
              <p:spPr bwMode="gray">
                <a:xfrm rot="2700000">
                  <a:off x="10977440" y="5375716"/>
                  <a:ext cx="49496" cy="88317"/>
                </a:xfrm>
                <a:custGeom>
                  <a:avLst/>
                  <a:gdLst>
                    <a:gd name="connsiteX0" fmla="*/ 312891 w 625781"/>
                    <a:gd name="connsiteY0" fmla="*/ 0 h 1116609"/>
                    <a:gd name="connsiteX1" fmla="*/ 592943 w 625781"/>
                    <a:gd name="connsiteY1" fmla="*/ 199547 h 1116609"/>
                    <a:gd name="connsiteX2" fmla="*/ 608688 w 625781"/>
                    <a:gd name="connsiteY2" fmla="*/ 254073 h 1116609"/>
                    <a:gd name="connsiteX3" fmla="*/ 610717 w 625781"/>
                    <a:gd name="connsiteY3" fmla="*/ 259700 h 1116609"/>
                    <a:gd name="connsiteX4" fmla="*/ 601128 w 625781"/>
                    <a:gd name="connsiteY4" fmla="*/ 573182 h 1116609"/>
                    <a:gd name="connsiteX5" fmla="*/ 454113 w 625781"/>
                    <a:gd name="connsiteY5" fmla="*/ 995588 h 1116609"/>
                    <a:gd name="connsiteX6" fmla="*/ 406296 w 625781"/>
                    <a:gd name="connsiteY6" fmla="*/ 1116560 h 1116609"/>
                    <a:gd name="connsiteX7" fmla="*/ 312890 w 625781"/>
                    <a:gd name="connsiteY7" fmla="*/ 1107144 h 1116609"/>
                    <a:gd name="connsiteX8" fmla="*/ 219001 w 625781"/>
                    <a:gd name="connsiteY8" fmla="*/ 1116609 h 1116609"/>
                    <a:gd name="connsiteX9" fmla="*/ 168436 w 625781"/>
                    <a:gd name="connsiteY9" fmla="*/ 989547 h 1116609"/>
                    <a:gd name="connsiteX10" fmla="*/ 24653 w 625781"/>
                    <a:gd name="connsiteY10" fmla="*/ 573182 h 1116609"/>
                    <a:gd name="connsiteX11" fmla="*/ 15064 w 625781"/>
                    <a:gd name="connsiteY11" fmla="*/ 259700 h 1116609"/>
                    <a:gd name="connsiteX12" fmla="*/ 17095 w 625781"/>
                    <a:gd name="connsiteY12" fmla="*/ 254066 h 1116609"/>
                    <a:gd name="connsiteX13" fmla="*/ 32839 w 625781"/>
                    <a:gd name="connsiteY13" fmla="*/ 199547 h 1116609"/>
                    <a:gd name="connsiteX14" fmla="*/ 312891 w 625781"/>
                    <a:gd name="connsiteY14" fmla="*/ 0 h 111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781" h="1116609">
                      <a:moveTo>
                        <a:pt x="312891" y="0"/>
                      </a:moveTo>
                      <a:cubicBezTo>
                        <a:pt x="438786" y="0"/>
                        <a:pt x="546802" y="82282"/>
                        <a:pt x="592943" y="199547"/>
                      </a:cubicBezTo>
                      <a:lnTo>
                        <a:pt x="608688" y="254073"/>
                      </a:lnTo>
                      <a:lnTo>
                        <a:pt x="610717" y="259700"/>
                      </a:lnTo>
                      <a:cubicBezTo>
                        <a:pt x="634090" y="348834"/>
                        <a:pt x="629787" y="456801"/>
                        <a:pt x="601128" y="573182"/>
                      </a:cubicBezTo>
                      <a:cubicBezTo>
                        <a:pt x="565967" y="701371"/>
                        <a:pt x="508517" y="856074"/>
                        <a:pt x="454113" y="995588"/>
                      </a:cubicBezTo>
                      <a:lnTo>
                        <a:pt x="406296" y="1116560"/>
                      </a:lnTo>
                      <a:lnTo>
                        <a:pt x="312890" y="1107144"/>
                      </a:lnTo>
                      <a:lnTo>
                        <a:pt x="219001" y="1116609"/>
                      </a:lnTo>
                      <a:lnTo>
                        <a:pt x="168436" y="989547"/>
                      </a:lnTo>
                      <a:cubicBezTo>
                        <a:pt x="112954" y="848019"/>
                        <a:pt x="55504" y="693317"/>
                        <a:pt x="24653" y="573182"/>
                      </a:cubicBezTo>
                      <a:cubicBezTo>
                        <a:pt x="-4006" y="456801"/>
                        <a:pt x="-8309" y="348834"/>
                        <a:pt x="15064" y="259700"/>
                      </a:cubicBezTo>
                      <a:lnTo>
                        <a:pt x="17095" y="254066"/>
                      </a:lnTo>
                      <a:lnTo>
                        <a:pt x="32839" y="199547"/>
                      </a:lnTo>
                      <a:cubicBezTo>
                        <a:pt x="78979" y="82282"/>
                        <a:pt x="186996" y="0"/>
                        <a:pt x="312891" y="0"/>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81" name="Freeform: Shape 80">
                  <a:extLst>
                    <a:ext uri="{FF2B5EF4-FFF2-40B4-BE49-F238E27FC236}">
                      <a16:creationId xmlns:a16="http://schemas.microsoft.com/office/drawing/2014/main" id="{6C8691C6-5593-4AB3-82EA-31B28C28A1FC}"/>
                    </a:ext>
                  </a:extLst>
                </p:cNvPr>
                <p:cNvSpPr/>
                <p:nvPr/>
              </p:nvSpPr>
              <p:spPr bwMode="gray">
                <a:xfrm rot="13500000">
                  <a:off x="10852883" y="5500273"/>
                  <a:ext cx="49496" cy="88318"/>
                </a:xfrm>
                <a:custGeom>
                  <a:avLst/>
                  <a:gdLst>
                    <a:gd name="connsiteX0" fmla="*/ 219001 w 625781"/>
                    <a:gd name="connsiteY0" fmla="*/ 1116610 h 1116610"/>
                    <a:gd name="connsiteX1" fmla="*/ 168435 w 625781"/>
                    <a:gd name="connsiteY1" fmla="*/ 989547 h 1116610"/>
                    <a:gd name="connsiteX2" fmla="*/ 24653 w 625781"/>
                    <a:gd name="connsiteY2" fmla="*/ 573182 h 1116610"/>
                    <a:gd name="connsiteX3" fmla="*/ 15064 w 625781"/>
                    <a:gd name="connsiteY3" fmla="*/ 259700 h 1116610"/>
                    <a:gd name="connsiteX4" fmla="*/ 17095 w 625781"/>
                    <a:gd name="connsiteY4" fmla="*/ 254066 h 1116610"/>
                    <a:gd name="connsiteX5" fmla="*/ 32839 w 625781"/>
                    <a:gd name="connsiteY5" fmla="*/ 199547 h 1116610"/>
                    <a:gd name="connsiteX6" fmla="*/ 312891 w 625781"/>
                    <a:gd name="connsiteY6" fmla="*/ 0 h 1116610"/>
                    <a:gd name="connsiteX7" fmla="*/ 592943 w 625781"/>
                    <a:gd name="connsiteY7" fmla="*/ 199547 h 1116610"/>
                    <a:gd name="connsiteX8" fmla="*/ 608688 w 625781"/>
                    <a:gd name="connsiteY8" fmla="*/ 254073 h 1116610"/>
                    <a:gd name="connsiteX9" fmla="*/ 610717 w 625781"/>
                    <a:gd name="connsiteY9" fmla="*/ 259700 h 1116610"/>
                    <a:gd name="connsiteX10" fmla="*/ 601128 w 625781"/>
                    <a:gd name="connsiteY10" fmla="*/ 573182 h 1116610"/>
                    <a:gd name="connsiteX11" fmla="*/ 454113 w 625781"/>
                    <a:gd name="connsiteY11" fmla="*/ 995588 h 1116610"/>
                    <a:gd name="connsiteX12" fmla="*/ 406296 w 625781"/>
                    <a:gd name="connsiteY12" fmla="*/ 1116561 h 1116610"/>
                    <a:gd name="connsiteX13" fmla="*/ 312891 w 625781"/>
                    <a:gd name="connsiteY13" fmla="*/ 1107145 h 111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5781" h="1116610">
                      <a:moveTo>
                        <a:pt x="219001" y="1116610"/>
                      </a:moveTo>
                      <a:lnTo>
                        <a:pt x="168435" y="989547"/>
                      </a:lnTo>
                      <a:cubicBezTo>
                        <a:pt x="112954" y="848019"/>
                        <a:pt x="55504" y="693317"/>
                        <a:pt x="24653" y="573182"/>
                      </a:cubicBezTo>
                      <a:cubicBezTo>
                        <a:pt x="-4006" y="456801"/>
                        <a:pt x="-8309" y="348834"/>
                        <a:pt x="15064" y="259700"/>
                      </a:cubicBezTo>
                      <a:lnTo>
                        <a:pt x="17095" y="254066"/>
                      </a:lnTo>
                      <a:lnTo>
                        <a:pt x="32839" y="199547"/>
                      </a:lnTo>
                      <a:cubicBezTo>
                        <a:pt x="78979" y="82282"/>
                        <a:pt x="186996" y="0"/>
                        <a:pt x="312891" y="0"/>
                      </a:cubicBezTo>
                      <a:cubicBezTo>
                        <a:pt x="438786" y="0"/>
                        <a:pt x="546802" y="82282"/>
                        <a:pt x="592943" y="199547"/>
                      </a:cubicBezTo>
                      <a:lnTo>
                        <a:pt x="608688" y="254073"/>
                      </a:lnTo>
                      <a:lnTo>
                        <a:pt x="610717" y="259700"/>
                      </a:lnTo>
                      <a:cubicBezTo>
                        <a:pt x="634090" y="348834"/>
                        <a:pt x="629787" y="456801"/>
                        <a:pt x="601128" y="573182"/>
                      </a:cubicBezTo>
                      <a:cubicBezTo>
                        <a:pt x="565967" y="701371"/>
                        <a:pt x="508518" y="856074"/>
                        <a:pt x="454113" y="995588"/>
                      </a:cubicBezTo>
                      <a:lnTo>
                        <a:pt x="406296" y="1116561"/>
                      </a:lnTo>
                      <a:lnTo>
                        <a:pt x="312891" y="1107145"/>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82" name="Freeform: Shape 81">
                  <a:extLst>
                    <a:ext uri="{FF2B5EF4-FFF2-40B4-BE49-F238E27FC236}">
                      <a16:creationId xmlns:a16="http://schemas.microsoft.com/office/drawing/2014/main" id="{E1964B2A-8304-45B1-B765-C4438D08E4CA}"/>
                    </a:ext>
                  </a:extLst>
                </p:cNvPr>
                <p:cNvSpPr/>
                <p:nvPr/>
              </p:nvSpPr>
              <p:spPr bwMode="gray">
                <a:xfrm rot="8100000">
                  <a:off x="10977440" y="5500273"/>
                  <a:ext cx="49496" cy="88318"/>
                </a:xfrm>
                <a:custGeom>
                  <a:avLst/>
                  <a:gdLst>
                    <a:gd name="connsiteX0" fmla="*/ 347 w 625781"/>
                    <a:gd name="connsiteY0" fmla="*/ 406223 h 1116610"/>
                    <a:gd name="connsiteX1" fmla="*/ 15064 w 625781"/>
                    <a:gd name="connsiteY1" fmla="*/ 259699 h 1116610"/>
                    <a:gd name="connsiteX2" fmla="*/ 17095 w 625781"/>
                    <a:gd name="connsiteY2" fmla="*/ 254066 h 1116610"/>
                    <a:gd name="connsiteX3" fmla="*/ 32839 w 625781"/>
                    <a:gd name="connsiteY3" fmla="*/ 199547 h 1116610"/>
                    <a:gd name="connsiteX4" fmla="*/ 312891 w 625781"/>
                    <a:gd name="connsiteY4" fmla="*/ 0 h 1116610"/>
                    <a:gd name="connsiteX5" fmla="*/ 592943 w 625781"/>
                    <a:gd name="connsiteY5" fmla="*/ 199547 h 1116610"/>
                    <a:gd name="connsiteX6" fmla="*/ 608688 w 625781"/>
                    <a:gd name="connsiteY6" fmla="*/ 254073 h 1116610"/>
                    <a:gd name="connsiteX7" fmla="*/ 610717 w 625781"/>
                    <a:gd name="connsiteY7" fmla="*/ 259699 h 1116610"/>
                    <a:gd name="connsiteX8" fmla="*/ 601128 w 625781"/>
                    <a:gd name="connsiteY8" fmla="*/ 573182 h 1116610"/>
                    <a:gd name="connsiteX9" fmla="*/ 454113 w 625781"/>
                    <a:gd name="connsiteY9" fmla="*/ 995588 h 1116610"/>
                    <a:gd name="connsiteX10" fmla="*/ 406296 w 625781"/>
                    <a:gd name="connsiteY10" fmla="*/ 1116561 h 1116610"/>
                    <a:gd name="connsiteX11" fmla="*/ 312890 w 625781"/>
                    <a:gd name="connsiteY11" fmla="*/ 1107145 h 1116610"/>
                    <a:gd name="connsiteX12" fmla="*/ 219001 w 625781"/>
                    <a:gd name="connsiteY12" fmla="*/ 1116610 h 1116610"/>
                    <a:gd name="connsiteX13" fmla="*/ 168436 w 625781"/>
                    <a:gd name="connsiteY13" fmla="*/ 989547 h 1116610"/>
                    <a:gd name="connsiteX14" fmla="*/ 24653 w 625781"/>
                    <a:gd name="connsiteY14" fmla="*/ 573182 h 1116610"/>
                    <a:gd name="connsiteX15" fmla="*/ 347 w 625781"/>
                    <a:gd name="connsiteY15" fmla="*/ 406223 h 111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781" h="1116610">
                      <a:moveTo>
                        <a:pt x="347" y="406223"/>
                      </a:moveTo>
                      <a:cubicBezTo>
                        <a:pt x="-1390" y="353542"/>
                        <a:pt x="3378" y="304266"/>
                        <a:pt x="15064" y="259699"/>
                      </a:cubicBezTo>
                      <a:lnTo>
                        <a:pt x="17095" y="254066"/>
                      </a:lnTo>
                      <a:lnTo>
                        <a:pt x="32839" y="199547"/>
                      </a:lnTo>
                      <a:cubicBezTo>
                        <a:pt x="78979" y="82282"/>
                        <a:pt x="186996" y="0"/>
                        <a:pt x="312891" y="0"/>
                      </a:cubicBezTo>
                      <a:cubicBezTo>
                        <a:pt x="438786" y="0"/>
                        <a:pt x="546802" y="82282"/>
                        <a:pt x="592943" y="199547"/>
                      </a:cubicBezTo>
                      <a:lnTo>
                        <a:pt x="608688" y="254073"/>
                      </a:lnTo>
                      <a:lnTo>
                        <a:pt x="610717" y="259699"/>
                      </a:lnTo>
                      <a:cubicBezTo>
                        <a:pt x="634090" y="348834"/>
                        <a:pt x="629787" y="456801"/>
                        <a:pt x="601128" y="573182"/>
                      </a:cubicBezTo>
                      <a:cubicBezTo>
                        <a:pt x="565967" y="701371"/>
                        <a:pt x="508517" y="856074"/>
                        <a:pt x="454113" y="995588"/>
                      </a:cubicBezTo>
                      <a:lnTo>
                        <a:pt x="406296" y="1116561"/>
                      </a:lnTo>
                      <a:lnTo>
                        <a:pt x="312890" y="1107145"/>
                      </a:lnTo>
                      <a:lnTo>
                        <a:pt x="219001" y="1116610"/>
                      </a:lnTo>
                      <a:lnTo>
                        <a:pt x="168436" y="989547"/>
                      </a:lnTo>
                      <a:cubicBezTo>
                        <a:pt x="112954" y="848019"/>
                        <a:pt x="55504" y="693317"/>
                        <a:pt x="24653" y="573182"/>
                      </a:cubicBezTo>
                      <a:cubicBezTo>
                        <a:pt x="10324" y="514992"/>
                        <a:pt x="2083" y="458904"/>
                        <a:pt x="347" y="406223"/>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83" name="Freeform: Shape 82">
                  <a:extLst>
                    <a:ext uri="{FF2B5EF4-FFF2-40B4-BE49-F238E27FC236}">
                      <a16:creationId xmlns:a16="http://schemas.microsoft.com/office/drawing/2014/main" id="{0FD85783-FCAE-48D6-B50B-CFDB3BBB2686}"/>
                    </a:ext>
                  </a:extLst>
                </p:cNvPr>
                <p:cNvSpPr/>
                <p:nvPr/>
              </p:nvSpPr>
              <p:spPr bwMode="gray">
                <a:xfrm rot="18900000">
                  <a:off x="10852883" y="5375716"/>
                  <a:ext cx="49496" cy="88317"/>
                </a:xfrm>
                <a:custGeom>
                  <a:avLst/>
                  <a:gdLst>
                    <a:gd name="connsiteX0" fmla="*/ 625434 w 625780"/>
                    <a:gd name="connsiteY0" fmla="*/ 406223 h 1116609"/>
                    <a:gd name="connsiteX1" fmla="*/ 601128 w 625780"/>
                    <a:gd name="connsiteY1" fmla="*/ 573182 h 1116609"/>
                    <a:gd name="connsiteX2" fmla="*/ 454113 w 625780"/>
                    <a:gd name="connsiteY2" fmla="*/ 995588 h 1116609"/>
                    <a:gd name="connsiteX3" fmla="*/ 406296 w 625780"/>
                    <a:gd name="connsiteY3" fmla="*/ 1116560 h 1116609"/>
                    <a:gd name="connsiteX4" fmla="*/ 312891 w 625780"/>
                    <a:gd name="connsiteY4" fmla="*/ 1107144 h 1116609"/>
                    <a:gd name="connsiteX5" fmla="*/ 219001 w 625780"/>
                    <a:gd name="connsiteY5" fmla="*/ 1116609 h 1116609"/>
                    <a:gd name="connsiteX6" fmla="*/ 168436 w 625780"/>
                    <a:gd name="connsiteY6" fmla="*/ 989547 h 1116609"/>
                    <a:gd name="connsiteX7" fmla="*/ 24653 w 625780"/>
                    <a:gd name="connsiteY7" fmla="*/ 573182 h 1116609"/>
                    <a:gd name="connsiteX8" fmla="*/ 15064 w 625780"/>
                    <a:gd name="connsiteY8" fmla="*/ 259699 h 1116609"/>
                    <a:gd name="connsiteX9" fmla="*/ 17095 w 625780"/>
                    <a:gd name="connsiteY9" fmla="*/ 254066 h 1116609"/>
                    <a:gd name="connsiteX10" fmla="*/ 32839 w 625780"/>
                    <a:gd name="connsiteY10" fmla="*/ 199547 h 1116609"/>
                    <a:gd name="connsiteX11" fmla="*/ 312891 w 625780"/>
                    <a:gd name="connsiteY11" fmla="*/ 0 h 1116609"/>
                    <a:gd name="connsiteX12" fmla="*/ 592943 w 625780"/>
                    <a:gd name="connsiteY12" fmla="*/ 199547 h 1116609"/>
                    <a:gd name="connsiteX13" fmla="*/ 608688 w 625780"/>
                    <a:gd name="connsiteY13" fmla="*/ 254073 h 1116609"/>
                    <a:gd name="connsiteX14" fmla="*/ 610717 w 625780"/>
                    <a:gd name="connsiteY14" fmla="*/ 259699 h 1116609"/>
                    <a:gd name="connsiteX15" fmla="*/ 625434 w 625780"/>
                    <a:gd name="connsiteY15" fmla="*/ 406223 h 111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780" h="1116609">
                      <a:moveTo>
                        <a:pt x="625434" y="406223"/>
                      </a:moveTo>
                      <a:cubicBezTo>
                        <a:pt x="623698" y="458905"/>
                        <a:pt x="615457" y="514992"/>
                        <a:pt x="601128" y="573182"/>
                      </a:cubicBezTo>
                      <a:cubicBezTo>
                        <a:pt x="565967" y="701371"/>
                        <a:pt x="508517" y="856074"/>
                        <a:pt x="454113" y="995588"/>
                      </a:cubicBezTo>
                      <a:lnTo>
                        <a:pt x="406296" y="1116560"/>
                      </a:lnTo>
                      <a:lnTo>
                        <a:pt x="312891" y="1107144"/>
                      </a:lnTo>
                      <a:lnTo>
                        <a:pt x="219001" y="1116609"/>
                      </a:lnTo>
                      <a:lnTo>
                        <a:pt x="168436" y="989547"/>
                      </a:lnTo>
                      <a:cubicBezTo>
                        <a:pt x="112954" y="848019"/>
                        <a:pt x="55504" y="693317"/>
                        <a:pt x="24653" y="573182"/>
                      </a:cubicBezTo>
                      <a:cubicBezTo>
                        <a:pt x="-4006" y="456801"/>
                        <a:pt x="-8309" y="348834"/>
                        <a:pt x="15064" y="259699"/>
                      </a:cubicBezTo>
                      <a:lnTo>
                        <a:pt x="17095" y="254066"/>
                      </a:lnTo>
                      <a:lnTo>
                        <a:pt x="32839" y="199547"/>
                      </a:lnTo>
                      <a:cubicBezTo>
                        <a:pt x="78979" y="82282"/>
                        <a:pt x="186996" y="0"/>
                        <a:pt x="312891" y="0"/>
                      </a:cubicBezTo>
                      <a:cubicBezTo>
                        <a:pt x="438786" y="0"/>
                        <a:pt x="546802" y="82282"/>
                        <a:pt x="592943" y="199547"/>
                      </a:cubicBezTo>
                      <a:lnTo>
                        <a:pt x="608688" y="254073"/>
                      </a:lnTo>
                      <a:lnTo>
                        <a:pt x="610717" y="259699"/>
                      </a:lnTo>
                      <a:cubicBezTo>
                        <a:pt x="622403" y="304267"/>
                        <a:pt x="627171" y="353542"/>
                        <a:pt x="625434" y="406223"/>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grpSp>
          <p:grpSp>
            <p:nvGrpSpPr>
              <p:cNvPr id="74" name="Group 73">
                <a:extLst>
                  <a:ext uri="{FF2B5EF4-FFF2-40B4-BE49-F238E27FC236}">
                    <a16:creationId xmlns:a16="http://schemas.microsoft.com/office/drawing/2014/main" id="{9A1500D5-BC0C-420B-90FE-50462BE31229}"/>
                  </a:ext>
                </a:extLst>
              </p:cNvPr>
              <p:cNvGrpSpPr/>
              <p:nvPr/>
            </p:nvGrpSpPr>
            <p:grpSpPr bwMode="gray">
              <a:xfrm>
                <a:off x="10712659" y="3815739"/>
                <a:ext cx="290621" cy="213336"/>
                <a:chOff x="11053115" y="5295900"/>
                <a:chExt cx="501319" cy="253296"/>
              </a:xfrm>
            </p:grpSpPr>
            <p:sp>
              <p:nvSpPr>
                <p:cNvPr id="75" name="Freeform 66">
                  <a:extLst>
                    <a:ext uri="{FF2B5EF4-FFF2-40B4-BE49-F238E27FC236}">
                      <a16:creationId xmlns:a16="http://schemas.microsoft.com/office/drawing/2014/main" id="{0F09DE36-7AEA-4D3F-8060-46F332BC798F}"/>
                    </a:ext>
                  </a:extLst>
                </p:cNvPr>
                <p:cNvSpPr/>
                <p:nvPr/>
              </p:nvSpPr>
              <p:spPr bwMode="gray">
                <a:xfrm>
                  <a:off x="11120893" y="5295900"/>
                  <a:ext cx="294531" cy="81641"/>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8173 w 371072"/>
                    <a:gd name="connsiteY1" fmla="*/ 241661 h 264795"/>
                    <a:gd name="connsiteX2" fmla="*/ 367665 w 371072"/>
                    <a:gd name="connsiteY2" fmla="*/ 99060 h 264795"/>
                    <a:gd name="connsiteX3" fmla="*/ 316230 w 371072"/>
                    <a:gd name="connsiteY3" fmla="*/ 0 h 264795"/>
                    <a:gd name="connsiteX0" fmla="*/ 0 w 316230"/>
                    <a:gd name="connsiteY0" fmla="*/ 264795 h 267865"/>
                    <a:gd name="connsiteX1" fmla="*/ 278173 w 316230"/>
                    <a:gd name="connsiteY1" fmla="*/ 241661 h 267865"/>
                    <a:gd name="connsiteX2" fmla="*/ 316230 w 316230"/>
                    <a:gd name="connsiteY2" fmla="*/ 0 h 267865"/>
                    <a:gd name="connsiteX0" fmla="*/ 0 w 348201"/>
                    <a:gd name="connsiteY0" fmla="*/ 264795 h 267865"/>
                    <a:gd name="connsiteX1" fmla="*/ 329008 w 348201"/>
                    <a:gd name="connsiteY1" fmla="*/ 241661 h 267865"/>
                    <a:gd name="connsiteX2" fmla="*/ 316230 w 348201"/>
                    <a:gd name="connsiteY2" fmla="*/ 0 h 267865"/>
                    <a:gd name="connsiteX0" fmla="*/ 0 w 377767"/>
                    <a:gd name="connsiteY0" fmla="*/ 264795 h 267865"/>
                    <a:gd name="connsiteX1" fmla="*/ 329008 w 377767"/>
                    <a:gd name="connsiteY1" fmla="*/ 241661 h 267865"/>
                    <a:gd name="connsiteX2" fmla="*/ 377767 w 377767"/>
                    <a:gd name="connsiteY2" fmla="*/ 0 h 267865"/>
                    <a:gd name="connsiteX0" fmla="*/ 0 w 351892"/>
                    <a:gd name="connsiteY0" fmla="*/ 205831 h 205831"/>
                    <a:gd name="connsiteX1" fmla="*/ 329008 w 351892"/>
                    <a:gd name="connsiteY1" fmla="*/ 182697 h 205831"/>
                    <a:gd name="connsiteX2" fmla="*/ 329608 w 351892"/>
                    <a:gd name="connsiteY2" fmla="*/ 0 h 205831"/>
                    <a:gd name="connsiteX0" fmla="*/ 0 w 380444"/>
                    <a:gd name="connsiteY0" fmla="*/ 211727 h 211727"/>
                    <a:gd name="connsiteX1" fmla="*/ 329008 w 380444"/>
                    <a:gd name="connsiteY1" fmla="*/ 188593 h 211727"/>
                    <a:gd name="connsiteX2" fmla="*/ 380444 w 380444"/>
                    <a:gd name="connsiteY2" fmla="*/ 0 h 211727"/>
                    <a:gd name="connsiteX0" fmla="*/ 0 w 341777"/>
                    <a:gd name="connsiteY0" fmla="*/ 235312 h 236529"/>
                    <a:gd name="connsiteX1" fmla="*/ 329008 w 341777"/>
                    <a:gd name="connsiteY1" fmla="*/ 212178 h 236529"/>
                    <a:gd name="connsiteX2" fmla="*/ 284125 w 341777"/>
                    <a:gd name="connsiteY2" fmla="*/ 0 h 236529"/>
                    <a:gd name="connsiteX0" fmla="*/ 0 w 349318"/>
                    <a:gd name="connsiteY0" fmla="*/ 235312 h 236526"/>
                    <a:gd name="connsiteX1" fmla="*/ 329008 w 349318"/>
                    <a:gd name="connsiteY1" fmla="*/ 212178 h 236526"/>
                    <a:gd name="connsiteX2" fmla="*/ 284125 w 349318"/>
                    <a:gd name="connsiteY2" fmla="*/ 0 h 236526"/>
                    <a:gd name="connsiteX0" fmla="*/ 0 w 357781"/>
                    <a:gd name="connsiteY0" fmla="*/ 211727 h 211727"/>
                    <a:gd name="connsiteX1" fmla="*/ 329008 w 357781"/>
                    <a:gd name="connsiteY1" fmla="*/ 188593 h 211727"/>
                    <a:gd name="connsiteX2" fmla="*/ 308205 w 357781"/>
                    <a:gd name="connsiteY2" fmla="*/ 0 h 211727"/>
                    <a:gd name="connsiteX0" fmla="*/ 0 w 360084"/>
                    <a:gd name="connsiteY0" fmla="*/ 211727 h 211727"/>
                    <a:gd name="connsiteX1" fmla="*/ 329008 w 360084"/>
                    <a:gd name="connsiteY1" fmla="*/ 188593 h 211727"/>
                    <a:gd name="connsiteX2" fmla="*/ 313556 w 360084"/>
                    <a:gd name="connsiteY2" fmla="*/ 0 h 211727"/>
                    <a:gd name="connsiteX0" fmla="*/ 0 w 360906"/>
                    <a:gd name="connsiteY0" fmla="*/ 211727 h 211727"/>
                    <a:gd name="connsiteX1" fmla="*/ 329008 w 360906"/>
                    <a:gd name="connsiteY1" fmla="*/ 188593 h 211727"/>
                    <a:gd name="connsiteX2" fmla="*/ 313556 w 360906"/>
                    <a:gd name="connsiteY2" fmla="*/ 0 h 211727"/>
                    <a:gd name="connsiteX0" fmla="*/ 0 w 350666"/>
                    <a:gd name="connsiteY0" fmla="*/ 217623 h 217800"/>
                    <a:gd name="connsiteX1" fmla="*/ 329008 w 350666"/>
                    <a:gd name="connsiteY1" fmla="*/ 194489 h 217800"/>
                    <a:gd name="connsiteX2" fmla="*/ 286800 w 350666"/>
                    <a:gd name="connsiteY2" fmla="*/ 0 h 217800"/>
                    <a:gd name="connsiteX0" fmla="*/ 0 w 357945"/>
                    <a:gd name="connsiteY0" fmla="*/ 218487 h 218660"/>
                    <a:gd name="connsiteX1" fmla="*/ 329008 w 357945"/>
                    <a:gd name="connsiteY1" fmla="*/ 195353 h 218660"/>
                    <a:gd name="connsiteX2" fmla="*/ 286800 w 357945"/>
                    <a:gd name="connsiteY2" fmla="*/ 864 h 218660"/>
                  </a:gdLst>
                  <a:ahLst/>
                  <a:cxnLst>
                    <a:cxn ang="0">
                      <a:pos x="connsiteX0" y="connsiteY0"/>
                    </a:cxn>
                    <a:cxn ang="0">
                      <a:pos x="connsiteX1" y="connsiteY1"/>
                    </a:cxn>
                    <a:cxn ang="0">
                      <a:pos x="connsiteX2" y="connsiteY2"/>
                    </a:cxn>
                  </a:cxnLst>
                  <a:rect l="l" t="t" r="r" b="b"/>
                  <a:pathLst>
                    <a:path w="357945" h="218660">
                      <a:moveTo>
                        <a:pt x="0" y="218487"/>
                      </a:moveTo>
                      <a:cubicBezTo>
                        <a:pt x="40878" y="213328"/>
                        <a:pt x="281208" y="231624"/>
                        <a:pt x="329008" y="195353"/>
                      </a:cubicBezTo>
                      <a:cubicBezTo>
                        <a:pt x="376808" y="159083"/>
                        <a:pt x="367163" y="-13649"/>
                        <a:pt x="286800" y="864"/>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76" name="Freeform 68">
                  <a:extLst>
                    <a:ext uri="{FF2B5EF4-FFF2-40B4-BE49-F238E27FC236}">
                      <a16:creationId xmlns:a16="http://schemas.microsoft.com/office/drawing/2014/main" id="{635C7B45-3F4A-4A64-BA77-769CAE814CA5}"/>
                    </a:ext>
                  </a:extLst>
                </p:cNvPr>
                <p:cNvSpPr/>
                <p:nvPr/>
              </p:nvSpPr>
              <p:spPr bwMode="gray">
                <a:xfrm>
                  <a:off x="11053115" y="5303732"/>
                  <a:ext cx="501319" cy="123352"/>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3187 w 371072"/>
                    <a:gd name="connsiteY1" fmla="*/ 242681 h 264795"/>
                    <a:gd name="connsiteX2" fmla="*/ 367665 w 371072"/>
                    <a:gd name="connsiteY2" fmla="*/ 99060 h 264795"/>
                    <a:gd name="connsiteX3" fmla="*/ 316230 w 371072"/>
                    <a:gd name="connsiteY3" fmla="*/ 0 h 264795"/>
                    <a:gd name="connsiteX0" fmla="*/ 0 w 316230"/>
                    <a:gd name="connsiteY0" fmla="*/ 264795 h 268412"/>
                    <a:gd name="connsiteX1" fmla="*/ 273187 w 316230"/>
                    <a:gd name="connsiteY1" fmla="*/ 242681 h 268412"/>
                    <a:gd name="connsiteX2" fmla="*/ 316230 w 316230"/>
                    <a:gd name="connsiteY2" fmla="*/ 0 h 268412"/>
                    <a:gd name="connsiteX0" fmla="*/ 0 w 397022"/>
                    <a:gd name="connsiteY0" fmla="*/ 264795 h 264795"/>
                    <a:gd name="connsiteX1" fmla="*/ 384390 w 397022"/>
                    <a:gd name="connsiteY1" fmla="*/ 231864 h 264795"/>
                    <a:gd name="connsiteX2" fmla="*/ 316230 w 397022"/>
                    <a:gd name="connsiteY2" fmla="*/ 0 h 264795"/>
                    <a:gd name="connsiteX0" fmla="*/ 0 w 410446"/>
                    <a:gd name="connsiteY0" fmla="*/ 264795 h 264795"/>
                    <a:gd name="connsiteX1" fmla="*/ 384390 w 410446"/>
                    <a:gd name="connsiteY1" fmla="*/ 231864 h 264795"/>
                    <a:gd name="connsiteX2" fmla="*/ 316230 w 410446"/>
                    <a:gd name="connsiteY2" fmla="*/ 0 h 264795"/>
                    <a:gd name="connsiteX0" fmla="*/ 0 w 410446"/>
                    <a:gd name="connsiteY0" fmla="*/ 264795 h 264795"/>
                    <a:gd name="connsiteX1" fmla="*/ 384390 w 410446"/>
                    <a:gd name="connsiteY1" fmla="*/ 253498 h 264795"/>
                    <a:gd name="connsiteX2" fmla="*/ 316230 w 410446"/>
                    <a:gd name="connsiteY2" fmla="*/ 0 h 264795"/>
                    <a:gd name="connsiteX0" fmla="*/ 0 w 410446"/>
                    <a:gd name="connsiteY0" fmla="*/ 264795 h 264795"/>
                    <a:gd name="connsiteX1" fmla="*/ 384390 w 410446"/>
                    <a:gd name="connsiteY1" fmla="*/ 258907 h 264795"/>
                    <a:gd name="connsiteX2" fmla="*/ 316230 w 410446"/>
                    <a:gd name="connsiteY2" fmla="*/ 0 h 264795"/>
                    <a:gd name="connsiteX0" fmla="*/ 0 w 440789"/>
                    <a:gd name="connsiteY0" fmla="*/ 271717 h 271717"/>
                    <a:gd name="connsiteX1" fmla="*/ 384390 w 440789"/>
                    <a:gd name="connsiteY1" fmla="*/ 265829 h 271717"/>
                    <a:gd name="connsiteX2" fmla="*/ 316230 w 440789"/>
                    <a:gd name="connsiteY2" fmla="*/ 6922 h 271717"/>
                    <a:gd name="connsiteX0" fmla="*/ 0 w 461170"/>
                    <a:gd name="connsiteY0" fmla="*/ 288655 h 303978"/>
                    <a:gd name="connsiteX1" fmla="*/ 384390 w 461170"/>
                    <a:gd name="connsiteY1" fmla="*/ 282767 h 303978"/>
                    <a:gd name="connsiteX2" fmla="*/ 377077 w 461170"/>
                    <a:gd name="connsiteY2" fmla="*/ 7634 h 303978"/>
                    <a:gd name="connsiteX0" fmla="*/ 0 w 437194"/>
                    <a:gd name="connsiteY0" fmla="*/ 281021 h 296344"/>
                    <a:gd name="connsiteX1" fmla="*/ 384390 w 437194"/>
                    <a:gd name="connsiteY1" fmla="*/ 275133 h 296344"/>
                    <a:gd name="connsiteX2" fmla="*/ 377077 w 437194"/>
                    <a:gd name="connsiteY2" fmla="*/ 0 h 296344"/>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308064 h 309112"/>
                    <a:gd name="connsiteX1" fmla="*/ 384390 w 432414"/>
                    <a:gd name="connsiteY1" fmla="*/ 275133 h 309112"/>
                    <a:gd name="connsiteX2" fmla="*/ 377077 w 432414"/>
                    <a:gd name="connsiteY2" fmla="*/ 0 h 309112"/>
                    <a:gd name="connsiteX0" fmla="*/ 0 w 432414"/>
                    <a:gd name="connsiteY0" fmla="*/ 308064 h 318424"/>
                    <a:gd name="connsiteX1" fmla="*/ 384390 w 432414"/>
                    <a:gd name="connsiteY1" fmla="*/ 275133 h 318424"/>
                    <a:gd name="connsiteX2" fmla="*/ 377077 w 432414"/>
                    <a:gd name="connsiteY2" fmla="*/ 0 h 318424"/>
                    <a:gd name="connsiteX0" fmla="*/ 0 w 432414"/>
                    <a:gd name="connsiteY0" fmla="*/ 281021 h 302303"/>
                    <a:gd name="connsiteX1" fmla="*/ 384390 w 432414"/>
                    <a:gd name="connsiteY1" fmla="*/ 275133 h 302303"/>
                    <a:gd name="connsiteX2" fmla="*/ 377077 w 432414"/>
                    <a:gd name="connsiteY2" fmla="*/ 0 h 302303"/>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297247 h 303044"/>
                    <a:gd name="connsiteX1" fmla="*/ 384390 w 432414"/>
                    <a:gd name="connsiteY1" fmla="*/ 275133 h 303044"/>
                    <a:gd name="connsiteX2" fmla="*/ 377077 w 432414"/>
                    <a:gd name="connsiteY2" fmla="*/ 0 h 303044"/>
                  </a:gdLst>
                  <a:ahLst/>
                  <a:cxnLst>
                    <a:cxn ang="0">
                      <a:pos x="connsiteX0" y="connsiteY0"/>
                    </a:cxn>
                    <a:cxn ang="0">
                      <a:pos x="connsiteX1" y="connsiteY1"/>
                    </a:cxn>
                    <a:cxn ang="0">
                      <a:pos x="connsiteX2" y="connsiteY2"/>
                    </a:cxn>
                  </a:cxnLst>
                  <a:rect l="l" t="t" r="r" b="b"/>
                  <a:pathLst>
                    <a:path w="432414" h="303044">
                      <a:moveTo>
                        <a:pt x="0" y="297247"/>
                      </a:moveTo>
                      <a:cubicBezTo>
                        <a:pt x="181455" y="292088"/>
                        <a:pt x="321544" y="324674"/>
                        <a:pt x="384390" y="275133"/>
                      </a:cubicBezTo>
                      <a:cubicBezTo>
                        <a:pt x="447236" y="225592"/>
                        <a:pt x="452036" y="12699"/>
                        <a:pt x="377077"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77" name="Freeform 66">
                  <a:extLst>
                    <a:ext uri="{FF2B5EF4-FFF2-40B4-BE49-F238E27FC236}">
                      <a16:creationId xmlns:a16="http://schemas.microsoft.com/office/drawing/2014/main" id="{469C233C-CACA-48B6-A06A-9C09DD17FAD2}"/>
                    </a:ext>
                  </a:extLst>
                </p:cNvPr>
                <p:cNvSpPr/>
                <p:nvPr/>
              </p:nvSpPr>
              <p:spPr bwMode="gray">
                <a:xfrm flipV="1">
                  <a:off x="11111020" y="5469901"/>
                  <a:ext cx="374492" cy="79295"/>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8173 w 371072"/>
                    <a:gd name="connsiteY1" fmla="*/ 241661 h 264795"/>
                    <a:gd name="connsiteX2" fmla="*/ 367665 w 371072"/>
                    <a:gd name="connsiteY2" fmla="*/ 99060 h 264795"/>
                    <a:gd name="connsiteX3" fmla="*/ 316230 w 371072"/>
                    <a:gd name="connsiteY3" fmla="*/ 0 h 264795"/>
                    <a:gd name="connsiteX0" fmla="*/ 0 w 316230"/>
                    <a:gd name="connsiteY0" fmla="*/ 264795 h 267865"/>
                    <a:gd name="connsiteX1" fmla="*/ 278173 w 316230"/>
                    <a:gd name="connsiteY1" fmla="*/ 241661 h 267865"/>
                    <a:gd name="connsiteX2" fmla="*/ 316230 w 316230"/>
                    <a:gd name="connsiteY2" fmla="*/ 0 h 267865"/>
                    <a:gd name="connsiteX0" fmla="*/ 0 w 348201"/>
                    <a:gd name="connsiteY0" fmla="*/ 264795 h 267865"/>
                    <a:gd name="connsiteX1" fmla="*/ 329008 w 348201"/>
                    <a:gd name="connsiteY1" fmla="*/ 241661 h 267865"/>
                    <a:gd name="connsiteX2" fmla="*/ 316230 w 348201"/>
                    <a:gd name="connsiteY2" fmla="*/ 0 h 267865"/>
                    <a:gd name="connsiteX0" fmla="*/ 0 w 377767"/>
                    <a:gd name="connsiteY0" fmla="*/ 264795 h 267865"/>
                    <a:gd name="connsiteX1" fmla="*/ 329008 w 377767"/>
                    <a:gd name="connsiteY1" fmla="*/ 241661 h 267865"/>
                    <a:gd name="connsiteX2" fmla="*/ 377767 w 377767"/>
                    <a:gd name="connsiteY2" fmla="*/ 0 h 267865"/>
                    <a:gd name="connsiteX0" fmla="*/ 0 w 351892"/>
                    <a:gd name="connsiteY0" fmla="*/ 205831 h 205831"/>
                    <a:gd name="connsiteX1" fmla="*/ 329008 w 351892"/>
                    <a:gd name="connsiteY1" fmla="*/ 182697 h 205831"/>
                    <a:gd name="connsiteX2" fmla="*/ 329608 w 351892"/>
                    <a:gd name="connsiteY2" fmla="*/ 0 h 205831"/>
                    <a:gd name="connsiteX0" fmla="*/ 0 w 380444"/>
                    <a:gd name="connsiteY0" fmla="*/ 211727 h 211727"/>
                    <a:gd name="connsiteX1" fmla="*/ 329008 w 380444"/>
                    <a:gd name="connsiteY1" fmla="*/ 188593 h 211727"/>
                    <a:gd name="connsiteX2" fmla="*/ 380444 w 380444"/>
                    <a:gd name="connsiteY2" fmla="*/ 0 h 211727"/>
                    <a:gd name="connsiteX0" fmla="*/ 0 w 341777"/>
                    <a:gd name="connsiteY0" fmla="*/ 235312 h 236529"/>
                    <a:gd name="connsiteX1" fmla="*/ 329008 w 341777"/>
                    <a:gd name="connsiteY1" fmla="*/ 212178 h 236529"/>
                    <a:gd name="connsiteX2" fmla="*/ 284125 w 341777"/>
                    <a:gd name="connsiteY2" fmla="*/ 0 h 236529"/>
                    <a:gd name="connsiteX0" fmla="*/ 0 w 349318"/>
                    <a:gd name="connsiteY0" fmla="*/ 235312 h 236526"/>
                    <a:gd name="connsiteX1" fmla="*/ 329008 w 349318"/>
                    <a:gd name="connsiteY1" fmla="*/ 212178 h 236526"/>
                    <a:gd name="connsiteX2" fmla="*/ 284125 w 349318"/>
                    <a:gd name="connsiteY2" fmla="*/ 0 h 236526"/>
                    <a:gd name="connsiteX0" fmla="*/ 0 w 357781"/>
                    <a:gd name="connsiteY0" fmla="*/ 211727 h 211727"/>
                    <a:gd name="connsiteX1" fmla="*/ 329008 w 357781"/>
                    <a:gd name="connsiteY1" fmla="*/ 188593 h 211727"/>
                    <a:gd name="connsiteX2" fmla="*/ 308205 w 357781"/>
                    <a:gd name="connsiteY2" fmla="*/ 0 h 211727"/>
                    <a:gd name="connsiteX0" fmla="*/ 0 w 360084"/>
                    <a:gd name="connsiteY0" fmla="*/ 211727 h 211727"/>
                    <a:gd name="connsiteX1" fmla="*/ 329008 w 360084"/>
                    <a:gd name="connsiteY1" fmla="*/ 188593 h 211727"/>
                    <a:gd name="connsiteX2" fmla="*/ 313556 w 360084"/>
                    <a:gd name="connsiteY2" fmla="*/ 0 h 211727"/>
                    <a:gd name="connsiteX0" fmla="*/ 0 w 360906"/>
                    <a:gd name="connsiteY0" fmla="*/ 211727 h 211727"/>
                    <a:gd name="connsiteX1" fmla="*/ 329008 w 360906"/>
                    <a:gd name="connsiteY1" fmla="*/ 188593 h 211727"/>
                    <a:gd name="connsiteX2" fmla="*/ 313556 w 360906"/>
                    <a:gd name="connsiteY2" fmla="*/ 0 h 211727"/>
                    <a:gd name="connsiteX0" fmla="*/ 0 w 365049"/>
                    <a:gd name="connsiteY0" fmla="*/ 211727 h 211727"/>
                    <a:gd name="connsiteX1" fmla="*/ 329008 w 365049"/>
                    <a:gd name="connsiteY1" fmla="*/ 188593 h 211727"/>
                    <a:gd name="connsiteX2" fmla="*/ 322140 w 365049"/>
                    <a:gd name="connsiteY2" fmla="*/ 0 h 211727"/>
                  </a:gdLst>
                  <a:ahLst/>
                  <a:cxnLst>
                    <a:cxn ang="0">
                      <a:pos x="connsiteX0" y="connsiteY0"/>
                    </a:cxn>
                    <a:cxn ang="0">
                      <a:pos x="connsiteX1" y="connsiteY1"/>
                    </a:cxn>
                    <a:cxn ang="0">
                      <a:pos x="connsiteX2" y="connsiteY2"/>
                    </a:cxn>
                  </a:cxnLst>
                  <a:rect l="l" t="t" r="r" b="b"/>
                  <a:pathLst>
                    <a:path w="365049" h="211727">
                      <a:moveTo>
                        <a:pt x="0" y="211727"/>
                      </a:moveTo>
                      <a:cubicBezTo>
                        <a:pt x="40878" y="206568"/>
                        <a:pt x="275318" y="223881"/>
                        <a:pt x="329008" y="188593"/>
                      </a:cubicBezTo>
                      <a:cubicBezTo>
                        <a:pt x="382698" y="153305"/>
                        <a:pt x="373072" y="3176"/>
                        <a:pt x="322140"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grpSp>
        </p:grpSp>
        <p:sp>
          <p:nvSpPr>
            <p:cNvPr id="72" name="TextBox 71">
              <a:extLst>
                <a:ext uri="{FF2B5EF4-FFF2-40B4-BE49-F238E27FC236}">
                  <a16:creationId xmlns:a16="http://schemas.microsoft.com/office/drawing/2014/main" id="{945F5E6B-D51E-43EF-86D7-1300EFA5DC01}"/>
                </a:ext>
              </a:extLst>
            </p:cNvPr>
            <p:cNvSpPr txBox="1"/>
            <p:nvPr/>
          </p:nvSpPr>
          <p:spPr bwMode="gray">
            <a:xfrm>
              <a:off x="10435243"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Purgeable</a:t>
              </a:r>
            </a:p>
          </p:txBody>
        </p:sp>
      </p:grpSp>
      <p:grpSp>
        <p:nvGrpSpPr>
          <p:cNvPr id="84" name="Group 83">
            <a:extLst>
              <a:ext uri="{FF2B5EF4-FFF2-40B4-BE49-F238E27FC236}">
                <a16:creationId xmlns:a16="http://schemas.microsoft.com/office/drawing/2014/main" id="{8ABF850B-B2A6-48FF-8635-625641B059FA}"/>
              </a:ext>
            </a:extLst>
          </p:cNvPr>
          <p:cNvGrpSpPr/>
          <p:nvPr/>
        </p:nvGrpSpPr>
        <p:grpSpPr bwMode="gray">
          <a:xfrm>
            <a:off x="9619594" y="3926617"/>
            <a:ext cx="743958" cy="697689"/>
            <a:chOff x="11233438" y="3774422"/>
            <a:chExt cx="743958" cy="697689"/>
          </a:xfrm>
        </p:grpSpPr>
        <p:grpSp>
          <p:nvGrpSpPr>
            <p:cNvPr id="85" name="Group 84">
              <a:extLst>
                <a:ext uri="{FF2B5EF4-FFF2-40B4-BE49-F238E27FC236}">
                  <a16:creationId xmlns:a16="http://schemas.microsoft.com/office/drawing/2014/main" id="{20D3D154-29FC-4B5B-9A7A-C62D93F80A4F}"/>
                </a:ext>
              </a:extLst>
            </p:cNvPr>
            <p:cNvGrpSpPr/>
            <p:nvPr/>
          </p:nvGrpSpPr>
          <p:grpSpPr bwMode="gray">
            <a:xfrm>
              <a:off x="11416585" y="3774422"/>
              <a:ext cx="377664" cy="303591"/>
              <a:chOff x="11597449" y="4332540"/>
              <a:chExt cx="405544" cy="326002"/>
            </a:xfrm>
          </p:grpSpPr>
          <p:sp>
            <p:nvSpPr>
              <p:cNvPr id="87" name="Freeform: Shape 86">
                <a:extLst>
                  <a:ext uri="{FF2B5EF4-FFF2-40B4-BE49-F238E27FC236}">
                    <a16:creationId xmlns:a16="http://schemas.microsoft.com/office/drawing/2014/main" id="{B5B16095-EB14-40AC-913A-2A533AB69104}"/>
                  </a:ext>
                </a:extLst>
              </p:cNvPr>
              <p:cNvSpPr/>
              <p:nvPr/>
            </p:nvSpPr>
            <p:spPr bwMode="gray">
              <a:xfrm rot="18169347">
                <a:off x="11540279" y="4389710"/>
                <a:ext cx="308462" cy="194121"/>
              </a:xfrm>
              <a:custGeom>
                <a:avLst/>
                <a:gdLst>
                  <a:gd name="connsiteX0" fmla="*/ 1093381 w 2462577"/>
                  <a:gd name="connsiteY0" fmla="*/ 0 h 1802393"/>
                  <a:gd name="connsiteX1" fmla="*/ 1640754 w 2462577"/>
                  <a:gd name="connsiteY1" fmla="*/ 362823 h 1802393"/>
                  <a:gd name="connsiteX2" fmla="*/ 1655501 w 2462577"/>
                  <a:gd name="connsiteY2" fmla="*/ 410329 h 1802393"/>
                  <a:gd name="connsiteX3" fmla="*/ 1706127 w 2462577"/>
                  <a:gd name="connsiteY3" fmla="*/ 394614 h 1802393"/>
                  <a:gd name="connsiteX4" fmla="*/ 1793034 w 2462577"/>
                  <a:gd name="connsiteY4" fmla="*/ 385853 h 1802393"/>
                  <a:gd name="connsiteX5" fmla="*/ 2224263 w 2462577"/>
                  <a:gd name="connsiteY5" fmla="*/ 817082 h 1802393"/>
                  <a:gd name="connsiteX6" fmla="*/ 2190375 w 2462577"/>
                  <a:gd name="connsiteY6" fmla="*/ 984936 h 1802393"/>
                  <a:gd name="connsiteX7" fmla="*/ 2185612 w 2462577"/>
                  <a:gd name="connsiteY7" fmla="*/ 993711 h 1802393"/>
                  <a:gd name="connsiteX8" fmla="*/ 2190745 w 2462577"/>
                  <a:gd name="connsiteY8" fmla="*/ 994229 h 1802393"/>
                  <a:gd name="connsiteX9" fmla="*/ 2462577 w 2462577"/>
                  <a:gd name="connsiteY9" fmla="*/ 1327755 h 1802393"/>
                  <a:gd name="connsiteX10" fmla="*/ 2362864 w 2462577"/>
                  <a:gd name="connsiteY10" fmla="*/ 1568484 h 1802393"/>
                  <a:gd name="connsiteX11" fmla="*/ 2313995 w 2462577"/>
                  <a:gd name="connsiteY11" fmla="*/ 1608805 h 1802393"/>
                  <a:gd name="connsiteX12" fmla="*/ 2313995 w 2462577"/>
                  <a:gd name="connsiteY12" fmla="*/ 1802393 h 1802393"/>
                  <a:gd name="connsiteX13" fmla="*/ 591875 w 2462577"/>
                  <a:gd name="connsiteY13" fmla="*/ 1802393 h 1802393"/>
                  <a:gd name="connsiteX14" fmla="*/ 591875 w 2462577"/>
                  <a:gd name="connsiteY14" fmla="*/ 1795250 h 1802393"/>
                  <a:gd name="connsiteX15" fmla="*/ 521029 w 2462577"/>
                  <a:gd name="connsiteY15" fmla="*/ 1802392 h 1802393"/>
                  <a:gd name="connsiteX16" fmla="*/ 0 w 2462577"/>
                  <a:gd name="connsiteY16" fmla="*/ 1281363 h 1802393"/>
                  <a:gd name="connsiteX17" fmla="*/ 521029 w 2462577"/>
                  <a:gd name="connsiteY17" fmla="*/ 760334 h 1802393"/>
                  <a:gd name="connsiteX18" fmla="*/ 526000 w 2462577"/>
                  <a:gd name="connsiteY18" fmla="*/ 760835 h 1802393"/>
                  <a:gd name="connsiteX19" fmla="*/ 511393 w 2462577"/>
                  <a:gd name="connsiteY19" fmla="*/ 713780 h 1802393"/>
                  <a:gd name="connsiteX20" fmla="*/ 499324 w 2462577"/>
                  <a:gd name="connsiteY20" fmla="*/ 594057 h 1802393"/>
                  <a:gd name="connsiteX21" fmla="*/ 1093381 w 2462577"/>
                  <a:gd name="connsiteY21" fmla="*/ 0 h 1802393"/>
                  <a:gd name="connsiteX0" fmla="*/ 2313995 w 2462577"/>
                  <a:gd name="connsiteY0" fmla="*/ 1802393 h 1893833"/>
                  <a:gd name="connsiteX1" fmla="*/ 591875 w 2462577"/>
                  <a:gd name="connsiteY1" fmla="*/ 1802393 h 1893833"/>
                  <a:gd name="connsiteX2" fmla="*/ 591875 w 2462577"/>
                  <a:gd name="connsiteY2" fmla="*/ 1795250 h 1893833"/>
                  <a:gd name="connsiteX3" fmla="*/ 521029 w 2462577"/>
                  <a:gd name="connsiteY3" fmla="*/ 1802392 h 1893833"/>
                  <a:gd name="connsiteX4" fmla="*/ 0 w 2462577"/>
                  <a:gd name="connsiteY4" fmla="*/ 1281363 h 1893833"/>
                  <a:gd name="connsiteX5" fmla="*/ 521029 w 2462577"/>
                  <a:gd name="connsiteY5" fmla="*/ 760334 h 1893833"/>
                  <a:gd name="connsiteX6" fmla="*/ 526000 w 2462577"/>
                  <a:gd name="connsiteY6" fmla="*/ 760835 h 1893833"/>
                  <a:gd name="connsiteX7" fmla="*/ 511393 w 2462577"/>
                  <a:gd name="connsiteY7" fmla="*/ 713780 h 1893833"/>
                  <a:gd name="connsiteX8" fmla="*/ 499324 w 2462577"/>
                  <a:gd name="connsiteY8" fmla="*/ 594057 h 1893833"/>
                  <a:gd name="connsiteX9" fmla="*/ 1093381 w 2462577"/>
                  <a:gd name="connsiteY9" fmla="*/ 0 h 1893833"/>
                  <a:gd name="connsiteX10" fmla="*/ 1640754 w 2462577"/>
                  <a:gd name="connsiteY10" fmla="*/ 362823 h 1893833"/>
                  <a:gd name="connsiteX11" fmla="*/ 1655501 w 2462577"/>
                  <a:gd name="connsiteY11" fmla="*/ 410329 h 1893833"/>
                  <a:gd name="connsiteX12" fmla="*/ 1706127 w 2462577"/>
                  <a:gd name="connsiteY12" fmla="*/ 394614 h 1893833"/>
                  <a:gd name="connsiteX13" fmla="*/ 1793034 w 2462577"/>
                  <a:gd name="connsiteY13" fmla="*/ 385853 h 1893833"/>
                  <a:gd name="connsiteX14" fmla="*/ 2224263 w 2462577"/>
                  <a:gd name="connsiteY14" fmla="*/ 817082 h 1893833"/>
                  <a:gd name="connsiteX15" fmla="*/ 2190375 w 2462577"/>
                  <a:gd name="connsiteY15" fmla="*/ 984936 h 1893833"/>
                  <a:gd name="connsiteX16" fmla="*/ 2185612 w 2462577"/>
                  <a:gd name="connsiteY16" fmla="*/ 993711 h 1893833"/>
                  <a:gd name="connsiteX17" fmla="*/ 2190745 w 2462577"/>
                  <a:gd name="connsiteY17" fmla="*/ 994229 h 1893833"/>
                  <a:gd name="connsiteX18" fmla="*/ 2462577 w 2462577"/>
                  <a:gd name="connsiteY18" fmla="*/ 1327755 h 1893833"/>
                  <a:gd name="connsiteX19" fmla="*/ 2362864 w 2462577"/>
                  <a:gd name="connsiteY19" fmla="*/ 1568484 h 1893833"/>
                  <a:gd name="connsiteX20" fmla="*/ 2313995 w 2462577"/>
                  <a:gd name="connsiteY20" fmla="*/ 1608805 h 1893833"/>
                  <a:gd name="connsiteX21" fmla="*/ 2405435 w 2462577"/>
                  <a:gd name="connsiteY21" fmla="*/ 1893833 h 1893833"/>
                  <a:gd name="connsiteX0" fmla="*/ 2313995 w 2462577"/>
                  <a:gd name="connsiteY0" fmla="*/ 1802393 h 1802393"/>
                  <a:gd name="connsiteX1" fmla="*/ 591875 w 2462577"/>
                  <a:gd name="connsiteY1" fmla="*/ 1802393 h 1802393"/>
                  <a:gd name="connsiteX2" fmla="*/ 591875 w 2462577"/>
                  <a:gd name="connsiteY2" fmla="*/ 1795250 h 1802393"/>
                  <a:gd name="connsiteX3" fmla="*/ 521029 w 2462577"/>
                  <a:gd name="connsiteY3" fmla="*/ 1802392 h 1802393"/>
                  <a:gd name="connsiteX4" fmla="*/ 0 w 2462577"/>
                  <a:gd name="connsiteY4" fmla="*/ 1281363 h 1802393"/>
                  <a:gd name="connsiteX5" fmla="*/ 521029 w 2462577"/>
                  <a:gd name="connsiteY5" fmla="*/ 760334 h 1802393"/>
                  <a:gd name="connsiteX6" fmla="*/ 526000 w 2462577"/>
                  <a:gd name="connsiteY6" fmla="*/ 760835 h 1802393"/>
                  <a:gd name="connsiteX7" fmla="*/ 511393 w 2462577"/>
                  <a:gd name="connsiteY7" fmla="*/ 713780 h 1802393"/>
                  <a:gd name="connsiteX8" fmla="*/ 499324 w 2462577"/>
                  <a:gd name="connsiteY8" fmla="*/ 594057 h 1802393"/>
                  <a:gd name="connsiteX9" fmla="*/ 1093381 w 2462577"/>
                  <a:gd name="connsiteY9" fmla="*/ 0 h 1802393"/>
                  <a:gd name="connsiteX10" fmla="*/ 1640754 w 2462577"/>
                  <a:gd name="connsiteY10" fmla="*/ 362823 h 1802393"/>
                  <a:gd name="connsiteX11" fmla="*/ 1655501 w 2462577"/>
                  <a:gd name="connsiteY11" fmla="*/ 410329 h 1802393"/>
                  <a:gd name="connsiteX12" fmla="*/ 1706127 w 2462577"/>
                  <a:gd name="connsiteY12" fmla="*/ 394614 h 1802393"/>
                  <a:gd name="connsiteX13" fmla="*/ 1793034 w 2462577"/>
                  <a:gd name="connsiteY13" fmla="*/ 385853 h 1802393"/>
                  <a:gd name="connsiteX14" fmla="*/ 2224263 w 2462577"/>
                  <a:gd name="connsiteY14" fmla="*/ 817082 h 1802393"/>
                  <a:gd name="connsiteX15" fmla="*/ 2190375 w 2462577"/>
                  <a:gd name="connsiteY15" fmla="*/ 984936 h 1802393"/>
                  <a:gd name="connsiteX16" fmla="*/ 2185612 w 2462577"/>
                  <a:gd name="connsiteY16" fmla="*/ 993711 h 1802393"/>
                  <a:gd name="connsiteX17" fmla="*/ 2190745 w 2462577"/>
                  <a:gd name="connsiteY17" fmla="*/ 994229 h 1802393"/>
                  <a:gd name="connsiteX18" fmla="*/ 2462577 w 2462577"/>
                  <a:gd name="connsiteY18" fmla="*/ 1327755 h 1802393"/>
                  <a:gd name="connsiteX19" fmla="*/ 2362864 w 2462577"/>
                  <a:gd name="connsiteY19" fmla="*/ 1568484 h 1802393"/>
                  <a:gd name="connsiteX20" fmla="*/ 2313995 w 2462577"/>
                  <a:gd name="connsiteY20" fmla="*/ 1608805 h 1802393"/>
                  <a:gd name="connsiteX0" fmla="*/ 591875 w 2462577"/>
                  <a:gd name="connsiteY0" fmla="*/ 1802393 h 1802393"/>
                  <a:gd name="connsiteX1" fmla="*/ 591875 w 2462577"/>
                  <a:gd name="connsiteY1" fmla="*/ 1795250 h 1802393"/>
                  <a:gd name="connsiteX2" fmla="*/ 521029 w 2462577"/>
                  <a:gd name="connsiteY2" fmla="*/ 1802392 h 1802393"/>
                  <a:gd name="connsiteX3" fmla="*/ 0 w 2462577"/>
                  <a:gd name="connsiteY3" fmla="*/ 1281363 h 1802393"/>
                  <a:gd name="connsiteX4" fmla="*/ 521029 w 2462577"/>
                  <a:gd name="connsiteY4" fmla="*/ 760334 h 1802393"/>
                  <a:gd name="connsiteX5" fmla="*/ 526000 w 2462577"/>
                  <a:gd name="connsiteY5" fmla="*/ 760835 h 1802393"/>
                  <a:gd name="connsiteX6" fmla="*/ 511393 w 2462577"/>
                  <a:gd name="connsiteY6" fmla="*/ 713780 h 1802393"/>
                  <a:gd name="connsiteX7" fmla="*/ 499324 w 2462577"/>
                  <a:gd name="connsiteY7" fmla="*/ 594057 h 1802393"/>
                  <a:gd name="connsiteX8" fmla="*/ 1093381 w 2462577"/>
                  <a:gd name="connsiteY8" fmla="*/ 0 h 1802393"/>
                  <a:gd name="connsiteX9" fmla="*/ 1640754 w 2462577"/>
                  <a:gd name="connsiteY9" fmla="*/ 362823 h 1802393"/>
                  <a:gd name="connsiteX10" fmla="*/ 1655501 w 2462577"/>
                  <a:gd name="connsiteY10" fmla="*/ 410329 h 1802393"/>
                  <a:gd name="connsiteX11" fmla="*/ 1706127 w 2462577"/>
                  <a:gd name="connsiteY11" fmla="*/ 394614 h 1802393"/>
                  <a:gd name="connsiteX12" fmla="*/ 1793034 w 2462577"/>
                  <a:gd name="connsiteY12" fmla="*/ 385853 h 1802393"/>
                  <a:gd name="connsiteX13" fmla="*/ 2224263 w 2462577"/>
                  <a:gd name="connsiteY13" fmla="*/ 817082 h 1802393"/>
                  <a:gd name="connsiteX14" fmla="*/ 2190375 w 2462577"/>
                  <a:gd name="connsiteY14" fmla="*/ 984936 h 1802393"/>
                  <a:gd name="connsiteX15" fmla="*/ 2185612 w 2462577"/>
                  <a:gd name="connsiteY15" fmla="*/ 993711 h 1802393"/>
                  <a:gd name="connsiteX16" fmla="*/ 2190745 w 2462577"/>
                  <a:gd name="connsiteY16" fmla="*/ 994229 h 1802393"/>
                  <a:gd name="connsiteX17" fmla="*/ 2462577 w 2462577"/>
                  <a:gd name="connsiteY17" fmla="*/ 1327755 h 1802393"/>
                  <a:gd name="connsiteX18" fmla="*/ 2362864 w 2462577"/>
                  <a:gd name="connsiteY18" fmla="*/ 1568484 h 1802393"/>
                  <a:gd name="connsiteX19" fmla="*/ 2313995 w 2462577"/>
                  <a:gd name="connsiteY19" fmla="*/ 1608805 h 1802393"/>
                  <a:gd name="connsiteX0" fmla="*/ 591875 w 2462577"/>
                  <a:gd name="connsiteY0" fmla="*/ 1802393 h 1802393"/>
                  <a:gd name="connsiteX1" fmla="*/ 591875 w 2462577"/>
                  <a:gd name="connsiteY1" fmla="*/ 1795250 h 1802393"/>
                  <a:gd name="connsiteX2" fmla="*/ 521029 w 2462577"/>
                  <a:gd name="connsiteY2" fmla="*/ 1802392 h 1802393"/>
                  <a:gd name="connsiteX3" fmla="*/ 0 w 2462577"/>
                  <a:gd name="connsiteY3" fmla="*/ 1281363 h 1802393"/>
                  <a:gd name="connsiteX4" fmla="*/ 521029 w 2462577"/>
                  <a:gd name="connsiteY4" fmla="*/ 760334 h 1802393"/>
                  <a:gd name="connsiteX5" fmla="*/ 526000 w 2462577"/>
                  <a:gd name="connsiteY5" fmla="*/ 760835 h 1802393"/>
                  <a:gd name="connsiteX6" fmla="*/ 511393 w 2462577"/>
                  <a:gd name="connsiteY6" fmla="*/ 713780 h 1802393"/>
                  <a:gd name="connsiteX7" fmla="*/ 499324 w 2462577"/>
                  <a:gd name="connsiteY7" fmla="*/ 594057 h 1802393"/>
                  <a:gd name="connsiteX8" fmla="*/ 1093381 w 2462577"/>
                  <a:gd name="connsiteY8" fmla="*/ 0 h 1802393"/>
                  <a:gd name="connsiteX9" fmla="*/ 1640754 w 2462577"/>
                  <a:gd name="connsiteY9" fmla="*/ 362823 h 1802393"/>
                  <a:gd name="connsiteX10" fmla="*/ 1655501 w 2462577"/>
                  <a:gd name="connsiteY10" fmla="*/ 410329 h 1802393"/>
                  <a:gd name="connsiteX11" fmla="*/ 1706127 w 2462577"/>
                  <a:gd name="connsiteY11" fmla="*/ 394614 h 1802393"/>
                  <a:gd name="connsiteX12" fmla="*/ 1793034 w 2462577"/>
                  <a:gd name="connsiteY12" fmla="*/ 385853 h 1802393"/>
                  <a:gd name="connsiteX13" fmla="*/ 2224263 w 2462577"/>
                  <a:gd name="connsiteY13" fmla="*/ 817082 h 1802393"/>
                  <a:gd name="connsiteX14" fmla="*/ 2190375 w 2462577"/>
                  <a:gd name="connsiteY14" fmla="*/ 984936 h 1802393"/>
                  <a:gd name="connsiteX15" fmla="*/ 2185612 w 2462577"/>
                  <a:gd name="connsiteY15" fmla="*/ 993711 h 1802393"/>
                  <a:gd name="connsiteX16" fmla="*/ 2190745 w 2462577"/>
                  <a:gd name="connsiteY16" fmla="*/ 994229 h 1802393"/>
                  <a:gd name="connsiteX17" fmla="*/ 2462577 w 2462577"/>
                  <a:gd name="connsiteY17" fmla="*/ 1327755 h 1802393"/>
                  <a:gd name="connsiteX18" fmla="*/ 2362864 w 2462577"/>
                  <a:gd name="connsiteY18" fmla="*/ 1568484 h 1802393"/>
                  <a:gd name="connsiteX0" fmla="*/ 615476 w 2486178"/>
                  <a:gd name="connsiteY0" fmla="*/ 1802393 h 1802393"/>
                  <a:gd name="connsiteX1" fmla="*/ 615476 w 2486178"/>
                  <a:gd name="connsiteY1" fmla="*/ 1795250 h 1802393"/>
                  <a:gd name="connsiteX2" fmla="*/ 544630 w 2486178"/>
                  <a:gd name="connsiteY2" fmla="*/ 1802392 h 1802393"/>
                  <a:gd name="connsiteX3" fmla="*/ 135127 w 2486178"/>
                  <a:gd name="connsiteY3" fmla="*/ 1607207 h 1802393"/>
                  <a:gd name="connsiteX4" fmla="*/ 23601 w 2486178"/>
                  <a:gd name="connsiteY4" fmla="*/ 1281363 h 1802393"/>
                  <a:gd name="connsiteX5" fmla="*/ 544630 w 2486178"/>
                  <a:gd name="connsiteY5" fmla="*/ 760334 h 1802393"/>
                  <a:gd name="connsiteX6" fmla="*/ 549601 w 2486178"/>
                  <a:gd name="connsiteY6" fmla="*/ 760835 h 1802393"/>
                  <a:gd name="connsiteX7" fmla="*/ 534994 w 2486178"/>
                  <a:gd name="connsiteY7" fmla="*/ 713780 h 1802393"/>
                  <a:gd name="connsiteX8" fmla="*/ 522925 w 2486178"/>
                  <a:gd name="connsiteY8" fmla="*/ 594057 h 1802393"/>
                  <a:gd name="connsiteX9" fmla="*/ 1116982 w 2486178"/>
                  <a:gd name="connsiteY9" fmla="*/ 0 h 1802393"/>
                  <a:gd name="connsiteX10" fmla="*/ 1664355 w 2486178"/>
                  <a:gd name="connsiteY10" fmla="*/ 362823 h 1802393"/>
                  <a:gd name="connsiteX11" fmla="*/ 1679102 w 2486178"/>
                  <a:gd name="connsiteY11" fmla="*/ 410329 h 1802393"/>
                  <a:gd name="connsiteX12" fmla="*/ 1729728 w 2486178"/>
                  <a:gd name="connsiteY12" fmla="*/ 394614 h 1802393"/>
                  <a:gd name="connsiteX13" fmla="*/ 1816635 w 2486178"/>
                  <a:gd name="connsiteY13" fmla="*/ 385853 h 1802393"/>
                  <a:gd name="connsiteX14" fmla="*/ 2247864 w 2486178"/>
                  <a:gd name="connsiteY14" fmla="*/ 817082 h 1802393"/>
                  <a:gd name="connsiteX15" fmla="*/ 2213976 w 2486178"/>
                  <a:gd name="connsiteY15" fmla="*/ 984936 h 1802393"/>
                  <a:gd name="connsiteX16" fmla="*/ 2209213 w 2486178"/>
                  <a:gd name="connsiteY16" fmla="*/ 993711 h 1802393"/>
                  <a:gd name="connsiteX17" fmla="*/ 2214346 w 2486178"/>
                  <a:gd name="connsiteY17" fmla="*/ 994229 h 1802393"/>
                  <a:gd name="connsiteX18" fmla="*/ 2486178 w 2486178"/>
                  <a:gd name="connsiteY18" fmla="*/ 1327755 h 1802393"/>
                  <a:gd name="connsiteX19" fmla="*/ 2386465 w 2486178"/>
                  <a:gd name="connsiteY19" fmla="*/ 1568484 h 1802393"/>
                  <a:gd name="connsiteX0" fmla="*/ 598395 w 2469097"/>
                  <a:gd name="connsiteY0" fmla="*/ 1802393 h 1802393"/>
                  <a:gd name="connsiteX1" fmla="*/ 598395 w 2469097"/>
                  <a:gd name="connsiteY1" fmla="*/ 1795250 h 1802393"/>
                  <a:gd name="connsiteX2" fmla="*/ 527549 w 2469097"/>
                  <a:gd name="connsiteY2" fmla="*/ 1802392 h 1802393"/>
                  <a:gd name="connsiteX3" fmla="*/ 118046 w 2469097"/>
                  <a:gd name="connsiteY3" fmla="*/ 1607207 h 1802393"/>
                  <a:gd name="connsiteX4" fmla="*/ 6520 w 2469097"/>
                  <a:gd name="connsiteY4" fmla="*/ 1281363 h 1802393"/>
                  <a:gd name="connsiteX5" fmla="*/ 527549 w 2469097"/>
                  <a:gd name="connsiteY5" fmla="*/ 760334 h 1802393"/>
                  <a:gd name="connsiteX6" fmla="*/ 532520 w 2469097"/>
                  <a:gd name="connsiteY6" fmla="*/ 760835 h 1802393"/>
                  <a:gd name="connsiteX7" fmla="*/ 517913 w 2469097"/>
                  <a:gd name="connsiteY7" fmla="*/ 713780 h 1802393"/>
                  <a:gd name="connsiteX8" fmla="*/ 505844 w 2469097"/>
                  <a:gd name="connsiteY8" fmla="*/ 594057 h 1802393"/>
                  <a:gd name="connsiteX9" fmla="*/ 1099901 w 2469097"/>
                  <a:gd name="connsiteY9" fmla="*/ 0 h 1802393"/>
                  <a:gd name="connsiteX10" fmla="*/ 1647274 w 2469097"/>
                  <a:gd name="connsiteY10" fmla="*/ 362823 h 1802393"/>
                  <a:gd name="connsiteX11" fmla="*/ 1662021 w 2469097"/>
                  <a:gd name="connsiteY11" fmla="*/ 410329 h 1802393"/>
                  <a:gd name="connsiteX12" fmla="*/ 1712647 w 2469097"/>
                  <a:gd name="connsiteY12" fmla="*/ 394614 h 1802393"/>
                  <a:gd name="connsiteX13" fmla="*/ 1799554 w 2469097"/>
                  <a:gd name="connsiteY13" fmla="*/ 385853 h 1802393"/>
                  <a:gd name="connsiteX14" fmla="*/ 2230783 w 2469097"/>
                  <a:gd name="connsiteY14" fmla="*/ 817082 h 1802393"/>
                  <a:gd name="connsiteX15" fmla="*/ 2196895 w 2469097"/>
                  <a:gd name="connsiteY15" fmla="*/ 984936 h 1802393"/>
                  <a:gd name="connsiteX16" fmla="*/ 2192132 w 2469097"/>
                  <a:gd name="connsiteY16" fmla="*/ 993711 h 1802393"/>
                  <a:gd name="connsiteX17" fmla="*/ 2197265 w 2469097"/>
                  <a:gd name="connsiteY17" fmla="*/ 994229 h 1802393"/>
                  <a:gd name="connsiteX18" fmla="*/ 2469097 w 2469097"/>
                  <a:gd name="connsiteY18" fmla="*/ 1327755 h 1802393"/>
                  <a:gd name="connsiteX19" fmla="*/ 2369384 w 2469097"/>
                  <a:gd name="connsiteY19" fmla="*/ 1568484 h 1802393"/>
                  <a:gd name="connsiteX0" fmla="*/ 596882 w 2467584"/>
                  <a:gd name="connsiteY0" fmla="*/ 1802393 h 1802393"/>
                  <a:gd name="connsiteX1" fmla="*/ 596882 w 2467584"/>
                  <a:gd name="connsiteY1" fmla="*/ 1795250 h 1802393"/>
                  <a:gd name="connsiteX2" fmla="*/ 526036 w 2467584"/>
                  <a:gd name="connsiteY2" fmla="*/ 1802392 h 1802393"/>
                  <a:gd name="connsiteX3" fmla="*/ 116533 w 2467584"/>
                  <a:gd name="connsiteY3" fmla="*/ 1607207 h 1802393"/>
                  <a:gd name="connsiteX4" fmla="*/ 5007 w 2467584"/>
                  <a:gd name="connsiteY4" fmla="*/ 1281363 h 1802393"/>
                  <a:gd name="connsiteX5" fmla="*/ 526036 w 2467584"/>
                  <a:gd name="connsiteY5" fmla="*/ 760334 h 1802393"/>
                  <a:gd name="connsiteX6" fmla="*/ 531007 w 2467584"/>
                  <a:gd name="connsiteY6" fmla="*/ 760835 h 1802393"/>
                  <a:gd name="connsiteX7" fmla="*/ 516400 w 2467584"/>
                  <a:gd name="connsiteY7" fmla="*/ 713780 h 1802393"/>
                  <a:gd name="connsiteX8" fmla="*/ 504331 w 2467584"/>
                  <a:gd name="connsiteY8" fmla="*/ 594057 h 1802393"/>
                  <a:gd name="connsiteX9" fmla="*/ 1098388 w 2467584"/>
                  <a:gd name="connsiteY9" fmla="*/ 0 h 1802393"/>
                  <a:gd name="connsiteX10" fmla="*/ 1645761 w 2467584"/>
                  <a:gd name="connsiteY10" fmla="*/ 362823 h 1802393"/>
                  <a:gd name="connsiteX11" fmla="*/ 1660508 w 2467584"/>
                  <a:gd name="connsiteY11" fmla="*/ 410329 h 1802393"/>
                  <a:gd name="connsiteX12" fmla="*/ 1711134 w 2467584"/>
                  <a:gd name="connsiteY12" fmla="*/ 394614 h 1802393"/>
                  <a:gd name="connsiteX13" fmla="*/ 1798041 w 2467584"/>
                  <a:gd name="connsiteY13" fmla="*/ 385853 h 1802393"/>
                  <a:gd name="connsiteX14" fmla="*/ 2229270 w 2467584"/>
                  <a:gd name="connsiteY14" fmla="*/ 817082 h 1802393"/>
                  <a:gd name="connsiteX15" fmla="*/ 2195382 w 2467584"/>
                  <a:gd name="connsiteY15" fmla="*/ 984936 h 1802393"/>
                  <a:gd name="connsiteX16" fmla="*/ 2190619 w 2467584"/>
                  <a:gd name="connsiteY16" fmla="*/ 993711 h 1802393"/>
                  <a:gd name="connsiteX17" fmla="*/ 2195752 w 2467584"/>
                  <a:gd name="connsiteY17" fmla="*/ 994229 h 1802393"/>
                  <a:gd name="connsiteX18" fmla="*/ 2467584 w 2467584"/>
                  <a:gd name="connsiteY18" fmla="*/ 1327755 h 1802393"/>
                  <a:gd name="connsiteX19" fmla="*/ 2367871 w 2467584"/>
                  <a:gd name="connsiteY19" fmla="*/ 1568484 h 1802393"/>
                  <a:gd name="connsiteX0" fmla="*/ 596882 w 2467584"/>
                  <a:gd name="connsiteY0" fmla="*/ 1802393 h 1802393"/>
                  <a:gd name="connsiteX1" fmla="*/ 526036 w 2467584"/>
                  <a:gd name="connsiteY1" fmla="*/ 1802392 h 1802393"/>
                  <a:gd name="connsiteX2" fmla="*/ 116533 w 2467584"/>
                  <a:gd name="connsiteY2" fmla="*/ 1607207 h 1802393"/>
                  <a:gd name="connsiteX3" fmla="*/ 5007 w 2467584"/>
                  <a:gd name="connsiteY3" fmla="*/ 1281363 h 1802393"/>
                  <a:gd name="connsiteX4" fmla="*/ 526036 w 2467584"/>
                  <a:gd name="connsiteY4" fmla="*/ 760334 h 1802393"/>
                  <a:gd name="connsiteX5" fmla="*/ 531007 w 2467584"/>
                  <a:gd name="connsiteY5" fmla="*/ 760835 h 1802393"/>
                  <a:gd name="connsiteX6" fmla="*/ 516400 w 2467584"/>
                  <a:gd name="connsiteY6" fmla="*/ 713780 h 1802393"/>
                  <a:gd name="connsiteX7" fmla="*/ 504331 w 2467584"/>
                  <a:gd name="connsiteY7" fmla="*/ 594057 h 1802393"/>
                  <a:gd name="connsiteX8" fmla="*/ 1098388 w 2467584"/>
                  <a:gd name="connsiteY8" fmla="*/ 0 h 1802393"/>
                  <a:gd name="connsiteX9" fmla="*/ 1645761 w 2467584"/>
                  <a:gd name="connsiteY9" fmla="*/ 362823 h 1802393"/>
                  <a:gd name="connsiteX10" fmla="*/ 1660508 w 2467584"/>
                  <a:gd name="connsiteY10" fmla="*/ 410329 h 1802393"/>
                  <a:gd name="connsiteX11" fmla="*/ 1711134 w 2467584"/>
                  <a:gd name="connsiteY11" fmla="*/ 394614 h 1802393"/>
                  <a:gd name="connsiteX12" fmla="*/ 1798041 w 2467584"/>
                  <a:gd name="connsiteY12" fmla="*/ 385853 h 1802393"/>
                  <a:gd name="connsiteX13" fmla="*/ 2229270 w 2467584"/>
                  <a:gd name="connsiteY13" fmla="*/ 817082 h 1802393"/>
                  <a:gd name="connsiteX14" fmla="*/ 2195382 w 2467584"/>
                  <a:gd name="connsiteY14" fmla="*/ 984936 h 1802393"/>
                  <a:gd name="connsiteX15" fmla="*/ 2190619 w 2467584"/>
                  <a:gd name="connsiteY15" fmla="*/ 993711 h 1802393"/>
                  <a:gd name="connsiteX16" fmla="*/ 2195752 w 2467584"/>
                  <a:gd name="connsiteY16" fmla="*/ 994229 h 1802393"/>
                  <a:gd name="connsiteX17" fmla="*/ 2467584 w 2467584"/>
                  <a:gd name="connsiteY17" fmla="*/ 1327755 h 1802393"/>
                  <a:gd name="connsiteX18" fmla="*/ 2367871 w 2467584"/>
                  <a:gd name="connsiteY18" fmla="*/ 1568484 h 1802393"/>
                  <a:gd name="connsiteX0" fmla="*/ 596882 w 2467584"/>
                  <a:gd name="connsiteY0" fmla="*/ 1802393 h 1802393"/>
                  <a:gd name="connsiteX1" fmla="*/ 116533 w 2467584"/>
                  <a:gd name="connsiteY1" fmla="*/ 1607207 h 1802393"/>
                  <a:gd name="connsiteX2" fmla="*/ 5007 w 2467584"/>
                  <a:gd name="connsiteY2" fmla="*/ 1281363 h 1802393"/>
                  <a:gd name="connsiteX3" fmla="*/ 526036 w 2467584"/>
                  <a:gd name="connsiteY3" fmla="*/ 760334 h 1802393"/>
                  <a:gd name="connsiteX4" fmla="*/ 531007 w 2467584"/>
                  <a:gd name="connsiteY4" fmla="*/ 760835 h 1802393"/>
                  <a:gd name="connsiteX5" fmla="*/ 516400 w 2467584"/>
                  <a:gd name="connsiteY5" fmla="*/ 713780 h 1802393"/>
                  <a:gd name="connsiteX6" fmla="*/ 504331 w 2467584"/>
                  <a:gd name="connsiteY6" fmla="*/ 594057 h 1802393"/>
                  <a:gd name="connsiteX7" fmla="*/ 1098388 w 2467584"/>
                  <a:gd name="connsiteY7" fmla="*/ 0 h 1802393"/>
                  <a:gd name="connsiteX8" fmla="*/ 1645761 w 2467584"/>
                  <a:gd name="connsiteY8" fmla="*/ 362823 h 1802393"/>
                  <a:gd name="connsiteX9" fmla="*/ 1660508 w 2467584"/>
                  <a:gd name="connsiteY9" fmla="*/ 410329 h 1802393"/>
                  <a:gd name="connsiteX10" fmla="*/ 1711134 w 2467584"/>
                  <a:gd name="connsiteY10" fmla="*/ 394614 h 1802393"/>
                  <a:gd name="connsiteX11" fmla="*/ 1798041 w 2467584"/>
                  <a:gd name="connsiteY11" fmla="*/ 385853 h 1802393"/>
                  <a:gd name="connsiteX12" fmla="*/ 2229270 w 2467584"/>
                  <a:gd name="connsiteY12" fmla="*/ 817082 h 1802393"/>
                  <a:gd name="connsiteX13" fmla="*/ 2195382 w 2467584"/>
                  <a:gd name="connsiteY13" fmla="*/ 984936 h 1802393"/>
                  <a:gd name="connsiteX14" fmla="*/ 2190619 w 2467584"/>
                  <a:gd name="connsiteY14" fmla="*/ 993711 h 1802393"/>
                  <a:gd name="connsiteX15" fmla="*/ 2195752 w 2467584"/>
                  <a:gd name="connsiteY15" fmla="*/ 994229 h 1802393"/>
                  <a:gd name="connsiteX16" fmla="*/ 2467584 w 2467584"/>
                  <a:gd name="connsiteY16" fmla="*/ 1327755 h 1802393"/>
                  <a:gd name="connsiteX17" fmla="*/ 2367871 w 2467584"/>
                  <a:gd name="connsiteY17" fmla="*/ 1568484 h 1802393"/>
                  <a:gd name="connsiteX0" fmla="*/ 116533 w 2467584"/>
                  <a:gd name="connsiteY0" fmla="*/ 1607207 h 1607207"/>
                  <a:gd name="connsiteX1" fmla="*/ 5007 w 2467584"/>
                  <a:gd name="connsiteY1" fmla="*/ 1281363 h 1607207"/>
                  <a:gd name="connsiteX2" fmla="*/ 526036 w 2467584"/>
                  <a:gd name="connsiteY2" fmla="*/ 760334 h 1607207"/>
                  <a:gd name="connsiteX3" fmla="*/ 531007 w 2467584"/>
                  <a:gd name="connsiteY3" fmla="*/ 760835 h 1607207"/>
                  <a:gd name="connsiteX4" fmla="*/ 516400 w 2467584"/>
                  <a:gd name="connsiteY4" fmla="*/ 713780 h 1607207"/>
                  <a:gd name="connsiteX5" fmla="*/ 504331 w 2467584"/>
                  <a:gd name="connsiteY5" fmla="*/ 594057 h 1607207"/>
                  <a:gd name="connsiteX6" fmla="*/ 1098388 w 2467584"/>
                  <a:gd name="connsiteY6" fmla="*/ 0 h 1607207"/>
                  <a:gd name="connsiteX7" fmla="*/ 1645761 w 2467584"/>
                  <a:gd name="connsiteY7" fmla="*/ 362823 h 1607207"/>
                  <a:gd name="connsiteX8" fmla="*/ 1660508 w 2467584"/>
                  <a:gd name="connsiteY8" fmla="*/ 410329 h 1607207"/>
                  <a:gd name="connsiteX9" fmla="*/ 1711134 w 2467584"/>
                  <a:gd name="connsiteY9" fmla="*/ 394614 h 1607207"/>
                  <a:gd name="connsiteX10" fmla="*/ 1798041 w 2467584"/>
                  <a:gd name="connsiteY10" fmla="*/ 385853 h 1607207"/>
                  <a:gd name="connsiteX11" fmla="*/ 2229270 w 2467584"/>
                  <a:gd name="connsiteY11" fmla="*/ 817082 h 1607207"/>
                  <a:gd name="connsiteX12" fmla="*/ 2195382 w 2467584"/>
                  <a:gd name="connsiteY12" fmla="*/ 984936 h 1607207"/>
                  <a:gd name="connsiteX13" fmla="*/ 2190619 w 2467584"/>
                  <a:gd name="connsiteY13" fmla="*/ 993711 h 1607207"/>
                  <a:gd name="connsiteX14" fmla="*/ 2195752 w 2467584"/>
                  <a:gd name="connsiteY14" fmla="*/ 994229 h 1607207"/>
                  <a:gd name="connsiteX15" fmla="*/ 2467584 w 2467584"/>
                  <a:gd name="connsiteY15" fmla="*/ 1327755 h 1607207"/>
                  <a:gd name="connsiteX16" fmla="*/ 2367871 w 2467584"/>
                  <a:gd name="connsiteY16" fmla="*/ 1568484 h 1607207"/>
                  <a:gd name="connsiteX0" fmla="*/ 116533 w 2467584"/>
                  <a:gd name="connsiteY0" fmla="*/ 1607207 h 1607207"/>
                  <a:gd name="connsiteX1" fmla="*/ 5007 w 2467584"/>
                  <a:gd name="connsiteY1" fmla="*/ 1281363 h 1607207"/>
                  <a:gd name="connsiteX2" fmla="*/ 526036 w 2467584"/>
                  <a:gd name="connsiteY2" fmla="*/ 760334 h 1607207"/>
                  <a:gd name="connsiteX3" fmla="*/ 531007 w 2467584"/>
                  <a:gd name="connsiteY3" fmla="*/ 760835 h 1607207"/>
                  <a:gd name="connsiteX4" fmla="*/ 516400 w 2467584"/>
                  <a:gd name="connsiteY4" fmla="*/ 713780 h 1607207"/>
                  <a:gd name="connsiteX5" fmla="*/ 504331 w 2467584"/>
                  <a:gd name="connsiteY5" fmla="*/ 594057 h 1607207"/>
                  <a:gd name="connsiteX6" fmla="*/ 1098388 w 2467584"/>
                  <a:gd name="connsiteY6" fmla="*/ 0 h 1607207"/>
                  <a:gd name="connsiteX7" fmla="*/ 1645761 w 2467584"/>
                  <a:gd name="connsiteY7" fmla="*/ 362823 h 1607207"/>
                  <a:gd name="connsiteX8" fmla="*/ 1660508 w 2467584"/>
                  <a:gd name="connsiteY8" fmla="*/ 410329 h 1607207"/>
                  <a:gd name="connsiteX9" fmla="*/ 1711134 w 2467584"/>
                  <a:gd name="connsiteY9" fmla="*/ 394614 h 1607207"/>
                  <a:gd name="connsiteX10" fmla="*/ 1798041 w 2467584"/>
                  <a:gd name="connsiteY10" fmla="*/ 385853 h 1607207"/>
                  <a:gd name="connsiteX11" fmla="*/ 2229270 w 2467584"/>
                  <a:gd name="connsiteY11" fmla="*/ 817082 h 1607207"/>
                  <a:gd name="connsiteX12" fmla="*/ 2195382 w 2467584"/>
                  <a:gd name="connsiteY12" fmla="*/ 984936 h 1607207"/>
                  <a:gd name="connsiteX13" fmla="*/ 2190619 w 2467584"/>
                  <a:gd name="connsiteY13" fmla="*/ 993711 h 1607207"/>
                  <a:gd name="connsiteX14" fmla="*/ 2195752 w 2467584"/>
                  <a:gd name="connsiteY14" fmla="*/ 994229 h 1607207"/>
                  <a:gd name="connsiteX15" fmla="*/ 2467584 w 2467584"/>
                  <a:gd name="connsiteY15" fmla="*/ 1327755 h 1607207"/>
                  <a:gd name="connsiteX16" fmla="*/ 2367871 w 2467584"/>
                  <a:gd name="connsiteY16" fmla="*/ 1568484 h 1607207"/>
                  <a:gd name="connsiteX0" fmla="*/ 5007 w 2467584"/>
                  <a:gd name="connsiteY0" fmla="*/ 1281363 h 1568484"/>
                  <a:gd name="connsiteX1" fmla="*/ 526036 w 2467584"/>
                  <a:gd name="connsiteY1" fmla="*/ 760334 h 1568484"/>
                  <a:gd name="connsiteX2" fmla="*/ 531007 w 2467584"/>
                  <a:gd name="connsiteY2" fmla="*/ 760835 h 1568484"/>
                  <a:gd name="connsiteX3" fmla="*/ 516400 w 2467584"/>
                  <a:gd name="connsiteY3" fmla="*/ 713780 h 1568484"/>
                  <a:gd name="connsiteX4" fmla="*/ 504331 w 2467584"/>
                  <a:gd name="connsiteY4" fmla="*/ 594057 h 1568484"/>
                  <a:gd name="connsiteX5" fmla="*/ 1098388 w 2467584"/>
                  <a:gd name="connsiteY5" fmla="*/ 0 h 1568484"/>
                  <a:gd name="connsiteX6" fmla="*/ 1645761 w 2467584"/>
                  <a:gd name="connsiteY6" fmla="*/ 362823 h 1568484"/>
                  <a:gd name="connsiteX7" fmla="*/ 1660508 w 2467584"/>
                  <a:gd name="connsiteY7" fmla="*/ 410329 h 1568484"/>
                  <a:gd name="connsiteX8" fmla="*/ 1711134 w 2467584"/>
                  <a:gd name="connsiteY8" fmla="*/ 394614 h 1568484"/>
                  <a:gd name="connsiteX9" fmla="*/ 1798041 w 2467584"/>
                  <a:gd name="connsiteY9" fmla="*/ 385853 h 1568484"/>
                  <a:gd name="connsiteX10" fmla="*/ 2229270 w 2467584"/>
                  <a:gd name="connsiteY10" fmla="*/ 817082 h 1568484"/>
                  <a:gd name="connsiteX11" fmla="*/ 2195382 w 2467584"/>
                  <a:gd name="connsiteY11" fmla="*/ 984936 h 1568484"/>
                  <a:gd name="connsiteX12" fmla="*/ 2190619 w 2467584"/>
                  <a:gd name="connsiteY12" fmla="*/ 993711 h 1568484"/>
                  <a:gd name="connsiteX13" fmla="*/ 2195752 w 2467584"/>
                  <a:gd name="connsiteY13" fmla="*/ 994229 h 1568484"/>
                  <a:gd name="connsiteX14" fmla="*/ 2467584 w 2467584"/>
                  <a:gd name="connsiteY14" fmla="*/ 1327755 h 1568484"/>
                  <a:gd name="connsiteX15" fmla="*/ 2367871 w 2467584"/>
                  <a:gd name="connsiteY15" fmla="*/ 1568484 h 1568484"/>
                  <a:gd name="connsiteX0" fmla="*/ 7654 w 2355931"/>
                  <a:gd name="connsiteY0" fmla="*/ 1388043 h 1568484"/>
                  <a:gd name="connsiteX1" fmla="*/ 414383 w 2355931"/>
                  <a:gd name="connsiteY1" fmla="*/ 760334 h 1568484"/>
                  <a:gd name="connsiteX2" fmla="*/ 419354 w 2355931"/>
                  <a:gd name="connsiteY2" fmla="*/ 760835 h 1568484"/>
                  <a:gd name="connsiteX3" fmla="*/ 404747 w 2355931"/>
                  <a:gd name="connsiteY3" fmla="*/ 713780 h 1568484"/>
                  <a:gd name="connsiteX4" fmla="*/ 392678 w 2355931"/>
                  <a:gd name="connsiteY4" fmla="*/ 594057 h 1568484"/>
                  <a:gd name="connsiteX5" fmla="*/ 986735 w 2355931"/>
                  <a:gd name="connsiteY5" fmla="*/ 0 h 1568484"/>
                  <a:gd name="connsiteX6" fmla="*/ 1534108 w 2355931"/>
                  <a:gd name="connsiteY6" fmla="*/ 362823 h 1568484"/>
                  <a:gd name="connsiteX7" fmla="*/ 1548855 w 2355931"/>
                  <a:gd name="connsiteY7" fmla="*/ 410329 h 1568484"/>
                  <a:gd name="connsiteX8" fmla="*/ 1599481 w 2355931"/>
                  <a:gd name="connsiteY8" fmla="*/ 394614 h 1568484"/>
                  <a:gd name="connsiteX9" fmla="*/ 1686388 w 2355931"/>
                  <a:gd name="connsiteY9" fmla="*/ 385853 h 1568484"/>
                  <a:gd name="connsiteX10" fmla="*/ 2117617 w 2355931"/>
                  <a:gd name="connsiteY10" fmla="*/ 817082 h 1568484"/>
                  <a:gd name="connsiteX11" fmla="*/ 2083729 w 2355931"/>
                  <a:gd name="connsiteY11" fmla="*/ 984936 h 1568484"/>
                  <a:gd name="connsiteX12" fmla="*/ 2078966 w 2355931"/>
                  <a:gd name="connsiteY12" fmla="*/ 993711 h 1568484"/>
                  <a:gd name="connsiteX13" fmla="*/ 2084099 w 2355931"/>
                  <a:gd name="connsiteY13" fmla="*/ 994229 h 1568484"/>
                  <a:gd name="connsiteX14" fmla="*/ 2355931 w 2355931"/>
                  <a:gd name="connsiteY14" fmla="*/ 1327755 h 1568484"/>
                  <a:gd name="connsiteX15" fmla="*/ 2256218 w 2355931"/>
                  <a:gd name="connsiteY15"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35286 w 2386470"/>
                  <a:gd name="connsiteY3" fmla="*/ 713780 h 1568484"/>
                  <a:gd name="connsiteX4" fmla="*/ 423217 w 2386470"/>
                  <a:gd name="connsiteY4" fmla="*/ 594057 h 1568484"/>
                  <a:gd name="connsiteX5" fmla="*/ 1017274 w 2386470"/>
                  <a:gd name="connsiteY5" fmla="*/ 0 h 1568484"/>
                  <a:gd name="connsiteX6" fmla="*/ 1564647 w 2386470"/>
                  <a:gd name="connsiteY6" fmla="*/ 362823 h 1568484"/>
                  <a:gd name="connsiteX7" fmla="*/ 1579394 w 2386470"/>
                  <a:gd name="connsiteY7" fmla="*/ 410329 h 1568484"/>
                  <a:gd name="connsiteX8" fmla="*/ 1630020 w 2386470"/>
                  <a:gd name="connsiteY8" fmla="*/ 394614 h 1568484"/>
                  <a:gd name="connsiteX9" fmla="*/ 1716927 w 2386470"/>
                  <a:gd name="connsiteY9" fmla="*/ 385853 h 1568484"/>
                  <a:gd name="connsiteX10" fmla="*/ 2148156 w 2386470"/>
                  <a:gd name="connsiteY10" fmla="*/ 817082 h 1568484"/>
                  <a:gd name="connsiteX11" fmla="*/ 2114268 w 2386470"/>
                  <a:gd name="connsiteY11" fmla="*/ 984936 h 1568484"/>
                  <a:gd name="connsiteX12" fmla="*/ 2109505 w 2386470"/>
                  <a:gd name="connsiteY12" fmla="*/ 993711 h 1568484"/>
                  <a:gd name="connsiteX13" fmla="*/ 2114638 w 2386470"/>
                  <a:gd name="connsiteY13" fmla="*/ 994229 h 1568484"/>
                  <a:gd name="connsiteX14" fmla="*/ 2386470 w 2386470"/>
                  <a:gd name="connsiteY14" fmla="*/ 1327755 h 1568484"/>
                  <a:gd name="connsiteX15" fmla="*/ 2286757 w 2386470"/>
                  <a:gd name="connsiteY15"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556573 w 2386470"/>
                  <a:gd name="connsiteY2" fmla="*/ 77226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47485 w 2316215"/>
                  <a:gd name="connsiteY0" fmla="*/ 1513047 h 1568484"/>
                  <a:gd name="connsiteX1" fmla="*/ 374667 w 2316215"/>
                  <a:gd name="connsiteY1" fmla="*/ 760334 h 1568484"/>
                  <a:gd name="connsiteX2" fmla="*/ 349152 w 2316215"/>
                  <a:gd name="connsiteY2" fmla="*/ 575007 h 1568484"/>
                  <a:gd name="connsiteX3" fmla="*/ 947019 w 2316215"/>
                  <a:gd name="connsiteY3" fmla="*/ 0 h 1568484"/>
                  <a:gd name="connsiteX4" fmla="*/ 1494392 w 2316215"/>
                  <a:gd name="connsiteY4" fmla="*/ 362823 h 1568484"/>
                  <a:gd name="connsiteX5" fmla="*/ 1509139 w 2316215"/>
                  <a:gd name="connsiteY5" fmla="*/ 410329 h 1568484"/>
                  <a:gd name="connsiteX6" fmla="*/ 1646672 w 2316215"/>
                  <a:gd name="connsiteY6" fmla="*/ 385853 h 1568484"/>
                  <a:gd name="connsiteX7" fmla="*/ 2077901 w 2316215"/>
                  <a:gd name="connsiteY7" fmla="*/ 817082 h 1568484"/>
                  <a:gd name="connsiteX8" fmla="*/ 2044013 w 2316215"/>
                  <a:gd name="connsiteY8" fmla="*/ 984936 h 1568484"/>
                  <a:gd name="connsiteX9" fmla="*/ 2039250 w 2316215"/>
                  <a:gd name="connsiteY9" fmla="*/ 993711 h 1568484"/>
                  <a:gd name="connsiteX10" fmla="*/ 2044383 w 2316215"/>
                  <a:gd name="connsiteY10" fmla="*/ 994229 h 1568484"/>
                  <a:gd name="connsiteX11" fmla="*/ 2316215 w 2316215"/>
                  <a:gd name="connsiteY11" fmla="*/ 1327755 h 1568484"/>
                  <a:gd name="connsiteX12" fmla="*/ 2216502 w 2316215"/>
                  <a:gd name="connsiteY12" fmla="*/ 1568484 h 1568484"/>
                  <a:gd name="connsiteX0" fmla="*/ 81035 w 2349765"/>
                  <a:gd name="connsiteY0" fmla="*/ 1513047 h 1568484"/>
                  <a:gd name="connsiteX1" fmla="*/ 408217 w 2349765"/>
                  <a:gd name="connsiteY1" fmla="*/ 760334 h 1568484"/>
                  <a:gd name="connsiteX2" fmla="*/ 382702 w 2349765"/>
                  <a:gd name="connsiteY2" fmla="*/ 575007 h 1568484"/>
                  <a:gd name="connsiteX3" fmla="*/ 980569 w 2349765"/>
                  <a:gd name="connsiteY3" fmla="*/ 0 h 1568484"/>
                  <a:gd name="connsiteX4" fmla="*/ 1527942 w 2349765"/>
                  <a:gd name="connsiteY4" fmla="*/ 362823 h 1568484"/>
                  <a:gd name="connsiteX5" fmla="*/ 1542689 w 2349765"/>
                  <a:gd name="connsiteY5" fmla="*/ 410329 h 1568484"/>
                  <a:gd name="connsiteX6" fmla="*/ 1680222 w 2349765"/>
                  <a:gd name="connsiteY6" fmla="*/ 385853 h 1568484"/>
                  <a:gd name="connsiteX7" fmla="*/ 2111451 w 2349765"/>
                  <a:gd name="connsiteY7" fmla="*/ 817082 h 1568484"/>
                  <a:gd name="connsiteX8" fmla="*/ 2077563 w 2349765"/>
                  <a:gd name="connsiteY8" fmla="*/ 984936 h 1568484"/>
                  <a:gd name="connsiteX9" fmla="*/ 2072800 w 2349765"/>
                  <a:gd name="connsiteY9" fmla="*/ 993711 h 1568484"/>
                  <a:gd name="connsiteX10" fmla="*/ 2077933 w 2349765"/>
                  <a:gd name="connsiteY10" fmla="*/ 994229 h 1568484"/>
                  <a:gd name="connsiteX11" fmla="*/ 2349765 w 2349765"/>
                  <a:gd name="connsiteY11" fmla="*/ 1327755 h 1568484"/>
                  <a:gd name="connsiteX12" fmla="*/ 2250052 w 2349765"/>
                  <a:gd name="connsiteY12" fmla="*/ 1568484 h 1568484"/>
                  <a:gd name="connsiteX0" fmla="*/ 110397 w 2379127"/>
                  <a:gd name="connsiteY0" fmla="*/ 1513047 h 1568484"/>
                  <a:gd name="connsiteX1" fmla="*/ 437579 w 2379127"/>
                  <a:gd name="connsiteY1" fmla="*/ 760334 h 1568484"/>
                  <a:gd name="connsiteX2" fmla="*/ 412064 w 2379127"/>
                  <a:gd name="connsiteY2" fmla="*/ 575007 h 1568484"/>
                  <a:gd name="connsiteX3" fmla="*/ 1009931 w 2379127"/>
                  <a:gd name="connsiteY3" fmla="*/ 0 h 1568484"/>
                  <a:gd name="connsiteX4" fmla="*/ 1557304 w 2379127"/>
                  <a:gd name="connsiteY4" fmla="*/ 362823 h 1568484"/>
                  <a:gd name="connsiteX5" fmla="*/ 1572051 w 2379127"/>
                  <a:gd name="connsiteY5" fmla="*/ 410329 h 1568484"/>
                  <a:gd name="connsiteX6" fmla="*/ 1709584 w 2379127"/>
                  <a:gd name="connsiteY6" fmla="*/ 385853 h 1568484"/>
                  <a:gd name="connsiteX7" fmla="*/ 2140813 w 2379127"/>
                  <a:gd name="connsiteY7" fmla="*/ 817082 h 1568484"/>
                  <a:gd name="connsiteX8" fmla="*/ 2106925 w 2379127"/>
                  <a:gd name="connsiteY8" fmla="*/ 984936 h 1568484"/>
                  <a:gd name="connsiteX9" fmla="*/ 2102162 w 2379127"/>
                  <a:gd name="connsiteY9" fmla="*/ 993711 h 1568484"/>
                  <a:gd name="connsiteX10" fmla="*/ 2107295 w 2379127"/>
                  <a:gd name="connsiteY10" fmla="*/ 994229 h 1568484"/>
                  <a:gd name="connsiteX11" fmla="*/ 2379127 w 2379127"/>
                  <a:gd name="connsiteY11" fmla="*/ 1327755 h 1568484"/>
                  <a:gd name="connsiteX12" fmla="*/ 2279414 w 2379127"/>
                  <a:gd name="connsiteY12" fmla="*/ 1568484 h 1568484"/>
                  <a:gd name="connsiteX0" fmla="*/ 126784 w 2395514"/>
                  <a:gd name="connsiteY0" fmla="*/ 1513047 h 1568484"/>
                  <a:gd name="connsiteX1" fmla="*/ 453966 w 2395514"/>
                  <a:gd name="connsiteY1" fmla="*/ 760334 h 1568484"/>
                  <a:gd name="connsiteX2" fmla="*/ 428451 w 2395514"/>
                  <a:gd name="connsiteY2" fmla="*/ 575007 h 1568484"/>
                  <a:gd name="connsiteX3" fmla="*/ 1026318 w 2395514"/>
                  <a:gd name="connsiteY3" fmla="*/ 0 h 1568484"/>
                  <a:gd name="connsiteX4" fmla="*/ 1573691 w 2395514"/>
                  <a:gd name="connsiteY4" fmla="*/ 362823 h 1568484"/>
                  <a:gd name="connsiteX5" fmla="*/ 1588438 w 2395514"/>
                  <a:gd name="connsiteY5" fmla="*/ 410329 h 1568484"/>
                  <a:gd name="connsiteX6" fmla="*/ 1725971 w 2395514"/>
                  <a:gd name="connsiteY6" fmla="*/ 385853 h 1568484"/>
                  <a:gd name="connsiteX7" fmla="*/ 2157200 w 2395514"/>
                  <a:gd name="connsiteY7" fmla="*/ 817082 h 1568484"/>
                  <a:gd name="connsiteX8" fmla="*/ 2123312 w 2395514"/>
                  <a:gd name="connsiteY8" fmla="*/ 984936 h 1568484"/>
                  <a:gd name="connsiteX9" fmla="*/ 2118549 w 2395514"/>
                  <a:gd name="connsiteY9" fmla="*/ 993711 h 1568484"/>
                  <a:gd name="connsiteX10" fmla="*/ 2123682 w 2395514"/>
                  <a:gd name="connsiteY10" fmla="*/ 994229 h 1568484"/>
                  <a:gd name="connsiteX11" fmla="*/ 2395514 w 2395514"/>
                  <a:gd name="connsiteY11" fmla="*/ 1327755 h 1568484"/>
                  <a:gd name="connsiteX12" fmla="*/ 2295801 w 2395514"/>
                  <a:gd name="connsiteY12" fmla="*/ 1568484 h 1568484"/>
                  <a:gd name="connsiteX0" fmla="*/ 132147 w 2378149"/>
                  <a:gd name="connsiteY0" fmla="*/ 1603960 h 1603960"/>
                  <a:gd name="connsiteX1" fmla="*/ 436601 w 2378149"/>
                  <a:gd name="connsiteY1" fmla="*/ 760334 h 1603960"/>
                  <a:gd name="connsiteX2" fmla="*/ 411086 w 2378149"/>
                  <a:gd name="connsiteY2" fmla="*/ 575007 h 1603960"/>
                  <a:gd name="connsiteX3" fmla="*/ 1008953 w 2378149"/>
                  <a:gd name="connsiteY3" fmla="*/ 0 h 1603960"/>
                  <a:gd name="connsiteX4" fmla="*/ 1556326 w 2378149"/>
                  <a:gd name="connsiteY4" fmla="*/ 362823 h 1603960"/>
                  <a:gd name="connsiteX5" fmla="*/ 1571073 w 2378149"/>
                  <a:gd name="connsiteY5" fmla="*/ 410329 h 1603960"/>
                  <a:gd name="connsiteX6" fmla="*/ 1708606 w 2378149"/>
                  <a:gd name="connsiteY6" fmla="*/ 385853 h 1603960"/>
                  <a:gd name="connsiteX7" fmla="*/ 2139835 w 2378149"/>
                  <a:gd name="connsiteY7" fmla="*/ 817082 h 1603960"/>
                  <a:gd name="connsiteX8" fmla="*/ 2105947 w 2378149"/>
                  <a:gd name="connsiteY8" fmla="*/ 984936 h 1603960"/>
                  <a:gd name="connsiteX9" fmla="*/ 2101184 w 2378149"/>
                  <a:gd name="connsiteY9" fmla="*/ 993711 h 1603960"/>
                  <a:gd name="connsiteX10" fmla="*/ 2106317 w 2378149"/>
                  <a:gd name="connsiteY10" fmla="*/ 994229 h 1603960"/>
                  <a:gd name="connsiteX11" fmla="*/ 2378149 w 2378149"/>
                  <a:gd name="connsiteY11" fmla="*/ 1327755 h 1603960"/>
                  <a:gd name="connsiteX12" fmla="*/ 2278436 w 2378149"/>
                  <a:gd name="connsiteY12" fmla="*/ 1568484 h 1603960"/>
                  <a:gd name="connsiteX0" fmla="*/ 152328 w 2398330"/>
                  <a:gd name="connsiteY0" fmla="*/ 1603960 h 1603960"/>
                  <a:gd name="connsiteX1" fmla="*/ 456782 w 2398330"/>
                  <a:gd name="connsiteY1" fmla="*/ 760334 h 1603960"/>
                  <a:gd name="connsiteX2" fmla="*/ 431267 w 2398330"/>
                  <a:gd name="connsiteY2" fmla="*/ 575007 h 1603960"/>
                  <a:gd name="connsiteX3" fmla="*/ 1029134 w 2398330"/>
                  <a:gd name="connsiteY3" fmla="*/ 0 h 1603960"/>
                  <a:gd name="connsiteX4" fmla="*/ 1576507 w 2398330"/>
                  <a:gd name="connsiteY4" fmla="*/ 362823 h 1603960"/>
                  <a:gd name="connsiteX5" fmla="*/ 1591254 w 2398330"/>
                  <a:gd name="connsiteY5" fmla="*/ 410329 h 1603960"/>
                  <a:gd name="connsiteX6" fmla="*/ 1728787 w 2398330"/>
                  <a:gd name="connsiteY6" fmla="*/ 385853 h 1603960"/>
                  <a:gd name="connsiteX7" fmla="*/ 2160016 w 2398330"/>
                  <a:gd name="connsiteY7" fmla="*/ 817082 h 1603960"/>
                  <a:gd name="connsiteX8" fmla="*/ 2126128 w 2398330"/>
                  <a:gd name="connsiteY8" fmla="*/ 984936 h 1603960"/>
                  <a:gd name="connsiteX9" fmla="*/ 2121365 w 2398330"/>
                  <a:gd name="connsiteY9" fmla="*/ 993711 h 1603960"/>
                  <a:gd name="connsiteX10" fmla="*/ 2126498 w 2398330"/>
                  <a:gd name="connsiteY10" fmla="*/ 994229 h 1603960"/>
                  <a:gd name="connsiteX11" fmla="*/ 2398330 w 2398330"/>
                  <a:gd name="connsiteY11" fmla="*/ 1327755 h 1603960"/>
                  <a:gd name="connsiteX12" fmla="*/ 2298617 w 2398330"/>
                  <a:gd name="connsiteY12" fmla="*/ 1568484 h 1603960"/>
                  <a:gd name="connsiteX0" fmla="*/ 117007 w 2363009"/>
                  <a:gd name="connsiteY0" fmla="*/ 1603960 h 1603960"/>
                  <a:gd name="connsiteX1" fmla="*/ 421461 w 2363009"/>
                  <a:gd name="connsiteY1" fmla="*/ 760334 h 1603960"/>
                  <a:gd name="connsiteX2" fmla="*/ 395946 w 2363009"/>
                  <a:gd name="connsiteY2" fmla="*/ 575007 h 1603960"/>
                  <a:gd name="connsiteX3" fmla="*/ 993813 w 2363009"/>
                  <a:gd name="connsiteY3" fmla="*/ 0 h 1603960"/>
                  <a:gd name="connsiteX4" fmla="*/ 1541186 w 2363009"/>
                  <a:gd name="connsiteY4" fmla="*/ 362823 h 1603960"/>
                  <a:gd name="connsiteX5" fmla="*/ 1555933 w 2363009"/>
                  <a:gd name="connsiteY5" fmla="*/ 410329 h 1603960"/>
                  <a:gd name="connsiteX6" fmla="*/ 1693466 w 2363009"/>
                  <a:gd name="connsiteY6" fmla="*/ 385853 h 1603960"/>
                  <a:gd name="connsiteX7" fmla="*/ 2124695 w 2363009"/>
                  <a:gd name="connsiteY7" fmla="*/ 817082 h 1603960"/>
                  <a:gd name="connsiteX8" fmla="*/ 2090807 w 2363009"/>
                  <a:gd name="connsiteY8" fmla="*/ 984936 h 1603960"/>
                  <a:gd name="connsiteX9" fmla="*/ 2086044 w 2363009"/>
                  <a:gd name="connsiteY9" fmla="*/ 993711 h 1603960"/>
                  <a:gd name="connsiteX10" fmla="*/ 2091177 w 2363009"/>
                  <a:gd name="connsiteY10" fmla="*/ 994229 h 1603960"/>
                  <a:gd name="connsiteX11" fmla="*/ 2363009 w 2363009"/>
                  <a:gd name="connsiteY11" fmla="*/ 1327755 h 1603960"/>
                  <a:gd name="connsiteX12" fmla="*/ 2263296 w 2363009"/>
                  <a:gd name="connsiteY12" fmla="*/ 1568484 h 1603960"/>
                  <a:gd name="connsiteX0" fmla="*/ 117007 w 2363009"/>
                  <a:gd name="connsiteY0" fmla="*/ 1603960 h 1603960"/>
                  <a:gd name="connsiteX1" fmla="*/ 421461 w 2363009"/>
                  <a:gd name="connsiteY1" fmla="*/ 760334 h 1603960"/>
                  <a:gd name="connsiteX2" fmla="*/ 993813 w 2363009"/>
                  <a:gd name="connsiteY2" fmla="*/ 0 h 1603960"/>
                  <a:gd name="connsiteX3" fmla="*/ 1541186 w 2363009"/>
                  <a:gd name="connsiteY3" fmla="*/ 362823 h 1603960"/>
                  <a:gd name="connsiteX4" fmla="*/ 1555933 w 2363009"/>
                  <a:gd name="connsiteY4" fmla="*/ 410329 h 1603960"/>
                  <a:gd name="connsiteX5" fmla="*/ 1693466 w 2363009"/>
                  <a:gd name="connsiteY5" fmla="*/ 385853 h 1603960"/>
                  <a:gd name="connsiteX6" fmla="*/ 2124695 w 2363009"/>
                  <a:gd name="connsiteY6" fmla="*/ 817082 h 1603960"/>
                  <a:gd name="connsiteX7" fmla="*/ 2090807 w 2363009"/>
                  <a:gd name="connsiteY7" fmla="*/ 984936 h 1603960"/>
                  <a:gd name="connsiteX8" fmla="*/ 2086044 w 2363009"/>
                  <a:gd name="connsiteY8" fmla="*/ 993711 h 1603960"/>
                  <a:gd name="connsiteX9" fmla="*/ 2091177 w 2363009"/>
                  <a:gd name="connsiteY9" fmla="*/ 994229 h 1603960"/>
                  <a:gd name="connsiteX10" fmla="*/ 2363009 w 2363009"/>
                  <a:gd name="connsiteY10" fmla="*/ 1327755 h 1603960"/>
                  <a:gd name="connsiteX11" fmla="*/ 2263296 w 2363009"/>
                  <a:gd name="connsiteY11" fmla="*/ 1568484 h 1603960"/>
                  <a:gd name="connsiteX0" fmla="*/ 106776 w 2352778"/>
                  <a:gd name="connsiteY0" fmla="*/ 1603960 h 1603960"/>
                  <a:gd name="connsiteX1" fmla="*/ 456689 w 2352778"/>
                  <a:gd name="connsiteY1" fmla="*/ 760335 h 1603960"/>
                  <a:gd name="connsiteX2" fmla="*/ 983582 w 2352778"/>
                  <a:gd name="connsiteY2" fmla="*/ 0 h 1603960"/>
                  <a:gd name="connsiteX3" fmla="*/ 1530955 w 2352778"/>
                  <a:gd name="connsiteY3" fmla="*/ 362823 h 1603960"/>
                  <a:gd name="connsiteX4" fmla="*/ 1545702 w 2352778"/>
                  <a:gd name="connsiteY4" fmla="*/ 410329 h 1603960"/>
                  <a:gd name="connsiteX5" fmla="*/ 1683235 w 2352778"/>
                  <a:gd name="connsiteY5" fmla="*/ 385853 h 1603960"/>
                  <a:gd name="connsiteX6" fmla="*/ 2114464 w 2352778"/>
                  <a:gd name="connsiteY6" fmla="*/ 817082 h 1603960"/>
                  <a:gd name="connsiteX7" fmla="*/ 2080576 w 2352778"/>
                  <a:gd name="connsiteY7" fmla="*/ 984936 h 1603960"/>
                  <a:gd name="connsiteX8" fmla="*/ 2075813 w 2352778"/>
                  <a:gd name="connsiteY8" fmla="*/ 993711 h 1603960"/>
                  <a:gd name="connsiteX9" fmla="*/ 2080946 w 2352778"/>
                  <a:gd name="connsiteY9" fmla="*/ 994229 h 1603960"/>
                  <a:gd name="connsiteX10" fmla="*/ 2352778 w 2352778"/>
                  <a:gd name="connsiteY10" fmla="*/ 1327755 h 1603960"/>
                  <a:gd name="connsiteX11" fmla="*/ 2253065 w 2352778"/>
                  <a:gd name="connsiteY11" fmla="*/ 1568484 h 1603960"/>
                  <a:gd name="connsiteX0" fmla="*/ 106776 w 2352778"/>
                  <a:gd name="connsiteY0" fmla="*/ 1603960 h 1603960"/>
                  <a:gd name="connsiteX1" fmla="*/ 456689 w 2352778"/>
                  <a:gd name="connsiteY1" fmla="*/ 760335 h 1603960"/>
                  <a:gd name="connsiteX2" fmla="*/ 983582 w 2352778"/>
                  <a:gd name="connsiteY2" fmla="*/ 0 h 1603960"/>
                  <a:gd name="connsiteX3" fmla="*/ 1530955 w 2352778"/>
                  <a:gd name="connsiteY3" fmla="*/ 362823 h 1603960"/>
                  <a:gd name="connsiteX4" fmla="*/ 1545702 w 2352778"/>
                  <a:gd name="connsiteY4" fmla="*/ 410329 h 1603960"/>
                  <a:gd name="connsiteX5" fmla="*/ 1683235 w 2352778"/>
                  <a:gd name="connsiteY5" fmla="*/ 385853 h 1603960"/>
                  <a:gd name="connsiteX6" fmla="*/ 2114464 w 2352778"/>
                  <a:gd name="connsiteY6" fmla="*/ 817082 h 1603960"/>
                  <a:gd name="connsiteX7" fmla="*/ 2080576 w 2352778"/>
                  <a:gd name="connsiteY7" fmla="*/ 984936 h 1603960"/>
                  <a:gd name="connsiteX8" fmla="*/ 2075813 w 2352778"/>
                  <a:gd name="connsiteY8" fmla="*/ 993711 h 1603960"/>
                  <a:gd name="connsiteX9" fmla="*/ 2080946 w 2352778"/>
                  <a:gd name="connsiteY9" fmla="*/ 994229 h 1603960"/>
                  <a:gd name="connsiteX10" fmla="*/ 2352778 w 2352778"/>
                  <a:gd name="connsiteY10" fmla="*/ 1327755 h 1603960"/>
                  <a:gd name="connsiteX11" fmla="*/ 2253065 w 2352778"/>
                  <a:gd name="connsiteY11" fmla="*/ 1568484 h 1603960"/>
                  <a:gd name="connsiteX0" fmla="*/ 106776 w 2352778"/>
                  <a:gd name="connsiteY0" fmla="*/ 1610605 h 1610605"/>
                  <a:gd name="connsiteX1" fmla="*/ 456689 w 2352778"/>
                  <a:gd name="connsiteY1" fmla="*/ 766980 h 1610605"/>
                  <a:gd name="connsiteX2" fmla="*/ 983582 w 2352778"/>
                  <a:gd name="connsiteY2" fmla="*/ 6645 h 1610605"/>
                  <a:gd name="connsiteX3" fmla="*/ 1530955 w 2352778"/>
                  <a:gd name="connsiteY3" fmla="*/ 369468 h 1610605"/>
                  <a:gd name="connsiteX4" fmla="*/ 1545702 w 2352778"/>
                  <a:gd name="connsiteY4" fmla="*/ 416974 h 1610605"/>
                  <a:gd name="connsiteX5" fmla="*/ 1683235 w 2352778"/>
                  <a:gd name="connsiteY5" fmla="*/ 392498 h 1610605"/>
                  <a:gd name="connsiteX6" fmla="*/ 2114464 w 2352778"/>
                  <a:gd name="connsiteY6" fmla="*/ 823727 h 1610605"/>
                  <a:gd name="connsiteX7" fmla="*/ 2080576 w 2352778"/>
                  <a:gd name="connsiteY7" fmla="*/ 991581 h 1610605"/>
                  <a:gd name="connsiteX8" fmla="*/ 2075813 w 2352778"/>
                  <a:gd name="connsiteY8" fmla="*/ 1000356 h 1610605"/>
                  <a:gd name="connsiteX9" fmla="*/ 2080946 w 2352778"/>
                  <a:gd name="connsiteY9" fmla="*/ 1000874 h 1610605"/>
                  <a:gd name="connsiteX10" fmla="*/ 2352778 w 2352778"/>
                  <a:gd name="connsiteY10" fmla="*/ 1334400 h 1610605"/>
                  <a:gd name="connsiteX11" fmla="*/ 2253065 w 2352778"/>
                  <a:gd name="connsiteY11" fmla="*/ 1575129 h 1610605"/>
                  <a:gd name="connsiteX0" fmla="*/ 106776 w 2352778"/>
                  <a:gd name="connsiteY0" fmla="*/ 1610605 h 1610605"/>
                  <a:gd name="connsiteX1" fmla="*/ 456689 w 2352778"/>
                  <a:gd name="connsiteY1" fmla="*/ 766980 h 1610605"/>
                  <a:gd name="connsiteX2" fmla="*/ 983582 w 2352778"/>
                  <a:gd name="connsiteY2" fmla="*/ 6645 h 1610605"/>
                  <a:gd name="connsiteX3" fmla="*/ 1530955 w 2352778"/>
                  <a:gd name="connsiteY3" fmla="*/ 369468 h 1610605"/>
                  <a:gd name="connsiteX4" fmla="*/ 1683235 w 2352778"/>
                  <a:gd name="connsiteY4" fmla="*/ 392498 h 1610605"/>
                  <a:gd name="connsiteX5" fmla="*/ 2114464 w 2352778"/>
                  <a:gd name="connsiteY5" fmla="*/ 823727 h 1610605"/>
                  <a:gd name="connsiteX6" fmla="*/ 2080576 w 2352778"/>
                  <a:gd name="connsiteY6" fmla="*/ 991581 h 1610605"/>
                  <a:gd name="connsiteX7" fmla="*/ 2075813 w 2352778"/>
                  <a:gd name="connsiteY7" fmla="*/ 1000356 h 1610605"/>
                  <a:gd name="connsiteX8" fmla="*/ 2080946 w 2352778"/>
                  <a:gd name="connsiteY8" fmla="*/ 1000874 h 1610605"/>
                  <a:gd name="connsiteX9" fmla="*/ 2352778 w 2352778"/>
                  <a:gd name="connsiteY9" fmla="*/ 1334400 h 1610605"/>
                  <a:gd name="connsiteX10" fmla="*/ 2253065 w 2352778"/>
                  <a:gd name="connsiteY10" fmla="*/ 1575129 h 1610605"/>
                  <a:gd name="connsiteX0" fmla="*/ 106776 w 2352778"/>
                  <a:gd name="connsiteY0" fmla="*/ 1612114 h 1612114"/>
                  <a:gd name="connsiteX1" fmla="*/ 456689 w 2352778"/>
                  <a:gd name="connsiteY1" fmla="*/ 768489 h 1612114"/>
                  <a:gd name="connsiteX2" fmla="*/ 983582 w 2352778"/>
                  <a:gd name="connsiteY2" fmla="*/ 8154 h 1612114"/>
                  <a:gd name="connsiteX3" fmla="*/ 1683235 w 2352778"/>
                  <a:gd name="connsiteY3" fmla="*/ 394007 h 1612114"/>
                  <a:gd name="connsiteX4" fmla="*/ 2114464 w 2352778"/>
                  <a:gd name="connsiteY4" fmla="*/ 825236 h 1612114"/>
                  <a:gd name="connsiteX5" fmla="*/ 2080576 w 2352778"/>
                  <a:gd name="connsiteY5" fmla="*/ 993090 h 1612114"/>
                  <a:gd name="connsiteX6" fmla="*/ 2075813 w 2352778"/>
                  <a:gd name="connsiteY6" fmla="*/ 1001865 h 1612114"/>
                  <a:gd name="connsiteX7" fmla="*/ 2080946 w 2352778"/>
                  <a:gd name="connsiteY7" fmla="*/ 1002383 h 1612114"/>
                  <a:gd name="connsiteX8" fmla="*/ 2352778 w 2352778"/>
                  <a:gd name="connsiteY8" fmla="*/ 1335909 h 1612114"/>
                  <a:gd name="connsiteX9" fmla="*/ 2253065 w 2352778"/>
                  <a:gd name="connsiteY9" fmla="*/ 1576638 h 1612114"/>
                  <a:gd name="connsiteX0" fmla="*/ 106776 w 2352778"/>
                  <a:gd name="connsiteY0" fmla="*/ 1611207 h 1611207"/>
                  <a:gd name="connsiteX1" fmla="*/ 456689 w 2352778"/>
                  <a:gd name="connsiteY1" fmla="*/ 767582 h 1611207"/>
                  <a:gd name="connsiteX2" fmla="*/ 983582 w 2352778"/>
                  <a:gd name="connsiteY2" fmla="*/ 7247 h 1611207"/>
                  <a:gd name="connsiteX3" fmla="*/ 1558230 w 2352778"/>
                  <a:gd name="connsiteY3" fmla="*/ 438554 h 1611207"/>
                  <a:gd name="connsiteX4" fmla="*/ 2114464 w 2352778"/>
                  <a:gd name="connsiteY4" fmla="*/ 824329 h 1611207"/>
                  <a:gd name="connsiteX5" fmla="*/ 2080576 w 2352778"/>
                  <a:gd name="connsiteY5" fmla="*/ 992183 h 1611207"/>
                  <a:gd name="connsiteX6" fmla="*/ 2075813 w 2352778"/>
                  <a:gd name="connsiteY6" fmla="*/ 1000958 h 1611207"/>
                  <a:gd name="connsiteX7" fmla="*/ 2080946 w 2352778"/>
                  <a:gd name="connsiteY7" fmla="*/ 1001476 h 1611207"/>
                  <a:gd name="connsiteX8" fmla="*/ 2352778 w 2352778"/>
                  <a:gd name="connsiteY8" fmla="*/ 1335002 h 1611207"/>
                  <a:gd name="connsiteX9" fmla="*/ 2253065 w 2352778"/>
                  <a:gd name="connsiteY9" fmla="*/ 1575731 h 1611207"/>
                  <a:gd name="connsiteX0" fmla="*/ 106776 w 2352778"/>
                  <a:gd name="connsiteY0" fmla="*/ 1608821 h 1608821"/>
                  <a:gd name="connsiteX1" fmla="*/ 456689 w 2352778"/>
                  <a:gd name="connsiteY1" fmla="*/ 765196 h 1608821"/>
                  <a:gd name="connsiteX2" fmla="*/ 983582 w 2352778"/>
                  <a:gd name="connsiteY2" fmla="*/ 4861 h 1608821"/>
                  <a:gd name="connsiteX3" fmla="*/ 1558230 w 2352778"/>
                  <a:gd name="connsiteY3" fmla="*/ 436168 h 1608821"/>
                  <a:gd name="connsiteX4" fmla="*/ 2114464 w 2352778"/>
                  <a:gd name="connsiteY4" fmla="*/ 821943 h 1608821"/>
                  <a:gd name="connsiteX5" fmla="*/ 2080576 w 2352778"/>
                  <a:gd name="connsiteY5" fmla="*/ 989797 h 1608821"/>
                  <a:gd name="connsiteX6" fmla="*/ 2075813 w 2352778"/>
                  <a:gd name="connsiteY6" fmla="*/ 998572 h 1608821"/>
                  <a:gd name="connsiteX7" fmla="*/ 2080946 w 2352778"/>
                  <a:gd name="connsiteY7" fmla="*/ 999090 h 1608821"/>
                  <a:gd name="connsiteX8" fmla="*/ 2352778 w 2352778"/>
                  <a:gd name="connsiteY8" fmla="*/ 1332616 h 1608821"/>
                  <a:gd name="connsiteX9" fmla="*/ 2253065 w 2352778"/>
                  <a:gd name="connsiteY9" fmla="*/ 1573345 h 1608821"/>
                  <a:gd name="connsiteX0" fmla="*/ 106776 w 2352778"/>
                  <a:gd name="connsiteY0" fmla="*/ 1608821 h 1608821"/>
                  <a:gd name="connsiteX1" fmla="*/ 456689 w 2352778"/>
                  <a:gd name="connsiteY1" fmla="*/ 765196 h 1608821"/>
                  <a:gd name="connsiteX2" fmla="*/ 983582 w 2352778"/>
                  <a:gd name="connsiteY2" fmla="*/ 4861 h 1608821"/>
                  <a:gd name="connsiteX3" fmla="*/ 1558230 w 2352778"/>
                  <a:gd name="connsiteY3" fmla="*/ 436168 h 1608821"/>
                  <a:gd name="connsiteX4" fmla="*/ 2114464 w 2352778"/>
                  <a:gd name="connsiteY4" fmla="*/ 821943 h 1608821"/>
                  <a:gd name="connsiteX5" fmla="*/ 2080576 w 2352778"/>
                  <a:gd name="connsiteY5" fmla="*/ 989797 h 1608821"/>
                  <a:gd name="connsiteX6" fmla="*/ 2075813 w 2352778"/>
                  <a:gd name="connsiteY6" fmla="*/ 998572 h 1608821"/>
                  <a:gd name="connsiteX7" fmla="*/ 2080946 w 2352778"/>
                  <a:gd name="connsiteY7" fmla="*/ 999090 h 1608821"/>
                  <a:gd name="connsiteX8" fmla="*/ 2352778 w 2352778"/>
                  <a:gd name="connsiteY8" fmla="*/ 1332616 h 1608821"/>
                  <a:gd name="connsiteX9" fmla="*/ 2253065 w 2352778"/>
                  <a:gd name="connsiteY9" fmla="*/ 1573345 h 1608821"/>
                  <a:gd name="connsiteX0" fmla="*/ 106776 w 2352778"/>
                  <a:gd name="connsiteY0" fmla="*/ 1615532 h 1615532"/>
                  <a:gd name="connsiteX1" fmla="*/ 456689 w 2352778"/>
                  <a:gd name="connsiteY1" fmla="*/ 771907 h 1615532"/>
                  <a:gd name="connsiteX2" fmla="*/ 983582 w 2352778"/>
                  <a:gd name="connsiteY2" fmla="*/ 11572 h 1615532"/>
                  <a:gd name="connsiteX3" fmla="*/ 1558230 w 2352778"/>
                  <a:gd name="connsiteY3" fmla="*/ 442879 h 1615532"/>
                  <a:gd name="connsiteX4" fmla="*/ 2114464 w 2352778"/>
                  <a:gd name="connsiteY4" fmla="*/ 828654 h 1615532"/>
                  <a:gd name="connsiteX5" fmla="*/ 2080576 w 2352778"/>
                  <a:gd name="connsiteY5" fmla="*/ 996508 h 1615532"/>
                  <a:gd name="connsiteX6" fmla="*/ 2075813 w 2352778"/>
                  <a:gd name="connsiteY6" fmla="*/ 1005283 h 1615532"/>
                  <a:gd name="connsiteX7" fmla="*/ 2080946 w 2352778"/>
                  <a:gd name="connsiteY7" fmla="*/ 1005801 h 1615532"/>
                  <a:gd name="connsiteX8" fmla="*/ 2352778 w 2352778"/>
                  <a:gd name="connsiteY8" fmla="*/ 1339327 h 1615532"/>
                  <a:gd name="connsiteX9" fmla="*/ 2253065 w 2352778"/>
                  <a:gd name="connsiteY9" fmla="*/ 1580056 h 1615532"/>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075813 w 2352778"/>
                  <a:gd name="connsiteY5" fmla="*/ 1006291 h 1616540"/>
                  <a:gd name="connsiteX6" fmla="*/ 2080946 w 2352778"/>
                  <a:gd name="connsiteY6" fmla="*/ 1006809 h 1616540"/>
                  <a:gd name="connsiteX7" fmla="*/ 2352778 w 2352778"/>
                  <a:gd name="connsiteY7" fmla="*/ 1340335 h 1616540"/>
                  <a:gd name="connsiteX8" fmla="*/ 2253065 w 2352778"/>
                  <a:gd name="connsiteY8"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075813 w 2352778"/>
                  <a:gd name="connsiteY5" fmla="*/ 1006291 h 1616540"/>
                  <a:gd name="connsiteX6" fmla="*/ 2352778 w 2352778"/>
                  <a:gd name="connsiteY6" fmla="*/ 1340335 h 1616540"/>
                  <a:gd name="connsiteX7" fmla="*/ 2253065 w 2352778"/>
                  <a:gd name="connsiteY7" fmla="*/ 1581064 h 1616540"/>
                  <a:gd name="connsiteX0" fmla="*/ 106776 w 2519017"/>
                  <a:gd name="connsiteY0" fmla="*/ 1616540 h 1616540"/>
                  <a:gd name="connsiteX1" fmla="*/ 456689 w 2519017"/>
                  <a:gd name="connsiteY1" fmla="*/ 772915 h 1616540"/>
                  <a:gd name="connsiteX2" fmla="*/ 983582 w 2519017"/>
                  <a:gd name="connsiteY2" fmla="*/ 12580 h 1616540"/>
                  <a:gd name="connsiteX3" fmla="*/ 1558230 w 2519017"/>
                  <a:gd name="connsiteY3" fmla="*/ 443887 h 1616540"/>
                  <a:gd name="connsiteX4" fmla="*/ 2080576 w 2519017"/>
                  <a:gd name="connsiteY4" fmla="*/ 997516 h 1616540"/>
                  <a:gd name="connsiteX5" fmla="*/ 2519017 w 2519017"/>
                  <a:gd name="connsiteY5" fmla="*/ 790371 h 1616540"/>
                  <a:gd name="connsiteX6" fmla="*/ 2352778 w 2519017"/>
                  <a:gd name="connsiteY6" fmla="*/ 1340335 h 1616540"/>
                  <a:gd name="connsiteX7" fmla="*/ 2253065 w 2519017"/>
                  <a:gd name="connsiteY7"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352778 w 2352778"/>
                  <a:gd name="connsiteY5" fmla="*/ 1340335 h 1616540"/>
                  <a:gd name="connsiteX6" fmla="*/ 2253065 w 2352778"/>
                  <a:gd name="connsiteY6" fmla="*/ 1581064 h 1616540"/>
                  <a:gd name="connsiteX0" fmla="*/ 106776 w 2253066"/>
                  <a:gd name="connsiteY0" fmla="*/ 1616540 h 1616540"/>
                  <a:gd name="connsiteX1" fmla="*/ 456689 w 2253066"/>
                  <a:gd name="connsiteY1" fmla="*/ 772915 h 1616540"/>
                  <a:gd name="connsiteX2" fmla="*/ 983582 w 2253066"/>
                  <a:gd name="connsiteY2" fmla="*/ 12580 h 1616540"/>
                  <a:gd name="connsiteX3" fmla="*/ 1558230 w 2253066"/>
                  <a:gd name="connsiteY3" fmla="*/ 443887 h 1616540"/>
                  <a:gd name="connsiteX4" fmla="*/ 2080576 w 2253066"/>
                  <a:gd name="connsiteY4" fmla="*/ 997516 h 1616540"/>
                  <a:gd name="connsiteX5" fmla="*/ 2253065 w 2253066"/>
                  <a:gd name="connsiteY5" fmla="*/ 1581064 h 1616540"/>
                  <a:gd name="connsiteX0" fmla="*/ 106776 w 2307178"/>
                  <a:gd name="connsiteY0" fmla="*/ 1616540 h 1616540"/>
                  <a:gd name="connsiteX1" fmla="*/ 456689 w 2307178"/>
                  <a:gd name="connsiteY1" fmla="*/ 772915 h 1616540"/>
                  <a:gd name="connsiteX2" fmla="*/ 983582 w 2307178"/>
                  <a:gd name="connsiteY2" fmla="*/ 12580 h 1616540"/>
                  <a:gd name="connsiteX3" fmla="*/ 1558230 w 2307178"/>
                  <a:gd name="connsiteY3" fmla="*/ 443887 h 1616540"/>
                  <a:gd name="connsiteX4" fmla="*/ 2080576 w 2307178"/>
                  <a:gd name="connsiteY4" fmla="*/ 997516 h 1616540"/>
                  <a:gd name="connsiteX5" fmla="*/ 2253065 w 2307178"/>
                  <a:gd name="connsiteY5" fmla="*/ 1581064 h 1616540"/>
                  <a:gd name="connsiteX0" fmla="*/ 106776 w 2403693"/>
                  <a:gd name="connsiteY0" fmla="*/ 1616540 h 1616540"/>
                  <a:gd name="connsiteX1" fmla="*/ 456689 w 2403693"/>
                  <a:gd name="connsiteY1" fmla="*/ 772915 h 1616540"/>
                  <a:gd name="connsiteX2" fmla="*/ 983582 w 2403693"/>
                  <a:gd name="connsiteY2" fmla="*/ 12580 h 1616540"/>
                  <a:gd name="connsiteX3" fmla="*/ 1558230 w 2403693"/>
                  <a:gd name="connsiteY3" fmla="*/ 443887 h 1616540"/>
                  <a:gd name="connsiteX4" fmla="*/ 2080576 w 2403693"/>
                  <a:gd name="connsiteY4" fmla="*/ 997516 h 1616540"/>
                  <a:gd name="connsiteX5" fmla="*/ 2253065 w 2403693"/>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60046 h 1660046"/>
                  <a:gd name="connsiteX1" fmla="*/ 456689 w 2380744"/>
                  <a:gd name="connsiteY1" fmla="*/ 816421 h 1660046"/>
                  <a:gd name="connsiteX2" fmla="*/ 972216 w 2380744"/>
                  <a:gd name="connsiteY2" fmla="*/ 10631 h 1660046"/>
                  <a:gd name="connsiteX3" fmla="*/ 1558230 w 2380744"/>
                  <a:gd name="connsiteY3" fmla="*/ 487393 h 1660046"/>
                  <a:gd name="connsiteX4" fmla="*/ 2080576 w 2380744"/>
                  <a:gd name="connsiteY4" fmla="*/ 1041022 h 1660046"/>
                  <a:gd name="connsiteX5" fmla="*/ 2253065 w 2380744"/>
                  <a:gd name="connsiteY5" fmla="*/ 1624570 h 1660046"/>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73898 h 1673898"/>
                  <a:gd name="connsiteX1" fmla="*/ 456689 w 2380744"/>
                  <a:gd name="connsiteY1" fmla="*/ 830273 h 1673898"/>
                  <a:gd name="connsiteX2" fmla="*/ 972216 w 2380744"/>
                  <a:gd name="connsiteY2" fmla="*/ 24483 h 1673898"/>
                  <a:gd name="connsiteX3" fmla="*/ 1558230 w 2380744"/>
                  <a:gd name="connsiteY3" fmla="*/ 501245 h 1673898"/>
                  <a:gd name="connsiteX4" fmla="*/ 2080576 w 2380744"/>
                  <a:gd name="connsiteY4" fmla="*/ 1054874 h 1673898"/>
                  <a:gd name="connsiteX5" fmla="*/ 2253065 w 2380744"/>
                  <a:gd name="connsiteY5" fmla="*/ 1638422 h 1673898"/>
                  <a:gd name="connsiteX0" fmla="*/ 106776 w 2380744"/>
                  <a:gd name="connsiteY0" fmla="*/ 1663232 h 1663232"/>
                  <a:gd name="connsiteX1" fmla="*/ 456689 w 2380744"/>
                  <a:gd name="connsiteY1" fmla="*/ 819607 h 1663232"/>
                  <a:gd name="connsiteX2" fmla="*/ 972216 w 2380744"/>
                  <a:gd name="connsiteY2" fmla="*/ 13817 h 1663232"/>
                  <a:gd name="connsiteX3" fmla="*/ 1558230 w 2380744"/>
                  <a:gd name="connsiteY3" fmla="*/ 490579 h 1663232"/>
                  <a:gd name="connsiteX4" fmla="*/ 2080576 w 2380744"/>
                  <a:gd name="connsiteY4" fmla="*/ 1044208 h 1663232"/>
                  <a:gd name="connsiteX5" fmla="*/ 2253065 w 2380744"/>
                  <a:gd name="connsiteY5" fmla="*/ 1627756 h 1663232"/>
                  <a:gd name="connsiteX0" fmla="*/ 106776 w 2380744"/>
                  <a:gd name="connsiteY0" fmla="*/ 1620102 h 1620102"/>
                  <a:gd name="connsiteX1" fmla="*/ 456689 w 2380744"/>
                  <a:gd name="connsiteY1" fmla="*/ 776477 h 1620102"/>
                  <a:gd name="connsiteX2" fmla="*/ 801754 w 2380744"/>
                  <a:gd name="connsiteY2" fmla="*/ 16142 h 1620102"/>
                  <a:gd name="connsiteX3" fmla="*/ 1558230 w 2380744"/>
                  <a:gd name="connsiteY3" fmla="*/ 447449 h 1620102"/>
                  <a:gd name="connsiteX4" fmla="*/ 2080576 w 2380744"/>
                  <a:gd name="connsiteY4" fmla="*/ 1001078 h 1620102"/>
                  <a:gd name="connsiteX5" fmla="*/ 2253065 w 2380744"/>
                  <a:gd name="connsiteY5" fmla="*/ 1584626 h 1620102"/>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487430"/>
                  <a:gd name="connsiteY0" fmla="*/ 1631741 h 1631741"/>
                  <a:gd name="connsiteX1" fmla="*/ 456689 w 2487430"/>
                  <a:gd name="connsiteY1" fmla="*/ 788116 h 1631741"/>
                  <a:gd name="connsiteX2" fmla="*/ 801754 w 2487430"/>
                  <a:gd name="connsiteY2" fmla="*/ 27781 h 1631741"/>
                  <a:gd name="connsiteX3" fmla="*/ 1558230 w 2487430"/>
                  <a:gd name="connsiteY3" fmla="*/ 459088 h 1631741"/>
                  <a:gd name="connsiteX4" fmla="*/ 2080576 w 2487430"/>
                  <a:gd name="connsiteY4" fmla="*/ 1012717 h 1631741"/>
                  <a:gd name="connsiteX5" fmla="*/ 2414980 w 2487430"/>
                  <a:gd name="connsiteY5" fmla="*/ 1410071 h 1631741"/>
                  <a:gd name="connsiteX0" fmla="*/ 106776 w 2529784"/>
                  <a:gd name="connsiteY0" fmla="*/ 1631741 h 1631741"/>
                  <a:gd name="connsiteX1" fmla="*/ 456689 w 2529784"/>
                  <a:gd name="connsiteY1" fmla="*/ 788116 h 1631741"/>
                  <a:gd name="connsiteX2" fmla="*/ 801754 w 2529784"/>
                  <a:gd name="connsiteY2" fmla="*/ 27781 h 1631741"/>
                  <a:gd name="connsiteX3" fmla="*/ 1558230 w 2529784"/>
                  <a:gd name="connsiteY3" fmla="*/ 459088 h 1631741"/>
                  <a:gd name="connsiteX4" fmla="*/ 2212636 w 2529784"/>
                  <a:gd name="connsiteY4" fmla="*/ 808070 h 1631741"/>
                  <a:gd name="connsiteX5" fmla="*/ 2414980 w 2529784"/>
                  <a:gd name="connsiteY5" fmla="*/ 1410071 h 1631741"/>
                  <a:gd name="connsiteX0" fmla="*/ 106776 w 2529784"/>
                  <a:gd name="connsiteY0" fmla="*/ 1631741 h 1631741"/>
                  <a:gd name="connsiteX1" fmla="*/ 456689 w 2529784"/>
                  <a:gd name="connsiteY1" fmla="*/ 788116 h 1631741"/>
                  <a:gd name="connsiteX2" fmla="*/ 801754 w 2529784"/>
                  <a:gd name="connsiteY2" fmla="*/ 27781 h 1631741"/>
                  <a:gd name="connsiteX3" fmla="*/ 1558230 w 2529784"/>
                  <a:gd name="connsiteY3" fmla="*/ 459088 h 1631741"/>
                  <a:gd name="connsiteX4" fmla="*/ 2212636 w 2529784"/>
                  <a:gd name="connsiteY4" fmla="*/ 808070 h 1631741"/>
                  <a:gd name="connsiteX5" fmla="*/ 2414980 w 2529784"/>
                  <a:gd name="connsiteY5" fmla="*/ 1410071 h 1631741"/>
                  <a:gd name="connsiteX0" fmla="*/ 106776 w 2529784"/>
                  <a:gd name="connsiteY0" fmla="*/ 1631741 h 1631741"/>
                  <a:gd name="connsiteX1" fmla="*/ 456689 w 2529784"/>
                  <a:gd name="connsiteY1" fmla="*/ 788116 h 1631741"/>
                  <a:gd name="connsiteX2" fmla="*/ 801754 w 2529784"/>
                  <a:gd name="connsiteY2" fmla="*/ 27781 h 1631741"/>
                  <a:gd name="connsiteX3" fmla="*/ 1558230 w 2529784"/>
                  <a:gd name="connsiteY3" fmla="*/ 459088 h 1631741"/>
                  <a:gd name="connsiteX4" fmla="*/ 2212636 w 2529784"/>
                  <a:gd name="connsiteY4" fmla="*/ 808070 h 1631741"/>
                  <a:gd name="connsiteX5" fmla="*/ 2414980 w 2529784"/>
                  <a:gd name="connsiteY5" fmla="*/ 1410071 h 1631741"/>
                  <a:gd name="connsiteX0" fmla="*/ 106776 w 2521755"/>
                  <a:gd name="connsiteY0" fmla="*/ 1631741 h 1631741"/>
                  <a:gd name="connsiteX1" fmla="*/ 456689 w 2521755"/>
                  <a:gd name="connsiteY1" fmla="*/ 788116 h 1631741"/>
                  <a:gd name="connsiteX2" fmla="*/ 801754 w 2521755"/>
                  <a:gd name="connsiteY2" fmla="*/ 27781 h 1631741"/>
                  <a:gd name="connsiteX3" fmla="*/ 1558230 w 2521755"/>
                  <a:gd name="connsiteY3" fmla="*/ 459088 h 1631741"/>
                  <a:gd name="connsiteX4" fmla="*/ 2212636 w 2521755"/>
                  <a:gd name="connsiteY4" fmla="*/ 808070 h 1631741"/>
                  <a:gd name="connsiteX5" fmla="*/ 2414980 w 2521755"/>
                  <a:gd name="connsiteY5" fmla="*/ 1410071 h 1631741"/>
                  <a:gd name="connsiteX0" fmla="*/ 187110 w 2602089"/>
                  <a:gd name="connsiteY0" fmla="*/ 1631741 h 1631741"/>
                  <a:gd name="connsiteX1" fmla="*/ 537023 w 2602089"/>
                  <a:gd name="connsiteY1" fmla="*/ 788116 h 1631741"/>
                  <a:gd name="connsiteX2" fmla="*/ 882088 w 2602089"/>
                  <a:gd name="connsiteY2" fmla="*/ 27781 h 1631741"/>
                  <a:gd name="connsiteX3" fmla="*/ 1638564 w 2602089"/>
                  <a:gd name="connsiteY3" fmla="*/ 459088 h 1631741"/>
                  <a:gd name="connsiteX4" fmla="*/ 2292970 w 2602089"/>
                  <a:gd name="connsiteY4" fmla="*/ 808070 h 1631741"/>
                  <a:gd name="connsiteX5" fmla="*/ 2495314 w 2602089"/>
                  <a:gd name="connsiteY5" fmla="*/ 1410071 h 1631741"/>
                  <a:gd name="connsiteX0" fmla="*/ 203397 w 2618376"/>
                  <a:gd name="connsiteY0" fmla="*/ 1631741 h 1631741"/>
                  <a:gd name="connsiteX1" fmla="*/ 486034 w 2618376"/>
                  <a:gd name="connsiteY1" fmla="*/ 679189 h 1631741"/>
                  <a:gd name="connsiteX2" fmla="*/ 898375 w 2618376"/>
                  <a:gd name="connsiteY2" fmla="*/ 27781 h 1631741"/>
                  <a:gd name="connsiteX3" fmla="*/ 1654851 w 2618376"/>
                  <a:gd name="connsiteY3" fmla="*/ 459088 h 1631741"/>
                  <a:gd name="connsiteX4" fmla="*/ 2309257 w 2618376"/>
                  <a:gd name="connsiteY4" fmla="*/ 808070 h 1631741"/>
                  <a:gd name="connsiteX5" fmla="*/ 2511601 w 2618376"/>
                  <a:gd name="connsiteY5" fmla="*/ 1410071 h 1631741"/>
                  <a:gd name="connsiteX0" fmla="*/ 203397 w 2618376"/>
                  <a:gd name="connsiteY0" fmla="*/ 1631741 h 1631741"/>
                  <a:gd name="connsiteX1" fmla="*/ 486034 w 2618376"/>
                  <a:gd name="connsiteY1" fmla="*/ 679189 h 1631741"/>
                  <a:gd name="connsiteX2" fmla="*/ 898375 w 2618376"/>
                  <a:gd name="connsiteY2" fmla="*/ 27781 h 1631741"/>
                  <a:gd name="connsiteX3" fmla="*/ 1654851 w 2618376"/>
                  <a:gd name="connsiteY3" fmla="*/ 459088 h 1631741"/>
                  <a:gd name="connsiteX4" fmla="*/ 2309257 w 2618376"/>
                  <a:gd name="connsiteY4" fmla="*/ 808070 h 1631741"/>
                  <a:gd name="connsiteX5" fmla="*/ 2511601 w 2618376"/>
                  <a:gd name="connsiteY5" fmla="*/ 1410071 h 1631741"/>
                  <a:gd name="connsiteX0" fmla="*/ 203397 w 2618376"/>
                  <a:gd name="connsiteY0" fmla="*/ 1631741 h 1631741"/>
                  <a:gd name="connsiteX1" fmla="*/ 486034 w 2618376"/>
                  <a:gd name="connsiteY1" fmla="*/ 679189 h 1631741"/>
                  <a:gd name="connsiteX2" fmla="*/ 898375 w 2618376"/>
                  <a:gd name="connsiteY2" fmla="*/ 27781 h 1631741"/>
                  <a:gd name="connsiteX3" fmla="*/ 1654851 w 2618376"/>
                  <a:gd name="connsiteY3" fmla="*/ 459088 h 1631741"/>
                  <a:gd name="connsiteX4" fmla="*/ 2309257 w 2618376"/>
                  <a:gd name="connsiteY4" fmla="*/ 808070 h 1631741"/>
                  <a:gd name="connsiteX5" fmla="*/ 2511601 w 2618376"/>
                  <a:gd name="connsiteY5" fmla="*/ 1410071 h 1631741"/>
                  <a:gd name="connsiteX0" fmla="*/ 203400 w 2618376"/>
                  <a:gd name="connsiteY0" fmla="*/ 1634574 h 1634574"/>
                  <a:gd name="connsiteX1" fmla="*/ 486037 w 2618376"/>
                  <a:gd name="connsiteY1" fmla="*/ 682022 h 1634574"/>
                  <a:gd name="connsiteX2" fmla="*/ 898378 w 2618376"/>
                  <a:gd name="connsiteY2" fmla="*/ 30614 h 1634574"/>
                  <a:gd name="connsiteX3" fmla="*/ 1666936 w 2618376"/>
                  <a:gd name="connsiteY3" fmla="*/ 430111 h 1634574"/>
                  <a:gd name="connsiteX4" fmla="*/ 2309260 w 2618376"/>
                  <a:gd name="connsiteY4" fmla="*/ 810903 h 1634574"/>
                  <a:gd name="connsiteX5" fmla="*/ 2511604 w 2618376"/>
                  <a:gd name="connsiteY5" fmla="*/ 1412904 h 1634574"/>
                  <a:gd name="connsiteX0" fmla="*/ 203400 w 2618376"/>
                  <a:gd name="connsiteY0" fmla="*/ 1634576 h 1634576"/>
                  <a:gd name="connsiteX1" fmla="*/ 486037 w 2618376"/>
                  <a:gd name="connsiteY1" fmla="*/ 682024 h 1634576"/>
                  <a:gd name="connsiteX2" fmla="*/ 898378 w 2618376"/>
                  <a:gd name="connsiteY2" fmla="*/ 30616 h 1634576"/>
                  <a:gd name="connsiteX3" fmla="*/ 1666936 w 2618376"/>
                  <a:gd name="connsiteY3" fmla="*/ 430113 h 1634576"/>
                  <a:gd name="connsiteX4" fmla="*/ 2309260 w 2618376"/>
                  <a:gd name="connsiteY4" fmla="*/ 810905 h 1634576"/>
                  <a:gd name="connsiteX5" fmla="*/ 2511604 w 2618376"/>
                  <a:gd name="connsiteY5" fmla="*/ 1412906 h 1634576"/>
                  <a:gd name="connsiteX0" fmla="*/ 203400 w 2605750"/>
                  <a:gd name="connsiteY0" fmla="*/ 1634576 h 1634576"/>
                  <a:gd name="connsiteX1" fmla="*/ 486037 w 2605750"/>
                  <a:gd name="connsiteY1" fmla="*/ 682024 h 1634576"/>
                  <a:gd name="connsiteX2" fmla="*/ 898378 w 2605750"/>
                  <a:gd name="connsiteY2" fmla="*/ 30616 h 1634576"/>
                  <a:gd name="connsiteX3" fmla="*/ 1666936 w 2605750"/>
                  <a:gd name="connsiteY3" fmla="*/ 430113 h 1634576"/>
                  <a:gd name="connsiteX4" fmla="*/ 2309260 w 2605750"/>
                  <a:gd name="connsiteY4" fmla="*/ 810905 h 1634576"/>
                  <a:gd name="connsiteX5" fmla="*/ 2511604 w 2605750"/>
                  <a:gd name="connsiteY5" fmla="*/ 1412906 h 1634576"/>
                  <a:gd name="connsiteX0" fmla="*/ 203400 w 2605750"/>
                  <a:gd name="connsiteY0" fmla="*/ 1634576 h 1634576"/>
                  <a:gd name="connsiteX1" fmla="*/ 486037 w 2605750"/>
                  <a:gd name="connsiteY1" fmla="*/ 682024 h 1634576"/>
                  <a:gd name="connsiteX2" fmla="*/ 898378 w 2605750"/>
                  <a:gd name="connsiteY2" fmla="*/ 30616 h 1634576"/>
                  <a:gd name="connsiteX3" fmla="*/ 1666936 w 2605750"/>
                  <a:gd name="connsiteY3" fmla="*/ 430113 h 1634576"/>
                  <a:gd name="connsiteX4" fmla="*/ 2309260 w 2605750"/>
                  <a:gd name="connsiteY4" fmla="*/ 810905 h 1634576"/>
                  <a:gd name="connsiteX5" fmla="*/ 2511604 w 2605750"/>
                  <a:gd name="connsiteY5" fmla="*/ 1412906 h 1634576"/>
                  <a:gd name="connsiteX0" fmla="*/ 203400 w 2605750"/>
                  <a:gd name="connsiteY0" fmla="*/ 1634576 h 1634576"/>
                  <a:gd name="connsiteX1" fmla="*/ 486037 w 2605750"/>
                  <a:gd name="connsiteY1" fmla="*/ 682024 h 1634576"/>
                  <a:gd name="connsiteX2" fmla="*/ 898378 w 2605750"/>
                  <a:gd name="connsiteY2" fmla="*/ 30616 h 1634576"/>
                  <a:gd name="connsiteX3" fmla="*/ 1666936 w 2605750"/>
                  <a:gd name="connsiteY3" fmla="*/ 430113 h 1634576"/>
                  <a:gd name="connsiteX4" fmla="*/ 2309260 w 2605750"/>
                  <a:gd name="connsiteY4" fmla="*/ 810905 h 1634576"/>
                  <a:gd name="connsiteX5" fmla="*/ 2511604 w 2605750"/>
                  <a:gd name="connsiteY5" fmla="*/ 1412906 h 1634576"/>
                  <a:gd name="connsiteX0" fmla="*/ 203400 w 2605750"/>
                  <a:gd name="connsiteY0" fmla="*/ 1595920 h 1595920"/>
                  <a:gd name="connsiteX1" fmla="*/ 486037 w 2605750"/>
                  <a:gd name="connsiteY1" fmla="*/ 643368 h 1595920"/>
                  <a:gd name="connsiteX2" fmla="*/ 925217 w 2605750"/>
                  <a:gd name="connsiteY2" fmla="*/ 35420 h 1595920"/>
                  <a:gd name="connsiteX3" fmla="*/ 1666936 w 2605750"/>
                  <a:gd name="connsiteY3" fmla="*/ 391457 h 1595920"/>
                  <a:gd name="connsiteX4" fmla="*/ 2309260 w 2605750"/>
                  <a:gd name="connsiteY4" fmla="*/ 772249 h 1595920"/>
                  <a:gd name="connsiteX5" fmla="*/ 2511604 w 2605750"/>
                  <a:gd name="connsiteY5" fmla="*/ 1374250 h 1595920"/>
                  <a:gd name="connsiteX0" fmla="*/ 203400 w 2605750"/>
                  <a:gd name="connsiteY0" fmla="*/ 1604035 h 1604035"/>
                  <a:gd name="connsiteX1" fmla="*/ 486037 w 2605750"/>
                  <a:gd name="connsiteY1" fmla="*/ 651483 h 1604035"/>
                  <a:gd name="connsiteX2" fmla="*/ 925217 w 2605750"/>
                  <a:gd name="connsiteY2" fmla="*/ 43535 h 1604035"/>
                  <a:gd name="connsiteX3" fmla="*/ 1666936 w 2605750"/>
                  <a:gd name="connsiteY3" fmla="*/ 399572 h 1604035"/>
                  <a:gd name="connsiteX4" fmla="*/ 2309260 w 2605750"/>
                  <a:gd name="connsiteY4" fmla="*/ 780364 h 1604035"/>
                  <a:gd name="connsiteX5" fmla="*/ 2511604 w 2605750"/>
                  <a:gd name="connsiteY5" fmla="*/ 1382365 h 1604035"/>
                  <a:gd name="connsiteX0" fmla="*/ 203400 w 2605750"/>
                  <a:gd name="connsiteY0" fmla="*/ 1618577 h 1618577"/>
                  <a:gd name="connsiteX1" fmla="*/ 486037 w 2605750"/>
                  <a:gd name="connsiteY1" fmla="*/ 666025 h 1618577"/>
                  <a:gd name="connsiteX2" fmla="*/ 914894 w 2605750"/>
                  <a:gd name="connsiteY2" fmla="*/ 41361 h 1618577"/>
                  <a:gd name="connsiteX3" fmla="*/ 1666936 w 2605750"/>
                  <a:gd name="connsiteY3" fmla="*/ 414114 h 1618577"/>
                  <a:gd name="connsiteX4" fmla="*/ 2309260 w 2605750"/>
                  <a:gd name="connsiteY4" fmla="*/ 794906 h 1618577"/>
                  <a:gd name="connsiteX5" fmla="*/ 2511604 w 2605750"/>
                  <a:gd name="connsiteY5" fmla="*/ 1396907 h 1618577"/>
                  <a:gd name="connsiteX0" fmla="*/ 203400 w 2605750"/>
                  <a:gd name="connsiteY0" fmla="*/ 1618577 h 1618577"/>
                  <a:gd name="connsiteX1" fmla="*/ 486037 w 2605750"/>
                  <a:gd name="connsiteY1" fmla="*/ 666025 h 1618577"/>
                  <a:gd name="connsiteX2" fmla="*/ 914894 w 2605750"/>
                  <a:gd name="connsiteY2" fmla="*/ 41361 h 1618577"/>
                  <a:gd name="connsiteX3" fmla="*/ 1666936 w 2605750"/>
                  <a:gd name="connsiteY3" fmla="*/ 414114 h 1618577"/>
                  <a:gd name="connsiteX4" fmla="*/ 2309260 w 2605750"/>
                  <a:gd name="connsiteY4" fmla="*/ 794906 h 1618577"/>
                  <a:gd name="connsiteX5" fmla="*/ 2511604 w 2605750"/>
                  <a:gd name="connsiteY5" fmla="*/ 1396907 h 1618577"/>
                  <a:gd name="connsiteX0" fmla="*/ 188344 w 2590694"/>
                  <a:gd name="connsiteY0" fmla="*/ 1618577 h 1618577"/>
                  <a:gd name="connsiteX1" fmla="*/ 532822 w 2590694"/>
                  <a:gd name="connsiteY1" fmla="*/ 700107 h 1618577"/>
                  <a:gd name="connsiteX2" fmla="*/ 899838 w 2590694"/>
                  <a:gd name="connsiteY2" fmla="*/ 41361 h 1618577"/>
                  <a:gd name="connsiteX3" fmla="*/ 1651880 w 2590694"/>
                  <a:gd name="connsiteY3" fmla="*/ 414114 h 1618577"/>
                  <a:gd name="connsiteX4" fmla="*/ 2294204 w 2590694"/>
                  <a:gd name="connsiteY4" fmla="*/ 794906 h 1618577"/>
                  <a:gd name="connsiteX5" fmla="*/ 2496548 w 2590694"/>
                  <a:gd name="connsiteY5" fmla="*/ 1396907 h 1618577"/>
                  <a:gd name="connsiteX0" fmla="*/ 193743 w 2572967"/>
                  <a:gd name="connsiteY0" fmla="*/ 1626667 h 1626666"/>
                  <a:gd name="connsiteX1" fmla="*/ 515095 w 2572967"/>
                  <a:gd name="connsiteY1" fmla="*/ 700107 h 1626666"/>
                  <a:gd name="connsiteX2" fmla="*/ 882111 w 2572967"/>
                  <a:gd name="connsiteY2" fmla="*/ 41361 h 1626666"/>
                  <a:gd name="connsiteX3" fmla="*/ 1634153 w 2572967"/>
                  <a:gd name="connsiteY3" fmla="*/ 414114 h 1626666"/>
                  <a:gd name="connsiteX4" fmla="*/ 2276477 w 2572967"/>
                  <a:gd name="connsiteY4" fmla="*/ 794906 h 1626666"/>
                  <a:gd name="connsiteX5" fmla="*/ 2478821 w 2572967"/>
                  <a:gd name="connsiteY5" fmla="*/ 1396907 h 1626666"/>
                  <a:gd name="connsiteX0" fmla="*/ 155226 w 2534450"/>
                  <a:gd name="connsiteY0" fmla="*/ 1626667 h 1626668"/>
                  <a:gd name="connsiteX1" fmla="*/ 476578 w 2534450"/>
                  <a:gd name="connsiteY1" fmla="*/ 700107 h 1626668"/>
                  <a:gd name="connsiteX2" fmla="*/ 843594 w 2534450"/>
                  <a:gd name="connsiteY2" fmla="*/ 41361 h 1626668"/>
                  <a:gd name="connsiteX3" fmla="*/ 1595636 w 2534450"/>
                  <a:gd name="connsiteY3" fmla="*/ 414114 h 1626668"/>
                  <a:gd name="connsiteX4" fmla="*/ 2237960 w 2534450"/>
                  <a:gd name="connsiteY4" fmla="*/ 794906 h 1626668"/>
                  <a:gd name="connsiteX5" fmla="*/ 2440304 w 2534450"/>
                  <a:gd name="connsiteY5" fmla="*/ 1396907 h 1626668"/>
                  <a:gd name="connsiteX0" fmla="*/ 155127 w 2534768"/>
                  <a:gd name="connsiteY0" fmla="*/ 1655351 h 1655352"/>
                  <a:gd name="connsiteX1" fmla="*/ 476896 w 2534768"/>
                  <a:gd name="connsiteY1" fmla="*/ 700107 h 1655352"/>
                  <a:gd name="connsiteX2" fmla="*/ 843912 w 2534768"/>
                  <a:gd name="connsiteY2" fmla="*/ 41361 h 1655352"/>
                  <a:gd name="connsiteX3" fmla="*/ 1595954 w 2534768"/>
                  <a:gd name="connsiteY3" fmla="*/ 414114 h 1655352"/>
                  <a:gd name="connsiteX4" fmla="*/ 2238278 w 2534768"/>
                  <a:gd name="connsiteY4" fmla="*/ 794906 h 1655352"/>
                  <a:gd name="connsiteX5" fmla="*/ 2440622 w 2534768"/>
                  <a:gd name="connsiteY5" fmla="*/ 1396907 h 1655352"/>
                  <a:gd name="connsiteX0" fmla="*/ 137185 w 2516826"/>
                  <a:gd name="connsiteY0" fmla="*/ 1655351 h 1655350"/>
                  <a:gd name="connsiteX1" fmla="*/ 458954 w 2516826"/>
                  <a:gd name="connsiteY1" fmla="*/ 700107 h 1655350"/>
                  <a:gd name="connsiteX2" fmla="*/ 825970 w 2516826"/>
                  <a:gd name="connsiteY2" fmla="*/ 41361 h 1655350"/>
                  <a:gd name="connsiteX3" fmla="*/ 1578012 w 2516826"/>
                  <a:gd name="connsiteY3" fmla="*/ 414114 h 1655350"/>
                  <a:gd name="connsiteX4" fmla="*/ 2220336 w 2516826"/>
                  <a:gd name="connsiteY4" fmla="*/ 794906 h 1655350"/>
                  <a:gd name="connsiteX5" fmla="*/ 2422680 w 2516826"/>
                  <a:gd name="connsiteY5" fmla="*/ 1396907 h 1655350"/>
                  <a:gd name="connsiteX0" fmla="*/ 138688 w 2511928"/>
                  <a:gd name="connsiteY0" fmla="*/ 1651040 h 1651040"/>
                  <a:gd name="connsiteX1" fmla="*/ 454056 w 2511928"/>
                  <a:gd name="connsiteY1" fmla="*/ 700107 h 1651040"/>
                  <a:gd name="connsiteX2" fmla="*/ 821072 w 2511928"/>
                  <a:gd name="connsiteY2" fmla="*/ 41361 h 1651040"/>
                  <a:gd name="connsiteX3" fmla="*/ 1573114 w 2511928"/>
                  <a:gd name="connsiteY3" fmla="*/ 414114 h 1651040"/>
                  <a:gd name="connsiteX4" fmla="*/ 2215438 w 2511928"/>
                  <a:gd name="connsiteY4" fmla="*/ 794906 h 1651040"/>
                  <a:gd name="connsiteX5" fmla="*/ 2417782 w 2511928"/>
                  <a:gd name="connsiteY5" fmla="*/ 1396907 h 165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1928" h="1651040">
                    <a:moveTo>
                      <a:pt x="138688" y="1651040"/>
                    </a:moveTo>
                    <a:cubicBezTo>
                      <a:pt x="-167196" y="1116914"/>
                      <a:pt x="75386" y="700109"/>
                      <a:pt x="454056" y="700107"/>
                    </a:cubicBezTo>
                    <a:cubicBezTo>
                      <a:pt x="400668" y="276539"/>
                      <a:pt x="684972" y="91210"/>
                      <a:pt x="821072" y="41361"/>
                    </a:cubicBezTo>
                    <a:cubicBezTo>
                      <a:pt x="1120179" y="-86468"/>
                      <a:pt x="1509421" y="94326"/>
                      <a:pt x="1573114" y="414114"/>
                    </a:cubicBezTo>
                    <a:cubicBezTo>
                      <a:pt x="1749855" y="193419"/>
                      <a:pt x="2233236" y="222103"/>
                      <a:pt x="2215438" y="794906"/>
                    </a:cubicBezTo>
                    <a:cubicBezTo>
                      <a:pt x="2569023" y="817065"/>
                      <a:pt x="2564843" y="1270577"/>
                      <a:pt x="2417782" y="1396907"/>
                    </a:cubicBez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88" name="Freeform 592">
                <a:extLst>
                  <a:ext uri="{FF2B5EF4-FFF2-40B4-BE49-F238E27FC236}">
                    <a16:creationId xmlns:a16="http://schemas.microsoft.com/office/drawing/2014/main" id="{311A42A2-3F04-4C94-B2DC-7E43EBCF79DC}"/>
                  </a:ext>
                </a:extLst>
              </p:cNvPr>
              <p:cNvSpPr>
                <a:spLocks/>
              </p:cNvSpPr>
              <p:nvPr/>
            </p:nvSpPr>
            <p:spPr bwMode="gray">
              <a:xfrm rot="18169347">
                <a:off x="11649617" y="4428563"/>
                <a:ext cx="190373" cy="240310"/>
              </a:xfrm>
              <a:custGeom>
                <a:avLst/>
                <a:gdLst>
                  <a:gd name="T0" fmla="*/ 24 w 192"/>
                  <a:gd name="T1" fmla="*/ 192 h 192"/>
                  <a:gd name="T2" fmla="*/ 0 w 192"/>
                  <a:gd name="T3" fmla="*/ 156 h 192"/>
                  <a:gd name="T4" fmla="*/ 42 w 192"/>
                  <a:gd name="T5" fmla="*/ 174 h 192"/>
                  <a:gd name="T6" fmla="*/ 12 w 192"/>
                  <a:gd name="T7" fmla="*/ 81 h 192"/>
                  <a:gd name="T8" fmla="*/ 66 w 192"/>
                  <a:gd name="T9" fmla="*/ 132 h 192"/>
                  <a:gd name="T10" fmla="*/ 84 w 192"/>
                  <a:gd name="T11" fmla="*/ 0 h 192"/>
                  <a:gd name="T12" fmla="*/ 108 w 192"/>
                  <a:gd name="T13" fmla="*/ 164 h 192"/>
                  <a:gd name="T14" fmla="*/ 156 w 192"/>
                  <a:gd name="T15" fmla="*/ 96 h 192"/>
                  <a:gd name="T16" fmla="*/ 144 w 192"/>
                  <a:gd name="T17" fmla="*/ 168 h 192"/>
                  <a:gd name="T18" fmla="*/ 192 w 192"/>
                  <a:gd name="T19" fmla="*/ 144 h 192"/>
                  <a:gd name="T20" fmla="*/ 162 w 192"/>
                  <a:gd name="T21" fmla="*/ 192 h 192"/>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7956 w 10000"/>
                  <a:gd name="connsiteY7" fmla="*/ 3094 h 10000"/>
                  <a:gd name="connsiteX8" fmla="*/ 7500 w 10000"/>
                  <a:gd name="connsiteY8" fmla="*/ 8750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7956 w 10000"/>
                  <a:gd name="connsiteY7" fmla="*/ 3094 h 10000"/>
                  <a:gd name="connsiteX8" fmla="*/ 7913 w 10000"/>
                  <a:gd name="connsiteY8" fmla="*/ 5938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7956 w 10000"/>
                  <a:gd name="connsiteY7" fmla="*/ 3094 h 10000"/>
                  <a:gd name="connsiteX8" fmla="*/ 7640 w 10000"/>
                  <a:gd name="connsiteY8" fmla="*/ 6008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8560 w 10000"/>
                  <a:gd name="connsiteY7" fmla="*/ 2386 h 10000"/>
                  <a:gd name="connsiteX8" fmla="*/ 7640 w 10000"/>
                  <a:gd name="connsiteY8" fmla="*/ 6008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8560 w 10000"/>
                  <a:gd name="connsiteY7" fmla="*/ 2386 h 10000"/>
                  <a:gd name="connsiteX8" fmla="*/ 8420 w 10000"/>
                  <a:gd name="connsiteY8" fmla="*/ 5081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9123 w 10000"/>
                  <a:gd name="connsiteY7" fmla="*/ 2765 h 10000"/>
                  <a:gd name="connsiteX8" fmla="*/ 8420 w 10000"/>
                  <a:gd name="connsiteY8" fmla="*/ 5081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413 w 10000"/>
                  <a:gd name="connsiteY6" fmla="*/ 6240 h 10000"/>
                  <a:gd name="connsiteX7" fmla="*/ 9123 w 10000"/>
                  <a:gd name="connsiteY7" fmla="*/ 2765 h 10000"/>
                  <a:gd name="connsiteX8" fmla="*/ 8420 w 10000"/>
                  <a:gd name="connsiteY8" fmla="*/ 5081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413 w 10000"/>
                  <a:gd name="connsiteY6" fmla="*/ 6240 h 10000"/>
                  <a:gd name="connsiteX7" fmla="*/ 9123 w 10000"/>
                  <a:gd name="connsiteY7" fmla="*/ 2765 h 10000"/>
                  <a:gd name="connsiteX8" fmla="*/ 8420 w 10000"/>
                  <a:gd name="connsiteY8" fmla="*/ 5081 h 10000"/>
                  <a:gd name="connsiteX9" fmla="*/ 10000 w 10000"/>
                  <a:gd name="connsiteY9" fmla="*/ 7500 h 10000"/>
                  <a:gd name="connsiteX0" fmla="*/ 1250 w 9123"/>
                  <a:gd name="connsiteY0" fmla="*/ 10000 h 10000"/>
                  <a:gd name="connsiteX1" fmla="*/ 0 w 9123"/>
                  <a:gd name="connsiteY1" fmla="*/ 8125 h 10000"/>
                  <a:gd name="connsiteX2" fmla="*/ 2188 w 9123"/>
                  <a:gd name="connsiteY2" fmla="*/ 9063 h 10000"/>
                  <a:gd name="connsiteX3" fmla="*/ 625 w 9123"/>
                  <a:gd name="connsiteY3" fmla="*/ 4219 h 10000"/>
                  <a:gd name="connsiteX4" fmla="*/ 3438 w 9123"/>
                  <a:gd name="connsiteY4" fmla="*/ 6875 h 10000"/>
                  <a:gd name="connsiteX5" fmla="*/ 4375 w 9123"/>
                  <a:gd name="connsiteY5" fmla="*/ 0 h 10000"/>
                  <a:gd name="connsiteX6" fmla="*/ 5413 w 9123"/>
                  <a:gd name="connsiteY6" fmla="*/ 6240 h 10000"/>
                  <a:gd name="connsiteX7" fmla="*/ 9123 w 9123"/>
                  <a:gd name="connsiteY7" fmla="*/ 2765 h 10000"/>
                  <a:gd name="connsiteX8" fmla="*/ 8420 w 9123"/>
                  <a:gd name="connsiteY8" fmla="*/ 5081 h 10000"/>
                  <a:gd name="connsiteX0" fmla="*/ 3146 w 10000"/>
                  <a:gd name="connsiteY0" fmla="*/ 12348 h 12348"/>
                  <a:gd name="connsiteX1" fmla="*/ 0 w 10000"/>
                  <a:gd name="connsiteY1" fmla="*/ 8125 h 12348"/>
                  <a:gd name="connsiteX2" fmla="*/ 2398 w 10000"/>
                  <a:gd name="connsiteY2" fmla="*/ 9063 h 12348"/>
                  <a:gd name="connsiteX3" fmla="*/ 685 w 10000"/>
                  <a:gd name="connsiteY3" fmla="*/ 4219 h 12348"/>
                  <a:gd name="connsiteX4" fmla="*/ 3768 w 10000"/>
                  <a:gd name="connsiteY4" fmla="*/ 6875 h 12348"/>
                  <a:gd name="connsiteX5" fmla="*/ 4796 w 10000"/>
                  <a:gd name="connsiteY5" fmla="*/ 0 h 12348"/>
                  <a:gd name="connsiteX6" fmla="*/ 5933 w 10000"/>
                  <a:gd name="connsiteY6" fmla="*/ 6240 h 12348"/>
                  <a:gd name="connsiteX7" fmla="*/ 10000 w 10000"/>
                  <a:gd name="connsiteY7" fmla="*/ 2765 h 12348"/>
                  <a:gd name="connsiteX8" fmla="*/ 9229 w 10000"/>
                  <a:gd name="connsiteY8" fmla="*/ 5081 h 12348"/>
                  <a:gd name="connsiteX0" fmla="*/ 3088 w 10000"/>
                  <a:gd name="connsiteY0" fmla="*/ 12594 h 12594"/>
                  <a:gd name="connsiteX1" fmla="*/ 0 w 10000"/>
                  <a:gd name="connsiteY1" fmla="*/ 8125 h 12594"/>
                  <a:gd name="connsiteX2" fmla="*/ 2398 w 10000"/>
                  <a:gd name="connsiteY2" fmla="*/ 9063 h 12594"/>
                  <a:gd name="connsiteX3" fmla="*/ 685 w 10000"/>
                  <a:gd name="connsiteY3" fmla="*/ 4219 h 12594"/>
                  <a:gd name="connsiteX4" fmla="*/ 3768 w 10000"/>
                  <a:gd name="connsiteY4" fmla="*/ 6875 h 12594"/>
                  <a:gd name="connsiteX5" fmla="*/ 4796 w 10000"/>
                  <a:gd name="connsiteY5" fmla="*/ 0 h 12594"/>
                  <a:gd name="connsiteX6" fmla="*/ 5933 w 10000"/>
                  <a:gd name="connsiteY6" fmla="*/ 6240 h 12594"/>
                  <a:gd name="connsiteX7" fmla="*/ 10000 w 10000"/>
                  <a:gd name="connsiteY7" fmla="*/ 2765 h 12594"/>
                  <a:gd name="connsiteX8" fmla="*/ 9229 w 10000"/>
                  <a:gd name="connsiteY8" fmla="*/ 5081 h 12594"/>
                  <a:gd name="connsiteX0" fmla="*/ 3146 w 10000"/>
                  <a:gd name="connsiteY0" fmla="*/ 12348 h 12348"/>
                  <a:gd name="connsiteX1" fmla="*/ 0 w 10000"/>
                  <a:gd name="connsiteY1" fmla="*/ 8125 h 12348"/>
                  <a:gd name="connsiteX2" fmla="*/ 2398 w 10000"/>
                  <a:gd name="connsiteY2" fmla="*/ 9063 h 12348"/>
                  <a:gd name="connsiteX3" fmla="*/ 685 w 10000"/>
                  <a:gd name="connsiteY3" fmla="*/ 4219 h 12348"/>
                  <a:gd name="connsiteX4" fmla="*/ 3768 w 10000"/>
                  <a:gd name="connsiteY4" fmla="*/ 6875 h 12348"/>
                  <a:gd name="connsiteX5" fmla="*/ 4796 w 10000"/>
                  <a:gd name="connsiteY5" fmla="*/ 0 h 12348"/>
                  <a:gd name="connsiteX6" fmla="*/ 5933 w 10000"/>
                  <a:gd name="connsiteY6" fmla="*/ 6240 h 12348"/>
                  <a:gd name="connsiteX7" fmla="*/ 10000 w 10000"/>
                  <a:gd name="connsiteY7" fmla="*/ 2765 h 12348"/>
                  <a:gd name="connsiteX8" fmla="*/ 9229 w 10000"/>
                  <a:gd name="connsiteY8" fmla="*/ 5081 h 12348"/>
                  <a:gd name="connsiteX0" fmla="*/ 3182 w 10000"/>
                  <a:gd name="connsiteY0" fmla="*/ 12561 h 12561"/>
                  <a:gd name="connsiteX1" fmla="*/ 0 w 10000"/>
                  <a:gd name="connsiteY1" fmla="*/ 8125 h 12561"/>
                  <a:gd name="connsiteX2" fmla="*/ 2398 w 10000"/>
                  <a:gd name="connsiteY2" fmla="*/ 9063 h 12561"/>
                  <a:gd name="connsiteX3" fmla="*/ 685 w 10000"/>
                  <a:gd name="connsiteY3" fmla="*/ 4219 h 12561"/>
                  <a:gd name="connsiteX4" fmla="*/ 3768 w 10000"/>
                  <a:gd name="connsiteY4" fmla="*/ 6875 h 12561"/>
                  <a:gd name="connsiteX5" fmla="*/ 4796 w 10000"/>
                  <a:gd name="connsiteY5" fmla="*/ 0 h 12561"/>
                  <a:gd name="connsiteX6" fmla="*/ 5933 w 10000"/>
                  <a:gd name="connsiteY6" fmla="*/ 6240 h 12561"/>
                  <a:gd name="connsiteX7" fmla="*/ 10000 w 10000"/>
                  <a:gd name="connsiteY7" fmla="*/ 2765 h 12561"/>
                  <a:gd name="connsiteX8" fmla="*/ 9229 w 10000"/>
                  <a:gd name="connsiteY8" fmla="*/ 5081 h 12561"/>
                  <a:gd name="connsiteX0" fmla="*/ 3074 w 10000"/>
                  <a:gd name="connsiteY0" fmla="*/ 12651 h 12651"/>
                  <a:gd name="connsiteX1" fmla="*/ 0 w 10000"/>
                  <a:gd name="connsiteY1" fmla="*/ 8125 h 12651"/>
                  <a:gd name="connsiteX2" fmla="*/ 2398 w 10000"/>
                  <a:gd name="connsiteY2" fmla="*/ 9063 h 12651"/>
                  <a:gd name="connsiteX3" fmla="*/ 685 w 10000"/>
                  <a:gd name="connsiteY3" fmla="*/ 4219 h 12651"/>
                  <a:gd name="connsiteX4" fmla="*/ 3768 w 10000"/>
                  <a:gd name="connsiteY4" fmla="*/ 6875 h 12651"/>
                  <a:gd name="connsiteX5" fmla="*/ 4796 w 10000"/>
                  <a:gd name="connsiteY5" fmla="*/ 0 h 12651"/>
                  <a:gd name="connsiteX6" fmla="*/ 5933 w 10000"/>
                  <a:gd name="connsiteY6" fmla="*/ 6240 h 12651"/>
                  <a:gd name="connsiteX7" fmla="*/ 10000 w 10000"/>
                  <a:gd name="connsiteY7" fmla="*/ 2765 h 12651"/>
                  <a:gd name="connsiteX8" fmla="*/ 9229 w 10000"/>
                  <a:gd name="connsiteY8" fmla="*/ 5081 h 12651"/>
                  <a:gd name="connsiteX0" fmla="*/ 3173 w 10000"/>
                  <a:gd name="connsiteY0" fmla="*/ 12671 h 12671"/>
                  <a:gd name="connsiteX1" fmla="*/ 0 w 10000"/>
                  <a:gd name="connsiteY1" fmla="*/ 8125 h 12671"/>
                  <a:gd name="connsiteX2" fmla="*/ 2398 w 10000"/>
                  <a:gd name="connsiteY2" fmla="*/ 9063 h 12671"/>
                  <a:gd name="connsiteX3" fmla="*/ 685 w 10000"/>
                  <a:gd name="connsiteY3" fmla="*/ 4219 h 12671"/>
                  <a:gd name="connsiteX4" fmla="*/ 3768 w 10000"/>
                  <a:gd name="connsiteY4" fmla="*/ 6875 h 12671"/>
                  <a:gd name="connsiteX5" fmla="*/ 4796 w 10000"/>
                  <a:gd name="connsiteY5" fmla="*/ 0 h 12671"/>
                  <a:gd name="connsiteX6" fmla="*/ 5933 w 10000"/>
                  <a:gd name="connsiteY6" fmla="*/ 6240 h 12671"/>
                  <a:gd name="connsiteX7" fmla="*/ 10000 w 10000"/>
                  <a:gd name="connsiteY7" fmla="*/ 2765 h 12671"/>
                  <a:gd name="connsiteX8" fmla="*/ 9229 w 10000"/>
                  <a:gd name="connsiteY8" fmla="*/ 5081 h 12671"/>
                  <a:gd name="connsiteX0" fmla="*/ 3246 w 10000"/>
                  <a:gd name="connsiteY0" fmla="*/ 12654 h 12654"/>
                  <a:gd name="connsiteX1" fmla="*/ 0 w 10000"/>
                  <a:gd name="connsiteY1" fmla="*/ 8125 h 12654"/>
                  <a:gd name="connsiteX2" fmla="*/ 2398 w 10000"/>
                  <a:gd name="connsiteY2" fmla="*/ 9063 h 12654"/>
                  <a:gd name="connsiteX3" fmla="*/ 685 w 10000"/>
                  <a:gd name="connsiteY3" fmla="*/ 4219 h 12654"/>
                  <a:gd name="connsiteX4" fmla="*/ 3768 w 10000"/>
                  <a:gd name="connsiteY4" fmla="*/ 6875 h 12654"/>
                  <a:gd name="connsiteX5" fmla="*/ 4796 w 10000"/>
                  <a:gd name="connsiteY5" fmla="*/ 0 h 12654"/>
                  <a:gd name="connsiteX6" fmla="*/ 5933 w 10000"/>
                  <a:gd name="connsiteY6" fmla="*/ 6240 h 12654"/>
                  <a:gd name="connsiteX7" fmla="*/ 10000 w 10000"/>
                  <a:gd name="connsiteY7" fmla="*/ 2765 h 12654"/>
                  <a:gd name="connsiteX8" fmla="*/ 9229 w 10000"/>
                  <a:gd name="connsiteY8" fmla="*/ 5081 h 12654"/>
                  <a:gd name="connsiteX0" fmla="*/ 3633 w 10000"/>
                  <a:gd name="connsiteY0" fmla="*/ 13363 h 13363"/>
                  <a:gd name="connsiteX1" fmla="*/ 0 w 10000"/>
                  <a:gd name="connsiteY1" fmla="*/ 8125 h 13363"/>
                  <a:gd name="connsiteX2" fmla="*/ 2398 w 10000"/>
                  <a:gd name="connsiteY2" fmla="*/ 9063 h 13363"/>
                  <a:gd name="connsiteX3" fmla="*/ 685 w 10000"/>
                  <a:gd name="connsiteY3" fmla="*/ 4219 h 13363"/>
                  <a:gd name="connsiteX4" fmla="*/ 3768 w 10000"/>
                  <a:gd name="connsiteY4" fmla="*/ 6875 h 13363"/>
                  <a:gd name="connsiteX5" fmla="*/ 4796 w 10000"/>
                  <a:gd name="connsiteY5" fmla="*/ 0 h 13363"/>
                  <a:gd name="connsiteX6" fmla="*/ 5933 w 10000"/>
                  <a:gd name="connsiteY6" fmla="*/ 6240 h 13363"/>
                  <a:gd name="connsiteX7" fmla="*/ 10000 w 10000"/>
                  <a:gd name="connsiteY7" fmla="*/ 2765 h 13363"/>
                  <a:gd name="connsiteX8" fmla="*/ 9229 w 10000"/>
                  <a:gd name="connsiteY8" fmla="*/ 5081 h 13363"/>
                  <a:gd name="connsiteX0" fmla="*/ 3679 w 10000"/>
                  <a:gd name="connsiteY0" fmla="*/ 13388 h 13388"/>
                  <a:gd name="connsiteX1" fmla="*/ 0 w 10000"/>
                  <a:gd name="connsiteY1" fmla="*/ 8125 h 13388"/>
                  <a:gd name="connsiteX2" fmla="*/ 2398 w 10000"/>
                  <a:gd name="connsiteY2" fmla="*/ 9063 h 13388"/>
                  <a:gd name="connsiteX3" fmla="*/ 685 w 10000"/>
                  <a:gd name="connsiteY3" fmla="*/ 4219 h 13388"/>
                  <a:gd name="connsiteX4" fmla="*/ 3768 w 10000"/>
                  <a:gd name="connsiteY4" fmla="*/ 6875 h 13388"/>
                  <a:gd name="connsiteX5" fmla="*/ 4796 w 10000"/>
                  <a:gd name="connsiteY5" fmla="*/ 0 h 13388"/>
                  <a:gd name="connsiteX6" fmla="*/ 5933 w 10000"/>
                  <a:gd name="connsiteY6" fmla="*/ 6240 h 13388"/>
                  <a:gd name="connsiteX7" fmla="*/ 10000 w 10000"/>
                  <a:gd name="connsiteY7" fmla="*/ 2765 h 13388"/>
                  <a:gd name="connsiteX8" fmla="*/ 9229 w 10000"/>
                  <a:gd name="connsiteY8" fmla="*/ 5081 h 13388"/>
                  <a:gd name="connsiteX0" fmla="*/ 3778 w 10000"/>
                  <a:gd name="connsiteY0" fmla="*/ 13408 h 13408"/>
                  <a:gd name="connsiteX1" fmla="*/ 0 w 10000"/>
                  <a:gd name="connsiteY1" fmla="*/ 8125 h 13408"/>
                  <a:gd name="connsiteX2" fmla="*/ 2398 w 10000"/>
                  <a:gd name="connsiteY2" fmla="*/ 9063 h 13408"/>
                  <a:gd name="connsiteX3" fmla="*/ 685 w 10000"/>
                  <a:gd name="connsiteY3" fmla="*/ 4219 h 13408"/>
                  <a:gd name="connsiteX4" fmla="*/ 3768 w 10000"/>
                  <a:gd name="connsiteY4" fmla="*/ 6875 h 13408"/>
                  <a:gd name="connsiteX5" fmla="*/ 4796 w 10000"/>
                  <a:gd name="connsiteY5" fmla="*/ 0 h 13408"/>
                  <a:gd name="connsiteX6" fmla="*/ 5933 w 10000"/>
                  <a:gd name="connsiteY6" fmla="*/ 6240 h 13408"/>
                  <a:gd name="connsiteX7" fmla="*/ 10000 w 10000"/>
                  <a:gd name="connsiteY7" fmla="*/ 2765 h 13408"/>
                  <a:gd name="connsiteX8" fmla="*/ 9229 w 10000"/>
                  <a:gd name="connsiteY8" fmla="*/ 5081 h 13408"/>
                  <a:gd name="connsiteX0" fmla="*/ 3778 w 10000"/>
                  <a:gd name="connsiteY0" fmla="*/ 13408 h 13408"/>
                  <a:gd name="connsiteX1" fmla="*/ 0 w 10000"/>
                  <a:gd name="connsiteY1" fmla="*/ 8125 h 13408"/>
                  <a:gd name="connsiteX2" fmla="*/ 2398 w 10000"/>
                  <a:gd name="connsiteY2" fmla="*/ 9063 h 13408"/>
                  <a:gd name="connsiteX3" fmla="*/ 685 w 10000"/>
                  <a:gd name="connsiteY3" fmla="*/ 4219 h 13408"/>
                  <a:gd name="connsiteX4" fmla="*/ 3768 w 10000"/>
                  <a:gd name="connsiteY4" fmla="*/ 6875 h 13408"/>
                  <a:gd name="connsiteX5" fmla="*/ 4796 w 10000"/>
                  <a:gd name="connsiteY5" fmla="*/ 0 h 13408"/>
                  <a:gd name="connsiteX6" fmla="*/ 5933 w 10000"/>
                  <a:gd name="connsiteY6" fmla="*/ 6240 h 13408"/>
                  <a:gd name="connsiteX7" fmla="*/ 10000 w 10000"/>
                  <a:gd name="connsiteY7" fmla="*/ 2765 h 13408"/>
                  <a:gd name="connsiteX8" fmla="*/ 9229 w 10000"/>
                  <a:gd name="connsiteY8" fmla="*/ 5081 h 13408"/>
                  <a:gd name="connsiteX0" fmla="*/ 3731 w 10000"/>
                  <a:gd name="connsiteY0" fmla="*/ 13462 h 13462"/>
                  <a:gd name="connsiteX1" fmla="*/ 0 w 10000"/>
                  <a:gd name="connsiteY1" fmla="*/ 8125 h 13462"/>
                  <a:gd name="connsiteX2" fmla="*/ 2398 w 10000"/>
                  <a:gd name="connsiteY2" fmla="*/ 9063 h 13462"/>
                  <a:gd name="connsiteX3" fmla="*/ 685 w 10000"/>
                  <a:gd name="connsiteY3" fmla="*/ 4219 h 13462"/>
                  <a:gd name="connsiteX4" fmla="*/ 3768 w 10000"/>
                  <a:gd name="connsiteY4" fmla="*/ 6875 h 13462"/>
                  <a:gd name="connsiteX5" fmla="*/ 4796 w 10000"/>
                  <a:gd name="connsiteY5" fmla="*/ 0 h 13462"/>
                  <a:gd name="connsiteX6" fmla="*/ 5933 w 10000"/>
                  <a:gd name="connsiteY6" fmla="*/ 6240 h 13462"/>
                  <a:gd name="connsiteX7" fmla="*/ 10000 w 10000"/>
                  <a:gd name="connsiteY7" fmla="*/ 2765 h 13462"/>
                  <a:gd name="connsiteX8" fmla="*/ 9229 w 10000"/>
                  <a:gd name="connsiteY8" fmla="*/ 5081 h 13462"/>
                  <a:gd name="connsiteX0" fmla="*/ 3731 w 10000"/>
                  <a:gd name="connsiteY0" fmla="*/ 13462 h 13462"/>
                  <a:gd name="connsiteX1" fmla="*/ 0 w 10000"/>
                  <a:gd name="connsiteY1" fmla="*/ 8125 h 13462"/>
                  <a:gd name="connsiteX2" fmla="*/ 2398 w 10000"/>
                  <a:gd name="connsiteY2" fmla="*/ 9063 h 13462"/>
                  <a:gd name="connsiteX3" fmla="*/ 685 w 10000"/>
                  <a:gd name="connsiteY3" fmla="*/ 4219 h 13462"/>
                  <a:gd name="connsiteX4" fmla="*/ 3768 w 10000"/>
                  <a:gd name="connsiteY4" fmla="*/ 6875 h 13462"/>
                  <a:gd name="connsiteX5" fmla="*/ 4796 w 10000"/>
                  <a:gd name="connsiteY5" fmla="*/ 0 h 13462"/>
                  <a:gd name="connsiteX6" fmla="*/ 5933 w 10000"/>
                  <a:gd name="connsiteY6" fmla="*/ 6240 h 13462"/>
                  <a:gd name="connsiteX7" fmla="*/ 10000 w 10000"/>
                  <a:gd name="connsiteY7" fmla="*/ 2765 h 13462"/>
                  <a:gd name="connsiteX8" fmla="*/ 9229 w 10000"/>
                  <a:gd name="connsiteY8" fmla="*/ 5081 h 13462"/>
                  <a:gd name="connsiteX0" fmla="*/ 3791 w 10000"/>
                  <a:gd name="connsiteY0" fmla="*/ 13426 h 13426"/>
                  <a:gd name="connsiteX1" fmla="*/ 0 w 10000"/>
                  <a:gd name="connsiteY1" fmla="*/ 8125 h 13426"/>
                  <a:gd name="connsiteX2" fmla="*/ 2398 w 10000"/>
                  <a:gd name="connsiteY2" fmla="*/ 9063 h 13426"/>
                  <a:gd name="connsiteX3" fmla="*/ 685 w 10000"/>
                  <a:gd name="connsiteY3" fmla="*/ 4219 h 13426"/>
                  <a:gd name="connsiteX4" fmla="*/ 3768 w 10000"/>
                  <a:gd name="connsiteY4" fmla="*/ 6875 h 13426"/>
                  <a:gd name="connsiteX5" fmla="*/ 4796 w 10000"/>
                  <a:gd name="connsiteY5" fmla="*/ 0 h 13426"/>
                  <a:gd name="connsiteX6" fmla="*/ 5933 w 10000"/>
                  <a:gd name="connsiteY6" fmla="*/ 6240 h 13426"/>
                  <a:gd name="connsiteX7" fmla="*/ 10000 w 10000"/>
                  <a:gd name="connsiteY7" fmla="*/ 2765 h 13426"/>
                  <a:gd name="connsiteX8" fmla="*/ 9229 w 10000"/>
                  <a:gd name="connsiteY8" fmla="*/ 5081 h 13426"/>
                  <a:gd name="connsiteX0" fmla="*/ 3731 w 10000"/>
                  <a:gd name="connsiteY0" fmla="*/ 13462 h 13462"/>
                  <a:gd name="connsiteX1" fmla="*/ 0 w 10000"/>
                  <a:gd name="connsiteY1" fmla="*/ 8125 h 13462"/>
                  <a:gd name="connsiteX2" fmla="*/ 2398 w 10000"/>
                  <a:gd name="connsiteY2" fmla="*/ 9063 h 13462"/>
                  <a:gd name="connsiteX3" fmla="*/ 685 w 10000"/>
                  <a:gd name="connsiteY3" fmla="*/ 4219 h 13462"/>
                  <a:gd name="connsiteX4" fmla="*/ 3768 w 10000"/>
                  <a:gd name="connsiteY4" fmla="*/ 6875 h 13462"/>
                  <a:gd name="connsiteX5" fmla="*/ 4796 w 10000"/>
                  <a:gd name="connsiteY5" fmla="*/ 0 h 13462"/>
                  <a:gd name="connsiteX6" fmla="*/ 5933 w 10000"/>
                  <a:gd name="connsiteY6" fmla="*/ 6240 h 13462"/>
                  <a:gd name="connsiteX7" fmla="*/ 10000 w 10000"/>
                  <a:gd name="connsiteY7" fmla="*/ 2765 h 13462"/>
                  <a:gd name="connsiteX8" fmla="*/ 9229 w 10000"/>
                  <a:gd name="connsiteY8" fmla="*/ 5081 h 13462"/>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229 w 10000"/>
                  <a:gd name="connsiteY8" fmla="*/ 5081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6688 w 10000"/>
                  <a:gd name="connsiteY6" fmla="*/ 5613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6908 w 10000"/>
                  <a:gd name="connsiteY6" fmla="*/ 5561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949 w 10000"/>
                  <a:gd name="connsiteY2" fmla="*/ 9156 h 13438"/>
                  <a:gd name="connsiteX3" fmla="*/ 685 w 10000"/>
                  <a:gd name="connsiteY3" fmla="*/ 4219 h 13438"/>
                  <a:gd name="connsiteX4" fmla="*/ 3768 w 10000"/>
                  <a:gd name="connsiteY4" fmla="*/ 6875 h 13438"/>
                  <a:gd name="connsiteX5" fmla="*/ 4796 w 10000"/>
                  <a:gd name="connsiteY5" fmla="*/ 0 h 13438"/>
                  <a:gd name="connsiteX6" fmla="*/ 6908 w 10000"/>
                  <a:gd name="connsiteY6" fmla="*/ 5561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949 w 10000"/>
                  <a:gd name="connsiteY2" fmla="*/ 9156 h 13438"/>
                  <a:gd name="connsiteX3" fmla="*/ 685 w 10000"/>
                  <a:gd name="connsiteY3" fmla="*/ 4219 h 13438"/>
                  <a:gd name="connsiteX4" fmla="*/ 4516 w 10000"/>
                  <a:gd name="connsiteY4" fmla="*/ 7086 h 13438"/>
                  <a:gd name="connsiteX5" fmla="*/ 4796 w 10000"/>
                  <a:gd name="connsiteY5" fmla="*/ 0 h 13438"/>
                  <a:gd name="connsiteX6" fmla="*/ 6908 w 10000"/>
                  <a:gd name="connsiteY6" fmla="*/ 5561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949 w 10000"/>
                  <a:gd name="connsiteY2" fmla="*/ 9156 h 13438"/>
                  <a:gd name="connsiteX3" fmla="*/ 685 w 10000"/>
                  <a:gd name="connsiteY3" fmla="*/ 4219 h 13438"/>
                  <a:gd name="connsiteX4" fmla="*/ 4516 w 10000"/>
                  <a:gd name="connsiteY4" fmla="*/ 7086 h 13438"/>
                  <a:gd name="connsiteX5" fmla="*/ 4796 w 10000"/>
                  <a:gd name="connsiteY5" fmla="*/ 0 h 13438"/>
                  <a:gd name="connsiteX6" fmla="*/ 7477 w 10000"/>
                  <a:gd name="connsiteY6" fmla="*/ 5721 h 13438"/>
                  <a:gd name="connsiteX7" fmla="*/ 10000 w 10000"/>
                  <a:gd name="connsiteY7" fmla="*/ 2765 h 13438"/>
                  <a:gd name="connsiteX8" fmla="*/ 9349 w 10000"/>
                  <a:gd name="connsiteY8" fmla="*/ 5453 h 13438"/>
                  <a:gd name="connsiteX0" fmla="*/ 3771 w 10300"/>
                  <a:gd name="connsiteY0" fmla="*/ 13438 h 13438"/>
                  <a:gd name="connsiteX1" fmla="*/ 0 w 10300"/>
                  <a:gd name="connsiteY1" fmla="*/ 8125 h 13438"/>
                  <a:gd name="connsiteX2" fmla="*/ 2949 w 10300"/>
                  <a:gd name="connsiteY2" fmla="*/ 9156 h 13438"/>
                  <a:gd name="connsiteX3" fmla="*/ 685 w 10300"/>
                  <a:gd name="connsiteY3" fmla="*/ 4219 h 13438"/>
                  <a:gd name="connsiteX4" fmla="*/ 4516 w 10300"/>
                  <a:gd name="connsiteY4" fmla="*/ 7086 h 13438"/>
                  <a:gd name="connsiteX5" fmla="*/ 4796 w 10300"/>
                  <a:gd name="connsiteY5" fmla="*/ 0 h 13438"/>
                  <a:gd name="connsiteX6" fmla="*/ 7477 w 10300"/>
                  <a:gd name="connsiteY6" fmla="*/ 5721 h 13438"/>
                  <a:gd name="connsiteX7" fmla="*/ 10300 w 10300"/>
                  <a:gd name="connsiteY7" fmla="*/ 2302 h 13438"/>
                  <a:gd name="connsiteX8" fmla="*/ 9349 w 10300"/>
                  <a:gd name="connsiteY8" fmla="*/ 5453 h 13438"/>
                  <a:gd name="connsiteX0" fmla="*/ 3771 w 10300"/>
                  <a:gd name="connsiteY0" fmla="*/ 13438 h 13438"/>
                  <a:gd name="connsiteX1" fmla="*/ 0 w 10300"/>
                  <a:gd name="connsiteY1" fmla="*/ 8125 h 13438"/>
                  <a:gd name="connsiteX2" fmla="*/ 2949 w 10300"/>
                  <a:gd name="connsiteY2" fmla="*/ 9156 h 13438"/>
                  <a:gd name="connsiteX3" fmla="*/ 685 w 10300"/>
                  <a:gd name="connsiteY3" fmla="*/ 4219 h 13438"/>
                  <a:gd name="connsiteX4" fmla="*/ 4516 w 10300"/>
                  <a:gd name="connsiteY4" fmla="*/ 7086 h 13438"/>
                  <a:gd name="connsiteX5" fmla="*/ 4796 w 10300"/>
                  <a:gd name="connsiteY5" fmla="*/ 0 h 13438"/>
                  <a:gd name="connsiteX6" fmla="*/ 7477 w 10300"/>
                  <a:gd name="connsiteY6" fmla="*/ 5721 h 13438"/>
                  <a:gd name="connsiteX7" fmla="*/ 10300 w 10300"/>
                  <a:gd name="connsiteY7" fmla="*/ 2302 h 13438"/>
                  <a:gd name="connsiteX8" fmla="*/ 10169 w 10300"/>
                  <a:gd name="connsiteY8" fmla="*/ 4918 h 13438"/>
                  <a:gd name="connsiteX0" fmla="*/ 3771 w 10177"/>
                  <a:gd name="connsiteY0" fmla="*/ 13438 h 13438"/>
                  <a:gd name="connsiteX1" fmla="*/ 0 w 10177"/>
                  <a:gd name="connsiteY1" fmla="*/ 8125 h 13438"/>
                  <a:gd name="connsiteX2" fmla="*/ 2949 w 10177"/>
                  <a:gd name="connsiteY2" fmla="*/ 9156 h 13438"/>
                  <a:gd name="connsiteX3" fmla="*/ 685 w 10177"/>
                  <a:gd name="connsiteY3" fmla="*/ 4219 h 13438"/>
                  <a:gd name="connsiteX4" fmla="*/ 4516 w 10177"/>
                  <a:gd name="connsiteY4" fmla="*/ 7086 h 13438"/>
                  <a:gd name="connsiteX5" fmla="*/ 4796 w 10177"/>
                  <a:gd name="connsiteY5" fmla="*/ 0 h 13438"/>
                  <a:gd name="connsiteX6" fmla="*/ 7477 w 10177"/>
                  <a:gd name="connsiteY6" fmla="*/ 5721 h 13438"/>
                  <a:gd name="connsiteX7" fmla="*/ 10105 w 10177"/>
                  <a:gd name="connsiteY7" fmla="*/ 2026 h 13438"/>
                  <a:gd name="connsiteX8" fmla="*/ 10169 w 10177"/>
                  <a:gd name="connsiteY8" fmla="*/ 4918 h 13438"/>
                  <a:gd name="connsiteX0" fmla="*/ 3030 w 10177"/>
                  <a:gd name="connsiteY0" fmla="*/ 12390 h 12390"/>
                  <a:gd name="connsiteX1" fmla="*/ 0 w 10177"/>
                  <a:gd name="connsiteY1" fmla="*/ 8125 h 12390"/>
                  <a:gd name="connsiteX2" fmla="*/ 2949 w 10177"/>
                  <a:gd name="connsiteY2" fmla="*/ 9156 h 12390"/>
                  <a:gd name="connsiteX3" fmla="*/ 685 w 10177"/>
                  <a:gd name="connsiteY3" fmla="*/ 4219 h 12390"/>
                  <a:gd name="connsiteX4" fmla="*/ 4516 w 10177"/>
                  <a:gd name="connsiteY4" fmla="*/ 7086 h 12390"/>
                  <a:gd name="connsiteX5" fmla="*/ 4796 w 10177"/>
                  <a:gd name="connsiteY5" fmla="*/ 0 h 12390"/>
                  <a:gd name="connsiteX6" fmla="*/ 7477 w 10177"/>
                  <a:gd name="connsiteY6" fmla="*/ 5721 h 12390"/>
                  <a:gd name="connsiteX7" fmla="*/ 10105 w 10177"/>
                  <a:gd name="connsiteY7" fmla="*/ 2026 h 12390"/>
                  <a:gd name="connsiteX8" fmla="*/ 10169 w 10177"/>
                  <a:gd name="connsiteY8" fmla="*/ 4918 h 12390"/>
                  <a:gd name="connsiteX0" fmla="*/ 3030 w 10204"/>
                  <a:gd name="connsiteY0" fmla="*/ 12390 h 12390"/>
                  <a:gd name="connsiteX1" fmla="*/ 0 w 10204"/>
                  <a:gd name="connsiteY1" fmla="*/ 8125 h 12390"/>
                  <a:gd name="connsiteX2" fmla="*/ 2949 w 10204"/>
                  <a:gd name="connsiteY2" fmla="*/ 9156 h 12390"/>
                  <a:gd name="connsiteX3" fmla="*/ 685 w 10204"/>
                  <a:gd name="connsiteY3" fmla="*/ 4219 h 12390"/>
                  <a:gd name="connsiteX4" fmla="*/ 4516 w 10204"/>
                  <a:gd name="connsiteY4" fmla="*/ 7086 h 12390"/>
                  <a:gd name="connsiteX5" fmla="*/ 4796 w 10204"/>
                  <a:gd name="connsiteY5" fmla="*/ 0 h 12390"/>
                  <a:gd name="connsiteX6" fmla="*/ 7477 w 10204"/>
                  <a:gd name="connsiteY6" fmla="*/ 5721 h 12390"/>
                  <a:gd name="connsiteX7" fmla="*/ 10105 w 10204"/>
                  <a:gd name="connsiteY7" fmla="*/ 2026 h 12390"/>
                  <a:gd name="connsiteX8" fmla="*/ 10198 w 10204"/>
                  <a:gd name="connsiteY8" fmla="*/ 4354 h 12390"/>
                  <a:gd name="connsiteX0" fmla="*/ 3030 w 10105"/>
                  <a:gd name="connsiteY0" fmla="*/ 12390 h 12390"/>
                  <a:gd name="connsiteX1" fmla="*/ 0 w 10105"/>
                  <a:gd name="connsiteY1" fmla="*/ 8125 h 12390"/>
                  <a:gd name="connsiteX2" fmla="*/ 2949 w 10105"/>
                  <a:gd name="connsiteY2" fmla="*/ 9156 h 12390"/>
                  <a:gd name="connsiteX3" fmla="*/ 685 w 10105"/>
                  <a:gd name="connsiteY3" fmla="*/ 4219 h 12390"/>
                  <a:gd name="connsiteX4" fmla="*/ 4516 w 10105"/>
                  <a:gd name="connsiteY4" fmla="*/ 7086 h 12390"/>
                  <a:gd name="connsiteX5" fmla="*/ 4796 w 10105"/>
                  <a:gd name="connsiteY5" fmla="*/ 0 h 12390"/>
                  <a:gd name="connsiteX6" fmla="*/ 7477 w 10105"/>
                  <a:gd name="connsiteY6" fmla="*/ 5721 h 12390"/>
                  <a:gd name="connsiteX7" fmla="*/ 10105 w 10105"/>
                  <a:gd name="connsiteY7" fmla="*/ 2026 h 12390"/>
                  <a:gd name="connsiteX8" fmla="*/ 9861 w 10105"/>
                  <a:gd name="connsiteY8" fmla="*/ 4604 h 12390"/>
                  <a:gd name="connsiteX0" fmla="*/ 3030 w 10105"/>
                  <a:gd name="connsiteY0" fmla="*/ 12390 h 12390"/>
                  <a:gd name="connsiteX1" fmla="*/ 0 w 10105"/>
                  <a:gd name="connsiteY1" fmla="*/ 8125 h 12390"/>
                  <a:gd name="connsiteX2" fmla="*/ 2949 w 10105"/>
                  <a:gd name="connsiteY2" fmla="*/ 9156 h 12390"/>
                  <a:gd name="connsiteX3" fmla="*/ 685 w 10105"/>
                  <a:gd name="connsiteY3" fmla="*/ 4219 h 12390"/>
                  <a:gd name="connsiteX4" fmla="*/ 4516 w 10105"/>
                  <a:gd name="connsiteY4" fmla="*/ 7086 h 12390"/>
                  <a:gd name="connsiteX5" fmla="*/ 4796 w 10105"/>
                  <a:gd name="connsiteY5" fmla="*/ 0 h 12390"/>
                  <a:gd name="connsiteX6" fmla="*/ 7430 w 10105"/>
                  <a:gd name="connsiteY6" fmla="*/ 4968 h 12390"/>
                  <a:gd name="connsiteX7" fmla="*/ 10105 w 10105"/>
                  <a:gd name="connsiteY7" fmla="*/ 2026 h 12390"/>
                  <a:gd name="connsiteX8" fmla="*/ 9861 w 10105"/>
                  <a:gd name="connsiteY8" fmla="*/ 4604 h 12390"/>
                  <a:gd name="connsiteX0" fmla="*/ 3030 w 10105"/>
                  <a:gd name="connsiteY0" fmla="*/ 12390 h 12390"/>
                  <a:gd name="connsiteX1" fmla="*/ 0 w 10105"/>
                  <a:gd name="connsiteY1" fmla="*/ 8125 h 12390"/>
                  <a:gd name="connsiteX2" fmla="*/ 2949 w 10105"/>
                  <a:gd name="connsiteY2" fmla="*/ 9156 h 12390"/>
                  <a:gd name="connsiteX3" fmla="*/ 685 w 10105"/>
                  <a:gd name="connsiteY3" fmla="*/ 4219 h 12390"/>
                  <a:gd name="connsiteX4" fmla="*/ 4848 w 10105"/>
                  <a:gd name="connsiteY4" fmla="*/ 6708 h 12390"/>
                  <a:gd name="connsiteX5" fmla="*/ 4796 w 10105"/>
                  <a:gd name="connsiteY5" fmla="*/ 0 h 12390"/>
                  <a:gd name="connsiteX6" fmla="*/ 7430 w 10105"/>
                  <a:gd name="connsiteY6" fmla="*/ 4968 h 12390"/>
                  <a:gd name="connsiteX7" fmla="*/ 10105 w 10105"/>
                  <a:gd name="connsiteY7" fmla="*/ 2026 h 12390"/>
                  <a:gd name="connsiteX8" fmla="*/ 9861 w 10105"/>
                  <a:gd name="connsiteY8" fmla="*/ 4604 h 12390"/>
                  <a:gd name="connsiteX0" fmla="*/ 3030 w 10105"/>
                  <a:gd name="connsiteY0" fmla="*/ 12074 h 12074"/>
                  <a:gd name="connsiteX1" fmla="*/ 0 w 10105"/>
                  <a:gd name="connsiteY1" fmla="*/ 7809 h 12074"/>
                  <a:gd name="connsiteX2" fmla="*/ 2949 w 10105"/>
                  <a:gd name="connsiteY2" fmla="*/ 8840 h 12074"/>
                  <a:gd name="connsiteX3" fmla="*/ 685 w 10105"/>
                  <a:gd name="connsiteY3" fmla="*/ 3903 h 12074"/>
                  <a:gd name="connsiteX4" fmla="*/ 4848 w 10105"/>
                  <a:gd name="connsiteY4" fmla="*/ 6392 h 12074"/>
                  <a:gd name="connsiteX5" fmla="*/ 4392 w 10105"/>
                  <a:gd name="connsiteY5" fmla="*/ 0 h 12074"/>
                  <a:gd name="connsiteX6" fmla="*/ 7430 w 10105"/>
                  <a:gd name="connsiteY6" fmla="*/ 4652 h 12074"/>
                  <a:gd name="connsiteX7" fmla="*/ 10105 w 10105"/>
                  <a:gd name="connsiteY7" fmla="*/ 1710 h 12074"/>
                  <a:gd name="connsiteX8" fmla="*/ 9861 w 10105"/>
                  <a:gd name="connsiteY8" fmla="*/ 4288 h 12074"/>
                  <a:gd name="connsiteX0" fmla="*/ 3030 w 10105"/>
                  <a:gd name="connsiteY0" fmla="*/ 12074 h 12074"/>
                  <a:gd name="connsiteX1" fmla="*/ 0 w 10105"/>
                  <a:gd name="connsiteY1" fmla="*/ 7809 h 12074"/>
                  <a:gd name="connsiteX2" fmla="*/ 2949 w 10105"/>
                  <a:gd name="connsiteY2" fmla="*/ 8840 h 12074"/>
                  <a:gd name="connsiteX3" fmla="*/ 685 w 10105"/>
                  <a:gd name="connsiteY3" fmla="*/ 3903 h 12074"/>
                  <a:gd name="connsiteX4" fmla="*/ 4848 w 10105"/>
                  <a:gd name="connsiteY4" fmla="*/ 6392 h 12074"/>
                  <a:gd name="connsiteX5" fmla="*/ 4392 w 10105"/>
                  <a:gd name="connsiteY5" fmla="*/ 0 h 12074"/>
                  <a:gd name="connsiteX6" fmla="*/ 7430 w 10105"/>
                  <a:gd name="connsiteY6" fmla="*/ 4652 h 12074"/>
                  <a:gd name="connsiteX7" fmla="*/ 10105 w 10105"/>
                  <a:gd name="connsiteY7" fmla="*/ 1710 h 12074"/>
                  <a:gd name="connsiteX8" fmla="*/ 9886 w 10105"/>
                  <a:gd name="connsiteY8" fmla="*/ 3961 h 12074"/>
                  <a:gd name="connsiteX0" fmla="*/ 3030 w 10105"/>
                  <a:gd name="connsiteY0" fmla="*/ 12074 h 12074"/>
                  <a:gd name="connsiteX1" fmla="*/ 1907 w 10105"/>
                  <a:gd name="connsiteY1" fmla="*/ 10330 h 12074"/>
                  <a:gd name="connsiteX2" fmla="*/ 0 w 10105"/>
                  <a:gd name="connsiteY2" fmla="*/ 7809 h 12074"/>
                  <a:gd name="connsiteX3" fmla="*/ 2949 w 10105"/>
                  <a:gd name="connsiteY3" fmla="*/ 8840 h 12074"/>
                  <a:gd name="connsiteX4" fmla="*/ 685 w 10105"/>
                  <a:gd name="connsiteY4" fmla="*/ 3903 h 12074"/>
                  <a:gd name="connsiteX5" fmla="*/ 4848 w 10105"/>
                  <a:gd name="connsiteY5" fmla="*/ 6392 h 12074"/>
                  <a:gd name="connsiteX6" fmla="*/ 4392 w 10105"/>
                  <a:gd name="connsiteY6" fmla="*/ 0 h 12074"/>
                  <a:gd name="connsiteX7" fmla="*/ 7430 w 10105"/>
                  <a:gd name="connsiteY7" fmla="*/ 4652 h 12074"/>
                  <a:gd name="connsiteX8" fmla="*/ 10105 w 10105"/>
                  <a:gd name="connsiteY8" fmla="*/ 1710 h 12074"/>
                  <a:gd name="connsiteX9" fmla="*/ 9886 w 10105"/>
                  <a:gd name="connsiteY9" fmla="*/ 3961 h 12074"/>
                  <a:gd name="connsiteX0" fmla="*/ 3030 w 10105"/>
                  <a:gd name="connsiteY0" fmla="*/ 12074 h 12074"/>
                  <a:gd name="connsiteX1" fmla="*/ 1592 w 10105"/>
                  <a:gd name="connsiteY1" fmla="*/ 10046 h 12074"/>
                  <a:gd name="connsiteX2" fmla="*/ 0 w 10105"/>
                  <a:gd name="connsiteY2" fmla="*/ 7809 h 12074"/>
                  <a:gd name="connsiteX3" fmla="*/ 2949 w 10105"/>
                  <a:gd name="connsiteY3" fmla="*/ 8840 h 12074"/>
                  <a:gd name="connsiteX4" fmla="*/ 685 w 10105"/>
                  <a:gd name="connsiteY4" fmla="*/ 3903 h 12074"/>
                  <a:gd name="connsiteX5" fmla="*/ 4848 w 10105"/>
                  <a:gd name="connsiteY5" fmla="*/ 6392 h 12074"/>
                  <a:gd name="connsiteX6" fmla="*/ 4392 w 10105"/>
                  <a:gd name="connsiteY6" fmla="*/ 0 h 12074"/>
                  <a:gd name="connsiteX7" fmla="*/ 7430 w 10105"/>
                  <a:gd name="connsiteY7" fmla="*/ 4652 h 12074"/>
                  <a:gd name="connsiteX8" fmla="*/ 10105 w 10105"/>
                  <a:gd name="connsiteY8" fmla="*/ 1710 h 12074"/>
                  <a:gd name="connsiteX9" fmla="*/ 9886 w 10105"/>
                  <a:gd name="connsiteY9" fmla="*/ 3961 h 12074"/>
                  <a:gd name="connsiteX0" fmla="*/ 1592 w 10105"/>
                  <a:gd name="connsiteY0" fmla="*/ 10046 h 10046"/>
                  <a:gd name="connsiteX1" fmla="*/ 0 w 10105"/>
                  <a:gd name="connsiteY1" fmla="*/ 7809 h 10046"/>
                  <a:gd name="connsiteX2" fmla="*/ 2949 w 10105"/>
                  <a:gd name="connsiteY2" fmla="*/ 8840 h 10046"/>
                  <a:gd name="connsiteX3" fmla="*/ 685 w 10105"/>
                  <a:gd name="connsiteY3" fmla="*/ 3903 h 10046"/>
                  <a:gd name="connsiteX4" fmla="*/ 4848 w 10105"/>
                  <a:gd name="connsiteY4" fmla="*/ 6392 h 10046"/>
                  <a:gd name="connsiteX5" fmla="*/ 4392 w 10105"/>
                  <a:gd name="connsiteY5" fmla="*/ 0 h 10046"/>
                  <a:gd name="connsiteX6" fmla="*/ 7430 w 10105"/>
                  <a:gd name="connsiteY6" fmla="*/ 4652 h 10046"/>
                  <a:gd name="connsiteX7" fmla="*/ 10105 w 10105"/>
                  <a:gd name="connsiteY7" fmla="*/ 1710 h 10046"/>
                  <a:gd name="connsiteX8" fmla="*/ 9886 w 10105"/>
                  <a:gd name="connsiteY8" fmla="*/ 3961 h 10046"/>
                  <a:gd name="connsiteX0" fmla="*/ 3929 w 10105"/>
                  <a:gd name="connsiteY0" fmla="*/ 10728 h 10728"/>
                  <a:gd name="connsiteX1" fmla="*/ 0 w 10105"/>
                  <a:gd name="connsiteY1" fmla="*/ 7809 h 10728"/>
                  <a:gd name="connsiteX2" fmla="*/ 2949 w 10105"/>
                  <a:gd name="connsiteY2" fmla="*/ 8840 h 10728"/>
                  <a:gd name="connsiteX3" fmla="*/ 685 w 10105"/>
                  <a:gd name="connsiteY3" fmla="*/ 3903 h 10728"/>
                  <a:gd name="connsiteX4" fmla="*/ 4848 w 10105"/>
                  <a:gd name="connsiteY4" fmla="*/ 6392 h 10728"/>
                  <a:gd name="connsiteX5" fmla="*/ 4392 w 10105"/>
                  <a:gd name="connsiteY5" fmla="*/ 0 h 10728"/>
                  <a:gd name="connsiteX6" fmla="*/ 7430 w 10105"/>
                  <a:gd name="connsiteY6" fmla="*/ 4652 h 10728"/>
                  <a:gd name="connsiteX7" fmla="*/ 10105 w 10105"/>
                  <a:gd name="connsiteY7" fmla="*/ 1710 h 10728"/>
                  <a:gd name="connsiteX8" fmla="*/ 9886 w 10105"/>
                  <a:gd name="connsiteY8" fmla="*/ 3961 h 10728"/>
                  <a:gd name="connsiteX0" fmla="*/ 3929 w 10105"/>
                  <a:gd name="connsiteY0" fmla="*/ 10728 h 10728"/>
                  <a:gd name="connsiteX1" fmla="*/ 0 w 10105"/>
                  <a:gd name="connsiteY1" fmla="*/ 7809 h 10728"/>
                  <a:gd name="connsiteX2" fmla="*/ 4206 w 10105"/>
                  <a:gd name="connsiteY2" fmla="*/ 8439 h 10728"/>
                  <a:gd name="connsiteX3" fmla="*/ 685 w 10105"/>
                  <a:gd name="connsiteY3" fmla="*/ 3903 h 10728"/>
                  <a:gd name="connsiteX4" fmla="*/ 4848 w 10105"/>
                  <a:gd name="connsiteY4" fmla="*/ 6392 h 10728"/>
                  <a:gd name="connsiteX5" fmla="*/ 4392 w 10105"/>
                  <a:gd name="connsiteY5" fmla="*/ 0 h 10728"/>
                  <a:gd name="connsiteX6" fmla="*/ 7430 w 10105"/>
                  <a:gd name="connsiteY6" fmla="*/ 4652 h 10728"/>
                  <a:gd name="connsiteX7" fmla="*/ 10105 w 10105"/>
                  <a:gd name="connsiteY7" fmla="*/ 1710 h 10728"/>
                  <a:gd name="connsiteX8" fmla="*/ 9886 w 10105"/>
                  <a:gd name="connsiteY8" fmla="*/ 3961 h 10728"/>
                  <a:gd name="connsiteX0" fmla="*/ 3929 w 10105"/>
                  <a:gd name="connsiteY0" fmla="*/ 10728 h 10728"/>
                  <a:gd name="connsiteX1" fmla="*/ 0 w 10105"/>
                  <a:gd name="connsiteY1" fmla="*/ 7809 h 10728"/>
                  <a:gd name="connsiteX2" fmla="*/ 4206 w 10105"/>
                  <a:gd name="connsiteY2" fmla="*/ 8439 h 10728"/>
                  <a:gd name="connsiteX3" fmla="*/ 685 w 10105"/>
                  <a:gd name="connsiteY3" fmla="*/ 3903 h 10728"/>
                  <a:gd name="connsiteX4" fmla="*/ 5572 w 10105"/>
                  <a:gd name="connsiteY4" fmla="*/ 6044 h 10728"/>
                  <a:gd name="connsiteX5" fmla="*/ 4392 w 10105"/>
                  <a:gd name="connsiteY5" fmla="*/ 0 h 10728"/>
                  <a:gd name="connsiteX6" fmla="*/ 7430 w 10105"/>
                  <a:gd name="connsiteY6" fmla="*/ 4652 h 10728"/>
                  <a:gd name="connsiteX7" fmla="*/ 10105 w 10105"/>
                  <a:gd name="connsiteY7" fmla="*/ 1710 h 10728"/>
                  <a:gd name="connsiteX8" fmla="*/ 9886 w 10105"/>
                  <a:gd name="connsiteY8" fmla="*/ 3961 h 10728"/>
                  <a:gd name="connsiteX0" fmla="*/ 4127 w 10105"/>
                  <a:gd name="connsiteY0" fmla="*/ 10403 h 10403"/>
                  <a:gd name="connsiteX1" fmla="*/ 0 w 10105"/>
                  <a:gd name="connsiteY1" fmla="*/ 7809 h 10403"/>
                  <a:gd name="connsiteX2" fmla="*/ 4206 w 10105"/>
                  <a:gd name="connsiteY2" fmla="*/ 8439 h 10403"/>
                  <a:gd name="connsiteX3" fmla="*/ 685 w 10105"/>
                  <a:gd name="connsiteY3" fmla="*/ 3903 h 10403"/>
                  <a:gd name="connsiteX4" fmla="*/ 5572 w 10105"/>
                  <a:gd name="connsiteY4" fmla="*/ 6044 h 10403"/>
                  <a:gd name="connsiteX5" fmla="*/ 4392 w 10105"/>
                  <a:gd name="connsiteY5" fmla="*/ 0 h 10403"/>
                  <a:gd name="connsiteX6" fmla="*/ 7430 w 10105"/>
                  <a:gd name="connsiteY6" fmla="*/ 4652 h 10403"/>
                  <a:gd name="connsiteX7" fmla="*/ 10105 w 10105"/>
                  <a:gd name="connsiteY7" fmla="*/ 1710 h 10403"/>
                  <a:gd name="connsiteX8" fmla="*/ 9886 w 10105"/>
                  <a:gd name="connsiteY8" fmla="*/ 3961 h 10403"/>
                  <a:gd name="connsiteX0" fmla="*/ 3442 w 9420"/>
                  <a:gd name="connsiteY0" fmla="*/ 10403 h 10403"/>
                  <a:gd name="connsiteX1" fmla="*/ 700 w 9420"/>
                  <a:gd name="connsiteY1" fmla="*/ 8556 h 10403"/>
                  <a:gd name="connsiteX2" fmla="*/ 3521 w 9420"/>
                  <a:gd name="connsiteY2" fmla="*/ 8439 h 10403"/>
                  <a:gd name="connsiteX3" fmla="*/ 0 w 9420"/>
                  <a:gd name="connsiteY3" fmla="*/ 3903 h 10403"/>
                  <a:gd name="connsiteX4" fmla="*/ 4887 w 9420"/>
                  <a:gd name="connsiteY4" fmla="*/ 6044 h 10403"/>
                  <a:gd name="connsiteX5" fmla="*/ 3707 w 9420"/>
                  <a:gd name="connsiteY5" fmla="*/ 0 h 10403"/>
                  <a:gd name="connsiteX6" fmla="*/ 6745 w 9420"/>
                  <a:gd name="connsiteY6" fmla="*/ 4652 h 10403"/>
                  <a:gd name="connsiteX7" fmla="*/ 9420 w 9420"/>
                  <a:gd name="connsiteY7" fmla="*/ 1710 h 10403"/>
                  <a:gd name="connsiteX8" fmla="*/ 9201 w 9420"/>
                  <a:gd name="connsiteY8" fmla="*/ 3961 h 10403"/>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682 w 10000"/>
                  <a:gd name="connsiteY0" fmla="*/ 9610 h 9610"/>
                  <a:gd name="connsiteX1" fmla="*/ 743 w 10000"/>
                  <a:gd name="connsiteY1" fmla="*/ 8225 h 9610"/>
                  <a:gd name="connsiteX2" fmla="*/ 3738 w 10000"/>
                  <a:gd name="connsiteY2" fmla="*/ 8112 h 9610"/>
                  <a:gd name="connsiteX3" fmla="*/ 0 w 10000"/>
                  <a:gd name="connsiteY3" fmla="*/ 3752 h 9610"/>
                  <a:gd name="connsiteX4" fmla="*/ 5188 w 10000"/>
                  <a:gd name="connsiteY4" fmla="*/ 5810 h 9610"/>
                  <a:gd name="connsiteX5" fmla="*/ 3935 w 10000"/>
                  <a:gd name="connsiteY5" fmla="*/ 0 h 9610"/>
                  <a:gd name="connsiteX6" fmla="*/ 7160 w 10000"/>
                  <a:gd name="connsiteY6" fmla="*/ 4472 h 9610"/>
                  <a:gd name="connsiteX7" fmla="*/ 10000 w 10000"/>
                  <a:gd name="connsiteY7" fmla="*/ 1644 h 9610"/>
                  <a:gd name="connsiteX8" fmla="*/ 9768 w 10000"/>
                  <a:gd name="connsiteY8" fmla="*/ 3808 h 9610"/>
                  <a:gd name="connsiteX0" fmla="*/ 3682 w 10000"/>
                  <a:gd name="connsiteY0" fmla="*/ 10000 h 10000"/>
                  <a:gd name="connsiteX1" fmla="*/ 743 w 10000"/>
                  <a:gd name="connsiteY1" fmla="*/ 8559 h 10000"/>
                  <a:gd name="connsiteX2" fmla="*/ 3880 w 10000"/>
                  <a:gd name="connsiteY2" fmla="*/ 8388 h 10000"/>
                  <a:gd name="connsiteX3" fmla="*/ 0 w 10000"/>
                  <a:gd name="connsiteY3" fmla="*/ 3904 h 10000"/>
                  <a:gd name="connsiteX4" fmla="*/ 5188 w 10000"/>
                  <a:gd name="connsiteY4" fmla="*/ 6046 h 10000"/>
                  <a:gd name="connsiteX5" fmla="*/ 3935 w 10000"/>
                  <a:gd name="connsiteY5" fmla="*/ 0 h 10000"/>
                  <a:gd name="connsiteX6" fmla="*/ 7160 w 10000"/>
                  <a:gd name="connsiteY6" fmla="*/ 4653 h 10000"/>
                  <a:gd name="connsiteX7" fmla="*/ 10000 w 10000"/>
                  <a:gd name="connsiteY7" fmla="*/ 1711 h 10000"/>
                  <a:gd name="connsiteX8" fmla="*/ 9768 w 10000"/>
                  <a:gd name="connsiteY8" fmla="*/ 3963 h 10000"/>
                  <a:gd name="connsiteX0" fmla="*/ 3682 w 10000"/>
                  <a:gd name="connsiteY0" fmla="*/ 10000 h 10000"/>
                  <a:gd name="connsiteX1" fmla="*/ 743 w 10000"/>
                  <a:gd name="connsiteY1" fmla="*/ 8559 h 10000"/>
                  <a:gd name="connsiteX2" fmla="*/ 3880 w 10000"/>
                  <a:gd name="connsiteY2" fmla="*/ 8388 h 10000"/>
                  <a:gd name="connsiteX3" fmla="*/ 0 w 10000"/>
                  <a:gd name="connsiteY3" fmla="*/ 3904 h 10000"/>
                  <a:gd name="connsiteX4" fmla="*/ 5188 w 10000"/>
                  <a:gd name="connsiteY4" fmla="*/ 6046 h 10000"/>
                  <a:gd name="connsiteX5" fmla="*/ 3935 w 10000"/>
                  <a:gd name="connsiteY5" fmla="*/ 0 h 10000"/>
                  <a:gd name="connsiteX6" fmla="*/ 7711 w 10000"/>
                  <a:gd name="connsiteY6" fmla="*/ 4217 h 10000"/>
                  <a:gd name="connsiteX7" fmla="*/ 10000 w 10000"/>
                  <a:gd name="connsiteY7" fmla="*/ 1711 h 10000"/>
                  <a:gd name="connsiteX8" fmla="*/ 9768 w 10000"/>
                  <a:gd name="connsiteY8" fmla="*/ 3963 h 10000"/>
                  <a:gd name="connsiteX0" fmla="*/ 3682 w 10055"/>
                  <a:gd name="connsiteY0" fmla="*/ 10000 h 10000"/>
                  <a:gd name="connsiteX1" fmla="*/ 743 w 10055"/>
                  <a:gd name="connsiteY1" fmla="*/ 8559 h 10000"/>
                  <a:gd name="connsiteX2" fmla="*/ 3880 w 10055"/>
                  <a:gd name="connsiteY2" fmla="*/ 8388 h 10000"/>
                  <a:gd name="connsiteX3" fmla="*/ 0 w 10055"/>
                  <a:gd name="connsiteY3" fmla="*/ 3904 h 10000"/>
                  <a:gd name="connsiteX4" fmla="*/ 5188 w 10055"/>
                  <a:gd name="connsiteY4" fmla="*/ 6046 h 10000"/>
                  <a:gd name="connsiteX5" fmla="*/ 3935 w 10055"/>
                  <a:gd name="connsiteY5" fmla="*/ 0 h 10000"/>
                  <a:gd name="connsiteX6" fmla="*/ 7711 w 10055"/>
                  <a:gd name="connsiteY6" fmla="*/ 4217 h 10000"/>
                  <a:gd name="connsiteX7" fmla="*/ 10000 w 10055"/>
                  <a:gd name="connsiteY7" fmla="*/ 1711 h 10000"/>
                  <a:gd name="connsiteX8" fmla="*/ 10046 w 10055"/>
                  <a:gd name="connsiteY8" fmla="*/ 3809 h 10000"/>
                  <a:gd name="connsiteX0" fmla="*/ 3682 w 10055"/>
                  <a:gd name="connsiteY0" fmla="*/ 10000 h 10000"/>
                  <a:gd name="connsiteX1" fmla="*/ 743 w 10055"/>
                  <a:gd name="connsiteY1" fmla="*/ 8559 h 10000"/>
                  <a:gd name="connsiteX2" fmla="*/ 3870 w 10055"/>
                  <a:gd name="connsiteY2" fmla="*/ 7769 h 10000"/>
                  <a:gd name="connsiteX3" fmla="*/ 0 w 10055"/>
                  <a:gd name="connsiteY3" fmla="*/ 3904 h 10000"/>
                  <a:gd name="connsiteX4" fmla="*/ 5188 w 10055"/>
                  <a:gd name="connsiteY4" fmla="*/ 6046 h 10000"/>
                  <a:gd name="connsiteX5" fmla="*/ 3935 w 10055"/>
                  <a:gd name="connsiteY5" fmla="*/ 0 h 10000"/>
                  <a:gd name="connsiteX6" fmla="*/ 7711 w 10055"/>
                  <a:gd name="connsiteY6" fmla="*/ 4217 h 10000"/>
                  <a:gd name="connsiteX7" fmla="*/ 10000 w 10055"/>
                  <a:gd name="connsiteY7" fmla="*/ 1711 h 10000"/>
                  <a:gd name="connsiteX8" fmla="*/ 10046 w 10055"/>
                  <a:gd name="connsiteY8" fmla="*/ 3809 h 10000"/>
                  <a:gd name="connsiteX0" fmla="*/ 3682 w 10055"/>
                  <a:gd name="connsiteY0" fmla="*/ 10000 h 10000"/>
                  <a:gd name="connsiteX1" fmla="*/ 2365 w 10055"/>
                  <a:gd name="connsiteY1" fmla="*/ 9339 h 10000"/>
                  <a:gd name="connsiteX2" fmla="*/ 743 w 10055"/>
                  <a:gd name="connsiteY2" fmla="*/ 8559 h 10000"/>
                  <a:gd name="connsiteX3" fmla="*/ 3870 w 10055"/>
                  <a:gd name="connsiteY3" fmla="*/ 7769 h 10000"/>
                  <a:gd name="connsiteX4" fmla="*/ 0 w 10055"/>
                  <a:gd name="connsiteY4" fmla="*/ 3904 h 10000"/>
                  <a:gd name="connsiteX5" fmla="*/ 5188 w 10055"/>
                  <a:gd name="connsiteY5" fmla="*/ 6046 h 10000"/>
                  <a:gd name="connsiteX6" fmla="*/ 3935 w 10055"/>
                  <a:gd name="connsiteY6" fmla="*/ 0 h 10000"/>
                  <a:gd name="connsiteX7" fmla="*/ 7711 w 10055"/>
                  <a:gd name="connsiteY7" fmla="*/ 4217 h 10000"/>
                  <a:gd name="connsiteX8" fmla="*/ 10000 w 10055"/>
                  <a:gd name="connsiteY8" fmla="*/ 1711 h 10000"/>
                  <a:gd name="connsiteX9" fmla="*/ 10046 w 10055"/>
                  <a:gd name="connsiteY9" fmla="*/ 3809 h 10000"/>
                  <a:gd name="connsiteX0" fmla="*/ 3682 w 10055"/>
                  <a:gd name="connsiteY0" fmla="*/ 10000 h 10000"/>
                  <a:gd name="connsiteX1" fmla="*/ 2529 w 10055"/>
                  <a:gd name="connsiteY1" fmla="*/ 9274 h 10000"/>
                  <a:gd name="connsiteX2" fmla="*/ 743 w 10055"/>
                  <a:gd name="connsiteY2" fmla="*/ 8559 h 10000"/>
                  <a:gd name="connsiteX3" fmla="*/ 3870 w 10055"/>
                  <a:gd name="connsiteY3" fmla="*/ 7769 h 10000"/>
                  <a:gd name="connsiteX4" fmla="*/ 0 w 10055"/>
                  <a:gd name="connsiteY4" fmla="*/ 3904 h 10000"/>
                  <a:gd name="connsiteX5" fmla="*/ 5188 w 10055"/>
                  <a:gd name="connsiteY5" fmla="*/ 6046 h 10000"/>
                  <a:gd name="connsiteX6" fmla="*/ 3935 w 10055"/>
                  <a:gd name="connsiteY6" fmla="*/ 0 h 10000"/>
                  <a:gd name="connsiteX7" fmla="*/ 7711 w 10055"/>
                  <a:gd name="connsiteY7" fmla="*/ 4217 h 10000"/>
                  <a:gd name="connsiteX8" fmla="*/ 10000 w 10055"/>
                  <a:gd name="connsiteY8" fmla="*/ 1711 h 10000"/>
                  <a:gd name="connsiteX9" fmla="*/ 10046 w 10055"/>
                  <a:gd name="connsiteY9" fmla="*/ 3809 h 10000"/>
                  <a:gd name="connsiteX0" fmla="*/ 3095 w 10055"/>
                  <a:gd name="connsiteY0" fmla="*/ 12044 h 12044"/>
                  <a:gd name="connsiteX1" fmla="*/ 2529 w 10055"/>
                  <a:gd name="connsiteY1" fmla="*/ 9274 h 12044"/>
                  <a:gd name="connsiteX2" fmla="*/ 743 w 10055"/>
                  <a:gd name="connsiteY2" fmla="*/ 8559 h 12044"/>
                  <a:gd name="connsiteX3" fmla="*/ 3870 w 10055"/>
                  <a:gd name="connsiteY3" fmla="*/ 7769 h 12044"/>
                  <a:gd name="connsiteX4" fmla="*/ 0 w 10055"/>
                  <a:gd name="connsiteY4" fmla="*/ 3904 h 12044"/>
                  <a:gd name="connsiteX5" fmla="*/ 5188 w 10055"/>
                  <a:gd name="connsiteY5" fmla="*/ 6046 h 12044"/>
                  <a:gd name="connsiteX6" fmla="*/ 3935 w 10055"/>
                  <a:gd name="connsiteY6" fmla="*/ 0 h 12044"/>
                  <a:gd name="connsiteX7" fmla="*/ 7711 w 10055"/>
                  <a:gd name="connsiteY7" fmla="*/ 4217 h 12044"/>
                  <a:gd name="connsiteX8" fmla="*/ 10000 w 10055"/>
                  <a:gd name="connsiteY8" fmla="*/ 1711 h 12044"/>
                  <a:gd name="connsiteX9" fmla="*/ 10046 w 10055"/>
                  <a:gd name="connsiteY9" fmla="*/ 3809 h 12044"/>
                  <a:gd name="connsiteX0" fmla="*/ 3095 w 10055"/>
                  <a:gd name="connsiteY0" fmla="*/ 12044 h 12044"/>
                  <a:gd name="connsiteX1" fmla="*/ 2782 w 10055"/>
                  <a:gd name="connsiteY1" fmla="*/ 10540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908 w 10055"/>
                  <a:gd name="connsiteY2" fmla="*/ 10183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908 w 10055"/>
                  <a:gd name="connsiteY2" fmla="*/ 10183 h 12044"/>
                  <a:gd name="connsiteX3" fmla="*/ 743 w 10055"/>
                  <a:gd name="connsiteY3" fmla="*/ 8559 h 12044"/>
                  <a:gd name="connsiteX4" fmla="*/ 3711 w 10055"/>
                  <a:gd name="connsiteY4" fmla="*/ 8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908 w 10055"/>
                  <a:gd name="connsiteY2" fmla="*/ 10183 h 12044"/>
                  <a:gd name="connsiteX3" fmla="*/ 258 w 10055"/>
                  <a:gd name="connsiteY3" fmla="*/ 8437 h 12044"/>
                  <a:gd name="connsiteX4" fmla="*/ 3711 w 10055"/>
                  <a:gd name="connsiteY4" fmla="*/ 8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481 w 10441"/>
                  <a:gd name="connsiteY0" fmla="*/ 12044 h 12044"/>
                  <a:gd name="connsiteX1" fmla="*/ 1869 w 10441"/>
                  <a:gd name="connsiteY1" fmla="*/ 11312 h 12044"/>
                  <a:gd name="connsiteX2" fmla="*/ 3294 w 10441"/>
                  <a:gd name="connsiteY2" fmla="*/ 10183 h 12044"/>
                  <a:gd name="connsiteX3" fmla="*/ 0 w 10441"/>
                  <a:gd name="connsiteY3" fmla="*/ 8508 h 12044"/>
                  <a:gd name="connsiteX4" fmla="*/ 4097 w 10441"/>
                  <a:gd name="connsiteY4" fmla="*/ 8769 h 12044"/>
                  <a:gd name="connsiteX5" fmla="*/ 386 w 10441"/>
                  <a:gd name="connsiteY5" fmla="*/ 3904 h 12044"/>
                  <a:gd name="connsiteX6" fmla="*/ 5574 w 10441"/>
                  <a:gd name="connsiteY6" fmla="*/ 6046 h 12044"/>
                  <a:gd name="connsiteX7" fmla="*/ 4321 w 10441"/>
                  <a:gd name="connsiteY7" fmla="*/ 0 h 12044"/>
                  <a:gd name="connsiteX8" fmla="*/ 8097 w 10441"/>
                  <a:gd name="connsiteY8" fmla="*/ 4217 h 12044"/>
                  <a:gd name="connsiteX9" fmla="*/ 10386 w 10441"/>
                  <a:gd name="connsiteY9" fmla="*/ 1711 h 12044"/>
                  <a:gd name="connsiteX10" fmla="*/ 10432 w 10441"/>
                  <a:gd name="connsiteY10" fmla="*/ 3809 h 12044"/>
                  <a:gd name="connsiteX0" fmla="*/ 3481 w 10441"/>
                  <a:gd name="connsiteY0" fmla="*/ 12044 h 12044"/>
                  <a:gd name="connsiteX1" fmla="*/ 1869 w 10441"/>
                  <a:gd name="connsiteY1" fmla="*/ 11312 h 12044"/>
                  <a:gd name="connsiteX2" fmla="*/ 3294 w 10441"/>
                  <a:gd name="connsiteY2" fmla="*/ 10183 h 12044"/>
                  <a:gd name="connsiteX3" fmla="*/ 0 w 10441"/>
                  <a:gd name="connsiteY3" fmla="*/ 8508 h 12044"/>
                  <a:gd name="connsiteX4" fmla="*/ 3824 w 10441"/>
                  <a:gd name="connsiteY4" fmla="*/ 8243 h 12044"/>
                  <a:gd name="connsiteX5" fmla="*/ 386 w 10441"/>
                  <a:gd name="connsiteY5" fmla="*/ 3904 h 12044"/>
                  <a:gd name="connsiteX6" fmla="*/ 5574 w 10441"/>
                  <a:gd name="connsiteY6" fmla="*/ 6046 h 12044"/>
                  <a:gd name="connsiteX7" fmla="*/ 4321 w 10441"/>
                  <a:gd name="connsiteY7" fmla="*/ 0 h 12044"/>
                  <a:gd name="connsiteX8" fmla="*/ 8097 w 10441"/>
                  <a:gd name="connsiteY8" fmla="*/ 4217 h 12044"/>
                  <a:gd name="connsiteX9" fmla="*/ 10386 w 10441"/>
                  <a:gd name="connsiteY9" fmla="*/ 1711 h 12044"/>
                  <a:gd name="connsiteX10" fmla="*/ 10432 w 10441"/>
                  <a:gd name="connsiteY10" fmla="*/ 3809 h 12044"/>
                  <a:gd name="connsiteX0" fmla="*/ 3444 w 10441"/>
                  <a:gd name="connsiteY0" fmla="*/ 11752 h 11752"/>
                  <a:gd name="connsiteX1" fmla="*/ 1869 w 10441"/>
                  <a:gd name="connsiteY1" fmla="*/ 11312 h 11752"/>
                  <a:gd name="connsiteX2" fmla="*/ 3294 w 10441"/>
                  <a:gd name="connsiteY2" fmla="*/ 10183 h 11752"/>
                  <a:gd name="connsiteX3" fmla="*/ 0 w 10441"/>
                  <a:gd name="connsiteY3" fmla="*/ 8508 h 11752"/>
                  <a:gd name="connsiteX4" fmla="*/ 3824 w 10441"/>
                  <a:gd name="connsiteY4" fmla="*/ 8243 h 11752"/>
                  <a:gd name="connsiteX5" fmla="*/ 386 w 10441"/>
                  <a:gd name="connsiteY5" fmla="*/ 3904 h 11752"/>
                  <a:gd name="connsiteX6" fmla="*/ 5574 w 10441"/>
                  <a:gd name="connsiteY6" fmla="*/ 6046 h 11752"/>
                  <a:gd name="connsiteX7" fmla="*/ 4321 w 10441"/>
                  <a:gd name="connsiteY7" fmla="*/ 0 h 11752"/>
                  <a:gd name="connsiteX8" fmla="*/ 8097 w 10441"/>
                  <a:gd name="connsiteY8" fmla="*/ 4217 h 11752"/>
                  <a:gd name="connsiteX9" fmla="*/ 10386 w 10441"/>
                  <a:gd name="connsiteY9" fmla="*/ 1711 h 11752"/>
                  <a:gd name="connsiteX10" fmla="*/ 10432 w 10441"/>
                  <a:gd name="connsiteY10" fmla="*/ 3809 h 11752"/>
                  <a:gd name="connsiteX0" fmla="*/ 3444 w 10441"/>
                  <a:gd name="connsiteY0" fmla="*/ 11752 h 11752"/>
                  <a:gd name="connsiteX1" fmla="*/ 1869 w 10441"/>
                  <a:gd name="connsiteY1" fmla="*/ 11312 h 11752"/>
                  <a:gd name="connsiteX2" fmla="*/ 3370 w 10441"/>
                  <a:gd name="connsiteY2" fmla="*/ 10688 h 11752"/>
                  <a:gd name="connsiteX3" fmla="*/ 0 w 10441"/>
                  <a:gd name="connsiteY3" fmla="*/ 8508 h 11752"/>
                  <a:gd name="connsiteX4" fmla="*/ 3824 w 10441"/>
                  <a:gd name="connsiteY4" fmla="*/ 8243 h 11752"/>
                  <a:gd name="connsiteX5" fmla="*/ 386 w 10441"/>
                  <a:gd name="connsiteY5" fmla="*/ 3904 h 11752"/>
                  <a:gd name="connsiteX6" fmla="*/ 5574 w 10441"/>
                  <a:gd name="connsiteY6" fmla="*/ 6046 h 11752"/>
                  <a:gd name="connsiteX7" fmla="*/ 4321 w 10441"/>
                  <a:gd name="connsiteY7" fmla="*/ 0 h 11752"/>
                  <a:gd name="connsiteX8" fmla="*/ 8097 w 10441"/>
                  <a:gd name="connsiteY8" fmla="*/ 4217 h 11752"/>
                  <a:gd name="connsiteX9" fmla="*/ 10386 w 10441"/>
                  <a:gd name="connsiteY9" fmla="*/ 1711 h 11752"/>
                  <a:gd name="connsiteX10" fmla="*/ 10432 w 10441"/>
                  <a:gd name="connsiteY10" fmla="*/ 3809 h 11752"/>
                  <a:gd name="connsiteX0" fmla="*/ 3437 w 10441"/>
                  <a:gd name="connsiteY0" fmla="*/ 12147 h 12147"/>
                  <a:gd name="connsiteX1" fmla="*/ 1869 w 10441"/>
                  <a:gd name="connsiteY1" fmla="*/ 11312 h 12147"/>
                  <a:gd name="connsiteX2" fmla="*/ 3370 w 10441"/>
                  <a:gd name="connsiteY2" fmla="*/ 10688 h 12147"/>
                  <a:gd name="connsiteX3" fmla="*/ 0 w 10441"/>
                  <a:gd name="connsiteY3" fmla="*/ 8508 h 12147"/>
                  <a:gd name="connsiteX4" fmla="*/ 3824 w 10441"/>
                  <a:gd name="connsiteY4" fmla="*/ 8243 h 12147"/>
                  <a:gd name="connsiteX5" fmla="*/ 386 w 10441"/>
                  <a:gd name="connsiteY5" fmla="*/ 3904 h 12147"/>
                  <a:gd name="connsiteX6" fmla="*/ 5574 w 10441"/>
                  <a:gd name="connsiteY6" fmla="*/ 6046 h 12147"/>
                  <a:gd name="connsiteX7" fmla="*/ 4321 w 10441"/>
                  <a:gd name="connsiteY7" fmla="*/ 0 h 12147"/>
                  <a:gd name="connsiteX8" fmla="*/ 8097 w 10441"/>
                  <a:gd name="connsiteY8" fmla="*/ 4217 h 12147"/>
                  <a:gd name="connsiteX9" fmla="*/ 10386 w 10441"/>
                  <a:gd name="connsiteY9" fmla="*/ 1711 h 12147"/>
                  <a:gd name="connsiteX10" fmla="*/ 10432 w 10441"/>
                  <a:gd name="connsiteY10" fmla="*/ 3809 h 12147"/>
                  <a:gd name="connsiteX0" fmla="*/ 3464 w 10441"/>
                  <a:gd name="connsiteY0" fmla="*/ 11820 h 11820"/>
                  <a:gd name="connsiteX1" fmla="*/ 1869 w 10441"/>
                  <a:gd name="connsiteY1" fmla="*/ 11312 h 11820"/>
                  <a:gd name="connsiteX2" fmla="*/ 3370 w 10441"/>
                  <a:gd name="connsiteY2" fmla="*/ 10688 h 11820"/>
                  <a:gd name="connsiteX3" fmla="*/ 0 w 10441"/>
                  <a:gd name="connsiteY3" fmla="*/ 8508 h 11820"/>
                  <a:gd name="connsiteX4" fmla="*/ 3824 w 10441"/>
                  <a:gd name="connsiteY4" fmla="*/ 8243 h 11820"/>
                  <a:gd name="connsiteX5" fmla="*/ 386 w 10441"/>
                  <a:gd name="connsiteY5" fmla="*/ 3904 h 11820"/>
                  <a:gd name="connsiteX6" fmla="*/ 5574 w 10441"/>
                  <a:gd name="connsiteY6" fmla="*/ 6046 h 11820"/>
                  <a:gd name="connsiteX7" fmla="*/ 4321 w 10441"/>
                  <a:gd name="connsiteY7" fmla="*/ 0 h 11820"/>
                  <a:gd name="connsiteX8" fmla="*/ 8097 w 10441"/>
                  <a:gd name="connsiteY8" fmla="*/ 4217 h 11820"/>
                  <a:gd name="connsiteX9" fmla="*/ 10386 w 10441"/>
                  <a:gd name="connsiteY9" fmla="*/ 1711 h 11820"/>
                  <a:gd name="connsiteX10" fmla="*/ 10432 w 10441"/>
                  <a:gd name="connsiteY10" fmla="*/ 3809 h 11820"/>
                  <a:gd name="connsiteX0" fmla="*/ 3464 w 10441"/>
                  <a:gd name="connsiteY0" fmla="*/ 11820 h 11820"/>
                  <a:gd name="connsiteX1" fmla="*/ 1869 w 10441"/>
                  <a:gd name="connsiteY1" fmla="*/ 11312 h 11820"/>
                  <a:gd name="connsiteX2" fmla="*/ 3549 w 10441"/>
                  <a:gd name="connsiteY2" fmla="*/ 10563 h 11820"/>
                  <a:gd name="connsiteX3" fmla="*/ 0 w 10441"/>
                  <a:gd name="connsiteY3" fmla="*/ 8508 h 11820"/>
                  <a:gd name="connsiteX4" fmla="*/ 3824 w 10441"/>
                  <a:gd name="connsiteY4" fmla="*/ 8243 h 11820"/>
                  <a:gd name="connsiteX5" fmla="*/ 386 w 10441"/>
                  <a:gd name="connsiteY5" fmla="*/ 3904 h 11820"/>
                  <a:gd name="connsiteX6" fmla="*/ 5574 w 10441"/>
                  <a:gd name="connsiteY6" fmla="*/ 6046 h 11820"/>
                  <a:gd name="connsiteX7" fmla="*/ 4321 w 10441"/>
                  <a:gd name="connsiteY7" fmla="*/ 0 h 11820"/>
                  <a:gd name="connsiteX8" fmla="*/ 8097 w 10441"/>
                  <a:gd name="connsiteY8" fmla="*/ 4217 h 11820"/>
                  <a:gd name="connsiteX9" fmla="*/ 10386 w 10441"/>
                  <a:gd name="connsiteY9" fmla="*/ 1711 h 11820"/>
                  <a:gd name="connsiteX10" fmla="*/ 10432 w 10441"/>
                  <a:gd name="connsiteY10" fmla="*/ 3809 h 11820"/>
                  <a:gd name="connsiteX0" fmla="*/ 3464 w 10441"/>
                  <a:gd name="connsiteY0" fmla="*/ 11820 h 11820"/>
                  <a:gd name="connsiteX1" fmla="*/ 1869 w 10441"/>
                  <a:gd name="connsiteY1" fmla="*/ 11312 h 11820"/>
                  <a:gd name="connsiteX2" fmla="*/ 3549 w 10441"/>
                  <a:gd name="connsiteY2" fmla="*/ 10563 h 11820"/>
                  <a:gd name="connsiteX3" fmla="*/ 0 w 10441"/>
                  <a:gd name="connsiteY3" fmla="*/ 8508 h 11820"/>
                  <a:gd name="connsiteX4" fmla="*/ 3942 w 10441"/>
                  <a:gd name="connsiteY4" fmla="*/ 8360 h 11820"/>
                  <a:gd name="connsiteX5" fmla="*/ 386 w 10441"/>
                  <a:gd name="connsiteY5" fmla="*/ 3904 h 11820"/>
                  <a:gd name="connsiteX6" fmla="*/ 5574 w 10441"/>
                  <a:gd name="connsiteY6" fmla="*/ 6046 h 11820"/>
                  <a:gd name="connsiteX7" fmla="*/ 4321 w 10441"/>
                  <a:gd name="connsiteY7" fmla="*/ 0 h 11820"/>
                  <a:gd name="connsiteX8" fmla="*/ 8097 w 10441"/>
                  <a:gd name="connsiteY8" fmla="*/ 4217 h 11820"/>
                  <a:gd name="connsiteX9" fmla="*/ 10386 w 10441"/>
                  <a:gd name="connsiteY9" fmla="*/ 1711 h 11820"/>
                  <a:gd name="connsiteX10" fmla="*/ 10432 w 10441"/>
                  <a:gd name="connsiteY10" fmla="*/ 3809 h 11820"/>
                  <a:gd name="connsiteX0" fmla="*/ 3464 w 10441"/>
                  <a:gd name="connsiteY0" fmla="*/ 11820 h 11820"/>
                  <a:gd name="connsiteX1" fmla="*/ 1869 w 10441"/>
                  <a:gd name="connsiteY1" fmla="*/ 11312 h 11820"/>
                  <a:gd name="connsiteX2" fmla="*/ 3549 w 10441"/>
                  <a:gd name="connsiteY2" fmla="*/ 10563 h 11820"/>
                  <a:gd name="connsiteX3" fmla="*/ 0 w 10441"/>
                  <a:gd name="connsiteY3" fmla="*/ 8508 h 11820"/>
                  <a:gd name="connsiteX4" fmla="*/ 3942 w 10441"/>
                  <a:gd name="connsiteY4" fmla="*/ 8360 h 11820"/>
                  <a:gd name="connsiteX5" fmla="*/ 386 w 10441"/>
                  <a:gd name="connsiteY5" fmla="*/ 3904 h 11820"/>
                  <a:gd name="connsiteX6" fmla="*/ 5574 w 10441"/>
                  <a:gd name="connsiteY6" fmla="*/ 6046 h 11820"/>
                  <a:gd name="connsiteX7" fmla="*/ 4321 w 10441"/>
                  <a:gd name="connsiteY7" fmla="*/ 0 h 11820"/>
                  <a:gd name="connsiteX8" fmla="*/ 8064 w 10441"/>
                  <a:gd name="connsiteY8" fmla="*/ 4496 h 11820"/>
                  <a:gd name="connsiteX9" fmla="*/ 10386 w 10441"/>
                  <a:gd name="connsiteY9" fmla="*/ 1711 h 11820"/>
                  <a:gd name="connsiteX10" fmla="*/ 10432 w 10441"/>
                  <a:gd name="connsiteY10" fmla="*/ 3809 h 11820"/>
                  <a:gd name="connsiteX0" fmla="*/ 3464 w 10567"/>
                  <a:gd name="connsiteY0" fmla="*/ 11820 h 11820"/>
                  <a:gd name="connsiteX1" fmla="*/ 1869 w 10567"/>
                  <a:gd name="connsiteY1" fmla="*/ 11312 h 11820"/>
                  <a:gd name="connsiteX2" fmla="*/ 3549 w 10567"/>
                  <a:gd name="connsiteY2" fmla="*/ 10563 h 11820"/>
                  <a:gd name="connsiteX3" fmla="*/ 0 w 10567"/>
                  <a:gd name="connsiteY3" fmla="*/ 8508 h 11820"/>
                  <a:gd name="connsiteX4" fmla="*/ 3942 w 10567"/>
                  <a:gd name="connsiteY4" fmla="*/ 8360 h 11820"/>
                  <a:gd name="connsiteX5" fmla="*/ 386 w 10567"/>
                  <a:gd name="connsiteY5" fmla="*/ 3904 h 11820"/>
                  <a:gd name="connsiteX6" fmla="*/ 5574 w 10567"/>
                  <a:gd name="connsiteY6" fmla="*/ 6046 h 11820"/>
                  <a:gd name="connsiteX7" fmla="*/ 4321 w 10567"/>
                  <a:gd name="connsiteY7" fmla="*/ 0 h 11820"/>
                  <a:gd name="connsiteX8" fmla="*/ 8064 w 10567"/>
                  <a:gd name="connsiteY8" fmla="*/ 4496 h 11820"/>
                  <a:gd name="connsiteX9" fmla="*/ 10386 w 10567"/>
                  <a:gd name="connsiteY9" fmla="*/ 1711 h 11820"/>
                  <a:gd name="connsiteX10" fmla="*/ 10562 w 10567"/>
                  <a:gd name="connsiteY10" fmla="*/ 4023 h 11820"/>
                  <a:gd name="connsiteX0" fmla="*/ 3464 w 10564"/>
                  <a:gd name="connsiteY0" fmla="*/ 11820 h 11820"/>
                  <a:gd name="connsiteX1" fmla="*/ 1869 w 10564"/>
                  <a:gd name="connsiteY1" fmla="*/ 11312 h 11820"/>
                  <a:gd name="connsiteX2" fmla="*/ 3549 w 10564"/>
                  <a:gd name="connsiteY2" fmla="*/ 10563 h 11820"/>
                  <a:gd name="connsiteX3" fmla="*/ 0 w 10564"/>
                  <a:gd name="connsiteY3" fmla="*/ 8508 h 11820"/>
                  <a:gd name="connsiteX4" fmla="*/ 3942 w 10564"/>
                  <a:gd name="connsiteY4" fmla="*/ 8360 h 11820"/>
                  <a:gd name="connsiteX5" fmla="*/ 386 w 10564"/>
                  <a:gd name="connsiteY5" fmla="*/ 3904 h 11820"/>
                  <a:gd name="connsiteX6" fmla="*/ 5574 w 10564"/>
                  <a:gd name="connsiteY6" fmla="*/ 6046 h 11820"/>
                  <a:gd name="connsiteX7" fmla="*/ 4321 w 10564"/>
                  <a:gd name="connsiteY7" fmla="*/ 0 h 11820"/>
                  <a:gd name="connsiteX8" fmla="*/ 8064 w 10564"/>
                  <a:gd name="connsiteY8" fmla="*/ 4496 h 11820"/>
                  <a:gd name="connsiteX9" fmla="*/ 9928 w 10564"/>
                  <a:gd name="connsiteY9" fmla="*/ 2069 h 11820"/>
                  <a:gd name="connsiteX10" fmla="*/ 10562 w 10564"/>
                  <a:gd name="connsiteY10" fmla="*/ 4023 h 11820"/>
                  <a:gd name="connsiteX0" fmla="*/ 3464 w 10565"/>
                  <a:gd name="connsiteY0" fmla="*/ 11820 h 11820"/>
                  <a:gd name="connsiteX1" fmla="*/ 1869 w 10565"/>
                  <a:gd name="connsiteY1" fmla="*/ 11312 h 11820"/>
                  <a:gd name="connsiteX2" fmla="*/ 3549 w 10565"/>
                  <a:gd name="connsiteY2" fmla="*/ 10563 h 11820"/>
                  <a:gd name="connsiteX3" fmla="*/ 0 w 10565"/>
                  <a:gd name="connsiteY3" fmla="*/ 8508 h 11820"/>
                  <a:gd name="connsiteX4" fmla="*/ 3942 w 10565"/>
                  <a:gd name="connsiteY4" fmla="*/ 8360 h 11820"/>
                  <a:gd name="connsiteX5" fmla="*/ 386 w 10565"/>
                  <a:gd name="connsiteY5" fmla="*/ 3904 h 11820"/>
                  <a:gd name="connsiteX6" fmla="*/ 5574 w 10565"/>
                  <a:gd name="connsiteY6" fmla="*/ 6046 h 11820"/>
                  <a:gd name="connsiteX7" fmla="*/ 4321 w 10565"/>
                  <a:gd name="connsiteY7" fmla="*/ 0 h 11820"/>
                  <a:gd name="connsiteX8" fmla="*/ 8064 w 10565"/>
                  <a:gd name="connsiteY8" fmla="*/ 4496 h 11820"/>
                  <a:gd name="connsiteX9" fmla="*/ 9928 w 10565"/>
                  <a:gd name="connsiteY9" fmla="*/ 2069 h 11820"/>
                  <a:gd name="connsiteX10" fmla="*/ 10562 w 10565"/>
                  <a:gd name="connsiteY10" fmla="*/ 4023 h 11820"/>
                  <a:gd name="connsiteX0" fmla="*/ 3464 w 10562"/>
                  <a:gd name="connsiteY0" fmla="*/ 11820 h 11820"/>
                  <a:gd name="connsiteX1" fmla="*/ 1869 w 10562"/>
                  <a:gd name="connsiteY1" fmla="*/ 11312 h 11820"/>
                  <a:gd name="connsiteX2" fmla="*/ 3549 w 10562"/>
                  <a:gd name="connsiteY2" fmla="*/ 10563 h 11820"/>
                  <a:gd name="connsiteX3" fmla="*/ 0 w 10562"/>
                  <a:gd name="connsiteY3" fmla="*/ 8508 h 11820"/>
                  <a:gd name="connsiteX4" fmla="*/ 3942 w 10562"/>
                  <a:gd name="connsiteY4" fmla="*/ 8360 h 11820"/>
                  <a:gd name="connsiteX5" fmla="*/ 386 w 10562"/>
                  <a:gd name="connsiteY5" fmla="*/ 3904 h 11820"/>
                  <a:gd name="connsiteX6" fmla="*/ 5574 w 10562"/>
                  <a:gd name="connsiteY6" fmla="*/ 6046 h 11820"/>
                  <a:gd name="connsiteX7" fmla="*/ 4321 w 10562"/>
                  <a:gd name="connsiteY7" fmla="*/ 0 h 11820"/>
                  <a:gd name="connsiteX8" fmla="*/ 8064 w 10562"/>
                  <a:gd name="connsiteY8" fmla="*/ 4496 h 11820"/>
                  <a:gd name="connsiteX9" fmla="*/ 9928 w 10562"/>
                  <a:gd name="connsiteY9" fmla="*/ 2069 h 11820"/>
                  <a:gd name="connsiteX10" fmla="*/ 10562 w 10562"/>
                  <a:gd name="connsiteY10" fmla="*/ 4023 h 11820"/>
                  <a:gd name="connsiteX0" fmla="*/ 3464 w 10362"/>
                  <a:gd name="connsiteY0" fmla="*/ 11820 h 11820"/>
                  <a:gd name="connsiteX1" fmla="*/ 1869 w 10362"/>
                  <a:gd name="connsiteY1" fmla="*/ 11312 h 11820"/>
                  <a:gd name="connsiteX2" fmla="*/ 3549 w 10362"/>
                  <a:gd name="connsiteY2" fmla="*/ 10563 h 11820"/>
                  <a:gd name="connsiteX3" fmla="*/ 0 w 10362"/>
                  <a:gd name="connsiteY3" fmla="*/ 8508 h 11820"/>
                  <a:gd name="connsiteX4" fmla="*/ 3942 w 10362"/>
                  <a:gd name="connsiteY4" fmla="*/ 8360 h 11820"/>
                  <a:gd name="connsiteX5" fmla="*/ 386 w 10362"/>
                  <a:gd name="connsiteY5" fmla="*/ 3904 h 11820"/>
                  <a:gd name="connsiteX6" fmla="*/ 5574 w 10362"/>
                  <a:gd name="connsiteY6" fmla="*/ 6046 h 11820"/>
                  <a:gd name="connsiteX7" fmla="*/ 4321 w 10362"/>
                  <a:gd name="connsiteY7" fmla="*/ 0 h 11820"/>
                  <a:gd name="connsiteX8" fmla="*/ 8064 w 10362"/>
                  <a:gd name="connsiteY8" fmla="*/ 4496 h 11820"/>
                  <a:gd name="connsiteX9" fmla="*/ 9928 w 10362"/>
                  <a:gd name="connsiteY9" fmla="*/ 2069 h 11820"/>
                  <a:gd name="connsiteX10" fmla="*/ 10362 w 10362"/>
                  <a:gd name="connsiteY10" fmla="*/ 4160 h 11820"/>
                  <a:gd name="connsiteX0" fmla="*/ 3464 w 10362"/>
                  <a:gd name="connsiteY0" fmla="*/ 11820 h 11820"/>
                  <a:gd name="connsiteX1" fmla="*/ 1869 w 10362"/>
                  <a:gd name="connsiteY1" fmla="*/ 11312 h 11820"/>
                  <a:gd name="connsiteX2" fmla="*/ 3549 w 10362"/>
                  <a:gd name="connsiteY2" fmla="*/ 10563 h 11820"/>
                  <a:gd name="connsiteX3" fmla="*/ 0 w 10362"/>
                  <a:gd name="connsiteY3" fmla="*/ 8508 h 11820"/>
                  <a:gd name="connsiteX4" fmla="*/ 3942 w 10362"/>
                  <a:gd name="connsiteY4" fmla="*/ 8360 h 11820"/>
                  <a:gd name="connsiteX5" fmla="*/ 2112 w 10362"/>
                  <a:gd name="connsiteY5" fmla="*/ 5317 h 11820"/>
                  <a:gd name="connsiteX6" fmla="*/ 5574 w 10362"/>
                  <a:gd name="connsiteY6" fmla="*/ 6046 h 11820"/>
                  <a:gd name="connsiteX7" fmla="*/ 4321 w 10362"/>
                  <a:gd name="connsiteY7" fmla="*/ 0 h 11820"/>
                  <a:gd name="connsiteX8" fmla="*/ 8064 w 10362"/>
                  <a:gd name="connsiteY8" fmla="*/ 4496 h 11820"/>
                  <a:gd name="connsiteX9" fmla="*/ 9928 w 10362"/>
                  <a:gd name="connsiteY9" fmla="*/ 2069 h 11820"/>
                  <a:gd name="connsiteX10" fmla="*/ 10362 w 10362"/>
                  <a:gd name="connsiteY10" fmla="*/ 4160 h 11820"/>
                  <a:gd name="connsiteX0" fmla="*/ 3464 w 10362"/>
                  <a:gd name="connsiteY0" fmla="*/ 11820 h 11820"/>
                  <a:gd name="connsiteX1" fmla="*/ 1869 w 10362"/>
                  <a:gd name="connsiteY1" fmla="*/ 11312 h 11820"/>
                  <a:gd name="connsiteX2" fmla="*/ 3549 w 10362"/>
                  <a:gd name="connsiteY2" fmla="*/ 10563 h 11820"/>
                  <a:gd name="connsiteX3" fmla="*/ 0 w 10362"/>
                  <a:gd name="connsiteY3" fmla="*/ 8508 h 11820"/>
                  <a:gd name="connsiteX4" fmla="*/ 3942 w 10362"/>
                  <a:gd name="connsiteY4" fmla="*/ 8360 h 11820"/>
                  <a:gd name="connsiteX5" fmla="*/ 1619 w 10362"/>
                  <a:gd name="connsiteY5" fmla="*/ 4861 h 11820"/>
                  <a:gd name="connsiteX6" fmla="*/ 5574 w 10362"/>
                  <a:gd name="connsiteY6" fmla="*/ 6046 h 11820"/>
                  <a:gd name="connsiteX7" fmla="*/ 4321 w 10362"/>
                  <a:gd name="connsiteY7" fmla="*/ 0 h 11820"/>
                  <a:gd name="connsiteX8" fmla="*/ 8064 w 10362"/>
                  <a:gd name="connsiteY8" fmla="*/ 4496 h 11820"/>
                  <a:gd name="connsiteX9" fmla="*/ 9928 w 10362"/>
                  <a:gd name="connsiteY9" fmla="*/ 2069 h 11820"/>
                  <a:gd name="connsiteX10" fmla="*/ 10362 w 10362"/>
                  <a:gd name="connsiteY10" fmla="*/ 4160 h 11820"/>
                  <a:gd name="connsiteX0" fmla="*/ 3464 w 10362"/>
                  <a:gd name="connsiteY0" fmla="*/ 11106 h 11106"/>
                  <a:gd name="connsiteX1" fmla="*/ 1869 w 10362"/>
                  <a:gd name="connsiteY1" fmla="*/ 10598 h 11106"/>
                  <a:gd name="connsiteX2" fmla="*/ 3549 w 10362"/>
                  <a:gd name="connsiteY2" fmla="*/ 9849 h 11106"/>
                  <a:gd name="connsiteX3" fmla="*/ 0 w 10362"/>
                  <a:gd name="connsiteY3" fmla="*/ 7794 h 11106"/>
                  <a:gd name="connsiteX4" fmla="*/ 3942 w 10362"/>
                  <a:gd name="connsiteY4" fmla="*/ 7646 h 11106"/>
                  <a:gd name="connsiteX5" fmla="*/ 1619 w 10362"/>
                  <a:gd name="connsiteY5" fmla="*/ 4147 h 11106"/>
                  <a:gd name="connsiteX6" fmla="*/ 5574 w 10362"/>
                  <a:gd name="connsiteY6" fmla="*/ 5332 h 11106"/>
                  <a:gd name="connsiteX7" fmla="*/ 4584 w 10362"/>
                  <a:gd name="connsiteY7" fmla="*/ 0 h 11106"/>
                  <a:gd name="connsiteX8" fmla="*/ 8064 w 10362"/>
                  <a:gd name="connsiteY8" fmla="*/ 3782 h 11106"/>
                  <a:gd name="connsiteX9" fmla="*/ 9928 w 10362"/>
                  <a:gd name="connsiteY9" fmla="*/ 1355 h 11106"/>
                  <a:gd name="connsiteX10" fmla="*/ 10362 w 10362"/>
                  <a:gd name="connsiteY10" fmla="*/ 3446 h 11106"/>
                  <a:gd name="connsiteX0" fmla="*/ 3566 w 10362"/>
                  <a:gd name="connsiteY0" fmla="*/ 11727 h 11727"/>
                  <a:gd name="connsiteX1" fmla="*/ 1869 w 10362"/>
                  <a:gd name="connsiteY1" fmla="*/ 10598 h 11727"/>
                  <a:gd name="connsiteX2" fmla="*/ 3549 w 10362"/>
                  <a:gd name="connsiteY2" fmla="*/ 9849 h 11727"/>
                  <a:gd name="connsiteX3" fmla="*/ 0 w 10362"/>
                  <a:gd name="connsiteY3" fmla="*/ 7794 h 11727"/>
                  <a:gd name="connsiteX4" fmla="*/ 3942 w 10362"/>
                  <a:gd name="connsiteY4" fmla="*/ 7646 h 11727"/>
                  <a:gd name="connsiteX5" fmla="*/ 1619 w 10362"/>
                  <a:gd name="connsiteY5" fmla="*/ 4147 h 11727"/>
                  <a:gd name="connsiteX6" fmla="*/ 5574 w 10362"/>
                  <a:gd name="connsiteY6" fmla="*/ 5332 h 11727"/>
                  <a:gd name="connsiteX7" fmla="*/ 4584 w 10362"/>
                  <a:gd name="connsiteY7" fmla="*/ 0 h 11727"/>
                  <a:gd name="connsiteX8" fmla="*/ 8064 w 10362"/>
                  <a:gd name="connsiteY8" fmla="*/ 3782 h 11727"/>
                  <a:gd name="connsiteX9" fmla="*/ 9928 w 10362"/>
                  <a:gd name="connsiteY9" fmla="*/ 1355 h 11727"/>
                  <a:gd name="connsiteX10" fmla="*/ 10362 w 10362"/>
                  <a:gd name="connsiteY10" fmla="*/ 3446 h 11727"/>
                  <a:gd name="connsiteX0" fmla="*/ 3522 w 10362"/>
                  <a:gd name="connsiteY0" fmla="*/ 11244 h 11244"/>
                  <a:gd name="connsiteX1" fmla="*/ 1869 w 10362"/>
                  <a:gd name="connsiteY1" fmla="*/ 10598 h 11244"/>
                  <a:gd name="connsiteX2" fmla="*/ 3549 w 10362"/>
                  <a:gd name="connsiteY2" fmla="*/ 9849 h 11244"/>
                  <a:gd name="connsiteX3" fmla="*/ 0 w 10362"/>
                  <a:gd name="connsiteY3" fmla="*/ 7794 h 11244"/>
                  <a:gd name="connsiteX4" fmla="*/ 3942 w 10362"/>
                  <a:gd name="connsiteY4" fmla="*/ 7646 h 11244"/>
                  <a:gd name="connsiteX5" fmla="*/ 1619 w 10362"/>
                  <a:gd name="connsiteY5" fmla="*/ 4147 h 11244"/>
                  <a:gd name="connsiteX6" fmla="*/ 5574 w 10362"/>
                  <a:gd name="connsiteY6" fmla="*/ 5332 h 11244"/>
                  <a:gd name="connsiteX7" fmla="*/ 4584 w 10362"/>
                  <a:gd name="connsiteY7" fmla="*/ 0 h 11244"/>
                  <a:gd name="connsiteX8" fmla="*/ 8064 w 10362"/>
                  <a:gd name="connsiteY8" fmla="*/ 3782 h 11244"/>
                  <a:gd name="connsiteX9" fmla="*/ 9928 w 10362"/>
                  <a:gd name="connsiteY9" fmla="*/ 1355 h 11244"/>
                  <a:gd name="connsiteX10" fmla="*/ 10362 w 10362"/>
                  <a:gd name="connsiteY10" fmla="*/ 3446 h 1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62" h="11244">
                    <a:moveTo>
                      <a:pt x="3522" y="11244"/>
                    </a:moveTo>
                    <a:lnTo>
                      <a:pt x="1869" y="10598"/>
                    </a:lnTo>
                    <a:lnTo>
                      <a:pt x="3549" y="9849"/>
                    </a:lnTo>
                    <a:lnTo>
                      <a:pt x="0" y="7794"/>
                    </a:lnTo>
                    <a:lnTo>
                      <a:pt x="3942" y="7646"/>
                    </a:lnTo>
                    <a:lnTo>
                      <a:pt x="1619" y="4147"/>
                    </a:lnTo>
                    <a:lnTo>
                      <a:pt x="5574" y="5332"/>
                    </a:lnTo>
                    <a:lnTo>
                      <a:pt x="4584" y="0"/>
                    </a:lnTo>
                    <a:lnTo>
                      <a:pt x="8064" y="3782"/>
                    </a:lnTo>
                    <a:lnTo>
                      <a:pt x="9928" y="1355"/>
                    </a:lnTo>
                    <a:cubicBezTo>
                      <a:pt x="10073" y="2052"/>
                      <a:pt x="10217" y="2749"/>
                      <a:pt x="10362" y="3446"/>
                    </a:cubicBez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89" name="Line 594">
                <a:extLst>
                  <a:ext uri="{FF2B5EF4-FFF2-40B4-BE49-F238E27FC236}">
                    <a16:creationId xmlns:a16="http://schemas.microsoft.com/office/drawing/2014/main" id="{27C9209C-B1D9-418F-A90F-500CEA10E162}"/>
                  </a:ext>
                </a:extLst>
              </p:cNvPr>
              <p:cNvSpPr>
                <a:spLocks noChangeShapeType="1"/>
              </p:cNvSpPr>
              <p:nvPr/>
            </p:nvSpPr>
            <p:spPr bwMode="gray">
              <a:xfrm rot="18169347">
                <a:off x="11733052" y="4551454"/>
                <a:ext cx="0" cy="0"/>
              </a:xfrm>
              <a:prstGeom prst="lin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90" name="Freeform: Shape 89">
                <a:extLst>
                  <a:ext uri="{FF2B5EF4-FFF2-40B4-BE49-F238E27FC236}">
                    <a16:creationId xmlns:a16="http://schemas.microsoft.com/office/drawing/2014/main" id="{A11469BE-AC5F-489D-8351-3BEFB14E5EBD}"/>
                  </a:ext>
                </a:extLst>
              </p:cNvPr>
              <p:cNvSpPr/>
              <p:nvPr/>
            </p:nvSpPr>
            <p:spPr bwMode="gray">
              <a:xfrm flipV="1">
                <a:off x="11772451" y="4378959"/>
                <a:ext cx="230542" cy="279583"/>
              </a:xfrm>
              <a:custGeom>
                <a:avLst/>
                <a:gdLst>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70163 w 321381"/>
                  <a:gd name="connsiteY5" fmla="*/ 8444 h 395810"/>
                  <a:gd name="connsiteX6" fmla="*/ 166021 w 321381"/>
                  <a:gd name="connsiteY6" fmla="*/ 0 h 395810"/>
                  <a:gd name="connsiteX7" fmla="*/ 160691 w 321381"/>
                  <a:gd name="connsiteY7" fmla="*/ 3041 h 395810"/>
                  <a:gd name="connsiteX8" fmla="*/ 155360 w 321381"/>
                  <a:gd name="connsiteY8" fmla="*/ 0 h 395810"/>
                  <a:gd name="connsiteX9" fmla="*/ 151218 w 321381"/>
                  <a:gd name="connsiteY9" fmla="*/ 8444 h 395810"/>
                  <a:gd name="connsiteX10" fmla="*/ 119662 w 321381"/>
                  <a:gd name="connsiteY10" fmla="*/ 26443 h 395810"/>
                  <a:gd name="connsiteX11" fmla="*/ 0 w 321381"/>
                  <a:gd name="connsiteY11" fmla="*/ 318980 h 395810"/>
                  <a:gd name="connsiteX12" fmla="*/ 160305 w 321381"/>
                  <a:gd name="connsiteY12"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70163 w 321381"/>
                  <a:gd name="connsiteY5" fmla="*/ 8444 h 395810"/>
                  <a:gd name="connsiteX6" fmla="*/ 166021 w 321381"/>
                  <a:gd name="connsiteY6" fmla="*/ 0 h 395810"/>
                  <a:gd name="connsiteX7" fmla="*/ 160691 w 321381"/>
                  <a:gd name="connsiteY7" fmla="*/ 3041 h 395810"/>
                  <a:gd name="connsiteX8" fmla="*/ 155360 w 321381"/>
                  <a:gd name="connsiteY8" fmla="*/ 0 h 395810"/>
                  <a:gd name="connsiteX9" fmla="*/ 119662 w 321381"/>
                  <a:gd name="connsiteY9" fmla="*/ 26443 h 395810"/>
                  <a:gd name="connsiteX10" fmla="*/ 0 w 321381"/>
                  <a:gd name="connsiteY10" fmla="*/ 318980 h 395810"/>
                  <a:gd name="connsiteX11" fmla="*/ 160305 w 321381"/>
                  <a:gd name="connsiteY11"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70163 w 321381"/>
                  <a:gd name="connsiteY5" fmla="*/ 8444 h 395810"/>
                  <a:gd name="connsiteX6" fmla="*/ 160691 w 321381"/>
                  <a:gd name="connsiteY6" fmla="*/ 3041 h 395810"/>
                  <a:gd name="connsiteX7" fmla="*/ 155360 w 321381"/>
                  <a:gd name="connsiteY7" fmla="*/ 0 h 395810"/>
                  <a:gd name="connsiteX8" fmla="*/ 119662 w 321381"/>
                  <a:gd name="connsiteY8" fmla="*/ 26443 h 395810"/>
                  <a:gd name="connsiteX9" fmla="*/ 0 w 321381"/>
                  <a:gd name="connsiteY9" fmla="*/ 318980 h 395810"/>
                  <a:gd name="connsiteX10" fmla="*/ 160305 w 321381"/>
                  <a:gd name="connsiteY10"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60691 w 321381"/>
                  <a:gd name="connsiteY5" fmla="*/ 3041 h 395810"/>
                  <a:gd name="connsiteX6" fmla="*/ 155360 w 321381"/>
                  <a:gd name="connsiteY6" fmla="*/ 0 h 395810"/>
                  <a:gd name="connsiteX7" fmla="*/ 119662 w 321381"/>
                  <a:gd name="connsiteY7" fmla="*/ 26443 h 395810"/>
                  <a:gd name="connsiteX8" fmla="*/ 0 w 321381"/>
                  <a:gd name="connsiteY8" fmla="*/ 318980 h 395810"/>
                  <a:gd name="connsiteX9" fmla="*/ 160305 w 321381"/>
                  <a:gd name="connsiteY9"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160691 w 321381"/>
                  <a:gd name="connsiteY4" fmla="*/ 3041 h 395810"/>
                  <a:gd name="connsiteX5" fmla="*/ 155360 w 321381"/>
                  <a:gd name="connsiteY5" fmla="*/ 0 h 395810"/>
                  <a:gd name="connsiteX6" fmla="*/ 119662 w 321381"/>
                  <a:gd name="connsiteY6" fmla="*/ 26443 h 395810"/>
                  <a:gd name="connsiteX7" fmla="*/ 0 w 321381"/>
                  <a:gd name="connsiteY7" fmla="*/ 318980 h 395810"/>
                  <a:gd name="connsiteX8" fmla="*/ 160305 w 321381"/>
                  <a:gd name="connsiteY8" fmla="*/ 395810 h 395810"/>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119662 w 321381"/>
                  <a:gd name="connsiteY5" fmla="*/ 23402 h 392769"/>
                  <a:gd name="connsiteX6" fmla="*/ 0 w 321381"/>
                  <a:gd name="connsiteY6" fmla="*/ 315939 h 392769"/>
                  <a:gd name="connsiteX7" fmla="*/ 160305 w 321381"/>
                  <a:gd name="connsiteY7"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0 w 321381"/>
                  <a:gd name="connsiteY0" fmla="*/ 31593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381" h="389746">
                    <a:moveTo>
                      <a:pt x="0" y="315939"/>
                    </a:moveTo>
                    <a:cubicBezTo>
                      <a:pt x="80010" y="319937"/>
                      <a:pt x="133845" y="376941"/>
                      <a:pt x="160691" y="389746"/>
                    </a:cubicBezTo>
                    <a:cubicBezTo>
                      <a:pt x="187584" y="372601"/>
                      <a:pt x="210891" y="327557"/>
                      <a:pt x="321381" y="315939"/>
                    </a:cubicBezTo>
                    <a:cubicBezTo>
                      <a:pt x="315602" y="178088"/>
                      <a:pt x="275991" y="41733"/>
                      <a:pt x="160691" y="0"/>
                    </a:cubicBezTo>
                    <a:cubicBezTo>
                      <a:pt x="65217" y="31018"/>
                      <a:pt x="5939" y="155381"/>
                      <a:pt x="0" y="315939"/>
                    </a:cubicBezTo>
                    <a:close/>
                  </a:path>
                </a:pathLst>
              </a:custGeom>
              <a:solidFill>
                <a:schemeClr val="bg1"/>
              </a:solidFill>
              <a:ln w="1905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de-DE" dirty="0" err="1"/>
              </a:p>
            </p:txBody>
          </p:sp>
        </p:grpSp>
        <p:sp>
          <p:nvSpPr>
            <p:cNvPr id="86" name="TextBox 85">
              <a:extLst>
                <a:ext uri="{FF2B5EF4-FFF2-40B4-BE49-F238E27FC236}">
                  <a16:creationId xmlns:a16="http://schemas.microsoft.com/office/drawing/2014/main" id="{EA93930A-0B41-427F-AAF8-594F78F275C3}"/>
                </a:ext>
              </a:extLst>
            </p:cNvPr>
            <p:cNvSpPr txBox="1"/>
            <p:nvPr/>
          </p:nvSpPr>
          <p:spPr bwMode="gray">
            <a:xfrm>
              <a:off x="11233438"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Explosion proof </a:t>
              </a:r>
            </a:p>
          </p:txBody>
        </p:sp>
      </p:grpSp>
      <p:cxnSp>
        <p:nvCxnSpPr>
          <p:cNvPr id="92" name="Straight Connector 91">
            <a:extLst>
              <a:ext uri="{FF2B5EF4-FFF2-40B4-BE49-F238E27FC236}">
                <a16:creationId xmlns:a16="http://schemas.microsoft.com/office/drawing/2014/main" id="{41D59C6B-995F-4C7A-BCE6-019FE34CD659}"/>
              </a:ext>
            </a:extLst>
          </p:cNvPr>
          <p:cNvCxnSpPr>
            <a:cxnSpLocks/>
          </p:cNvCxnSpPr>
          <p:nvPr/>
        </p:nvCxnSpPr>
        <p:spPr bwMode="gray">
          <a:xfrm>
            <a:off x="9648010" y="4762209"/>
            <a:ext cx="220525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93" name="AutoShape 6">
            <a:hlinkClick r:id="rId8" action="ppaction://hlinksldjump" highlightClick="1"/>
            <a:extLst>
              <a:ext uri="{FF2B5EF4-FFF2-40B4-BE49-F238E27FC236}">
                <a16:creationId xmlns:a16="http://schemas.microsoft.com/office/drawing/2014/main" id="{4DDDF239-58CC-4288-8088-08912BDBBBC5}"/>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3677566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12019B4-36D2-4214-8AEC-31397A726417}"/>
              </a:ext>
            </a:extLst>
          </p:cNvPr>
          <p:cNvSpPr>
            <a:spLocks noGrp="1"/>
          </p:cNvSpPr>
          <p:nvPr>
            <p:ph type="title"/>
          </p:nvPr>
        </p:nvSpPr>
        <p:spPr bwMode="gray"/>
        <p:txBody>
          <a:bodyPr/>
          <a:lstStyle/>
          <a:p>
            <a:r>
              <a:rPr lang="en-US" altLang="de-DE" dirty="0"/>
              <a:t>Zone 2</a:t>
            </a:r>
            <a:endParaRPr lang="de-DE" dirty="0"/>
          </a:p>
        </p:txBody>
      </p:sp>
      <p:sp>
        <p:nvSpPr>
          <p:cNvPr id="7" name="Untertitel 6">
            <a:extLst>
              <a:ext uri="{FF2B5EF4-FFF2-40B4-BE49-F238E27FC236}">
                <a16:creationId xmlns:a16="http://schemas.microsoft.com/office/drawing/2014/main" id="{7F296E45-8CE5-4688-9890-0BA598D90BA5}"/>
              </a:ext>
            </a:extLst>
          </p:cNvPr>
          <p:cNvSpPr>
            <a:spLocks noGrp="1"/>
          </p:cNvSpPr>
          <p:nvPr>
            <p:ph type="subTitle" idx="13"/>
          </p:nvPr>
        </p:nvSpPr>
        <p:spPr bwMode="gray">
          <a:xfrm>
            <a:off x="332367" y="1085213"/>
            <a:ext cx="11520898" cy="504000"/>
          </a:xfrm>
        </p:spPr>
        <p:txBody>
          <a:bodyPr/>
          <a:lstStyle/>
          <a:p>
            <a:r>
              <a:rPr lang="de-DE" dirty="0"/>
              <a:t>Cat. 3G / EPL </a:t>
            </a:r>
            <a:r>
              <a:rPr lang="de-DE" dirty="0" err="1"/>
              <a:t>Gc</a:t>
            </a:r>
            <a:r>
              <a:rPr lang="de-DE" dirty="0"/>
              <a:t>, </a:t>
            </a:r>
            <a:r>
              <a:rPr lang="de-DE" dirty="0" err="1"/>
              <a:t>flammable</a:t>
            </a:r>
            <a:r>
              <a:rPr lang="de-DE" dirty="0"/>
              <a:t> </a:t>
            </a:r>
            <a:r>
              <a:rPr lang="de-DE" dirty="0" err="1"/>
              <a:t>gases</a:t>
            </a:r>
            <a:endParaRPr lang="de-DE" dirty="0"/>
          </a:p>
        </p:txBody>
      </p:sp>
      <p:sp>
        <p:nvSpPr>
          <p:cNvPr id="22" name="Inhaltsplatzhalter 8">
            <a:extLst>
              <a:ext uri="{FF2B5EF4-FFF2-40B4-BE49-F238E27FC236}">
                <a16:creationId xmlns:a16="http://schemas.microsoft.com/office/drawing/2014/main" id="{58424193-519A-47BE-BCA8-37C8834040A1}"/>
              </a:ext>
            </a:extLst>
          </p:cNvPr>
          <p:cNvSpPr txBox="1">
            <a:spLocks/>
          </p:cNvSpPr>
          <p:nvPr/>
        </p:nvSpPr>
        <p:spPr bwMode="gray">
          <a:xfrm>
            <a:off x="333264" y="2317640"/>
            <a:ext cx="5605200" cy="3594475"/>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lnSpc>
                <a:spcPct val="90000"/>
              </a:lnSpc>
              <a:spcBef>
                <a:spcPts val="400"/>
              </a:spcBef>
              <a:defRPr/>
            </a:pPr>
            <a:r>
              <a:rPr lang="en-GB" altLang="de-DE" dirty="0"/>
              <a:t>Manufacture Declaration (II 3G Ex </a:t>
            </a:r>
            <a:r>
              <a:rPr lang="en-GB" altLang="de-DE" dirty="0" err="1"/>
              <a:t>nA</a:t>
            </a:r>
            <a:r>
              <a:rPr lang="en-GB" altLang="de-DE" dirty="0"/>
              <a:t> </a:t>
            </a:r>
            <a:r>
              <a:rPr lang="en-GB" altLang="de-DE" dirty="0" err="1"/>
              <a:t>pyb</a:t>
            </a:r>
            <a:r>
              <a:rPr lang="en-GB" altLang="de-DE" dirty="0"/>
              <a:t> II T4 </a:t>
            </a:r>
            <a:r>
              <a:rPr lang="en-GB" altLang="de-DE" dirty="0" err="1"/>
              <a:t>Gc</a:t>
            </a:r>
            <a:r>
              <a:rPr lang="en-GB" altLang="de-DE" dirty="0"/>
              <a:t>) </a:t>
            </a:r>
          </a:p>
          <a:p>
            <a:pPr lvl="1">
              <a:lnSpc>
                <a:spcPct val="90000"/>
              </a:lnSpc>
              <a:spcBef>
                <a:spcPts val="400"/>
              </a:spcBef>
              <a:defRPr/>
            </a:pPr>
            <a:r>
              <a:rPr lang="en-US" altLang="de-DE" dirty="0"/>
              <a:t>Ex </a:t>
            </a:r>
            <a:r>
              <a:rPr lang="en-US" altLang="de-DE" dirty="0" err="1"/>
              <a:t>nA</a:t>
            </a:r>
            <a:r>
              <a:rPr lang="en-US" altLang="de-DE" dirty="0"/>
              <a:t> (non </a:t>
            </a:r>
            <a:r>
              <a:rPr lang="en-US" altLang="de-DE" dirty="0" err="1"/>
              <a:t>incendive</a:t>
            </a:r>
            <a:r>
              <a:rPr lang="en-US" altLang="de-DE" dirty="0"/>
              <a:t>)</a:t>
            </a:r>
          </a:p>
          <a:p>
            <a:pPr lvl="1">
              <a:lnSpc>
                <a:spcPct val="90000"/>
              </a:lnSpc>
              <a:spcBef>
                <a:spcPts val="400"/>
              </a:spcBef>
              <a:defRPr/>
            </a:pPr>
            <a:r>
              <a:rPr lang="en-US" altLang="de-DE" dirty="0"/>
              <a:t>Ex </a:t>
            </a:r>
            <a:r>
              <a:rPr lang="en-US" altLang="de-DE" dirty="0" err="1"/>
              <a:t>pyb</a:t>
            </a:r>
            <a:r>
              <a:rPr lang="en-US" altLang="de-DE" dirty="0"/>
              <a:t> (purged and controlled sensor units)</a:t>
            </a:r>
          </a:p>
          <a:p>
            <a:pPr lvl="1">
              <a:lnSpc>
                <a:spcPct val="90000"/>
              </a:lnSpc>
              <a:spcBef>
                <a:spcPts val="400"/>
              </a:spcBef>
              <a:defRPr/>
            </a:pPr>
            <a:r>
              <a:rPr lang="en-GB" altLang="de-DE" dirty="0"/>
              <a:t>Flammable / non flammable sample gas </a:t>
            </a:r>
          </a:p>
          <a:p>
            <a:pPr lvl="1">
              <a:lnSpc>
                <a:spcPct val="90000"/>
              </a:lnSpc>
              <a:spcBef>
                <a:spcPts val="400"/>
              </a:spcBef>
              <a:defRPr/>
            </a:pPr>
            <a:r>
              <a:rPr lang="en-GB" altLang="de-DE" dirty="0"/>
              <a:t>IP54 Housing (AO2020 / AO2040) </a:t>
            </a:r>
          </a:p>
          <a:p>
            <a:pPr lvl="1">
              <a:lnSpc>
                <a:spcPct val="90000"/>
              </a:lnSpc>
              <a:spcBef>
                <a:spcPts val="400"/>
              </a:spcBef>
              <a:defRPr/>
            </a:pPr>
            <a:r>
              <a:rPr lang="en-GB" altLang="de-DE" dirty="0"/>
              <a:t>purgeable housing for corrosion protection</a:t>
            </a:r>
            <a:endParaRPr lang="en-US" altLang="de-DE" dirty="0"/>
          </a:p>
          <a:p>
            <a:pPr lvl="1">
              <a:lnSpc>
                <a:spcPct val="90000"/>
              </a:lnSpc>
              <a:spcBef>
                <a:spcPts val="400"/>
              </a:spcBef>
              <a:defRPr/>
            </a:pPr>
            <a:r>
              <a:rPr lang="en-GB" altLang="de-DE" dirty="0"/>
              <a:t>AO2000 </a:t>
            </a:r>
            <a:r>
              <a:rPr lang="en-GB" altLang="de-DE" dirty="0" err="1"/>
              <a:t>analyzer</a:t>
            </a:r>
            <a:r>
              <a:rPr lang="en-GB" altLang="de-DE" dirty="0"/>
              <a:t> modules</a:t>
            </a:r>
          </a:p>
          <a:p>
            <a:pPr marL="360036" lvl="1">
              <a:lnSpc>
                <a:spcPct val="90000"/>
              </a:lnSpc>
              <a:spcBef>
                <a:spcPts val="400"/>
              </a:spcBef>
              <a:buFont typeface="Arial" panose="020B0604020202020204" pitchFamily="34" charset="0"/>
              <a:buChar char="•"/>
              <a:defRPr/>
            </a:pPr>
            <a:r>
              <a:rPr lang="en-US" altLang="de-DE" dirty="0"/>
              <a:t>Uras26</a:t>
            </a:r>
          </a:p>
          <a:p>
            <a:pPr marL="360036" lvl="1">
              <a:lnSpc>
                <a:spcPct val="90000"/>
              </a:lnSpc>
              <a:spcBef>
                <a:spcPts val="400"/>
              </a:spcBef>
              <a:buFont typeface="Arial" panose="020B0604020202020204" pitchFamily="34" charset="0"/>
              <a:buChar char="•"/>
              <a:defRPr/>
            </a:pPr>
            <a:r>
              <a:rPr lang="en-US" altLang="de-DE" dirty="0"/>
              <a:t>Caldos25/27 </a:t>
            </a:r>
          </a:p>
          <a:p>
            <a:pPr marL="360036" lvl="1">
              <a:lnSpc>
                <a:spcPct val="90000"/>
              </a:lnSpc>
              <a:spcBef>
                <a:spcPts val="400"/>
              </a:spcBef>
              <a:buFont typeface="Arial" panose="020B0604020202020204" pitchFamily="34" charset="0"/>
              <a:buChar char="•"/>
              <a:defRPr/>
            </a:pPr>
            <a:r>
              <a:rPr lang="en-US" altLang="de-DE" dirty="0"/>
              <a:t>Magnos27/28 </a:t>
            </a:r>
          </a:p>
          <a:p>
            <a:pPr marL="360036" lvl="1">
              <a:lnSpc>
                <a:spcPct val="90000"/>
              </a:lnSpc>
              <a:spcBef>
                <a:spcPts val="400"/>
              </a:spcBef>
              <a:buFont typeface="Arial" panose="020B0604020202020204" pitchFamily="34" charset="0"/>
              <a:buChar char="•"/>
              <a:defRPr/>
            </a:pPr>
            <a:r>
              <a:rPr lang="en-US" altLang="de-DE" dirty="0"/>
              <a:t>Limas21 UV</a:t>
            </a:r>
          </a:p>
          <a:p>
            <a:pPr lvl="1">
              <a:lnSpc>
                <a:spcPct val="90000"/>
              </a:lnSpc>
              <a:spcBef>
                <a:spcPts val="400"/>
              </a:spcBef>
              <a:defRPr/>
            </a:pPr>
            <a:r>
              <a:rPr lang="en-US" altLang="de-DE" dirty="0"/>
              <a:t>Multi-analyzer systems possible</a:t>
            </a:r>
          </a:p>
          <a:p>
            <a:pPr lvl="1">
              <a:lnSpc>
                <a:spcPct val="90000"/>
              </a:lnSpc>
              <a:spcBef>
                <a:spcPts val="400"/>
              </a:spcBef>
              <a:defRPr/>
            </a:pPr>
            <a:r>
              <a:rPr lang="en-GB" altLang="de-DE" dirty="0"/>
              <a:t>Certified in accordance to: </a:t>
            </a:r>
          </a:p>
          <a:p>
            <a:pPr marL="1333500" lvl="1" indent="-1154113">
              <a:spcBef>
                <a:spcPts val="400"/>
              </a:spcBef>
              <a:buFont typeface="Arial" panose="020B0604020202020204" pitchFamily="34" charset="0"/>
              <a:buChar char="•"/>
              <a:defRPr/>
            </a:pPr>
            <a:r>
              <a:rPr lang="de-DE" dirty="0"/>
              <a:t>in preparation </a:t>
            </a:r>
          </a:p>
        </p:txBody>
      </p:sp>
      <p:pic>
        <p:nvPicPr>
          <p:cNvPr id="23" name="Grafik 13">
            <a:extLst>
              <a:ext uri="{FF2B5EF4-FFF2-40B4-BE49-F238E27FC236}">
                <a16:creationId xmlns:a16="http://schemas.microsoft.com/office/drawing/2014/main" id="{1A7713B1-505B-422E-A643-4D1D3D89E42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gray">
          <a:xfrm>
            <a:off x="6683557" y="2463323"/>
            <a:ext cx="2415747" cy="2866106"/>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Rectangle 23">
            <a:extLst>
              <a:ext uri="{FF2B5EF4-FFF2-40B4-BE49-F238E27FC236}">
                <a16:creationId xmlns:a16="http://schemas.microsoft.com/office/drawing/2014/main" id="{19600932-6006-42AE-8823-CFE50F7EB362}"/>
              </a:ext>
            </a:extLst>
          </p:cNvPr>
          <p:cNvSpPr/>
          <p:nvPr/>
        </p:nvSpPr>
        <p:spPr bwMode="gray">
          <a:xfrm>
            <a:off x="336550" y="1931988"/>
            <a:ext cx="5601017" cy="31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de-DE" sz="1600" b="1" dirty="0">
                <a:solidFill>
                  <a:schemeClr val="bg1">
                    <a:lumMod val="50000"/>
                  </a:schemeClr>
                </a:solidFill>
              </a:rPr>
              <a:t>AO2000</a:t>
            </a:r>
          </a:p>
        </p:txBody>
      </p:sp>
      <p:cxnSp>
        <p:nvCxnSpPr>
          <p:cNvPr id="25" name="Straight Connector 24">
            <a:extLst>
              <a:ext uri="{FF2B5EF4-FFF2-40B4-BE49-F238E27FC236}">
                <a16:creationId xmlns:a16="http://schemas.microsoft.com/office/drawing/2014/main" id="{43CAACF2-0235-4B57-AE0F-154E4893B261}"/>
              </a:ext>
            </a:extLst>
          </p:cNvPr>
          <p:cNvCxnSpPr>
            <a:cxnSpLocks/>
          </p:cNvCxnSpPr>
          <p:nvPr/>
        </p:nvCxnSpPr>
        <p:spPr bwMode="gray">
          <a:xfrm flipH="1">
            <a:off x="336551" y="2247134"/>
            <a:ext cx="5601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e Placeholder 11">
            <a:extLst>
              <a:ext uri="{FF2B5EF4-FFF2-40B4-BE49-F238E27FC236}">
                <a16:creationId xmlns:a16="http://schemas.microsoft.com/office/drawing/2014/main" id="{A426190B-A0C1-40A8-B9DB-53E4BD9F609A}"/>
              </a:ext>
            </a:extLst>
          </p:cNvPr>
          <p:cNvSpPr>
            <a:spLocks noGrp="1"/>
          </p:cNvSpPr>
          <p:nvPr>
            <p:ph type="dt" sz="half" idx="14"/>
          </p:nvPr>
        </p:nvSpPr>
        <p:spPr bwMode="gray"/>
        <p:txBody>
          <a:bodyPr/>
          <a:lstStyle/>
          <a:p>
            <a:fld id="{926D68D7-45D2-4FEF-9AA4-4422A1155B9C}" type="datetime4">
              <a:rPr lang="en-US" smtClean="0"/>
              <a:t>September 8, 2019</a:t>
            </a:fld>
            <a:endParaRPr lang="en-US" dirty="0"/>
          </a:p>
        </p:txBody>
      </p:sp>
      <p:sp>
        <p:nvSpPr>
          <p:cNvPr id="26" name="Footer Placeholder 25">
            <a:extLst>
              <a:ext uri="{FF2B5EF4-FFF2-40B4-BE49-F238E27FC236}">
                <a16:creationId xmlns:a16="http://schemas.microsoft.com/office/drawing/2014/main" id="{E3839804-E485-4F93-8D3E-B55AA05C106C}"/>
              </a:ext>
            </a:extLst>
          </p:cNvPr>
          <p:cNvSpPr>
            <a:spLocks noGrp="1"/>
          </p:cNvSpPr>
          <p:nvPr>
            <p:ph type="ftr" sz="quarter" idx="15"/>
          </p:nvPr>
        </p:nvSpPr>
        <p:spPr bwMode="gray"/>
        <p:txBody>
          <a:bodyPr/>
          <a:lstStyle/>
          <a:p>
            <a:pPr lvl="8"/>
            <a:endParaRPr lang="en-US" dirty="0"/>
          </a:p>
        </p:txBody>
      </p:sp>
      <p:sp>
        <p:nvSpPr>
          <p:cNvPr id="27" name="Slide Number Placeholder 26">
            <a:extLst>
              <a:ext uri="{FF2B5EF4-FFF2-40B4-BE49-F238E27FC236}">
                <a16:creationId xmlns:a16="http://schemas.microsoft.com/office/drawing/2014/main" id="{79741539-9B3E-4922-B2F0-B646D5A6686F}"/>
              </a:ext>
            </a:extLst>
          </p:cNvPr>
          <p:cNvSpPr>
            <a:spLocks noGrp="1"/>
          </p:cNvSpPr>
          <p:nvPr>
            <p:ph type="sldNum" sz="quarter" idx="16"/>
          </p:nvPr>
        </p:nvSpPr>
        <p:spPr bwMode="gray"/>
        <p:txBody>
          <a:bodyPr/>
          <a:lstStyle/>
          <a:p>
            <a:r>
              <a:rPr lang="en-US"/>
              <a:t>Slide </a:t>
            </a:r>
            <a:fld id="{619F89D8-7AE3-494A-97F3-03D680869632}" type="slidenum">
              <a:rPr lang="en-US" smtClean="0"/>
              <a:pPr/>
              <a:t>116</a:t>
            </a:fld>
            <a:endParaRPr lang="en-US" dirty="0"/>
          </a:p>
        </p:txBody>
      </p:sp>
      <p:grpSp>
        <p:nvGrpSpPr>
          <p:cNvPr id="29" name="Group 28">
            <a:extLst>
              <a:ext uri="{FF2B5EF4-FFF2-40B4-BE49-F238E27FC236}">
                <a16:creationId xmlns:a16="http://schemas.microsoft.com/office/drawing/2014/main" id="{735915A2-5C1F-46E0-BE49-C173D625FDC5}"/>
              </a:ext>
            </a:extLst>
          </p:cNvPr>
          <p:cNvGrpSpPr/>
          <p:nvPr/>
        </p:nvGrpSpPr>
        <p:grpSpPr bwMode="gray">
          <a:xfrm>
            <a:off x="9648010" y="2247134"/>
            <a:ext cx="2205254" cy="1209137"/>
            <a:chOff x="4827270" y="3927475"/>
            <a:chExt cx="2537460" cy="1391285"/>
          </a:xfrm>
          <a:solidFill>
            <a:schemeClr val="bg1"/>
          </a:solidFill>
        </p:grpSpPr>
        <p:sp>
          <p:nvSpPr>
            <p:cNvPr id="30" name="Freeform: Shape 29">
              <a:extLst>
                <a:ext uri="{FF2B5EF4-FFF2-40B4-BE49-F238E27FC236}">
                  <a16:creationId xmlns:a16="http://schemas.microsoft.com/office/drawing/2014/main" id="{D3DD4A45-00F8-4C80-A9F4-5084CB86CC3D}"/>
                </a:ext>
              </a:extLst>
            </p:cNvPr>
            <p:cNvSpPr/>
            <p:nvPr/>
          </p:nvSpPr>
          <p:spPr bwMode="gray">
            <a:xfrm>
              <a:off x="4827270" y="3927475"/>
              <a:ext cx="2537460" cy="1268726"/>
            </a:xfrm>
            <a:custGeom>
              <a:avLst/>
              <a:gdLst>
                <a:gd name="connsiteX0" fmla="*/ 1465002 w 2930004"/>
                <a:gd name="connsiteY0" fmla="*/ 0 h 1464999"/>
                <a:gd name="connsiteX1" fmla="*/ 2930004 w 2930004"/>
                <a:gd name="connsiteY1" fmla="*/ 1464999 h 1464999"/>
                <a:gd name="connsiteX2" fmla="*/ 0 w 2930004"/>
                <a:gd name="connsiteY2" fmla="*/ 1464999 h 1464999"/>
                <a:gd name="connsiteX3" fmla="*/ 1465002 w 2930004"/>
                <a:gd name="connsiteY3" fmla="*/ 0 h 1464999"/>
              </a:gdLst>
              <a:ahLst/>
              <a:cxnLst>
                <a:cxn ang="0">
                  <a:pos x="connsiteX0" y="connsiteY0"/>
                </a:cxn>
                <a:cxn ang="0">
                  <a:pos x="connsiteX1" y="connsiteY1"/>
                </a:cxn>
                <a:cxn ang="0">
                  <a:pos x="connsiteX2" y="connsiteY2"/>
                </a:cxn>
                <a:cxn ang="0">
                  <a:pos x="connsiteX3" y="connsiteY3"/>
                </a:cxn>
              </a:cxnLst>
              <a:rect l="l" t="t" r="r" b="b"/>
              <a:pathLst>
                <a:path w="2930004" h="1464999">
                  <a:moveTo>
                    <a:pt x="1465002" y="0"/>
                  </a:moveTo>
                  <a:cubicBezTo>
                    <a:pt x="2274100" y="0"/>
                    <a:pt x="2930004" y="655902"/>
                    <a:pt x="2930004" y="1464999"/>
                  </a:cubicBezTo>
                  <a:lnTo>
                    <a:pt x="0" y="1464999"/>
                  </a:lnTo>
                  <a:cubicBezTo>
                    <a:pt x="0" y="655902"/>
                    <a:pt x="655904" y="0"/>
                    <a:pt x="1465002" y="0"/>
                  </a:cubicBezTo>
                  <a:close/>
                </a:path>
              </a:pathLst>
            </a:custGeom>
            <a:solidFill>
              <a:schemeClr val="bg2"/>
            </a:solidFill>
            <a:ln w="19050">
              <a:solidFill>
                <a:schemeClr val="accent2"/>
              </a:solidFill>
              <a:prstDash val="solid"/>
              <a:round/>
              <a:headEnd/>
              <a:tailEnd/>
            </a:ln>
            <a:extLst/>
          </p:spPr>
          <p:txBody>
            <a:bodyPr rot="0" spcFirstLastPara="0" vertOverflow="overflow" horzOverflow="overflow" vert="horz" wrap="square" lIns="0" tIns="0" rIns="0" bIns="720000" numCol="1" spcCol="0" rtlCol="0" fromWordArt="0" anchor="ctr" anchorCtr="0" forceAA="0" compatLnSpc="1">
              <a:prstTxWarp prst="textNoShape">
                <a:avLst/>
              </a:prstTxWarp>
              <a:noAutofit/>
            </a:bodyPr>
            <a:lstStyle/>
            <a:p>
              <a:pPr algn="ctr"/>
              <a:r>
                <a:rPr lang="de-DE" sz="1000" b="1" dirty="0">
                  <a:solidFill>
                    <a:schemeClr val="bg1"/>
                  </a:solidFill>
                </a:rPr>
                <a:t>Zone 2</a:t>
              </a:r>
            </a:p>
          </p:txBody>
        </p:sp>
        <p:sp>
          <p:nvSpPr>
            <p:cNvPr id="31" name="Freeform: Shape 30">
              <a:extLst>
                <a:ext uri="{FF2B5EF4-FFF2-40B4-BE49-F238E27FC236}">
                  <a16:creationId xmlns:a16="http://schemas.microsoft.com/office/drawing/2014/main" id="{26B7C11F-7605-468B-AB24-E0935A253E3C}"/>
                </a:ext>
              </a:extLst>
            </p:cNvPr>
            <p:cNvSpPr/>
            <p:nvPr/>
          </p:nvSpPr>
          <p:spPr bwMode="gray">
            <a:xfrm>
              <a:off x="5246115" y="4346319"/>
              <a:ext cx="1699770" cy="849882"/>
            </a:xfrm>
            <a:custGeom>
              <a:avLst/>
              <a:gdLst>
                <a:gd name="connsiteX0" fmla="*/ 1465002 w 2930004"/>
                <a:gd name="connsiteY0" fmla="*/ 0 h 1464999"/>
                <a:gd name="connsiteX1" fmla="*/ 2930004 w 2930004"/>
                <a:gd name="connsiteY1" fmla="*/ 1464999 h 1464999"/>
                <a:gd name="connsiteX2" fmla="*/ 0 w 2930004"/>
                <a:gd name="connsiteY2" fmla="*/ 1464999 h 1464999"/>
                <a:gd name="connsiteX3" fmla="*/ 1465002 w 2930004"/>
                <a:gd name="connsiteY3" fmla="*/ 0 h 1464999"/>
              </a:gdLst>
              <a:ahLst/>
              <a:cxnLst>
                <a:cxn ang="0">
                  <a:pos x="connsiteX0" y="connsiteY0"/>
                </a:cxn>
                <a:cxn ang="0">
                  <a:pos x="connsiteX1" y="connsiteY1"/>
                </a:cxn>
                <a:cxn ang="0">
                  <a:pos x="connsiteX2" y="connsiteY2"/>
                </a:cxn>
                <a:cxn ang="0">
                  <a:pos x="connsiteX3" y="connsiteY3"/>
                </a:cxn>
              </a:cxnLst>
              <a:rect l="l" t="t" r="r" b="b"/>
              <a:pathLst>
                <a:path w="2930004" h="1464999">
                  <a:moveTo>
                    <a:pt x="1465002" y="0"/>
                  </a:moveTo>
                  <a:cubicBezTo>
                    <a:pt x="2274100" y="0"/>
                    <a:pt x="2930004" y="655902"/>
                    <a:pt x="2930004" y="1464999"/>
                  </a:cubicBezTo>
                  <a:lnTo>
                    <a:pt x="0" y="1464999"/>
                  </a:lnTo>
                  <a:cubicBezTo>
                    <a:pt x="0" y="655902"/>
                    <a:pt x="655904" y="0"/>
                    <a:pt x="1465002" y="0"/>
                  </a:cubicBezTo>
                  <a:close/>
                </a:path>
              </a:pathLst>
            </a:custGeom>
            <a:solidFill>
              <a:schemeClr val="bg1"/>
            </a:solidFill>
            <a:ln w="19050">
              <a:solidFill>
                <a:schemeClr val="accent2"/>
              </a:solidFill>
              <a:prstDash val="solid"/>
              <a:round/>
              <a:headEnd/>
              <a:tailEnd/>
            </a:ln>
            <a:extLst/>
          </p:spPr>
          <p:txBody>
            <a:bodyPr rot="0" spcFirstLastPara="0" vertOverflow="overflow" horzOverflow="overflow" vert="horz" wrap="square" lIns="0" tIns="0" rIns="0" bIns="432000" numCol="1" spcCol="0" rtlCol="0" fromWordArt="0" anchor="ctr" anchorCtr="0" forceAA="0" compatLnSpc="1">
              <a:prstTxWarp prst="textNoShape">
                <a:avLst/>
              </a:prstTxWarp>
              <a:noAutofit/>
            </a:bodyPr>
            <a:lstStyle/>
            <a:p>
              <a:pPr algn="ctr"/>
              <a:r>
                <a:rPr lang="de-DE" sz="1000" dirty="0">
                  <a:solidFill>
                    <a:schemeClr val="accent2"/>
                  </a:solidFill>
                </a:rPr>
                <a:t>Zone 1</a:t>
              </a:r>
            </a:p>
          </p:txBody>
        </p:sp>
        <p:sp>
          <p:nvSpPr>
            <p:cNvPr id="32" name="Rectangle 31">
              <a:extLst>
                <a:ext uri="{FF2B5EF4-FFF2-40B4-BE49-F238E27FC236}">
                  <a16:creationId xmlns:a16="http://schemas.microsoft.com/office/drawing/2014/main" id="{5E806F48-D9A8-4985-A951-DA2173309648}"/>
                </a:ext>
              </a:extLst>
            </p:cNvPr>
            <p:cNvSpPr/>
            <p:nvPr/>
          </p:nvSpPr>
          <p:spPr bwMode="gray">
            <a:xfrm>
              <a:off x="4827270" y="5196201"/>
              <a:ext cx="2537460" cy="122559"/>
            </a:xfrm>
            <a:prstGeom prst="rect">
              <a:avLst/>
            </a:prstGeom>
            <a:grpFill/>
            <a:ln w="19050">
              <a:solidFill>
                <a:schemeClr val="accent2"/>
              </a:solidFill>
              <a:prstDash val="solid"/>
              <a:round/>
              <a:headEnd/>
              <a:tailEnd/>
            </a:ln>
          </p:spPr>
          <p:txBody>
            <a:bodyPr rtlCol="0" anchor="ctr"/>
            <a:lstStyle/>
            <a:p>
              <a:pPr algn="ctr"/>
              <a:endParaRPr lang="de-DE" sz="1000" dirty="0" err="1">
                <a:solidFill>
                  <a:schemeClr val="accent2"/>
                </a:solidFill>
              </a:endParaRPr>
            </a:p>
          </p:txBody>
        </p:sp>
        <p:sp>
          <p:nvSpPr>
            <p:cNvPr id="33" name="Rectangle 32">
              <a:extLst>
                <a:ext uri="{FF2B5EF4-FFF2-40B4-BE49-F238E27FC236}">
                  <a16:creationId xmlns:a16="http://schemas.microsoft.com/office/drawing/2014/main" id="{1E601591-F19D-45DB-967B-8F266416D605}"/>
                </a:ext>
              </a:extLst>
            </p:cNvPr>
            <p:cNvSpPr/>
            <p:nvPr/>
          </p:nvSpPr>
          <p:spPr bwMode="gray">
            <a:xfrm>
              <a:off x="5246115" y="5196201"/>
              <a:ext cx="1699770" cy="122559"/>
            </a:xfrm>
            <a:prstGeom prst="rect">
              <a:avLst/>
            </a:prstGeom>
            <a:pattFill prst="wdUpDiag">
              <a:fgClr>
                <a:schemeClr val="accent2"/>
              </a:fgClr>
              <a:bgClr>
                <a:schemeClr val="bg1"/>
              </a:bgClr>
            </a:pattFill>
            <a:ln w="19050">
              <a:solidFill>
                <a:schemeClr val="accent2"/>
              </a:solidFill>
              <a:prstDash val="solid"/>
              <a:round/>
              <a:headEnd/>
              <a:tailEnd/>
            </a:ln>
          </p:spPr>
          <p:txBody>
            <a:bodyPr rtlCol="0" anchor="ctr"/>
            <a:lstStyle/>
            <a:p>
              <a:pPr algn="ctr"/>
              <a:endParaRPr lang="de-DE" sz="1000" dirty="0" err="1"/>
            </a:p>
          </p:txBody>
        </p:sp>
        <p:grpSp>
          <p:nvGrpSpPr>
            <p:cNvPr id="34" name="Group 33">
              <a:extLst>
                <a:ext uri="{FF2B5EF4-FFF2-40B4-BE49-F238E27FC236}">
                  <a16:creationId xmlns:a16="http://schemas.microsoft.com/office/drawing/2014/main" id="{D6BF5966-DEDA-4F1A-A768-49D43C7F8BDE}"/>
                </a:ext>
              </a:extLst>
            </p:cNvPr>
            <p:cNvGrpSpPr/>
            <p:nvPr/>
          </p:nvGrpSpPr>
          <p:grpSpPr bwMode="gray">
            <a:xfrm>
              <a:off x="5535274" y="4652774"/>
              <a:ext cx="1124606" cy="543427"/>
              <a:chOff x="5512563" y="4652774"/>
              <a:chExt cx="1170027" cy="543427"/>
            </a:xfrm>
            <a:grpFill/>
          </p:grpSpPr>
          <p:grpSp>
            <p:nvGrpSpPr>
              <p:cNvPr id="35" name="Group 34">
                <a:extLst>
                  <a:ext uri="{FF2B5EF4-FFF2-40B4-BE49-F238E27FC236}">
                    <a16:creationId xmlns:a16="http://schemas.microsoft.com/office/drawing/2014/main" id="{38348745-A22E-48BF-AA58-665379677B7B}"/>
                  </a:ext>
                </a:extLst>
              </p:cNvPr>
              <p:cNvGrpSpPr/>
              <p:nvPr/>
            </p:nvGrpSpPr>
            <p:grpSpPr bwMode="gray">
              <a:xfrm>
                <a:off x="5512563" y="4652774"/>
                <a:ext cx="1170027" cy="478026"/>
                <a:chOff x="3779250" y="4410034"/>
                <a:chExt cx="954292" cy="334935"/>
              </a:xfrm>
              <a:grpFill/>
            </p:grpSpPr>
            <p:sp>
              <p:nvSpPr>
                <p:cNvPr id="38" name="Freeform: Shape 37">
                  <a:extLst>
                    <a:ext uri="{FF2B5EF4-FFF2-40B4-BE49-F238E27FC236}">
                      <a16:creationId xmlns:a16="http://schemas.microsoft.com/office/drawing/2014/main" id="{2C74E0CE-525C-4A62-8BE2-4B66A52378FA}"/>
                    </a:ext>
                  </a:extLst>
                </p:cNvPr>
                <p:cNvSpPr/>
                <p:nvPr/>
              </p:nvSpPr>
              <p:spPr bwMode="gray">
                <a:xfrm>
                  <a:off x="3779250" y="4410034"/>
                  <a:ext cx="954292" cy="213849"/>
                </a:xfrm>
                <a:custGeom>
                  <a:avLst/>
                  <a:gdLst>
                    <a:gd name="connsiteX0" fmla="*/ 141232 w 954292"/>
                    <a:gd name="connsiteY0" fmla="*/ 0 h 213849"/>
                    <a:gd name="connsiteX1" fmla="*/ 813060 w 954292"/>
                    <a:gd name="connsiteY1" fmla="*/ 0 h 213849"/>
                    <a:gd name="connsiteX2" fmla="*/ 954292 w 954292"/>
                    <a:gd name="connsiteY2" fmla="*/ 141232 h 213849"/>
                    <a:gd name="connsiteX3" fmla="*/ 954292 w 954292"/>
                    <a:gd name="connsiteY3" fmla="*/ 193703 h 213849"/>
                    <a:gd name="connsiteX4" fmla="*/ 950225 w 954292"/>
                    <a:gd name="connsiteY4" fmla="*/ 213849 h 213849"/>
                    <a:gd name="connsiteX5" fmla="*/ 4067 w 954292"/>
                    <a:gd name="connsiteY5" fmla="*/ 213849 h 213849"/>
                    <a:gd name="connsiteX6" fmla="*/ 0 w 954292"/>
                    <a:gd name="connsiteY6" fmla="*/ 193703 h 213849"/>
                    <a:gd name="connsiteX7" fmla="*/ 0 w 954292"/>
                    <a:gd name="connsiteY7" fmla="*/ 141232 h 213849"/>
                    <a:gd name="connsiteX8" fmla="*/ 141232 w 954292"/>
                    <a:gd name="connsiteY8" fmla="*/ 0 h 213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4292" h="213849">
                      <a:moveTo>
                        <a:pt x="141232" y="0"/>
                      </a:moveTo>
                      <a:lnTo>
                        <a:pt x="813060" y="0"/>
                      </a:lnTo>
                      <a:cubicBezTo>
                        <a:pt x="891060" y="0"/>
                        <a:pt x="954292" y="63232"/>
                        <a:pt x="954292" y="141232"/>
                      </a:cubicBezTo>
                      <a:lnTo>
                        <a:pt x="954292" y="193703"/>
                      </a:lnTo>
                      <a:lnTo>
                        <a:pt x="950225" y="213849"/>
                      </a:lnTo>
                      <a:lnTo>
                        <a:pt x="4067" y="213849"/>
                      </a:lnTo>
                      <a:lnTo>
                        <a:pt x="0" y="193703"/>
                      </a:lnTo>
                      <a:lnTo>
                        <a:pt x="0" y="141232"/>
                      </a:lnTo>
                      <a:cubicBezTo>
                        <a:pt x="0" y="63232"/>
                        <a:pt x="63232" y="0"/>
                        <a:pt x="141232" y="0"/>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e-DE" sz="1000" dirty="0">
                      <a:solidFill>
                        <a:schemeClr val="accent2"/>
                      </a:solidFill>
                    </a:rPr>
                    <a:t>Zone 0</a:t>
                  </a:r>
                </a:p>
              </p:txBody>
            </p:sp>
            <p:sp>
              <p:nvSpPr>
                <p:cNvPr id="39" name="Freeform: Shape 38">
                  <a:extLst>
                    <a:ext uri="{FF2B5EF4-FFF2-40B4-BE49-F238E27FC236}">
                      <a16:creationId xmlns:a16="http://schemas.microsoft.com/office/drawing/2014/main" id="{F42730EA-758E-4F8F-B765-CC960DC86AAE}"/>
                    </a:ext>
                  </a:extLst>
                </p:cNvPr>
                <p:cNvSpPr/>
                <p:nvPr/>
              </p:nvSpPr>
              <p:spPr bwMode="gray">
                <a:xfrm>
                  <a:off x="3783316" y="4623883"/>
                  <a:ext cx="946157" cy="121086"/>
                </a:xfrm>
                <a:custGeom>
                  <a:avLst/>
                  <a:gdLst>
                    <a:gd name="connsiteX0" fmla="*/ 0 w 946157"/>
                    <a:gd name="connsiteY0" fmla="*/ 0 h 121086"/>
                    <a:gd name="connsiteX1" fmla="*/ 946157 w 946157"/>
                    <a:gd name="connsiteY1" fmla="*/ 0 h 121086"/>
                    <a:gd name="connsiteX2" fmla="*/ 939125 w 946157"/>
                    <a:gd name="connsiteY2" fmla="*/ 34828 h 121086"/>
                    <a:gd name="connsiteX3" fmla="*/ 808992 w 946157"/>
                    <a:gd name="connsiteY3" fmla="*/ 121086 h 121086"/>
                    <a:gd name="connsiteX4" fmla="*/ 137164 w 946157"/>
                    <a:gd name="connsiteY4" fmla="*/ 121086 h 121086"/>
                    <a:gd name="connsiteX5" fmla="*/ 7031 w 946157"/>
                    <a:gd name="connsiteY5" fmla="*/ 34828 h 121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157" h="121086">
                      <a:moveTo>
                        <a:pt x="0" y="0"/>
                      </a:moveTo>
                      <a:lnTo>
                        <a:pt x="946157" y="0"/>
                      </a:lnTo>
                      <a:lnTo>
                        <a:pt x="939125" y="34828"/>
                      </a:lnTo>
                      <a:cubicBezTo>
                        <a:pt x="917685" y="85518"/>
                        <a:pt x="867492" y="121086"/>
                        <a:pt x="808992" y="121086"/>
                      </a:cubicBezTo>
                      <a:lnTo>
                        <a:pt x="137164" y="121086"/>
                      </a:lnTo>
                      <a:cubicBezTo>
                        <a:pt x="78664" y="121086"/>
                        <a:pt x="28471" y="85518"/>
                        <a:pt x="7031" y="34828"/>
                      </a:cubicBezTo>
                      <a:close/>
                    </a:path>
                  </a:pathLst>
                </a:custGeom>
                <a:grpFill/>
                <a:ln w="19050">
                  <a:solidFill>
                    <a:schemeClr val="accent2"/>
                  </a:solidFill>
                  <a:prstDash val="solid"/>
                  <a:round/>
                  <a:headEnd/>
                  <a:tailEnd/>
                </a:ln>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000" dirty="0">
                    <a:solidFill>
                      <a:schemeClr val="accent2"/>
                    </a:solidFill>
                  </a:endParaRPr>
                </a:p>
              </p:txBody>
            </p:sp>
          </p:grpSp>
          <p:cxnSp>
            <p:nvCxnSpPr>
              <p:cNvPr id="36" name="Straight Connector 35">
                <a:extLst>
                  <a:ext uri="{FF2B5EF4-FFF2-40B4-BE49-F238E27FC236}">
                    <a16:creationId xmlns:a16="http://schemas.microsoft.com/office/drawing/2014/main" id="{8243E0E7-650F-460A-BE76-1FA6D198EDE4}"/>
                  </a:ext>
                </a:extLst>
              </p:cNvPr>
              <p:cNvCxnSpPr>
                <a:cxnSpLocks/>
                <a:stCxn id="39" idx="4"/>
              </p:cNvCxnSpPr>
              <p:nvPr/>
            </p:nvCxnSpPr>
            <p:spPr bwMode="gray">
              <a:xfrm flipH="1">
                <a:off x="5685554" y="5130800"/>
                <a:ext cx="166" cy="65401"/>
              </a:xfrm>
              <a:prstGeom prst="line">
                <a:avLst/>
              </a:prstGeom>
              <a:grpFill/>
              <a:ln w="19050">
                <a:solidFill>
                  <a:schemeClr val="accent2"/>
                </a:solidFill>
                <a:prstDash val="solid"/>
                <a:round/>
                <a:headEnd/>
                <a:tailEnd/>
              </a:ln>
            </p:spPr>
          </p:cxnSp>
          <p:cxnSp>
            <p:nvCxnSpPr>
              <p:cNvPr id="37" name="Straight Connector 36">
                <a:extLst>
                  <a:ext uri="{FF2B5EF4-FFF2-40B4-BE49-F238E27FC236}">
                    <a16:creationId xmlns:a16="http://schemas.microsoft.com/office/drawing/2014/main" id="{89C7AA57-3683-4B4A-A43C-29F745033546}"/>
                  </a:ext>
                </a:extLst>
              </p:cNvPr>
              <p:cNvCxnSpPr>
                <a:cxnSpLocks/>
                <a:stCxn id="39" idx="3"/>
              </p:cNvCxnSpPr>
              <p:nvPr/>
            </p:nvCxnSpPr>
            <p:spPr bwMode="gray">
              <a:xfrm>
                <a:off x="6509427" y="5130800"/>
                <a:ext cx="0" cy="65401"/>
              </a:xfrm>
              <a:prstGeom prst="line">
                <a:avLst/>
              </a:prstGeom>
              <a:grpFill/>
              <a:ln w="19050">
                <a:solidFill>
                  <a:schemeClr val="accent2"/>
                </a:solidFill>
                <a:prstDash val="solid"/>
                <a:round/>
                <a:headEnd/>
                <a:tailEnd/>
              </a:ln>
            </p:spPr>
          </p:cxnSp>
        </p:grpSp>
      </p:grpSp>
      <p:grpSp>
        <p:nvGrpSpPr>
          <p:cNvPr id="45" name="Group 44">
            <a:extLst>
              <a:ext uri="{FF2B5EF4-FFF2-40B4-BE49-F238E27FC236}">
                <a16:creationId xmlns:a16="http://schemas.microsoft.com/office/drawing/2014/main" id="{D7944AC2-823E-47D8-BA68-9D65C535BE21}"/>
              </a:ext>
            </a:extLst>
          </p:cNvPr>
          <p:cNvGrpSpPr/>
          <p:nvPr/>
        </p:nvGrpSpPr>
        <p:grpSpPr bwMode="gray">
          <a:xfrm>
            <a:off x="674928" y="5421426"/>
            <a:ext cx="881577" cy="263199"/>
            <a:chOff x="3620440" y="5360461"/>
            <a:chExt cx="881577" cy="263199"/>
          </a:xfrm>
        </p:grpSpPr>
        <p:pic>
          <p:nvPicPr>
            <p:cNvPr id="46" name="Grafik 12">
              <a:extLst>
                <a:ext uri="{FF2B5EF4-FFF2-40B4-BE49-F238E27FC236}">
                  <a16:creationId xmlns:a16="http://schemas.microsoft.com/office/drawing/2014/main" id="{04923C56-D304-4B3C-90DB-8A33EDF4CC58}"/>
                </a:ext>
              </a:extLst>
            </p:cNvPr>
            <p:cNvPicPr>
              <a:picLocks noChangeAspect="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3620440" y="5385361"/>
              <a:ext cx="238299" cy="238299"/>
            </a:xfrm>
            <a:prstGeom prst="rect">
              <a:avLst/>
            </a:prstGeom>
            <a:noFill/>
            <a:ln w="9525">
              <a:noFill/>
              <a:miter lim="800000"/>
              <a:headEnd/>
              <a:tailEnd/>
            </a:ln>
          </p:spPr>
        </p:pic>
        <p:pic>
          <p:nvPicPr>
            <p:cNvPr id="47" name="Grafik 14">
              <a:extLst>
                <a:ext uri="{FF2B5EF4-FFF2-40B4-BE49-F238E27FC236}">
                  <a16:creationId xmlns:a16="http://schemas.microsoft.com/office/drawing/2014/main" id="{6FE707D0-E752-4CA8-9057-FFBF5A72F67D}"/>
                </a:ext>
              </a:extLst>
            </p:cNvPr>
            <p:cNvPicPr>
              <a:picLocks noChangeAspect="1"/>
            </p:cNvPicPr>
            <p:nvPr/>
          </p:nvPicPr>
          <p:blipFill rotWithShape="1">
            <a:blip r:embed="rId6">
              <a:duotone>
                <a:schemeClr val="accent2">
                  <a:shade val="45000"/>
                  <a:satMod val="135000"/>
                </a:schemeClr>
                <a:prstClr val="white"/>
              </a:duotone>
              <a:extLst>
                <a:ext uri="{28A0092B-C50C-407E-A947-70E740481C1C}">
                  <a14:useLocalDpi xmlns:a14="http://schemas.microsoft.com/office/drawing/2010/main" val="0"/>
                </a:ext>
              </a:extLst>
            </a:blip>
            <a:srcRect l="22034" t="53210" r="24741"/>
            <a:stretch/>
          </p:blipFill>
          <p:spPr bwMode="gray">
            <a:xfrm>
              <a:off x="3979641" y="5360461"/>
              <a:ext cx="522376" cy="258099"/>
            </a:xfrm>
            <a:prstGeom prst="rect">
              <a:avLst/>
            </a:prstGeom>
            <a:noFill/>
            <a:ln w="9525">
              <a:noFill/>
              <a:miter lim="800000"/>
              <a:headEnd/>
              <a:tailEnd/>
            </a:ln>
          </p:spPr>
        </p:pic>
      </p:grpSp>
      <p:pic>
        <p:nvPicPr>
          <p:cNvPr id="52" name="Grafik 8">
            <a:extLst>
              <a:ext uri="{FF2B5EF4-FFF2-40B4-BE49-F238E27FC236}">
                <a16:creationId xmlns:a16="http://schemas.microsoft.com/office/drawing/2014/main" id="{1048ED78-A004-4528-83CD-DCE147280038}"/>
              </a:ext>
            </a:extLst>
          </p:cNvPr>
          <p:cNvPicPr>
            <a:picLocks noChangeAspect="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2892680" y="5220162"/>
            <a:ext cx="189245" cy="227624"/>
          </a:xfrm>
          <a:prstGeom prst="rect">
            <a:avLst/>
          </a:prstGeom>
          <a:noFill/>
          <a:ln w="9525">
            <a:noFill/>
            <a:miter lim="800000"/>
            <a:headEnd/>
            <a:tailEnd/>
          </a:ln>
        </p:spPr>
      </p:pic>
      <p:cxnSp>
        <p:nvCxnSpPr>
          <p:cNvPr id="78" name="Straight Connector 77">
            <a:extLst>
              <a:ext uri="{FF2B5EF4-FFF2-40B4-BE49-F238E27FC236}">
                <a16:creationId xmlns:a16="http://schemas.microsoft.com/office/drawing/2014/main" id="{C2832ABB-EDFC-48A5-9F82-835509D32E02}"/>
              </a:ext>
            </a:extLst>
          </p:cNvPr>
          <p:cNvCxnSpPr>
            <a:cxnSpLocks/>
          </p:cNvCxnSpPr>
          <p:nvPr/>
        </p:nvCxnSpPr>
        <p:spPr bwMode="gray">
          <a:xfrm>
            <a:off x="9648010" y="3686812"/>
            <a:ext cx="220525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F4D34B7B-5AE4-4668-9F7D-06251CAA3220}"/>
              </a:ext>
            </a:extLst>
          </p:cNvPr>
          <p:cNvGrpSpPr/>
          <p:nvPr/>
        </p:nvGrpSpPr>
        <p:grpSpPr bwMode="gray">
          <a:xfrm>
            <a:off x="10378658" y="3909838"/>
            <a:ext cx="743958" cy="714468"/>
            <a:chOff x="9592408" y="3757643"/>
            <a:chExt cx="743958" cy="714468"/>
          </a:xfrm>
        </p:grpSpPr>
        <p:sp>
          <p:nvSpPr>
            <p:cNvPr id="128" name="TextBox 127">
              <a:extLst>
                <a:ext uri="{FF2B5EF4-FFF2-40B4-BE49-F238E27FC236}">
                  <a16:creationId xmlns:a16="http://schemas.microsoft.com/office/drawing/2014/main" id="{77CEEB5A-04C6-4422-86F3-F61A5283A486}"/>
                </a:ext>
              </a:extLst>
            </p:cNvPr>
            <p:cNvSpPr txBox="1"/>
            <p:nvPr/>
          </p:nvSpPr>
          <p:spPr bwMode="gray">
            <a:xfrm>
              <a:off x="9592408"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Gas</a:t>
              </a:r>
            </a:p>
          </p:txBody>
        </p:sp>
        <p:grpSp>
          <p:nvGrpSpPr>
            <p:cNvPr id="129" name="Group 128">
              <a:extLst>
                <a:ext uri="{FF2B5EF4-FFF2-40B4-BE49-F238E27FC236}">
                  <a16:creationId xmlns:a16="http://schemas.microsoft.com/office/drawing/2014/main" id="{C23B3B16-8269-465A-8C4C-E1EDB298F4DE}"/>
                </a:ext>
              </a:extLst>
            </p:cNvPr>
            <p:cNvGrpSpPr/>
            <p:nvPr/>
          </p:nvGrpSpPr>
          <p:grpSpPr bwMode="gray">
            <a:xfrm>
              <a:off x="9847910" y="3757643"/>
              <a:ext cx="232954" cy="337148"/>
              <a:chOff x="4801097" y="3272685"/>
              <a:chExt cx="202720" cy="293391"/>
            </a:xfrm>
          </p:grpSpPr>
          <p:sp>
            <p:nvSpPr>
              <p:cNvPr id="130" name="Freeform 514">
                <a:extLst>
                  <a:ext uri="{FF2B5EF4-FFF2-40B4-BE49-F238E27FC236}">
                    <a16:creationId xmlns:a16="http://schemas.microsoft.com/office/drawing/2014/main" id="{DEB29972-0707-40FD-8D58-6AA8D51FC368}"/>
                  </a:ext>
                </a:extLst>
              </p:cNvPr>
              <p:cNvSpPr>
                <a:spLocks/>
              </p:cNvSpPr>
              <p:nvPr/>
            </p:nvSpPr>
            <p:spPr bwMode="gray">
              <a:xfrm>
                <a:off x="4801097" y="3272685"/>
                <a:ext cx="202720" cy="293294"/>
              </a:xfrm>
              <a:custGeom>
                <a:avLst/>
                <a:gdLst>
                  <a:gd name="T0" fmla="*/ 57 w 139"/>
                  <a:gd name="T1" fmla="*/ 202 h 202"/>
                  <a:gd name="T2" fmla="*/ 57 w 139"/>
                  <a:gd name="T3" fmla="*/ 202 h 202"/>
                  <a:gd name="T4" fmla="*/ 51 w 139"/>
                  <a:gd name="T5" fmla="*/ 199 h 202"/>
                  <a:gd name="T6" fmla="*/ 40 w 139"/>
                  <a:gd name="T7" fmla="*/ 193 h 202"/>
                  <a:gd name="T8" fmla="*/ 27 w 139"/>
                  <a:gd name="T9" fmla="*/ 183 h 202"/>
                  <a:gd name="T10" fmla="*/ 21 w 139"/>
                  <a:gd name="T11" fmla="*/ 177 h 202"/>
                  <a:gd name="T12" fmla="*/ 15 w 139"/>
                  <a:gd name="T13" fmla="*/ 169 h 202"/>
                  <a:gd name="T14" fmla="*/ 9 w 139"/>
                  <a:gd name="T15" fmla="*/ 160 h 202"/>
                  <a:gd name="T16" fmla="*/ 4 w 139"/>
                  <a:gd name="T17" fmla="*/ 151 h 202"/>
                  <a:gd name="T18" fmla="*/ 1 w 139"/>
                  <a:gd name="T19" fmla="*/ 141 h 202"/>
                  <a:gd name="T20" fmla="*/ 0 w 139"/>
                  <a:gd name="T21" fmla="*/ 130 h 202"/>
                  <a:gd name="T22" fmla="*/ 1 w 139"/>
                  <a:gd name="T23" fmla="*/ 118 h 202"/>
                  <a:gd name="T24" fmla="*/ 4 w 139"/>
                  <a:gd name="T25" fmla="*/ 105 h 202"/>
                  <a:gd name="T26" fmla="*/ 12 w 139"/>
                  <a:gd name="T27" fmla="*/ 91 h 202"/>
                  <a:gd name="T28" fmla="*/ 22 w 139"/>
                  <a:gd name="T29" fmla="*/ 76 h 202"/>
                  <a:gd name="T30" fmla="*/ 22 w 139"/>
                  <a:gd name="T31" fmla="*/ 76 h 202"/>
                  <a:gd name="T32" fmla="*/ 27 w 139"/>
                  <a:gd name="T33" fmla="*/ 70 h 202"/>
                  <a:gd name="T34" fmla="*/ 36 w 139"/>
                  <a:gd name="T35" fmla="*/ 55 h 202"/>
                  <a:gd name="T36" fmla="*/ 42 w 139"/>
                  <a:gd name="T37" fmla="*/ 43 h 202"/>
                  <a:gd name="T38" fmla="*/ 46 w 139"/>
                  <a:gd name="T39" fmla="*/ 31 h 202"/>
                  <a:gd name="T40" fmla="*/ 49 w 139"/>
                  <a:gd name="T41" fmla="*/ 16 h 202"/>
                  <a:gd name="T42" fmla="*/ 51 w 139"/>
                  <a:gd name="T43" fmla="*/ 0 h 202"/>
                  <a:gd name="T44" fmla="*/ 51 w 139"/>
                  <a:gd name="T45" fmla="*/ 0 h 202"/>
                  <a:gd name="T46" fmla="*/ 60 w 139"/>
                  <a:gd name="T47" fmla="*/ 6 h 202"/>
                  <a:gd name="T48" fmla="*/ 81 w 139"/>
                  <a:gd name="T49" fmla="*/ 22 h 202"/>
                  <a:gd name="T50" fmla="*/ 93 w 139"/>
                  <a:gd name="T51" fmla="*/ 34 h 202"/>
                  <a:gd name="T52" fmla="*/ 106 w 139"/>
                  <a:gd name="T53" fmla="*/ 46 h 202"/>
                  <a:gd name="T54" fmla="*/ 117 w 139"/>
                  <a:gd name="T55" fmla="*/ 61 h 202"/>
                  <a:gd name="T56" fmla="*/ 127 w 139"/>
                  <a:gd name="T57" fmla="*/ 76 h 202"/>
                  <a:gd name="T58" fmla="*/ 127 w 139"/>
                  <a:gd name="T59" fmla="*/ 76 h 202"/>
                  <a:gd name="T60" fmla="*/ 135 w 139"/>
                  <a:gd name="T61" fmla="*/ 93 h 202"/>
                  <a:gd name="T62" fmla="*/ 138 w 139"/>
                  <a:gd name="T63" fmla="*/ 111 h 202"/>
                  <a:gd name="T64" fmla="*/ 139 w 139"/>
                  <a:gd name="T65" fmla="*/ 127 h 202"/>
                  <a:gd name="T66" fmla="*/ 136 w 139"/>
                  <a:gd name="T67" fmla="*/ 144 h 202"/>
                  <a:gd name="T68" fmla="*/ 133 w 139"/>
                  <a:gd name="T69" fmla="*/ 153 h 202"/>
                  <a:gd name="T70" fmla="*/ 129 w 139"/>
                  <a:gd name="T71" fmla="*/ 160 h 202"/>
                  <a:gd name="T72" fmla="*/ 124 w 139"/>
                  <a:gd name="T73" fmla="*/ 168 h 202"/>
                  <a:gd name="T74" fmla="*/ 118 w 139"/>
                  <a:gd name="T75" fmla="*/ 175 h 202"/>
                  <a:gd name="T76" fmla="*/ 112 w 139"/>
                  <a:gd name="T77" fmla="*/ 183 h 202"/>
                  <a:gd name="T78" fmla="*/ 105 w 139"/>
                  <a:gd name="T79" fmla="*/ 190 h 202"/>
                  <a:gd name="T80" fmla="*/ 96 w 139"/>
                  <a:gd name="T81" fmla="*/ 196 h 202"/>
                  <a:gd name="T82" fmla="*/ 87 w 139"/>
                  <a:gd name="T83" fmla="*/ 202 h 202"/>
                  <a:gd name="T84" fmla="*/ 57 w 139"/>
                  <a:gd name="T85" fmla="*/ 202 h 202"/>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8417 w 10000"/>
                  <a:gd name="connsiteY27" fmla="*/ 3020 h 10000"/>
                  <a:gd name="connsiteX28" fmla="*/ 9137 w 10000"/>
                  <a:gd name="connsiteY28" fmla="*/ 3762 h 10000"/>
                  <a:gd name="connsiteX29" fmla="*/ 9712 w 10000"/>
                  <a:gd name="connsiteY29" fmla="*/ 4604 h 10000"/>
                  <a:gd name="connsiteX30" fmla="*/ 9928 w 10000"/>
                  <a:gd name="connsiteY30" fmla="*/ 5495 h 10000"/>
                  <a:gd name="connsiteX31" fmla="*/ 10000 w 10000"/>
                  <a:gd name="connsiteY31" fmla="*/ 6287 h 10000"/>
                  <a:gd name="connsiteX32" fmla="*/ 9784 w 10000"/>
                  <a:gd name="connsiteY32" fmla="*/ 7129 h 10000"/>
                  <a:gd name="connsiteX33" fmla="*/ 9568 w 10000"/>
                  <a:gd name="connsiteY33" fmla="*/ 7574 h 10000"/>
                  <a:gd name="connsiteX34" fmla="*/ 9281 w 10000"/>
                  <a:gd name="connsiteY34" fmla="*/ 7921 h 10000"/>
                  <a:gd name="connsiteX35" fmla="*/ 8921 w 10000"/>
                  <a:gd name="connsiteY35" fmla="*/ 8317 h 10000"/>
                  <a:gd name="connsiteX36" fmla="*/ 8489 w 10000"/>
                  <a:gd name="connsiteY36" fmla="*/ 8663 h 10000"/>
                  <a:gd name="connsiteX37" fmla="*/ 8058 w 10000"/>
                  <a:gd name="connsiteY37" fmla="*/ 9059 h 10000"/>
                  <a:gd name="connsiteX38" fmla="*/ 7554 w 10000"/>
                  <a:gd name="connsiteY38" fmla="*/ 9406 h 10000"/>
                  <a:gd name="connsiteX39" fmla="*/ 6906 w 10000"/>
                  <a:gd name="connsiteY39" fmla="*/ 9703 h 10000"/>
                  <a:gd name="connsiteX40" fmla="*/ 6259 w 10000"/>
                  <a:gd name="connsiteY40" fmla="*/ 10000 h 10000"/>
                  <a:gd name="connsiteX41" fmla="*/ 4101 w 10000"/>
                  <a:gd name="connsiteY41"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9137 w 10000"/>
                  <a:gd name="connsiteY27" fmla="*/ 3762 h 10000"/>
                  <a:gd name="connsiteX28" fmla="*/ 9712 w 10000"/>
                  <a:gd name="connsiteY28" fmla="*/ 4604 h 10000"/>
                  <a:gd name="connsiteX29" fmla="*/ 9928 w 10000"/>
                  <a:gd name="connsiteY29" fmla="*/ 5495 h 10000"/>
                  <a:gd name="connsiteX30" fmla="*/ 10000 w 10000"/>
                  <a:gd name="connsiteY30" fmla="*/ 6287 h 10000"/>
                  <a:gd name="connsiteX31" fmla="*/ 9784 w 10000"/>
                  <a:gd name="connsiteY31" fmla="*/ 7129 h 10000"/>
                  <a:gd name="connsiteX32" fmla="*/ 9568 w 10000"/>
                  <a:gd name="connsiteY32" fmla="*/ 7574 h 10000"/>
                  <a:gd name="connsiteX33" fmla="*/ 9281 w 10000"/>
                  <a:gd name="connsiteY33" fmla="*/ 7921 h 10000"/>
                  <a:gd name="connsiteX34" fmla="*/ 8921 w 10000"/>
                  <a:gd name="connsiteY34" fmla="*/ 8317 h 10000"/>
                  <a:gd name="connsiteX35" fmla="*/ 8489 w 10000"/>
                  <a:gd name="connsiteY35" fmla="*/ 8663 h 10000"/>
                  <a:gd name="connsiteX36" fmla="*/ 8058 w 10000"/>
                  <a:gd name="connsiteY36" fmla="*/ 9059 h 10000"/>
                  <a:gd name="connsiteX37" fmla="*/ 7554 w 10000"/>
                  <a:gd name="connsiteY37" fmla="*/ 9406 h 10000"/>
                  <a:gd name="connsiteX38" fmla="*/ 6906 w 10000"/>
                  <a:gd name="connsiteY38" fmla="*/ 9703 h 10000"/>
                  <a:gd name="connsiteX39" fmla="*/ 6259 w 10000"/>
                  <a:gd name="connsiteY39" fmla="*/ 10000 h 10000"/>
                  <a:gd name="connsiteX40" fmla="*/ 4101 w 10000"/>
                  <a:gd name="connsiteY40"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9137 w 10000"/>
                  <a:gd name="connsiteY26" fmla="*/ 3762 h 10000"/>
                  <a:gd name="connsiteX27" fmla="*/ 9712 w 10000"/>
                  <a:gd name="connsiteY27" fmla="*/ 4604 h 10000"/>
                  <a:gd name="connsiteX28" fmla="*/ 9928 w 10000"/>
                  <a:gd name="connsiteY28" fmla="*/ 5495 h 10000"/>
                  <a:gd name="connsiteX29" fmla="*/ 10000 w 10000"/>
                  <a:gd name="connsiteY29" fmla="*/ 6287 h 10000"/>
                  <a:gd name="connsiteX30" fmla="*/ 9784 w 10000"/>
                  <a:gd name="connsiteY30" fmla="*/ 7129 h 10000"/>
                  <a:gd name="connsiteX31" fmla="*/ 9568 w 10000"/>
                  <a:gd name="connsiteY31" fmla="*/ 7574 h 10000"/>
                  <a:gd name="connsiteX32" fmla="*/ 9281 w 10000"/>
                  <a:gd name="connsiteY32" fmla="*/ 7921 h 10000"/>
                  <a:gd name="connsiteX33" fmla="*/ 8921 w 10000"/>
                  <a:gd name="connsiteY33" fmla="*/ 8317 h 10000"/>
                  <a:gd name="connsiteX34" fmla="*/ 8489 w 10000"/>
                  <a:gd name="connsiteY34" fmla="*/ 8663 h 10000"/>
                  <a:gd name="connsiteX35" fmla="*/ 8058 w 10000"/>
                  <a:gd name="connsiteY35" fmla="*/ 9059 h 10000"/>
                  <a:gd name="connsiteX36" fmla="*/ 7554 w 10000"/>
                  <a:gd name="connsiteY36" fmla="*/ 9406 h 10000"/>
                  <a:gd name="connsiteX37" fmla="*/ 6906 w 10000"/>
                  <a:gd name="connsiteY37" fmla="*/ 9703 h 10000"/>
                  <a:gd name="connsiteX38" fmla="*/ 6259 w 10000"/>
                  <a:gd name="connsiteY38" fmla="*/ 10000 h 10000"/>
                  <a:gd name="connsiteX39" fmla="*/ 4101 w 10000"/>
                  <a:gd name="connsiteY39"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9137 w 10000"/>
                  <a:gd name="connsiteY25" fmla="*/ 3762 h 10000"/>
                  <a:gd name="connsiteX26" fmla="*/ 9712 w 10000"/>
                  <a:gd name="connsiteY26" fmla="*/ 4604 h 10000"/>
                  <a:gd name="connsiteX27" fmla="*/ 9928 w 10000"/>
                  <a:gd name="connsiteY27" fmla="*/ 5495 h 10000"/>
                  <a:gd name="connsiteX28" fmla="*/ 10000 w 10000"/>
                  <a:gd name="connsiteY28" fmla="*/ 6287 h 10000"/>
                  <a:gd name="connsiteX29" fmla="*/ 9784 w 10000"/>
                  <a:gd name="connsiteY29" fmla="*/ 7129 h 10000"/>
                  <a:gd name="connsiteX30" fmla="*/ 9568 w 10000"/>
                  <a:gd name="connsiteY30" fmla="*/ 7574 h 10000"/>
                  <a:gd name="connsiteX31" fmla="*/ 9281 w 10000"/>
                  <a:gd name="connsiteY31" fmla="*/ 7921 h 10000"/>
                  <a:gd name="connsiteX32" fmla="*/ 8921 w 10000"/>
                  <a:gd name="connsiteY32" fmla="*/ 8317 h 10000"/>
                  <a:gd name="connsiteX33" fmla="*/ 8489 w 10000"/>
                  <a:gd name="connsiteY33" fmla="*/ 8663 h 10000"/>
                  <a:gd name="connsiteX34" fmla="*/ 8058 w 10000"/>
                  <a:gd name="connsiteY34" fmla="*/ 9059 h 10000"/>
                  <a:gd name="connsiteX35" fmla="*/ 7554 w 10000"/>
                  <a:gd name="connsiteY35" fmla="*/ 9406 h 10000"/>
                  <a:gd name="connsiteX36" fmla="*/ 6906 w 10000"/>
                  <a:gd name="connsiteY36" fmla="*/ 9703 h 10000"/>
                  <a:gd name="connsiteX37" fmla="*/ 6259 w 10000"/>
                  <a:gd name="connsiteY37" fmla="*/ 10000 h 10000"/>
                  <a:gd name="connsiteX38" fmla="*/ 4101 w 10000"/>
                  <a:gd name="connsiteY38"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712 w 10000"/>
                  <a:gd name="connsiteY25" fmla="*/ 4604 h 10000"/>
                  <a:gd name="connsiteX26" fmla="*/ 9928 w 10000"/>
                  <a:gd name="connsiteY26" fmla="*/ 5495 h 10000"/>
                  <a:gd name="connsiteX27" fmla="*/ 10000 w 10000"/>
                  <a:gd name="connsiteY27" fmla="*/ 6287 h 10000"/>
                  <a:gd name="connsiteX28" fmla="*/ 9784 w 10000"/>
                  <a:gd name="connsiteY28" fmla="*/ 7129 h 10000"/>
                  <a:gd name="connsiteX29" fmla="*/ 9568 w 10000"/>
                  <a:gd name="connsiteY29" fmla="*/ 7574 h 10000"/>
                  <a:gd name="connsiteX30" fmla="*/ 9281 w 10000"/>
                  <a:gd name="connsiteY30" fmla="*/ 7921 h 10000"/>
                  <a:gd name="connsiteX31" fmla="*/ 8921 w 10000"/>
                  <a:gd name="connsiteY31" fmla="*/ 8317 h 10000"/>
                  <a:gd name="connsiteX32" fmla="*/ 8489 w 10000"/>
                  <a:gd name="connsiteY32" fmla="*/ 8663 h 10000"/>
                  <a:gd name="connsiteX33" fmla="*/ 8058 w 10000"/>
                  <a:gd name="connsiteY33" fmla="*/ 9059 h 10000"/>
                  <a:gd name="connsiteX34" fmla="*/ 7554 w 10000"/>
                  <a:gd name="connsiteY34" fmla="*/ 9406 h 10000"/>
                  <a:gd name="connsiteX35" fmla="*/ 6906 w 10000"/>
                  <a:gd name="connsiteY35" fmla="*/ 9703 h 10000"/>
                  <a:gd name="connsiteX36" fmla="*/ 6259 w 10000"/>
                  <a:gd name="connsiteY36" fmla="*/ 10000 h 10000"/>
                  <a:gd name="connsiteX37" fmla="*/ 4101 w 10000"/>
                  <a:gd name="connsiteY37"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928 w 10000"/>
                  <a:gd name="connsiteY25" fmla="*/ 5495 h 10000"/>
                  <a:gd name="connsiteX26" fmla="*/ 10000 w 10000"/>
                  <a:gd name="connsiteY26" fmla="*/ 6287 h 10000"/>
                  <a:gd name="connsiteX27" fmla="*/ 9784 w 10000"/>
                  <a:gd name="connsiteY27" fmla="*/ 7129 h 10000"/>
                  <a:gd name="connsiteX28" fmla="*/ 9568 w 10000"/>
                  <a:gd name="connsiteY28" fmla="*/ 7574 h 10000"/>
                  <a:gd name="connsiteX29" fmla="*/ 9281 w 10000"/>
                  <a:gd name="connsiteY29" fmla="*/ 7921 h 10000"/>
                  <a:gd name="connsiteX30" fmla="*/ 8921 w 10000"/>
                  <a:gd name="connsiteY30" fmla="*/ 8317 h 10000"/>
                  <a:gd name="connsiteX31" fmla="*/ 8489 w 10000"/>
                  <a:gd name="connsiteY31" fmla="*/ 8663 h 10000"/>
                  <a:gd name="connsiteX32" fmla="*/ 8058 w 10000"/>
                  <a:gd name="connsiteY32" fmla="*/ 9059 h 10000"/>
                  <a:gd name="connsiteX33" fmla="*/ 7554 w 10000"/>
                  <a:gd name="connsiteY33" fmla="*/ 9406 h 10000"/>
                  <a:gd name="connsiteX34" fmla="*/ 6906 w 10000"/>
                  <a:gd name="connsiteY34" fmla="*/ 9703 h 10000"/>
                  <a:gd name="connsiteX35" fmla="*/ 6259 w 10000"/>
                  <a:gd name="connsiteY35" fmla="*/ 10000 h 10000"/>
                  <a:gd name="connsiteX36" fmla="*/ 4101 w 10000"/>
                  <a:gd name="connsiteY36"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928 w 10000"/>
                  <a:gd name="connsiteY24" fmla="*/ 5495 h 10000"/>
                  <a:gd name="connsiteX25" fmla="*/ 10000 w 10000"/>
                  <a:gd name="connsiteY25" fmla="*/ 6287 h 10000"/>
                  <a:gd name="connsiteX26" fmla="*/ 9784 w 10000"/>
                  <a:gd name="connsiteY26" fmla="*/ 7129 h 10000"/>
                  <a:gd name="connsiteX27" fmla="*/ 9568 w 10000"/>
                  <a:gd name="connsiteY27" fmla="*/ 7574 h 10000"/>
                  <a:gd name="connsiteX28" fmla="*/ 9281 w 10000"/>
                  <a:gd name="connsiteY28" fmla="*/ 7921 h 10000"/>
                  <a:gd name="connsiteX29" fmla="*/ 8921 w 10000"/>
                  <a:gd name="connsiteY29" fmla="*/ 8317 h 10000"/>
                  <a:gd name="connsiteX30" fmla="*/ 8489 w 10000"/>
                  <a:gd name="connsiteY30" fmla="*/ 8663 h 10000"/>
                  <a:gd name="connsiteX31" fmla="*/ 8058 w 10000"/>
                  <a:gd name="connsiteY31" fmla="*/ 9059 h 10000"/>
                  <a:gd name="connsiteX32" fmla="*/ 7554 w 10000"/>
                  <a:gd name="connsiteY32" fmla="*/ 9406 h 10000"/>
                  <a:gd name="connsiteX33" fmla="*/ 6906 w 10000"/>
                  <a:gd name="connsiteY33" fmla="*/ 9703 h 10000"/>
                  <a:gd name="connsiteX34" fmla="*/ 6259 w 10000"/>
                  <a:gd name="connsiteY34" fmla="*/ 10000 h 10000"/>
                  <a:gd name="connsiteX35" fmla="*/ 4101 w 10000"/>
                  <a:gd name="connsiteY35" fmla="*/ 10000 h 10000"/>
                  <a:gd name="connsiteX0" fmla="*/ 4101 w 9928"/>
                  <a:gd name="connsiteY0" fmla="*/ 10000 h 10000"/>
                  <a:gd name="connsiteX1" fmla="*/ 4101 w 9928"/>
                  <a:gd name="connsiteY1" fmla="*/ 10000 h 10000"/>
                  <a:gd name="connsiteX2" fmla="*/ 3669 w 9928"/>
                  <a:gd name="connsiteY2" fmla="*/ 9851 h 10000"/>
                  <a:gd name="connsiteX3" fmla="*/ 2878 w 9928"/>
                  <a:gd name="connsiteY3" fmla="*/ 9554 h 10000"/>
                  <a:gd name="connsiteX4" fmla="*/ 1942 w 9928"/>
                  <a:gd name="connsiteY4" fmla="*/ 9059 h 10000"/>
                  <a:gd name="connsiteX5" fmla="*/ 1511 w 9928"/>
                  <a:gd name="connsiteY5" fmla="*/ 8762 h 10000"/>
                  <a:gd name="connsiteX6" fmla="*/ 1079 w 9928"/>
                  <a:gd name="connsiteY6" fmla="*/ 8366 h 10000"/>
                  <a:gd name="connsiteX7" fmla="*/ 647 w 9928"/>
                  <a:gd name="connsiteY7" fmla="*/ 7921 h 10000"/>
                  <a:gd name="connsiteX8" fmla="*/ 288 w 9928"/>
                  <a:gd name="connsiteY8" fmla="*/ 7475 h 10000"/>
                  <a:gd name="connsiteX9" fmla="*/ 72 w 9928"/>
                  <a:gd name="connsiteY9" fmla="*/ 6980 h 10000"/>
                  <a:gd name="connsiteX10" fmla="*/ 0 w 9928"/>
                  <a:gd name="connsiteY10" fmla="*/ 6436 h 10000"/>
                  <a:gd name="connsiteX11" fmla="*/ 72 w 9928"/>
                  <a:gd name="connsiteY11" fmla="*/ 5842 h 10000"/>
                  <a:gd name="connsiteX12" fmla="*/ 288 w 9928"/>
                  <a:gd name="connsiteY12" fmla="*/ 5198 h 10000"/>
                  <a:gd name="connsiteX13" fmla="*/ 863 w 9928"/>
                  <a:gd name="connsiteY13" fmla="*/ 4505 h 10000"/>
                  <a:gd name="connsiteX14" fmla="*/ 1583 w 9928"/>
                  <a:gd name="connsiteY14" fmla="*/ 3762 h 10000"/>
                  <a:gd name="connsiteX15" fmla="*/ 1583 w 9928"/>
                  <a:gd name="connsiteY15" fmla="*/ 3762 h 10000"/>
                  <a:gd name="connsiteX16" fmla="*/ 1942 w 9928"/>
                  <a:gd name="connsiteY16" fmla="*/ 3465 h 10000"/>
                  <a:gd name="connsiteX17" fmla="*/ 2590 w 9928"/>
                  <a:gd name="connsiteY17" fmla="*/ 2723 h 10000"/>
                  <a:gd name="connsiteX18" fmla="*/ 3022 w 9928"/>
                  <a:gd name="connsiteY18" fmla="*/ 2129 h 10000"/>
                  <a:gd name="connsiteX19" fmla="*/ 3309 w 9928"/>
                  <a:gd name="connsiteY19" fmla="*/ 1535 h 10000"/>
                  <a:gd name="connsiteX20" fmla="*/ 3525 w 9928"/>
                  <a:gd name="connsiteY20" fmla="*/ 792 h 10000"/>
                  <a:gd name="connsiteX21" fmla="*/ 3669 w 9928"/>
                  <a:gd name="connsiteY21" fmla="*/ 0 h 10000"/>
                  <a:gd name="connsiteX22" fmla="*/ 3669 w 9928"/>
                  <a:gd name="connsiteY22" fmla="*/ 0 h 10000"/>
                  <a:gd name="connsiteX23" fmla="*/ 4317 w 9928"/>
                  <a:gd name="connsiteY23" fmla="*/ 297 h 10000"/>
                  <a:gd name="connsiteX24" fmla="*/ 9928 w 9928"/>
                  <a:gd name="connsiteY24" fmla="*/ 5495 h 10000"/>
                  <a:gd name="connsiteX25" fmla="*/ 9784 w 9928"/>
                  <a:gd name="connsiteY25" fmla="*/ 7129 h 10000"/>
                  <a:gd name="connsiteX26" fmla="*/ 9568 w 9928"/>
                  <a:gd name="connsiteY26" fmla="*/ 7574 h 10000"/>
                  <a:gd name="connsiteX27" fmla="*/ 9281 w 9928"/>
                  <a:gd name="connsiteY27" fmla="*/ 7921 h 10000"/>
                  <a:gd name="connsiteX28" fmla="*/ 8921 w 9928"/>
                  <a:gd name="connsiteY28" fmla="*/ 8317 h 10000"/>
                  <a:gd name="connsiteX29" fmla="*/ 8489 w 9928"/>
                  <a:gd name="connsiteY29" fmla="*/ 8663 h 10000"/>
                  <a:gd name="connsiteX30" fmla="*/ 8058 w 9928"/>
                  <a:gd name="connsiteY30" fmla="*/ 9059 h 10000"/>
                  <a:gd name="connsiteX31" fmla="*/ 7554 w 9928"/>
                  <a:gd name="connsiteY31" fmla="*/ 9406 h 10000"/>
                  <a:gd name="connsiteX32" fmla="*/ 6906 w 9928"/>
                  <a:gd name="connsiteY32" fmla="*/ 9703 h 10000"/>
                  <a:gd name="connsiteX33" fmla="*/ 6259 w 9928"/>
                  <a:gd name="connsiteY33" fmla="*/ 10000 h 10000"/>
                  <a:gd name="connsiteX34" fmla="*/ 4101 w 9928"/>
                  <a:gd name="connsiteY34"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48 w 10000"/>
                  <a:gd name="connsiteY26" fmla="*/ 7921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33 w 10000"/>
                  <a:gd name="connsiteY26" fmla="*/ 7808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214"/>
                  <a:gd name="connsiteY0" fmla="*/ 10000 h 10000"/>
                  <a:gd name="connsiteX1" fmla="*/ 4131 w 10214"/>
                  <a:gd name="connsiteY1" fmla="*/ 10000 h 10000"/>
                  <a:gd name="connsiteX2" fmla="*/ 3696 w 10214"/>
                  <a:gd name="connsiteY2" fmla="*/ 9851 h 10000"/>
                  <a:gd name="connsiteX3" fmla="*/ 2899 w 10214"/>
                  <a:gd name="connsiteY3" fmla="*/ 9554 h 10000"/>
                  <a:gd name="connsiteX4" fmla="*/ 1956 w 10214"/>
                  <a:gd name="connsiteY4" fmla="*/ 9059 h 10000"/>
                  <a:gd name="connsiteX5" fmla="*/ 1522 w 10214"/>
                  <a:gd name="connsiteY5" fmla="*/ 8762 h 10000"/>
                  <a:gd name="connsiteX6" fmla="*/ 1087 w 10214"/>
                  <a:gd name="connsiteY6" fmla="*/ 8366 h 10000"/>
                  <a:gd name="connsiteX7" fmla="*/ 652 w 10214"/>
                  <a:gd name="connsiteY7" fmla="*/ 7921 h 10000"/>
                  <a:gd name="connsiteX8" fmla="*/ 290 w 10214"/>
                  <a:gd name="connsiteY8" fmla="*/ 7475 h 10000"/>
                  <a:gd name="connsiteX9" fmla="*/ 73 w 10214"/>
                  <a:gd name="connsiteY9" fmla="*/ 6980 h 10000"/>
                  <a:gd name="connsiteX10" fmla="*/ 0 w 10214"/>
                  <a:gd name="connsiteY10" fmla="*/ 6436 h 10000"/>
                  <a:gd name="connsiteX11" fmla="*/ 73 w 10214"/>
                  <a:gd name="connsiteY11" fmla="*/ 5842 h 10000"/>
                  <a:gd name="connsiteX12" fmla="*/ 290 w 10214"/>
                  <a:gd name="connsiteY12" fmla="*/ 5198 h 10000"/>
                  <a:gd name="connsiteX13" fmla="*/ 869 w 10214"/>
                  <a:gd name="connsiteY13" fmla="*/ 4505 h 10000"/>
                  <a:gd name="connsiteX14" fmla="*/ 1594 w 10214"/>
                  <a:gd name="connsiteY14" fmla="*/ 3762 h 10000"/>
                  <a:gd name="connsiteX15" fmla="*/ 1594 w 10214"/>
                  <a:gd name="connsiteY15" fmla="*/ 3762 h 10000"/>
                  <a:gd name="connsiteX16" fmla="*/ 1956 w 10214"/>
                  <a:gd name="connsiteY16" fmla="*/ 3465 h 10000"/>
                  <a:gd name="connsiteX17" fmla="*/ 2609 w 10214"/>
                  <a:gd name="connsiteY17" fmla="*/ 2723 h 10000"/>
                  <a:gd name="connsiteX18" fmla="*/ 3044 w 10214"/>
                  <a:gd name="connsiteY18" fmla="*/ 2129 h 10000"/>
                  <a:gd name="connsiteX19" fmla="*/ 3333 w 10214"/>
                  <a:gd name="connsiteY19" fmla="*/ 1535 h 10000"/>
                  <a:gd name="connsiteX20" fmla="*/ 3551 w 10214"/>
                  <a:gd name="connsiteY20" fmla="*/ 792 h 10000"/>
                  <a:gd name="connsiteX21" fmla="*/ 3696 w 10214"/>
                  <a:gd name="connsiteY21" fmla="*/ 0 h 10000"/>
                  <a:gd name="connsiteX22" fmla="*/ 3696 w 10214"/>
                  <a:gd name="connsiteY22" fmla="*/ 0 h 10000"/>
                  <a:gd name="connsiteX23" fmla="*/ 4348 w 10214"/>
                  <a:gd name="connsiteY23" fmla="*/ 297 h 10000"/>
                  <a:gd name="connsiteX24" fmla="*/ 10000 w 10214"/>
                  <a:gd name="connsiteY24" fmla="*/ 5495 h 10000"/>
                  <a:gd name="connsiteX25" fmla="*/ 8986 w 10214"/>
                  <a:gd name="connsiteY25" fmla="*/ 8317 h 10000"/>
                  <a:gd name="connsiteX26" fmla="*/ 8551 w 10214"/>
                  <a:gd name="connsiteY26" fmla="*/ 8663 h 10000"/>
                  <a:gd name="connsiteX27" fmla="*/ 8116 w 10214"/>
                  <a:gd name="connsiteY27" fmla="*/ 9059 h 10000"/>
                  <a:gd name="connsiteX28" fmla="*/ 7609 w 10214"/>
                  <a:gd name="connsiteY28" fmla="*/ 9406 h 10000"/>
                  <a:gd name="connsiteX29" fmla="*/ 6956 w 10214"/>
                  <a:gd name="connsiteY29" fmla="*/ 9703 h 10000"/>
                  <a:gd name="connsiteX30" fmla="*/ 6304 w 10214"/>
                  <a:gd name="connsiteY30" fmla="*/ 10000 h 10000"/>
                  <a:gd name="connsiteX31" fmla="*/ 4131 w 10214"/>
                  <a:gd name="connsiteY31" fmla="*/ 10000 h 10000"/>
                  <a:gd name="connsiteX0" fmla="*/ 4131 w 10158"/>
                  <a:gd name="connsiteY0" fmla="*/ 10000 h 10000"/>
                  <a:gd name="connsiteX1" fmla="*/ 4131 w 10158"/>
                  <a:gd name="connsiteY1" fmla="*/ 10000 h 10000"/>
                  <a:gd name="connsiteX2" fmla="*/ 3696 w 10158"/>
                  <a:gd name="connsiteY2" fmla="*/ 9851 h 10000"/>
                  <a:gd name="connsiteX3" fmla="*/ 2899 w 10158"/>
                  <a:gd name="connsiteY3" fmla="*/ 9554 h 10000"/>
                  <a:gd name="connsiteX4" fmla="*/ 1956 w 10158"/>
                  <a:gd name="connsiteY4" fmla="*/ 9059 h 10000"/>
                  <a:gd name="connsiteX5" fmla="*/ 1522 w 10158"/>
                  <a:gd name="connsiteY5" fmla="*/ 8762 h 10000"/>
                  <a:gd name="connsiteX6" fmla="*/ 1087 w 10158"/>
                  <a:gd name="connsiteY6" fmla="*/ 8366 h 10000"/>
                  <a:gd name="connsiteX7" fmla="*/ 652 w 10158"/>
                  <a:gd name="connsiteY7" fmla="*/ 7921 h 10000"/>
                  <a:gd name="connsiteX8" fmla="*/ 290 w 10158"/>
                  <a:gd name="connsiteY8" fmla="*/ 7475 h 10000"/>
                  <a:gd name="connsiteX9" fmla="*/ 73 w 10158"/>
                  <a:gd name="connsiteY9" fmla="*/ 6980 h 10000"/>
                  <a:gd name="connsiteX10" fmla="*/ 0 w 10158"/>
                  <a:gd name="connsiteY10" fmla="*/ 6436 h 10000"/>
                  <a:gd name="connsiteX11" fmla="*/ 73 w 10158"/>
                  <a:gd name="connsiteY11" fmla="*/ 5842 h 10000"/>
                  <a:gd name="connsiteX12" fmla="*/ 290 w 10158"/>
                  <a:gd name="connsiteY12" fmla="*/ 5198 h 10000"/>
                  <a:gd name="connsiteX13" fmla="*/ 869 w 10158"/>
                  <a:gd name="connsiteY13" fmla="*/ 4505 h 10000"/>
                  <a:gd name="connsiteX14" fmla="*/ 1594 w 10158"/>
                  <a:gd name="connsiteY14" fmla="*/ 3762 h 10000"/>
                  <a:gd name="connsiteX15" fmla="*/ 1594 w 10158"/>
                  <a:gd name="connsiteY15" fmla="*/ 3762 h 10000"/>
                  <a:gd name="connsiteX16" fmla="*/ 1956 w 10158"/>
                  <a:gd name="connsiteY16" fmla="*/ 3465 h 10000"/>
                  <a:gd name="connsiteX17" fmla="*/ 2609 w 10158"/>
                  <a:gd name="connsiteY17" fmla="*/ 2723 h 10000"/>
                  <a:gd name="connsiteX18" fmla="*/ 3044 w 10158"/>
                  <a:gd name="connsiteY18" fmla="*/ 2129 h 10000"/>
                  <a:gd name="connsiteX19" fmla="*/ 3333 w 10158"/>
                  <a:gd name="connsiteY19" fmla="*/ 1535 h 10000"/>
                  <a:gd name="connsiteX20" fmla="*/ 3551 w 10158"/>
                  <a:gd name="connsiteY20" fmla="*/ 792 h 10000"/>
                  <a:gd name="connsiteX21" fmla="*/ 3696 w 10158"/>
                  <a:gd name="connsiteY21" fmla="*/ 0 h 10000"/>
                  <a:gd name="connsiteX22" fmla="*/ 3696 w 10158"/>
                  <a:gd name="connsiteY22" fmla="*/ 0 h 10000"/>
                  <a:gd name="connsiteX23" fmla="*/ 4348 w 10158"/>
                  <a:gd name="connsiteY23" fmla="*/ 297 h 10000"/>
                  <a:gd name="connsiteX24" fmla="*/ 10000 w 10158"/>
                  <a:gd name="connsiteY24" fmla="*/ 5495 h 10000"/>
                  <a:gd name="connsiteX25" fmla="*/ 8551 w 10158"/>
                  <a:gd name="connsiteY25" fmla="*/ 8663 h 10000"/>
                  <a:gd name="connsiteX26" fmla="*/ 8116 w 10158"/>
                  <a:gd name="connsiteY26" fmla="*/ 9059 h 10000"/>
                  <a:gd name="connsiteX27" fmla="*/ 7609 w 10158"/>
                  <a:gd name="connsiteY27" fmla="*/ 9406 h 10000"/>
                  <a:gd name="connsiteX28" fmla="*/ 6956 w 10158"/>
                  <a:gd name="connsiteY28" fmla="*/ 9703 h 10000"/>
                  <a:gd name="connsiteX29" fmla="*/ 6304 w 10158"/>
                  <a:gd name="connsiteY29" fmla="*/ 10000 h 10000"/>
                  <a:gd name="connsiteX30" fmla="*/ 4131 w 10158"/>
                  <a:gd name="connsiteY30" fmla="*/ 10000 h 10000"/>
                  <a:gd name="connsiteX0" fmla="*/ 4131 w 10115"/>
                  <a:gd name="connsiteY0" fmla="*/ 10000 h 10000"/>
                  <a:gd name="connsiteX1" fmla="*/ 4131 w 10115"/>
                  <a:gd name="connsiteY1" fmla="*/ 10000 h 10000"/>
                  <a:gd name="connsiteX2" fmla="*/ 3696 w 10115"/>
                  <a:gd name="connsiteY2" fmla="*/ 9851 h 10000"/>
                  <a:gd name="connsiteX3" fmla="*/ 2899 w 10115"/>
                  <a:gd name="connsiteY3" fmla="*/ 9554 h 10000"/>
                  <a:gd name="connsiteX4" fmla="*/ 1956 w 10115"/>
                  <a:gd name="connsiteY4" fmla="*/ 9059 h 10000"/>
                  <a:gd name="connsiteX5" fmla="*/ 1522 w 10115"/>
                  <a:gd name="connsiteY5" fmla="*/ 8762 h 10000"/>
                  <a:gd name="connsiteX6" fmla="*/ 1087 w 10115"/>
                  <a:gd name="connsiteY6" fmla="*/ 8366 h 10000"/>
                  <a:gd name="connsiteX7" fmla="*/ 652 w 10115"/>
                  <a:gd name="connsiteY7" fmla="*/ 7921 h 10000"/>
                  <a:gd name="connsiteX8" fmla="*/ 290 w 10115"/>
                  <a:gd name="connsiteY8" fmla="*/ 7475 h 10000"/>
                  <a:gd name="connsiteX9" fmla="*/ 73 w 10115"/>
                  <a:gd name="connsiteY9" fmla="*/ 6980 h 10000"/>
                  <a:gd name="connsiteX10" fmla="*/ 0 w 10115"/>
                  <a:gd name="connsiteY10" fmla="*/ 6436 h 10000"/>
                  <a:gd name="connsiteX11" fmla="*/ 73 w 10115"/>
                  <a:gd name="connsiteY11" fmla="*/ 5842 h 10000"/>
                  <a:gd name="connsiteX12" fmla="*/ 290 w 10115"/>
                  <a:gd name="connsiteY12" fmla="*/ 5198 h 10000"/>
                  <a:gd name="connsiteX13" fmla="*/ 869 w 10115"/>
                  <a:gd name="connsiteY13" fmla="*/ 4505 h 10000"/>
                  <a:gd name="connsiteX14" fmla="*/ 1594 w 10115"/>
                  <a:gd name="connsiteY14" fmla="*/ 3762 h 10000"/>
                  <a:gd name="connsiteX15" fmla="*/ 1594 w 10115"/>
                  <a:gd name="connsiteY15" fmla="*/ 3762 h 10000"/>
                  <a:gd name="connsiteX16" fmla="*/ 1956 w 10115"/>
                  <a:gd name="connsiteY16" fmla="*/ 3465 h 10000"/>
                  <a:gd name="connsiteX17" fmla="*/ 2609 w 10115"/>
                  <a:gd name="connsiteY17" fmla="*/ 2723 h 10000"/>
                  <a:gd name="connsiteX18" fmla="*/ 3044 w 10115"/>
                  <a:gd name="connsiteY18" fmla="*/ 2129 h 10000"/>
                  <a:gd name="connsiteX19" fmla="*/ 3333 w 10115"/>
                  <a:gd name="connsiteY19" fmla="*/ 1535 h 10000"/>
                  <a:gd name="connsiteX20" fmla="*/ 3551 w 10115"/>
                  <a:gd name="connsiteY20" fmla="*/ 792 h 10000"/>
                  <a:gd name="connsiteX21" fmla="*/ 3696 w 10115"/>
                  <a:gd name="connsiteY21" fmla="*/ 0 h 10000"/>
                  <a:gd name="connsiteX22" fmla="*/ 3696 w 10115"/>
                  <a:gd name="connsiteY22" fmla="*/ 0 h 10000"/>
                  <a:gd name="connsiteX23" fmla="*/ 4348 w 10115"/>
                  <a:gd name="connsiteY23" fmla="*/ 297 h 10000"/>
                  <a:gd name="connsiteX24" fmla="*/ 10000 w 10115"/>
                  <a:gd name="connsiteY24" fmla="*/ 5495 h 10000"/>
                  <a:gd name="connsiteX25" fmla="*/ 8116 w 10115"/>
                  <a:gd name="connsiteY25" fmla="*/ 9059 h 10000"/>
                  <a:gd name="connsiteX26" fmla="*/ 7609 w 10115"/>
                  <a:gd name="connsiteY26" fmla="*/ 9406 h 10000"/>
                  <a:gd name="connsiteX27" fmla="*/ 6956 w 10115"/>
                  <a:gd name="connsiteY27" fmla="*/ 9703 h 10000"/>
                  <a:gd name="connsiteX28" fmla="*/ 6304 w 10115"/>
                  <a:gd name="connsiteY28" fmla="*/ 10000 h 10000"/>
                  <a:gd name="connsiteX29" fmla="*/ 4131 w 10115"/>
                  <a:gd name="connsiteY29" fmla="*/ 10000 h 10000"/>
                  <a:gd name="connsiteX0" fmla="*/ 4131 w 10078"/>
                  <a:gd name="connsiteY0" fmla="*/ 10000 h 10000"/>
                  <a:gd name="connsiteX1" fmla="*/ 4131 w 10078"/>
                  <a:gd name="connsiteY1" fmla="*/ 10000 h 10000"/>
                  <a:gd name="connsiteX2" fmla="*/ 3696 w 10078"/>
                  <a:gd name="connsiteY2" fmla="*/ 9851 h 10000"/>
                  <a:gd name="connsiteX3" fmla="*/ 2899 w 10078"/>
                  <a:gd name="connsiteY3" fmla="*/ 9554 h 10000"/>
                  <a:gd name="connsiteX4" fmla="*/ 1956 w 10078"/>
                  <a:gd name="connsiteY4" fmla="*/ 9059 h 10000"/>
                  <a:gd name="connsiteX5" fmla="*/ 1522 w 10078"/>
                  <a:gd name="connsiteY5" fmla="*/ 8762 h 10000"/>
                  <a:gd name="connsiteX6" fmla="*/ 1087 w 10078"/>
                  <a:gd name="connsiteY6" fmla="*/ 8366 h 10000"/>
                  <a:gd name="connsiteX7" fmla="*/ 652 w 10078"/>
                  <a:gd name="connsiteY7" fmla="*/ 7921 h 10000"/>
                  <a:gd name="connsiteX8" fmla="*/ 290 w 10078"/>
                  <a:gd name="connsiteY8" fmla="*/ 7475 h 10000"/>
                  <a:gd name="connsiteX9" fmla="*/ 73 w 10078"/>
                  <a:gd name="connsiteY9" fmla="*/ 6980 h 10000"/>
                  <a:gd name="connsiteX10" fmla="*/ 0 w 10078"/>
                  <a:gd name="connsiteY10" fmla="*/ 6436 h 10000"/>
                  <a:gd name="connsiteX11" fmla="*/ 73 w 10078"/>
                  <a:gd name="connsiteY11" fmla="*/ 5842 h 10000"/>
                  <a:gd name="connsiteX12" fmla="*/ 290 w 10078"/>
                  <a:gd name="connsiteY12" fmla="*/ 5198 h 10000"/>
                  <a:gd name="connsiteX13" fmla="*/ 869 w 10078"/>
                  <a:gd name="connsiteY13" fmla="*/ 4505 h 10000"/>
                  <a:gd name="connsiteX14" fmla="*/ 1594 w 10078"/>
                  <a:gd name="connsiteY14" fmla="*/ 3762 h 10000"/>
                  <a:gd name="connsiteX15" fmla="*/ 1594 w 10078"/>
                  <a:gd name="connsiteY15" fmla="*/ 3762 h 10000"/>
                  <a:gd name="connsiteX16" fmla="*/ 1956 w 10078"/>
                  <a:gd name="connsiteY16" fmla="*/ 3465 h 10000"/>
                  <a:gd name="connsiteX17" fmla="*/ 2609 w 10078"/>
                  <a:gd name="connsiteY17" fmla="*/ 2723 h 10000"/>
                  <a:gd name="connsiteX18" fmla="*/ 3044 w 10078"/>
                  <a:gd name="connsiteY18" fmla="*/ 2129 h 10000"/>
                  <a:gd name="connsiteX19" fmla="*/ 3333 w 10078"/>
                  <a:gd name="connsiteY19" fmla="*/ 1535 h 10000"/>
                  <a:gd name="connsiteX20" fmla="*/ 3551 w 10078"/>
                  <a:gd name="connsiteY20" fmla="*/ 792 h 10000"/>
                  <a:gd name="connsiteX21" fmla="*/ 3696 w 10078"/>
                  <a:gd name="connsiteY21" fmla="*/ 0 h 10000"/>
                  <a:gd name="connsiteX22" fmla="*/ 3696 w 10078"/>
                  <a:gd name="connsiteY22" fmla="*/ 0 h 10000"/>
                  <a:gd name="connsiteX23" fmla="*/ 4348 w 10078"/>
                  <a:gd name="connsiteY23" fmla="*/ 297 h 10000"/>
                  <a:gd name="connsiteX24" fmla="*/ 10000 w 10078"/>
                  <a:gd name="connsiteY24" fmla="*/ 5495 h 10000"/>
                  <a:gd name="connsiteX25" fmla="*/ 7609 w 10078"/>
                  <a:gd name="connsiteY25" fmla="*/ 9406 h 10000"/>
                  <a:gd name="connsiteX26" fmla="*/ 6956 w 10078"/>
                  <a:gd name="connsiteY26" fmla="*/ 9703 h 10000"/>
                  <a:gd name="connsiteX27" fmla="*/ 6304 w 10078"/>
                  <a:gd name="connsiteY27" fmla="*/ 10000 h 10000"/>
                  <a:gd name="connsiteX28" fmla="*/ 4131 w 10078"/>
                  <a:gd name="connsiteY28" fmla="*/ 10000 h 10000"/>
                  <a:gd name="connsiteX0" fmla="*/ 4131 w 10044"/>
                  <a:gd name="connsiteY0" fmla="*/ 10000 h 10000"/>
                  <a:gd name="connsiteX1" fmla="*/ 4131 w 10044"/>
                  <a:gd name="connsiteY1" fmla="*/ 10000 h 10000"/>
                  <a:gd name="connsiteX2" fmla="*/ 3696 w 10044"/>
                  <a:gd name="connsiteY2" fmla="*/ 9851 h 10000"/>
                  <a:gd name="connsiteX3" fmla="*/ 2899 w 10044"/>
                  <a:gd name="connsiteY3" fmla="*/ 9554 h 10000"/>
                  <a:gd name="connsiteX4" fmla="*/ 1956 w 10044"/>
                  <a:gd name="connsiteY4" fmla="*/ 9059 h 10000"/>
                  <a:gd name="connsiteX5" fmla="*/ 1522 w 10044"/>
                  <a:gd name="connsiteY5" fmla="*/ 8762 h 10000"/>
                  <a:gd name="connsiteX6" fmla="*/ 1087 w 10044"/>
                  <a:gd name="connsiteY6" fmla="*/ 8366 h 10000"/>
                  <a:gd name="connsiteX7" fmla="*/ 652 w 10044"/>
                  <a:gd name="connsiteY7" fmla="*/ 7921 h 10000"/>
                  <a:gd name="connsiteX8" fmla="*/ 290 w 10044"/>
                  <a:gd name="connsiteY8" fmla="*/ 7475 h 10000"/>
                  <a:gd name="connsiteX9" fmla="*/ 73 w 10044"/>
                  <a:gd name="connsiteY9" fmla="*/ 6980 h 10000"/>
                  <a:gd name="connsiteX10" fmla="*/ 0 w 10044"/>
                  <a:gd name="connsiteY10" fmla="*/ 6436 h 10000"/>
                  <a:gd name="connsiteX11" fmla="*/ 73 w 10044"/>
                  <a:gd name="connsiteY11" fmla="*/ 5842 h 10000"/>
                  <a:gd name="connsiteX12" fmla="*/ 290 w 10044"/>
                  <a:gd name="connsiteY12" fmla="*/ 5198 h 10000"/>
                  <a:gd name="connsiteX13" fmla="*/ 869 w 10044"/>
                  <a:gd name="connsiteY13" fmla="*/ 4505 h 10000"/>
                  <a:gd name="connsiteX14" fmla="*/ 1594 w 10044"/>
                  <a:gd name="connsiteY14" fmla="*/ 3762 h 10000"/>
                  <a:gd name="connsiteX15" fmla="*/ 1594 w 10044"/>
                  <a:gd name="connsiteY15" fmla="*/ 3762 h 10000"/>
                  <a:gd name="connsiteX16" fmla="*/ 1956 w 10044"/>
                  <a:gd name="connsiteY16" fmla="*/ 3465 h 10000"/>
                  <a:gd name="connsiteX17" fmla="*/ 2609 w 10044"/>
                  <a:gd name="connsiteY17" fmla="*/ 2723 h 10000"/>
                  <a:gd name="connsiteX18" fmla="*/ 3044 w 10044"/>
                  <a:gd name="connsiteY18" fmla="*/ 2129 h 10000"/>
                  <a:gd name="connsiteX19" fmla="*/ 3333 w 10044"/>
                  <a:gd name="connsiteY19" fmla="*/ 1535 h 10000"/>
                  <a:gd name="connsiteX20" fmla="*/ 3551 w 10044"/>
                  <a:gd name="connsiteY20" fmla="*/ 792 h 10000"/>
                  <a:gd name="connsiteX21" fmla="*/ 3696 w 10044"/>
                  <a:gd name="connsiteY21" fmla="*/ 0 h 10000"/>
                  <a:gd name="connsiteX22" fmla="*/ 3696 w 10044"/>
                  <a:gd name="connsiteY22" fmla="*/ 0 h 10000"/>
                  <a:gd name="connsiteX23" fmla="*/ 4348 w 10044"/>
                  <a:gd name="connsiteY23" fmla="*/ 297 h 10000"/>
                  <a:gd name="connsiteX24" fmla="*/ 10000 w 10044"/>
                  <a:gd name="connsiteY24" fmla="*/ 5495 h 10000"/>
                  <a:gd name="connsiteX25" fmla="*/ 6956 w 10044"/>
                  <a:gd name="connsiteY25" fmla="*/ 9703 h 10000"/>
                  <a:gd name="connsiteX26" fmla="*/ 6304 w 10044"/>
                  <a:gd name="connsiteY26" fmla="*/ 10000 h 10000"/>
                  <a:gd name="connsiteX27" fmla="*/ 4131 w 10044"/>
                  <a:gd name="connsiteY27"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4131 w 10024"/>
                  <a:gd name="connsiteY26"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5029 w 10024"/>
                  <a:gd name="connsiteY26" fmla="*/ 9977 h 10000"/>
                  <a:gd name="connsiteX27" fmla="*/ 4131 w 10024"/>
                  <a:gd name="connsiteY27" fmla="*/ 10000 h 10000"/>
                  <a:gd name="connsiteX0" fmla="*/ 4131 w 10002"/>
                  <a:gd name="connsiteY0" fmla="*/ 10000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26" fmla="*/ 4131 w 10002"/>
                  <a:gd name="connsiteY26" fmla="*/ 10000 h 10000"/>
                  <a:gd name="connsiteX0" fmla="*/ 5029 w 10002"/>
                  <a:gd name="connsiteY0" fmla="*/ 9977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3696 w 10002"/>
                  <a:gd name="connsiteY2" fmla="*/ 9851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10000"/>
                  <a:gd name="connsiteX1" fmla="*/ 4131 w 10002"/>
                  <a:gd name="connsiteY1" fmla="*/ 10000 h 10000"/>
                  <a:gd name="connsiteX2" fmla="*/ 3696 w 10002"/>
                  <a:gd name="connsiteY2" fmla="*/ 9851 h 10000"/>
                  <a:gd name="connsiteX3" fmla="*/ 2984 w 10002"/>
                  <a:gd name="connsiteY3" fmla="*/ 9495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2984 w 10002"/>
                  <a:gd name="connsiteY2" fmla="*/ 9495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9977"/>
                  <a:gd name="connsiteX1" fmla="*/ 2984 w 10002"/>
                  <a:gd name="connsiteY1" fmla="*/ 9495 h 9977"/>
                  <a:gd name="connsiteX2" fmla="*/ 1956 w 10002"/>
                  <a:gd name="connsiteY2" fmla="*/ 9059 h 9977"/>
                  <a:gd name="connsiteX3" fmla="*/ 1522 w 10002"/>
                  <a:gd name="connsiteY3" fmla="*/ 8762 h 9977"/>
                  <a:gd name="connsiteX4" fmla="*/ 1087 w 10002"/>
                  <a:gd name="connsiteY4" fmla="*/ 8366 h 9977"/>
                  <a:gd name="connsiteX5" fmla="*/ 652 w 10002"/>
                  <a:gd name="connsiteY5" fmla="*/ 7921 h 9977"/>
                  <a:gd name="connsiteX6" fmla="*/ 290 w 10002"/>
                  <a:gd name="connsiteY6" fmla="*/ 7475 h 9977"/>
                  <a:gd name="connsiteX7" fmla="*/ 73 w 10002"/>
                  <a:gd name="connsiteY7" fmla="*/ 6980 h 9977"/>
                  <a:gd name="connsiteX8" fmla="*/ 0 w 10002"/>
                  <a:gd name="connsiteY8" fmla="*/ 6436 h 9977"/>
                  <a:gd name="connsiteX9" fmla="*/ 73 w 10002"/>
                  <a:gd name="connsiteY9" fmla="*/ 5842 h 9977"/>
                  <a:gd name="connsiteX10" fmla="*/ 290 w 10002"/>
                  <a:gd name="connsiteY10" fmla="*/ 5198 h 9977"/>
                  <a:gd name="connsiteX11" fmla="*/ 869 w 10002"/>
                  <a:gd name="connsiteY11" fmla="*/ 4505 h 9977"/>
                  <a:gd name="connsiteX12" fmla="*/ 1594 w 10002"/>
                  <a:gd name="connsiteY12" fmla="*/ 3762 h 9977"/>
                  <a:gd name="connsiteX13" fmla="*/ 1594 w 10002"/>
                  <a:gd name="connsiteY13" fmla="*/ 3762 h 9977"/>
                  <a:gd name="connsiteX14" fmla="*/ 1956 w 10002"/>
                  <a:gd name="connsiteY14" fmla="*/ 3465 h 9977"/>
                  <a:gd name="connsiteX15" fmla="*/ 2609 w 10002"/>
                  <a:gd name="connsiteY15" fmla="*/ 2723 h 9977"/>
                  <a:gd name="connsiteX16" fmla="*/ 3044 w 10002"/>
                  <a:gd name="connsiteY16" fmla="*/ 2129 h 9977"/>
                  <a:gd name="connsiteX17" fmla="*/ 3333 w 10002"/>
                  <a:gd name="connsiteY17" fmla="*/ 1535 h 9977"/>
                  <a:gd name="connsiteX18" fmla="*/ 3551 w 10002"/>
                  <a:gd name="connsiteY18" fmla="*/ 792 h 9977"/>
                  <a:gd name="connsiteX19" fmla="*/ 3696 w 10002"/>
                  <a:gd name="connsiteY19" fmla="*/ 0 h 9977"/>
                  <a:gd name="connsiteX20" fmla="*/ 3696 w 10002"/>
                  <a:gd name="connsiteY20" fmla="*/ 0 h 9977"/>
                  <a:gd name="connsiteX21" fmla="*/ 4348 w 10002"/>
                  <a:gd name="connsiteY21" fmla="*/ 297 h 9977"/>
                  <a:gd name="connsiteX22" fmla="*/ 10000 w 10002"/>
                  <a:gd name="connsiteY22" fmla="*/ 5495 h 9977"/>
                  <a:gd name="connsiteX23" fmla="*/ 5029 w 10002"/>
                  <a:gd name="connsiteY23" fmla="*/ 9977 h 9977"/>
                  <a:gd name="connsiteX0" fmla="*/ 5028 w 10000"/>
                  <a:gd name="connsiteY0" fmla="*/ 10000 h 10000"/>
                  <a:gd name="connsiteX1" fmla="*/ 1956 w 10000"/>
                  <a:gd name="connsiteY1" fmla="*/ 9080 h 10000"/>
                  <a:gd name="connsiteX2" fmla="*/ 1522 w 10000"/>
                  <a:gd name="connsiteY2" fmla="*/ 8782 h 10000"/>
                  <a:gd name="connsiteX3" fmla="*/ 1087 w 10000"/>
                  <a:gd name="connsiteY3" fmla="*/ 8385 h 10000"/>
                  <a:gd name="connsiteX4" fmla="*/ 652 w 10000"/>
                  <a:gd name="connsiteY4" fmla="*/ 7939 h 10000"/>
                  <a:gd name="connsiteX5" fmla="*/ 290 w 10000"/>
                  <a:gd name="connsiteY5" fmla="*/ 7492 h 10000"/>
                  <a:gd name="connsiteX6" fmla="*/ 73 w 10000"/>
                  <a:gd name="connsiteY6" fmla="*/ 6996 h 10000"/>
                  <a:gd name="connsiteX7" fmla="*/ 0 w 10000"/>
                  <a:gd name="connsiteY7" fmla="*/ 6451 h 10000"/>
                  <a:gd name="connsiteX8" fmla="*/ 73 w 10000"/>
                  <a:gd name="connsiteY8" fmla="*/ 5855 h 10000"/>
                  <a:gd name="connsiteX9" fmla="*/ 290 w 10000"/>
                  <a:gd name="connsiteY9" fmla="*/ 5210 h 10000"/>
                  <a:gd name="connsiteX10" fmla="*/ 869 w 10000"/>
                  <a:gd name="connsiteY10" fmla="*/ 4515 h 10000"/>
                  <a:gd name="connsiteX11" fmla="*/ 1594 w 10000"/>
                  <a:gd name="connsiteY11" fmla="*/ 3771 h 10000"/>
                  <a:gd name="connsiteX12" fmla="*/ 1594 w 10000"/>
                  <a:gd name="connsiteY12" fmla="*/ 3771 h 10000"/>
                  <a:gd name="connsiteX13" fmla="*/ 1956 w 10000"/>
                  <a:gd name="connsiteY13" fmla="*/ 3473 h 10000"/>
                  <a:gd name="connsiteX14" fmla="*/ 2608 w 10000"/>
                  <a:gd name="connsiteY14" fmla="*/ 2729 h 10000"/>
                  <a:gd name="connsiteX15" fmla="*/ 3043 w 10000"/>
                  <a:gd name="connsiteY15" fmla="*/ 2134 h 10000"/>
                  <a:gd name="connsiteX16" fmla="*/ 3332 w 10000"/>
                  <a:gd name="connsiteY16" fmla="*/ 1539 h 10000"/>
                  <a:gd name="connsiteX17" fmla="*/ 3550 w 10000"/>
                  <a:gd name="connsiteY17" fmla="*/ 794 h 10000"/>
                  <a:gd name="connsiteX18" fmla="*/ 3695 w 10000"/>
                  <a:gd name="connsiteY18" fmla="*/ 0 h 10000"/>
                  <a:gd name="connsiteX19" fmla="*/ 3695 w 10000"/>
                  <a:gd name="connsiteY19" fmla="*/ 0 h 10000"/>
                  <a:gd name="connsiteX20" fmla="*/ 4347 w 10000"/>
                  <a:gd name="connsiteY20" fmla="*/ 298 h 10000"/>
                  <a:gd name="connsiteX21" fmla="*/ 9998 w 10000"/>
                  <a:gd name="connsiteY21" fmla="*/ 5508 h 10000"/>
                  <a:gd name="connsiteX22" fmla="*/ 5028 w 10000"/>
                  <a:gd name="connsiteY22" fmla="*/ 10000 h 10000"/>
                  <a:gd name="connsiteX0" fmla="*/ 5028 w 10000"/>
                  <a:gd name="connsiteY0" fmla="*/ 10000 h 10000"/>
                  <a:gd name="connsiteX1" fmla="*/ 1956 w 10000"/>
                  <a:gd name="connsiteY1" fmla="*/ 9080 h 10000"/>
                  <a:gd name="connsiteX2" fmla="*/ 1087 w 10000"/>
                  <a:gd name="connsiteY2" fmla="*/ 8385 h 10000"/>
                  <a:gd name="connsiteX3" fmla="*/ 652 w 10000"/>
                  <a:gd name="connsiteY3" fmla="*/ 7939 h 10000"/>
                  <a:gd name="connsiteX4" fmla="*/ 290 w 10000"/>
                  <a:gd name="connsiteY4" fmla="*/ 7492 h 10000"/>
                  <a:gd name="connsiteX5" fmla="*/ 73 w 10000"/>
                  <a:gd name="connsiteY5" fmla="*/ 6996 h 10000"/>
                  <a:gd name="connsiteX6" fmla="*/ 0 w 10000"/>
                  <a:gd name="connsiteY6" fmla="*/ 6451 h 10000"/>
                  <a:gd name="connsiteX7" fmla="*/ 73 w 10000"/>
                  <a:gd name="connsiteY7" fmla="*/ 5855 h 10000"/>
                  <a:gd name="connsiteX8" fmla="*/ 290 w 10000"/>
                  <a:gd name="connsiteY8" fmla="*/ 5210 h 10000"/>
                  <a:gd name="connsiteX9" fmla="*/ 869 w 10000"/>
                  <a:gd name="connsiteY9" fmla="*/ 4515 h 10000"/>
                  <a:gd name="connsiteX10" fmla="*/ 1594 w 10000"/>
                  <a:gd name="connsiteY10" fmla="*/ 3771 h 10000"/>
                  <a:gd name="connsiteX11" fmla="*/ 1594 w 10000"/>
                  <a:gd name="connsiteY11" fmla="*/ 3771 h 10000"/>
                  <a:gd name="connsiteX12" fmla="*/ 1956 w 10000"/>
                  <a:gd name="connsiteY12" fmla="*/ 3473 h 10000"/>
                  <a:gd name="connsiteX13" fmla="*/ 2608 w 10000"/>
                  <a:gd name="connsiteY13" fmla="*/ 2729 h 10000"/>
                  <a:gd name="connsiteX14" fmla="*/ 3043 w 10000"/>
                  <a:gd name="connsiteY14" fmla="*/ 2134 h 10000"/>
                  <a:gd name="connsiteX15" fmla="*/ 3332 w 10000"/>
                  <a:gd name="connsiteY15" fmla="*/ 1539 h 10000"/>
                  <a:gd name="connsiteX16" fmla="*/ 3550 w 10000"/>
                  <a:gd name="connsiteY16" fmla="*/ 794 h 10000"/>
                  <a:gd name="connsiteX17" fmla="*/ 3695 w 10000"/>
                  <a:gd name="connsiteY17" fmla="*/ 0 h 10000"/>
                  <a:gd name="connsiteX18" fmla="*/ 3695 w 10000"/>
                  <a:gd name="connsiteY18" fmla="*/ 0 h 10000"/>
                  <a:gd name="connsiteX19" fmla="*/ 4347 w 10000"/>
                  <a:gd name="connsiteY19" fmla="*/ 298 h 10000"/>
                  <a:gd name="connsiteX20" fmla="*/ 9998 w 10000"/>
                  <a:gd name="connsiteY20" fmla="*/ 5508 h 10000"/>
                  <a:gd name="connsiteX21" fmla="*/ 5028 w 10000"/>
                  <a:gd name="connsiteY21" fmla="*/ 10000 h 10000"/>
                  <a:gd name="connsiteX0" fmla="*/ 5028 w 10000"/>
                  <a:gd name="connsiteY0" fmla="*/ 10000 h 10000"/>
                  <a:gd name="connsiteX1" fmla="*/ 1087 w 10000"/>
                  <a:gd name="connsiteY1" fmla="*/ 8385 h 10000"/>
                  <a:gd name="connsiteX2" fmla="*/ 652 w 10000"/>
                  <a:gd name="connsiteY2" fmla="*/ 7939 h 10000"/>
                  <a:gd name="connsiteX3" fmla="*/ 290 w 10000"/>
                  <a:gd name="connsiteY3" fmla="*/ 7492 h 10000"/>
                  <a:gd name="connsiteX4" fmla="*/ 73 w 10000"/>
                  <a:gd name="connsiteY4" fmla="*/ 6996 h 10000"/>
                  <a:gd name="connsiteX5" fmla="*/ 0 w 10000"/>
                  <a:gd name="connsiteY5" fmla="*/ 6451 h 10000"/>
                  <a:gd name="connsiteX6" fmla="*/ 73 w 10000"/>
                  <a:gd name="connsiteY6" fmla="*/ 5855 h 10000"/>
                  <a:gd name="connsiteX7" fmla="*/ 290 w 10000"/>
                  <a:gd name="connsiteY7" fmla="*/ 5210 h 10000"/>
                  <a:gd name="connsiteX8" fmla="*/ 869 w 10000"/>
                  <a:gd name="connsiteY8" fmla="*/ 4515 h 10000"/>
                  <a:gd name="connsiteX9" fmla="*/ 1594 w 10000"/>
                  <a:gd name="connsiteY9" fmla="*/ 3771 h 10000"/>
                  <a:gd name="connsiteX10" fmla="*/ 1594 w 10000"/>
                  <a:gd name="connsiteY10" fmla="*/ 3771 h 10000"/>
                  <a:gd name="connsiteX11" fmla="*/ 1956 w 10000"/>
                  <a:gd name="connsiteY11" fmla="*/ 3473 h 10000"/>
                  <a:gd name="connsiteX12" fmla="*/ 2608 w 10000"/>
                  <a:gd name="connsiteY12" fmla="*/ 2729 h 10000"/>
                  <a:gd name="connsiteX13" fmla="*/ 3043 w 10000"/>
                  <a:gd name="connsiteY13" fmla="*/ 2134 h 10000"/>
                  <a:gd name="connsiteX14" fmla="*/ 3332 w 10000"/>
                  <a:gd name="connsiteY14" fmla="*/ 1539 h 10000"/>
                  <a:gd name="connsiteX15" fmla="*/ 3550 w 10000"/>
                  <a:gd name="connsiteY15" fmla="*/ 794 h 10000"/>
                  <a:gd name="connsiteX16" fmla="*/ 3695 w 10000"/>
                  <a:gd name="connsiteY16" fmla="*/ 0 h 10000"/>
                  <a:gd name="connsiteX17" fmla="*/ 3695 w 10000"/>
                  <a:gd name="connsiteY17" fmla="*/ 0 h 10000"/>
                  <a:gd name="connsiteX18" fmla="*/ 4347 w 10000"/>
                  <a:gd name="connsiteY18" fmla="*/ 298 h 10000"/>
                  <a:gd name="connsiteX19" fmla="*/ 9998 w 10000"/>
                  <a:gd name="connsiteY19" fmla="*/ 5508 h 10000"/>
                  <a:gd name="connsiteX20" fmla="*/ 5028 w 10000"/>
                  <a:gd name="connsiteY20" fmla="*/ 10000 h 10000"/>
                  <a:gd name="connsiteX0" fmla="*/ 5028 w 10000"/>
                  <a:gd name="connsiteY0" fmla="*/ 10000 h 10000"/>
                  <a:gd name="connsiteX1" fmla="*/ 652 w 10000"/>
                  <a:gd name="connsiteY1" fmla="*/ 7939 h 10000"/>
                  <a:gd name="connsiteX2" fmla="*/ 290 w 10000"/>
                  <a:gd name="connsiteY2" fmla="*/ 7492 h 10000"/>
                  <a:gd name="connsiteX3" fmla="*/ 73 w 10000"/>
                  <a:gd name="connsiteY3" fmla="*/ 6996 h 10000"/>
                  <a:gd name="connsiteX4" fmla="*/ 0 w 10000"/>
                  <a:gd name="connsiteY4" fmla="*/ 6451 h 10000"/>
                  <a:gd name="connsiteX5" fmla="*/ 73 w 10000"/>
                  <a:gd name="connsiteY5" fmla="*/ 5855 h 10000"/>
                  <a:gd name="connsiteX6" fmla="*/ 290 w 10000"/>
                  <a:gd name="connsiteY6" fmla="*/ 5210 h 10000"/>
                  <a:gd name="connsiteX7" fmla="*/ 869 w 10000"/>
                  <a:gd name="connsiteY7" fmla="*/ 4515 h 10000"/>
                  <a:gd name="connsiteX8" fmla="*/ 1594 w 10000"/>
                  <a:gd name="connsiteY8" fmla="*/ 3771 h 10000"/>
                  <a:gd name="connsiteX9" fmla="*/ 1594 w 10000"/>
                  <a:gd name="connsiteY9" fmla="*/ 3771 h 10000"/>
                  <a:gd name="connsiteX10" fmla="*/ 1956 w 10000"/>
                  <a:gd name="connsiteY10" fmla="*/ 3473 h 10000"/>
                  <a:gd name="connsiteX11" fmla="*/ 2608 w 10000"/>
                  <a:gd name="connsiteY11" fmla="*/ 2729 h 10000"/>
                  <a:gd name="connsiteX12" fmla="*/ 3043 w 10000"/>
                  <a:gd name="connsiteY12" fmla="*/ 2134 h 10000"/>
                  <a:gd name="connsiteX13" fmla="*/ 3332 w 10000"/>
                  <a:gd name="connsiteY13" fmla="*/ 1539 h 10000"/>
                  <a:gd name="connsiteX14" fmla="*/ 3550 w 10000"/>
                  <a:gd name="connsiteY14" fmla="*/ 794 h 10000"/>
                  <a:gd name="connsiteX15" fmla="*/ 3695 w 10000"/>
                  <a:gd name="connsiteY15" fmla="*/ 0 h 10000"/>
                  <a:gd name="connsiteX16" fmla="*/ 3695 w 10000"/>
                  <a:gd name="connsiteY16" fmla="*/ 0 h 10000"/>
                  <a:gd name="connsiteX17" fmla="*/ 4347 w 10000"/>
                  <a:gd name="connsiteY17" fmla="*/ 298 h 10000"/>
                  <a:gd name="connsiteX18" fmla="*/ 9998 w 10000"/>
                  <a:gd name="connsiteY18" fmla="*/ 5508 h 10000"/>
                  <a:gd name="connsiteX19" fmla="*/ 5028 w 10000"/>
                  <a:gd name="connsiteY19" fmla="*/ 10000 h 10000"/>
                  <a:gd name="connsiteX0" fmla="*/ 5028 w 10000"/>
                  <a:gd name="connsiteY0" fmla="*/ 10000 h 10000"/>
                  <a:gd name="connsiteX1" fmla="*/ 290 w 10000"/>
                  <a:gd name="connsiteY1" fmla="*/ 7492 h 10000"/>
                  <a:gd name="connsiteX2" fmla="*/ 73 w 10000"/>
                  <a:gd name="connsiteY2" fmla="*/ 6996 h 10000"/>
                  <a:gd name="connsiteX3" fmla="*/ 0 w 10000"/>
                  <a:gd name="connsiteY3" fmla="*/ 6451 h 10000"/>
                  <a:gd name="connsiteX4" fmla="*/ 73 w 10000"/>
                  <a:gd name="connsiteY4" fmla="*/ 5855 h 10000"/>
                  <a:gd name="connsiteX5" fmla="*/ 290 w 10000"/>
                  <a:gd name="connsiteY5" fmla="*/ 5210 h 10000"/>
                  <a:gd name="connsiteX6" fmla="*/ 869 w 10000"/>
                  <a:gd name="connsiteY6" fmla="*/ 4515 h 10000"/>
                  <a:gd name="connsiteX7" fmla="*/ 1594 w 10000"/>
                  <a:gd name="connsiteY7" fmla="*/ 3771 h 10000"/>
                  <a:gd name="connsiteX8" fmla="*/ 1594 w 10000"/>
                  <a:gd name="connsiteY8" fmla="*/ 3771 h 10000"/>
                  <a:gd name="connsiteX9" fmla="*/ 1956 w 10000"/>
                  <a:gd name="connsiteY9" fmla="*/ 3473 h 10000"/>
                  <a:gd name="connsiteX10" fmla="*/ 2608 w 10000"/>
                  <a:gd name="connsiteY10" fmla="*/ 2729 h 10000"/>
                  <a:gd name="connsiteX11" fmla="*/ 3043 w 10000"/>
                  <a:gd name="connsiteY11" fmla="*/ 2134 h 10000"/>
                  <a:gd name="connsiteX12" fmla="*/ 3332 w 10000"/>
                  <a:gd name="connsiteY12" fmla="*/ 1539 h 10000"/>
                  <a:gd name="connsiteX13" fmla="*/ 3550 w 10000"/>
                  <a:gd name="connsiteY13" fmla="*/ 794 h 10000"/>
                  <a:gd name="connsiteX14" fmla="*/ 3695 w 10000"/>
                  <a:gd name="connsiteY14" fmla="*/ 0 h 10000"/>
                  <a:gd name="connsiteX15" fmla="*/ 3695 w 10000"/>
                  <a:gd name="connsiteY15" fmla="*/ 0 h 10000"/>
                  <a:gd name="connsiteX16" fmla="*/ 4347 w 10000"/>
                  <a:gd name="connsiteY16" fmla="*/ 298 h 10000"/>
                  <a:gd name="connsiteX17" fmla="*/ 9998 w 10000"/>
                  <a:gd name="connsiteY17" fmla="*/ 5508 h 10000"/>
                  <a:gd name="connsiteX18" fmla="*/ 5028 w 10000"/>
                  <a:gd name="connsiteY18" fmla="*/ 10000 h 10000"/>
                  <a:gd name="connsiteX0" fmla="*/ 5028 w 10000"/>
                  <a:gd name="connsiteY0" fmla="*/ 10000 h 10000"/>
                  <a:gd name="connsiteX1" fmla="*/ 73 w 10000"/>
                  <a:gd name="connsiteY1" fmla="*/ 6996 h 10000"/>
                  <a:gd name="connsiteX2" fmla="*/ 0 w 10000"/>
                  <a:gd name="connsiteY2" fmla="*/ 6451 h 10000"/>
                  <a:gd name="connsiteX3" fmla="*/ 73 w 10000"/>
                  <a:gd name="connsiteY3" fmla="*/ 5855 h 10000"/>
                  <a:gd name="connsiteX4" fmla="*/ 290 w 10000"/>
                  <a:gd name="connsiteY4" fmla="*/ 5210 h 10000"/>
                  <a:gd name="connsiteX5" fmla="*/ 869 w 10000"/>
                  <a:gd name="connsiteY5" fmla="*/ 4515 h 10000"/>
                  <a:gd name="connsiteX6" fmla="*/ 1594 w 10000"/>
                  <a:gd name="connsiteY6" fmla="*/ 3771 h 10000"/>
                  <a:gd name="connsiteX7" fmla="*/ 1594 w 10000"/>
                  <a:gd name="connsiteY7" fmla="*/ 3771 h 10000"/>
                  <a:gd name="connsiteX8" fmla="*/ 1956 w 10000"/>
                  <a:gd name="connsiteY8" fmla="*/ 3473 h 10000"/>
                  <a:gd name="connsiteX9" fmla="*/ 2608 w 10000"/>
                  <a:gd name="connsiteY9" fmla="*/ 2729 h 10000"/>
                  <a:gd name="connsiteX10" fmla="*/ 3043 w 10000"/>
                  <a:gd name="connsiteY10" fmla="*/ 2134 h 10000"/>
                  <a:gd name="connsiteX11" fmla="*/ 3332 w 10000"/>
                  <a:gd name="connsiteY11" fmla="*/ 1539 h 10000"/>
                  <a:gd name="connsiteX12" fmla="*/ 3550 w 10000"/>
                  <a:gd name="connsiteY12" fmla="*/ 794 h 10000"/>
                  <a:gd name="connsiteX13" fmla="*/ 3695 w 10000"/>
                  <a:gd name="connsiteY13" fmla="*/ 0 h 10000"/>
                  <a:gd name="connsiteX14" fmla="*/ 3695 w 10000"/>
                  <a:gd name="connsiteY14" fmla="*/ 0 h 10000"/>
                  <a:gd name="connsiteX15" fmla="*/ 4347 w 10000"/>
                  <a:gd name="connsiteY15" fmla="*/ 298 h 10000"/>
                  <a:gd name="connsiteX16" fmla="*/ 9998 w 10000"/>
                  <a:gd name="connsiteY16" fmla="*/ 5508 h 10000"/>
                  <a:gd name="connsiteX17" fmla="*/ 5028 w 10000"/>
                  <a:gd name="connsiteY17" fmla="*/ 10000 h 10000"/>
                  <a:gd name="connsiteX0" fmla="*/ 5028 w 10000"/>
                  <a:gd name="connsiteY0" fmla="*/ 10000 h 10000"/>
                  <a:gd name="connsiteX1" fmla="*/ 0 w 10000"/>
                  <a:gd name="connsiteY1" fmla="*/ 6451 h 10000"/>
                  <a:gd name="connsiteX2" fmla="*/ 73 w 10000"/>
                  <a:gd name="connsiteY2" fmla="*/ 5855 h 10000"/>
                  <a:gd name="connsiteX3" fmla="*/ 290 w 10000"/>
                  <a:gd name="connsiteY3" fmla="*/ 5210 h 10000"/>
                  <a:gd name="connsiteX4" fmla="*/ 869 w 10000"/>
                  <a:gd name="connsiteY4" fmla="*/ 4515 h 10000"/>
                  <a:gd name="connsiteX5" fmla="*/ 1594 w 10000"/>
                  <a:gd name="connsiteY5" fmla="*/ 3771 h 10000"/>
                  <a:gd name="connsiteX6" fmla="*/ 1594 w 10000"/>
                  <a:gd name="connsiteY6" fmla="*/ 3771 h 10000"/>
                  <a:gd name="connsiteX7" fmla="*/ 1956 w 10000"/>
                  <a:gd name="connsiteY7" fmla="*/ 3473 h 10000"/>
                  <a:gd name="connsiteX8" fmla="*/ 2608 w 10000"/>
                  <a:gd name="connsiteY8" fmla="*/ 2729 h 10000"/>
                  <a:gd name="connsiteX9" fmla="*/ 3043 w 10000"/>
                  <a:gd name="connsiteY9" fmla="*/ 2134 h 10000"/>
                  <a:gd name="connsiteX10" fmla="*/ 3332 w 10000"/>
                  <a:gd name="connsiteY10" fmla="*/ 1539 h 10000"/>
                  <a:gd name="connsiteX11" fmla="*/ 3550 w 10000"/>
                  <a:gd name="connsiteY11" fmla="*/ 794 h 10000"/>
                  <a:gd name="connsiteX12" fmla="*/ 3695 w 10000"/>
                  <a:gd name="connsiteY12" fmla="*/ 0 h 10000"/>
                  <a:gd name="connsiteX13" fmla="*/ 3695 w 10000"/>
                  <a:gd name="connsiteY13" fmla="*/ 0 h 10000"/>
                  <a:gd name="connsiteX14" fmla="*/ 4347 w 10000"/>
                  <a:gd name="connsiteY14" fmla="*/ 298 h 10000"/>
                  <a:gd name="connsiteX15" fmla="*/ 9998 w 10000"/>
                  <a:gd name="connsiteY15" fmla="*/ 5508 h 10000"/>
                  <a:gd name="connsiteX16" fmla="*/ 5028 w 10000"/>
                  <a:gd name="connsiteY16" fmla="*/ 10000 h 10000"/>
                  <a:gd name="connsiteX0" fmla="*/ 4955 w 9927"/>
                  <a:gd name="connsiteY0" fmla="*/ 10000 h 10000"/>
                  <a:gd name="connsiteX1" fmla="*/ 0 w 9927"/>
                  <a:gd name="connsiteY1" fmla="*/ 5855 h 10000"/>
                  <a:gd name="connsiteX2" fmla="*/ 217 w 9927"/>
                  <a:gd name="connsiteY2" fmla="*/ 5210 h 10000"/>
                  <a:gd name="connsiteX3" fmla="*/ 796 w 9927"/>
                  <a:gd name="connsiteY3" fmla="*/ 4515 h 10000"/>
                  <a:gd name="connsiteX4" fmla="*/ 1521 w 9927"/>
                  <a:gd name="connsiteY4" fmla="*/ 3771 h 10000"/>
                  <a:gd name="connsiteX5" fmla="*/ 1521 w 9927"/>
                  <a:gd name="connsiteY5" fmla="*/ 3771 h 10000"/>
                  <a:gd name="connsiteX6" fmla="*/ 1883 w 9927"/>
                  <a:gd name="connsiteY6" fmla="*/ 3473 h 10000"/>
                  <a:gd name="connsiteX7" fmla="*/ 2535 w 9927"/>
                  <a:gd name="connsiteY7" fmla="*/ 2729 h 10000"/>
                  <a:gd name="connsiteX8" fmla="*/ 2970 w 9927"/>
                  <a:gd name="connsiteY8" fmla="*/ 2134 h 10000"/>
                  <a:gd name="connsiteX9" fmla="*/ 3259 w 9927"/>
                  <a:gd name="connsiteY9" fmla="*/ 1539 h 10000"/>
                  <a:gd name="connsiteX10" fmla="*/ 3477 w 9927"/>
                  <a:gd name="connsiteY10" fmla="*/ 794 h 10000"/>
                  <a:gd name="connsiteX11" fmla="*/ 3622 w 9927"/>
                  <a:gd name="connsiteY11" fmla="*/ 0 h 10000"/>
                  <a:gd name="connsiteX12" fmla="*/ 3622 w 9927"/>
                  <a:gd name="connsiteY12" fmla="*/ 0 h 10000"/>
                  <a:gd name="connsiteX13" fmla="*/ 4274 w 9927"/>
                  <a:gd name="connsiteY13" fmla="*/ 298 h 10000"/>
                  <a:gd name="connsiteX14" fmla="*/ 9925 w 9927"/>
                  <a:gd name="connsiteY14" fmla="*/ 5508 h 10000"/>
                  <a:gd name="connsiteX15" fmla="*/ 4955 w 9927"/>
                  <a:gd name="connsiteY15" fmla="*/ 10000 h 10000"/>
                  <a:gd name="connsiteX0" fmla="*/ 4991 w 10000"/>
                  <a:gd name="connsiteY0" fmla="*/ 10000 h 10000"/>
                  <a:gd name="connsiteX1" fmla="*/ 0 w 10000"/>
                  <a:gd name="connsiteY1" fmla="*/ 5855 h 10000"/>
                  <a:gd name="connsiteX2" fmla="*/ 802 w 10000"/>
                  <a:gd name="connsiteY2" fmla="*/ 4515 h 10000"/>
                  <a:gd name="connsiteX3" fmla="*/ 1532 w 10000"/>
                  <a:gd name="connsiteY3" fmla="*/ 3771 h 10000"/>
                  <a:gd name="connsiteX4" fmla="*/ 1532 w 10000"/>
                  <a:gd name="connsiteY4" fmla="*/ 3771 h 10000"/>
                  <a:gd name="connsiteX5" fmla="*/ 1897 w 10000"/>
                  <a:gd name="connsiteY5" fmla="*/ 3473 h 10000"/>
                  <a:gd name="connsiteX6" fmla="*/ 2554 w 10000"/>
                  <a:gd name="connsiteY6" fmla="*/ 2729 h 10000"/>
                  <a:gd name="connsiteX7" fmla="*/ 2992 w 10000"/>
                  <a:gd name="connsiteY7" fmla="*/ 2134 h 10000"/>
                  <a:gd name="connsiteX8" fmla="*/ 3283 w 10000"/>
                  <a:gd name="connsiteY8" fmla="*/ 1539 h 10000"/>
                  <a:gd name="connsiteX9" fmla="*/ 3503 w 10000"/>
                  <a:gd name="connsiteY9" fmla="*/ 794 h 10000"/>
                  <a:gd name="connsiteX10" fmla="*/ 3649 w 10000"/>
                  <a:gd name="connsiteY10" fmla="*/ 0 h 10000"/>
                  <a:gd name="connsiteX11" fmla="*/ 3649 w 10000"/>
                  <a:gd name="connsiteY11" fmla="*/ 0 h 10000"/>
                  <a:gd name="connsiteX12" fmla="*/ 4305 w 10000"/>
                  <a:gd name="connsiteY12" fmla="*/ 298 h 10000"/>
                  <a:gd name="connsiteX13" fmla="*/ 9998 w 10000"/>
                  <a:gd name="connsiteY13" fmla="*/ 5508 h 10000"/>
                  <a:gd name="connsiteX14" fmla="*/ 4991 w 10000"/>
                  <a:gd name="connsiteY14" fmla="*/ 10000 h 10000"/>
                  <a:gd name="connsiteX0" fmla="*/ 4991 w 10000"/>
                  <a:gd name="connsiteY0" fmla="*/ 10000 h 10000"/>
                  <a:gd name="connsiteX1" fmla="*/ 0 w 10000"/>
                  <a:gd name="connsiteY1" fmla="*/ 5855 h 10000"/>
                  <a:gd name="connsiteX2" fmla="*/ 1532 w 10000"/>
                  <a:gd name="connsiteY2" fmla="*/ 3771 h 10000"/>
                  <a:gd name="connsiteX3" fmla="*/ 1532 w 10000"/>
                  <a:gd name="connsiteY3" fmla="*/ 3771 h 10000"/>
                  <a:gd name="connsiteX4" fmla="*/ 1897 w 10000"/>
                  <a:gd name="connsiteY4" fmla="*/ 3473 h 10000"/>
                  <a:gd name="connsiteX5" fmla="*/ 2554 w 10000"/>
                  <a:gd name="connsiteY5" fmla="*/ 2729 h 10000"/>
                  <a:gd name="connsiteX6" fmla="*/ 2992 w 10000"/>
                  <a:gd name="connsiteY6" fmla="*/ 2134 h 10000"/>
                  <a:gd name="connsiteX7" fmla="*/ 3283 w 10000"/>
                  <a:gd name="connsiteY7" fmla="*/ 1539 h 10000"/>
                  <a:gd name="connsiteX8" fmla="*/ 3503 w 10000"/>
                  <a:gd name="connsiteY8" fmla="*/ 794 h 10000"/>
                  <a:gd name="connsiteX9" fmla="*/ 3649 w 10000"/>
                  <a:gd name="connsiteY9" fmla="*/ 0 h 10000"/>
                  <a:gd name="connsiteX10" fmla="*/ 3649 w 10000"/>
                  <a:gd name="connsiteY10" fmla="*/ 0 h 10000"/>
                  <a:gd name="connsiteX11" fmla="*/ 4305 w 10000"/>
                  <a:gd name="connsiteY11" fmla="*/ 298 h 10000"/>
                  <a:gd name="connsiteX12" fmla="*/ 9998 w 10000"/>
                  <a:gd name="connsiteY12" fmla="*/ 5508 h 10000"/>
                  <a:gd name="connsiteX13" fmla="*/ 4991 w 10000"/>
                  <a:gd name="connsiteY13" fmla="*/ 10000 h 10000"/>
                  <a:gd name="connsiteX0" fmla="*/ 4991 w 10000"/>
                  <a:gd name="connsiteY0" fmla="*/ 10000 h 10000"/>
                  <a:gd name="connsiteX1" fmla="*/ 0 w 10000"/>
                  <a:gd name="connsiteY1" fmla="*/ 5855 h 10000"/>
                  <a:gd name="connsiteX2" fmla="*/ 1532 w 10000"/>
                  <a:gd name="connsiteY2" fmla="*/ 3771 h 10000"/>
                  <a:gd name="connsiteX3" fmla="*/ 1897 w 10000"/>
                  <a:gd name="connsiteY3" fmla="*/ 3473 h 10000"/>
                  <a:gd name="connsiteX4" fmla="*/ 2554 w 10000"/>
                  <a:gd name="connsiteY4" fmla="*/ 2729 h 10000"/>
                  <a:gd name="connsiteX5" fmla="*/ 2992 w 10000"/>
                  <a:gd name="connsiteY5" fmla="*/ 2134 h 10000"/>
                  <a:gd name="connsiteX6" fmla="*/ 3283 w 10000"/>
                  <a:gd name="connsiteY6" fmla="*/ 1539 h 10000"/>
                  <a:gd name="connsiteX7" fmla="*/ 3503 w 10000"/>
                  <a:gd name="connsiteY7" fmla="*/ 794 h 10000"/>
                  <a:gd name="connsiteX8" fmla="*/ 3649 w 10000"/>
                  <a:gd name="connsiteY8" fmla="*/ 0 h 10000"/>
                  <a:gd name="connsiteX9" fmla="*/ 3649 w 10000"/>
                  <a:gd name="connsiteY9" fmla="*/ 0 h 10000"/>
                  <a:gd name="connsiteX10" fmla="*/ 4305 w 10000"/>
                  <a:gd name="connsiteY10" fmla="*/ 298 h 10000"/>
                  <a:gd name="connsiteX11" fmla="*/ 9998 w 10000"/>
                  <a:gd name="connsiteY11" fmla="*/ 5508 h 10000"/>
                  <a:gd name="connsiteX12" fmla="*/ 4991 w 10000"/>
                  <a:gd name="connsiteY12" fmla="*/ 10000 h 10000"/>
                  <a:gd name="connsiteX0" fmla="*/ 4991 w 10000"/>
                  <a:gd name="connsiteY0" fmla="*/ 10000 h 10000"/>
                  <a:gd name="connsiteX1" fmla="*/ 0 w 10000"/>
                  <a:gd name="connsiteY1" fmla="*/ 5855 h 10000"/>
                  <a:gd name="connsiteX2" fmla="*/ 1532 w 10000"/>
                  <a:gd name="connsiteY2" fmla="*/ 3771 h 10000"/>
                  <a:gd name="connsiteX3" fmla="*/ 2554 w 10000"/>
                  <a:gd name="connsiteY3" fmla="*/ 2729 h 10000"/>
                  <a:gd name="connsiteX4" fmla="*/ 2992 w 10000"/>
                  <a:gd name="connsiteY4" fmla="*/ 2134 h 10000"/>
                  <a:gd name="connsiteX5" fmla="*/ 3283 w 10000"/>
                  <a:gd name="connsiteY5" fmla="*/ 1539 h 10000"/>
                  <a:gd name="connsiteX6" fmla="*/ 3503 w 10000"/>
                  <a:gd name="connsiteY6" fmla="*/ 794 h 10000"/>
                  <a:gd name="connsiteX7" fmla="*/ 3649 w 10000"/>
                  <a:gd name="connsiteY7" fmla="*/ 0 h 10000"/>
                  <a:gd name="connsiteX8" fmla="*/ 3649 w 10000"/>
                  <a:gd name="connsiteY8" fmla="*/ 0 h 10000"/>
                  <a:gd name="connsiteX9" fmla="*/ 4305 w 10000"/>
                  <a:gd name="connsiteY9" fmla="*/ 298 h 10000"/>
                  <a:gd name="connsiteX10" fmla="*/ 9998 w 10000"/>
                  <a:gd name="connsiteY10" fmla="*/ 5508 h 10000"/>
                  <a:gd name="connsiteX11" fmla="*/ 4991 w 10000"/>
                  <a:gd name="connsiteY11" fmla="*/ 10000 h 10000"/>
                  <a:gd name="connsiteX0" fmla="*/ 4991 w 10000"/>
                  <a:gd name="connsiteY0" fmla="*/ 10000 h 10000"/>
                  <a:gd name="connsiteX1" fmla="*/ 0 w 10000"/>
                  <a:gd name="connsiteY1" fmla="*/ 5855 h 10000"/>
                  <a:gd name="connsiteX2" fmla="*/ 2554 w 10000"/>
                  <a:gd name="connsiteY2" fmla="*/ 2729 h 10000"/>
                  <a:gd name="connsiteX3" fmla="*/ 2992 w 10000"/>
                  <a:gd name="connsiteY3" fmla="*/ 2134 h 10000"/>
                  <a:gd name="connsiteX4" fmla="*/ 3283 w 10000"/>
                  <a:gd name="connsiteY4" fmla="*/ 1539 h 10000"/>
                  <a:gd name="connsiteX5" fmla="*/ 3503 w 10000"/>
                  <a:gd name="connsiteY5" fmla="*/ 794 h 10000"/>
                  <a:gd name="connsiteX6" fmla="*/ 3649 w 10000"/>
                  <a:gd name="connsiteY6" fmla="*/ 0 h 10000"/>
                  <a:gd name="connsiteX7" fmla="*/ 3649 w 10000"/>
                  <a:gd name="connsiteY7" fmla="*/ 0 h 10000"/>
                  <a:gd name="connsiteX8" fmla="*/ 4305 w 10000"/>
                  <a:gd name="connsiteY8" fmla="*/ 298 h 10000"/>
                  <a:gd name="connsiteX9" fmla="*/ 9998 w 10000"/>
                  <a:gd name="connsiteY9" fmla="*/ 5508 h 10000"/>
                  <a:gd name="connsiteX10" fmla="*/ 4991 w 10000"/>
                  <a:gd name="connsiteY10" fmla="*/ 10000 h 10000"/>
                  <a:gd name="connsiteX0" fmla="*/ 4991 w 10000"/>
                  <a:gd name="connsiteY0" fmla="*/ 10000 h 10000"/>
                  <a:gd name="connsiteX1" fmla="*/ 0 w 10000"/>
                  <a:gd name="connsiteY1" fmla="*/ 5855 h 10000"/>
                  <a:gd name="connsiteX2" fmla="*/ 2992 w 10000"/>
                  <a:gd name="connsiteY2" fmla="*/ 2134 h 10000"/>
                  <a:gd name="connsiteX3" fmla="*/ 3283 w 10000"/>
                  <a:gd name="connsiteY3" fmla="*/ 1539 h 10000"/>
                  <a:gd name="connsiteX4" fmla="*/ 3503 w 10000"/>
                  <a:gd name="connsiteY4" fmla="*/ 794 h 10000"/>
                  <a:gd name="connsiteX5" fmla="*/ 3649 w 10000"/>
                  <a:gd name="connsiteY5" fmla="*/ 0 h 10000"/>
                  <a:gd name="connsiteX6" fmla="*/ 3649 w 10000"/>
                  <a:gd name="connsiteY6" fmla="*/ 0 h 10000"/>
                  <a:gd name="connsiteX7" fmla="*/ 4305 w 10000"/>
                  <a:gd name="connsiteY7" fmla="*/ 298 h 10000"/>
                  <a:gd name="connsiteX8" fmla="*/ 9998 w 10000"/>
                  <a:gd name="connsiteY8" fmla="*/ 5508 h 10000"/>
                  <a:gd name="connsiteX9" fmla="*/ 4991 w 10000"/>
                  <a:gd name="connsiteY9" fmla="*/ 10000 h 10000"/>
                  <a:gd name="connsiteX0" fmla="*/ 4991 w 10000"/>
                  <a:gd name="connsiteY0" fmla="*/ 10000 h 10000"/>
                  <a:gd name="connsiteX1" fmla="*/ 0 w 10000"/>
                  <a:gd name="connsiteY1" fmla="*/ 5855 h 10000"/>
                  <a:gd name="connsiteX2" fmla="*/ 3283 w 10000"/>
                  <a:gd name="connsiteY2" fmla="*/ 1539 h 10000"/>
                  <a:gd name="connsiteX3" fmla="*/ 3503 w 10000"/>
                  <a:gd name="connsiteY3" fmla="*/ 794 h 10000"/>
                  <a:gd name="connsiteX4" fmla="*/ 3649 w 10000"/>
                  <a:gd name="connsiteY4" fmla="*/ 0 h 10000"/>
                  <a:gd name="connsiteX5" fmla="*/ 3649 w 10000"/>
                  <a:gd name="connsiteY5" fmla="*/ 0 h 10000"/>
                  <a:gd name="connsiteX6" fmla="*/ 4305 w 10000"/>
                  <a:gd name="connsiteY6" fmla="*/ 298 h 10000"/>
                  <a:gd name="connsiteX7" fmla="*/ 9998 w 10000"/>
                  <a:gd name="connsiteY7" fmla="*/ 5508 h 10000"/>
                  <a:gd name="connsiteX8" fmla="*/ 4991 w 10000"/>
                  <a:gd name="connsiteY8" fmla="*/ 10000 h 10000"/>
                  <a:gd name="connsiteX0" fmla="*/ 4991 w 10000"/>
                  <a:gd name="connsiteY0" fmla="*/ 10000 h 10000"/>
                  <a:gd name="connsiteX1" fmla="*/ 0 w 10000"/>
                  <a:gd name="connsiteY1" fmla="*/ 5855 h 10000"/>
                  <a:gd name="connsiteX2" fmla="*/ 3503 w 10000"/>
                  <a:gd name="connsiteY2" fmla="*/ 794 h 10000"/>
                  <a:gd name="connsiteX3" fmla="*/ 3649 w 10000"/>
                  <a:gd name="connsiteY3" fmla="*/ 0 h 10000"/>
                  <a:gd name="connsiteX4" fmla="*/ 3649 w 10000"/>
                  <a:gd name="connsiteY4" fmla="*/ 0 h 10000"/>
                  <a:gd name="connsiteX5" fmla="*/ 4305 w 10000"/>
                  <a:gd name="connsiteY5" fmla="*/ 298 h 10000"/>
                  <a:gd name="connsiteX6" fmla="*/ 9998 w 10000"/>
                  <a:gd name="connsiteY6" fmla="*/ 5508 h 10000"/>
                  <a:gd name="connsiteX7" fmla="*/ 4991 w 10000"/>
                  <a:gd name="connsiteY7"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4305 w 10000"/>
                  <a:gd name="connsiteY4" fmla="*/ 298 h 10000"/>
                  <a:gd name="connsiteX5" fmla="*/ 9998 w 10000"/>
                  <a:gd name="connsiteY5" fmla="*/ 5508 h 10000"/>
                  <a:gd name="connsiteX6" fmla="*/ 4991 w 10000"/>
                  <a:gd name="connsiteY6"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9998 w 10000"/>
                  <a:gd name="connsiteY4" fmla="*/ 5508 h 10000"/>
                  <a:gd name="connsiteX5" fmla="*/ 4991 w 10000"/>
                  <a:gd name="connsiteY5" fmla="*/ 10000 h 10000"/>
                  <a:gd name="connsiteX0" fmla="*/ 4991 w 10004"/>
                  <a:gd name="connsiteY0" fmla="*/ 10000 h 10000"/>
                  <a:gd name="connsiteX1" fmla="*/ 0 w 10004"/>
                  <a:gd name="connsiteY1" fmla="*/ 5855 h 10000"/>
                  <a:gd name="connsiteX2" fmla="*/ 3649 w 10004"/>
                  <a:gd name="connsiteY2" fmla="*/ 0 h 10000"/>
                  <a:gd name="connsiteX3" fmla="*/ 3649 w 10004"/>
                  <a:gd name="connsiteY3" fmla="*/ 0 h 10000"/>
                  <a:gd name="connsiteX4" fmla="*/ 9998 w 10004"/>
                  <a:gd name="connsiteY4" fmla="*/ 5508 h 10000"/>
                  <a:gd name="connsiteX5" fmla="*/ 4991 w 10004"/>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77 w 10090"/>
                  <a:gd name="connsiteY0" fmla="*/ 10000 h 10000"/>
                  <a:gd name="connsiteX1" fmla="*/ 86 w 10090"/>
                  <a:gd name="connsiteY1" fmla="*/ 5855 h 10000"/>
                  <a:gd name="connsiteX2" fmla="*/ 3735 w 10090"/>
                  <a:gd name="connsiteY2" fmla="*/ 0 h 10000"/>
                  <a:gd name="connsiteX3" fmla="*/ 3735 w 10090"/>
                  <a:gd name="connsiteY3" fmla="*/ 0 h 10000"/>
                  <a:gd name="connsiteX4" fmla="*/ 10084 w 10090"/>
                  <a:gd name="connsiteY4" fmla="*/ 5508 h 10000"/>
                  <a:gd name="connsiteX5" fmla="*/ 5077 w 10090"/>
                  <a:gd name="connsiteY5" fmla="*/ 10000 h 10000"/>
                  <a:gd name="connsiteX0" fmla="*/ 5060 w 10073"/>
                  <a:gd name="connsiteY0" fmla="*/ 10000 h 10000"/>
                  <a:gd name="connsiteX1" fmla="*/ 69 w 10073"/>
                  <a:gd name="connsiteY1" fmla="*/ 5855 h 10000"/>
                  <a:gd name="connsiteX2" fmla="*/ 3718 w 10073"/>
                  <a:gd name="connsiteY2" fmla="*/ 0 h 10000"/>
                  <a:gd name="connsiteX3" fmla="*/ 3718 w 10073"/>
                  <a:gd name="connsiteY3" fmla="*/ 0 h 10000"/>
                  <a:gd name="connsiteX4" fmla="*/ 10067 w 10073"/>
                  <a:gd name="connsiteY4" fmla="*/ 5508 h 10000"/>
                  <a:gd name="connsiteX5" fmla="*/ 5060 w 10073"/>
                  <a:gd name="connsiteY5" fmla="*/ 10000 h 10000"/>
                  <a:gd name="connsiteX0" fmla="*/ 4956 w 9965"/>
                  <a:gd name="connsiteY0" fmla="*/ 10000 h 10000"/>
                  <a:gd name="connsiteX1" fmla="*/ 36 w 9965"/>
                  <a:gd name="connsiteY1" fmla="*/ 5565 h 10000"/>
                  <a:gd name="connsiteX2" fmla="*/ 3614 w 9965"/>
                  <a:gd name="connsiteY2" fmla="*/ 0 h 10000"/>
                  <a:gd name="connsiteX3" fmla="*/ 3614 w 9965"/>
                  <a:gd name="connsiteY3" fmla="*/ 0 h 10000"/>
                  <a:gd name="connsiteX4" fmla="*/ 9963 w 9965"/>
                  <a:gd name="connsiteY4" fmla="*/ 5508 h 10000"/>
                  <a:gd name="connsiteX5" fmla="*/ 4956 w 9965"/>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37"/>
                  <a:gd name="connsiteY0" fmla="*/ 10000 h 10001"/>
                  <a:gd name="connsiteX1" fmla="*/ 171 w 10137"/>
                  <a:gd name="connsiteY1" fmla="*/ 5565 h 10001"/>
                  <a:gd name="connsiteX2" fmla="*/ 3762 w 10137"/>
                  <a:gd name="connsiteY2" fmla="*/ 0 h 10001"/>
                  <a:gd name="connsiteX3" fmla="*/ 4332 w 10137"/>
                  <a:gd name="connsiteY3" fmla="*/ 580 h 10001"/>
                  <a:gd name="connsiteX4" fmla="*/ 10133 w 10137"/>
                  <a:gd name="connsiteY4" fmla="*/ 5508 h 10001"/>
                  <a:gd name="connsiteX5" fmla="*/ 5108 w 10137"/>
                  <a:gd name="connsiteY5" fmla="*/ 10000 h 10001"/>
                  <a:gd name="connsiteX0" fmla="*/ 5108 w 10151"/>
                  <a:gd name="connsiteY0" fmla="*/ 10145 h 10146"/>
                  <a:gd name="connsiteX1" fmla="*/ 171 w 10151"/>
                  <a:gd name="connsiteY1" fmla="*/ 5710 h 10146"/>
                  <a:gd name="connsiteX2" fmla="*/ 3762 w 10151"/>
                  <a:gd name="connsiteY2" fmla="*/ 145 h 10146"/>
                  <a:gd name="connsiteX3" fmla="*/ 6685 w 10151"/>
                  <a:gd name="connsiteY3" fmla="*/ 0 h 10146"/>
                  <a:gd name="connsiteX4" fmla="*/ 10133 w 10151"/>
                  <a:gd name="connsiteY4" fmla="*/ 5653 h 10146"/>
                  <a:gd name="connsiteX5" fmla="*/ 5108 w 10151"/>
                  <a:gd name="connsiteY5" fmla="*/ 10145 h 10146"/>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46"/>
                  <a:gd name="connsiteY0" fmla="*/ 10000 h 10001"/>
                  <a:gd name="connsiteX1" fmla="*/ 171 w 10146"/>
                  <a:gd name="connsiteY1" fmla="*/ 5565 h 10001"/>
                  <a:gd name="connsiteX2" fmla="*/ 3762 w 10146"/>
                  <a:gd name="connsiteY2" fmla="*/ 0 h 10001"/>
                  <a:gd name="connsiteX3" fmla="*/ 10133 w 10146"/>
                  <a:gd name="connsiteY3" fmla="*/ 5508 h 10001"/>
                  <a:gd name="connsiteX4" fmla="*/ 5108 w 10146"/>
                  <a:gd name="connsiteY4" fmla="*/ 10000 h 10001"/>
                  <a:gd name="connsiteX0" fmla="*/ 5108 w 10135"/>
                  <a:gd name="connsiteY0" fmla="*/ 10000 h 10001"/>
                  <a:gd name="connsiteX1" fmla="*/ 171 w 10135"/>
                  <a:gd name="connsiteY1" fmla="*/ 5565 h 10001"/>
                  <a:gd name="connsiteX2" fmla="*/ 3762 w 10135"/>
                  <a:gd name="connsiteY2" fmla="*/ 0 h 10001"/>
                  <a:gd name="connsiteX3" fmla="*/ 10133 w 10135"/>
                  <a:gd name="connsiteY3" fmla="*/ 5508 h 10001"/>
                  <a:gd name="connsiteX4" fmla="*/ 5108 w 10135"/>
                  <a:gd name="connsiteY4" fmla="*/ 10000 h 10001"/>
                  <a:gd name="connsiteX0" fmla="*/ 5108 w 10139"/>
                  <a:gd name="connsiteY0" fmla="*/ 10000 h 10001"/>
                  <a:gd name="connsiteX1" fmla="*/ 171 w 10139"/>
                  <a:gd name="connsiteY1" fmla="*/ 5565 h 10001"/>
                  <a:gd name="connsiteX2" fmla="*/ 3762 w 10139"/>
                  <a:gd name="connsiteY2" fmla="*/ 0 h 10001"/>
                  <a:gd name="connsiteX3" fmla="*/ 10133 w 10139"/>
                  <a:gd name="connsiteY3" fmla="*/ 5508 h 10001"/>
                  <a:gd name="connsiteX4" fmla="*/ 5108 w 10139"/>
                  <a:gd name="connsiteY4" fmla="*/ 10000 h 10001"/>
                  <a:gd name="connsiteX0" fmla="*/ 5108 w 10164"/>
                  <a:gd name="connsiteY0" fmla="*/ 10000 h 10001"/>
                  <a:gd name="connsiteX1" fmla="*/ 171 w 10164"/>
                  <a:gd name="connsiteY1" fmla="*/ 5565 h 10001"/>
                  <a:gd name="connsiteX2" fmla="*/ 3762 w 10164"/>
                  <a:gd name="connsiteY2" fmla="*/ 0 h 10001"/>
                  <a:gd name="connsiteX3" fmla="*/ 10133 w 10164"/>
                  <a:gd name="connsiteY3" fmla="*/ 5508 h 10001"/>
                  <a:gd name="connsiteX4" fmla="*/ 5108 w 10164"/>
                  <a:gd name="connsiteY4" fmla="*/ 10000 h 10001"/>
                  <a:gd name="connsiteX0" fmla="*/ 5088 w 10139"/>
                  <a:gd name="connsiteY0" fmla="*/ 10000 h 10000"/>
                  <a:gd name="connsiteX1" fmla="*/ 151 w 10139"/>
                  <a:gd name="connsiteY1" fmla="*/ 5565 h 10000"/>
                  <a:gd name="connsiteX2" fmla="*/ 3742 w 10139"/>
                  <a:gd name="connsiteY2" fmla="*/ 0 h 10000"/>
                  <a:gd name="connsiteX3" fmla="*/ 10113 w 10139"/>
                  <a:gd name="connsiteY3" fmla="*/ 5605 h 10000"/>
                  <a:gd name="connsiteX4" fmla="*/ 5088 w 10139"/>
                  <a:gd name="connsiteY4" fmla="*/ 10000 h 10000"/>
                  <a:gd name="connsiteX0" fmla="*/ 5088 w 10173"/>
                  <a:gd name="connsiteY0" fmla="*/ 10000 h 10000"/>
                  <a:gd name="connsiteX1" fmla="*/ 151 w 10173"/>
                  <a:gd name="connsiteY1" fmla="*/ 5565 h 10000"/>
                  <a:gd name="connsiteX2" fmla="*/ 3742 w 10173"/>
                  <a:gd name="connsiteY2" fmla="*/ 0 h 10000"/>
                  <a:gd name="connsiteX3" fmla="*/ 10113 w 10173"/>
                  <a:gd name="connsiteY3" fmla="*/ 5605 h 10000"/>
                  <a:gd name="connsiteX4" fmla="*/ 5088 w 10173"/>
                  <a:gd name="connsiteY4" fmla="*/ 10000 h 10000"/>
                  <a:gd name="connsiteX0" fmla="*/ 5108 w 10202"/>
                  <a:gd name="connsiteY0" fmla="*/ 10000 h 10000"/>
                  <a:gd name="connsiteX1" fmla="*/ 171 w 10202"/>
                  <a:gd name="connsiteY1" fmla="*/ 5565 h 10000"/>
                  <a:gd name="connsiteX2" fmla="*/ 3762 w 10202"/>
                  <a:gd name="connsiteY2" fmla="*/ 0 h 10000"/>
                  <a:gd name="connsiteX3" fmla="*/ 10133 w 10202"/>
                  <a:gd name="connsiteY3" fmla="*/ 5605 h 10000"/>
                  <a:gd name="connsiteX4" fmla="*/ 5108 w 10202"/>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2" h="10000">
                    <a:moveTo>
                      <a:pt x="5108" y="10000"/>
                    </a:moveTo>
                    <a:cubicBezTo>
                      <a:pt x="2806" y="10041"/>
                      <a:pt x="-834" y="8097"/>
                      <a:pt x="171" y="5565"/>
                    </a:cubicBezTo>
                    <a:cubicBezTo>
                      <a:pt x="1176" y="3033"/>
                      <a:pt x="4038" y="3160"/>
                      <a:pt x="3762" y="0"/>
                    </a:cubicBezTo>
                    <a:cubicBezTo>
                      <a:pt x="6670" y="1353"/>
                      <a:pt x="9540" y="2513"/>
                      <a:pt x="10133" y="5605"/>
                    </a:cubicBezTo>
                    <a:cubicBezTo>
                      <a:pt x="10726" y="8697"/>
                      <a:pt x="7410" y="9959"/>
                      <a:pt x="5108" y="1000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a:lnSpc>
                    <a:spcPct val="90000"/>
                  </a:lnSpc>
                </a:pPr>
                <a:endParaRPr lang="en-US" sz="1200"/>
              </a:p>
            </p:txBody>
          </p:sp>
          <p:sp>
            <p:nvSpPr>
              <p:cNvPr id="131" name="Freeform 514">
                <a:extLst>
                  <a:ext uri="{FF2B5EF4-FFF2-40B4-BE49-F238E27FC236}">
                    <a16:creationId xmlns:a16="http://schemas.microsoft.com/office/drawing/2014/main" id="{36D39D13-F18D-42F8-A370-1A299E77693E}"/>
                  </a:ext>
                </a:extLst>
              </p:cNvPr>
              <p:cNvSpPr>
                <a:spLocks/>
              </p:cNvSpPr>
              <p:nvPr/>
            </p:nvSpPr>
            <p:spPr bwMode="gray">
              <a:xfrm>
                <a:off x="4853850" y="3417463"/>
                <a:ext cx="102719" cy="148613"/>
              </a:xfrm>
              <a:custGeom>
                <a:avLst/>
                <a:gdLst>
                  <a:gd name="T0" fmla="*/ 57 w 139"/>
                  <a:gd name="T1" fmla="*/ 202 h 202"/>
                  <a:gd name="T2" fmla="*/ 57 w 139"/>
                  <a:gd name="T3" fmla="*/ 202 h 202"/>
                  <a:gd name="T4" fmla="*/ 51 w 139"/>
                  <a:gd name="T5" fmla="*/ 199 h 202"/>
                  <a:gd name="T6" fmla="*/ 40 w 139"/>
                  <a:gd name="T7" fmla="*/ 193 h 202"/>
                  <a:gd name="T8" fmla="*/ 27 w 139"/>
                  <a:gd name="T9" fmla="*/ 183 h 202"/>
                  <a:gd name="T10" fmla="*/ 21 w 139"/>
                  <a:gd name="T11" fmla="*/ 177 h 202"/>
                  <a:gd name="T12" fmla="*/ 15 w 139"/>
                  <a:gd name="T13" fmla="*/ 169 h 202"/>
                  <a:gd name="T14" fmla="*/ 9 w 139"/>
                  <a:gd name="T15" fmla="*/ 160 h 202"/>
                  <a:gd name="T16" fmla="*/ 4 w 139"/>
                  <a:gd name="T17" fmla="*/ 151 h 202"/>
                  <a:gd name="T18" fmla="*/ 1 w 139"/>
                  <a:gd name="T19" fmla="*/ 141 h 202"/>
                  <a:gd name="T20" fmla="*/ 0 w 139"/>
                  <a:gd name="T21" fmla="*/ 130 h 202"/>
                  <a:gd name="T22" fmla="*/ 1 w 139"/>
                  <a:gd name="T23" fmla="*/ 118 h 202"/>
                  <a:gd name="T24" fmla="*/ 4 w 139"/>
                  <a:gd name="T25" fmla="*/ 105 h 202"/>
                  <a:gd name="T26" fmla="*/ 12 w 139"/>
                  <a:gd name="T27" fmla="*/ 91 h 202"/>
                  <a:gd name="T28" fmla="*/ 22 w 139"/>
                  <a:gd name="T29" fmla="*/ 76 h 202"/>
                  <a:gd name="T30" fmla="*/ 22 w 139"/>
                  <a:gd name="T31" fmla="*/ 76 h 202"/>
                  <a:gd name="T32" fmla="*/ 27 w 139"/>
                  <a:gd name="T33" fmla="*/ 70 h 202"/>
                  <a:gd name="T34" fmla="*/ 36 w 139"/>
                  <a:gd name="T35" fmla="*/ 55 h 202"/>
                  <a:gd name="T36" fmla="*/ 42 w 139"/>
                  <a:gd name="T37" fmla="*/ 43 h 202"/>
                  <a:gd name="T38" fmla="*/ 46 w 139"/>
                  <a:gd name="T39" fmla="*/ 31 h 202"/>
                  <a:gd name="T40" fmla="*/ 49 w 139"/>
                  <a:gd name="T41" fmla="*/ 16 h 202"/>
                  <a:gd name="T42" fmla="*/ 51 w 139"/>
                  <a:gd name="T43" fmla="*/ 0 h 202"/>
                  <a:gd name="T44" fmla="*/ 51 w 139"/>
                  <a:gd name="T45" fmla="*/ 0 h 202"/>
                  <a:gd name="T46" fmla="*/ 60 w 139"/>
                  <a:gd name="T47" fmla="*/ 6 h 202"/>
                  <a:gd name="T48" fmla="*/ 81 w 139"/>
                  <a:gd name="T49" fmla="*/ 22 h 202"/>
                  <a:gd name="T50" fmla="*/ 93 w 139"/>
                  <a:gd name="T51" fmla="*/ 34 h 202"/>
                  <a:gd name="T52" fmla="*/ 106 w 139"/>
                  <a:gd name="T53" fmla="*/ 46 h 202"/>
                  <a:gd name="T54" fmla="*/ 117 w 139"/>
                  <a:gd name="T55" fmla="*/ 61 h 202"/>
                  <a:gd name="T56" fmla="*/ 127 w 139"/>
                  <a:gd name="T57" fmla="*/ 76 h 202"/>
                  <a:gd name="T58" fmla="*/ 127 w 139"/>
                  <a:gd name="T59" fmla="*/ 76 h 202"/>
                  <a:gd name="T60" fmla="*/ 135 w 139"/>
                  <a:gd name="T61" fmla="*/ 93 h 202"/>
                  <a:gd name="T62" fmla="*/ 138 w 139"/>
                  <a:gd name="T63" fmla="*/ 111 h 202"/>
                  <a:gd name="T64" fmla="*/ 139 w 139"/>
                  <a:gd name="T65" fmla="*/ 127 h 202"/>
                  <a:gd name="T66" fmla="*/ 136 w 139"/>
                  <a:gd name="T67" fmla="*/ 144 h 202"/>
                  <a:gd name="T68" fmla="*/ 133 w 139"/>
                  <a:gd name="T69" fmla="*/ 153 h 202"/>
                  <a:gd name="T70" fmla="*/ 129 w 139"/>
                  <a:gd name="T71" fmla="*/ 160 h 202"/>
                  <a:gd name="T72" fmla="*/ 124 w 139"/>
                  <a:gd name="T73" fmla="*/ 168 h 202"/>
                  <a:gd name="T74" fmla="*/ 118 w 139"/>
                  <a:gd name="T75" fmla="*/ 175 h 202"/>
                  <a:gd name="T76" fmla="*/ 112 w 139"/>
                  <a:gd name="T77" fmla="*/ 183 h 202"/>
                  <a:gd name="T78" fmla="*/ 105 w 139"/>
                  <a:gd name="T79" fmla="*/ 190 h 202"/>
                  <a:gd name="T80" fmla="*/ 96 w 139"/>
                  <a:gd name="T81" fmla="*/ 196 h 202"/>
                  <a:gd name="T82" fmla="*/ 87 w 139"/>
                  <a:gd name="T83" fmla="*/ 202 h 202"/>
                  <a:gd name="T84" fmla="*/ 57 w 139"/>
                  <a:gd name="T85" fmla="*/ 202 h 202"/>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8417 w 10000"/>
                  <a:gd name="connsiteY27" fmla="*/ 3020 h 10000"/>
                  <a:gd name="connsiteX28" fmla="*/ 9137 w 10000"/>
                  <a:gd name="connsiteY28" fmla="*/ 3762 h 10000"/>
                  <a:gd name="connsiteX29" fmla="*/ 9712 w 10000"/>
                  <a:gd name="connsiteY29" fmla="*/ 4604 h 10000"/>
                  <a:gd name="connsiteX30" fmla="*/ 9928 w 10000"/>
                  <a:gd name="connsiteY30" fmla="*/ 5495 h 10000"/>
                  <a:gd name="connsiteX31" fmla="*/ 10000 w 10000"/>
                  <a:gd name="connsiteY31" fmla="*/ 6287 h 10000"/>
                  <a:gd name="connsiteX32" fmla="*/ 9784 w 10000"/>
                  <a:gd name="connsiteY32" fmla="*/ 7129 h 10000"/>
                  <a:gd name="connsiteX33" fmla="*/ 9568 w 10000"/>
                  <a:gd name="connsiteY33" fmla="*/ 7574 h 10000"/>
                  <a:gd name="connsiteX34" fmla="*/ 9281 w 10000"/>
                  <a:gd name="connsiteY34" fmla="*/ 7921 h 10000"/>
                  <a:gd name="connsiteX35" fmla="*/ 8921 w 10000"/>
                  <a:gd name="connsiteY35" fmla="*/ 8317 h 10000"/>
                  <a:gd name="connsiteX36" fmla="*/ 8489 w 10000"/>
                  <a:gd name="connsiteY36" fmla="*/ 8663 h 10000"/>
                  <a:gd name="connsiteX37" fmla="*/ 8058 w 10000"/>
                  <a:gd name="connsiteY37" fmla="*/ 9059 h 10000"/>
                  <a:gd name="connsiteX38" fmla="*/ 7554 w 10000"/>
                  <a:gd name="connsiteY38" fmla="*/ 9406 h 10000"/>
                  <a:gd name="connsiteX39" fmla="*/ 6906 w 10000"/>
                  <a:gd name="connsiteY39" fmla="*/ 9703 h 10000"/>
                  <a:gd name="connsiteX40" fmla="*/ 6259 w 10000"/>
                  <a:gd name="connsiteY40" fmla="*/ 10000 h 10000"/>
                  <a:gd name="connsiteX41" fmla="*/ 4101 w 10000"/>
                  <a:gd name="connsiteY41"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9137 w 10000"/>
                  <a:gd name="connsiteY27" fmla="*/ 3762 h 10000"/>
                  <a:gd name="connsiteX28" fmla="*/ 9712 w 10000"/>
                  <a:gd name="connsiteY28" fmla="*/ 4604 h 10000"/>
                  <a:gd name="connsiteX29" fmla="*/ 9928 w 10000"/>
                  <a:gd name="connsiteY29" fmla="*/ 5495 h 10000"/>
                  <a:gd name="connsiteX30" fmla="*/ 10000 w 10000"/>
                  <a:gd name="connsiteY30" fmla="*/ 6287 h 10000"/>
                  <a:gd name="connsiteX31" fmla="*/ 9784 w 10000"/>
                  <a:gd name="connsiteY31" fmla="*/ 7129 h 10000"/>
                  <a:gd name="connsiteX32" fmla="*/ 9568 w 10000"/>
                  <a:gd name="connsiteY32" fmla="*/ 7574 h 10000"/>
                  <a:gd name="connsiteX33" fmla="*/ 9281 w 10000"/>
                  <a:gd name="connsiteY33" fmla="*/ 7921 h 10000"/>
                  <a:gd name="connsiteX34" fmla="*/ 8921 w 10000"/>
                  <a:gd name="connsiteY34" fmla="*/ 8317 h 10000"/>
                  <a:gd name="connsiteX35" fmla="*/ 8489 w 10000"/>
                  <a:gd name="connsiteY35" fmla="*/ 8663 h 10000"/>
                  <a:gd name="connsiteX36" fmla="*/ 8058 w 10000"/>
                  <a:gd name="connsiteY36" fmla="*/ 9059 h 10000"/>
                  <a:gd name="connsiteX37" fmla="*/ 7554 w 10000"/>
                  <a:gd name="connsiteY37" fmla="*/ 9406 h 10000"/>
                  <a:gd name="connsiteX38" fmla="*/ 6906 w 10000"/>
                  <a:gd name="connsiteY38" fmla="*/ 9703 h 10000"/>
                  <a:gd name="connsiteX39" fmla="*/ 6259 w 10000"/>
                  <a:gd name="connsiteY39" fmla="*/ 10000 h 10000"/>
                  <a:gd name="connsiteX40" fmla="*/ 4101 w 10000"/>
                  <a:gd name="connsiteY40"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9137 w 10000"/>
                  <a:gd name="connsiteY26" fmla="*/ 3762 h 10000"/>
                  <a:gd name="connsiteX27" fmla="*/ 9712 w 10000"/>
                  <a:gd name="connsiteY27" fmla="*/ 4604 h 10000"/>
                  <a:gd name="connsiteX28" fmla="*/ 9928 w 10000"/>
                  <a:gd name="connsiteY28" fmla="*/ 5495 h 10000"/>
                  <a:gd name="connsiteX29" fmla="*/ 10000 w 10000"/>
                  <a:gd name="connsiteY29" fmla="*/ 6287 h 10000"/>
                  <a:gd name="connsiteX30" fmla="*/ 9784 w 10000"/>
                  <a:gd name="connsiteY30" fmla="*/ 7129 h 10000"/>
                  <a:gd name="connsiteX31" fmla="*/ 9568 w 10000"/>
                  <a:gd name="connsiteY31" fmla="*/ 7574 h 10000"/>
                  <a:gd name="connsiteX32" fmla="*/ 9281 w 10000"/>
                  <a:gd name="connsiteY32" fmla="*/ 7921 h 10000"/>
                  <a:gd name="connsiteX33" fmla="*/ 8921 w 10000"/>
                  <a:gd name="connsiteY33" fmla="*/ 8317 h 10000"/>
                  <a:gd name="connsiteX34" fmla="*/ 8489 w 10000"/>
                  <a:gd name="connsiteY34" fmla="*/ 8663 h 10000"/>
                  <a:gd name="connsiteX35" fmla="*/ 8058 w 10000"/>
                  <a:gd name="connsiteY35" fmla="*/ 9059 h 10000"/>
                  <a:gd name="connsiteX36" fmla="*/ 7554 w 10000"/>
                  <a:gd name="connsiteY36" fmla="*/ 9406 h 10000"/>
                  <a:gd name="connsiteX37" fmla="*/ 6906 w 10000"/>
                  <a:gd name="connsiteY37" fmla="*/ 9703 h 10000"/>
                  <a:gd name="connsiteX38" fmla="*/ 6259 w 10000"/>
                  <a:gd name="connsiteY38" fmla="*/ 10000 h 10000"/>
                  <a:gd name="connsiteX39" fmla="*/ 4101 w 10000"/>
                  <a:gd name="connsiteY39"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9137 w 10000"/>
                  <a:gd name="connsiteY25" fmla="*/ 3762 h 10000"/>
                  <a:gd name="connsiteX26" fmla="*/ 9712 w 10000"/>
                  <a:gd name="connsiteY26" fmla="*/ 4604 h 10000"/>
                  <a:gd name="connsiteX27" fmla="*/ 9928 w 10000"/>
                  <a:gd name="connsiteY27" fmla="*/ 5495 h 10000"/>
                  <a:gd name="connsiteX28" fmla="*/ 10000 w 10000"/>
                  <a:gd name="connsiteY28" fmla="*/ 6287 h 10000"/>
                  <a:gd name="connsiteX29" fmla="*/ 9784 w 10000"/>
                  <a:gd name="connsiteY29" fmla="*/ 7129 h 10000"/>
                  <a:gd name="connsiteX30" fmla="*/ 9568 w 10000"/>
                  <a:gd name="connsiteY30" fmla="*/ 7574 h 10000"/>
                  <a:gd name="connsiteX31" fmla="*/ 9281 w 10000"/>
                  <a:gd name="connsiteY31" fmla="*/ 7921 h 10000"/>
                  <a:gd name="connsiteX32" fmla="*/ 8921 w 10000"/>
                  <a:gd name="connsiteY32" fmla="*/ 8317 h 10000"/>
                  <a:gd name="connsiteX33" fmla="*/ 8489 w 10000"/>
                  <a:gd name="connsiteY33" fmla="*/ 8663 h 10000"/>
                  <a:gd name="connsiteX34" fmla="*/ 8058 w 10000"/>
                  <a:gd name="connsiteY34" fmla="*/ 9059 h 10000"/>
                  <a:gd name="connsiteX35" fmla="*/ 7554 w 10000"/>
                  <a:gd name="connsiteY35" fmla="*/ 9406 h 10000"/>
                  <a:gd name="connsiteX36" fmla="*/ 6906 w 10000"/>
                  <a:gd name="connsiteY36" fmla="*/ 9703 h 10000"/>
                  <a:gd name="connsiteX37" fmla="*/ 6259 w 10000"/>
                  <a:gd name="connsiteY37" fmla="*/ 10000 h 10000"/>
                  <a:gd name="connsiteX38" fmla="*/ 4101 w 10000"/>
                  <a:gd name="connsiteY38"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712 w 10000"/>
                  <a:gd name="connsiteY25" fmla="*/ 4604 h 10000"/>
                  <a:gd name="connsiteX26" fmla="*/ 9928 w 10000"/>
                  <a:gd name="connsiteY26" fmla="*/ 5495 h 10000"/>
                  <a:gd name="connsiteX27" fmla="*/ 10000 w 10000"/>
                  <a:gd name="connsiteY27" fmla="*/ 6287 h 10000"/>
                  <a:gd name="connsiteX28" fmla="*/ 9784 w 10000"/>
                  <a:gd name="connsiteY28" fmla="*/ 7129 h 10000"/>
                  <a:gd name="connsiteX29" fmla="*/ 9568 w 10000"/>
                  <a:gd name="connsiteY29" fmla="*/ 7574 h 10000"/>
                  <a:gd name="connsiteX30" fmla="*/ 9281 w 10000"/>
                  <a:gd name="connsiteY30" fmla="*/ 7921 h 10000"/>
                  <a:gd name="connsiteX31" fmla="*/ 8921 w 10000"/>
                  <a:gd name="connsiteY31" fmla="*/ 8317 h 10000"/>
                  <a:gd name="connsiteX32" fmla="*/ 8489 w 10000"/>
                  <a:gd name="connsiteY32" fmla="*/ 8663 h 10000"/>
                  <a:gd name="connsiteX33" fmla="*/ 8058 w 10000"/>
                  <a:gd name="connsiteY33" fmla="*/ 9059 h 10000"/>
                  <a:gd name="connsiteX34" fmla="*/ 7554 w 10000"/>
                  <a:gd name="connsiteY34" fmla="*/ 9406 h 10000"/>
                  <a:gd name="connsiteX35" fmla="*/ 6906 w 10000"/>
                  <a:gd name="connsiteY35" fmla="*/ 9703 h 10000"/>
                  <a:gd name="connsiteX36" fmla="*/ 6259 w 10000"/>
                  <a:gd name="connsiteY36" fmla="*/ 10000 h 10000"/>
                  <a:gd name="connsiteX37" fmla="*/ 4101 w 10000"/>
                  <a:gd name="connsiteY37"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928 w 10000"/>
                  <a:gd name="connsiteY25" fmla="*/ 5495 h 10000"/>
                  <a:gd name="connsiteX26" fmla="*/ 10000 w 10000"/>
                  <a:gd name="connsiteY26" fmla="*/ 6287 h 10000"/>
                  <a:gd name="connsiteX27" fmla="*/ 9784 w 10000"/>
                  <a:gd name="connsiteY27" fmla="*/ 7129 h 10000"/>
                  <a:gd name="connsiteX28" fmla="*/ 9568 w 10000"/>
                  <a:gd name="connsiteY28" fmla="*/ 7574 h 10000"/>
                  <a:gd name="connsiteX29" fmla="*/ 9281 w 10000"/>
                  <a:gd name="connsiteY29" fmla="*/ 7921 h 10000"/>
                  <a:gd name="connsiteX30" fmla="*/ 8921 w 10000"/>
                  <a:gd name="connsiteY30" fmla="*/ 8317 h 10000"/>
                  <a:gd name="connsiteX31" fmla="*/ 8489 w 10000"/>
                  <a:gd name="connsiteY31" fmla="*/ 8663 h 10000"/>
                  <a:gd name="connsiteX32" fmla="*/ 8058 w 10000"/>
                  <a:gd name="connsiteY32" fmla="*/ 9059 h 10000"/>
                  <a:gd name="connsiteX33" fmla="*/ 7554 w 10000"/>
                  <a:gd name="connsiteY33" fmla="*/ 9406 h 10000"/>
                  <a:gd name="connsiteX34" fmla="*/ 6906 w 10000"/>
                  <a:gd name="connsiteY34" fmla="*/ 9703 h 10000"/>
                  <a:gd name="connsiteX35" fmla="*/ 6259 w 10000"/>
                  <a:gd name="connsiteY35" fmla="*/ 10000 h 10000"/>
                  <a:gd name="connsiteX36" fmla="*/ 4101 w 10000"/>
                  <a:gd name="connsiteY36"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928 w 10000"/>
                  <a:gd name="connsiteY24" fmla="*/ 5495 h 10000"/>
                  <a:gd name="connsiteX25" fmla="*/ 10000 w 10000"/>
                  <a:gd name="connsiteY25" fmla="*/ 6287 h 10000"/>
                  <a:gd name="connsiteX26" fmla="*/ 9784 w 10000"/>
                  <a:gd name="connsiteY26" fmla="*/ 7129 h 10000"/>
                  <a:gd name="connsiteX27" fmla="*/ 9568 w 10000"/>
                  <a:gd name="connsiteY27" fmla="*/ 7574 h 10000"/>
                  <a:gd name="connsiteX28" fmla="*/ 9281 w 10000"/>
                  <a:gd name="connsiteY28" fmla="*/ 7921 h 10000"/>
                  <a:gd name="connsiteX29" fmla="*/ 8921 w 10000"/>
                  <a:gd name="connsiteY29" fmla="*/ 8317 h 10000"/>
                  <a:gd name="connsiteX30" fmla="*/ 8489 w 10000"/>
                  <a:gd name="connsiteY30" fmla="*/ 8663 h 10000"/>
                  <a:gd name="connsiteX31" fmla="*/ 8058 w 10000"/>
                  <a:gd name="connsiteY31" fmla="*/ 9059 h 10000"/>
                  <a:gd name="connsiteX32" fmla="*/ 7554 w 10000"/>
                  <a:gd name="connsiteY32" fmla="*/ 9406 h 10000"/>
                  <a:gd name="connsiteX33" fmla="*/ 6906 w 10000"/>
                  <a:gd name="connsiteY33" fmla="*/ 9703 h 10000"/>
                  <a:gd name="connsiteX34" fmla="*/ 6259 w 10000"/>
                  <a:gd name="connsiteY34" fmla="*/ 10000 h 10000"/>
                  <a:gd name="connsiteX35" fmla="*/ 4101 w 10000"/>
                  <a:gd name="connsiteY35" fmla="*/ 10000 h 10000"/>
                  <a:gd name="connsiteX0" fmla="*/ 4101 w 9928"/>
                  <a:gd name="connsiteY0" fmla="*/ 10000 h 10000"/>
                  <a:gd name="connsiteX1" fmla="*/ 4101 w 9928"/>
                  <a:gd name="connsiteY1" fmla="*/ 10000 h 10000"/>
                  <a:gd name="connsiteX2" fmla="*/ 3669 w 9928"/>
                  <a:gd name="connsiteY2" fmla="*/ 9851 h 10000"/>
                  <a:gd name="connsiteX3" fmla="*/ 2878 w 9928"/>
                  <a:gd name="connsiteY3" fmla="*/ 9554 h 10000"/>
                  <a:gd name="connsiteX4" fmla="*/ 1942 w 9928"/>
                  <a:gd name="connsiteY4" fmla="*/ 9059 h 10000"/>
                  <a:gd name="connsiteX5" fmla="*/ 1511 w 9928"/>
                  <a:gd name="connsiteY5" fmla="*/ 8762 h 10000"/>
                  <a:gd name="connsiteX6" fmla="*/ 1079 w 9928"/>
                  <a:gd name="connsiteY6" fmla="*/ 8366 h 10000"/>
                  <a:gd name="connsiteX7" fmla="*/ 647 w 9928"/>
                  <a:gd name="connsiteY7" fmla="*/ 7921 h 10000"/>
                  <a:gd name="connsiteX8" fmla="*/ 288 w 9928"/>
                  <a:gd name="connsiteY8" fmla="*/ 7475 h 10000"/>
                  <a:gd name="connsiteX9" fmla="*/ 72 w 9928"/>
                  <a:gd name="connsiteY9" fmla="*/ 6980 h 10000"/>
                  <a:gd name="connsiteX10" fmla="*/ 0 w 9928"/>
                  <a:gd name="connsiteY10" fmla="*/ 6436 h 10000"/>
                  <a:gd name="connsiteX11" fmla="*/ 72 w 9928"/>
                  <a:gd name="connsiteY11" fmla="*/ 5842 h 10000"/>
                  <a:gd name="connsiteX12" fmla="*/ 288 w 9928"/>
                  <a:gd name="connsiteY12" fmla="*/ 5198 h 10000"/>
                  <a:gd name="connsiteX13" fmla="*/ 863 w 9928"/>
                  <a:gd name="connsiteY13" fmla="*/ 4505 h 10000"/>
                  <a:gd name="connsiteX14" fmla="*/ 1583 w 9928"/>
                  <a:gd name="connsiteY14" fmla="*/ 3762 h 10000"/>
                  <a:gd name="connsiteX15" fmla="*/ 1583 w 9928"/>
                  <a:gd name="connsiteY15" fmla="*/ 3762 h 10000"/>
                  <a:gd name="connsiteX16" fmla="*/ 1942 w 9928"/>
                  <a:gd name="connsiteY16" fmla="*/ 3465 h 10000"/>
                  <a:gd name="connsiteX17" fmla="*/ 2590 w 9928"/>
                  <a:gd name="connsiteY17" fmla="*/ 2723 h 10000"/>
                  <a:gd name="connsiteX18" fmla="*/ 3022 w 9928"/>
                  <a:gd name="connsiteY18" fmla="*/ 2129 h 10000"/>
                  <a:gd name="connsiteX19" fmla="*/ 3309 w 9928"/>
                  <a:gd name="connsiteY19" fmla="*/ 1535 h 10000"/>
                  <a:gd name="connsiteX20" fmla="*/ 3525 w 9928"/>
                  <a:gd name="connsiteY20" fmla="*/ 792 h 10000"/>
                  <a:gd name="connsiteX21" fmla="*/ 3669 w 9928"/>
                  <a:gd name="connsiteY21" fmla="*/ 0 h 10000"/>
                  <a:gd name="connsiteX22" fmla="*/ 3669 w 9928"/>
                  <a:gd name="connsiteY22" fmla="*/ 0 h 10000"/>
                  <a:gd name="connsiteX23" fmla="*/ 4317 w 9928"/>
                  <a:gd name="connsiteY23" fmla="*/ 297 h 10000"/>
                  <a:gd name="connsiteX24" fmla="*/ 9928 w 9928"/>
                  <a:gd name="connsiteY24" fmla="*/ 5495 h 10000"/>
                  <a:gd name="connsiteX25" fmla="*/ 9784 w 9928"/>
                  <a:gd name="connsiteY25" fmla="*/ 7129 h 10000"/>
                  <a:gd name="connsiteX26" fmla="*/ 9568 w 9928"/>
                  <a:gd name="connsiteY26" fmla="*/ 7574 h 10000"/>
                  <a:gd name="connsiteX27" fmla="*/ 9281 w 9928"/>
                  <a:gd name="connsiteY27" fmla="*/ 7921 h 10000"/>
                  <a:gd name="connsiteX28" fmla="*/ 8921 w 9928"/>
                  <a:gd name="connsiteY28" fmla="*/ 8317 h 10000"/>
                  <a:gd name="connsiteX29" fmla="*/ 8489 w 9928"/>
                  <a:gd name="connsiteY29" fmla="*/ 8663 h 10000"/>
                  <a:gd name="connsiteX30" fmla="*/ 8058 w 9928"/>
                  <a:gd name="connsiteY30" fmla="*/ 9059 h 10000"/>
                  <a:gd name="connsiteX31" fmla="*/ 7554 w 9928"/>
                  <a:gd name="connsiteY31" fmla="*/ 9406 h 10000"/>
                  <a:gd name="connsiteX32" fmla="*/ 6906 w 9928"/>
                  <a:gd name="connsiteY32" fmla="*/ 9703 h 10000"/>
                  <a:gd name="connsiteX33" fmla="*/ 6259 w 9928"/>
                  <a:gd name="connsiteY33" fmla="*/ 10000 h 10000"/>
                  <a:gd name="connsiteX34" fmla="*/ 4101 w 9928"/>
                  <a:gd name="connsiteY34"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48 w 10000"/>
                  <a:gd name="connsiteY26" fmla="*/ 7921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33 w 10000"/>
                  <a:gd name="connsiteY26" fmla="*/ 7808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214"/>
                  <a:gd name="connsiteY0" fmla="*/ 10000 h 10000"/>
                  <a:gd name="connsiteX1" fmla="*/ 4131 w 10214"/>
                  <a:gd name="connsiteY1" fmla="*/ 10000 h 10000"/>
                  <a:gd name="connsiteX2" fmla="*/ 3696 w 10214"/>
                  <a:gd name="connsiteY2" fmla="*/ 9851 h 10000"/>
                  <a:gd name="connsiteX3" fmla="*/ 2899 w 10214"/>
                  <a:gd name="connsiteY3" fmla="*/ 9554 h 10000"/>
                  <a:gd name="connsiteX4" fmla="*/ 1956 w 10214"/>
                  <a:gd name="connsiteY4" fmla="*/ 9059 h 10000"/>
                  <a:gd name="connsiteX5" fmla="*/ 1522 w 10214"/>
                  <a:gd name="connsiteY5" fmla="*/ 8762 h 10000"/>
                  <a:gd name="connsiteX6" fmla="*/ 1087 w 10214"/>
                  <a:gd name="connsiteY6" fmla="*/ 8366 h 10000"/>
                  <a:gd name="connsiteX7" fmla="*/ 652 w 10214"/>
                  <a:gd name="connsiteY7" fmla="*/ 7921 h 10000"/>
                  <a:gd name="connsiteX8" fmla="*/ 290 w 10214"/>
                  <a:gd name="connsiteY8" fmla="*/ 7475 h 10000"/>
                  <a:gd name="connsiteX9" fmla="*/ 73 w 10214"/>
                  <a:gd name="connsiteY9" fmla="*/ 6980 h 10000"/>
                  <a:gd name="connsiteX10" fmla="*/ 0 w 10214"/>
                  <a:gd name="connsiteY10" fmla="*/ 6436 h 10000"/>
                  <a:gd name="connsiteX11" fmla="*/ 73 w 10214"/>
                  <a:gd name="connsiteY11" fmla="*/ 5842 h 10000"/>
                  <a:gd name="connsiteX12" fmla="*/ 290 w 10214"/>
                  <a:gd name="connsiteY12" fmla="*/ 5198 h 10000"/>
                  <a:gd name="connsiteX13" fmla="*/ 869 w 10214"/>
                  <a:gd name="connsiteY13" fmla="*/ 4505 h 10000"/>
                  <a:gd name="connsiteX14" fmla="*/ 1594 w 10214"/>
                  <a:gd name="connsiteY14" fmla="*/ 3762 h 10000"/>
                  <a:gd name="connsiteX15" fmla="*/ 1594 w 10214"/>
                  <a:gd name="connsiteY15" fmla="*/ 3762 h 10000"/>
                  <a:gd name="connsiteX16" fmla="*/ 1956 w 10214"/>
                  <a:gd name="connsiteY16" fmla="*/ 3465 h 10000"/>
                  <a:gd name="connsiteX17" fmla="*/ 2609 w 10214"/>
                  <a:gd name="connsiteY17" fmla="*/ 2723 h 10000"/>
                  <a:gd name="connsiteX18" fmla="*/ 3044 w 10214"/>
                  <a:gd name="connsiteY18" fmla="*/ 2129 h 10000"/>
                  <a:gd name="connsiteX19" fmla="*/ 3333 w 10214"/>
                  <a:gd name="connsiteY19" fmla="*/ 1535 h 10000"/>
                  <a:gd name="connsiteX20" fmla="*/ 3551 w 10214"/>
                  <a:gd name="connsiteY20" fmla="*/ 792 h 10000"/>
                  <a:gd name="connsiteX21" fmla="*/ 3696 w 10214"/>
                  <a:gd name="connsiteY21" fmla="*/ 0 h 10000"/>
                  <a:gd name="connsiteX22" fmla="*/ 3696 w 10214"/>
                  <a:gd name="connsiteY22" fmla="*/ 0 h 10000"/>
                  <a:gd name="connsiteX23" fmla="*/ 4348 w 10214"/>
                  <a:gd name="connsiteY23" fmla="*/ 297 h 10000"/>
                  <a:gd name="connsiteX24" fmla="*/ 10000 w 10214"/>
                  <a:gd name="connsiteY24" fmla="*/ 5495 h 10000"/>
                  <a:gd name="connsiteX25" fmla="*/ 8986 w 10214"/>
                  <a:gd name="connsiteY25" fmla="*/ 8317 h 10000"/>
                  <a:gd name="connsiteX26" fmla="*/ 8551 w 10214"/>
                  <a:gd name="connsiteY26" fmla="*/ 8663 h 10000"/>
                  <a:gd name="connsiteX27" fmla="*/ 8116 w 10214"/>
                  <a:gd name="connsiteY27" fmla="*/ 9059 h 10000"/>
                  <a:gd name="connsiteX28" fmla="*/ 7609 w 10214"/>
                  <a:gd name="connsiteY28" fmla="*/ 9406 h 10000"/>
                  <a:gd name="connsiteX29" fmla="*/ 6956 w 10214"/>
                  <a:gd name="connsiteY29" fmla="*/ 9703 h 10000"/>
                  <a:gd name="connsiteX30" fmla="*/ 6304 w 10214"/>
                  <a:gd name="connsiteY30" fmla="*/ 10000 h 10000"/>
                  <a:gd name="connsiteX31" fmla="*/ 4131 w 10214"/>
                  <a:gd name="connsiteY31" fmla="*/ 10000 h 10000"/>
                  <a:gd name="connsiteX0" fmla="*/ 4131 w 10158"/>
                  <a:gd name="connsiteY0" fmla="*/ 10000 h 10000"/>
                  <a:gd name="connsiteX1" fmla="*/ 4131 w 10158"/>
                  <a:gd name="connsiteY1" fmla="*/ 10000 h 10000"/>
                  <a:gd name="connsiteX2" fmla="*/ 3696 w 10158"/>
                  <a:gd name="connsiteY2" fmla="*/ 9851 h 10000"/>
                  <a:gd name="connsiteX3" fmla="*/ 2899 w 10158"/>
                  <a:gd name="connsiteY3" fmla="*/ 9554 h 10000"/>
                  <a:gd name="connsiteX4" fmla="*/ 1956 w 10158"/>
                  <a:gd name="connsiteY4" fmla="*/ 9059 h 10000"/>
                  <a:gd name="connsiteX5" fmla="*/ 1522 w 10158"/>
                  <a:gd name="connsiteY5" fmla="*/ 8762 h 10000"/>
                  <a:gd name="connsiteX6" fmla="*/ 1087 w 10158"/>
                  <a:gd name="connsiteY6" fmla="*/ 8366 h 10000"/>
                  <a:gd name="connsiteX7" fmla="*/ 652 w 10158"/>
                  <a:gd name="connsiteY7" fmla="*/ 7921 h 10000"/>
                  <a:gd name="connsiteX8" fmla="*/ 290 w 10158"/>
                  <a:gd name="connsiteY8" fmla="*/ 7475 h 10000"/>
                  <a:gd name="connsiteX9" fmla="*/ 73 w 10158"/>
                  <a:gd name="connsiteY9" fmla="*/ 6980 h 10000"/>
                  <a:gd name="connsiteX10" fmla="*/ 0 w 10158"/>
                  <a:gd name="connsiteY10" fmla="*/ 6436 h 10000"/>
                  <a:gd name="connsiteX11" fmla="*/ 73 w 10158"/>
                  <a:gd name="connsiteY11" fmla="*/ 5842 h 10000"/>
                  <a:gd name="connsiteX12" fmla="*/ 290 w 10158"/>
                  <a:gd name="connsiteY12" fmla="*/ 5198 h 10000"/>
                  <a:gd name="connsiteX13" fmla="*/ 869 w 10158"/>
                  <a:gd name="connsiteY13" fmla="*/ 4505 h 10000"/>
                  <a:gd name="connsiteX14" fmla="*/ 1594 w 10158"/>
                  <a:gd name="connsiteY14" fmla="*/ 3762 h 10000"/>
                  <a:gd name="connsiteX15" fmla="*/ 1594 w 10158"/>
                  <a:gd name="connsiteY15" fmla="*/ 3762 h 10000"/>
                  <a:gd name="connsiteX16" fmla="*/ 1956 w 10158"/>
                  <a:gd name="connsiteY16" fmla="*/ 3465 h 10000"/>
                  <a:gd name="connsiteX17" fmla="*/ 2609 w 10158"/>
                  <a:gd name="connsiteY17" fmla="*/ 2723 h 10000"/>
                  <a:gd name="connsiteX18" fmla="*/ 3044 w 10158"/>
                  <a:gd name="connsiteY18" fmla="*/ 2129 h 10000"/>
                  <a:gd name="connsiteX19" fmla="*/ 3333 w 10158"/>
                  <a:gd name="connsiteY19" fmla="*/ 1535 h 10000"/>
                  <a:gd name="connsiteX20" fmla="*/ 3551 w 10158"/>
                  <a:gd name="connsiteY20" fmla="*/ 792 h 10000"/>
                  <a:gd name="connsiteX21" fmla="*/ 3696 w 10158"/>
                  <a:gd name="connsiteY21" fmla="*/ 0 h 10000"/>
                  <a:gd name="connsiteX22" fmla="*/ 3696 w 10158"/>
                  <a:gd name="connsiteY22" fmla="*/ 0 h 10000"/>
                  <a:gd name="connsiteX23" fmla="*/ 4348 w 10158"/>
                  <a:gd name="connsiteY23" fmla="*/ 297 h 10000"/>
                  <a:gd name="connsiteX24" fmla="*/ 10000 w 10158"/>
                  <a:gd name="connsiteY24" fmla="*/ 5495 h 10000"/>
                  <a:gd name="connsiteX25" fmla="*/ 8551 w 10158"/>
                  <a:gd name="connsiteY25" fmla="*/ 8663 h 10000"/>
                  <a:gd name="connsiteX26" fmla="*/ 8116 w 10158"/>
                  <a:gd name="connsiteY26" fmla="*/ 9059 h 10000"/>
                  <a:gd name="connsiteX27" fmla="*/ 7609 w 10158"/>
                  <a:gd name="connsiteY27" fmla="*/ 9406 h 10000"/>
                  <a:gd name="connsiteX28" fmla="*/ 6956 w 10158"/>
                  <a:gd name="connsiteY28" fmla="*/ 9703 h 10000"/>
                  <a:gd name="connsiteX29" fmla="*/ 6304 w 10158"/>
                  <a:gd name="connsiteY29" fmla="*/ 10000 h 10000"/>
                  <a:gd name="connsiteX30" fmla="*/ 4131 w 10158"/>
                  <a:gd name="connsiteY30" fmla="*/ 10000 h 10000"/>
                  <a:gd name="connsiteX0" fmla="*/ 4131 w 10115"/>
                  <a:gd name="connsiteY0" fmla="*/ 10000 h 10000"/>
                  <a:gd name="connsiteX1" fmla="*/ 4131 w 10115"/>
                  <a:gd name="connsiteY1" fmla="*/ 10000 h 10000"/>
                  <a:gd name="connsiteX2" fmla="*/ 3696 w 10115"/>
                  <a:gd name="connsiteY2" fmla="*/ 9851 h 10000"/>
                  <a:gd name="connsiteX3" fmla="*/ 2899 w 10115"/>
                  <a:gd name="connsiteY3" fmla="*/ 9554 h 10000"/>
                  <a:gd name="connsiteX4" fmla="*/ 1956 w 10115"/>
                  <a:gd name="connsiteY4" fmla="*/ 9059 h 10000"/>
                  <a:gd name="connsiteX5" fmla="*/ 1522 w 10115"/>
                  <a:gd name="connsiteY5" fmla="*/ 8762 h 10000"/>
                  <a:gd name="connsiteX6" fmla="*/ 1087 w 10115"/>
                  <a:gd name="connsiteY6" fmla="*/ 8366 h 10000"/>
                  <a:gd name="connsiteX7" fmla="*/ 652 w 10115"/>
                  <a:gd name="connsiteY7" fmla="*/ 7921 h 10000"/>
                  <a:gd name="connsiteX8" fmla="*/ 290 w 10115"/>
                  <a:gd name="connsiteY8" fmla="*/ 7475 h 10000"/>
                  <a:gd name="connsiteX9" fmla="*/ 73 w 10115"/>
                  <a:gd name="connsiteY9" fmla="*/ 6980 h 10000"/>
                  <a:gd name="connsiteX10" fmla="*/ 0 w 10115"/>
                  <a:gd name="connsiteY10" fmla="*/ 6436 h 10000"/>
                  <a:gd name="connsiteX11" fmla="*/ 73 w 10115"/>
                  <a:gd name="connsiteY11" fmla="*/ 5842 h 10000"/>
                  <a:gd name="connsiteX12" fmla="*/ 290 w 10115"/>
                  <a:gd name="connsiteY12" fmla="*/ 5198 h 10000"/>
                  <a:gd name="connsiteX13" fmla="*/ 869 w 10115"/>
                  <a:gd name="connsiteY13" fmla="*/ 4505 h 10000"/>
                  <a:gd name="connsiteX14" fmla="*/ 1594 w 10115"/>
                  <a:gd name="connsiteY14" fmla="*/ 3762 h 10000"/>
                  <a:gd name="connsiteX15" fmla="*/ 1594 w 10115"/>
                  <a:gd name="connsiteY15" fmla="*/ 3762 h 10000"/>
                  <a:gd name="connsiteX16" fmla="*/ 1956 w 10115"/>
                  <a:gd name="connsiteY16" fmla="*/ 3465 h 10000"/>
                  <a:gd name="connsiteX17" fmla="*/ 2609 w 10115"/>
                  <a:gd name="connsiteY17" fmla="*/ 2723 h 10000"/>
                  <a:gd name="connsiteX18" fmla="*/ 3044 w 10115"/>
                  <a:gd name="connsiteY18" fmla="*/ 2129 h 10000"/>
                  <a:gd name="connsiteX19" fmla="*/ 3333 w 10115"/>
                  <a:gd name="connsiteY19" fmla="*/ 1535 h 10000"/>
                  <a:gd name="connsiteX20" fmla="*/ 3551 w 10115"/>
                  <a:gd name="connsiteY20" fmla="*/ 792 h 10000"/>
                  <a:gd name="connsiteX21" fmla="*/ 3696 w 10115"/>
                  <a:gd name="connsiteY21" fmla="*/ 0 h 10000"/>
                  <a:gd name="connsiteX22" fmla="*/ 3696 w 10115"/>
                  <a:gd name="connsiteY22" fmla="*/ 0 h 10000"/>
                  <a:gd name="connsiteX23" fmla="*/ 4348 w 10115"/>
                  <a:gd name="connsiteY23" fmla="*/ 297 h 10000"/>
                  <a:gd name="connsiteX24" fmla="*/ 10000 w 10115"/>
                  <a:gd name="connsiteY24" fmla="*/ 5495 h 10000"/>
                  <a:gd name="connsiteX25" fmla="*/ 8116 w 10115"/>
                  <a:gd name="connsiteY25" fmla="*/ 9059 h 10000"/>
                  <a:gd name="connsiteX26" fmla="*/ 7609 w 10115"/>
                  <a:gd name="connsiteY26" fmla="*/ 9406 h 10000"/>
                  <a:gd name="connsiteX27" fmla="*/ 6956 w 10115"/>
                  <a:gd name="connsiteY27" fmla="*/ 9703 h 10000"/>
                  <a:gd name="connsiteX28" fmla="*/ 6304 w 10115"/>
                  <a:gd name="connsiteY28" fmla="*/ 10000 h 10000"/>
                  <a:gd name="connsiteX29" fmla="*/ 4131 w 10115"/>
                  <a:gd name="connsiteY29" fmla="*/ 10000 h 10000"/>
                  <a:gd name="connsiteX0" fmla="*/ 4131 w 10078"/>
                  <a:gd name="connsiteY0" fmla="*/ 10000 h 10000"/>
                  <a:gd name="connsiteX1" fmla="*/ 4131 w 10078"/>
                  <a:gd name="connsiteY1" fmla="*/ 10000 h 10000"/>
                  <a:gd name="connsiteX2" fmla="*/ 3696 w 10078"/>
                  <a:gd name="connsiteY2" fmla="*/ 9851 h 10000"/>
                  <a:gd name="connsiteX3" fmla="*/ 2899 w 10078"/>
                  <a:gd name="connsiteY3" fmla="*/ 9554 h 10000"/>
                  <a:gd name="connsiteX4" fmla="*/ 1956 w 10078"/>
                  <a:gd name="connsiteY4" fmla="*/ 9059 h 10000"/>
                  <a:gd name="connsiteX5" fmla="*/ 1522 w 10078"/>
                  <a:gd name="connsiteY5" fmla="*/ 8762 h 10000"/>
                  <a:gd name="connsiteX6" fmla="*/ 1087 w 10078"/>
                  <a:gd name="connsiteY6" fmla="*/ 8366 h 10000"/>
                  <a:gd name="connsiteX7" fmla="*/ 652 w 10078"/>
                  <a:gd name="connsiteY7" fmla="*/ 7921 h 10000"/>
                  <a:gd name="connsiteX8" fmla="*/ 290 w 10078"/>
                  <a:gd name="connsiteY8" fmla="*/ 7475 h 10000"/>
                  <a:gd name="connsiteX9" fmla="*/ 73 w 10078"/>
                  <a:gd name="connsiteY9" fmla="*/ 6980 h 10000"/>
                  <a:gd name="connsiteX10" fmla="*/ 0 w 10078"/>
                  <a:gd name="connsiteY10" fmla="*/ 6436 h 10000"/>
                  <a:gd name="connsiteX11" fmla="*/ 73 w 10078"/>
                  <a:gd name="connsiteY11" fmla="*/ 5842 h 10000"/>
                  <a:gd name="connsiteX12" fmla="*/ 290 w 10078"/>
                  <a:gd name="connsiteY12" fmla="*/ 5198 h 10000"/>
                  <a:gd name="connsiteX13" fmla="*/ 869 w 10078"/>
                  <a:gd name="connsiteY13" fmla="*/ 4505 h 10000"/>
                  <a:gd name="connsiteX14" fmla="*/ 1594 w 10078"/>
                  <a:gd name="connsiteY14" fmla="*/ 3762 h 10000"/>
                  <a:gd name="connsiteX15" fmla="*/ 1594 w 10078"/>
                  <a:gd name="connsiteY15" fmla="*/ 3762 h 10000"/>
                  <a:gd name="connsiteX16" fmla="*/ 1956 w 10078"/>
                  <a:gd name="connsiteY16" fmla="*/ 3465 h 10000"/>
                  <a:gd name="connsiteX17" fmla="*/ 2609 w 10078"/>
                  <a:gd name="connsiteY17" fmla="*/ 2723 h 10000"/>
                  <a:gd name="connsiteX18" fmla="*/ 3044 w 10078"/>
                  <a:gd name="connsiteY18" fmla="*/ 2129 h 10000"/>
                  <a:gd name="connsiteX19" fmla="*/ 3333 w 10078"/>
                  <a:gd name="connsiteY19" fmla="*/ 1535 h 10000"/>
                  <a:gd name="connsiteX20" fmla="*/ 3551 w 10078"/>
                  <a:gd name="connsiteY20" fmla="*/ 792 h 10000"/>
                  <a:gd name="connsiteX21" fmla="*/ 3696 w 10078"/>
                  <a:gd name="connsiteY21" fmla="*/ 0 h 10000"/>
                  <a:gd name="connsiteX22" fmla="*/ 3696 w 10078"/>
                  <a:gd name="connsiteY22" fmla="*/ 0 h 10000"/>
                  <a:gd name="connsiteX23" fmla="*/ 4348 w 10078"/>
                  <a:gd name="connsiteY23" fmla="*/ 297 h 10000"/>
                  <a:gd name="connsiteX24" fmla="*/ 10000 w 10078"/>
                  <a:gd name="connsiteY24" fmla="*/ 5495 h 10000"/>
                  <a:gd name="connsiteX25" fmla="*/ 7609 w 10078"/>
                  <a:gd name="connsiteY25" fmla="*/ 9406 h 10000"/>
                  <a:gd name="connsiteX26" fmla="*/ 6956 w 10078"/>
                  <a:gd name="connsiteY26" fmla="*/ 9703 h 10000"/>
                  <a:gd name="connsiteX27" fmla="*/ 6304 w 10078"/>
                  <a:gd name="connsiteY27" fmla="*/ 10000 h 10000"/>
                  <a:gd name="connsiteX28" fmla="*/ 4131 w 10078"/>
                  <a:gd name="connsiteY28" fmla="*/ 10000 h 10000"/>
                  <a:gd name="connsiteX0" fmla="*/ 4131 w 10044"/>
                  <a:gd name="connsiteY0" fmla="*/ 10000 h 10000"/>
                  <a:gd name="connsiteX1" fmla="*/ 4131 w 10044"/>
                  <a:gd name="connsiteY1" fmla="*/ 10000 h 10000"/>
                  <a:gd name="connsiteX2" fmla="*/ 3696 w 10044"/>
                  <a:gd name="connsiteY2" fmla="*/ 9851 h 10000"/>
                  <a:gd name="connsiteX3" fmla="*/ 2899 w 10044"/>
                  <a:gd name="connsiteY3" fmla="*/ 9554 h 10000"/>
                  <a:gd name="connsiteX4" fmla="*/ 1956 w 10044"/>
                  <a:gd name="connsiteY4" fmla="*/ 9059 h 10000"/>
                  <a:gd name="connsiteX5" fmla="*/ 1522 w 10044"/>
                  <a:gd name="connsiteY5" fmla="*/ 8762 h 10000"/>
                  <a:gd name="connsiteX6" fmla="*/ 1087 w 10044"/>
                  <a:gd name="connsiteY6" fmla="*/ 8366 h 10000"/>
                  <a:gd name="connsiteX7" fmla="*/ 652 w 10044"/>
                  <a:gd name="connsiteY7" fmla="*/ 7921 h 10000"/>
                  <a:gd name="connsiteX8" fmla="*/ 290 w 10044"/>
                  <a:gd name="connsiteY8" fmla="*/ 7475 h 10000"/>
                  <a:gd name="connsiteX9" fmla="*/ 73 w 10044"/>
                  <a:gd name="connsiteY9" fmla="*/ 6980 h 10000"/>
                  <a:gd name="connsiteX10" fmla="*/ 0 w 10044"/>
                  <a:gd name="connsiteY10" fmla="*/ 6436 h 10000"/>
                  <a:gd name="connsiteX11" fmla="*/ 73 w 10044"/>
                  <a:gd name="connsiteY11" fmla="*/ 5842 h 10000"/>
                  <a:gd name="connsiteX12" fmla="*/ 290 w 10044"/>
                  <a:gd name="connsiteY12" fmla="*/ 5198 h 10000"/>
                  <a:gd name="connsiteX13" fmla="*/ 869 w 10044"/>
                  <a:gd name="connsiteY13" fmla="*/ 4505 h 10000"/>
                  <a:gd name="connsiteX14" fmla="*/ 1594 w 10044"/>
                  <a:gd name="connsiteY14" fmla="*/ 3762 h 10000"/>
                  <a:gd name="connsiteX15" fmla="*/ 1594 w 10044"/>
                  <a:gd name="connsiteY15" fmla="*/ 3762 h 10000"/>
                  <a:gd name="connsiteX16" fmla="*/ 1956 w 10044"/>
                  <a:gd name="connsiteY16" fmla="*/ 3465 h 10000"/>
                  <a:gd name="connsiteX17" fmla="*/ 2609 w 10044"/>
                  <a:gd name="connsiteY17" fmla="*/ 2723 h 10000"/>
                  <a:gd name="connsiteX18" fmla="*/ 3044 w 10044"/>
                  <a:gd name="connsiteY18" fmla="*/ 2129 h 10000"/>
                  <a:gd name="connsiteX19" fmla="*/ 3333 w 10044"/>
                  <a:gd name="connsiteY19" fmla="*/ 1535 h 10000"/>
                  <a:gd name="connsiteX20" fmla="*/ 3551 w 10044"/>
                  <a:gd name="connsiteY20" fmla="*/ 792 h 10000"/>
                  <a:gd name="connsiteX21" fmla="*/ 3696 w 10044"/>
                  <a:gd name="connsiteY21" fmla="*/ 0 h 10000"/>
                  <a:gd name="connsiteX22" fmla="*/ 3696 w 10044"/>
                  <a:gd name="connsiteY22" fmla="*/ 0 h 10000"/>
                  <a:gd name="connsiteX23" fmla="*/ 4348 w 10044"/>
                  <a:gd name="connsiteY23" fmla="*/ 297 h 10000"/>
                  <a:gd name="connsiteX24" fmla="*/ 10000 w 10044"/>
                  <a:gd name="connsiteY24" fmla="*/ 5495 h 10000"/>
                  <a:gd name="connsiteX25" fmla="*/ 6956 w 10044"/>
                  <a:gd name="connsiteY25" fmla="*/ 9703 h 10000"/>
                  <a:gd name="connsiteX26" fmla="*/ 6304 w 10044"/>
                  <a:gd name="connsiteY26" fmla="*/ 10000 h 10000"/>
                  <a:gd name="connsiteX27" fmla="*/ 4131 w 10044"/>
                  <a:gd name="connsiteY27"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4131 w 10024"/>
                  <a:gd name="connsiteY26"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5029 w 10024"/>
                  <a:gd name="connsiteY26" fmla="*/ 9977 h 10000"/>
                  <a:gd name="connsiteX27" fmla="*/ 4131 w 10024"/>
                  <a:gd name="connsiteY27" fmla="*/ 10000 h 10000"/>
                  <a:gd name="connsiteX0" fmla="*/ 4131 w 10002"/>
                  <a:gd name="connsiteY0" fmla="*/ 10000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26" fmla="*/ 4131 w 10002"/>
                  <a:gd name="connsiteY26" fmla="*/ 10000 h 10000"/>
                  <a:gd name="connsiteX0" fmla="*/ 5029 w 10002"/>
                  <a:gd name="connsiteY0" fmla="*/ 9977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3696 w 10002"/>
                  <a:gd name="connsiteY2" fmla="*/ 9851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10000"/>
                  <a:gd name="connsiteX1" fmla="*/ 4131 w 10002"/>
                  <a:gd name="connsiteY1" fmla="*/ 10000 h 10000"/>
                  <a:gd name="connsiteX2" fmla="*/ 3696 w 10002"/>
                  <a:gd name="connsiteY2" fmla="*/ 9851 h 10000"/>
                  <a:gd name="connsiteX3" fmla="*/ 2984 w 10002"/>
                  <a:gd name="connsiteY3" fmla="*/ 9495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2984 w 10002"/>
                  <a:gd name="connsiteY2" fmla="*/ 9495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9977"/>
                  <a:gd name="connsiteX1" fmla="*/ 2984 w 10002"/>
                  <a:gd name="connsiteY1" fmla="*/ 9495 h 9977"/>
                  <a:gd name="connsiteX2" fmla="*/ 1956 w 10002"/>
                  <a:gd name="connsiteY2" fmla="*/ 9059 h 9977"/>
                  <a:gd name="connsiteX3" fmla="*/ 1522 w 10002"/>
                  <a:gd name="connsiteY3" fmla="*/ 8762 h 9977"/>
                  <a:gd name="connsiteX4" fmla="*/ 1087 w 10002"/>
                  <a:gd name="connsiteY4" fmla="*/ 8366 h 9977"/>
                  <a:gd name="connsiteX5" fmla="*/ 652 w 10002"/>
                  <a:gd name="connsiteY5" fmla="*/ 7921 h 9977"/>
                  <a:gd name="connsiteX6" fmla="*/ 290 w 10002"/>
                  <a:gd name="connsiteY6" fmla="*/ 7475 h 9977"/>
                  <a:gd name="connsiteX7" fmla="*/ 73 w 10002"/>
                  <a:gd name="connsiteY7" fmla="*/ 6980 h 9977"/>
                  <a:gd name="connsiteX8" fmla="*/ 0 w 10002"/>
                  <a:gd name="connsiteY8" fmla="*/ 6436 h 9977"/>
                  <a:gd name="connsiteX9" fmla="*/ 73 w 10002"/>
                  <a:gd name="connsiteY9" fmla="*/ 5842 h 9977"/>
                  <a:gd name="connsiteX10" fmla="*/ 290 w 10002"/>
                  <a:gd name="connsiteY10" fmla="*/ 5198 h 9977"/>
                  <a:gd name="connsiteX11" fmla="*/ 869 w 10002"/>
                  <a:gd name="connsiteY11" fmla="*/ 4505 h 9977"/>
                  <a:gd name="connsiteX12" fmla="*/ 1594 w 10002"/>
                  <a:gd name="connsiteY12" fmla="*/ 3762 h 9977"/>
                  <a:gd name="connsiteX13" fmla="*/ 1594 w 10002"/>
                  <a:gd name="connsiteY13" fmla="*/ 3762 h 9977"/>
                  <a:gd name="connsiteX14" fmla="*/ 1956 w 10002"/>
                  <a:gd name="connsiteY14" fmla="*/ 3465 h 9977"/>
                  <a:gd name="connsiteX15" fmla="*/ 2609 w 10002"/>
                  <a:gd name="connsiteY15" fmla="*/ 2723 h 9977"/>
                  <a:gd name="connsiteX16" fmla="*/ 3044 w 10002"/>
                  <a:gd name="connsiteY16" fmla="*/ 2129 h 9977"/>
                  <a:gd name="connsiteX17" fmla="*/ 3333 w 10002"/>
                  <a:gd name="connsiteY17" fmla="*/ 1535 h 9977"/>
                  <a:gd name="connsiteX18" fmla="*/ 3551 w 10002"/>
                  <a:gd name="connsiteY18" fmla="*/ 792 h 9977"/>
                  <a:gd name="connsiteX19" fmla="*/ 3696 w 10002"/>
                  <a:gd name="connsiteY19" fmla="*/ 0 h 9977"/>
                  <a:gd name="connsiteX20" fmla="*/ 3696 w 10002"/>
                  <a:gd name="connsiteY20" fmla="*/ 0 h 9977"/>
                  <a:gd name="connsiteX21" fmla="*/ 4348 w 10002"/>
                  <a:gd name="connsiteY21" fmla="*/ 297 h 9977"/>
                  <a:gd name="connsiteX22" fmla="*/ 10000 w 10002"/>
                  <a:gd name="connsiteY22" fmla="*/ 5495 h 9977"/>
                  <a:gd name="connsiteX23" fmla="*/ 5029 w 10002"/>
                  <a:gd name="connsiteY23" fmla="*/ 9977 h 9977"/>
                  <a:gd name="connsiteX0" fmla="*/ 5028 w 10000"/>
                  <a:gd name="connsiteY0" fmla="*/ 10000 h 10000"/>
                  <a:gd name="connsiteX1" fmla="*/ 1956 w 10000"/>
                  <a:gd name="connsiteY1" fmla="*/ 9080 h 10000"/>
                  <a:gd name="connsiteX2" fmla="*/ 1522 w 10000"/>
                  <a:gd name="connsiteY2" fmla="*/ 8782 h 10000"/>
                  <a:gd name="connsiteX3" fmla="*/ 1087 w 10000"/>
                  <a:gd name="connsiteY3" fmla="*/ 8385 h 10000"/>
                  <a:gd name="connsiteX4" fmla="*/ 652 w 10000"/>
                  <a:gd name="connsiteY4" fmla="*/ 7939 h 10000"/>
                  <a:gd name="connsiteX5" fmla="*/ 290 w 10000"/>
                  <a:gd name="connsiteY5" fmla="*/ 7492 h 10000"/>
                  <a:gd name="connsiteX6" fmla="*/ 73 w 10000"/>
                  <a:gd name="connsiteY6" fmla="*/ 6996 h 10000"/>
                  <a:gd name="connsiteX7" fmla="*/ 0 w 10000"/>
                  <a:gd name="connsiteY7" fmla="*/ 6451 h 10000"/>
                  <a:gd name="connsiteX8" fmla="*/ 73 w 10000"/>
                  <a:gd name="connsiteY8" fmla="*/ 5855 h 10000"/>
                  <a:gd name="connsiteX9" fmla="*/ 290 w 10000"/>
                  <a:gd name="connsiteY9" fmla="*/ 5210 h 10000"/>
                  <a:gd name="connsiteX10" fmla="*/ 869 w 10000"/>
                  <a:gd name="connsiteY10" fmla="*/ 4515 h 10000"/>
                  <a:gd name="connsiteX11" fmla="*/ 1594 w 10000"/>
                  <a:gd name="connsiteY11" fmla="*/ 3771 h 10000"/>
                  <a:gd name="connsiteX12" fmla="*/ 1594 w 10000"/>
                  <a:gd name="connsiteY12" fmla="*/ 3771 h 10000"/>
                  <a:gd name="connsiteX13" fmla="*/ 1956 w 10000"/>
                  <a:gd name="connsiteY13" fmla="*/ 3473 h 10000"/>
                  <a:gd name="connsiteX14" fmla="*/ 2608 w 10000"/>
                  <a:gd name="connsiteY14" fmla="*/ 2729 h 10000"/>
                  <a:gd name="connsiteX15" fmla="*/ 3043 w 10000"/>
                  <a:gd name="connsiteY15" fmla="*/ 2134 h 10000"/>
                  <a:gd name="connsiteX16" fmla="*/ 3332 w 10000"/>
                  <a:gd name="connsiteY16" fmla="*/ 1539 h 10000"/>
                  <a:gd name="connsiteX17" fmla="*/ 3550 w 10000"/>
                  <a:gd name="connsiteY17" fmla="*/ 794 h 10000"/>
                  <a:gd name="connsiteX18" fmla="*/ 3695 w 10000"/>
                  <a:gd name="connsiteY18" fmla="*/ 0 h 10000"/>
                  <a:gd name="connsiteX19" fmla="*/ 3695 w 10000"/>
                  <a:gd name="connsiteY19" fmla="*/ 0 h 10000"/>
                  <a:gd name="connsiteX20" fmla="*/ 4347 w 10000"/>
                  <a:gd name="connsiteY20" fmla="*/ 298 h 10000"/>
                  <a:gd name="connsiteX21" fmla="*/ 9998 w 10000"/>
                  <a:gd name="connsiteY21" fmla="*/ 5508 h 10000"/>
                  <a:gd name="connsiteX22" fmla="*/ 5028 w 10000"/>
                  <a:gd name="connsiteY22" fmla="*/ 10000 h 10000"/>
                  <a:gd name="connsiteX0" fmla="*/ 5028 w 10000"/>
                  <a:gd name="connsiteY0" fmla="*/ 10000 h 10000"/>
                  <a:gd name="connsiteX1" fmla="*/ 1956 w 10000"/>
                  <a:gd name="connsiteY1" fmla="*/ 9080 h 10000"/>
                  <a:gd name="connsiteX2" fmla="*/ 1087 w 10000"/>
                  <a:gd name="connsiteY2" fmla="*/ 8385 h 10000"/>
                  <a:gd name="connsiteX3" fmla="*/ 652 w 10000"/>
                  <a:gd name="connsiteY3" fmla="*/ 7939 h 10000"/>
                  <a:gd name="connsiteX4" fmla="*/ 290 w 10000"/>
                  <a:gd name="connsiteY4" fmla="*/ 7492 h 10000"/>
                  <a:gd name="connsiteX5" fmla="*/ 73 w 10000"/>
                  <a:gd name="connsiteY5" fmla="*/ 6996 h 10000"/>
                  <a:gd name="connsiteX6" fmla="*/ 0 w 10000"/>
                  <a:gd name="connsiteY6" fmla="*/ 6451 h 10000"/>
                  <a:gd name="connsiteX7" fmla="*/ 73 w 10000"/>
                  <a:gd name="connsiteY7" fmla="*/ 5855 h 10000"/>
                  <a:gd name="connsiteX8" fmla="*/ 290 w 10000"/>
                  <a:gd name="connsiteY8" fmla="*/ 5210 h 10000"/>
                  <a:gd name="connsiteX9" fmla="*/ 869 w 10000"/>
                  <a:gd name="connsiteY9" fmla="*/ 4515 h 10000"/>
                  <a:gd name="connsiteX10" fmla="*/ 1594 w 10000"/>
                  <a:gd name="connsiteY10" fmla="*/ 3771 h 10000"/>
                  <a:gd name="connsiteX11" fmla="*/ 1594 w 10000"/>
                  <a:gd name="connsiteY11" fmla="*/ 3771 h 10000"/>
                  <a:gd name="connsiteX12" fmla="*/ 1956 w 10000"/>
                  <a:gd name="connsiteY12" fmla="*/ 3473 h 10000"/>
                  <a:gd name="connsiteX13" fmla="*/ 2608 w 10000"/>
                  <a:gd name="connsiteY13" fmla="*/ 2729 h 10000"/>
                  <a:gd name="connsiteX14" fmla="*/ 3043 w 10000"/>
                  <a:gd name="connsiteY14" fmla="*/ 2134 h 10000"/>
                  <a:gd name="connsiteX15" fmla="*/ 3332 w 10000"/>
                  <a:gd name="connsiteY15" fmla="*/ 1539 h 10000"/>
                  <a:gd name="connsiteX16" fmla="*/ 3550 w 10000"/>
                  <a:gd name="connsiteY16" fmla="*/ 794 h 10000"/>
                  <a:gd name="connsiteX17" fmla="*/ 3695 w 10000"/>
                  <a:gd name="connsiteY17" fmla="*/ 0 h 10000"/>
                  <a:gd name="connsiteX18" fmla="*/ 3695 w 10000"/>
                  <a:gd name="connsiteY18" fmla="*/ 0 h 10000"/>
                  <a:gd name="connsiteX19" fmla="*/ 4347 w 10000"/>
                  <a:gd name="connsiteY19" fmla="*/ 298 h 10000"/>
                  <a:gd name="connsiteX20" fmla="*/ 9998 w 10000"/>
                  <a:gd name="connsiteY20" fmla="*/ 5508 h 10000"/>
                  <a:gd name="connsiteX21" fmla="*/ 5028 w 10000"/>
                  <a:gd name="connsiteY21" fmla="*/ 10000 h 10000"/>
                  <a:gd name="connsiteX0" fmla="*/ 5028 w 10000"/>
                  <a:gd name="connsiteY0" fmla="*/ 10000 h 10000"/>
                  <a:gd name="connsiteX1" fmla="*/ 1087 w 10000"/>
                  <a:gd name="connsiteY1" fmla="*/ 8385 h 10000"/>
                  <a:gd name="connsiteX2" fmla="*/ 652 w 10000"/>
                  <a:gd name="connsiteY2" fmla="*/ 7939 h 10000"/>
                  <a:gd name="connsiteX3" fmla="*/ 290 w 10000"/>
                  <a:gd name="connsiteY3" fmla="*/ 7492 h 10000"/>
                  <a:gd name="connsiteX4" fmla="*/ 73 w 10000"/>
                  <a:gd name="connsiteY4" fmla="*/ 6996 h 10000"/>
                  <a:gd name="connsiteX5" fmla="*/ 0 w 10000"/>
                  <a:gd name="connsiteY5" fmla="*/ 6451 h 10000"/>
                  <a:gd name="connsiteX6" fmla="*/ 73 w 10000"/>
                  <a:gd name="connsiteY6" fmla="*/ 5855 h 10000"/>
                  <a:gd name="connsiteX7" fmla="*/ 290 w 10000"/>
                  <a:gd name="connsiteY7" fmla="*/ 5210 h 10000"/>
                  <a:gd name="connsiteX8" fmla="*/ 869 w 10000"/>
                  <a:gd name="connsiteY8" fmla="*/ 4515 h 10000"/>
                  <a:gd name="connsiteX9" fmla="*/ 1594 w 10000"/>
                  <a:gd name="connsiteY9" fmla="*/ 3771 h 10000"/>
                  <a:gd name="connsiteX10" fmla="*/ 1594 w 10000"/>
                  <a:gd name="connsiteY10" fmla="*/ 3771 h 10000"/>
                  <a:gd name="connsiteX11" fmla="*/ 1956 w 10000"/>
                  <a:gd name="connsiteY11" fmla="*/ 3473 h 10000"/>
                  <a:gd name="connsiteX12" fmla="*/ 2608 w 10000"/>
                  <a:gd name="connsiteY12" fmla="*/ 2729 h 10000"/>
                  <a:gd name="connsiteX13" fmla="*/ 3043 w 10000"/>
                  <a:gd name="connsiteY13" fmla="*/ 2134 h 10000"/>
                  <a:gd name="connsiteX14" fmla="*/ 3332 w 10000"/>
                  <a:gd name="connsiteY14" fmla="*/ 1539 h 10000"/>
                  <a:gd name="connsiteX15" fmla="*/ 3550 w 10000"/>
                  <a:gd name="connsiteY15" fmla="*/ 794 h 10000"/>
                  <a:gd name="connsiteX16" fmla="*/ 3695 w 10000"/>
                  <a:gd name="connsiteY16" fmla="*/ 0 h 10000"/>
                  <a:gd name="connsiteX17" fmla="*/ 3695 w 10000"/>
                  <a:gd name="connsiteY17" fmla="*/ 0 h 10000"/>
                  <a:gd name="connsiteX18" fmla="*/ 4347 w 10000"/>
                  <a:gd name="connsiteY18" fmla="*/ 298 h 10000"/>
                  <a:gd name="connsiteX19" fmla="*/ 9998 w 10000"/>
                  <a:gd name="connsiteY19" fmla="*/ 5508 h 10000"/>
                  <a:gd name="connsiteX20" fmla="*/ 5028 w 10000"/>
                  <a:gd name="connsiteY20" fmla="*/ 10000 h 10000"/>
                  <a:gd name="connsiteX0" fmla="*/ 5028 w 10000"/>
                  <a:gd name="connsiteY0" fmla="*/ 10000 h 10000"/>
                  <a:gd name="connsiteX1" fmla="*/ 652 w 10000"/>
                  <a:gd name="connsiteY1" fmla="*/ 7939 h 10000"/>
                  <a:gd name="connsiteX2" fmla="*/ 290 w 10000"/>
                  <a:gd name="connsiteY2" fmla="*/ 7492 h 10000"/>
                  <a:gd name="connsiteX3" fmla="*/ 73 w 10000"/>
                  <a:gd name="connsiteY3" fmla="*/ 6996 h 10000"/>
                  <a:gd name="connsiteX4" fmla="*/ 0 w 10000"/>
                  <a:gd name="connsiteY4" fmla="*/ 6451 h 10000"/>
                  <a:gd name="connsiteX5" fmla="*/ 73 w 10000"/>
                  <a:gd name="connsiteY5" fmla="*/ 5855 h 10000"/>
                  <a:gd name="connsiteX6" fmla="*/ 290 w 10000"/>
                  <a:gd name="connsiteY6" fmla="*/ 5210 h 10000"/>
                  <a:gd name="connsiteX7" fmla="*/ 869 w 10000"/>
                  <a:gd name="connsiteY7" fmla="*/ 4515 h 10000"/>
                  <a:gd name="connsiteX8" fmla="*/ 1594 w 10000"/>
                  <a:gd name="connsiteY8" fmla="*/ 3771 h 10000"/>
                  <a:gd name="connsiteX9" fmla="*/ 1594 w 10000"/>
                  <a:gd name="connsiteY9" fmla="*/ 3771 h 10000"/>
                  <a:gd name="connsiteX10" fmla="*/ 1956 w 10000"/>
                  <a:gd name="connsiteY10" fmla="*/ 3473 h 10000"/>
                  <a:gd name="connsiteX11" fmla="*/ 2608 w 10000"/>
                  <a:gd name="connsiteY11" fmla="*/ 2729 h 10000"/>
                  <a:gd name="connsiteX12" fmla="*/ 3043 w 10000"/>
                  <a:gd name="connsiteY12" fmla="*/ 2134 h 10000"/>
                  <a:gd name="connsiteX13" fmla="*/ 3332 w 10000"/>
                  <a:gd name="connsiteY13" fmla="*/ 1539 h 10000"/>
                  <a:gd name="connsiteX14" fmla="*/ 3550 w 10000"/>
                  <a:gd name="connsiteY14" fmla="*/ 794 h 10000"/>
                  <a:gd name="connsiteX15" fmla="*/ 3695 w 10000"/>
                  <a:gd name="connsiteY15" fmla="*/ 0 h 10000"/>
                  <a:gd name="connsiteX16" fmla="*/ 3695 w 10000"/>
                  <a:gd name="connsiteY16" fmla="*/ 0 h 10000"/>
                  <a:gd name="connsiteX17" fmla="*/ 4347 w 10000"/>
                  <a:gd name="connsiteY17" fmla="*/ 298 h 10000"/>
                  <a:gd name="connsiteX18" fmla="*/ 9998 w 10000"/>
                  <a:gd name="connsiteY18" fmla="*/ 5508 h 10000"/>
                  <a:gd name="connsiteX19" fmla="*/ 5028 w 10000"/>
                  <a:gd name="connsiteY19" fmla="*/ 10000 h 10000"/>
                  <a:gd name="connsiteX0" fmla="*/ 5028 w 10000"/>
                  <a:gd name="connsiteY0" fmla="*/ 10000 h 10000"/>
                  <a:gd name="connsiteX1" fmla="*/ 290 w 10000"/>
                  <a:gd name="connsiteY1" fmla="*/ 7492 h 10000"/>
                  <a:gd name="connsiteX2" fmla="*/ 73 w 10000"/>
                  <a:gd name="connsiteY2" fmla="*/ 6996 h 10000"/>
                  <a:gd name="connsiteX3" fmla="*/ 0 w 10000"/>
                  <a:gd name="connsiteY3" fmla="*/ 6451 h 10000"/>
                  <a:gd name="connsiteX4" fmla="*/ 73 w 10000"/>
                  <a:gd name="connsiteY4" fmla="*/ 5855 h 10000"/>
                  <a:gd name="connsiteX5" fmla="*/ 290 w 10000"/>
                  <a:gd name="connsiteY5" fmla="*/ 5210 h 10000"/>
                  <a:gd name="connsiteX6" fmla="*/ 869 w 10000"/>
                  <a:gd name="connsiteY6" fmla="*/ 4515 h 10000"/>
                  <a:gd name="connsiteX7" fmla="*/ 1594 w 10000"/>
                  <a:gd name="connsiteY7" fmla="*/ 3771 h 10000"/>
                  <a:gd name="connsiteX8" fmla="*/ 1594 w 10000"/>
                  <a:gd name="connsiteY8" fmla="*/ 3771 h 10000"/>
                  <a:gd name="connsiteX9" fmla="*/ 1956 w 10000"/>
                  <a:gd name="connsiteY9" fmla="*/ 3473 h 10000"/>
                  <a:gd name="connsiteX10" fmla="*/ 2608 w 10000"/>
                  <a:gd name="connsiteY10" fmla="*/ 2729 h 10000"/>
                  <a:gd name="connsiteX11" fmla="*/ 3043 w 10000"/>
                  <a:gd name="connsiteY11" fmla="*/ 2134 h 10000"/>
                  <a:gd name="connsiteX12" fmla="*/ 3332 w 10000"/>
                  <a:gd name="connsiteY12" fmla="*/ 1539 h 10000"/>
                  <a:gd name="connsiteX13" fmla="*/ 3550 w 10000"/>
                  <a:gd name="connsiteY13" fmla="*/ 794 h 10000"/>
                  <a:gd name="connsiteX14" fmla="*/ 3695 w 10000"/>
                  <a:gd name="connsiteY14" fmla="*/ 0 h 10000"/>
                  <a:gd name="connsiteX15" fmla="*/ 3695 w 10000"/>
                  <a:gd name="connsiteY15" fmla="*/ 0 h 10000"/>
                  <a:gd name="connsiteX16" fmla="*/ 4347 w 10000"/>
                  <a:gd name="connsiteY16" fmla="*/ 298 h 10000"/>
                  <a:gd name="connsiteX17" fmla="*/ 9998 w 10000"/>
                  <a:gd name="connsiteY17" fmla="*/ 5508 h 10000"/>
                  <a:gd name="connsiteX18" fmla="*/ 5028 w 10000"/>
                  <a:gd name="connsiteY18" fmla="*/ 10000 h 10000"/>
                  <a:gd name="connsiteX0" fmla="*/ 5028 w 10000"/>
                  <a:gd name="connsiteY0" fmla="*/ 10000 h 10000"/>
                  <a:gd name="connsiteX1" fmla="*/ 73 w 10000"/>
                  <a:gd name="connsiteY1" fmla="*/ 6996 h 10000"/>
                  <a:gd name="connsiteX2" fmla="*/ 0 w 10000"/>
                  <a:gd name="connsiteY2" fmla="*/ 6451 h 10000"/>
                  <a:gd name="connsiteX3" fmla="*/ 73 w 10000"/>
                  <a:gd name="connsiteY3" fmla="*/ 5855 h 10000"/>
                  <a:gd name="connsiteX4" fmla="*/ 290 w 10000"/>
                  <a:gd name="connsiteY4" fmla="*/ 5210 h 10000"/>
                  <a:gd name="connsiteX5" fmla="*/ 869 w 10000"/>
                  <a:gd name="connsiteY5" fmla="*/ 4515 h 10000"/>
                  <a:gd name="connsiteX6" fmla="*/ 1594 w 10000"/>
                  <a:gd name="connsiteY6" fmla="*/ 3771 h 10000"/>
                  <a:gd name="connsiteX7" fmla="*/ 1594 w 10000"/>
                  <a:gd name="connsiteY7" fmla="*/ 3771 h 10000"/>
                  <a:gd name="connsiteX8" fmla="*/ 1956 w 10000"/>
                  <a:gd name="connsiteY8" fmla="*/ 3473 h 10000"/>
                  <a:gd name="connsiteX9" fmla="*/ 2608 w 10000"/>
                  <a:gd name="connsiteY9" fmla="*/ 2729 h 10000"/>
                  <a:gd name="connsiteX10" fmla="*/ 3043 w 10000"/>
                  <a:gd name="connsiteY10" fmla="*/ 2134 h 10000"/>
                  <a:gd name="connsiteX11" fmla="*/ 3332 w 10000"/>
                  <a:gd name="connsiteY11" fmla="*/ 1539 h 10000"/>
                  <a:gd name="connsiteX12" fmla="*/ 3550 w 10000"/>
                  <a:gd name="connsiteY12" fmla="*/ 794 h 10000"/>
                  <a:gd name="connsiteX13" fmla="*/ 3695 w 10000"/>
                  <a:gd name="connsiteY13" fmla="*/ 0 h 10000"/>
                  <a:gd name="connsiteX14" fmla="*/ 3695 w 10000"/>
                  <a:gd name="connsiteY14" fmla="*/ 0 h 10000"/>
                  <a:gd name="connsiteX15" fmla="*/ 4347 w 10000"/>
                  <a:gd name="connsiteY15" fmla="*/ 298 h 10000"/>
                  <a:gd name="connsiteX16" fmla="*/ 9998 w 10000"/>
                  <a:gd name="connsiteY16" fmla="*/ 5508 h 10000"/>
                  <a:gd name="connsiteX17" fmla="*/ 5028 w 10000"/>
                  <a:gd name="connsiteY17" fmla="*/ 10000 h 10000"/>
                  <a:gd name="connsiteX0" fmla="*/ 5028 w 10000"/>
                  <a:gd name="connsiteY0" fmla="*/ 10000 h 10000"/>
                  <a:gd name="connsiteX1" fmla="*/ 0 w 10000"/>
                  <a:gd name="connsiteY1" fmla="*/ 6451 h 10000"/>
                  <a:gd name="connsiteX2" fmla="*/ 73 w 10000"/>
                  <a:gd name="connsiteY2" fmla="*/ 5855 h 10000"/>
                  <a:gd name="connsiteX3" fmla="*/ 290 w 10000"/>
                  <a:gd name="connsiteY3" fmla="*/ 5210 h 10000"/>
                  <a:gd name="connsiteX4" fmla="*/ 869 w 10000"/>
                  <a:gd name="connsiteY4" fmla="*/ 4515 h 10000"/>
                  <a:gd name="connsiteX5" fmla="*/ 1594 w 10000"/>
                  <a:gd name="connsiteY5" fmla="*/ 3771 h 10000"/>
                  <a:gd name="connsiteX6" fmla="*/ 1594 w 10000"/>
                  <a:gd name="connsiteY6" fmla="*/ 3771 h 10000"/>
                  <a:gd name="connsiteX7" fmla="*/ 1956 w 10000"/>
                  <a:gd name="connsiteY7" fmla="*/ 3473 h 10000"/>
                  <a:gd name="connsiteX8" fmla="*/ 2608 w 10000"/>
                  <a:gd name="connsiteY8" fmla="*/ 2729 h 10000"/>
                  <a:gd name="connsiteX9" fmla="*/ 3043 w 10000"/>
                  <a:gd name="connsiteY9" fmla="*/ 2134 h 10000"/>
                  <a:gd name="connsiteX10" fmla="*/ 3332 w 10000"/>
                  <a:gd name="connsiteY10" fmla="*/ 1539 h 10000"/>
                  <a:gd name="connsiteX11" fmla="*/ 3550 w 10000"/>
                  <a:gd name="connsiteY11" fmla="*/ 794 h 10000"/>
                  <a:gd name="connsiteX12" fmla="*/ 3695 w 10000"/>
                  <a:gd name="connsiteY12" fmla="*/ 0 h 10000"/>
                  <a:gd name="connsiteX13" fmla="*/ 3695 w 10000"/>
                  <a:gd name="connsiteY13" fmla="*/ 0 h 10000"/>
                  <a:gd name="connsiteX14" fmla="*/ 4347 w 10000"/>
                  <a:gd name="connsiteY14" fmla="*/ 298 h 10000"/>
                  <a:gd name="connsiteX15" fmla="*/ 9998 w 10000"/>
                  <a:gd name="connsiteY15" fmla="*/ 5508 h 10000"/>
                  <a:gd name="connsiteX16" fmla="*/ 5028 w 10000"/>
                  <a:gd name="connsiteY16" fmla="*/ 10000 h 10000"/>
                  <a:gd name="connsiteX0" fmla="*/ 4955 w 9927"/>
                  <a:gd name="connsiteY0" fmla="*/ 10000 h 10000"/>
                  <a:gd name="connsiteX1" fmla="*/ 0 w 9927"/>
                  <a:gd name="connsiteY1" fmla="*/ 5855 h 10000"/>
                  <a:gd name="connsiteX2" fmla="*/ 217 w 9927"/>
                  <a:gd name="connsiteY2" fmla="*/ 5210 h 10000"/>
                  <a:gd name="connsiteX3" fmla="*/ 796 w 9927"/>
                  <a:gd name="connsiteY3" fmla="*/ 4515 h 10000"/>
                  <a:gd name="connsiteX4" fmla="*/ 1521 w 9927"/>
                  <a:gd name="connsiteY4" fmla="*/ 3771 h 10000"/>
                  <a:gd name="connsiteX5" fmla="*/ 1521 w 9927"/>
                  <a:gd name="connsiteY5" fmla="*/ 3771 h 10000"/>
                  <a:gd name="connsiteX6" fmla="*/ 1883 w 9927"/>
                  <a:gd name="connsiteY6" fmla="*/ 3473 h 10000"/>
                  <a:gd name="connsiteX7" fmla="*/ 2535 w 9927"/>
                  <a:gd name="connsiteY7" fmla="*/ 2729 h 10000"/>
                  <a:gd name="connsiteX8" fmla="*/ 2970 w 9927"/>
                  <a:gd name="connsiteY8" fmla="*/ 2134 h 10000"/>
                  <a:gd name="connsiteX9" fmla="*/ 3259 w 9927"/>
                  <a:gd name="connsiteY9" fmla="*/ 1539 h 10000"/>
                  <a:gd name="connsiteX10" fmla="*/ 3477 w 9927"/>
                  <a:gd name="connsiteY10" fmla="*/ 794 h 10000"/>
                  <a:gd name="connsiteX11" fmla="*/ 3622 w 9927"/>
                  <a:gd name="connsiteY11" fmla="*/ 0 h 10000"/>
                  <a:gd name="connsiteX12" fmla="*/ 3622 w 9927"/>
                  <a:gd name="connsiteY12" fmla="*/ 0 h 10000"/>
                  <a:gd name="connsiteX13" fmla="*/ 4274 w 9927"/>
                  <a:gd name="connsiteY13" fmla="*/ 298 h 10000"/>
                  <a:gd name="connsiteX14" fmla="*/ 9925 w 9927"/>
                  <a:gd name="connsiteY14" fmla="*/ 5508 h 10000"/>
                  <a:gd name="connsiteX15" fmla="*/ 4955 w 9927"/>
                  <a:gd name="connsiteY15" fmla="*/ 10000 h 10000"/>
                  <a:gd name="connsiteX0" fmla="*/ 4991 w 10000"/>
                  <a:gd name="connsiteY0" fmla="*/ 10000 h 10000"/>
                  <a:gd name="connsiteX1" fmla="*/ 0 w 10000"/>
                  <a:gd name="connsiteY1" fmla="*/ 5855 h 10000"/>
                  <a:gd name="connsiteX2" fmla="*/ 802 w 10000"/>
                  <a:gd name="connsiteY2" fmla="*/ 4515 h 10000"/>
                  <a:gd name="connsiteX3" fmla="*/ 1532 w 10000"/>
                  <a:gd name="connsiteY3" fmla="*/ 3771 h 10000"/>
                  <a:gd name="connsiteX4" fmla="*/ 1532 w 10000"/>
                  <a:gd name="connsiteY4" fmla="*/ 3771 h 10000"/>
                  <a:gd name="connsiteX5" fmla="*/ 1897 w 10000"/>
                  <a:gd name="connsiteY5" fmla="*/ 3473 h 10000"/>
                  <a:gd name="connsiteX6" fmla="*/ 2554 w 10000"/>
                  <a:gd name="connsiteY6" fmla="*/ 2729 h 10000"/>
                  <a:gd name="connsiteX7" fmla="*/ 2992 w 10000"/>
                  <a:gd name="connsiteY7" fmla="*/ 2134 h 10000"/>
                  <a:gd name="connsiteX8" fmla="*/ 3283 w 10000"/>
                  <a:gd name="connsiteY8" fmla="*/ 1539 h 10000"/>
                  <a:gd name="connsiteX9" fmla="*/ 3503 w 10000"/>
                  <a:gd name="connsiteY9" fmla="*/ 794 h 10000"/>
                  <a:gd name="connsiteX10" fmla="*/ 3649 w 10000"/>
                  <a:gd name="connsiteY10" fmla="*/ 0 h 10000"/>
                  <a:gd name="connsiteX11" fmla="*/ 3649 w 10000"/>
                  <a:gd name="connsiteY11" fmla="*/ 0 h 10000"/>
                  <a:gd name="connsiteX12" fmla="*/ 4305 w 10000"/>
                  <a:gd name="connsiteY12" fmla="*/ 298 h 10000"/>
                  <a:gd name="connsiteX13" fmla="*/ 9998 w 10000"/>
                  <a:gd name="connsiteY13" fmla="*/ 5508 h 10000"/>
                  <a:gd name="connsiteX14" fmla="*/ 4991 w 10000"/>
                  <a:gd name="connsiteY14" fmla="*/ 10000 h 10000"/>
                  <a:gd name="connsiteX0" fmla="*/ 4991 w 10000"/>
                  <a:gd name="connsiteY0" fmla="*/ 10000 h 10000"/>
                  <a:gd name="connsiteX1" fmla="*/ 0 w 10000"/>
                  <a:gd name="connsiteY1" fmla="*/ 5855 h 10000"/>
                  <a:gd name="connsiteX2" fmla="*/ 1532 w 10000"/>
                  <a:gd name="connsiteY2" fmla="*/ 3771 h 10000"/>
                  <a:gd name="connsiteX3" fmla="*/ 1532 w 10000"/>
                  <a:gd name="connsiteY3" fmla="*/ 3771 h 10000"/>
                  <a:gd name="connsiteX4" fmla="*/ 1897 w 10000"/>
                  <a:gd name="connsiteY4" fmla="*/ 3473 h 10000"/>
                  <a:gd name="connsiteX5" fmla="*/ 2554 w 10000"/>
                  <a:gd name="connsiteY5" fmla="*/ 2729 h 10000"/>
                  <a:gd name="connsiteX6" fmla="*/ 2992 w 10000"/>
                  <a:gd name="connsiteY6" fmla="*/ 2134 h 10000"/>
                  <a:gd name="connsiteX7" fmla="*/ 3283 w 10000"/>
                  <a:gd name="connsiteY7" fmla="*/ 1539 h 10000"/>
                  <a:gd name="connsiteX8" fmla="*/ 3503 w 10000"/>
                  <a:gd name="connsiteY8" fmla="*/ 794 h 10000"/>
                  <a:gd name="connsiteX9" fmla="*/ 3649 w 10000"/>
                  <a:gd name="connsiteY9" fmla="*/ 0 h 10000"/>
                  <a:gd name="connsiteX10" fmla="*/ 3649 w 10000"/>
                  <a:gd name="connsiteY10" fmla="*/ 0 h 10000"/>
                  <a:gd name="connsiteX11" fmla="*/ 4305 w 10000"/>
                  <a:gd name="connsiteY11" fmla="*/ 298 h 10000"/>
                  <a:gd name="connsiteX12" fmla="*/ 9998 w 10000"/>
                  <a:gd name="connsiteY12" fmla="*/ 5508 h 10000"/>
                  <a:gd name="connsiteX13" fmla="*/ 4991 w 10000"/>
                  <a:gd name="connsiteY13" fmla="*/ 10000 h 10000"/>
                  <a:gd name="connsiteX0" fmla="*/ 4991 w 10000"/>
                  <a:gd name="connsiteY0" fmla="*/ 10000 h 10000"/>
                  <a:gd name="connsiteX1" fmla="*/ 0 w 10000"/>
                  <a:gd name="connsiteY1" fmla="*/ 5855 h 10000"/>
                  <a:gd name="connsiteX2" fmla="*/ 1532 w 10000"/>
                  <a:gd name="connsiteY2" fmla="*/ 3771 h 10000"/>
                  <a:gd name="connsiteX3" fmla="*/ 1897 w 10000"/>
                  <a:gd name="connsiteY3" fmla="*/ 3473 h 10000"/>
                  <a:gd name="connsiteX4" fmla="*/ 2554 w 10000"/>
                  <a:gd name="connsiteY4" fmla="*/ 2729 h 10000"/>
                  <a:gd name="connsiteX5" fmla="*/ 2992 w 10000"/>
                  <a:gd name="connsiteY5" fmla="*/ 2134 h 10000"/>
                  <a:gd name="connsiteX6" fmla="*/ 3283 w 10000"/>
                  <a:gd name="connsiteY6" fmla="*/ 1539 h 10000"/>
                  <a:gd name="connsiteX7" fmla="*/ 3503 w 10000"/>
                  <a:gd name="connsiteY7" fmla="*/ 794 h 10000"/>
                  <a:gd name="connsiteX8" fmla="*/ 3649 w 10000"/>
                  <a:gd name="connsiteY8" fmla="*/ 0 h 10000"/>
                  <a:gd name="connsiteX9" fmla="*/ 3649 w 10000"/>
                  <a:gd name="connsiteY9" fmla="*/ 0 h 10000"/>
                  <a:gd name="connsiteX10" fmla="*/ 4305 w 10000"/>
                  <a:gd name="connsiteY10" fmla="*/ 298 h 10000"/>
                  <a:gd name="connsiteX11" fmla="*/ 9998 w 10000"/>
                  <a:gd name="connsiteY11" fmla="*/ 5508 h 10000"/>
                  <a:gd name="connsiteX12" fmla="*/ 4991 w 10000"/>
                  <a:gd name="connsiteY12" fmla="*/ 10000 h 10000"/>
                  <a:gd name="connsiteX0" fmla="*/ 4991 w 10000"/>
                  <a:gd name="connsiteY0" fmla="*/ 10000 h 10000"/>
                  <a:gd name="connsiteX1" fmla="*/ 0 w 10000"/>
                  <a:gd name="connsiteY1" fmla="*/ 5855 h 10000"/>
                  <a:gd name="connsiteX2" fmla="*/ 1532 w 10000"/>
                  <a:gd name="connsiteY2" fmla="*/ 3771 h 10000"/>
                  <a:gd name="connsiteX3" fmla="*/ 2554 w 10000"/>
                  <a:gd name="connsiteY3" fmla="*/ 2729 h 10000"/>
                  <a:gd name="connsiteX4" fmla="*/ 2992 w 10000"/>
                  <a:gd name="connsiteY4" fmla="*/ 2134 h 10000"/>
                  <a:gd name="connsiteX5" fmla="*/ 3283 w 10000"/>
                  <a:gd name="connsiteY5" fmla="*/ 1539 h 10000"/>
                  <a:gd name="connsiteX6" fmla="*/ 3503 w 10000"/>
                  <a:gd name="connsiteY6" fmla="*/ 794 h 10000"/>
                  <a:gd name="connsiteX7" fmla="*/ 3649 w 10000"/>
                  <a:gd name="connsiteY7" fmla="*/ 0 h 10000"/>
                  <a:gd name="connsiteX8" fmla="*/ 3649 w 10000"/>
                  <a:gd name="connsiteY8" fmla="*/ 0 h 10000"/>
                  <a:gd name="connsiteX9" fmla="*/ 4305 w 10000"/>
                  <a:gd name="connsiteY9" fmla="*/ 298 h 10000"/>
                  <a:gd name="connsiteX10" fmla="*/ 9998 w 10000"/>
                  <a:gd name="connsiteY10" fmla="*/ 5508 h 10000"/>
                  <a:gd name="connsiteX11" fmla="*/ 4991 w 10000"/>
                  <a:gd name="connsiteY11" fmla="*/ 10000 h 10000"/>
                  <a:gd name="connsiteX0" fmla="*/ 4991 w 10000"/>
                  <a:gd name="connsiteY0" fmla="*/ 10000 h 10000"/>
                  <a:gd name="connsiteX1" fmla="*/ 0 w 10000"/>
                  <a:gd name="connsiteY1" fmla="*/ 5855 h 10000"/>
                  <a:gd name="connsiteX2" fmla="*/ 2554 w 10000"/>
                  <a:gd name="connsiteY2" fmla="*/ 2729 h 10000"/>
                  <a:gd name="connsiteX3" fmla="*/ 2992 w 10000"/>
                  <a:gd name="connsiteY3" fmla="*/ 2134 h 10000"/>
                  <a:gd name="connsiteX4" fmla="*/ 3283 w 10000"/>
                  <a:gd name="connsiteY4" fmla="*/ 1539 h 10000"/>
                  <a:gd name="connsiteX5" fmla="*/ 3503 w 10000"/>
                  <a:gd name="connsiteY5" fmla="*/ 794 h 10000"/>
                  <a:gd name="connsiteX6" fmla="*/ 3649 w 10000"/>
                  <a:gd name="connsiteY6" fmla="*/ 0 h 10000"/>
                  <a:gd name="connsiteX7" fmla="*/ 3649 w 10000"/>
                  <a:gd name="connsiteY7" fmla="*/ 0 h 10000"/>
                  <a:gd name="connsiteX8" fmla="*/ 4305 w 10000"/>
                  <a:gd name="connsiteY8" fmla="*/ 298 h 10000"/>
                  <a:gd name="connsiteX9" fmla="*/ 9998 w 10000"/>
                  <a:gd name="connsiteY9" fmla="*/ 5508 h 10000"/>
                  <a:gd name="connsiteX10" fmla="*/ 4991 w 10000"/>
                  <a:gd name="connsiteY10" fmla="*/ 10000 h 10000"/>
                  <a:gd name="connsiteX0" fmla="*/ 4991 w 10000"/>
                  <a:gd name="connsiteY0" fmla="*/ 10000 h 10000"/>
                  <a:gd name="connsiteX1" fmla="*/ 0 w 10000"/>
                  <a:gd name="connsiteY1" fmla="*/ 5855 h 10000"/>
                  <a:gd name="connsiteX2" fmla="*/ 2992 w 10000"/>
                  <a:gd name="connsiteY2" fmla="*/ 2134 h 10000"/>
                  <a:gd name="connsiteX3" fmla="*/ 3283 w 10000"/>
                  <a:gd name="connsiteY3" fmla="*/ 1539 h 10000"/>
                  <a:gd name="connsiteX4" fmla="*/ 3503 w 10000"/>
                  <a:gd name="connsiteY4" fmla="*/ 794 h 10000"/>
                  <a:gd name="connsiteX5" fmla="*/ 3649 w 10000"/>
                  <a:gd name="connsiteY5" fmla="*/ 0 h 10000"/>
                  <a:gd name="connsiteX6" fmla="*/ 3649 w 10000"/>
                  <a:gd name="connsiteY6" fmla="*/ 0 h 10000"/>
                  <a:gd name="connsiteX7" fmla="*/ 4305 w 10000"/>
                  <a:gd name="connsiteY7" fmla="*/ 298 h 10000"/>
                  <a:gd name="connsiteX8" fmla="*/ 9998 w 10000"/>
                  <a:gd name="connsiteY8" fmla="*/ 5508 h 10000"/>
                  <a:gd name="connsiteX9" fmla="*/ 4991 w 10000"/>
                  <a:gd name="connsiteY9" fmla="*/ 10000 h 10000"/>
                  <a:gd name="connsiteX0" fmla="*/ 4991 w 10000"/>
                  <a:gd name="connsiteY0" fmla="*/ 10000 h 10000"/>
                  <a:gd name="connsiteX1" fmla="*/ 0 w 10000"/>
                  <a:gd name="connsiteY1" fmla="*/ 5855 h 10000"/>
                  <a:gd name="connsiteX2" fmla="*/ 3283 w 10000"/>
                  <a:gd name="connsiteY2" fmla="*/ 1539 h 10000"/>
                  <a:gd name="connsiteX3" fmla="*/ 3503 w 10000"/>
                  <a:gd name="connsiteY3" fmla="*/ 794 h 10000"/>
                  <a:gd name="connsiteX4" fmla="*/ 3649 w 10000"/>
                  <a:gd name="connsiteY4" fmla="*/ 0 h 10000"/>
                  <a:gd name="connsiteX5" fmla="*/ 3649 w 10000"/>
                  <a:gd name="connsiteY5" fmla="*/ 0 h 10000"/>
                  <a:gd name="connsiteX6" fmla="*/ 4305 w 10000"/>
                  <a:gd name="connsiteY6" fmla="*/ 298 h 10000"/>
                  <a:gd name="connsiteX7" fmla="*/ 9998 w 10000"/>
                  <a:gd name="connsiteY7" fmla="*/ 5508 h 10000"/>
                  <a:gd name="connsiteX8" fmla="*/ 4991 w 10000"/>
                  <a:gd name="connsiteY8" fmla="*/ 10000 h 10000"/>
                  <a:gd name="connsiteX0" fmla="*/ 4991 w 10000"/>
                  <a:gd name="connsiteY0" fmla="*/ 10000 h 10000"/>
                  <a:gd name="connsiteX1" fmla="*/ 0 w 10000"/>
                  <a:gd name="connsiteY1" fmla="*/ 5855 h 10000"/>
                  <a:gd name="connsiteX2" fmla="*/ 3503 w 10000"/>
                  <a:gd name="connsiteY2" fmla="*/ 794 h 10000"/>
                  <a:gd name="connsiteX3" fmla="*/ 3649 w 10000"/>
                  <a:gd name="connsiteY3" fmla="*/ 0 h 10000"/>
                  <a:gd name="connsiteX4" fmla="*/ 3649 w 10000"/>
                  <a:gd name="connsiteY4" fmla="*/ 0 h 10000"/>
                  <a:gd name="connsiteX5" fmla="*/ 4305 w 10000"/>
                  <a:gd name="connsiteY5" fmla="*/ 298 h 10000"/>
                  <a:gd name="connsiteX6" fmla="*/ 9998 w 10000"/>
                  <a:gd name="connsiteY6" fmla="*/ 5508 h 10000"/>
                  <a:gd name="connsiteX7" fmla="*/ 4991 w 10000"/>
                  <a:gd name="connsiteY7"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4305 w 10000"/>
                  <a:gd name="connsiteY4" fmla="*/ 298 h 10000"/>
                  <a:gd name="connsiteX5" fmla="*/ 9998 w 10000"/>
                  <a:gd name="connsiteY5" fmla="*/ 5508 h 10000"/>
                  <a:gd name="connsiteX6" fmla="*/ 4991 w 10000"/>
                  <a:gd name="connsiteY6"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9998 w 10000"/>
                  <a:gd name="connsiteY4" fmla="*/ 5508 h 10000"/>
                  <a:gd name="connsiteX5" fmla="*/ 4991 w 10000"/>
                  <a:gd name="connsiteY5" fmla="*/ 10000 h 10000"/>
                  <a:gd name="connsiteX0" fmla="*/ 4991 w 10004"/>
                  <a:gd name="connsiteY0" fmla="*/ 10000 h 10000"/>
                  <a:gd name="connsiteX1" fmla="*/ 0 w 10004"/>
                  <a:gd name="connsiteY1" fmla="*/ 5855 h 10000"/>
                  <a:gd name="connsiteX2" fmla="*/ 3649 w 10004"/>
                  <a:gd name="connsiteY2" fmla="*/ 0 h 10000"/>
                  <a:gd name="connsiteX3" fmla="*/ 3649 w 10004"/>
                  <a:gd name="connsiteY3" fmla="*/ 0 h 10000"/>
                  <a:gd name="connsiteX4" fmla="*/ 9998 w 10004"/>
                  <a:gd name="connsiteY4" fmla="*/ 5508 h 10000"/>
                  <a:gd name="connsiteX5" fmla="*/ 4991 w 10004"/>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77 w 10090"/>
                  <a:gd name="connsiteY0" fmla="*/ 10000 h 10000"/>
                  <a:gd name="connsiteX1" fmla="*/ 86 w 10090"/>
                  <a:gd name="connsiteY1" fmla="*/ 5855 h 10000"/>
                  <a:gd name="connsiteX2" fmla="*/ 3735 w 10090"/>
                  <a:gd name="connsiteY2" fmla="*/ 0 h 10000"/>
                  <a:gd name="connsiteX3" fmla="*/ 3735 w 10090"/>
                  <a:gd name="connsiteY3" fmla="*/ 0 h 10000"/>
                  <a:gd name="connsiteX4" fmla="*/ 10084 w 10090"/>
                  <a:gd name="connsiteY4" fmla="*/ 5508 h 10000"/>
                  <a:gd name="connsiteX5" fmla="*/ 5077 w 10090"/>
                  <a:gd name="connsiteY5" fmla="*/ 10000 h 10000"/>
                  <a:gd name="connsiteX0" fmla="*/ 5060 w 10073"/>
                  <a:gd name="connsiteY0" fmla="*/ 10000 h 10000"/>
                  <a:gd name="connsiteX1" fmla="*/ 69 w 10073"/>
                  <a:gd name="connsiteY1" fmla="*/ 5855 h 10000"/>
                  <a:gd name="connsiteX2" fmla="*/ 3718 w 10073"/>
                  <a:gd name="connsiteY2" fmla="*/ 0 h 10000"/>
                  <a:gd name="connsiteX3" fmla="*/ 3718 w 10073"/>
                  <a:gd name="connsiteY3" fmla="*/ 0 h 10000"/>
                  <a:gd name="connsiteX4" fmla="*/ 10067 w 10073"/>
                  <a:gd name="connsiteY4" fmla="*/ 5508 h 10000"/>
                  <a:gd name="connsiteX5" fmla="*/ 5060 w 10073"/>
                  <a:gd name="connsiteY5" fmla="*/ 10000 h 10000"/>
                  <a:gd name="connsiteX0" fmla="*/ 4956 w 9965"/>
                  <a:gd name="connsiteY0" fmla="*/ 10000 h 10000"/>
                  <a:gd name="connsiteX1" fmla="*/ 36 w 9965"/>
                  <a:gd name="connsiteY1" fmla="*/ 5565 h 10000"/>
                  <a:gd name="connsiteX2" fmla="*/ 3614 w 9965"/>
                  <a:gd name="connsiteY2" fmla="*/ 0 h 10000"/>
                  <a:gd name="connsiteX3" fmla="*/ 3614 w 9965"/>
                  <a:gd name="connsiteY3" fmla="*/ 0 h 10000"/>
                  <a:gd name="connsiteX4" fmla="*/ 9963 w 9965"/>
                  <a:gd name="connsiteY4" fmla="*/ 5508 h 10000"/>
                  <a:gd name="connsiteX5" fmla="*/ 4956 w 9965"/>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37"/>
                  <a:gd name="connsiteY0" fmla="*/ 10000 h 10001"/>
                  <a:gd name="connsiteX1" fmla="*/ 171 w 10137"/>
                  <a:gd name="connsiteY1" fmla="*/ 5565 h 10001"/>
                  <a:gd name="connsiteX2" fmla="*/ 3762 w 10137"/>
                  <a:gd name="connsiteY2" fmla="*/ 0 h 10001"/>
                  <a:gd name="connsiteX3" fmla="*/ 4332 w 10137"/>
                  <a:gd name="connsiteY3" fmla="*/ 580 h 10001"/>
                  <a:gd name="connsiteX4" fmla="*/ 10133 w 10137"/>
                  <a:gd name="connsiteY4" fmla="*/ 5508 h 10001"/>
                  <a:gd name="connsiteX5" fmla="*/ 5108 w 10137"/>
                  <a:gd name="connsiteY5" fmla="*/ 10000 h 10001"/>
                  <a:gd name="connsiteX0" fmla="*/ 5108 w 10151"/>
                  <a:gd name="connsiteY0" fmla="*/ 10145 h 10146"/>
                  <a:gd name="connsiteX1" fmla="*/ 171 w 10151"/>
                  <a:gd name="connsiteY1" fmla="*/ 5710 h 10146"/>
                  <a:gd name="connsiteX2" fmla="*/ 3762 w 10151"/>
                  <a:gd name="connsiteY2" fmla="*/ 145 h 10146"/>
                  <a:gd name="connsiteX3" fmla="*/ 6685 w 10151"/>
                  <a:gd name="connsiteY3" fmla="*/ 0 h 10146"/>
                  <a:gd name="connsiteX4" fmla="*/ 10133 w 10151"/>
                  <a:gd name="connsiteY4" fmla="*/ 5653 h 10146"/>
                  <a:gd name="connsiteX5" fmla="*/ 5108 w 10151"/>
                  <a:gd name="connsiteY5" fmla="*/ 10145 h 10146"/>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46"/>
                  <a:gd name="connsiteY0" fmla="*/ 10000 h 10001"/>
                  <a:gd name="connsiteX1" fmla="*/ 171 w 10146"/>
                  <a:gd name="connsiteY1" fmla="*/ 5565 h 10001"/>
                  <a:gd name="connsiteX2" fmla="*/ 3762 w 10146"/>
                  <a:gd name="connsiteY2" fmla="*/ 0 h 10001"/>
                  <a:gd name="connsiteX3" fmla="*/ 10133 w 10146"/>
                  <a:gd name="connsiteY3" fmla="*/ 5508 h 10001"/>
                  <a:gd name="connsiteX4" fmla="*/ 5108 w 10146"/>
                  <a:gd name="connsiteY4" fmla="*/ 10000 h 10001"/>
                  <a:gd name="connsiteX0" fmla="*/ 5108 w 10135"/>
                  <a:gd name="connsiteY0" fmla="*/ 10000 h 10001"/>
                  <a:gd name="connsiteX1" fmla="*/ 171 w 10135"/>
                  <a:gd name="connsiteY1" fmla="*/ 5565 h 10001"/>
                  <a:gd name="connsiteX2" fmla="*/ 3762 w 10135"/>
                  <a:gd name="connsiteY2" fmla="*/ 0 h 10001"/>
                  <a:gd name="connsiteX3" fmla="*/ 10133 w 10135"/>
                  <a:gd name="connsiteY3" fmla="*/ 5508 h 10001"/>
                  <a:gd name="connsiteX4" fmla="*/ 5108 w 10135"/>
                  <a:gd name="connsiteY4" fmla="*/ 10000 h 10001"/>
                  <a:gd name="connsiteX0" fmla="*/ 5108 w 10139"/>
                  <a:gd name="connsiteY0" fmla="*/ 10000 h 10001"/>
                  <a:gd name="connsiteX1" fmla="*/ 171 w 10139"/>
                  <a:gd name="connsiteY1" fmla="*/ 5565 h 10001"/>
                  <a:gd name="connsiteX2" fmla="*/ 3762 w 10139"/>
                  <a:gd name="connsiteY2" fmla="*/ 0 h 10001"/>
                  <a:gd name="connsiteX3" fmla="*/ 10133 w 10139"/>
                  <a:gd name="connsiteY3" fmla="*/ 5508 h 10001"/>
                  <a:gd name="connsiteX4" fmla="*/ 5108 w 10139"/>
                  <a:gd name="connsiteY4" fmla="*/ 10000 h 10001"/>
                  <a:gd name="connsiteX0" fmla="*/ 5108 w 10164"/>
                  <a:gd name="connsiteY0" fmla="*/ 10000 h 10001"/>
                  <a:gd name="connsiteX1" fmla="*/ 171 w 10164"/>
                  <a:gd name="connsiteY1" fmla="*/ 5565 h 10001"/>
                  <a:gd name="connsiteX2" fmla="*/ 3762 w 10164"/>
                  <a:gd name="connsiteY2" fmla="*/ 0 h 10001"/>
                  <a:gd name="connsiteX3" fmla="*/ 10133 w 10164"/>
                  <a:gd name="connsiteY3" fmla="*/ 5508 h 10001"/>
                  <a:gd name="connsiteX4" fmla="*/ 5108 w 10164"/>
                  <a:gd name="connsiteY4" fmla="*/ 10000 h 10001"/>
                  <a:gd name="connsiteX0" fmla="*/ 5088 w 10139"/>
                  <a:gd name="connsiteY0" fmla="*/ 10000 h 10000"/>
                  <a:gd name="connsiteX1" fmla="*/ 151 w 10139"/>
                  <a:gd name="connsiteY1" fmla="*/ 5565 h 10000"/>
                  <a:gd name="connsiteX2" fmla="*/ 3742 w 10139"/>
                  <a:gd name="connsiteY2" fmla="*/ 0 h 10000"/>
                  <a:gd name="connsiteX3" fmla="*/ 10113 w 10139"/>
                  <a:gd name="connsiteY3" fmla="*/ 5605 h 10000"/>
                  <a:gd name="connsiteX4" fmla="*/ 5088 w 10139"/>
                  <a:gd name="connsiteY4" fmla="*/ 10000 h 10000"/>
                  <a:gd name="connsiteX0" fmla="*/ 5088 w 10173"/>
                  <a:gd name="connsiteY0" fmla="*/ 10000 h 10000"/>
                  <a:gd name="connsiteX1" fmla="*/ 151 w 10173"/>
                  <a:gd name="connsiteY1" fmla="*/ 5565 h 10000"/>
                  <a:gd name="connsiteX2" fmla="*/ 3742 w 10173"/>
                  <a:gd name="connsiteY2" fmla="*/ 0 h 10000"/>
                  <a:gd name="connsiteX3" fmla="*/ 10113 w 10173"/>
                  <a:gd name="connsiteY3" fmla="*/ 5605 h 10000"/>
                  <a:gd name="connsiteX4" fmla="*/ 5088 w 10173"/>
                  <a:gd name="connsiteY4" fmla="*/ 10000 h 10000"/>
                  <a:gd name="connsiteX0" fmla="*/ 5108 w 10202"/>
                  <a:gd name="connsiteY0" fmla="*/ 10000 h 10000"/>
                  <a:gd name="connsiteX1" fmla="*/ 171 w 10202"/>
                  <a:gd name="connsiteY1" fmla="*/ 5565 h 10000"/>
                  <a:gd name="connsiteX2" fmla="*/ 3762 w 10202"/>
                  <a:gd name="connsiteY2" fmla="*/ 0 h 10000"/>
                  <a:gd name="connsiteX3" fmla="*/ 10133 w 10202"/>
                  <a:gd name="connsiteY3" fmla="*/ 5605 h 10000"/>
                  <a:gd name="connsiteX4" fmla="*/ 5108 w 10202"/>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2" h="10000">
                    <a:moveTo>
                      <a:pt x="5108" y="10000"/>
                    </a:moveTo>
                    <a:cubicBezTo>
                      <a:pt x="2806" y="10041"/>
                      <a:pt x="-834" y="8097"/>
                      <a:pt x="171" y="5565"/>
                    </a:cubicBezTo>
                    <a:cubicBezTo>
                      <a:pt x="1176" y="3033"/>
                      <a:pt x="4038" y="3160"/>
                      <a:pt x="3762" y="0"/>
                    </a:cubicBezTo>
                    <a:cubicBezTo>
                      <a:pt x="6670" y="1353"/>
                      <a:pt x="9540" y="2513"/>
                      <a:pt x="10133" y="5605"/>
                    </a:cubicBezTo>
                    <a:cubicBezTo>
                      <a:pt x="10726" y="8697"/>
                      <a:pt x="7410" y="9959"/>
                      <a:pt x="5108" y="1000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a:lnSpc>
                    <a:spcPct val="90000"/>
                  </a:lnSpc>
                </a:pPr>
                <a:endParaRPr lang="en-US" sz="1200"/>
              </a:p>
            </p:txBody>
          </p:sp>
        </p:grpSp>
      </p:grpSp>
      <p:grpSp>
        <p:nvGrpSpPr>
          <p:cNvPr id="107" name="Group 106">
            <a:extLst>
              <a:ext uri="{FF2B5EF4-FFF2-40B4-BE49-F238E27FC236}">
                <a16:creationId xmlns:a16="http://schemas.microsoft.com/office/drawing/2014/main" id="{EF4DB1DE-2D29-4B72-B359-BAC5EA2258B0}"/>
              </a:ext>
            </a:extLst>
          </p:cNvPr>
          <p:cNvGrpSpPr/>
          <p:nvPr/>
        </p:nvGrpSpPr>
        <p:grpSpPr bwMode="gray">
          <a:xfrm>
            <a:off x="11137723" y="3981057"/>
            <a:ext cx="743958" cy="643249"/>
            <a:chOff x="10435243" y="3828862"/>
            <a:chExt cx="743958" cy="643249"/>
          </a:xfrm>
        </p:grpSpPr>
        <p:grpSp>
          <p:nvGrpSpPr>
            <p:cNvPr id="115" name="Group 114">
              <a:extLst>
                <a:ext uri="{FF2B5EF4-FFF2-40B4-BE49-F238E27FC236}">
                  <a16:creationId xmlns:a16="http://schemas.microsoft.com/office/drawing/2014/main" id="{4241B390-DD38-421C-B42A-337B07539E75}"/>
                </a:ext>
              </a:extLst>
            </p:cNvPr>
            <p:cNvGrpSpPr/>
            <p:nvPr/>
          </p:nvGrpSpPr>
          <p:grpSpPr bwMode="gray">
            <a:xfrm>
              <a:off x="10599656" y="3828862"/>
              <a:ext cx="415133" cy="194710"/>
              <a:chOff x="10515916" y="3811924"/>
              <a:chExt cx="487364" cy="228587"/>
            </a:xfrm>
          </p:grpSpPr>
          <p:grpSp>
            <p:nvGrpSpPr>
              <p:cNvPr id="117" name="Group 116">
                <a:extLst>
                  <a:ext uri="{FF2B5EF4-FFF2-40B4-BE49-F238E27FC236}">
                    <a16:creationId xmlns:a16="http://schemas.microsoft.com/office/drawing/2014/main" id="{F4CA63E9-A7C4-4898-B7C7-17BB659522F8}"/>
                  </a:ext>
                </a:extLst>
              </p:cNvPr>
              <p:cNvGrpSpPr/>
              <p:nvPr/>
            </p:nvGrpSpPr>
            <p:grpSpPr bwMode="gray">
              <a:xfrm>
                <a:off x="10515916" y="3811924"/>
                <a:ext cx="228586" cy="228587"/>
                <a:chOff x="10833472" y="5375716"/>
                <a:chExt cx="212874" cy="212875"/>
              </a:xfrm>
            </p:grpSpPr>
            <p:sp>
              <p:nvSpPr>
                <p:cNvPr id="122" name="Freeform 90">
                  <a:extLst>
                    <a:ext uri="{FF2B5EF4-FFF2-40B4-BE49-F238E27FC236}">
                      <a16:creationId xmlns:a16="http://schemas.microsoft.com/office/drawing/2014/main" id="{6750D125-2176-41BF-9E56-E13228677689}"/>
                    </a:ext>
                  </a:extLst>
                </p:cNvPr>
                <p:cNvSpPr>
                  <a:spLocks/>
                </p:cNvSpPr>
                <p:nvPr/>
              </p:nvSpPr>
              <p:spPr bwMode="gray">
                <a:xfrm rot="2700000">
                  <a:off x="10920767" y="5463011"/>
                  <a:ext cx="38284" cy="38285"/>
                </a:xfrm>
                <a:prstGeom prst="ellips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123" name="Freeform 91">
                  <a:extLst>
                    <a:ext uri="{FF2B5EF4-FFF2-40B4-BE49-F238E27FC236}">
                      <a16:creationId xmlns:a16="http://schemas.microsoft.com/office/drawing/2014/main" id="{500C23B9-C5FC-4D35-B8AD-554B0D7430E7}"/>
                    </a:ext>
                  </a:extLst>
                </p:cNvPr>
                <p:cNvSpPr>
                  <a:spLocks/>
                </p:cNvSpPr>
                <p:nvPr/>
              </p:nvSpPr>
              <p:spPr bwMode="gray">
                <a:xfrm rot="2700000">
                  <a:off x="10895244" y="5437488"/>
                  <a:ext cx="89330" cy="89330"/>
                </a:xfrm>
                <a:prstGeom prst="ellips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124" name="Freeform: Shape 123">
                  <a:extLst>
                    <a:ext uri="{FF2B5EF4-FFF2-40B4-BE49-F238E27FC236}">
                      <a16:creationId xmlns:a16="http://schemas.microsoft.com/office/drawing/2014/main" id="{ED7992EA-A5CA-4222-A800-185545A33039}"/>
                    </a:ext>
                  </a:extLst>
                </p:cNvPr>
                <p:cNvSpPr/>
                <p:nvPr/>
              </p:nvSpPr>
              <p:spPr bwMode="gray">
                <a:xfrm rot="2700000">
                  <a:off x="10977440" y="5375716"/>
                  <a:ext cx="49496" cy="88317"/>
                </a:xfrm>
                <a:custGeom>
                  <a:avLst/>
                  <a:gdLst>
                    <a:gd name="connsiteX0" fmla="*/ 312891 w 625781"/>
                    <a:gd name="connsiteY0" fmla="*/ 0 h 1116609"/>
                    <a:gd name="connsiteX1" fmla="*/ 592943 w 625781"/>
                    <a:gd name="connsiteY1" fmla="*/ 199547 h 1116609"/>
                    <a:gd name="connsiteX2" fmla="*/ 608688 w 625781"/>
                    <a:gd name="connsiteY2" fmla="*/ 254073 h 1116609"/>
                    <a:gd name="connsiteX3" fmla="*/ 610717 w 625781"/>
                    <a:gd name="connsiteY3" fmla="*/ 259700 h 1116609"/>
                    <a:gd name="connsiteX4" fmla="*/ 601128 w 625781"/>
                    <a:gd name="connsiteY4" fmla="*/ 573182 h 1116609"/>
                    <a:gd name="connsiteX5" fmla="*/ 454113 w 625781"/>
                    <a:gd name="connsiteY5" fmla="*/ 995588 h 1116609"/>
                    <a:gd name="connsiteX6" fmla="*/ 406296 w 625781"/>
                    <a:gd name="connsiteY6" fmla="*/ 1116560 h 1116609"/>
                    <a:gd name="connsiteX7" fmla="*/ 312890 w 625781"/>
                    <a:gd name="connsiteY7" fmla="*/ 1107144 h 1116609"/>
                    <a:gd name="connsiteX8" fmla="*/ 219001 w 625781"/>
                    <a:gd name="connsiteY8" fmla="*/ 1116609 h 1116609"/>
                    <a:gd name="connsiteX9" fmla="*/ 168436 w 625781"/>
                    <a:gd name="connsiteY9" fmla="*/ 989547 h 1116609"/>
                    <a:gd name="connsiteX10" fmla="*/ 24653 w 625781"/>
                    <a:gd name="connsiteY10" fmla="*/ 573182 h 1116609"/>
                    <a:gd name="connsiteX11" fmla="*/ 15064 w 625781"/>
                    <a:gd name="connsiteY11" fmla="*/ 259700 h 1116609"/>
                    <a:gd name="connsiteX12" fmla="*/ 17095 w 625781"/>
                    <a:gd name="connsiteY12" fmla="*/ 254066 h 1116609"/>
                    <a:gd name="connsiteX13" fmla="*/ 32839 w 625781"/>
                    <a:gd name="connsiteY13" fmla="*/ 199547 h 1116609"/>
                    <a:gd name="connsiteX14" fmla="*/ 312891 w 625781"/>
                    <a:gd name="connsiteY14" fmla="*/ 0 h 111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5781" h="1116609">
                      <a:moveTo>
                        <a:pt x="312891" y="0"/>
                      </a:moveTo>
                      <a:cubicBezTo>
                        <a:pt x="438786" y="0"/>
                        <a:pt x="546802" y="82282"/>
                        <a:pt x="592943" y="199547"/>
                      </a:cubicBezTo>
                      <a:lnTo>
                        <a:pt x="608688" y="254073"/>
                      </a:lnTo>
                      <a:lnTo>
                        <a:pt x="610717" y="259700"/>
                      </a:lnTo>
                      <a:cubicBezTo>
                        <a:pt x="634090" y="348834"/>
                        <a:pt x="629787" y="456801"/>
                        <a:pt x="601128" y="573182"/>
                      </a:cubicBezTo>
                      <a:cubicBezTo>
                        <a:pt x="565967" y="701371"/>
                        <a:pt x="508517" y="856074"/>
                        <a:pt x="454113" y="995588"/>
                      </a:cubicBezTo>
                      <a:lnTo>
                        <a:pt x="406296" y="1116560"/>
                      </a:lnTo>
                      <a:lnTo>
                        <a:pt x="312890" y="1107144"/>
                      </a:lnTo>
                      <a:lnTo>
                        <a:pt x="219001" y="1116609"/>
                      </a:lnTo>
                      <a:lnTo>
                        <a:pt x="168436" y="989547"/>
                      </a:lnTo>
                      <a:cubicBezTo>
                        <a:pt x="112954" y="848019"/>
                        <a:pt x="55504" y="693317"/>
                        <a:pt x="24653" y="573182"/>
                      </a:cubicBezTo>
                      <a:cubicBezTo>
                        <a:pt x="-4006" y="456801"/>
                        <a:pt x="-8309" y="348834"/>
                        <a:pt x="15064" y="259700"/>
                      </a:cubicBezTo>
                      <a:lnTo>
                        <a:pt x="17095" y="254066"/>
                      </a:lnTo>
                      <a:lnTo>
                        <a:pt x="32839" y="199547"/>
                      </a:lnTo>
                      <a:cubicBezTo>
                        <a:pt x="78979" y="82282"/>
                        <a:pt x="186996" y="0"/>
                        <a:pt x="312891" y="0"/>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125" name="Freeform: Shape 124">
                  <a:extLst>
                    <a:ext uri="{FF2B5EF4-FFF2-40B4-BE49-F238E27FC236}">
                      <a16:creationId xmlns:a16="http://schemas.microsoft.com/office/drawing/2014/main" id="{E4D4C34B-CA74-4D37-8CBF-E7F87CBC0BDE}"/>
                    </a:ext>
                  </a:extLst>
                </p:cNvPr>
                <p:cNvSpPr/>
                <p:nvPr/>
              </p:nvSpPr>
              <p:spPr bwMode="gray">
                <a:xfrm rot="13500000">
                  <a:off x="10852883" y="5500273"/>
                  <a:ext cx="49496" cy="88318"/>
                </a:xfrm>
                <a:custGeom>
                  <a:avLst/>
                  <a:gdLst>
                    <a:gd name="connsiteX0" fmla="*/ 219001 w 625781"/>
                    <a:gd name="connsiteY0" fmla="*/ 1116610 h 1116610"/>
                    <a:gd name="connsiteX1" fmla="*/ 168435 w 625781"/>
                    <a:gd name="connsiteY1" fmla="*/ 989547 h 1116610"/>
                    <a:gd name="connsiteX2" fmla="*/ 24653 w 625781"/>
                    <a:gd name="connsiteY2" fmla="*/ 573182 h 1116610"/>
                    <a:gd name="connsiteX3" fmla="*/ 15064 w 625781"/>
                    <a:gd name="connsiteY3" fmla="*/ 259700 h 1116610"/>
                    <a:gd name="connsiteX4" fmla="*/ 17095 w 625781"/>
                    <a:gd name="connsiteY4" fmla="*/ 254066 h 1116610"/>
                    <a:gd name="connsiteX5" fmla="*/ 32839 w 625781"/>
                    <a:gd name="connsiteY5" fmla="*/ 199547 h 1116610"/>
                    <a:gd name="connsiteX6" fmla="*/ 312891 w 625781"/>
                    <a:gd name="connsiteY6" fmla="*/ 0 h 1116610"/>
                    <a:gd name="connsiteX7" fmla="*/ 592943 w 625781"/>
                    <a:gd name="connsiteY7" fmla="*/ 199547 h 1116610"/>
                    <a:gd name="connsiteX8" fmla="*/ 608688 w 625781"/>
                    <a:gd name="connsiteY8" fmla="*/ 254073 h 1116610"/>
                    <a:gd name="connsiteX9" fmla="*/ 610717 w 625781"/>
                    <a:gd name="connsiteY9" fmla="*/ 259700 h 1116610"/>
                    <a:gd name="connsiteX10" fmla="*/ 601128 w 625781"/>
                    <a:gd name="connsiteY10" fmla="*/ 573182 h 1116610"/>
                    <a:gd name="connsiteX11" fmla="*/ 454113 w 625781"/>
                    <a:gd name="connsiteY11" fmla="*/ 995588 h 1116610"/>
                    <a:gd name="connsiteX12" fmla="*/ 406296 w 625781"/>
                    <a:gd name="connsiteY12" fmla="*/ 1116561 h 1116610"/>
                    <a:gd name="connsiteX13" fmla="*/ 312891 w 625781"/>
                    <a:gd name="connsiteY13" fmla="*/ 1107145 h 111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5781" h="1116610">
                      <a:moveTo>
                        <a:pt x="219001" y="1116610"/>
                      </a:moveTo>
                      <a:lnTo>
                        <a:pt x="168435" y="989547"/>
                      </a:lnTo>
                      <a:cubicBezTo>
                        <a:pt x="112954" y="848019"/>
                        <a:pt x="55504" y="693317"/>
                        <a:pt x="24653" y="573182"/>
                      </a:cubicBezTo>
                      <a:cubicBezTo>
                        <a:pt x="-4006" y="456801"/>
                        <a:pt x="-8309" y="348834"/>
                        <a:pt x="15064" y="259700"/>
                      </a:cubicBezTo>
                      <a:lnTo>
                        <a:pt x="17095" y="254066"/>
                      </a:lnTo>
                      <a:lnTo>
                        <a:pt x="32839" y="199547"/>
                      </a:lnTo>
                      <a:cubicBezTo>
                        <a:pt x="78979" y="82282"/>
                        <a:pt x="186996" y="0"/>
                        <a:pt x="312891" y="0"/>
                      </a:cubicBezTo>
                      <a:cubicBezTo>
                        <a:pt x="438786" y="0"/>
                        <a:pt x="546802" y="82282"/>
                        <a:pt x="592943" y="199547"/>
                      </a:cubicBezTo>
                      <a:lnTo>
                        <a:pt x="608688" y="254073"/>
                      </a:lnTo>
                      <a:lnTo>
                        <a:pt x="610717" y="259700"/>
                      </a:lnTo>
                      <a:cubicBezTo>
                        <a:pt x="634090" y="348834"/>
                        <a:pt x="629787" y="456801"/>
                        <a:pt x="601128" y="573182"/>
                      </a:cubicBezTo>
                      <a:cubicBezTo>
                        <a:pt x="565967" y="701371"/>
                        <a:pt x="508518" y="856074"/>
                        <a:pt x="454113" y="995588"/>
                      </a:cubicBezTo>
                      <a:lnTo>
                        <a:pt x="406296" y="1116561"/>
                      </a:lnTo>
                      <a:lnTo>
                        <a:pt x="312891" y="1107145"/>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126" name="Freeform: Shape 125">
                  <a:extLst>
                    <a:ext uri="{FF2B5EF4-FFF2-40B4-BE49-F238E27FC236}">
                      <a16:creationId xmlns:a16="http://schemas.microsoft.com/office/drawing/2014/main" id="{F38F896B-8AEC-4716-8231-30B3681316F6}"/>
                    </a:ext>
                  </a:extLst>
                </p:cNvPr>
                <p:cNvSpPr/>
                <p:nvPr/>
              </p:nvSpPr>
              <p:spPr bwMode="gray">
                <a:xfrm rot="8100000">
                  <a:off x="10977440" y="5500273"/>
                  <a:ext cx="49496" cy="88318"/>
                </a:xfrm>
                <a:custGeom>
                  <a:avLst/>
                  <a:gdLst>
                    <a:gd name="connsiteX0" fmla="*/ 347 w 625781"/>
                    <a:gd name="connsiteY0" fmla="*/ 406223 h 1116610"/>
                    <a:gd name="connsiteX1" fmla="*/ 15064 w 625781"/>
                    <a:gd name="connsiteY1" fmla="*/ 259699 h 1116610"/>
                    <a:gd name="connsiteX2" fmla="*/ 17095 w 625781"/>
                    <a:gd name="connsiteY2" fmla="*/ 254066 h 1116610"/>
                    <a:gd name="connsiteX3" fmla="*/ 32839 w 625781"/>
                    <a:gd name="connsiteY3" fmla="*/ 199547 h 1116610"/>
                    <a:gd name="connsiteX4" fmla="*/ 312891 w 625781"/>
                    <a:gd name="connsiteY4" fmla="*/ 0 h 1116610"/>
                    <a:gd name="connsiteX5" fmla="*/ 592943 w 625781"/>
                    <a:gd name="connsiteY5" fmla="*/ 199547 h 1116610"/>
                    <a:gd name="connsiteX6" fmla="*/ 608688 w 625781"/>
                    <a:gd name="connsiteY6" fmla="*/ 254073 h 1116610"/>
                    <a:gd name="connsiteX7" fmla="*/ 610717 w 625781"/>
                    <a:gd name="connsiteY7" fmla="*/ 259699 h 1116610"/>
                    <a:gd name="connsiteX8" fmla="*/ 601128 w 625781"/>
                    <a:gd name="connsiteY8" fmla="*/ 573182 h 1116610"/>
                    <a:gd name="connsiteX9" fmla="*/ 454113 w 625781"/>
                    <a:gd name="connsiteY9" fmla="*/ 995588 h 1116610"/>
                    <a:gd name="connsiteX10" fmla="*/ 406296 w 625781"/>
                    <a:gd name="connsiteY10" fmla="*/ 1116561 h 1116610"/>
                    <a:gd name="connsiteX11" fmla="*/ 312890 w 625781"/>
                    <a:gd name="connsiteY11" fmla="*/ 1107145 h 1116610"/>
                    <a:gd name="connsiteX12" fmla="*/ 219001 w 625781"/>
                    <a:gd name="connsiteY12" fmla="*/ 1116610 h 1116610"/>
                    <a:gd name="connsiteX13" fmla="*/ 168436 w 625781"/>
                    <a:gd name="connsiteY13" fmla="*/ 989547 h 1116610"/>
                    <a:gd name="connsiteX14" fmla="*/ 24653 w 625781"/>
                    <a:gd name="connsiteY14" fmla="*/ 573182 h 1116610"/>
                    <a:gd name="connsiteX15" fmla="*/ 347 w 625781"/>
                    <a:gd name="connsiteY15" fmla="*/ 406223 h 111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781" h="1116610">
                      <a:moveTo>
                        <a:pt x="347" y="406223"/>
                      </a:moveTo>
                      <a:cubicBezTo>
                        <a:pt x="-1390" y="353542"/>
                        <a:pt x="3378" y="304266"/>
                        <a:pt x="15064" y="259699"/>
                      </a:cubicBezTo>
                      <a:lnTo>
                        <a:pt x="17095" y="254066"/>
                      </a:lnTo>
                      <a:lnTo>
                        <a:pt x="32839" y="199547"/>
                      </a:lnTo>
                      <a:cubicBezTo>
                        <a:pt x="78979" y="82282"/>
                        <a:pt x="186996" y="0"/>
                        <a:pt x="312891" y="0"/>
                      </a:cubicBezTo>
                      <a:cubicBezTo>
                        <a:pt x="438786" y="0"/>
                        <a:pt x="546802" y="82282"/>
                        <a:pt x="592943" y="199547"/>
                      </a:cubicBezTo>
                      <a:lnTo>
                        <a:pt x="608688" y="254073"/>
                      </a:lnTo>
                      <a:lnTo>
                        <a:pt x="610717" y="259699"/>
                      </a:lnTo>
                      <a:cubicBezTo>
                        <a:pt x="634090" y="348834"/>
                        <a:pt x="629787" y="456801"/>
                        <a:pt x="601128" y="573182"/>
                      </a:cubicBezTo>
                      <a:cubicBezTo>
                        <a:pt x="565967" y="701371"/>
                        <a:pt x="508517" y="856074"/>
                        <a:pt x="454113" y="995588"/>
                      </a:cubicBezTo>
                      <a:lnTo>
                        <a:pt x="406296" y="1116561"/>
                      </a:lnTo>
                      <a:lnTo>
                        <a:pt x="312890" y="1107145"/>
                      </a:lnTo>
                      <a:lnTo>
                        <a:pt x="219001" y="1116610"/>
                      </a:lnTo>
                      <a:lnTo>
                        <a:pt x="168436" y="989547"/>
                      </a:lnTo>
                      <a:cubicBezTo>
                        <a:pt x="112954" y="848019"/>
                        <a:pt x="55504" y="693317"/>
                        <a:pt x="24653" y="573182"/>
                      </a:cubicBezTo>
                      <a:cubicBezTo>
                        <a:pt x="10324" y="514992"/>
                        <a:pt x="2083" y="458904"/>
                        <a:pt x="347" y="406223"/>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127" name="Freeform: Shape 126">
                  <a:extLst>
                    <a:ext uri="{FF2B5EF4-FFF2-40B4-BE49-F238E27FC236}">
                      <a16:creationId xmlns:a16="http://schemas.microsoft.com/office/drawing/2014/main" id="{FCE8D7FB-7A73-4E87-B0F4-13BAEAE46E81}"/>
                    </a:ext>
                  </a:extLst>
                </p:cNvPr>
                <p:cNvSpPr/>
                <p:nvPr/>
              </p:nvSpPr>
              <p:spPr bwMode="gray">
                <a:xfrm rot="18900000">
                  <a:off x="10852883" y="5375716"/>
                  <a:ext cx="49496" cy="88317"/>
                </a:xfrm>
                <a:custGeom>
                  <a:avLst/>
                  <a:gdLst>
                    <a:gd name="connsiteX0" fmla="*/ 625434 w 625780"/>
                    <a:gd name="connsiteY0" fmla="*/ 406223 h 1116609"/>
                    <a:gd name="connsiteX1" fmla="*/ 601128 w 625780"/>
                    <a:gd name="connsiteY1" fmla="*/ 573182 h 1116609"/>
                    <a:gd name="connsiteX2" fmla="*/ 454113 w 625780"/>
                    <a:gd name="connsiteY2" fmla="*/ 995588 h 1116609"/>
                    <a:gd name="connsiteX3" fmla="*/ 406296 w 625780"/>
                    <a:gd name="connsiteY3" fmla="*/ 1116560 h 1116609"/>
                    <a:gd name="connsiteX4" fmla="*/ 312891 w 625780"/>
                    <a:gd name="connsiteY4" fmla="*/ 1107144 h 1116609"/>
                    <a:gd name="connsiteX5" fmla="*/ 219001 w 625780"/>
                    <a:gd name="connsiteY5" fmla="*/ 1116609 h 1116609"/>
                    <a:gd name="connsiteX6" fmla="*/ 168436 w 625780"/>
                    <a:gd name="connsiteY6" fmla="*/ 989547 h 1116609"/>
                    <a:gd name="connsiteX7" fmla="*/ 24653 w 625780"/>
                    <a:gd name="connsiteY7" fmla="*/ 573182 h 1116609"/>
                    <a:gd name="connsiteX8" fmla="*/ 15064 w 625780"/>
                    <a:gd name="connsiteY8" fmla="*/ 259699 h 1116609"/>
                    <a:gd name="connsiteX9" fmla="*/ 17095 w 625780"/>
                    <a:gd name="connsiteY9" fmla="*/ 254066 h 1116609"/>
                    <a:gd name="connsiteX10" fmla="*/ 32839 w 625780"/>
                    <a:gd name="connsiteY10" fmla="*/ 199547 h 1116609"/>
                    <a:gd name="connsiteX11" fmla="*/ 312891 w 625780"/>
                    <a:gd name="connsiteY11" fmla="*/ 0 h 1116609"/>
                    <a:gd name="connsiteX12" fmla="*/ 592943 w 625780"/>
                    <a:gd name="connsiteY12" fmla="*/ 199547 h 1116609"/>
                    <a:gd name="connsiteX13" fmla="*/ 608688 w 625780"/>
                    <a:gd name="connsiteY13" fmla="*/ 254073 h 1116609"/>
                    <a:gd name="connsiteX14" fmla="*/ 610717 w 625780"/>
                    <a:gd name="connsiteY14" fmla="*/ 259699 h 1116609"/>
                    <a:gd name="connsiteX15" fmla="*/ 625434 w 625780"/>
                    <a:gd name="connsiteY15" fmla="*/ 406223 h 111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780" h="1116609">
                      <a:moveTo>
                        <a:pt x="625434" y="406223"/>
                      </a:moveTo>
                      <a:cubicBezTo>
                        <a:pt x="623698" y="458905"/>
                        <a:pt x="615457" y="514992"/>
                        <a:pt x="601128" y="573182"/>
                      </a:cubicBezTo>
                      <a:cubicBezTo>
                        <a:pt x="565967" y="701371"/>
                        <a:pt x="508517" y="856074"/>
                        <a:pt x="454113" y="995588"/>
                      </a:cubicBezTo>
                      <a:lnTo>
                        <a:pt x="406296" y="1116560"/>
                      </a:lnTo>
                      <a:lnTo>
                        <a:pt x="312891" y="1107144"/>
                      </a:lnTo>
                      <a:lnTo>
                        <a:pt x="219001" y="1116609"/>
                      </a:lnTo>
                      <a:lnTo>
                        <a:pt x="168436" y="989547"/>
                      </a:lnTo>
                      <a:cubicBezTo>
                        <a:pt x="112954" y="848019"/>
                        <a:pt x="55504" y="693317"/>
                        <a:pt x="24653" y="573182"/>
                      </a:cubicBezTo>
                      <a:cubicBezTo>
                        <a:pt x="-4006" y="456801"/>
                        <a:pt x="-8309" y="348834"/>
                        <a:pt x="15064" y="259699"/>
                      </a:cubicBezTo>
                      <a:lnTo>
                        <a:pt x="17095" y="254066"/>
                      </a:lnTo>
                      <a:lnTo>
                        <a:pt x="32839" y="199547"/>
                      </a:lnTo>
                      <a:cubicBezTo>
                        <a:pt x="78979" y="82282"/>
                        <a:pt x="186996" y="0"/>
                        <a:pt x="312891" y="0"/>
                      </a:cubicBezTo>
                      <a:cubicBezTo>
                        <a:pt x="438786" y="0"/>
                        <a:pt x="546802" y="82282"/>
                        <a:pt x="592943" y="199547"/>
                      </a:cubicBezTo>
                      <a:lnTo>
                        <a:pt x="608688" y="254073"/>
                      </a:lnTo>
                      <a:lnTo>
                        <a:pt x="610717" y="259699"/>
                      </a:lnTo>
                      <a:cubicBezTo>
                        <a:pt x="622403" y="304267"/>
                        <a:pt x="627171" y="353542"/>
                        <a:pt x="625434" y="406223"/>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grpSp>
          <p:grpSp>
            <p:nvGrpSpPr>
              <p:cNvPr id="118" name="Group 117">
                <a:extLst>
                  <a:ext uri="{FF2B5EF4-FFF2-40B4-BE49-F238E27FC236}">
                    <a16:creationId xmlns:a16="http://schemas.microsoft.com/office/drawing/2014/main" id="{840C1245-3146-400E-BC4A-832C135211D3}"/>
                  </a:ext>
                </a:extLst>
              </p:cNvPr>
              <p:cNvGrpSpPr/>
              <p:nvPr/>
            </p:nvGrpSpPr>
            <p:grpSpPr bwMode="gray">
              <a:xfrm>
                <a:off x="10712659" y="3815739"/>
                <a:ext cx="290621" cy="213336"/>
                <a:chOff x="11053115" y="5295900"/>
                <a:chExt cx="501319" cy="253296"/>
              </a:xfrm>
            </p:grpSpPr>
            <p:sp>
              <p:nvSpPr>
                <p:cNvPr id="119" name="Freeform 66">
                  <a:extLst>
                    <a:ext uri="{FF2B5EF4-FFF2-40B4-BE49-F238E27FC236}">
                      <a16:creationId xmlns:a16="http://schemas.microsoft.com/office/drawing/2014/main" id="{25BA27F1-4A57-41DA-A4C5-94D5DBA962B4}"/>
                    </a:ext>
                  </a:extLst>
                </p:cNvPr>
                <p:cNvSpPr/>
                <p:nvPr/>
              </p:nvSpPr>
              <p:spPr bwMode="gray">
                <a:xfrm>
                  <a:off x="11120893" y="5295900"/>
                  <a:ext cx="294531" cy="81641"/>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8173 w 371072"/>
                    <a:gd name="connsiteY1" fmla="*/ 241661 h 264795"/>
                    <a:gd name="connsiteX2" fmla="*/ 367665 w 371072"/>
                    <a:gd name="connsiteY2" fmla="*/ 99060 h 264795"/>
                    <a:gd name="connsiteX3" fmla="*/ 316230 w 371072"/>
                    <a:gd name="connsiteY3" fmla="*/ 0 h 264795"/>
                    <a:gd name="connsiteX0" fmla="*/ 0 w 316230"/>
                    <a:gd name="connsiteY0" fmla="*/ 264795 h 267865"/>
                    <a:gd name="connsiteX1" fmla="*/ 278173 w 316230"/>
                    <a:gd name="connsiteY1" fmla="*/ 241661 h 267865"/>
                    <a:gd name="connsiteX2" fmla="*/ 316230 w 316230"/>
                    <a:gd name="connsiteY2" fmla="*/ 0 h 267865"/>
                    <a:gd name="connsiteX0" fmla="*/ 0 w 348201"/>
                    <a:gd name="connsiteY0" fmla="*/ 264795 h 267865"/>
                    <a:gd name="connsiteX1" fmla="*/ 329008 w 348201"/>
                    <a:gd name="connsiteY1" fmla="*/ 241661 h 267865"/>
                    <a:gd name="connsiteX2" fmla="*/ 316230 w 348201"/>
                    <a:gd name="connsiteY2" fmla="*/ 0 h 267865"/>
                    <a:gd name="connsiteX0" fmla="*/ 0 w 377767"/>
                    <a:gd name="connsiteY0" fmla="*/ 264795 h 267865"/>
                    <a:gd name="connsiteX1" fmla="*/ 329008 w 377767"/>
                    <a:gd name="connsiteY1" fmla="*/ 241661 h 267865"/>
                    <a:gd name="connsiteX2" fmla="*/ 377767 w 377767"/>
                    <a:gd name="connsiteY2" fmla="*/ 0 h 267865"/>
                    <a:gd name="connsiteX0" fmla="*/ 0 w 351892"/>
                    <a:gd name="connsiteY0" fmla="*/ 205831 h 205831"/>
                    <a:gd name="connsiteX1" fmla="*/ 329008 w 351892"/>
                    <a:gd name="connsiteY1" fmla="*/ 182697 h 205831"/>
                    <a:gd name="connsiteX2" fmla="*/ 329608 w 351892"/>
                    <a:gd name="connsiteY2" fmla="*/ 0 h 205831"/>
                    <a:gd name="connsiteX0" fmla="*/ 0 w 380444"/>
                    <a:gd name="connsiteY0" fmla="*/ 211727 h 211727"/>
                    <a:gd name="connsiteX1" fmla="*/ 329008 w 380444"/>
                    <a:gd name="connsiteY1" fmla="*/ 188593 h 211727"/>
                    <a:gd name="connsiteX2" fmla="*/ 380444 w 380444"/>
                    <a:gd name="connsiteY2" fmla="*/ 0 h 211727"/>
                    <a:gd name="connsiteX0" fmla="*/ 0 w 341777"/>
                    <a:gd name="connsiteY0" fmla="*/ 235312 h 236529"/>
                    <a:gd name="connsiteX1" fmla="*/ 329008 w 341777"/>
                    <a:gd name="connsiteY1" fmla="*/ 212178 h 236529"/>
                    <a:gd name="connsiteX2" fmla="*/ 284125 w 341777"/>
                    <a:gd name="connsiteY2" fmla="*/ 0 h 236529"/>
                    <a:gd name="connsiteX0" fmla="*/ 0 w 349318"/>
                    <a:gd name="connsiteY0" fmla="*/ 235312 h 236526"/>
                    <a:gd name="connsiteX1" fmla="*/ 329008 w 349318"/>
                    <a:gd name="connsiteY1" fmla="*/ 212178 h 236526"/>
                    <a:gd name="connsiteX2" fmla="*/ 284125 w 349318"/>
                    <a:gd name="connsiteY2" fmla="*/ 0 h 236526"/>
                    <a:gd name="connsiteX0" fmla="*/ 0 w 357781"/>
                    <a:gd name="connsiteY0" fmla="*/ 211727 h 211727"/>
                    <a:gd name="connsiteX1" fmla="*/ 329008 w 357781"/>
                    <a:gd name="connsiteY1" fmla="*/ 188593 h 211727"/>
                    <a:gd name="connsiteX2" fmla="*/ 308205 w 357781"/>
                    <a:gd name="connsiteY2" fmla="*/ 0 h 211727"/>
                    <a:gd name="connsiteX0" fmla="*/ 0 w 360084"/>
                    <a:gd name="connsiteY0" fmla="*/ 211727 h 211727"/>
                    <a:gd name="connsiteX1" fmla="*/ 329008 w 360084"/>
                    <a:gd name="connsiteY1" fmla="*/ 188593 h 211727"/>
                    <a:gd name="connsiteX2" fmla="*/ 313556 w 360084"/>
                    <a:gd name="connsiteY2" fmla="*/ 0 h 211727"/>
                    <a:gd name="connsiteX0" fmla="*/ 0 w 360906"/>
                    <a:gd name="connsiteY0" fmla="*/ 211727 h 211727"/>
                    <a:gd name="connsiteX1" fmla="*/ 329008 w 360906"/>
                    <a:gd name="connsiteY1" fmla="*/ 188593 h 211727"/>
                    <a:gd name="connsiteX2" fmla="*/ 313556 w 360906"/>
                    <a:gd name="connsiteY2" fmla="*/ 0 h 211727"/>
                    <a:gd name="connsiteX0" fmla="*/ 0 w 350666"/>
                    <a:gd name="connsiteY0" fmla="*/ 217623 h 217800"/>
                    <a:gd name="connsiteX1" fmla="*/ 329008 w 350666"/>
                    <a:gd name="connsiteY1" fmla="*/ 194489 h 217800"/>
                    <a:gd name="connsiteX2" fmla="*/ 286800 w 350666"/>
                    <a:gd name="connsiteY2" fmla="*/ 0 h 217800"/>
                    <a:gd name="connsiteX0" fmla="*/ 0 w 357945"/>
                    <a:gd name="connsiteY0" fmla="*/ 218487 h 218660"/>
                    <a:gd name="connsiteX1" fmla="*/ 329008 w 357945"/>
                    <a:gd name="connsiteY1" fmla="*/ 195353 h 218660"/>
                    <a:gd name="connsiteX2" fmla="*/ 286800 w 357945"/>
                    <a:gd name="connsiteY2" fmla="*/ 864 h 218660"/>
                  </a:gdLst>
                  <a:ahLst/>
                  <a:cxnLst>
                    <a:cxn ang="0">
                      <a:pos x="connsiteX0" y="connsiteY0"/>
                    </a:cxn>
                    <a:cxn ang="0">
                      <a:pos x="connsiteX1" y="connsiteY1"/>
                    </a:cxn>
                    <a:cxn ang="0">
                      <a:pos x="connsiteX2" y="connsiteY2"/>
                    </a:cxn>
                  </a:cxnLst>
                  <a:rect l="l" t="t" r="r" b="b"/>
                  <a:pathLst>
                    <a:path w="357945" h="218660">
                      <a:moveTo>
                        <a:pt x="0" y="218487"/>
                      </a:moveTo>
                      <a:cubicBezTo>
                        <a:pt x="40878" y="213328"/>
                        <a:pt x="281208" y="231624"/>
                        <a:pt x="329008" y="195353"/>
                      </a:cubicBezTo>
                      <a:cubicBezTo>
                        <a:pt x="376808" y="159083"/>
                        <a:pt x="367163" y="-13649"/>
                        <a:pt x="286800" y="864"/>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20" name="Freeform 68">
                  <a:extLst>
                    <a:ext uri="{FF2B5EF4-FFF2-40B4-BE49-F238E27FC236}">
                      <a16:creationId xmlns:a16="http://schemas.microsoft.com/office/drawing/2014/main" id="{0613EE34-1878-4BEC-9145-E4742D8E06C6}"/>
                    </a:ext>
                  </a:extLst>
                </p:cNvPr>
                <p:cNvSpPr/>
                <p:nvPr/>
              </p:nvSpPr>
              <p:spPr bwMode="gray">
                <a:xfrm>
                  <a:off x="11053115" y="5303732"/>
                  <a:ext cx="501319" cy="123352"/>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3187 w 371072"/>
                    <a:gd name="connsiteY1" fmla="*/ 242681 h 264795"/>
                    <a:gd name="connsiteX2" fmla="*/ 367665 w 371072"/>
                    <a:gd name="connsiteY2" fmla="*/ 99060 h 264795"/>
                    <a:gd name="connsiteX3" fmla="*/ 316230 w 371072"/>
                    <a:gd name="connsiteY3" fmla="*/ 0 h 264795"/>
                    <a:gd name="connsiteX0" fmla="*/ 0 w 316230"/>
                    <a:gd name="connsiteY0" fmla="*/ 264795 h 268412"/>
                    <a:gd name="connsiteX1" fmla="*/ 273187 w 316230"/>
                    <a:gd name="connsiteY1" fmla="*/ 242681 h 268412"/>
                    <a:gd name="connsiteX2" fmla="*/ 316230 w 316230"/>
                    <a:gd name="connsiteY2" fmla="*/ 0 h 268412"/>
                    <a:gd name="connsiteX0" fmla="*/ 0 w 397022"/>
                    <a:gd name="connsiteY0" fmla="*/ 264795 h 264795"/>
                    <a:gd name="connsiteX1" fmla="*/ 384390 w 397022"/>
                    <a:gd name="connsiteY1" fmla="*/ 231864 h 264795"/>
                    <a:gd name="connsiteX2" fmla="*/ 316230 w 397022"/>
                    <a:gd name="connsiteY2" fmla="*/ 0 h 264795"/>
                    <a:gd name="connsiteX0" fmla="*/ 0 w 410446"/>
                    <a:gd name="connsiteY0" fmla="*/ 264795 h 264795"/>
                    <a:gd name="connsiteX1" fmla="*/ 384390 w 410446"/>
                    <a:gd name="connsiteY1" fmla="*/ 231864 h 264795"/>
                    <a:gd name="connsiteX2" fmla="*/ 316230 w 410446"/>
                    <a:gd name="connsiteY2" fmla="*/ 0 h 264795"/>
                    <a:gd name="connsiteX0" fmla="*/ 0 w 410446"/>
                    <a:gd name="connsiteY0" fmla="*/ 264795 h 264795"/>
                    <a:gd name="connsiteX1" fmla="*/ 384390 w 410446"/>
                    <a:gd name="connsiteY1" fmla="*/ 253498 h 264795"/>
                    <a:gd name="connsiteX2" fmla="*/ 316230 w 410446"/>
                    <a:gd name="connsiteY2" fmla="*/ 0 h 264795"/>
                    <a:gd name="connsiteX0" fmla="*/ 0 w 410446"/>
                    <a:gd name="connsiteY0" fmla="*/ 264795 h 264795"/>
                    <a:gd name="connsiteX1" fmla="*/ 384390 w 410446"/>
                    <a:gd name="connsiteY1" fmla="*/ 258907 h 264795"/>
                    <a:gd name="connsiteX2" fmla="*/ 316230 w 410446"/>
                    <a:gd name="connsiteY2" fmla="*/ 0 h 264795"/>
                    <a:gd name="connsiteX0" fmla="*/ 0 w 440789"/>
                    <a:gd name="connsiteY0" fmla="*/ 271717 h 271717"/>
                    <a:gd name="connsiteX1" fmla="*/ 384390 w 440789"/>
                    <a:gd name="connsiteY1" fmla="*/ 265829 h 271717"/>
                    <a:gd name="connsiteX2" fmla="*/ 316230 w 440789"/>
                    <a:gd name="connsiteY2" fmla="*/ 6922 h 271717"/>
                    <a:gd name="connsiteX0" fmla="*/ 0 w 461170"/>
                    <a:gd name="connsiteY0" fmla="*/ 288655 h 303978"/>
                    <a:gd name="connsiteX1" fmla="*/ 384390 w 461170"/>
                    <a:gd name="connsiteY1" fmla="*/ 282767 h 303978"/>
                    <a:gd name="connsiteX2" fmla="*/ 377077 w 461170"/>
                    <a:gd name="connsiteY2" fmla="*/ 7634 h 303978"/>
                    <a:gd name="connsiteX0" fmla="*/ 0 w 437194"/>
                    <a:gd name="connsiteY0" fmla="*/ 281021 h 296344"/>
                    <a:gd name="connsiteX1" fmla="*/ 384390 w 437194"/>
                    <a:gd name="connsiteY1" fmla="*/ 275133 h 296344"/>
                    <a:gd name="connsiteX2" fmla="*/ 377077 w 437194"/>
                    <a:gd name="connsiteY2" fmla="*/ 0 h 296344"/>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308064 h 309112"/>
                    <a:gd name="connsiteX1" fmla="*/ 384390 w 432414"/>
                    <a:gd name="connsiteY1" fmla="*/ 275133 h 309112"/>
                    <a:gd name="connsiteX2" fmla="*/ 377077 w 432414"/>
                    <a:gd name="connsiteY2" fmla="*/ 0 h 309112"/>
                    <a:gd name="connsiteX0" fmla="*/ 0 w 432414"/>
                    <a:gd name="connsiteY0" fmla="*/ 308064 h 318424"/>
                    <a:gd name="connsiteX1" fmla="*/ 384390 w 432414"/>
                    <a:gd name="connsiteY1" fmla="*/ 275133 h 318424"/>
                    <a:gd name="connsiteX2" fmla="*/ 377077 w 432414"/>
                    <a:gd name="connsiteY2" fmla="*/ 0 h 318424"/>
                    <a:gd name="connsiteX0" fmla="*/ 0 w 432414"/>
                    <a:gd name="connsiteY0" fmla="*/ 281021 h 302303"/>
                    <a:gd name="connsiteX1" fmla="*/ 384390 w 432414"/>
                    <a:gd name="connsiteY1" fmla="*/ 275133 h 302303"/>
                    <a:gd name="connsiteX2" fmla="*/ 377077 w 432414"/>
                    <a:gd name="connsiteY2" fmla="*/ 0 h 302303"/>
                    <a:gd name="connsiteX0" fmla="*/ 0 w 432414"/>
                    <a:gd name="connsiteY0" fmla="*/ 281021 h 296344"/>
                    <a:gd name="connsiteX1" fmla="*/ 384390 w 432414"/>
                    <a:gd name="connsiteY1" fmla="*/ 275133 h 296344"/>
                    <a:gd name="connsiteX2" fmla="*/ 377077 w 432414"/>
                    <a:gd name="connsiteY2" fmla="*/ 0 h 296344"/>
                    <a:gd name="connsiteX0" fmla="*/ 0 w 432414"/>
                    <a:gd name="connsiteY0" fmla="*/ 297247 h 303044"/>
                    <a:gd name="connsiteX1" fmla="*/ 384390 w 432414"/>
                    <a:gd name="connsiteY1" fmla="*/ 275133 h 303044"/>
                    <a:gd name="connsiteX2" fmla="*/ 377077 w 432414"/>
                    <a:gd name="connsiteY2" fmla="*/ 0 h 303044"/>
                  </a:gdLst>
                  <a:ahLst/>
                  <a:cxnLst>
                    <a:cxn ang="0">
                      <a:pos x="connsiteX0" y="connsiteY0"/>
                    </a:cxn>
                    <a:cxn ang="0">
                      <a:pos x="connsiteX1" y="connsiteY1"/>
                    </a:cxn>
                    <a:cxn ang="0">
                      <a:pos x="connsiteX2" y="connsiteY2"/>
                    </a:cxn>
                  </a:cxnLst>
                  <a:rect l="l" t="t" r="r" b="b"/>
                  <a:pathLst>
                    <a:path w="432414" h="303044">
                      <a:moveTo>
                        <a:pt x="0" y="297247"/>
                      </a:moveTo>
                      <a:cubicBezTo>
                        <a:pt x="181455" y="292088"/>
                        <a:pt x="321544" y="324674"/>
                        <a:pt x="384390" y="275133"/>
                      </a:cubicBezTo>
                      <a:cubicBezTo>
                        <a:pt x="447236" y="225592"/>
                        <a:pt x="452036" y="12699"/>
                        <a:pt x="377077"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sp>
              <p:nvSpPr>
                <p:cNvPr id="121" name="Freeform 66">
                  <a:extLst>
                    <a:ext uri="{FF2B5EF4-FFF2-40B4-BE49-F238E27FC236}">
                      <a16:creationId xmlns:a16="http://schemas.microsoft.com/office/drawing/2014/main" id="{909606FB-9071-4F7B-875E-89259491C102}"/>
                    </a:ext>
                  </a:extLst>
                </p:cNvPr>
                <p:cNvSpPr/>
                <p:nvPr/>
              </p:nvSpPr>
              <p:spPr bwMode="gray">
                <a:xfrm flipV="1">
                  <a:off x="11111020" y="5469901"/>
                  <a:ext cx="374492" cy="79295"/>
                </a:xfrm>
                <a:custGeom>
                  <a:avLst/>
                  <a:gdLst>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09550 w 339090"/>
                    <a:gd name="connsiteY6" fmla="*/ 219075 h 238565"/>
                    <a:gd name="connsiteX7" fmla="*/ 222885 w 339090"/>
                    <a:gd name="connsiteY7" fmla="*/ 213360 h 238565"/>
                    <a:gd name="connsiteX8" fmla="*/ 295275 w 339090"/>
                    <a:gd name="connsiteY8" fmla="*/ 146685 h 238565"/>
                    <a:gd name="connsiteX9" fmla="*/ 302895 w 339090"/>
                    <a:gd name="connsiteY9" fmla="*/ 131445 h 238565"/>
                    <a:gd name="connsiteX10" fmla="*/ 316230 w 339090"/>
                    <a:gd name="connsiteY10" fmla="*/ 112395 h 238565"/>
                    <a:gd name="connsiteX11" fmla="*/ 321945 w 339090"/>
                    <a:gd name="connsiteY11" fmla="*/ 97155 h 238565"/>
                    <a:gd name="connsiteX12" fmla="*/ 333375 w 339090"/>
                    <a:gd name="connsiteY12" fmla="*/ 70485 h 238565"/>
                    <a:gd name="connsiteX13" fmla="*/ 335280 w 339090"/>
                    <a:gd name="connsiteY13" fmla="*/ 64770 h 238565"/>
                    <a:gd name="connsiteX14" fmla="*/ 339090 w 339090"/>
                    <a:gd name="connsiteY14" fmla="*/ 45720 h 238565"/>
                    <a:gd name="connsiteX15" fmla="*/ 333375 w 339090"/>
                    <a:gd name="connsiteY15" fmla="*/ 11430 h 238565"/>
                    <a:gd name="connsiteX16" fmla="*/ 331470 w 339090"/>
                    <a:gd name="connsiteY16" fmla="*/ 5715 h 238565"/>
                    <a:gd name="connsiteX17" fmla="*/ 325755 w 339090"/>
                    <a:gd name="connsiteY17" fmla="*/ 0 h 238565"/>
                    <a:gd name="connsiteX18" fmla="*/ 312420 w 339090"/>
                    <a:gd name="connsiteY18" fmla="*/ 3810 h 238565"/>
                    <a:gd name="connsiteX19" fmla="*/ 304800 w 339090"/>
                    <a:gd name="connsiteY19"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198120 w 339090"/>
                    <a:gd name="connsiteY5" fmla="*/ 222885 h 238565"/>
                    <a:gd name="connsiteX6" fmla="*/ 222885 w 339090"/>
                    <a:gd name="connsiteY6" fmla="*/ 213360 h 238565"/>
                    <a:gd name="connsiteX7" fmla="*/ 295275 w 339090"/>
                    <a:gd name="connsiteY7" fmla="*/ 146685 h 238565"/>
                    <a:gd name="connsiteX8" fmla="*/ 302895 w 339090"/>
                    <a:gd name="connsiteY8" fmla="*/ 131445 h 238565"/>
                    <a:gd name="connsiteX9" fmla="*/ 316230 w 339090"/>
                    <a:gd name="connsiteY9" fmla="*/ 112395 h 238565"/>
                    <a:gd name="connsiteX10" fmla="*/ 321945 w 339090"/>
                    <a:gd name="connsiteY10" fmla="*/ 97155 h 238565"/>
                    <a:gd name="connsiteX11" fmla="*/ 333375 w 339090"/>
                    <a:gd name="connsiteY11" fmla="*/ 70485 h 238565"/>
                    <a:gd name="connsiteX12" fmla="*/ 335280 w 339090"/>
                    <a:gd name="connsiteY12" fmla="*/ 64770 h 238565"/>
                    <a:gd name="connsiteX13" fmla="*/ 339090 w 339090"/>
                    <a:gd name="connsiteY13" fmla="*/ 45720 h 238565"/>
                    <a:gd name="connsiteX14" fmla="*/ 333375 w 339090"/>
                    <a:gd name="connsiteY14" fmla="*/ 11430 h 238565"/>
                    <a:gd name="connsiteX15" fmla="*/ 331470 w 339090"/>
                    <a:gd name="connsiteY15" fmla="*/ 5715 h 238565"/>
                    <a:gd name="connsiteX16" fmla="*/ 325755 w 339090"/>
                    <a:gd name="connsiteY16" fmla="*/ 0 h 238565"/>
                    <a:gd name="connsiteX17" fmla="*/ 312420 w 339090"/>
                    <a:gd name="connsiteY17" fmla="*/ 3810 h 238565"/>
                    <a:gd name="connsiteX18" fmla="*/ 304800 w 339090"/>
                    <a:gd name="connsiteY18"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158115 w 339090"/>
                    <a:gd name="connsiteY4" fmla="*/ 230505 h 238565"/>
                    <a:gd name="connsiteX5" fmla="*/ 222885 w 339090"/>
                    <a:gd name="connsiteY5" fmla="*/ 213360 h 238565"/>
                    <a:gd name="connsiteX6" fmla="*/ 295275 w 339090"/>
                    <a:gd name="connsiteY6" fmla="*/ 146685 h 238565"/>
                    <a:gd name="connsiteX7" fmla="*/ 302895 w 339090"/>
                    <a:gd name="connsiteY7" fmla="*/ 131445 h 238565"/>
                    <a:gd name="connsiteX8" fmla="*/ 316230 w 339090"/>
                    <a:gd name="connsiteY8" fmla="*/ 112395 h 238565"/>
                    <a:gd name="connsiteX9" fmla="*/ 321945 w 339090"/>
                    <a:gd name="connsiteY9" fmla="*/ 97155 h 238565"/>
                    <a:gd name="connsiteX10" fmla="*/ 333375 w 339090"/>
                    <a:gd name="connsiteY10" fmla="*/ 70485 h 238565"/>
                    <a:gd name="connsiteX11" fmla="*/ 335280 w 339090"/>
                    <a:gd name="connsiteY11" fmla="*/ 64770 h 238565"/>
                    <a:gd name="connsiteX12" fmla="*/ 339090 w 339090"/>
                    <a:gd name="connsiteY12" fmla="*/ 45720 h 238565"/>
                    <a:gd name="connsiteX13" fmla="*/ 333375 w 339090"/>
                    <a:gd name="connsiteY13" fmla="*/ 11430 h 238565"/>
                    <a:gd name="connsiteX14" fmla="*/ 331470 w 339090"/>
                    <a:gd name="connsiteY14" fmla="*/ 5715 h 238565"/>
                    <a:gd name="connsiteX15" fmla="*/ 325755 w 339090"/>
                    <a:gd name="connsiteY15" fmla="*/ 0 h 238565"/>
                    <a:gd name="connsiteX16" fmla="*/ 312420 w 339090"/>
                    <a:gd name="connsiteY16" fmla="*/ 3810 h 238565"/>
                    <a:gd name="connsiteX17" fmla="*/ 304800 w 339090"/>
                    <a:gd name="connsiteY17" fmla="*/ 7620 h 238565"/>
                    <a:gd name="connsiteX0" fmla="*/ 0 w 339090"/>
                    <a:gd name="connsiteY0" fmla="*/ 228600 h 238565"/>
                    <a:gd name="connsiteX1" fmla="*/ 26670 w 339090"/>
                    <a:gd name="connsiteY1" fmla="*/ 238125 h 238565"/>
                    <a:gd name="connsiteX2" fmla="*/ 68580 w 339090"/>
                    <a:gd name="connsiteY2" fmla="*/ 236220 h 238565"/>
                    <a:gd name="connsiteX3" fmla="*/ 139065 w 339090"/>
                    <a:gd name="connsiteY3" fmla="*/ 234315 h 238565"/>
                    <a:gd name="connsiteX4" fmla="*/ 222885 w 339090"/>
                    <a:gd name="connsiteY4" fmla="*/ 213360 h 238565"/>
                    <a:gd name="connsiteX5" fmla="*/ 295275 w 339090"/>
                    <a:gd name="connsiteY5" fmla="*/ 146685 h 238565"/>
                    <a:gd name="connsiteX6" fmla="*/ 302895 w 339090"/>
                    <a:gd name="connsiteY6" fmla="*/ 131445 h 238565"/>
                    <a:gd name="connsiteX7" fmla="*/ 316230 w 339090"/>
                    <a:gd name="connsiteY7" fmla="*/ 112395 h 238565"/>
                    <a:gd name="connsiteX8" fmla="*/ 321945 w 339090"/>
                    <a:gd name="connsiteY8" fmla="*/ 97155 h 238565"/>
                    <a:gd name="connsiteX9" fmla="*/ 333375 w 339090"/>
                    <a:gd name="connsiteY9" fmla="*/ 70485 h 238565"/>
                    <a:gd name="connsiteX10" fmla="*/ 335280 w 339090"/>
                    <a:gd name="connsiteY10" fmla="*/ 64770 h 238565"/>
                    <a:gd name="connsiteX11" fmla="*/ 339090 w 339090"/>
                    <a:gd name="connsiteY11" fmla="*/ 45720 h 238565"/>
                    <a:gd name="connsiteX12" fmla="*/ 333375 w 339090"/>
                    <a:gd name="connsiteY12" fmla="*/ 11430 h 238565"/>
                    <a:gd name="connsiteX13" fmla="*/ 331470 w 339090"/>
                    <a:gd name="connsiteY13" fmla="*/ 5715 h 238565"/>
                    <a:gd name="connsiteX14" fmla="*/ 325755 w 339090"/>
                    <a:gd name="connsiteY14" fmla="*/ 0 h 238565"/>
                    <a:gd name="connsiteX15" fmla="*/ 312420 w 339090"/>
                    <a:gd name="connsiteY15" fmla="*/ 3810 h 238565"/>
                    <a:gd name="connsiteX16" fmla="*/ 304800 w 339090"/>
                    <a:gd name="connsiteY16" fmla="*/ 7620 h 238565"/>
                    <a:gd name="connsiteX0" fmla="*/ 0 w 312420"/>
                    <a:gd name="connsiteY0" fmla="*/ 238125 h 238565"/>
                    <a:gd name="connsiteX1" fmla="*/ 41910 w 312420"/>
                    <a:gd name="connsiteY1" fmla="*/ 236220 h 238565"/>
                    <a:gd name="connsiteX2" fmla="*/ 112395 w 312420"/>
                    <a:gd name="connsiteY2" fmla="*/ 234315 h 238565"/>
                    <a:gd name="connsiteX3" fmla="*/ 196215 w 312420"/>
                    <a:gd name="connsiteY3" fmla="*/ 213360 h 238565"/>
                    <a:gd name="connsiteX4" fmla="*/ 268605 w 312420"/>
                    <a:gd name="connsiteY4" fmla="*/ 146685 h 238565"/>
                    <a:gd name="connsiteX5" fmla="*/ 276225 w 312420"/>
                    <a:gd name="connsiteY5" fmla="*/ 131445 h 238565"/>
                    <a:gd name="connsiteX6" fmla="*/ 289560 w 312420"/>
                    <a:gd name="connsiteY6" fmla="*/ 112395 h 238565"/>
                    <a:gd name="connsiteX7" fmla="*/ 295275 w 312420"/>
                    <a:gd name="connsiteY7" fmla="*/ 97155 h 238565"/>
                    <a:gd name="connsiteX8" fmla="*/ 306705 w 312420"/>
                    <a:gd name="connsiteY8" fmla="*/ 70485 h 238565"/>
                    <a:gd name="connsiteX9" fmla="*/ 308610 w 312420"/>
                    <a:gd name="connsiteY9" fmla="*/ 64770 h 238565"/>
                    <a:gd name="connsiteX10" fmla="*/ 312420 w 312420"/>
                    <a:gd name="connsiteY10" fmla="*/ 45720 h 238565"/>
                    <a:gd name="connsiteX11" fmla="*/ 306705 w 312420"/>
                    <a:gd name="connsiteY11" fmla="*/ 11430 h 238565"/>
                    <a:gd name="connsiteX12" fmla="*/ 304800 w 312420"/>
                    <a:gd name="connsiteY12" fmla="*/ 5715 h 238565"/>
                    <a:gd name="connsiteX13" fmla="*/ 299085 w 312420"/>
                    <a:gd name="connsiteY13" fmla="*/ 0 h 238565"/>
                    <a:gd name="connsiteX14" fmla="*/ 285750 w 312420"/>
                    <a:gd name="connsiteY14" fmla="*/ 3810 h 238565"/>
                    <a:gd name="connsiteX15" fmla="*/ 278130 w 312420"/>
                    <a:gd name="connsiteY15" fmla="*/ 7620 h 238565"/>
                    <a:gd name="connsiteX0" fmla="*/ 0 w 312420"/>
                    <a:gd name="connsiteY0" fmla="*/ 238125 h 238125"/>
                    <a:gd name="connsiteX1" fmla="*/ 112395 w 312420"/>
                    <a:gd name="connsiteY1" fmla="*/ 234315 h 238125"/>
                    <a:gd name="connsiteX2" fmla="*/ 196215 w 312420"/>
                    <a:gd name="connsiteY2" fmla="*/ 213360 h 238125"/>
                    <a:gd name="connsiteX3" fmla="*/ 268605 w 312420"/>
                    <a:gd name="connsiteY3" fmla="*/ 146685 h 238125"/>
                    <a:gd name="connsiteX4" fmla="*/ 276225 w 312420"/>
                    <a:gd name="connsiteY4" fmla="*/ 131445 h 238125"/>
                    <a:gd name="connsiteX5" fmla="*/ 289560 w 312420"/>
                    <a:gd name="connsiteY5" fmla="*/ 112395 h 238125"/>
                    <a:gd name="connsiteX6" fmla="*/ 295275 w 312420"/>
                    <a:gd name="connsiteY6" fmla="*/ 97155 h 238125"/>
                    <a:gd name="connsiteX7" fmla="*/ 306705 w 312420"/>
                    <a:gd name="connsiteY7" fmla="*/ 70485 h 238125"/>
                    <a:gd name="connsiteX8" fmla="*/ 308610 w 312420"/>
                    <a:gd name="connsiteY8" fmla="*/ 64770 h 238125"/>
                    <a:gd name="connsiteX9" fmla="*/ 312420 w 312420"/>
                    <a:gd name="connsiteY9" fmla="*/ 45720 h 238125"/>
                    <a:gd name="connsiteX10" fmla="*/ 306705 w 312420"/>
                    <a:gd name="connsiteY10" fmla="*/ 11430 h 238125"/>
                    <a:gd name="connsiteX11" fmla="*/ 304800 w 312420"/>
                    <a:gd name="connsiteY11" fmla="*/ 5715 h 238125"/>
                    <a:gd name="connsiteX12" fmla="*/ 299085 w 312420"/>
                    <a:gd name="connsiteY12" fmla="*/ 0 h 238125"/>
                    <a:gd name="connsiteX13" fmla="*/ 285750 w 312420"/>
                    <a:gd name="connsiteY13" fmla="*/ 3810 h 238125"/>
                    <a:gd name="connsiteX14" fmla="*/ 278130 w 312420"/>
                    <a:gd name="connsiteY14" fmla="*/ 7620 h 238125"/>
                    <a:gd name="connsiteX0" fmla="*/ 0 w 312420"/>
                    <a:gd name="connsiteY0" fmla="*/ 238125 h 238125"/>
                    <a:gd name="connsiteX1" fmla="*/ 196215 w 312420"/>
                    <a:gd name="connsiteY1" fmla="*/ 213360 h 238125"/>
                    <a:gd name="connsiteX2" fmla="*/ 268605 w 312420"/>
                    <a:gd name="connsiteY2" fmla="*/ 146685 h 238125"/>
                    <a:gd name="connsiteX3" fmla="*/ 276225 w 312420"/>
                    <a:gd name="connsiteY3" fmla="*/ 131445 h 238125"/>
                    <a:gd name="connsiteX4" fmla="*/ 289560 w 312420"/>
                    <a:gd name="connsiteY4" fmla="*/ 112395 h 238125"/>
                    <a:gd name="connsiteX5" fmla="*/ 295275 w 312420"/>
                    <a:gd name="connsiteY5" fmla="*/ 97155 h 238125"/>
                    <a:gd name="connsiteX6" fmla="*/ 306705 w 312420"/>
                    <a:gd name="connsiteY6" fmla="*/ 70485 h 238125"/>
                    <a:gd name="connsiteX7" fmla="*/ 308610 w 312420"/>
                    <a:gd name="connsiteY7" fmla="*/ 64770 h 238125"/>
                    <a:gd name="connsiteX8" fmla="*/ 312420 w 312420"/>
                    <a:gd name="connsiteY8" fmla="*/ 45720 h 238125"/>
                    <a:gd name="connsiteX9" fmla="*/ 306705 w 312420"/>
                    <a:gd name="connsiteY9" fmla="*/ 11430 h 238125"/>
                    <a:gd name="connsiteX10" fmla="*/ 304800 w 312420"/>
                    <a:gd name="connsiteY10" fmla="*/ 5715 h 238125"/>
                    <a:gd name="connsiteX11" fmla="*/ 299085 w 312420"/>
                    <a:gd name="connsiteY11" fmla="*/ 0 h 238125"/>
                    <a:gd name="connsiteX12" fmla="*/ 285750 w 312420"/>
                    <a:gd name="connsiteY12" fmla="*/ 3810 h 238125"/>
                    <a:gd name="connsiteX13" fmla="*/ 278130 w 312420"/>
                    <a:gd name="connsiteY13" fmla="*/ 7620 h 238125"/>
                    <a:gd name="connsiteX0" fmla="*/ 0 w 312420"/>
                    <a:gd name="connsiteY0" fmla="*/ 238125 h 238125"/>
                    <a:gd name="connsiteX1" fmla="*/ 196215 w 312420"/>
                    <a:gd name="connsiteY1" fmla="*/ 213360 h 238125"/>
                    <a:gd name="connsiteX2" fmla="*/ 276225 w 312420"/>
                    <a:gd name="connsiteY2" fmla="*/ 131445 h 238125"/>
                    <a:gd name="connsiteX3" fmla="*/ 289560 w 312420"/>
                    <a:gd name="connsiteY3" fmla="*/ 112395 h 238125"/>
                    <a:gd name="connsiteX4" fmla="*/ 295275 w 312420"/>
                    <a:gd name="connsiteY4" fmla="*/ 97155 h 238125"/>
                    <a:gd name="connsiteX5" fmla="*/ 306705 w 312420"/>
                    <a:gd name="connsiteY5" fmla="*/ 70485 h 238125"/>
                    <a:gd name="connsiteX6" fmla="*/ 308610 w 312420"/>
                    <a:gd name="connsiteY6" fmla="*/ 64770 h 238125"/>
                    <a:gd name="connsiteX7" fmla="*/ 312420 w 312420"/>
                    <a:gd name="connsiteY7" fmla="*/ 45720 h 238125"/>
                    <a:gd name="connsiteX8" fmla="*/ 306705 w 312420"/>
                    <a:gd name="connsiteY8" fmla="*/ 11430 h 238125"/>
                    <a:gd name="connsiteX9" fmla="*/ 304800 w 312420"/>
                    <a:gd name="connsiteY9" fmla="*/ 5715 h 238125"/>
                    <a:gd name="connsiteX10" fmla="*/ 299085 w 312420"/>
                    <a:gd name="connsiteY10" fmla="*/ 0 h 238125"/>
                    <a:gd name="connsiteX11" fmla="*/ 285750 w 312420"/>
                    <a:gd name="connsiteY11" fmla="*/ 3810 h 238125"/>
                    <a:gd name="connsiteX12" fmla="*/ 278130 w 312420"/>
                    <a:gd name="connsiteY12" fmla="*/ 7620 h 238125"/>
                    <a:gd name="connsiteX0" fmla="*/ 0 w 312420"/>
                    <a:gd name="connsiteY0" fmla="*/ 238125 h 238125"/>
                    <a:gd name="connsiteX1" fmla="*/ 196215 w 312420"/>
                    <a:gd name="connsiteY1" fmla="*/ 213360 h 238125"/>
                    <a:gd name="connsiteX2" fmla="*/ 289560 w 312420"/>
                    <a:gd name="connsiteY2" fmla="*/ 112395 h 238125"/>
                    <a:gd name="connsiteX3" fmla="*/ 295275 w 312420"/>
                    <a:gd name="connsiteY3" fmla="*/ 97155 h 238125"/>
                    <a:gd name="connsiteX4" fmla="*/ 306705 w 312420"/>
                    <a:gd name="connsiteY4" fmla="*/ 70485 h 238125"/>
                    <a:gd name="connsiteX5" fmla="*/ 308610 w 312420"/>
                    <a:gd name="connsiteY5" fmla="*/ 64770 h 238125"/>
                    <a:gd name="connsiteX6" fmla="*/ 312420 w 312420"/>
                    <a:gd name="connsiteY6" fmla="*/ 45720 h 238125"/>
                    <a:gd name="connsiteX7" fmla="*/ 306705 w 312420"/>
                    <a:gd name="connsiteY7" fmla="*/ 11430 h 238125"/>
                    <a:gd name="connsiteX8" fmla="*/ 304800 w 312420"/>
                    <a:gd name="connsiteY8" fmla="*/ 5715 h 238125"/>
                    <a:gd name="connsiteX9" fmla="*/ 299085 w 312420"/>
                    <a:gd name="connsiteY9" fmla="*/ 0 h 238125"/>
                    <a:gd name="connsiteX10" fmla="*/ 285750 w 312420"/>
                    <a:gd name="connsiteY10" fmla="*/ 3810 h 238125"/>
                    <a:gd name="connsiteX11" fmla="*/ 278130 w 312420"/>
                    <a:gd name="connsiteY11" fmla="*/ 7620 h 238125"/>
                    <a:gd name="connsiteX0" fmla="*/ 0 w 312420"/>
                    <a:gd name="connsiteY0" fmla="*/ 238125 h 238125"/>
                    <a:gd name="connsiteX1" fmla="*/ 196215 w 312420"/>
                    <a:gd name="connsiteY1" fmla="*/ 213360 h 238125"/>
                    <a:gd name="connsiteX2" fmla="*/ 295275 w 312420"/>
                    <a:gd name="connsiteY2" fmla="*/ 97155 h 238125"/>
                    <a:gd name="connsiteX3" fmla="*/ 306705 w 312420"/>
                    <a:gd name="connsiteY3" fmla="*/ 70485 h 238125"/>
                    <a:gd name="connsiteX4" fmla="*/ 308610 w 312420"/>
                    <a:gd name="connsiteY4" fmla="*/ 64770 h 238125"/>
                    <a:gd name="connsiteX5" fmla="*/ 312420 w 312420"/>
                    <a:gd name="connsiteY5" fmla="*/ 45720 h 238125"/>
                    <a:gd name="connsiteX6" fmla="*/ 306705 w 312420"/>
                    <a:gd name="connsiteY6" fmla="*/ 11430 h 238125"/>
                    <a:gd name="connsiteX7" fmla="*/ 304800 w 312420"/>
                    <a:gd name="connsiteY7" fmla="*/ 5715 h 238125"/>
                    <a:gd name="connsiteX8" fmla="*/ 299085 w 312420"/>
                    <a:gd name="connsiteY8" fmla="*/ 0 h 238125"/>
                    <a:gd name="connsiteX9" fmla="*/ 285750 w 312420"/>
                    <a:gd name="connsiteY9" fmla="*/ 3810 h 238125"/>
                    <a:gd name="connsiteX10" fmla="*/ 278130 w 312420"/>
                    <a:gd name="connsiteY10" fmla="*/ 7620 h 238125"/>
                    <a:gd name="connsiteX0" fmla="*/ 0 w 312420"/>
                    <a:gd name="connsiteY0" fmla="*/ 238125 h 238125"/>
                    <a:gd name="connsiteX1" fmla="*/ 196215 w 312420"/>
                    <a:gd name="connsiteY1" fmla="*/ 213360 h 238125"/>
                    <a:gd name="connsiteX2" fmla="*/ 306705 w 312420"/>
                    <a:gd name="connsiteY2" fmla="*/ 70485 h 238125"/>
                    <a:gd name="connsiteX3" fmla="*/ 308610 w 312420"/>
                    <a:gd name="connsiteY3" fmla="*/ 64770 h 238125"/>
                    <a:gd name="connsiteX4" fmla="*/ 312420 w 312420"/>
                    <a:gd name="connsiteY4" fmla="*/ 45720 h 238125"/>
                    <a:gd name="connsiteX5" fmla="*/ 306705 w 312420"/>
                    <a:gd name="connsiteY5" fmla="*/ 11430 h 238125"/>
                    <a:gd name="connsiteX6" fmla="*/ 304800 w 312420"/>
                    <a:gd name="connsiteY6" fmla="*/ 5715 h 238125"/>
                    <a:gd name="connsiteX7" fmla="*/ 299085 w 312420"/>
                    <a:gd name="connsiteY7" fmla="*/ 0 h 238125"/>
                    <a:gd name="connsiteX8" fmla="*/ 285750 w 312420"/>
                    <a:gd name="connsiteY8" fmla="*/ 3810 h 238125"/>
                    <a:gd name="connsiteX9" fmla="*/ 278130 w 312420"/>
                    <a:gd name="connsiteY9"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8" fmla="*/ 278130 w 312420"/>
                    <a:gd name="connsiteY8" fmla="*/ 762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7" fmla="*/ 285750 w 312420"/>
                    <a:gd name="connsiteY7" fmla="*/ 3810 h 238125"/>
                    <a:gd name="connsiteX0" fmla="*/ 0 w 312420"/>
                    <a:gd name="connsiteY0" fmla="*/ 238125 h 238125"/>
                    <a:gd name="connsiteX1" fmla="*/ 196215 w 312420"/>
                    <a:gd name="connsiteY1" fmla="*/ 213360 h 238125"/>
                    <a:gd name="connsiteX2" fmla="*/ 308610 w 312420"/>
                    <a:gd name="connsiteY2" fmla="*/ 64770 h 238125"/>
                    <a:gd name="connsiteX3" fmla="*/ 312420 w 312420"/>
                    <a:gd name="connsiteY3" fmla="*/ 45720 h 238125"/>
                    <a:gd name="connsiteX4" fmla="*/ 306705 w 312420"/>
                    <a:gd name="connsiteY4" fmla="*/ 11430 h 238125"/>
                    <a:gd name="connsiteX5" fmla="*/ 304800 w 312420"/>
                    <a:gd name="connsiteY5" fmla="*/ 5715 h 238125"/>
                    <a:gd name="connsiteX6" fmla="*/ 299085 w 312420"/>
                    <a:gd name="connsiteY6" fmla="*/ 0 h 238125"/>
                    <a:gd name="connsiteX0" fmla="*/ 0 w 312420"/>
                    <a:gd name="connsiteY0" fmla="*/ 232410 h 232410"/>
                    <a:gd name="connsiteX1" fmla="*/ 196215 w 312420"/>
                    <a:gd name="connsiteY1" fmla="*/ 207645 h 232410"/>
                    <a:gd name="connsiteX2" fmla="*/ 308610 w 312420"/>
                    <a:gd name="connsiteY2" fmla="*/ 59055 h 232410"/>
                    <a:gd name="connsiteX3" fmla="*/ 312420 w 312420"/>
                    <a:gd name="connsiteY3" fmla="*/ 40005 h 232410"/>
                    <a:gd name="connsiteX4" fmla="*/ 306705 w 312420"/>
                    <a:gd name="connsiteY4" fmla="*/ 5715 h 232410"/>
                    <a:gd name="connsiteX5" fmla="*/ 304800 w 312420"/>
                    <a:gd name="connsiteY5" fmla="*/ 0 h 232410"/>
                    <a:gd name="connsiteX0" fmla="*/ 0 w 312420"/>
                    <a:gd name="connsiteY0" fmla="*/ 226695 h 226695"/>
                    <a:gd name="connsiteX1" fmla="*/ 196215 w 312420"/>
                    <a:gd name="connsiteY1" fmla="*/ 201930 h 226695"/>
                    <a:gd name="connsiteX2" fmla="*/ 308610 w 312420"/>
                    <a:gd name="connsiteY2" fmla="*/ 53340 h 226695"/>
                    <a:gd name="connsiteX3" fmla="*/ 312420 w 312420"/>
                    <a:gd name="connsiteY3" fmla="*/ 34290 h 226695"/>
                    <a:gd name="connsiteX4" fmla="*/ 306705 w 312420"/>
                    <a:gd name="connsiteY4" fmla="*/ 0 h 226695"/>
                    <a:gd name="connsiteX0" fmla="*/ 0 w 316408"/>
                    <a:gd name="connsiteY0" fmla="*/ 226695 h 226695"/>
                    <a:gd name="connsiteX1" fmla="*/ 196215 w 316408"/>
                    <a:gd name="connsiteY1" fmla="*/ 201930 h 226695"/>
                    <a:gd name="connsiteX2" fmla="*/ 308610 w 316408"/>
                    <a:gd name="connsiteY2" fmla="*/ 53340 h 226695"/>
                    <a:gd name="connsiteX3" fmla="*/ 306705 w 316408"/>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48514"/>
                    <a:gd name="connsiteY0" fmla="*/ 226695 h 226695"/>
                    <a:gd name="connsiteX1" fmla="*/ 196215 w 348514"/>
                    <a:gd name="connsiteY1" fmla="*/ 201930 h 226695"/>
                    <a:gd name="connsiteX2" fmla="*/ 344805 w 348514"/>
                    <a:gd name="connsiteY2" fmla="*/ 93345 h 226695"/>
                    <a:gd name="connsiteX3" fmla="*/ 306705 w 348514"/>
                    <a:gd name="connsiteY3" fmla="*/ 0 h 226695"/>
                    <a:gd name="connsiteX0" fmla="*/ 0 w 371374"/>
                    <a:gd name="connsiteY0" fmla="*/ 243840 h 243840"/>
                    <a:gd name="connsiteX1" fmla="*/ 219075 w 371374"/>
                    <a:gd name="connsiteY1" fmla="*/ 201930 h 243840"/>
                    <a:gd name="connsiteX2" fmla="*/ 367665 w 371374"/>
                    <a:gd name="connsiteY2" fmla="*/ 93345 h 243840"/>
                    <a:gd name="connsiteX3" fmla="*/ 329565 w 371374"/>
                    <a:gd name="connsiteY3" fmla="*/ 0 h 243840"/>
                    <a:gd name="connsiteX0" fmla="*/ 0 w 340749"/>
                    <a:gd name="connsiteY0" fmla="*/ 243840 h 243840"/>
                    <a:gd name="connsiteX1" fmla="*/ 219075 w 340749"/>
                    <a:gd name="connsiteY1" fmla="*/ 201930 h 243840"/>
                    <a:gd name="connsiteX2" fmla="*/ 333375 w 340749"/>
                    <a:gd name="connsiteY2" fmla="*/ 118110 h 243840"/>
                    <a:gd name="connsiteX3" fmla="*/ 329565 w 340749"/>
                    <a:gd name="connsiteY3" fmla="*/ 0 h 243840"/>
                    <a:gd name="connsiteX0" fmla="*/ 0 w 346640"/>
                    <a:gd name="connsiteY0" fmla="*/ 243840 h 243840"/>
                    <a:gd name="connsiteX1" fmla="*/ 219075 w 346640"/>
                    <a:gd name="connsiteY1" fmla="*/ 201930 h 243840"/>
                    <a:gd name="connsiteX2" fmla="*/ 333375 w 346640"/>
                    <a:gd name="connsiteY2" fmla="*/ 118110 h 243840"/>
                    <a:gd name="connsiteX3" fmla="*/ 329565 w 346640"/>
                    <a:gd name="connsiteY3" fmla="*/ 0 h 243840"/>
                    <a:gd name="connsiteX0" fmla="*/ 0 w 339911"/>
                    <a:gd name="connsiteY0" fmla="*/ 243840 h 243840"/>
                    <a:gd name="connsiteX1" fmla="*/ 219075 w 339911"/>
                    <a:gd name="connsiteY1" fmla="*/ 201930 h 243840"/>
                    <a:gd name="connsiteX2" fmla="*/ 333375 w 339911"/>
                    <a:gd name="connsiteY2" fmla="*/ 118110 h 243840"/>
                    <a:gd name="connsiteX3" fmla="*/ 329565 w 339911"/>
                    <a:gd name="connsiteY3" fmla="*/ 0 h 243840"/>
                    <a:gd name="connsiteX0" fmla="*/ 0 w 335144"/>
                    <a:gd name="connsiteY0" fmla="*/ 226695 h 226695"/>
                    <a:gd name="connsiteX1" fmla="*/ 219075 w 335144"/>
                    <a:gd name="connsiteY1" fmla="*/ 184785 h 226695"/>
                    <a:gd name="connsiteX2" fmla="*/ 333375 w 335144"/>
                    <a:gd name="connsiteY2" fmla="*/ 100965 h 226695"/>
                    <a:gd name="connsiteX3" fmla="*/ 291465 w 335144"/>
                    <a:gd name="connsiteY3" fmla="*/ 0 h 226695"/>
                    <a:gd name="connsiteX0" fmla="*/ 0 w 340236"/>
                    <a:gd name="connsiteY0" fmla="*/ 226695 h 226695"/>
                    <a:gd name="connsiteX1" fmla="*/ 219075 w 340236"/>
                    <a:gd name="connsiteY1" fmla="*/ 184785 h 226695"/>
                    <a:gd name="connsiteX2" fmla="*/ 333375 w 340236"/>
                    <a:gd name="connsiteY2" fmla="*/ 100965 h 226695"/>
                    <a:gd name="connsiteX3" fmla="*/ 291465 w 340236"/>
                    <a:gd name="connsiteY3" fmla="*/ 0 h 226695"/>
                    <a:gd name="connsiteX0" fmla="*/ 0 w 337583"/>
                    <a:gd name="connsiteY0" fmla="*/ 224790 h 224790"/>
                    <a:gd name="connsiteX1" fmla="*/ 219075 w 337583"/>
                    <a:gd name="connsiteY1" fmla="*/ 182880 h 224790"/>
                    <a:gd name="connsiteX2" fmla="*/ 333375 w 337583"/>
                    <a:gd name="connsiteY2" fmla="*/ 99060 h 224790"/>
                    <a:gd name="connsiteX3" fmla="*/ 281940 w 337583"/>
                    <a:gd name="connsiteY3" fmla="*/ 0 h 224790"/>
                    <a:gd name="connsiteX0" fmla="*/ 0 w 371873"/>
                    <a:gd name="connsiteY0" fmla="*/ 264795 h 264795"/>
                    <a:gd name="connsiteX1" fmla="*/ 253365 w 371873"/>
                    <a:gd name="connsiteY1" fmla="*/ 182880 h 264795"/>
                    <a:gd name="connsiteX2" fmla="*/ 367665 w 371873"/>
                    <a:gd name="connsiteY2" fmla="*/ 99060 h 264795"/>
                    <a:gd name="connsiteX3" fmla="*/ 316230 w 371873"/>
                    <a:gd name="connsiteY3" fmla="*/ 0 h 264795"/>
                    <a:gd name="connsiteX0" fmla="*/ 0 w 371072"/>
                    <a:gd name="connsiteY0" fmla="*/ 264795 h 264795"/>
                    <a:gd name="connsiteX1" fmla="*/ 264795 w 371072"/>
                    <a:gd name="connsiteY1" fmla="*/ 188595 h 264795"/>
                    <a:gd name="connsiteX2" fmla="*/ 367665 w 371072"/>
                    <a:gd name="connsiteY2" fmla="*/ 99060 h 264795"/>
                    <a:gd name="connsiteX3" fmla="*/ 316230 w 371072"/>
                    <a:gd name="connsiteY3" fmla="*/ 0 h 264795"/>
                    <a:gd name="connsiteX0" fmla="*/ 0 w 371072"/>
                    <a:gd name="connsiteY0" fmla="*/ 264795 h 264795"/>
                    <a:gd name="connsiteX1" fmla="*/ 278173 w 371072"/>
                    <a:gd name="connsiteY1" fmla="*/ 241661 h 264795"/>
                    <a:gd name="connsiteX2" fmla="*/ 367665 w 371072"/>
                    <a:gd name="connsiteY2" fmla="*/ 99060 h 264795"/>
                    <a:gd name="connsiteX3" fmla="*/ 316230 w 371072"/>
                    <a:gd name="connsiteY3" fmla="*/ 0 h 264795"/>
                    <a:gd name="connsiteX0" fmla="*/ 0 w 316230"/>
                    <a:gd name="connsiteY0" fmla="*/ 264795 h 267865"/>
                    <a:gd name="connsiteX1" fmla="*/ 278173 w 316230"/>
                    <a:gd name="connsiteY1" fmla="*/ 241661 h 267865"/>
                    <a:gd name="connsiteX2" fmla="*/ 316230 w 316230"/>
                    <a:gd name="connsiteY2" fmla="*/ 0 h 267865"/>
                    <a:gd name="connsiteX0" fmla="*/ 0 w 348201"/>
                    <a:gd name="connsiteY0" fmla="*/ 264795 h 267865"/>
                    <a:gd name="connsiteX1" fmla="*/ 329008 w 348201"/>
                    <a:gd name="connsiteY1" fmla="*/ 241661 h 267865"/>
                    <a:gd name="connsiteX2" fmla="*/ 316230 w 348201"/>
                    <a:gd name="connsiteY2" fmla="*/ 0 h 267865"/>
                    <a:gd name="connsiteX0" fmla="*/ 0 w 377767"/>
                    <a:gd name="connsiteY0" fmla="*/ 264795 h 267865"/>
                    <a:gd name="connsiteX1" fmla="*/ 329008 w 377767"/>
                    <a:gd name="connsiteY1" fmla="*/ 241661 h 267865"/>
                    <a:gd name="connsiteX2" fmla="*/ 377767 w 377767"/>
                    <a:gd name="connsiteY2" fmla="*/ 0 h 267865"/>
                    <a:gd name="connsiteX0" fmla="*/ 0 w 351892"/>
                    <a:gd name="connsiteY0" fmla="*/ 205831 h 205831"/>
                    <a:gd name="connsiteX1" fmla="*/ 329008 w 351892"/>
                    <a:gd name="connsiteY1" fmla="*/ 182697 h 205831"/>
                    <a:gd name="connsiteX2" fmla="*/ 329608 w 351892"/>
                    <a:gd name="connsiteY2" fmla="*/ 0 h 205831"/>
                    <a:gd name="connsiteX0" fmla="*/ 0 w 380444"/>
                    <a:gd name="connsiteY0" fmla="*/ 211727 h 211727"/>
                    <a:gd name="connsiteX1" fmla="*/ 329008 w 380444"/>
                    <a:gd name="connsiteY1" fmla="*/ 188593 h 211727"/>
                    <a:gd name="connsiteX2" fmla="*/ 380444 w 380444"/>
                    <a:gd name="connsiteY2" fmla="*/ 0 h 211727"/>
                    <a:gd name="connsiteX0" fmla="*/ 0 w 341777"/>
                    <a:gd name="connsiteY0" fmla="*/ 235312 h 236529"/>
                    <a:gd name="connsiteX1" fmla="*/ 329008 w 341777"/>
                    <a:gd name="connsiteY1" fmla="*/ 212178 h 236529"/>
                    <a:gd name="connsiteX2" fmla="*/ 284125 w 341777"/>
                    <a:gd name="connsiteY2" fmla="*/ 0 h 236529"/>
                    <a:gd name="connsiteX0" fmla="*/ 0 w 349318"/>
                    <a:gd name="connsiteY0" fmla="*/ 235312 h 236526"/>
                    <a:gd name="connsiteX1" fmla="*/ 329008 w 349318"/>
                    <a:gd name="connsiteY1" fmla="*/ 212178 h 236526"/>
                    <a:gd name="connsiteX2" fmla="*/ 284125 w 349318"/>
                    <a:gd name="connsiteY2" fmla="*/ 0 h 236526"/>
                    <a:gd name="connsiteX0" fmla="*/ 0 w 357781"/>
                    <a:gd name="connsiteY0" fmla="*/ 211727 h 211727"/>
                    <a:gd name="connsiteX1" fmla="*/ 329008 w 357781"/>
                    <a:gd name="connsiteY1" fmla="*/ 188593 h 211727"/>
                    <a:gd name="connsiteX2" fmla="*/ 308205 w 357781"/>
                    <a:gd name="connsiteY2" fmla="*/ 0 h 211727"/>
                    <a:gd name="connsiteX0" fmla="*/ 0 w 360084"/>
                    <a:gd name="connsiteY0" fmla="*/ 211727 h 211727"/>
                    <a:gd name="connsiteX1" fmla="*/ 329008 w 360084"/>
                    <a:gd name="connsiteY1" fmla="*/ 188593 h 211727"/>
                    <a:gd name="connsiteX2" fmla="*/ 313556 w 360084"/>
                    <a:gd name="connsiteY2" fmla="*/ 0 h 211727"/>
                    <a:gd name="connsiteX0" fmla="*/ 0 w 360906"/>
                    <a:gd name="connsiteY0" fmla="*/ 211727 h 211727"/>
                    <a:gd name="connsiteX1" fmla="*/ 329008 w 360906"/>
                    <a:gd name="connsiteY1" fmla="*/ 188593 h 211727"/>
                    <a:gd name="connsiteX2" fmla="*/ 313556 w 360906"/>
                    <a:gd name="connsiteY2" fmla="*/ 0 h 211727"/>
                    <a:gd name="connsiteX0" fmla="*/ 0 w 365049"/>
                    <a:gd name="connsiteY0" fmla="*/ 211727 h 211727"/>
                    <a:gd name="connsiteX1" fmla="*/ 329008 w 365049"/>
                    <a:gd name="connsiteY1" fmla="*/ 188593 h 211727"/>
                    <a:gd name="connsiteX2" fmla="*/ 322140 w 365049"/>
                    <a:gd name="connsiteY2" fmla="*/ 0 h 211727"/>
                  </a:gdLst>
                  <a:ahLst/>
                  <a:cxnLst>
                    <a:cxn ang="0">
                      <a:pos x="connsiteX0" y="connsiteY0"/>
                    </a:cxn>
                    <a:cxn ang="0">
                      <a:pos x="connsiteX1" y="connsiteY1"/>
                    </a:cxn>
                    <a:cxn ang="0">
                      <a:pos x="connsiteX2" y="connsiteY2"/>
                    </a:cxn>
                  </a:cxnLst>
                  <a:rect l="l" t="t" r="r" b="b"/>
                  <a:pathLst>
                    <a:path w="365049" h="211727">
                      <a:moveTo>
                        <a:pt x="0" y="211727"/>
                      </a:moveTo>
                      <a:cubicBezTo>
                        <a:pt x="40878" y="206568"/>
                        <a:pt x="275318" y="223881"/>
                        <a:pt x="329008" y="188593"/>
                      </a:cubicBezTo>
                      <a:cubicBezTo>
                        <a:pt x="382698" y="153305"/>
                        <a:pt x="373072" y="3176"/>
                        <a:pt x="322140"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en-US"/>
                </a:p>
              </p:txBody>
            </p:sp>
          </p:grpSp>
        </p:grpSp>
        <p:sp>
          <p:nvSpPr>
            <p:cNvPr id="116" name="TextBox 115">
              <a:extLst>
                <a:ext uri="{FF2B5EF4-FFF2-40B4-BE49-F238E27FC236}">
                  <a16:creationId xmlns:a16="http://schemas.microsoft.com/office/drawing/2014/main" id="{AAC5B102-23FC-4CC8-B8F7-60376C056204}"/>
                </a:ext>
              </a:extLst>
            </p:cNvPr>
            <p:cNvSpPr txBox="1"/>
            <p:nvPr/>
          </p:nvSpPr>
          <p:spPr bwMode="gray">
            <a:xfrm>
              <a:off x="10435243"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Purgeable</a:t>
              </a:r>
            </a:p>
          </p:txBody>
        </p:sp>
      </p:grpSp>
      <p:grpSp>
        <p:nvGrpSpPr>
          <p:cNvPr id="108" name="Group 107">
            <a:extLst>
              <a:ext uri="{FF2B5EF4-FFF2-40B4-BE49-F238E27FC236}">
                <a16:creationId xmlns:a16="http://schemas.microsoft.com/office/drawing/2014/main" id="{377EC62C-2125-4401-95D0-3FC83C733289}"/>
              </a:ext>
            </a:extLst>
          </p:cNvPr>
          <p:cNvGrpSpPr/>
          <p:nvPr/>
        </p:nvGrpSpPr>
        <p:grpSpPr bwMode="gray">
          <a:xfrm>
            <a:off x="9619594" y="3926617"/>
            <a:ext cx="743958" cy="697689"/>
            <a:chOff x="11233438" y="3774422"/>
            <a:chExt cx="743958" cy="697689"/>
          </a:xfrm>
        </p:grpSpPr>
        <p:grpSp>
          <p:nvGrpSpPr>
            <p:cNvPr id="109" name="Group 108">
              <a:extLst>
                <a:ext uri="{FF2B5EF4-FFF2-40B4-BE49-F238E27FC236}">
                  <a16:creationId xmlns:a16="http://schemas.microsoft.com/office/drawing/2014/main" id="{7026916B-FC13-43DB-98B6-9E561E839534}"/>
                </a:ext>
              </a:extLst>
            </p:cNvPr>
            <p:cNvGrpSpPr/>
            <p:nvPr/>
          </p:nvGrpSpPr>
          <p:grpSpPr bwMode="gray">
            <a:xfrm>
              <a:off x="11416585" y="3774422"/>
              <a:ext cx="377664" cy="303591"/>
              <a:chOff x="11597449" y="4332540"/>
              <a:chExt cx="405544" cy="326002"/>
            </a:xfrm>
          </p:grpSpPr>
          <p:sp>
            <p:nvSpPr>
              <p:cNvPr id="111" name="Freeform: Shape 110">
                <a:extLst>
                  <a:ext uri="{FF2B5EF4-FFF2-40B4-BE49-F238E27FC236}">
                    <a16:creationId xmlns:a16="http://schemas.microsoft.com/office/drawing/2014/main" id="{EA1E1F93-B9DF-4B5D-A33E-7D8179223D34}"/>
                  </a:ext>
                </a:extLst>
              </p:cNvPr>
              <p:cNvSpPr/>
              <p:nvPr/>
            </p:nvSpPr>
            <p:spPr bwMode="gray">
              <a:xfrm rot="18169347">
                <a:off x="11540279" y="4389710"/>
                <a:ext cx="308462" cy="194121"/>
              </a:xfrm>
              <a:custGeom>
                <a:avLst/>
                <a:gdLst>
                  <a:gd name="connsiteX0" fmla="*/ 1093381 w 2462577"/>
                  <a:gd name="connsiteY0" fmla="*/ 0 h 1802393"/>
                  <a:gd name="connsiteX1" fmla="*/ 1640754 w 2462577"/>
                  <a:gd name="connsiteY1" fmla="*/ 362823 h 1802393"/>
                  <a:gd name="connsiteX2" fmla="*/ 1655501 w 2462577"/>
                  <a:gd name="connsiteY2" fmla="*/ 410329 h 1802393"/>
                  <a:gd name="connsiteX3" fmla="*/ 1706127 w 2462577"/>
                  <a:gd name="connsiteY3" fmla="*/ 394614 h 1802393"/>
                  <a:gd name="connsiteX4" fmla="*/ 1793034 w 2462577"/>
                  <a:gd name="connsiteY4" fmla="*/ 385853 h 1802393"/>
                  <a:gd name="connsiteX5" fmla="*/ 2224263 w 2462577"/>
                  <a:gd name="connsiteY5" fmla="*/ 817082 h 1802393"/>
                  <a:gd name="connsiteX6" fmla="*/ 2190375 w 2462577"/>
                  <a:gd name="connsiteY6" fmla="*/ 984936 h 1802393"/>
                  <a:gd name="connsiteX7" fmla="*/ 2185612 w 2462577"/>
                  <a:gd name="connsiteY7" fmla="*/ 993711 h 1802393"/>
                  <a:gd name="connsiteX8" fmla="*/ 2190745 w 2462577"/>
                  <a:gd name="connsiteY8" fmla="*/ 994229 h 1802393"/>
                  <a:gd name="connsiteX9" fmla="*/ 2462577 w 2462577"/>
                  <a:gd name="connsiteY9" fmla="*/ 1327755 h 1802393"/>
                  <a:gd name="connsiteX10" fmla="*/ 2362864 w 2462577"/>
                  <a:gd name="connsiteY10" fmla="*/ 1568484 h 1802393"/>
                  <a:gd name="connsiteX11" fmla="*/ 2313995 w 2462577"/>
                  <a:gd name="connsiteY11" fmla="*/ 1608805 h 1802393"/>
                  <a:gd name="connsiteX12" fmla="*/ 2313995 w 2462577"/>
                  <a:gd name="connsiteY12" fmla="*/ 1802393 h 1802393"/>
                  <a:gd name="connsiteX13" fmla="*/ 591875 w 2462577"/>
                  <a:gd name="connsiteY13" fmla="*/ 1802393 h 1802393"/>
                  <a:gd name="connsiteX14" fmla="*/ 591875 w 2462577"/>
                  <a:gd name="connsiteY14" fmla="*/ 1795250 h 1802393"/>
                  <a:gd name="connsiteX15" fmla="*/ 521029 w 2462577"/>
                  <a:gd name="connsiteY15" fmla="*/ 1802392 h 1802393"/>
                  <a:gd name="connsiteX16" fmla="*/ 0 w 2462577"/>
                  <a:gd name="connsiteY16" fmla="*/ 1281363 h 1802393"/>
                  <a:gd name="connsiteX17" fmla="*/ 521029 w 2462577"/>
                  <a:gd name="connsiteY17" fmla="*/ 760334 h 1802393"/>
                  <a:gd name="connsiteX18" fmla="*/ 526000 w 2462577"/>
                  <a:gd name="connsiteY18" fmla="*/ 760835 h 1802393"/>
                  <a:gd name="connsiteX19" fmla="*/ 511393 w 2462577"/>
                  <a:gd name="connsiteY19" fmla="*/ 713780 h 1802393"/>
                  <a:gd name="connsiteX20" fmla="*/ 499324 w 2462577"/>
                  <a:gd name="connsiteY20" fmla="*/ 594057 h 1802393"/>
                  <a:gd name="connsiteX21" fmla="*/ 1093381 w 2462577"/>
                  <a:gd name="connsiteY21" fmla="*/ 0 h 1802393"/>
                  <a:gd name="connsiteX0" fmla="*/ 2313995 w 2462577"/>
                  <a:gd name="connsiteY0" fmla="*/ 1802393 h 1893833"/>
                  <a:gd name="connsiteX1" fmla="*/ 591875 w 2462577"/>
                  <a:gd name="connsiteY1" fmla="*/ 1802393 h 1893833"/>
                  <a:gd name="connsiteX2" fmla="*/ 591875 w 2462577"/>
                  <a:gd name="connsiteY2" fmla="*/ 1795250 h 1893833"/>
                  <a:gd name="connsiteX3" fmla="*/ 521029 w 2462577"/>
                  <a:gd name="connsiteY3" fmla="*/ 1802392 h 1893833"/>
                  <a:gd name="connsiteX4" fmla="*/ 0 w 2462577"/>
                  <a:gd name="connsiteY4" fmla="*/ 1281363 h 1893833"/>
                  <a:gd name="connsiteX5" fmla="*/ 521029 w 2462577"/>
                  <a:gd name="connsiteY5" fmla="*/ 760334 h 1893833"/>
                  <a:gd name="connsiteX6" fmla="*/ 526000 w 2462577"/>
                  <a:gd name="connsiteY6" fmla="*/ 760835 h 1893833"/>
                  <a:gd name="connsiteX7" fmla="*/ 511393 w 2462577"/>
                  <a:gd name="connsiteY7" fmla="*/ 713780 h 1893833"/>
                  <a:gd name="connsiteX8" fmla="*/ 499324 w 2462577"/>
                  <a:gd name="connsiteY8" fmla="*/ 594057 h 1893833"/>
                  <a:gd name="connsiteX9" fmla="*/ 1093381 w 2462577"/>
                  <a:gd name="connsiteY9" fmla="*/ 0 h 1893833"/>
                  <a:gd name="connsiteX10" fmla="*/ 1640754 w 2462577"/>
                  <a:gd name="connsiteY10" fmla="*/ 362823 h 1893833"/>
                  <a:gd name="connsiteX11" fmla="*/ 1655501 w 2462577"/>
                  <a:gd name="connsiteY11" fmla="*/ 410329 h 1893833"/>
                  <a:gd name="connsiteX12" fmla="*/ 1706127 w 2462577"/>
                  <a:gd name="connsiteY12" fmla="*/ 394614 h 1893833"/>
                  <a:gd name="connsiteX13" fmla="*/ 1793034 w 2462577"/>
                  <a:gd name="connsiteY13" fmla="*/ 385853 h 1893833"/>
                  <a:gd name="connsiteX14" fmla="*/ 2224263 w 2462577"/>
                  <a:gd name="connsiteY14" fmla="*/ 817082 h 1893833"/>
                  <a:gd name="connsiteX15" fmla="*/ 2190375 w 2462577"/>
                  <a:gd name="connsiteY15" fmla="*/ 984936 h 1893833"/>
                  <a:gd name="connsiteX16" fmla="*/ 2185612 w 2462577"/>
                  <a:gd name="connsiteY16" fmla="*/ 993711 h 1893833"/>
                  <a:gd name="connsiteX17" fmla="*/ 2190745 w 2462577"/>
                  <a:gd name="connsiteY17" fmla="*/ 994229 h 1893833"/>
                  <a:gd name="connsiteX18" fmla="*/ 2462577 w 2462577"/>
                  <a:gd name="connsiteY18" fmla="*/ 1327755 h 1893833"/>
                  <a:gd name="connsiteX19" fmla="*/ 2362864 w 2462577"/>
                  <a:gd name="connsiteY19" fmla="*/ 1568484 h 1893833"/>
                  <a:gd name="connsiteX20" fmla="*/ 2313995 w 2462577"/>
                  <a:gd name="connsiteY20" fmla="*/ 1608805 h 1893833"/>
                  <a:gd name="connsiteX21" fmla="*/ 2405435 w 2462577"/>
                  <a:gd name="connsiteY21" fmla="*/ 1893833 h 1893833"/>
                  <a:gd name="connsiteX0" fmla="*/ 2313995 w 2462577"/>
                  <a:gd name="connsiteY0" fmla="*/ 1802393 h 1802393"/>
                  <a:gd name="connsiteX1" fmla="*/ 591875 w 2462577"/>
                  <a:gd name="connsiteY1" fmla="*/ 1802393 h 1802393"/>
                  <a:gd name="connsiteX2" fmla="*/ 591875 w 2462577"/>
                  <a:gd name="connsiteY2" fmla="*/ 1795250 h 1802393"/>
                  <a:gd name="connsiteX3" fmla="*/ 521029 w 2462577"/>
                  <a:gd name="connsiteY3" fmla="*/ 1802392 h 1802393"/>
                  <a:gd name="connsiteX4" fmla="*/ 0 w 2462577"/>
                  <a:gd name="connsiteY4" fmla="*/ 1281363 h 1802393"/>
                  <a:gd name="connsiteX5" fmla="*/ 521029 w 2462577"/>
                  <a:gd name="connsiteY5" fmla="*/ 760334 h 1802393"/>
                  <a:gd name="connsiteX6" fmla="*/ 526000 w 2462577"/>
                  <a:gd name="connsiteY6" fmla="*/ 760835 h 1802393"/>
                  <a:gd name="connsiteX7" fmla="*/ 511393 w 2462577"/>
                  <a:gd name="connsiteY7" fmla="*/ 713780 h 1802393"/>
                  <a:gd name="connsiteX8" fmla="*/ 499324 w 2462577"/>
                  <a:gd name="connsiteY8" fmla="*/ 594057 h 1802393"/>
                  <a:gd name="connsiteX9" fmla="*/ 1093381 w 2462577"/>
                  <a:gd name="connsiteY9" fmla="*/ 0 h 1802393"/>
                  <a:gd name="connsiteX10" fmla="*/ 1640754 w 2462577"/>
                  <a:gd name="connsiteY10" fmla="*/ 362823 h 1802393"/>
                  <a:gd name="connsiteX11" fmla="*/ 1655501 w 2462577"/>
                  <a:gd name="connsiteY11" fmla="*/ 410329 h 1802393"/>
                  <a:gd name="connsiteX12" fmla="*/ 1706127 w 2462577"/>
                  <a:gd name="connsiteY12" fmla="*/ 394614 h 1802393"/>
                  <a:gd name="connsiteX13" fmla="*/ 1793034 w 2462577"/>
                  <a:gd name="connsiteY13" fmla="*/ 385853 h 1802393"/>
                  <a:gd name="connsiteX14" fmla="*/ 2224263 w 2462577"/>
                  <a:gd name="connsiteY14" fmla="*/ 817082 h 1802393"/>
                  <a:gd name="connsiteX15" fmla="*/ 2190375 w 2462577"/>
                  <a:gd name="connsiteY15" fmla="*/ 984936 h 1802393"/>
                  <a:gd name="connsiteX16" fmla="*/ 2185612 w 2462577"/>
                  <a:gd name="connsiteY16" fmla="*/ 993711 h 1802393"/>
                  <a:gd name="connsiteX17" fmla="*/ 2190745 w 2462577"/>
                  <a:gd name="connsiteY17" fmla="*/ 994229 h 1802393"/>
                  <a:gd name="connsiteX18" fmla="*/ 2462577 w 2462577"/>
                  <a:gd name="connsiteY18" fmla="*/ 1327755 h 1802393"/>
                  <a:gd name="connsiteX19" fmla="*/ 2362864 w 2462577"/>
                  <a:gd name="connsiteY19" fmla="*/ 1568484 h 1802393"/>
                  <a:gd name="connsiteX20" fmla="*/ 2313995 w 2462577"/>
                  <a:gd name="connsiteY20" fmla="*/ 1608805 h 1802393"/>
                  <a:gd name="connsiteX0" fmla="*/ 591875 w 2462577"/>
                  <a:gd name="connsiteY0" fmla="*/ 1802393 h 1802393"/>
                  <a:gd name="connsiteX1" fmla="*/ 591875 w 2462577"/>
                  <a:gd name="connsiteY1" fmla="*/ 1795250 h 1802393"/>
                  <a:gd name="connsiteX2" fmla="*/ 521029 w 2462577"/>
                  <a:gd name="connsiteY2" fmla="*/ 1802392 h 1802393"/>
                  <a:gd name="connsiteX3" fmla="*/ 0 w 2462577"/>
                  <a:gd name="connsiteY3" fmla="*/ 1281363 h 1802393"/>
                  <a:gd name="connsiteX4" fmla="*/ 521029 w 2462577"/>
                  <a:gd name="connsiteY4" fmla="*/ 760334 h 1802393"/>
                  <a:gd name="connsiteX5" fmla="*/ 526000 w 2462577"/>
                  <a:gd name="connsiteY5" fmla="*/ 760835 h 1802393"/>
                  <a:gd name="connsiteX6" fmla="*/ 511393 w 2462577"/>
                  <a:gd name="connsiteY6" fmla="*/ 713780 h 1802393"/>
                  <a:gd name="connsiteX7" fmla="*/ 499324 w 2462577"/>
                  <a:gd name="connsiteY7" fmla="*/ 594057 h 1802393"/>
                  <a:gd name="connsiteX8" fmla="*/ 1093381 w 2462577"/>
                  <a:gd name="connsiteY8" fmla="*/ 0 h 1802393"/>
                  <a:gd name="connsiteX9" fmla="*/ 1640754 w 2462577"/>
                  <a:gd name="connsiteY9" fmla="*/ 362823 h 1802393"/>
                  <a:gd name="connsiteX10" fmla="*/ 1655501 w 2462577"/>
                  <a:gd name="connsiteY10" fmla="*/ 410329 h 1802393"/>
                  <a:gd name="connsiteX11" fmla="*/ 1706127 w 2462577"/>
                  <a:gd name="connsiteY11" fmla="*/ 394614 h 1802393"/>
                  <a:gd name="connsiteX12" fmla="*/ 1793034 w 2462577"/>
                  <a:gd name="connsiteY12" fmla="*/ 385853 h 1802393"/>
                  <a:gd name="connsiteX13" fmla="*/ 2224263 w 2462577"/>
                  <a:gd name="connsiteY13" fmla="*/ 817082 h 1802393"/>
                  <a:gd name="connsiteX14" fmla="*/ 2190375 w 2462577"/>
                  <a:gd name="connsiteY14" fmla="*/ 984936 h 1802393"/>
                  <a:gd name="connsiteX15" fmla="*/ 2185612 w 2462577"/>
                  <a:gd name="connsiteY15" fmla="*/ 993711 h 1802393"/>
                  <a:gd name="connsiteX16" fmla="*/ 2190745 w 2462577"/>
                  <a:gd name="connsiteY16" fmla="*/ 994229 h 1802393"/>
                  <a:gd name="connsiteX17" fmla="*/ 2462577 w 2462577"/>
                  <a:gd name="connsiteY17" fmla="*/ 1327755 h 1802393"/>
                  <a:gd name="connsiteX18" fmla="*/ 2362864 w 2462577"/>
                  <a:gd name="connsiteY18" fmla="*/ 1568484 h 1802393"/>
                  <a:gd name="connsiteX19" fmla="*/ 2313995 w 2462577"/>
                  <a:gd name="connsiteY19" fmla="*/ 1608805 h 1802393"/>
                  <a:gd name="connsiteX0" fmla="*/ 591875 w 2462577"/>
                  <a:gd name="connsiteY0" fmla="*/ 1802393 h 1802393"/>
                  <a:gd name="connsiteX1" fmla="*/ 591875 w 2462577"/>
                  <a:gd name="connsiteY1" fmla="*/ 1795250 h 1802393"/>
                  <a:gd name="connsiteX2" fmla="*/ 521029 w 2462577"/>
                  <a:gd name="connsiteY2" fmla="*/ 1802392 h 1802393"/>
                  <a:gd name="connsiteX3" fmla="*/ 0 w 2462577"/>
                  <a:gd name="connsiteY3" fmla="*/ 1281363 h 1802393"/>
                  <a:gd name="connsiteX4" fmla="*/ 521029 w 2462577"/>
                  <a:gd name="connsiteY4" fmla="*/ 760334 h 1802393"/>
                  <a:gd name="connsiteX5" fmla="*/ 526000 w 2462577"/>
                  <a:gd name="connsiteY5" fmla="*/ 760835 h 1802393"/>
                  <a:gd name="connsiteX6" fmla="*/ 511393 w 2462577"/>
                  <a:gd name="connsiteY6" fmla="*/ 713780 h 1802393"/>
                  <a:gd name="connsiteX7" fmla="*/ 499324 w 2462577"/>
                  <a:gd name="connsiteY7" fmla="*/ 594057 h 1802393"/>
                  <a:gd name="connsiteX8" fmla="*/ 1093381 w 2462577"/>
                  <a:gd name="connsiteY8" fmla="*/ 0 h 1802393"/>
                  <a:gd name="connsiteX9" fmla="*/ 1640754 w 2462577"/>
                  <a:gd name="connsiteY9" fmla="*/ 362823 h 1802393"/>
                  <a:gd name="connsiteX10" fmla="*/ 1655501 w 2462577"/>
                  <a:gd name="connsiteY10" fmla="*/ 410329 h 1802393"/>
                  <a:gd name="connsiteX11" fmla="*/ 1706127 w 2462577"/>
                  <a:gd name="connsiteY11" fmla="*/ 394614 h 1802393"/>
                  <a:gd name="connsiteX12" fmla="*/ 1793034 w 2462577"/>
                  <a:gd name="connsiteY12" fmla="*/ 385853 h 1802393"/>
                  <a:gd name="connsiteX13" fmla="*/ 2224263 w 2462577"/>
                  <a:gd name="connsiteY13" fmla="*/ 817082 h 1802393"/>
                  <a:gd name="connsiteX14" fmla="*/ 2190375 w 2462577"/>
                  <a:gd name="connsiteY14" fmla="*/ 984936 h 1802393"/>
                  <a:gd name="connsiteX15" fmla="*/ 2185612 w 2462577"/>
                  <a:gd name="connsiteY15" fmla="*/ 993711 h 1802393"/>
                  <a:gd name="connsiteX16" fmla="*/ 2190745 w 2462577"/>
                  <a:gd name="connsiteY16" fmla="*/ 994229 h 1802393"/>
                  <a:gd name="connsiteX17" fmla="*/ 2462577 w 2462577"/>
                  <a:gd name="connsiteY17" fmla="*/ 1327755 h 1802393"/>
                  <a:gd name="connsiteX18" fmla="*/ 2362864 w 2462577"/>
                  <a:gd name="connsiteY18" fmla="*/ 1568484 h 1802393"/>
                  <a:gd name="connsiteX0" fmla="*/ 615476 w 2486178"/>
                  <a:gd name="connsiteY0" fmla="*/ 1802393 h 1802393"/>
                  <a:gd name="connsiteX1" fmla="*/ 615476 w 2486178"/>
                  <a:gd name="connsiteY1" fmla="*/ 1795250 h 1802393"/>
                  <a:gd name="connsiteX2" fmla="*/ 544630 w 2486178"/>
                  <a:gd name="connsiteY2" fmla="*/ 1802392 h 1802393"/>
                  <a:gd name="connsiteX3" fmla="*/ 135127 w 2486178"/>
                  <a:gd name="connsiteY3" fmla="*/ 1607207 h 1802393"/>
                  <a:gd name="connsiteX4" fmla="*/ 23601 w 2486178"/>
                  <a:gd name="connsiteY4" fmla="*/ 1281363 h 1802393"/>
                  <a:gd name="connsiteX5" fmla="*/ 544630 w 2486178"/>
                  <a:gd name="connsiteY5" fmla="*/ 760334 h 1802393"/>
                  <a:gd name="connsiteX6" fmla="*/ 549601 w 2486178"/>
                  <a:gd name="connsiteY6" fmla="*/ 760835 h 1802393"/>
                  <a:gd name="connsiteX7" fmla="*/ 534994 w 2486178"/>
                  <a:gd name="connsiteY7" fmla="*/ 713780 h 1802393"/>
                  <a:gd name="connsiteX8" fmla="*/ 522925 w 2486178"/>
                  <a:gd name="connsiteY8" fmla="*/ 594057 h 1802393"/>
                  <a:gd name="connsiteX9" fmla="*/ 1116982 w 2486178"/>
                  <a:gd name="connsiteY9" fmla="*/ 0 h 1802393"/>
                  <a:gd name="connsiteX10" fmla="*/ 1664355 w 2486178"/>
                  <a:gd name="connsiteY10" fmla="*/ 362823 h 1802393"/>
                  <a:gd name="connsiteX11" fmla="*/ 1679102 w 2486178"/>
                  <a:gd name="connsiteY11" fmla="*/ 410329 h 1802393"/>
                  <a:gd name="connsiteX12" fmla="*/ 1729728 w 2486178"/>
                  <a:gd name="connsiteY12" fmla="*/ 394614 h 1802393"/>
                  <a:gd name="connsiteX13" fmla="*/ 1816635 w 2486178"/>
                  <a:gd name="connsiteY13" fmla="*/ 385853 h 1802393"/>
                  <a:gd name="connsiteX14" fmla="*/ 2247864 w 2486178"/>
                  <a:gd name="connsiteY14" fmla="*/ 817082 h 1802393"/>
                  <a:gd name="connsiteX15" fmla="*/ 2213976 w 2486178"/>
                  <a:gd name="connsiteY15" fmla="*/ 984936 h 1802393"/>
                  <a:gd name="connsiteX16" fmla="*/ 2209213 w 2486178"/>
                  <a:gd name="connsiteY16" fmla="*/ 993711 h 1802393"/>
                  <a:gd name="connsiteX17" fmla="*/ 2214346 w 2486178"/>
                  <a:gd name="connsiteY17" fmla="*/ 994229 h 1802393"/>
                  <a:gd name="connsiteX18" fmla="*/ 2486178 w 2486178"/>
                  <a:gd name="connsiteY18" fmla="*/ 1327755 h 1802393"/>
                  <a:gd name="connsiteX19" fmla="*/ 2386465 w 2486178"/>
                  <a:gd name="connsiteY19" fmla="*/ 1568484 h 1802393"/>
                  <a:gd name="connsiteX0" fmla="*/ 598395 w 2469097"/>
                  <a:gd name="connsiteY0" fmla="*/ 1802393 h 1802393"/>
                  <a:gd name="connsiteX1" fmla="*/ 598395 w 2469097"/>
                  <a:gd name="connsiteY1" fmla="*/ 1795250 h 1802393"/>
                  <a:gd name="connsiteX2" fmla="*/ 527549 w 2469097"/>
                  <a:gd name="connsiteY2" fmla="*/ 1802392 h 1802393"/>
                  <a:gd name="connsiteX3" fmla="*/ 118046 w 2469097"/>
                  <a:gd name="connsiteY3" fmla="*/ 1607207 h 1802393"/>
                  <a:gd name="connsiteX4" fmla="*/ 6520 w 2469097"/>
                  <a:gd name="connsiteY4" fmla="*/ 1281363 h 1802393"/>
                  <a:gd name="connsiteX5" fmla="*/ 527549 w 2469097"/>
                  <a:gd name="connsiteY5" fmla="*/ 760334 h 1802393"/>
                  <a:gd name="connsiteX6" fmla="*/ 532520 w 2469097"/>
                  <a:gd name="connsiteY6" fmla="*/ 760835 h 1802393"/>
                  <a:gd name="connsiteX7" fmla="*/ 517913 w 2469097"/>
                  <a:gd name="connsiteY7" fmla="*/ 713780 h 1802393"/>
                  <a:gd name="connsiteX8" fmla="*/ 505844 w 2469097"/>
                  <a:gd name="connsiteY8" fmla="*/ 594057 h 1802393"/>
                  <a:gd name="connsiteX9" fmla="*/ 1099901 w 2469097"/>
                  <a:gd name="connsiteY9" fmla="*/ 0 h 1802393"/>
                  <a:gd name="connsiteX10" fmla="*/ 1647274 w 2469097"/>
                  <a:gd name="connsiteY10" fmla="*/ 362823 h 1802393"/>
                  <a:gd name="connsiteX11" fmla="*/ 1662021 w 2469097"/>
                  <a:gd name="connsiteY11" fmla="*/ 410329 h 1802393"/>
                  <a:gd name="connsiteX12" fmla="*/ 1712647 w 2469097"/>
                  <a:gd name="connsiteY12" fmla="*/ 394614 h 1802393"/>
                  <a:gd name="connsiteX13" fmla="*/ 1799554 w 2469097"/>
                  <a:gd name="connsiteY13" fmla="*/ 385853 h 1802393"/>
                  <a:gd name="connsiteX14" fmla="*/ 2230783 w 2469097"/>
                  <a:gd name="connsiteY14" fmla="*/ 817082 h 1802393"/>
                  <a:gd name="connsiteX15" fmla="*/ 2196895 w 2469097"/>
                  <a:gd name="connsiteY15" fmla="*/ 984936 h 1802393"/>
                  <a:gd name="connsiteX16" fmla="*/ 2192132 w 2469097"/>
                  <a:gd name="connsiteY16" fmla="*/ 993711 h 1802393"/>
                  <a:gd name="connsiteX17" fmla="*/ 2197265 w 2469097"/>
                  <a:gd name="connsiteY17" fmla="*/ 994229 h 1802393"/>
                  <a:gd name="connsiteX18" fmla="*/ 2469097 w 2469097"/>
                  <a:gd name="connsiteY18" fmla="*/ 1327755 h 1802393"/>
                  <a:gd name="connsiteX19" fmla="*/ 2369384 w 2469097"/>
                  <a:gd name="connsiteY19" fmla="*/ 1568484 h 1802393"/>
                  <a:gd name="connsiteX0" fmla="*/ 596882 w 2467584"/>
                  <a:gd name="connsiteY0" fmla="*/ 1802393 h 1802393"/>
                  <a:gd name="connsiteX1" fmla="*/ 596882 w 2467584"/>
                  <a:gd name="connsiteY1" fmla="*/ 1795250 h 1802393"/>
                  <a:gd name="connsiteX2" fmla="*/ 526036 w 2467584"/>
                  <a:gd name="connsiteY2" fmla="*/ 1802392 h 1802393"/>
                  <a:gd name="connsiteX3" fmla="*/ 116533 w 2467584"/>
                  <a:gd name="connsiteY3" fmla="*/ 1607207 h 1802393"/>
                  <a:gd name="connsiteX4" fmla="*/ 5007 w 2467584"/>
                  <a:gd name="connsiteY4" fmla="*/ 1281363 h 1802393"/>
                  <a:gd name="connsiteX5" fmla="*/ 526036 w 2467584"/>
                  <a:gd name="connsiteY5" fmla="*/ 760334 h 1802393"/>
                  <a:gd name="connsiteX6" fmla="*/ 531007 w 2467584"/>
                  <a:gd name="connsiteY6" fmla="*/ 760835 h 1802393"/>
                  <a:gd name="connsiteX7" fmla="*/ 516400 w 2467584"/>
                  <a:gd name="connsiteY7" fmla="*/ 713780 h 1802393"/>
                  <a:gd name="connsiteX8" fmla="*/ 504331 w 2467584"/>
                  <a:gd name="connsiteY8" fmla="*/ 594057 h 1802393"/>
                  <a:gd name="connsiteX9" fmla="*/ 1098388 w 2467584"/>
                  <a:gd name="connsiteY9" fmla="*/ 0 h 1802393"/>
                  <a:gd name="connsiteX10" fmla="*/ 1645761 w 2467584"/>
                  <a:gd name="connsiteY10" fmla="*/ 362823 h 1802393"/>
                  <a:gd name="connsiteX11" fmla="*/ 1660508 w 2467584"/>
                  <a:gd name="connsiteY11" fmla="*/ 410329 h 1802393"/>
                  <a:gd name="connsiteX12" fmla="*/ 1711134 w 2467584"/>
                  <a:gd name="connsiteY12" fmla="*/ 394614 h 1802393"/>
                  <a:gd name="connsiteX13" fmla="*/ 1798041 w 2467584"/>
                  <a:gd name="connsiteY13" fmla="*/ 385853 h 1802393"/>
                  <a:gd name="connsiteX14" fmla="*/ 2229270 w 2467584"/>
                  <a:gd name="connsiteY14" fmla="*/ 817082 h 1802393"/>
                  <a:gd name="connsiteX15" fmla="*/ 2195382 w 2467584"/>
                  <a:gd name="connsiteY15" fmla="*/ 984936 h 1802393"/>
                  <a:gd name="connsiteX16" fmla="*/ 2190619 w 2467584"/>
                  <a:gd name="connsiteY16" fmla="*/ 993711 h 1802393"/>
                  <a:gd name="connsiteX17" fmla="*/ 2195752 w 2467584"/>
                  <a:gd name="connsiteY17" fmla="*/ 994229 h 1802393"/>
                  <a:gd name="connsiteX18" fmla="*/ 2467584 w 2467584"/>
                  <a:gd name="connsiteY18" fmla="*/ 1327755 h 1802393"/>
                  <a:gd name="connsiteX19" fmla="*/ 2367871 w 2467584"/>
                  <a:gd name="connsiteY19" fmla="*/ 1568484 h 1802393"/>
                  <a:gd name="connsiteX0" fmla="*/ 596882 w 2467584"/>
                  <a:gd name="connsiteY0" fmla="*/ 1802393 h 1802393"/>
                  <a:gd name="connsiteX1" fmla="*/ 526036 w 2467584"/>
                  <a:gd name="connsiteY1" fmla="*/ 1802392 h 1802393"/>
                  <a:gd name="connsiteX2" fmla="*/ 116533 w 2467584"/>
                  <a:gd name="connsiteY2" fmla="*/ 1607207 h 1802393"/>
                  <a:gd name="connsiteX3" fmla="*/ 5007 w 2467584"/>
                  <a:gd name="connsiteY3" fmla="*/ 1281363 h 1802393"/>
                  <a:gd name="connsiteX4" fmla="*/ 526036 w 2467584"/>
                  <a:gd name="connsiteY4" fmla="*/ 760334 h 1802393"/>
                  <a:gd name="connsiteX5" fmla="*/ 531007 w 2467584"/>
                  <a:gd name="connsiteY5" fmla="*/ 760835 h 1802393"/>
                  <a:gd name="connsiteX6" fmla="*/ 516400 w 2467584"/>
                  <a:gd name="connsiteY6" fmla="*/ 713780 h 1802393"/>
                  <a:gd name="connsiteX7" fmla="*/ 504331 w 2467584"/>
                  <a:gd name="connsiteY7" fmla="*/ 594057 h 1802393"/>
                  <a:gd name="connsiteX8" fmla="*/ 1098388 w 2467584"/>
                  <a:gd name="connsiteY8" fmla="*/ 0 h 1802393"/>
                  <a:gd name="connsiteX9" fmla="*/ 1645761 w 2467584"/>
                  <a:gd name="connsiteY9" fmla="*/ 362823 h 1802393"/>
                  <a:gd name="connsiteX10" fmla="*/ 1660508 w 2467584"/>
                  <a:gd name="connsiteY10" fmla="*/ 410329 h 1802393"/>
                  <a:gd name="connsiteX11" fmla="*/ 1711134 w 2467584"/>
                  <a:gd name="connsiteY11" fmla="*/ 394614 h 1802393"/>
                  <a:gd name="connsiteX12" fmla="*/ 1798041 w 2467584"/>
                  <a:gd name="connsiteY12" fmla="*/ 385853 h 1802393"/>
                  <a:gd name="connsiteX13" fmla="*/ 2229270 w 2467584"/>
                  <a:gd name="connsiteY13" fmla="*/ 817082 h 1802393"/>
                  <a:gd name="connsiteX14" fmla="*/ 2195382 w 2467584"/>
                  <a:gd name="connsiteY14" fmla="*/ 984936 h 1802393"/>
                  <a:gd name="connsiteX15" fmla="*/ 2190619 w 2467584"/>
                  <a:gd name="connsiteY15" fmla="*/ 993711 h 1802393"/>
                  <a:gd name="connsiteX16" fmla="*/ 2195752 w 2467584"/>
                  <a:gd name="connsiteY16" fmla="*/ 994229 h 1802393"/>
                  <a:gd name="connsiteX17" fmla="*/ 2467584 w 2467584"/>
                  <a:gd name="connsiteY17" fmla="*/ 1327755 h 1802393"/>
                  <a:gd name="connsiteX18" fmla="*/ 2367871 w 2467584"/>
                  <a:gd name="connsiteY18" fmla="*/ 1568484 h 1802393"/>
                  <a:gd name="connsiteX0" fmla="*/ 596882 w 2467584"/>
                  <a:gd name="connsiteY0" fmla="*/ 1802393 h 1802393"/>
                  <a:gd name="connsiteX1" fmla="*/ 116533 w 2467584"/>
                  <a:gd name="connsiteY1" fmla="*/ 1607207 h 1802393"/>
                  <a:gd name="connsiteX2" fmla="*/ 5007 w 2467584"/>
                  <a:gd name="connsiteY2" fmla="*/ 1281363 h 1802393"/>
                  <a:gd name="connsiteX3" fmla="*/ 526036 w 2467584"/>
                  <a:gd name="connsiteY3" fmla="*/ 760334 h 1802393"/>
                  <a:gd name="connsiteX4" fmla="*/ 531007 w 2467584"/>
                  <a:gd name="connsiteY4" fmla="*/ 760835 h 1802393"/>
                  <a:gd name="connsiteX5" fmla="*/ 516400 w 2467584"/>
                  <a:gd name="connsiteY5" fmla="*/ 713780 h 1802393"/>
                  <a:gd name="connsiteX6" fmla="*/ 504331 w 2467584"/>
                  <a:gd name="connsiteY6" fmla="*/ 594057 h 1802393"/>
                  <a:gd name="connsiteX7" fmla="*/ 1098388 w 2467584"/>
                  <a:gd name="connsiteY7" fmla="*/ 0 h 1802393"/>
                  <a:gd name="connsiteX8" fmla="*/ 1645761 w 2467584"/>
                  <a:gd name="connsiteY8" fmla="*/ 362823 h 1802393"/>
                  <a:gd name="connsiteX9" fmla="*/ 1660508 w 2467584"/>
                  <a:gd name="connsiteY9" fmla="*/ 410329 h 1802393"/>
                  <a:gd name="connsiteX10" fmla="*/ 1711134 w 2467584"/>
                  <a:gd name="connsiteY10" fmla="*/ 394614 h 1802393"/>
                  <a:gd name="connsiteX11" fmla="*/ 1798041 w 2467584"/>
                  <a:gd name="connsiteY11" fmla="*/ 385853 h 1802393"/>
                  <a:gd name="connsiteX12" fmla="*/ 2229270 w 2467584"/>
                  <a:gd name="connsiteY12" fmla="*/ 817082 h 1802393"/>
                  <a:gd name="connsiteX13" fmla="*/ 2195382 w 2467584"/>
                  <a:gd name="connsiteY13" fmla="*/ 984936 h 1802393"/>
                  <a:gd name="connsiteX14" fmla="*/ 2190619 w 2467584"/>
                  <a:gd name="connsiteY14" fmla="*/ 993711 h 1802393"/>
                  <a:gd name="connsiteX15" fmla="*/ 2195752 w 2467584"/>
                  <a:gd name="connsiteY15" fmla="*/ 994229 h 1802393"/>
                  <a:gd name="connsiteX16" fmla="*/ 2467584 w 2467584"/>
                  <a:gd name="connsiteY16" fmla="*/ 1327755 h 1802393"/>
                  <a:gd name="connsiteX17" fmla="*/ 2367871 w 2467584"/>
                  <a:gd name="connsiteY17" fmla="*/ 1568484 h 1802393"/>
                  <a:gd name="connsiteX0" fmla="*/ 116533 w 2467584"/>
                  <a:gd name="connsiteY0" fmla="*/ 1607207 h 1607207"/>
                  <a:gd name="connsiteX1" fmla="*/ 5007 w 2467584"/>
                  <a:gd name="connsiteY1" fmla="*/ 1281363 h 1607207"/>
                  <a:gd name="connsiteX2" fmla="*/ 526036 w 2467584"/>
                  <a:gd name="connsiteY2" fmla="*/ 760334 h 1607207"/>
                  <a:gd name="connsiteX3" fmla="*/ 531007 w 2467584"/>
                  <a:gd name="connsiteY3" fmla="*/ 760835 h 1607207"/>
                  <a:gd name="connsiteX4" fmla="*/ 516400 w 2467584"/>
                  <a:gd name="connsiteY4" fmla="*/ 713780 h 1607207"/>
                  <a:gd name="connsiteX5" fmla="*/ 504331 w 2467584"/>
                  <a:gd name="connsiteY5" fmla="*/ 594057 h 1607207"/>
                  <a:gd name="connsiteX6" fmla="*/ 1098388 w 2467584"/>
                  <a:gd name="connsiteY6" fmla="*/ 0 h 1607207"/>
                  <a:gd name="connsiteX7" fmla="*/ 1645761 w 2467584"/>
                  <a:gd name="connsiteY7" fmla="*/ 362823 h 1607207"/>
                  <a:gd name="connsiteX8" fmla="*/ 1660508 w 2467584"/>
                  <a:gd name="connsiteY8" fmla="*/ 410329 h 1607207"/>
                  <a:gd name="connsiteX9" fmla="*/ 1711134 w 2467584"/>
                  <a:gd name="connsiteY9" fmla="*/ 394614 h 1607207"/>
                  <a:gd name="connsiteX10" fmla="*/ 1798041 w 2467584"/>
                  <a:gd name="connsiteY10" fmla="*/ 385853 h 1607207"/>
                  <a:gd name="connsiteX11" fmla="*/ 2229270 w 2467584"/>
                  <a:gd name="connsiteY11" fmla="*/ 817082 h 1607207"/>
                  <a:gd name="connsiteX12" fmla="*/ 2195382 w 2467584"/>
                  <a:gd name="connsiteY12" fmla="*/ 984936 h 1607207"/>
                  <a:gd name="connsiteX13" fmla="*/ 2190619 w 2467584"/>
                  <a:gd name="connsiteY13" fmla="*/ 993711 h 1607207"/>
                  <a:gd name="connsiteX14" fmla="*/ 2195752 w 2467584"/>
                  <a:gd name="connsiteY14" fmla="*/ 994229 h 1607207"/>
                  <a:gd name="connsiteX15" fmla="*/ 2467584 w 2467584"/>
                  <a:gd name="connsiteY15" fmla="*/ 1327755 h 1607207"/>
                  <a:gd name="connsiteX16" fmla="*/ 2367871 w 2467584"/>
                  <a:gd name="connsiteY16" fmla="*/ 1568484 h 1607207"/>
                  <a:gd name="connsiteX0" fmla="*/ 116533 w 2467584"/>
                  <a:gd name="connsiteY0" fmla="*/ 1607207 h 1607207"/>
                  <a:gd name="connsiteX1" fmla="*/ 5007 w 2467584"/>
                  <a:gd name="connsiteY1" fmla="*/ 1281363 h 1607207"/>
                  <a:gd name="connsiteX2" fmla="*/ 526036 w 2467584"/>
                  <a:gd name="connsiteY2" fmla="*/ 760334 h 1607207"/>
                  <a:gd name="connsiteX3" fmla="*/ 531007 w 2467584"/>
                  <a:gd name="connsiteY3" fmla="*/ 760835 h 1607207"/>
                  <a:gd name="connsiteX4" fmla="*/ 516400 w 2467584"/>
                  <a:gd name="connsiteY4" fmla="*/ 713780 h 1607207"/>
                  <a:gd name="connsiteX5" fmla="*/ 504331 w 2467584"/>
                  <a:gd name="connsiteY5" fmla="*/ 594057 h 1607207"/>
                  <a:gd name="connsiteX6" fmla="*/ 1098388 w 2467584"/>
                  <a:gd name="connsiteY6" fmla="*/ 0 h 1607207"/>
                  <a:gd name="connsiteX7" fmla="*/ 1645761 w 2467584"/>
                  <a:gd name="connsiteY7" fmla="*/ 362823 h 1607207"/>
                  <a:gd name="connsiteX8" fmla="*/ 1660508 w 2467584"/>
                  <a:gd name="connsiteY8" fmla="*/ 410329 h 1607207"/>
                  <a:gd name="connsiteX9" fmla="*/ 1711134 w 2467584"/>
                  <a:gd name="connsiteY9" fmla="*/ 394614 h 1607207"/>
                  <a:gd name="connsiteX10" fmla="*/ 1798041 w 2467584"/>
                  <a:gd name="connsiteY10" fmla="*/ 385853 h 1607207"/>
                  <a:gd name="connsiteX11" fmla="*/ 2229270 w 2467584"/>
                  <a:gd name="connsiteY11" fmla="*/ 817082 h 1607207"/>
                  <a:gd name="connsiteX12" fmla="*/ 2195382 w 2467584"/>
                  <a:gd name="connsiteY12" fmla="*/ 984936 h 1607207"/>
                  <a:gd name="connsiteX13" fmla="*/ 2190619 w 2467584"/>
                  <a:gd name="connsiteY13" fmla="*/ 993711 h 1607207"/>
                  <a:gd name="connsiteX14" fmla="*/ 2195752 w 2467584"/>
                  <a:gd name="connsiteY14" fmla="*/ 994229 h 1607207"/>
                  <a:gd name="connsiteX15" fmla="*/ 2467584 w 2467584"/>
                  <a:gd name="connsiteY15" fmla="*/ 1327755 h 1607207"/>
                  <a:gd name="connsiteX16" fmla="*/ 2367871 w 2467584"/>
                  <a:gd name="connsiteY16" fmla="*/ 1568484 h 1607207"/>
                  <a:gd name="connsiteX0" fmla="*/ 5007 w 2467584"/>
                  <a:gd name="connsiteY0" fmla="*/ 1281363 h 1568484"/>
                  <a:gd name="connsiteX1" fmla="*/ 526036 w 2467584"/>
                  <a:gd name="connsiteY1" fmla="*/ 760334 h 1568484"/>
                  <a:gd name="connsiteX2" fmla="*/ 531007 w 2467584"/>
                  <a:gd name="connsiteY2" fmla="*/ 760835 h 1568484"/>
                  <a:gd name="connsiteX3" fmla="*/ 516400 w 2467584"/>
                  <a:gd name="connsiteY3" fmla="*/ 713780 h 1568484"/>
                  <a:gd name="connsiteX4" fmla="*/ 504331 w 2467584"/>
                  <a:gd name="connsiteY4" fmla="*/ 594057 h 1568484"/>
                  <a:gd name="connsiteX5" fmla="*/ 1098388 w 2467584"/>
                  <a:gd name="connsiteY5" fmla="*/ 0 h 1568484"/>
                  <a:gd name="connsiteX6" fmla="*/ 1645761 w 2467584"/>
                  <a:gd name="connsiteY6" fmla="*/ 362823 h 1568484"/>
                  <a:gd name="connsiteX7" fmla="*/ 1660508 w 2467584"/>
                  <a:gd name="connsiteY7" fmla="*/ 410329 h 1568484"/>
                  <a:gd name="connsiteX8" fmla="*/ 1711134 w 2467584"/>
                  <a:gd name="connsiteY8" fmla="*/ 394614 h 1568484"/>
                  <a:gd name="connsiteX9" fmla="*/ 1798041 w 2467584"/>
                  <a:gd name="connsiteY9" fmla="*/ 385853 h 1568484"/>
                  <a:gd name="connsiteX10" fmla="*/ 2229270 w 2467584"/>
                  <a:gd name="connsiteY10" fmla="*/ 817082 h 1568484"/>
                  <a:gd name="connsiteX11" fmla="*/ 2195382 w 2467584"/>
                  <a:gd name="connsiteY11" fmla="*/ 984936 h 1568484"/>
                  <a:gd name="connsiteX12" fmla="*/ 2190619 w 2467584"/>
                  <a:gd name="connsiteY12" fmla="*/ 993711 h 1568484"/>
                  <a:gd name="connsiteX13" fmla="*/ 2195752 w 2467584"/>
                  <a:gd name="connsiteY13" fmla="*/ 994229 h 1568484"/>
                  <a:gd name="connsiteX14" fmla="*/ 2467584 w 2467584"/>
                  <a:gd name="connsiteY14" fmla="*/ 1327755 h 1568484"/>
                  <a:gd name="connsiteX15" fmla="*/ 2367871 w 2467584"/>
                  <a:gd name="connsiteY15" fmla="*/ 1568484 h 1568484"/>
                  <a:gd name="connsiteX0" fmla="*/ 7654 w 2355931"/>
                  <a:gd name="connsiteY0" fmla="*/ 1388043 h 1568484"/>
                  <a:gd name="connsiteX1" fmla="*/ 414383 w 2355931"/>
                  <a:gd name="connsiteY1" fmla="*/ 760334 h 1568484"/>
                  <a:gd name="connsiteX2" fmla="*/ 419354 w 2355931"/>
                  <a:gd name="connsiteY2" fmla="*/ 760835 h 1568484"/>
                  <a:gd name="connsiteX3" fmla="*/ 404747 w 2355931"/>
                  <a:gd name="connsiteY3" fmla="*/ 713780 h 1568484"/>
                  <a:gd name="connsiteX4" fmla="*/ 392678 w 2355931"/>
                  <a:gd name="connsiteY4" fmla="*/ 594057 h 1568484"/>
                  <a:gd name="connsiteX5" fmla="*/ 986735 w 2355931"/>
                  <a:gd name="connsiteY5" fmla="*/ 0 h 1568484"/>
                  <a:gd name="connsiteX6" fmla="*/ 1534108 w 2355931"/>
                  <a:gd name="connsiteY6" fmla="*/ 362823 h 1568484"/>
                  <a:gd name="connsiteX7" fmla="*/ 1548855 w 2355931"/>
                  <a:gd name="connsiteY7" fmla="*/ 410329 h 1568484"/>
                  <a:gd name="connsiteX8" fmla="*/ 1599481 w 2355931"/>
                  <a:gd name="connsiteY8" fmla="*/ 394614 h 1568484"/>
                  <a:gd name="connsiteX9" fmla="*/ 1686388 w 2355931"/>
                  <a:gd name="connsiteY9" fmla="*/ 385853 h 1568484"/>
                  <a:gd name="connsiteX10" fmla="*/ 2117617 w 2355931"/>
                  <a:gd name="connsiteY10" fmla="*/ 817082 h 1568484"/>
                  <a:gd name="connsiteX11" fmla="*/ 2083729 w 2355931"/>
                  <a:gd name="connsiteY11" fmla="*/ 984936 h 1568484"/>
                  <a:gd name="connsiteX12" fmla="*/ 2078966 w 2355931"/>
                  <a:gd name="connsiteY12" fmla="*/ 993711 h 1568484"/>
                  <a:gd name="connsiteX13" fmla="*/ 2084099 w 2355931"/>
                  <a:gd name="connsiteY13" fmla="*/ 994229 h 1568484"/>
                  <a:gd name="connsiteX14" fmla="*/ 2355931 w 2355931"/>
                  <a:gd name="connsiteY14" fmla="*/ 1327755 h 1568484"/>
                  <a:gd name="connsiteX15" fmla="*/ 2256218 w 2355931"/>
                  <a:gd name="connsiteY15"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35286 w 2386470"/>
                  <a:gd name="connsiteY3" fmla="*/ 713780 h 1568484"/>
                  <a:gd name="connsiteX4" fmla="*/ 423217 w 2386470"/>
                  <a:gd name="connsiteY4" fmla="*/ 594057 h 1568484"/>
                  <a:gd name="connsiteX5" fmla="*/ 1017274 w 2386470"/>
                  <a:gd name="connsiteY5" fmla="*/ 0 h 1568484"/>
                  <a:gd name="connsiteX6" fmla="*/ 1564647 w 2386470"/>
                  <a:gd name="connsiteY6" fmla="*/ 362823 h 1568484"/>
                  <a:gd name="connsiteX7" fmla="*/ 1579394 w 2386470"/>
                  <a:gd name="connsiteY7" fmla="*/ 410329 h 1568484"/>
                  <a:gd name="connsiteX8" fmla="*/ 1630020 w 2386470"/>
                  <a:gd name="connsiteY8" fmla="*/ 394614 h 1568484"/>
                  <a:gd name="connsiteX9" fmla="*/ 1716927 w 2386470"/>
                  <a:gd name="connsiteY9" fmla="*/ 385853 h 1568484"/>
                  <a:gd name="connsiteX10" fmla="*/ 2148156 w 2386470"/>
                  <a:gd name="connsiteY10" fmla="*/ 817082 h 1568484"/>
                  <a:gd name="connsiteX11" fmla="*/ 2114268 w 2386470"/>
                  <a:gd name="connsiteY11" fmla="*/ 984936 h 1568484"/>
                  <a:gd name="connsiteX12" fmla="*/ 2109505 w 2386470"/>
                  <a:gd name="connsiteY12" fmla="*/ 993711 h 1568484"/>
                  <a:gd name="connsiteX13" fmla="*/ 2114638 w 2386470"/>
                  <a:gd name="connsiteY13" fmla="*/ 994229 h 1568484"/>
                  <a:gd name="connsiteX14" fmla="*/ 2386470 w 2386470"/>
                  <a:gd name="connsiteY14" fmla="*/ 1327755 h 1568484"/>
                  <a:gd name="connsiteX15" fmla="*/ 2286757 w 2386470"/>
                  <a:gd name="connsiteY15"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556573 w 2386470"/>
                  <a:gd name="connsiteY2" fmla="*/ 77226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47485 w 2316215"/>
                  <a:gd name="connsiteY0" fmla="*/ 1513047 h 1568484"/>
                  <a:gd name="connsiteX1" fmla="*/ 374667 w 2316215"/>
                  <a:gd name="connsiteY1" fmla="*/ 760334 h 1568484"/>
                  <a:gd name="connsiteX2" fmla="*/ 349152 w 2316215"/>
                  <a:gd name="connsiteY2" fmla="*/ 575007 h 1568484"/>
                  <a:gd name="connsiteX3" fmla="*/ 947019 w 2316215"/>
                  <a:gd name="connsiteY3" fmla="*/ 0 h 1568484"/>
                  <a:gd name="connsiteX4" fmla="*/ 1494392 w 2316215"/>
                  <a:gd name="connsiteY4" fmla="*/ 362823 h 1568484"/>
                  <a:gd name="connsiteX5" fmla="*/ 1509139 w 2316215"/>
                  <a:gd name="connsiteY5" fmla="*/ 410329 h 1568484"/>
                  <a:gd name="connsiteX6" fmla="*/ 1646672 w 2316215"/>
                  <a:gd name="connsiteY6" fmla="*/ 385853 h 1568484"/>
                  <a:gd name="connsiteX7" fmla="*/ 2077901 w 2316215"/>
                  <a:gd name="connsiteY7" fmla="*/ 817082 h 1568484"/>
                  <a:gd name="connsiteX8" fmla="*/ 2044013 w 2316215"/>
                  <a:gd name="connsiteY8" fmla="*/ 984936 h 1568484"/>
                  <a:gd name="connsiteX9" fmla="*/ 2039250 w 2316215"/>
                  <a:gd name="connsiteY9" fmla="*/ 993711 h 1568484"/>
                  <a:gd name="connsiteX10" fmla="*/ 2044383 w 2316215"/>
                  <a:gd name="connsiteY10" fmla="*/ 994229 h 1568484"/>
                  <a:gd name="connsiteX11" fmla="*/ 2316215 w 2316215"/>
                  <a:gd name="connsiteY11" fmla="*/ 1327755 h 1568484"/>
                  <a:gd name="connsiteX12" fmla="*/ 2216502 w 2316215"/>
                  <a:gd name="connsiteY12" fmla="*/ 1568484 h 1568484"/>
                  <a:gd name="connsiteX0" fmla="*/ 81035 w 2349765"/>
                  <a:gd name="connsiteY0" fmla="*/ 1513047 h 1568484"/>
                  <a:gd name="connsiteX1" fmla="*/ 408217 w 2349765"/>
                  <a:gd name="connsiteY1" fmla="*/ 760334 h 1568484"/>
                  <a:gd name="connsiteX2" fmla="*/ 382702 w 2349765"/>
                  <a:gd name="connsiteY2" fmla="*/ 575007 h 1568484"/>
                  <a:gd name="connsiteX3" fmla="*/ 980569 w 2349765"/>
                  <a:gd name="connsiteY3" fmla="*/ 0 h 1568484"/>
                  <a:gd name="connsiteX4" fmla="*/ 1527942 w 2349765"/>
                  <a:gd name="connsiteY4" fmla="*/ 362823 h 1568484"/>
                  <a:gd name="connsiteX5" fmla="*/ 1542689 w 2349765"/>
                  <a:gd name="connsiteY5" fmla="*/ 410329 h 1568484"/>
                  <a:gd name="connsiteX6" fmla="*/ 1680222 w 2349765"/>
                  <a:gd name="connsiteY6" fmla="*/ 385853 h 1568484"/>
                  <a:gd name="connsiteX7" fmla="*/ 2111451 w 2349765"/>
                  <a:gd name="connsiteY7" fmla="*/ 817082 h 1568484"/>
                  <a:gd name="connsiteX8" fmla="*/ 2077563 w 2349765"/>
                  <a:gd name="connsiteY8" fmla="*/ 984936 h 1568484"/>
                  <a:gd name="connsiteX9" fmla="*/ 2072800 w 2349765"/>
                  <a:gd name="connsiteY9" fmla="*/ 993711 h 1568484"/>
                  <a:gd name="connsiteX10" fmla="*/ 2077933 w 2349765"/>
                  <a:gd name="connsiteY10" fmla="*/ 994229 h 1568484"/>
                  <a:gd name="connsiteX11" fmla="*/ 2349765 w 2349765"/>
                  <a:gd name="connsiteY11" fmla="*/ 1327755 h 1568484"/>
                  <a:gd name="connsiteX12" fmla="*/ 2250052 w 2349765"/>
                  <a:gd name="connsiteY12" fmla="*/ 1568484 h 1568484"/>
                  <a:gd name="connsiteX0" fmla="*/ 110397 w 2379127"/>
                  <a:gd name="connsiteY0" fmla="*/ 1513047 h 1568484"/>
                  <a:gd name="connsiteX1" fmla="*/ 437579 w 2379127"/>
                  <a:gd name="connsiteY1" fmla="*/ 760334 h 1568484"/>
                  <a:gd name="connsiteX2" fmla="*/ 412064 w 2379127"/>
                  <a:gd name="connsiteY2" fmla="*/ 575007 h 1568484"/>
                  <a:gd name="connsiteX3" fmla="*/ 1009931 w 2379127"/>
                  <a:gd name="connsiteY3" fmla="*/ 0 h 1568484"/>
                  <a:gd name="connsiteX4" fmla="*/ 1557304 w 2379127"/>
                  <a:gd name="connsiteY4" fmla="*/ 362823 h 1568484"/>
                  <a:gd name="connsiteX5" fmla="*/ 1572051 w 2379127"/>
                  <a:gd name="connsiteY5" fmla="*/ 410329 h 1568484"/>
                  <a:gd name="connsiteX6" fmla="*/ 1709584 w 2379127"/>
                  <a:gd name="connsiteY6" fmla="*/ 385853 h 1568484"/>
                  <a:gd name="connsiteX7" fmla="*/ 2140813 w 2379127"/>
                  <a:gd name="connsiteY7" fmla="*/ 817082 h 1568484"/>
                  <a:gd name="connsiteX8" fmla="*/ 2106925 w 2379127"/>
                  <a:gd name="connsiteY8" fmla="*/ 984936 h 1568484"/>
                  <a:gd name="connsiteX9" fmla="*/ 2102162 w 2379127"/>
                  <a:gd name="connsiteY9" fmla="*/ 993711 h 1568484"/>
                  <a:gd name="connsiteX10" fmla="*/ 2107295 w 2379127"/>
                  <a:gd name="connsiteY10" fmla="*/ 994229 h 1568484"/>
                  <a:gd name="connsiteX11" fmla="*/ 2379127 w 2379127"/>
                  <a:gd name="connsiteY11" fmla="*/ 1327755 h 1568484"/>
                  <a:gd name="connsiteX12" fmla="*/ 2279414 w 2379127"/>
                  <a:gd name="connsiteY12" fmla="*/ 1568484 h 1568484"/>
                  <a:gd name="connsiteX0" fmla="*/ 126784 w 2395514"/>
                  <a:gd name="connsiteY0" fmla="*/ 1513047 h 1568484"/>
                  <a:gd name="connsiteX1" fmla="*/ 453966 w 2395514"/>
                  <a:gd name="connsiteY1" fmla="*/ 760334 h 1568484"/>
                  <a:gd name="connsiteX2" fmla="*/ 428451 w 2395514"/>
                  <a:gd name="connsiteY2" fmla="*/ 575007 h 1568484"/>
                  <a:gd name="connsiteX3" fmla="*/ 1026318 w 2395514"/>
                  <a:gd name="connsiteY3" fmla="*/ 0 h 1568484"/>
                  <a:gd name="connsiteX4" fmla="*/ 1573691 w 2395514"/>
                  <a:gd name="connsiteY4" fmla="*/ 362823 h 1568484"/>
                  <a:gd name="connsiteX5" fmla="*/ 1588438 w 2395514"/>
                  <a:gd name="connsiteY5" fmla="*/ 410329 h 1568484"/>
                  <a:gd name="connsiteX6" fmla="*/ 1725971 w 2395514"/>
                  <a:gd name="connsiteY6" fmla="*/ 385853 h 1568484"/>
                  <a:gd name="connsiteX7" fmla="*/ 2157200 w 2395514"/>
                  <a:gd name="connsiteY7" fmla="*/ 817082 h 1568484"/>
                  <a:gd name="connsiteX8" fmla="*/ 2123312 w 2395514"/>
                  <a:gd name="connsiteY8" fmla="*/ 984936 h 1568484"/>
                  <a:gd name="connsiteX9" fmla="*/ 2118549 w 2395514"/>
                  <a:gd name="connsiteY9" fmla="*/ 993711 h 1568484"/>
                  <a:gd name="connsiteX10" fmla="*/ 2123682 w 2395514"/>
                  <a:gd name="connsiteY10" fmla="*/ 994229 h 1568484"/>
                  <a:gd name="connsiteX11" fmla="*/ 2395514 w 2395514"/>
                  <a:gd name="connsiteY11" fmla="*/ 1327755 h 1568484"/>
                  <a:gd name="connsiteX12" fmla="*/ 2295801 w 2395514"/>
                  <a:gd name="connsiteY12" fmla="*/ 1568484 h 1568484"/>
                  <a:gd name="connsiteX0" fmla="*/ 132147 w 2378149"/>
                  <a:gd name="connsiteY0" fmla="*/ 1603960 h 1603960"/>
                  <a:gd name="connsiteX1" fmla="*/ 436601 w 2378149"/>
                  <a:gd name="connsiteY1" fmla="*/ 760334 h 1603960"/>
                  <a:gd name="connsiteX2" fmla="*/ 411086 w 2378149"/>
                  <a:gd name="connsiteY2" fmla="*/ 575007 h 1603960"/>
                  <a:gd name="connsiteX3" fmla="*/ 1008953 w 2378149"/>
                  <a:gd name="connsiteY3" fmla="*/ 0 h 1603960"/>
                  <a:gd name="connsiteX4" fmla="*/ 1556326 w 2378149"/>
                  <a:gd name="connsiteY4" fmla="*/ 362823 h 1603960"/>
                  <a:gd name="connsiteX5" fmla="*/ 1571073 w 2378149"/>
                  <a:gd name="connsiteY5" fmla="*/ 410329 h 1603960"/>
                  <a:gd name="connsiteX6" fmla="*/ 1708606 w 2378149"/>
                  <a:gd name="connsiteY6" fmla="*/ 385853 h 1603960"/>
                  <a:gd name="connsiteX7" fmla="*/ 2139835 w 2378149"/>
                  <a:gd name="connsiteY7" fmla="*/ 817082 h 1603960"/>
                  <a:gd name="connsiteX8" fmla="*/ 2105947 w 2378149"/>
                  <a:gd name="connsiteY8" fmla="*/ 984936 h 1603960"/>
                  <a:gd name="connsiteX9" fmla="*/ 2101184 w 2378149"/>
                  <a:gd name="connsiteY9" fmla="*/ 993711 h 1603960"/>
                  <a:gd name="connsiteX10" fmla="*/ 2106317 w 2378149"/>
                  <a:gd name="connsiteY10" fmla="*/ 994229 h 1603960"/>
                  <a:gd name="connsiteX11" fmla="*/ 2378149 w 2378149"/>
                  <a:gd name="connsiteY11" fmla="*/ 1327755 h 1603960"/>
                  <a:gd name="connsiteX12" fmla="*/ 2278436 w 2378149"/>
                  <a:gd name="connsiteY12" fmla="*/ 1568484 h 1603960"/>
                  <a:gd name="connsiteX0" fmla="*/ 152328 w 2398330"/>
                  <a:gd name="connsiteY0" fmla="*/ 1603960 h 1603960"/>
                  <a:gd name="connsiteX1" fmla="*/ 456782 w 2398330"/>
                  <a:gd name="connsiteY1" fmla="*/ 760334 h 1603960"/>
                  <a:gd name="connsiteX2" fmla="*/ 431267 w 2398330"/>
                  <a:gd name="connsiteY2" fmla="*/ 575007 h 1603960"/>
                  <a:gd name="connsiteX3" fmla="*/ 1029134 w 2398330"/>
                  <a:gd name="connsiteY3" fmla="*/ 0 h 1603960"/>
                  <a:gd name="connsiteX4" fmla="*/ 1576507 w 2398330"/>
                  <a:gd name="connsiteY4" fmla="*/ 362823 h 1603960"/>
                  <a:gd name="connsiteX5" fmla="*/ 1591254 w 2398330"/>
                  <a:gd name="connsiteY5" fmla="*/ 410329 h 1603960"/>
                  <a:gd name="connsiteX6" fmla="*/ 1728787 w 2398330"/>
                  <a:gd name="connsiteY6" fmla="*/ 385853 h 1603960"/>
                  <a:gd name="connsiteX7" fmla="*/ 2160016 w 2398330"/>
                  <a:gd name="connsiteY7" fmla="*/ 817082 h 1603960"/>
                  <a:gd name="connsiteX8" fmla="*/ 2126128 w 2398330"/>
                  <a:gd name="connsiteY8" fmla="*/ 984936 h 1603960"/>
                  <a:gd name="connsiteX9" fmla="*/ 2121365 w 2398330"/>
                  <a:gd name="connsiteY9" fmla="*/ 993711 h 1603960"/>
                  <a:gd name="connsiteX10" fmla="*/ 2126498 w 2398330"/>
                  <a:gd name="connsiteY10" fmla="*/ 994229 h 1603960"/>
                  <a:gd name="connsiteX11" fmla="*/ 2398330 w 2398330"/>
                  <a:gd name="connsiteY11" fmla="*/ 1327755 h 1603960"/>
                  <a:gd name="connsiteX12" fmla="*/ 2298617 w 2398330"/>
                  <a:gd name="connsiteY12" fmla="*/ 1568484 h 1603960"/>
                  <a:gd name="connsiteX0" fmla="*/ 117007 w 2363009"/>
                  <a:gd name="connsiteY0" fmla="*/ 1603960 h 1603960"/>
                  <a:gd name="connsiteX1" fmla="*/ 421461 w 2363009"/>
                  <a:gd name="connsiteY1" fmla="*/ 760334 h 1603960"/>
                  <a:gd name="connsiteX2" fmla="*/ 395946 w 2363009"/>
                  <a:gd name="connsiteY2" fmla="*/ 575007 h 1603960"/>
                  <a:gd name="connsiteX3" fmla="*/ 993813 w 2363009"/>
                  <a:gd name="connsiteY3" fmla="*/ 0 h 1603960"/>
                  <a:gd name="connsiteX4" fmla="*/ 1541186 w 2363009"/>
                  <a:gd name="connsiteY4" fmla="*/ 362823 h 1603960"/>
                  <a:gd name="connsiteX5" fmla="*/ 1555933 w 2363009"/>
                  <a:gd name="connsiteY5" fmla="*/ 410329 h 1603960"/>
                  <a:gd name="connsiteX6" fmla="*/ 1693466 w 2363009"/>
                  <a:gd name="connsiteY6" fmla="*/ 385853 h 1603960"/>
                  <a:gd name="connsiteX7" fmla="*/ 2124695 w 2363009"/>
                  <a:gd name="connsiteY7" fmla="*/ 817082 h 1603960"/>
                  <a:gd name="connsiteX8" fmla="*/ 2090807 w 2363009"/>
                  <a:gd name="connsiteY8" fmla="*/ 984936 h 1603960"/>
                  <a:gd name="connsiteX9" fmla="*/ 2086044 w 2363009"/>
                  <a:gd name="connsiteY9" fmla="*/ 993711 h 1603960"/>
                  <a:gd name="connsiteX10" fmla="*/ 2091177 w 2363009"/>
                  <a:gd name="connsiteY10" fmla="*/ 994229 h 1603960"/>
                  <a:gd name="connsiteX11" fmla="*/ 2363009 w 2363009"/>
                  <a:gd name="connsiteY11" fmla="*/ 1327755 h 1603960"/>
                  <a:gd name="connsiteX12" fmla="*/ 2263296 w 2363009"/>
                  <a:gd name="connsiteY12" fmla="*/ 1568484 h 1603960"/>
                  <a:gd name="connsiteX0" fmla="*/ 117007 w 2363009"/>
                  <a:gd name="connsiteY0" fmla="*/ 1603960 h 1603960"/>
                  <a:gd name="connsiteX1" fmla="*/ 421461 w 2363009"/>
                  <a:gd name="connsiteY1" fmla="*/ 760334 h 1603960"/>
                  <a:gd name="connsiteX2" fmla="*/ 993813 w 2363009"/>
                  <a:gd name="connsiteY2" fmla="*/ 0 h 1603960"/>
                  <a:gd name="connsiteX3" fmla="*/ 1541186 w 2363009"/>
                  <a:gd name="connsiteY3" fmla="*/ 362823 h 1603960"/>
                  <a:gd name="connsiteX4" fmla="*/ 1555933 w 2363009"/>
                  <a:gd name="connsiteY4" fmla="*/ 410329 h 1603960"/>
                  <a:gd name="connsiteX5" fmla="*/ 1693466 w 2363009"/>
                  <a:gd name="connsiteY5" fmla="*/ 385853 h 1603960"/>
                  <a:gd name="connsiteX6" fmla="*/ 2124695 w 2363009"/>
                  <a:gd name="connsiteY6" fmla="*/ 817082 h 1603960"/>
                  <a:gd name="connsiteX7" fmla="*/ 2090807 w 2363009"/>
                  <a:gd name="connsiteY7" fmla="*/ 984936 h 1603960"/>
                  <a:gd name="connsiteX8" fmla="*/ 2086044 w 2363009"/>
                  <a:gd name="connsiteY8" fmla="*/ 993711 h 1603960"/>
                  <a:gd name="connsiteX9" fmla="*/ 2091177 w 2363009"/>
                  <a:gd name="connsiteY9" fmla="*/ 994229 h 1603960"/>
                  <a:gd name="connsiteX10" fmla="*/ 2363009 w 2363009"/>
                  <a:gd name="connsiteY10" fmla="*/ 1327755 h 1603960"/>
                  <a:gd name="connsiteX11" fmla="*/ 2263296 w 2363009"/>
                  <a:gd name="connsiteY11" fmla="*/ 1568484 h 1603960"/>
                  <a:gd name="connsiteX0" fmla="*/ 106776 w 2352778"/>
                  <a:gd name="connsiteY0" fmla="*/ 1603960 h 1603960"/>
                  <a:gd name="connsiteX1" fmla="*/ 456689 w 2352778"/>
                  <a:gd name="connsiteY1" fmla="*/ 760335 h 1603960"/>
                  <a:gd name="connsiteX2" fmla="*/ 983582 w 2352778"/>
                  <a:gd name="connsiteY2" fmla="*/ 0 h 1603960"/>
                  <a:gd name="connsiteX3" fmla="*/ 1530955 w 2352778"/>
                  <a:gd name="connsiteY3" fmla="*/ 362823 h 1603960"/>
                  <a:gd name="connsiteX4" fmla="*/ 1545702 w 2352778"/>
                  <a:gd name="connsiteY4" fmla="*/ 410329 h 1603960"/>
                  <a:gd name="connsiteX5" fmla="*/ 1683235 w 2352778"/>
                  <a:gd name="connsiteY5" fmla="*/ 385853 h 1603960"/>
                  <a:gd name="connsiteX6" fmla="*/ 2114464 w 2352778"/>
                  <a:gd name="connsiteY6" fmla="*/ 817082 h 1603960"/>
                  <a:gd name="connsiteX7" fmla="*/ 2080576 w 2352778"/>
                  <a:gd name="connsiteY7" fmla="*/ 984936 h 1603960"/>
                  <a:gd name="connsiteX8" fmla="*/ 2075813 w 2352778"/>
                  <a:gd name="connsiteY8" fmla="*/ 993711 h 1603960"/>
                  <a:gd name="connsiteX9" fmla="*/ 2080946 w 2352778"/>
                  <a:gd name="connsiteY9" fmla="*/ 994229 h 1603960"/>
                  <a:gd name="connsiteX10" fmla="*/ 2352778 w 2352778"/>
                  <a:gd name="connsiteY10" fmla="*/ 1327755 h 1603960"/>
                  <a:gd name="connsiteX11" fmla="*/ 2253065 w 2352778"/>
                  <a:gd name="connsiteY11" fmla="*/ 1568484 h 1603960"/>
                  <a:gd name="connsiteX0" fmla="*/ 106776 w 2352778"/>
                  <a:gd name="connsiteY0" fmla="*/ 1603960 h 1603960"/>
                  <a:gd name="connsiteX1" fmla="*/ 456689 w 2352778"/>
                  <a:gd name="connsiteY1" fmla="*/ 760335 h 1603960"/>
                  <a:gd name="connsiteX2" fmla="*/ 983582 w 2352778"/>
                  <a:gd name="connsiteY2" fmla="*/ 0 h 1603960"/>
                  <a:gd name="connsiteX3" fmla="*/ 1530955 w 2352778"/>
                  <a:gd name="connsiteY3" fmla="*/ 362823 h 1603960"/>
                  <a:gd name="connsiteX4" fmla="*/ 1545702 w 2352778"/>
                  <a:gd name="connsiteY4" fmla="*/ 410329 h 1603960"/>
                  <a:gd name="connsiteX5" fmla="*/ 1683235 w 2352778"/>
                  <a:gd name="connsiteY5" fmla="*/ 385853 h 1603960"/>
                  <a:gd name="connsiteX6" fmla="*/ 2114464 w 2352778"/>
                  <a:gd name="connsiteY6" fmla="*/ 817082 h 1603960"/>
                  <a:gd name="connsiteX7" fmla="*/ 2080576 w 2352778"/>
                  <a:gd name="connsiteY7" fmla="*/ 984936 h 1603960"/>
                  <a:gd name="connsiteX8" fmla="*/ 2075813 w 2352778"/>
                  <a:gd name="connsiteY8" fmla="*/ 993711 h 1603960"/>
                  <a:gd name="connsiteX9" fmla="*/ 2080946 w 2352778"/>
                  <a:gd name="connsiteY9" fmla="*/ 994229 h 1603960"/>
                  <a:gd name="connsiteX10" fmla="*/ 2352778 w 2352778"/>
                  <a:gd name="connsiteY10" fmla="*/ 1327755 h 1603960"/>
                  <a:gd name="connsiteX11" fmla="*/ 2253065 w 2352778"/>
                  <a:gd name="connsiteY11" fmla="*/ 1568484 h 1603960"/>
                  <a:gd name="connsiteX0" fmla="*/ 106776 w 2352778"/>
                  <a:gd name="connsiteY0" fmla="*/ 1610605 h 1610605"/>
                  <a:gd name="connsiteX1" fmla="*/ 456689 w 2352778"/>
                  <a:gd name="connsiteY1" fmla="*/ 766980 h 1610605"/>
                  <a:gd name="connsiteX2" fmla="*/ 983582 w 2352778"/>
                  <a:gd name="connsiteY2" fmla="*/ 6645 h 1610605"/>
                  <a:gd name="connsiteX3" fmla="*/ 1530955 w 2352778"/>
                  <a:gd name="connsiteY3" fmla="*/ 369468 h 1610605"/>
                  <a:gd name="connsiteX4" fmla="*/ 1545702 w 2352778"/>
                  <a:gd name="connsiteY4" fmla="*/ 416974 h 1610605"/>
                  <a:gd name="connsiteX5" fmla="*/ 1683235 w 2352778"/>
                  <a:gd name="connsiteY5" fmla="*/ 392498 h 1610605"/>
                  <a:gd name="connsiteX6" fmla="*/ 2114464 w 2352778"/>
                  <a:gd name="connsiteY6" fmla="*/ 823727 h 1610605"/>
                  <a:gd name="connsiteX7" fmla="*/ 2080576 w 2352778"/>
                  <a:gd name="connsiteY7" fmla="*/ 991581 h 1610605"/>
                  <a:gd name="connsiteX8" fmla="*/ 2075813 w 2352778"/>
                  <a:gd name="connsiteY8" fmla="*/ 1000356 h 1610605"/>
                  <a:gd name="connsiteX9" fmla="*/ 2080946 w 2352778"/>
                  <a:gd name="connsiteY9" fmla="*/ 1000874 h 1610605"/>
                  <a:gd name="connsiteX10" fmla="*/ 2352778 w 2352778"/>
                  <a:gd name="connsiteY10" fmla="*/ 1334400 h 1610605"/>
                  <a:gd name="connsiteX11" fmla="*/ 2253065 w 2352778"/>
                  <a:gd name="connsiteY11" fmla="*/ 1575129 h 1610605"/>
                  <a:gd name="connsiteX0" fmla="*/ 106776 w 2352778"/>
                  <a:gd name="connsiteY0" fmla="*/ 1610605 h 1610605"/>
                  <a:gd name="connsiteX1" fmla="*/ 456689 w 2352778"/>
                  <a:gd name="connsiteY1" fmla="*/ 766980 h 1610605"/>
                  <a:gd name="connsiteX2" fmla="*/ 983582 w 2352778"/>
                  <a:gd name="connsiteY2" fmla="*/ 6645 h 1610605"/>
                  <a:gd name="connsiteX3" fmla="*/ 1530955 w 2352778"/>
                  <a:gd name="connsiteY3" fmla="*/ 369468 h 1610605"/>
                  <a:gd name="connsiteX4" fmla="*/ 1683235 w 2352778"/>
                  <a:gd name="connsiteY4" fmla="*/ 392498 h 1610605"/>
                  <a:gd name="connsiteX5" fmla="*/ 2114464 w 2352778"/>
                  <a:gd name="connsiteY5" fmla="*/ 823727 h 1610605"/>
                  <a:gd name="connsiteX6" fmla="*/ 2080576 w 2352778"/>
                  <a:gd name="connsiteY6" fmla="*/ 991581 h 1610605"/>
                  <a:gd name="connsiteX7" fmla="*/ 2075813 w 2352778"/>
                  <a:gd name="connsiteY7" fmla="*/ 1000356 h 1610605"/>
                  <a:gd name="connsiteX8" fmla="*/ 2080946 w 2352778"/>
                  <a:gd name="connsiteY8" fmla="*/ 1000874 h 1610605"/>
                  <a:gd name="connsiteX9" fmla="*/ 2352778 w 2352778"/>
                  <a:gd name="connsiteY9" fmla="*/ 1334400 h 1610605"/>
                  <a:gd name="connsiteX10" fmla="*/ 2253065 w 2352778"/>
                  <a:gd name="connsiteY10" fmla="*/ 1575129 h 1610605"/>
                  <a:gd name="connsiteX0" fmla="*/ 106776 w 2352778"/>
                  <a:gd name="connsiteY0" fmla="*/ 1612114 h 1612114"/>
                  <a:gd name="connsiteX1" fmla="*/ 456689 w 2352778"/>
                  <a:gd name="connsiteY1" fmla="*/ 768489 h 1612114"/>
                  <a:gd name="connsiteX2" fmla="*/ 983582 w 2352778"/>
                  <a:gd name="connsiteY2" fmla="*/ 8154 h 1612114"/>
                  <a:gd name="connsiteX3" fmla="*/ 1683235 w 2352778"/>
                  <a:gd name="connsiteY3" fmla="*/ 394007 h 1612114"/>
                  <a:gd name="connsiteX4" fmla="*/ 2114464 w 2352778"/>
                  <a:gd name="connsiteY4" fmla="*/ 825236 h 1612114"/>
                  <a:gd name="connsiteX5" fmla="*/ 2080576 w 2352778"/>
                  <a:gd name="connsiteY5" fmla="*/ 993090 h 1612114"/>
                  <a:gd name="connsiteX6" fmla="*/ 2075813 w 2352778"/>
                  <a:gd name="connsiteY6" fmla="*/ 1001865 h 1612114"/>
                  <a:gd name="connsiteX7" fmla="*/ 2080946 w 2352778"/>
                  <a:gd name="connsiteY7" fmla="*/ 1002383 h 1612114"/>
                  <a:gd name="connsiteX8" fmla="*/ 2352778 w 2352778"/>
                  <a:gd name="connsiteY8" fmla="*/ 1335909 h 1612114"/>
                  <a:gd name="connsiteX9" fmla="*/ 2253065 w 2352778"/>
                  <a:gd name="connsiteY9" fmla="*/ 1576638 h 1612114"/>
                  <a:gd name="connsiteX0" fmla="*/ 106776 w 2352778"/>
                  <a:gd name="connsiteY0" fmla="*/ 1611207 h 1611207"/>
                  <a:gd name="connsiteX1" fmla="*/ 456689 w 2352778"/>
                  <a:gd name="connsiteY1" fmla="*/ 767582 h 1611207"/>
                  <a:gd name="connsiteX2" fmla="*/ 983582 w 2352778"/>
                  <a:gd name="connsiteY2" fmla="*/ 7247 h 1611207"/>
                  <a:gd name="connsiteX3" fmla="*/ 1558230 w 2352778"/>
                  <a:gd name="connsiteY3" fmla="*/ 438554 h 1611207"/>
                  <a:gd name="connsiteX4" fmla="*/ 2114464 w 2352778"/>
                  <a:gd name="connsiteY4" fmla="*/ 824329 h 1611207"/>
                  <a:gd name="connsiteX5" fmla="*/ 2080576 w 2352778"/>
                  <a:gd name="connsiteY5" fmla="*/ 992183 h 1611207"/>
                  <a:gd name="connsiteX6" fmla="*/ 2075813 w 2352778"/>
                  <a:gd name="connsiteY6" fmla="*/ 1000958 h 1611207"/>
                  <a:gd name="connsiteX7" fmla="*/ 2080946 w 2352778"/>
                  <a:gd name="connsiteY7" fmla="*/ 1001476 h 1611207"/>
                  <a:gd name="connsiteX8" fmla="*/ 2352778 w 2352778"/>
                  <a:gd name="connsiteY8" fmla="*/ 1335002 h 1611207"/>
                  <a:gd name="connsiteX9" fmla="*/ 2253065 w 2352778"/>
                  <a:gd name="connsiteY9" fmla="*/ 1575731 h 1611207"/>
                  <a:gd name="connsiteX0" fmla="*/ 106776 w 2352778"/>
                  <a:gd name="connsiteY0" fmla="*/ 1608821 h 1608821"/>
                  <a:gd name="connsiteX1" fmla="*/ 456689 w 2352778"/>
                  <a:gd name="connsiteY1" fmla="*/ 765196 h 1608821"/>
                  <a:gd name="connsiteX2" fmla="*/ 983582 w 2352778"/>
                  <a:gd name="connsiteY2" fmla="*/ 4861 h 1608821"/>
                  <a:gd name="connsiteX3" fmla="*/ 1558230 w 2352778"/>
                  <a:gd name="connsiteY3" fmla="*/ 436168 h 1608821"/>
                  <a:gd name="connsiteX4" fmla="*/ 2114464 w 2352778"/>
                  <a:gd name="connsiteY4" fmla="*/ 821943 h 1608821"/>
                  <a:gd name="connsiteX5" fmla="*/ 2080576 w 2352778"/>
                  <a:gd name="connsiteY5" fmla="*/ 989797 h 1608821"/>
                  <a:gd name="connsiteX6" fmla="*/ 2075813 w 2352778"/>
                  <a:gd name="connsiteY6" fmla="*/ 998572 h 1608821"/>
                  <a:gd name="connsiteX7" fmla="*/ 2080946 w 2352778"/>
                  <a:gd name="connsiteY7" fmla="*/ 999090 h 1608821"/>
                  <a:gd name="connsiteX8" fmla="*/ 2352778 w 2352778"/>
                  <a:gd name="connsiteY8" fmla="*/ 1332616 h 1608821"/>
                  <a:gd name="connsiteX9" fmla="*/ 2253065 w 2352778"/>
                  <a:gd name="connsiteY9" fmla="*/ 1573345 h 1608821"/>
                  <a:gd name="connsiteX0" fmla="*/ 106776 w 2352778"/>
                  <a:gd name="connsiteY0" fmla="*/ 1608821 h 1608821"/>
                  <a:gd name="connsiteX1" fmla="*/ 456689 w 2352778"/>
                  <a:gd name="connsiteY1" fmla="*/ 765196 h 1608821"/>
                  <a:gd name="connsiteX2" fmla="*/ 983582 w 2352778"/>
                  <a:gd name="connsiteY2" fmla="*/ 4861 h 1608821"/>
                  <a:gd name="connsiteX3" fmla="*/ 1558230 w 2352778"/>
                  <a:gd name="connsiteY3" fmla="*/ 436168 h 1608821"/>
                  <a:gd name="connsiteX4" fmla="*/ 2114464 w 2352778"/>
                  <a:gd name="connsiteY4" fmla="*/ 821943 h 1608821"/>
                  <a:gd name="connsiteX5" fmla="*/ 2080576 w 2352778"/>
                  <a:gd name="connsiteY5" fmla="*/ 989797 h 1608821"/>
                  <a:gd name="connsiteX6" fmla="*/ 2075813 w 2352778"/>
                  <a:gd name="connsiteY6" fmla="*/ 998572 h 1608821"/>
                  <a:gd name="connsiteX7" fmla="*/ 2080946 w 2352778"/>
                  <a:gd name="connsiteY7" fmla="*/ 999090 h 1608821"/>
                  <a:gd name="connsiteX8" fmla="*/ 2352778 w 2352778"/>
                  <a:gd name="connsiteY8" fmla="*/ 1332616 h 1608821"/>
                  <a:gd name="connsiteX9" fmla="*/ 2253065 w 2352778"/>
                  <a:gd name="connsiteY9" fmla="*/ 1573345 h 1608821"/>
                  <a:gd name="connsiteX0" fmla="*/ 106776 w 2352778"/>
                  <a:gd name="connsiteY0" fmla="*/ 1615532 h 1615532"/>
                  <a:gd name="connsiteX1" fmla="*/ 456689 w 2352778"/>
                  <a:gd name="connsiteY1" fmla="*/ 771907 h 1615532"/>
                  <a:gd name="connsiteX2" fmla="*/ 983582 w 2352778"/>
                  <a:gd name="connsiteY2" fmla="*/ 11572 h 1615532"/>
                  <a:gd name="connsiteX3" fmla="*/ 1558230 w 2352778"/>
                  <a:gd name="connsiteY3" fmla="*/ 442879 h 1615532"/>
                  <a:gd name="connsiteX4" fmla="*/ 2114464 w 2352778"/>
                  <a:gd name="connsiteY4" fmla="*/ 828654 h 1615532"/>
                  <a:gd name="connsiteX5" fmla="*/ 2080576 w 2352778"/>
                  <a:gd name="connsiteY5" fmla="*/ 996508 h 1615532"/>
                  <a:gd name="connsiteX6" fmla="*/ 2075813 w 2352778"/>
                  <a:gd name="connsiteY6" fmla="*/ 1005283 h 1615532"/>
                  <a:gd name="connsiteX7" fmla="*/ 2080946 w 2352778"/>
                  <a:gd name="connsiteY7" fmla="*/ 1005801 h 1615532"/>
                  <a:gd name="connsiteX8" fmla="*/ 2352778 w 2352778"/>
                  <a:gd name="connsiteY8" fmla="*/ 1339327 h 1615532"/>
                  <a:gd name="connsiteX9" fmla="*/ 2253065 w 2352778"/>
                  <a:gd name="connsiteY9" fmla="*/ 1580056 h 1615532"/>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075813 w 2352778"/>
                  <a:gd name="connsiteY5" fmla="*/ 1006291 h 1616540"/>
                  <a:gd name="connsiteX6" fmla="*/ 2080946 w 2352778"/>
                  <a:gd name="connsiteY6" fmla="*/ 1006809 h 1616540"/>
                  <a:gd name="connsiteX7" fmla="*/ 2352778 w 2352778"/>
                  <a:gd name="connsiteY7" fmla="*/ 1340335 h 1616540"/>
                  <a:gd name="connsiteX8" fmla="*/ 2253065 w 2352778"/>
                  <a:gd name="connsiteY8"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075813 w 2352778"/>
                  <a:gd name="connsiteY5" fmla="*/ 1006291 h 1616540"/>
                  <a:gd name="connsiteX6" fmla="*/ 2352778 w 2352778"/>
                  <a:gd name="connsiteY6" fmla="*/ 1340335 h 1616540"/>
                  <a:gd name="connsiteX7" fmla="*/ 2253065 w 2352778"/>
                  <a:gd name="connsiteY7" fmla="*/ 1581064 h 1616540"/>
                  <a:gd name="connsiteX0" fmla="*/ 106776 w 2519017"/>
                  <a:gd name="connsiteY0" fmla="*/ 1616540 h 1616540"/>
                  <a:gd name="connsiteX1" fmla="*/ 456689 w 2519017"/>
                  <a:gd name="connsiteY1" fmla="*/ 772915 h 1616540"/>
                  <a:gd name="connsiteX2" fmla="*/ 983582 w 2519017"/>
                  <a:gd name="connsiteY2" fmla="*/ 12580 h 1616540"/>
                  <a:gd name="connsiteX3" fmla="*/ 1558230 w 2519017"/>
                  <a:gd name="connsiteY3" fmla="*/ 443887 h 1616540"/>
                  <a:gd name="connsiteX4" fmla="*/ 2080576 w 2519017"/>
                  <a:gd name="connsiteY4" fmla="*/ 997516 h 1616540"/>
                  <a:gd name="connsiteX5" fmla="*/ 2519017 w 2519017"/>
                  <a:gd name="connsiteY5" fmla="*/ 790371 h 1616540"/>
                  <a:gd name="connsiteX6" fmla="*/ 2352778 w 2519017"/>
                  <a:gd name="connsiteY6" fmla="*/ 1340335 h 1616540"/>
                  <a:gd name="connsiteX7" fmla="*/ 2253065 w 2519017"/>
                  <a:gd name="connsiteY7"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352778 w 2352778"/>
                  <a:gd name="connsiteY5" fmla="*/ 1340335 h 1616540"/>
                  <a:gd name="connsiteX6" fmla="*/ 2253065 w 2352778"/>
                  <a:gd name="connsiteY6" fmla="*/ 1581064 h 1616540"/>
                  <a:gd name="connsiteX0" fmla="*/ 106776 w 2253066"/>
                  <a:gd name="connsiteY0" fmla="*/ 1616540 h 1616540"/>
                  <a:gd name="connsiteX1" fmla="*/ 456689 w 2253066"/>
                  <a:gd name="connsiteY1" fmla="*/ 772915 h 1616540"/>
                  <a:gd name="connsiteX2" fmla="*/ 983582 w 2253066"/>
                  <a:gd name="connsiteY2" fmla="*/ 12580 h 1616540"/>
                  <a:gd name="connsiteX3" fmla="*/ 1558230 w 2253066"/>
                  <a:gd name="connsiteY3" fmla="*/ 443887 h 1616540"/>
                  <a:gd name="connsiteX4" fmla="*/ 2080576 w 2253066"/>
                  <a:gd name="connsiteY4" fmla="*/ 997516 h 1616540"/>
                  <a:gd name="connsiteX5" fmla="*/ 2253065 w 2253066"/>
                  <a:gd name="connsiteY5" fmla="*/ 1581064 h 1616540"/>
                  <a:gd name="connsiteX0" fmla="*/ 106776 w 2307178"/>
                  <a:gd name="connsiteY0" fmla="*/ 1616540 h 1616540"/>
                  <a:gd name="connsiteX1" fmla="*/ 456689 w 2307178"/>
                  <a:gd name="connsiteY1" fmla="*/ 772915 h 1616540"/>
                  <a:gd name="connsiteX2" fmla="*/ 983582 w 2307178"/>
                  <a:gd name="connsiteY2" fmla="*/ 12580 h 1616540"/>
                  <a:gd name="connsiteX3" fmla="*/ 1558230 w 2307178"/>
                  <a:gd name="connsiteY3" fmla="*/ 443887 h 1616540"/>
                  <a:gd name="connsiteX4" fmla="*/ 2080576 w 2307178"/>
                  <a:gd name="connsiteY4" fmla="*/ 997516 h 1616540"/>
                  <a:gd name="connsiteX5" fmla="*/ 2253065 w 2307178"/>
                  <a:gd name="connsiteY5" fmla="*/ 1581064 h 1616540"/>
                  <a:gd name="connsiteX0" fmla="*/ 106776 w 2403693"/>
                  <a:gd name="connsiteY0" fmla="*/ 1616540 h 1616540"/>
                  <a:gd name="connsiteX1" fmla="*/ 456689 w 2403693"/>
                  <a:gd name="connsiteY1" fmla="*/ 772915 h 1616540"/>
                  <a:gd name="connsiteX2" fmla="*/ 983582 w 2403693"/>
                  <a:gd name="connsiteY2" fmla="*/ 12580 h 1616540"/>
                  <a:gd name="connsiteX3" fmla="*/ 1558230 w 2403693"/>
                  <a:gd name="connsiteY3" fmla="*/ 443887 h 1616540"/>
                  <a:gd name="connsiteX4" fmla="*/ 2080576 w 2403693"/>
                  <a:gd name="connsiteY4" fmla="*/ 997516 h 1616540"/>
                  <a:gd name="connsiteX5" fmla="*/ 2253065 w 2403693"/>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60046 h 1660046"/>
                  <a:gd name="connsiteX1" fmla="*/ 456689 w 2380744"/>
                  <a:gd name="connsiteY1" fmla="*/ 816421 h 1660046"/>
                  <a:gd name="connsiteX2" fmla="*/ 972216 w 2380744"/>
                  <a:gd name="connsiteY2" fmla="*/ 10631 h 1660046"/>
                  <a:gd name="connsiteX3" fmla="*/ 1558230 w 2380744"/>
                  <a:gd name="connsiteY3" fmla="*/ 487393 h 1660046"/>
                  <a:gd name="connsiteX4" fmla="*/ 2080576 w 2380744"/>
                  <a:gd name="connsiteY4" fmla="*/ 1041022 h 1660046"/>
                  <a:gd name="connsiteX5" fmla="*/ 2253065 w 2380744"/>
                  <a:gd name="connsiteY5" fmla="*/ 1624570 h 1660046"/>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73898 h 1673898"/>
                  <a:gd name="connsiteX1" fmla="*/ 456689 w 2380744"/>
                  <a:gd name="connsiteY1" fmla="*/ 830273 h 1673898"/>
                  <a:gd name="connsiteX2" fmla="*/ 972216 w 2380744"/>
                  <a:gd name="connsiteY2" fmla="*/ 24483 h 1673898"/>
                  <a:gd name="connsiteX3" fmla="*/ 1558230 w 2380744"/>
                  <a:gd name="connsiteY3" fmla="*/ 501245 h 1673898"/>
                  <a:gd name="connsiteX4" fmla="*/ 2080576 w 2380744"/>
                  <a:gd name="connsiteY4" fmla="*/ 1054874 h 1673898"/>
                  <a:gd name="connsiteX5" fmla="*/ 2253065 w 2380744"/>
                  <a:gd name="connsiteY5" fmla="*/ 1638422 h 1673898"/>
                  <a:gd name="connsiteX0" fmla="*/ 106776 w 2380744"/>
                  <a:gd name="connsiteY0" fmla="*/ 1663232 h 1663232"/>
                  <a:gd name="connsiteX1" fmla="*/ 456689 w 2380744"/>
                  <a:gd name="connsiteY1" fmla="*/ 819607 h 1663232"/>
                  <a:gd name="connsiteX2" fmla="*/ 972216 w 2380744"/>
                  <a:gd name="connsiteY2" fmla="*/ 13817 h 1663232"/>
                  <a:gd name="connsiteX3" fmla="*/ 1558230 w 2380744"/>
                  <a:gd name="connsiteY3" fmla="*/ 490579 h 1663232"/>
                  <a:gd name="connsiteX4" fmla="*/ 2080576 w 2380744"/>
                  <a:gd name="connsiteY4" fmla="*/ 1044208 h 1663232"/>
                  <a:gd name="connsiteX5" fmla="*/ 2253065 w 2380744"/>
                  <a:gd name="connsiteY5" fmla="*/ 1627756 h 1663232"/>
                  <a:gd name="connsiteX0" fmla="*/ 106776 w 2380744"/>
                  <a:gd name="connsiteY0" fmla="*/ 1620102 h 1620102"/>
                  <a:gd name="connsiteX1" fmla="*/ 456689 w 2380744"/>
                  <a:gd name="connsiteY1" fmla="*/ 776477 h 1620102"/>
                  <a:gd name="connsiteX2" fmla="*/ 801754 w 2380744"/>
                  <a:gd name="connsiteY2" fmla="*/ 16142 h 1620102"/>
                  <a:gd name="connsiteX3" fmla="*/ 1558230 w 2380744"/>
                  <a:gd name="connsiteY3" fmla="*/ 447449 h 1620102"/>
                  <a:gd name="connsiteX4" fmla="*/ 2080576 w 2380744"/>
                  <a:gd name="connsiteY4" fmla="*/ 1001078 h 1620102"/>
                  <a:gd name="connsiteX5" fmla="*/ 2253065 w 2380744"/>
                  <a:gd name="connsiteY5" fmla="*/ 1584626 h 1620102"/>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487430"/>
                  <a:gd name="connsiteY0" fmla="*/ 1631741 h 1631741"/>
                  <a:gd name="connsiteX1" fmla="*/ 456689 w 2487430"/>
                  <a:gd name="connsiteY1" fmla="*/ 788116 h 1631741"/>
                  <a:gd name="connsiteX2" fmla="*/ 801754 w 2487430"/>
                  <a:gd name="connsiteY2" fmla="*/ 27781 h 1631741"/>
                  <a:gd name="connsiteX3" fmla="*/ 1558230 w 2487430"/>
                  <a:gd name="connsiteY3" fmla="*/ 459088 h 1631741"/>
                  <a:gd name="connsiteX4" fmla="*/ 2080576 w 2487430"/>
                  <a:gd name="connsiteY4" fmla="*/ 1012717 h 1631741"/>
                  <a:gd name="connsiteX5" fmla="*/ 2414980 w 2487430"/>
                  <a:gd name="connsiteY5" fmla="*/ 1410071 h 1631741"/>
                  <a:gd name="connsiteX0" fmla="*/ 106776 w 2529784"/>
                  <a:gd name="connsiteY0" fmla="*/ 1631741 h 1631741"/>
                  <a:gd name="connsiteX1" fmla="*/ 456689 w 2529784"/>
                  <a:gd name="connsiteY1" fmla="*/ 788116 h 1631741"/>
                  <a:gd name="connsiteX2" fmla="*/ 801754 w 2529784"/>
                  <a:gd name="connsiteY2" fmla="*/ 27781 h 1631741"/>
                  <a:gd name="connsiteX3" fmla="*/ 1558230 w 2529784"/>
                  <a:gd name="connsiteY3" fmla="*/ 459088 h 1631741"/>
                  <a:gd name="connsiteX4" fmla="*/ 2212636 w 2529784"/>
                  <a:gd name="connsiteY4" fmla="*/ 808070 h 1631741"/>
                  <a:gd name="connsiteX5" fmla="*/ 2414980 w 2529784"/>
                  <a:gd name="connsiteY5" fmla="*/ 1410071 h 1631741"/>
                  <a:gd name="connsiteX0" fmla="*/ 106776 w 2529784"/>
                  <a:gd name="connsiteY0" fmla="*/ 1631741 h 1631741"/>
                  <a:gd name="connsiteX1" fmla="*/ 456689 w 2529784"/>
                  <a:gd name="connsiteY1" fmla="*/ 788116 h 1631741"/>
                  <a:gd name="connsiteX2" fmla="*/ 801754 w 2529784"/>
                  <a:gd name="connsiteY2" fmla="*/ 27781 h 1631741"/>
                  <a:gd name="connsiteX3" fmla="*/ 1558230 w 2529784"/>
                  <a:gd name="connsiteY3" fmla="*/ 459088 h 1631741"/>
                  <a:gd name="connsiteX4" fmla="*/ 2212636 w 2529784"/>
                  <a:gd name="connsiteY4" fmla="*/ 808070 h 1631741"/>
                  <a:gd name="connsiteX5" fmla="*/ 2414980 w 2529784"/>
                  <a:gd name="connsiteY5" fmla="*/ 1410071 h 1631741"/>
                  <a:gd name="connsiteX0" fmla="*/ 106776 w 2529784"/>
                  <a:gd name="connsiteY0" fmla="*/ 1631741 h 1631741"/>
                  <a:gd name="connsiteX1" fmla="*/ 456689 w 2529784"/>
                  <a:gd name="connsiteY1" fmla="*/ 788116 h 1631741"/>
                  <a:gd name="connsiteX2" fmla="*/ 801754 w 2529784"/>
                  <a:gd name="connsiteY2" fmla="*/ 27781 h 1631741"/>
                  <a:gd name="connsiteX3" fmla="*/ 1558230 w 2529784"/>
                  <a:gd name="connsiteY3" fmla="*/ 459088 h 1631741"/>
                  <a:gd name="connsiteX4" fmla="*/ 2212636 w 2529784"/>
                  <a:gd name="connsiteY4" fmla="*/ 808070 h 1631741"/>
                  <a:gd name="connsiteX5" fmla="*/ 2414980 w 2529784"/>
                  <a:gd name="connsiteY5" fmla="*/ 1410071 h 1631741"/>
                  <a:gd name="connsiteX0" fmla="*/ 106776 w 2521755"/>
                  <a:gd name="connsiteY0" fmla="*/ 1631741 h 1631741"/>
                  <a:gd name="connsiteX1" fmla="*/ 456689 w 2521755"/>
                  <a:gd name="connsiteY1" fmla="*/ 788116 h 1631741"/>
                  <a:gd name="connsiteX2" fmla="*/ 801754 w 2521755"/>
                  <a:gd name="connsiteY2" fmla="*/ 27781 h 1631741"/>
                  <a:gd name="connsiteX3" fmla="*/ 1558230 w 2521755"/>
                  <a:gd name="connsiteY3" fmla="*/ 459088 h 1631741"/>
                  <a:gd name="connsiteX4" fmla="*/ 2212636 w 2521755"/>
                  <a:gd name="connsiteY4" fmla="*/ 808070 h 1631741"/>
                  <a:gd name="connsiteX5" fmla="*/ 2414980 w 2521755"/>
                  <a:gd name="connsiteY5" fmla="*/ 1410071 h 1631741"/>
                  <a:gd name="connsiteX0" fmla="*/ 187110 w 2602089"/>
                  <a:gd name="connsiteY0" fmla="*/ 1631741 h 1631741"/>
                  <a:gd name="connsiteX1" fmla="*/ 537023 w 2602089"/>
                  <a:gd name="connsiteY1" fmla="*/ 788116 h 1631741"/>
                  <a:gd name="connsiteX2" fmla="*/ 882088 w 2602089"/>
                  <a:gd name="connsiteY2" fmla="*/ 27781 h 1631741"/>
                  <a:gd name="connsiteX3" fmla="*/ 1638564 w 2602089"/>
                  <a:gd name="connsiteY3" fmla="*/ 459088 h 1631741"/>
                  <a:gd name="connsiteX4" fmla="*/ 2292970 w 2602089"/>
                  <a:gd name="connsiteY4" fmla="*/ 808070 h 1631741"/>
                  <a:gd name="connsiteX5" fmla="*/ 2495314 w 2602089"/>
                  <a:gd name="connsiteY5" fmla="*/ 1410071 h 1631741"/>
                  <a:gd name="connsiteX0" fmla="*/ 203397 w 2618376"/>
                  <a:gd name="connsiteY0" fmla="*/ 1631741 h 1631741"/>
                  <a:gd name="connsiteX1" fmla="*/ 486034 w 2618376"/>
                  <a:gd name="connsiteY1" fmla="*/ 679189 h 1631741"/>
                  <a:gd name="connsiteX2" fmla="*/ 898375 w 2618376"/>
                  <a:gd name="connsiteY2" fmla="*/ 27781 h 1631741"/>
                  <a:gd name="connsiteX3" fmla="*/ 1654851 w 2618376"/>
                  <a:gd name="connsiteY3" fmla="*/ 459088 h 1631741"/>
                  <a:gd name="connsiteX4" fmla="*/ 2309257 w 2618376"/>
                  <a:gd name="connsiteY4" fmla="*/ 808070 h 1631741"/>
                  <a:gd name="connsiteX5" fmla="*/ 2511601 w 2618376"/>
                  <a:gd name="connsiteY5" fmla="*/ 1410071 h 1631741"/>
                  <a:gd name="connsiteX0" fmla="*/ 203397 w 2618376"/>
                  <a:gd name="connsiteY0" fmla="*/ 1631741 h 1631741"/>
                  <a:gd name="connsiteX1" fmla="*/ 486034 w 2618376"/>
                  <a:gd name="connsiteY1" fmla="*/ 679189 h 1631741"/>
                  <a:gd name="connsiteX2" fmla="*/ 898375 w 2618376"/>
                  <a:gd name="connsiteY2" fmla="*/ 27781 h 1631741"/>
                  <a:gd name="connsiteX3" fmla="*/ 1654851 w 2618376"/>
                  <a:gd name="connsiteY3" fmla="*/ 459088 h 1631741"/>
                  <a:gd name="connsiteX4" fmla="*/ 2309257 w 2618376"/>
                  <a:gd name="connsiteY4" fmla="*/ 808070 h 1631741"/>
                  <a:gd name="connsiteX5" fmla="*/ 2511601 w 2618376"/>
                  <a:gd name="connsiteY5" fmla="*/ 1410071 h 1631741"/>
                  <a:gd name="connsiteX0" fmla="*/ 203397 w 2618376"/>
                  <a:gd name="connsiteY0" fmla="*/ 1631741 h 1631741"/>
                  <a:gd name="connsiteX1" fmla="*/ 486034 w 2618376"/>
                  <a:gd name="connsiteY1" fmla="*/ 679189 h 1631741"/>
                  <a:gd name="connsiteX2" fmla="*/ 898375 w 2618376"/>
                  <a:gd name="connsiteY2" fmla="*/ 27781 h 1631741"/>
                  <a:gd name="connsiteX3" fmla="*/ 1654851 w 2618376"/>
                  <a:gd name="connsiteY3" fmla="*/ 459088 h 1631741"/>
                  <a:gd name="connsiteX4" fmla="*/ 2309257 w 2618376"/>
                  <a:gd name="connsiteY4" fmla="*/ 808070 h 1631741"/>
                  <a:gd name="connsiteX5" fmla="*/ 2511601 w 2618376"/>
                  <a:gd name="connsiteY5" fmla="*/ 1410071 h 1631741"/>
                  <a:gd name="connsiteX0" fmla="*/ 203400 w 2618376"/>
                  <a:gd name="connsiteY0" fmla="*/ 1634574 h 1634574"/>
                  <a:gd name="connsiteX1" fmla="*/ 486037 w 2618376"/>
                  <a:gd name="connsiteY1" fmla="*/ 682022 h 1634574"/>
                  <a:gd name="connsiteX2" fmla="*/ 898378 w 2618376"/>
                  <a:gd name="connsiteY2" fmla="*/ 30614 h 1634574"/>
                  <a:gd name="connsiteX3" fmla="*/ 1666936 w 2618376"/>
                  <a:gd name="connsiteY3" fmla="*/ 430111 h 1634574"/>
                  <a:gd name="connsiteX4" fmla="*/ 2309260 w 2618376"/>
                  <a:gd name="connsiteY4" fmla="*/ 810903 h 1634574"/>
                  <a:gd name="connsiteX5" fmla="*/ 2511604 w 2618376"/>
                  <a:gd name="connsiteY5" fmla="*/ 1412904 h 1634574"/>
                  <a:gd name="connsiteX0" fmla="*/ 203400 w 2618376"/>
                  <a:gd name="connsiteY0" fmla="*/ 1634576 h 1634576"/>
                  <a:gd name="connsiteX1" fmla="*/ 486037 w 2618376"/>
                  <a:gd name="connsiteY1" fmla="*/ 682024 h 1634576"/>
                  <a:gd name="connsiteX2" fmla="*/ 898378 w 2618376"/>
                  <a:gd name="connsiteY2" fmla="*/ 30616 h 1634576"/>
                  <a:gd name="connsiteX3" fmla="*/ 1666936 w 2618376"/>
                  <a:gd name="connsiteY3" fmla="*/ 430113 h 1634576"/>
                  <a:gd name="connsiteX4" fmla="*/ 2309260 w 2618376"/>
                  <a:gd name="connsiteY4" fmla="*/ 810905 h 1634576"/>
                  <a:gd name="connsiteX5" fmla="*/ 2511604 w 2618376"/>
                  <a:gd name="connsiteY5" fmla="*/ 1412906 h 1634576"/>
                  <a:gd name="connsiteX0" fmla="*/ 203400 w 2605750"/>
                  <a:gd name="connsiteY0" fmla="*/ 1634576 h 1634576"/>
                  <a:gd name="connsiteX1" fmla="*/ 486037 w 2605750"/>
                  <a:gd name="connsiteY1" fmla="*/ 682024 h 1634576"/>
                  <a:gd name="connsiteX2" fmla="*/ 898378 w 2605750"/>
                  <a:gd name="connsiteY2" fmla="*/ 30616 h 1634576"/>
                  <a:gd name="connsiteX3" fmla="*/ 1666936 w 2605750"/>
                  <a:gd name="connsiteY3" fmla="*/ 430113 h 1634576"/>
                  <a:gd name="connsiteX4" fmla="*/ 2309260 w 2605750"/>
                  <a:gd name="connsiteY4" fmla="*/ 810905 h 1634576"/>
                  <a:gd name="connsiteX5" fmla="*/ 2511604 w 2605750"/>
                  <a:gd name="connsiteY5" fmla="*/ 1412906 h 1634576"/>
                  <a:gd name="connsiteX0" fmla="*/ 203400 w 2605750"/>
                  <a:gd name="connsiteY0" fmla="*/ 1634576 h 1634576"/>
                  <a:gd name="connsiteX1" fmla="*/ 486037 w 2605750"/>
                  <a:gd name="connsiteY1" fmla="*/ 682024 h 1634576"/>
                  <a:gd name="connsiteX2" fmla="*/ 898378 w 2605750"/>
                  <a:gd name="connsiteY2" fmla="*/ 30616 h 1634576"/>
                  <a:gd name="connsiteX3" fmla="*/ 1666936 w 2605750"/>
                  <a:gd name="connsiteY3" fmla="*/ 430113 h 1634576"/>
                  <a:gd name="connsiteX4" fmla="*/ 2309260 w 2605750"/>
                  <a:gd name="connsiteY4" fmla="*/ 810905 h 1634576"/>
                  <a:gd name="connsiteX5" fmla="*/ 2511604 w 2605750"/>
                  <a:gd name="connsiteY5" fmla="*/ 1412906 h 1634576"/>
                  <a:gd name="connsiteX0" fmla="*/ 203400 w 2605750"/>
                  <a:gd name="connsiteY0" fmla="*/ 1634576 h 1634576"/>
                  <a:gd name="connsiteX1" fmla="*/ 486037 w 2605750"/>
                  <a:gd name="connsiteY1" fmla="*/ 682024 h 1634576"/>
                  <a:gd name="connsiteX2" fmla="*/ 898378 w 2605750"/>
                  <a:gd name="connsiteY2" fmla="*/ 30616 h 1634576"/>
                  <a:gd name="connsiteX3" fmla="*/ 1666936 w 2605750"/>
                  <a:gd name="connsiteY3" fmla="*/ 430113 h 1634576"/>
                  <a:gd name="connsiteX4" fmla="*/ 2309260 w 2605750"/>
                  <a:gd name="connsiteY4" fmla="*/ 810905 h 1634576"/>
                  <a:gd name="connsiteX5" fmla="*/ 2511604 w 2605750"/>
                  <a:gd name="connsiteY5" fmla="*/ 1412906 h 1634576"/>
                  <a:gd name="connsiteX0" fmla="*/ 203400 w 2605750"/>
                  <a:gd name="connsiteY0" fmla="*/ 1595920 h 1595920"/>
                  <a:gd name="connsiteX1" fmla="*/ 486037 w 2605750"/>
                  <a:gd name="connsiteY1" fmla="*/ 643368 h 1595920"/>
                  <a:gd name="connsiteX2" fmla="*/ 925217 w 2605750"/>
                  <a:gd name="connsiteY2" fmla="*/ 35420 h 1595920"/>
                  <a:gd name="connsiteX3" fmla="*/ 1666936 w 2605750"/>
                  <a:gd name="connsiteY3" fmla="*/ 391457 h 1595920"/>
                  <a:gd name="connsiteX4" fmla="*/ 2309260 w 2605750"/>
                  <a:gd name="connsiteY4" fmla="*/ 772249 h 1595920"/>
                  <a:gd name="connsiteX5" fmla="*/ 2511604 w 2605750"/>
                  <a:gd name="connsiteY5" fmla="*/ 1374250 h 1595920"/>
                  <a:gd name="connsiteX0" fmla="*/ 203400 w 2605750"/>
                  <a:gd name="connsiteY0" fmla="*/ 1604035 h 1604035"/>
                  <a:gd name="connsiteX1" fmla="*/ 486037 w 2605750"/>
                  <a:gd name="connsiteY1" fmla="*/ 651483 h 1604035"/>
                  <a:gd name="connsiteX2" fmla="*/ 925217 w 2605750"/>
                  <a:gd name="connsiteY2" fmla="*/ 43535 h 1604035"/>
                  <a:gd name="connsiteX3" fmla="*/ 1666936 w 2605750"/>
                  <a:gd name="connsiteY3" fmla="*/ 399572 h 1604035"/>
                  <a:gd name="connsiteX4" fmla="*/ 2309260 w 2605750"/>
                  <a:gd name="connsiteY4" fmla="*/ 780364 h 1604035"/>
                  <a:gd name="connsiteX5" fmla="*/ 2511604 w 2605750"/>
                  <a:gd name="connsiteY5" fmla="*/ 1382365 h 1604035"/>
                  <a:gd name="connsiteX0" fmla="*/ 203400 w 2605750"/>
                  <a:gd name="connsiteY0" fmla="*/ 1618577 h 1618577"/>
                  <a:gd name="connsiteX1" fmla="*/ 486037 w 2605750"/>
                  <a:gd name="connsiteY1" fmla="*/ 666025 h 1618577"/>
                  <a:gd name="connsiteX2" fmla="*/ 914894 w 2605750"/>
                  <a:gd name="connsiteY2" fmla="*/ 41361 h 1618577"/>
                  <a:gd name="connsiteX3" fmla="*/ 1666936 w 2605750"/>
                  <a:gd name="connsiteY3" fmla="*/ 414114 h 1618577"/>
                  <a:gd name="connsiteX4" fmla="*/ 2309260 w 2605750"/>
                  <a:gd name="connsiteY4" fmla="*/ 794906 h 1618577"/>
                  <a:gd name="connsiteX5" fmla="*/ 2511604 w 2605750"/>
                  <a:gd name="connsiteY5" fmla="*/ 1396907 h 1618577"/>
                  <a:gd name="connsiteX0" fmla="*/ 203400 w 2605750"/>
                  <a:gd name="connsiteY0" fmla="*/ 1618577 h 1618577"/>
                  <a:gd name="connsiteX1" fmla="*/ 486037 w 2605750"/>
                  <a:gd name="connsiteY1" fmla="*/ 666025 h 1618577"/>
                  <a:gd name="connsiteX2" fmla="*/ 914894 w 2605750"/>
                  <a:gd name="connsiteY2" fmla="*/ 41361 h 1618577"/>
                  <a:gd name="connsiteX3" fmla="*/ 1666936 w 2605750"/>
                  <a:gd name="connsiteY3" fmla="*/ 414114 h 1618577"/>
                  <a:gd name="connsiteX4" fmla="*/ 2309260 w 2605750"/>
                  <a:gd name="connsiteY4" fmla="*/ 794906 h 1618577"/>
                  <a:gd name="connsiteX5" fmla="*/ 2511604 w 2605750"/>
                  <a:gd name="connsiteY5" fmla="*/ 1396907 h 1618577"/>
                  <a:gd name="connsiteX0" fmla="*/ 188344 w 2590694"/>
                  <a:gd name="connsiteY0" fmla="*/ 1618577 h 1618577"/>
                  <a:gd name="connsiteX1" fmla="*/ 532822 w 2590694"/>
                  <a:gd name="connsiteY1" fmla="*/ 700107 h 1618577"/>
                  <a:gd name="connsiteX2" fmla="*/ 899838 w 2590694"/>
                  <a:gd name="connsiteY2" fmla="*/ 41361 h 1618577"/>
                  <a:gd name="connsiteX3" fmla="*/ 1651880 w 2590694"/>
                  <a:gd name="connsiteY3" fmla="*/ 414114 h 1618577"/>
                  <a:gd name="connsiteX4" fmla="*/ 2294204 w 2590694"/>
                  <a:gd name="connsiteY4" fmla="*/ 794906 h 1618577"/>
                  <a:gd name="connsiteX5" fmla="*/ 2496548 w 2590694"/>
                  <a:gd name="connsiteY5" fmla="*/ 1396907 h 1618577"/>
                  <a:gd name="connsiteX0" fmla="*/ 193743 w 2572967"/>
                  <a:gd name="connsiteY0" fmla="*/ 1626667 h 1626666"/>
                  <a:gd name="connsiteX1" fmla="*/ 515095 w 2572967"/>
                  <a:gd name="connsiteY1" fmla="*/ 700107 h 1626666"/>
                  <a:gd name="connsiteX2" fmla="*/ 882111 w 2572967"/>
                  <a:gd name="connsiteY2" fmla="*/ 41361 h 1626666"/>
                  <a:gd name="connsiteX3" fmla="*/ 1634153 w 2572967"/>
                  <a:gd name="connsiteY3" fmla="*/ 414114 h 1626666"/>
                  <a:gd name="connsiteX4" fmla="*/ 2276477 w 2572967"/>
                  <a:gd name="connsiteY4" fmla="*/ 794906 h 1626666"/>
                  <a:gd name="connsiteX5" fmla="*/ 2478821 w 2572967"/>
                  <a:gd name="connsiteY5" fmla="*/ 1396907 h 1626666"/>
                  <a:gd name="connsiteX0" fmla="*/ 155226 w 2534450"/>
                  <a:gd name="connsiteY0" fmla="*/ 1626667 h 1626668"/>
                  <a:gd name="connsiteX1" fmla="*/ 476578 w 2534450"/>
                  <a:gd name="connsiteY1" fmla="*/ 700107 h 1626668"/>
                  <a:gd name="connsiteX2" fmla="*/ 843594 w 2534450"/>
                  <a:gd name="connsiteY2" fmla="*/ 41361 h 1626668"/>
                  <a:gd name="connsiteX3" fmla="*/ 1595636 w 2534450"/>
                  <a:gd name="connsiteY3" fmla="*/ 414114 h 1626668"/>
                  <a:gd name="connsiteX4" fmla="*/ 2237960 w 2534450"/>
                  <a:gd name="connsiteY4" fmla="*/ 794906 h 1626668"/>
                  <a:gd name="connsiteX5" fmla="*/ 2440304 w 2534450"/>
                  <a:gd name="connsiteY5" fmla="*/ 1396907 h 1626668"/>
                  <a:gd name="connsiteX0" fmla="*/ 155127 w 2534768"/>
                  <a:gd name="connsiteY0" fmla="*/ 1655351 h 1655352"/>
                  <a:gd name="connsiteX1" fmla="*/ 476896 w 2534768"/>
                  <a:gd name="connsiteY1" fmla="*/ 700107 h 1655352"/>
                  <a:gd name="connsiteX2" fmla="*/ 843912 w 2534768"/>
                  <a:gd name="connsiteY2" fmla="*/ 41361 h 1655352"/>
                  <a:gd name="connsiteX3" fmla="*/ 1595954 w 2534768"/>
                  <a:gd name="connsiteY3" fmla="*/ 414114 h 1655352"/>
                  <a:gd name="connsiteX4" fmla="*/ 2238278 w 2534768"/>
                  <a:gd name="connsiteY4" fmla="*/ 794906 h 1655352"/>
                  <a:gd name="connsiteX5" fmla="*/ 2440622 w 2534768"/>
                  <a:gd name="connsiteY5" fmla="*/ 1396907 h 1655352"/>
                  <a:gd name="connsiteX0" fmla="*/ 137185 w 2516826"/>
                  <a:gd name="connsiteY0" fmla="*/ 1655351 h 1655350"/>
                  <a:gd name="connsiteX1" fmla="*/ 458954 w 2516826"/>
                  <a:gd name="connsiteY1" fmla="*/ 700107 h 1655350"/>
                  <a:gd name="connsiteX2" fmla="*/ 825970 w 2516826"/>
                  <a:gd name="connsiteY2" fmla="*/ 41361 h 1655350"/>
                  <a:gd name="connsiteX3" fmla="*/ 1578012 w 2516826"/>
                  <a:gd name="connsiteY3" fmla="*/ 414114 h 1655350"/>
                  <a:gd name="connsiteX4" fmla="*/ 2220336 w 2516826"/>
                  <a:gd name="connsiteY4" fmla="*/ 794906 h 1655350"/>
                  <a:gd name="connsiteX5" fmla="*/ 2422680 w 2516826"/>
                  <a:gd name="connsiteY5" fmla="*/ 1396907 h 1655350"/>
                  <a:gd name="connsiteX0" fmla="*/ 138688 w 2511928"/>
                  <a:gd name="connsiteY0" fmla="*/ 1651040 h 1651040"/>
                  <a:gd name="connsiteX1" fmla="*/ 454056 w 2511928"/>
                  <a:gd name="connsiteY1" fmla="*/ 700107 h 1651040"/>
                  <a:gd name="connsiteX2" fmla="*/ 821072 w 2511928"/>
                  <a:gd name="connsiteY2" fmla="*/ 41361 h 1651040"/>
                  <a:gd name="connsiteX3" fmla="*/ 1573114 w 2511928"/>
                  <a:gd name="connsiteY3" fmla="*/ 414114 h 1651040"/>
                  <a:gd name="connsiteX4" fmla="*/ 2215438 w 2511928"/>
                  <a:gd name="connsiteY4" fmla="*/ 794906 h 1651040"/>
                  <a:gd name="connsiteX5" fmla="*/ 2417782 w 2511928"/>
                  <a:gd name="connsiteY5" fmla="*/ 1396907 h 165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1928" h="1651040">
                    <a:moveTo>
                      <a:pt x="138688" y="1651040"/>
                    </a:moveTo>
                    <a:cubicBezTo>
                      <a:pt x="-167196" y="1116914"/>
                      <a:pt x="75386" y="700109"/>
                      <a:pt x="454056" y="700107"/>
                    </a:cubicBezTo>
                    <a:cubicBezTo>
                      <a:pt x="400668" y="276539"/>
                      <a:pt x="684972" y="91210"/>
                      <a:pt x="821072" y="41361"/>
                    </a:cubicBezTo>
                    <a:cubicBezTo>
                      <a:pt x="1120179" y="-86468"/>
                      <a:pt x="1509421" y="94326"/>
                      <a:pt x="1573114" y="414114"/>
                    </a:cubicBezTo>
                    <a:cubicBezTo>
                      <a:pt x="1749855" y="193419"/>
                      <a:pt x="2233236" y="222103"/>
                      <a:pt x="2215438" y="794906"/>
                    </a:cubicBezTo>
                    <a:cubicBezTo>
                      <a:pt x="2569023" y="817065"/>
                      <a:pt x="2564843" y="1270577"/>
                      <a:pt x="2417782" y="1396907"/>
                    </a:cubicBez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dirty="0" err="1">
                  <a:solidFill>
                    <a:schemeClr val="tx1"/>
                  </a:solidFill>
                </a:endParaRPr>
              </a:p>
            </p:txBody>
          </p:sp>
          <p:sp>
            <p:nvSpPr>
              <p:cNvPr id="112" name="Freeform 592">
                <a:extLst>
                  <a:ext uri="{FF2B5EF4-FFF2-40B4-BE49-F238E27FC236}">
                    <a16:creationId xmlns:a16="http://schemas.microsoft.com/office/drawing/2014/main" id="{22FF0EE9-570A-4A4B-ACD9-37CD0C0BC823}"/>
                  </a:ext>
                </a:extLst>
              </p:cNvPr>
              <p:cNvSpPr>
                <a:spLocks/>
              </p:cNvSpPr>
              <p:nvPr/>
            </p:nvSpPr>
            <p:spPr bwMode="gray">
              <a:xfrm rot="18169347">
                <a:off x="11649617" y="4428563"/>
                <a:ext cx="190373" cy="240310"/>
              </a:xfrm>
              <a:custGeom>
                <a:avLst/>
                <a:gdLst>
                  <a:gd name="T0" fmla="*/ 24 w 192"/>
                  <a:gd name="T1" fmla="*/ 192 h 192"/>
                  <a:gd name="T2" fmla="*/ 0 w 192"/>
                  <a:gd name="T3" fmla="*/ 156 h 192"/>
                  <a:gd name="T4" fmla="*/ 42 w 192"/>
                  <a:gd name="T5" fmla="*/ 174 h 192"/>
                  <a:gd name="T6" fmla="*/ 12 w 192"/>
                  <a:gd name="T7" fmla="*/ 81 h 192"/>
                  <a:gd name="T8" fmla="*/ 66 w 192"/>
                  <a:gd name="T9" fmla="*/ 132 h 192"/>
                  <a:gd name="T10" fmla="*/ 84 w 192"/>
                  <a:gd name="T11" fmla="*/ 0 h 192"/>
                  <a:gd name="T12" fmla="*/ 108 w 192"/>
                  <a:gd name="T13" fmla="*/ 164 h 192"/>
                  <a:gd name="T14" fmla="*/ 156 w 192"/>
                  <a:gd name="T15" fmla="*/ 96 h 192"/>
                  <a:gd name="T16" fmla="*/ 144 w 192"/>
                  <a:gd name="T17" fmla="*/ 168 h 192"/>
                  <a:gd name="T18" fmla="*/ 192 w 192"/>
                  <a:gd name="T19" fmla="*/ 144 h 192"/>
                  <a:gd name="T20" fmla="*/ 162 w 192"/>
                  <a:gd name="T21" fmla="*/ 192 h 192"/>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7956 w 10000"/>
                  <a:gd name="connsiteY7" fmla="*/ 3094 h 10000"/>
                  <a:gd name="connsiteX8" fmla="*/ 7500 w 10000"/>
                  <a:gd name="connsiteY8" fmla="*/ 8750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7956 w 10000"/>
                  <a:gd name="connsiteY7" fmla="*/ 3094 h 10000"/>
                  <a:gd name="connsiteX8" fmla="*/ 7913 w 10000"/>
                  <a:gd name="connsiteY8" fmla="*/ 5938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7956 w 10000"/>
                  <a:gd name="connsiteY7" fmla="*/ 3094 h 10000"/>
                  <a:gd name="connsiteX8" fmla="*/ 7640 w 10000"/>
                  <a:gd name="connsiteY8" fmla="*/ 6008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8560 w 10000"/>
                  <a:gd name="connsiteY7" fmla="*/ 2386 h 10000"/>
                  <a:gd name="connsiteX8" fmla="*/ 7640 w 10000"/>
                  <a:gd name="connsiteY8" fmla="*/ 6008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8560 w 10000"/>
                  <a:gd name="connsiteY7" fmla="*/ 2386 h 10000"/>
                  <a:gd name="connsiteX8" fmla="*/ 8420 w 10000"/>
                  <a:gd name="connsiteY8" fmla="*/ 5081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9123 w 10000"/>
                  <a:gd name="connsiteY7" fmla="*/ 2765 h 10000"/>
                  <a:gd name="connsiteX8" fmla="*/ 8420 w 10000"/>
                  <a:gd name="connsiteY8" fmla="*/ 5081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413 w 10000"/>
                  <a:gd name="connsiteY6" fmla="*/ 6240 h 10000"/>
                  <a:gd name="connsiteX7" fmla="*/ 9123 w 10000"/>
                  <a:gd name="connsiteY7" fmla="*/ 2765 h 10000"/>
                  <a:gd name="connsiteX8" fmla="*/ 8420 w 10000"/>
                  <a:gd name="connsiteY8" fmla="*/ 5081 h 10000"/>
                  <a:gd name="connsiteX9" fmla="*/ 10000 w 10000"/>
                  <a:gd name="connsiteY9" fmla="*/ 7500 h 10000"/>
                  <a:gd name="connsiteX10" fmla="*/ 8438 w 10000"/>
                  <a:gd name="connsiteY10" fmla="*/ 10000 h 10000"/>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413 w 10000"/>
                  <a:gd name="connsiteY6" fmla="*/ 6240 h 10000"/>
                  <a:gd name="connsiteX7" fmla="*/ 9123 w 10000"/>
                  <a:gd name="connsiteY7" fmla="*/ 2765 h 10000"/>
                  <a:gd name="connsiteX8" fmla="*/ 8420 w 10000"/>
                  <a:gd name="connsiteY8" fmla="*/ 5081 h 10000"/>
                  <a:gd name="connsiteX9" fmla="*/ 10000 w 10000"/>
                  <a:gd name="connsiteY9" fmla="*/ 7500 h 10000"/>
                  <a:gd name="connsiteX0" fmla="*/ 1250 w 9123"/>
                  <a:gd name="connsiteY0" fmla="*/ 10000 h 10000"/>
                  <a:gd name="connsiteX1" fmla="*/ 0 w 9123"/>
                  <a:gd name="connsiteY1" fmla="*/ 8125 h 10000"/>
                  <a:gd name="connsiteX2" fmla="*/ 2188 w 9123"/>
                  <a:gd name="connsiteY2" fmla="*/ 9063 h 10000"/>
                  <a:gd name="connsiteX3" fmla="*/ 625 w 9123"/>
                  <a:gd name="connsiteY3" fmla="*/ 4219 h 10000"/>
                  <a:gd name="connsiteX4" fmla="*/ 3438 w 9123"/>
                  <a:gd name="connsiteY4" fmla="*/ 6875 h 10000"/>
                  <a:gd name="connsiteX5" fmla="*/ 4375 w 9123"/>
                  <a:gd name="connsiteY5" fmla="*/ 0 h 10000"/>
                  <a:gd name="connsiteX6" fmla="*/ 5413 w 9123"/>
                  <a:gd name="connsiteY6" fmla="*/ 6240 h 10000"/>
                  <a:gd name="connsiteX7" fmla="*/ 9123 w 9123"/>
                  <a:gd name="connsiteY7" fmla="*/ 2765 h 10000"/>
                  <a:gd name="connsiteX8" fmla="*/ 8420 w 9123"/>
                  <a:gd name="connsiteY8" fmla="*/ 5081 h 10000"/>
                  <a:gd name="connsiteX0" fmla="*/ 3146 w 10000"/>
                  <a:gd name="connsiteY0" fmla="*/ 12348 h 12348"/>
                  <a:gd name="connsiteX1" fmla="*/ 0 w 10000"/>
                  <a:gd name="connsiteY1" fmla="*/ 8125 h 12348"/>
                  <a:gd name="connsiteX2" fmla="*/ 2398 w 10000"/>
                  <a:gd name="connsiteY2" fmla="*/ 9063 h 12348"/>
                  <a:gd name="connsiteX3" fmla="*/ 685 w 10000"/>
                  <a:gd name="connsiteY3" fmla="*/ 4219 h 12348"/>
                  <a:gd name="connsiteX4" fmla="*/ 3768 w 10000"/>
                  <a:gd name="connsiteY4" fmla="*/ 6875 h 12348"/>
                  <a:gd name="connsiteX5" fmla="*/ 4796 w 10000"/>
                  <a:gd name="connsiteY5" fmla="*/ 0 h 12348"/>
                  <a:gd name="connsiteX6" fmla="*/ 5933 w 10000"/>
                  <a:gd name="connsiteY6" fmla="*/ 6240 h 12348"/>
                  <a:gd name="connsiteX7" fmla="*/ 10000 w 10000"/>
                  <a:gd name="connsiteY7" fmla="*/ 2765 h 12348"/>
                  <a:gd name="connsiteX8" fmla="*/ 9229 w 10000"/>
                  <a:gd name="connsiteY8" fmla="*/ 5081 h 12348"/>
                  <a:gd name="connsiteX0" fmla="*/ 3088 w 10000"/>
                  <a:gd name="connsiteY0" fmla="*/ 12594 h 12594"/>
                  <a:gd name="connsiteX1" fmla="*/ 0 w 10000"/>
                  <a:gd name="connsiteY1" fmla="*/ 8125 h 12594"/>
                  <a:gd name="connsiteX2" fmla="*/ 2398 w 10000"/>
                  <a:gd name="connsiteY2" fmla="*/ 9063 h 12594"/>
                  <a:gd name="connsiteX3" fmla="*/ 685 w 10000"/>
                  <a:gd name="connsiteY3" fmla="*/ 4219 h 12594"/>
                  <a:gd name="connsiteX4" fmla="*/ 3768 w 10000"/>
                  <a:gd name="connsiteY4" fmla="*/ 6875 h 12594"/>
                  <a:gd name="connsiteX5" fmla="*/ 4796 w 10000"/>
                  <a:gd name="connsiteY5" fmla="*/ 0 h 12594"/>
                  <a:gd name="connsiteX6" fmla="*/ 5933 w 10000"/>
                  <a:gd name="connsiteY6" fmla="*/ 6240 h 12594"/>
                  <a:gd name="connsiteX7" fmla="*/ 10000 w 10000"/>
                  <a:gd name="connsiteY7" fmla="*/ 2765 h 12594"/>
                  <a:gd name="connsiteX8" fmla="*/ 9229 w 10000"/>
                  <a:gd name="connsiteY8" fmla="*/ 5081 h 12594"/>
                  <a:gd name="connsiteX0" fmla="*/ 3146 w 10000"/>
                  <a:gd name="connsiteY0" fmla="*/ 12348 h 12348"/>
                  <a:gd name="connsiteX1" fmla="*/ 0 w 10000"/>
                  <a:gd name="connsiteY1" fmla="*/ 8125 h 12348"/>
                  <a:gd name="connsiteX2" fmla="*/ 2398 w 10000"/>
                  <a:gd name="connsiteY2" fmla="*/ 9063 h 12348"/>
                  <a:gd name="connsiteX3" fmla="*/ 685 w 10000"/>
                  <a:gd name="connsiteY3" fmla="*/ 4219 h 12348"/>
                  <a:gd name="connsiteX4" fmla="*/ 3768 w 10000"/>
                  <a:gd name="connsiteY4" fmla="*/ 6875 h 12348"/>
                  <a:gd name="connsiteX5" fmla="*/ 4796 w 10000"/>
                  <a:gd name="connsiteY5" fmla="*/ 0 h 12348"/>
                  <a:gd name="connsiteX6" fmla="*/ 5933 w 10000"/>
                  <a:gd name="connsiteY6" fmla="*/ 6240 h 12348"/>
                  <a:gd name="connsiteX7" fmla="*/ 10000 w 10000"/>
                  <a:gd name="connsiteY7" fmla="*/ 2765 h 12348"/>
                  <a:gd name="connsiteX8" fmla="*/ 9229 w 10000"/>
                  <a:gd name="connsiteY8" fmla="*/ 5081 h 12348"/>
                  <a:gd name="connsiteX0" fmla="*/ 3182 w 10000"/>
                  <a:gd name="connsiteY0" fmla="*/ 12561 h 12561"/>
                  <a:gd name="connsiteX1" fmla="*/ 0 w 10000"/>
                  <a:gd name="connsiteY1" fmla="*/ 8125 h 12561"/>
                  <a:gd name="connsiteX2" fmla="*/ 2398 w 10000"/>
                  <a:gd name="connsiteY2" fmla="*/ 9063 h 12561"/>
                  <a:gd name="connsiteX3" fmla="*/ 685 w 10000"/>
                  <a:gd name="connsiteY3" fmla="*/ 4219 h 12561"/>
                  <a:gd name="connsiteX4" fmla="*/ 3768 w 10000"/>
                  <a:gd name="connsiteY4" fmla="*/ 6875 h 12561"/>
                  <a:gd name="connsiteX5" fmla="*/ 4796 w 10000"/>
                  <a:gd name="connsiteY5" fmla="*/ 0 h 12561"/>
                  <a:gd name="connsiteX6" fmla="*/ 5933 w 10000"/>
                  <a:gd name="connsiteY6" fmla="*/ 6240 h 12561"/>
                  <a:gd name="connsiteX7" fmla="*/ 10000 w 10000"/>
                  <a:gd name="connsiteY7" fmla="*/ 2765 h 12561"/>
                  <a:gd name="connsiteX8" fmla="*/ 9229 w 10000"/>
                  <a:gd name="connsiteY8" fmla="*/ 5081 h 12561"/>
                  <a:gd name="connsiteX0" fmla="*/ 3074 w 10000"/>
                  <a:gd name="connsiteY0" fmla="*/ 12651 h 12651"/>
                  <a:gd name="connsiteX1" fmla="*/ 0 w 10000"/>
                  <a:gd name="connsiteY1" fmla="*/ 8125 h 12651"/>
                  <a:gd name="connsiteX2" fmla="*/ 2398 w 10000"/>
                  <a:gd name="connsiteY2" fmla="*/ 9063 h 12651"/>
                  <a:gd name="connsiteX3" fmla="*/ 685 w 10000"/>
                  <a:gd name="connsiteY3" fmla="*/ 4219 h 12651"/>
                  <a:gd name="connsiteX4" fmla="*/ 3768 w 10000"/>
                  <a:gd name="connsiteY4" fmla="*/ 6875 h 12651"/>
                  <a:gd name="connsiteX5" fmla="*/ 4796 w 10000"/>
                  <a:gd name="connsiteY5" fmla="*/ 0 h 12651"/>
                  <a:gd name="connsiteX6" fmla="*/ 5933 w 10000"/>
                  <a:gd name="connsiteY6" fmla="*/ 6240 h 12651"/>
                  <a:gd name="connsiteX7" fmla="*/ 10000 w 10000"/>
                  <a:gd name="connsiteY7" fmla="*/ 2765 h 12651"/>
                  <a:gd name="connsiteX8" fmla="*/ 9229 w 10000"/>
                  <a:gd name="connsiteY8" fmla="*/ 5081 h 12651"/>
                  <a:gd name="connsiteX0" fmla="*/ 3173 w 10000"/>
                  <a:gd name="connsiteY0" fmla="*/ 12671 h 12671"/>
                  <a:gd name="connsiteX1" fmla="*/ 0 w 10000"/>
                  <a:gd name="connsiteY1" fmla="*/ 8125 h 12671"/>
                  <a:gd name="connsiteX2" fmla="*/ 2398 w 10000"/>
                  <a:gd name="connsiteY2" fmla="*/ 9063 h 12671"/>
                  <a:gd name="connsiteX3" fmla="*/ 685 w 10000"/>
                  <a:gd name="connsiteY3" fmla="*/ 4219 h 12671"/>
                  <a:gd name="connsiteX4" fmla="*/ 3768 w 10000"/>
                  <a:gd name="connsiteY4" fmla="*/ 6875 h 12671"/>
                  <a:gd name="connsiteX5" fmla="*/ 4796 w 10000"/>
                  <a:gd name="connsiteY5" fmla="*/ 0 h 12671"/>
                  <a:gd name="connsiteX6" fmla="*/ 5933 w 10000"/>
                  <a:gd name="connsiteY6" fmla="*/ 6240 h 12671"/>
                  <a:gd name="connsiteX7" fmla="*/ 10000 w 10000"/>
                  <a:gd name="connsiteY7" fmla="*/ 2765 h 12671"/>
                  <a:gd name="connsiteX8" fmla="*/ 9229 w 10000"/>
                  <a:gd name="connsiteY8" fmla="*/ 5081 h 12671"/>
                  <a:gd name="connsiteX0" fmla="*/ 3246 w 10000"/>
                  <a:gd name="connsiteY0" fmla="*/ 12654 h 12654"/>
                  <a:gd name="connsiteX1" fmla="*/ 0 w 10000"/>
                  <a:gd name="connsiteY1" fmla="*/ 8125 h 12654"/>
                  <a:gd name="connsiteX2" fmla="*/ 2398 w 10000"/>
                  <a:gd name="connsiteY2" fmla="*/ 9063 h 12654"/>
                  <a:gd name="connsiteX3" fmla="*/ 685 w 10000"/>
                  <a:gd name="connsiteY3" fmla="*/ 4219 h 12654"/>
                  <a:gd name="connsiteX4" fmla="*/ 3768 w 10000"/>
                  <a:gd name="connsiteY4" fmla="*/ 6875 h 12654"/>
                  <a:gd name="connsiteX5" fmla="*/ 4796 w 10000"/>
                  <a:gd name="connsiteY5" fmla="*/ 0 h 12654"/>
                  <a:gd name="connsiteX6" fmla="*/ 5933 w 10000"/>
                  <a:gd name="connsiteY6" fmla="*/ 6240 h 12654"/>
                  <a:gd name="connsiteX7" fmla="*/ 10000 w 10000"/>
                  <a:gd name="connsiteY7" fmla="*/ 2765 h 12654"/>
                  <a:gd name="connsiteX8" fmla="*/ 9229 w 10000"/>
                  <a:gd name="connsiteY8" fmla="*/ 5081 h 12654"/>
                  <a:gd name="connsiteX0" fmla="*/ 3633 w 10000"/>
                  <a:gd name="connsiteY0" fmla="*/ 13363 h 13363"/>
                  <a:gd name="connsiteX1" fmla="*/ 0 w 10000"/>
                  <a:gd name="connsiteY1" fmla="*/ 8125 h 13363"/>
                  <a:gd name="connsiteX2" fmla="*/ 2398 w 10000"/>
                  <a:gd name="connsiteY2" fmla="*/ 9063 h 13363"/>
                  <a:gd name="connsiteX3" fmla="*/ 685 w 10000"/>
                  <a:gd name="connsiteY3" fmla="*/ 4219 h 13363"/>
                  <a:gd name="connsiteX4" fmla="*/ 3768 w 10000"/>
                  <a:gd name="connsiteY4" fmla="*/ 6875 h 13363"/>
                  <a:gd name="connsiteX5" fmla="*/ 4796 w 10000"/>
                  <a:gd name="connsiteY5" fmla="*/ 0 h 13363"/>
                  <a:gd name="connsiteX6" fmla="*/ 5933 w 10000"/>
                  <a:gd name="connsiteY6" fmla="*/ 6240 h 13363"/>
                  <a:gd name="connsiteX7" fmla="*/ 10000 w 10000"/>
                  <a:gd name="connsiteY7" fmla="*/ 2765 h 13363"/>
                  <a:gd name="connsiteX8" fmla="*/ 9229 w 10000"/>
                  <a:gd name="connsiteY8" fmla="*/ 5081 h 13363"/>
                  <a:gd name="connsiteX0" fmla="*/ 3679 w 10000"/>
                  <a:gd name="connsiteY0" fmla="*/ 13388 h 13388"/>
                  <a:gd name="connsiteX1" fmla="*/ 0 w 10000"/>
                  <a:gd name="connsiteY1" fmla="*/ 8125 h 13388"/>
                  <a:gd name="connsiteX2" fmla="*/ 2398 w 10000"/>
                  <a:gd name="connsiteY2" fmla="*/ 9063 h 13388"/>
                  <a:gd name="connsiteX3" fmla="*/ 685 w 10000"/>
                  <a:gd name="connsiteY3" fmla="*/ 4219 h 13388"/>
                  <a:gd name="connsiteX4" fmla="*/ 3768 w 10000"/>
                  <a:gd name="connsiteY4" fmla="*/ 6875 h 13388"/>
                  <a:gd name="connsiteX5" fmla="*/ 4796 w 10000"/>
                  <a:gd name="connsiteY5" fmla="*/ 0 h 13388"/>
                  <a:gd name="connsiteX6" fmla="*/ 5933 w 10000"/>
                  <a:gd name="connsiteY6" fmla="*/ 6240 h 13388"/>
                  <a:gd name="connsiteX7" fmla="*/ 10000 w 10000"/>
                  <a:gd name="connsiteY7" fmla="*/ 2765 h 13388"/>
                  <a:gd name="connsiteX8" fmla="*/ 9229 w 10000"/>
                  <a:gd name="connsiteY8" fmla="*/ 5081 h 13388"/>
                  <a:gd name="connsiteX0" fmla="*/ 3778 w 10000"/>
                  <a:gd name="connsiteY0" fmla="*/ 13408 h 13408"/>
                  <a:gd name="connsiteX1" fmla="*/ 0 w 10000"/>
                  <a:gd name="connsiteY1" fmla="*/ 8125 h 13408"/>
                  <a:gd name="connsiteX2" fmla="*/ 2398 w 10000"/>
                  <a:gd name="connsiteY2" fmla="*/ 9063 h 13408"/>
                  <a:gd name="connsiteX3" fmla="*/ 685 w 10000"/>
                  <a:gd name="connsiteY3" fmla="*/ 4219 h 13408"/>
                  <a:gd name="connsiteX4" fmla="*/ 3768 w 10000"/>
                  <a:gd name="connsiteY4" fmla="*/ 6875 h 13408"/>
                  <a:gd name="connsiteX5" fmla="*/ 4796 w 10000"/>
                  <a:gd name="connsiteY5" fmla="*/ 0 h 13408"/>
                  <a:gd name="connsiteX6" fmla="*/ 5933 w 10000"/>
                  <a:gd name="connsiteY6" fmla="*/ 6240 h 13408"/>
                  <a:gd name="connsiteX7" fmla="*/ 10000 w 10000"/>
                  <a:gd name="connsiteY7" fmla="*/ 2765 h 13408"/>
                  <a:gd name="connsiteX8" fmla="*/ 9229 w 10000"/>
                  <a:gd name="connsiteY8" fmla="*/ 5081 h 13408"/>
                  <a:gd name="connsiteX0" fmla="*/ 3778 w 10000"/>
                  <a:gd name="connsiteY0" fmla="*/ 13408 h 13408"/>
                  <a:gd name="connsiteX1" fmla="*/ 0 w 10000"/>
                  <a:gd name="connsiteY1" fmla="*/ 8125 h 13408"/>
                  <a:gd name="connsiteX2" fmla="*/ 2398 w 10000"/>
                  <a:gd name="connsiteY2" fmla="*/ 9063 h 13408"/>
                  <a:gd name="connsiteX3" fmla="*/ 685 w 10000"/>
                  <a:gd name="connsiteY3" fmla="*/ 4219 h 13408"/>
                  <a:gd name="connsiteX4" fmla="*/ 3768 w 10000"/>
                  <a:gd name="connsiteY4" fmla="*/ 6875 h 13408"/>
                  <a:gd name="connsiteX5" fmla="*/ 4796 w 10000"/>
                  <a:gd name="connsiteY5" fmla="*/ 0 h 13408"/>
                  <a:gd name="connsiteX6" fmla="*/ 5933 w 10000"/>
                  <a:gd name="connsiteY6" fmla="*/ 6240 h 13408"/>
                  <a:gd name="connsiteX7" fmla="*/ 10000 w 10000"/>
                  <a:gd name="connsiteY7" fmla="*/ 2765 h 13408"/>
                  <a:gd name="connsiteX8" fmla="*/ 9229 w 10000"/>
                  <a:gd name="connsiteY8" fmla="*/ 5081 h 13408"/>
                  <a:gd name="connsiteX0" fmla="*/ 3731 w 10000"/>
                  <a:gd name="connsiteY0" fmla="*/ 13462 h 13462"/>
                  <a:gd name="connsiteX1" fmla="*/ 0 w 10000"/>
                  <a:gd name="connsiteY1" fmla="*/ 8125 h 13462"/>
                  <a:gd name="connsiteX2" fmla="*/ 2398 w 10000"/>
                  <a:gd name="connsiteY2" fmla="*/ 9063 h 13462"/>
                  <a:gd name="connsiteX3" fmla="*/ 685 w 10000"/>
                  <a:gd name="connsiteY3" fmla="*/ 4219 h 13462"/>
                  <a:gd name="connsiteX4" fmla="*/ 3768 w 10000"/>
                  <a:gd name="connsiteY4" fmla="*/ 6875 h 13462"/>
                  <a:gd name="connsiteX5" fmla="*/ 4796 w 10000"/>
                  <a:gd name="connsiteY5" fmla="*/ 0 h 13462"/>
                  <a:gd name="connsiteX6" fmla="*/ 5933 w 10000"/>
                  <a:gd name="connsiteY6" fmla="*/ 6240 h 13462"/>
                  <a:gd name="connsiteX7" fmla="*/ 10000 w 10000"/>
                  <a:gd name="connsiteY7" fmla="*/ 2765 h 13462"/>
                  <a:gd name="connsiteX8" fmla="*/ 9229 w 10000"/>
                  <a:gd name="connsiteY8" fmla="*/ 5081 h 13462"/>
                  <a:gd name="connsiteX0" fmla="*/ 3731 w 10000"/>
                  <a:gd name="connsiteY0" fmla="*/ 13462 h 13462"/>
                  <a:gd name="connsiteX1" fmla="*/ 0 w 10000"/>
                  <a:gd name="connsiteY1" fmla="*/ 8125 h 13462"/>
                  <a:gd name="connsiteX2" fmla="*/ 2398 w 10000"/>
                  <a:gd name="connsiteY2" fmla="*/ 9063 h 13462"/>
                  <a:gd name="connsiteX3" fmla="*/ 685 w 10000"/>
                  <a:gd name="connsiteY3" fmla="*/ 4219 h 13462"/>
                  <a:gd name="connsiteX4" fmla="*/ 3768 w 10000"/>
                  <a:gd name="connsiteY4" fmla="*/ 6875 h 13462"/>
                  <a:gd name="connsiteX5" fmla="*/ 4796 w 10000"/>
                  <a:gd name="connsiteY5" fmla="*/ 0 h 13462"/>
                  <a:gd name="connsiteX6" fmla="*/ 5933 w 10000"/>
                  <a:gd name="connsiteY6" fmla="*/ 6240 h 13462"/>
                  <a:gd name="connsiteX7" fmla="*/ 10000 w 10000"/>
                  <a:gd name="connsiteY7" fmla="*/ 2765 h 13462"/>
                  <a:gd name="connsiteX8" fmla="*/ 9229 w 10000"/>
                  <a:gd name="connsiteY8" fmla="*/ 5081 h 13462"/>
                  <a:gd name="connsiteX0" fmla="*/ 3791 w 10000"/>
                  <a:gd name="connsiteY0" fmla="*/ 13426 h 13426"/>
                  <a:gd name="connsiteX1" fmla="*/ 0 w 10000"/>
                  <a:gd name="connsiteY1" fmla="*/ 8125 h 13426"/>
                  <a:gd name="connsiteX2" fmla="*/ 2398 w 10000"/>
                  <a:gd name="connsiteY2" fmla="*/ 9063 h 13426"/>
                  <a:gd name="connsiteX3" fmla="*/ 685 w 10000"/>
                  <a:gd name="connsiteY3" fmla="*/ 4219 h 13426"/>
                  <a:gd name="connsiteX4" fmla="*/ 3768 w 10000"/>
                  <a:gd name="connsiteY4" fmla="*/ 6875 h 13426"/>
                  <a:gd name="connsiteX5" fmla="*/ 4796 w 10000"/>
                  <a:gd name="connsiteY5" fmla="*/ 0 h 13426"/>
                  <a:gd name="connsiteX6" fmla="*/ 5933 w 10000"/>
                  <a:gd name="connsiteY6" fmla="*/ 6240 h 13426"/>
                  <a:gd name="connsiteX7" fmla="*/ 10000 w 10000"/>
                  <a:gd name="connsiteY7" fmla="*/ 2765 h 13426"/>
                  <a:gd name="connsiteX8" fmla="*/ 9229 w 10000"/>
                  <a:gd name="connsiteY8" fmla="*/ 5081 h 13426"/>
                  <a:gd name="connsiteX0" fmla="*/ 3731 w 10000"/>
                  <a:gd name="connsiteY0" fmla="*/ 13462 h 13462"/>
                  <a:gd name="connsiteX1" fmla="*/ 0 w 10000"/>
                  <a:gd name="connsiteY1" fmla="*/ 8125 h 13462"/>
                  <a:gd name="connsiteX2" fmla="*/ 2398 w 10000"/>
                  <a:gd name="connsiteY2" fmla="*/ 9063 h 13462"/>
                  <a:gd name="connsiteX3" fmla="*/ 685 w 10000"/>
                  <a:gd name="connsiteY3" fmla="*/ 4219 h 13462"/>
                  <a:gd name="connsiteX4" fmla="*/ 3768 w 10000"/>
                  <a:gd name="connsiteY4" fmla="*/ 6875 h 13462"/>
                  <a:gd name="connsiteX5" fmla="*/ 4796 w 10000"/>
                  <a:gd name="connsiteY5" fmla="*/ 0 h 13462"/>
                  <a:gd name="connsiteX6" fmla="*/ 5933 w 10000"/>
                  <a:gd name="connsiteY6" fmla="*/ 6240 h 13462"/>
                  <a:gd name="connsiteX7" fmla="*/ 10000 w 10000"/>
                  <a:gd name="connsiteY7" fmla="*/ 2765 h 13462"/>
                  <a:gd name="connsiteX8" fmla="*/ 9229 w 10000"/>
                  <a:gd name="connsiteY8" fmla="*/ 5081 h 13462"/>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229 w 10000"/>
                  <a:gd name="connsiteY8" fmla="*/ 5081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5933 w 10000"/>
                  <a:gd name="connsiteY6" fmla="*/ 6240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6688 w 10000"/>
                  <a:gd name="connsiteY6" fmla="*/ 5613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398 w 10000"/>
                  <a:gd name="connsiteY2" fmla="*/ 9063 h 13438"/>
                  <a:gd name="connsiteX3" fmla="*/ 685 w 10000"/>
                  <a:gd name="connsiteY3" fmla="*/ 4219 h 13438"/>
                  <a:gd name="connsiteX4" fmla="*/ 3768 w 10000"/>
                  <a:gd name="connsiteY4" fmla="*/ 6875 h 13438"/>
                  <a:gd name="connsiteX5" fmla="*/ 4796 w 10000"/>
                  <a:gd name="connsiteY5" fmla="*/ 0 h 13438"/>
                  <a:gd name="connsiteX6" fmla="*/ 6908 w 10000"/>
                  <a:gd name="connsiteY6" fmla="*/ 5561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949 w 10000"/>
                  <a:gd name="connsiteY2" fmla="*/ 9156 h 13438"/>
                  <a:gd name="connsiteX3" fmla="*/ 685 w 10000"/>
                  <a:gd name="connsiteY3" fmla="*/ 4219 h 13438"/>
                  <a:gd name="connsiteX4" fmla="*/ 3768 w 10000"/>
                  <a:gd name="connsiteY4" fmla="*/ 6875 h 13438"/>
                  <a:gd name="connsiteX5" fmla="*/ 4796 w 10000"/>
                  <a:gd name="connsiteY5" fmla="*/ 0 h 13438"/>
                  <a:gd name="connsiteX6" fmla="*/ 6908 w 10000"/>
                  <a:gd name="connsiteY6" fmla="*/ 5561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949 w 10000"/>
                  <a:gd name="connsiteY2" fmla="*/ 9156 h 13438"/>
                  <a:gd name="connsiteX3" fmla="*/ 685 w 10000"/>
                  <a:gd name="connsiteY3" fmla="*/ 4219 h 13438"/>
                  <a:gd name="connsiteX4" fmla="*/ 4516 w 10000"/>
                  <a:gd name="connsiteY4" fmla="*/ 7086 h 13438"/>
                  <a:gd name="connsiteX5" fmla="*/ 4796 w 10000"/>
                  <a:gd name="connsiteY5" fmla="*/ 0 h 13438"/>
                  <a:gd name="connsiteX6" fmla="*/ 6908 w 10000"/>
                  <a:gd name="connsiteY6" fmla="*/ 5561 h 13438"/>
                  <a:gd name="connsiteX7" fmla="*/ 10000 w 10000"/>
                  <a:gd name="connsiteY7" fmla="*/ 2765 h 13438"/>
                  <a:gd name="connsiteX8" fmla="*/ 9349 w 10000"/>
                  <a:gd name="connsiteY8" fmla="*/ 5453 h 13438"/>
                  <a:gd name="connsiteX0" fmla="*/ 3771 w 10000"/>
                  <a:gd name="connsiteY0" fmla="*/ 13438 h 13438"/>
                  <a:gd name="connsiteX1" fmla="*/ 0 w 10000"/>
                  <a:gd name="connsiteY1" fmla="*/ 8125 h 13438"/>
                  <a:gd name="connsiteX2" fmla="*/ 2949 w 10000"/>
                  <a:gd name="connsiteY2" fmla="*/ 9156 h 13438"/>
                  <a:gd name="connsiteX3" fmla="*/ 685 w 10000"/>
                  <a:gd name="connsiteY3" fmla="*/ 4219 h 13438"/>
                  <a:gd name="connsiteX4" fmla="*/ 4516 w 10000"/>
                  <a:gd name="connsiteY4" fmla="*/ 7086 h 13438"/>
                  <a:gd name="connsiteX5" fmla="*/ 4796 w 10000"/>
                  <a:gd name="connsiteY5" fmla="*/ 0 h 13438"/>
                  <a:gd name="connsiteX6" fmla="*/ 7477 w 10000"/>
                  <a:gd name="connsiteY6" fmla="*/ 5721 h 13438"/>
                  <a:gd name="connsiteX7" fmla="*/ 10000 w 10000"/>
                  <a:gd name="connsiteY7" fmla="*/ 2765 h 13438"/>
                  <a:gd name="connsiteX8" fmla="*/ 9349 w 10000"/>
                  <a:gd name="connsiteY8" fmla="*/ 5453 h 13438"/>
                  <a:gd name="connsiteX0" fmla="*/ 3771 w 10300"/>
                  <a:gd name="connsiteY0" fmla="*/ 13438 h 13438"/>
                  <a:gd name="connsiteX1" fmla="*/ 0 w 10300"/>
                  <a:gd name="connsiteY1" fmla="*/ 8125 h 13438"/>
                  <a:gd name="connsiteX2" fmla="*/ 2949 w 10300"/>
                  <a:gd name="connsiteY2" fmla="*/ 9156 h 13438"/>
                  <a:gd name="connsiteX3" fmla="*/ 685 w 10300"/>
                  <a:gd name="connsiteY3" fmla="*/ 4219 h 13438"/>
                  <a:gd name="connsiteX4" fmla="*/ 4516 w 10300"/>
                  <a:gd name="connsiteY4" fmla="*/ 7086 h 13438"/>
                  <a:gd name="connsiteX5" fmla="*/ 4796 w 10300"/>
                  <a:gd name="connsiteY5" fmla="*/ 0 h 13438"/>
                  <a:gd name="connsiteX6" fmla="*/ 7477 w 10300"/>
                  <a:gd name="connsiteY6" fmla="*/ 5721 h 13438"/>
                  <a:gd name="connsiteX7" fmla="*/ 10300 w 10300"/>
                  <a:gd name="connsiteY7" fmla="*/ 2302 h 13438"/>
                  <a:gd name="connsiteX8" fmla="*/ 9349 w 10300"/>
                  <a:gd name="connsiteY8" fmla="*/ 5453 h 13438"/>
                  <a:gd name="connsiteX0" fmla="*/ 3771 w 10300"/>
                  <a:gd name="connsiteY0" fmla="*/ 13438 h 13438"/>
                  <a:gd name="connsiteX1" fmla="*/ 0 w 10300"/>
                  <a:gd name="connsiteY1" fmla="*/ 8125 h 13438"/>
                  <a:gd name="connsiteX2" fmla="*/ 2949 w 10300"/>
                  <a:gd name="connsiteY2" fmla="*/ 9156 h 13438"/>
                  <a:gd name="connsiteX3" fmla="*/ 685 w 10300"/>
                  <a:gd name="connsiteY3" fmla="*/ 4219 h 13438"/>
                  <a:gd name="connsiteX4" fmla="*/ 4516 w 10300"/>
                  <a:gd name="connsiteY4" fmla="*/ 7086 h 13438"/>
                  <a:gd name="connsiteX5" fmla="*/ 4796 w 10300"/>
                  <a:gd name="connsiteY5" fmla="*/ 0 h 13438"/>
                  <a:gd name="connsiteX6" fmla="*/ 7477 w 10300"/>
                  <a:gd name="connsiteY6" fmla="*/ 5721 h 13438"/>
                  <a:gd name="connsiteX7" fmla="*/ 10300 w 10300"/>
                  <a:gd name="connsiteY7" fmla="*/ 2302 h 13438"/>
                  <a:gd name="connsiteX8" fmla="*/ 10169 w 10300"/>
                  <a:gd name="connsiteY8" fmla="*/ 4918 h 13438"/>
                  <a:gd name="connsiteX0" fmla="*/ 3771 w 10177"/>
                  <a:gd name="connsiteY0" fmla="*/ 13438 h 13438"/>
                  <a:gd name="connsiteX1" fmla="*/ 0 w 10177"/>
                  <a:gd name="connsiteY1" fmla="*/ 8125 h 13438"/>
                  <a:gd name="connsiteX2" fmla="*/ 2949 w 10177"/>
                  <a:gd name="connsiteY2" fmla="*/ 9156 h 13438"/>
                  <a:gd name="connsiteX3" fmla="*/ 685 w 10177"/>
                  <a:gd name="connsiteY3" fmla="*/ 4219 h 13438"/>
                  <a:gd name="connsiteX4" fmla="*/ 4516 w 10177"/>
                  <a:gd name="connsiteY4" fmla="*/ 7086 h 13438"/>
                  <a:gd name="connsiteX5" fmla="*/ 4796 w 10177"/>
                  <a:gd name="connsiteY5" fmla="*/ 0 h 13438"/>
                  <a:gd name="connsiteX6" fmla="*/ 7477 w 10177"/>
                  <a:gd name="connsiteY6" fmla="*/ 5721 h 13438"/>
                  <a:gd name="connsiteX7" fmla="*/ 10105 w 10177"/>
                  <a:gd name="connsiteY7" fmla="*/ 2026 h 13438"/>
                  <a:gd name="connsiteX8" fmla="*/ 10169 w 10177"/>
                  <a:gd name="connsiteY8" fmla="*/ 4918 h 13438"/>
                  <a:gd name="connsiteX0" fmla="*/ 3030 w 10177"/>
                  <a:gd name="connsiteY0" fmla="*/ 12390 h 12390"/>
                  <a:gd name="connsiteX1" fmla="*/ 0 w 10177"/>
                  <a:gd name="connsiteY1" fmla="*/ 8125 h 12390"/>
                  <a:gd name="connsiteX2" fmla="*/ 2949 w 10177"/>
                  <a:gd name="connsiteY2" fmla="*/ 9156 h 12390"/>
                  <a:gd name="connsiteX3" fmla="*/ 685 w 10177"/>
                  <a:gd name="connsiteY3" fmla="*/ 4219 h 12390"/>
                  <a:gd name="connsiteX4" fmla="*/ 4516 w 10177"/>
                  <a:gd name="connsiteY4" fmla="*/ 7086 h 12390"/>
                  <a:gd name="connsiteX5" fmla="*/ 4796 w 10177"/>
                  <a:gd name="connsiteY5" fmla="*/ 0 h 12390"/>
                  <a:gd name="connsiteX6" fmla="*/ 7477 w 10177"/>
                  <a:gd name="connsiteY6" fmla="*/ 5721 h 12390"/>
                  <a:gd name="connsiteX7" fmla="*/ 10105 w 10177"/>
                  <a:gd name="connsiteY7" fmla="*/ 2026 h 12390"/>
                  <a:gd name="connsiteX8" fmla="*/ 10169 w 10177"/>
                  <a:gd name="connsiteY8" fmla="*/ 4918 h 12390"/>
                  <a:gd name="connsiteX0" fmla="*/ 3030 w 10204"/>
                  <a:gd name="connsiteY0" fmla="*/ 12390 h 12390"/>
                  <a:gd name="connsiteX1" fmla="*/ 0 w 10204"/>
                  <a:gd name="connsiteY1" fmla="*/ 8125 h 12390"/>
                  <a:gd name="connsiteX2" fmla="*/ 2949 w 10204"/>
                  <a:gd name="connsiteY2" fmla="*/ 9156 h 12390"/>
                  <a:gd name="connsiteX3" fmla="*/ 685 w 10204"/>
                  <a:gd name="connsiteY3" fmla="*/ 4219 h 12390"/>
                  <a:gd name="connsiteX4" fmla="*/ 4516 w 10204"/>
                  <a:gd name="connsiteY4" fmla="*/ 7086 h 12390"/>
                  <a:gd name="connsiteX5" fmla="*/ 4796 w 10204"/>
                  <a:gd name="connsiteY5" fmla="*/ 0 h 12390"/>
                  <a:gd name="connsiteX6" fmla="*/ 7477 w 10204"/>
                  <a:gd name="connsiteY6" fmla="*/ 5721 h 12390"/>
                  <a:gd name="connsiteX7" fmla="*/ 10105 w 10204"/>
                  <a:gd name="connsiteY7" fmla="*/ 2026 h 12390"/>
                  <a:gd name="connsiteX8" fmla="*/ 10198 w 10204"/>
                  <a:gd name="connsiteY8" fmla="*/ 4354 h 12390"/>
                  <a:gd name="connsiteX0" fmla="*/ 3030 w 10105"/>
                  <a:gd name="connsiteY0" fmla="*/ 12390 h 12390"/>
                  <a:gd name="connsiteX1" fmla="*/ 0 w 10105"/>
                  <a:gd name="connsiteY1" fmla="*/ 8125 h 12390"/>
                  <a:gd name="connsiteX2" fmla="*/ 2949 w 10105"/>
                  <a:gd name="connsiteY2" fmla="*/ 9156 h 12390"/>
                  <a:gd name="connsiteX3" fmla="*/ 685 w 10105"/>
                  <a:gd name="connsiteY3" fmla="*/ 4219 h 12390"/>
                  <a:gd name="connsiteX4" fmla="*/ 4516 w 10105"/>
                  <a:gd name="connsiteY4" fmla="*/ 7086 h 12390"/>
                  <a:gd name="connsiteX5" fmla="*/ 4796 w 10105"/>
                  <a:gd name="connsiteY5" fmla="*/ 0 h 12390"/>
                  <a:gd name="connsiteX6" fmla="*/ 7477 w 10105"/>
                  <a:gd name="connsiteY6" fmla="*/ 5721 h 12390"/>
                  <a:gd name="connsiteX7" fmla="*/ 10105 w 10105"/>
                  <a:gd name="connsiteY7" fmla="*/ 2026 h 12390"/>
                  <a:gd name="connsiteX8" fmla="*/ 9861 w 10105"/>
                  <a:gd name="connsiteY8" fmla="*/ 4604 h 12390"/>
                  <a:gd name="connsiteX0" fmla="*/ 3030 w 10105"/>
                  <a:gd name="connsiteY0" fmla="*/ 12390 h 12390"/>
                  <a:gd name="connsiteX1" fmla="*/ 0 w 10105"/>
                  <a:gd name="connsiteY1" fmla="*/ 8125 h 12390"/>
                  <a:gd name="connsiteX2" fmla="*/ 2949 w 10105"/>
                  <a:gd name="connsiteY2" fmla="*/ 9156 h 12390"/>
                  <a:gd name="connsiteX3" fmla="*/ 685 w 10105"/>
                  <a:gd name="connsiteY3" fmla="*/ 4219 h 12390"/>
                  <a:gd name="connsiteX4" fmla="*/ 4516 w 10105"/>
                  <a:gd name="connsiteY4" fmla="*/ 7086 h 12390"/>
                  <a:gd name="connsiteX5" fmla="*/ 4796 w 10105"/>
                  <a:gd name="connsiteY5" fmla="*/ 0 h 12390"/>
                  <a:gd name="connsiteX6" fmla="*/ 7430 w 10105"/>
                  <a:gd name="connsiteY6" fmla="*/ 4968 h 12390"/>
                  <a:gd name="connsiteX7" fmla="*/ 10105 w 10105"/>
                  <a:gd name="connsiteY7" fmla="*/ 2026 h 12390"/>
                  <a:gd name="connsiteX8" fmla="*/ 9861 w 10105"/>
                  <a:gd name="connsiteY8" fmla="*/ 4604 h 12390"/>
                  <a:gd name="connsiteX0" fmla="*/ 3030 w 10105"/>
                  <a:gd name="connsiteY0" fmla="*/ 12390 h 12390"/>
                  <a:gd name="connsiteX1" fmla="*/ 0 w 10105"/>
                  <a:gd name="connsiteY1" fmla="*/ 8125 h 12390"/>
                  <a:gd name="connsiteX2" fmla="*/ 2949 w 10105"/>
                  <a:gd name="connsiteY2" fmla="*/ 9156 h 12390"/>
                  <a:gd name="connsiteX3" fmla="*/ 685 w 10105"/>
                  <a:gd name="connsiteY3" fmla="*/ 4219 h 12390"/>
                  <a:gd name="connsiteX4" fmla="*/ 4848 w 10105"/>
                  <a:gd name="connsiteY4" fmla="*/ 6708 h 12390"/>
                  <a:gd name="connsiteX5" fmla="*/ 4796 w 10105"/>
                  <a:gd name="connsiteY5" fmla="*/ 0 h 12390"/>
                  <a:gd name="connsiteX6" fmla="*/ 7430 w 10105"/>
                  <a:gd name="connsiteY6" fmla="*/ 4968 h 12390"/>
                  <a:gd name="connsiteX7" fmla="*/ 10105 w 10105"/>
                  <a:gd name="connsiteY7" fmla="*/ 2026 h 12390"/>
                  <a:gd name="connsiteX8" fmla="*/ 9861 w 10105"/>
                  <a:gd name="connsiteY8" fmla="*/ 4604 h 12390"/>
                  <a:gd name="connsiteX0" fmla="*/ 3030 w 10105"/>
                  <a:gd name="connsiteY0" fmla="*/ 12074 h 12074"/>
                  <a:gd name="connsiteX1" fmla="*/ 0 w 10105"/>
                  <a:gd name="connsiteY1" fmla="*/ 7809 h 12074"/>
                  <a:gd name="connsiteX2" fmla="*/ 2949 w 10105"/>
                  <a:gd name="connsiteY2" fmla="*/ 8840 h 12074"/>
                  <a:gd name="connsiteX3" fmla="*/ 685 w 10105"/>
                  <a:gd name="connsiteY3" fmla="*/ 3903 h 12074"/>
                  <a:gd name="connsiteX4" fmla="*/ 4848 w 10105"/>
                  <a:gd name="connsiteY4" fmla="*/ 6392 h 12074"/>
                  <a:gd name="connsiteX5" fmla="*/ 4392 w 10105"/>
                  <a:gd name="connsiteY5" fmla="*/ 0 h 12074"/>
                  <a:gd name="connsiteX6" fmla="*/ 7430 w 10105"/>
                  <a:gd name="connsiteY6" fmla="*/ 4652 h 12074"/>
                  <a:gd name="connsiteX7" fmla="*/ 10105 w 10105"/>
                  <a:gd name="connsiteY7" fmla="*/ 1710 h 12074"/>
                  <a:gd name="connsiteX8" fmla="*/ 9861 w 10105"/>
                  <a:gd name="connsiteY8" fmla="*/ 4288 h 12074"/>
                  <a:gd name="connsiteX0" fmla="*/ 3030 w 10105"/>
                  <a:gd name="connsiteY0" fmla="*/ 12074 h 12074"/>
                  <a:gd name="connsiteX1" fmla="*/ 0 w 10105"/>
                  <a:gd name="connsiteY1" fmla="*/ 7809 h 12074"/>
                  <a:gd name="connsiteX2" fmla="*/ 2949 w 10105"/>
                  <a:gd name="connsiteY2" fmla="*/ 8840 h 12074"/>
                  <a:gd name="connsiteX3" fmla="*/ 685 w 10105"/>
                  <a:gd name="connsiteY3" fmla="*/ 3903 h 12074"/>
                  <a:gd name="connsiteX4" fmla="*/ 4848 w 10105"/>
                  <a:gd name="connsiteY4" fmla="*/ 6392 h 12074"/>
                  <a:gd name="connsiteX5" fmla="*/ 4392 w 10105"/>
                  <a:gd name="connsiteY5" fmla="*/ 0 h 12074"/>
                  <a:gd name="connsiteX6" fmla="*/ 7430 w 10105"/>
                  <a:gd name="connsiteY6" fmla="*/ 4652 h 12074"/>
                  <a:gd name="connsiteX7" fmla="*/ 10105 w 10105"/>
                  <a:gd name="connsiteY7" fmla="*/ 1710 h 12074"/>
                  <a:gd name="connsiteX8" fmla="*/ 9886 w 10105"/>
                  <a:gd name="connsiteY8" fmla="*/ 3961 h 12074"/>
                  <a:gd name="connsiteX0" fmla="*/ 3030 w 10105"/>
                  <a:gd name="connsiteY0" fmla="*/ 12074 h 12074"/>
                  <a:gd name="connsiteX1" fmla="*/ 1907 w 10105"/>
                  <a:gd name="connsiteY1" fmla="*/ 10330 h 12074"/>
                  <a:gd name="connsiteX2" fmla="*/ 0 w 10105"/>
                  <a:gd name="connsiteY2" fmla="*/ 7809 h 12074"/>
                  <a:gd name="connsiteX3" fmla="*/ 2949 w 10105"/>
                  <a:gd name="connsiteY3" fmla="*/ 8840 h 12074"/>
                  <a:gd name="connsiteX4" fmla="*/ 685 w 10105"/>
                  <a:gd name="connsiteY4" fmla="*/ 3903 h 12074"/>
                  <a:gd name="connsiteX5" fmla="*/ 4848 w 10105"/>
                  <a:gd name="connsiteY5" fmla="*/ 6392 h 12074"/>
                  <a:gd name="connsiteX6" fmla="*/ 4392 w 10105"/>
                  <a:gd name="connsiteY6" fmla="*/ 0 h 12074"/>
                  <a:gd name="connsiteX7" fmla="*/ 7430 w 10105"/>
                  <a:gd name="connsiteY7" fmla="*/ 4652 h 12074"/>
                  <a:gd name="connsiteX8" fmla="*/ 10105 w 10105"/>
                  <a:gd name="connsiteY8" fmla="*/ 1710 h 12074"/>
                  <a:gd name="connsiteX9" fmla="*/ 9886 w 10105"/>
                  <a:gd name="connsiteY9" fmla="*/ 3961 h 12074"/>
                  <a:gd name="connsiteX0" fmla="*/ 3030 w 10105"/>
                  <a:gd name="connsiteY0" fmla="*/ 12074 h 12074"/>
                  <a:gd name="connsiteX1" fmla="*/ 1592 w 10105"/>
                  <a:gd name="connsiteY1" fmla="*/ 10046 h 12074"/>
                  <a:gd name="connsiteX2" fmla="*/ 0 w 10105"/>
                  <a:gd name="connsiteY2" fmla="*/ 7809 h 12074"/>
                  <a:gd name="connsiteX3" fmla="*/ 2949 w 10105"/>
                  <a:gd name="connsiteY3" fmla="*/ 8840 h 12074"/>
                  <a:gd name="connsiteX4" fmla="*/ 685 w 10105"/>
                  <a:gd name="connsiteY4" fmla="*/ 3903 h 12074"/>
                  <a:gd name="connsiteX5" fmla="*/ 4848 w 10105"/>
                  <a:gd name="connsiteY5" fmla="*/ 6392 h 12074"/>
                  <a:gd name="connsiteX6" fmla="*/ 4392 w 10105"/>
                  <a:gd name="connsiteY6" fmla="*/ 0 h 12074"/>
                  <a:gd name="connsiteX7" fmla="*/ 7430 w 10105"/>
                  <a:gd name="connsiteY7" fmla="*/ 4652 h 12074"/>
                  <a:gd name="connsiteX8" fmla="*/ 10105 w 10105"/>
                  <a:gd name="connsiteY8" fmla="*/ 1710 h 12074"/>
                  <a:gd name="connsiteX9" fmla="*/ 9886 w 10105"/>
                  <a:gd name="connsiteY9" fmla="*/ 3961 h 12074"/>
                  <a:gd name="connsiteX0" fmla="*/ 1592 w 10105"/>
                  <a:gd name="connsiteY0" fmla="*/ 10046 h 10046"/>
                  <a:gd name="connsiteX1" fmla="*/ 0 w 10105"/>
                  <a:gd name="connsiteY1" fmla="*/ 7809 h 10046"/>
                  <a:gd name="connsiteX2" fmla="*/ 2949 w 10105"/>
                  <a:gd name="connsiteY2" fmla="*/ 8840 h 10046"/>
                  <a:gd name="connsiteX3" fmla="*/ 685 w 10105"/>
                  <a:gd name="connsiteY3" fmla="*/ 3903 h 10046"/>
                  <a:gd name="connsiteX4" fmla="*/ 4848 w 10105"/>
                  <a:gd name="connsiteY4" fmla="*/ 6392 h 10046"/>
                  <a:gd name="connsiteX5" fmla="*/ 4392 w 10105"/>
                  <a:gd name="connsiteY5" fmla="*/ 0 h 10046"/>
                  <a:gd name="connsiteX6" fmla="*/ 7430 w 10105"/>
                  <a:gd name="connsiteY6" fmla="*/ 4652 h 10046"/>
                  <a:gd name="connsiteX7" fmla="*/ 10105 w 10105"/>
                  <a:gd name="connsiteY7" fmla="*/ 1710 h 10046"/>
                  <a:gd name="connsiteX8" fmla="*/ 9886 w 10105"/>
                  <a:gd name="connsiteY8" fmla="*/ 3961 h 10046"/>
                  <a:gd name="connsiteX0" fmla="*/ 3929 w 10105"/>
                  <a:gd name="connsiteY0" fmla="*/ 10728 h 10728"/>
                  <a:gd name="connsiteX1" fmla="*/ 0 w 10105"/>
                  <a:gd name="connsiteY1" fmla="*/ 7809 h 10728"/>
                  <a:gd name="connsiteX2" fmla="*/ 2949 w 10105"/>
                  <a:gd name="connsiteY2" fmla="*/ 8840 h 10728"/>
                  <a:gd name="connsiteX3" fmla="*/ 685 w 10105"/>
                  <a:gd name="connsiteY3" fmla="*/ 3903 h 10728"/>
                  <a:gd name="connsiteX4" fmla="*/ 4848 w 10105"/>
                  <a:gd name="connsiteY4" fmla="*/ 6392 h 10728"/>
                  <a:gd name="connsiteX5" fmla="*/ 4392 w 10105"/>
                  <a:gd name="connsiteY5" fmla="*/ 0 h 10728"/>
                  <a:gd name="connsiteX6" fmla="*/ 7430 w 10105"/>
                  <a:gd name="connsiteY6" fmla="*/ 4652 h 10728"/>
                  <a:gd name="connsiteX7" fmla="*/ 10105 w 10105"/>
                  <a:gd name="connsiteY7" fmla="*/ 1710 h 10728"/>
                  <a:gd name="connsiteX8" fmla="*/ 9886 w 10105"/>
                  <a:gd name="connsiteY8" fmla="*/ 3961 h 10728"/>
                  <a:gd name="connsiteX0" fmla="*/ 3929 w 10105"/>
                  <a:gd name="connsiteY0" fmla="*/ 10728 h 10728"/>
                  <a:gd name="connsiteX1" fmla="*/ 0 w 10105"/>
                  <a:gd name="connsiteY1" fmla="*/ 7809 h 10728"/>
                  <a:gd name="connsiteX2" fmla="*/ 4206 w 10105"/>
                  <a:gd name="connsiteY2" fmla="*/ 8439 h 10728"/>
                  <a:gd name="connsiteX3" fmla="*/ 685 w 10105"/>
                  <a:gd name="connsiteY3" fmla="*/ 3903 h 10728"/>
                  <a:gd name="connsiteX4" fmla="*/ 4848 w 10105"/>
                  <a:gd name="connsiteY4" fmla="*/ 6392 h 10728"/>
                  <a:gd name="connsiteX5" fmla="*/ 4392 w 10105"/>
                  <a:gd name="connsiteY5" fmla="*/ 0 h 10728"/>
                  <a:gd name="connsiteX6" fmla="*/ 7430 w 10105"/>
                  <a:gd name="connsiteY6" fmla="*/ 4652 h 10728"/>
                  <a:gd name="connsiteX7" fmla="*/ 10105 w 10105"/>
                  <a:gd name="connsiteY7" fmla="*/ 1710 h 10728"/>
                  <a:gd name="connsiteX8" fmla="*/ 9886 w 10105"/>
                  <a:gd name="connsiteY8" fmla="*/ 3961 h 10728"/>
                  <a:gd name="connsiteX0" fmla="*/ 3929 w 10105"/>
                  <a:gd name="connsiteY0" fmla="*/ 10728 h 10728"/>
                  <a:gd name="connsiteX1" fmla="*/ 0 w 10105"/>
                  <a:gd name="connsiteY1" fmla="*/ 7809 h 10728"/>
                  <a:gd name="connsiteX2" fmla="*/ 4206 w 10105"/>
                  <a:gd name="connsiteY2" fmla="*/ 8439 h 10728"/>
                  <a:gd name="connsiteX3" fmla="*/ 685 w 10105"/>
                  <a:gd name="connsiteY3" fmla="*/ 3903 h 10728"/>
                  <a:gd name="connsiteX4" fmla="*/ 5572 w 10105"/>
                  <a:gd name="connsiteY4" fmla="*/ 6044 h 10728"/>
                  <a:gd name="connsiteX5" fmla="*/ 4392 w 10105"/>
                  <a:gd name="connsiteY5" fmla="*/ 0 h 10728"/>
                  <a:gd name="connsiteX6" fmla="*/ 7430 w 10105"/>
                  <a:gd name="connsiteY6" fmla="*/ 4652 h 10728"/>
                  <a:gd name="connsiteX7" fmla="*/ 10105 w 10105"/>
                  <a:gd name="connsiteY7" fmla="*/ 1710 h 10728"/>
                  <a:gd name="connsiteX8" fmla="*/ 9886 w 10105"/>
                  <a:gd name="connsiteY8" fmla="*/ 3961 h 10728"/>
                  <a:gd name="connsiteX0" fmla="*/ 4127 w 10105"/>
                  <a:gd name="connsiteY0" fmla="*/ 10403 h 10403"/>
                  <a:gd name="connsiteX1" fmla="*/ 0 w 10105"/>
                  <a:gd name="connsiteY1" fmla="*/ 7809 h 10403"/>
                  <a:gd name="connsiteX2" fmla="*/ 4206 w 10105"/>
                  <a:gd name="connsiteY2" fmla="*/ 8439 h 10403"/>
                  <a:gd name="connsiteX3" fmla="*/ 685 w 10105"/>
                  <a:gd name="connsiteY3" fmla="*/ 3903 h 10403"/>
                  <a:gd name="connsiteX4" fmla="*/ 5572 w 10105"/>
                  <a:gd name="connsiteY4" fmla="*/ 6044 h 10403"/>
                  <a:gd name="connsiteX5" fmla="*/ 4392 w 10105"/>
                  <a:gd name="connsiteY5" fmla="*/ 0 h 10403"/>
                  <a:gd name="connsiteX6" fmla="*/ 7430 w 10105"/>
                  <a:gd name="connsiteY6" fmla="*/ 4652 h 10403"/>
                  <a:gd name="connsiteX7" fmla="*/ 10105 w 10105"/>
                  <a:gd name="connsiteY7" fmla="*/ 1710 h 10403"/>
                  <a:gd name="connsiteX8" fmla="*/ 9886 w 10105"/>
                  <a:gd name="connsiteY8" fmla="*/ 3961 h 10403"/>
                  <a:gd name="connsiteX0" fmla="*/ 3442 w 9420"/>
                  <a:gd name="connsiteY0" fmla="*/ 10403 h 10403"/>
                  <a:gd name="connsiteX1" fmla="*/ 700 w 9420"/>
                  <a:gd name="connsiteY1" fmla="*/ 8556 h 10403"/>
                  <a:gd name="connsiteX2" fmla="*/ 3521 w 9420"/>
                  <a:gd name="connsiteY2" fmla="*/ 8439 h 10403"/>
                  <a:gd name="connsiteX3" fmla="*/ 0 w 9420"/>
                  <a:gd name="connsiteY3" fmla="*/ 3903 h 10403"/>
                  <a:gd name="connsiteX4" fmla="*/ 4887 w 9420"/>
                  <a:gd name="connsiteY4" fmla="*/ 6044 h 10403"/>
                  <a:gd name="connsiteX5" fmla="*/ 3707 w 9420"/>
                  <a:gd name="connsiteY5" fmla="*/ 0 h 10403"/>
                  <a:gd name="connsiteX6" fmla="*/ 6745 w 9420"/>
                  <a:gd name="connsiteY6" fmla="*/ 4652 h 10403"/>
                  <a:gd name="connsiteX7" fmla="*/ 9420 w 9420"/>
                  <a:gd name="connsiteY7" fmla="*/ 1710 h 10403"/>
                  <a:gd name="connsiteX8" fmla="*/ 9201 w 9420"/>
                  <a:gd name="connsiteY8" fmla="*/ 3961 h 10403"/>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495 w 10000"/>
                  <a:gd name="connsiteY0" fmla="*/ 10185 h 10185"/>
                  <a:gd name="connsiteX1" fmla="*/ 743 w 10000"/>
                  <a:gd name="connsiteY1" fmla="*/ 8225 h 10185"/>
                  <a:gd name="connsiteX2" fmla="*/ 3738 w 10000"/>
                  <a:gd name="connsiteY2" fmla="*/ 8112 h 10185"/>
                  <a:gd name="connsiteX3" fmla="*/ 0 w 10000"/>
                  <a:gd name="connsiteY3" fmla="*/ 3752 h 10185"/>
                  <a:gd name="connsiteX4" fmla="*/ 5188 w 10000"/>
                  <a:gd name="connsiteY4" fmla="*/ 5810 h 10185"/>
                  <a:gd name="connsiteX5" fmla="*/ 3935 w 10000"/>
                  <a:gd name="connsiteY5" fmla="*/ 0 h 10185"/>
                  <a:gd name="connsiteX6" fmla="*/ 7160 w 10000"/>
                  <a:gd name="connsiteY6" fmla="*/ 4472 h 10185"/>
                  <a:gd name="connsiteX7" fmla="*/ 10000 w 10000"/>
                  <a:gd name="connsiteY7" fmla="*/ 1644 h 10185"/>
                  <a:gd name="connsiteX8" fmla="*/ 9768 w 10000"/>
                  <a:gd name="connsiteY8" fmla="*/ 3808 h 10185"/>
                  <a:gd name="connsiteX0" fmla="*/ 3682 w 10000"/>
                  <a:gd name="connsiteY0" fmla="*/ 9610 h 9610"/>
                  <a:gd name="connsiteX1" fmla="*/ 743 w 10000"/>
                  <a:gd name="connsiteY1" fmla="*/ 8225 h 9610"/>
                  <a:gd name="connsiteX2" fmla="*/ 3738 w 10000"/>
                  <a:gd name="connsiteY2" fmla="*/ 8112 h 9610"/>
                  <a:gd name="connsiteX3" fmla="*/ 0 w 10000"/>
                  <a:gd name="connsiteY3" fmla="*/ 3752 h 9610"/>
                  <a:gd name="connsiteX4" fmla="*/ 5188 w 10000"/>
                  <a:gd name="connsiteY4" fmla="*/ 5810 h 9610"/>
                  <a:gd name="connsiteX5" fmla="*/ 3935 w 10000"/>
                  <a:gd name="connsiteY5" fmla="*/ 0 h 9610"/>
                  <a:gd name="connsiteX6" fmla="*/ 7160 w 10000"/>
                  <a:gd name="connsiteY6" fmla="*/ 4472 h 9610"/>
                  <a:gd name="connsiteX7" fmla="*/ 10000 w 10000"/>
                  <a:gd name="connsiteY7" fmla="*/ 1644 h 9610"/>
                  <a:gd name="connsiteX8" fmla="*/ 9768 w 10000"/>
                  <a:gd name="connsiteY8" fmla="*/ 3808 h 9610"/>
                  <a:gd name="connsiteX0" fmla="*/ 3682 w 10000"/>
                  <a:gd name="connsiteY0" fmla="*/ 10000 h 10000"/>
                  <a:gd name="connsiteX1" fmla="*/ 743 w 10000"/>
                  <a:gd name="connsiteY1" fmla="*/ 8559 h 10000"/>
                  <a:gd name="connsiteX2" fmla="*/ 3880 w 10000"/>
                  <a:gd name="connsiteY2" fmla="*/ 8388 h 10000"/>
                  <a:gd name="connsiteX3" fmla="*/ 0 w 10000"/>
                  <a:gd name="connsiteY3" fmla="*/ 3904 h 10000"/>
                  <a:gd name="connsiteX4" fmla="*/ 5188 w 10000"/>
                  <a:gd name="connsiteY4" fmla="*/ 6046 h 10000"/>
                  <a:gd name="connsiteX5" fmla="*/ 3935 w 10000"/>
                  <a:gd name="connsiteY5" fmla="*/ 0 h 10000"/>
                  <a:gd name="connsiteX6" fmla="*/ 7160 w 10000"/>
                  <a:gd name="connsiteY6" fmla="*/ 4653 h 10000"/>
                  <a:gd name="connsiteX7" fmla="*/ 10000 w 10000"/>
                  <a:gd name="connsiteY7" fmla="*/ 1711 h 10000"/>
                  <a:gd name="connsiteX8" fmla="*/ 9768 w 10000"/>
                  <a:gd name="connsiteY8" fmla="*/ 3963 h 10000"/>
                  <a:gd name="connsiteX0" fmla="*/ 3682 w 10000"/>
                  <a:gd name="connsiteY0" fmla="*/ 10000 h 10000"/>
                  <a:gd name="connsiteX1" fmla="*/ 743 w 10000"/>
                  <a:gd name="connsiteY1" fmla="*/ 8559 h 10000"/>
                  <a:gd name="connsiteX2" fmla="*/ 3880 w 10000"/>
                  <a:gd name="connsiteY2" fmla="*/ 8388 h 10000"/>
                  <a:gd name="connsiteX3" fmla="*/ 0 w 10000"/>
                  <a:gd name="connsiteY3" fmla="*/ 3904 h 10000"/>
                  <a:gd name="connsiteX4" fmla="*/ 5188 w 10000"/>
                  <a:gd name="connsiteY4" fmla="*/ 6046 h 10000"/>
                  <a:gd name="connsiteX5" fmla="*/ 3935 w 10000"/>
                  <a:gd name="connsiteY5" fmla="*/ 0 h 10000"/>
                  <a:gd name="connsiteX6" fmla="*/ 7711 w 10000"/>
                  <a:gd name="connsiteY6" fmla="*/ 4217 h 10000"/>
                  <a:gd name="connsiteX7" fmla="*/ 10000 w 10000"/>
                  <a:gd name="connsiteY7" fmla="*/ 1711 h 10000"/>
                  <a:gd name="connsiteX8" fmla="*/ 9768 w 10000"/>
                  <a:gd name="connsiteY8" fmla="*/ 3963 h 10000"/>
                  <a:gd name="connsiteX0" fmla="*/ 3682 w 10055"/>
                  <a:gd name="connsiteY0" fmla="*/ 10000 h 10000"/>
                  <a:gd name="connsiteX1" fmla="*/ 743 w 10055"/>
                  <a:gd name="connsiteY1" fmla="*/ 8559 h 10000"/>
                  <a:gd name="connsiteX2" fmla="*/ 3880 w 10055"/>
                  <a:gd name="connsiteY2" fmla="*/ 8388 h 10000"/>
                  <a:gd name="connsiteX3" fmla="*/ 0 w 10055"/>
                  <a:gd name="connsiteY3" fmla="*/ 3904 h 10000"/>
                  <a:gd name="connsiteX4" fmla="*/ 5188 w 10055"/>
                  <a:gd name="connsiteY4" fmla="*/ 6046 h 10000"/>
                  <a:gd name="connsiteX5" fmla="*/ 3935 w 10055"/>
                  <a:gd name="connsiteY5" fmla="*/ 0 h 10000"/>
                  <a:gd name="connsiteX6" fmla="*/ 7711 w 10055"/>
                  <a:gd name="connsiteY6" fmla="*/ 4217 h 10000"/>
                  <a:gd name="connsiteX7" fmla="*/ 10000 w 10055"/>
                  <a:gd name="connsiteY7" fmla="*/ 1711 h 10000"/>
                  <a:gd name="connsiteX8" fmla="*/ 10046 w 10055"/>
                  <a:gd name="connsiteY8" fmla="*/ 3809 h 10000"/>
                  <a:gd name="connsiteX0" fmla="*/ 3682 w 10055"/>
                  <a:gd name="connsiteY0" fmla="*/ 10000 h 10000"/>
                  <a:gd name="connsiteX1" fmla="*/ 743 w 10055"/>
                  <a:gd name="connsiteY1" fmla="*/ 8559 h 10000"/>
                  <a:gd name="connsiteX2" fmla="*/ 3870 w 10055"/>
                  <a:gd name="connsiteY2" fmla="*/ 7769 h 10000"/>
                  <a:gd name="connsiteX3" fmla="*/ 0 w 10055"/>
                  <a:gd name="connsiteY3" fmla="*/ 3904 h 10000"/>
                  <a:gd name="connsiteX4" fmla="*/ 5188 w 10055"/>
                  <a:gd name="connsiteY4" fmla="*/ 6046 h 10000"/>
                  <a:gd name="connsiteX5" fmla="*/ 3935 w 10055"/>
                  <a:gd name="connsiteY5" fmla="*/ 0 h 10000"/>
                  <a:gd name="connsiteX6" fmla="*/ 7711 w 10055"/>
                  <a:gd name="connsiteY6" fmla="*/ 4217 h 10000"/>
                  <a:gd name="connsiteX7" fmla="*/ 10000 w 10055"/>
                  <a:gd name="connsiteY7" fmla="*/ 1711 h 10000"/>
                  <a:gd name="connsiteX8" fmla="*/ 10046 w 10055"/>
                  <a:gd name="connsiteY8" fmla="*/ 3809 h 10000"/>
                  <a:gd name="connsiteX0" fmla="*/ 3682 w 10055"/>
                  <a:gd name="connsiteY0" fmla="*/ 10000 h 10000"/>
                  <a:gd name="connsiteX1" fmla="*/ 2365 w 10055"/>
                  <a:gd name="connsiteY1" fmla="*/ 9339 h 10000"/>
                  <a:gd name="connsiteX2" fmla="*/ 743 w 10055"/>
                  <a:gd name="connsiteY2" fmla="*/ 8559 h 10000"/>
                  <a:gd name="connsiteX3" fmla="*/ 3870 w 10055"/>
                  <a:gd name="connsiteY3" fmla="*/ 7769 h 10000"/>
                  <a:gd name="connsiteX4" fmla="*/ 0 w 10055"/>
                  <a:gd name="connsiteY4" fmla="*/ 3904 h 10000"/>
                  <a:gd name="connsiteX5" fmla="*/ 5188 w 10055"/>
                  <a:gd name="connsiteY5" fmla="*/ 6046 h 10000"/>
                  <a:gd name="connsiteX6" fmla="*/ 3935 w 10055"/>
                  <a:gd name="connsiteY6" fmla="*/ 0 h 10000"/>
                  <a:gd name="connsiteX7" fmla="*/ 7711 w 10055"/>
                  <a:gd name="connsiteY7" fmla="*/ 4217 h 10000"/>
                  <a:gd name="connsiteX8" fmla="*/ 10000 w 10055"/>
                  <a:gd name="connsiteY8" fmla="*/ 1711 h 10000"/>
                  <a:gd name="connsiteX9" fmla="*/ 10046 w 10055"/>
                  <a:gd name="connsiteY9" fmla="*/ 3809 h 10000"/>
                  <a:gd name="connsiteX0" fmla="*/ 3682 w 10055"/>
                  <a:gd name="connsiteY0" fmla="*/ 10000 h 10000"/>
                  <a:gd name="connsiteX1" fmla="*/ 2529 w 10055"/>
                  <a:gd name="connsiteY1" fmla="*/ 9274 h 10000"/>
                  <a:gd name="connsiteX2" fmla="*/ 743 w 10055"/>
                  <a:gd name="connsiteY2" fmla="*/ 8559 h 10000"/>
                  <a:gd name="connsiteX3" fmla="*/ 3870 w 10055"/>
                  <a:gd name="connsiteY3" fmla="*/ 7769 h 10000"/>
                  <a:gd name="connsiteX4" fmla="*/ 0 w 10055"/>
                  <a:gd name="connsiteY4" fmla="*/ 3904 h 10000"/>
                  <a:gd name="connsiteX5" fmla="*/ 5188 w 10055"/>
                  <a:gd name="connsiteY5" fmla="*/ 6046 h 10000"/>
                  <a:gd name="connsiteX6" fmla="*/ 3935 w 10055"/>
                  <a:gd name="connsiteY6" fmla="*/ 0 h 10000"/>
                  <a:gd name="connsiteX7" fmla="*/ 7711 w 10055"/>
                  <a:gd name="connsiteY7" fmla="*/ 4217 h 10000"/>
                  <a:gd name="connsiteX8" fmla="*/ 10000 w 10055"/>
                  <a:gd name="connsiteY8" fmla="*/ 1711 h 10000"/>
                  <a:gd name="connsiteX9" fmla="*/ 10046 w 10055"/>
                  <a:gd name="connsiteY9" fmla="*/ 3809 h 10000"/>
                  <a:gd name="connsiteX0" fmla="*/ 3095 w 10055"/>
                  <a:gd name="connsiteY0" fmla="*/ 12044 h 12044"/>
                  <a:gd name="connsiteX1" fmla="*/ 2529 w 10055"/>
                  <a:gd name="connsiteY1" fmla="*/ 9274 h 12044"/>
                  <a:gd name="connsiteX2" fmla="*/ 743 w 10055"/>
                  <a:gd name="connsiteY2" fmla="*/ 8559 h 12044"/>
                  <a:gd name="connsiteX3" fmla="*/ 3870 w 10055"/>
                  <a:gd name="connsiteY3" fmla="*/ 7769 h 12044"/>
                  <a:gd name="connsiteX4" fmla="*/ 0 w 10055"/>
                  <a:gd name="connsiteY4" fmla="*/ 3904 h 12044"/>
                  <a:gd name="connsiteX5" fmla="*/ 5188 w 10055"/>
                  <a:gd name="connsiteY5" fmla="*/ 6046 h 12044"/>
                  <a:gd name="connsiteX6" fmla="*/ 3935 w 10055"/>
                  <a:gd name="connsiteY6" fmla="*/ 0 h 12044"/>
                  <a:gd name="connsiteX7" fmla="*/ 7711 w 10055"/>
                  <a:gd name="connsiteY7" fmla="*/ 4217 h 12044"/>
                  <a:gd name="connsiteX8" fmla="*/ 10000 w 10055"/>
                  <a:gd name="connsiteY8" fmla="*/ 1711 h 12044"/>
                  <a:gd name="connsiteX9" fmla="*/ 10046 w 10055"/>
                  <a:gd name="connsiteY9" fmla="*/ 3809 h 12044"/>
                  <a:gd name="connsiteX0" fmla="*/ 3095 w 10055"/>
                  <a:gd name="connsiteY0" fmla="*/ 12044 h 12044"/>
                  <a:gd name="connsiteX1" fmla="*/ 2782 w 10055"/>
                  <a:gd name="connsiteY1" fmla="*/ 10540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529 w 10055"/>
                  <a:gd name="connsiteY2" fmla="*/ 9274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908 w 10055"/>
                  <a:gd name="connsiteY2" fmla="*/ 10183 h 12044"/>
                  <a:gd name="connsiteX3" fmla="*/ 743 w 10055"/>
                  <a:gd name="connsiteY3" fmla="*/ 8559 h 12044"/>
                  <a:gd name="connsiteX4" fmla="*/ 3870 w 10055"/>
                  <a:gd name="connsiteY4" fmla="*/ 7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908 w 10055"/>
                  <a:gd name="connsiteY2" fmla="*/ 10183 h 12044"/>
                  <a:gd name="connsiteX3" fmla="*/ 743 w 10055"/>
                  <a:gd name="connsiteY3" fmla="*/ 8559 h 12044"/>
                  <a:gd name="connsiteX4" fmla="*/ 3711 w 10055"/>
                  <a:gd name="connsiteY4" fmla="*/ 8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095 w 10055"/>
                  <a:gd name="connsiteY0" fmla="*/ 12044 h 12044"/>
                  <a:gd name="connsiteX1" fmla="*/ 1483 w 10055"/>
                  <a:gd name="connsiteY1" fmla="*/ 11312 h 12044"/>
                  <a:gd name="connsiteX2" fmla="*/ 2908 w 10055"/>
                  <a:gd name="connsiteY2" fmla="*/ 10183 h 12044"/>
                  <a:gd name="connsiteX3" fmla="*/ 258 w 10055"/>
                  <a:gd name="connsiteY3" fmla="*/ 8437 h 12044"/>
                  <a:gd name="connsiteX4" fmla="*/ 3711 w 10055"/>
                  <a:gd name="connsiteY4" fmla="*/ 8769 h 12044"/>
                  <a:gd name="connsiteX5" fmla="*/ 0 w 10055"/>
                  <a:gd name="connsiteY5" fmla="*/ 3904 h 12044"/>
                  <a:gd name="connsiteX6" fmla="*/ 5188 w 10055"/>
                  <a:gd name="connsiteY6" fmla="*/ 6046 h 12044"/>
                  <a:gd name="connsiteX7" fmla="*/ 3935 w 10055"/>
                  <a:gd name="connsiteY7" fmla="*/ 0 h 12044"/>
                  <a:gd name="connsiteX8" fmla="*/ 7711 w 10055"/>
                  <a:gd name="connsiteY8" fmla="*/ 4217 h 12044"/>
                  <a:gd name="connsiteX9" fmla="*/ 10000 w 10055"/>
                  <a:gd name="connsiteY9" fmla="*/ 1711 h 12044"/>
                  <a:gd name="connsiteX10" fmla="*/ 10046 w 10055"/>
                  <a:gd name="connsiteY10" fmla="*/ 3809 h 12044"/>
                  <a:gd name="connsiteX0" fmla="*/ 3481 w 10441"/>
                  <a:gd name="connsiteY0" fmla="*/ 12044 h 12044"/>
                  <a:gd name="connsiteX1" fmla="*/ 1869 w 10441"/>
                  <a:gd name="connsiteY1" fmla="*/ 11312 h 12044"/>
                  <a:gd name="connsiteX2" fmla="*/ 3294 w 10441"/>
                  <a:gd name="connsiteY2" fmla="*/ 10183 h 12044"/>
                  <a:gd name="connsiteX3" fmla="*/ 0 w 10441"/>
                  <a:gd name="connsiteY3" fmla="*/ 8508 h 12044"/>
                  <a:gd name="connsiteX4" fmla="*/ 4097 w 10441"/>
                  <a:gd name="connsiteY4" fmla="*/ 8769 h 12044"/>
                  <a:gd name="connsiteX5" fmla="*/ 386 w 10441"/>
                  <a:gd name="connsiteY5" fmla="*/ 3904 h 12044"/>
                  <a:gd name="connsiteX6" fmla="*/ 5574 w 10441"/>
                  <a:gd name="connsiteY6" fmla="*/ 6046 h 12044"/>
                  <a:gd name="connsiteX7" fmla="*/ 4321 w 10441"/>
                  <a:gd name="connsiteY7" fmla="*/ 0 h 12044"/>
                  <a:gd name="connsiteX8" fmla="*/ 8097 w 10441"/>
                  <a:gd name="connsiteY8" fmla="*/ 4217 h 12044"/>
                  <a:gd name="connsiteX9" fmla="*/ 10386 w 10441"/>
                  <a:gd name="connsiteY9" fmla="*/ 1711 h 12044"/>
                  <a:gd name="connsiteX10" fmla="*/ 10432 w 10441"/>
                  <a:gd name="connsiteY10" fmla="*/ 3809 h 12044"/>
                  <a:gd name="connsiteX0" fmla="*/ 3481 w 10441"/>
                  <a:gd name="connsiteY0" fmla="*/ 12044 h 12044"/>
                  <a:gd name="connsiteX1" fmla="*/ 1869 w 10441"/>
                  <a:gd name="connsiteY1" fmla="*/ 11312 h 12044"/>
                  <a:gd name="connsiteX2" fmla="*/ 3294 w 10441"/>
                  <a:gd name="connsiteY2" fmla="*/ 10183 h 12044"/>
                  <a:gd name="connsiteX3" fmla="*/ 0 w 10441"/>
                  <a:gd name="connsiteY3" fmla="*/ 8508 h 12044"/>
                  <a:gd name="connsiteX4" fmla="*/ 3824 w 10441"/>
                  <a:gd name="connsiteY4" fmla="*/ 8243 h 12044"/>
                  <a:gd name="connsiteX5" fmla="*/ 386 w 10441"/>
                  <a:gd name="connsiteY5" fmla="*/ 3904 h 12044"/>
                  <a:gd name="connsiteX6" fmla="*/ 5574 w 10441"/>
                  <a:gd name="connsiteY6" fmla="*/ 6046 h 12044"/>
                  <a:gd name="connsiteX7" fmla="*/ 4321 w 10441"/>
                  <a:gd name="connsiteY7" fmla="*/ 0 h 12044"/>
                  <a:gd name="connsiteX8" fmla="*/ 8097 w 10441"/>
                  <a:gd name="connsiteY8" fmla="*/ 4217 h 12044"/>
                  <a:gd name="connsiteX9" fmla="*/ 10386 w 10441"/>
                  <a:gd name="connsiteY9" fmla="*/ 1711 h 12044"/>
                  <a:gd name="connsiteX10" fmla="*/ 10432 w 10441"/>
                  <a:gd name="connsiteY10" fmla="*/ 3809 h 12044"/>
                  <a:gd name="connsiteX0" fmla="*/ 3444 w 10441"/>
                  <a:gd name="connsiteY0" fmla="*/ 11752 h 11752"/>
                  <a:gd name="connsiteX1" fmla="*/ 1869 w 10441"/>
                  <a:gd name="connsiteY1" fmla="*/ 11312 h 11752"/>
                  <a:gd name="connsiteX2" fmla="*/ 3294 w 10441"/>
                  <a:gd name="connsiteY2" fmla="*/ 10183 h 11752"/>
                  <a:gd name="connsiteX3" fmla="*/ 0 w 10441"/>
                  <a:gd name="connsiteY3" fmla="*/ 8508 h 11752"/>
                  <a:gd name="connsiteX4" fmla="*/ 3824 w 10441"/>
                  <a:gd name="connsiteY4" fmla="*/ 8243 h 11752"/>
                  <a:gd name="connsiteX5" fmla="*/ 386 w 10441"/>
                  <a:gd name="connsiteY5" fmla="*/ 3904 h 11752"/>
                  <a:gd name="connsiteX6" fmla="*/ 5574 w 10441"/>
                  <a:gd name="connsiteY6" fmla="*/ 6046 h 11752"/>
                  <a:gd name="connsiteX7" fmla="*/ 4321 w 10441"/>
                  <a:gd name="connsiteY7" fmla="*/ 0 h 11752"/>
                  <a:gd name="connsiteX8" fmla="*/ 8097 w 10441"/>
                  <a:gd name="connsiteY8" fmla="*/ 4217 h 11752"/>
                  <a:gd name="connsiteX9" fmla="*/ 10386 w 10441"/>
                  <a:gd name="connsiteY9" fmla="*/ 1711 h 11752"/>
                  <a:gd name="connsiteX10" fmla="*/ 10432 w 10441"/>
                  <a:gd name="connsiteY10" fmla="*/ 3809 h 11752"/>
                  <a:gd name="connsiteX0" fmla="*/ 3444 w 10441"/>
                  <a:gd name="connsiteY0" fmla="*/ 11752 h 11752"/>
                  <a:gd name="connsiteX1" fmla="*/ 1869 w 10441"/>
                  <a:gd name="connsiteY1" fmla="*/ 11312 h 11752"/>
                  <a:gd name="connsiteX2" fmla="*/ 3370 w 10441"/>
                  <a:gd name="connsiteY2" fmla="*/ 10688 h 11752"/>
                  <a:gd name="connsiteX3" fmla="*/ 0 w 10441"/>
                  <a:gd name="connsiteY3" fmla="*/ 8508 h 11752"/>
                  <a:gd name="connsiteX4" fmla="*/ 3824 w 10441"/>
                  <a:gd name="connsiteY4" fmla="*/ 8243 h 11752"/>
                  <a:gd name="connsiteX5" fmla="*/ 386 w 10441"/>
                  <a:gd name="connsiteY5" fmla="*/ 3904 h 11752"/>
                  <a:gd name="connsiteX6" fmla="*/ 5574 w 10441"/>
                  <a:gd name="connsiteY6" fmla="*/ 6046 h 11752"/>
                  <a:gd name="connsiteX7" fmla="*/ 4321 w 10441"/>
                  <a:gd name="connsiteY7" fmla="*/ 0 h 11752"/>
                  <a:gd name="connsiteX8" fmla="*/ 8097 w 10441"/>
                  <a:gd name="connsiteY8" fmla="*/ 4217 h 11752"/>
                  <a:gd name="connsiteX9" fmla="*/ 10386 w 10441"/>
                  <a:gd name="connsiteY9" fmla="*/ 1711 h 11752"/>
                  <a:gd name="connsiteX10" fmla="*/ 10432 w 10441"/>
                  <a:gd name="connsiteY10" fmla="*/ 3809 h 11752"/>
                  <a:gd name="connsiteX0" fmla="*/ 3437 w 10441"/>
                  <a:gd name="connsiteY0" fmla="*/ 12147 h 12147"/>
                  <a:gd name="connsiteX1" fmla="*/ 1869 w 10441"/>
                  <a:gd name="connsiteY1" fmla="*/ 11312 h 12147"/>
                  <a:gd name="connsiteX2" fmla="*/ 3370 w 10441"/>
                  <a:gd name="connsiteY2" fmla="*/ 10688 h 12147"/>
                  <a:gd name="connsiteX3" fmla="*/ 0 w 10441"/>
                  <a:gd name="connsiteY3" fmla="*/ 8508 h 12147"/>
                  <a:gd name="connsiteX4" fmla="*/ 3824 w 10441"/>
                  <a:gd name="connsiteY4" fmla="*/ 8243 h 12147"/>
                  <a:gd name="connsiteX5" fmla="*/ 386 w 10441"/>
                  <a:gd name="connsiteY5" fmla="*/ 3904 h 12147"/>
                  <a:gd name="connsiteX6" fmla="*/ 5574 w 10441"/>
                  <a:gd name="connsiteY6" fmla="*/ 6046 h 12147"/>
                  <a:gd name="connsiteX7" fmla="*/ 4321 w 10441"/>
                  <a:gd name="connsiteY7" fmla="*/ 0 h 12147"/>
                  <a:gd name="connsiteX8" fmla="*/ 8097 w 10441"/>
                  <a:gd name="connsiteY8" fmla="*/ 4217 h 12147"/>
                  <a:gd name="connsiteX9" fmla="*/ 10386 w 10441"/>
                  <a:gd name="connsiteY9" fmla="*/ 1711 h 12147"/>
                  <a:gd name="connsiteX10" fmla="*/ 10432 w 10441"/>
                  <a:gd name="connsiteY10" fmla="*/ 3809 h 12147"/>
                  <a:gd name="connsiteX0" fmla="*/ 3464 w 10441"/>
                  <a:gd name="connsiteY0" fmla="*/ 11820 h 11820"/>
                  <a:gd name="connsiteX1" fmla="*/ 1869 w 10441"/>
                  <a:gd name="connsiteY1" fmla="*/ 11312 h 11820"/>
                  <a:gd name="connsiteX2" fmla="*/ 3370 w 10441"/>
                  <a:gd name="connsiteY2" fmla="*/ 10688 h 11820"/>
                  <a:gd name="connsiteX3" fmla="*/ 0 w 10441"/>
                  <a:gd name="connsiteY3" fmla="*/ 8508 h 11820"/>
                  <a:gd name="connsiteX4" fmla="*/ 3824 w 10441"/>
                  <a:gd name="connsiteY4" fmla="*/ 8243 h 11820"/>
                  <a:gd name="connsiteX5" fmla="*/ 386 w 10441"/>
                  <a:gd name="connsiteY5" fmla="*/ 3904 h 11820"/>
                  <a:gd name="connsiteX6" fmla="*/ 5574 w 10441"/>
                  <a:gd name="connsiteY6" fmla="*/ 6046 h 11820"/>
                  <a:gd name="connsiteX7" fmla="*/ 4321 w 10441"/>
                  <a:gd name="connsiteY7" fmla="*/ 0 h 11820"/>
                  <a:gd name="connsiteX8" fmla="*/ 8097 w 10441"/>
                  <a:gd name="connsiteY8" fmla="*/ 4217 h 11820"/>
                  <a:gd name="connsiteX9" fmla="*/ 10386 w 10441"/>
                  <a:gd name="connsiteY9" fmla="*/ 1711 h 11820"/>
                  <a:gd name="connsiteX10" fmla="*/ 10432 w 10441"/>
                  <a:gd name="connsiteY10" fmla="*/ 3809 h 11820"/>
                  <a:gd name="connsiteX0" fmla="*/ 3464 w 10441"/>
                  <a:gd name="connsiteY0" fmla="*/ 11820 h 11820"/>
                  <a:gd name="connsiteX1" fmla="*/ 1869 w 10441"/>
                  <a:gd name="connsiteY1" fmla="*/ 11312 h 11820"/>
                  <a:gd name="connsiteX2" fmla="*/ 3549 w 10441"/>
                  <a:gd name="connsiteY2" fmla="*/ 10563 h 11820"/>
                  <a:gd name="connsiteX3" fmla="*/ 0 w 10441"/>
                  <a:gd name="connsiteY3" fmla="*/ 8508 h 11820"/>
                  <a:gd name="connsiteX4" fmla="*/ 3824 w 10441"/>
                  <a:gd name="connsiteY4" fmla="*/ 8243 h 11820"/>
                  <a:gd name="connsiteX5" fmla="*/ 386 w 10441"/>
                  <a:gd name="connsiteY5" fmla="*/ 3904 h 11820"/>
                  <a:gd name="connsiteX6" fmla="*/ 5574 w 10441"/>
                  <a:gd name="connsiteY6" fmla="*/ 6046 h 11820"/>
                  <a:gd name="connsiteX7" fmla="*/ 4321 w 10441"/>
                  <a:gd name="connsiteY7" fmla="*/ 0 h 11820"/>
                  <a:gd name="connsiteX8" fmla="*/ 8097 w 10441"/>
                  <a:gd name="connsiteY8" fmla="*/ 4217 h 11820"/>
                  <a:gd name="connsiteX9" fmla="*/ 10386 w 10441"/>
                  <a:gd name="connsiteY9" fmla="*/ 1711 h 11820"/>
                  <a:gd name="connsiteX10" fmla="*/ 10432 w 10441"/>
                  <a:gd name="connsiteY10" fmla="*/ 3809 h 11820"/>
                  <a:gd name="connsiteX0" fmla="*/ 3464 w 10441"/>
                  <a:gd name="connsiteY0" fmla="*/ 11820 h 11820"/>
                  <a:gd name="connsiteX1" fmla="*/ 1869 w 10441"/>
                  <a:gd name="connsiteY1" fmla="*/ 11312 h 11820"/>
                  <a:gd name="connsiteX2" fmla="*/ 3549 w 10441"/>
                  <a:gd name="connsiteY2" fmla="*/ 10563 h 11820"/>
                  <a:gd name="connsiteX3" fmla="*/ 0 w 10441"/>
                  <a:gd name="connsiteY3" fmla="*/ 8508 h 11820"/>
                  <a:gd name="connsiteX4" fmla="*/ 3942 w 10441"/>
                  <a:gd name="connsiteY4" fmla="*/ 8360 h 11820"/>
                  <a:gd name="connsiteX5" fmla="*/ 386 w 10441"/>
                  <a:gd name="connsiteY5" fmla="*/ 3904 h 11820"/>
                  <a:gd name="connsiteX6" fmla="*/ 5574 w 10441"/>
                  <a:gd name="connsiteY6" fmla="*/ 6046 h 11820"/>
                  <a:gd name="connsiteX7" fmla="*/ 4321 w 10441"/>
                  <a:gd name="connsiteY7" fmla="*/ 0 h 11820"/>
                  <a:gd name="connsiteX8" fmla="*/ 8097 w 10441"/>
                  <a:gd name="connsiteY8" fmla="*/ 4217 h 11820"/>
                  <a:gd name="connsiteX9" fmla="*/ 10386 w 10441"/>
                  <a:gd name="connsiteY9" fmla="*/ 1711 h 11820"/>
                  <a:gd name="connsiteX10" fmla="*/ 10432 w 10441"/>
                  <a:gd name="connsiteY10" fmla="*/ 3809 h 11820"/>
                  <a:gd name="connsiteX0" fmla="*/ 3464 w 10441"/>
                  <a:gd name="connsiteY0" fmla="*/ 11820 h 11820"/>
                  <a:gd name="connsiteX1" fmla="*/ 1869 w 10441"/>
                  <a:gd name="connsiteY1" fmla="*/ 11312 h 11820"/>
                  <a:gd name="connsiteX2" fmla="*/ 3549 w 10441"/>
                  <a:gd name="connsiteY2" fmla="*/ 10563 h 11820"/>
                  <a:gd name="connsiteX3" fmla="*/ 0 w 10441"/>
                  <a:gd name="connsiteY3" fmla="*/ 8508 h 11820"/>
                  <a:gd name="connsiteX4" fmla="*/ 3942 w 10441"/>
                  <a:gd name="connsiteY4" fmla="*/ 8360 h 11820"/>
                  <a:gd name="connsiteX5" fmla="*/ 386 w 10441"/>
                  <a:gd name="connsiteY5" fmla="*/ 3904 h 11820"/>
                  <a:gd name="connsiteX6" fmla="*/ 5574 w 10441"/>
                  <a:gd name="connsiteY6" fmla="*/ 6046 h 11820"/>
                  <a:gd name="connsiteX7" fmla="*/ 4321 w 10441"/>
                  <a:gd name="connsiteY7" fmla="*/ 0 h 11820"/>
                  <a:gd name="connsiteX8" fmla="*/ 8064 w 10441"/>
                  <a:gd name="connsiteY8" fmla="*/ 4496 h 11820"/>
                  <a:gd name="connsiteX9" fmla="*/ 10386 w 10441"/>
                  <a:gd name="connsiteY9" fmla="*/ 1711 h 11820"/>
                  <a:gd name="connsiteX10" fmla="*/ 10432 w 10441"/>
                  <a:gd name="connsiteY10" fmla="*/ 3809 h 11820"/>
                  <a:gd name="connsiteX0" fmla="*/ 3464 w 10567"/>
                  <a:gd name="connsiteY0" fmla="*/ 11820 h 11820"/>
                  <a:gd name="connsiteX1" fmla="*/ 1869 w 10567"/>
                  <a:gd name="connsiteY1" fmla="*/ 11312 h 11820"/>
                  <a:gd name="connsiteX2" fmla="*/ 3549 w 10567"/>
                  <a:gd name="connsiteY2" fmla="*/ 10563 h 11820"/>
                  <a:gd name="connsiteX3" fmla="*/ 0 w 10567"/>
                  <a:gd name="connsiteY3" fmla="*/ 8508 h 11820"/>
                  <a:gd name="connsiteX4" fmla="*/ 3942 w 10567"/>
                  <a:gd name="connsiteY4" fmla="*/ 8360 h 11820"/>
                  <a:gd name="connsiteX5" fmla="*/ 386 w 10567"/>
                  <a:gd name="connsiteY5" fmla="*/ 3904 h 11820"/>
                  <a:gd name="connsiteX6" fmla="*/ 5574 w 10567"/>
                  <a:gd name="connsiteY6" fmla="*/ 6046 h 11820"/>
                  <a:gd name="connsiteX7" fmla="*/ 4321 w 10567"/>
                  <a:gd name="connsiteY7" fmla="*/ 0 h 11820"/>
                  <a:gd name="connsiteX8" fmla="*/ 8064 w 10567"/>
                  <a:gd name="connsiteY8" fmla="*/ 4496 h 11820"/>
                  <a:gd name="connsiteX9" fmla="*/ 10386 w 10567"/>
                  <a:gd name="connsiteY9" fmla="*/ 1711 h 11820"/>
                  <a:gd name="connsiteX10" fmla="*/ 10562 w 10567"/>
                  <a:gd name="connsiteY10" fmla="*/ 4023 h 11820"/>
                  <a:gd name="connsiteX0" fmla="*/ 3464 w 10564"/>
                  <a:gd name="connsiteY0" fmla="*/ 11820 h 11820"/>
                  <a:gd name="connsiteX1" fmla="*/ 1869 w 10564"/>
                  <a:gd name="connsiteY1" fmla="*/ 11312 h 11820"/>
                  <a:gd name="connsiteX2" fmla="*/ 3549 w 10564"/>
                  <a:gd name="connsiteY2" fmla="*/ 10563 h 11820"/>
                  <a:gd name="connsiteX3" fmla="*/ 0 w 10564"/>
                  <a:gd name="connsiteY3" fmla="*/ 8508 h 11820"/>
                  <a:gd name="connsiteX4" fmla="*/ 3942 w 10564"/>
                  <a:gd name="connsiteY4" fmla="*/ 8360 h 11820"/>
                  <a:gd name="connsiteX5" fmla="*/ 386 w 10564"/>
                  <a:gd name="connsiteY5" fmla="*/ 3904 h 11820"/>
                  <a:gd name="connsiteX6" fmla="*/ 5574 w 10564"/>
                  <a:gd name="connsiteY6" fmla="*/ 6046 h 11820"/>
                  <a:gd name="connsiteX7" fmla="*/ 4321 w 10564"/>
                  <a:gd name="connsiteY7" fmla="*/ 0 h 11820"/>
                  <a:gd name="connsiteX8" fmla="*/ 8064 w 10564"/>
                  <a:gd name="connsiteY8" fmla="*/ 4496 h 11820"/>
                  <a:gd name="connsiteX9" fmla="*/ 9928 w 10564"/>
                  <a:gd name="connsiteY9" fmla="*/ 2069 h 11820"/>
                  <a:gd name="connsiteX10" fmla="*/ 10562 w 10564"/>
                  <a:gd name="connsiteY10" fmla="*/ 4023 h 11820"/>
                  <a:gd name="connsiteX0" fmla="*/ 3464 w 10565"/>
                  <a:gd name="connsiteY0" fmla="*/ 11820 h 11820"/>
                  <a:gd name="connsiteX1" fmla="*/ 1869 w 10565"/>
                  <a:gd name="connsiteY1" fmla="*/ 11312 h 11820"/>
                  <a:gd name="connsiteX2" fmla="*/ 3549 w 10565"/>
                  <a:gd name="connsiteY2" fmla="*/ 10563 h 11820"/>
                  <a:gd name="connsiteX3" fmla="*/ 0 w 10565"/>
                  <a:gd name="connsiteY3" fmla="*/ 8508 h 11820"/>
                  <a:gd name="connsiteX4" fmla="*/ 3942 w 10565"/>
                  <a:gd name="connsiteY4" fmla="*/ 8360 h 11820"/>
                  <a:gd name="connsiteX5" fmla="*/ 386 w 10565"/>
                  <a:gd name="connsiteY5" fmla="*/ 3904 h 11820"/>
                  <a:gd name="connsiteX6" fmla="*/ 5574 w 10565"/>
                  <a:gd name="connsiteY6" fmla="*/ 6046 h 11820"/>
                  <a:gd name="connsiteX7" fmla="*/ 4321 w 10565"/>
                  <a:gd name="connsiteY7" fmla="*/ 0 h 11820"/>
                  <a:gd name="connsiteX8" fmla="*/ 8064 w 10565"/>
                  <a:gd name="connsiteY8" fmla="*/ 4496 h 11820"/>
                  <a:gd name="connsiteX9" fmla="*/ 9928 w 10565"/>
                  <a:gd name="connsiteY9" fmla="*/ 2069 h 11820"/>
                  <a:gd name="connsiteX10" fmla="*/ 10562 w 10565"/>
                  <a:gd name="connsiteY10" fmla="*/ 4023 h 11820"/>
                  <a:gd name="connsiteX0" fmla="*/ 3464 w 10562"/>
                  <a:gd name="connsiteY0" fmla="*/ 11820 h 11820"/>
                  <a:gd name="connsiteX1" fmla="*/ 1869 w 10562"/>
                  <a:gd name="connsiteY1" fmla="*/ 11312 h 11820"/>
                  <a:gd name="connsiteX2" fmla="*/ 3549 w 10562"/>
                  <a:gd name="connsiteY2" fmla="*/ 10563 h 11820"/>
                  <a:gd name="connsiteX3" fmla="*/ 0 w 10562"/>
                  <a:gd name="connsiteY3" fmla="*/ 8508 h 11820"/>
                  <a:gd name="connsiteX4" fmla="*/ 3942 w 10562"/>
                  <a:gd name="connsiteY4" fmla="*/ 8360 h 11820"/>
                  <a:gd name="connsiteX5" fmla="*/ 386 w 10562"/>
                  <a:gd name="connsiteY5" fmla="*/ 3904 h 11820"/>
                  <a:gd name="connsiteX6" fmla="*/ 5574 w 10562"/>
                  <a:gd name="connsiteY6" fmla="*/ 6046 h 11820"/>
                  <a:gd name="connsiteX7" fmla="*/ 4321 w 10562"/>
                  <a:gd name="connsiteY7" fmla="*/ 0 h 11820"/>
                  <a:gd name="connsiteX8" fmla="*/ 8064 w 10562"/>
                  <a:gd name="connsiteY8" fmla="*/ 4496 h 11820"/>
                  <a:gd name="connsiteX9" fmla="*/ 9928 w 10562"/>
                  <a:gd name="connsiteY9" fmla="*/ 2069 h 11820"/>
                  <a:gd name="connsiteX10" fmla="*/ 10562 w 10562"/>
                  <a:gd name="connsiteY10" fmla="*/ 4023 h 11820"/>
                  <a:gd name="connsiteX0" fmla="*/ 3464 w 10362"/>
                  <a:gd name="connsiteY0" fmla="*/ 11820 h 11820"/>
                  <a:gd name="connsiteX1" fmla="*/ 1869 w 10362"/>
                  <a:gd name="connsiteY1" fmla="*/ 11312 h 11820"/>
                  <a:gd name="connsiteX2" fmla="*/ 3549 w 10362"/>
                  <a:gd name="connsiteY2" fmla="*/ 10563 h 11820"/>
                  <a:gd name="connsiteX3" fmla="*/ 0 w 10362"/>
                  <a:gd name="connsiteY3" fmla="*/ 8508 h 11820"/>
                  <a:gd name="connsiteX4" fmla="*/ 3942 w 10362"/>
                  <a:gd name="connsiteY4" fmla="*/ 8360 h 11820"/>
                  <a:gd name="connsiteX5" fmla="*/ 386 w 10362"/>
                  <a:gd name="connsiteY5" fmla="*/ 3904 h 11820"/>
                  <a:gd name="connsiteX6" fmla="*/ 5574 w 10362"/>
                  <a:gd name="connsiteY6" fmla="*/ 6046 h 11820"/>
                  <a:gd name="connsiteX7" fmla="*/ 4321 w 10362"/>
                  <a:gd name="connsiteY7" fmla="*/ 0 h 11820"/>
                  <a:gd name="connsiteX8" fmla="*/ 8064 w 10362"/>
                  <a:gd name="connsiteY8" fmla="*/ 4496 h 11820"/>
                  <a:gd name="connsiteX9" fmla="*/ 9928 w 10362"/>
                  <a:gd name="connsiteY9" fmla="*/ 2069 h 11820"/>
                  <a:gd name="connsiteX10" fmla="*/ 10362 w 10362"/>
                  <a:gd name="connsiteY10" fmla="*/ 4160 h 11820"/>
                  <a:gd name="connsiteX0" fmla="*/ 3464 w 10362"/>
                  <a:gd name="connsiteY0" fmla="*/ 11820 h 11820"/>
                  <a:gd name="connsiteX1" fmla="*/ 1869 w 10362"/>
                  <a:gd name="connsiteY1" fmla="*/ 11312 h 11820"/>
                  <a:gd name="connsiteX2" fmla="*/ 3549 w 10362"/>
                  <a:gd name="connsiteY2" fmla="*/ 10563 h 11820"/>
                  <a:gd name="connsiteX3" fmla="*/ 0 w 10362"/>
                  <a:gd name="connsiteY3" fmla="*/ 8508 h 11820"/>
                  <a:gd name="connsiteX4" fmla="*/ 3942 w 10362"/>
                  <a:gd name="connsiteY4" fmla="*/ 8360 h 11820"/>
                  <a:gd name="connsiteX5" fmla="*/ 2112 w 10362"/>
                  <a:gd name="connsiteY5" fmla="*/ 5317 h 11820"/>
                  <a:gd name="connsiteX6" fmla="*/ 5574 w 10362"/>
                  <a:gd name="connsiteY6" fmla="*/ 6046 h 11820"/>
                  <a:gd name="connsiteX7" fmla="*/ 4321 w 10362"/>
                  <a:gd name="connsiteY7" fmla="*/ 0 h 11820"/>
                  <a:gd name="connsiteX8" fmla="*/ 8064 w 10362"/>
                  <a:gd name="connsiteY8" fmla="*/ 4496 h 11820"/>
                  <a:gd name="connsiteX9" fmla="*/ 9928 w 10362"/>
                  <a:gd name="connsiteY9" fmla="*/ 2069 h 11820"/>
                  <a:gd name="connsiteX10" fmla="*/ 10362 w 10362"/>
                  <a:gd name="connsiteY10" fmla="*/ 4160 h 11820"/>
                  <a:gd name="connsiteX0" fmla="*/ 3464 w 10362"/>
                  <a:gd name="connsiteY0" fmla="*/ 11820 h 11820"/>
                  <a:gd name="connsiteX1" fmla="*/ 1869 w 10362"/>
                  <a:gd name="connsiteY1" fmla="*/ 11312 h 11820"/>
                  <a:gd name="connsiteX2" fmla="*/ 3549 w 10362"/>
                  <a:gd name="connsiteY2" fmla="*/ 10563 h 11820"/>
                  <a:gd name="connsiteX3" fmla="*/ 0 w 10362"/>
                  <a:gd name="connsiteY3" fmla="*/ 8508 h 11820"/>
                  <a:gd name="connsiteX4" fmla="*/ 3942 w 10362"/>
                  <a:gd name="connsiteY4" fmla="*/ 8360 h 11820"/>
                  <a:gd name="connsiteX5" fmla="*/ 1619 w 10362"/>
                  <a:gd name="connsiteY5" fmla="*/ 4861 h 11820"/>
                  <a:gd name="connsiteX6" fmla="*/ 5574 w 10362"/>
                  <a:gd name="connsiteY6" fmla="*/ 6046 h 11820"/>
                  <a:gd name="connsiteX7" fmla="*/ 4321 w 10362"/>
                  <a:gd name="connsiteY7" fmla="*/ 0 h 11820"/>
                  <a:gd name="connsiteX8" fmla="*/ 8064 w 10362"/>
                  <a:gd name="connsiteY8" fmla="*/ 4496 h 11820"/>
                  <a:gd name="connsiteX9" fmla="*/ 9928 w 10362"/>
                  <a:gd name="connsiteY9" fmla="*/ 2069 h 11820"/>
                  <a:gd name="connsiteX10" fmla="*/ 10362 w 10362"/>
                  <a:gd name="connsiteY10" fmla="*/ 4160 h 11820"/>
                  <a:gd name="connsiteX0" fmla="*/ 3464 w 10362"/>
                  <a:gd name="connsiteY0" fmla="*/ 11106 h 11106"/>
                  <a:gd name="connsiteX1" fmla="*/ 1869 w 10362"/>
                  <a:gd name="connsiteY1" fmla="*/ 10598 h 11106"/>
                  <a:gd name="connsiteX2" fmla="*/ 3549 w 10362"/>
                  <a:gd name="connsiteY2" fmla="*/ 9849 h 11106"/>
                  <a:gd name="connsiteX3" fmla="*/ 0 w 10362"/>
                  <a:gd name="connsiteY3" fmla="*/ 7794 h 11106"/>
                  <a:gd name="connsiteX4" fmla="*/ 3942 w 10362"/>
                  <a:gd name="connsiteY4" fmla="*/ 7646 h 11106"/>
                  <a:gd name="connsiteX5" fmla="*/ 1619 w 10362"/>
                  <a:gd name="connsiteY5" fmla="*/ 4147 h 11106"/>
                  <a:gd name="connsiteX6" fmla="*/ 5574 w 10362"/>
                  <a:gd name="connsiteY6" fmla="*/ 5332 h 11106"/>
                  <a:gd name="connsiteX7" fmla="*/ 4584 w 10362"/>
                  <a:gd name="connsiteY7" fmla="*/ 0 h 11106"/>
                  <a:gd name="connsiteX8" fmla="*/ 8064 w 10362"/>
                  <a:gd name="connsiteY8" fmla="*/ 3782 h 11106"/>
                  <a:gd name="connsiteX9" fmla="*/ 9928 w 10362"/>
                  <a:gd name="connsiteY9" fmla="*/ 1355 h 11106"/>
                  <a:gd name="connsiteX10" fmla="*/ 10362 w 10362"/>
                  <a:gd name="connsiteY10" fmla="*/ 3446 h 11106"/>
                  <a:gd name="connsiteX0" fmla="*/ 3566 w 10362"/>
                  <a:gd name="connsiteY0" fmla="*/ 11727 h 11727"/>
                  <a:gd name="connsiteX1" fmla="*/ 1869 w 10362"/>
                  <a:gd name="connsiteY1" fmla="*/ 10598 h 11727"/>
                  <a:gd name="connsiteX2" fmla="*/ 3549 w 10362"/>
                  <a:gd name="connsiteY2" fmla="*/ 9849 h 11727"/>
                  <a:gd name="connsiteX3" fmla="*/ 0 w 10362"/>
                  <a:gd name="connsiteY3" fmla="*/ 7794 h 11727"/>
                  <a:gd name="connsiteX4" fmla="*/ 3942 w 10362"/>
                  <a:gd name="connsiteY4" fmla="*/ 7646 h 11727"/>
                  <a:gd name="connsiteX5" fmla="*/ 1619 w 10362"/>
                  <a:gd name="connsiteY5" fmla="*/ 4147 h 11727"/>
                  <a:gd name="connsiteX6" fmla="*/ 5574 w 10362"/>
                  <a:gd name="connsiteY6" fmla="*/ 5332 h 11727"/>
                  <a:gd name="connsiteX7" fmla="*/ 4584 w 10362"/>
                  <a:gd name="connsiteY7" fmla="*/ 0 h 11727"/>
                  <a:gd name="connsiteX8" fmla="*/ 8064 w 10362"/>
                  <a:gd name="connsiteY8" fmla="*/ 3782 h 11727"/>
                  <a:gd name="connsiteX9" fmla="*/ 9928 w 10362"/>
                  <a:gd name="connsiteY9" fmla="*/ 1355 h 11727"/>
                  <a:gd name="connsiteX10" fmla="*/ 10362 w 10362"/>
                  <a:gd name="connsiteY10" fmla="*/ 3446 h 11727"/>
                  <a:gd name="connsiteX0" fmla="*/ 3522 w 10362"/>
                  <a:gd name="connsiteY0" fmla="*/ 11244 h 11244"/>
                  <a:gd name="connsiteX1" fmla="*/ 1869 w 10362"/>
                  <a:gd name="connsiteY1" fmla="*/ 10598 h 11244"/>
                  <a:gd name="connsiteX2" fmla="*/ 3549 w 10362"/>
                  <a:gd name="connsiteY2" fmla="*/ 9849 h 11244"/>
                  <a:gd name="connsiteX3" fmla="*/ 0 w 10362"/>
                  <a:gd name="connsiteY3" fmla="*/ 7794 h 11244"/>
                  <a:gd name="connsiteX4" fmla="*/ 3942 w 10362"/>
                  <a:gd name="connsiteY4" fmla="*/ 7646 h 11244"/>
                  <a:gd name="connsiteX5" fmla="*/ 1619 w 10362"/>
                  <a:gd name="connsiteY5" fmla="*/ 4147 h 11244"/>
                  <a:gd name="connsiteX6" fmla="*/ 5574 w 10362"/>
                  <a:gd name="connsiteY6" fmla="*/ 5332 h 11244"/>
                  <a:gd name="connsiteX7" fmla="*/ 4584 w 10362"/>
                  <a:gd name="connsiteY7" fmla="*/ 0 h 11244"/>
                  <a:gd name="connsiteX8" fmla="*/ 8064 w 10362"/>
                  <a:gd name="connsiteY8" fmla="*/ 3782 h 11244"/>
                  <a:gd name="connsiteX9" fmla="*/ 9928 w 10362"/>
                  <a:gd name="connsiteY9" fmla="*/ 1355 h 11244"/>
                  <a:gd name="connsiteX10" fmla="*/ 10362 w 10362"/>
                  <a:gd name="connsiteY10" fmla="*/ 3446 h 1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362" h="11244">
                    <a:moveTo>
                      <a:pt x="3522" y="11244"/>
                    </a:moveTo>
                    <a:lnTo>
                      <a:pt x="1869" y="10598"/>
                    </a:lnTo>
                    <a:lnTo>
                      <a:pt x="3549" y="9849"/>
                    </a:lnTo>
                    <a:lnTo>
                      <a:pt x="0" y="7794"/>
                    </a:lnTo>
                    <a:lnTo>
                      <a:pt x="3942" y="7646"/>
                    </a:lnTo>
                    <a:lnTo>
                      <a:pt x="1619" y="4147"/>
                    </a:lnTo>
                    <a:lnTo>
                      <a:pt x="5574" y="5332"/>
                    </a:lnTo>
                    <a:lnTo>
                      <a:pt x="4584" y="0"/>
                    </a:lnTo>
                    <a:lnTo>
                      <a:pt x="8064" y="3782"/>
                    </a:lnTo>
                    <a:lnTo>
                      <a:pt x="9928" y="1355"/>
                    </a:lnTo>
                    <a:cubicBezTo>
                      <a:pt x="10073" y="2052"/>
                      <a:pt x="10217" y="2749"/>
                      <a:pt x="10362" y="3446"/>
                    </a:cubicBez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113" name="Line 594">
                <a:extLst>
                  <a:ext uri="{FF2B5EF4-FFF2-40B4-BE49-F238E27FC236}">
                    <a16:creationId xmlns:a16="http://schemas.microsoft.com/office/drawing/2014/main" id="{636C44AE-5B8F-4630-8AB9-5B9261A01660}"/>
                  </a:ext>
                </a:extLst>
              </p:cNvPr>
              <p:cNvSpPr>
                <a:spLocks noChangeShapeType="1"/>
              </p:cNvSpPr>
              <p:nvPr/>
            </p:nvSpPr>
            <p:spPr bwMode="gray">
              <a:xfrm rot="18169347">
                <a:off x="11733052" y="4551454"/>
                <a:ext cx="0" cy="0"/>
              </a:xfrm>
              <a:prstGeom prst="lin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a:lnSpc>
                    <a:spcPct val="90000"/>
                  </a:lnSpc>
                </a:pPr>
                <a:endParaRPr lang="de-DE"/>
              </a:p>
            </p:txBody>
          </p:sp>
          <p:sp>
            <p:nvSpPr>
              <p:cNvPr id="114" name="Freeform: Shape 113">
                <a:extLst>
                  <a:ext uri="{FF2B5EF4-FFF2-40B4-BE49-F238E27FC236}">
                    <a16:creationId xmlns:a16="http://schemas.microsoft.com/office/drawing/2014/main" id="{35D7B473-A772-4279-83C9-5D6D84BC5E5D}"/>
                  </a:ext>
                </a:extLst>
              </p:cNvPr>
              <p:cNvSpPr/>
              <p:nvPr/>
            </p:nvSpPr>
            <p:spPr bwMode="gray">
              <a:xfrm flipV="1">
                <a:off x="11772451" y="4378959"/>
                <a:ext cx="230542" cy="279583"/>
              </a:xfrm>
              <a:custGeom>
                <a:avLst/>
                <a:gdLst>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70163 w 321381"/>
                  <a:gd name="connsiteY5" fmla="*/ 8444 h 395810"/>
                  <a:gd name="connsiteX6" fmla="*/ 166021 w 321381"/>
                  <a:gd name="connsiteY6" fmla="*/ 0 h 395810"/>
                  <a:gd name="connsiteX7" fmla="*/ 160691 w 321381"/>
                  <a:gd name="connsiteY7" fmla="*/ 3041 h 395810"/>
                  <a:gd name="connsiteX8" fmla="*/ 155360 w 321381"/>
                  <a:gd name="connsiteY8" fmla="*/ 0 h 395810"/>
                  <a:gd name="connsiteX9" fmla="*/ 151218 w 321381"/>
                  <a:gd name="connsiteY9" fmla="*/ 8444 h 395810"/>
                  <a:gd name="connsiteX10" fmla="*/ 119662 w 321381"/>
                  <a:gd name="connsiteY10" fmla="*/ 26443 h 395810"/>
                  <a:gd name="connsiteX11" fmla="*/ 0 w 321381"/>
                  <a:gd name="connsiteY11" fmla="*/ 318980 h 395810"/>
                  <a:gd name="connsiteX12" fmla="*/ 160305 w 321381"/>
                  <a:gd name="connsiteY12"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70163 w 321381"/>
                  <a:gd name="connsiteY5" fmla="*/ 8444 h 395810"/>
                  <a:gd name="connsiteX6" fmla="*/ 166021 w 321381"/>
                  <a:gd name="connsiteY6" fmla="*/ 0 h 395810"/>
                  <a:gd name="connsiteX7" fmla="*/ 160691 w 321381"/>
                  <a:gd name="connsiteY7" fmla="*/ 3041 h 395810"/>
                  <a:gd name="connsiteX8" fmla="*/ 155360 w 321381"/>
                  <a:gd name="connsiteY8" fmla="*/ 0 h 395810"/>
                  <a:gd name="connsiteX9" fmla="*/ 119662 w 321381"/>
                  <a:gd name="connsiteY9" fmla="*/ 26443 h 395810"/>
                  <a:gd name="connsiteX10" fmla="*/ 0 w 321381"/>
                  <a:gd name="connsiteY10" fmla="*/ 318980 h 395810"/>
                  <a:gd name="connsiteX11" fmla="*/ 160305 w 321381"/>
                  <a:gd name="connsiteY11"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70163 w 321381"/>
                  <a:gd name="connsiteY5" fmla="*/ 8444 h 395810"/>
                  <a:gd name="connsiteX6" fmla="*/ 160691 w 321381"/>
                  <a:gd name="connsiteY6" fmla="*/ 3041 h 395810"/>
                  <a:gd name="connsiteX7" fmla="*/ 155360 w 321381"/>
                  <a:gd name="connsiteY7" fmla="*/ 0 h 395810"/>
                  <a:gd name="connsiteX8" fmla="*/ 119662 w 321381"/>
                  <a:gd name="connsiteY8" fmla="*/ 26443 h 395810"/>
                  <a:gd name="connsiteX9" fmla="*/ 0 w 321381"/>
                  <a:gd name="connsiteY9" fmla="*/ 318980 h 395810"/>
                  <a:gd name="connsiteX10" fmla="*/ 160305 w 321381"/>
                  <a:gd name="connsiteY10"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201719 w 321381"/>
                  <a:gd name="connsiteY4" fmla="*/ 26443 h 395810"/>
                  <a:gd name="connsiteX5" fmla="*/ 160691 w 321381"/>
                  <a:gd name="connsiteY5" fmla="*/ 3041 h 395810"/>
                  <a:gd name="connsiteX6" fmla="*/ 155360 w 321381"/>
                  <a:gd name="connsiteY6" fmla="*/ 0 h 395810"/>
                  <a:gd name="connsiteX7" fmla="*/ 119662 w 321381"/>
                  <a:gd name="connsiteY7" fmla="*/ 26443 h 395810"/>
                  <a:gd name="connsiteX8" fmla="*/ 0 w 321381"/>
                  <a:gd name="connsiteY8" fmla="*/ 318980 h 395810"/>
                  <a:gd name="connsiteX9" fmla="*/ 160305 w 321381"/>
                  <a:gd name="connsiteY9" fmla="*/ 395810 h 395810"/>
                  <a:gd name="connsiteX0" fmla="*/ 160305 w 321381"/>
                  <a:gd name="connsiteY0" fmla="*/ 395810 h 395810"/>
                  <a:gd name="connsiteX1" fmla="*/ 160691 w 321381"/>
                  <a:gd name="connsiteY1" fmla="*/ 392787 h 395810"/>
                  <a:gd name="connsiteX2" fmla="*/ 161076 w 321381"/>
                  <a:gd name="connsiteY2" fmla="*/ 395810 h 395810"/>
                  <a:gd name="connsiteX3" fmla="*/ 321381 w 321381"/>
                  <a:gd name="connsiteY3" fmla="*/ 318980 h 395810"/>
                  <a:gd name="connsiteX4" fmla="*/ 160691 w 321381"/>
                  <a:gd name="connsiteY4" fmla="*/ 3041 h 395810"/>
                  <a:gd name="connsiteX5" fmla="*/ 155360 w 321381"/>
                  <a:gd name="connsiteY5" fmla="*/ 0 h 395810"/>
                  <a:gd name="connsiteX6" fmla="*/ 119662 w 321381"/>
                  <a:gd name="connsiteY6" fmla="*/ 26443 h 395810"/>
                  <a:gd name="connsiteX7" fmla="*/ 0 w 321381"/>
                  <a:gd name="connsiteY7" fmla="*/ 318980 h 395810"/>
                  <a:gd name="connsiteX8" fmla="*/ 160305 w 321381"/>
                  <a:gd name="connsiteY8" fmla="*/ 395810 h 395810"/>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119662 w 321381"/>
                  <a:gd name="connsiteY5" fmla="*/ 23402 h 392769"/>
                  <a:gd name="connsiteX6" fmla="*/ 0 w 321381"/>
                  <a:gd name="connsiteY6" fmla="*/ 315939 h 392769"/>
                  <a:gd name="connsiteX7" fmla="*/ 160305 w 321381"/>
                  <a:gd name="connsiteY7"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160305 w 321381"/>
                  <a:gd name="connsiteY0" fmla="*/ 39276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6" fmla="*/ 160305 w 321381"/>
                  <a:gd name="connsiteY6" fmla="*/ 392769 h 392769"/>
                  <a:gd name="connsiteX0" fmla="*/ 0 w 321381"/>
                  <a:gd name="connsiteY0" fmla="*/ 315939 h 392769"/>
                  <a:gd name="connsiteX1" fmla="*/ 160691 w 321381"/>
                  <a:gd name="connsiteY1" fmla="*/ 389746 h 392769"/>
                  <a:gd name="connsiteX2" fmla="*/ 161076 w 321381"/>
                  <a:gd name="connsiteY2" fmla="*/ 392769 h 392769"/>
                  <a:gd name="connsiteX3" fmla="*/ 321381 w 321381"/>
                  <a:gd name="connsiteY3" fmla="*/ 315939 h 392769"/>
                  <a:gd name="connsiteX4" fmla="*/ 160691 w 321381"/>
                  <a:gd name="connsiteY4" fmla="*/ 0 h 392769"/>
                  <a:gd name="connsiteX5" fmla="*/ 0 w 321381"/>
                  <a:gd name="connsiteY5" fmla="*/ 315939 h 392769"/>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 name="connsiteX0" fmla="*/ 0 w 321381"/>
                  <a:gd name="connsiteY0" fmla="*/ 315939 h 389746"/>
                  <a:gd name="connsiteX1" fmla="*/ 160691 w 321381"/>
                  <a:gd name="connsiteY1" fmla="*/ 389746 h 389746"/>
                  <a:gd name="connsiteX2" fmla="*/ 321381 w 321381"/>
                  <a:gd name="connsiteY2" fmla="*/ 315939 h 389746"/>
                  <a:gd name="connsiteX3" fmla="*/ 160691 w 321381"/>
                  <a:gd name="connsiteY3" fmla="*/ 0 h 389746"/>
                  <a:gd name="connsiteX4" fmla="*/ 0 w 321381"/>
                  <a:gd name="connsiteY4" fmla="*/ 315939 h 38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381" h="389746">
                    <a:moveTo>
                      <a:pt x="0" y="315939"/>
                    </a:moveTo>
                    <a:cubicBezTo>
                      <a:pt x="80010" y="319937"/>
                      <a:pt x="133845" y="376941"/>
                      <a:pt x="160691" y="389746"/>
                    </a:cubicBezTo>
                    <a:cubicBezTo>
                      <a:pt x="187584" y="372601"/>
                      <a:pt x="210891" y="327557"/>
                      <a:pt x="321381" y="315939"/>
                    </a:cubicBezTo>
                    <a:cubicBezTo>
                      <a:pt x="315602" y="178088"/>
                      <a:pt x="275991" y="41733"/>
                      <a:pt x="160691" y="0"/>
                    </a:cubicBezTo>
                    <a:cubicBezTo>
                      <a:pt x="65217" y="31018"/>
                      <a:pt x="5939" y="155381"/>
                      <a:pt x="0" y="315939"/>
                    </a:cubicBezTo>
                    <a:close/>
                  </a:path>
                </a:pathLst>
              </a:custGeom>
              <a:solidFill>
                <a:schemeClr val="bg1"/>
              </a:solidFill>
              <a:ln w="1905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de-DE" dirty="0" err="1"/>
              </a:p>
            </p:txBody>
          </p:sp>
        </p:grpSp>
        <p:sp>
          <p:nvSpPr>
            <p:cNvPr id="110" name="TextBox 109">
              <a:extLst>
                <a:ext uri="{FF2B5EF4-FFF2-40B4-BE49-F238E27FC236}">
                  <a16:creationId xmlns:a16="http://schemas.microsoft.com/office/drawing/2014/main" id="{6745FD36-7EBB-487E-BF83-547DB3F35FC1}"/>
                </a:ext>
              </a:extLst>
            </p:cNvPr>
            <p:cNvSpPr txBox="1"/>
            <p:nvPr/>
          </p:nvSpPr>
          <p:spPr bwMode="gray">
            <a:xfrm>
              <a:off x="11233438" y="4156965"/>
              <a:ext cx="743958" cy="315146"/>
            </a:xfrm>
            <a:prstGeom prst="rect">
              <a:avLst/>
            </a:prstGeom>
            <a:noFill/>
            <a:ln>
              <a:noFill/>
            </a:ln>
          </p:spPr>
          <p:txBody>
            <a:bodyPr wrap="square" lIns="0" tIns="36000" rIns="0" bIns="0" rtlCol="0" anchor="t" anchorCtr="0">
              <a:noAutofit/>
            </a:bodyPr>
            <a:lstStyle/>
            <a:p>
              <a:pPr algn="ctr">
                <a:lnSpc>
                  <a:spcPct val="90000"/>
                </a:lnSpc>
              </a:pPr>
              <a:r>
                <a:rPr lang="en-US" sz="1200" b="1" dirty="0">
                  <a:solidFill>
                    <a:schemeClr val="bg2"/>
                  </a:solidFill>
                </a:rPr>
                <a:t>Explosion proof </a:t>
              </a:r>
            </a:p>
          </p:txBody>
        </p:sp>
      </p:grpSp>
      <p:cxnSp>
        <p:nvCxnSpPr>
          <p:cNvPr id="133" name="Straight Connector 132">
            <a:extLst>
              <a:ext uri="{FF2B5EF4-FFF2-40B4-BE49-F238E27FC236}">
                <a16:creationId xmlns:a16="http://schemas.microsoft.com/office/drawing/2014/main" id="{B9B1EF33-D682-4C31-83FD-BBE1605849FF}"/>
              </a:ext>
            </a:extLst>
          </p:cNvPr>
          <p:cNvCxnSpPr>
            <a:cxnSpLocks/>
          </p:cNvCxnSpPr>
          <p:nvPr/>
        </p:nvCxnSpPr>
        <p:spPr bwMode="gray">
          <a:xfrm>
            <a:off x="9648010" y="4762209"/>
            <a:ext cx="2205254"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57" name="AutoShape 6">
            <a:hlinkClick r:id="rId8" action="ppaction://hlinksldjump" highlightClick="1"/>
            <a:extLst>
              <a:ext uri="{FF2B5EF4-FFF2-40B4-BE49-F238E27FC236}">
                <a16:creationId xmlns:a16="http://schemas.microsoft.com/office/drawing/2014/main" id="{28798278-8793-483A-88F9-12BC9EDBFB1B}"/>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93810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D12019B4-36D2-4214-8AEC-31397A726417}"/>
              </a:ext>
            </a:extLst>
          </p:cNvPr>
          <p:cNvSpPr>
            <a:spLocks noGrp="1"/>
          </p:cNvSpPr>
          <p:nvPr>
            <p:ph type="title"/>
          </p:nvPr>
        </p:nvSpPr>
        <p:spPr bwMode="gray"/>
        <p:txBody>
          <a:bodyPr/>
          <a:lstStyle/>
          <a:p>
            <a:r>
              <a:rPr lang="en-US" altLang="de-DE" dirty="0"/>
              <a:t>Class I, Division 2</a:t>
            </a:r>
            <a:endParaRPr lang="de-DE" dirty="0"/>
          </a:p>
        </p:txBody>
      </p:sp>
      <p:sp>
        <p:nvSpPr>
          <p:cNvPr id="7" name="Untertitel 6">
            <a:extLst>
              <a:ext uri="{FF2B5EF4-FFF2-40B4-BE49-F238E27FC236}">
                <a16:creationId xmlns:a16="http://schemas.microsoft.com/office/drawing/2014/main" id="{7F296E45-8CE5-4688-9890-0BA598D90BA5}"/>
              </a:ext>
            </a:extLst>
          </p:cNvPr>
          <p:cNvSpPr>
            <a:spLocks noGrp="1"/>
          </p:cNvSpPr>
          <p:nvPr>
            <p:ph type="subTitle" idx="13"/>
          </p:nvPr>
        </p:nvSpPr>
        <p:spPr bwMode="gray"/>
        <p:txBody>
          <a:bodyPr/>
          <a:lstStyle/>
          <a:p>
            <a:r>
              <a:rPr lang="de-DE" dirty="0"/>
              <a:t>CSA </a:t>
            </a:r>
            <a:r>
              <a:rPr lang="de-DE" dirty="0" err="1"/>
              <a:t>Approval</a:t>
            </a:r>
            <a:endParaRPr lang="de-DE" dirty="0"/>
          </a:p>
        </p:txBody>
      </p:sp>
      <p:sp>
        <p:nvSpPr>
          <p:cNvPr id="22" name="Inhaltsplatzhalter 8">
            <a:extLst>
              <a:ext uri="{FF2B5EF4-FFF2-40B4-BE49-F238E27FC236}">
                <a16:creationId xmlns:a16="http://schemas.microsoft.com/office/drawing/2014/main" id="{461DDFCA-20C4-41C4-A39C-0E379901498E}"/>
              </a:ext>
            </a:extLst>
          </p:cNvPr>
          <p:cNvSpPr txBox="1">
            <a:spLocks/>
          </p:cNvSpPr>
          <p:nvPr/>
        </p:nvSpPr>
        <p:spPr bwMode="gray">
          <a:xfrm>
            <a:off x="333264" y="2317640"/>
            <a:ext cx="5605200" cy="3594475"/>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lnSpc>
                <a:spcPct val="90000"/>
              </a:lnSpc>
              <a:spcBef>
                <a:spcPts val="400"/>
              </a:spcBef>
              <a:defRPr/>
            </a:pPr>
            <a:r>
              <a:rPr lang="en-US" altLang="de-DE" dirty="0"/>
              <a:t>Standard system approved for Class I, Div. 2, Groups A B C D, Temp. Class T4</a:t>
            </a:r>
          </a:p>
          <a:p>
            <a:pPr lvl="1">
              <a:lnSpc>
                <a:spcPct val="90000"/>
              </a:lnSpc>
              <a:spcBef>
                <a:spcPts val="400"/>
              </a:spcBef>
              <a:defRPr/>
            </a:pPr>
            <a:r>
              <a:rPr lang="en-US" altLang="de-DE" dirty="0"/>
              <a:t>Measuring of flammable gases and non-flammable gases</a:t>
            </a:r>
          </a:p>
          <a:p>
            <a:pPr lvl="1">
              <a:lnSpc>
                <a:spcPct val="90000"/>
              </a:lnSpc>
              <a:spcBef>
                <a:spcPts val="400"/>
              </a:spcBef>
              <a:defRPr/>
            </a:pPr>
            <a:r>
              <a:rPr lang="en-US" altLang="de-DE" dirty="0"/>
              <a:t>Analyzers:</a:t>
            </a:r>
          </a:p>
          <a:p>
            <a:pPr marL="360036" lvl="1">
              <a:lnSpc>
                <a:spcPct val="90000"/>
              </a:lnSpc>
              <a:spcBef>
                <a:spcPts val="400"/>
              </a:spcBef>
              <a:buFont typeface="Arial" panose="020B0604020202020204" pitchFamily="34" charset="0"/>
              <a:buChar char="•"/>
              <a:defRPr/>
            </a:pPr>
            <a:r>
              <a:rPr lang="en-US" altLang="de-DE" dirty="0"/>
              <a:t>Uras26</a:t>
            </a:r>
          </a:p>
          <a:p>
            <a:pPr marL="360036" lvl="1">
              <a:lnSpc>
                <a:spcPct val="90000"/>
              </a:lnSpc>
              <a:spcBef>
                <a:spcPts val="400"/>
              </a:spcBef>
              <a:buFont typeface="Arial" panose="020B0604020202020204" pitchFamily="34" charset="0"/>
              <a:buChar char="•"/>
              <a:defRPr/>
            </a:pPr>
            <a:r>
              <a:rPr lang="en-US" altLang="de-DE" dirty="0"/>
              <a:t>Magnos27/28 </a:t>
            </a:r>
          </a:p>
          <a:p>
            <a:pPr marL="360036" lvl="1">
              <a:lnSpc>
                <a:spcPct val="90000"/>
              </a:lnSpc>
              <a:spcBef>
                <a:spcPts val="400"/>
              </a:spcBef>
              <a:buFont typeface="Arial" panose="020B0604020202020204" pitchFamily="34" charset="0"/>
              <a:buChar char="•"/>
              <a:defRPr/>
            </a:pPr>
            <a:r>
              <a:rPr lang="en-US" altLang="de-DE" dirty="0"/>
              <a:t>Caldos25/27 </a:t>
            </a:r>
          </a:p>
          <a:p>
            <a:pPr marL="360036" lvl="1">
              <a:lnSpc>
                <a:spcPct val="90000"/>
              </a:lnSpc>
              <a:spcBef>
                <a:spcPts val="400"/>
              </a:spcBef>
              <a:buFont typeface="Arial" panose="020B0604020202020204" pitchFamily="34" charset="0"/>
              <a:buChar char="•"/>
              <a:defRPr/>
            </a:pPr>
            <a:r>
              <a:rPr lang="en-US" altLang="de-DE" dirty="0"/>
              <a:t>Limas11/21 UV</a:t>
            </a:r>
          </a:p>
          <a:p>
            <a:pPr marL="360036" lvl="1">
              <a:lnSpc>
                <a:spcPct val="90000"/>
              </a:lnSpc>
              <a:spcBef>
                <a:spcPts val="400"/>
              </a:spcBef>
              <a:buFont typeface="Arial" panose="020B0604020202020204" pitchFamily="34" charset="0"/>
              <a:buChar char="•"/>
              <a:defRPr/>
            </a:pPr>
            <a:r>
              <a:rPr lang="en-US" altLang="de-DE" dirty="0"/>
              <a:t>LS25</a:t>
            </a:r>
          </a:p>
          <a:p>
            <a:pPr lvl="1">
              <a:lnSpc>
                <a:spcPct val="90000"/>
              </a:lnSpc>
              <a:spcBef>
                <a:spcPts val="400"/>
              </a:spcBef>
              <a:defRPr/>
            </a:pPr>
            <a:r>
              <a:rPr lang="en-US" altLang="de-DE" dirty="0"/>
              <a:t>Sampling conditioning:</a:t>
            </a:r>
          </a:p>
          <a:p>
            <a:pPr marL="360036" lvl="1">
              <a:lnSpc>
                <a:spcPct val="90000"/>
              </a:lnSpc>
              <a:spcBef>
                <a:spcPts val="400"/>
              </a:spcBef>
              <a:buFont typeface="Arial" panose="020B0604020202020204" pitchFamily="34" charset="0"/>
              <a:buChar char="•"/>
              <a:defRPr/>
            </a:pPr>
            <a:r>
              <a:rPr lang="en-US" altLang="de-DE" dirty="0"/>
              <a:t>SCC-C </a:t>
            </a:r>
          </a:p>
          <a:p>
            <a:pPr marL="360036" lvl="1">
              <a:lnSpc>
                <a:spcPct val="90000"/>
              </a:lnSpc>
              <a:spcBef>
                <a:spcPts val="400"/>
              </a:spcBef>
              <a:buFont typeface="Arial" panose="020B0604020202020204" pitchFamily="34" charset="0"/>
              <a:buChar char="•"/>
              <a:defRPr/>
            </a:pPr>
            <a:r>
              <a:rPr lang="en-US" altLang="de-DE" dirty="0"/>
              <a:t>SCC-F </a:t>
            </a:r>
          </a:p>
        </p:txBody>
      </p:sp>
      <p:sp>
        <p:nvSpPr>
          <p:cNvPr id="26" name="Rectangle 25">
            <a:extLst>
              <a:ext uri="{FF2B5EF4-FFF2-40B4-BE49-F238E27FC236}">
                <a16:creationId xmlns:a16="http://schemas.microsoft.com/office/drawing/2014/main" id="{20A4705B-43E7-467F-A9AC-5A7F68E0DC00}"/>
              </a:ext>
            </a:extLst>
          </p:cNvPr>
          <p:cNvSpPr/>
          <p:nvPr/>
        </p:nvSpPr>
        <p:spPr bwMode="gray">
          <a:xfrm>
            <a:off x="336550" y="1931988"/>
            <a:ext cx="5601017" cy="31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de-DE" sz="1600" b="1" dirty="0">
                <a:solidFill>
                  <a:schemeClr val="bg1">
                    <a:lumMod val="50000"/>
                  </a:schemeClr>
                </a:solidFill>
              </a:rPr>
              <a:t>AO2000</a:t>
            </a:r>
          </a:p>
        </p:txBody>
      </p:sp>
      <p:cxnSp>
        <p:nvCxnSpPr>
          <p:cNvPr id="27" name="Straight Connector 26">
            <a:extLst>
              <a:ext uri="{FF2B5EF4-FFF2-40B4-BE49-F238E27FC236}">
                <a16:creationId xmlns:a16="http://schemas.microsoft.com/office/drawing/2014/main" id="{400C295D-5625-4DB1-B139-C63EB8242FB8}"/>
              </a:ext>
            </a:extLst>
          </p:cNvPr>
          <p:cNvCxnSpPr>
            <a:cxnSpLocks/>
          </p:cNvCxnSpPr>
          <p:nvPr/>
        </p:nvCxnSpPr>
        <p:spPr bwMode="gray">
          <a:xfrm flipH="1">
            <a:off x="336551" y="2247134"/>
            <a:ext cx="5601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e Placeholder 27">
            <a:extLst>
              <a:ext uri="{FF2B5EF4-FFF2-40B4-BE49-F238E27FC236}">
                <a16:creationId xmlns:a16="http://schemas.microsoft.com/office/drawing/2014/main" id="{5E51A521-1BF3-4C85-A3F8-CE95C8A1686C}"/>
              </a:ext>
            </a:extLst>
          </p:cNvPr>
          <p:cNvSpPr>
            <a:spLocks noGrp="1"/>
          </p:cNvSpPr>
          <p:nvPr>
            <p:ph type="dt" sz="half" idx="14"/>
          </p:nvPr>
        </p:nvSpPr>
        <p:spPr bwMode="gray"/>
        <p:txBody>
          <a:bodyPr/>
          <a:lstStyle/>
          <a:p>
            <a:fld id="{E93783AA-DE99-437F-B942-226740782E74}" type="datetime4">
              <a:rPr lang="en-US" smtClean="0"/>
              <a:t>September 8, 2019</a:t>
            </a:fld>
            <a:endParaRPr lang="en-US" dirty="0"/>
          </a:p>
        </p:txBody>
      </p:sp>
      <p:sp>
        <p:nvSpPr>
          <p:cNvPr id="29" name="Footer Placeholder 28">
            <a:extLst>
              <a:ext uri="{FF2B5EF4-FFF2-40B4-BE49-F238E27FC236}">
                <a16:creationId xmlns:a16="http://schemas.microsoft.com/office/drawing/2014/main" id="{B04DD3A4-A1FE-4C53-92F8-87DE22DDC308}"/>
              </a:ext>
            </a:extLst>
          </p:cNvPr>
          <p:cNvSpPr>
            <a:spLocks noGrp="1"/>
          </p:cNvSpPr>
          <p:nvPr>
            <p:ph type="ftr" sz="quarter" idx="15"/>
          </p:nvPr>
        </p:nvSpPr>
        <p:spPr bwMode="gray"/>
        <p:txBody>
          <a:bodyPr/>
          <a:lstStyle/>
          <a:p>
            <a:pPr lvl="8"/>
            <a:endParaRPr lang="en-US" dirty="0"/>
          </a:p>
        </p:txBody>
      </p:sp>
      <p:sp>
        <p:nvSpPr>
          <p:cNvPr id="30" name="Slide Number Placeholder 29">
            <a:extLst>
              <a:ext uri="{FF2B5EF4-FFF2-40B4-BE49-F238E27FC236}">
                <a16:creationId xmlns:a16="http://schemas.microsoft.com/office/drawing/2014/main" id="{58B9963D-1623-4FEE-95E7-23BCC9BC8D22}"/>
              </a:ext>
            </a:extLst>
          </p:cNvPr>
          <p:cNvSpPr>
            <a:spLocks noGrp="1"/>
          </p:cNvSpPr>
          <p:nvPr>
            <p:ph type="sldNum" sz="quarter" idx="16"/>
          </p:nvPr>
        </p:nvSpPr>
        <p:spPr bwMode="gray"/>
        <p:txBody>
          <a:bodyPr/>
          <a:lstStyle/>
          <a:p>
            <a:r>
              <a:rPr lang="en-US"/>
              <a:t>Slide </a:t>
            </a:r>
            <a:fld id="{619F89D8-7AE3-494A-97F3-03D680869632}" type="slidenum">
              <a:rPr lang="en-US" smtClean="0"/>
              <a:pPr/>
              <a:t>117</a:t>
            </a:fld>
            <a:endParaRPr lang="en-US" dirty="0"/>
          </a:p>
        </p:txBody>
      </p:sp>
      <p:pic>
        <p:nvPicPr>
          <p:cNvPr id="53" name="Grafik 31">
            <a:extLst>
              <a:ext uri="{FF2B5EF4-FFF2-40B4-BE49-F238E27FC236}">
                <a16:creationId xmlns:a16="http://schemas.microsoft.com/office/drawing/2014/main" id="{15B400FE-AE00-4466-9A64-037682AEFAB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gray">
          <a:xfrm>
            <a:off x="6111184" y="1817978"/>
            <a:ext cx="5258330" cy="3505553"/>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DDE338E3-CF84-4408-A4C4-6CA621452BCE}"/>
              </a:ext>
            </a:extLst>
          </p:cNvPr>
          <p:cNvSpPr txBox="1"/>
          <p:nvPr/>
        </p:nvSpPr>
        <p:spPr bwMode="gray">
          <a:xfrm>
            <a:off x="8622081" y="642837"/>
            <a:ext cx="2401785" cy="375827"/>
          </a:xfrm>
          <a:prstGeom prst="rect">
            <a:avLst/>
          </a:prstGeom>
          <a:noFill/>
        </p:spPr>
        <p:txBody>
          <a:bodyPr wrap="square" lIns="72000" tIns="72000" rIns="72000" bIns="72000" rtlCol="0">
            <a:noAutofit/>
          </a:bodyPr>
          <a:lstStyle/>
          <a:p>
            <a:pPr algn="r"/>
            <a:r>
              <a:rPr lang="en-US" sz="1400" b="1" dirty="0">
                <a:solidFill>
                  <a:schemeClr val="tx2"/>
                </a:solidFill>
              </a:rPr>
              <a:t>Back to previous section</a:t>
            </a:r>
          </a:p>
        </p:txBody>
      </p:sp>
      <p:sp>
        <p:nvSpPr>
          <p:cNvPr id="13" name="AutoShape 6">
            <a:hlinkClick r:id="rId5" action="ppaction://hlinksldjump" highlightClick="1"/>
            <a:extLst>
              <a:ext uri="{FF2B5EF4-FFF2-40B4-BE49-F238E27FC236}">
                <a16:creationId xmlns:a16="http://schemas.microsoft.com/office/drawing/2014/main" id="{2C5B4FA3-B73C-42BC-B5C8-F6FC79DAD1E3}"/>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3876069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a:extLst>
              <a:ext uri="{FF2B5EF4-FFF2-40B4-BE49-F238E27FC236}">
                <a16:creationId xmlns:a16="http://schemas.microsoft.com/office/drawing/2014/main" id="{8F8E7E41-1C02-4C9B-B70C-9DF050060D7F}"/>
              </a:ext>
            </a:extLst>
          </p:cNvPr>
          <p:cNvPicPr>
            <a:picLocks noChangeAspect="1"/>
          </p:cNvPicPr>
          <p:nvPr/>
        </p:nvPicPr>
        <p:blipFill>
          <a:blip r:embed="rId4"/>
          <a:stretch>
            <a:fillRect/>
          </a:stretch>
        </p:blipFill>
        <p:spPr bwMode="gray">
          <a:xfrm rot="358008">
            <a:off x="8746629" y="2342557"/>
            <a:ext cx="2194020" cy="3037171"/>
          </a:xfrm>
          <a:prstGeom prst="rect">
            <a:avLst/>
          </a:prstGeom>
          <a:ln w="3175">
            <a:solidFill>
              <a:schemeClr val="accent3"/>
            </a:solidFill>
          </a:ln>
        </p:spPr>
      </p:pic>
      <p:sp>
        <p:nvSpPr>
          <p:cNvPr id="24" name="Inhaltsplatzhalter 8">
            <a:extLst>
              <a:ext uri="{FF2B5EF4-FFF2-40B4-BE49-F238E27FC236}">
                <a16:creationId xmlns:a16="http://schemas.microsoft.com/office/drawing/2014/main" id="{6F402164-0424-4F6B-B7B8-461151090D90}"/>
              </a:ext>
            </a:extLst>
          </p:cNvPr>
          <p:cNvSpPr txBox="1">
            <a:spLocks/>
          </p:cNvSpPr>
          <p:nvPr/>
        </p:nvSpPr>
        <p:spPr bwMode="gray">
          <a:xfrm>
            <a:off x="333264" y="2317640"/>
            <a:ext cx="5605200" cy="3594475"/>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lnSpc>
                <a:spcPct val="90000"/>
              </a:lnSpc>
              <a:spcBef>
                <a:spcPts val="400"/>
              </a:spcBef>
              <a:defRPr/>
            </a:pPr>
            <a:r>
              <a:rPr lang="de-DE" dirty="0"/>
              <a:t>SIL </a:t>
            </a:r>
            <a:r>
              <a:rPr lang="de-DE" dirty="0" err="1"/>
              <a:t>Manufacturer</a:t>
            </a:r>
            <a:r>
              <a:rPr lang="de-DE" dirty="0"/>
              <a:t> Declaration</a:t>
            </a:r>
          </a:p>
          <a:p>
            <a:pPr lvl="2">
              <a:lnSpc>
                <a:spcPct val="90000"/>
              </a:lnSpc>
              <a:spcBef>
                <a:spcPts val="400"/>
              </a:spcBef>
              <a:defRPr/>
            </a:pPr>
            <a:r>
              <a:rPr lang="de-DE" dirty="0" err="1"/>
              <a:t>Specific</a:t>
            </a:r>
            <a:r>
              <a:rPr lang="de-DE" dirty="0"/>
              <a:t> </a:t>
            </a:r>
            <a:r>
              <a:rPr lang="de-DE" dirty="0" err="1"/>
              <a:t>to</a:t>
            </a:r>
            <a:r>
              <a:rPr lang="de-DE" dirty="0"/>
              <a:t> Magnos28 </a:t>
            </a:r>
            <a:r>
              <a:rPr lang="de-DE" dirty="0" err="1"/>
              <a:t>paramagnetic</a:t>
            </a:r>
            <a:r>
              <a:rPr lang="de-DE" dirty="0"/>
              <a:t> O</a:t>
            </a:r>
            <a:r>
              <a:rPr lang="de-DE" baseline="-25000" dirty="0"/>
              <a:t>2</a:t>
            </a:r>
            <a:r>
              <a:rPr lang="de-DE" dirty="0"/>
              <a:t> </a:t>
            </a:r>
            <a:r>
              <a:rPr lang="de-DE" dirty="0" err="1"/>
              <a:t>analyzer</a:t>
            </a:r>
            <a:endParaRPr lang="de-DE" dirty="0"/>
          </a:p>
          <a:p>
            <a:pPr lvl="2">
              <a:lnSpc>
                <a:spcPct val="90000"/>
              </a:lnSpc>
              <a:spcBef>
                <a:spcPts val="400"/>
              </a:spcBef>
              <a:defRPr/>
            </a:pPr>
            <a:r>
              <a:rPr lang="de-DE" dirty="0"/>
              <a:t>Acc. </a:t>
            </a:r>
            <a:r>
              <a:rPr lang="de-DE" dirty="0" err="1"/>
              <a:t>to</a:t>
            </a:r>
            <a:r>
              <a:rPr lang="de-DE" dirty="0"/>
              <a:t> EN 61508 (2010) </a:t>
            </a:r>
            <a:r>
              <a:rPr lang="de-DE" dirty="0" err="1"/>
              <a:t>part</a:t>
            </a:r>
            <a:r>
              <a:rPr lang="de-DE" dirty="0"/>
              <a:t> 2</a:t>
            </a:r>
          </a:p>
          <a:p>
            <a:pPr lvl="2">
              <a:lnSpc>
                <a:spcPct val="90000"/>
              </a:lnSpc>
              <a:spcBef>
                <a:spcPts val="400"/>
              </a:spcBef>
              <a:defRPr/>
            </a:pPr>
            <a:r>
              <a:rPr lang="de-DE" dirty="0"/>
              <a:t>SIL </a:t>
            </a:r>
            <a:r>
              <a:rPr lang="de-DE" dirty="0" err="1"/>
              <a:t>assessment</a:t>
            </a:r>
            <a:r>
              <a:rPr lang="de-DE" dirty="0"/>
              <a:t> </a:t>
            </a:r>
            <a:r>
              <a:rPr lang="de-DE" dirty="0" err="1"/>
              <a:t>carried</a:t>
            </a:r>
            <a:r>
              <a:rPr lang="de-DE" dirty="0"/>
              <a:t> out </a:t>
            </a:r>
            <a:r>
              <a:rPr lang="de-DE" dirty="0" err="1"/>
              <a:t>by</a:t>
            </a:r>
            <a:r>
              <a:rPr lang="de-DE" dirty="0"/>
              <a:t> </a:t>
            </a:r>
            <a:r>
              <a:rPr lang="de-DE" dirty="0" err="1"/>
              <a:t>independent</a:t>
            </a:r>
            <a:r>
              <a:rPr lang="de-DE" dirty="0"/>
              <a:t> </a:t>
            </a:r>
            <a:r>
              <a:rPr lang="de-DE" dirty="0" err="1"/>
              <a:t>consultant</a:t>
            </a:r>
            <a:r>
              <a:rPr lang="de-DE" dirty="0"/>
              <a:t> (</a:t>
            </a:r>
            <a:r>
              <a:rPr lang="de-DE" dirty="0" err="1"/>
              <a:t>embeX</a:t>
            </a:r>
            <a:r>
              <a:rPr lang="de-DE" dirty="0"/>
              <a:t>) </a:t>
            </a:r>
          </a:p>
          <a:p>
            <a:pPr lvl="1">
              <a:lnSpc>
                <a:spcPct val="90000"/>
              </a:lnSpc>
              <a:spcBef>
                <a:spcPts val="400"/>
              </a:spcBef>
              <a:defRPr/>
            </a:pPr>
            <a:r>
              <a:rPr lang="de-DE" dirty="0" err="1"/>
              <a:t>Available</a:t>
            </a:r>
            <a:r>
              <a:rPr lang="de-DE" dirty="0"/>
              <a:t> </a:t>
            </a:r>
            <a:r>
              <a:rPr lang="de-DE" dirty="0" err="1"/>
              <a:t>housings</a:t>
            </a:r>
            <a:endParaRPr lang="de-DE" dirty="0"/>
          </a:p>
          <a:p>
            <a:pPr lvl="2">
              <a:lnSpc>
                <a:spcPct val="90000"/>
              </a:lnSpc>
              <a:spcBef>
                <a:spcPts val="400"/>
              </a:spcBef>
              <a:defRPr/>
            </a:pPr>
            <a:r>
              <a:rPr lang="de-DE" dirty="0"/>
              <a:t>EL2020 / EL3040 / EL3060</a:t>
            </a:r>
          </a:p>
          <a:p>
            <a:pPr lvl="1">
              <a:lnSpc>
                <a:spcPct val="90000"/>
              </a:lnSpc>
              <a:spcBef>
                <a:spcPts val="400"/>
              </a:spcBef>
              <a:defRPr/>
            </a:pPr>
            <a:r>
              <a:rPr lang="de-DE" dirty="0"/>
              <a:t>Possible SIL Levels </a:t>
            </a:r>
          </a:p>
          <a:p>
            <a:pPr lvl="2">
              <a:lnSpc>
                <a:spcPct val="90000"/>
              </a:lnSpc>
              <a:spcBef>
                <a:spcPts val="400"/>
              </a:spcBef>
              <a:defRPr/>
            </a:pPr>
            <a:r>
              <a:rPr lang="de-DE" dirty="0"/>
              <a:t>SIL 2 via </a:t>
            </a:r>
            <a:r>
              <a:rPr lang="de-DE" dirty="0" err="1"/>
              <a:t>single</a:t>
            </a:r>
            <a:r>
              <a:rPr lang="de-DE" dirty="0"/>
              <a:t> </a:t>
            </a:r>
            <a:r>
              <a:rPr lang="de-DE" dirty="0" err="1"/>
              <a:t>use</a:t>
            </a:r>
            <a:r>
              <a:rPr lang="de-DE" dirty="0"/>
              <a:t> (</a:t>
            </a:r>
            <a:r>
              <a:rPr lang="de-DE" dirty="0" err="1"/>
              <a:t>One</a:t>
            </a:r>
            <a:r>
              <a:rPr lang="de-DE" dirty="0"/>
              <a:t> </a:t>
            </a:r>
            <a:r>
              <a:rPr lang="de-DE" dirty="0" err="1"/>
              <a:t>analyzer</a:t>
            </a:r>
            <a:r>
              <a:rPr lang="de-DE" dirty="0"/>
              <a:t> </a:t>
            </a:r>
            <a:r>
              <a:rPr lang="de-DE" dirty="0" err="1"/>
              <a:t>system</a:t>
            </a:r>
            <a:r>
              <a:rPr lang="de-DE" dirty="0"/>
              <a:t>) </a:t>
            </a:r>
          </a:p>
          <a:p>
            <a:pPr lvl="2">
              <a:lnSpc>
                <a:spcPct val="90000"/>
              </a:lnSpc>
              <a:spcBef>
                <a:spcPts val="400"/>
              </a:spcBef>
              <a:defRPr/>
            </a:pPr>
            <a:r>
              <a:rPr lang="de-DE" dirty="0"/>
              <a:t>SIL 3 via dual </a:t>
            </a:r>
            <a:r>
              <a:rPr lang="de-DE" dirty="0" err="1"/>
              <a:t>use</a:t>
            </a:r>
            <a:r>
              <a:rPr lang="de-DE" dirty="0"/>
              <a:t> (Redundant </a:t>
            </a:r>
            <a:r>
              <a:rPr lang="de-DE" dirty="0" err="1"/>
              <a:t>analyzer</a:t>
            </a:r>
            <a:r>
              <a:rPr lang="de-DE" dirty="0"/>
              <a:t> </a:t>
            </a:r>
            <a:r>
              <a:rPr lang="de-DE" dirty="0" err="1"/>
              <a:t>system</a:t>
            </a:r>
            <a:r>
              <a:rPr lang="de-DE" dirty="0"/>
              <a:t>)</a:t>
            </a:r>
          </a:p>
        </p:txBody>
      </p:sp>
      <p:sp>
        <p:nvSpPr>
          <p:cNvPr id="6" name="Titel 5">
            <a:extLst>
              <a:ext uri="{FF2B5EF4-FFF2-40B4-BE49-F238E27FC236}">
                <a16:creationId xmlns:a16="http://schemas.microsoft.com/office/drawing/2014/main" id="{D12019B4-36D2-4214-8AEC-31397A726417}"/>
              </a:ext>
            </a:extLst>
          </p:cNvPr>
          <p:cNvSpPr>
            <a:spLocks noGrp="1"/>
          </p:cNvSpPr>
          <p:nvPr>
            <p:ph type="title"/>
          </p:nvPr>
        </p:nvSpPr>
        <p:spPr bwMode="gray"/>
        <p:txBody>
          <a:bodyPr/>
          <a:lstStyle/>
          <a:p>
            <a:r>
              <a:rPr lang="en-US" altLang="de-DE" dirty="0"/>
              <a:t>Safety Integrity Level (SIL)</a:t>
            </a:r>
            <a:endParaRPr lang="de-DE" dirty="0"/>
          </a:p>
        </p:txBody>
      </p:sp>
      <p:sp>
        <p:nvSpPr>
          <p:cNvPr id="7" name="Untertitel 6">
            <a:extLst>
              <a:ext uri="{FF2B5EF4-FFF2-40B4-BE49-F238E27FC236}">
                <a16:creationId xmlns:a16="http://schemas.microsoft.com/office/drawing/2014/main" id="{7F296E45-8CE5-4688-9890-0BA598D90BA5}"/>
              </a:ext>
            </a:extLst>
          </p:cNvPr>
          <p:cNvSpPr>
            <a:spLocks noGrp="1"/>
          </p:cNvSpPr>
          <p:nvPr>
            <p:ph type="subTitle" idx="13"/>
          </p:nvPr>
        </p:nvSpPr>
        <p:spPr bwMode="gray"/>
        <p:txBody>
          <a:bodyPr/>
          <a:lstStyle/>
          <a:p>
            <a:r>
              <a:rPr lang="en-US" dirty="0" err="1"/>
              <a:t>EasyLine</a:t>
            </a:r>
            <a:r>
              <a:rPr lang="en-US" dirty="0"/>
              <a:t> analyzer with SIL declaration</a:t>
            </a:r>
          </a:p>
        </p:txBody>
      </p:sp>
      <p:sp>
        <p:nvSpPr>
          <p:cNvPr id="26" name="Rectangle 25">
            <a:extLst>
              <a:ext uri="{FF2B5EF4-FFF2-40B4-BE49-F238E27FC236}">
                <a16:creationId xmlns:a16="http://schemas.microsoft.com/office/drawing/2014/main" id="{2C16B67B-7C8E-473E-86C7-71A0EACCD827}"/>
              </a:ext>
            </a:extLst>
          </p:cNvPr>
          <p:cNvSpPr/>
          <p:nvPr/>
        </p:nvSpPr>
        <p:spPr bwMode="gray">
          <a:xfrm>
            <a:off x="336550" y="1931988"/>
            <a:ext cx="5601017" cy="315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r>
              <a:rPr lang="de-DE" sz="1600" b="1" dirty="0">
                <a:solidFill>
                  <a:schemeClr val="tx1"/>
                </a:solidFill>
              </a:rPr>
              <a:t>EL3000 / EL3060 </a:t>
            </a:r>
            <a:r>
              <a:rPr lang="de-DE" sz="1600" b="1" dirty="0" err="1">
                <a:solidFill>
                  <a:schemeClr val="tx1"/>
                </a:solidFill>
              </a:rPr>
              <a:t>with</a:t>
            </a:r>
            <a:r>
              <a:rPr lang="de-DE" sz="1600" b="1" dirty="0">
                <a:solidFill>
                  <a:schemeClr val="tx1"/>
                </a:solidFill>
              </a:rPr>
              <a:t> Magnos28</a:t>
            </a:r>
          </a:p>
        </p:txBody>
      </p:sp>
      <p:cxnSp>
        <p:nvCxnSpPr>
          <p:cNvPr id="27" name="Straight Connector 26">
            <a:extLst>
              <a:ext uri="{FF2B5EF4-FFF2-40B4-BE49-F238E27FC236}">
                <a16:creationId xmlns:a16="http://schemas.microsoft.com/office/drawing/2014/main" id="{1B7EC647-98E0-4B19-A835-2753C11C82C0}"/>
              </a:ext>
            </a:extLst>
          </p:cNvPr>
          <p:cNvCxnSpPr>
            <a:cxnSpLocks/>
          </p:cNvCxnSpPr>
          <p:nvPr/>
        </p:nvCxnSpPr>
        <p:spPr bwMode="gray">
          <a:xfrm flipH="1">
            <a:off x="336551" y="2247134"/>
            <a:ext cx="56010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e Placeholder 27">
            <a:extLst>
              <a:ext uri="{FF2B5EF4-FFF2-40B4-BE49-F238E27FC236}">
                <a16:creationId xmlns:a16="http://schemas.microsoft.com/office/drawing/2014/main" id="{0EF5536F-9337-48F0-B35D-0C27E614AB43}"/>
              </a:ext>
            </a:extLst>
          </p:cNvPr>
          <p:cNvSpPr>
            <a:spLocks noGrp="1"/>
          </p:cNvSpPr>
          <p:nvPr>
            <p:ph type="dt" sz="half" idx="14"/>
          </p:nvPr>
        </p:nvSpPr>
        <p:spPr bwMode="gray"/>
        <p:txBody>
          <a:bodyPr/>
          <a:lstStyle/>
          <a:p>
            <a:fld id="{041C3D69-0E08-4010-8186-B5FDDA7C2D33}" type="datetime4">
              <a:rPr lang="en-US" smtClean="0"/>
              <a:t>September 8, 2019</a:t>
            </a:fld>
            <a:endParaRPr lang="en-US" dirty="0"/>
          </a:p>
        </p:txBody>
      </p:sp>
      <p:sp>
        <p:nvSpPr>
          <p:cNvPr id="29" name="Footer Placeholder 28">
            <a:extLst>
              <a:ext uri="{FF2B5EF4-FFF2-40B4-BE49-F238E27FC236}">
                <a16:creationId xmlns:a16="http://schemas.microsoft.com/office/drawing/2014/main" id="{1C571A58-25BC-4FA2-A957-7FB3615F3431}"/>
              </a:ext>
            </a:extLst>
          </p:cNvPr>
          <p:cNvSpPr>
            <a:spLocks noGrp="1"/>
          </p:cNvSpPr>
          <p:nvPr>
            <p:ph type="ftr" sz="quarter" idx="15"/>
          </p:nvPr>
        </p:nvSpPr>
        <p:spPr bwMode="gray"/>
        <p:txBody>
          <a:bodyPr/>
          <a:lstStyle/>
          <a:p>
            <a:pPr lvl="8"/>
            <a:endParaRPr lang="en-US" dirty="0"/>
          </a:p>
        </p:txBody>
      </p:sp>
      <p:sp>
        <p:nvSpPr>
          <p:cNvPr id="30" name="Slide Number Placeholder 29">
            <a:extLst>
              <a:ext uri="{FF2B5EF4-FFF2-40B4-BE49-F238E27FC236}">
                <a16:creationId xmlns:a16="http://schemas.microsoft.com/office/drawing/2014/main" id="{C7956A70-160E-4291-985E-5E860897DB9F}"/>
              </a:ext>
            </a:extLst>
          </p:cNvPr>
          <p:cNvSpPr>
            <a:spLocks noGrp="1"/>
          </p:cNvSpPr>
          <p:nvPr>
            <p:ph type="sldNum" sz="quarter" idx="16"/>
          </p:nvPr>
        </p:nvSpPr>
        <p:spPr bwMode="gray"/>
        <p:txBody>
          <a:bodyPr/>
          <a:lstStyle/>
          <a:p>
            <a:r>
              <a:rPr lang="en-US"/>
              <a:t>Slide </a:t>
            </a:r>
            <a:fld id="{619F89D8-7AE3-494A-97F3-03D680869632}" type="slidenum">
              <a:rPr lang="en-US" smtClean="0"/>
              <a:pPr/>
              <a:t>118</a:t>
            </a:fld>
            <a:endParaRPr lang="en-US" dirty="0"/>
          </a:p>
        </p:txBody>
      </p:sp>
      <p:sp>
        <p:nvSpPr>
          <p:cNvPr id="55" name="AutoShape 6">
            <a:hlinkClick r:id="rId5" action="ppaction://hlinksldjump" highlightClick="1"/>
            <a:extLst>
              <a:ext uri="{FF2B5EF4-FFF2-40B4-BE49-F238E27FC236}">
                <a16:creationId xmlns:a16="http://schemas.microsoft.com/office/drawing/2014/main" id="{63C1A643-52FF-402B-B666-F666A8DE4390}"/>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pic>
        <p:nvPicPr>
          <p:cNvPr id="53" name="Picture 52">
            <a:extLst>
              <a:ext uri="{FF2B5EF4-FFF2-40B4-BE49-F238E27FC236}">
                <a16:creationId xmlns:a16="http://schemas.microsoft.com/office/drawing/2014/main" id="{708E1663-DB3D-4BCA-A99B-FA52B189D40E}"/>
              </a:ext>
            </a:extLst>
          </p:cNvPr>
          <p:cNvPicPr>
            <a:picLocks noChangeAspect="1"/>
          </p:cNvPicPr>
          <p:nvPr/>
        </p:nvPicPr>
        <p:blipFill>
          <a:blip r:embed="rId6"/>
          <a:stretch>
            <a:fillRect/>
          </a:stretch>
        </p:blipFill>
        <p:spPr bwMode="gray">
          <a:xfrm rot="358008">
            <a:off x="6970220" y="2342557"/>
            <a:ext cx="2194020" cy="3037171"/>
          </a:xfrm>
          <a:prstGeom prst="rect">
            <a:avLst/>
          </a:prstGeom>
          <a:ln w="3175">
            <a:solidFill>
              <a:schemeClr val="accent3"/>
            </a:solidFill>
          </a:ln>
        </p:spPr>
      </p:pic>
      <p:pic>
        <p:nvPicPr>
          <p:cNvPr id="57" name="Grafik 13">
            <a:extLst>
              <a:ext uri="{FF2B5EF4-FFF2-40B4-BE49-F238E27FC236}">
                <a16:creationId xmlns:a16="http://schemas.microsoft.com/office/drawing/2014/main" id="{7557609F-17C3-44C8-B487-257320CB44BE}"/>
              </a:ext>
            </a:extLst>
          </p:cNvPr>
          <p:cNvPicPr>
            <a:picLocks noChangeAspect="1"/>
          </p:cNvPicPr>
          <p:nvPr/>
        </p:nvPicPr>
        <p:blipFill>
          <a:blip r:embed="rId7">
            <a:clrChange>
              <a:clrFrom>
                <a:srgbClr val="FFFFFF"/>
              </a:clrFrom>
              <a:clrTo>
                <a:srgbClr val="FFFFFF">
                  <a:alpha val="0"/>
                </a:srgbClr>
              </a:clrTo>
            </a:clrChange>
            <a:duotone>
              <a:schemeClr val="bg2">
                <a:shade val="45000"/>
                <a:satMod val="135000"/>
              </a:schemeClr>
              <a:prstClr val="white"/>
            </a:duotone>
          </a:blip>
          <a:stretch>
            <a:fillRect/>
          </a:stretch>
        </p:blipFill>
        <p:spPr>
          <a:xfrm>
            <a:off x="9673609" y="3927475"/>
            <a:ext cx="2632846" cy="1479797"/>
          </a:xfrm>
          <a:prstGeom prst="rect">
            <a:avLst/>
          </a:prstGeom>
        </p:spPr>
      </p:pic>
      <p:sp>
        <p:nvSpPr>
          <p:cNvPr id="58" name="TextBox 57">
            <a:extLst>
              <a:ext uri="{FF2B5EF4-FFF2-40B4-BE49-F238E27FC236}">
                <a16:creationId xmlns:a16="http://schemas.microsoft.com/office/drawing/2014/main" id="{1AB3CFA8-B190-4B50-A0A4-5A88B8F070C9}"/>
              </a:ext>
            </a:extLst>
          </p:cNvPr>
          <p:cNvSpPr txBox="1"/>
          <p:nvPr/>
        </p:nvSpPr>
        <p:spPr bwMode="gray">
          <a:xfrm>
            <a:off x="8622081" y="642837"/>
            <a:ext cx="2401785" cy="375827"/>
          </a:xfrm>
          <a:prstGeom prst="rect">
            <a:avLst/>
          </a:prstGeom>
          <a:noFill/>
        </p:spPr>
        <p:txBody>
          <a:bodyPr wrap="square" lIns="72000" tIns="72000" rIns="72000" bIns="72000" rtlCol="0">
            <a:noAutofit/>
          </a:bodyPr>
          <a:lstStyle/>
          <a:p>
            <a:pPr algn="r"/>
            <a:r>
              <a:rPr lang="en-US" sz="1400" b="1" dirty="0">
                <a:solidFill>
                  <a:schemeClr val="tx2"/>
                </a:solidFill>
              </a:rPr>
              <a:t>Back to previous section</a:t>
            </a:r>
          </a:p>
        </p:txBody>
      </p:sp>
    </p:spTree>
    <p:custDataLst>
      <p:tags r:id="rId1"/>
    </p:custDataLst>
    <p:extLst>
      <p:ext uri="{BB962C8B-B14F-4D97-AF65-F5344CB8AC3E}">
        <p14:creationId xmlns:p14="http://schemas.microsoft.com/office/powerpoint/2010/main" val="885269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73586-79CD-4B4B-A0CB-E1BA5EEBE354}"/>
              </a:ext>
            </a:extLst>
          </p:cNvPr>
          <p:cNvSpPr>
            <a:spLocks noGrp="1"/>
          </p:cNvSpPr>
          <p:nvPr>
            <p:ph type="title"/>
          </p:nvPr>
        </p:nvSpPr>
        <p:spPr bwMode="gray">
          <a:xfrm>
            <a:off x="333264" y="682313"/>
            <a:ext cx="11520000" cy="396000"/>
          </a:xfrm>
        </p:spPr>
        <p:txBody>
          <a:bodyPr/>
          <a:lstStyle/>
          <a:p>
            <a:r>
              <a:rPr lang="en-US" dirty="0"/>
              <a:t>Easy operation</a:t>
            </a:r>
          </a:p>
        </p:txBody>
      </p:sp>
      <p:sp>
        <p:nvSpPr>
          <p:cNvPr id="3" name="Date Placeholder 2">
            <a:extLst>
              <a:ext uri="{FF2B5EF4-FFF2-40B4-BE49-F238E27FC236}">
                <a16:creationId xmlns:a16="http://schemas.microsoft.com/office/drawing/2014/main" id="{C0E0367B-6082-4BA8-8F2D-7F161121DA9B}"/>
              </a:ext>
            </a:extLst>
          </p:cNvPr>
          <p:cNvSpPr>
            <a:spLocks noGrp="1"/>
          </p:cNvSpPr>
          <p:nvPr>
            <p:ph type="dt" sz="half" idx="14"/>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F808C0-290B-4263-8A52-B569B4875133}"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4" name="Footer Placeholder 3">
            <a:extLst>
              <a:ext uri="{FF2B5EF4-FFF2-40B4-BE49-F238E27FC236}">
                <a16:creationId xmlns:a16="http://schemas.microsoft.com/office/drawing/2014/main" id="{ECE1F439-B9E1-4014-B80C-964B77677264}"/>
              </a:ext>
            </a:extLst>
          </p:cNvPr>
          <p:cNvSpPr>
            <a:spLocks noGrp="1"/>
          </p:cNvSpPr>
          <p:nvPr>
            <p:ph type="ftr" sz="quarter" idx="15"/>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017B7079-F902-4AA0-AA9E-3AD90C5D73C0}"/>
              </a:ext>
            </a:extLst>
          </p:cNvPr>
          <p:cNvSpPr>
            <a:spLocks noGrp="1"/>
          </p:cNvSpPr>
          <p:nvPr>
            <p:ph type="sldNum" sz="quarter" idx="16"/>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6" name="Subtitle 5">
            <a:extLst>
              <a:ext uri="{FF2B5EF4-FFF2-40B4-BE49-F238E27FC236}">
                <a16:creationId xmlns:a16="http://schemas.microsoft.com/office/drawing/2014/main" id="{F9169952-F54C-4749-B3AD-4E889977AC24}"/>
              </a:ext>
            </a:extLst>
          </p:cNvPr>
          <p:cNvSpPr>
            <a:spLocks noGrp="1"/>
          </p:cNvSpPr>
          <p:nvPr>
            <p:ph type="subTitle" idx="13"/>
          </p:nvPr>
        </p:nvSpPr>
        <p:spPr bwMode="gray"/>
        <p:txBody>
          <a:bodyPr/>
          <a:lstStyle/>
          <a:p>
            <a:pPr fontAlgn="auto">
              <a:spcAft>
                <a:spcPts val="0"/>
              </a:spcAft>
              <a:defRPr/>
            </a:pPr>
            <a:r>
              <a:rPr lang="en-US" altLang="en-US" dirty="0"/>
              <a:t>No complex menu structure means no training and no manual necessary</a:t>
            </a:r>
            <a:endParaRPr lang="en-US" dirty="0"/>
          </a:p>
        </p:txBody>
      </p:sp>
      <p:sp>
        <p:nvSpPr>
          <p:cNvPr id="7" name="Content Placeholder 1">
            <a:extLst>
              <a:ext uri="{FF2B5EF4-FFF2-40B4-BE49-F238E27FC236}">
                <a16:creationId xmlns:a16="http://schemas.microsoft.com/office/drawing/2014/main" id="{0482522A-2F74-4B98-A6A2-B0A341E04374}"/>
              </a:ext>
            </a:extLst>
          </p:cNvPr>
          <p:cNvSpPr txBox="1">
            <a:spLocks/>
          </p:cNvSpPr>
          <p:nvPr/>
        </p:nvSpPr>
        <p:spPr bwMode="gray">
          <a:xfrm>
            <a:off x="336550" y="1931197"/>
            <a:ext cx="5635625" cy="199627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No training/manual necessary for operation</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Intelligent 4-way navigation </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Flat menu structure</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Access to most likely functions using same button         </a:t>
            </a:r>
            <a:r>
              <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rPr>
              <a:t>(Example:      Operation      Calibration      Manual Cal.)</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Password protection for expert levels</a:t>
            </a:r>
          </a:p>
        </p:txBody>
      </p:sp>
      <p:sp>
        <p:nvSpPr>
          <p:cNvPr id="10" name="Isosceles Triangle 9">
            <a:extLst>
              <a:ext uri="{FF2B5EF4-FFF2-40B4-BE49-F238E27FC236}">
                <a16:creationId xmlns:a16="http://schemas.microsoft.com/office/drawing/2014/main" id="{A311BB37-79EA-41F8-84C1-630E7CFD5220}"/>
              </a:ext>
            </a:extLst>
          </p:cNvPr>
          <p:cNvSpPr/>
          <p:nvPr/>
        </p:nvSpPr>
        <p:spPr bwMode="gray">
          <a:xfrm>
            <a:off x="1518463" y="3290717"/>
            <a:ext cx="173176" cy="14929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1" name="Isosceles Triangle 10">
            <a:extLst>
              <a:ext uri="{FF2B5EF4-FFF2-40B4-BE49-F238E27FC236}">
                <a16:creationId xmlns:a16="http://schemas.microsoft.com/office/drawing/2014/main" id="{9E8B2452-18EC-411C-BBC6-E22D1026F2A0}"/>
              </a:ext>
            </a:extLst>
          </p:cNvPr>
          <p:cNvSpPr/>
          <p:nvPr/>
        </p:nvSpPr>
        <p:spPr bwMode="gray">
          <a:xfrm>
            <a:off x="2786964" y="3301995"/>
            <a:ext cx="173176" cy="14929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2" name="Isosceles Triangle 11">
            <a:extLst>
              <a:ext uri="{FF2B5EF4-FFF2-40B4-BE49-F238E27FC236}">
                <a16:creationId xmlns:a16="http://schemas.microsoft.com/office/drawing/2014/main" id="{847C9A49-6836-450A-927B-0273D2DF0799}"/>
              </a:ext>
            </a:extLst>
          </p:cNvPr>
          <p:cNvSpPr/>
          <p:nvPr/>
        </p:nvSpPr>
        <p:spPr bwMode="gray">
          <a:xfrm>
            <a:off x="4144112" y="3302515"/>
            <a:ext cx="173176" cy="14929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BBvoice"/>
              <a:ea typeface="ABBvoice"/>
              <a:cs typeface="ABBvoice"/>
            </a:endParaRPr>
          </a:p>
        </p:txBody>
      </p:sp>
      <p:pic>
        <p:nvPicPr>
          <p:cNvPr id="14" name="Picture 53" descr="Image009">
            <a:extLst>
              <a:ext uri="{FF2B5EF4-FFF2-40B4-BE49-F238E27FC236}">
                <a16:creationId xmlns:a16="http://schemas.microsoft.com/office/drawing/2014/main" id="{25FC2D12-9C09-4CF9-A666-BC73AC23BEF8}"/>
              </a:ext>
            </a:extLst>
          </p:cNvPr>
          <p:cNvPicPr>
            <a:picLocks noChangeAspect="1" noChangeArrowheads="1"/>
          </p:cNvPicPr>
          <p:nvPr/>
        </p:nvPicPr>
        <p:blipFill rotWithShape="1">
          <a:blip r:embed="rId3" cstate="email">
            <a:lum bright="-6000" contrast="36000"/>
            <a:extLst>
              <a:ext uri="{28A0092B-C50C-407E-A947-70E740481C1C}">
                <a14:useLocalDpi xmlns:a14="http://schemas.microsoft.com/office/drawing/2010/main"/>
              </a:ext>
            </a:extLst>
          </a:blip>
          <a:srcRect/>
          <a:stretch/>
        </p:blipFill>
        <p:spPr bwMode="gray">
          <a:xfrm>
            <a:off x="459679" y="4126002"/>
            <a:ext cx="2764563" cy="1698238"/>
          </a:xfrm>
          <a:prstGeom prst="rect">
            <a:avLst/>
          </a:prstGeom>
          <a:noFill/>
          <a:extLst>
            <a:ext uri="{909E8E84-426E-40DD-AFC4-6F175D3DCCD1}">
              <a14:hiddenFill xmlns:a14="http://schemas.microsoft.com/office/drawing/2010/main">
                <a:solidFill>
                  <a:srgbClr val="FFFFFF"/>
                </a:solidFill>
              </a14:hiddenFill>
            </a:ext>
          </a:extLst>
        </p:spPr>
      </p:pic>
      <p:grpSp>
        <p:nvGrpSpPr>
          <p:cNvPr id="62" name="Group 61">
            <a:extLst>
              <a:ext uri="{FF2B5EF4-FFF2-40B4-BE49-F238E27FC236}">
                <a16:creationId xmlns:a16="http://schemas.microsoft.com/office/drawing/2014/main" id="{79013B60-37C7-4ACA-9FD5-8DC267A206C2}"/>
              </a:ext>
            </a:extLst>
          </p:cNvPr>
          <p:cNvGrpSpPr/>
          <p:nvPr/>
        </p:nvGrpSpPr>
        <p:grpSpPr bwMode="gray">
          <a:xfrm>
            <a:off x="4198070" y="4805400"/>
            <a:ext cx="1247616" cy="1129868"/>
            <a:chOff x="7539577" y="2664089"/>
            <a:chExt cx="1247616" cy="1129868"/>
          </a:xfrm>
        </p:grpSpPr>
        <p:sp>
          <p:nvSpPr>
            <p:cNvPr id="25" name="Freeform 32">
              <a:extLst>
                <a:ext uri="{FF2B5EF4-FFF2-40B4-BE49-F238E27FC236}">
                  <a16:creationId xmlns:a16="http://schemas.microsoft.com/office/drawing/2014/main" id="{CCB97D9C-231A-4A5C-A754-5378C8103FAB}"/>
                </a:ext>
              </a:extLst>
            </p:cNvPr>
            <p:cNvSpPr>
              <a:spLocks/>
            </p:cNvSpPr>
            <p:nvPr/>
          </p:nvSpPr>
          <p:spPr bwMode="gray">
            <a:xfrm rot="21598389">
              <a:off x="7539577" y="3041114"/>
              <a:ext cx="347300" cy="323855"/>
            </a:xfrm>
            <a:custGeom>
              <a:avLst/>
              <a:gdLst>
                <a:gd name="T0" fmla="*/ 11 w 291"/>
                <a:gd name="T1" fmla="*/ 0 h 292"/>
                <a:gd name="T2" fmla="*/ 283 w 291"/>
                <a:gd name="T3" fmla="*/ 0 h 292"/>
                <a:gd name="T4" fmla="*/ 291 w 291"/>
                <a:gd name="T5" fmla="*/ 4 h 292"/>
                <a:gd name="T6" fmla="*/ 3 w 291"/>
                <a:gd name="T7" fmla="*/ 292 h 292"/>
                <a:gd name="T8" fmla="*/ 1 w 291"/>
                <a:gd name="T9" fmla="*/ 288 h 292"/>
                <a:gd name="T10" fmla="*/ 0 w 291"/>
                <a:gd name="T11" fmla="*/ 284 h 292"/>
                <a:gd name="T12" fmla="*/ 0 w 291"/>
                <a:gd name="T13" fmla="*/ 12 h 292"/>
                <a:gd name="T14" fmla="*/ 1 w 291"/>
                <a:gd name="T15" fmla="*/ 7 h 292"/>
                <a:gd name="T16" fmla="*/ 3 w 291"/>
                <a:gd name="T17" fmla="*/ 4 h 292"/>
                <a:gd name="T18" fmla="*/ 11 w 291"/>
                <a:gd name="T1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1" h="292">
                  <a:moveTo>
                    <a:pt x="11" y="0"/>
                  </a:moveTo>
                  <a:lnTo>
                    <a:pt x="283" y="0"/>
                  </a:lnTo>
                  <a:lnTo>
                    <a:pt x="291" y="4"/>
                  </a:lnTo>
                  <a:lnTo>
                    <a:pt x="3" y="292"/>
                  </a:lnTo>
                  <a:lnTo>
                    <a:pt x="1" y="288"/>
                  </a:lnTo>
                  <a:lnTo>
                    <a:pt x="0" y="284"/>
                  </a:lnTo>
                  <a:lnTo>
                    <a:pt x="0" y="12"/>
                  </a:lnTo>
                  <a:lnTo>
                    <a:pt x="1" y="7"/>
                  </a:lnTo>
                  <a:lnTo>
                    <a:pt x="3" y="4"/>
                  </a:lnTo>
                  <a:lnTo>
                    <a:pt x="1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6" name="Freeform 33">
              <a:extLst>
                <a:ext uri="{FF2B5EF4-FFF2-40B4-BE49-F238E27FC236}">
                  <a16:creationId xmlns:a16="http://schemas.microsoft.com/office/drawing/2014/main" id="{133388E5-A963-4E56-A9E9-100F402C97B5}"/>
                </a:ext>
              </a:extLst>
            </p:cNvPr>
            <p:cNvSpPr>
              <a:spLocks/>
            </p:cNvSpPr>
            <p:nvPr/>
          </p:nvSpPr>
          <p:spPr bwMode="gray">
            <a:xfrm rot="21598389">
              <a:off x="7543847" y="3045948"/>
              <a:ext cx="348724" cy="323855"/>
            </a:xfrm>
            <a:custGeom>
              <a:avLst/>
              <a:gdLst>
                <a:gd name="T0" fmla="*/ 288 w 291"/>
                <a:gd name="T1" fmla="*/ 0 h 291"/>
                <a:gd name="T2" fmla="*/ 291 w 291"/>
                <a:gd name="T3" fmla="*/ 3 h 291"/>
                <a:gd name="T4" fmla="*/ 291 w 291"/>
                <a:gd name="T5" fmla="*/ 8 h 291"/>
                <a:gd name="T6" fmla="*/ 291 w 291"/>
                <a:gd name="T7" fmla="*/ 280 h 291"/>
                <a:gd name="T8" fmla="*/ 291 w 291"/>
                <a:gd name="T9" fmla="*/ 284 h 291"/>
                <a:gd name="T10" fmla="*/ 288 w 291"/>
                <a:gd name="T11" fmla="*/ 288 h 291"/>
                <a:gd name="T12" fmla="*/ 280 w 291"/>
                <a:gd name="T13" fmla="*/ 291 h 291"/>
                <a:gd name="T14" fmla="*/ 8 w 291"/>
                <a:gd name="T15" fmla="*/ 291 h 291"/>
                <a:gd name="T16" fmla="*/ 0 w 291"/>
                <a:gd name="T17" fmla="*/ 288 h 291"/>
                <a:gd name="T18" fmla="*/ 288 w 291"/>
                <a:gd name="T19"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1" h="291">
                  <a:moveTo>
                    <a:pt x="288" y="0"/>
                  </a:moveTo>
                  <a:lnTo>
                    <a:pt x="291" y="3"/>
                  </a:lnTo>
                  <a:lnTo>
                    <a:pt x="291" y="8"/>
                  </a:lnTo>
                  <a:lnTo>
                    <a:pt x="291" y="280"/>
                  </a:lnTo>
                  <a:lnTo>
                    <a:pt x="291" y="284"/>
                  </a:lnTo>
                  <a:lnTo>
                    <a:pt x="288" y="288"/>
                  </a:lnTo>
                  <a:lnTo>
                    <a:pt x="280" y="291"/>
                  </a:lnTo>
                  <a:lnTo>
                    <a:pt x="8" y="291"/>
                  </a:lnTo>
                  <a:lnTo>
                    <a:pt x="0" y="288"/>
                  </a:lnTo>
                  <a:lnTo>
                    <a:pt x="288" y="0"/>
                  </a:lnTo>
                  <a:close/>
                </a:path>
              </a:pathLst>
            </a:custGeom>
            <a:solidFill>
              <a:srgbClr val="3F3B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grpSp>
          <p:nvGrpSpPr>
            <p:cNvPr id="61" name="Group 60">
              <a:extLst>
                <a:ext uri="{FF2B5EF4-FFF2-40B4-BE49-F238E27FC236}">
                  <a16:creationId xmlns:a16="http://schemas.microsoft.com/office/drawing/2014/main" id="{D08A577E-4431-4021-B530-B99603652C70}"/>
                </a:ext>
              </a:extLst>
            </p:cNvPr>
            <p:cNvGrpSpPr/>
            <p:nvPr/>
          </p:nvGrpSpPr>
          <p:grpSpPr bwMode="gray">
            <a:xfrm>
              <a:off x="7556657" y="2664089"/>
              <a:ext cx="1230536" cy="1129868"/>
              <a:chOff x="7556657" y="2664089"/>
              <a:chExt cx="1230536" cy="1129868"/>
            </a:xfrm>
          </p:grpSpPr>
          <p:grpSp>
            <p:nvGrpSpPr>
              <p:cNvPr id="15" name="Group 6">
                <a:extLst>
                  <a:ext uri="{FF2B5EF4-FFF2-40B4-BE49-F238E27FC236}">
                    <a16:creationId xmlns:a16="http://schemas.microsoft.com/office/drawing/2014/main" id="{F4EDAC96-F83F-43D3-A99B-2F95F8ED5270}"/>
                  </a:ext>
                </a:extLst>
              </p:cNvPr>
              <p:cNvGrpSpPr>
                <a:grpSpLocks/>
              </p:cNvGrpSpPr>
              <p:nvPr/>
            </p:nvGrpSpPr>
            <p:grpSpPr bwMode="gray">
              <a:xfrm rot="21598389">
                <a:off x="7985089" y="2664089"/>
                <a:ext cx="343030" cy="303312"/>
                <a:chOff x="10884" y="2281"/>
                <a:chExt cx="294" cy="295"/>
              </a:xfrm>
            </p:grpSpPr>
            <p:sp>
              <p:nvSpPr>
                <p:cNvPr id="53" name="Freeform 7">
                  <a:extLst>
                    <a:ext uri="{FF2B5EF4-FFF2-40B4-BE49-F238E27FC236}">
                      <a16:creationId xmlns:a16="http://schemas.microsoft.com/office/drawing/2014/main" id="{FDABC47D-ED9F-4DF2-A278-EB2A494EF480}"/>
                    </a:ext>
                  </a:extLst>
                </p:cNvPr>
                <p:cNvSpPr>
                  <a:spLocks/>
                </p:cNvSpPr>
                <p:nvPr/>
              </p:nvSpPr>
              <p:spPr bwMode="gray">
                <a:xfrm>
                  <a:off x="10884" y="2281"/>
                  <a:ext cx="291" cy="292"/>
                </a:xfrm>
                <a:custGeom>
                  <a:avLst/>
                  <a:gdLst>
                    <a:gd name="T0" fmla="*/ 11 w 291"/>
                    <a:gd name="T1" fmla="*/ 0 h 292"/>
                    <a:gd name="T2" fmla="*/ 283 w 291"/>
                    <a:gd name="T3" fmla="*/ 0 h 292"/>
                    <a:gd name="T4" fmla="*/ 291 w 291"/>
                    <a:gd name="T5" fmla="*/ 3 h 292"/>
                    <a:gd name="T6" fmla="*/ 3 w 291"/>
                    <a:gd name="T7" fmla="*/ 292 h 292"/>
                    <a:gd name="T8" fmla="*/ 1 w 291"/>
                    <a:gd name="T9" fmla="*/ 288 h 292"/>
                    <a:gd name="T10" fmla="*/ 0 w 291"/>
                    <a:gd name="T11" fmla="*/ 284 h 292"/>
                    <a:gd name="T12" fmla="*/ 0 w 291"/>
                    <a:gd name="T13" fmla="*/ 11 h 292"/>
                    <a:gd name="T14" fmla="*/ 1 w 291"/>
                    <a:gd name="T15" fmla="*/ 7 h 292"/>
                    <a:gd name="T16" fmla="*/ 3 w 291"/>
                    <a:gd name="T17" fmla="*/ 3 h 292"/>
                    <a:gd name="T18" fmla="*/ 11 w 291"/>
                    <a:gd name="T1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1" h="292">
                      <a:moveTo>
                        <a:pt x="11" y="0"/>
                      </a:moveTo>
                      <a:lnTo>
                        <a:pt x="283" y="0"/>
                      </a:lnTo>
                      <a:lnTo>
                        <a:pt x="291" y="3"/>
                      </a:lnTo>
                      <a:lnTo>
                        <a:pt x="3" y="292"/>
                      </a:lnTo>
                      <a:lnTo>
                        <a:pt x="1" y="288"/>
                      </a:lnTo>
                      <a:lnTo>
                        <a:pt x="0" y="284"/>
                      </a:lnTo>
                      <a:lnTo>
                        <a:pt x="0" y="11"/>
                      </a:lnTo>
                      <a:lnTo>
                        <a:pt x="1" y="7"/>
                      </a:lnTo>
                      <a:lnTo>
                        <a:pt x="3" y="3"/>
                      </a:lnTo>
                      <a:lnTo>
                        <a:pt x="1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54" name="Freeform 8">
                  <a:extLst>
                    <a:ext uri="{FF2B5EF4-FFF2-40B4-BE49-F238E27FC236}">
                      <a16:creationId xmlns:a16="http://schemas.microsoft.com/office/drawing/2014/main" id="{33AE592C-6965-45EF-90CF-FA4F91588989}"/>
                    </a:ext>
                  </a:extLst>
                </p:cNvPr>
                <p:cNvSpPr>
                  <a:spLocks/>
                </p:cNvSpPr>
                <p:nvPr/>
              </p:nvSpPr>
              <p:spPr bwMode="gray">
                <a:xfrm>
                  <a:off x="10884" y="2284"/>
                  <a:ext cx="294" cy="292"/>
                </a:xfrm>
                <a:custGeom>
                  <a:avLst/>
                  <a:gdLst>
                    <a:gd name="T0" fmla="*/ 291 w 294"/>
                    <a:gd name="T1" fmla="*/ 0 h 292"/>
                    <a:gd name="T2" fmla="*/ 294 w 294"/>
                    <a:gd name="T3" fmla="*/ 4 h 292"/>
                    <a:gd name="T4" fmla="*/ 294 w 294"/>
                    <a:gd name="T5" fmla="*/ 8 h 292"/>
                    <a:gd name="T6" fmla="*/ 294 w 294"/>
                    <a:gd name="T7" fmla="*/ 281 h 292"/>
                    <a:gd name="T8" fmla="*/ 294 w 294"/>
                    <a:gd name="T9" fmla="*/ 285 h 292"/>
                    <a:gd name="T10" fmla="*/ 291 w 294"/>
                    <a:gd name="T11" fmla="*/ 289 h 292"/>
                    <a:gd name="T12" fmla="*/ 283 w 294"/>
                    <a:gd name="T13" fmla="*/ 292 h 292"/>
                    <a:gd name="T14" fmla="*/ 11 w 294"/>
                    <a:gd name="T15" fmla="*/ 292 h 292"/>
                    <a:gd name="T16" fmla="*/ 5 w 294"/>
                    <a:gd name="T17" fmla="*/ 291 h 292"/>
                    <a:gd name="T18" fmla="*/ 0 w 294"/>
                    <a:gd name="T19" fmla="*/ 289 h 292"/>
                    <a:gd name="T20" fmla="*/ 291 w 294"/>
                    <a:gd name="T21"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4" h="292">
                      <a:moveTo>
                        <a:pt x="291" y="0"/>
                      </a:moveTo>
                      <a:lnTo>
                        <a:pt x="294" y="4"/>
                      </a:lnTo>
                      <a:lnTo>
                        <a:pt x="294" y="8"/>
                      </a:lnTo>
                      <a:lnTo>
                        <a:pt x="294" y="281"/>
                      </a:lnTo>
                      <a:lnTo>
                        <a:pt x="294" y="285"/>
                      </a:lnTo>
                      <a:lnTo>
                        <a:pt x="291" y="289"/>
                      </a:lnTo>
                      <a:lnTo>
                        <a:pt x="283" y="292"/>
                      </a:lnTo>
                      <a:lnTo>
                        <a:pt x="11" y="292"/>
                      </a:lnTo>
                      <a:lnTo>
                        <a:pt x="5" y="291"/>
                      </a:lnTo>
                      <a:lnTo>
                        <a:pt x="0" y="289"/>
                      </a:lnTo>
                      <a:lnTo>
                        <a:pt x="291" y="0"/>
                      </a:lnTo>
                      <a:close/>
                    </a:path>
                  </a:pathLst>
                </a:custGeom>
                <a:solidFill>
                  <a:srgbClr val="3F3B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55" name="AutoShape 9">
                  <a:extLst>
                    <a:ext uri="{FF2B5EF4-FFF2-40B4-BE49-F238E27FC236}">
                      <a16:creationId xmlns:a16="http://schemas.microsoft.com/office/drawing/2014/main" id="{2AC9E55B-E2FA-4B16-A498-9E98B01B4ACE}"/>
                    </a:ext>
                  </a:extLst>
                </p:cNvPr>
                <p:cNvSpPr>
                  <a:spLocks noChangeArrowheads="1"/>
                </p:cNvSpPr>
                <p:nvPr/>
              </p:nvSpPr>
              <p:spPr bwMode="gray">
                <a:xfrm>
                  <a:off x="10901" y="2298"/>
                  <a:ext cx="261" cy="262"/>
                </a:xfrm>
                <a:prstGeom prst="roundRect">
                  <a:avLst>
                    <a:gd name="adj" fmla="val 2106"/>
                  </a:avLst>
                </a:prstGeom>
                <a:solidFill>
                  <a:srgbClr val="00AE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56" name="Rectangle 10">
                  <a:extLst>
                    <a:ext uri="{FF2B5EF4-FFF2-40B4-BE49-F238E27FC236}">
                      <a16:creationId xmlns:a16="http://schemas.microsoft.com/office/drawing/2014/main" id="{5991D2C2-EAF7-41A8-8E42-3B10395981EE}"/>
                    </a:ext>
                  </a:extLst>
                </p:cNvPr>
                <p:cNvSpPr>
                  <a:spLocks noChangeArrowheads="1"/>
                </p:cNvSpPr>
                <p:nvPr/>
              </p:nvSpPr>
              <p:spPr bwMode="gray">
                <a:xfrm>
                  <a:off x="10901" y="2485"/>
                  <a:ext cx="261" cy="35"/>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57" name="Rectangle 11">
                  <a:extLst>
                    <a:ext uri="{FF2B5EF4-FFF2-40B4-BE49-F238E27FC236}">
                      <a16:creationId xmlns:a16="http://schemas.microsoft.com/office/drawing/2014/main" id="{4F24671E-DFC5-4D0E-8082-CCB4A3562AFE}"/>
                    </a:ext>
                  </a:extLst>
                </p:cNvPr>
                <p:cNvSpPr>
                  <a:spLocks noChangeArrowheads="1"/>
                </p:cNvSpPr>
                <p:nvPr/>
              </p:nvSpPr>
              <p:spPr bwMode="gray">
                <a:xfrm>
                  <a:off x="10901" y="2411"/>
                  <a:ext cx="261" cy="35"/>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58" name="Rectangle 12">
                  <a:extLst>
                    <a:ext uri="{FF2B5EF4-FFF2-40B4-BE49-F238E27FC236}">
                      <a16:creationId xmlns:a16="http://schemas.microsoft.com/office/drawing/2014/main" id="{20D1C26D-90BA-4679-A5E8-2072B8958A53}"/>
                    </a:ext>
                  </a:extLst>
                </p:cNvPr>
                <p:cNvSpPr>
                  <a:spLocks noChangeArrowheads="1"/>
                </p:cNvSpPr>
                <p:nvPr/>
              </p:nvSpPr>
              <p:spPr bwMode="gray">
                <a:xfrm>
                  <a:off x="10901" y="2338"/>
                  <a:ext cx="261" cy="35"/>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59" name="Freeform 13">
                  <a:extLst>
                    <a:ext uri="{FF2B5EF4-FFF2-40B4-BE49-F238E27FC236}">
                      <a16:creationId xmlns:a16="http://schemas.microsoft.com/office/drawing/2014/main" id="{8581D08A-4C6C-4686-A3F9-C4D4424051B8}"/>
                    </a:ext>
                  </a:extLst>
                </p:cNvPr>
                <p:cNvSpPr>
                  <a:spLocks/>
                </p:cNvSpPr>
                <p:nvPr/>
              </p:nvSpPr>
              <p:spPr bwMode="gray">
                <a:xfrm>
                  <a:off x="10920" y="2363"/>
                  <a:ext cx="222" cy="134"/>
                </a:xfrm>
                <a:custGeom>
                  <a:avLst/>
                  <a:gdLst>
                    <a:gd name="T0" fmla="*/ 222 w 222"/>
                    <a:gd name="T1" fmla="*/ 134 h 134"/>
                    <a:gd name="T2" fmla="*/ 0 w 222"/>
                    <a:gd name="T3" fmla="*/ 134 h 134"/>
                    <a:gd name="T4" fmla="*/ 82 w 222"/>
                    <a:gd name="T5" fmla="*/ 0 h 134"/>
                    <a:gd name="T6" fmla="*/ 141 w 222"/>
                    <a:gd name="T7" fmla="*/ 0 h 134"/>
                    <a:gd name="T8" fmla="*/ 222 w 222"/>
                    <a:gd name="T9" fmla="*/ 134 h 134"/>
                  </a:gdLst>
                  <a:ahLst/>
                  <a:cxnLst>
                    <a:cxn ang="0">
                      <a:pos x="T0" y="T1"/>
                    </a:cxn>
                    <a:cxn ang="0">
                      <a:pos x="T2" y="T3"/>
                    </a:cxn>
                    <a:cxn ang="0">
                      <a:pos x="T4" y="T5"/>
                    </a:cxn>
                    <a:cxn ang="0">
                      <a:pos x="T6" y="T7"/>
                    </a:cxn>
                    <a:cxn ang="0">
                      <a:pos x="T8" y="T9"/>
                    </a:cxn>
                  </a:cxnLst>
                  <a:rect l="0" t="0" r="r" b="b"/>
                  <a:pathLst>
                    <a:path w="222" h="134">
                      <a:moveTo>
                        <a:pt x="222" y="134"/>
                      </a:moveTo>
                      <a:lnTo>
                        <a:pt x="0" y="134"/>
                      </a:lnTo>
                      <a:lnTo>
                        <a:pt x="82" y="0"/>
                      </a:lnTo>
                      <a:lnTo>
                        <a:pt x="141" y="0"/>
                      </a:lnTo>
                      <a:lnTo>
                        <a:pt x="222" y="134"/>
                      </a:lnTo>
                      <a:close/>
                    </a:path>
                  </a:pathLst>
                </a:custGeom>
                <a:solidFill>
                  <a:srgbClr val="C6C5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60" name="Freeform 14">
                  <a:extLst>
                    <a:ext uri="{FF2B5EF4-FFF2-40B4-BE49-F238E27FC236}">
                      <a16:creationId xmlns:a16="http://schemas.microsoft.com/office/drawing/2014/main" id="{70D6F69C-76CA-45EC-A9A9-328301996CBC}"/>
                    </a:ext>
                  </a:extLst>
                </p:cNvPr>
                <p:cNvSpPr>
                  <a:spLocks/>
                </p:cNvSpPr>
                <p:nvPr/>
              </p:nvSpPr>
              <p:spPr bwMode="gray">
                <a:xfrm>
                  <a:off x="10949" y="2363"/>
                  <a:ext cx="164" cy="134"/>
                </a:xfrm>
                <a:custGeom>
                  <a:avLst/>
                  <a:gdLst>
                    <a:gd name="T0" fmla="*/ 82 w 164"/>
                    <a:gd name="T1" fmla="*/ 0 h 134"/>
                    <a:gd name="T2" fmla="*/ 164 w 164"/>
                    <a:gd name="T3" fmla="*/ 134 h 134"/>
                    <a:gd name="T4" fmla="*/ 0 w 164"/>
                    <a:gd name="T5" fmla="*/ 134 h 134"/>
                    <a:gd name="T6" fmla="*/ 82 w 164"/>
                    <a:gd name="T7" fmla="*/ 0 h 134"/>
                  </a:gdLst>
                  <a:ahLst/>
                  <a:cxnLst>
                    <a:cxn ang="0">
                      <a:pos x="T0" y="T1"/>
                    </a:cxn>
                    <a:cxn ang="0">
                      <a:pos x="T2" y="T3"/>
                    </a:cxn>
                    <a:cxn ang="0">
                      <a:pos x="T4" y="T5"/>
                    </a:cxn>
                    <a:cxn ang="0">
                      <a:pos x="T6" y="T7"/>
                    </a:cxn>
                  </a:cxnLst>
                  <a:rect l="0" t="0" r="r" b="b"/>
                  <a:pathLst>
                    <a:path w="164" h="134">
                      <a:moveTo>
                        <a:pt x="82" y="0"/>
                      </a:moveTo>
                      <a:lnTo>
                        <a:pt x="164" y="134"/>
                      </a:lnTo>
                      <a:lnTo>
                        <a:pt x="0" y="134"/>
                      </a:lnTo>
                      <a:lnTo>
                        <a:pt x="82" y="0"/>
                      </a:lnTo>
                      <a:close/>
                    </a:path>
                  </a:pathLst>
                </a:custGeom>
                <a:solidFill>
                  <a:srgbClr val="3F3B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grpSp>
          <p:grpSp>
            <p:nvGrpSpPr>
              <p:cNvPr id="16" name="Group 15">
                <a:extLst>
                  <a:ext uri="{FF2B5EF4-FFF2-40B4-BE49-F238E27FC236}">
                    <a16:creationId xmlns:a16="http://schemas.microsoft.com/office/drawing/2014/main" id="{73388C84-4AED-4D40-80C0-3FF85058F698}"/>
                  </a:ext>
                </a:extLst>
              </p:cNvPr>
              <p:cNvGrpSpPr>
                <a:grpSpLocks/>
              </p:cNvGrpSpPr>
              <p:nvPr/>
            </p:nvGrpSpPr>
            <p:grpSpPr bwMode="gray">
              <a:xfrm rot="21598389">
                <a:off x="7986592" y="3466477"/>
                <a:ext cx="351570" cy="327480"/>
                <a:chOff x="10884" y="2680"/>
                <a:chExt cx="294" cy="295"/>
              </a:xfrm>
            </p:grpSpPr>
            <p:sp>
              <p:nvSpPr>
                <p:cNvPr id="45" name="Freeform 16">
                  <a:extLst>
                    <a:ext uri="{FF2B5EF4-FFF2-40B4-BE49-F238E27FC236}">
                      <a16:creationId xmlns:a16="http://schemas.microsoft.com/office/drawing/2014/main" id="{53A55736-3DB5-4E62-BC49-DC3A4F53EC98}"/>
                    </a:ext>
                  </a:extLst>
                </p:cNvPr>
                <p:cNvSpPr>
                  <a:spLocks/>
                </p:cNvSpPr>
                <p:nvPr/>
              </p:nvSpPr>
              <p:spPr bwMode="gray">
                <a:xfrm>
                  <a:off x="10884" y="2680"/>
                  <a:ext cx="291" cy="292"/>
                </a:xfrm>
                <a:custGeom>
                  <a:avLst/>
                  <a:gdLst>
                    <a:gd name="T0" fmla="*/ 11 w 291"/>
                    <a:gd name="T1" fmla="*/ 0 h 292"/>
                    <a:gd name="T2" fmla="*/ 283 w 291"/>
                    <a:gd name="T3" fmla="*/ 0 h 292"/>
                    <a:gd name="T4" fmla="*/ 291 w 291"/>
                    <a:gd name="T5" fmla="*/ 4 h 292"/>
                    <a:gd name="T6" fmla="*/ 3 w 291"/>
                    <a:gd name="T7" fmla="*/ 292 h 292"/>
                    <a:gd name="T8" fmla="*/ 1 w 291"/>
                    <a:gd name="T9" fmla="*/ 288 h 292"/>
                    <a:gd name="T10" fmla="*/ 0 w 291"/>
                    <a:gd name="T11" fmla="*/ 284 h 292"/>
                    <a:gd name="T12" fmla="*/ 0 w 291"/>
                    <a:gd name="T13" fmla="*/ 12 h 292"/>
                    <a:gd name="T14" fmla="*/ 1 w 291"/>
                    <a:gd name="T15" fmla="*/ 7 h 292"/>
                    <a:gd name="T16" fmla="*/ 3 w 291"/>
                    <a:gd name="T17" fmla="*/ 4 h 292"/>
                    <a:gd name="T18" fmla="*/ 11 w 291"/>
                    <a:gd name="T1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1" h="292">
                      <a:moveTo>
                        <a:pt x="11" y="0"/>
                      </a:moveTo>
                      <a:lnTo>
                        <a:pt x="283" y="0"/>
                      </a:lnTo>
                      <a:lnTo>
                        <a:pt x="291" y="4"/>
                      </a:lnTo>
                      <a:lnTo>
                        <a:pt x="3" y="292"/>
                      </a:lnTo>
                      <a:lnTo>
                        <a:pt x="1" y="288"/>
                      </a:lnTo>
                      <a:lnTo>
                        <a:pt x="0" y="284"/>
                      </a:lnTo>
                      <a:lnTo>
                        <a:pt x="0" y="12"/>
                      </a:lnTo>
                      <a:lnTo>
                        <a:pt x="1" y="7"/>
                      </a:lnTo>
                      <a:lnTo>
                        <a:pt x="3" y="4"/>
                      </a:lnTo>
                      <a:lnTo>
                        <a:pt x="1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6" name="Freeform 17">
                  <a:extLst>
                    <a:ext uri="{FF2B5EF4-FFF2-40B4-BE49-F238E27FC236}">
                      <a16:creationId xmlns:a16="http://schemas.microsoft.com/office/drawing/2014/main" id="{2BA8CA84-6BC5-41CE-B94C-F76FD04D04FA}"/>
                    </a:ext>
                  </a:extLst>
                </p:cNvPr>
                <p:cNvSpPr>
                  <a:spLocks/>
                </p:cNvSpPr>
                <p:nvPr/>
              </p:nvSpPr>
              <p:spPr bwMode="gray">
                <a:xfrm>
                  <a:off x="10887" y="2684"/>
                  <a:ext cx="291" cy="291"/>
                </a:xfrm>
                <a:custGeom>
                  <a:avLst/>
                  <a:gdLst>
                    <a:gd name="T0" fmla="*/ 288 w 291"/>
                    <a:gd name="T1" fmla="*/ 0 h 291"/>
                    <a:gd name="T2" fmla="*/ 291 w 291"/>
                    <a:gd name="T3" fmla="*/ 3 h 291"/>
                    <a:gd name="T4" fmla="*/ 291 w 291"/>
                    <a:gd name="T5" fmla="*/ 8 h 291"/>
                    <a:gd name="T6" fmla="*/ 291 w 291"/>
                    <a:gd name="T7" fmla="*/ 280 h 291"/>
                    <a:gd name="T8" fmla="*/ 291 w 291"/>
                    <a:gd name="T9" fmla="*/ 284 h 291"/>
                    <a:gd name="T10" fmla="*/ 288 w 291"/>
                    <a:gd name="T11" fmla="*/ 288 h 291"/>
                    <a:gd name="T12" fmla="*/ 280 w 291"/>
                    <a:gd name="T13" fmla="*/ 291 h 291"/>
                    <a:gd name="T14" fmla="*/ 8 w 291"/>
                    <a:gd name="T15" fmla="*/ 291 h 291"/>
                    <a:gd name="T16" fmla="*/ 0 w 291"/>
                    <a:gd name="T17" fmla="*/ 288 h 291"/>
                    <a:gd name="T18" fmla="*/ 288 w 291"/>
                    <a:gd name="T19"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1" h="291">
                      <a:moveTo>
                        <a:pt x="288" y="0"/>
                      </a:moveTo>
                      <a:lnTo>
                        <a:pt x="291" y="3"/>
                      </a:lnTo>
                      <a:lnTo>
                        <a:pt x="291" y="8"/>
                      </a:lnTo>
                      <a:lnTo>
                        <a:pt x="291" y="280"/>
                      </a:lnTo>
                      <a:lnTo>
                        <a:pt x="291" y="284"/>
                      </a:lnTo>
                      <a:lnTo>
                        <a:pt x="288" y="288"/>
                      </a:lnTo>
                      <a:lnTo>
                        <a:pt x="280" y="291"/>
                      </a:lnTo>
                      <a:lnTo>
                        <a:pt x="8" y="291"/>
                      </a:lnTo>
                      <a:lnTo>
                        <a:pt x="0" y="288"/>
                      </a:lnTo>
                      <a:lnTo>
                        <a:pt x="288" y="0"/>
                      </a:lnTo>
                      <a:close/>
                    </a:path>
                  </a:pathLst>
                </a:custGeom>
                <a:solidFill>
                  <a:srgbClr val="3F3B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7" name="AutoShape 18">
                  <a:extLst>
                    <a:ext uri="{FF2B5EF4-FFF2-40B4-BE49-F238E27FC236}">
                      <a16:creationId xmlns:a16="http://schemas.microsoft.com/office/drawing/2014/main" id="{EE46F51B-7D3E-4BE9-8AD5-D51D950462A7}"/>
                    </a:ext>
                  </a:extLst>
                </p:cNvPr>
                <p:cNvSpPr>
                  <a:spLocks noChangeArrowheads="1"/>
                </p:cNvSpPr>
                <p:nvPr/>
              </p:nvSpPr>
              <p:spPr bwMode="gray">
                <a:xfrm>
                  <a:off x="10901" y="2697"/>
                  <a:ext cx="261" cy="262"/>
                </a:xfrm>
                <a:prstGeom prst="roundRect">
                  <a:avLst>
                    <a:gd name="adj" fmla="val 2106"/>
                  </a:avLst>
                </a:prstGeom>
                <a:solidFill>
                  <a:srgbClr val="00AE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8" name="Rectangle 19">
                  <a:extLst>
                    <a:ext uri="{FF2B5EF4-FFF2-40B4-BE49-F238E27FC236}">
                      <a16:creationId xmlns:a16="http://schemas.microsoft.com/office/drawing/2014/main" id="{AB7FD29D-18F9-416E-9604-E9DA0CBB97CF}"/>
                    </a:ext>
                  </a:extLst>
                </p:cNvPr>
                <p:cNvSpPr>
                  <a:spLocks noChangeArrowheads="1"/>
                </p:cNvSpPr>
                <p:nvPr/>
              </p:nvSpPr>
              <p:spPr bwMode="gray">
                <a:xfrm>
                  <a:off x="10901" y="2884"/>
                  <a:ext cx="261" cy="35"/>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9" name="Rectangle 20">
                  <a:extLst>
                    <a:ext uri="{FF2B5EF4-FFF2-40B4-BE49-F238E27FC236}">
                      <a16:creationId xmlns:a16="http://schemas.microsoft.com/office/drawing/2014/main" id="{38842AF9-4655-44B7-B630-E746F7A29310}"/>
                    </a:ext>
                  </a:extLst>
                </p:cNvPr>
                <p:cNvSpPr>
                  <a:spLocks noChangeArrowheads="1"/>
                </p:cNvSpPr>
                <p:nvPr/>
              </p:nvSpPr>
              <p:spPr bwMode="gray">
                <a:xfrm>
                  <a:off x="10901" y="2811"/>
                  <a:ext cx="261" cy="35"/>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50" name="Rectangle 21">
                  <a:extLst>
                    <a:ext uri="{FF2B5EF4-FFF2-40B4-BE49-F238E27FC236}">
                      <a16:creationId xmlns:a16="http://schemas.microsoft.com/office/drawing/2014/main" id="{A7C1D654-00EC-475E-8F88-F78EDF335B15}"/>
                    </a:ext>
                  </a:extLst>
                </p:cNvPr>
                <p:cNvSpPr>
                  <a:spLocks noChangeArrowheads="1"/>
                </p:cNvSpPr>
                <p:nvPr/>
              </p:nvSpPr>
              <p:spPr bwMode="gray">
                <a:xfrm>
                  <a:off x="10901" y="2737"/>
                  <a:ext cx="261" cy="35"/>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51" name="Freeform 22">
                  <a:extLst>
                    <a:ext uri="{FF2B5EF4-FFF2-40B4-BE49-F238E27FC236}">
                      <a16:creationId xmlns:a16="http://schemas.microsoft.com/office/drawing/2014/main" id="{3769993F-2294-4242-B7E7-23F6D9008697}"/>
                    </a:ext>
                  </a:extLst>
                </p:cNvPr>
                <p:cNvSpPr>
                  <a:spLocks/>
                </p:cNvSpPr>
                <p:nvPr/>
              </p:nvSpPr>
              <p:spPr bwMode="gray">
                <a:xfrm>
                  <a:off x="10920" y="2760"/>
                  <a:ext cx="222" cy="133"/>
                </a:xfrm>
                <a:custGeom>
                  <a:avLst/>
                  <a:gdLst>
                    <a:gd name="T0" fmla="*/ 0 w 222"/>
                    <a:gd name="T1" fmla="*/ 0 h 133"/>
                    <a:gd name="T2" fmla="*/ 222 w 222"/>
                    <a:gd name="T3" fmla="*/ 0 h 133"/>
                    <a:gd name="T4" fmla="*/ 141 w 222"/>
                    <a:gd name="T5" fmla="*/ 133 h 133"/>
                    <a:gd name="T6" fmla="*/ 82 w 222"/>
                    <a:gd name="T7" fmla="*/ 133 h 133"/>
                    <a:gd name="T8" fmla="*/ 0 w 222"/>
                    <a:gd name="T9" fmla="*/ 0 h 133"/>
                  </a:gdLst>
                  <a:ahLst/>
                  <a:cxnLst>
                    <a:cxn ang="0">
                      <a:pos x="T0" y="T1"/>
                    </a:cxn>
                    <a:cxn ang="0">
                      <a:pos x="T2" y="T3"/>
                    </a:cxn>
                    <a:cxn ang="0">
                      <a:pos x="T4" y="T5"/>
                    </a:cxn>
                    <a:cxn ang="0">
                      <a:pos x="T6" y="T7"/>
                    </a:cxn>
                    <a:cxn ang="0">
                      <a:pos x="T8" y="T9"/>
                    </a:cxn>
                  </a:cxnLst>
                  <a:rect l="0" t="0" r="r" b="b"/>
                  <a:pathLst>
                    <a:path w="222" h="133">
                      <a:moveTo>
                        <a:pt x="0" y="0"/>
                      </a:moveTo>
                      <a:lnTo>
                        <a:pt x="222" y="0"/>
                      </a:lnTo>
                      <a:lnTo>
                        <a:pt x="141" y="133"/>
                      </a:lnTo>
                      <a:lnTo>
                        <a:pt x="82" y="133"/>
                      </a:lnTo>
                      <a:lnTo>
                        <a:pt x="0" y="0"/>
                      </a:lnTo>
                      <a:close/>
                    </a:path>
                  </a:pathLst>
                </a:custGeom>
                <a:solidFill>
                  <a:srgbClr val="C6C5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52" name="Freeform 23">
                  <a:extLst>
                    <a:ext uri="{FF2B5EF4-FFF2-40B4-BE49-F238E27FC236}">
                      <a16:creationId xmlns:a16="http://schemas.microsoft.com/office/drawing/2014/main" id="{A6EB6B86-6E2A-4303-AB5D-A878C10D7F2C}"/>
                    </a:ext>
                  </a:extLst>
                </p:cNvPr>
                <p:cNvSpPr>
                  <a:spLocks/>
                </p:cNvSpPr>
                <p:nvPr/>
              </p:nvSpPr>
              <p:spPr bwMode="gray">
                <a:xfrm>
                  <a:off x="10949" y="2760"/>
                  <a:ext cx="164" cy="133"/>
                </a:xfrm>
                <a:custGeom>
                  <a:avLst/>
                  <a:gdLst>
                    <a:gd name="T0" fmla="*/ 82 w 164"/>
                    <a:gd name="T1" fmla="*/ 133 h 133"/>
                    <a:gd name="T2" fmla="*/ 0 w 164"/>
                    <a:gd name="T3" fmla="*/ 0 h 133"/>
                    <a:gd name="T4" fmla="*/ 164 w 164"/>
                    <a:gd name="T5" fmla="*/ 0 h 133"/>
                    <a:gd name="T6" fmla="*/ 82 w 164"/>
                    <a:gd name="T7" fmla="*/ 133 h 133"/>
                  </a:gdLst>
                  <a:ahLst/>
                  <a:cxnLst>
                    <a:cxn ang="0">
                      <a:pos x="T0" y="T1"/>
                    </a:cxn>
                    <a:cxn ang="0">
                      <a:pos x="T2" y="T3"/>
                    </a:cxn>
                    <a:cxn ang="0">
                      <a:pos x="T4" y="T5"/>
                    </a:cxn>
                    <a:cxn ang="0">
                      <a:pos x="T6" y="T7"/>
                    </a:cxn>
                  </a:cxnLst>
                  <a:rect l="0" t="0" r="r" b="b"/>
                  <a:pathLst>
                    <a:path w="164" h="133">
                      <a:moveTo>
                        <a:pt x="82" y="133"/>
                      </a:moveTo>
                      <a:lnTo>
                        <a:pt x="0" y="0"/>
                      </a:lnTo>
                      <a:lnTo>
                        <a:pt x="164" y="0"/>
                      </a:lnTo>
                      <a:lnTo>
                        <a:pt x="82" y="133"/>
                      </a:lnTo>
                      <a:close/>
                    </a:path>
                  </a:pathLst>
                </a:custGeom>
                <a:solidFill>
                  <a:srgbClr val="3F3B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grpSp>
          <p:sp>
            <p:nvSpPr>
              <p:cNvPr id="17" name="Freeform 24">
                <a:extLst>
                  <a:ext uri="{FF2B5EF4-FFF2-40B4-BE49-F238E27FC236}">
                    <a16:creationId xmlns:a16="http://schemas.microsoft.com/office/drawing/2014/main" id="{67E967DF-03C8-46C0-A735-898C184A955D}"/>
                  </a:ext>
                </a:extLst>
              </p:cNvPr>
              <p:cNvSpPr>
                <a:spLocks/>
              </p:cNvSpPr>
              <p:nvPr/>
            </p:nvSpPr>
            <p:spPr bwMode="gray">
              <a:xfrm rot="21598389">
                <a:off x="8434199" y="3041703"/>
                <a:ext cx="348724" cy="323855"/>
              </a:xfrm>
              <a:custGeom>
                <a:avLst/>
                <a:gdLst>
                  <a:gd name="T0" fmla="*/ 11 w 291"/>
                  <a:gd name="T1" fmla="*/ 0 h 292"/>
                  <a:gd name="T2" fmla="*/ 283 w 291"/>
                  <a:gd name="T3" fmla="*/ 0 h 292"/>
                  <a:gd name="T4" fmla="*/ 291 w 291"/>
                  <a:gd name="T5" fmla="*/ 4 h 292"/>
                  <a:gd name="T6" fmla="*/ 3 w 291"/>
                  <a:gd name="T7" fmla="*/ 292 h 292"/>
                  <a:gd name="T8" fmla="*/ 1 w 291"/>
                  <a:gd name="T9" fmla="*/ 288 h 292"/>
                  <a:gd name="T10" fmla="*/ 0 w 291"/>
                  <a:gd name="T11" fmla="*/ 284 h 292"/>
                  <a:gd name="T12" fmla="*/ 0 w 291"/>
                  <a:gd name="T13" fmla="*/ 12 h 292"/>
                  <a:gd name="T14" fmla="*/ 1 w 291"/>
                  <a:gd name="T15" fmla="*/ 7 h 292"/>
                  <a:gd name="T16" fmla="*/ 3 w 291"/>
                  <a:gd name="T17" fmla="*/ 4 h 292"/>
                  <a:gd name="T18" fmla="*/ 11 w 291"/>
                  <a:gd name="T1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1" h="292">
                    <a:moveTo>
                      <a:pt x="11" y="0"/>
                    </a:moveTo>
                    <a:lnTo>
                      <a:pt x="283" y="0"/>
                    </a:lnTo>
                    <a:lnTo>
                      <a:pt x="291" y="4"/>
                    </a:lnTo>
                    <a:lnTo>
                      <a:pt x="3" y="292"/>
                    </a:lnTo>
                    <a:lnTo>
                      <a:pt x="1" y="288"/>
                    </a:lnTo>
                    <a:lnTo>
                      <a:pt x="0" y="284"/>
                    </a:lnTo>
                    <a:lnTo>
                      <a:pt x="0" y="12"/>
                    </a:lnTo>
                    <a:lnTo>
                      <a:pt x="1" y="7"/>
                    </a:lnTo>
                    <a:lnTo>
                      <a:pt x="3" y="4"/>
                    </a:lnTo>
                    <a:lnTo>
                      <a:pt x="1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18" name="Freeform 25">
                <a:extLst>
                  <a:ext uri="{FF2B5EF4-FFF2-40B4-BE49-F238E27FC236}">
                    <a16:creationId xmlns:a16="http://schemas.microsoft.com/office/drawing/2014/main" id="{D76C826A-6DC5-43B3-9A92-6E135A638717}"/>
                  </a:ext>
                </a:extLst>
              </p:cNvPr>
              <p:cNvSpPr>
                <a:spLocks/>
              </p:cNvSpPr>
              <p:nvPr/>
            </p:nvSpPr>
            <p:spPr bwMode="gray">
              <a:xfrm rot="21598389">
                <a:off x="8441316" y="3045329"/>
                <a:ext cx="345877" cy="323855"/>
              </a:xfrm>
              <a:custGeom>
                <a:avLst/>
                <a:gdLst>
                  <a:gd name="T0" fmla="*/ 288 w 291"/>
                  <a:gd name="T1" fmla="*/ 0 h 291"/>
                  <a:gd name="T2" fmla="*/ 291 w 291"/>
                  <a:gd name="T3" fmla="*/ 3 h 291"/>
                  <a:gd name="T4" fmla="*/ 291 w 291"/>
                  <a:gd name="T5" fmla="*/ 8 h 291"/>
                  <a:gd name="T6" fmla="*/ 291 w 291"/>
                  <a:gd name="T7" fmla="*/ 280 h 291"/>
                  <a:gd name="T8" fmla="*/ 291 w 291"/>
                  <a:gd name="T9" fmla="*/ 284 h 291"/>
                  <a:gd name="T10" fmla="*/ 288 w 291"/>
                  <a:gd name="T11" fmla="*/ 288 h 291"/>
                  <a:gd name="T12" fmla="*/ 280 w 291"/>
                  <a:gd name="T13" fmla="*/ 291 h 291"/>
                  <a:gd name="T14" fmla="*/ 8 w 291"/>
                  <a:gd name="T15" fmla="*/ 291 h 291"/>
                  <a:gd name="T16" fmla="*/ 0 w 291"/>
                  <a:gd name="T17" fmla="*/ 288 h 291"/>
                  <a:gd name="T18" fmla="*/ 288 w 291"/>
                  <a:gd name="T19"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1" h="291">
                    <a:moveTo>
                      <a:pt x="288" y="0"/>
                    </a:moveTo>
                    <a:lnTo>
                      <a:pt x="291" y="3"/>
                    </a:lnTo>
                    <a:lnTo>
                      <a:pt x="291" y="8"/>
                    </a:lnTo>
                    <a:lnTo>
                      <a:pt x="291" y="280"/>
                    </a:lnTo>
                    <a:lnTo>
                      <a:pt x="291" y="284"/>
                    </a:lnTo>
                    <a:lnTo>
                      <a:pt x="288" y="288"/>
                    </a:lnTo>
                    <a:lnTo>
                      <a:pt x="280" y="291"/>
                    </a:lnTo>
                    <a:lnTo>
                      <a:pt x="8" y="291"/>
                    </a:lnTo>
                    <a:lnTo>
                      <a:pt x="0" y="288"/>
                    </a:lnTo>
                    <a:lnTo>
                      <a:pt x="288" y="0"/>
                    </a:lnTo>
                    <a:close/>
                  </a:path>
                </a:pathLst>
              </a:custGeom>
              <a:solidFill>
                <a:srgbClr val="3F3B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19" name="AutoShape 26">
                <a:extLst>
                  <a:ext uri="{FF2B5EF4-FFF2-40B4-BE49-F238E27FC236}">
                    <a16:creationId xmlns:a16="http://schemas.microsoft.com/office/drawing/2014/main" id="{8A173C38-0AC2-41E8-BC05-C401559D8E47}"/>
                  </a:ext>
                </a:extLst>
              </p:cNvPr>
              <p:cNvSpPr>
                <a:spLocks noChangeArrowheads="1"/>
              </p:cNvSpPr>
              <p:nvPr/>
            </p:nvSpPr>
            <p:spPr bwMode="gray">
              <a:xfrm rot="21598389">
                <a:off x="8456973" y="3061038"/>
                <a:ext cx="310293" cy="291228"/>
              </a:xfrm>
              <a:prstGeom prst="roundRect">
                <a:avLst>
                  <a:gd name="adj" fmla="val 2106"/>
                </a:avLst>
              </a:prstGeom>
              <a:solidFill>
                <a:srgbClr val="00AE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0" name="Rectangle 27">
                <a:extLst>
                  <a:ext uri="{FF2B5EF4-FFF2-40B4-BE49-F238E27FC236}">
                    <a16:creationId xmlns:a16="http://schemas.microsoft.com/office/drawing/2014/main" id="{740BA5B4-8C3F-4761-A72D-4C3E17A52701}"/>
                  </a:ext>
                </a:extLst>
              </p:cNvPr>
              <p:cNvSpPr>
                <a:spLocks noChangeArrowheads="1"/>
              </p:cNvSpPr>
              <p:nvPr/>
            </p:nvSpPr>
            <p:spPr bwMode="gray">
              <a:xfrm rot="21598389">
                <a:off x="8459820" y="3268885"/>
                <a:ext cx="311716" cy="39878"/>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1" name="Rectangle 28">
                <a:extLst>
                  <a:ext uri="{FF2B5EF4-FFF2-40B4-BE49-F238E27FC236}">
                    <a16:creationId xmlns:a16="http://schemas.microsoft.com/office/drawing/2014/main" id="{0E695AB4-6DC4-4D56-B9C5-90D618B4A637}"/>
                  </a:ext>
                </a:extLst>
              </p:cNvPr>
              <p:cNvSpPr>
                <a:spLocks noChangeArrowheads="1"/>
              </p:cNvSpPr>
              <p:nvPr/>
            </p:nvSpPr>
            <p:spPr bwMode="gray">
              <a:xfrm rot="21598389">
                <a:off x="8456973" y="3187921"/>
                <a:ext cx="310293" cy="38669"/>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2" name="Rectangle 29">
                <a:extLst>
                  <a:ext uri="{FF2B5EF4-FFF2-40B4-BE49-F238E27FC236}">
                    <a16:creationId xmlns:a16="http://schemas.microsoft.com/office/drawing/2014/main" id="{982D1F8D-5220-4499-9A92-C4DA4B848AF4}"/>
                  </a:ext>
                </a:extLst>
              </p:cNvPr>
              <p:cNvSpPr>
                <a:spLocks noChangeArrowheads="1"/>
              </p:cNvSpPr>
              <p:nvPr/>
            </p:nvSpPr>
            <p:spPr bwMode="gray">
              <a:xfrm rot="21598389">
                <a:off x="8454126" y="3105749"/>
                <a:ext cx="310293" cy="37461"/>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3" name="Freeform 30">
                <a:extLst>
                  <a:ext uri="{FF2B5EF4-FFF2-40B4-BE49-F238E27FC236}">
                    <a16:creationId xmlns:a16="http://schemas.microsoft.com/office/drawing/2014/main" id="{CC28CE0A-73C8-4A69-BD18-8E72946610D7}"/>
                  </a:ext>
                </a:extLst>
              </p:cNvPr>
              <p:cNvSpPr>
                <a:spLocks/>
              </p:cNvSpPr>
              <p:nvPr/>
            </p:nvSpPr>
            <p:spPr bwMode="gray">
              <a:xfrm rot="21598389">
                <a:off x="8478324" y="3131126"/>
                <a:ext cx="266169" cy="147427"/>
              </a:xfrm>
              <a:custGeom>
                <a:avLst/>
                <a:gdLst>
                  <a:gd name="T0" fmla="*/ 0 w 222"/>
                  <a:gd name="T1" fmla="*/ 0 h 133"/>
                  <a:gd name="T2" fmla="*/ 222 w 222"/>
                  <a:gd name="T3" fmla="*/ 0 h 133"/>
                  <a:gd name="T4" fmla="*/ 141 w 222"/>
                  <a:gd name="T5" fmla="*/ 133 h 133"/>
                  <a:gd name="T6" fmla="*/ 82 w 222"/>
                  <a:gd name="T7" fmla="*/ 133 h 133"/>
                  <a:gd name="T8" fmla="*/ 0 w 222"/>
                  <a:gd name="T9" fmla="*/ 0 h 133"/>
                </a:gdLst>
                <a:ahLst/>
                <a:cxnLst>
                  <a:cxn ang="0">
                    <a:pos x="T0" y="T1"/>
                  </a:cxn>
                  <a:cxn ang="0">
                    <a:pos x="T2" y="T3"/>
                  </a:cxn>
                  <a:cxn ang="0">
                    <a:pos x="T4" y="T5"/>
                  </a:cxn>
                  <a:cxn ang="0">
                    <a:pos x="T6" y="T7"/>
                  </a:cxn>
                  <a:cxn ang="0">
                    <a:pos x="T8" y="T9"/>
                  </a:cxn>
                </a:cxnLst>
                <a:rect l="0" t="0" r="r" b="b"/>
                <a:pathLst>
                  <a:path w="222" h="133">
                    <a:moveTo>
                      <a:pt x="0" y="0"/>
                    </a:moveTo>
                    <a:lnTo>
                      <a:pt x="222" y="0"/>
                    </a:lnTo>
                    <a:lnTo>
                      <a:pt x="141" y="133"/>
                    </a:lnTo>
                    <a:lnTo>
                      <a:pt x="82" y="133"/>
                    </a:lnTo>
                    <a:lnTo>
                      <a:pt x="0" y="0"/>
                    </a:lnTo>
                    <a:close/>
                  </a:path>
                </a:pathLst>
              </a:custGeom>
              <a:solidFill>
                <a:srgbClr val="C6C5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4" name="Freeform 31">
                <a:extLst>
                  <a:ext uri="{FF2B5EF4-FFF2-40B4-BE49-F238E27FC236}">
                    <a16:creationId xmlns:a16="http://schemas.microsoft.com/office/drawing/2014/main" id="{43EC076C-6444-41CB-AA0D-1F1A0F234DD9}"/>
                  </a:ext>
                </a:extLst>
              </p:cNvPr>
              <p:cNvSpPr>
                <a:spLocks/>
              </p:cNvSpPr>
              <p:nvPr/>
            </p:nvSpPr>
            <p:spPr bwMode="gray">
              <a:xfrm rot="16307347">
                <a:off x="8553151" y="3122069"/>
                <a:ext cx="169178" cy="167957"/>
              </a:xfrm>
              <a:custGeom>
                <a:avLst/>
                <a:gdLst>
                  <a:gd name="T0" fmla="*/ 82 w 164"/>
                  <a:gd name="T1" fmla="*/ 133 h 133"/>
                  <a:gd name="T2" fmla="*/ 0 w 164"/>
                  <a:gd name="T3" fmla="*/ 0 h 133"/>
                  <a:gd name="T4" fmla="*/ 164 w 164"/>
                  <a:gd name="T5" fmla="*/ 0 h 133"/>
                  <a:gd name="T6" fmla="*/ 82 w 164"/>
                  <a:gd name="T7" fmla="*/ 133 h 133"/>
                </a:gdLst>
                <a:ahLst/>
                <a:cxnLst>
                  <a:cxn ang="0">
                    <a:pos x="T0" y="T1"/>
                  </a:cxn>
                  <a:cxn ang="0">
                    <a:pos x="T2" y="T3"/>
                  </a:cxn>
                  <a:cxn ang="0">
                    <a:pos x="T4" y="T5"/>
                  </a:cxn>
                  <a:cxn ang="0">
                    <a:pos x="T6" y="T7"/>
                  </a:cxn>
                </a:cxnLst>
                <a:rect l="0" t="0" r="r" b="b"/>
                <a:pathLst>
                  <a:path w="164" h="133">
                    <a:moveTo>
                      <a:pt x="82" y="133"/>
                    </a:moveTo>
                    <a:lnTo>
                      <a:pt x="0" y="0"/>
                    </a:lnTo>
                    <a:lnTo>
                      <a:pt x="164" y="0"/>
                    </a:lnTo>
                    <a:lnTo>
                      <a:pt x="82" y="133"/>
                    </a:lnTo>
                    <a:close/>
                  </a:path>
                </a:pathLst>
              </a:custGeom>
              <a:solidFill>
                <a:srgbClr val="3F3B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7" name="AutoShape 34">
                <a:extLst>
                  <a:ext uri="{FF2B5EF4-FFF2-40B4-BE49-F238E27FC236}">
                    <a16:creationId xmlns:a16="http://schemas.microsoft.com/office/drawing/2014/main" id="{5FDEFCE2-BA20-4C54-A6D1-03B1ACE1306C}"/>
                  </a:ext>
                </a:extLst>
              </p:cNvPr>
              <p:cNvSpPr>
                <a:spLocks noChangeArrowheads="1"/>
              </p:cNvSpPr>
              <p:nvPr/>
            </p:nvSpPr>
            <p:spPr bwMode="gray">
              <a:xfrm rot="21598389">
                <a:off x="7559504" y="3059241"/>
                <a:ext cx="311716" cy="291228"/>
              </a:xfrm>
              <a:prstGeom prst="roundRect">
                <a:avLst>
                  <a:gd name="adj" fmla="val 2106"/>
                </a:avLst>
              </a:prstGeom>
              <a:solidFill>
                <a:srgbClr val="00AE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8" name="Rectangle 35">
                <a:extLst>
                  <a:ext uri="{FF2B5EF4-FFF2-40B4-BE49-F238E27FC236}">
                    <a16:creationId xmlns:a16="http://schemas.microsoft.com/office/drawing/2014/main" id="{45246B8F-E2B6-4107-B33D-B302AC054588}"/>
                  </a:ext>
                </a:extLst>
              </p:cNvPr>
              <p:cNvSpPr>
                <a:spLocks noChangeArrowheads="1"/>
              </p:cNvSpPr>
              <p:nvPr/>
            </p:nvSpPr>
            <p:spPr bwMode="gray">
              <a:xfrm rot="21598389">
                <a:off x="7565198" y="3268296"/>
                <a:ext cx="310293" cy="38669"/>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9" name="Rectangle 36">
                <a:extLst>
                  <a:ext uri="{FF2B5EF4-FFF2-40B4-BE49-F238E27FC236}">
                    <a16:creationId xmlns:a16="http://schemas.microsoft.com/office/drawing/2014/main" id="{803867FE-CF1F-4B82-B7A1-D791D958D33E}"/>
                  </a:ext>
                </a:extLst>
              </p:cNvPr>
              <p:cNvSpPr>
                <a:spLocks noChangeArrowheads="1"/>
              </p:cNvSpPr>
              <p:nvPr/>
            </p:nvSpPr>
            <p:spPr bwMode="gray">
              <a:xfrm rot="21598389">
                <a:off x="7560927" y="3186124"/>
                <a:ext cx="311716" cy="39878"/>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30" name="Rectangle 37">
                <a:extLst>
                  <a:ext uri="{FF2B5EF4-FFF2-40B4-BE49-F238E27FC236}">
                    <a16:creationId xmlns:a16="http://schemas.microsoft.com/office/drawing/2014/main" id="{1D759ADD-3024-400B-B91D-3C19B8A7A377}"/>
                  </a:ext>
                </a:extLst>
              </p:cNvPr>
              <p:cNvSpPr>
                <a:spLocks noChangeArrowheads="1"/>
              </p:cNvSpPr>
              <p:nvPr/>
            </p:nvSpPr>
            <p:spPr bwMode="gray">
              <a:xfrm rot="21598389">
                <a:off x="7556657" y="3105160"/>
                <a:ext cx="311716" cy="36252"/>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31" name="Freeform 38">
                <a:extLst>
                  <a:ext uri="{FF2B5EF4-FFF2-40B4-BE49-F238E27FC236}">
                    <a16:creationId xmlns:a16="http://schemas.microsoft.com/office/drawing/2014/main" id="{9133C001-53E5-4B93-9093-A3FC0E11F8C2}"/>
                  </a:ext>
                </a:extLst>
              </p:cNvPr>
              <p:cNvSpPr>
                <a:spLocks/>
              </p:cNvSpPr>
              <p:nvPr/>
            </p:nvSpPr>
            <p:spPr bwMode="gray">
              <a:xfrm rot="21598389">
                <a:off x="7583701" y="3130537"/>
                <a:ext cx="264745" cy="147427"/>
              </a:xfrm>
              <a:custGeom>
                <a:avLst/>
                <a:gdLst>
                  <a:gd name="T0" fmla="*/ 0 w 222"/>
                  <a:gd name="T1" fmla="*/ 0 h 133"/>
                  <a:gd name="T2" fmla="*/ 222 w 222"/>
                  <a:gd name="T3" fmla="*/ 0 h 133"/>
                  <a:gd name="T4" fmla="*/ 141 w 222"/>
                  <a:gd name="T5" fmla="*/ 133 h 133"/>
                  <a:gd name="T6" fmla="*/ 82 w 222"/>
                  <a:gd name="T7" fmla="*/ 133 h 133"/>
                  <a:gd name="T8" fmla="*/ 0 w 222"/>
                  <a:gd name="T9" fmla="*/ 0 h 133"/>
                </a:gdLst>
                <a:ahLst/>
                <a:cxnLst>
                  <a:cxn ang="0">
                    <a:pos x="T0" y="T1"/>
                  </a:cxn>
                  <a:cxn ang="0">
                    <a:pos x="T2" y="T3"/>
                  </a:cxn>
                  <a:cxn ang="0">
                    <a:pos x="T4" y="T5"/>
                  </a:cxn>
                  <a:cxn ang="0">
                    <a:pos x="T6" y="T7"/>
                  </a:cxn>
                  <a:cxn ang="0">
                    <a:pos x="T8" y="T9"/>
                  </a:cxn>
                </a:cxnLst>
                <a:rect l="0" t="0" r="r" b="b"/>
                <a:pathLst>
                  <a:path w="222" h="133">
                    <a:moveTo>
                      <a:pt x="0" y="0"/>
                    </a:moveTo>
                    <a:lnTo>
                      <a:pt x="222" y="0"/>
                    </a:lnTo>
                    <a:lnTo>
                      <a:pt x="141" y="133"/>
                    </a:lnTo>
                    <a:lnTo>
                      <a:pt x="82" y="133"/>
                    </a:lnTo>
                    <a:lnTo>
                      <a:pt x="0" y="0"/>
                    </a:lnTo>
                    <a:close/>
                  </a:path>
                </a:pathLst>
              </a:custGeom>
              <a:solidFill>
                <a:srgbClr val="C6C5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32" name="Freeform 39">
                <a:extLst>
                  <a:ext uri="{FF2B5EF4-FFF2-40B4-BE49-F238E27FC236}">
                    <a16:creationId xmlns:a16="http://schemas.microsoft.com/office/drawing/2014/main" id="{BBDEBFEE-C0C6-4784-B09F-D08B9477BD98}"/>
                  </a:ext>
                </a:extLst>
              </p:cNvPr>
              <p:cNvSpPr>
                <a:spLocks/>
              </p:cNvSpPr>
              <p:nvPr/>
            </p:nvSpPr>
            <p:spPr bwMode="gray">
              <a:xfrm rot="5398389">
                <a:off x="7627322" y="3121481"/>
                <a:ext cx="170387" cy="167957"/>
              </a:xfrm>
              <a:custGeom>
                <a:avLst/>
                <a:gdLst>
                  <a:gd name="T0" fmla="*/ 82 w 164"/>
                  <a:gd name="T1" fmla="*/ 133 h 133"/>
                  <a:gd name="T2" fmla="*/ 0 w 164"/>
                  <a:gd name="T3" fmla="*/ 0 h 133"/>
                  <a:gd name="T4" fmla="*/ 164 w 164"/>
                  <a:gd name="T5" fmla="*/ 0 h 133"/>
                  <a:gd name="T6" fmla="*/ 82 w 164"/>
                  <a:gd name="T7" fmla="*/ 133 h 133"/>
                </a:gdLst>
                <a:ahLst/>
                <a:cxnLst>
                  <a:cxn ang="0">
                    <a:pos x="T0" y="T1"/>
                  </a:cxn>
                  <a:cxn ang="0">
                    <a:pos x="T2" y="T3"/>
                  </a:cxn>
                  <a:cxn ang="0">
                    <a:pos x="T4" y="T5"/>
                  </a:cxn>
                  <a:cxn ang="0">
                    <a:pos x="T6" y="T7"/>
                  </a:cxn>
                </a:cxnLst>
                <a:rect l="0" t="0" r="r" b="b"/>
                <a:pathLst>
                  <a:path w="164" h="133">
                    <a:moveTo>
                      <a:pt x="82" y="133"/>
                    </a:moveTo>
                    <a:lnTo>
                      <a:pt x="0" y="0"/>
                    </a:lnTo>
                    <a:lnTo>
                      <a:pt x="164" y="0"/>
                    </a:lnTo>
                    <a:lnTo>
                      <a:pt x="82" y="133"/>
                    </a:lnTo>
                    <a:close/>
                  </a:path>
                </a:pathLst>
              </a:custGeom>
              <a:solidFill>
                <a:srgbClr val="3F3B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33" name="Freeform 40">
                <a:extLst>
                  <a:ext uri="{FF2B5EF4-FFF2-40B4-BE49-F238E27FC236}">
                    <a16:creationId xmlns:a16="http://schemas.microsoft.com/office/drawing/2014/main" id="{ED139512-F96C-43A7-BC73-2E6237C73BAB}"/>
                  </a:ext>
                </a:extLst>
              </p:cNvPr>
              <p:cNvSpPr>
                <a:spLocks/>
              </p:cNvSpPr>
              <p:nvPr/>
            </p:nvSpPr>
            <p:spPr bwMode="gray">
              <a:xfrm rot="21598389">
                <a:off x="7984417" y="3044740"/>
                <a:ext cx="347300" cy="323855"/>
              </a:xfrm>
              <a:custGeom>
                <a:avLst/>
                <a:gdLst>
                  <a:gd name="T0" fmla="*/ 11 w 291"/>
                  <a:gd name="T1" fmla="*/ 0 h 292"/>
                  <a:gd name="T2" fmla="*/ 283 w 291"/>
                  <a:gd name="T3" fmla="*/ 0 h 292"/>
                  <a:gd name="T4" fmla="*/ 291 w 291"/>
                  <a:gd name="T5" fmla="*/ 4 h 292"/>
                  <a:gd name="T6" fmla="*/ 3 w 291"/>
                  <a:gd name="T7" fmla="*/ 292 h 292"/>
                  <a:gd name="T8" fmla="*/ 1 w 291"/>
                  <a:gd name="T9" fmla="*/ 288 h 292"/>
                  <a:gd name="T10" fmla="*/ 0 w 291"/>
                  <a:gd name="T11" fmla="*/ 284 h 292"/>
                  <a:gd name="T12" fmla="*/ 0 w 291"/>
                  <a:gd name="T13" fmla="*/ 12 h 292"/>
                  <a:gd name="T14" fmla="*/ 1 w 291"/>
                  <a:gd name="T15" fmla="*/ 7 h 292"/>
                  <a:gd name="T16" fmla="*/ 3 w 291"/>
                  <a:gd name="T17" fmla="*/ 4 h 292"/>
                  <a:gd name="T18" fmla="*/ 11 w 291"/>
                  <a:gd name="T19"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1" h="292">
                    <a:moveTo>
                      <a:pt x="11" y="0"/>
                    </a:moveTo>
                    <a:lnTo>
                      <a:pt x="283" y="0"/>
                    </a:lnTo>
                    <a:lnTo>
                      <a:pt x="291" y="4"/>
                    </a:lnTo>
                    <a:lnTo>
                      <a:pt x="3" y="292"/>
                    </a:lnTo>
                    <a:lnTo>
                      <a:pt x="1" y="288"/>
                    </a:lnTo>
                    <a:lnTo>
                      <a:pt x="0" y="284"/>
                    </a:lnTo>
                    <a:lnTo>
                      <a:pt x="0" y="12"/>
                    </a:lnTo>
                    <a:lnTo>
                      <a:pt x="1" y="7"/>
                    </a:lnTo>
                    <a:lnTo>
                      <a:pt x="3" y="4"/>
                    </a:lnTo>
                    <a:lnTo>
                      <a:pt x="1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34" name="Freeform 41">
                <a:extLst>
                  <a:ext uri="{FF2B5EF4-FFF2-40B4-BE49-F238E27FC236}">
                    <a16:creationId xmlns:a16="http://schemas.microsoft.com/office/drawing/2014/main" id="{4082163E-C120-4422-8AF3-A4506BCA3DCD}"/>
                  </a:ext>
                </a:extLst>
              </p:cNvPr>
              <p:cNvSpPr>
                <a:spLocks/>
              </p:cNvSpPr>
              <p:nvPr/>
            </p:nvSpPr>
            <p:spPr bwMode="gray">
              <a:xfrm rot="21598389">
                <a:off x="7987264" y="3049573"/>
                <a:ext cx="347300" cy="323855"/>
              </a:xfrm>
              <a:custGeom>
                <a:avLst/>
                <a:gdLst>
                  <a:gd name="T0" fmla="*/ 288 w 291"/>
                  <a:gd name="T1" fmla="*/ 0 h 291"/>
                  <a:gd name="T2" fmla="*/ 291 w 291"/>
                  <a:gd name="T3" fmla="*/ 3 h 291"/>
                  <a:gd name="T4" fmla="*/ 291 w 291"/>
                  <a:gd name="T5" fmla="*/ 8 h 291"/>
                  <a:gd name="T6" fmla="*/ 291 w 291"/>
                  <a:gd name="T7" fmla="*/ 280 h 291"/>
                  <a:gd name="T8" fmla="*/ 291 w 291"/>
                  <a:gd name="T9" fmla="*/ 284 h 291"/>
                  <a:gd name="T10" fmla="*/ 288 w 291"/>
                  <a:gd name="T11" fmla="*/ 288 h 291"/>
                  <a:gd name="T12" fmla="*/ 280 w 291"/>
                  <a:gd name="T13" fmla="*/ 291 h 291"/>
                  <a:gd name="T14" fmla="*/ 8 w 291"/>
                  <a:gd name="T15" fmla="*/ 291 h 291"/>
                  <a:gd name="T16" fmla="*/ 0 w 291"/>
                  <a:gd name="T17" fmla="*/ 288 h 291"/>
                  <a:gd name="T18" fmla="*/ 288 w 291"/>
                  <a:gd name="T19"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1" h="291">
                    <a:moveTo>
                      <a:pt x="288" y="0"/>
                    </a:moveTo>
                    <a:lnTo>
                      <a:pt x="291" y="3"/>
                    </a:lnTo>
                    <a:lnTo>
                      <a:pt x="291" y="8"/>
                    </a:lnTo>
                    <a:lnTo>
                      <a:pt x="291" y="280"/>
                    </a:lnTo>
                    <a:lnTo>
                      <a:pt x="291" y="284"/>
                    </a:lnTo>
                    <a:lnTo>
                      <a:pt x="288" y="288"/>
                    </a:lnTo>
                    <a:lnTo>
                      <a:pt x="280" y="291"/>
                    </a:lnTo>
                    <a:lnTo>
                      <a:pt x="8" y="291"/>
                    </a:lnTo>
                    <a:lnTo>
                      <a:pt x="0" y="288"/>
                    </a:lnTo>
                    <a:lnTo>
                      <a:pt x="288" y="0"/>
                    </a:lnTo>
                    <a:close/>
                  </a:path>
                </a:pathLst>
              </a:custGeom>
              <a:solidFill>
                <a:srgbClr val="3F3B3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35" name="AutoShape 42">
                <a:extLst>
                  <a:ext uri="{FF2B5EF4-FFF2-40B4-BE49-F238E27FC236}">
                    <a16:creationId xmlns:a16="http://schemas.microsoft.com/office/drawing/2014/main" id="{C9366C9D-91F7-4143-870E-27FB78C4330F}"/>
                  </a:ext>
                </a:extLst>
              </p:cNvPr>
              <p:cNvSpPr>
                <a:spLocks noChangeArrowheads="1"/>
              </p:cNvSpPr>
              <p:nvPr/>
            </p:nvSpPr>
            <p:spPr bwMode="gray">
              <a:xfrm rot="21598389">
                <a:off x="8005768" y="3064074"/>
                <a:ext cx="310293" cy="291228"/>
              </a:xfrm>
              <a:prstGeom prst="roundRect">
                <a:avLst>
                  <a:gd name="adj" fmla="val 2106"/>
                </a:avLst>
              </a:prstGeom>
              <a:solidFill>
                <a:srgbClr val="00AEE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1200" cap="none" spc="0" normalizeH="0" baseline="0" noProof="0">
                  <a:ln>
                    <a:noFill/>
                  </a:ln>
                  <a:solidFill>
                    <a:srgbClr val="000000"/>
                  </a:solidFill>
                  <a:effectLst/>
                  <a:uLnTx/>
                  <a:uFillTx/>
                  <a:latin typeface="ABBvoice"/>
                  <a:ea typeface="ABBvoice"/>
                  <a:cs typeface="Times New Roman" panose="02020603050405020304" pitchFamily="18" charset="0"/>
                </a:endParaRPr>
              </a:p>
            </p:txBody>
          </p:sp>
          <p:sp>
            <p:nvSpPr>
              <p:cNvPr id="36" name="Rectangle 43">
                <a:extLst>
                  <a:ext uri="{FF2B5EF4-FFF2-40B4-BE49-F238E27FC236}">
                    <a16:creationId xmlns:a16="http://schemas.microsoft.com/office/drawing/2014/main" id="{712FC2FB-D24C-4033-A55F-8DABF57378EE}"/>
                  </a:ext>
                </a:extLst>
              </p:cNvPr>
              <p:cNvSpPr>
                <a:spLocks noChangeArrowheads="1"/>
              </p:cNvSpPr>
              <p:nvPr/>
            </p:nvSpPr>
            <p:spPr bwMode="gray">
              <a:xfrm rot="21598389">
                <a:off x="8008614" y="3273130"/>
                <a:ext cx="311716" cy="39878"/>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37" name="Rectangle 44">
                <a:extLst>
                  <a:ext uri="{FF2B5EF4-FFF2-40B4-BE49-F238E27FC236}">
                    <a16:creationId xmlns:a16="http://schemas.microsoft.com/office/drawing/2014/main" id="{886862F6-9F5B-42F7-BD76-FAE3E7C4533E}"/>
                  </a:ext>
                </a:extLst>
              </p:cNvPr>
              <p:cNvSpPr>
                <a:spLocks noChangeArrowheads="1"/>
              </p:cNvSpPr>
              <p:nvPr/>
            </p:nvSpPr>
            <p:spPr bwMode="gray">
              <a:xfrm rot="21598389">
                <a:off x="8005768" y="3190958"/>
                <a:ext cx="310293" cy="39878"/>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38" name="Rectangle 45">
                <a:extLst>
                  <a:ext uri="{FF2B5EF4-FFF2-40B4-BE49-F238E27FC236}">
                    <a16:creationId xmlns:a16="http://schemas.microsoft.com/office/drawing/2014/main" id="{EB3EA3D3-5106-4BBE-AA43-2D7820E9A958}"/>
                  </a:ext>
                </a:extLst>
              </p:cNvPr>
              <p:cNvSpPr>
                <a:spLocks noChangeArrowheads="1"/>
              </p:cNvSpPr>
              <p:nvPr/>
            </p:nvSpPr>
            <p:spPr bwMode="gray">
              <a:xfrm rot="21598389">
                <a:off x="8001497" y="3108786"/>
                <a:ext cx="311716" cy="37461"/>
              </a:xfrm>
              <a:prstGeom prst="rect">
                <a:avLst/>
              </a:prstGeom>
              <a:solidFill>
                <a:srgbClr val="C6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39" name="Freeform 46">
                <a:extLst>
                  <a:ext uri="{FF2B5EF4-FFF2-40B4-BE49-F238E27FC236}">
                    <a16:creationId xmlns:a16="http://schemas.microsoft.com/office/drawing/2014/main" id="{C68D5654-ADB2-42DB-B317-AF6658D6E82D}"/>
                  </a:ext>
                </a:extLst>
              </p:cNvPr>
              <p:cNvSpPr>
                <a:spLocks/>
              </p:cNvSpPr>
              <p:nvPr/>
            </p:nvSpPr>
            <p:spPr bwMode="gray">
              <a:xfrm rot="21598389">
                <a:off x="8027118" y="3135371"/>
                <a:ext cx="264745" cy="147427"/>
              </a:xfrm>
              <a:custGeom>
                <a:avLst/>
                <a:gdLst>
                  <a:gd name="T0" fmla="*/ 0 w 222"/>
                  <a:gd name="T1" fmla="*/ 0 h 133"/>
                  <a:gd name="T2" fmla="*/ 222 w 222"/>
                  <a:gd name="T3" fmla="*/ 0 h 133"/>
                  <a:gd name="T4" fmla="*/ 141 w 222"/>
                  <a:gd name="T5" fmla="*/ 133 h 133"/>
                  <a:gd name="T6" fmla="*/ 82 w 222"/>
                  <a:gd name="T7" fmla="*/ 133 h 133"/>
                  <a:gd name="T8" fmla="*/ 0 w 222"/>
                  <a:gd name="T9" fmla="*/ 0 h 133"/>
                </a:gdLst>
                <a:ahLst/>
                <a:cxnLst>
                  <a:cxn ang="0">
                    <a:pos x="T0" y="T1"/>
                  </a:cxn>
                  <a:cxn ang="0">
                    <a:pos x="T2" y="T3"/>
                  </a:cxn>
                  <a:cxn ang="0">
                    <a:pos x="T4" y="T5"/>
                  </a:cxn>
                  <a:cxn ang="0">
                    <a:pos x="T6" y="T7"/>
                  </a:cxn>
                  <a:cxn ang="0">
                    <a:pos x="T8" y="T9"/>
                  </a:cxn>
                </a:cxnLst>
                <a:rect l="0" t="0" r="r" b="b"/>
                <a:pathLst>
                  <a:path w="222" h="133">
                    <a:moveTo>
                      <a:pt x="0" y="0"/>
                    </a:moveTo>
                    <a:lnTo>
                      <a:pt x="222" y="0"/>
                    </a:lnTo>
                    <a:lnTo>
                      <a:pt x="141" y="133"/>
                    </a:lnTo>
                    <a:lnTo>
                      <a:pt x="82" y="133"/>
                    </a:lnTo>
                    <a:lnTo>
                      <a:pt x="0" y="0"/>
                    </a:lnTo>
                    <a:close/>
                  </a:path>
                </a:pathLst>
              </a:custGeom>
              <a:solidFill>
                <a:srgbClr val="C6C5C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0" name="Text Box 47">
                <a:extLst>
                  <a:ext uri="{FF2B5EF4-FFF2-40B4-BE49-F238E27FC236}">
                    <a16:creationId xmlns:a16="http://schemas.microsoft.com/office/drawing/2014/main" id="{E4B37B4D-2059-45E8-A0E4-40A4AFFFF77F}"/>
                  </a:ext>
                </a:extLst>
              </p:cNvPr>
              <p:cNvSpPr txBox="1">
                <a:spLocks noChangeArrowheads="1"/>
              </p:cNvSpPr>
              <p:nvPr/>
            </p:nvSpPr>
            <p:spPr bwMode="gray">
              <a:xfrm rot="21598389">
                <a:off x="7974454" y="3093076"/>
                <a:ext cx="352994" cy="1981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100" b="0" i="0" u="none" strike="noStrike" kern="1200" cap="none" spc="0" normalizeH="0" baseline="0" noProof="0" dirty="0">
                    <a:ln>
                      <a:noFill/>
                    </a:ln>
                    <a:solidFill>
                      <a:srgbClr val="000000"/>
                    </a:solidFill>
                    <a:effectLst/>
                    <a:uLnTx/>
                    <a:uFillTx/>
                    <a:latin typeface="ABBvoice"/>
                    <a:ea typeface="ABBvoice"/>
                    <a:cs typeface="Times New Roman" panose="02020603050405020304" pitchFamily="18" charset="0"/>
                  </a:rPr>
                  <a:t>OK</a:t>
                </a:r>
              </a:p>
            </p:txBody>
          </p:sp>
        </p:grpSp>
      </p:grpSp>
      <p:sp>
        <p:nvSpPr>
          <p:cNvPr id="63" name="Rectangle: Rounded Corners 62">
            <a:extLst>
              <a:ext uri="{FF2B5EF4-FFF2-40B4-BE49-F238E27FC236}">
                <a16:creationId xmlns:a16="http://schemas.microsoft.com/office/drawing/2014/main" id="{00CA6DC9-1B69-4461-87E7-56D44451FF7D}"/>
              </a:ext>
            </a:extLst>
          </p:cNvPr>
          <p:cNvSpPr/>
          <p:nvPr/>
        </p:nvSpPr>
        <p:spPr bwMode="gray">
          <a:xfrm>
            <a:off x="1035085" y="4793046"/>
            <a:ext cx="413754" cy="328447"/>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000F"/>
              </a:solidFill>
              <a:effectLst/>
              <a:uLnTx/>
              <a:uFillTx/>
              <a:latin typeface="ABBvoice"/>
              <a:ea typeface="ABBvoice"/>
              <a:cs typeface="ABBvoice"/>
            </a:endParaRPr>
          </a:p>
        </p:txBody>
      </p:sp>
      <p:sp>
        <p:nvSpPr>
          <p:cNvPr id="64" name="Rectangle: Rounded Corners 63">
            <a:extLst>
              <a:ext uri="{FF2B5EF4-FFF2-40B4-BE49-F238E27FC236}">
                <a16:creationId xmlns:a16="http://schemas.microsoft.com/office/drawing/2014/main" id="{EE92C1DF-6ADF-48EB-A29C-390EC191E265}"/>
              </a:ext>
            </a:extLst>
          </p:cNvPr>
          <p:cNvSpPr/>
          <p:nvPr/>
        </p:nvSpPr>
        <p:spPr bwMode="gray">
          <a:xfrm>
            <a:off x="4527850" y="4713345"/>
            <a:ext cx="593867" cy="471425"/>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000F"/>
              </a:solidFill>
              <a:effectLst/>
              <a:uLnTx/>
              <a:uFillTx/>
              <a:latin typeface="ABBvoice"/>
              <a:ea typeface="ABBvoice"/>
              <a:cs typeface="ABBvoice"/>
            </a:endParaRPr>
          </a:p>
        </p:txBody>
      </p:sp>
      <p:cxnSp>
        <p:nvCxnSpPr>
          <p:cNvPr id="66" name="Straight Arrow Connector 65">
            <a:extLst>
              <a:ext uri="{FF2B5EF4-FFF2-40B4-BE49-F238E27FC236}">
                <a16:creationId xmlns:a16="http://schemas.microsoft.com/office/drawing/2014/main" id="{6A15BB1F-A68C-4836-9CA2-0ED21AEB61A0}"/>
              </a:ext>
            </a:extLst>
          </p:cNvPr>
          <p:cNvCxnSpPr/>
          <p:nvPr/>
        </p:nvCxnSpPr>
        <p:spPr bwMode="gray">
          <a:xfrm>
            <a:off x="1457574" y="4951691"/>
            <a:ext cx="3060000" cy="0"/>
          </a:xfrm>
          <a:prstGeom prst="straightConnector1">
            <a:avLst/>
          </a:prstGeom>
          <a:ln w="19050">
            <a:solidFill>
              <a:schemeClr val="bg2"/>
            </a:solidFill>
            <a:tailEnd type="arrow" w="med" len="sm"/>
          </a:ln>
        </p:spPr>
        <p:style>
          <a:lnRef idx="1">
            <a:schemeClr val="accent1"/>
          </a:lnRef>
          <a:fillRef idx="0">
            <a:schemeClr val="accent1"/>
          </a:fillRef>
          <a:effectRef idx="0">
            <a:schemeClr val="accent1"/>
          </a:effectRef>
          <a:fontRef idx="minor">
            <a:schemeClr val="tx1"/>
          </a:fontRef>
        </p:style>
      </p:cxnSp>
      <p:grpSp>
        <p:nvGrpSpPr>
          <p:cNvPr id="67" name="Group 66">
            <a:extLst>
              <a:ext uri="{FF2B5EF4-FFF2-40B4-BE49-F238E27FC236}">
                <a16:creationId xmlns:a16="http://schemas.microsoft.com/office/drawing/2014/main" id="{D0DD141E-2A05-40B2-B1B3-3F774643ECFD}"/>
              </a:ext>
            </a:extLst>
          </p:cNvPr>
          <p:cNvGrpSpPr>
            <a:grpSpLocks noChangeAspect="1"/>
          </p:cNvGrpSpPr>
          <p:nvPr/>
        </p:nvGrpSpPr>
        <p:grpSpPr bwMode="gray">
          <a:xfrm>
            <a:off x="8124850" y="1953405"/>
            <a:ext cx="1993693" cy="1993686"/>
            <a:chOff x="4460522" y="3577164"/>
            <a:chExt cx="571277" cy="571275"/>
          </a:xfrm>
        </p:grpSpPr>
        <p:sp>
          <p:nvSpPr>
            <p:cNvPr id="68" name="Oval 67">
              <a:extLst>
                <a:ext uri="{FF2B5EF4-FFF2-40B4-BE49-F238E27FC236}">
                  <a16:creationId xmlns:a16="http://schemas.microsoft.com/office/drawing/2014/main" id="{5186C94B-0552-4F43-957A-07FCD275CA4A}"/>
                </a:ext>
              </a:extLst>
            </p:cNvPr>
            <p:cNvSpPr/>
            <p:nvPr/>
          </p:nvSpPr>
          <p:spPr bwMode="gray">
            <a:xfrm>
              <a:off x="4460522" y="3577164"/>
              <a:ext cx="571277" cy="571275"/>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69" name="Group 68">
              <a:extLst>
                <a:ext uri="{FF2B5EF4-FFF2-40B4-BE49-F238E27FC236}">
                  <a16:creationId xmlns:a16="http://schemas.microsoft.com/office/drawing/2014/main" id="{6DC75671-F95E-4424-B375-94F8618C97F2}"/>
                </a:ext>
              </a:extLst>
            </p:cNvPr>
            <p:cNvGrpSpPr/>
            <p:nvPr/>
          </p:nvGrpSpPr>
          <p:grpSpPr bwMode="gray">
            <a:xfrm>
              <a:off x="4599570" y="3674481"/>
              <a:ext cx="293180" cy="376641"/>
              <a:chOff x="4570500" y="2442210"/>
              <a:chExt cx="447501" cy="574893"/>
            </a:xfrm>
          </p:grpSpPr>
          <p:grpSp>
            <p:nvGrpSpPr>
              <p:cNvPr id="70" name="Group 69">
                <a:extLst>
                  <a:ext uri="{FF2B5EF4-FFF2-40B4-BE49-F238E27FC236}">
                    <a16:creationId xmlns:a16="http://schemas.microsoft.com/office/drawing/2014/main" id="{9662C1DA-C97A-43F4-A78A-98B4C388BD5A}"/>
                  </a:ext>
                </a:extLst>
              </p:cNvPr>
              <p:cNvGrpSpPr/>
              <p:nvPr/>
            </p:nvGrpSpPr>
            <p:grpSpPr bwMode="gray">
              <a:xfrm rot="4500000">
                <a:off x="4662281" y="2390435"/>
                <a:ext cx="263940" cy="367490"/>
                <a:chOff x="10885376" y="954087"/>
                <a:chExt cx="243036" cy="338384"/>
              </a:xfrm>
              <a:solidFill>
                <a:schemeClr val="bg1"/>
              </a:solidFill>
            </p:grpSpPr>
            <p:sp>
              <p:nvSpPr>
                <p:cNvPr id="79" name="Rounded Rectangle 681">
                  <a:extLst>
                    <a:ext uri="{FF2B5EF4-FFF2-40B4-BE49-F238E27FC236}">
                      <a16:creationId xmlns:a16="http://schemas.microsoft.com/office/drawing/2014/main" id="{57FE7765-9863-476B-A755-6061FD4F1BA3}"/>
                    </a:ext>
                  </a:extLst>
                </p:cNvPr>
                <p:cNvSpPr/>
                <p:nvPr/>
              </p:nvSpPr>
              <p:spPr bwMode="gray">
                <a:xfrm rot="900000">
                  <a:off x="10885376" y="954087"/>
                  <a:ext cx="243036" cy="338384"/>
                </a:xfrm>
                <a:prstGeom prst="round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80" name="Rounded Rectangle 682">
                  <a:extLst>
                    <a:ext uri="{FF2B5EF4-FFF2-40B4-BE49-F238E27FC236}">
                      <a16:creationId xmlns:a16="http://schemas.microsoft.com/office/drawing/2014/main" id="{15893CA0-9117-4FC9-9D1D-601B7A2DCD1D}"/>
                    </a:ext>
                  </a:extLst>
                </p:cNvPr>
                <p:cNvSpPr/>
                <p:nvPr/>
              </p:nvSpPr>
              <p:spPr bwMode="gray">
                <a:xfrm rot="900000">
                  <a:off x="10910203" y="974409"/>
                  <a:ext cx="167411" cy="290770"/>
                </a:xfrm>
                <a:prstGeom prst="roundRect">
                  <a:avLst>
                    <a:gd name="adj" fmla="val 9634"/>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nvGrpSpPr>
              <p:cNvPr id="71" name="Group 70">
                <a:extLst>
                  <a:ext uri="{FF2B5EF4-FFF2-40B4-BE49-F238E27FC236}">
                    <a16:creationId xmlns:a16="http://schemas.microsoft.com/office/drawing/2014/main" id="{A58F1F8F-C52F-4DB8-8AF6-6ED957B43A04}"/>
                  </a:ext>
                </a:extLst>
              </p:cNvPr>
              <p:cNvGrpSpPr/>
              <p:nvPr/>
            </p:nvGrpSpPr>
            <p:grpSpPr bwMode="gray">
              <a:xfrm>
                <a:off x="4570500" y="2486694"/>
                <a:ext cx="447501" cy="530409"/>
                <a:chOff x="9669203" y="206632"/>
                <a:chExt cx="804061" cy="953034"/>
              </a:xfrm>
              <a:solidFill>
                <a:schemeClr val="bg1"/>
              </a:solidFill>
            </p:grpSpPr>
            <p:sp>
              <p:nvSpPr>
                <p:cNvPr id="76" name="Rounded Rectangle 25">
                  <a:extLst>
                    <a:ext uri="{FF2B5EF4-FFF2-40B4-BE49-F238E27FC236}">
                      <a16:creationId xmlns:a16="http://schemas.microsoft.com/office/drawing/2014/main" id="{5C9F13FA-F9A4-4E97-87C7-56EE621B71A3}"/>
                    </a:ext>
                  </a:extLst>
                </p:cNvPr>
                <p:cNvSpPr/>
                <p:nvPr/>
              </p:nvSpPr>
              <p:spPr bwMode="gray">
                <a:xfrm rot="21372172" flipH="1">
                  <a:off x="9873222" y="561096"/>
                  <a:ext cx="412946" cy="239497"/>
                </a:xfrm>
                <a:custGeom>
                  <a:avLst/>
                  <a:gdLst/>
                  <a:ahLst/>
                  <a:cxnLst/>
                  <a:rect l="l" t="t" r="r" b="b"/>
                  <a:pathLst>
                    <a:path w="412946" h="239497">
                      <a:moveTo>
                        <a:pt x="412946" y="0"/>
                      </a:moveTo>
                      <a:lnTo>
                        <a:pt x="336086" y="50718"/>
                      </a:lnTo>
                      <a:lnTo>
                        <a:pt x="240000" y="58157"/>
                      </a:lnTo>
                      <a:lnTo>
                        <a:pt x="240064" y="59000"/>
                      </a:lnTo>
                      <a:lnTo>
                        <a:pt x="201710" y="61123"/>
                      </a:lnTo>
                      <a:lnTo>
                        <a:pt x="163411" y="64087"/>
                      </a:lnTo>
                      <a:lnTo>
                        <a:pt x="163363" y="63244"/>
                      </a:lnTo>
                      <a:lnTo>
                        <a:pt x="67137" y="68568"/>
                      </a:lnTo>
                      <a:lnTo>
                        <a:pt x="0" y="36075"/>
                      </a:lnTo>
                      <a:lnTo>
                        <a:pt x="6957" y="88249"/>
                      </a:lnTo>
                      <a:cubicBezTo>
                        <a:pt x="8814" y="102190"/>
                        <a:pt x="21596" y="111996"/>
                        <a:pt x="35524" y="110152"/>
                      </a:cubicBezTo>
                      <a:cubicBezTo>
                        <a:pt x="56981" y="172765"/>
                        <a:pt x="100502" y="220738"/>
                        <a:pt x="153345" y="239497"/>
                      </a:cubicBezTo>
                      <a:lnTo>
                        <a:pt x="226051" y="234672"/>
                      </a:lnTo>
                      <a:lnTo>
                        <a:pt x="287830" y="230571"/>
                      </a:lnTo>
                      <a:cubicBezTo>
                        <a:pt x="337731" y="204993"/>
                        <a:pt x="374528" y="151690"/>
                        <a:pt x="387522" y="86791"/>
                      </a:cubicBezTo>
                      <a:cubicBezTo>
                        <a:pt x="401573" y="86778"/>
                        <a:pt x="412945" y="75369"/>
                        <a:pt x="412946" y="61305"/>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77" name="Rounded Rectangle 43">
                  <a:extLst>
                    <a:ext uri="{FF2B5EF4-FFF2-40B4-BE49-F238E27FC236}">
                      <a16:creationId xmlns:a16="http://schemas.microsoft.com/office/drawing/2014/main" id="{31A58CAC-C540-4EAC-83BB-93C2C3AFC831}"/>
                    </a:ext>
                  </a:extLst>
                </p:cNvPr>
                <p:cNvSpPr/>
                <p:nvPr/>
              </p:nvSpPr>
              <p:spPr bwMode="gray">
                <a:xfrm>
                  <a:off x="9833169" y="206632"/>
                  <a:ext cx="494794" cy="415822"/>
                </a:xfrm>
                <a:custGeom>
                  <a:avLst/>
                  <a:gdLst/>
                  <a:ahLst/>
                  <a:cxnLst/>
                  <a:rect l="l" t="t" r="r" b="b"/>
                  <a:pathLst>
                    <a:path w="494794" h="415822">
                      <a:moveTo>
                        <a:pt x="183237" y="0"/>
                      </a:moveTo>
                      <a:lnTo>
                        <a:pt x="212796" y="0"/>
                      </a:lnTo>
                      <a:lnTo>
                        <a:pt x="229220" y="0"/>
                      </a:lnTo>
                      <a:lnTo>
                        <a:pt x="233061" y="0"/>
                      </a:lnTo>
                      <a:lnTo>
                        <a:pt x="261733" y="0"/>
                      </a:lnTo>
                      <a:lnTo>
                        <a:pt x="265574" y="0"/>
                      </a:lnTo>
                      <a:lnTo>
                        <a:pt x="281998" y="0"/>
                      </a:lnTo>
                      <a:lnTo>
                        <a:pt x="311557" y="0"/>
                      </a:lnTo>
                      <a:cubicBezTo>
                        <a:pt x="327529" y="5063"/>
                        <a:pt x="338283" y="10270"/>
                        <a:pt x="344104" y="30378"/>
                      </a:cubicBezTo>
                      <a:cubicBezTo>
                        <a:pt x="349925" y="50486"/>
                        <a:pt x="342912" y="119114"/>
                        <a:pt x="346483" y="120651"/>
                      </a:cubicBezTo>
                      <a:lnTo>
                        <a:pt x="346483" y="39598"/>
                      </a:lnTo>
                      <a:cubicBezTo>
                        <a:pt x="435021" y="77636"/>
                        <a:pt x="470220" y="146216"/>
                        <a:pt x="470220" y="229974"/>
                      </a:cubicBezTo>
                      <a:lnTo>
                        <a:pt x="494794" y="256561"/>
                      </a:lnTo>
                      <a:lnTo>
                        <a:pt x="494794" y="323091"/>
                      </a:lnTo>
                      <a:cubicBezTo>
                        <a:pt x="494794" y="332277"/>
                        <a:pt x="481632" y="362584"/>
                        <a:pt x="472446" y="362584"/>
                      </a:cubicBezTo>
                      <a:lnTo>
                        <a:pt x="382167" y="413917"/>
                      </a:lnTo>
                      <a:lnTo>
                        <a:pt x="285800" y="414977"/>
                      </a:lnTo>
                      <a:lnTo>
                        <a:pt x="285808" y="415822"/>
                      </a:lnTo>
                      <a:lnTo>
                        <a:pt x="247397" y="415400"/>
                      </a:lnTo>
                      <a:lnTo>
                        <a:pt x="208986" y="415822"/>
                      </a:lnTo>
                      <a:lnTo>
                        <a:pt x="208994" y="414977"/>
                      </a:lnTo>
                      <a:lnTo>
                        <a:pt x="112627" y="413917"/>
                      </a:lnTo>
                      <a:lnTo>
                        <a:pt x="22348" y="362584"/>
                      </a:lnTo>
                      <a:cubicBezTo>
                        <a:pt x="13162" y="362584"/>
                        <a:pt x="0" y="332277"/>
                        <a:pt x="0" y="323091"/>
                      </a:cubicBezTo>
                      <a:lnTo>
                        <a:pt x="0" y="256561"/>
                      </a:lnTo>
                      <a:lnTo>
                        <a:pt x="24574" y="229974"/>
                      </a:lnTo>
                      <a:cubicBezTo>
                        <a:pt x="24574" y="146216"/>
                        <a:pt x="59773" y="77636"/>
                        <a:pt x="148311" y="39598"/>
                      </a:cubicBezTo>
                      <a:lnTo>
                        <a:pt x="148311" y="120651"/>
                      </a:lnTo>
                      <a:cubicBezTo>
                        <a:pt x="151882" y="119114"/>
                        <a:pt x="144869" y="50486"/>
                        <a:pt x="150690" y="30378"/>
                      </a:cubicBezTo>
                      <a:cubicBezTo>
                        <a:pt x="156511" y="10270"/>
                        <a:pt x="167265" y="5063"/>
                        <a:pt x="183237" y="0"/>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78" name="Freeform 680">
                  <a:extLst>
                    <a:ext uri="{FF2B5EF4-FFF2-40B4-BE49-F238E27FC236}">
                      <a16:creationId xmlns:a16="http://schemas.microsoft.com/office/drawing/2014/main" id="{46327330-DCC8-4CE6-87CB-9FEE0B52F47C}"/>
                    </a:ext>
                  </a:extLst>
                </p:cNvPr>
                <p:cNvSpPr/>
                <p:nvPr/>
              </p:nvSpPr>
              <p:spPr bwMode="gray">
                <a:xfrm>
                  <a:off x="9669203" y="796811"/>
                  <a:ext cx="804061" cy="362855"/>
                </a:xfrm>
                <a:custGeom>
                  <a:avLst/>
                  <a:gdLst/>
                  <a:ahLst/>
                  <a:cxnLst/>
                  <a:rect l="l" t="t" r="r" b="b"/>
                  <a:pathLst>
                    <a:path w="804061" h="362855">
                      <a:moveTo>
                        <a:pt x="278804" y="0"/>
                      </a:moveTo>
                      <a:lnTo>
                        <a:pt x="402030" y="1"/>
                      </a:lnTo>
                      <a:lnTo>
                        <a:pt x="525257" y="0"/>
                      </a:lnTo>
                      <a:lnTo>
                        <a:pt x="529040" y="46661"/>
                      </a:lnTo>
                      <a:cubicBezTo>
                        <a:pt x="559515" y="59091"/>
                        <a:pt x="668503" y="63518"/>
                        <a:pt x="708108" y="74580"/>
                      </a:cubicBezTo>
                      <a:cubicBezTo>
                        <a:pt x="715658" y="76689"/>
                        <a:pt x="721173" y="83243"/>
                        <a:pt x="727706" y="87575"/>
                      </a:cubicBezTo>
                      <a:cubicBezTo>
                        <a:pt x="751541" y="103326"/>
                        <a:pt x="758333" y="142326"/>
                        <a:pt x="773775" y="201578"/>
                      </a:cubicBezTo>
                      <a:cubicBezTo>
                        <a:pt x="785782" y="247651"/>
                        <a:pt x="798598" y="315021"/>
                        <a:pt x="804061" y="362855"/>
                      </a:cubicBezTo>
                      <a:lnTo>
                        <a:pt x="703683" y="362855"/>
                      </a:lnTo>
                      <a:lnTo>
                        <a:pt x="609251" y="362855"/>
                      </a:lnTo>
                      <a:lnTo>
                        <a:pt x="599307" y="362855"/>
                      </a:lnTo>
                      <a:lnTo>
                        <a:pt x="440537" y="362855"/>
                      </a:lnTo>
                      <a:lnTo>
                        <a:pt x="430593" y="362855"/>
                      </a:lnTo>
                      <a:lnTo>
                        <a:pt x="411872" y="362855"/>
                      </a:lnTo>
                      <a:lnTo>
                        <a:pt x="392189" y="362855"/>
                      </a:lnTo>
                      <a:lnTo>
                        <a:pt x="373468" y="362855"/>
                      </a:lnTo>
                      <a:lnTo>
                        <a:pt x="363524" y="362855"/>
                      </a:lnTo>
                      <a:lnTo>
                        <a:pt x="204754" y="362855"/>
                      </a:lnTo>
                      <a:lnTo>
                        <a:pt x="194810" y="362855"/>
                      </a:lnTo>
                      <a:lnTo>
                        <a:pt x="100378" y="362855"/>
                      </a:lnTo>
                      <a:lnTo>
                        <a:pt x="0" y="362855"/>
                      </a:lnTo>
                      <a:cubicBezTo>
                        <a:pt x="5463" y="315021"/>
                        <a:pt x="18279" y="247651"/>
                        <a:pt x="30286" y="201578"/>
                      </a:cubicBezTo>
                      <a:cubicBezTo>
                        <a:pt x="45728" y="142326"/>
                        <a:pt x="52520" y="103326"/>
                        <a:pt x="76355" y="87575"/>
                      </a:cubicBezTo>
                      <a:cubicBezTo>
                        <a:pt x="82888" y="83243"/>
                        <a:pt x="88403" y="76689"/>
                        <a:pt x="95953" y="74580"/>
                      </a:cubicBezTo>
                      <a:cubicBezTo>
                        <a:pt x="135558" y="63518"/>
                        <a:pt x="244546" y="59091"/>
                        <a:pt x="275021" y="46661"/>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nvGrpSpPr>
              <p:cNvPr id="72" name="Group 71">
                <a:extLst>
                  <a:ext uri="{FF2B5EF4-FFF2-40B4-BE49-F238E27FC236}">
                    <a16:creationId xmlns:a16="http://schemas.microsoft.com/office/drawing/2014/main" id="{B09D718A-EED7-4F25-BEA1-FC30EBFBFE62}"/>
                  </a:ext>
                </a:extLst>
              </p:cNvPr>
              <p:cNvGrpSpPr/>
              <p:nvPr/>
            </p:nvGrpSpPr>
            <p:grpSpPr bwMode="gray">
              <a:xfrm>
                <a:off x="4570500" y="2486694"/>
                <a:ext cx="447501" cy="530409"/>
                <a:chOff x="9669203" y="206632"/>
                <a:chExt cx="804061" cy="953034"/>
              </a:xfrm>
              <a:solidFill>
                <a:schemeClr val="bg1"/>
              </a:solidFill>
            </p:grpSpPr>
            <p:sp>
              <p:nvSpPr>
                <p:cNvPr id="73" name="Rounded Rectangle 25">
                  <a:extLst>
                    <a:ext uri="{FF2B5EF4-FFF2-40B4-BE49-F238E27FC236}">
                      <a16:creationId xmlns:a16="http://schemas.microsoft.com/office/drawing/2014/main" id="{99B3503F-6C97-4400-8D9A-A7AA6EE5A21E}"/>
                    </a:ext>
                  </a:extLst>
                </p:cNvPr>
                <p:cNvSpPr/>
                <p:nvPr/>
              </p:nvSpPr>
              <p:spPr bwMode="gray">
                <a:xfrm rot="21372172" flipH="1">
                  <a:off x="9873222" y="561096"/>
                  <a:ext cx="412946" cy="239497"/>
                </a:xfrm>
                <a:custGeom>
                  <a:avLst/>
                  <a:gdLst/>
                  <a:ahLst/>
                  <a:cxnLst/>
                  <a:rect l="l" t="t" r="r" b="b"/>
                  <a:pathLst>
                    <a:path w="412946" h="239497">
                      <a:moveTo>
                        <a:pt x="412946" y="0"/>
                      </a:moveTo>
                      <a:lnTo>
                        <a:pt x="336086" y="50718"/>
                      </a:lnTo>
                      <a:lnTo>
                        <a:pt x="240000" y="58157"/>
                      </a:lnTo>
                      <a:lnTo>
                        <a:pt x="240064" y="59000"/>
                      </a:lnTo>
                      <a:lnTo>
                        <a:pt x="201710" y="61123"/>
                      </a:lnTo>
                      <a:lnTo>
                        <a:pt x="163411" y="64087"/>
                      </a:lnTo>
                      <a:lnTo>
                        <a:pt x="163363" y="63244"/>
                      </a:lnTo>
                      <a:lnTo>
                        <a:pt x="67137" y="68568"/>
                      </a:lnTo>
                      <a:lnTo>
                        <a:pt x="0" y="36075"/>
                      </a:lnTo>
                      <a:lnTo>
                        <a:pt x="6957" y="88249"/>
                      </a:lnTo>
                      <a:cubicBezTo>
                        <a:pt x="8814" y="102190"/>
                        <a:pt x="21596" y="111996"/>
                        <a:pt x="35524" y="110152"/>
                      </a:cubicBezTo>
                      <a:cubicBezTo>
                        <a:pt x="56981" y="172765"/>
                        <a:pt x="100502" y="220738"/>
                        <a:pt x="153345" y="239497"/>
                      </a:cubicBezTo>
                      <a:lnTo>
                        <a:pt x="226051" y="234672"/>
                      </a:lnTo>
                      <a:lnTo>
                        <a:pt x="287830" y="230571"/>
                      </a:lnTo>
                      <a:cubicBezTo>
                        <a:pt x="337731" y="204993"/>
                        <a:pt x="374528" y="151690"/>
                        <a:pt x="387522" y="86791"/>
                      </a:cubicBezTo>
                      <a:cubicBezTo>
                        <a:pt x="401573" y="86778"/>
                        <a:pt x="412945" y="75369"/>
                        <a:pt x="412946" y="61305"/>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74" name="Rounded Rectangle 43">
                  <a:extLst>
                    <a:ext uri="{FF2B5EF4-FFF2-40B4-BE49-F238E27FC236}">
                      <a16:creationId xmlns:a16="http://schemas.microsoft.com/office/drawing/2014/main" id="{4C98E929-C1EA-4451-AC3A-4DF20867CB6A}"/>
                    </a:ext>
                  </a:extLst>
                </p:cNvPr>
                <p:cNvSpPr/>
                <p:nvPr/>
              </p:nvSpPr>
              <p:spPr bwMode="gray">
                <a:xfrm>
                  <a:off x="9833169" y="206632"/>
                  <a:ext cx="494794" cy="415822"/>
                </a:xfrm>
                <a:custGeom>
                  <a:avLst/>
                  <a:gdLst/>
                  <a:ahLst/>
                  <a:cxnLst/>
                  <a:rect l="l" t="t" r="r" b="b"/>
                  <a:pathLst>
                    <a:path w="494794" h="415822">
                      <a:moveTo>
                        <a:pt x="183237" y="0"/>
                      </a:moveTo>
                      <a:lnTo>
                        <a:pt x="212796" y="0"/>
                      </a:lnTo>
                      <a:lnTo>
                        <a:pt x="229220" y="0"/>
                      </a:lnTo>
                      <a:lnTo>
                        <a:pt x="233061" y="0"/>
                      </a:lnTo>
                      <a:lnTo>
                        <a:pt x="261733" y="0"/>
                      </a:lnTo>
                      <a:lnTo>
                        <a:pt x="265574" y="0"/>
                      </a:lnTo>
                      <a:lnTo>
                        <a:pt x="281998" y="0"/>
                      </a:lnTo>
                      <a:lnTo>
                        <a:pt x="311557" y="0"/>
                      </a:lnTo>
                      <a:cubicBezTo>
                        <a:pt x="327529" y="5063"/>
                        <a:pt x="338283" y="10270"/>
                        <a:pt x="344104" y="30378"/>
                      </a:cubicBezTo>
                      <a:cubicBezTo>
                        <a:pt x="349925" y="50486"/>
                        <a:pt x="342912" y="119114"/>
                        <a:pt x="346483" y="120651"/>
                      </a:cubicBezTo>
                      <a:lnTo>
                        <a:pt x="346483" y="39598"/>
                      </a:lnTo>
                      <a:cubicBezTo>
                        <a:pt x="435021" y="77636"/>
                        <a:pt x="470220" y="146216"/>
                        <a:pt x="470220" y="229974"/>
                      </a:cubicBezTo>
                      <a:lnTo>
                        <a:pt x="494794" y="256561"/>
                      </a:lnTo>
                      <a:lnTo>
                        <a:pt x="494794" y="323091"/>
                      </a:lnTo>
                      <a:cubicBezTo>
                        <a:pt x="494794" y="332277"/>
                        <a:pt x="481632" y="362584"/>
                        <a:pt x="472446" y="362584"/>
                      </a:cubicBezTo>
                      <a:lnTo>
                        <a:pt x="382167" y="413917"/>
                      </a:lnTo>
                      <a:lnTo>
                        <a:pt x="285800" y="414977"/>
                      </a:lnTo>
                      <a:lnTo>
                        <a:pt x="285808" y="415822"/>
                      </a:lnTo>
                      <a:lnTo>
                        <a:pt x="247397" y="415400"/>
                      </a:lnTo>
                      <a:lnTo>
                        <a:pt x="208986" y="415822"/>
                      </a:lnTo>
                      <a:lnTo>
                        <a:pt x="208994" y="414977"/>
                      </a:lnTo>
                      <a:lnTo>
                        <a:pt x="112627" y="413917"/>
                      </a:lnTo>
                      <a:lnTo>
                        <a:pt x="22348" y="362584"/>
                      </a:lnTo>
                      <a:cubicBezTo>
                        <a:pt x="13162" y="362584"/>
                        <a:pt x="0" y="332277"/>
                        <a:pt x="0" y="323091"/>
                      </a:cubicBezTo>
                      <a:lnTo>
                        <a:pt x="0" y="256561"/>
                      </a:lnTo>
                      <a:lnTo>
                        <a:pt x="24574" y="229974"/>
                      </a:lnTo>
                      <a:cubicBezTo>
                        <a:pt x="24574" y="146216"/>
                        <a:pt x="59773" y="77636"/>
                        <a:pt x="148311" y="39598"/>
                      </a:cubicBezTo>
                      <a:lnTo>
                        <a:pt x="148311" y="120651"/>
                      </a:lnTo>
                      <a:cubicBezTo>
                        <a:pt x="151882" y="119114"/>
                        <a:pt x="144869" y="50486"/>
                        <a:pt x="150690" y="30378"/>
                      </a:cubicBezTo>
                      <a:cubicBezTo>
                        <a:pt x="156511" y="10270"/>
                        <a:pt x="167265" y="5063"/>
                        <a:pt x="183237" y="0"/>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75" name="Freeform 677">
                  <a:extLst>
                    <a:ext uri="{FF2B5EF4-FFF2-40B4-BE49-F238E27FC236}">
                      <a16:creationId xmlns:a16="http://schemas.microsoft.com/office/drawing/2014/main" id="{D41C13DE-2A09-4E2F-B318-70CC28B64FF2}"/>
                    </a:ext>
                  </a:extLst>
                </p:cNvPr>
                <p:cNvSpPr/>
                <p:nvPr/>
              </p:nvSpPr>
              <p:spPr bwMode="gray">
                <a:xfrm>
                  <a:off x="9669203" y="796811"/>
                  <a:ext cx="804061" cy="362855"/>
                </a:xfrm>
                <a:custGeom>
                  <a:avLst/>
                  <a:gdLst/>
                  <a:ahLst/>
                  <a:cxnLst/>
                  <a:rect l="l" t="t" r="r" b="b"/>
                  <a:pathLst>
                    <a:path w="804061" h="362855">
                      <a:moveTo>
                        <a:pt x="278804" y="0"/>
                      </a:moveTo>
                      <a:lnTo>
                        <a:pt x="402030" y="1"/>
                      </a:lnTo>
                      <a:lnTo>
                        <a:pt x="525257" y="0"/>
                      </a:lnTo>
                      <a:lnTo>
                        <a:pt x="529040" y="46661"/>
                      </a:lnTo>
                      <a:cubicBezTo>
                        <a:pt x="559515" y="59091"/>
                        <a:pt x="668503" y="63518"/>
                        <a:pt x="708108" y="74580"/>
                      </a:cubicBezTo>
                      <a:cubicBezTo>
                        <a:pt x="715658" y="76689"/>
                        <a:pt x="721173" y="83243"/>
                        <a:pt x="727706" y="87575"/>
                      </a:cubicBezTo>
                      <a:cubicBezTo>
                        <a:pt x="751541" y="103326"/>
                        <a:pt x="758333" y="142326"/>
                        <a:pt x="773775" y="201578"/>
                      </a:cubicBezTo>
                      <a:cubicBezTo>
                        <a:pt x="785782" y="247651"/>
                        <a:pt x="798598" y="315021"/>
                        <a:pt x="804061" y="362855"/>
                      </a:cubicBezTo>
                      <a:lnTo>
                        <a:pt x="703683" y="362855"/>
                      </a:lnTo>
                      <a:lnTo>
                        <a:pt x="609251" y="362855"/>
                      </a:lnTo>
                      <a:lnTo>
                        <a:pt x="599307" y="362855"/>
                      </a:lnTo>
                      <a:lnTo>
                        <a:pt x="440537" y="362855"/>
                      </a:lnTo>
                      <a:lnTo>
                        <a:pt x="430593" y="362855"/>
                      </a:lnTo>
                      <a:lnTo>
                        <a:pt x="411872" y="362855"/>
                      </a:lnTo>
                      <a:lnTo>
                        <a:pt x="392189" y="362855"/>
                      </a:lnTo>
                      <a:lnTo>
                        <a:pt x="373468" y="362855"/>
                      </a:lnTo>
                      <a:lnTo>
                        <a:pt x="363524" y="362855"/>
                      </a:lnTo>
                      <a:lnTo>
                        <a:pt x="204754" y="362855"/>
                      </a:lnTo>
                      <a:lnTo>
                        <a:pt x="194810" y="362855"/>
                      </a:lnTo>
                      <a:lnTo>
                        <a:pt x="100378" y="362855"/>
                      </a:lnTo>
                      <a:lnTo>
                        <a:pt x="0" y="362855"/>
                      </a:lnTo>
                      <a:cubicBezTo>
                        <a:pt x="5463" y="315021"/>
                        <a:pt x="18279" y="247651"/>
                        <a:pt x="30286" y="201578"/>
                      </a:cubicBezTo>
                      <a:cubicBezTo>
                        <a:pt x="45728" y="142326"/>
                        <a:pt x="52520" y="103326"/>
                        <a:pt x="76355" y="87575"/>
                      </a:cubicBezTo>
                      <a:cubicBezTo>
                        <a:pt x="82888" y="83243"/>
                        <a:pt x="88403" y="76689"/>
                        <a:pt x="95953" y="74580"/>
                      </a:cubicBezTo>
                      <a:cubicBezTo>
                        <a:pt x="135558" y="63518"/>
                        <a:pt x="244546" y="59091"/>
                        <a:pt x="275021" y="46661"/>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spTree>
    <p:custDataLst>
      <p:tags r:id="rId1"/>
    </p:custDataLst>
    <p:extLst>
      <p:ext uri="{BB962C8B-B14F-4D97-AF65-F5344CB8AC3E}">
        <p14:creationId xmlns:p14="http://schemas.microsoft.com/office/powerpoint/2010/main" val="56106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73586-79CD-4B4B-A0CB-E1BA5EEBE354}"/>
              </a:ext>
            </a:extLst>
          </p:cNvPr>
          <p:cNvSpPr>
            <a:spLocks noGrp="1"/>
          </p:cNvSpPr>
          <p:nvPr>
            <p:ph type="title"/>
          </p:nvPr>
        </p:nvSpPr>
        <p:spPr bwMode="gray">
          <a:xfrm>
            <a:off x="333264" y="682313"/>
            <a:ext cx="11520000" cy="396000"/>
          </a:xfrm>
        </p:spPr>
        <p:txBody>
          <a:bodyPr/>
          <a:lstStyle/>
          <a:p>
            <a:r>
              <a:rPr lang="en-US" dirty="0"/>
              <a:t>Easy maintenance</a:t>
            </a:r>
          </a:p>
        </p:txBody>
      </p:sp>
      <p:sp>
        <p:nvSpPr>
          <p:cNvPr id="3" name="Date Placeholder 2">
            <a:extLst>
              <a:ext uri="{FF2B5EF4-FFF2-40B4-BE49-F238E27FC236}">
                <a16:creationId xmlns:a16="http://schemas.microsoft.com/office/drawing/2014/main" id="{C0E0367B-6082-4BA8-8F2D-7F161121DA9B}"/>
              </a:ext>
            </a:extLst>
          </p:cNvPr>
          <p:cNvSpPr>
            <a:spLocks noGrp="1"/>
          </p:cNvSpPr>
          <p:nvPr>
            <p:ph type="dt" sz="half" idx="14"/>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F808C0-290B-4263-8A52-B569B4875133}"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4" name="Footer Placeholder 3">
            <a:extLst>
              <a:ext uri="{FF2B5EF4-FFF2-40B4-BE49-F238E27FC236}">
                <a16:creationId xmlns:a16="http://schemas.microsoft.com/office/drawing/2014/main" id="{ECE1F439-B9E1-4014-B80C-964B77677264}"/>
              </a:ext>
            </a:extLst>
          </p:cNvPr>
          <p:cNvSpPr>
            <a:spLocks noGrp="1"/>
          </p:cNvSpPr>
          <p:nvPr>
            <p:ph type="ftr" sz="quarter" idx="15"/>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017B7079-F902-4AA0-AA9E-3AD90C5D73C0}"/>
              </a:ext>
            </a:extLst>
          </p:cNvPr>
          <p:cNvSpPr>
            <a:spLocks noGrp="1"/>
          </p:cNvSpPr>
          <p:nvPr>
            <p:ph type="sldNum" sz="quarter" idx="16"/>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6" name="Subtitle 5">
            <a:extLst>
              <a:ext uri="{FF2B5EF4-FFF2-40B4-BE49-F238E27FC236}">
                <a16:creationId xmlns:a16="http://schemas.microsoft.com/office/drawing/2014/main" id="{F9169952-F54C-4749-B3AD-4E889977AC24}"/>
              </a:ext>
            </a:extLst>
          </p:cNvPr>
          <p:cNvSpPr>
            <a:spLocks noGrp="1"/>
          </p:cNvSpPr>
          <p:nvPr>
            <p:ph type="subTitle" idx="13"/>
          </p:nvPr>
        </p:nvSpPr>
        <p:spPr bwMode="gray"/>
        <p:txBody>
          <a:bodyPr/>
          <a:lstStyle/>
          <a:p>
            <a:pPr lvl="1"/>
            <a:r>
              <a:rPr lang="en-US" altLang="en-US" sz="1800" dirty="0"/>
              <a:t>Innovative calibration concepts, accessible modular design, intelligent and intuitive servicing</a:t>
            </a:r>
          </a:p>
        </p:txBody>
      </p:sp>
      <p:sp>
        <p:nvSpPr>
          <p:cNvPr id="7" name="Content Placeholder 1">
            <a:extLst>
              <a:ext uri="{FF2B5EF4-FFF2-40B4-BE49-F238E27FC236}">
                <a16:creationId xmlns:a16="http://schemas.microsoft.com/office/drawing/2014/main" id="{0482522A-2F74-4B98-A6A2-B0A341E04374}"/>
              </a:ext>
            </a:extLst>
          </p:cNvPr>
          <p:cNvSpPr txBox="1">
            <a:spLocks/>
          </p:cNvSpPr>
          <p:nvPr/>
        </p:nvSpPr>
        <p:spPr bwMode="gray">
          <a:xfrm>
            <a:off x="336549" y="2045921"/>
            <a:ext cx="6052675" cy="3869104"/>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720725" marR="0" lvl="1" indent="0" algn="l" defTabSz="914491" rtl="0" eaLnBrk="1" fontAlgn="auto" latinLnBrk="0" hangingPunct="1">
              <a:lnSpc>
                <a:spcPct val="100000"/>
              </a:lnSpc>
              <a:spcBef>
                <a:spcPts val="600"/>
              </a:spcBef>
              <a:spcAft>
                <a:spcPts val="0"/>
              </a:spcAft>
              <a:buClrTx/>
              <a:buSzTx/>
              <a:buFont typeface="ABBvoiceOffice" panose="020D0603020503020204" pitchFamily="34" charset="0"/>
              <a:buNone/>
              <a:tabLst/>
              <a:defRPr/>
            </a:pPr>
            <a:r>
              <a:rPr kumimoji="0" lang="en-US" altLang="en-US" sz="1800" b="1" i="0" u="none" strike="noStrike" kern="1200" cap="none" spc="0" normalizeH="0" baseline="0" noProof="0" dirty="0">
                <a:ln>
                  <a:noFill/>
                </a:ln>
                <a:solidFill>
                  <a:srgbClr val="D90000"/>
                </a:solidFill>
                <a:effectLst/>
                <a:uLnTx/>
                <a:uFillTx/>
                <a:latin typeface="ABBvoice"/>
                <a:ea typeface="ABBvoice"/>
                <a:cs typeface="ABBvoice"/>
              </a:rPr>
              <a:t>Optional gas-filled calibration cells reduce calibration costs by up to 95%! Click for more…</a:t>
            </a:r>
          </a:p>
          <a:p>
            <a:pPr marL="180018" marR="0" lvl="1" indent="-180018" algn="l" defTabSz="914491" rtl="0" eaLnBrk="1" fontAlgn="auto" latinLnBrk="0" hangingPunct="1">
              <a:lnSpc>
                <a:spcPct val="100000"/>
              </a:lnSpc>
              <a:spcBef>
                <a:spcPts val="12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Integrated drift checking with one year data storage (QAL3 reporting according EN14181)</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Automatic or manual calibration</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Modular design allows easy disassembly of hardware for component replacement</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800" b="0" i="0" u="none" strike="noStrike" kern="1200" cap="none" spc="0" normalizeH="0" baseline="0" noProof="0" dirty="0">
                <a:ln>
                  <a:noFill/>
                </a:ln>
                <a:solidFill>
                  <a:srgbClr val="000000"/>
                </a:solidFill>
                <a:effectLst/>
                <a:uLnTx/>
                <a:uFillTx/>
                <a:latin typeface="ABBvoice"/>
                <a:ea typeface="ABBvoice"/>
                <a:cs typeface="ABBvoice"/>
              </a:rPr>
              <a:t>Extensive self-diagnostics, clear text status messages</a:t>
            </a:r>
          </a:p>
          <a:p>
            <a:pPr marL="720725" marR="0" lvl="1" indent="0" algn="l" defTabSz="914491" rtl="0" eaLnBrk="1" fontAlgn="auto" latinLnBrk="0" hangingPunct="1">
              <a:lnSpc>
                <a:spcPct val="100000"/>
              </a:lnSpc>
              <a:spcBef>
                <a:spcPts val="1800"/>
              </a:spcBef>
              <a:spcAft>
                <a:spcPts val="0"/>
              </a:spcAft>
              <a:buClrTx/>
              <a:buSzTx/>
              <a:buFont typeface="ABBvoiceOffice" panose="020D0603020503020204" pitchFamily="34" charset="0"/>
              <a:buNone/>
              <a:tabLst/>
              <a:defRPr/>
            </a:pPr>
            <a:r>
              <a:rPr kumimoji="0" lang="de-DE" altLang="en-US" sz="1800" b="1" i="0" u="none" strike="noStrike" kern="1200" cap="none" spc="0" normalizeH="0" baseline="0" noProof="0" dirty="0">
                <a:ln>
                  <a:noFill/>
                </a:ln>
                <a:solidFill>
                  <a:srgbClr val="D90000"/>
                </a:solidFill>
                <a:effectLst/>
                <a:uLnTx/>
                <a:uFillTx/>
                <a:latin typeface="ABBvoice"/>
                <a:ea typeface="ABBvoice"/>
                <a:cs typeface="ABBvoice"/>
              </a:rPr>
              <a:t>N</a:t>
            </a:r>
            <a:r>
              <a:rPr kumimoji="0" lang="en-US" altLang="en-US" sz="1800" b="1" i="0" u="none" strike="noStrike" kern="1200" cap="none" spc="0" normalizeH="0" baseline="0" noProof="0" dirty="0">
                <a:ln>
                  <a:noFill/>
                </a:ln>
                <a:solidFill>
                  <a:srgbClr val="D90000"/>
                </a:solidFill>
                <a:effectLst/>
                <a:uLnTx/>
                <a:uFillTx/>
                <a:latin typeface="ABBvoice"/>
                <a:ea typeface="ABBvoice"/>
                <a:cs typeface="ABBvoice"/>
              </a:rPr>
              <a:t>ow with Dynamic QR Codes for faster fault diagnosis and repair! Click for more info…</a:t>
            </a:r>
          </a:p>
        </p:txBody>
      </p:sp>
      <p:grpSp>
        <p:nvGrpSpPr>
          <p:cNvPr id="28" name="Group 27">
            <a:extLst>
              <a:ext uri="{FF2B5EF4-FFF2-40B4-BE49-F238E27FC236}">
                <a16:creationId xmlns:a16="http://schemas.microsoft.com/office/drawing/2014/main" id="{C94C32E6-FB93-4E7B-8942-355FB1608D3B}"/>
              </a:ext>
            </a:extLst>
          </p:cNvPr>
          <p:cNvGrpSpPr>
            <a:grpSpLocks noChangeAspect="1"/>
          </p:cNvGrpSpPr>
          <p:nvPr/>
        </p:nvGrpSpPr>
        <p:grpSpPr bwMode="gray">
          <a:xfrm>
            <a:off x="8124133" y="1953405"/>
            <a:ext cx="1994410" cy="1994400"/>
            <a:chOff x="4853641" y="4526236"/>
            <a:chExt cx="571278" cy="571275"/>
          </a:xfrm>
        </p:grpSpPr>
        <p:sp>
          <p:nvSpPr>
            <p:cNvPr id="29" name="Oval 28">
              <a:extLst>
                <a:ext uri="{FF2B5EF4-FFF2-40B4-BE49-F238E27FC236}">
                  <a16:creationId xmlns:a16="http://schemas.microsoft.com/office/drawing/2014/main" id="{352E4056-1448-420B-A3EE-D3F6763C8081}"/>
                </a:ext>
              </a:extLst>
            </p:cNvPr>
            <p:cNvSpPr/>
            <p:nvPr/>
          </p:nvSpPr>
          <p:spPr bwMode="gray">
            <a:xfrm>
              <a:off x="4853641" y="4526236"/>
              <a:ext cx="571278" cy="571275"/>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30" name="Group 29">
              <a:extLst>
                <a:ext uri="{FF2B5EF4-FFF2-40B4-BE49-F238E27FC236}">
                  <a16:creationId xmlns:a16="http://schemas.microsoft.com/office/drawing/2014/main" id="{38C03BCE-C5C6-4E07-B66E-2765AA8E70C6}"/>
                </a:ext>
              </a:extLst>
            </p:cNvPr>
            <p:cNvGrpSpPr/>
            <p:nvPr/>
          </p:nvGrpSpPr>
          <p:grpSpPr bwMode="gray">
            <a:xfrm>
              <a:off x="4986953" y="4617132"/>
              <a:ext cx="304654" cy="389482"/>
              <a:chOff x="4227228" y="-3516112"/>
              <a:chExt cx="695117" cy="888671"/>
            </a:xfrm>
            <a:solidFill>
              <a:schemeClr val="bg1"/>
            </a:solidFill>
          </p:grpSpPr>
          <p:grpSp>
            <p:nvGrpSpPr>
              <p:cNvPr id="31" name="Group 30">
                <a:extLst>
                  <a:ext uri="{FF2B5EF4-FFF2-40B4-BE49-F238E27FC236}">
                    <a16:creationId xmlns:a16="http://schemas.microsoft.com/office/drawing/2014/main" id="{E3C866CC-6AFF-47CB-A83E-55048FBB7495}"/>
                  </a:ext>
                </a:extLst>
              </p:cNvPr>
              <p:cNvGrpSpPr/>
              <p:nvPr/>
            </p:nvGrpSpPr>
            <p:grpSpPr bwMode="gray">
              <a:xfrm rot="18900000">
                <a:off x="4543651" y="-3516112"/>
                <a:ext cx="112716" cy="888671"/>
                <a:chOff x="4536031" y="-3565642"/>
                <a:chExt cx="112716" cy="888671"/>
              </a:xfrm>
              <a:grpFill/>
            </p:grpSpPr>
            <p:sp>
              <p:nvSpPr>
                <p:cNvPr id="36" name="Snip Same Side Corner Rectangle 60">
                  <a:extLst>
                    <a:ext uri="{FF2B5EF4-FFF2-40B4-BE49-F238E27FC236}">
                      <a16:creationId xmlns:a16="http://schemas.microsoft.com/office/drawing/2014/main" id="{5619C45E-E592-40B0-9E95-5486AB97323C}"/>
                    </a:ext>
                  </a:extLst>
                </p:cNvPr>
                <p:cNvSpPr/>
                <p:nvPr/>
              </p:nvSpPr>
              <p:spPr bwMode="gray">
                <a:xfrm>
                  <a:off x="4536031" y="-3565642"/>
                  <a:ext cx="112716" cy="513846"/>
                </a:xfrm>
                <a:custGeom>
                  <a:avLst/>
                  <a:gdLst/>
                  <a:ahLst/>
                  <a:cxnLst/>
                  <a:rect l="l" t="t" r="r" b="b"/>
                  <a:pathLst>
                    <a:path w="112716" h="513846">
                      <a:moveTo>
                        <a:pt x="10701" y="0"/>
                      </a:moveTo>
                      <a:lnTo>
                        <a:pt x="102015" y="0"/>
                      </a:lnTo>
                      <a:lnTo>
                        <a:pt x="112716" y="10701"/>
                      </a:lnTo>
                      <a:lnTo>
                        <a:pt x="112716" y="45216"/>
                      </a:lnTo>
                      <a:lnTo>
                        <a:pt x="112716" y="468630"/>
                      </a:lnTo>
                      <a:lnTo>
                        <a:pt x="112716" y="503145"/>
                      </a:lnTo>
                      <a:lnTo>
                        <a:pt x="102015" y="513846"/>
                      </a:lnTo>
                      <a:lnTo>
                        <a:pt x="10701" y="513846"/>
                      </a:lnTo>
                      <a:lnTo>
                        <a:pt x="0" y="503145"/>
                      </a:lnTo>
                      <a:lnTo>
                        <a:pt x="0" y="468630"/>
                      </a:lnTo>
                      <a:lnTo>
                        <a:pt x="0" y="45216"/>
                      </a:lnTo>
                      <a:lnTo>
                        <a:pt x="0" y="10701"/>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37" name="Straight Connector 36">
                  <a:extLst>
                    <a:ext uri="{FF2B5EF4-FFF2-40B4-BE49-F238E27FC236}">
                      <a16:creationId xmlns:a16="http://schemas.microsoft.com/office/drawing/2014/main" id="{36799A69-FEBE-4CF4-92AE-A49E421DBBFD}"/>
                    </a:ext>
                  </a:extLst>
                </p:cNvPr>
                <p:cNvCxnSpPr/>
                <p:nvPr/>
              </p:nvCxnSpPr>
              <p:spPr bwMode="gray">
                <a:xfrm>
                  <a:off x="4592389" y="-3521120"/>
                  <a:ext cx="0" cy="4248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38" name="Straight Connector 37">
                  <a:extLst>
                    <a:ext uri="{FF2B5EF4-FFF2-40B4-BE49-F238E27FC236}">
                      <a16:creationId xmlns:a16="http://schemas.microsoft.com/office/drawing/2014/main" id="{9A3EF281-27D9-4E0D-9248-162437261F64}"/>
                    </a:ext>
                  </a:extLst>
                </p:cNvPr>
                <p:cNvCxnSpPr/>
                <p:nvPr/>
              </p:nvCxnSpPr>
              <p:spPr bwMode="gray">
                <a:xfrm>
                  <a:off x="4592389" y="-3041571"/>
                  <a:ext cx="0" cy="2376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39" name="Snip Same Side Corner Rectangle 69">
                  <a:extLst>
                    <a:ext uri="{FF2B5EF4-FFF2-40B4-BE49-F238E27FC236}">
                      <a16:creationId xmlns:a16="http://schemas.microsoft.com/office/drawing/2014/main" id="{06F6B389-5350-446F-A956-41AC02250D1F}"/>
                    </a:ext>
                  </a:extLst>
                </p:cNvPr>
                <p:cNvSpPr/>
                <p:nvPr/>
              </p:nvSpPr>
              <p:spPr bwMode="gray">
                <a:xfrm rot="10800000">
                  <a:off x="4560620" y="-2790458"/>
                  <a:ext cx="63538" cy="66860"/>
                </a:xfrm>
                <a:custGeom>
                  <a:avLst/>
                  <a:gdLst/>
                  <a:ahLst/>
                  <a:cxnLst/>
                  <a:rect l="l" t="t" r="r" b="b"/>
                  <a:pathLst>
                    <a:path w="63538" h="66860">
                      <a:moveTo>
                        <a:pt x="55918" y="66860"/>
                      </a:moveTo>
                      <a:lnTo>
                        <a:pt x="7620" y="66860"/>
                      </a:lnTo>
                      <a:lnTo>
                        <a:pt x="0" y="59240"/>
                      </a:lnTo>
                      <a:lnTo>
                        <a:pt x="0" y="45719"/>
                      </a:lnTo>
                      <a:lnTo>
                        <a:pt x="0" y="21141"/>
                      </a:lnTo>
                      <a:lnTo>
                        <a:pt x="0" y="7620"/>
                      </a:lnTo>
                      <a:lnTo>
                        <a:pt x="7620" y="0"/>
                      </a:lnTo>
                      <a:lnTo>
                        <a:pt x="55918" y="0"/>
                      </a:lnTo>
                      <a:lnTo>
                        <a:pt x="63538" y="7620"/>
                      </a:lnTo>
                      <a:lnTo>
                        <a:pt x="63538" y="21141"/>
                      </a:lnTo>
                      <a:lnTo>
                        <a:pt x="63538" y="45719"/>
                      </a:lnTo>
                      <a:lnTo>
                        <a:pt x="63538" y="59240"/>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40" name="Straight Connector 39">
                  <a:extLst>
                    <a:ext uri="{FF2B5EF4-FFF2-40B4-BE49-F238E27FC236}">
                      <a16:creationId xmlns:a16="http://schemas.microsoft.com/office/drawing/2014/main" id="{ADAC4136-2905-43C8-A3BC-852071E1D22D}"/>
                    </a:ext>
                  </a:extLst>
                </p:cNvPr>
                <p:cNvCxnSpPr/>
                <p:nvPr/>
              </p:nvCxnSpPr>
              <p:spPr bwMode="gray">
                <a:xfrm>
                  <a:off x="4592389" y="-2712971"/>
                  <a:ext cx="0" cy="360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32" name="Oval 73">
                <a:extLst>
                  <a:ext uri="{FF2B5EF4-FFF2-40B4-BE49-F238E27FC236}">
                    <a16:creationId xmlns:a16="http://schemas.microsoft.com/office/drawing/2014/main" id="{97E1680A-E0E9-4688-BFDB-D4102676EB92}"/>
                  </a:ext>
                </a:extLst>
              </p:cNvPr>
              <p:cNvSpPr/>
              <p:nvPr/>
            </p:nvSpPr>
            <p:spPr bwMode="gray">
              <a:xfrm>
                <a:off x="4227228" y="-2948375"/>
                <a:ext cx="199701" cy="201640"/>
              </a:xfrm>
              <a:custGeom>
                <a:avLst/>
                <a:gdLst>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7" fmla="*/ 189584 w 201640"/>
                  <a:gd name="connsiteY7" fmla="*/ 192429 h 201640"/>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193986"/>
                  <a:gd name="connsiteY0" fmla="*/ 97179 h 201640"/>
                  <a:gd name="connsiteX1" fmla="*/ 93166 w 193986"/>
                  <a:gd name="connsiteY1" fmla="*/ 0 h 201640"/>
                  <a:gd name="connsiteX2" fmla="*/ 193986 w 193986"/>
                  <a:gd name="connsiteY2" fmla="*/ 100820 h 201640"/>
                  <a:gd name="connsiteX3" fmla="*/ 93166 w 193986"/>
                  <a:gd name="connsiteY3" fmla="*/ 201640 h 201640"/>
                  <a:gd name="connsiteX0" fmla="*/ 0 w 199701"/>
                  <a:gd name="connsiteY0" fmla="*/ 97179 h 201640"/>
                  <a:gd name="connsiteX1" fmla="*/ 98881 w 199701"/>
                  <a:gd name="connsiteY1" fmla="*/ 0 h 201640"/>
                  <a:gd name="connsiteX2" fmla="*/ 199701 w 199701"/>
                  <a:gd name="connsiteY2" fmla="*/ 100820 h 201640"/>
                  <a:gd name="connsiteX3" fmla="*/ 98881 w 199701"/>
                  <a:gd name="connsiteY3" fmla="*/ 201640 h 201640"/>
                </a:gdLst>
                <a:ahLst/>
                <a:cxnLst>
                  <a:cxn ang="0">
                    <a:pos x="connsiteX0" y="connsiteY0"/>
                  </a:cxn>
                  <a:cxn ang="0">
                    <a:pos x="connsiteX1" y="connsiteY1"/>
                  </a:cxn>
                  <a:cxn ang="0">
                    <a:pos x="connsiteX2" y="connsiteY2"/>
                  </a:cxn>
                  <a:cxn ang="0">
                    <a:pos x="connsiteX3" y="connsiteY3"/>
                  </a:cxn>
                </a:cxnLst>
                <a:rect l="l" t="t" r="r" b="b"/>
                <a:pathLst>
                  <a:path w="199701" h="201640">
                    <a:moveTo>
                      <a:pt x="0" y="97179"/>
                    </a:moveTo>
                    <a:cubicBezTo>
                      <a:pt x="42" y="38040"/>
                      <a:pt x="51945" y="28"/>
                      <a:pt x="98881" y="0"/>
                    </a:cubicBezTo>
                    <a:cubicBezTo>
                      <a:pt x="154562" y="0"/>
                      <a:pt x="199701" y="45139"/>
                      <a:pt x="199701" y="100820"/>
                    </a:cubicBezTo>
                    <a:cubicBezTo>
                      <a:pt x="199701" y="156501"/>
                      <a:pt x="154562" y="201640"/>
                      <a:pt x="98881" y="201640"/>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33" name="Straight Connector 32">
                <a:extLst>
                  <a:ext uri="{FF2B5EF4-FFF2-40B4-BE49-F238E27FC236}">
                    <a16:creationId xmlns:a16="http://schemas.microsoft.com/office/drawing/2014/main" id="{A7B22C8F-D154-4D52-AA6E-196EBC69DC4A}"/>
                  </a:ext>
                </a:extLst>
              </p:cNvPr>
              <p:cNvCxnSpPr/>
              <p:nvPr/>
            </p:nvCxnSpPr>
            <p:spPr bwMode="gray">
              <a:xfrm rot="2700000" flipH="1">
                <a:off x="4465155" y="-3075854"/>
                <a:ext cx="0" cy="1800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a:extLst>
                  <a:ext uri="{FF2B5EF4-FFF2-40B4-BE49-F238E27FC236}">
                    <a16:creationId xmlns:a16="http://schemas.microsoft.com/office/drawing/2014/main" id="{9DFD1006-3B77-43A3-9D93-FAF84554F6C8}"/>
                  </a:ext>
                </a:extLst>
              </p:cNvPr>
              <p:cNvCxnSpPr/>
              <p:nvPr/>
            </p:nvCxnSpPr>
            <p:spPr bwMode="gray">
              <a:xfrm rot="2700000" flipH="1">
                <a:off x="4687107" y="-3298109"/>
                <a:ext cx="0" cy="1800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35" name="Oval 73">
                <a:extLst>
                  <a:ext uri="{FF2B5EF4-FFF2-40B4-BE49-F238E27FC236}">
                    <a16:creationId xmlns:a16="http://schemas.microsoft.com/office/drawing/2014/main" id="{E93BE41B-DFB4-4BB1-9E59-6DD7AE6A6513}"/>
                  </a:ext>
                </a:extLst>
              </p:cNvPr>
              <p:cNvSpPr/>
              <p:nvPr/>
            </p:nvSpPr>
            <p:spPr bwMode="gray">
              <a:xfrm rot="10800000">
                <a:off x="4722644" y="-3443847"/>
                <a:ext cx="199701" cy="201640"/>
              </a:xfrm>
              <a:custGeom>
                <a:avLst/>
                <a:gdLst>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7" fmla="*/ 189584 w 201640"/>
                  <a:gd name="connsiteY7" fmla="*/ 192429 h 201640"/>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193986"/>
                  <a:gd name="connsiteY0" fmla="*/ 97179 h 201640"/>
                  <a:gd name="connsiteX1" fmla="*/ 93166 w 193986"/>
                  <a:gd name="connsiteY1" fmla="*/ 0 h 201640"/>
                  <a:gd name="connsiteX2" fmla="*/ 193986 w 193986"/>
                  <a:gd name="connsiteY2" fmla="*/ 100820 h 201640"/>
                  <a:gd name="connsiteX3" fmla="*/ 93166 w 193986"/>
                  <a:gd name="connsiteY3" fmla="*/ 201640 h 201640"/>
                  <a:gd name="connsiteX0" fmla="*/ 0 w 199701"/>
                  <a:gd name="connsiteY0" fmla="*/ 97179 h 201640"/>
                  <a:gd name="connsiteX1" fmla="*/ 98881 w 199701"/>
                  <a:gd name="connsiteY1" fmla="*/ 0 h 201640"/>
                  <a:gd name="connsiteX2" fmla="*/ 199701 w 199701"/>
                  <a:gd name="connsiteY2" fmla="*/ 100820 h 201640"/>
                  <a:gd name="connsiteX3" fmla="*/ 98881 w 199701"/>
                  <a:gd name="connsiteY3" fmla="*/ 201640 h 201640"/>
                </a:gdLst>
                <a:ahLst/>
                <a:cxnLst>
                  <a:cxn ang="0">
                    <a:pos x="connsiteX0" y="connsiteY0"/>
                  </a:cxn>
                  <a:cxn ang="0">
                    <a:pos x="connsiteX1" y="connsiteY1"/>
                  </a:cxn>
                  <a:cxn ang="0">
                    <a:pos x="connsiteX2" y="connsiteY2"/>
                  </a:cxn>
                  <a:cxn ang="0">
                    <a:pos x="connsiteX3" y="connsiteY3"/>
                  </a:cxn>
                </a:cxnLst>
                <a:rect l="l" t="t" r="r" b="b"/>
                <a:pathLst>
                  <a:path w="199701" h="201640">
                    <a:moveTo>
                      <a:pt x="0" y="97179"/>
                    </a:moveTo>
                    <a:cubicBezTo>
                      <a:pt x="42" y="38040"/>
                      <a:pt x="51945" y="28"/>
                      <a:pt x="98881" y="0"/>
                    </a:cubicBezTo>
                    <a:cubicBezTo>
                      <a:pt x="154562" y="0"/>
                      <a:pt x="199701" y="45139"/>
                      <a:pt x="199701" y="100820"/>
                    </a:cubicBezTo>
                    <a:cubicBezTo>
                      <a:pt x="199701" y="156501"/>
                      <a:pt x="154562" y="201640"/>
                      <a:pt x="98881" y="201640"/>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nvGrpSpPr>
          <p:cNvPr id="22" name="Group 21">
            <a:extLst>
              <a:ext uri="{FF2B5EF4-FFF2-40B4-BE49-F238E27FC236}">
                <a16:creationId xmlns:a16="http://schemas.microsoft.com/office/drawing/2014/main" id="{33716A2A-D415-4AA4-A6C8-A7C86BDA1D00}"/>
              </a:ext>
            </a:extLst>
          </p:cNvPr>
          <p:cNvGrpSpPr>
            <a:grpSpLocks noChangeAspect="1"/>
          </p:cNvGrpSpPr>
          <p:nvPr/>
        </p:nvGrpSpPr>
        <p:grpSpPr bwMode="gray">
          <a:xfrm>
            <a:off x="401659" y="4780095"/>
            <a:ext cx="514553" cy="733224"/>
            <a:chOff x="1961888" y="2750360"/>
            <a:chExt cx="906831" cy="1292210"/>
          </a:xfrm>
        </p:grpSpPr>
        <p:grpSp>
          <p:nvGrpSpPr>
            <p:cNvPr id="23" name="Group 22">
              <a:extLst>
                <a:ext uri="{FF2B5EF4-FFF2-40B4-BE49-F238E27FC236}">
                  <a16:creationId xmlns:a16="http://schemas.microsoft.com/office/drawing/2014/main" id="{15FD5BB3-DC5B-4739-842E-40FA222813EE}"/>
                </a:ext>
              </a:extLst>
            </p:cNvPr>
            <p:cNvGrpSpPr/>
            <p:nvPr/>
          </p:nvGrpSpPr>
          <p:grpSpPr bwMode="gray">
            <a:xfrm>
              <a:off x="1961888" y="2750360"/>
              <a:ext cx="775375" cy="775377"/>
              <a:chOff x="1179628" y="-1706756"/>
              <a:chExt cx="465749" cy="465750"/>
            </a:xfrm>
          </p:grpSpPr>
          <p:grpSp>
            <p:nvGrpSpPr>
              <p:cNvPr id="42" name="Group 41">
                <a:extLst>
                  <a:ext uri="{FF2B5EF4-FFF2-40B4-BE49-F238E27FC236}">
                    <a16:creationId xmlns:a16="http://schemas.microsoft.com/office/drawing/2014/main" id="{C47E4F02-BB44-418D-B0E5-C9FFC4A90A4A}"/>
                  </a:ext>
                </a:extLst>
              </p:cNvPr>
              <p:cNvGrpSpPr/>
              <p:nvPr/>
            </p:nvGrpSpPr>
            <p:grpSpPr bwMode="gray">
              <a:xfrm>
                <a:off x="1179628" y="-1376691"/>
                <a:ext cx="135685" cy="135685"/>
                <a:chOff x="-4433548" y="0"/>
                <a:chExt cx="761570" cy="761570"/>
              </a:xfrm>
              <a:solidFill>
                <a:schemeClr val="bg1"/>
              </a:solidFill>
            </p:grpSpPr>
            <p:sp>
              <p:nvSpPr>
                <p:cNvPr id="53" name="Rectangle 52">
                  <a:extLst>
                    <a:ext uri="{FF2B5EF4-FFF2-40B4-BE49-F238E27FC236}">
                      <a16:creationId xmlns:a16="http://schemas.microsoft.com/office/drawing/2014/main" id="{C883A158-73F7-4B4B-B2B9-274FAD0947B4}"/>
                    </a:ext>
                  </a:extLst>
                </p:cNvPr>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54" name="Rectangle 53">
                  <a:extLst>
                    <a:ext uri="{FF2B5EF4-FFF2-40B4-BE49-F238E27FC236}">
                      <a16:creationId xmlns:a16="http://schemas.microsoft.com/office/drawing/2014/main" id="{82D39F0F-CD12-4924-BB7B-5629FE19A2D5}"/>
                    </a:ext>
                  </a:extLst>
                </p:cNvPr>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grpSp>
          <p:grpSp>
            <p:nvGrpSpPr>
              <p:cNvPr id="43" name="Group 42">
                <a:extLst>
                  <a:ext uri="{FF2B5EF4-FFF2-40B4-BE49-F238E27FC236}">
                    <a16:creationId xmlns:a16="http://schemas.microsoft.com/office/drawing/2014/main" id="{9895417F-3AE2-40FC-955C-DCA77DE3BBB0}"/>
                  </a:ext>
                </a:extLst>
              </p:cNvPr>
              <p:cNvGrpSpPr/>
              <p:nvPr/>
            </p:nvGrpSpPr>
            <p:grpSpPr bwMode="gray">
              <a:xfrm>
                <a:off x="1179628" y="-1706756"/>
                <a:ext cx="135685" cy="135685"/>
                <a:chOff x="-4433548" y="0"/>
                <a:chExt cx="761570" cy="761570"/>
              </a:xfrm>
              <a:solidFill>
                <a:schemeClr val="bg1"/>
              </a:solidFill>
            </p:grpSpPr>
            <p:sp>
              <p:nvSpPr>
                <p:cNvPr id="51" name="Rectangle 50">
                  <a:extLst>
                    <a:ext uri="{FF2B5EF4-FFF2-40B4-BE49-F238E27FC236}">
                      <a16:creationId xmlns:a16="http://schemas.microsoft.com/office/drawing/2014/main" id="{7907B5A6-9071-4E68-9E6F-D92B71147B69}"/>
                    </a:ext>
                  </a:extLst>
                </p:cNvPr>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52" name="Rectangle 51">
                  <a:extLst>
                    <a:ext uri="{FF2B5EF4-FFF2-40B4-BE49-F238E27FC236}">
                      <a16:creationId xmlns:a16="http://schemas.microsoft.com/office/drawing/2014/main" id="{33CDD93B-20D6-4837-9964-BDF9D24DC5A6}"/>
                    </a:ext>
                  </a:extLst>
                </p:cNvPr>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grpSp>
          <p:grpSp>
            <p:nvGrpSpPr>
              <p:cNvPr id="44" name="Group 43">
                <a:extLst>
                  <a:ext uri="{FF2B5EF4-FFF2-40B4-BE49-F238E27FC236}">
                    <a16:creationId xmlns:a16="http://schemas.microsoft.com/office/drawing/2014/main" id="{616F96CD-53D9-4C47-88C8-D668D2B6439D}"/>
                  </a:ext>
                </a:extLst>
              </p:cNvPr>
              <p:cNvGrpSpPr/>
              <p:nvPr/>
            </p:nvGrpSpPr>
            <p:grpSpPr bwMode="gray">
              <a:xfrm>
                <a:off x="1509692" y="-1706756"/>
                <a:ext cx="135685" cy="135685"/>
                <a:chOff x="-4433548" y="0"/>
                <a:chExt cx="761570" cy="761570"/>
              </a:xfrm>
              <a:solidFill>
                <a:schemeClr val="bg1"/>
              </a:solidFill>
            </p:grpSpPr>
            <p:sp>
              <p:nvSpPr>
                <p:cNvPr id="49" name="Rectangle 48">
                  <a:extLst>
                    <a:ext uri="{FF2B5EF4-FFF2-40B4-BE49-F238E27FC236}">
                      <a16:creationId xmlns:a16="http://schemas.microsoft.com/office/drawing/2014/main" id="{AC9FA827-B479-401D-934F-01A252C2FC85}"/>
                    </a:ext>
                  </a:extLst>
                </p:cNvPr>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50" name="Rectangle 49">
                  <a:extLst>
                    <a:ext uri="{FF2B5EF4-FFF2-40B4-BE49-F238E27FC236}">
                      <a16:creationId xmlns:a16="http://schemas.microsoft.com/office/drawing/2014/main" id="{2094F714-7BF5-4C2F-B3BD-10273BE9C2E4}"/>
                    </a:ext>
                  </a:extLst>
                </p:cNvPr>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grpSp>
          <p:sp>
            <p:nvSpPr>
              <p:cNvPr id="45" name="Rectangle 44">
                <a:extLst>
                  <a:ext uri="{FF2B5EF4-FFF2-40B4-BE49-F238E27FC236}">
                    <a16:creationId xmlns:a16="http://schemas.microsoft.com/office/drawing/2014/main" id="{9BDB67CB-0665-47C6-8313-0B292B9D241C}"/>
                  </a:ext>
                </a:extLst>
              </p:cNvPr>
              <p:cNvSpPr/>
              <p:nvPr/>
            </p:nvSpPr>
            <p:spPr bwMode="gray">
              <a:xfrm>
                <a:off x="1337475" y="-1548909"/>
                <a:ext cx="150055" cy="150056"/>
              </a:xfrm>
              <a:prstGeom prst="rect">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grpSp>
            <p:nvGrpSpPr>
              <p:cNvPr id="46" name="Group 45">
                <a:extLst>
                  <a:ext uri="{FF2B5EF4-FFF2-40B4-BE49-F238E27FC236}">
                    <a16:creationId xmlns:a16="http://schemas.microsoft.com/office/drawing/2014/main" id="{EC88AEA0-2065-4DB3-99EE-C066E6FC0CEA}"/>
                  </a:ext>
                </a:extLst>
              </p:cNvPr>
              <p:cNvGrpSpPr/>
              <p:nvPr/>
            </p:nvGrpSpPr>
            <p:grpSpPr bwMode="gray">
              <a:xfrm>
                <a:off x="1509692" y="-1376691"/>
                <a:ext cx="135685" cy="135685"/>
                <a:chOff x="-4433548" y="0"/>
                <a:chExt cx="761570" cy="761570"/>
              </a:xfrm>
              <a:solidFill>
                <a:schemeClr val="bg1"/>
              </a:solidFill>
            </p:grpSpPr>
            <p:sp>
              <p:nvSpPr>
                <p:cNvPr id="47" name="Rectangle 46">
                  <a:extLst>
                    <a:ext uri="{FF2B5EF4-FFF2-40B4-BE49-F238E27FC236}">
                      <a16:creationId xmlns:a16="http://schemas.microsoft.com/office/drawing/2014/main" id="{13F1D4AB-CA15-48AD-9CB8-5904013C1724}"/>
                    </a:ext>
                  </a:extLst>
                </p:cNvPr>
                <p:cNvSpPr/>
                <p:nvPr/>
              </p:nvSpPr>
              <p:spPr bwMode="gray">
                <a:xfrm>
                  <a:off x="-4433548" y="0"/>
                  <a:ext cx="761570" cy="761570"/>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48" name="Rectangle 47">
                  <a:extLst>
                    <a:ext uri="{FF2B5EF4-FFF2-40B4-BE49-F238E27FC236}">
                      <a16:creationId xmlns:a16="http://schemas.microsoft.com/office/drawing/2014/main" id="{308A51D6-450D-497E-B008-B183B3AF2A05}"/>
                    </a:ext>
                  </a:extLst>
                </p:cNvPr>
                <p:cNvSpPr/>
                <p:nvPr/>
              </p:nvSpPr>
              <p:spPr bwMode="gray">
                <a:xfrm>
                  <a:off x="-4263625" y="169923"/>
                  <a:ext cx="421724" cy="421724"/>
                </a:xfrm>
                <a:prstGeom prst="rect">
                  <a:avLst/>
                </a:prstGeom>
                <a:grp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grpSp>
        </p:grpSp>
        <p:grpSp>
          <p:nvGrpSpPr>
            <p:cNvPr id="24" name="Group 23">
              <a:extLst>
                <a:ext uri="{FF2B5EF4-FFF2-40B4-BE49-F238E27FC236}">
                  <a16:creationId xmlns:a16="http://schemas.microsoft.com/office/drawing/2014/main" id="{B75F6F14-264D-4A88-A9EA-1CC81B172C52}"/>
                </a:ext>
              </a:extLst>
            </p:cNvPr>
            <p:cNvGrpSpPr/>
            <p:nvPr/>
          </p:nvGrpSpPr>
          <p:grpSpPr bwMode="gray">
            <a:xfrm>
              <a:off x="2311624" y="3093230"/>
              <a:ext cx="557095" cy="949340"/>
              <a:chOff x="11582401" y="1955589"/>
              <a:chExt cx="269962" cy="460040"/>
            </a:xfrm>
            <a:solidFill>
              <a:schemeClr val="bg1"/>
            </a:solidFill>
          </p:grpSpPr>
          <p:sp>
            <p:nvSpPr>
              <p:cNvPr id="26" name="Rounded Rectangle 158">
                <a:extLst>
                  <a:ext uri="{FF2B5EF4-FFF2-40B4-BE49-F238E27FC236}">
                    <a16:creationId xmlns:a16="http://schemas.microsoft.com/office/drawing/2014/main" id="{F268A4F4-D833-49A3-82F9-F05465046270}"/>
                  </a:ext>
                </a:extLst>
              </p:cNvPr>
              <p:cNvSpPr/>
              <p:nvPr/>
            </p:nvSpPr>
            <p:spPr bwMode="gray">
              <a:xfrm>
                <a:off x="11582401" y="1955589"/>
                <a:ext cx="269962" cy="460040"/>
              </a:xfrm>
              <a:prstGeom prst="roundRect">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27" name="Rounded Rectangle 159">
                <a:extLst>
                  <a:ext uri="{FF2B5EF4-FFF2-40B4-BE49-F238E27FC236}">
                    <a16:creationId xmlns:a16="http://schemas.microsoft.com/office/drawing/2014/main" id="{C5A8A287-4826-4C97-A339-85BA19B44F10}"/>
                  </a:ext>
                </a:extLst>
              </p:cNvPr>
              <p:cNvSpPr/>
              <p:nvPr/>
            </p:nvSpPr>
            <p:spPr bwMode="gray">
              <a:xfrm>
                <a:off x="11612835" y="1988384"/>
                <a:ext cx="209094" cy="367822"/>
              </a:xfrm>
              <a:prstGeom prst="roundRect">
                <a:avLst>
                  <a:gd name="adj" fmla="val 9634"/>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41" name="Oval 40">
                <a:extLst>
                  <a:ext uri="{FF2B5EF4-FFF2-40B4-BE49-F238E27FC236}">
                    <a16:creationId xmlns:a16="http://schemas.microsoft.com/office/drawing/2014/main" id="{F229829E-1FFF-4DE8-81C1-06BF261C47BB}"/>
                  </a:ext>
                </a:extLst>
              </p:cNvPr>
              <p:cNvSpPr/>
              <p:nvPr/>
            </p:nvSpPr>
            <p:spPr bwMode="gray">
              <a:xfrm>
                <a:off x="11704001" y="2371419"/>
                <a:ext cx="26762" cy="26762"/>
              </a:xfrm>
              <a:prstGeom prst="ellipse">
                <a:avLst/>
              </a:prstGeom>
              <a:grp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grpSp>
        <p:sp>
          <p:nvSpPr>
            <p:cNvPr id="25" name="L-Shape 497">
              <a:extLst>
                <a:ext uri="{FF2B5EF4-FFF2-40B4-BE49-F238E27FC236}">
                  <a16:creationId xmlns:a16="http://schemas.microsoft.com/office/drawing/2014/main" id="{DBF19D24-C4DB-414C-9C1F-6B0492E18A95}"/>
                </a:ext>
              </a:extLst>
            </p:cNvPr>
            <p:cNvSpPr/>
            <p:nvPr/>
          </p:nvSpPr>
          <p:spPr bwMode="gray">
            <a:xfrm rot="18900000">
              <a:off x="2477038" y="3516237"/>
              <a:ext cx="226267" cy="103327"/>
            </a:xfrm>
            <a:custGeom>
              <a:avLst/>
              <a:gdLst/>
              <a:ahLst/>
              <a:cxnLst/>
              <a:rect l="l" t="t" r="r" b="b"/>
              <a:pathLst>
                <a:path w="1084084" h="495058">
                  <a:moveTo>
                    <a:pt x="1084084" y="425460"/>
                  </a:moveTo>
                  <a:lnTo>
                    <a:pt x="1084084" y="495058"/>
                  </a:lnTo>
                  <a:lnTo>
                    <a:pt x="0" y="495058"/>
                  </a:lnTo>
                  <a:lnTo>
                    <a:pt x="0" y="0"/>
                  </a:lnTo>
                  <a:lnTo>
                    <a:pt x="74683" y="0"/>
                  </a:lnTo>
                  <a:lnTo>
                    <a:pt x="74683" y="425460"/>
                  </a:lnTo>
                  <a:close/>
                </a:path>
              </a:pathLst>
            </a:custGeom>
            <a:noFill/>
            <a:ln w="28575">
              <a:solidFill>
                <a:schemeClr val="tx2"/>
              </a:soli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grpSp>
      <p:sp>
        <p:nvSpPr>
          <p:cNvPr id="56" name="Rectangle 55">
            <a:hlinkClick r:id="rId3" action="ppaction://hlinksldjump"/>
            <a:extLst>
              <a:ext uri="{FF2B5EF4-FFF2-40B4-BE49-F238E27FC236}">
                <a16:creationId xmlns:a16="http://schemas.microsoft.com/office/drawing/2014/main" id="{0D43048A-B565-41C6-B5B0-A93A1D74A5AE}"/>
              </a:ext>
            </a:extLst>
          </p:cNvPr>
          <p:cNvSpPr/>
          <p:nvPr/>
        </p:nvSpPr>
        <p:spPr bwMode="gray">
          <a:xfrm>
            <a:off x="303659" y="1933617"/>
            <a:ext cx="6064020" cy="787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err="1">
              <a:ln>
                <a:noFill/>
              </a:ln>
              <a:solidFill>
                <a:srgbClr val="D90000"/>
              </a:solidFill>
              <a:effectLst/>
              <a:uLnTx/>
              <a:uFillTx/>
              <a:latin typeface="ABBvoice"/>
              <a:ea typeface="ABBvoice"/>
              <a:cs typeface="ABBvoice"/>
            </a:endParaRPr>
          </a:p>
        </p:txBody>
      </p:sp>
      <p:sp>
        <p:nvSpPr>
          <p:cNvPr id="8" name="Rectangle 7">
            <a:hlinkClick r:id="rId4" action="ppaction://hlinksldjump"/>
            <a:extLst>
              <a:ext uri="{FF2B5EF4-FFF2-40B4-BE49-F238E27FC236}">
                <a16:creationId xmlns:a16="http://schemas.microsoft.com/office/drawing/2014/main" id="{84708C3E-9A36-4D86-A268-87E1CB1F996E}"/>
              </a:ext>
            </a:extLst>
          </p:cNvPr>
          <p:cNvSpPr/>
          <p:nvPr/>
        </p:nvSpPr>
        <p:spPr bwMode="gray">
          <a:xfrm>
            <a:off x="363611" y="4665663"/>
            <a:ext cx="5765221" cy="960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55" name="Group 54">
            <a:extLst>
              <a:ext uri="{FF2B5EF4-FFF2-40B4-BE49-F238E27FC236}">
                <a16:creationId xmlns:a16="http://schemas.microsoft.com/office/drawing/2014/main" id="{6BD00622-E7D3-41C8-B486-CF2DC597DD1A}"/>
              </a:ext>
            </a:extLst>
          </p:cNvPr>
          <p:cNvGrpSpPr>
            <a:grpSpLocks noChangeAspect="1"/>
          </p:cNvGrpSpPr>
          <p:nvPr/>
        </p:nvGrpSpPr>
        <p:grpSpPr bwMode="gray">
          <a:xfrm>
            <a:off x="363612" y="1955751"/>
            <a:ext cx="578646" cy="714253"/>
            <a:chOff x="1462933" y="2597527"/>
            <a:chExt cx="324097" cy="400050"/>
          </a:xfrm>
        </p:grpSpPr>
        <p:grpSp>
          <p:nvGrpSpPr>
            <p:cNvPr id="57" name="Group 56">
              <a:extLst>
                <a:ext uri="{FF2B5EF4-FFF2-40B4-BE49-F238E27FC236}">
                  <a16:creationId xmlns:a16="http://schemas.microsoft.com/office/drawing/2014/main" id="{0794D86C-D757-4B67-BF70-9424ADD540CE}"/>
                </a:ext>
              </a:extLst>
            </p:cNvPr>
            <p:cNvGrpSpPr/>
            <p:nvPr/>
          </p:nvGrpSpPr>
          <p:grpSpPr bwMode="gray">
            <a:xfrm rot="18900000">
              <a:off x="1502996" y="2758660"/>
              <a:ext cx="238015" cy="84799"/>
              <a:chOff x="4744822" y="2006391"/>
              <a:chExt cx="238015" cy="84799"/>
            </a:xfrm>
          </p:grpSpPr>
          <p:sp>
            <p:nvSpPr>
              <p:cNvPr id="63" name="Rectangle 1516">
                <a:extLst>
                  <a:ext uri="{FF2B5EF4-FFF2-40B4-BE49-F238E27FC236}">
                    <a16:creationId xmlns:a16="http://schemas.microsoft.com/office/drawing/2014/main" id="{9F0AFF44-EA6F-47F6-BDC0-F667CBDD85F3}"/>
                  </a:ext>
                </a:extLst>
              </p:cNvPr>
              <p:cNvSpPr/>
              <p:nvPr/>
            </p:nvSpPr>
            <p:spPr bwMode="gray">
              <a:xfrm>
                <a:off x="4773312" y="2006391"/>
                <a:ext cx="209525" cy="84799"/>
              </a:xfrm>
              <a:custGeom>
                <a:avLst/>
                <a:gdLst>
                  <a:gd name="connsiteX0" fmla="*/ 0 w 209525"/>
                  <a:gd name="connsiteY0" fmla="*/ 0 h 84799"/>
                  <a:gd name="connsiteX1" fmla="*/ 209525 w 209525"/>
                  <a:gd name="connsiteY1" fmla="*/ 0 h 84799"/>
                  <a:gd name="connsiteX2" fmla="*/ 209525 w 209525"/>
                  <a:gd name="connsiteY2" fmla="*/ 84799 h 84799"/>
                  <a:gd name="connsiteX3" fmla="*/ 0 w 209525"/>
                  <a:gd name="connsiteY3" fmla="*/ 84799 h 84799"/>
                  <a:gd name="connsiteX4" fmla="*/ 0 w 209525"/>
                  <a:gd name="connsiteY4" fmla="*/ 0 h 84799"/>
                  <a:gd name="connsiteX0" fmla="*/ 0 w 209525"/>
                  <a:gd name="connsiteY0" fmla="*/ 0 h 84799"/>
                  <a:gd name="connsiteX1" fmla="*/ 209525 w 209525"/>
                  <a:gd name="connsiteY1" fmla="*/ 0 h 84799"/>
                  <a:gd name="connsiteX2" fmla="*/ 209525 w 209525"/>
                  <a:gd name="connsiteY2" fmla="*/ 84799 h 84799"/>
                  <a:gd name="connsiteX3" fmla="*/ 116192 w 209525"/>
                  <a:gd name="connsiteY3" fmla="*/ 81489 h 84799"/>
                  <a:gd name="connsiteX4" fmla="*/ 0 w 209525"/>
                  <a:gd name="connsiteY4" fmla="*/ 84799 h 84799"/>
                  <a:gd name="connsiteX5" fmla="*/ 0 w 209525"/>
                  <a:gd name="connsiteY5" fmla="*/ 0 h 84799"/>
                  <a:gd name="connsiteX0" fmla="*/ 0 w 209525"/>
                  <a:gd name="connsiteY0" fmla="*/ 0 h 84799"/>
                  <a:gd name="connsiteX1" fmla="*/ 209525 w 209525"/>
                  <a:gd name="connsiteY1" fmla="*/ 0 h 84799"/>
                  <a:gd name="connsiteX2" fmla="*/ 209525 w 209525"/>
                  <a:gd name="connsiteY2" fmla="*/ 84799 h 84799"/>
                  <a:gd name="connsiteX3" fmla="*/ 0 w 209525"/>
                  <a:gd name="connsiteY3" fmla="*/ 84799 h 84799"/>
                  <a:gd name="connsiteX4" fmla="*/ 0 w 209525"/>
                  <a:gd name="connsiteY4" fmla="*/ 0 h 84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25" h="84799">
                    <a:moveTo>
                      <a:pt x="0" y="0"/>
                    </a:moveTo>
                    <a:lnTo>
                      <a:pt x="209525" y="0"/>
                    </a:lnTo>
                    <a:lnTo>
                      <a:pt x="209525" y="84799"/>
                    </a:lnTo>
                    <a:lnTo>
                      <a:pt x="0" y="84799"/>
                    </a:lnTo>
                    <a:lnTo>
                      <a:pt x="0" y="0"/>
                    </a:lnTo>
                    <a:close/>
                  </a:path>
                </a:pathLst>
              </a:custGeom>
              <a:noFill/>
              <a:ln w="285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64" name="Oval 63">
                <a:extLst>
                  <a:ext uri="{FF2B5EF4-FFF2-40B4-BE49-F238E27FC236}">
                    <a16:creationId xmlns:a16="http://schemas.microsoft.com/office/drawing/2014/main" id="{8CDA7734-8BDF-40C6-BB76-0DF7B355CEB0}"/>
                  </a:ext>
                </a:extLst>
              </p:cNvPr>
              <p:cNvSpPr/>
              <p:nvPr/>
            </p:nvSpPr>
            <p:spPr bwMode="gray">
              <a:xfrm>
                <a:off x="4804487" y="2019301"/>
                <a:ext cx="58984" cy="58982"/>
              </a:xfrm>
              <a:prstGeom prst="ellipse">
                <a:avLst/>
              </a:prstGeom>
              <a:noFill/>
              <a:ln w="285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65" name="Oval 64">
                <a:extLst>
                  <a:ext uri="{FF2B5EF4-FFF2-40B4-BE49-F238E27FC236}">
                    <a16:creationId xmlns:a16="http://schemas.microsoft.com/office/drawing/2014/main" id="{430947E2-6064-4980-AC17-64518F524CC8}"/>
                  </a:ext>
                </a:extLst>
              </p:cNvPr>
              <p:cNvSpPr/>
              <p:nvPr/>
            </p:nvSpPr>
            <p:spPr bwMode="gray">
              <a:xfrm>
                <a:off x="4892679" y="2019301"/>
                <a:ext cx="58984" cy="58982"/>
              </a:xfrm>
              <a:prstGeom prst="ellipse">
                <a:avLst/>
              </a:prstGeom>
              <a:noFill/>
              <a:ln w="285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cxnSp>
            <p:nvCxnSpPr>
              <p:cNvPr id="66" name="Straight Connector 65">
                <a:extLst>
                  <a:ext uri="{FF2B5EF4-FFF2-40B4-BE49-F238E27FC236}">
                    <a16:creationId xmlns:a16="http://schemas.microsoft.com/office/drawing/2014/main" id="{94289C44-D21F-4F15-B5B9-95C99BA6024A}"/>
                  </a:ext>
                </a:extLst>
              </p:cNvPr>
              <p:cNvCxnSpPr>
                <a:cxnSpLocks/>
                <a:stCxn id="64" idx="2"/>
                <a:endCxn id="64" idx="6"/>
              </p:cNvCxnSpPr>
              <p:nvPr/>
            </p:nvCxnSpPr>
            <p:spPr bwMode="gray">
              <a:xfrm>
                <a:off x="4804487" y="2048792"/>
                <a:ext cx="58984" cy="0"/>
              </a:xfrm>
              <a:prstGeom prst="line">
                <a:avLst/>
              </a:prstGeom>
              <a:noFill/>
              <a:ln w="285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nvGrpSpPr>
              <p:cNvPr id="67" name="Group 66">
                <a:extLst>
                  <a:ext uri="{FF2B5EF4-FFF2-40B4-BE49-F238E27FC236}">
                    <a16:creationId xmlns:a16="http://schemas.microsoft.com/office/drawing/2014/main" id="{3FD8DED6-5BF2-42F1-8587-B63C1D272A37}"/>
                  </a:ext>
                </a:extLst>
              </p:cNvPr>
              <p:cNvGrpSpPr/>
              <p:nvPr/>
            </p:nvGrpSpPr>
            <p:grpSpPr bwMode="gray">
              <a:xfrm>
                <a:off x="4744822" y="2020589"/>
                <a:ext cx="28490" cy="56402"/>
                <a:chOff x="4744822" y="2020848"/>
                <a:chExt cx="28490" cy="56402"/>
              </a:xfrm>
            </p:grpSpPr>
            <p:sp>
              <p:nvSpPr>
                <p:cNvPr id="68" name="Rectangle: Top Corners Snipped 24">
                  <a:extLst>
                    <a:ext uri="{FF2B5EF4-FFF2-40B4-BE49-F238E27FC236}">
                      <a16:creationId xmlns:a16="http://schemas.microsoft.com/office/drawing/2014/main" id="{EC3C8A9B-050D-4A9A-9A91-446E2E2484AB}"/>
                    </a:ext>
                  </a:extLst>
                </p:cNvPr>
                <p:cNvSpPr/>
                <p:nvPr/>
              </p:nvSpPr>
              <p:spPr bwMode="gray">
                <a:xfrm rot="16200000" flipH="1">
                  <a:off x="4749746" y="2015924"/>
                  <a:ext cx="18641" cy="28490"/>
                </a:xfrm>
                <a:custGeom>
                  <a:avLst/>
                  <a:gdLst>
                    <a:gd name="connsiteX0" fmla="*/ 36938 w 221625"/>
                    <a:gd name="connsiteY0" fmla="*/ 0 h 338709"/>
                    <a:gd name="connsiteX1" fmla="*/ 184687 w 221625"/>
                    <a:gd name="connsiteY1" fmla="*/ 0 h 338709"/>
                    <a:gd name="connsiteX2" fmla="*/ 221625 w 221625"/>
                    <a:gd name="connsiteY2" fmla="*/ 36938 h 338709"/>
                    <a:gd name="connsiteX3" fmla="*/ 221625 w 221625"/>
                    <a:gd name="connsiteY3" fmla="*/ 338709 h 338709"/>
                    <a:gd name="connsiteX4" fmla="*/ 221625 w 221625"/>
                    <a:gd name="connsiteY4" fmla="*/ 338709 h 338709"/>
                    <a:gd name="connsiteX5" fmla="*/ 0 w 221625"/>
                    <a:gd name="connsiteY5" fmla="*/ 338709 h 338709"/>
                    <a:gd name="connsiteX6" fmla="*/ 0 w 221625"/>
                    <a:gd name="connsiteY6" fmla="*/ 338709 h 338709"/>
                    <a:gd name="connsiteX7" fmla="*/ 0 w 221625"/>
                    <a:gd name="connsiteY7" fmla="*/ 36938 h 338709"/>
                    <a:gd name="connsiteX8" fmla="*/ 36938 w 221625"/>
                    <a:gd name="connsiteY8" fmla="*/ 0 h 338709"/>
                    <a:gd name="connsiteX0" fmla="*/ 36938 w 221625"/>
                    <a:gd name="connsiteY0" fmla="*/ 0 h 339090"/>
                    <a:gd name="connsiteX1" fmla="*/ 184687 w 221625"/>
                    <a:gd name="connsiteY1" fmla="*/ 0 h 339090"/>
                    <a:gd name="connsiteX2" fmla="*/ 221625 w 221625"/>
                    <a:gd name="connsiteY2" fmla="*/ 36938 h 339090"/>
                    <a:gd name="connsiteX3" fmla="*/ 221625 w 221625"/>
                    <a:gd name="connsiteY3" fmla="*/ 338709 h 339090"/>
                    <a:gd name="connsiteX4" fmla="*/ 221625 w 221625"/>
                    <a:gd name="connsiteY4" fmla="*/ 338709 h 339090"/>
                    <a:gd name="connsiteX5" fmla="*/ 96652 w 221625"/>
                    <a:gd name="connsiteY5" fmla="*/ 339090 h 339090"/>
                    <a:gd name="connsiteX6" fmla="*/ 0 w 221625"/>
                    <a:gd name="connsiteY6" fmla="*/ 338709 h 339090"/>
                    <a:gd name="connsiteX7" fmla="*/ 0 w 221625"/>
                    <a:gd name="connsiteY7" fmla="*/ 338709 h 339090"/>
                    <a:gd name="connsiteX8" fmla="*/ 0 w 221625"/>
                    <a:gd name="connsiteY8" fmla="*/ 36938 h 339090"/>
                    <a:gd name="connsiteX9" fmla="*/ 36938 w 221625"/>
                    <a:gd name="connsiteY9" fmla="*/ 0 h 339090"/>
                    <a:gd name="connsiteX0" fmla="*/ 96652 w 221625"/>
                    <a:gd name="connsiteY0" fmla="*/ 339090 h 430530"/>
                    <a:gd name="connsiteX1" fmla="*/ 0 w 221625"/>
                    <a:gd name="connsiteY1" fmla="*/ 338709 h 430530"/>
                    <a:gd name="connsiteX2" fmla="*/ 0 w 221625"/>
                    <a:gd name="connsiteY2" fmla="*/ 338709 h 430530"/>
                    <a:gd name="connsiteX3" fmla="*/ 0 w 221625"/>
                    <a:gd name="connsiteY3" fmla="*/ 36938 h 430530"/>
                    <a:gd name="connsiteX4" fmla="*/ 36938 w 221625"/>
                    <a:gd name="connsiteY4" fmla="*/ 0 h 430530"/>
                    <a:gd name="connsiteX5" fmla="*/ 184687 w 221625"/>
                    <a:gd name="connsiteY5" fmla="*/ 0 h 430530"/>
                    <a:gd name="connsiteX6" fmla="*/ 221625 w 221625"/>
                    <a:gd name="connsiteY6" fmla="*/ 36938 h 430530"/>
                    <a:gd name="connsiteX7" fmla="*/ 221625 w 221625"/>
                    <a:gd name="connsiteY7" fmla="*/ 338709 h 430530"/>
                    <a:gd name="connsiteX8" fmla="*/ 221625 w 221625"/>
                    <a:gd name="connsiteY8" fmla="*/ 338709 h 430530"/>
                    <a:gd name="connsiteX9" fmla="*/ 188092 w 221625"/>
                    <a:gd name="connsiteY9" fmla="*/ 430530 h 430530"/>
                    <a:gd name="connsiteX0" fmla="*/ 0 w 221625"/>
                    <a:gd name="connsiteY0" fmla="*/ 338709 h 430530"/>
                    <a:gd name="connsiteX1" fmla="*/ 0 w 221625"/>
                    <a:gd name="connsiteY1" fmla="*/ 338709 h 430530"/>
                    <a:gd name="connsiteX2" fmla="*/ 0 w 221625"/>
                    <a:gd name="connsiteY2" fmla="*/ 36938 h 430530"/>
                    <a:gd name="connsiteX3" fmla="*/ 36938 w 221625"/>
                    <a:gd name="connsiteY3" fmla="*/ 0 h 430530"/>
                    <a:gd name="connsiteX4" fmla="*/ 184687 w 221625"/>
                    <a:gd name="connsiteY4" fmla="*/ 0 h 430530"/>
                    <a:gd name="connsiteX5" fmla="*/ 221625 w 221625"/>
                    <a:gd name="connsiteY5" fmla="*/ 36938 h 430530"/>
                    <a:gd name="connsiteX6" fmla="*/ 221625 w 221625"/>
                    <a:gd name="connsiteY6" fmla="*/ 338709 h 430530"/>
                    <a:gd name="connsiteX7" fmla="*/ 221625 w 221625"/>
                    <a:gd name="connsiteY7" fmla="*/ 338709 h 430530"/>
                    <a:gd name="connsiteX8" fmla="*/ 188092 w 221625"/>
                    <a:gd name="connsiteY8" fmla="*/ 430530 h 430530"/>
                    <a:gd name="connsiteX0" fmla="*/ 0 w 221625"/>
                    <a:gd name="connsiteY0" fmla="*/ 338709 h 338709"/>
                    <a:gd name="connsiteX1" fmla="*/ 0 w 221625"/>
                    <a:gd name="connsiteY1" fmla="*/ 338709 h 338709"/>
                    <a:gd name="connsiteX2" fmla="*/ 0 w 221625"/>
                    <a:gd name="connsiteY2" fmla="*/ 36938 h 338709"/>
                    <a:gd name="connsiteX3" fmla="*/ 36938 w 221625"/>
                    <a:gd name="connsiteY3" fmla="*/ 0 h 338709"/>
                    <a:gd name="connsiteX4" fmla="*/ 184687 w 221625"/>
                    <a:gd name="connsiteY4" fmla="*/ 0 h 338709"/>
                    <a:gd name="connsiteX5" fmla="*/ 221625 w 221625"/>
                    <a:gd name="connsiteY5" fmla="*/ 36938 h 338709"/>
                    <a:gd name="connsiteX6" fmla="*/ 221625 w 221625"/>
                    <a:gd name="connsiteY6" fmla="*/ 338709 h 338709"/>
                    <a:gd name="connsiteX7" fmla="*/ 221625 w 221625"/>
                    <a:gd name="connsiteY7" fmla="*/ 338709 h 338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625" h="338709">
                      <a:moveTo>
                        <a:pt x="0" y="338709"/>
                      </a:moveTo>
                      <a:lnTo>
                        <a:pt x="0" y="338709"/>
                      </a:lnTo>
                      <a:lnTo>
                        <a:pt x="0" y="36938"/>
                      </a:lnTo>
                      <a:lnTo>
                        <a:pt x="36938" y="0"/>
                      </a:lnTo>
                      <a:lnTo>
                        <a:pt x="184687" y="0"/>
                      </a:lnTo>
                      <a:lnTo>
                        <a:pt x="221625" y="36938"/>
                      </a:lnTo>
                      <a:lnTo>
                        <a:pt x="221625" y="338709"/>
                      </a:lnTo>
                      <a:lnTo>
                        <a:pt x="221625" y="338709"/>
                      </a:lnTo>
                    </a:path>
                  </a:pathLst>
                </a:custGeom>
                <a:noFill/>
                <a:ln w="285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69" name="Rectangle: Top Corners Snipped 24">
                  <a:extLst>
                    <a:ext uri="{FF2B5EF4-FFF2-40B4-BE49-F238E27FC236}">
                      <a16:creationId xmlns:a16="http://schemas.microsoft.com/office/drawing/2014/main" id="{E371AB3D-4B53-42B3-95E8-0CE477280AC0}"/>
                    </a:ext>
                  </a:extLst>
                </p:cNvPr>
                <p:cNvSpPr/>
                <p:nvPr/>
              </p:nvSpPr>
              <p:spPr bwMode="gray">
                <a:xfrm rot="16200000" flipH="1">
                  <a:off x="4753992" y="2057931"/>
                  <a:ext cx="18641" cy="19997"/>
                </a:xfrm>
                <a:custGeom>
                  <a:avLst/>
                  <a:gdLst>
                    <a:gd name="connsiteX0" fmla="*/ 36938 w 221625"/>
                    <a:gd name="connsiteY0" fmla="*/ 0 h 237744"/>
                    <a:gd name="connsiteX1" fmla="*/ 184687 w 221625"/>
                    <a:gd name="connsiteY1" fmla="*/ 0 h 237744"/>
                    <a:gd name="connsiteX2" fmla="*/ 221625 w 221625"/>
                    <a:gd name="connsiteY2" fmla="*/ 36938 h 237744"/>
                    <a:gd name="connsiteX3" fmla="*/ 221625 w 221625"/>
                    <a:gd name="connsiteY3" fmla="*/ 237744 h 237744"/>
                    <a:gd name="connsiteX4" fmla="*/ 221625 w 221625"/>
                    <a:gd name="connsiteY4" fmla="*/ 237744 h 237744"/>
                    <a:gd name="connsiteX5" fmla="*/ 0 w 221625"/>
                    <a:gd name="connsiteY5" fmla="*/ 237744 h 237744"/>
                    <a:gd name="connsiteX6" fmla="*/ 0 w 221625"/>
                    <a:gd name="connsiteY6" fmla="*/ 237744 h 237744"/>
                    <a:gd name="connsiteX7" fmla="*/ 0 w 221625"/>
                    <a:gd name="connsiteY7" fmla="*/ 36938 h 237744"/>
                    <a:gd name="connsiteX8" fmla="*/ 36938 w 221625"/>
                    <a:gd name="connsiteY8" fmla="*/ 0 h 237744"/>
                    <a:gd name="connsiteX0" fmla="*/ 36938 w 221625"/>
                    <a:gd name="connsiteY0" fmla="*/ 0 h 237744"/>
                    <a:gd name="connsiteX1" fmla="*/ 184687 w 221625"/>
                    <a:gd name="connsiteY1" fmla="*/ 0 h 237744"/>
                    <a:gd name="connsiteX2" fmla="*/ 221625 w 221625"/>
                    <a:gd name="connsiteY2" fmla="*/ 36938 h 237744"/>
                    <a:gd name="connsiteX3" fmla="*/ 221625 w 221625"/>
                    <a:gd name="connsiteY3" fmla="*/ 237744 h 237744"/>
                    <a:gd name="connsiteX4" fmla="*/ 221625 w 221625"/>
                    <a:gd name="connsiteY4" fmla="*/ 237744 h 237744"/>
                    <a:gd name="connsiteX5" fmla="*/ 89032 w 221625"/>
                    <a:gd name="connsiteY5" fmla="*/ 236221 h 237744"/>
                    <a:gd name="connsiteX6" fmla="*/ 0 w 221625"/>
                    <a:gd name="connsiteY6" fmla="*/ 237744 h 237744"/>
                    <a:gd name="connsiteX7" fmla="*/ 0 w 221625"/>
                    <a:gd name="connsiteY7" fmla="*/ 237744 h 237744"/>
                    <a:gd name="connsiteX8" fmla="*/ 0 w 221625"/>
                    <a:gd name="connsiteY8" fmla="*/ 36938 h 237744"/>
                    <a:gd name="connsiteX9" fmla="*/ 36938 w 221625"/>
                    <a:gd name="connsiteY9" fmla="*/ 0 h 237744"/>
                    <a:gd name="connsiteX0" fmla="*/ 89032 w 221625"/>
                    <a:gd name="connsiteY0" fmla="*/ 236221 h 327661"/>
                    <a:gd name="connsiteX1" fmla="*/ 0 w 221625"/>
                    <a:gd name="connsiteY1" fmla="*/ 237744 h 327661"/>
                    <a:gd name="connsiteX2" fmla="*/ 0 w 221625"/>
                    <a:gd name="connsiteY2" fmla="*/ 237744 h 327661"/>
                    <a:gd name="connsiteX3" fmla="*/ 0 w 221625"/>
                    <a:gd name="connsiteY3" fmla="*/ 36938 h 327661"/>
                    <a:gd name="connsiteX4" fmla="*/ 36938 w 221625"/>
                    <a:gd name="connsiteY4" fmla="*/ 0 h 327661"/>
                    <a:gd name="connsiteX5" fmla="*/ 184687 w 221625"/>
                    <a:gd name="connsiteY5" fmla="*/ 0 h 327661"/>
                    <a:gd name="connsiteX6" fmla="*/ 221625 w 221625"/>
                    <a:gd name="connsiteY6" fmla="*/ 36938 h 327661"/>
                    <a:gd name="connsiteX7" fmla="*/ 221625 w 221625"/>
                    <a:gd name="connsiteY7" fmla="*/ 237744 h 327661"/>
                    <a:gd name="connsiteX8" fmla="*/ 221625 w 221625"/>
                    <a:gd name="connsiteY8" fmla="*/ 237744 h 327661"/>
                    <a:gd name="connsiteX9" fmla="*/ 180472 w 221625"/>
                    <a:gd name="connsiteY9" fmla="*/ 327661 h 327661"/>
                    <a:gd name="connsiteX0" fmla="*/ 0 w 221625"/>
                    <a:gd name="connsiteY0" fmla="*/ 237744 h 327661"/>
                    <a:gd name="connsiteX1" fmla="*/ 0 w 221625"/>
                    <a:gd name="connsiteY1" fmla="*/ 237744 h 327661"/>
                    <a:gd name="connsiteX2" fmla="*/ 0 w 221625"/>
                    <a:gd name="connsiteY2" fmla="*/ 36938 h 327661"/>
                    <a:gd name="connsiteX3" fmla="*/ 36938 w 221625"/>
                    <a:gd name="connsiteY3" fmla="*/ 0 h 327661"/>
                    <a:gd name="connsiteX4" fmla="*/ 184687 w 221625"/>
                    <a:gd name="connsiteY4" fmla="*/ 0 h 327661"/>
                    <a:gd name="connsiteX5" fmla="*/ 221625 w 221625"/>
                    <a:gd name="connsiteY5" fmla="*/ 36938 h 327661"/>
                    <a:gd name="connsiteX6" fmla="*/ 221625 w 221625"/>
                    <a:gd name="connsiteY6" fmla="*/ 237744 h 327661"/>
                    <a:gd name="connsiteX7" fmla="*/ 221625 w 221625"/>
                    <a:gd name="connsiteY7" fmla="*/ 237744 h 327661"/>
                    <a:gd name="connsiteX8" fmla="*/ 180472 w 221625"/>
                    <a:gd name="connsiteY8" fmla="*/ 327661 h 327661"/>
                    <a:gd name="connsiteX0" fmla="*/ 0 w 221625"/>
                    <a:gd name="connsiteY0" fmla="*/ 237744 h 237744"/>
                    <a:gd name="connsiteX1" fmla="*/ 0 w 221625"/>
                    <a:gd name="connsiteY1" fmla="*/ 237744 h 237744"/>
                    <a:gd name="connsiteX2" fmla="*/ 0 w 221625"/>
                    <a:gd name="connsiteY2" fmla="*/ 36938 h 237744"/>
                    <a:gd name="connsiteX3" fmla="*/ 36938 w 221625"/>
                    <a:gd name="connsiteY3" fmla="*/ 0 h 237744"/>
                    <a:gd name="connsiteX4" fmla="*/ 184687 w 221625"/>
                    <a:gd name="connsiteY4" fmla="*/ 0 h 237744"/>
                    <a:gd name="connsiteX5" fmla="*/ 221625 w 221625"/>
                    <a:gd name="connsiteY5" fmla="*/ 36938 h 237744"/>
                    <a:gd name="connsiteX6" fmla="*/ 221625 w 221625"/>
                    <a:gd name="connsiteY6" fmla="*/ 237744 h 237744"/>
                    <a:gd name="connsiteX7" fmla="*/ 221625 w 221625"/>
                    <a:gd name="connsiteY7" fmla="*/ 237744 h 237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625" h="237744">
                      <a:moveTo>
                        <a:pt x="0" y="237744"/>
                      </a:moveTo>
                      <a:lnTo>
                        <a:pt x="0" y="237744"/>
                      </a:lnTo>
                      <a:lnTo>
                        <a:pt x="0" y="36938"/>
                      </a:lnTo>
                      <a:lnTo>
                        <a:pt x="36938" y="0"/>
                      </a:lnTo>
                      <a:lnTo>
                        <a:pt x="184687" y="0"/>
                      </a:lnTo>
                      <a:lnTo>
                        <a:pt x="221625" y="36938"/>
                      </a:lnTo>
                      <a:lnTo>
                        <a:pt x="221625" y="237744"/>
                      </a:lnTo>
                      <a:lnTo>
                        <a:pt x="221625" y="237744"/>
                      </a:lnTo>
                    </a:path>
                  </a:pathLst>
                </a:custGeom>
                <a:noFill/>
                <a:ln w="285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grpSp>
        </p:grpSp>
        <p:grpSp>
          <p:nvGrpSpPr>
            <p:cNvPr id="58" name="Group 57">
              <a:extLst>
                <a:ext uri="{FF2B5EF4-FFF2-40B4-BE49-F238E27FC236}">
                  <a16:creationId xmlns:a16="http://schemas.microsoft.com/office/drawing/2014/main" id="{8B2FFFC2-7844-4265-BE61-A527473DB031}"/>
                </a:ext>
              </a:extLst>
            </p:cNvPr>
            <p:cNvGrpSpPr/>
            <p:nvPr/>
          </p:nvGrpSpPr>
          <p:grpSpPr bwMode="gray">
            <a:xfrm>
              <a:off x="1462933" y="2597527"/>
              <a:ext cx="324097" cy="400050"/>
              <a:chOff x="5041982" y="4630340"/>
              <a:chExt cx="324097" cy="400050"/>
            </a:xfrm>
          </p:grpSpPr>
          <p:sp>
            <p:nvSpPr>
              <p:cNvPr id="59" name="Freeform 230">
                <a:extLst>
                  <a:ext uri="{FF2B5EF4-FFF2-40B4-BE49-F238E27FC236}">
                    <a16:creationId xmlns:a16="http://schemas.microsoft.com/office/drawing/2014/main" id="{706324A3-A0F8-4E95-9544-1F50B6E641E1}"/>
                  </a:ext>
                </a:extLst>
              </p:cNvPr>
              <p:cNvSpPr>
                <a:spLocks/>
              </p:cNvSpPr>
              <p:nvPr/>
            </p:nvSpPr>
            <p:spPr bwMode="gray">
              <a:xfrm rot="10800000" flipH="1">
                <a:off x="5041982" y="4667488"/>
                <a:ext cx="169862" cy="309563"/>
              </a:xfrm>
              <a:custGeom>
                <a:avLst/>
                <a:gdLst>
                  <a:gd name="connsiteX0" fmla="*/ 170607 w 325437"/>
                  <a:gd name="connsiteY0" fmla="*/ 325247 h 325438"/>
                  <a:gd name="connsiteX1" fmla="*/ 4847 w 325437"/>
                  <a:gd name="connsiteY1" fmla="*/ 202138 h 325438"/>
                  <a:gd name="connsiteX2" fmla="*/ 93283 w 325437"/>
                  <a:gd name="connsiteY2" fmla="*/ 15560 h 325438"/>
                  <a:gd name="connsiteX3" fmla="*/ 162719 w 325437"/>
                  <a:gd name="connsiteY3" fmla="*/ 162719 h 325438"/>
                  <a:gd name="connsiteX4" fmla="*/ 170607 w 325437"/>
                  <a:gd name="connsiteY4" fmla="*/ 325247 h 325438"/>
                  <a:gd name="connsiteX0" fmla="*/ 162737 w 254177"/>
                  <a:gd name="connsiteY0" fmla="*/ 147159 h 309880"/>
                  <a:gd name="connsiteX1" fmla="*/ 170625 w 254177"/>
                  <a:gd name="connsiteY1" fmla="*/ 309687 h 309880"/>
                  <a:gd name="connsiteX2" fmla="*/ 4865 w 254177"/>
                  <a:gd name="connsiteY2" fmla="*/ 186578 h 309880"/>
                  <a:gd name="connsiteX3" fmla="*/ 93301 w 254177"/>
                  <a:gd name="connsiteY3" fmla="*/ 0 h 309880"/>
                  <a:gd name="connsiteX4" fmla="*/ 254177 w 254177"/>
                  <a:gd name="connsiteY4" fmla="*/ 238599 h 309880"/>
                  <a:gd name="connsiteX0" fmla="*/ 170625 w 254177"/>
                  <a:gd name="connsiteY0" fmla="*/ 309687 h 309880"/>
                  <a:gd name="connsiteX1" fmla="*/ 4865 w 254177"/>
                  <a:gd name="connsiteY1" fmla="*/ 186578 h 309880"/>
                  <a:gd name="connsiteX2" fmla="*/ 93301 w 254177"/>
                  <a:gd name="connsiteY2" fmla="*/ 0 h 309880"/>
                  <a:gd name="connsiteX3" fmla="*/ 254177 w 254177"/>
                  <a:gd name="connsiteY3" fmla="*/ 238599 h 309880"/>
                  <a:gd name="connsiteX0" fmla="*/ 170625 w 170625"/>
                  <a:gd name="connsiteY0" fmla="*/ 309687 h 309880"/>
                  <a:gd name="connsiteX1" fmla="*/ 4865 w 170625"/>
                  <a:gd name="connsiteY1" fmla="*/ 186578 h 309880"/>
                  <a:gd name="connsiteX2" fmla="*/ 93301 w 170625"/>
                  <a:gd name="connsiteY2" fmla="*/ 0 h 309880"/>
                </a:gdLst>
                <a:ahLst/>
                <a:cxnLst>
                  <a:cxn ang="0">
                    <a:pos x="connsiteX0" y="connsiteY0"/>
                  </a:cxn>
                  <a:cxn ang="0">
                    <a:pos x="connsiteX1" y="connsiteY1"/>
                  </a:cxn>
                  <a:cxn ang="0">
                    <a:pos x="connsiteX2" y="connsiteY2"/>
                  </a:cxn>
                </a:cxnLst>
                <a:rect l="l" t="t" r="r" b="b"/>
                <a:pathLst>
                  <a:path w="170625" h="309880">
                    <a:moveTo>
                      <a:pt x="170625" y="309687"/>
                    </a:moveTo>
                    <a:cubicBezTo>
                      <a:pt x="93077" y="313451"/>
                      <a:pt x="23672" y="261904"/>
                      <a:pt x="4865" y="186578"/>
                    </a:cubicBezTo>
                    <a:cubicBezTo>
                      <a:pt x="-13943" y="111251"/>
                      <a:pt x="23086" y="33130"/>
                      <a:pt x="93301" y="0"/>
                    </a:cubicBezTo>
                  </a:path>
                </a:pathLst>
              </a:custGeom>
              <a:noFill/>
              <a:ln w="28575">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60" name="Freeform 231">
                <a:extLst>
                  <a:ext uri="{FF2B5EF4-FFF2-40B4-BE49-F238E27FC236}">
                    <a16:creationId xmlns:a16="http://schemas.microsoft.com/office/drawing/2014/main" id="{3DF8E215-1D00-41C6-BD49-4DA7D4C3BB1A}"/>
                  </a:ext>
                </a:extLst>
              </p:cNvPr>
              <p:cNvSpPr>
                <a:spLocks/>
              </p:cNvSpPr>
              <p:nvPr/>
            </p:nvSpPr>
            <p:spPr bwMode="gray">
              <a:xfrm>
                <a:off x="5177148" y="4630340"/>
                <a:ext cx="36512" cy="76200"/>
              </a:xfrm>
              <a:custGeom>
                <a:avLst/>
                <a:gdLst>
                  <a:gd name="T0" fmla="*/ 0 w 23"/>
                  <a:gd name="T1" fmla="*/ 0 h 48"/>
                  <a:gd name="T2" fmla="*/ 23 w 23"/>
                  <a:gd name="T3" fmla="*/ 24 h 48"/>
                  <a:gd name="T4" fmla="*/ 0 w 23"/>
                  <a:gd name="T5" fmla="*/ 48 h 48"/>
                </a:gdLst>
                <a:ahLst/>
                <a:cxnLst>
                  <a:cxn ang="0">
                    <a:pos x="T0" y="T1"/>
                  </a:cxn>
                  <a:cxn ang="0">
                    <a:pos x="T2" y="T3"/>
                  </a:cxn>
                  <a:cxn ang="0">
                    <a:pos x="T4" y="T5"/>
                  </a:cxn>
                </a:cxnLst>
                <a:rect l="0" t="0" r="r" b="b"/>
                <a:pathLst>
                  <a:path w="23" h="48">
                    <a:moveTo>
                      <a:pt x="0" y="0"/>
                    </a:moveTo>
                    <a:lnTo>
                      <a:pt x="23" y="24"/>
                    </a:lnTo>
                    <a:lnTo>
                      <a:pt x="0" y="48"/>
                    </a:lnTo>
                  </a:path>
                </a:pathLst>
              </a:custGeom>
              <a:noFill/>
              <a:ln w="28575">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61" name="Freeform 232">
                <a:extLst>
                  <a:ext uri="{FF2B5EF4-FFF2-40B4-BE49-F238E27FC236}">
                    <a16:creationId xmlns:a16="http://schemas.microsoft.com/office/drawing/2014/main" id="{EB55DDEB-EF54-44A6-87D8-963A9F9043E8}"/>
                  </a:ext>
                </a:extLst>
              </p:cNvPr>
              <p:cNvSpPr>
                <a:spLocks/>
              </p:cNvSpPr>
              <p:nvPr/>
            </p:nvSpPr>
            <p:spPr bwMode="gray">
              <a:xfrm>
                <a:off x="5196198" y="4954190"/>
                <a:ext cx="36512" cy="76200"/>
              </a:xfrm>
              <a:custGeom>
                <a:avLst/>
                <a:gdLst>
                  <a:gd name="T0" fmla="*/ 23 w 23"/>
                  <a:gd name="T1" fmla="*/ 0 h 48"/>
                  <a:gd name="T2" fmla="*/ 0 w 23"/>
                  <a:gd name="T3" fmla="*/ 24 h 48"/>
                  <a:gd name="T4" fmla="*/ 23 w 23"/>
                  <a:gd name="T5" fmla="*/ 48 h 48"/>
                </a:gdLst>
                <a:ahLst/>
                <a:cxnLst>
                  <a:cxn ang="0">
                    <a:pos x="T0" y="T1"/>
                  </a:cxn>
                  <a:cxn ang="0">
                    <a:pos x="T2" y="T3"/>
                  </a:cxn>
                  <a:cxn ang="0">
                    <a:pos x="T4" y="T5"/>
                  </a:cxn>
                </a:cxnLst>
                <a:rect l="0" t="0" r="r" b="b"/>
                <a:pathLst>
                  <a:path w="23" h="48">
                    <a:moveTo>
                      <a:pt x="23" y="0"/>
                    </a:moveTo>
                    <a:lnTo>
                      <a:pt x="0" y="24"/>
                    </a:lnTo>
                    <a:lnTo>
                      <a:pt x="23" y="48"/>
                    </a:lnTo>
                  </a:path>
                </a:pathLst>
              </a:custGeom>
              <a:noFill/>
              <a:ln w="28575">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62" name="Freeform 230">
                <a:extLst>
                  <a:ext uri="{FF2B5EF4-FFF2-40B4-BE49-F238E27FC236}">
                    <a16:creationId xmlns:a16="http://schemas.microsoft.com/office/drawing/2014/main" id="{84D33E93-FD80-4D08-B439-FBCD3723A835}"/>
                  </a:ext>
                </a:extLst>
              </p:cNvPr>
              <p:cNvSpPr>
                <a:spLocks/>
              </p:cNvSpPr>
              <p:nvPr/>
            </p:nvSpPr>
            <p:spPr bwMode="gray">
              <a:xfrm flipH="1">
                <a:off x="5196217" y="4682728"/>
                <a:ext cx="169862" cy="309563"/>
              </a:xfrm>
              <a:custGeom>
                <a:avLst/>
                <a:gdLst>
                  <a:gd name="connsiteX0" fmla="*/ 170607 w 325437"/>
                  <a:gd name="connsiteY0" fmla="*/ 325247 h 325438"/>
                  <a:gd name="connsiteX1" fmla="*/ 4847 w 325437"/>
                  <a:gd name="connsiteY1" fmla="*/ 202138 h 325438"/>
                  <a:gd name="connsiteX2" fmla="*/ 93283 w 325437"/>
                  <a:gd name="connsiteY2" fmla="*/ 15560 h 325438"/>
                  <a:gd name="connsiteX3" fmla="*/ 162719 w 325437"/>
                  <a:gd name="connsiteY3" fmla="*/ 162719 h 325438"/>
                  <a:gd name="connsiteX4" fmla="*/ 170607 w 325437"/>
                  <a:gd name="connsiteY4" fmla="*/ 325247 h 325438"/>
                  <a:gd name="connsiteX0" fmla="*/ 162737 w 254177"/>
                  <a:gd name="connsiteY0" fmla="*/ 147159 h 309880"/>
                  <a:gd name="connsiteX1" fmla="*/ 170625 w 254177"/>
                  <a:gd name="connsiteY1" fmla="*/ 309687 h 309880"/>
                  <a:gd name="connsiteX2" fmla="*/ 4865 w 254177"/>
                  <a:gd name="connsiteY2" fmla="*/ 186578 h 309880"/>
                  <a:gd name="connsiteX3" fmla="*/ 93301 w 254177"/>
                  <a:gd name="connsiteY3" fmla="*/ 0 h 309880"/>
                  <a:gd name="connsiteX4" fmla="*/ 254177 w 254177"/>
                  <a:gd name="connsiteY4" fmla="*/ 238599 h 309880"/>
                  <a:gd name="connsiteX0" fmla="*/ 170625 w 254177"/>
                  <a:gd name="connsiteY0" fmla="*/ 309687 h 309880"/>
                  <a:gd name="connsiteX1" fmla="*/ 4865 w 254177"/>
                  <a:gd name="connsiteY1" fmla="*/ 186578 h 309880"/>
                  <a:gd name="connsiteX2" fmla="*/ 93301 w 254177"/>
                  <a:gd name="connsiteY2" fmla="*/ 0 h 309880"/>
                  <a:gd name="connsiteX3" fmla="*/ 254177 w 254177"/>
                  <a:gd name="connsiteY3" fmla="*/ 238599 h 309880"/>
                  <a:gd name="connsiteX0" fmla="*/ 170625 w 170625"/>
                  <a:gd name="connsiteY0" fmla="*/ 309687 h 309880"/>
                  <a:gd name="connsiteX1" fmla="*/ 4865 w 170625"/>
                  <a:gd name="connsiteY1" fmla="*/ 186578 h 309880"/>
                  <a:gd name="connsiteX2" fmla="*/ 93301 w 170625"/>
                  <a:gd name="connsiteY2" fmla="*/ 0 h 309880"/>
                </a:gdLst>
                <a:ahLst/>
                <a:cxnLst>
                  <a:cxn ang="0">
                    <a:pos x="connsiteX0" y="connsiteY0"/>
                  </a:cxn>
                  <a:cxn ang="0">
                    <a:pos x="connsiteX1" y="connsiteY1"/>
                  </a:cxn>
                  <a:cxn ang="0">
                    <a:pos x="connsiteX2" y="connsiteY2"/>
                  </a:cxn>
                </a:cxnLst>
                <a:rect l="l" t="t" r="r" b="b"/>
                <a:pathLst>
                  <a:path w="170625" h="309880">
                    <a:moveTo>
                      <a:pt x="170625" y="309687"/>
                    </a:moveTo>
                    <a:cubicBezTo>
                      <a:pt x="93077" y="313451"/>
                      <a:pt x="23672" y="261904"/>
                      <a:pt x="4865" y="186578"/>
                    </a:cubicBezTo>
                    <a:cubicBezTo>
                      <a:pt x="-13943" y="111251"/>
                      <a:pt x="23086" y="33130"/>
                      <a:pt x="93301" y="0"/>
                    </a:cubicBezTo>
                  </a:path>
                </a:pathLst>
              </a:custGeom>
              <a:noFill/>
              <a:ln w="28575">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grpSp>
      </p:grpSp>
    </p:spTree>
    <p:custDataLst>
      <p:tags r:id="rId1"/>
    </p:custDataLst>
    <p:extLst>
      <p:ext uri="{BB962C8B-B14F-4D97-AF65-F5344CB8AC3E}">
        <p14:creationId xmlns:p14="http://schemas.microsoft.com/office/powerpoint/2010/main" val="2459606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5" end="5"/>
                                            </p:txEl>
                                          </p:spTgt>
                                        </p:tgtEl>
                                        <p:attrNameLst>
                                          <p:attrName>style.visibility</p:attrName>
                                        </p:attrNameLst>
                                      </p:cBhvr>
                                      <p:to>
                                        <p:strVal val="visible"/>
                                      </p:to>
                                    </p:set>
                                    <p:animEffect transition="in" filter="fade">
                                      <p:cBhvr>
                                        <p:cTn id="10"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273586-79CD-4B4B-A0CB-E1BA5EEBE354}"/>
              </a:ext>
            </a:extLst>
          </p:cNvPr>
          <p:cNvSpPr>
            <a:spLocks noGrp="1"/>
          </p:cNvSpPr>
          <p:nvPr>
            <p:ph type="title"/>
          </p:nvPr>
        </p:nvSpPr>
        <p:spPr bwMode="gray">
          <a:xfrm>
            <a:off x="333264" y="682313"/>
            <a:ext cx="11520000" cy="396000"/>
          </a:xfrm>
        </p:spPr>
        <p:txBody>
          <a:bodyPr/>
          <a:lstStyle/>
          <a:p>
            <a:r>
              <a:rPr lang="en-US" dirty="0" err="1"/>
              <a:t>EasyLine</a:t>
            </a:r>
            <a:r>
              <a:rPr lang="en-US" dirty="0"/>
              <a:t> Continuous Gas Analyzers</a:t>
            </a:r>
          </a:p>
        </p:txBody>
      </p:sp>
      <p:sp>
        <p:nvSpPr>
          <p:cNvPr id="3" name="Date Placeholder 2">
            <a:extLst>
              <a:ext uri="{FF2B5EF4-FFF2-40B4-BE49-F238E27FC236}">
                <a16:creationId xmlns:a16="http://schemas.microsoft.com/office/drawing/2014/main" id="{C0E0367B-6082-4BA8-8F2D-7F161121DA9B}"/>
              </a:ext>
            </a:extLst>
          </p:cNvPr>
          <p:cNvSpPr>
            <a:spLocks noGrp="1"/>
          </p:cNvSpPr>
          <p:nvPr>
            <p:ph type="dt" sz="half" idx="14"/>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F808C0-290B-4263-8A52-B569B4875133}"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4" name="Footer Placeholder 3">
            <a:extLst>
              <a:ext uri="{FF2B5EF4-FFF2-40B4-BE49-F238E27FC236}">
                <a16:creationId xmlns:a16="http://schemas.microsoft.com/office/drawing/2014/main" id="{ECE1F439-B9E1-4014-B80C-964B77677264}"/>
              </a:ext>
            </a:extLst>
          </p:cNvPr>
          <p:cNvSpPr>
            <a:spLocks noGrp="1"/>
          </p:cNvSpPr>
          <p:nvPr>
            <p:ph type="ftr" sz="quarter" idx="15"/>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017B7079-F902-4AA0-AA9E-3AD90C5D73C0}"/>
              </a:ext>
            </a:extLst>
          </p:cNvPr>
          <p:cNvSpPr>
            <a:spLocks noGrp="1"/>
          </p:cNvSpPr>
          <p:nvPr>
            <p:ph type="sldNum" sz="quarter" idx="16"/>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6" name="Subtitle 5">
            <a:extLst>
              <a:ext uri="{FF2B5EF4-FFF2-40B4-BE49-F238E27FC236}">
                <a16:creationId xmlns:a16="http://schemas.microsoft.com/office/drawing/2014/main" id="{F9169952-F54C-4749-B3AD-4E889977AC24}"/>
              </a:ext>
            </a:extLst>
          </p:cNvPr>
          <p:cNvSpPr>
            <a:spLocks noGrp="1"/>
          </p:cNvSpPr>
          <p:nvPr>
            <p:ph type="subTitle" idx="13"/>
          </p:nvPr>
        </p:nvSpPr>
        <p:spPr bwMode="gray"/>
        <p:txBody>
          <a:bodyPr/>
          <a:lstStyle/>
          <a:p>
            <a:r>
              <a:rPr lang="en-US" dirty="0"/>
              <a:t>So smart, they’re simple</a:t>
            </a:r>
          </a:p>
        </p:txBody>
      </p:sp>
      <p:sp>
        <p:nvSpPr>
          <p:cNvPr id="7" name="Content Placeholder 1">
            <a:extLst>
              <a:ext uri="{FF2B5EF4-FFF2-40B4-BE49-F238E27FC236}">
                <a16:creationId xmlns:a16="http://schemas.microsoft.com/office/drawing/2014/main" id="{0482522A-2F74-4B98-A6A2-B0A341E04374}"/>
              </a:ext>
            </a:extLst>
          </p:cNvPr>
          <p:cNvSpPr txBox="1">
            <a:spLocks/>
          </p:cNvSpPr>
          <p:nvPr/>
        </p:nvSpPr>
        <p:spPr bwMode="gray">
          <a:xfrm>
            <a:off x="930077" y="1985407"/>
            <a:ext cx="5042097" cy="3904565"/>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D90000"/>
                </a:solidFill>
                <a:effectLst/>
                <a:uLnTx/>
                <a:uFillTx/>
                <a:latin typeface="ABBvoice"/>
                <a:ea typeface="ABBvoice"/>
                <a:cs typeface="ABBvoice"/>
              </a:rPr>
              <a:t>Easy configuration</a:t>
            </a:r>
            <a:endParaRPr kumimoji="0" lang="en-US" altLang="en-US" sz="1600" b="1" i="0" u="none" strike="noStrike" kern="1200" cap="none" spc="0" normalizeH="0" baseline="0" noProof="0" dirty="0">
              <a:ln>
                <a:noFill/>
              </a:ln>
              <a:solidFill>
                <a:srgbClr val="D90000"/>
              </a:solidFill>
              <a:effectLst/>
              <a:uLnTx/>
              <a:uFillTx/>
              <a:latin typeface="ABBvoice"/>
              <a:ea typeface="ABBvoice"/>
              <a:cs typeface="ABBvoice"/>
            </a:endParaRP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rPr>
              <a:t>Easy to select the right product, tailored to your needs and stress-free set up after delivery</a:t>
            </a:r>
          </a:p>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D90000"/>
                </a:solidFill>
                <a:effectLst/>
                <a:uLnTx/>
                <a:uFillTx/>
                <a:latin typeface="ABBvoice"/>
                <a:ea typeface="ABBvoice"/>
                <a:cs typeface="ABBvoice"/>
              </a:rPr>
              <a:t>Easy integration</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rPr>
              <a:t>Good fit for each application, options to fit your needs, I/O for every eventuality</a:t>
            </a:r>
          </a:p>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D90000"/>
                </a:solidFill>
                <a:effectLst/>
                <a:uLnTx/>
                <a:uFillTx/>
                <a:latin typeface="ABBvoice"/>
                <a:ea typeface="ABBvoice"/>
                <a:cs typeface="ABBvoice"/>
              </a:rPr>
              <a:t>Easy operation</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rPr>
              <a:t>No complex menu structure means no training and no manual necessary</a:t>
            </a:r>
          </a:p>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D90000"/>
                </a:solidFill>
                <a:effectLst/>
                <a:uLnTx/>
                <a:uFillTx/>
                <a:latin typeface="ABBvoice"/>
                <a:ea typeface="ABBvoice"/>
                <a:cs typeface="ABBvoice"/>
              </a:rPr>
              <a:t>Easy maintenance</a:t>
            </a:r>
          </a:p>
          <a:p>
            <a:pPr marL="180018" marR="0" lvl="1" indent="-180018" algn="l" defTabSz="914491" rtl="0" eaLnBrk="1" fontAlgn="auto" latinLnBrk="0" hangingPunct="1">
              <a:lnSpc>
                <a:spcPct val="100000"/>
              </a:lnSpc>
              <a:spcBef>
                <a:spcPts val="600"/>
              </a:spcBef>
              <a:spcAft>
                <a:spcPts val="0"/>
              </a:spcAft>
              <a:buClrTx/>
              <a:buSzTx/>
              <a:buFont typeface="ABBvoiceOffice" panose="020D0603020503020204" pitchFamily="34" charset="0"/>
              <a:buChar char="–"/>
              <a:tabLst/>
              <a:defRPr/>
            </a:pPr>
            <a:r>
              <a:rPr kumimoji="0" lang="en-US" altLang="en-US" sz="1600" b="0" i="0" u="none" strike="noStrike" kern="1200" cap="none" spc="0" normalizeH="0" baseline="0" noProof="0" dirty="0">
                <a:ln>
                  <a:noFill/>
                </a:ln>
                <a:solidFill>
                  <a:srgbClr val="000000"/>
                </a:solidFill>
                <a:effectLst/>
                <a:uLnTx/>
                <a:uFillTx/>
                <a:latin typeface="ABBvoice"/>
                <a:ea typeface="ABBvoice"/>
                <a:cs typeface="ABBvoice"/>
              </a:rPr>
              <a:t>Innovative calibration concepts, accessible modular design, intelligent and intuitive servicing</a:t>
            </a:r>
          </a:p>
        </p:txBody>
      </p:sp>
      <p:pic>
        <p:nvPicPr>
          <p:cNvPr id="12" name="Picture 11">
            <a:extLst>
              <a:ext uri="{FF2B5EF4-FFF2-40B4-BE49-F238E27FC236}">
                <a16:creationId xmlns:a16="http://schemas.microsoft.com/office/drawing/2014/main" id="{3E6E26AB-2665-4121-AC94-62F40F89742D}"/>
              </a:ext>
            </a:extLst>
          </p:cNvPr>
          <p:cNvPicPr>
            <a:picLocks noChangeAspect="1"/>
          </p:cNvPicPr>
          <p:nvPr/>
        </p:nvPicPr>
        <p:blipFill>
          <a:blip r:embed="rId3"/>
          <a:stretch>
            <a:fillRect/>
          </a:stretch>
        </p:blipFill>
        <p:spPr bwMode="gray">
          <a:xfrm>
            <a:off x="6974403" y="1477752"/>
            <a:ext cx="4287520" cy="4287520"/>
          </a:xfrm>
          <a:prstGeom prst="rect">
            <a:avLst/>
          </a:prstGeom>
        </p:spPr>
      </p:pic>
      <p:grpSp>
        <p:nvGrpSpPr>
          <p:cNvPr id="10" name="Group 9">
            <a:extLst>
              <a:ext uri="{FF2B5EF4-FFF2-40B4-BE49-F238E27FC236}">
                <a16:creationId xmlns:a16="http://schemas.microsoft.com/office/drawing/2014/main" id="{739E6F1D-CC26-425E-A2CC-D638130A9008}"/>
              </a:ext>
            </a:extLst>
          </p:cNvPr>
          <p:cNvGrpSpPr>
            <a:grpSpLocks noChangeAspect="1"/>
          </p:cNvGrpSpPr>
          <p:nvPr/>
        </p:nvGrpSpPr>
        <p:grpSpPr bwMode="gray">
          <a:xfrm>
            <a:off x="341635" y="1909981"/>
            <a:ext cx="465110" cy="465108"/>
            <a:chOff x="8124850" y="1953405"/>
            <a:chExt cx="1993693" cy="1993686"/>
          </a:xfrm>
        </p:grpSpPr>
        <p:sp>
          <p:nvSpPr>
            <p:cNvPr id="11" name="Oval 10">
              <a:extLst>
                <a:ext uri="{FF2B5EF4-FFF2-40B4-BE49-F238E27FC236}">
                  <a16:creationId xmlns:a16="http://schemas.microsoft.com/office/drawing/2014/main" id="{438B5683-B195-4F8F-8093-48731E2B034D}"/>
                </a:ext>
              </a:extLst>
            </p:cNvPr>
            <p:cNvSpPr/>
            <p:nvPr/>
          </p:nvSpPr>
          <p:spPr bwMode="gray">
            <a:xfrm>
              <a:off x="8124850" y="1953405"/>
              <a:ext cx="1993693" cy="1993686"/>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13" name="Group 12">
              <a:extLst>
                <a:ext uri="{FF2B5EF4-FFF2-40B4-BE49-F238E27FC236}">
                  <a16:creationId xmlns:a16="http://schemas.microsoft.com/office/drawing/2014/main" id="{0F974FC5-404D-4D65-BD41-9790A58B3FAF}"/>
                </a:ext>
              </a:extLst>
            </p:cNvPr>
            <p:cNvGrpSpPr>
              <a:grpSpLocks noChangeAspect="1"/>
            </p:cNvGrpSpPr>
            <p:nvPr/>
          </p:nvGrpSpPr>
          <p:grpSpPr bwMode="gray">
            <a:xfrm>
              <a:off x="8400481" y="2463255"/>
              <a:ext cx="1442429" cy="1065121"/>
              <a:chOff x="8677106" y="2275997"/>
              <a:chExt cx="1037309" cy="765972"/>
            </a:xfrm>
          </p:grpSpPr>
          <p:sp>
            <p:nvSpPr>
              <p:cNvPr id="14" name="Snip Same Side Corner Rectangle 160">
                <a:extLst>
                  <a:ext uri="{FF2B5EF4-FFF2-40B4-BE49-F238E27FC236}">
                    <a16:creationId xmlns:a16="http://schemas.microsoft.com/office/drawing/2014/main" id="{F13B95A5-E92B-4B49-9A23-783BF1DD3C3F}"/>
                  </a:ext>
                </a:extLst>
              </p:cNvPr>
              <p:cNvSpPr/>
              <p:nvPr/>
            </p:nvSpPr>
            <p:spPr bwMode="gray">
              <a:xfrm rot="10800000">
                <a:off x="8677106" y="2339858"/>
                <a:ext cx="702111" cy="702111"/>
              </a:xfrm>
              <a:custGeom>
                <a:avLst/>
                <a:gdLst/>
                <a:ahLst/>
                <a:cxnLst/>
                <a:rect l="l" t="t" r="r" b="b"/>
                <a:pathLst>
                  <a:path w="702111" h="702111">
                    <a:moveTo>
                      <a:pt x="351056" y="467261"/>
                    </a:moveTo>
                    <a:cubicBezTo>
                      <a:pt x="415234" y="467261"/>
                      <a:pt x="467261" y="415234"/>
                      <a:pt x="467261" y="351056"/>
                    </a:cubicBezTo>
                    <a:cubicBezTo>
                      <a:pt x="467261" y="286878"/>
                      <a:pt x="415234" y="234851"/>
                      <a:pt x="351056" y="234851"/>
                    </a:cubicBezTo>
                    <a:cubicBezTo>
                      <a:pt x="286878" y="234851"/>
                      <a:pt x="234851" y="286878"/>
                      <a:pt x="234851" y="351056"/>
                    </a:cubicBezTo>
                    <a:cubicBezTo>
                      <a:pt x="234851" y="415234"/>
                      <a:pt x="286878" y="467261"/>
                      <a:pt x="351056" y="467261"/>
                    </a:cubicBezTo>
                    <a:close/>
                    <a:moveTo>
                      <a:pt x="402490" y="702111"/>
                    </a:moveTo>
                    <a:lnTo>
                      <a:pt x="299620" y="702111"/>
                    </a:lnTo>
                    <a:lnTo>
                      <a:pt x="279618" y="682108"/>
                    </a:lnTo>
                    <a:lnTo>
                      <a:pt x="279618" y="599898"/>
                    </a:lnTo>
                    <a:cubicBezTo>
                      <a:pt x="260216" y="595594"/>
                      <a:pt x="242044" y="588007"/>
                      <a:pt x="225627" y="577512"/>
                    </a:cubicBezTo>
                    <a:lnTo>
                      <a:pt x="167480" y="635659"/>
                    </a:lnTo>
                    <a:lnTo>
                      <a:pt x="139191" y="635659"/>
                    </a:lnTo>
                    <a:lnTo>
                      <a:pt x="66451" y="562919"/>
                    </a:lnTo>
                    <a:lnTo>
                      <a:pt x="66452" y="534631"/>
                    </a:lnTo>
                    <a:lnTo>
                      <a:pt x="124599" y="476484"/>
                    </a:lnTo>
                    <a:cubicBezTo>
                      <a:pt x="114105" y="460067"/>
                      <a:pt x="106518" y="441895"/>
                      <a:pt x="102214" y="422493"/>
                    </a:cubicBezTo>
                    <a:lnTo>
                      <a:pt x="20003" y="422493"/>
                    </a:lnTo>
                    <a:lnTo>
                      <a:pt x="0" y="402490"/>
                    </a:lnTo>
                    <a:lnTo>
                      <a:pt x="0" y="299620"/>
                    </a:lnTo>
                    <a:lnTo>
                      <a:pt x="20003" y="279618"/>
                    </a:lnTo>
                    <a:lnTo>
                      <a:pt x="102214" y="279618"/>
                    </a:lnTo>
                    <a:cubicBezTo>
                      <a:pt x="106518" y="260217"/>
                      <a:pt x="114105" y="242044"/>
                      <a:pt x="124600" y="225628"/>
                    </a:cubicBezTo>
                    <a:lnTo>
                      <a:pt x="66452" y="167480"/>
                    </a:lnTo>
                    <a:lnTo>
                      <a:pt x="66452" y="139192"/>
                    </a:lnTo>
                    <a:lnTo>
                      <a:pt x="139192" y="66451"/>
                    </a:lnTo>
                    <a:lnTo>
                      <a:pt x="167480" y="66452"/>
                    </a:lnTo>
                    <a:lnTo>
                      <a:pt x="225627" y="124600"/>
                    </a:lnTo>
                    <a:cubicBezTo>
                      <a:pt x="242044" y="114105"/>
                      <a:pt x="260216" y="106518"/>
                      <a:pt x="279618" y="102214"/>
                    </a:cubicBezTo>
                    <a:lnTo>
                      <a:pt x="279618" y="20003"/>
                    </a:lnTo>
                    <a:lnTo>
                      <a:pt x="299621" y="0"/>
                    </a:lnTo>
                    <a:lnTo>
                      <a:pt x="402491" y="0"/>
                    </a:lnTo>
                    <a:lnTo>
                      <a:pt x="422493" y="20003"/>
                    </a:lnTo>
                    <a:lnTo>
                      <a:pt x="422493" y="102214"/>
                    </a:lnTo>
                    <a:cubicBezTo>
                      <a:pt x="441895" y="106518"/>
                      <a:pt x="460067" y="114105"/>
                      <a:pt x="476484" y="124599"/>
                    </a:cubicBezTo>
                    <a:lnTo>
                      <a:pt x="534631" y="66452"/>
                    </a:lnTo>
                    <a:lnTo>
                      <a:pt x="562919" y="66452"/>
                    </a:lnTo>
                    <a:lnTo>
                      <a:pt x="635659" y="139192"/>
                    </a:lnTo>
                    <a:lnTo>
                      <a:pt x="635659" y="167480"/>
                    </a:lnTo>
                    <a:lnTo>
                      <a:pt x="577512" y="225627"/>
                    </a:lnTo>
                    <a:cubicBezTo>
                      <a:pt x="588006" y="242044"/>
                      <a:pt x="595594" y="260216"/>
                      <a:pt x="599898" y="279618"/>
                    </a:cubicBezTo>
                    <a:lnTo>
                      <a:pt x="682108" y="279618"/>
                    </a:lnTo>
                    <a:lnTo>
                      <a:pt x="702111" y="299621"/>
                    </a:lnTo>
                    <a:lnTo>
                      <a:pt x="702111" y="402491"/>
                    </a:lnTo>
                    <a:lnTo>
                      <a:pt x="682108" y="422493"/>
                    </a:lnTo>
                    <a:lnTo>
                      <a:pt x="599898" y="422493"/>
                    </a:lnTo>
                    <a:cubicBezTo>
                      <a:pt x="595594" y="441895"/>
                      <a:pt x="588007" y="460068"/>
                      <a:pt x="577512" y="476485"/>
                    </a:cubicBezTo>
                    <a:lnTo>
                      <a:pt x="635659" y="534631"/>
                    </a:lnTo>
                    <a:lnTo>
                      <a:pt x="635659" y="562920"/>
                    </a:lnTo>
                    <a:lnTo>
                      <a:pt x="562919" y="635660"/>
                    </a:lnTo>
                    <a:lnTo>
                      <a:pt x="534631" y="635659"/>
                    </a:lnTo>
                    <a:lnTo>
                      <a:pt x="476485" y="577512"/>
                    </a:lnTo>
                    <a:cubicBezTo>
                      <a:pt x="460068" y="588007"/>
                      <a:pt x="441895" y="595594"/>
                      <a:pt x="422493" y="599898"/>
                    </a:cubicBezTo>
                    <a:lnTo>
                      <a:pt x="422493" y="682108"/>
                    </a:lnTo>
                    <a:close/>
                  </a:path>
                </a:pathLst>
              </a:cu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6" name="Snip Same Side Corner Rectangle 160">
                <a:extLst>
                  <a:ext uri="{FF2B5EF4-FFF2-40B4-BE49-F238E27FC236}">
                    <a16:creationId xmlns:a16="http://schemas.microsoft.com/office/drawing/2014/main" id="{BAF25965-9F2B-4060-A9E4-345C9B7B94DD}"/>
                  </a:ext>
                </a:extLst>
              </p:cNvPr>
              <p:cNvSpPr/>
              <p:nvPr/>
            </p:nvSpPr>
            <p:spPr bwMode="gray">
              <a:xfrm rot="11962283">
                <a:off x="9300603" y="2275997"/>
                <a:ext cx="413812" cy="413812"/>
              </a:xfrm>
              <a:custGeom>
                <a:avLst/>
                <a:gdLst/>
                <a:ahLst/>
                <a:cxnLst/>
                <a:rect l="l" t="t" r="r" b="b"/>
                <a:pathLst>
                  <a:path w="702111" h="702111">
                    <a:moveTo>
                      <a:pt x="351056" y="467261"/>
                    </a:moveTo>
                    <a:cubicBezTo>
                      <a:pt x="415234" y="467261"/>
                      <a:pt x="467261" y="415234"/>
                      <a:pt x="467261" y="351056"/>
                    </a:cubicBezTo>
                    <a:cubicBezTo>
                      <a:pt x="467261" y="286878"/>
                      <a:pt x="415234" y="234851"/>
                      <a:pt x="351056" y="234851"/>
                    </a:cubicBezTo>
                    <a:cubicBezTo>
                      <a:pt x="286878" y="234851"/>
                      <a:pt x="234851" y="286878"/>
                      <a:pt x="234851" y="351056"/>
                    </a:cubicBezTo>
                    <a:cubicBezTo>
                      <a:pt x="234851" y="415234"/>
                      <a:pt x="286878" y="467261"/>
                      <a:pt x="351056" y="467261"/>
                    </a:cubicBezTo>
                    <a:close/>
                    <a:moveTo>
                      <a:pt x="402490" y="702111"/>
                    </a:moveTo>
                    <a:lnTo>
                      <a:pt x="299620" y="702111"/>
                    </a:lnTo>
                    <a:lnTo>
                      <a:pt x="279618" y="682108"/>
                    </a:lnTo>
                    <a:lnTo>
                      <a:pt x="279618" y="599898"/>
                    </a:lnTo>
                    <a:cubicBezTo>
                      <a:pt x="260216" y="595594"/>
                      <a:pt x="242044" y="588007"/>
                      <a:pt x="225627" y="577512"/>
                    </a:cubicBezTo>
                    <a:lnTo>
                      <a:pt x="167480" y="635659"/>
                    </a:lnTo>
                    <a:lnTo>
                      <a:pt x="139191" y="635659"/>
                    </a:lnTo>
                    <a:lnTo>
                      <a:pt x="66451" y="562919"/>
                    </a:lnTo>
                    <a:lnTo>
                      <a:pt x="66452" y="534631"/>
                    </a:lnTo>
                    <a:lnTo>
                      <a:pt x="124599" y="476484"/>
                    </a:lnTo>
                    <a:cubicBezTo>
                      <a:pt x="114105" y="460067"/>
                      <a:pt x="106518" y="441895"/>
                      <a:pt x="102214" y="422493"/>
                    </a:cubicBezTo>
                    <a:lnTo>
                      <a:pt x="20003" y="422493"/>
                    </a:lnTo>
                    <a:lnTo>
                      <a:pt x="0" y="402490"/>
                    </a:lnTo>
                    <a:lnTo>
                      <a:pt x="0" y="299620"/>
                    </a:lnTo>
                    <a:lnTo>
                      <a:pt x="20003" y="279618"/>
                    </a:lnTo>
                    <a:lnTo>
                      <a:pt x="102214" y="279618"/>
                    </a:lnTo>
                    <a:cubicBezTo>
                      <a:pt x="106518" y="260217"/>
                      <a:pt x="114105" y="242044"/>
                      <a:pt x="124600" y="225628"/>
                    </a:cubicBezTo>
                    <a:lnTo>
                      <a:pt x="66452" y="167480"/>
                    </a:lnTo>
                    <a:lnTo>
                      <a:pt x="66452" y="139192"/>
                    </a:lnTo>
                    <a:lnTo>
                      <a:pt x="139192" y="66451"/>
                    </a:lnTo>
                    <a:lnTo>
                      <a:pt x="167480" y="66452"/>
                    </a:lnTo>
                    <a:lnTo>
                      <a:pt x="225627" y="124600"/>
                    </a:lnTo>
                    <a:cubicBezTo>
                      <a:pt x="242044" y="114105"/>
                      <a:pt x="260216" y="106518"/>
                      <a:pt x="279618" y="102214"/>
                    </a:cubicBezTo>
                    <a:lnTo>
                      <a:pt x="279618" y="20003"/>
                    </a:lnTo>
                    <a:lnTo>
                      <a:pt x="299621" y="0"/>
                    </a:lnTo>
                    <a:lnTo>
                      <a:pt x="402491" y="0"/>
                    </a:lnTo>
                    <a:lnTo>
                      <a:pt x="422493" y="20003"/>
                    </a:lnTo>
                    <a:lnTo>
                      <a:pt x="422493" y="102214"/>
                    </a:lnTo>
                    <a:cubicBezTo>
                      <a:pt x="441895" y="106518"/>
                      <a:pt x="460067" y="114105"/>
                      <a:pt x="476484" y="124599"/>
                    </a:cubicBezTo>
                    <a:lnTo>
                      <a:pt x="534631" y="66452"/>
                    </a:lnTo>
                    <a:lnTo>
                      <a:pt x="562919" y="66452"/>
                    </a:lnTo>
                    <a:lnTo>
                      <a:pt x="635659" y="139192"/>
                    </a:lnTo>
                    <a:lnTo>
                      <a:pt x="635659" y="167480"/>
                    </a:lnTo>
                    <a:lnTo>
                      <a:pt x="577512" y="225627"/>
                    </a:lnTo>
                    <a:cubicBezTo>
                      <a:pt x="588006" y="242044"/>
                      <a:pt x="595594" y="260216"/>
                      <a:pt x="599898" y="279618"/>
                    </a:cubicBezTo>
                    <a:lnTo>
                      <a:pt x="682108" y="279618"/>
                    </a:lnTo>
                    <a:lnTo>
                      <a:pt x="702111" y="299621"/>
                    </a:lnTo>
                    <a:lnTo>
                      <a:pt x="702111" y="402491"/>
                    </a:lnTo>
                    <a:lnTo>
                      <a:pt x="682108" y="422493"/>
                    </a:lnTo>
                    <a:lnTo>
                      <a:pt x="599898" y="422493"/>
                    </a:lnTo>
                    <a:cubicBezTo>
                      <a:pt x="595594" y="441895"/>
                      <a:pt x="588007" y="460068"/>
                      <a:pt x="577512" y="476485"/>
                    </a:cubicBezTo>
                    <a:lnTo>
                      <a:pt x="635659" y="534631"/>
                    </a:lnTo>
                    <a:lnTo>
                      <a:pt x="635659" y="562920"/>
                    </a:lnTo>
                    <a:lnTo>
                      <a:pt x="562919" y="635660"/>
                    </a:lnTo>
                    <a:lnTo>
                      <a:pt x="534631" y="635659"/>
                    </a:lnTo>
                    <a:lnTo>
                      <a:pt x="476485" y="577512"/>
                    </a:lnTo>
                    <a:cubicBezTo>
                      <a:pt x="460068" y="588007"/>
                      <a:pt x="441895" y="595594"/>
                      <a:pt x="422493" y="599898"/>
                    </a:cubicBezTo>
                    <a:lnTo>
                      <a:pt x="422493" y="682108"/>
                    </a:lnTo>
                    <a:close/>
                  </a:path>
                </a:pathLst>
              </a:cu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nvGrpSpPr>
          <p:cNvPr id="17" name="Group 16">
            <a:extLst>
              <a:ext uri="{FF2B5EF4-FFF2-40B4-BE49-F238E27FC236}">
                <a16:creationId xmlns:a16="http://schemas.microsoft.com/office/drawing/2014/main" id="{71977842-4C85-4B64-93D8-2891CC60226E}"/>
              </a:ext>
            </a:extLst>
          </p:cNvPr>
          <p:cNvGrpSpPr>
            <a:grpSpLocks noChangeAspect="1"/>
          </p:cNvGrpSpPr>
          <p:nvPr/>
        </p:nvGrpSpPr>
        <p:grpSpPr bwMode="gray">
          <a:xfrm>
            <a:off x="356443" y="2822067"/>
            <a:ext cx="466588" cy="466586"/>
            <a:chOff x="5802712" y="2234973"/>
            <a:chExt cx="571279" cy="571277"/>
          </a:xfrm>
        </p:grpSpPr>
        <p:sp>
          <p:nvSpPr>
            <p:cNvPr id="18" name="Oval 17">
              <a:extLst>
                <a:ext uri="{FF2B5EF4-FFF2-40B4-BE49-F238E27FC236}">
                  <a16:creationId xmlns:a16="http://schemas.microsoft.com/office/drawing/2014/main" id="{BAD2F4B9-11DF-4D74-AD0F-E5AE123DAAA8}"/>
                </a:ext>
              </a:extLst>
            </p:cNvPr>
            <p:cNvSpPr/>
            <p:nvPr/>
          </p:nvSpPr>
          <p:spPr bwMode="gray">
            <a:xfrm>
              <a:off x="5802712" y="2234973"/>
              <a:ext cx="571279" cy="571277"/>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19" name="Group 18">
              <a:extLst>
                <a:ext uri="{FF2B5EF4-FFF2-40B4-BE49-F238E27FC236}">
                  <a16:creationId xmlns:a16="http://schemas.microsoft.com/office/drawing/2014/main" id="{C72A5909-6FA2-4A68-9B17-26C84D3ACE46}"/>
                </a:ext>
              </a:extLst>
            </p:cNvPr>
            <p:cNvGrpSpPr/>
            <p:nvPr/>
          </p:nvGrpSpPr>
          <p:grpSpPr bwMode="gray">
            <a:xfrm>
              <a:off x="5919587" y="2312876"/>
              <a:ext cx="330294" cy="377370"/>
              <a:chOff x="5909061" y="2544110"/>
              <a:chExt cx="705098" cy="805596"/>
            </a:xfrm>
          </p:grpSpPr>
          <p:sp>
            <p:nvSpPr>
              <p:cNvPr id="20" name="Trapezoid 19">
                <a:extLst>
                  <a:ext uri="{FF2B5EF4-FFF2-40B4-BE49-F238E27FC236}">
                    <a16:creationId xmlns:a16="http://schemas.microsoft.com/office/drawing/2014/main" id="{FBB4B0FC-2107-4D00-8450-37C03B8FF900}"/>
                  </a:ext>
                </a:extLst>
              </p:cNvPr>
              <p:cNvSpPr/>
              <p:nvPr/>
            </p:nvSpPr>
            <p:spPr bwMode="gray">
              <a:xfrm>
                <a:off x="5909061" y="2544110"/>
                <a:ext cx="365620" cy="805596"/>
              </a:xfrm>
              <a:prstGeom prst="trapezoid">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grpSp>
            <p:nvGrpSpPr>
              <p:cNvPr id="22" name="Group 21">
                <a:extLst>
                  <a:ext uri="{FF2B5EF4-FFF2-40B4-BE49-F238E27FC236}">
                    <a16:creationId xmlns:a16="http://schemas.microsoft.com/office/drawing/2014/main" id="{71914A69-98D6-4A13-A432-7232A666EE1A}"/>
                  </a:ext>
                </a:extLst>
              </p:cNvPr>
              <p:cNvGrpSpPr/>
              <p:nvPr/>
            </p:nvGrpSpPr>
            <p:grpSpPr bwMode="gray">
              <a:xfrm>
                <a:off x="6032240" y="2941201"/>
                <a:ext cx="581919" cy="408505"/>
                <a:chOff x="6927340" y="4231102"/>
                <a:chExt cx="2136491" cy="1499809"/>
              </a:xfrm>
              <a:solidFill>
                <a:schemeClr val="bg1"/>
              </a:solidFill>
            </p:grpSpPr>
            <p:grpSp>
              <p:nvGrpSpPr>
                <p:cNvPr id="23" name="Group 22">
                  <a:extLst>
                    <a:ext uri="{FF2B5EF4-FFF2-40B4-BE49-F238E27FC236}">
                      <a16:creationId xmlns:a16="http://schemas.microsoft.com/office/drawing/2014/main" id="{C059147A-A5AF-45EA-906A-F10A60FF4823}"/>
                    </a:ext>
                  </a:extLst>
                </p:cNvPr>
                <p:cNvGrpSpPr/>
                <p:nvPr/>
              </p:nvGrpSpPr>
              <p:grpSpPr bwMode="gray">
                <a:xfrm>
                  <a:off x="6927340" y="4231102"/>
                  <a:ext cx="869444" cy="359343"/>
                  <a:chOff x="6927340" y="4242623"/>
                  <a:chExt cx="869444" cy="359343"/>
                </a:xfrm>
                <a:grpFill/>
              </p:grpSpPr>
              <p:sp>
                <p:nvSpPr>
                  <p:cNvPr id="31" name="Rectangle 30">
                    <a:extLst>
                      <a:ext uri="{FF2B5EF4-FFF2-40B4-BE49-F238E27FC236}">
                        <a16:creationId xmlns:a16="http://schemas.microsoft.com/office/drawing/2014/main" id="{59C5E745-D319-4CD1-BDFA-CBDCCAFDB5E8}"/>
                      </a:ext>
                    </a:extLst>
                  </p:cNvPr>
                  <p:cNvSpPr/>
                  <p:nvPr/>
                </p:nvSpPr>
                <p:spPr bwMode="gray">
                  <a:xfrm>
                    <a:off x="6927340" y="4377294"/>
                    <a:ext cx="783688" cy="90000"/>
                  </a:xfrm>
                  <a:prstGeom prst="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32" name="Rectangle 31">
                    <a:extLst>
                      <a:ext uri="{FF2B5EF4-FFF2-40B4-BE49-F238E27FC236}">
                        <a16:creationId xmlns:a16="http://schemas.microsoft.com/office/drawing/2014/main" id="{E9EE55B3-68BA-4BD4-BAD2-B56E328EA7DA}"/>
                      </a:ext>
                    </a:extLst>
                  </p:cNvPr>
                  <p:cNvSpPr/>
                  <p:nvPr/>
                </p:nvSpPr>
                <p:spPr bwMode="gray">
                  <a:xfrm>
                    <a:off x="7709163" y="4242623"/>
                    <a:ext cx="87621" cy="359343"/>
                  </a:xfrm>
                  <a:prstGeom prst="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grpSp>
            <p:sp>
              <p:nvSpPr>
                <p:cNvPr id="24" name="Rectangle 23">
                  <a:extLst>
                    <a:ext uri="{FF2B5EF4-FFF2-40B4-BE49-F238E27FC236}">
                      <a16:creationId xmlns:a16="http://schemas.microsoft.com/office/drawing/2014/main" id="{499B0D81-7077-467A-909E-D5FDE61EC43E}"/>
                    </a:ext>
                  </a:extLst>
                </p:cNvPr>
                <p:cNvSpPr/>
                <p:nvPr/>
              </p:nvSpPr>
              <p:spPr bwMode="gray">
                <a:xfrm>
                  <a:off x="8309039" y="4231102"/>
                  <a:ext cx="754792" cy="1499809"/>
                </a:xfrm>
                <a:prstGeom prst="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25" name="Rectangle 788">
                  <a:extLst>
                    <a:ext uri="{FF2B5EF4-FFF2-40B4-BE49-F238E27FC236}">
                      <a16:creationId xmlns:a16="http://schemas.microsoft.com/office/drawing/2014/main" id="{CE01C41B-E642-4C81-AA45-B8BDB0BE8DAC}"/>
                    </a:ext>
                  </a:extLst>
                </p:cNvPr>
                <p:cNvSpPr/>
                <p:nvPr/>
              </p:nvSpPr>
              <p:spPr bwMode="gray">
                <a:xfrm>
                  <a:off x="8423682" y="4401108"/>
                  <a:ext cx="552638" cy="252028"/>
                </a:xfrm>
                <a:custGeom>
                  <a:avLst/>
                  <a:gdLst/>
                  <a:ahLst/>
                  <a:cxnLst/>
                  <a:rect l="l" t="t" r="r" b="b"/>
                  <a:pathLst>
                    <a:path w="552638" h="252028">
                      <a:moveTo>
                        <a:pt x="336614" y="58941"/>
                      </a:moveTo>
                      <a:lnTo>
                        <a:pt x="336614" y="175364"/>
                      </a:lnTo>
                      <a:lnTo>
                        <a:pt x="480630" y="175364"/>
                      </a:lnTo>
                      <a:lnTo>
                        <a:pt x="480630" y="58941"/>
                      </a:lnTo>
                      <a:close/>
                      <a:moveTo>
                        <a:pt x="48582" y="43701"/>
                      </a:moveTo>
                      <a:lnTo>
                        <a:pt x="48582" y="50901"/>
                      </a:lnTo>
                      <a:lnTo>
                        <a:pt x="95523" y="50901"/>
                      </a:lnTo>
                      <a:lnTo>
                        <a:pt x="95523" y="43701"/>
                      </a:lnTo>
                      <a:close/>
                      <a:moveTo>
                        <a:pt x="0" y="0"/>
                      </a:moveTo>
                      <a:lnTo>
                        <a:pt x="552638" y="0"/>
                      </a:lnTo>
                      <a:lnTo>
                        <a:pt x="552638" y="252028"/>
                      </a:lnTo>
                      <a:lnTo>
                        <a:pt x="0" y="252028"/>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26" name="Rectangle 788">
                  <a:extLst>
                    <a:ext uri="{FF2B5EF4-FFF2-40B4-BE49-F238E27FC236}">
                      <a16:creationId xmlns:a16="http://schemas.microsoft.com/office/drawing/2014/main" id="{B6882226-514E-4663-A6FB-364651E55E4F}"/>
                    </a:ext>
                  </a:extLst>
                </p:cNvPr>
                <p:cNvSpPr/>
                <p:nvPr/>
              </p:nvSpPr>
              <p:spPr bwMode="gray">
                <a:xfrm>
                  <a:off x="8423682" y="4647095"/>
                  <a:ext cx="552638" cy="252028"/>
                </a:xfrm>
                <a:custGeom>
                  <a:avLst/>
                  <a:gdLst>
                    <a:gd name="connsiteX0" fmla="*/ 336614 w 552638"/>
                    <a:gd name="connsiteY0" fmla="*/ 58941 h 252028"/>
                    <a:gd name="connsiteX1" fmla="*/ 336614 w 552638"/>
                    <a:gd name="connsiteY1" fmla="*/ 175364 h 252028"/>
                    <a:gd name="connsiteX2" fmla="*/ 480630 w 552638"/>
                    <a:gd name="connsiteY2" fmla="*/ 175364 h 252028"/>
                    <a:gd name="connsiteX3" fmla="*/ 336614 w 552638"/>
                    <a:gd name="connsiteY3" fmla="*/ 58941 h 252028"/>
                    <a:gd name="connsiteX4" fmla="*/ 48582 w 552638"/>
                    <a:gd name="connsiteY4" fmla="*/ 43701 h 252028"/>
                    <a:gd name="connsiteX5" fmla="*/ 48582 w 552638"/>
                    <a:gd name="connsiteY5" fmla="*/ 50901 h 252028"/>
                    <a:gd name="connsiteX6" fmla="*/ 95523 w 552638"/>
                    <a:gd name="connsiteY6" fmla="*/ 50901 h 252028"/>
                    <a:gd name="connsiteX7" fmla="*/ 95523 w 552638"/>
                    <a:gd name="connsiteY7" fmla="*/ 43701 h 252028"/>
                    <a:gd name="connsiteX8" fmla="*/ 48582 w 552638"/>
                    <a:gd name="connsiteY8" fmla="*/ 43701 h 252028"/>
                    <a:gd name="connsiteX9" fmla="*/ 0 w 552638"/>
                    <a:gd name="connsiteY9" fmla="*/ 0 h 252028"/>
                    <a:gd name="connsiteX10" fmla="*/ 552638 w 552638"/>
                    <a:gd name="connsiteY10" fmla="*/ 0 h 252028"/>
                    <a:gd name="connsiteX11" fmla="*/ 552638 w 552638"/>
                    <a:gd name="connsiteY11" fmla="*/ 252028 h 252028"/>
                    <a:gd name="connsiteX12" fmla="*/ 0 w 552638"/>
                    <a:gd name="connsiteY12" fmla="*/ 252028 h 252028"/>
                    <a:gd name="connsiteX13" fmla="*/ 0 w 552638"/>
                    <a:gd name="connsiteY13" fmla="*/ 0 h 252028"/>
                    <a:gd name="connsiteX0" fmla="*/ 480630 w 552638"/>
                    <a:gd name="connsiteY0" fmla="*/ 175364 h 252028"/>
                    <a:gd name="connsiteX1" fmla="*/ 336614 w 552638"/>
                    <a:gd name="connsiteY1" fmla="*/ 175364 h 252028"/>
                    <a:gd name="connsiteX2" fmla="*/ 480630 w 552638"/>
                    <a:gd name="connsiteY2" fmla="*/ 175364 h 252028"/>
                    <a:gd name="connsiteX3" fmla="*/ 48582 w 552638"/>
                    <a:gd name="connsiteY3" fmla="*/ 43701 h 252028"/>
                    <a:gd name="connsiteX4" fmla="*/ 48582 w 552638"/>
                    <a:gd name="connsiteY4" fmla="*/ 50901 h 252028"/>
                    <a:gd name="connsiteX5" fmla="*/ 95523 w 552638"/>
                    <a:gd name="connsiteY5" fmla="*/ 50901 h 252028"/>
                    <a:gd name="connsiteX6" fmla="*/ 95523 w 552638"/>
                    <a:gd name="connsiteY6" fmla="*/ 43701 h 252028"/>
                    <a:gd name="connsiteX7" fmla="*/ 48582 w 552638"/>
                    <a:gd name="connsiteY7" fmla="*/ 43701 h 252028"/>
                    <a:gd name="connsiteX8" fmla="*/ 0 w 552638"/>
                    <a:gd name="connsiteY8" fmla="*/ 0 h 252028"/>
                    <a:gd name="connsiteX9" fmla="*/ 552638 w 552638"/>
                    <a:gd name="connsiteY9" fmla="*/ 0 h 252028"/>
                    <a:gd name="connsiteX10" fmla="*/ 552638 w 552638"/>
                    <a:gd name="connsiteY10" fmla="*/ 252028 h 252028"/>
                    <a:gd name="connsiteX11" fmla="*/ 0 w 552638"/>
                    <a:gd name="connsiteY11" fmla="*/ 252028 h 252028"/>
                    <a:gd name="connsiteX12" fmla="*/ 0 w 552638"/>
                    <a:gd name="connsiteY12" fmla="*/ 0 h 252028"/>
                    <a:gd name="connsiteX0" fmla="*/ 48582 w 552638"/>
                    <a:gd name="connsiteY0" fmla="*/ 43701 h 252028"/>
                    <a:gd name="connsiteX1" fmla="*/ 48582 w 552638"/>
                    <a:gd name="connsiteY1" fmla="*/ 50901 h 252028"/>
                    <a:gd name="connsiteX2" fmla="*/ 95523 w 552638"/>
                    <a:gd name="connsiteY2" fmla="*/ 50901 h 252028"/>
                    <a:gd name="connsiteX3" fmla="*/ 95523 w 552638"/>
                    <a:gd name="connsiteY3" fmla="*/ 43701 h 252028"/>
                    <a:gd name="connsiteX4" fmla="*/ 48582 w 552638"/>
                    <a:gd name="connsiteY4" fmla="*/ 43701 h 252028"/>
                    <a:gd name="connsiteX5" fmla="*/ 0 w 552638"/>
                    <a:gd name="connsiteY5" fmla="*/ 0 h 252028"/>
                    <a:gd name="connsiteX6" fmla="*/ 552638 w 552638"/>
                    <a:gd name="connsiteY6" fmla="*/ 0 h 252028"/>
                    <a:gd name="connsiteX7" fmla="*/ 552638 w 552638"/>
                    <a:gd name="connsiteY7" fmla="*/ 252028 h 252028"/>
                    <a:gd name="connsiteX8" fmla="*/ 0 w 552638"/>
                    <a:gd name="connsiteY8" fmla="*/ 252028 h 252028"/>
                    <a:gd name="connsiteX9" fmla="*/ 0 w 552638"/>
                    <a:gd name="connsiteY9" fmla="*/ 0 h 25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638" h="252028">
                      <a:moveTo>
                        <a:pt x="48582" y="43701"/>
                      </a:moveTo>
                      <a:lnTo>
                        <a:pt x="48582" y="50901"/>
                      </a:lnTo>
                      <a:lnTo>
                        <a:pt x="95523" y="50901"/>
                      </a:lnTo>
                      <a:lnTo>
                        <a:pt x="95523" y="43701"/>
                      </a:lnTo>
                      <a:lnTo>
                        <a:pt x="48582" y="43701"/>
                      </a:lnTo>
                      <a:close/>
                      <a:moveTo>
                        <a:pt x="0" y="0"/>
                      </a:moveTo>
                      <a:lnTo>
                        <a:pt x="552638" y="0"/>
                      </a:lnTo>
                      <a:lnTo>
                        <a:pt x="552638" y="252028"/>
                      </a:lnTo>
                      <a:lnTo>
                        <a:pt x="0" y="252028"/>
                      </a:lnTo>
                      <a:lnTo>
                        <a:pt x="0" y="0"/>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27" name="Rectangle 788">
                  <a:extLst>
                    <a:ext uri="{FF2B5EF4-FFF2-40B4-BE49-F238E27FC236}">
                      <a16:creationId xmlns:a16="http://schemas.microsoft.com/office/drawing/2014/main" id="{D8CC934C-2C6C-49F5-9B42-8D24D07FB554}"/>
                    </a:ext>
                  </a:extLst>
                </p:cNvPr>
                <p:cNvSpPr/>
                <p:nvPr/>
              </p:nvSpPr>
              <p:spPr bwMode="gray">
                <a:xfrm>
                  <a:off x="8423682" y="4899310"/>
                  <a:ext cx="552638" cy="252028"/>
                </a:xfrm>
                <a:custGeom>
                  <a:avLst/>
                  <a:gdLst>
                    <a:gd name="connsiteX0" fmla="*/ 336614 w 552638"/>
                    <a:gd name="connsiteY0" fmla="*/ 58941 h 252028"/>
                    <a:gd name="connsiteX1" fmla="*/ 336614 w 552638"/>
                    <a:gd name="connsiteY1" fmla="*/ 175364 h 252028"/>
                    <a:gd name="connsiteX2" fmla="*/ 480630 w 552638"/>
                    <a:gd name="connsiteY2" fmla="*/ 175364 h 252028"/>
                    <a:gd name="connsiteX3" fmla="*/ 336614 w 552638"/>
                    <a:gd name="connsiteY3" fmla="*/ 58941 h 252028"/>
                    <a:gd name="connsiteX4" fmla="*/ 48582 w 552638"/>
                    <a:gd name="connsiteY4" fmla="*/ 43701 h 252028"/>
                    <a:gd name="connsiteX5" fmla="*/ 48582 w 552638"/>
                    <a:gd name="connsiteY5" fmla="*/ 50901 h 252028"/>
                    <a:gd name="connsiteX6" fmla="*/ 95523 w 552638"/>
                    <a:gd name="connsiteY6" fmla="*/ 50901 h 252028"/>
                    <a:gd name="connsiteX7" fmla="*/ 95523 w 552638"/>
                    <a:gd name="connsiteY7" fmla="*/ 43701 h 252028"/>
                    <a:gd name="connsiteX8" fmla="*/ 48582 w 552638"/>
                    <a:gd name="connsiteY8" fmla="*/ 43701 h 252028"/>
                    <a:gd name="connsiteX9" fmla="*/ 0 w 552638"/>
                    <a:gd name="connsiteY9" fmla="*/ 0 h 252028"/>
                    <a:gd name="connsiteX10" fmla="*/ 552638 w 552638"/>
                    <a:gd name="connsiteY10" fmla="*/ 0 h 252028"/>
                    <a:gd name="connsiteX11" fmla="*/ 552638 w 552638"/>
                    <a:gd name="connsiteY11" fmla="*/ 252028 h 252028"/>
                    <a:gd name="connsiteX12" fmla="*/ 0 w 552638"/>
                    <a:gd name="connsiteY12" fmla="*/ 252028 h 252028"/>
                    <a:gd name="connsiteX13" fmla="*/ 0 w 552638"/>
                    <a:gd name="connsiteY13" fmla="*/ 0 h 252028"/>
                    <a:gd name="connsiteX0" fmla="*/ 480630 w 552638"/>
                    <a:gd name="connsiteY0" fmla="*/ 175364 h 252028"/>
                    <a:gd name="connsiteX1" fmla="*/ 336614 w 552638"/>
                    <a:gd name="connsiteY1" fmla="*/ 175364 h 252028"/>
                    <a:gd name="connsiteX2" fmla="*/ 480630 w 552638"/>
                    <a:gd name="connsiteY2" fmla="*/ 175364 h 252028"/>
                    <a:gd name="connsiteX3" fmla="*/ 48582 w 552638"/>
                    <a:gd name="connsiteY3" fmla="*/ 43701 h 252028"/>
                    <a:gd name="connsiteX4" fmla="*/ 48582 w 552638"/>
                    <a:gd name="connsiteY4" fmla="*/ 50901 h 252028"/>
                    <a:gd name="connsiteX5" fmla="*/ 95523 w 552638"/>
                    <a:gd name="connsiteY5" fmla="*/ 50901 h 252028"/>
                    <a:gd name="connsiteX6" fmla="*/ 95523 w 552638"/>
                    <a:gd name="connsiteY6" fmla="*/ 43701 h 252028"/>
                    <a:gd name="connsiteX7" fmla="*/ 48582 w 552638"/>
                    <a:gd name="connsiteY7" fmla="*/ 43701 h 252028"/>
                    <a:gd name="connsiteX8" fmla="*/ 0 w 552638"/>
                    <a:gd name="connsiteY8" fmla="*/ 0 h 252028"/>
                    <a:gd name="connsiteX9" fmla="*/ 552638 w 552638"/>
                    <a:gd name="connsiteY9" fmla="*/ 0 h 252028"/>
                    <a:gd name="connsiteX10" fmla="*/ 552638 w 552638"/>
                    <a:gd name="connsiteY10" fmla="*/ 252028 h 252028"/>
                    <a:gd name="connsiteX11" fmla="*/ 0 w 552638"/>
                    <a:gd name="connsiteY11" fmla="*/ 252028 h 252028"/>
                    <a:gd name="connsiteX12" fmla="*/ 0 w 552638"/>
                    <a:gd name="connsiteY12" fmla="*/ 0 h 252028"/>
                    <a:gd name="connsiteX0" fmla="*/ 48582 w 552638"/>
                    <a:gd name="connsiteY0" fmla="*/ 43701 h 252028"/>
                    <a:gd name="connsiteX1" fmla="*/ 48582 w 552638"/>
                    <a:gd name="connsiteY1" fmla="*/ 50901 h 252028"/>
                    <a:gd name="connsiteX2" fmla="*/ 95523 w 552638"/>
                    <a:gd name="connsiteY2" fmla="*/ 50901 h 252028"/>
                    <a:gd name="connsiteX3" fmla="*/ 95523 w 552638"/>
                    <a:gd name="connsiteY3" fmla="*/ 43701 h 252028"/>
                    <a:gd name="connsiteX4" fmla="*/ 48582 w 552638"/>
                    <a:gd name="connsiteY4" fmla="*/ 43701 h 252028"/>
                    <a:gd name="connsiteX5" fmla="*/ 0 w 552638"/>
                    <a:gd name="connsiteY5" fmla="*/ 0 h 252028"/>
                    <a:gd name="connsiteX6" fmla="*/ 552638 w 552638"/>
                    <a:gd name="connsiteY6" fmla="*/ 0 h 252028"/>
                    <a:gd name="connsiteX7" fmla="*/ 552638 w 552638"/>
                    <a:gd name="connsiteY7" fmla="*/ 252028 h 252028"/>
                    <a:gd name="connsiteX8" fmla="*/ 0 w 552638"/>
                    <a:gd name="connsiteY8" fmla="*/ 252028 h 252028"/>
                    <a:gd name="connsiteX9" fmla="*/ 0 w 552638"/>
                    <a:gd name="connsiteY9" fmla="*/ 0 h 25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638" h="252028">
                      <a:moveTo>
                        <a:pt x="48582" y="43701"/>
                      </a:moveTo>
                      <a:lnTo>
                        <a:pt x="48582" y="50901"/>
                      </a:lnTo>
                      <a:lnTo>
                        <a:pt x="95523" y="50901"/>
                      </a:lnTo>
                      <a:lnTo>
                        <a:pt x="95523" y="43701"/>
                      </a:lnTo>
                      <a:lnTo>
                        <a:pt x="48582" y="43701"/>
                      </a:lnTo>
                      <a:close/>
                      <a:moveTo>
                        <a:pt x="0" y="0"/>
                      </a:moveTo>
                      <a:lnTo>
                        <a:pt x="552638" y="0"/>
                      </a:lnTo>
                      <a:lnTo>
                        <a:pt x="552638" y="252028"/>
                      </a:lnTo>
                      <a:lnTo>
                        <a:pt x="0" y="252028"/>
                      </a:lnTo>
                      <a:lnTo>
                        <a:pt x="0" y="0"/>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28" name="Rectangle 793">
                  <a:extLst>
                    <a:ext uri="{FF2B5EF4-FFF2-40B4-BE49-F238E27FC236}">
                      <a16:creationId xmlns:a16="http://schemas.microsoft.com/office/drawing/2014/main" id="{3A9442E7-63F8-4D3E-9BD3-EEE652E56B96}"/>
                    </a:ext>
                  </a:extLst>
                </p:cNvPr>
                <p:cNvSpPr/>
                <p:nvPr/>
              </p:nvSpPr>
              <p:spPr bwMode="gray">
                <a:xfrm>
                  <a:off x="8423701" y="5326730"/>
                  <a:ext cx="262753" cy="241031"/>
                </a:xfrm>
                <a:custGeom>
                  <a:avLst/>
                  <a:gdLst/>
                  <a:ahLst/>
                  <a:cxnLst/>
                  <a:rect l="l" t="t" r="r" b="b"/>
                  <a:pathLst>
                    <a:path w="262753" h="241031">
                      <a:moveTo>
                        <a:pt x="178828" y="192226"/>
                      </a:moveTo>
                      <a:lnTo>
                        <a:pt x="178828" y="199426"/>
                      </a:lnTo>
                      <a:lnTo>
                        <a:pt x="224547" y="199426"/>
                      </a:lnTo>
                      <a:lnTo>
                        <a:pt x="224547" y="192226"/>
                      </a:lnTo>
                      <a:close/>
                      <a:moveTo>
                        <a:pt x="131377" y="18570"/>
                      </a:moveTo>
                      <a:cubicBezTo>
                        <a:pt x="101658" y="18570"/>
                        <a:pt x="77566" y="42662"/>
                        <a:pt x="77566" y="72381"/>
                      </a:cubicBezTo>
                      <a:cubicBezTo>
                        <a:pt x="77566" y="102100"/>
                        <a:pt x="101658" y="126192"/>
                        <a:pt x="131377" y="126192"/>
                      </a:cubicBezTo>
                      <a:cubicBezTo>
                        <a:pt x="161096" y="126192"/>
                        <a:pt x="185188" y="102100"/>
                        <a:pt x="185188" y="72381"/>
                      </a:cubicBezTo>
                      <a:cubicBezTo>
                        <a:pt x="185188" y="42662"/>
                        <a:pt x="161096" y="18570"/>
                        <a:pt x="131377" y="18570"/>
                      </a:cubicBezTo>
                      <a:close/>
                      <a:moveTo>
                        <a:pt x="0" y="0"/>
                      </a:moveTo>
                      <a:lnTo>
                        <a:pt x="262753" y="0"/>
                      </a:lnTo>
                      <a:lnTo>
                        <a:pt x="262753" y="241031"/>
                      </a:lnTo>
                      <a:lnTo>
                        <a:pt x="0" y="241031"/>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29" name="Rectangle 794">
                  <a:extLst>
                    <a:ext uri="{FF2B5EF4-FFF2-40B4-BE49-F238E27FC236}">
                      <a16:creationId xmlns:a16="http://schemas.microsoft.com/office/drawing/2014/main" id="{7A1007DE-FFE8-48B8-8186-7F888987C951}"/>
                    </a:ext>
                  </a:extLst>
                </p:cNvPr>
                <p:cNvSpPr/>
                <p:nvPr/>
              </p:nvSpPr>
              <p:spPr bwMode="gray">
                <a:xfrm>
                  <a:off x="8686417" y="5326730"/>
                  <a:ext cx="262753" cy="241031"/>
                </a:xfrm>
                <a:custGeom>
                  <a:avLst/>
                  <a:gdLst/>
                  <a:ahLst/>
                  <a:cxnLst/>
                  <a:rect l="l" t="t" r="r" b="b"/>
                  <a:pathLst>
                    <a:path w="262753" h="241031">
                      <a:moveTo>
                        <a:pt x="181891" y="192226"/>
                      </a:moveTo>
                      <a:lnTo>
                        <a:pt x="181891" y="199426"/>
                      </a:lnTo>
                      <a:lnTo>
                        <a:pt x="227610" y="199426"/>
                      </a:lnTo>
                      <a:lnTo>
                        <a:pt x="227610" y="192226"/>
                      </a:lnTo>
                      <a:close/>
                      <a:moveTo>
                        <a:pt x="76455" y="37947"/>
                      </a:moveTo>
                      <a:lnTo>
                        <a:pt x="76455" y="106373"/>
                      </a:lnTo>
                      <a:lnTo>
                        <a:pt x="184003" y="106373"/>
                      </a:lnTo>
                      <a:lnTo>
                        <a:pt x="184003" y="37947"/>
                      </a:lnTo>
                      <a:close/>
                      <a:moveTo>
                        <a:pt x="0" y="0"/>
                      </a:moveTo>
                      <a:lnTo>
                        <a:pt x="262753" y="0"/>
                      </a:lnTo>
                      <a:lnTo>
                        <a:pt x="262753" y="241031"/>
                      </a:lnTo>
                      <a:lnTo>
                        <a:pt x="0" y="241031"/>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cxnSp>
              <p:nvCxnSpPr>
                <p:cNvPr id="30" name="Elbow Connector 730">
                  <a:extLst>
                    <a:ext uri="{FF2B5EF4-FFF2-40B4-BE49-F238E27FC236}">
                      <a16:creationId xmlns:a16="http://schemas.microsoft.com/office/drawing/2014/main" id="{BD1F62CF-C16B-4E6A-8840-8448E3A1B873}"/>
                    </a:ext>
                  </a:extLst>
                </p:cNvPr>
                <p:cNvCxnSpPr>
                  <a:stCxn id="32" idx="3"/>
                  <a:endCxn id="24" idx="1"/>
                </p:cNvCxnSpPr>
                <p:nvPr/>
              </p:nvCxnSpPr>
              <p:spPr bwMode="gray">
                <a:xfrm>
                  <a:off x="7796784" y="4410774"/>
                  <a:ext cx="512255" cy="570233"/>
                </a:xfrm>
                <a:prstGeom prst="bentConnector3">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38" name="Group 37">
            <a:extLst>
              <a:ext uri="{FF2B5EF4-FFF2-40B4-BE49-F238E27FC236}">
                <a16:creationId xmlns:a16="http://schemas.microsoft.com/office/drawing/2014/main" id="{B39B0C04-4686-46F4-BE4A-D8BAE264EF06}"/>
              </a:ext>
            </a:extLst>
          </p:cNvPr>
          <p:cNvGrpSpPr>
            <a:grpSpLocks noChangeAspect="1"/>
          </p:cNvGrpSpPr>
          <p:nvPr/>
        </p:nvGrpSpPr>
        <p:grpSpPr bwMode="gray">
          <a:xfrm>
            <a:off x="345157" y="3721350"/>
            <a:ext cx="473912" cy="473910"/>
            <a:chOff x="4460522" y="3577164"/>
            <a:chExt cx="571277" cy="571275"/>
          </a:xfrm>
        </p:grpSpPr>
        <p:sp>
          <p:nvSpPr>
            <p:cNvPr id="39" name="Oval 38">
              <a:extLst>
                <a:ext uri="{FF2B5EF4-FFF2-40B4-BE49-F238E27FC236}">
                  <a16:creationId xmlns:a16="http://schemas.microsoft.com/office/drawing/2014/main" id="{A32EC355-3DB2-4C55-8661-EFCAB3F09374}"/>
                </a:ext>
              </a:extLst>
            </p:cNvPr>
            <p:cNvSpPr/>
            <p:nvPr/>
          </p:nvSpPr>
          <p:spPr bwMode="gray">
            <a:xfrm>
              <a:off x="4460522" y="3577164"/>
              <a:ext cx="571277" cy="571275"/>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40" name="Group 39">
              <a:extLst>
                <a:ext uri="{FF2B5EF4-FFF2-40B4-BE49-F238E27FC236}">
                  <a16:creationId xmlns:a16="http://schemas.microsoft.com/office/drawing/2014/main" id="{7BA9283A-C8CB-4B27-B684-4339DD518AD2}"/>
                </a:ext>
              </a:extLst>
            </p:cNvPr>
            <p:cNvGrpSpPr/>
            <p:nvPr/>
          </p:nvGrpSpPr>
          <p:grpSpPr bwMode="gray">
            <a:xfrm>
              <a:off x="4599570" y="3674481"/>
              <a:ext cx="293180" cy="376641"/>
              <a:chOff x="4570500" y="2442210"/>
              <a:chExt cx="447501" cy="574893"/>
            </a:xfrm>
          </p:grpSpPr>
          <p:grpSp>
            <p:nvGrpSpPr>
              <p:cNvPr id="41" name="Group 40">
                <a:extLst>
                  <a:ext uri="{FF2B5EF4-FFF2-40B4-BE49-F238E27FC236}">
                    <a16:creationId xmlns:a16="http://schemas.microsoft.com/office/drawing/2014/main" id="{43A1D7BF-338F-4997-8914-1920D7EEB77B}"/>
                  </a:ext>
                </a:extLst>
              </p:cNvPr>
              <p:cNvGrpSpPr/>
              <p:nvPr/>
            </p:nvGrpSpPr>
            <p:grpSpPr bwMode="gray">
              <a:xfrm rot="4500000">
                <a:off x="4662281" y="2390435"/>
                <a:ext cx="263940" cy="367490"/>
                <a:chOff x="10885376" y="954087"/>
                <a:chExt cx="243036" cy="338384"/>
              </a:xfrm>
              <a:solidFill>
                <a:schemeClr val="bg1"/>
              </a:solidFill>
            </p:grpSpPr>
            <p:sp>
              <p:nvSpPr>
                <p:cNvPr id="50" name="Rounded Rectangle 681">
                  <a:extLst>
                    <a:ext uri="{FF2B5EF4-FFF2-40B4-BE49-F238E27FC236}">
                      <a16:creationId xmlns:a16="http://schemas.microsoft.com/office/drawing/2014/main" id="{455E56DE-6238-4666-AE2B-11BA76389D8A}"/>
                    </a:ext>
                  </a:extLst>
                </p:cNvPr>
                <p:cNvSpPr/>
                <p:nvPr/>
              </p:nvSpPr>
              <p:spPr bwMode="gray">
                <a:xfrm rot="900000">
                  <a:off x="10885376" y="954087"/>
                  <a:ext cx="243036" cy="338384"/>
                </a:xfrm>
                <a:prstGeom prst="round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1" name="Rounded Rectangle 682">
                  <a:extLst>
                    <a:ext uri="{FF2B5EF4-FFF2-40B4-BE49-F238E27FC236}">
                      <a16:creationId xmlns:a16="http://schemas.microsoft.com/office/drawing/2014/main" id="{063EACA1-EA2D-4BD9-9A7D-9DE9B9337298}"/>
                    </a:ext>
                  </a:extLst>
                </p:cNvPr>
                <p:cNvSpPr/>
                <p:nvPr/>
              </p:nvSpPr>
              <p:spPr bwMode="gray">
                <a:xfrm rot="900000">
                  <a:off x="10910203" y="974409"/>
                  <a:ext cx="167411" cy="290770"/>
                </a:xfrm>
                <a:prstGeom prst="roundRect">
                  <a:avLst>
                    <a:gd name="adj" fmla="val 9634"/>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nvGrpSpPr>
              <p:cNvPr id="42" name="Group 41">
                <a:extLst>
                  <a:ext uri="{FF2B5EF4-FFF2-40B4-BE49-F238E27FC236}">
                    <a16:creationId xmlns:a16="http://schemas.microsoft.com/office/drawing/2014/main" id="{3A81576A-BEA9-4CD6-902E-8FBAEC3B1C5E}"/>
                  </a:ext>
                </a:extLst>
              </p:cNvPr>
              <p:cNvGrpSpPr/>
              <p:nvPr/>
            </p:nvGrpSpPr>
            <p:grpSpPr bwMode="gray">
              <a:xfrm>
                <a:off x="4570500" y="2486694"/>
                <a:ext cx="447501" cy="530409"/>
                <a:chOff x="9669203" y="206632"/>
                <a:chExt cx="804061" cy="953034"/>
              </a:xfrm>
              <a:solidFill>
                <a:schemeClr val="bg1"/>
              </a:solidFill>
            </p:grpSpPr>
            <p:sp>
              <p:nvSpPr>
                <p:cNvPr id="47" name="Rounded Rectangle 25">
                  <a:extLst>
                    <a:ext uri="{FF2B5EF4-FFF2-40B4-BE49-F238E27FC236}">
                      <a16:creationId xmlns:a16="http://schemas.microsoft.com/office/drawing/2014/main" id="{55FD0BC8-562E-42ED-BC4A-0B0C631F5DBC}"/>
                    </a:ext>
                  </a:extLst>
                </p:cNvPr>
                <p:cNvSpPr/>
                <p:nvPr/>
              </p:nvSpPr>
              <p:spPr bwMode="gray">
                <a:xfrm rot="21372172" flipH="1">
                  <a:off x="9873222" y="561096"/>
                  <a:ext cx="412946" cy="239497"/>
                </a:xfrm>
                <a:custGeom>
                  <a:avLst/>
                  <a:gdLst/>
                  <a:ahLst/>
                  <a:cxnLst/>
                  <a:rect l="l" t="t" r="r" b="b"/>
                  <a:pathLst>
                    <a:path w="412946" h="239497">
                      <a:moveTo>
                        <a:pt x="412946" y="0"/>
                      </a:moveTo>
                      <a:lnTo>
                        <a:pt x="336086" y="50718"/>
                      </a:lnTo>
                      <a:lnTo>
                        <a:pt x="240000" y="58157"/>
                      </a:lnTo>
                      <a:lnTo>
                        <a:pt x="240064" y="59000"/>
                      </a:lnTo>
                      <a:lnTo>
                        <a:pt x="201710" y="61123"/>
                      </a:lnTo>
                      <a:lnTo>
                        <a:pt x="163411" y="64087"/>
                      </a:lnTo>
                      <a:lnTo>
                        <a:pt x="163363" y="63244"/>
                      </a:lnTo>
                      <a:lnTo>
                        <a:pt x="67137" y="68568"/>
                      </a:lnTo>
                      <a:lnTo>
                        <a:pt x="0" y="36075"/>
                      </a:lnTo>
                      <a:lnTo>
                        <a:pt x="6957" y="88249"/>
                      </a:lnTo>
                      <a:cubicBezTo>
                        <a:pt x="8814" y="102190"/>
                        <a:pt x="21596" y="111996"/>
                        <a:pt x="35524" y="110152"/>
                      </a:cubicBezTo>
                      <a:cubicBezTo>
                        <a:pt x="56981" y="172765"/>
                        <a:pt x="100502" y="220738"/>
                        <a:pt x="153345" y="239497"/>
                      </a:cubicBezTo>
                      <a:lnTo>
                        <a:pt x="226051" y="234672"/>
                      </a:lnTo>
                      <a:lnTo>
                        <a:pt x="287830" y="230571"/>
                      </a:lnTo>
                      <a:cubicBezTo>
                        <a:pt x="337731" y="204993"/>
                        <a:pt x="374528" y="151690"/>
                        <a:pt x="387522" y="86791"/>
                      </a:cubicBezTo>
                      <a:cubicBezTo>
                        <a:pt x="401573" y="86778"/>
                        <a:pt x="412945" y="75369"/>
                        <a:pt x="412946" y="61305"/>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8" name="Rounded Rectangle 43">
                  <a:extLst>
                    <a:ext uri="{FF2B5EF4-FFF2-40B4-BE49-F238E27FC236}">
                      <a16:creationId xmlns:a16="http://schemas.microsoft.com/office/drawing/2014/main" id="{CC72CB76-9259-4123-965B-12CDF81740A9}"/>
                    </a:ext>
                  </a:extLst>
                </p:cNvPr>
                <p:cNvSpPr/>
                <p:nvPr/>
              </p:nvSpPr>
              <p:spPr bwMode="gray">
                <a:xfrm>
                  <a:off x="9833169" y="206632"/>
                  <a:ext cx="494794" cy="415822"/>
                </a:xfrm>
                <a:custGeom>
                  <a:avLst/>
                  <a:gdLst/>
                  <a:ahLst/>
                  <a:cxnLst/>
                  <a:rect l="l" t="t" r="r" b="b"/>
                  <a:pathLst>
                    <a:path w="494794" h="415822">
                      <a:moveTo>
                        <a:pt x="183237" y="0"/>
                      </a:moveTo>
                      <a:lnTo>
                        <a:pt x="212796" y="0"/>
                      </a:lnTo>
                      <a:lnTo>
                        <a:pt x="229220" y="0"/>
                      </a:lnTo>
                      <a:lnTo>
                        <a:pt x="233061" y="0"/>
                      </a:lnTo>
                      <a:lnTo>
                        <a:pt x="261733" y="0"/>
                      </a:lnTo>
                      <a:lnTo>
                        <a:pt x="265574" y="0"/>
                      </a:lnTo>
                      <a:lnTo>
                        <a:pt x="281998" y="0"/>
                      </a:lnTo>
                      <a:lnTo>
                        <a:pt x="311557" y="0"/>
                      </a:lnTo>
                      <a:cubicBezTo>
                        <a:pt x="327529" y="5063"/>
                        <a:pt x="338283" y="10270"/>
                        <a:pt x="344104" y="30378"/>
                      </a:cubicBezTo>
                      <a:cubicBezTo>
                        <a:pt x="349925" y="50486"/>
                        <a:pt x="342912" y="119114"/>
                        <a:pt x="346483" y="120651"/>
                      </a:cubicBezTo>
                      <a:lnTo>
                        <a:pt x="346483" y="39598"/>
                      </a:lnTo>
                      <a:cubicBezTo>
                        <a:pt x="435021" y="77636"/>
                        <a:pt x="470220" y="146216"/>
                        <a:pt x="470220" y="229974"/>
                      </a:cubicBezTo>
                      <a:lnTo>
                        <a:pt x="494794" y="256561"/>
                      </a:lnTo>
                      <a:lnTo>
                        <a:pt x="494794" y="323091"/>
                      </a:lnTo>
                      <a:cubicBezTo>
                        <a:pt x="494794" y="332277"/>
                        <a:pt x="481632" y="362584"/>
                        <a:pt x="472446" y="362584"/>
                      </a:cubicBezTo>
                      <a:lnTo>
                        <a:pt x="382167" y="413917"/>
                      </a:lnTo>
                      <a:lnTo>
                        <a:pt x="285800" y="414977"/>
                      </a:lnTo>
                      <a:lnTo>
                        <a:pt x="285808" y="415822"/>
                      </a:lnTo>
                      <a:lnTo>
                        <a:pt x="247397" y="415400"/>
                      </a:lnTo>
                      <a:lnTo>
                        <a:pt x="208986" y="415822"/>
                      </a:lnTo>
                      <a:lnTo>
                        <a:pt x="208994" y="414977"/>
                      </a:lnTo>
                      <a:lnTo>
                        <a:pt x="112627" y="413917"/>
                      </a:lnTo>
                      <a:lnTo>
                        <a:pt x="22348" y="362584"/>
                      </a:lnTo>
                      <a:cubicBezTo>
                        <a:pt x="13162" y="362584"/>
                        <a:pt x="0" y="332277"/>
                        <a:pt x="0" y="323091"/>
                      </a:cubicBezTo>
                      <a:lnTo>
                        <a:pt x="0" y="256561"/>
                      </a:lnTo>
                      <a:lnTo>
                        <a:pt x="24574" y="229974"/>
                      </a:lnTo>
                      <a:cubicBezTo>
                        <a:pt x="24574" y="146216"/>
                        <a:pt x="59773" y="77636"/>
                        <a:pt x="148311" y="39598"/>
                      </a:cubicBezTo>
                      <a:lnTo>
                        <a:pt x="148311" y="120651"/>
                      </a:lnTo>
                      <a:cubicBezTo>
                        <a:pt x="151882" y="119114"/>
                        <a:pt x="144869" y="50486"/>
                        <a:pt x="150690" y="30378"/>
                      </a:cubicBezTo>
                      <a:cubicBezTo>
                        <a:pt x="156511" y="10270"/>
                        <a:pt x="167265" y="5063"/>
                        <a:pt x="183237" y="0"/>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9" name="Freeform 680">
                  <a:extLst>
                    <a:ext uri="{FF2B5EF4-FFF2-40B4-BE49-F238E27FC236}">
                      <a16:creationId xmlns:a16="http://schemas.microsoft.com/office/drawing/2014/main" id="{32CAA01A-E992-4D70-8EE4-AC113C5BB994}"/>
                    </a:ext>
                  </a:extLst>
                </p:cNvPr>
                <p:cNvSpPr/>
                <p:nvPr/>
              </p:nvSpPr>
              <p:spPr bwMode="gray">
                <a:xfrm>
                  <a:off x="9669203" y="796811"/>
                  <a:ext cx="804061" cy="362855"/>
                </a:xfrm>
                <a:custGeom>
                  <a:avLst/>
                  <a:gdLst/>
                  <a:ahLst/>
                  <a:cxnLst/>
                  <a:rect l="l" t="t" r="r" b="b"/>
                  <a:pathLst>
                    <a:path w="804061" h="362855">
                      <a:moveTo>
                        <a:pt x="278804" y="0"/>
                      </a:moveTo>
                      <a:lnTo>
                        <a:pt x="402030" y="1"/>
                      </a:lnTo>
                      <a:lnTo>
                        <a:pt x="525257" y="0"/>
                      </a:lnTo>
                      <a:lnTo>
                        <a:pt x="529040" y="46661"/>
                      </a:lnTo>
                      <a:cubicBezTo>
                        <a:pt x="559515" y="59091"/>
                        <a:pt x="668503" y="63518"/>
                        <a:pt x="708108" y="74580"/>
                      </a:cubicBezTo>
                      <a:cubicBezTo>
                        <a:pt x="715658" y="76689"/>
                        <a:pt x="721173" y="83243"/>
                        <a:pt x="727706" y="87575"/>
                      </a:cubicBezTo>
                      <a:cubicBezTo>
                        <a:pt x="751541" y="103326"/>
                        <a:pt x="758333" y="142326"/>
                        <a:pt x="773775" y="201578"/>
                      </a:cubicBezTo>
                      <a:cubicBezTo>
                        <a:pt x="785782" y="247651"/>
                        <a:pt x="798598" y="315021"/>
                        <a:pt x="804061" y="362855"/>
                      </a:cubicBezTo>
                      <a:lnTo>
                        <a:pt x="703683" y="362855"/>
                      </a:lnTo>
                      <a:lnTo>
                        <a:pt x="609251" y="362855"/>
                      </a:lnTo>
                      <a:lnTo>
                        <a:pt x="599307" y="362855"/>
                      </a:lnTo>
                      <a:lnTo>
                        <a:pt x="440537" y="362855"/>
                      </a:lnTo>
                      <a:lnTo>
                        <a:pt x="430593" y="362855"/>
                      </a:lnTo>
                      <a:lnTo>
                        <a:pt x="411872" y="362855"/>
                      </a:lnTo>
                      <a:lnTo>
                        <a:pt x="392189" y="362855"/>
                      </a:lnTo>
                      <a:lnTo>
                        <a:pt x="373468" y="362855"/>
                      </a:lnTo>
                      <a:lnTo>
                        <a:pt x="363524" y="362855"/>
                      </a:lnTo>
                      <a:lnTo>
                        <a:pt x="204754" y="362855"/>
                      </a:lnTo>
                      <a:lnTo>
                        <a:pt x="194810" y="362855"/>
                      </a:lnTo>
                      <a:lnTo>
                        <a:pt x="100378" y="362855"/>
                      </a:lnTo>
                      <a:lnTo>
                        <a:pt x="0" y="362855"/>
                      </a:lnTo>
                      <a:cubicBezTo>
                        <a:pt x="5463" y="315021"/>
                        <a:pt x="18279" y="247651"/>
                        <a:pt x="30286" y="201578"/>
                      </a:cubicBezTo>
                      <a:cubicBezTo>
                        <a:pt x="45728" y="142326"/>
                        <a:pt x="52520" y="103326"/>
                        <a:pt x="76355" y="87575"/>
                      </a:cubicBezTo>
                      <a:cubicBezTo>
                        <a:pt x="82888" y="83243"/>
                        <a:pt x="88403" y="76689"/>
                        <a:pt x="95953" y="74580"/>
                      </a:cubicBezTo>
                      <a:cubicBezTo>
                        <a:pt x="135558" y="63518"/>
                        <a:pt x="244546" y="59091"/>
                        <a:pt x="275021" y="46661"/>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nvGrpSpPr>
              <p:cNvPr id="43" name="Group 42">
                <a:extLst>
                  <a:ext uri="{FF2B5EF4-FFF2-40B4-BE49-F238E27FC236}">
                    <a16:creationId xmlns:a16="http://schemas.microsoft.com/office/drawing/2014/main" id="{35F971C0-2D78-4009-92E4-9D468484CE38}"/>
                  </a:ext>
                </a:extLst>
              </p:cNvPr>
              <p:cNvGrpSpPr/>
              <p:nvPr/>
            </p:nvGrpSpPr>
            <p:grpSpPr bwMode="gray">
              <a:xfrm>
                <a:off x="4570500" y="2486694"/>
                <a:ext cx="447501" cy="530409"/>
                <a:chOff x="9669203" y="206632"/>
                <a:chExt cx="804061" cy="953034"/>
              </a:xfrm>
              <a:solidFill>
                <a:schemeClr val="bg1"/>
              </a:solidFill>
            </p:grpSpPr>
            <p:sp>
              <p:nvSpPr>
                <p:cNvPr id="44" name="Rounded Rectangle 25">
                  <a:extLst>
                    <a:ext uri="{FF2B5EF4-FFF2-40B4-BE49-F238E27FC236}">
                      <a16:creationId xmlns:a16="http://schemas.microsoft.com/office/drawing/2014/main" id="{C9436AF0-FEFE-42E2-8D9C-CA019FD3B0AA}"/>
                    </a:ext>
                  </a:extLst>
                </p:cNvPr>
                <p:cNvSpPr/>
                <p:nvPr/>
              </p:nvSpPr>
              <p:spPr bwMode="gray">
                <a:xfrm rot="21372172" flipH="1">
                  <a:off x="9873222" y="561096"/>
                  <a:ext cx="412946" cy="239497"/>
                </a:xfrm>
                <a:custGeom>
                  <a:avLst/>
                  <a:gdLst/>
                  <a:ahLst/>
                  <a:cxnLst/>
                  <a:rect l="l" t="t" r="r" b="b"/>
                  <a:pathLst>
                    <a:path w="412946" h="239497">
                      <a:moveTo>
                        <a:pt x="412946" y="0"/>
                      </a:moveTo>
                      <a:lnTo>
                        <a:pt x="336086" y="50718"/>
                      </a:lnTo>
                      <a:lnTo>
                        <a:pt x="240000" y="58157"/>
                      </a:lnTo>
                      <a:lnTo>
                        <a:pt x="240064" y="59000"/>
                      </a:lnTo>
                      <a:lnTo>
                        <a:pt x="201710" y="61123"/>
                      </a:lnTo>
                      <a:lnTo>
                        <a:pt x="163411" y="64087"/>
                      </a:lnTo>
                      <a:lnTo>
                        <a:pt x="163363" y="63244"/>
                      </a:lnTo>
                      <a:lnTo>
                        <a:pt x="67137" y="68568"/>
                      </a:lnTo>
                      <a:lnTo>
                        <a:pt x="0" y="36075"/>
                      </a:lnTo>
                      <a:lnTo>
                        <a:pt x="6957" y="88249"/>
                      </a:lnTo>
                      <a:cubicBezTo>
                        <a:pt x="8814" y="102190"/>
                        <a:pt x="21596" y="111996"/>
                        <a:pt x="35524" y="110152"/>
                      </a:cubicBezTo>
                      <a:cubicBezTo>
                        <a:pt x="56981" y="172765"/>
                        <a:pt x="100502" y="220738"/>
                        <a:pt x="153345" y="239497"/>
                      </a:cubicBezTo>
                      <a:lnTo>
                        <a:pt x="226051" y="234672"/>
                      </a:lnTo>
                      <a:lnTo>
                        <a:pt x="287830" y="230571"/>
                      </a:lnTo>
                      <a:cubicBezTo>
                        <a:pt x="337731" y="204993"/>
                        <a:pt x="374528" y="151690"/>
                        <a:pt x="387522" y="86791"/>
                      </a:cubicBezTo>
                      <a:cubicBezTo>
                        <a:pt x="401573" y="86778"/>
                        <a:pt x="412945" y="75369"/>
                        <a:pt x="412946" y="61305"/>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5" name="Rounded Rectangle 43">
                  <a:extLst>
                    <a:ext uri="{FF2B5EF4-FFF2-40B4-BE49-F238E27FC236}">
                      <a16:creationId xmlns:a16="http://schemas.microsoft.com/office/drawing/2014/main" id="{47498EC6-8E0E-43E7-BA06-82CC0571494F}"/>
                    </a:ext>
                  </a:extLst>
                </p:cNvPr>
                <p:cNvSpPr/>
                <p:nvPr/>
              </p:nvSpPr>
              <p:spPr bwMode="gray">
                <a:xfrm>
                  <a:off x="9833169" y="206632"/>
                  <a:ext cx="494794" cy="415822"/>
                </a:xfrm>
                <a:custGeom>
                  <a:avLst/>
                  <a:gdLst/>
                  <a:ahLst/>
                  <a:cxnLst/>
                  <a:rect l="l" t="t" r="r" b="b"/>
                  <a:pathLst>
                    <a:path w="494794" h="415822">
                      <a:moveTo>
                        <a:pt x="183237" y="0"/>
                      </a:moveTo>
                      <a:lnTo>
                        <a:pt x="212796" y="0"/>
                      </a:lnTo>
                      <a:lnTo>
                        <a:pt x="229220" y="0"/>
                      </a:lnTo>
                      <a:lnTo>
                        <a:pt x="233061" y="0"/>
                      </a:lnTo>
                      <a:lnTo>
                        <a:pt x="261733" y="0"/>
                      </a:lnTo>
                      <a:lnTo>
                        <a:pt x="265574" y="0"/>
                      </a:lnTo>
                      <a:lnTo>
                        <a:pt x="281998" y="0"/>
                      </a:lnTo>
                      <a:lnTo>
                        <a:pt x="311557" y="0"/>
                      </a:lnTo>
                      <a:cubicBezTo>
                        <a:pt x="327529" y="5063"/>
                        <a:pt x="338283" y="10270"/>
                        <a:pt x="344104" y="30378"/>
                      </a:cubicBezTo>
                      <a:cubicBezTo>
                        <a:pt x="349925" y="50486"/>
                        <a:pt x="342912" y="119114"/>
                        <a:pt x="346483" y="120651"/>
                      </a:cubicBezTo>
                      <a:lnTo>
                        <a:pt x="346483" y="39598"/>
                      </a:lnTo>
                      <a:cubicBezTo>
                        <a:pt x="435021" y="77636"/>
                        <a:pt x="470220" y="146216"/>
                        <a:pt x="470220" y="229974"/>
                      </a:cubicBezTo>
                      <a:lnTo>
                        <a:pt x="494794" y="256561"/>
                      </a:lnTo>
                      <a:lnTo>
                        <a:pt x="494794" y="323091"/>
                      </a:lnTo>
                      <a:cubicBezTo>
                        <a:pt x="494794" y="332277"/>
                        <a:pt x="481632" y="362584"/>
                        <a:pt x="472446" y="362584"/>
                      </a:cubicBezTo>
                      <a:lnTo>
                        <a:pt x="382167" y="413917"/>
                      </a:lnTo>
                      <a:lnTo>
                        <a:pt x="285800" y="414977"/>
                      </a:lnTo>
                      <a:lnTo>
                        <a:pt x="285808" y="415822"/>
                      </a:lnTo>
                      <a:lnTo>
                        <a:pt x="247397" y="415400"/>
                      </a:lnTo>
                      <a:lnTo>
                        <a:pt x="208986" y="415822"/>
                      </a:lnTo>
                      <a:lnTo>
                        <a:pt x="208994" y="414977"/>
                      </a:lnTo>
                      <a:lnTo>
                        <a:pt x="112627" y="413917"/>
                      </a:lnTo>
                      <a:lnTo>
                        <a:pt x="22348" y="362584"/>
                      </a:lnTo>
                      <a:cubicBezTo>
                        <a:pt x="13162" y="362584"/>
                        <a:pt x="0" y="332277"/>
                        <a:pt x="0" y="323091"/>
                      </a:cubicBezTo>
                      <a:lnTo>
                        <a:pt x="0" y="256561"/>
                      </a:lnTo>
                      <a:lnTo>
                        <a:pt x="24574" y="229974"/>
                      </a:lnTo>
                      <a:cubicBezTo>
                        <a:pt x="24574" y="146216"/>
                        <a:pt x="59773" y="77636"/>
                        <a:pt x="148311" y="39598"/>
                      </a:cubicBezTo>
                      <a:lnTo>
                        <a:pt x="148311" y="120651"/>
                      </a:lnTo>
                      <a:cubicBezTo>
                        <a:pt x="151882" y="119114"/>
                        <a:pt x="144869" y="50486"/>
                        <a:pt x="150690" y="30378"/>
                      </a:cubicBezTo>
                      <a:cubicBezTo>
                        <a:pt x="156511" y="10270"/>
                        <a:pt x="167265" y="5063"/>
                        <a:pt x="183237" y="0"/>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6" name="Freeform 677">
                  <a:extLst>
                    <a:ext uri="{FF2B5EF4-FFF2-40B4-BE49-F238E27FC236}">
                      <a16:creationId xmlns:a16="http://schemas.microsoft.com/office/drawing/2014/main" id="{02F29AA5-EA60-4A80-8025-08E48C7332EF}"/>
                    </a:ext>
                  </a:extLst>
                </p:cNvPr>
                <p:cNvSpPr/>
                <p:nvPr/>
              </p:nvSpPr>
              <p:spPr bwMode="gray">
                <a:xfrm>
                  <a:off x="9669203" y="796811"/>
                  <a:ext cx="804061" cy="362855"/>
                </a:xfrm>
                <a:custGeom>
                  <a:avLst/>
                  <a:gdLst/>
                  <a:ahLst/>
                  <a:cxnLst/>
                  <a:rect l="l" t="t" r="r" b="b"/>
                  <a:pathLst>
                    <a:path w="804061" h="362855">
                      <a:moveTo>
                        <a:pt x="278804" y="0"/>
                      </a:moveTo>
                      <a:lnTo>
                        <a:pt x="402030" y="1"/>
                      </a:lnTo>
                      <a:lnTo>
                        <a:pt x="525257" y="0"/>
                      </a:lnTo>
                      <a:lnTo>
                        <a:pt x="529040" y="46661"/>
                      </a:lnTo>
                      <a:cubicBezTo>
                        <a:pt x="559515" y="59091"/>
                        <a:pt x="668503" y="63518"/>
                        <a:pt x="708108" y="74580"/>
                      </a:cubicBezTo>
                      <a:cubicBezTo>
                        <a:pt x="715658" y="76689"/>
                        <a:pt x="721173" y="83243"/>
                        <a:pt x="727706" y="87575"/>
                      </a:cubicBezTo>
                      <a:cubicBezTo>
                        <a:pt x="751541" y="103326"/>
                        <a:pt x="758333" y="142326"/>
                        <a:pt x="773775" y="201578"/>
                      </a:cubicBezTo>
                      <a:cubicBezTo>
                        <a:pt x="785782" y="247651"/>
                        <a:pt x="798598" y="315021"/>
                        <a:pt x="804061" y="362855"/>
                      </a:cubicBezTo>
                      <a:lnTo>
                        <a:pt x="703683" y="362855"/>
                      </a:lnTo>
                      <a:lnTo>
                        <a:pt x="609251" y="362855"/>
                      </a:lnTo>
                      <a:lnTo>
                        <a:pt x="599307" y="362855"/>
                      </a:lnTo>
                      <a:lnTo>
                        <a:pt x="440537" y="362855"/>
                      </a:lnTo>
                      <a:lnTo>
                        <a:pt x="430593" y="362855"/>
                      </a:lnTo>
                      <a:lnTo>
                        <a:pt x="411872" y="362855"/>
                      </a:lnTo>
                      <a:lnTo>
                        <a:pt x="392189" y="362855"/>
                      </a:lnTo>
                      <a:lnTo>
                        <a:pt x="373468" y="362855"/>
                      </a:lnTo>
                      <a:lnTo>
                        <a:pt x="363524" y="362855"/>
                      </a:lnTo>
                      <a:lnTo>
                        <a:pt x="204754" y="362855"/>
                      </a:lnTo>
                      <a:lnTo>
                        <a:pt x="194810" y="362855"/>
                      </a:lnTo>
                      <a:lnTo>
                        <a:pt x="100378" y="362855"/>
                      </a:lnTo>
                      <a:lnTo>
                        <a:pt x="0" y="362855"/>
                      </a:lnTo>
                      <a:cubicBezTo>
                        <a:pt x="5463" y="315021"/>
                        <a:pt x="18279" y="247651"/>
                        <a:pt x="30286" y="201578"/>
                      </a:cubicBezTo>
                      <a:cubicBezTo>
                        <a:pt x="45728" y="142326"/>
                        <a:pt x="52520" y="103326"/>
                        <a:pt x="76355" y="87575"/>
                      </a:cubicBezTo>
                      <a:cubicBezTo>
                        <a:pt x="82888" y="83243"/>
                        <a:pt x="88403" y="76689"/>
                        <a:pt x="95953" y="74580"/>
                      </a:cubicBezTo>
                      <a:cubicBezTo>
                        <a:pt x="135558" y="63518"/>
                        <a:pt x="244546" y="59091"/>
                        <a:pt x="275021" y="46661"/>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grpSp>
        <p:nvGrpSpPr>
          <p:cNvPr id="52" name="Group 51">
            <a:extLst>
              <a:ext uri="{FF2B5EF4-FFF2-40B4-BE49-F238E27FC236}">
                <a16:creationId xmlns:a16="http://schemas.microsoft.com/office/drawing/2014/main" id="{33608CE2-5282-4FA1-9180-A9F1B7067C23}"/>
              </a:ext>
            </a:extLst>
          </p:cNvPr>
          <p:cNvGrpSpPr>
            <a:grpSpLocks noChangeAspect="1"/>
          </p:cNvGrpSpPr>
          <p:nvPr/>
        </p:nvGrpSpPr>
        <p:grpSpPr bwMode="gray">
          <a:xfrm>
            <a:off x="345196" y="4642866"/>
            <a:ext cx="477835" cy="477833"/>
            <a:chOff x="4853641" y="4526236"/>
            <a:chExt cx="571278" cy="571275"/>
          </a:xfrm>
        </p:grpSpPr>
        <p:sp>
          <p:nvSpPr>
            <p:cNvPr id="53" name="Oval 52">
              <a:extLst>
                <a:ext uri="{FF2B5EF4-FFF2-40B4-BE49-F238E27FC236}">
                  <a16:creationId xmlns:a16="http://schemas.microsoft.com/office/drawing/2014/main" id="{BAF25F25-E75C-46B6-ADCC-3BA686C713B8}"/>
                </a:ext>
              </a:extLst>
            </p:cNvPr>
            <p:cNvSpPr/>
            <p:nvPr/>
          </p:nvSpPr>
          <p:spPr bwMode="gray">
            <a:xfrm>
              <a:off x="4853641" y="4526236"/>
              <a:ext cx="571278" cy="571275"/>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54" name="Group 53">
              <a:extLst>
                <a:ext uri="{FF2B5EF4-FFF2-40B4-BE49-F238E27FC236}">
                  <a16:creationId xmlns:a16="http://schemas.microsoft.com/office/drawing/2014/main" id="{C1DF44F5-E95F-46E7-9A67-430BBF8E42E0}"/>
                </a:ext>
              </a:extLst>
            </p:cNvPr>
            <p:cNvGrpSpPr/>
            <p:nvPr/>
          </p:nvGrpSpPr>
          <p:grpSpPr bwMode="gray">
            <a:xfrm>
              <a:off x="4986953" y="4617132"/>
              <a:ext cx="304654" cy="389482"/>
              <a:chOff x="4227228" y="-3516112"/>
              <a:chExt cx="695117" cy="888671"/>
            </a:xfrm>
            <a:solidFill>
              <a:schemeClr val="bg1"/>
            </a:solidFill>
          </p:grpSpPr>
          <p:grpSp>
            <p:nvGrpSpPr>
              <p:cNvPr id="55" name="Group 54">
                <a:extLst>
                  <a:ext uri="{FF2B5EF4-FFF2-40B4-BE49-F238E27FC236}">
                    <a16:creationId xmlns:a16="http://schemas.microsoft.com/office/drawing/2014/main" id="{4CE64692-DC82-419B-A5BA-52CB72CA917B}"/>
                  </a:ext>
                </a:extLst>
              </p:cNvPr>
              <p:cNvGrpSpPr/>
              <p:nvPr/>
            </p:nvGrpSpPr>
            <p:grpSpPr bwMode="gray">
              <a:xfrm rot="18900000">
                <a:off x="4543651" y="-3516112"/>
                <a:ext cx="112716" cy="888671"/>
                <a:chOff x="4536031" y="-3565642"/>
                <a:chExt cx="112716" cy="888671"/>
              </a:xfrm>
              <a:grpFill/>
            </p:grpSpPr>
            <p:sp>
              <p:nvSpPr>
                <p:cNvPr id="60" name="Snip Same Side Corner Rectangle 60">
                  <a:extLst>
                    <a:ext uri="{FF2B5EF4-FFF2-40B4-BE49-F238E27FC236}">
                      <a16:creationId xmlns:a16="http://schemas.microsoft.com/office/drawing/2014/main" id="{FA4FE863-3A90-49DE-8445-E0AA280CEF50}"/>
                    </a:ext>
                  </a:extLst>
                </p:cNvPr>
                <p:cNvSpPr/>
                <p:nvPr/>
              </p:nvSpPr>
              <p:spPr bwMode="gray">
                <a:xfrm>
                  <a:off x="4536031" y="-3565642"/>
                  <a:ext cx="112716" cy="513846"/>
                </a:xfrm>
                <a:custGeom>
                  <a:avLst/>
                  <a:gdLst/>
                  <a:ahLst/>
                  <a:cxnLst/>
                  <a:rect l="l" t="t" r="r" b="b"/>
                  <a:pathLst>
                    <a:path w="112716" h="513846">
                      <a:moveTo>
                        <a:pt x="10701" y="0"/>
                      </a:moveTo>
                      <a:lnTo>
                        <a:pt x="102015" y="0"/>
                      </a:lnTo>
                      <a:lnTo>
                        <a:pt x="112716" y="10701"/>
                      </a:lnTo>
                      <a:lnTo>
                        <a:pt x="112716" y="45216"/>
                      </a:lnTo>
                      <a:lnTo>
                        <a:pt x="112716" y="468630"/>
                      </a:lnTo>
                      <a:lnTo>
                        <a:pt x="112716" y="503145"/>
                      </a:lnTo>
                      <a:lnTo>
                        <a:pt x="102015" y="513846"/>
                      </a:lnTo>
                      <a:lnTo>
                        <a:pt x="10701" y="513846"/>
                      </a:lnTo>
                      <a:lnTo>
                        <a:pt x="0" y="503145"/>
                      </a:lnTo>
                      <a:lnTo>
                        <a:pt x="0" y="468630"/>
                      </a:lnTo>
                      <a:lnTo>
                        <a:pt x="0" y="45216"/>
                      </a:lnTo>
                      <a:lnTo>
                        <a:pt x="0" y="10701"/>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61" name="Straight Connector 60">
                  <a:extLst>
                    <a:ext uri="{FF2B5EF4-FFF2-40B4-BE49-F238E27FC236}">
                      <a16:creationId xmlns:a16="http://schemas.microsoft.com/office/drawing/2014/main" id="{2105AEE5-C4C2-41C6-A951-6B6E15467A73}"/>
                    </a:ext>
                  </a:extLst>
                </p:cNvPr>
                <p:cNvCxnSpPr/>
                <p:nvPr/>
              </p:nvCxnSpPr>
              <p:spPr bwMode="gray">
                <a:xfrm>
                  <a:off x="4592389" y="-3521120"/>
                  <a:ext cx="0" cy="4248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62" name="Straight Connector 61">
                  <a:extLst>
                    <a:ext uri="{FF2B5EF4-FFF2-40B4-BE49-F238E27FC236}">
                      <a16:creationId xmlns:a16="http://schemas.microsoft.com/office/drawing/2014/main" id="{2BC83F79-7348-42DA-AED0-A64B85298CCF}"/>
                    </a:ext>
                  </a:extLst>
                </p:cNvPr>
                <p:cNvCxnSpPr/>
                <p:nvPr/>
              </p:nvCxnSpPr>
              <p:spPr bwMode="gray">
                <a:xfrm>
                  <a:off x="4592389" y="-3041571"/>
                  <a:ext cx="0" cy="2376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63" name="Snip Same Side Corner Rectangle 69">
                  <a:extLst>
                    <a:ext uri="{FF2B5EF4-FFF2-40B4-BE49-F238E27FC236}">
                      <a16:creationId xmlns:a16="http://schemas.microsoft.com/office/drawing/2014/main" id="{E7CD39AA-C39D-4AE9-83CD-5CCD504F3FF5}"/>
                    </a:ext>
                  </a:extLst>
                </p:cNvPr>
                <p:cNvSpPr/>
                <p:nvPr/>
              </p:nvSpPr>
              <p:spPr bwMode="gray">
                <a:xfrm rot="10800000">
                  <a:off x="4560620" y="-2790458"/>
                  <a:ext cx="63538" cy="66860"/>
                </a:xfrm>
                <a:custGeom>
                  <a:avLst/>
                  <a:gdLst/>
                  <a:ahLst/>
                  <a:cxnLst/>
                  <a:rect l="l" t="t" r="r" b="b"/>
                  <a:pathLst>
                    <a:path w="63538" h="66860">
                      <a:moveTo>
                        <a:pt x="55918" y="66860"/>
                      </a:moveTo>
                      <a:lnTo>
                        <a:pt x="7620" y="66860"/>
                      </a:lnTo>
                      <a:lnTo>
                        <a:pt x="0" y="59240"/>
                      </a:lnTo>
                      <a:lnTo>
                        <a:pt x="0" y="45719"/>
                      </a:lnTo>
                      <a:lnTo>
                        <a:pt x="0" y="21141"/>
                      </a:lnTo>
                      <a:lnTo>
                        <a:pt x="0" y="7620"/>
                      </a:lnTo>
                      <a:lnTo>
                        <a:pt x="7620" y="0"/>
                      </a:lnTo>
                      <a:lnTo>
                        <a:pt x="55918" y="0"/>
                      </a:lnTo>
                      <a:lnTo>
                        <a:pt x="63538" y="7620"/>
                      </a:lnTo>
                      <a:lnTo>
                        <a:pt x="63538" y="21141"/>
                      </a:lnTo>
                      <a:lnTo>
                        <a:pt x="63538" y="45719"/>
                      </a:lnTo>
                      <a:lnTo>
                        <a:pt x="63538" y="59240"/>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64" name="Straight Connector 63">
                  <a:extLst>
                    <a:ext uri="{FF2B5EF4-FFF2-40B4-BE49-F238E27FC236}">
                      <a16:creationId xmlns:a16="http://schemas.microsoft.com/office/drawing/2014/main" id="{95AE9242-C420-46B9-AF81-B2CE8C7F74D1}"/>
                    </a:ext>
                  </a:extLst>
                </p:cNvPr>
                <p:cNvCxnSpPr/>
                <p:nvPr/>
              </p:nvCxnSpPr>
              <p:spPr bwMode="gray">
                <a:xfrm>
                  <a:off x="4592389" y="-2712971"/>
                  <a:ext cx="0" cy="360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56" name="Oval 73">
                <a:extLst>
                  <a:ext uri="{FF2B5EF4-FFF2-40B4-BE49-F238E27FC236}">
                    <a16:creationId xmlns:a16="http://schemas.microsoft.com/office/drawing/2014/main" id="{7B8BF8C0-C8B3-4DDA-9A8E-DEBF461EEEAE}"/>
                  </a:ext>
                </a:extLst>
              </p:cNvPr>
              <p:cNvSpPr/>
              <p:nvPr/>
            </p:nvSpPr>
            <p:spPr bwMode="gray">
              <a:xfrm>
                <a:off x="4227228" y="-2948375"/>
                <a:ext cx="199701" cy="201640"/>
              </a:xfrm>
              <a:custGeom>
                <a:avLst/>
                <a:gdLst>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7" fmla="*/ 189584 w 201640"/>
                  <a:gd name="connsiteY7" fmla="*/ 192429 h 201640"/>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193986"/>
                  <a:gd name="connsiteY0" fmla="*/ 97179 h 201640"/>
                  <a:gd name="connsiteX1" fmla="*/ 93166 w 193986"/>
                  <a:gd name="connsiteY1" fmla="*/ 0 h 201640"/>
                  <a:gd name="connsiteX2" fmla="*/ 193986 w 193986"/>
                  <a:gd name="connsiteY2" fmla="*/ 100820 h 201640"/>
                  <a:gd name="connsiteX3" fmla="*/ 93166 w 193986"/>
                  <a:gd name="connsiteY3" fmla="*/ 201640 h 201640"/>
                  <a:gd name="connsiteX0" fmla="*/ 0 w 199701"/>
                  <a:gd name="connsiteY0" fmla="*/ 97179 h 201640"/>
                  <a:gd name="connsiteX1" fmla="*/ 98881 w 199701"/>
                  <a:gd name="connsiteY1" fmla="*/ 0 h 201640"/>
                  <a:gd name="connsiteX2" fmla="*/ 199701 w 199701"/>
                  <a:gd name="connsiteY2" fmla="*/ 100820 h 201640"/>
                  <a:gd name="connsiteX3" fmla="*/ 98881 w 199701"/>
                  <a:gd name="connsiteY3" fmla="*/ 201640 h 201640"/>
                </a:gdLst>
                <a:ahLst/>
                <a:cxnLst>
                  <a:cxn ang="0">
                    <a:pos x="connsiteX0" y="connsiteY0"/>
                  </a:cxn>
                  <a:cxn ang="0">
                    <a:pos x="connsiteX1" y="connsiteY1"/>
                  </a:cxn>
                  <a:cxn ang="0">
                    <a:pos x="connsiteX2" y="connsiteY2"/>
                  </a:cxn>
                  <a:cxn ang="0">
                    <a:pos x="connsiteX3" y="connsiteY3"/>
                  </a:cxn>
                </a:cxnLst>
                <a:rect l="l" t="t" r="r" b="b"/>
                <a:pathLst>
                  <a:path w="199701" h="201640">
                    <a:moveTo>
                      <a:pt x="0" y="97179"/>
                    </a:moveTo>
                    <a:cubicBezTo>
                      <a:pt x="42" y="38040"/>
                      <a:pt x="51945" y="28"/>
                      <a:pt x="98881" y="0"/>
                    </a:cubicBezTo>
                    <a:cubicBezTo>
                      <a:pt x="154562" y="0"/>
                      <a:pt x="199701" y="45139"/>
                      <a:pt x="199701" y="100820"/>
                    </a:cubicBezTo>
                    <a:cubicBezTo>
                      <a:pt x="199701" y="156501"/>
                      <a:pt x="154562" y="201640"/>
                      <a:pt x="98881" y="201640"/>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57" name="Straight Connector 56">
                <a:extLst>
                  <a:ext uri="{FF2B5EF4-FFF2-40B4-BE49-F238E27FC236}">
                    <a16:creationId xmlns:a16="http://schemas.microsoft.com/office/drawing/2014/main" id="{9C81802D-A092-4A84-A7D1-6EFEDD5F5580}"/>
                  </a:ext>
                </a:extLst>
              </p:cNvPr>
              <p:cNvCxnSpPr/>
              <p:nvPr/>
            </p:nvCxnSpPr>
            <p:spPr bwMode="gray">
              <a:xfrm rot="2700000" flipH="1">
                <a:off x="4465155" y="-3075854"/>
                <a:ext cx="0" cy="1800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55EF1FC9-6600-4BC1-BF09-5F1330A643DC}"/>
                  </a:ext>
                </a:extLst>
              </p:cNvPr>
              <p:cNvCxnSpPr/>
              <p:nvPr/>
            </p:nvCxnSpPr>
            <p:spPr bwMode="gray">
              <a:xfrm rot="2700000" flipH="1">
                <a:off x="4687107" y="-3298109"/>
                <a:ext cx="0" cy="1800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59" name="Oval 73">
                <a:extLst>
                  <a:ext uri="{FF2B5EF4-FFF2-40B4-BE49-F238E27FC236}">
                    <a16:creationId xmlns:a16="http://schemas.microsoft.com/office/drawing/2014/main" id="{B3EEAA93-BA68-4E21-B9FA-D0123AE7E30B}"/>
                  </a:ext>
                </a:extLst>
              </p:cNvPr>
              <p:cNvSpPr/>
              <p:nvPr/>
            </p:nvSpPr>
            <p:spPr bwMode="gray">
              <a:xfrm rot="10800000">
                <a:off x="4722644" y="-3443847"/>
                <a:ext cx="199701" cy="201640"/>
              </a:xfrm>
              <a:custGeom>
                <a:avLst/>
                <a:gdLst>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7" fmla="*/ 189584 w 201640"/>
                  <a:gd name="connsiteY7" fmla="*/ 192429 h 201640"/>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193986"/>
                  <a:gd name="connsiteY0" fmla="*/ 97179 h 201640"/>
                  <a:gd name="connsiteX1" fmla="*/ 93166 w 193986"/>
                  <a:gd name="connsiteY1" fmla="*/ 0 h 201640"/>
                  <a:gd name="connsiteX2" fmla="*/ 193986 w 193986"/>
                  <a:gd name="connsiteY2" fmla="*/ 100820 h 201640"/>
                  <a:gd name="connsiteX3" fmla="*/ 93166 w 193986"/>
                  <a:gd name="connsiteY3" fmla="*/ 201640 h 201640"/>
                  <a:gd name="connsiteX0" fmla="*/ 0 w 199701"/>
                  <a:gd name="connsiteY0" fmla="*/ 97179 h 201640"/>
                  <a:gd name="connsiteX1" fmla="*/ 98881 w 199701"/>
                  <a:gd name="connsiteY1" fmla="*/ 0 h 201640"/>
                  <a:gd name="connsiteX2" fmla="*/ 199701 w 199701"/>
                  <a:gd name="connsiteY2" fmla="*/ 100820 h 201640"/>
                  <a:gd name="connsiteX3" fmla="*/ 98881 w 199701"/>
                  <a:gd name="connsiteY3" fmla="*/ 201640 h 201640"/>
                </a:gdLst>
                <a:ahLst/>
                <a:cxnLst>
                  <a:cxn ang="0">
                    <a:pos x="connsiteX0" y="connsiteY0"/>
                  </a:cxn>
                  <a:cxn ang="0">
                    <a:pos x="connsiteX1" y="connsiteY1"/>
                  </a:cxn>
                  <a:cxn ang="0">
                    <a:pos x="connsiteX2" y="connsiteY2"/>
                  </a:cxn>
                  <a:cxn ang="0">
                    <a:pos x="connsiteX3" y="connsiteY3"/>
                  </a:cxn>
                </a:cxnLst>
                <a:rect l="l" t="t" r="r" b="b"/>
                <a:pathLst>
                  <a:path w="199701" h="201640">
                    <a:moveTo>
                      <a:pt x="0" y="97179"/>
                    </a:moveTo>
                    <a:cubicBezTo>
                      <a:pt x="42" y="38040"/>
                      <a:pt x="51945" y="28"/>
                      <a:pt x="98881" y="0"/>
                    </a:cubicBezTo>
                    <a:cubicBezTo>
                      <a:pt x="154562" y="0"/>
                      <a:pt x="199701" y="45139"/>
                      <a:pt x="199701" y="100820"/>
                    </a:cubicBezTo>
                    <a:cubicBezTo>
                      <a:pt x="199701" y="156501"/>
                      <a:pt x="154562" y="201640"/>
                      <a:pt x="98881" y="201640"/>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spTree>
    <p:custDataLst>
      <p:tags r:id="rId1"/>
    </p:custDataLst>
    <p:extLst>
      <p:ext uri="{BB962C8B-B14F-4D97-AF65-F5344CB8AC3E}">
        <p14:creationId xmlns:p14="http://schemas.microsoft.com/office/powerpoint/2010/main" val="2750551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nodeType="withEffect">
                                  <p:stCondLst>
                                    <p:cond delay="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Effect transition="in" filter="fade">
                                      <p:cBhvr>
                                        <p:cTn id="13" dur="500"/>
                                        <p:tgtEl>
                                          <p:spTgt spid="7">
                                            <p:txEl>
                                              <p:pRg st="1" end="1"/>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par>
                                <p:cTn id="19" presetID="10" presetClass="entr" presetSubtype="0" fill="hold" nodeType="withEffect">
                                  <p:stCondLst>
                                    <p:cond delay="0"/>
                                  </p:stCondLst>
                                  <p:childTnLst>
                                    <p:set>
                                      <p:cBhvr>
                                        <p:cTn id="20" dur="1" fill="hold">
                                          <p:stCondLst>
                                            <p:cond delay="0"/>
                                          </p:stCondLst>
                                        </p:cTn>
                                        <p:tgtEl>
                                          <p:spTgt spid="7">
                                            <p:txEl>
                                              <p:pRg st="2" end="2"/>
                                            </p:txEl>
                                          </p:spTgt>
                                        </p:tgtEl>
                                        <p:attrNameLst>
                                          <p:attrName>style.visibility</p:attrName>
                                        </p:attrNameLst>
                                      </p:cBhvr>
                                      <p:to>
                                        <p:strVal val="visible"/>
                                      </p:to>
                                    </p:set>
                                    <p:animEffect transition="in" filter="fade">
                                      <p:cBhvr>
                                        <p:cTn id="21" dur="500"/>
                                        <p:tgtEl>
                                          <p:spTgt spid="7">
                                            <p:txEl>
                                              <p:pRg st="2" end="2"/>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7">
                                            <p:txEl>
                                              <p:pRg st="3" end="3"/>
                                            </p:txEl>
                                          </p:spTgt>
                                        </p:tgtEl>
                                        <p:attrNameLst>
                                          <p:attrName>style.visibility</p:attrName>
                                        </p:attrNameLst>
                                      </p:cBhvr>
                                      <p:to>
                                        <p:strVal val="visible"/>
                                      </p:to>
                                    </p:set>
                                    <p:animEffect transition="in" filter="fade">
                                      <p:cBhvr>
                                        <p:cTn id="24" dur="500"/>
                                        <p:tgtEl>
                                          <p:spTgt spid="7">
                                            <p:txEl>
                                              <p:pRg st="3" end="3"/>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8"/>
                                        </p:tgtEl>
                                        <p:attrNameLst>
                                          <p:attrName>style.visibility</p:attrName>
                                        </p:attrNameLst>
                                      </p:cBhvr>
                                      <p:to>
                                        <p:strVal val="visible"/>
                                      </p:to>
                                    </p:set>
                                    <p:animEffect transition="in" filter="fade">
                                      <p:cBhvr>
                                        <p:cTn id="29" dur="500"/>
                                        <p:tgtEl>
                                          <p:spTgt spid="38"/>
                                        </p:tgtEl>
                                      </p:cBhvr>
                                    </p:animEffect>
                                  </p:childTnLst>
                                </p:cTn>
                              </p:par>
                              <p:par>
                                <p:cTn id="30" presetID="10" presetClass="entr" presetSubtype="0" fill="hold" nodeType="withEffect">
                                  <p:stCondLst>
                                    <p:cond delay="0"/>
                                  </p:stCondLst>
                                  <p:childTnLst>
                                    <p:set>
                                      <p:cBhvr>
                                        <p:cTn id="31" dur="1" fill="hold">
                                          <p:stCondLst>
                                            <p:cond delay="0"/>
                                          </p:stCondLst>
                                        </p:cTn>
                                        <p:tgtEl>
                                          <p:spTgt spid="7">
                                            <p:txEl>
                                              <p:pRg st="4" end="4"/>
                                            </p:txEl>
                                          </p:spTgt>
                                        </p:tgtEl>
                                        <p:attrNameLst>
                                          <p:attrName>style.visibility</p:attrName>
                                        </p:attrNameLst>
                                      </p:cBhvr>
                                      <p:to>
                                        <p:strVal val="visible"/>
                                      </p:to>
                                    </p:set>
                                    <p:animEffect transition="in" filter="fade">
                                      <p:cBhvr>
                                        <p:cTn id="32" dur="500"/>
                                        <p:tgtEl>
                                          <p:spTgt spid="7">
                                            <p:txEl>
                                              <p:pRg st="4" end="4"/>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7">
                                            <p:txEl>
                                              <p:pRg st="5" end="5"/>
                                            </p:txEl>
                                          </p:spTgt>
                                        </p:tgtEl>
                                        <p:attrNameLst>
                                          <p:attrName>style.visibility</p:attrName>
                                        </p:attrNameLst>
                                      </p:cBhvr>
                                      <p:to>
                                        <p:strVal val="visible"/>
                                      </p:to>
                                    </p:set>
                                    <p:animEffect transition="in" filter="fade">
                                      <p:cBhvr>
                                        <p:cTn id="35" dur="500"/>
                                        <p:tgtEl>
                                          <p:spTgt spid="7">
                                            <p:txEl>
                                              <p:pRg st="5" end="5"/>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52"/>
                                        </p:tgtEl>
                                        <p:attrNameLst>
                                          <p:attrName>style.visibility</p:attrName>
                                        </p:attrNameLst>
                                      </p:cBhvr>
                                      <p:to>
                                        <p:strVal val="visible"/>
                                      </p:to>
                                    </p:set>
                                    <p:animEffect transition="in" filter="fade">
                                      <p:cBhvr>
                                        <p:cTn id="40" dur="500"/>
                                        <p:tgtEl>
                                          <p:spTgt spid="52"/>
                                        </p:tgtEl>
                                      </p:cBhvr>
                                    </p:animEffect>
                                  </p:childTnLst>
                                </p:cTn>
                              </p:par>
                              <p:par>
                                <p:cTn id="41" presetID="10" presetClass="entr" presetSubtype="0" fill="hold" nodeType="withEffect">
                                  <p:stCondLst>
                                    <p:cond delay="0"/>
                                  </p:stCondLst>
                                  <p:childTnLst>
                                    <p:set>
                                      <p:cBhvr>
                                        <p:cTn id="42" dur="1" fill="hold">
                                          <p:stCondLst>
                                            <p:cond delay="0"/>
                                          </p:stCondLst>
                                        </p:cTn>
                                        <p:tgtEl>
                                          <p:spTgt spid="7">
                                            <p:txEl>
                                              <p:pRg st="6" end="6"/>
                                            </p:txEl>
                                          </p:spTgt>
                                        </p:tgtEl>
                                        <p:attrNameLst>
                                          <p:attrName>style.visibility</p:attrName>
                                        </p:attrNameLst>
                                      </p:cBhvr>
                                      <p:to>
                                        <p:strVal val="visible"/>
                                      </p:to>
                                    </p:set>
                                    <p:animEffect transition="in" filter="fade">
                                      <p:cBhvr>
                                        <p:cTn id="43" dur="500"/>
                                        <p:tgtEl>
                                          <p:spTgt spid="7">
                                            <p:txEl>
                                              <p:pRg st="6" end="6"/>
                                            </p:txEl>
                                          </p:spTgt>
                                        </p:tgtEl>
                                      </p:cBhvr>
                                    </p:animEffect>
                                  </p:childTnLst>
                                </p:cTn>
                              </p:par>
                              <p:par>
                                <p:cTn id="44" presetID="10" presetClass="entr" presetSubtype="0" fill="hold" nodeType="withEffect">
                                  <p:stCondLst>
                                    <p:cond delay="0"/>
                                  </p:stCondLst>
                                  <p:childTnLst>
                                    <p:set>
                                      <p:cBhvr>
                                        <p:cTn id="45" dur="1" fill="hold">
                                          <p:stCondLst>
                                            <p:cond delay="0"/>
                                          </p:stCondLst>
                                        </p:cTn>
                                        <p:tgtEl>
                                          <p:spTgt spid="7">
                                            <p:txEl>
                                              <p:pRg st="7" end="7"/>
                                            </p:txEl>
                                          </p:spTgt>
                                        </p:tgtEl>
                                        <p:attrNameLst>
                                          <p:attrName>style.visibility</p:attrName>
                                        </p:attrNameLst>
                                      </p:cBhvr>
                                      <p:to>
                                        <p:strVal val="visible"/>
                                      </p:to>
                                    </p:set>
                                    <p:animEffect transition="in" filter="fade">
                                      <p:cBhvr>
                                        <p:cTn id="46"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24"/>
          <p:cNvCxnSpPr>
            <a:stCxn id="10" idx="3"/>
            <a:endCxn id="86" idx="1"/>
          </p:cNvCxnSpPr>
          <p:nvPr/>
        </p:nvCxnSpPr>
        <p:spPr bwMode="gray">
          <a:xfrm>
            <a:off x="2394300" y="3869948"/>
            <a:ext cx="896744" cy="0"/>
          </a:xfrm>
          <a:prstGeom prst="line">
            <a:avLst/>
          </a:prstGeom>
          <a:ln w="12700">
            <a:solidFill>
              <a:schemeClr val="tx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a:stCxn id="88" idx="3"/>
            <a:endCxn id="85" idx="1"/>
          </p:cNvCxnSpPr>
          <p:nvPr/>
        </p:nvCxnSpPr>
        <p:spPr bwMode="gray">
          <a:xfrm>
            <a:off x="2394300" y="3028820"/>
            <a:ext cx="896744" cy="0"/>
          </a:xfrm>
          <a:prstGeom prst="line">
            <a:avLst/>
          </a:prstGeom>
          <a:ln w="12700">
            <a:solidFill>
              <a:schemeClr val="tx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a:stCxn id="9" idx="3"/>
            <a:endCxn id="17" idx="1"/>
          </p:cNvCxnSpPr>
          <p:nvPr/>
        </p:nvCxnSpPr>
        <p:spPr bwMode="gray">
          <a:xfrm>
            <a:off x="2394300" y="2187692"/>
            <a:ext cx="896744" cy="0"/>
          </a:xfrm>
          <a:prstGeom prst="line">
            <a:avLst/>
          </a:prstGeom>
          <a:ln w="12700">
            <a:solidFill>
              <a:schemeClr val="tx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a:stCxn id="14" idx="3"/>
            <a:endCxn id="127" idx="1"/>
          </p:cNvCxnSpPr>
          <p:nvPr/>
        </p:nvCxnSpPr>
        <p:spPr bwMode="gray">
          <a:xfrm>
            <a:off x="2394300" y="4711076"/>
            <a:ext cx="896744" cy="0"/>
          </a:xfrm>
          <a:prstGeom prst="line">
            <a:avLst/>
          </a:prstGeom>
          <a:ln w="12700">
            <a:solidFill>
              <a:schemeClr val="tx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a:stCxn id="15" idx="3"/>
            <a:endCxn id="129" idx="1"/>
          </p:cNvCxnSpPr>
          <p:nvPr/>
        </p:nvCxnSpPr>
        <p:spPr bwMode="gray">
          <a:xfrm>
            <a:off x="2394300" y="5552205"/>
            <a:ext cx="896744" cy="0"/>
          </a:xfrm>
          <a:prstGeom prst="line">
            <a:avLst/>
          </a:prstGeom>
          <a:ln w="12700">
            <a:solidFill>
              <a:schemeClr val="tx2"/>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stCxn id="86" idx="1"/>
            <a:endCxn id="129" idx="1"/>
          </p:cNvCxnSpPr>
          <p:nvPr/>
        </p:nvCxnSpPr>
        <p:spPr bwMode="gray">
          <a:xfrm>
            <a:off x="3291044" y="3869948"/>
            <a:ext cx="0" cy="1682257"/>
          </a:xfrm>
          <a:prstGeom prst="line">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a:stCxn id="86" idx="1"/>
            <a:endCxn id="127" idx="1"/>
          </p:cNvCxnSpPr>
          <p:nvPr/>
        </p:nvCxnSpPr>
        <p:spPr bwMode="gray">
          <a:xfrm>
            <a:off x="3291044" y="3869948"/>
            <a:ext cx="0" cy="841128"/>
          </a:xfrm>
          <a:prstGeom prst="line">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7" idx="1"/>
          </p:cNvCxnSpPr>
          <p:nvPr/>
        </p:nvCxnSpPr>
        <p:spPr bwMode="gray">
          <a:xfrm>
            <a:off x="3291044" y="2187692"/>
            <a:ext cx="0" cy="1676366"/>
          </a:xfrm>
          <a:prstGeom prst="line">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a:stCxn id="85" idx="1"/>
            <a:endCxn id="86" idx="1"/>
          </p:cNvCxnSpPr>
          <p:nvPr/>
        </p:nvCxnSpPr>
        <p:spPr bwMode="gray">
          <a:xfrm>
            <a:off x="3291044" y="3028820"/>
            <a:ext cx="0" cy="841128"/>
          </a:xfrm>
          <a:prstGeom prst="line">
            <a:avLst/>
          </a:prstGeom>
          <a:ln w="1270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bwMode="gray">
          <a:xfrm>
            <a:off x="4187788" y="3146172"/>
            <a:ext cx="3823590" cy="14475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3" name="Title 2"/>
          <p:cNvSpPr>
            <a:spLocks noGrp="1"/>
          </p:cNvSpPr>
          <p:nvPr>
            <p:ph type="title"/>
          </p:nvPr>
        </p:nvSpPr>
        <p:spPr bwMode="gray"/>
        <p:txBody>
          <a:bodyPr/>
          <a:lstStyle/>
          <a:p>
            <a:r>
              <a:rPr lang="de-DE" dirty="0"/>
              <a:t>Advance Optima </a:t>
            </a:r>
            <a:r>
              <a:rPr lang="de-DE" dirty="0" err="1"/>
              <a:t>series</a:t>
            </a:r>
            <a:r>
              <a:rPr lang="de-DE" dirty="0"/>
              <a:t> (AO2000)</a:t>
            </a:r>
            <a:endParaRPr lang="en-US" dirty="0"/>
          </a:p>
        </p:txBody>
      </p:sp>
      <p:sp>
        <p:nvSpPr>
          <p:cNvPr id="2" name="Subtitle 1"/>
          <p:cNvSpPr>
            <a:spLocks noGrp="1"/>
          </p:cNvSpPr>
          <p:nvPr>
            <p:ph type="subTitle" idx="13"/>
          </p:nvPr>
        </p:nvSpPr>
        <p:spPr bwMode="gray"/>
        <p:txBody>
          <a:bodyPr/>
          <a:lstStyle/>
          <a:p>
            <a:r>
              <a:rPr lang="de-DE" dirty="0"/>
              <a:t>Modular gas </a:t>
            </a:r>
            <a:r>
              <a:rPr lang="de-DE" dirty="0" err="1"/>
              <a:t>analyzer</a:t>
            </a:r>
            <a:r>
              <a:rPr lang="de-DE" dirty="0"/>
              <a:t> series</a:t>
            </a:r>
            <a:endParaRPr lang="en-US" dirty="0"/>
          </a:p>
        </p:txBody>
      </p:sp>
      <p:sp>
        <p:nvSpPr>
          <p:cNvPr id="87" name="Text Placeholder 5"/>
          <p:cNvSpPr txBox="1">
            <a:spLocks/>
          </p:cNvSpPr>
          <p:nvPr/>
        </p:nvSpPr>
        <p:spPr bwMode="gray">
          <a:xfrm>
            <a:off x="8292246" y="2829095"/>
            <a:ext cx="3561018" cy="1170184"/>
          </a:xfrm>
          <a:prstGeom prst="rect">
            <a:avLst/>
          </a:prstGeom>
        </p:spPr>
        <p:txBody>
          <a:bodyPr lIns="72000" tIns="72000" rIns="72000" bIns="72000" anchor="ctr" anchorCtr="0"/>
          <a:lstStyle>
            <a:lvl1pPr marL="0" indent="0" algn="l" defTabSz="914400"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spcBef>
                <a:spcPct val="20000"/>
              </a:spcBef>
              <a:buFont typeface="ABBvoiceOffice" panose="020D0603020503020204" pitchFamily="34" charset="0"/>
              <a:buChar char="–"/>
              <a:defRPr sz="1400" kern="1200">
                <a:solidFill>
                  <a:schemeClr val="tx1"/>
                </a:solidFill>
                <a:latin typeface="+mn-lt"/>
                <a:ea typeface="+mn-ea"/>
                <a:cs typeface="+mn-cs"/>
              </a:defRPr>
            </a:lvl2pPr>
            <a:lvl3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000000"/>
                </a:solidFill>
                <a:effectLst/>
                <a:uLnTx/>
                <a:uFillTx/>
                <a:latin typeface="ABBvoice"/>
                <a:ea typeface="ABBvoice"/>
                <a:cs typeface="ABBvoice"/>
              </a:rPr>
              <a:t>The </a:t>
            </a:r>
            <a:r>
              <a:rPr kumimoji="0" lang="en-US" sz="1400" b="1" i="0" u="none" strike="noStrike" kern="1200" cap="none" spc="0" normalizeH="0" baseline="0" noProof="0" dirty="0">
                <a:ln>
                  <a:noFill/>
                </a:ln>
                <a:solidFill>
                  <a:srgbClr val="D90000"/>
                </a:solidFill>
                <a:effectLst/>
                <a:uLnTx/>
                <a:uFillTx/>
                <a:latin typeface="ABBvoice"/>
                <a:ea typeface="ABBvoice"/>
                <a:cs typeface="ABBvoice"/>
              </a:rPr>
              <a:t>AO2000 series</a:t>
            </a:r>
            <a:r>
              <a:rPr kumimoji="0" lang="en-US" sz="1400" b="0" i="0" u="none" strike="noStrike" kern="1200" cap="none" spc="0" normalizeH="0" baseline="0" noProof="0" dirty="0">
                <a:ln>
                  <a:noFill/>
                </a:ln>
                <a:solidFill>
                  <a:srgbClr val="D90000"/>
                </a:solidFill>
                <a:effectLst/>
                <a:uLnTx/>
                <a:uFillTx/>
                <a:latin typeface="ABBvoice"/>
                <a:ea typeface="ABBvoice"/>
                <a:cs typeface="ABBvoice"/>
              </a:rPr>
              <a:t> </a:t>
            </a:r>
            <a:r>
              <a:rPr kumimoji="0" lang="en-US" sz="1400" b="0" i="0" u="none" strike="noStrike" kern="1200" cap="none" spc="0" normalizeH="0" baseline="0" noProof="0" dirty="0">
                <a:ln>
                  <a:noFill/>
                </a:ln>
                <a:solidFill>
                  <a:srgbClr val="000000"/>
                </a:solidFill>
                <a:effectLst/>
                <a:uLnTx/>
                <a:uFillTx/>
                <a:latin typeface="ABBvoice"/>
                <a:ea typeface="ABBvoice"/>
                <a:cs typeface="ABBvoice"/>
              </a:rPr>
              <a:t>is based on an integrated system concept</a:t>
            </a:r>
          </a:p>
          <a:p>
            <a:pPr marL="180000" marR="0" lvl="1" indent="-180000" algn="l" defTabSz="914400" rtl="0" eaLnBrk="1" fontAlgn="auto" latinLnBrk="0" hangingPunct="1">
              <a:lnSpc>
                <a:spcPct val="100000"/>
              </a:lnSpc>
              <a:spcBef>
                <a:spcPts val="300"/>
              </a:spcBef>
              <a:spcAft>
                <a:spcPts val="0"/>
              </a:spcAft>
              <a:buClrTx/>
              <a:buSzTx/>
              <a:buFont typeface="ABBvoiceOffice" panose="020D0603020503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BBvoice"/>
                <a:ea typeface="ABBvoice"/>
                <a:cs typeface="ABBvoice"/>
              </a:rPr>
              <a:t>Standardized analyzer modules can be combined to a multi-analyzer system</a:t>
            </a:r>
          </a:p>
        </p:txBody>
      </p:sp>
      <p:grpSp>
        <p:nvGrpSpPr>
          <p:cNvPr id="16" name="Group 15"/>
          <p:cNvGrpSpPr/>
          <p:nvPr/>
        </p:nvGrpSpPr>
        <p:grpSpPr bwMode="gray">
          <a:xfrm>
            <a:off x="345291" y="5192205"/>
            <a:ext cx="2049009" cy="720000"/>
            <a:chOff x="345291" y="5192205"/>
            <a:chExt cx="2049009" cy="720000"/>
          </a:xfrm>
        </p:grpSpPr>
        <p:sp>
          <p:nvSpPr>
            <p:cNvPr id="15" name="Text Box 253"/>
            <p:cNvSpPr txBox="1">
              <a:spLocks noChangeArrowheads="1"/>
            </p:cNvSpPr>
            <p:nvPr/>
          </p:nvSpPr>
          <p:spPr bwMode="gray">
            <a:xfrm>
              <a:off x="929667" y="5192205"/>
              <a:ext cx="1464633" cy="720000"/>
            </a:xfrm>
            <a:prstGeom prst="rect">
              <a:avLst/>
            </a:prstGeom>
            <a:noFill/>
            <a:ln w="19050">
              <a:noFill/>
            </a:ln>
            <a:extLst/>
          </p:spPr>
          <p:txBody>
            <a:bodyPr vert="horz" lIns="108000" tIns="72000" rIns="72000" bIns="72000" rtlCol="0" anchor="ctr" anchorCtr="0">
              <a:noAutofit/>
            </a:bodyPr>
            <a:lstStyle>
              <a:defPPr>
                <a:defRPr lang="en-US"/>
              </a:defPPr>
              <a:lvl1pPr indent="0" algn="r">
                <a:spcBef>
                  <a:spcPts val="0"/>
                </a:spcBef>
                <a:buFont typeface="Arial" panose="020B0604020202020204" pitchFamily="34" charset="0"/>
                <a:buNone/>
                <a:defRPr sz="28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2000" b="0" i="0" u="none" strike="noStrike" kern="1200" cap="none" spc="0" normalizeH="0" baseline="0" noProof="0" dirty="0" err="1">
                  <a:ln>
                    <a:noFill/>
                  </a:ln>
                  <a:solidFill>
                    <a:srgbClr val="000000"/>
                  </a:solidFill>
                  <a:effectLst/>
                  <a:uLnTx/>
                  <a:uFillTx/>
                  <a:latin typeface="ABBvoice"/>
                  <a:ea typeface="ABBvoice"/>
                  <a:cs typeface="ABBvoice"/>
                </a:rPr>
                <a:t>Fidas</a:t>
              </a:r>
              <a:endParaRPr kumimoji="0" lang="en-US" altLang="en-US" sz="2000" b="0" i="0" u="none" strike="noStrike" kern="1200" cap="none" spc="0" normalizeH="0" baseline="0" noProof="0" dirty="0">
                <a:ln>
                  <a:noFill/>
                </a:ln>
                <a:solidFill>
                  <a:srgbClr val="000000"/>
                </a:solidFill>
                <a:effectLst/>
                <a:uLnTx/>
                <a:uFillTx/>
                <a:latin typeface="ABBvoice"/>
                <a:ea typeface="ABBvoice"/>
                <a:cs typeface="ABBvoice"/>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200" b="1" i="0" u="none" strike="noStrike" kern="1200" cap="none" spc="0" normalizeH="0" baseline="0" noProof="0" dirty="0">
                  <a:ln>
                    <a:noFill/>
                  </a:ln>
                  <a:solidFill>
                    <a:srgbClr val="D90000"/>
                  </a:solidFill>
                  <a:effectLst/>
                  <a:uLnTx/>
                  <a:uFillTx/>
                  <a:latin typeface="ABBvoice"/>
                  <a:ea typeface="ABBvoice"/>
                  <a:cs typeface="ABBvoice"/>
                </a:rPr>
                <a:t>Flame-ionization detector</a:t>
              </a:r>
            </a:p>
          </p:txBody>
        </p:sp>
        <p:grpSp>
          <p:nvGrpSpPr>
            <p:cNvPr id="24" name="Group 23"/>
            <p:cNvGrpSpPr/>
            <p:nvPr/>
          </p:nvGrpSpPr>
          <p:grpSpPr bwMode="gray">
            <a:xfrm>
              <a:off x="345291" y="5267637"/>
              <a:ext cx="569136" cy="569136"/>
              <a:chOff x="373797" y="5227138"/>
              <a:chExt cx="650134" cy="650134"/>
            </a:xfrm>
          </p:grpSpPr>
          <p:sp>
            <p:nvSpPr>
              <p:cNvPr id="126" name="Text Box 240"/>
              <p:cNvSpPr txBox="1">
                <a:spLocks noChangeArrowheads="1"/>
              </p:cNvSpPr>
              <p:nvPr/>
            </p:nvSpPr>
            <p:spPr bwMode="gray">
              <a:xfrm>
                <a:off x="373797" y="5227138"/>
                <a:ext cx="650134" cy="650134"/>
              </a:xfrm>
              <a:prstGeom prst="ellipse">
                <a:avLst/>
              </a:prstGeom>
              <a:solidFill>
                <a:schemeClr val="tx2"/>
              </a:solidFill>
              <a:ln w="19050">
                <a:solidFill>
                  <a:schemeClr val="tx2"/>
                </a:solid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89" name="Group 88"/>
              <p:cNvGrpSpPr/>
              <p:nvPr/>
            </p:nvGrpSpPr>
            <p:grpSpPr bwMode="gray">
              <a:xfrm>
                <a:off x="519842" y="5388723"/>
                <a:ext cx="358044" cy="326966"/>
                <a:chOff x="-967926" y="3169597"/>
                <a:chExt cx="575910" cy="644168"/>
              </a:xfrm>
            </p:grpSpPr>
            <p:sp>
              <p:nvSpPr>
                <p:cNvPr id="90" name="Freeform 89"/>
                <p:cNvSpPr/>
                <p:nvPr/>
              </p:nvSpPr>
              <p:spPr bwMode="gray">
                <a:xfrm>
                  <a:off x="-967926" y="3169597"/>
                  <a:ext cx="575910" cy="644168"/>
                </a:xfrm>
                <a:custGeom>
                  <a:avLst/>
                  <a:gdLst>
                    <a:gd name="connsiteX0" fmla="*/ 394445 w 915582"/>
                    <a:gd name="connsiteY0" fmla="*/ 1530534 h 1530534"/>
                    <a:gd name="connsiteX1" fmla="*/ 2559 w 915582"/>
                    <a:gd name="connsiteY1" fmla="*/ 937681 h 1530534"/>
                    <a:gd name="connsiteX2" fmla="*/ 223623 w 915582"/>
                    <a:gd name="connsiteY2" fmla="*/ 596037 h 1530534"/>
                    <a:gd name="connsiteX3" fmla="*/ 193478 w 915582"/>
                    <a:gd name="connsiteY3" fmla="*/ 3184 h 1530534"/>
                    <a:gd name="connsiteX4" fmla="*/ 906911 w 915582"/>
                    <a:gd name="connsiteY4" fmla="*/ 877391 h 1530534"/>
                    <a:gd name="connsiteX5" fmla="*/ 525073 w 915582"/>
                    <a:gd name="connsiteY5" fmla="*/ 1530534 h 1530534"/>
                    <a:gd name="connsiteX0" fmla="*/ 63771 w 1112883"/>
                    <a:gd name="connsiteY0" fmla="*/ 1460487 h 1530534"/>
                    <a:gd name="connsiteX1" fmla="*/ 199860 w 1112883"/>
                    <a:gd name="connsiteY1" fmla="*/ 937681 h 1530534"/>
                    <a:gd name="connsiteX2" fmla="*/ 420924 w 1112883"/>
                    <a:gd name="connsiteY2" fmla="*/ 596037 h 1530534"/>
                    <a:gd name="connsiteX3" fmla="*/ 390779 w 1112883"/>
                    <a:gd name="connsiteY3" fmla="*/ 3184 h 1530534"/>
                    <a:gd name="connsiteX4" fmla="*/ 1104212 w 1112883"/>
                    <a:gd name="connsiteY4" fmla="*/ 877391 h 1530534"/>
                    <a:gd name="connsiteX5" fmla="*/ 722374 w 1112883"/>
                    <a:gd name="connsiteY5" fmla="*/ 1530534 h 1530534"/>
                    <a:gd name="connsiteX0" fmla="*/ 63772 w 1109482"/>
                    <a:gd name="connsiteY0" fmla="*/ 1460487 h 1514369"/>
                    <a:gd name="connsiteX1" fmla="*/ 199861 w 1109482"/>
                    <a:gd name="connsiteY1" fmla="*/ 937681 h 1514369"/>
                    <a:gd name="connsiteX2" fmla="*/ 420925 w 1109482"/>
                    <a:gd name="connsiteY2" fmla="*/ 596037 h 1514369"/>
                    <a:gd name="connsiteX3" fmla="*/ 390780 w 1109482"/>
                    <a:gd name="connsiteY3" fmla="*/ 3184 h 1514369"/>
                    <a:gd name="connsiteX4" fmla="*/ 1104213 w 1109482"/>
                    <a:gd name="connsiteY4" fmla="*/ 877391 h 1514369"/>
                    <a:gd name="connsiteX5" fmla="*/ 548092 w 1109482"/>
                    <a:gd name="connsiteY5" fmla="*/ 1514369 h 1514369"/>
                    <a:gd name="connsiteX0" fmla="*/ 63772 w 874709"/>
                    <a:gd name="connsiteY0" fmla="*/ 1460715 h 1514597"/>
                    <a:gd name="connsiteX1" fmla="*/ 199861 w 874709"/>
                    <a:gd name="connsiteY1" fmla="*/ 937909 h 1514597"/>
                    <a:gd name="connsiteX2" fmla="*/ 420925 w 874709"/>
                    <a:gd name="connsiteY2" fmla="*/ 596265 h 1514597"/>
                    <a:gd name="connsiteX3" fmla="*/ 390780 w 874709"/>
                    <a:gd name="connsiteY3" fmla="*/ 3412 h 1514597"/>
                    <a:gd name="connsiteX4" fmla="*/ 863293 w 874709"/>
                    <a:gd name="connsiteY4" fmla="*/ 888395 h 1514597"/>
                    <a:gd name="connsiteX5" fmla="*/ 548092 w 874709"/>
                    <a:gd name="connsiteY5" fmla="*/ 1514597 h 1514597"/>
                    <a:gd name="connsiteX0" fmla="*/ 191224 w 1002160"/>
                    <a:gd name="connsiteY0" fmla="*/ 1460745 h 1514627"/>
                    <a:gd name="connsiteX1" fmla="*/ 24880 w 1002160"/>
                    <a:gd name="connsiteY1" fmla="*/ 964881 h 1514627"/>
                    <a:gd name="connsiteX2" fmla="*/ 548377 w 1002160"/>
                    <a:gd name="connsiteY2" fmla="*/ 596295 h 1514627"/>
                    <a:gd name="connsiteX3" fmla="*/ 518232 w 1002160"/>
                    <a:gd name="connsiteY3" fmla="*/ 3442 h 1514627"/>
                    <a:gd name="connsiteX4" fmla="*/ 990745 w 1002160"/>
                    <a:gd name="connsiteY4" fmla="*/ 888425 h 1514627"/>
                    <a:gd name="connsiteX5" fmla="*/ 675544 w 1002160"/>
                    <a:gd name="connsiteY5" fmla="*/ 1514627 h 1514627"/>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72063 h 1525945"/>
                    <a:gd name="connsiteX1" fmla="*/ 6383 w 983663"/>
                    <a:gd name="connsiteY1" fmla="*/ 976199 h 1525945"/>
                    <a:gd name="connsiteX2" fmla="*/ 268455 w 983663"/>
                    <a:gd name="connsiteY2" fmla="*/ 532179 h 1525945"/>
                    <a:gd name="connsiteX3" fmla="*/ 499735 w 983663"/>
                    <a:gd name="connsiteY3" fmla="*/ 14760 h 1525945"/>
                    <a:gd name="connsiteX4" fmla="*/ 972248 w 983663"/>
                    <a:gd name="connsiteY4" fmla="*/ 899743 h 1525945"/>
                    <a:gd name="connsiteX5" fmla="*/ 657047 w 983663"/>
                    <a:gd name="connsiteY5" fmla="*/ 1525945 h 1525945"/>
                    <a:gd name="connsiteX0" fmla="*/ 172727 w 983663"/>
                    <a:gd name="connsiteY0" fmla="*/ 1456181 h 1510063"/>
                    <a:gd name="connsiteX1" fmla="*/ 6383 w 983663"/>
                    <a:gd name="connsiteY1" fmla="*/ 960317 h 1510063"/>
                    <a:gd name="connsiteX2" fmla="*/ 268455 w 983663"/>
                    <a:gd name="connsiteY2" fmla="*/ 516297 h 1510063"/>
                    <a:gd name="connsiteX3" fmla="*/ 443349 w 983663"/>
                    <a:gd name="connsiteY3" fmla="*/ 15043 h 1510063"/>
                    <a:gd name="connsiteX4" fmla="*/ 972248 w 983663"/>
                    <a:gd name="connsiteY4" fmla="*/ 883861 h 1510063"/>
                    <a:gd name="connsiteX5" fmla="*/ 657047 w 983663"/>
                    <a:gd name="connsiteY5" fmla="*/ 1510063 h 1510063"/>
                    <a:gd name="connsiteX0" fmla="*/ 171348 w 982284"/>
                    <a:gd name="connsiteY0" fmla="*/ 1447162 h 1501044"/>
                    <a:gd name="connsiteX1" fmla="*/ 5004 w 982284"/>
                    <a:gd name="connsiteY1" fmla="*/ 951298 h 1501044"/>
                    <a:gd name="connsiteX2" fmla="*/ 246573 w 982284"/>
                    <a:gd name="connsiteY2" fmla="*/ 512666 h 1501044"/>
                    <a:gd name="connsiteX3" fmla="*/ 441970 w 982284"/>
                    <a:gd name="connsiteY3" fmla="*/ 6024 h 1501044"/>
                    <a:gd name="connsiteX4" fmla="*/ 970869 w 982284"/>
                    <a:gd name="connsiteY4" fmla="*/ 874842 h 1501044"/>
                    <a:gd name="connsiteX5" fmla="*/ 655668 w 982284"/>
                    <a:gd name="connsiteY5" fmla="*/ 1501044 h 1501044"/>
                    <a:gd name="connsiteX0" fmla="*/ 171348 w 982284"/>
                    <a:gd name="connsiteY0" fmla="*/ 1457131 h 1511013"/>
                    <a:gd name="connsiteX1" fmla="*/ 5004 w 982284"/>
                    <a:gd name="connsiteY1" fmla="*/ 961267 h 1511013"/>
                    <a:gd name="connsiteX2" fmla="*/ 246573 w 982284"/>
                    <a:gd name="connsiteY2" fmla="*/ 522635 h 1511013"/>
                    <a:gd name="connsiteX3" fmla="*/ 441970 w 982284"/>
                    <a:gd name="connsiteY3" fmla="*/ 15993 h 1511013"/>
                    <a:gd name="connsiteX4" fmla="*/ 970869 w 982284"/>
                    <a:gd name="connsiteY4" fmla="*/ 884811 h 1511013"/>
                    <a:gd name="connsiteX5" fmla="*/ 655668 w 982284"/>
                    <a:gd name="connsiteY5" fmla="*/ 1511013 h 1511013"/>
                    <a:gd name="connsiteX0" fmla="*/ 184998 w 995934"/>
                    <a:gd name="connsiteY0" fmla="*/ 1441330 h 1495212"/>
                    <a:gd name="connsiteX1" fmla="*/ 18654 w 995934"/>
                    <a:gd name="connsiteY1" fmla="*/ 945466 h 1495212"/>
                    <a:gd name="connsiteX2" fmla="*/ 455620 w 995934"/>
                    <a:gd name="connsiteY2" fmla="*/ 192 h 1495212"/>
                    <a:gd name="connsiteX3" fmla="*/ 984519 w 995934"/>
                    <a:gd name="connsiteY3" fmla="*/ 869010 h 1495212"/>
                    <a:gd name="connsiteX4" fmla="*/ 669318 w 995934"/>
                    <a:gd name="connsiteY4" fmla="*/ 1495212 h 1495212"/>
                    <a:gd name="connsiteX0" fmla="*/ 184998 w 995934"/>
                    <a:gd name="connsiteY0" fmla="*/ 1462589 h 1516471"/>
                    <a:gd name="connsiteX1" fmla="*/ 18654 w 995934"/>
                    <a:gd name="connsiteY1" fmla="*/ 966725 h 1516471"/>
                    <a:gd name="connsiteX2" fmla="*/ 455620 w 995934"/>
                    <a:gd name="connsiteY2" fmla="*/ 21451 h 1516471"/>
                    <a:gd name="connsiteX3" fmla="*/ 984519 w 995934"/>
                    <a:gd name="connsiteY3" fmla="*/ 890269 h 1516471"/>
                    <a:gd name="connsiteX4" fmla="*/ 669318 w 995934"/>
                    <a:gd name="connsiteY4" fmla="*/ 1516471 h 1516471"/>
                    <a:gd name="connsiteX0" fmla="*/ 178447 w 989383"/>
                    <a:gd name="connsiteY0" fmla="*/ 1462589 h 1516471"/>
                    <a:gd name="connsiteX1" fmla="*/ 12103 w 989383"/>
                    <a:gd name="connsiteY1" fmla="*/ 966725 h 1516471"/>
                    <a:gd name="connsiteX2" fmla="*/ 449069 w 989383"/>
                    <a:gd name="connsiteY2" fmla="*/ 21451 h 1516471"/>
                    <a:gd name="connsiteX3" fmla="*/ 977968 w 989383"/>
                    <a:gd name="connsiteY3" fmla="*/ 890269 h 1516471"/>
                    <a:gd name="connsiteX4" fmla="*/ 662767 w 989383"/>
                    <a:gd name="connsiteY4" fmla="*/ 1516471 h 1516471"/>
                    <a:gd name="connsiteX0" fmla="*/ 172077 w 983013"/>
                    <a:gd name="connsiteY0" fmla="*/ 1462589 h 1516471"/>
                    <a:gd name="connsiteX1" fmla="*/ 5733 w 983013"/>
                    <a:gd name="connsiteY1" fmla="*/ 966725 h 1516471"/>
                    <a:gd name="connsiteX2" fmla="*/ 442699 w 983013"/>
                    <a:gd name="connsiteY2" fmla="*/ 21451 h 1516471"/>
                    <a:gd name="connsiteX3" fmla="*/ 971598 w 983013"/>
                    <a:gd name="connsiteY3" fmla="*/ 890269 h 1516471"/>
                    <a:gd name="connsiteX4" fmla="*/ 656397 w 983013"/>
                    <a:gd name="connsiteY4" fmla="*/ 1516471 h 1516471"/>
                    <a:gd name="connsiteX0" fmla="*/ 167713 w 978649"/>
                    <a:gd name="connsiteY0" fmla="*/ 1462589 h 1516471"/>
                    <a:gd name="connsiteX1" fmla="*/ 1369 w 978649"/>
                    <a:gd name="connsiteY1" fmla="*/ 966725 h 1516471"/>
                    <a:gd name="connsiteX2" fmla="*/ 438335 w 978649"/>
                    <a:gd name="connsiteY2" fmla="*/ 21451 h 1516471"/>
                    <a:gd name="connsiteX3" fmla="*/ 967234 w 978649"/>
                    <a:gd name="connsiteY3" fmla="*/ 890269 h 1516471"/>
                    <a:gd name="connsiteX4" fmla="*/ 652033 w 978649"/>
                    <a:gd name="connsiteY4" fmla="*/ 1516471 h 1516471"/>
                    <a:gd name="connsiteX0" fmla="*/ 194053 w 984485"/>
                    <a:gd name="connsiteY0" fmla="*/ 1489530 h 1516471"/>
                    <a:gd name="connsiteX1" fmla="*/ 7205 w 984485"/>
                    <a:gd name="connsiteY1" fmla="*/ 966725 h 1516471"/>
                    <a:gd name="connsiteX2" fmla="*/ 444171 w 984485"/>
                    <a:gd name="connsiteY2" fmla="*/ 21451 h 1516471"/>
                    <a:gd name="connsiteX3" fmla="*/ 973070 w 984485"/>
                    <a:gd name="connsiteY3" fmla="*/ 890269 h 1516471"/>
                    <a:gd name="connsiteX4" fmla="*/ 657869 w 984485"/>
                    <a:gd name="connsiteY4" fmla="*/ 1516471 h 1516471"/>
                    <a:gd name="connsiteX0" fmla="*/ 194054 w 983258"/>
                    <a:gd name="connsiteY0" fmla="*/ 1489530 h 1489530"/>
                    <a:gd name="connsiteX1" fmla="*/ 7206 w 983258"/>
                    <a:gd name="connsiteY1" fmla="*/ 966725 h 1489530"/>
                    <a:gd name="connsiteX2" fmla="*/ 444172 w 983258"/>
                    <a:gd name="connsiteY2" fmla="*/ 21451 h 1489530"/>
                    <a:gd name="connsiteX3" fmla="*/ 973071 w 983258"/>
                    <a:gd name="connsiteY3" fmla="*/ 890269 h 1489530"/>
                    <a:gd name="connsiteX4" fmla="*/ 632240 w 983258"/>
                    <a:gd name="connsiteY4" fmla="*/ 1489530 h 1489530"/>
                    <a:gd name="connsiteX0" fmla="*/ 194054 w 958856"/>
                    <a:gd name="connsiteY0" fmla="*/ 1468401 h 1468401"/>
                    <a:gd name="connsiteX1" fmla="*/ 7206 w 958856"/>
                    <a:gd name="connsiteY1" fmla="*/ 945596 h 1468401"/>
                    <a:gd name="connsiteX2" fmla="*/ 444172 w 958856"/>
                    <a:gd name="connsiteY2" fmla="*/ 322 h 1468401"/>
                    <a:gd name="connsiteX3" fmla="*/ 947441 w 958856"/>
                    <a:gd name="connsiteY3" fmla="*/ 847587 h 1468401"/>
                    <a:gd name="connsiteX4" fmla="*/ 632240 w 958856"/>
                    <a:gd name="connsiteY4" fmla="*/ 1468401 h 1468401"/>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466 h 1473466"/>
                    <a:gd name="connsiteX1" fmla="*/ 6054 w 957704"/>
                    <a:gd name="connsiteY1" fmla="*/ 950661 h 1473466"/>
                    <a:gd name="connsiteX2" fmla="*/ 417391 w 957704"/>
                    <a:gd name="connsiteY2" fmla="*/ -1 h 1473466"/>
                    <a:gd name="connsiteX3" fmla="*/ 946289 w 957704"/>
                    <a:gd name="connsiteY3" fmla="*/ 852652 h 1473466"/>
                    <a:gd name="connsiteX4" fmla="*/ 631088 w 957704"/>
                    <a:gd name="connsiteY4" fmla="*/ 1473466 h 1473466"/>
                    <a:gd name="connsiteX0" fmla="*/ 192902 w 943205"/>
                    <a:gd name="connsiteY0" fmla="*/ 1473467 h 1473467"/>
                    <a:gd name="connsiteX1" fmla="*/ 6054 w 943205"/>
                    <a:gd name="connsiteY1" fmla="*/ 950662 h 1473467"/>
                    <a:gd name="connsiteX2" fmla="*/ 417391 w 943205"/>
                    <a:gd name="connsiteY2" fmla="*/ 0 h 1473467"/>
                    <a:gd name="connsiteX3" fmla="*/ 930912 w 943205"/>
                    <a:gd name="connsiteY3" fmla="*/ 852653 h 1473467"/>
                    <a:gd name="connsiteX4" fmla="*/ 631088 w 943205"/>
                    <a:gd name="connsiteY4" fmla="*/ 1473467 h 1473467"/>
                    <a:gd name="connsiteX0" fmla="*/ 190405 w 940708"/>
                    <a:gd name="connsiteY0" fmla="*/ 1495020 h 1495020"/>
                    <a:gd name="connsiteX1" fmla="*/ 3557 w 940708"/>
                    <a:gd name="connsiteY1" fmla="*/ 972215 h 1495020"/>
                    <a:gd name="connsiteX2" fmla="*/ 353382 w 940708"/>
                    <a:gd name="connsiteY2" fmla="*/ 0 h 1495020"/>
                    <a:gd name="connsiteX3" fmla="*/ 928415 w 940708"/>
                    <a:gd name="connsiteY3" fmla="*/ 874206 h 1495020"/>
                    <a:gd name="connsiteX4" fmla="*/ 628591 w 940708"/>
                    <a:gd name="connsiteY4" fmla="*/ 1495020 h 1495020"/>
                    <a:gd name="connsiteX0" fmla="*/ 281357 w 1031660"/>
                    <a:gd name="connsiteY0" fmla="*/ 1495020 h 1495020"/>
                    <a:gd name="connsiteX1" fmla="*/ 2242 w 1031660"/>
                    <a:gd name="connsiteY1" fmla="*/ 934498 h 1495020"/>
                    <a:gd name="connsiteX2" fmla="*/ 444334 w 1031660"/>
                    <a:gd name="connsiteY2" fmla="*/ 0 h 1495020"/>
                    <a:gd name="connsiteX3" fmla="*/ 1019367 w 1031660"/>
                    <a:gd name="connsiteY3" fmla="*/ 874206 h 1495020"/>
                    <a:gd name="connsiteX4" fmla="*/ 719543 w 1031660"/>
                    <a:gd name="connsiteY4" fmla="*/ 1495020 h 1495020"/>
                    <a:gd name="connsiteX0" fmla="*/ 280647 w 1030950"/>
                    <a:gd name="connsiteY0" fmla="*/ 1495020 h 1495020"/>
                    <a:gd name="connsiteX1" fmla="*/ 1532 w 1030950"/>
                    <a:gd name="connsiteY1" fmla="*/ 934498 h 1495020"/>
                    <a:gd name="connsiteX2" fmla="*/ 443624 w 1030950"/>
                    <a:gd name="connsiteY2" fmla="*/ 0 h 1495020"/>
                    <a:gd name="connsiteX3" fmla="*/ 1018657 w 1030950"/>
                    <a:gd name="connsiteY3" fmla="*/ 874206 h 1495020"/>
                    <a:gd name="connsiteX4" fmla="*/ 718833 w 1030950"/>
                    <a:gd name="connsiteY4" fmla="*/ 1495020 h 1495020"/>
                    <a:gd name="connsiteX0" fmla="*/ 298745 w 1031106"/>
                    <a:gd name="connsiteY0" fmla="*/ 1503102 h 1503102"/>
                    <a:gd name="connsiteX1" fmla="*/ 1688 w 1031106"/>
                    <a:gd name="connsiteY1" fmla="*/ 934498 h 1503102"/>
                    <a:gd name="connsiteX2" fmla="*/ 443780 w 1031106"/>
                    <a:gd name="connsiteY2" fmla="*/ 0 h 1503102"/>
                    <a:gd name="connsiteX3" fmla="*/ 1018813 w 1031106"/>
                    <a:gd name="connsiteY3" fmla="*/ 874206 h 1503102"/>
                    <a:gd name="connsiteX4" fmla="*/ 718989 w 1031106"/>
                    <a:gd name="connsiteY4" fmla="*/ 1495020 h 1503102"/>
                    <a:gd name="connsiteX0" fmla="*/ 299147 w 1031508"/>
                    <a:gd name="connsiteY0" fmla="*/ 1503102 h 1503102"/>
                    <a:gd name="connsiteX1" fmla="*/ 2090 w 1031508"/>
                    <a:gd name="connsiteY1" fmla="*/ 934498 h 1503102"/>
                    <a:gd name="connsiteX2" fmla="*/ 444182 w 1031508"/>
                    <a:gd name="connsiteY2" fmla="*/ 0 h 1503102"/>
                    <a:gd name="connsiteX3" fmla="*/ 1019215 w 1031508"/>
                    <a:gd name="connsiteY3" fmla="*/ 874206 h 1503102"/>
                    <a:gd name="connsiteX4" fmla="*/ 719391 w 1031508"/>
                    <a:gd name="connsiteY4" fmla="*/ 1495020 h 1503102"/>
                    <a:gd name="connsiteX0" fmla="*/ 301686 w 1034047"/>
                    <a:gd name="connsiteY0" fmla="*/ 1503102 h 1503102"/>
                    <a:gd name="connsiteX1" fmla="*/ 2065 w 1034047"/>
                    <a:gd name="connsiteY1" fmla="*/ 972215 h 1503102"/>
                    <a:gd name="connsiteX2" fmla="*/ 446721 w 1034047"/>
                    <a:gd name="connsiteY2" fmla="*/ 0 h 1503102"/>
                    <a:gd name="connsiteX3" fmla="*/ 1021754 w 1034047"/>
                    <a:gd name="connsiteY3" fmla="*/ 874206 h 1503102"/>
                    <a:gd name="connsiteX4" fmla="*/ 721930 w 1034047"/>
                    <a:gd name="connsiteY4" fmla="*/ 1495020 h 1503102"/>
                    <a:gd name="connsiteX0" fmla="*/ 316925 w 1049286"/>
                    <a:gd name="connsiteY0" fmla="*/ 1503102 h 1503102"/>
                    <a:gd name="connsiteX1" fmla="*/ 1926 w 1049286"/>
                    <a:gd name="connsiteY1" fmla="*/ 988380 h 1503102"/>
                    <a:gd name="connsiteX2" fmla="*/ 461960 w 1049286"/>
                    <a:gd name="connsiteY2" fmla="*/ 0 h 1503102"/>
                    <a:gd name="connsiteX3" fmla="*/ 1036993 w 1049286"/>
                    <a:gd name="connsiteY3" fmla="*/ 874206 h 1503102"/>
                    <a:gd name="connsiteX4" fmla="*/ 737169 w 1049286"/>
                    <a:gd name="connsiteY4" fmla="*/ 1495020 h 1503102"/>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936" h="1434920">
                      <a:moveTo>
                        <a:pt x="316575" y="1434920"/>
                      </a:moveTo>
                      <a:cubicBezTo>
                        <a:pt x="186127" y="1313356"/>
                        <a:pt x="-20068" y="1159351"/>
                        <a:pt x="1576" y="920198"/>
                      </a:cubicBezTo>
                      <a:cubicBezTo>
                        <a:pt x="23220" y="681045"/>
                        <a:pt x="453766" y="420451"/>
                        <a:pt x="446440" y="0"/>
                      </a:cubicBezTo>
                      <a:cubicBezTo>
                        <a:pt x="674910" y="255427"/>
                        <a:pt x="981377" y="551466"/>
                        <a:pt x="1036643" y="806024"/>
                      </a:cubicBezTo>
                      <a:cubicBezTo>
                        <a:pt x="1091909" y="1060582"/>
                        <a:pt x="955371" y="1227545"/>
                        <a:pt x="736819" y="1426838"/>
                      </a:cubicBez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91" name="Freeform 90"/>
                <p:cNvSpPr/>
                <p:nvPr/>
              </p:nvSpPr>
              <p:spPr bwMode="gray">
                <a:xfrm>
                  <a:off x="-886112" y="3346900"/>
                  <a:ext cx="408180" cy="466865"/>
                </a:xfrm>
                <a:custGeom>
                  <a:avLst/>
                  <a:gdLst>
                    <a:gd name="connsiteX0" fmla="*/ 312344 w 730519"/>
                    <a:gd name="connsiteY0" fmla="*/ 1257698 h 1257698"/>
                    <a:gd name="connsiteX1" fmla="*/ 845 w 730519"/>
                    <a:gd name="connsiteY1" fmla="*/ 745232 h 1257698"/>
                    <a:gd name="connsiteX2" fmla="*/ 221909 w 730519"/>
                    <a:gd name="connsiteY2" fmla="*/ 443782 h 1257698"/>
                    <a:gd name="connsiteX3" fmla="*/ 272151 w 730519"/>
                    <a:gd name="connsiteY3" fmla="*/ 1654 h 1257698"/>
                    <a:gd name="connsiteX4" fmla="*/ 724326 w 730519"/>
                    <a:gd name="connsiteY4" fmla="*/ 614604 h 1257698"/>
                    <a:gd name="connsiteX5" fmla="*/ 493214 w 730519"/>
                    <a:gd name="connsiteY5" fmla="*/ 1257698 h 1257698"/>
                    <a:gd name="connsiteX0" fmla="*/ 236291 w 654466"/>
                    <a:gd name="connsiteY0" fmla="*/ 1257760 h 1257760"/>
                    <a:gd name="connsiteX1" fmla="*/ 1236 w 654466"/>
                    <a:gd name="connsiteY1" fmla="*/ 826117 h 1257760"/>
                    <a:gd name="connsiteX2" fmla="*/ 145856 w 654466"/>
                    <a:gd name="connsiteY2" fmla="*/ 443844 h 1257760"/>
                    <a:gd name="connsiteX3" fmla="*/ 196098 w 654466"/>
                    <a:gd name="connsiteY3" fmla="*/ 1716 h 1257760"/>
                    <a:gd name="connsiteX4" fmla="*/ 648273 w 654466"/>
                    <a:gd name="connsiteY4" fmla="*/ 614666 h 1257760"/>
                    <a:gd name="connsiteX5" fmla="*/ 417161 w 654466"/>
                    <a:gd name="connsiteY5" fmla="*/ 1257760 h 1257760"/>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2938 h 1212938"/>
                    <a:gd name="connsiteX1" fmla="*/ 1566 w 654796"/>
                    <a:gd name="connsiteY1" fmla="*/ 781295 h 1212938"/>
                    <a:gd name="connsiteX2" fmla="*/ 146186 w 654796"/>
                    <a:gd name="connsiteY2" fmla="*/ 399022 h 1212938"/>
                    <a:gd name="connsiteX3" fmla="*/ 376615 w 654796"/>
                    <a:gd name="connsiteY3" fmla="*/ -1 h 1212938"/>
                    <a:gd name="connsiteX4" fmla="*/ 648603 w 654796"/>
                    <a:gd name="connsiteY4" fmla="*/ 569844 h 1212938"/>
                    <a:gd name="connsiteX5" fmla="*/ 417491 w 654796"/>
                    <a:gd name="connsiteY5" fmla="*/ 1212938 h 1212938"/>
                    <a:gd name="connsiteX0" fmla="*/ 236621 w 654796"/>
                    <a:gd name="connsiteY0" fmla="*/ 1212939 h 1212939"/>
                    <a:gd name="connsiteX1" fmla="*/ 1566 w 654796"/>
                    <a:gd name="connsiteY1" fmla="*/ 781296 h 1212939"/>
                    <a:gd name="connsiteX2" fmla="*/ 146186 w 654796"/>
                    <a:gd name="connsiteY2" fmla="*/ 399023 h 1212939"/>
                    <a:gd name="connsiteX3" fmla="*/ 376615 w 654796"/>
                    <a:gd name="connsiteY3" fmla="*/ 0 h 1212939"/>
                    <a:gd name="connsiteX4" fmla="*/ 648603 w 654796"/>
                    <a:gd name="connsiteY4" fmla="*/ 569845 h 1212939"/>
                    <a:gd name="connsiteX5" fmla="*/ 417491 w 654796"/>
                    <a:gd name="connsiteY5" fmla="*/ 1212939 h 1212939"/>
                    <a:gd name="connsiteX0" fmla="*/ 236621 w 691880"/>
                    <a:gd name="connsiteY0" fmla="*/ 1212939 h 1212939"/>
                    <a:gd name="connsiteX1" fmla="*/ 1566 w 691880"/>
                    <a:gd name="connsiteY1" fmla="*/ 781296 h 1212939"/>
                    <a:gd name="connsiteX2" fmla="*/ 146186 w 691880"/>
                    <a:gd name="connsiteY2" fmla="*/ 399023 h 1212939"/>
                    <a:gd name="connsiteX3" fmla="*/ 376615 w 691880"/>
                    <a:gd name="connsiteY3" fmla="*/ 0 h 1212939"/>
                    <a:gd name="connsiteX4" fmla="*/ 686825 w 691880"/>
                    <a:gd name="connsiteY4" fmla="*/ 666832 h 1212939"/>
                    <a:gd name="connsiteX5" fmla="*/ 417491 w 691880"/>
                    <a:gd name="connsiteY5" fmla="*/ 1212939 h 1212939"/>
                    <a:gd name="connsiteX0" fmla="*/ 236621 w 701317"/>
                    <a:gd name="connsiteY0" fmla="*/ 1212939 h 1212939"/>
                    <a:gd name="connsiteX1" fmla="*/ 1566 w 701317"/>
                    <a:gd name="connsiteY1" fmla="*/ 781296 h 1212939"/>
                    <a:gd name="connsiteX2" fmla="*/ 146186 w 701317"/>
                    <a:gd name="connsiteY2" fmla="*/ 399023 h 1212939"/>
                    <a:gd name="connsiteX3" fmla="*/ 376615 w 701317"/>
                    <a:gd name="connsiteY3" fmla="*/ 0 h 1212939"/>
                    <a:gd name="connsiteX4" fmla="*/ 686825 w 701317"/>
                    <a:gd name="connsiteY4" fmla="*/ 666832 h 1212939"/>
                    <a:gd name="connsiteX5" fmla="*/ 559456 w 701317"/>
                    <a:gd name="connsiteY5" fmla="*/ 1185998 h 1212939"/>
                    <a:gd name="connsiteX0" fmla="*/ 236621 w 739946"/>
                    <a:gd name="connsiteY0" fmla="*/ 1212939 h 1212939"/>
                    <a:gd name="connsiteX1" fmla="*/ 1566 w 739946"/>
                    <a:gd name="connsiteY1" fmla="*/ 781296 h 1212939"/>
                    <a:gd name="connsiteX2" fmla="*/ 146186 w 739946"/>
                    <a:gd name="connsiteY2" fmla="*/ 399023 h 1212939"/>
                    <a:gd name="connsiteX3" fmla="*/ 376615 w 739946"/>
                    <a:gd name="connsiteY3" fmla="*/ 0 h 1212939"/>
                    <a:gd name="connsiteX4" fmla="*/ 730507 w 739946"/>
                    <a:gd name="connsiteY4" fmla="*/ 634503 h 1212939"/>
                    <a:gd name="connsiteX5" fmla="*/ 559456 w 739946"/>
                    <a:gd name="connsiteY5" fmla="*/ 1185998 h 1212939"/>
                    <a:gd name="connsiteX0" fmla="*/ 236572 w 739897"/>
                    <a:gd name="connsiteY0" fmla="*/ 1164445 h 1164445"/>
                    <a:gd name="connsiteX1" fmla="*/ 1517 w 739897"/>
                    <a:gd name="connsiteY1" fmla="*/ 732802 h 1164445"/>
                    <a:gd name="connsiteX2" fmla="*/ 146137 w 739897"/>
                    <a:gd name="connsiteY2" fmla="*/ 350529 h 1164445"/>
                    <a:gd name="connsiteX3" fmla="*/ 354725 w 739897"/>
                    <a:gd name="connsiteY3" fmla="*/ 0 h 1164445"/>
                    <a:gd name="connsiteX4" fmla="*/ 730458 w 739897"/>
                    <a:gd name="connsiteY4" fmla="*/ 586009 h 1164445"/>
                    <a:gd name="connsiteX5" fmla="*/ 559407 w 739897"/>
                    <a:gd name="connsiteY5"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42766 w 746091"/>
                    <a:gd name="connsiteY0" fmla="*/ 1164445 h 1164445"/>
                    <a:gd name="connsiteX1" fmla="*/ 2250 w 746091"/>
                    <a:gd name="connsiteY1" fmla="*/ 700472 h 1164445"/>
                    <a:gd name="connsiteX2" fmla="*/ 360919 w 746091"/>
                    <a:gd name="connsiteY2" fmla="*/ 0 h 1164445"/>
                    <a:gd name="connsiteX3" fmla="*/ 736652 w 746091"/>
                    <a:gd name="connsiteY3" fmla="*/ 586009 h 1164445"/>
                    <a:gd name="connsiteX4" fmla="*/ 565601 w 746091"/>
                    <a:gd name="connsiteY4" fmla="*/ 1137504 h 1164445"/>
                    <a:gd name="connsiteX0" fmla="*/ 182965 w 751812"/>
                    <a:gd name="connsiteY0" fmla="*/ 1148280 h 1148280"/>
                    <a:gd name="connsiteX1" fmla="*/ 7971 w 751812"/>
                    <a:gd name="connsiteY1" fmla="*/ 700472 h 1148280"/>
                    <a:gd name="connsiteX2" fmla="*/ 366640 w 751812"/>
                    <a:gd name="connsiteY2" fmla="*/ 0 h 1148280"/>
                    <a:gd name="connsiteX3" fmla="*/ 742373 w 751812"/>
                    <a:gd name="connsiteY3" fmla="*/ 586009 h 1148280"/>
                    <a:gd name="connsiteX4" fmla="*/ 571322 w 751812"/>
                    <a:gd name="connsiteY4" fmla="*/ 1137504 h 1148280"/>
                    <a:gd name="connsiteX0" fmla="*/ 205889 w 748841"/>
                    <a:gd name="connsiteY0" fmla="*/ 1142892 h 1142892"/>
                    <a:gd name="connsiteX1" fmla="*/ 5000 w 748841"/>
                    <a:gd name="connsiteY1" fmla="*/ 700472 h 1142892"/>
                    <a:gd name="connsiteX2" fmla="*/ 363669 w 748841"/>
                    <a:gd name="connsiteY2" fmla="*/ 0 h 1142892"/>
                    <a:gd name="connsiteX3" fmla="*/ 739402 w 748841"/>
                    <a:gd name="connsiteY3" fmla="*/ 586009 h 1142892"/>
                    <a:gd name="connsiteX4" fmla="*/ 568351 w 748841"/>
                    <a:gd name="connsiteY4" fmla="*/ 1137504 h 1142892"/>
                    <a:gd name="connsiteX0" fmla="*/ 187451 w 751119"/>
                    <a:gd name="connsiteY0" fmla="*/ 1142892 h 1142892"/>
                    <a:gd name="connsiteX1" fmla="*/ 7278 w 751119"/>
                    <a:gd name="connsiteY1" fmla="*/ 700472 h 1142892"/>
                    <a:gd name="connsiteX2" fmla="*/ 365947 w 751119"/>
                    <a:gd name="connsiteY2" fmla="*/ 0 h 1142892"/>
                    <a:gd name="connsiteX3" fmla="*/ 741680 w 751119"/>
                    <a:gd name="connsiteY3" fmla="*/ 586009 h 1142892"/>
                    <a:gd name="connsiteX4" fmla="*/ 570629 w 751119"/>
                    <a:gd name="connsiteY4" fmla="*/ 1137504 h 1142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119" h="1142892">
                      <a:moveTo>
                        <a:pt x="187451" y="1142892"/>
                      </a:moveTo>
                      <a:cubicBezTo>
                        <a:pt x="39237" y="954485"/>
                        <a:pt x="-22471" y="890954"/>
                        <a:pt x="7278" y="700472"/>
                      </a:cubicBezTo>
                      <a:cubicBezTo>
                        <a:pt x="37027" y="509990"/>
                        <a:pt x="320900" y="272324"/>
                        <a:pt x="365947" y="0"/>
                      </a:cubicBezTo>
                      <a:cubicBezTo>
                        <a:pt x="504285" y="195504"/>
                        <a:pt x="704836" y="376668"/>
                        <a:pt x="741680" y="586009"/>
                      </a:cubicBezTo>
                      <a:cubicBezTo>
                        <a:pt x="778524" y="795350"/>
                        <a:pt x="704607" y="920627"/>
                        <a:pt x="570629" y="1137504"/>
                      </a:cubicBez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BBvoice"/>
                    <a:ea typeface="ABBvoice"/>
                    <a:cs typeface="ABBvoice"/>
                  </a:endParaRPr>
                </a:p>
              </p:txBody>
            </p:sp>
            <p:sp>
              <p:nvSpPr>
                <p:cNvPr id="92" name="Freeform 91"/>
                <p:cNvSpPr/>
                <p:nvPr/>
              </p:nvSpPr>
              <p:spPr bwMode="gray">
                <a:xfrm>
                  <a:off x="-820606" y="3535648"/>
                  <a:ext cx="273691" cy="278112"/>
                </a:xfrm>
                <a:custGeom>
                  <a:avLst/>
                  <a:gdLst>
                    <a:gd name="connsiteX0" fmla="*/ 95316 w 319358"/>
                    <a:gd name="connsiteY0" fmla="*/ 870562 h 870562"/>
                    <a:gd name="connsiteX1" fmla="*/ 66 w 319358"/>
                    <a:gd name="connsiteY1" fmla="*/ 483212 h 870562"/>
                    <a:gd name="connsiteX2" fmla="*/ 108016 w 319358"/>
                    <a:gd name="connsiteY2" fmla="*/ 324462 h 870562"/>
                    <a:gd name="connsiteX3" fmla="*/ 165166 w 319358"/>
                    <a:gd name="connsiteY3" fmla="*/ 612 h 870562"/>
                    <a:gd name="connsiteX4" fmla="*/ 317566 w 319358"/>
                    <a:gd name="connsiteY4" fmla="*/ 413362 h 870562"/>
                    <a:gd name="connsiteX5" fmla="*/ 235016 w 319358"/>
                    <a:gd name="connsiteY5" fmla="*/ 864212 h 870562"/>
                    <a:gd name="connsiteX0" fmla="*/ 95316 w 342347"/>
                    <a:gd name="connsiteY0" fmla="*/ 870562 h 870562"/>
                    <a:gd name="connsiteX1" fmla="*/ 66 w 342347"/>
                    <a:gd name="connsiteY1" fmla="*/ 483212 h 870562"/>
                    <a:gd name="connsiteX2" fmla="*/ 108016 w 342347"/>
                    <a:gd name="connsiteY2" fmla="*/ 324462 h 870562"/>
                    <a:gd name="connsiteX3" fmla="*/ 165166 w 342347"/>
                    <a:gd name="connsiteY3" fmla="*/ 612 h 870562"/>
                    <a:gd name="connsiteX4" fmla="*/ 317566 w 342347"/>
                    <a:gd name="connsiteY4" fmla="*/ 413362 h 870562"/>
                    <a:gd name="connsiteX5" fmla="*/ 319044 w 342347"/>
                    <a:gd name="connsiteY5" fmla="*/ 842659 h 870562"/>
                    <a:gd name="connsiteX0" fmla="*/ 95316 w 371927"/>
                    <a:gd name="connsiteY0" fmla="*/ 870562 h 870562"/>
                    <a:gd name="connsiteX1" fmla="*/ 66 w 371927"/>
                    <a:gd name="connsiteY1" fmla="*/ 483212 h 870562"/>
                    <a:gd name="connsiteX2" fmla="*/ 108016 w 371927"/>
                    <a:gd name="connsiteY2" fmla="*/ 324462 h 870562"/>
                    <a:gd name="connsiteX3" fmla="*/ 165166 w 371927"/>
                    <a:gd name="connsiteY3" fmla="*/ 612 h 870562"/>
                    <a:gd name="connsiteX4" fmla="*/ 367982 w 371927"/>
                    <a:gd name="connsiteY4" fmla="*/ 413363 h 870562"/>
                    <a:gd name="connsiteX5" fmla="*/ 319044 w 371927"/>
                    <a:gd name="connsiteY5" fmla="*/ 842659 h 870562"/>
                    <a:gd name="connsiteX0" fmla="*/ 95316 w 371927"/>
                    <a:gd name="connsiteY0" fmla="*/ 827551 h 827551"/>
                    <a:gd name="connsiteX1" fmla="*/ 66 w 371927"/>
                    <a:gd name="connsiteY1" fmla="*/ 440201 h 827551"/>
                    <a:gd name="connsiteX2" fmla="*/ 108016 w 371927"/>
                    <a:gd name="connsiteY2" fmla="*/ 281451 h 827551"/>
                    <a:gd name="connsiteX3" fmla="*/ 205499 w 371927"/>
                    <a:gd name="connsiteY3" fmla="*/ 707 h 827551"/>
                    <a:gd name="connsiteX4" fmla="*/ 367982 w 371927"/>
                    <a:gd name="connsiteY4" fmla="*/ 370352 h 827551"/>
                    <a:gd name="connsiteX5" fmla="*/ 319044 w 371927"/>
                    <a:gd name="connsiteY5" fmla="*/ 799648 h 827551"/>
                    <a:gd name="connsiteX0" fmla="*/ 98435 w 375046"/>
                    <a:gd name="connsiteY0" fmla="*/ 826844 h 826844"/>
                    <a:gd name="connsiteX1" fmla="*/ 3185 w 375046"/>
                    <a:gd name="connsiteY1" fmla="*/ 439494 h 826844"/>
                    <a:gd name="connsiteX2" fmla="*/ 208618 w 375046"/>
                    <a:gd name="connsiteY2" fmla="*/ 0 h 826844"/>
                    <a:gd name="connsiteX3" fmla="*/ 371101 w 375046"/>
                    <a:gd name="connsiteY3" fmla="*/ 369645 h 826844"/>
                    <a:gd name="connsiteX4" fmla="*/ 322163 w 375046"/>
                    <a:gd name="connsiteY4" fmla="*/ 798941 h 826844"/>
                    <a:gd name="connsiteX0" fmla="*/ 47224 w 323835"/>
                    <a:gd name="connsiteY0" fmla="*/ 826845 h 826845"/>
                    <a:gd name="connsiteX1" fmla="*/ 9112 w 323835"/>
                    <a:gd name="connsiteY1" fmla="*/ 374836 h 826845"/>
                    <a:gd name="connsiteX2" fmla="*/ 157407 w 323835"/>
                    <a:gd name="connsiteY2" fmla="*/ 1 h 826845"/>
                    <a:gd name="connsiteX3" fmla="*/ 319890 w 323835"/>
                    <a:gd name="connsiteY3" fmla="*/ 369646 h 826845"/>
                    <a:gd name="connsiteX4" fmla="*/ 270952 w 323835"/>
                    <a:gd name="connsiteY4" fmla="*/ 798942 h 826845"/>
                    <a:gd name="connsiteX0" fmla="*/ 48467 w 325078"/>
                    <a:gd name="connsiteY0" fmla="*/ 810682 h 810682"/>
                    <a:gd name="connsiteX1" fmla="*/ 10355 w 325078"/>
                    <a:gd name="connsiteY1" fmla="*/ 358673 h 810682"/>
                    <a:gd name="connsiteX2" fmla="*/ 175456 w 325078"/>
                    <a:gd name="connsiteY2" fmla="*/ 3 h 810682"/>
                    <a:gd name="connsiteX3" fmla="*/ 321133 w 325078"/>
                    <a:gd name="connsiteY3" fmla="*/ 353483 h 810682"/>
                    <a:gd name="connsiteX4" fmla="*/ 272195 w 325078"/>
                    <a:gd name="connsiteY4" fmla="*/ 782779 h 810682"/>
                    <a:gd name="connsiteX0" fmla="*/ 55744 w 322272"/>
                    <a:gd name="connsiteY0" fmla="*/ 805294 h 805294"/>
                    <a:gd name="connsiteX1" fmla="*/ 7549 w 322272"/>
                    <a:gd name="connsiteY1" fmla="*/ 358673 h 805294"/>
                    <a:gd name="connsiteX2" fmla="*/ 172650 w 322272"/>
                    <a:gd name="connsiteY2" fmla="*/ 3 h 805294"/>
                    <a:gd name="connsiteX3" fmla="*/ 318327 w 322272"/>
                    <a:gd name="connsiteY3" fmla="*/ 353483 h 805294"/>
                    <a:gd name="connsiteX4" fmla="*/ 269389 w 322272"/>
                    <a:gd name="connsiteY4" fmla="*/ 782779 h 805294"/>
                    <a:gd name="connsiteX0" fmla="*/ 55744 w 321540"/>
                    <a:gd name="connsiteY0" fmla="*/ 805294 h 805294"/>
                    <a:gd name="connsiteX1" fmla="*/ 7549 w 321540"/>
                    <a:gd name="connsiteY1" fmla="*/ 358673 h 805294"/>
                    <a:gd name="connsiteX2" fmla="*/ 172650 w 321540"/>
                    <a:gd name="connsiteY2" fmla="*/ 3 h 805294"/>
                    <a:gd name="connsiteX3" fmla="*/ 318327 w 321540"/>
                    <a:gd name="connsiteY3" fmla="*/ 353483 h 805294"/>
                    <a:gd name="connsiteX4" fmla="*/ 262564 w 321540"/>
                    <a:gd name="connsiteY4" fmla="*/ 798944 h 805294"/>
                    <a:gd name="connsiteX0" fmla="*/ 55744 w 321540"/>
                    <a:gd name="connsiteY0" fmla="*/ 789129 h 798944"/>
                    <a:gd name="connsiteX1" fmla="*/ 7549 w 321540"/>
                    <a:gd name="connsiteY1" fmla="*/ 358673 h 798944"/>
                    <a:gd name="connsiteX2" fmla="*/ 172650 w 321540"/>
                    <a:gd name="connsiteY2" fmla="*/ 3 h 798944"/>
                    <a:gd name="connsiteX3" fmla="*/ 318327 w 321540"/>
                    <a:gd name="connsiteY3" fmla="*/ 353483 h 798944"/>
                    <a:gd name="connsiteX4" fmla="*/ 262564 w 321540"/>
                    <a:gd name="connsiteY4" fmla="*/ 798944 h 798944"/>
                    <a:gd name="connsiteX0" fmla="*/ 55744 w 322748"/>
                    <a:gd name="connsiteY0" fmla="*/ 789129 h 789129"/>
                    <a:gd name="connsiteX1" fmla="*/ 7549 w 322748"/>
                    <a:gd name="connsiteY1" fmla="*/ 358673 h 789129"/>
                    <a:gd name="connsiteX2" fmla="*/ 172650 w 322748"/>
                    <a:gd name="connsiteY2" fmla="*/ 3 h 789129"/>
                    <a:gd name="connsiteX3" fmla="*/ 318327 w 322748"/>
                    <a:gd name="connsiteY3" fmla="*/ 353483 h 789129"/>
                    <a:gd name="connsiteX4" fmla="*/ 272801 w 322748"/>
                    <a:gd name="connsiteY4" fmla="*/ 782779 h 789129"/>
                    <a:gd name="connsiteX0" fmla="*/ 61546 w 328550"/>
                    <a:gd name="connsiteY0" fmla="*/ 789600 h 789600"/>
                    <a:gd name="connsiteX1" fmla="*/ 6527 w 328550"/>
                    <a:gd name="connsiteY1" fmla="*/ 426496 h 789600"/>
                    <a:gd name="connsiteX2" fmla="*/ 178452 w 328550"/>
                    <a:gd name="connsiteY2" fmla="*/ 474 h 789600"/>
                    <a:gd name="connsiteX3" fmla="*/ 324129 w 328550"/>
                    <a:gd name="connsiteY3" fmla="*/ 353954 h 789600"/>
                    <a:gd name="connsiteX4" fmla="*/ 278603 w 328550"/>
                    <a:gd name="connsiteY4" fmla="*/ 783250 h 789600"/>
                    <a:gd name="connsiteX0" fmla="*/ 61546 w 331487"/>
                    <a:gd name="connsiteY0" fmla="*/ 789171 h 789171"/>
                    <a:gd name="connsiteX1" fmla="*/ 6527 w 331487"/>
                    <a:gd name="connsiteY1" fmla="*/ 426067 h 789171"/>
                    <a:gd name="connsiteX2" fmla="*/ 178452 w 331487"/>
                    <a:gd name="connsiteY2" fmla="*/ 45 h 789171"/>
                    <a:gd name="connsiteX3" fmla="*/ 327542 w 331487"/>
                    <a:gd name="connsiteY3" fmla="*/ 402018 h 789171"/>
                    <a:gd name="connsiteX4" fmla="*/ 278603 w 331487"/>
                    <a:gd name="connsiteY4" fmla="*/ 782821 h 789171"/>
                    <a:gd name="connsiteX0" fmla="*/ 61895 w 331836"/>
                    <a:gd name="connsiteY0" fmla="*/ 724528 h 724528"/>
                    <a:gd name="connsiteX1" fmla="*/ 6876 w 331836"/>
                    <a:gd name="connsiteY1" fmla="*/ 361424 h 724528"/>
                    <a:gd name="connsiteX2" fmla="*/ 183919 w 331836"/>
                    <a:gd name="connsiteY2" fmla="*/ 61 h 724528"/>
                    <a:gd name="connsiteX3" fmla="*/ 327891 w 331836"/>
                    <a:gd name="connsiteY3" fmla="*/ 337375 h 724528"/>
                    <a:gd name="connsiteX4" fmla="*/ 278952 w 331836"/>
                    <a:gd name="connsiteY4" fmla="*/ 718178 h 72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36" h="724528">
                      <a:moveTo>
                        <a:pt x="61895" y="724528"/>
                      </a:moveTo>
                      <a:cubicBezTo>
                        <a:pt x="13211" y="576361"/>
                        <a:pt x="-13461" y="482169"/>
                        <a:pt x="6876" y="361424"/>
                      </a:cubicBezTo>
                      <a:cubicBezTo>
                        <a:pt x="27213" y="240680"/>
                        <a:pt x="130417" y="4069"/>
                        <a:pt x="183919" y="61"/>
                      </a:cubicBezTo>
                      <a:cubicBezTo>
                        <a:pt x="237422" y="-3947"/>
                        <a:pt x="316249" y="193442"/>
                        <a:pt x="327891" y="337375"/>
                      </a:cubicBezTo>
                      <a:cubicBezTo>
                        <a:pt x="339533" y="481308"/>
                        <a:pt x="326048" y="564719"/>
                        <a:pt x="278952" y="718178"/>
                      </a:cubicBez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BBvoice"/>
                    <a:ea typeface="ABBvoice"/>
                    <a:cs typeface="ABBvoice"/>
                  </a:endParaRPr>
                </a:p>
              </p:txBody>
            </p:sp>
          </p:grpSp>
        </p:grpSp>
      </p:grpSp>
      <p:grpSp>
        <p:nvGrpSpPr>
          <p:cNvPr id="11" name="Group 10"/>
          <p:cNvGrpSpPr/>
          <p:nvPr/>
        </p:nvGrpSpPr>
        <p:grpSpPr bwMode="gray">
          <a:xfrm>
            <a:off x="345291" y="3509948"/>
            <a:ext cx="2049009" cy="720000"/>
            <a:chOff x="345291" y="3509948"/>
            <a:chExt cx="2049009" cy="720000"/>
          </a:xfrm>
        </p:grpSpPr>
        <p:sp>
          <p:nvSpPr>
            <p:cNvPr id="10" name="Text Box 241"/>
            <p:cNvSpPr txBox="1">
              <a:spLocks noChangeArrowheads="1"/>
            </p:cNvSpPr>
            <p:nvPr/>
          </p:nvSpPr>
          <p:spPr bwMode="gray">
            <a:xfrm>
              <a:off x="929667" y="3509948"/>
              <a:ext cx="1464633" cy="720000"/>
            </a:xfrm>
            <a:prstGeom prst="rect">
              <a:avLst/>
            </a:prstGeom>
            <a:noFill/>
            <a:ln w="19050">
              <a:noFill/>
            </a:ln>
            <a:extLst/>
          </p:spPr>
          <p:txBody>
            <a:bodyPr vert="horz" lIns="108000" tIns="72000" rIns="72000" bIns="72000" rtlCol="0" anchor="ctr" anchorCtr="0">
              <a:noAutofit/>
            </a:bodyPr>
            <a:lstStyle>
              <a:defPPr>
                <a:defRPr lang="en-US"/>
              </a:defPPr>
              <a:lvl1pPr indent="0" algn="r">
                <a:spcBef>
                  <a:spcPts val="0"/>
                </a:spcBef>
                <a:buFont typeface="Arial" panose="020B0604020202020204" pitchFamily="34" charset="0"/>
                <a:buNone/>
                <a:defRPr sz="28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2000" b="0" i="0" u="none" strike="noStrike" kern="1200" cap="none" spc="0" normalizeH="0" baseline="0" noProof="0" dirty="0" err="1">
                  <a:ln>
                    <a:noFill/>
                  </a:ln>
                  <a:solidFill>
                    <a:srgbClr val="000000"/>
                  </a:solidFill>
                  <a:effectLst/>
                  <a:uLnTx/>
                  <a:uFillTx/>
                  <a:latin typeface="ABBvoice"/>
                  <a:ea typeface="ABBvoice"/>
                  <a:cs typeface="ABBvoice"/>
                </a:rPr>
                <a:t>Magnos</a:t>
              </a:r>
              <a:endParaRPr kumimoji="0" lang="en-US" altLang="en-US" sz="2000" b="0" i="0" u="none" strike="noStrike" kern="1200" cap="none" spc="0" normalizeH="0" baseline="0" noProof="0" dirty="0">
                <a:ln>
                  <a:noFill/>
                </a:ln>
                <a:solidFill>
                  <a:srgbClr val="000000"/>
                </a:solidFill>
                <a:effectLst/>
                <a:uLnTx/>
                <a:uFillTx/>
                <a:latin typeface="ABBvoice"/>
                <a:ea typeface="ABBvoice"/>
                <a:cs typeface="ABBvoice"/>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200" b="1" i="0" u="none" strike="noStrike" kern="1200" cap="none" spc="0" normalizeH="0" baseline="0" noProof="0" dirty="0">
                  <a:ln>
                    <a:noFill/>
                  </a:ln>
                  <a:solidFill>
                    <a:srgbClr val="D90000"/>
                  </a:solidFill>
                  <a:effectLst/>
                  <a:uLnTx/>
                  <a:uFillTx/>
                  <a:latin typeface="ABBvoice"/>
                  <a:ea typeface="ABBvoice"/>
                  <a:cs typeface="ABBvoice"/>
                </a:rPr>
                <a:t>Paramagnetic oxygen</a:t>
              </a:r>
            </a:p>
          </p:txBody>
        </p:sp>
        <p:grpSp>
          <p:nvGrpSpPr>
            <p:cNvPr id="21" name="Group 20"/>
            <p:cNvGrpSpPr/>
            <p:nvPr/>
          </p:nvGrpSpPr>
          <p:grpSpPr bwMode="gray">
            <a:xfrm>
              <a:off x="345291" y="3585380"/>
              <a:ext cx="569136" cy="569136"/>
              <a:chOff x="373797" y="3544881"/>
              <a:chExt cx="650134" cy="650134"/>
            </a:xfrm>
          </p:grpSpPr>
          <p:sp>
            <p:nvSpPr>
              <p:cNvPr id="124" name="Text Box 240"/>
              <p:cNvSpPr txBox="1">
                <a:spLocks noChangeArrowheads="1"/>
              </p:cNvSpPr>
              <p:nvPr/>
            </p:nvSpPr>
            <p:spPr bwMode="gray">
              <a:xfrm>
                <a:off x="373797" y="3544881"/>
                <a:ext cx="650134" cy="650134"/>
              </a:xfrm>
              <a:prstGeom prst="ellipse">
                <a:avLst/>
              </a:prstGeom>
              <a:solidFill>
                <a:schemeClr val="tx2"/>
              </a:solidFill>
              <a:ln w="19050">
                <a:solidFill>
                  <a:schemeClr val="tx2"/>
                </a:solid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94" name="Group 93"/>
              <p:cNvGrpSpPr/>
              <p:nvPr/>
            </p:nvGrpSpPr>
            <p:grpSpPr bwMode="gray">
              <a:xfrm>
                <a:off x="411143" y="3781344"/>
                <a:ext cx="575442" cy="177208"/>
                <a:chOff x="5561561" y="3580012"/>
                <a:chExt cx="1068879" cy="329166"/>
              </a:xfrm>
            </p:grpSpPr>
            <p:sp>
              <p:nvSpPr>
                <p:cNvPr id="95" name="Oval 94"/>
                <p:cNvSpPr/>
                <p:nvPr/>
              </p:nvSpPr>
              <p:spPr bwMode="gray">
                <a:xfrm>
                  <a:off x="5561561" y="3580012"/>
                  <a:ext cx="329166" cy="32916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96" name="Oval 95"/>
                <p:cNvSpPr/>
                <p:nvPr/>
              </p:nvSpPr>
              <p:spPr bwMode="gray">
                <a:xfrm>
                  <a:off x="6301274" y="3580012"/>
                  <a:ext cx="329166" cy="32916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97" name="Straight Connector 96"/>
                <p:cNvCxnSpPr>
                  <a:stCxn id="95" idx="6"/>
                  <a:endCxn id="96" idx="2"/>
                </p:cNvCxnSpPr>
                <p:nvPr/>
              </p:nvCxnSpPr>
              <p:spPr bwMode="gray">
                <a:xfrm>
                  <a:off x="5890727" y="3744595"/>
                  <a:ext cx="41054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bwMode="gray">
                <a:xfrm>
                  <a:off x="6062617" y="3669857"/>
                  <a:ext cx="66766" cy="14947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grpSp>
      <p:grpSp>
        <p:nvGrpSpPr>
          <p:cNvPr id="8" name="Group 7"/>
          <p:cNvGrpSpPr/>
          <p:nvPr/>
        </p:nvGrpSpPr>
        <p:grpSpPr bwMode="gray">
          <a:xfrm>
            <a:off x="345291" y="2668820"/>
            <a:ext cx="2049009" cy="720000"/>
            <a:chOff x="345291" y="2668820"/>
            <a:chExt cx="2049009" cy="720000"/>
          </a:xfrm>
        </p:grpSpPr>
        <p:sp>
          <p:nvSpPr>
            <p:cNvPr id="88" name="Text Box 240"/>
            <p:cNvSpPr txBox="1">
              <a:spLocks noChangeArrowheads="1"/>
            </p:cNvSpPr>
            <p:nvPr/>
          </p:nvSpPr>
          <p:spPr bwMode="gray">
            <a:xfrm>
              <a:off x="929667" y="2668820"/>
              <a:ext cx="1464633" cy="720000"/>
            </a:xfrm>
            <a:prstGeom prst="rect">
              <a:avLst/>
            </a:prstGeom>
            <a:noFill/>
            <a:ln w="19050">
              <a:noFill/>
            </a:ln>
            <a:extLst/>
          </p:spPr>
          <p:txBody>
            <a:bodyPr vert="horz" lIns="108000" tIns="72000" rIns="72000" bIns="72000" rtlCol="0" anchor="ctr" anchorCtr="0">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2000" b="0" i="0" u="none" strike="noStrike" kern="1200" cap="none" spc="0" normalizeH="0" baseline="0" noProof="0" dirty="0" err="1">
                  <a:ln>
                    <a:noFill/>
                  </a:ln>
                  <a:solidFill>
                    <a:srgbClr val="000000"/>
                  </a:solidFill>
                  <a:effectLst/>
                  <a:uLnTx/>
                  <a:uFillTx/>
                  <a:latin typeface="ABBvoice"/>
                  <a:ea typeface="ABBvoice"/>
                  <a:cs typeface="ABBvoice"/>
                </a:rPr>
                <a:t>Limas</a:t>
              </a:r>
              <a:endParaRPr kumimoji="0" lang="en-US" altLang="en-US" sz="2000" b="0" i="0" u="none" strike="noStrike" kern="1200" cap="none" spc="0" normalizeH="0" baseline="0" noProof="0" dirty="0">
                <a:ln>
                  <a:noFill/>
                </a:ln>
                <a:solidFill>
                  <a:srgbClr val="000000"/>
                </a:solidFill>
                <a:effectLst/>
                <a:uLnTx/>
                <a:uFillTx/>
                <a:latin typeface="ABBvoice"/>
                <a:ea typeface="ABBvoice"/>
                <a:cs typeface="ABBvoice"/>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200" b="1" i="0" u="none" strike="noStrike" kern="1200" cap="none" spc="0" normalizeH="0" baseline="0" noProof="0" dirty="0">
                  <a:ln>
                    <a:noFill/>
                  </a:ln>
                  <a:solidFill>
                    <a:srgbClr val="D90000"/>
                  </a:solidFill>
                  <a:effectLst/>
                  <a:uLnTx/>
                  <a:uFillTx/>
                  <a:latin typeface="ABBvoice"/>
                  <a:ea typeface="ABBvoice"/>
                  <a:cs typeface="ABBvoice"/>
                </a:rPr>
                <a:t>UV photometer</a:t>
              </a:r>
            </a:p>
          </p:txBody>
        </p:sp>
        <p:grpSp>
          <p:nvGrpSpPr>
            <p:cNvPr id="20" name="Group 19"/>
            <p:cNvGrpSpPr/>
            <p:nvPr/>
          </p:nvGrpSpPr>
          <p:grpSpPr bwMode="gray">
            <a:xfrm>
              <a:off x="345291" y="2744252"/>
              <a:ext cx="569136" cy="569136"/>
              <a:chOff x="373797" y="2703753"/>
              <a:chExt cx="650134" cy="650134"/>
            </a:xfrm>
          </p:grpSpPr>
          <p:sp>
            <p:nvSpPr>
              <p:cNvPr id="123" name="Text Box 240"/>
              <p:cNvSpPr txBox="1">
                <a:spLocks noChangeArrowheads="1"/>
              </p:cNvSpPr>
              <p:nvPr/>
            </p:nvSpPr>
            <p:spPr bwMode="gray">
              <a:xfrm>
                <a:off x="373797" y="2703753"/>
                <a:ext cx="650134" cy="650134"/>
              </a:xfrm>
              <a:prstGeom prst="ellipse">
                <a:avLst/>
              </a:prstGeom>
              <a:solidFill>
                <a:schemeClr val="tx2"/>
              </a:solidFill>
              <a:ln w="19050">
                <a:solidFill>
                  <a:schemeClr val="tx2"/>
                </a:solid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99" name="Group 98"/>
              <p:cNvGrpSpPr/>
              <p:nvPr/>
            </p:nvGrpSpPr>
            <p:grpSpPr bwMode="gray">
              <a:xfrm>
                <a:off x="457404" y="2800670"/>
                <a:ext cx="482920" cy="456300"/>
                <a:chOff x="-1383434" y="2706826"/>
                <a:chExt cx="355290" cy="335706"/>
              </a:xfrm>
            </p:grpSpPr>
            <p:grpSp>
              <p:nvGrpSpPr>
                <p:cNvPr id="100" name="Group 99"/>
                <p:cNvGrpSpPr/>
                <p:nvPr/>
              </p:nvGrpSpPr>
              <p:grpSpPr bwMode="gray">
                <a:xfrm rot="5400000">
                  <a:off x="-1373642" y="2697034"/>
                  <a:ext cx="335706" cy="355290"/>
                  <a:chOff x="7048367" y="2836970"/>
                  <a:chExt cx="571234" cy="604559"/>
                </a:xfrm>
                <a:noFill/>
              </p:grpSpPr>
              <p:sp>
                <p:nvSpPr>
                  <p:cNvPr id="104" name="Rectangle 17"/>
                  <p:cNvSpPr/>
                  <p:nvPr/>
                </p:nvSpPr>
                <p:spPr bwMode="gray">
                  <a:xfrm>
                    <a:off x="7231075" y="3337062"/>
                    <a:ext cx="195681" cy="104467"/>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05" name="Rectangle 16"/>
                  <p:cNvSpPr/>
                  <p:nvPr/>
                </p:nvSpPr>
                <p:spPr bwMode="gray">
                  <a:xfrm>
                    <a:off x="7175632" y="2976185"/>
                    <a:ext cx="306567" cy="360876"/>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106" name="Straight Connector 105"/>
                  <p:cNvCxnSpPr/>
                  <p:nvPr/>
                </p:nvCxnSpPr>
                <p:spPr bwMode="gray">
                  <a:xfrm flipH="1">
                    <a:off x="7048367" y="3131232"/>
                    <a:ext cx="80655"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07" name="Straight Connector 106"/>
                  <p:cNvCxnSpPr/>
                  <p:nvPr/>
                </p:nvCxnSpPr>
                <p:spPr bwMode="gray">
                  <a:xfrm flipH="1">
                    <a:off x="7538946" y="3131232"/>
                    <a:ext cx="80655"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08" name="Straight Connector 107"/>
                  <p:cNvCxnSpPr/>
                  <p:nvPr/>
                </p:nvCxnSpPr>
                <p:spPr bwMode="gray">
                  <a:xfrm rot="18703489" flipH="1">
                    <a:off x="7462663" y="2941708"/>
                    <a:ext cx="80655"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09" name="Straight Connector 108"/>
                  <p:cNvCxnSpPr/>
                  <p:nvPr/>
                </p:nvCxnSpPr>
                <p:spPr bwMode="gray">
                  <a:xfrm rot="2896511">
                    <a:off x="7124651" y="2941708"/>
                    <a:ext cx="80655"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10" name="Straight Connector 109"/>
                  <p:cNvCxnSpPr/>
                  <p:nvPr/>
                </p:nvCxnSpPr>
                <p:spPr bwMode="gray">
                  <a:xfrm rot="5400000">
                    <a:off x="7293657" y="2877298"/>
                    <a:ext cx="80655"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01" name="Group 100"/>
                <p:cNvGrpSpPr/>
                <p:nvPr/>
              </p:nvGrpSpPr>
              <p:grpSpPr bwMode="gray">
                <a:xfrm>
                  <a:off x="-1260274" y="2839530"/>
                  <a:ext cx="111063" cy="64198"/>
                  <a:chOff x="-2190753" y="2557735"/>
                  <a:chExt cx="719458" cy="415868"/>
                </a:xfrm>
              </p:grpSpPr>
              <p:sp>
                <p:nvSpPr>
                  <p:cNvPr id="102" name="Freeform 101"/>
                  <p:cNvSpPr/>
                  <p:nvPr/>
                </p:nvSpPr>
                <p:spPr bwMode="gray">
                  <a:xfrm>
                    <a:off x="-1837055" y="2557735"/>
                    <a:ext cx="365760" cy="409575"/>
                  </a:xfrm>
                  <a:custGeom>
                    <a:avLst/>
                    <a:gdLst>
                      <a:gd name="connsiteX0" fmla="*/ 0 w 365760"/>
                      <a:gd name="connsiteY0" fmla="*/ 0 h 409575"/>
                      <a:gd name="connsiteX1" fmla="*/ 70485 w 365760"/>
                      <a:gd name="connsiteY1" fmla="*/ 0 h 409575"/>
                      <a:gd name="connsiteX2" fmla="*/ 184785 w 365760"/>
                      <a:gd name="connsiteY2" fmla="*/ 340995 h 409575"/>
                      <a:gd name="connsiteX3" fmla="*/ 300990 w 365760"/>
                      <a:gd name="connsiteY3" fmla="*/ 0 h 409575"/>
                      <a:gd name="connsiteX4" fmla="*/ 365760 w 365760"/>
                      <a:gd name="connsiteY4" fmla="*/ 0 h 409575"/>
                      <a:gd name="connsiteX5" fmla="*/ 217170 w 365760"/>
                      <a:gd name="connsiteY5" fmla="*/ 409575 h 409575"/>
                      <a:gd name="connsiteX6" fmla="*/ 150495 w 365760"/>
                      <a:gd name="connsiteY6" fmla="*/ 409575 h 409575"/>
                      <a:gd name="connsiteX7" fmla="*/ 0 w 365760"/>
                      <a:gd name="connsiteY7" fmla="*/ 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60" h="409575">
                        <a:moveTo>
                          <a:pt x="0" y="0"/>
                        </a:moveTo>
                        <a:lnTo>
                          <a:pt x="70485" y="0"/>
                        </a:lnTo>
                        <a:lnTo>
                          <a:pt x="184785" y="340995"/>
                        </a:lnTo>
                        <a:lnTo>
                          <a:pt x="300990" y="0"/>
                        </a:lnTo>
                        <a:lnTo>
                          <a:pt x="365760" y="0"/>
                        </a:lnTo>
                        <a:lnTo>
                          <a:pt x="217170" y="409575"/>
                        </a:lnTo>
                        <a:lnTo>
                          <a:pt x="150495" y="409575"/>
                        </a:lnTo>
                        <a:lnTo>
                          <a:pt x="0" y="0"/>
                        </a:lnTo>
                        <a:close/>
                      </a:path>
                    </a:pathLst>
                  </a:cu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03" name="Flowchart: Delay 121"/>
                  <p:cNvSpPr/>
                  <p:nvPr/>
                </p:nvSpPr>
                <p:spPr bwMode="gray">
                  <a:xfrm rot="16200000" flipH="1">
                    <a:off x="-2233462" y="2601027"/>
                    <a:ext cx="415285" cy="329867"/>
                  </a:xfrm>
                  <a:custGeom>
                    <a:avLst/>
                    <a:gdLst/>
                    <a:ahLst/>
                    <a:cxnLst/>
                    <a:rect l="l" t="t" r="r" b="b"/>
                    <a:pathLst>
                      <a:path w="415286" h="329868">
                        <a:moveTo>
                          <a:pt x="0" y="0"/>
                        </a:moveTo>
                        <a:lnTo>
                          <a:pt x="0" y="58254"/>
                        </a:lnTo>
                        <a:lnTo>
                          <a:pt x="35612" y="58254"/>
                        </a:lnTo>
                        <a:lnTo>
                          <a:pt x="35612" y="58253"/>
                        </a:lnTo>
                        <a:lnTo>
                          <a:pt x="242796" y="58253"/>
                        </a:lnTo>
                        <a:cubicBezTo>
                          <a:pt x="307575" y="58253"/>
                          <a:pt x="360154" y="105927"/>
                          <a:pt x="360510" y="164934"/>
                        </a:cubicBezTo>
                        <a:cubicBezTo>
                          <a:pt x="360154" y="223941"/>
                          <a:pt x="307575" y="271615"/>
                          <a:pt x="242796" y="271615"/>
                        </a:cubicBezTo>
                        <a:lnTo>
                          <a:pt x="35612" y="271615"/>
                        </a:lnTo>
                        <a:lnTo>
                          <a:pt x="35612" y="271614"/>
                        </a:lnTo>
                        <a:lnTo>
                          <a:pt x="0" y="271614"/>
                        </a:lnTo>
                        <a:lnTo>
                          <a:pt x="0" y="329868"/>
                        </a:lnTo>
                        <a:lnTo>
                          <a:pt x="264652" y="329868"/>
                        </a:lnTo>
                        <a:cubicBezTo>
                          <a:pt x="347267" y="329868"/>
                          <a:pt x="414348" y="256627"/>
                          <a:pt x="414937" y="165886"/>
                        </a:cubicBezTo>
                        <a:lnTo>
                          <a:pt x="415286" y="165886"/>
                        </a:lnTo>
                        <a:cubicBezTo>
                          <a:pt x="415286" y="165568"/>
                          <a:pt x="415285" y="165251"/>
                          <a:pt x="415112" y="164934"/>
                        </a:cubicBezTo>
                        <a:cubicBezTo>
                          <a:pt x="415285" y="164618"/>
                          <a:pt x="415286" y="164300"/>
                          <a:pt x="415286" y="163982"/>
                        </a:cubicBezTo>
                        <a:lnTo>
                          <a:pt x="414937" y="163982"/>
                        </a:lnTo>
                        <a:cubicBezTo>
                          <a:pt x="414348" y="73241"/>
                          <a:pt x="347267" y="0"/>
                          <a:pt x="264652" y="0"/>
                        </a:cubicBezTo>
                        <a:close/>
                      </a:path>
                    </a:pathLst>
                  </a:cu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grpSp>
      <p:grpSp>
        <p:nvGrpSpPr>
          <p:cNvPr id="7" name="Group 6"/>
          <p:cNvGrpSpPr/>
          <p:nvPr/>
        </p:nvGrpSpPr>
        <p:grpSpPr bwMode="gray">
          <a:xfrm>
            <a:off x="345291" y="1827692"/>
            <a:ext cx="2049009" cy="720000"/>
            <a:chOff x="345291" y="1827692"/>
            <a:chExt cx="2049009" cy="720000"/>
          </a:xfrm>
        </p:grpSpPr>
        <p:sp>
          <p:nvSpPr>
            <p:cNvPr id="9" name="Text Box 240"/>
            <p:cNvSpPr txBox="1">
              <a:spLocks noChangeArrowheads="1"/>
            </p:cNvSpPr>
            <p:nvPr/>
          </p:nvSpPr>
          <p:spPr bwMode="gray">
            <a:xfrm>
              <a:off x="929667" y="1827692"/>
              <a:ext cx="1464633" cy="720000"/>
            </a:xfrm>
            <a:prstGeom prst="rect">
              <a:avLst/>
            </a:prstGeom>
            <a:noFill/>
            <a:ln w="19050">
              <a:noFill/>
            </a:ln>
            <a:extLst/>
          </p:spPr>
          <p:txBody>
            <a:bodyPr vert="horz" lIns="108000" tIns="72000" rIns="72000" bIns="72000" rtlCol="0" anchor="ctr" anchorCtr="0">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2000" b="0" i="0" u="none" strike="noStrike" kern="1200" cap="none" spc="0" normalizeH="0" baseline="0" noProof="0" dirty="0" err="1">
                  <a:ln>
                    <a:noFill/>
                  </a:ln>
                  <a:solidFill>
                    <a:srgbClr val="000000"/>
                  </a:solidFill>
                  <a:effectLst/>
                  <a:uLnTx/>
                  <a:uFillTx/>
                  <a:latin typeface="ABBvoice"/>
                  <a:ea typeface="ABBvoice"/>
                  <a:cs typeface="ABBvoice"/>
                </a:rPr>
                <a:t>Uras</a:t>
              </a:r>
              <a:endParaRPr kumimoji="0" lang="en-US" altLang="en-US" sz="2000" b="0" i="0" u="none" strike="noStrike" kern="1200" cap="none" spc="0" normalizeH="0" baseline="0" noProof="0" dirty="0">
                <a:ln>
                  <a:noFill/>
                </a:ln>
                <a:solidFill>
                  <a:srgbClr val="000000"/>
                </a:solidFill>
                <a:effectLst/>
                <a:uLnTx/>
                <a:uFillTx/>
                <a:latin typeface="ABBvoice"/>
                <a:ea typeface="ABBvoice"/>
                <a:cs typeface="ABBvoice"/>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200" b="1" i="0" u="none" strike="noStrike" kern="1200" cap="none" spc="0" normalizeH="0" baseline="0" noProof="0" dirty="0">
                  <a:ln>
                    <a:noFill/>
                  </a:ln>
                  <a:solidFill>
                    <a:srgbClr val="D90000"/>
                  </a:solidFill>
                  <a:effectLst/>
                  <a:uLnTx/>
                  <a:uFillTx/>
                  <a:latin typeface="ABBvoice"/>
                  <a:ea typeface="ABBvoice"/>
                  <a:cs typeface="ABBvoice"/>
                </a:rPr>
                <a:t>IR photometer</a:t>
              </a:r>
            </a:p>
          </p:txBody>
        </p:sp>
        <p:grpSp>
          <p:nvGrpSpPr>
            <p:cNvPr id="19" name="Group 18"/>
            <p:cNvGrpSpPr/>
            <p:nvPr/>
          </p:nvGrpSpPr>
          <p:grpSpPr bwMode="gray">
            <a:xfrm>
              <a:off x="345291" y="1903124"/>
              <a:ext cx="569136" cy="569136"/>
              <a:chOff x="373797" y="1862625"/>
              <a:chExt cx="650134" cy="650134"/>
            </a:xfrm>
          </p:grpSpPr>
          <p:sp>
            <p:nvSpPr>
              <p:cNvPr id="122" name="Text Box 240"/>
              <p:cNvSpPr txBox="1">
                <a:spLocks noChangeArrowheads="1"/>
              </p:cNvSpPr>
              <p:nvPr/>
            </p:nvSpPr>
            <p:spPr bwMode="gray">
              <a:xfrm>
                <a:off x="373797" y="1862625"/>
                <a:ext cx="650134" cy="650134"/>
              </a:xfrm>
              <a:prstGeom prst="ellipse">
                <a:avLst/>
              </a:prstGeom>
              <a:solidFill>
                <a:schemeClr val="tx2"/>
              </a:solidFill>
              <a:ln w="19050">
                <a:solidFill>
                  <a:schemeClr val="tx2"/>
                </a:solid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111" name="Group 110"/>
              <p:cNvGrpSpPr/>
              <p:nvPr/>
            </p:nvGrpSpPr>
            <p:grpSpPr bwMode="gray">
              <a:xfrm>
                <a:off x="457404" y="1959542"/>
                <a:ext cx="482920" cy="456300"/>
                <a:chOff x="-640260" y="1957916"/>
                <a:chExt cx="355290" cy="335706"/>
              </a:xfrm>
            </p:grpSpPr>
            <p:sp>
              <p:nvSpPr>
                <p:cNvPr id="112" name="Rectangle 17"/>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13" name="Rectangle 16"/>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114" name="Straight Connector 113"/>
                <p:cNvCxnSpPr/>
                <p:nvPr/>
              </p:nvCxnSpPr>
              <p:spPr bwMode="gray">
                <a:xfrm rot="5400000" flipH="1">
                  <a:off x="-481603" y="1981616"/>
                  <a:ext cx="474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15" name="Straight Connector 114"/>
                <p:cNvCxnSpPr/>
                <p:nvPr/>
              </p:nvCxnSpPr>
              <p:spPr bwMode="gray">
                <a:xfrm rot="5400000" flipH="1">
                  <a:off x="-481603" y="2269922"/>
                  <a:ext cx="474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16" name="Straight Connector 115"/>
                <p:cNvCxnSpPr/>
                <p:nvPr/>
              </p:nvCxnSpPr>
              <p:spPr bwMode="gray">
                <a:xfrm rot="2503489" flipH="1">
                  <a:off x="-370223" y="2225091"/>
                  <a:ext cx="474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17" name="Straight Connector 116"/>
                <p:cNvCxnSpPr/>
                <p:nvPr/>
              </p:nvCxnSpPr>
              <p:spPr bwMode="gray">
                <a:xfrm rot="8296511">
                  <a:off x="-370223" y="2026447"/>
                  <a:ext cx="474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18" name="Straight Connector 117"/>
                <p:cNvCxnSpPr/>
                <p:nvPr/>
              </p:nvCxnSpPr>
              <p:spPr bwMode="gray">
                <a:xfrm rot="10800000">
                  <a:off x="-332370" y="2125769"/>
                  <a:ext cx="47400" cy="0"/>
                </a:xfrm>
                <a:prstGeom prst="lin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nvGrpSpPr>
                <p:cNvPr id="119" name="Group 118"/>
                <p:cNvGrpSpPr/>
                <p:nvPr/>
              </p:nvGrpSpPr>
              <p:grpSpPr bwMode="gray">
                <a:xfrm>
                  <a:off x="-507951" y="2088033"/>
                  <a:ext cx="84957" cy="65573"/>
                  <a:chOff x="-2412348" y="2111699"/>
                  <a:chExt cx="717156" cy="553527"/>
                </a:xfrm>
              </p:grpSpPr>
              <p:sp>
                <p:nvSpPr>
                  <p:cNvPr id="120" name="Parallelogram 1029"/>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21" name="Rectangle 120"/>
                  <p:cNvSpPr/>
                  <p:nvPr/>
                </p:nvSpPr>
                <p:spPr bwMode="gray">
                  <a:xfrm>
                    <a:off x="-2412348" y="2111699"/>
                    <a:ext cx="83823" cy="553527"/>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grpSp>
      <p:grpSp>
        <p:nvGrpSpPr>
          <p:cNvPr id="83" name="Group 82"/>
          <p:cNvGrpSpPr/>
          <p:nvPr/>
        </p:nvGrpSpPr>
        <p:grpSpPr bwMode="gray">
          <a:xfrm>
            <a:off x="8292246" y="2821474"/>
            <a:ext cx="3561018" cy="1177804"/>
            <a:chOff x="8292246" y="2821474"/>
            <a:chExt cx="3164861" cy="1177804"/>
          </a:xfrm>
        </p:grpSpPr>
        <p:cxnSp>
          <p:nvCxnSpPr>
            <p:cNvPr id="1034" name="Straight Connector 1033"/>
            <p:cNvCxnSpPr/>
            <p:nvPr/>
          </p:nvCxnSpPr>
          <p:spPr bwMode="gray">
            <a:xfrm>
              <a:off x="8292246" y="3999278"/>
              <a:ext cx="316486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bwMode="gray">
            <a:xfrm>
              <a:off x="8292246" y="2821474"/>
              <a:ext cx="316486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7" name="Rectangle 66"/>
          <p:cNvSpPr/>
          <p:nvPr/>
        </p:nvSpPr>
        <p:spPr bwMode="gray">
          <a:xfrm>
            <a:off x="0" y="6094413"/>
            <a:ext cx="12192000" cy="763588"/>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75" name="Date Placeholder 3"/>
          <p:cNvSpPr>
            <a:spLocks noGrp="1"/>
          </p:cNvSpPr>
          <p:nvPr>
            <p:ph type="dt" sz="half" idx="14"/>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AB2352-921F-4DD8-A99A-A1474F6943FF}"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78" name="Footer Placeholder 5"/>
          <p:cNvSpPr>
            <a:spLocks noGrp="1"/>
          </p:cNvSpPr>
          <p:nvPr>
            <p:ph type="ftr" sz="quarter" idx="15"/>
          </p:nvPr>
        </p:nvSpPr>
        <p:spPr bwMode="gray">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76" name="Slide Number Placeholder 5"/>
          <p:cNvSpPr>
            <a:spLocks noGrp="1"/>
          </p:cNvSpPr>
          <p:nvPr>
            <p:ph type="sldNum" sz="quarter" idx="16"/>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grpSp>
        <p:nvGrpSpPr>
          <p:cNvPr id="68" name="Group 67"/>
          <p:cNvGrpSpPr/>
          <p:nvPr/>
        </p:nvGrpSpPr>
        <p:grpSpPr bwMode="gray">
          <a:xfrm>
            <a:off x="334271" y="6327549"/>
            <a:ext cx="337946"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grpSp>
      <p:cxnSp>
        <p:nvCxnSpPr>
          <p:cNvPr id="73" name="Straight Connector 72"/>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pic>
        <p:nvPicPr>
          <p:cNvPr id="74" name="Picture 1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gray">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cxnSp>
        <p:nvCxnSpPr>
          <p:cNvPr id="77" name="Straight Connector 76"/>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17" name="Rectangle 16"/>
          <p:cNvSpPr/>
          <p:nvPr/>
        </p:nvSpPr>
        <p:spPr bwMode="gray">
          <a:xfrm>
            <a:off x="3291044" y="2114904"/>
            <a:ext cx="145576" cy="1455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85" name="Rectangle 84"/>
          <p:cNvSpPr/>
          <p:nvPr/>
        </p:nvSpPr>
        <p:spPr bwMode="gray">
          <a:xfrm>
            <a:off x="3291044" y="2956032"/>
            <a:ext cx="145576" cy="1455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86" name="Rectangle 85"/>
          <p:cNvSpPr/>
          <p:nvPr/>
        </p:nvSpPr>
        <p:spPr bwMode="gray">
          <a:xfrm>
            <a:off x="3291044" y="3797160"/>
            <a:ext cx="145576" cy="1455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27" name="Rectangle 126"/>
          <p:cNvSpPr/>
          <p:nvPr/>
        </p:nvSpPr>
        <p:spPr bwMode="gray">
          <a:xfrm>
            <a:off x="3291044" y="4638288"/>
            <a:ext cx="145576" cy="1455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29" name="Rectangle 128"/>
          <p:cNvSpPr/>
          <p:nvPr/>
        </p:nvSpPr>
        <p:spPr bwMode="gray">
          <a:xfrm>
            <a:off x="3291044" y="5479417"/>
            <a:ext cx="145576" cy="1455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146" name="Straight Connector 145"/>
          <p:cNvCxnSpPr>
            <a:stCxn id="86" idx="1"/>
            <a:endCxn id="5" idx="1"/>
          </p:cNvCxnSpPr>
          <p:nvPr/>
        </p:nvCxnSpPr>
        <p:spPr bwMode="gray">
          <a:xfrm>
            <a:off x="3291044" y="3869948"/>
            <a:ext cx="896744" cy="1"/>
          </a:xfrm>
          <a:prstGeom prst="line">
            <a:avLst/>
          </a:prstGeom>
          <a:ln w="1270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22804A14-0FBA-4D99-907C-1B363D9362D5}"/>
              </a:ext>
            </a:extLst>
          </p:cNvPr>
          <p:cNvGrpSpPr/>
          <p:nvPr/>
        </p:nvGrpSpPr>
        <p:grpSpPr>
          <a:xfrm>
            <a:off x="336352" y="4351076"/>
            <a:ext cx="2057948" cy="720000"/>
            <a:chOff x="336352" y="4351076"/>
            <a:chExt cx="2057948" cy="720000"/>
          </a:xfrm>
        </p:grpSpPr>
        <p:grpSp>
          <p:nvGrpSpPr>
            <p:cNvPr id="4" name="Group 3"/>
            <p:cNvGrpSpPr/>
            <p:nvPr/>
          </p:nvGrpSpPr>
          <p:grpSpPr>
            <a:xfrm>
              <a:off x="399725" y="4351076"/>
              <a:ext cx="1994575" cy="720000"/>
              <a:chOff x="399725" y="4351076"/>
              <a:chExt cx="1994575" cy="720000"/>
            </a:xfrm>
          </p:grpSpPr>
          <p:grpSp>
            <p:nvGrpSpPr>
              <p:cNvPr id="13" name="Group 12"/>
              <p:cNvGrpSpPr/>
              <p:nvPr/>
            </p:nvGrpSpPr>
            <p:grpSpPr bwMode="gray">
              <a:xfrm>
                <a:off x="399725" y="4351076"/>
                <a:ext cx="1994575" cy="720000"/>
                <a:chOff x="399725" y="4351076"/>
                <a:chExt cx="1994575" cy="720000"/>
              </a:xfrm>
            </p:grpSpPr>
            <p:sp>
              <p:nvSpPr>
                <p:cNvPr id="14" name="Text Box 249"/>
                <p:cNvSpPr txBox="1">
                  <a:spLocks noChangeArrowheads="1"/>
                </p:cNvSpPr>
                <p:nvPr/>
              </p:nvSpPr>
              <p:spPr bwMode="gray">
                <a:xfrm>
                  <a:off x="929667" y="4351076"/>
                  <a:ext cx="1464633" cy="720000"/>
                </a:xfrm>
                <a:prstGeom prst="rect">
                  <a:avLst/>
                </a:prstGeom>
                <a:noFill/>
                <a:ln w="19050">
                  <a:noFill/>
                </a:ln>
                <a:extLst/>
              </p:spPr>
              <p:txBody>
                <a:bodyPr vert="horz" lIns="108000" tIns="72000" rIns="72000" bIns="72000" rtlCol="0" anchor="ctr" anchorCtr="0">
                  <a:noAutofit/>
                </a:bodyPr>
                <a:lstStyle>
                  <a:defPPr>
                    <a:defRPr lang="en-US"/>
                  </a:defPPr>
                  <a:lvl1pPr indent="0" algn="r">
                    <a:spcBef>
                      <a:spcPts val="0"/>
                    </a:spcBef>
                    <a:buFont typeface="Arial" panose="020B0604020202020204" pitchFamily="34" charset="0"/>
                    <a:buNone/>
                    <a:defRPr sz="28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altLang="en-US" sz="2000" b="0" i="0" u="none" strike="noStrike" kern="1200" cap="none" spc="0" normalizeH="0" baseline="0" noProof="0" dirty="0">
                      <a:ln>
                        <a:noFill/>
                      </a:ln>
                      <a:solidFill>
                        <a:srgbClr val="000000"/>
                      </a:solidFill>
                      <a:effectLst/>
                      <a:uLnTx/>
                      <a:uFillTx/>
                      <a:latin typeface="ABBvoice"/>
                      <a:ea typeface="ABBvoice"/>
                      <a:cs typeface="ABBvoice"/>
                    </a:rPr>
                    <a:t>Caldos</a:t>
                  </a:r>
                  <a:endParaRPr kumimoji="0" lang="en-US" altLang="en-US" sz="2000" b="0" i="0" u="none" strike="noStrike" kern="1200" cap="none" spc="0" normalizeH="0" baseline="0" noProof="0" dirty="0">
                    <a:ln>
                      <a:noFill/>
                    </a:ln>
                    <a:solidFill>
                      <a:srgbClr val="000000"/>
                    </a:solidFill>
                    <a:effectLst/>
                    <a:uLnTx/>
                    <a:uFillTx/>
                    <a:latin typeface="ABBvoice"/>
                    <a:ea typeface="ABBvoice"/>
                    <a:cs typeface="ABBvoice"/>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en-US" sz="1200" b="1" i="0" u="none" strike="noStrike" kern="1200" cap="none" spc="0" normalizeH="0" baseline="0" noProof="0" dirty="0">
                      <a:ln>
                        <a:noFill/>
                      </a:ln>
                      <a:solidFill>
                        <a:srgbClr val="D90000"/>
                      </a:solidFill>
                      <a:effectLst/>
                      <a:uLnTx/>
                      <a:uFillTx/>
                      <a:latin typeface="ABBvoice"/>
                      <a:ea typeface="ABBvoice"/>
                      <a:cs typeface="ABBvoice"/>
                    </a:rPr>
                    <a:t>Thermal </a:t>
                  </a:r>
                  <a:r>
                    <a:rPr kumimoji="0" lang="en-US" altLang="en-US" sz="1200" b="1" i="0" u="none" strike="noStrike" kern="1200" cap="none" spc="0" normalizeH="0" baseline="0" noProof="0" dirty="0" err="1">
                      <a:ln>
                        <a:noFill/>
                      </a:ln>
                      <a:solidFill>
                        <a:srgbClr val="D90000"/>
                      </a:solidFill>
                      <a:effectLst/>
                      <a:uLnTx/>
                      <a:uFillTx/>
                      <a:latin typeface="ABBvoice"/>
                      <a:ea typeface="ABBvoice"/>
                      <a:cs typeface="ABBvoice"/>
                    </a:rPr>
                    <a:t>conductivitiy</a:t>
                  </a:r>
                  <a:endParaRPr kumimoji="0" lang="en-US" altLang="en-US" sz="1200" b="1" i="0" u="none" strike="noStrike" kern="1200" cap="none" spc="0" normalizeH="0" baseline="0" noProof="0" dirty="0">
                    <a:ln>
                      <a:noFill/>
                    </a:ln>
                    <a:solidFill>
                      <a:srgbClr val="D90000"/>
                    </a:solidFill>
                    <a:effectLst/>
                    <a:uLnTx/>
                    <a:uFillTx/>
                    <a:latin typeface="ABBvoice"/>
                    <a:ea typeface="ABBvoice"/>
                    <a:cs typeface="ABBvoice"/>
                  </a:endParaRPr>
                </a:p>
              </p:txBody>
            </p:sp>
            <p:sp>
              <p:nvSpPr>
                <p:cNvPr id="93" name="Rectangle 77"/>
                <p:cNvSpPr/>
                <p:nvPr/>
              </p:nvSpPr>
              <p:spPr bwMode="gray">
                <a:xfrm>
                  <a:off x="399725" y="4593441"/>
                  <a:ext cx="460268" cy="235260"/>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nvGrpSpPr>
              <p:cNvPr id="128" name="Group 127"/>
              <p:cNvGrpSpPr>
                <a:grpSpLocks noChangeAspect="1"/>
              </p:cNvGrpSpPr>
              <p:nvPr/>
            </p:nvGrpSpPr>
            <p:grpSpPr bwMode="gray">
              <a:xfrm>
                <a:off x="439006" y="4495658"/>
                <a:ext cx="398290" cy="412325"/>
                <a:chOff x="8768094" y="1186208"/>
                <a:chExt cx="352242" cy="364654"/>
              </a:xfrm>
            </p:grpSpPr>
            <p:sp>
              <p:nvSpPr>
                <p:cNvPr id="131" name="Can 29"/>
                <p:cNvSpPr/>
                <p:nvPr/>
              </p:nvSpPr>
              <p:spPr bwMode="gray">
                <a:xfrm>
                  <a:off x="8768094" y="1307252"/>
                  <a:ext cx="352242" cy="243610"/>
                </a:xfrm>
                <a:custGeom>
                  <a:avLst/>
                  <a:gdLst/>
                  <a:ahLst/>
                  <a:cxnLst/>
                  <a:rect l="l" t="t" r="r" b="b"/>
                  <a:pathLst>
                    <a:path w="352242" h="243610">
                      <a:moveTo>
                        <a:pt x="176121" y="0"/>
                      </a:moveTo>
                      <a:lnTo>
                        <a:pt x="237951" y="3589"/>
                      </a:lnTo>
                      <a:lnTo>
                        <a:pt x="239926" y="3874"/>
                      </a:lnTo>
                      <a:lnTo>
                        <a:pt x="239926" y="44223"/>
                      </a:lnTo>
                      <a:cubicBezTo>
                        <a:pt x="239926" y="52438"/>
                        <a:pt x="255949" y="59098"/>
                        <a:pt x="275713" y="59098"/>
                      </a:cubicBezTo>
                      <a:cubicBezTo>
                        <a:pt x="295478" y="59098"/>
                        <a:pt x="311501" y="52438"/>
                        <a:pt x="311501" y="44223"/>
                      </a:cubicBezTo>
                      <a:cubicBezTo>
                        <a:pt x="311501" y="35710"/>
                        <a:pt x="311501" y="27197"/>
                        <a:pt x="311501" y="18685"/>
                      </a:cubicBezTo>
                      <a:cubicBezTo>
                        <a:pt x="336993" y="27060"/>
                        <a:pt x="352242" y="38333"/>
                        <a:pt x="352242" y="50630"/>
                      </a:cubicBezTo>
                      <a:cubicBezTo>
                        <a:pt x="352242" y="98080"/>
                        <a:pt x="352242" y="145530"/>
                        <a:pt x="352242" y="192980"/>
                      </a:cubicBezTo>
                      <a:cubicBezTo>
                        <a:pt x="352242" y="220942"/>
                        <a:pt x="273389" y="243610"/>
                        <a:pt x="176121" y="243610"/>
                      </a:cubicBezTo>
                      <a:cubicBezTo>
                        <a:pt x="78852" y="243610"/>
                        <a:pt x="0" y="220942"/>
                        <a:pt x="0" y="192980"/>
                      </a:cubicBezTo>
                      <a:cubicBezTo>
                        <a:pt x="0" y="145530"/>
                        <a:pt x="1" y="98080"/>
                        <a:pt x="1" y="50630"/>
                      </a:cubicBezTo>
                      <a:cubicBezTo>
                        <a:pt x="1" y="38012"/>
                        <a:pt x="16055" y="26474"/>
                        <a:pt x="42716" y="17919"/>
                      </a:cubicBezTo>
                      <a:lnTo>
                        <a:pt x="42716" y="44223"/>
                      </a:lnTo>
                      <a:lnTo>
                        <a:pt x="42716" y="44223"/>
                      </a:lnTo>
                      <a:lnTo>
                        <a:pt x="42716" y="44223"/>
                      </a:lnTo>
                      <a:cubicBezTo>
                        <a:pt x="42716" y="52438"/>
                        <a:pt x="58739" y="59098"/>
                        <a:pt x="78504" y="59098"/>
                      </a:cubicBezTo>
                      <a:cubicBezTo>
                        <a:pt x="98269" y="59098"/>
                        <a:pt x="114291" y="52438"/>
                        <a:pt x="114291" y="44223"/>
                      </a:cubicBezTo>
                      <a:cubicBezTo>
                        <a:pt x="114291" y="44223"/>
                        <a:pt x="114291" y="44222"/>
                        <a:pt x="114291" y="44222"/>
                      </a:cubicBezTo>
                      <a:cubicBezTo>
                        <a:pt x="114291" y="30678"/>
                        <a:pt x="114291" y="17133"/>
                        <a:pt x="114292" y="3589"/>
                      </a:cubicBezTo>
                      <a:cubicBezTo>
                        <a:pt x="133500" y="1136"/>
                        <a:pt x="154349" y="0"/>
                        <a:pt x="176121" y="0"/>
                      </a:cubicBez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32" name="Oval 119"/>
                <p:cNvSpPr/>
                <p:nvPr/>
              </p:nvSpPr>
              <p:spPr bwMode="gray">
                <a:xfrm>
                  <a:off x="8768094" y="1307252"/>
                  <a:ext cx="352241" cy="101258"/>
                </a:xfrm>
                <a:custGeom>
                  <a:avLst/>
                  <a:gdLst/>
                  <a:ahLst/>
                  <a:cxnLst/>
                  <a:rect l="l" t="t" r="r" b="b"/>
                  <a:pathLst>
                    <a:path w="352241" h="101258">
                      <a:moveTo>
                        <a:pt x="176120" y="0"/>
                      </a:moveTo>
                      <a:lnTo>
                        <a:pt x="239926" y="3703"/>
                      </a:lnTo>
                      <a:lnTo>
                        <a:pt x="239925" y="44222"/>
                      </a:lnTo>
                      <a:cubicBezTo>
                        <a:pt x="239925" y="52437"/>
                        <a:pt x="255948" y="59097"/>
                        <a:pt x="275713" y="59097"/>
                      </a:cubicBezTo>
                      <a:cubicBezTo>
                        <a:pt x="295478" y="59097"/>
                        <a:pt x="311500" y="52437"/>
                        <a:pt x="311500" y="44222"/>
                      </a:cubicBezTo>
                      <a:cubicBezTo>
                        <a:pt x="311500" y="35684"/>
                        <a:pt x="311500" y="27145"/>
                        <a:pt x="311500" y="18607"/>
                      </a:cubicBezTo>
                      <a:cubicBezTo>
                        <a:pt x="336984" y="27054"/>
                        <a:pt x="352241" y="38329"/>
                        <a:pt x="352241" y="50629"/>
                      </a:cubicBezTo>
                      <a:cubicBezTo>
                        <a:pt x="352241" y="78591"/>
                        <a:pt x="273389" y="101258"/>
                        <a:pt x="176120" y="101258"/>
                      </a:cubicBezTo>
                      <a:cubicBezTo>
                        <a:pt x="78852" y="101258"/>
                        <a:pt x="0" y="78591"/>
                        <a:pt x="0" y="50629"/>
                      </a:cubicBezTo>
                      <a:cubicBezTo>
                        <a:pt x="0" y="38045"/>
                        <a:pt x="15971" y="26533"/>
                        <a:pt x="42716" y="18610"/>
                      </a:cubicBezTo>
                      <a:lnTo>
                        <a:pt x="42716" y="44223"/>
                      </a:lnTo>
                      <a:cubicBezTo>
                        <a:pt x="42716" y="52438"/>
                        <a:pt x="58739" y="59098"/>
                        <a:pt x="78504" y="59098"/>
                      </a:cubicBezTo>
                      <a:cubicBezTo>
                        <a:pt x="98269" y="59098"/>
                        <a:pt x="114291" y="52438"/>
                        <a:pt x="114291" y="44223"/>
                      </a:cubicBezTo>
                      <a:cubicBezTo>
                        <a:pt x="114291" y="30678"/>
                        <a:pt x="114291" y="17133"/>
                        <a:pt x="114292" y="3588"/>
                      </a:cubicBezTo>
                      <a:cubicBezTo>
                        <a:pt x="133500" y="1136"/>
                        <a:pt x="154348" y="0"/>
                        <a:pt x="176120" y="0"/>
                      </a:cubicBez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33" name="Can 221"/>
                <p:cNvSpPr/>
                <p:nvPr/>
              </p:nvSpPr>
              <p:spPr bwMode="gray">
                <a:xfrm>
                  <a:off x="8810810" y="1271638"/>
                  <a:ext cx="71576" cy="94712"/>
                </a:xfrm>
                <a:custGeom>
                  <a:avLst/>
                  <a:gdLst/>
                  <a:ahLst/>
                  <a:cxnLst/>
                  <a:rect l="l" t="t" r="r" b="b"/>
                  <a:pathLst>
                    <a:path w="138065" h="182695">
                      <a:moveTo>
                        <a:pt x="69033" y="0"/>
                      </a:moveTo>
                      <a:cubicBezTo>
                        <a:pt x="107158" y="0"/>
                        <a:pt x="138065" y="12847"/>
                        <a:pt x="138065" y="28694"/>
                      </a:cubicBezTo>
                      <a:cubicBezTo>
                        <a:pt x="138065" y="70463"/>
                        <a:pt x="138064" y="112232"/>
                        <a:pt x="138064" y="154001"/>
                      </a:cubicBezTo>
                      <a:cubicBezTo>
                        <a:pt x="138064" y="169848"/>
                        <a:pt x="107157" y="182695"/>
                        <a:pt x="69032" y="182695"/>
                      </a:cubicBezTo>
                      <a:cubicBezTo>
                        <a:pt x="30907" y="182695"/>
                        <a:pt x="0" y="169848"/>
                        <a:pt x="0" y="154001"/>
                      </a:cubicBezTo>
                      <a:cubicBezTo>
                        <a:pt x="0" y="112232"/>
                        <a:pt x="1" y="70463"/>
                        <a:pt x="1" y="28694"/>
                      </a:cubicBezTo>
                      <a:cubicBezTo>
                        <a:pt x="1" y="12847"/>
                        <a:pt x="30908" y="0"/>
                        <a:pt x="69033" y="0"/>
                      </a:cubicBez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34" name="Can 222"/>
                <p:cNvSpPr/>
                <p:nvPr/>
              </p:nvSpPr>
              <p:spPr bwMode="gray">
                <a:xfrm>
                  <a:off x="9008020" y="1271638"/>
                  <a:ext cx="71576" cy="94712"/>
                </a:xfrm>
                <a:custGeom>
                  <a:avLst/>
                  <a:gdLst/>
                  <a:ahLst/>
                  <a:cxnLst/>
                  <a:rect l="l" t="t" r="r" b="b"/>
                  <a:pathLst>
                    <a:path w="138065" h="182695">
                      <a:moveTo>
                        <a:pt x="69033" y="0"/>
                      </a:moveTo>
                      <a:cubicBezTo>
                        <a:pt x="107158" y="0"/>
                        <a:pt x="138065" y="12847"/>
                        <a:pt x="138065" y="28694"/>
                      </a:cubicBezTo>
                      <a:cubicBezTo>
                        <a:pt x="138065" y="70463"/>
                        <a:pt x="138064" y="112232"/>
                        <a:pt x="138064" y="154001"/>
                      </a:cubicBezTo>
                      <a:cubicBezTo>
                        <a:pt x="138064" y="169848"/>
                        <a:pt x="107157" y="182695"/>
                        <a:pt x="69032" y="182695"/>
                      </a:cubicBezTo>
                      <a:cubicBezTo>
                        <a:pt x="30907" y="182695"/>
                        <a:pt x="0" y="169848"/>
                        <a:pt x="0" y="154001"/>
                      </a:cubicBezTo>
                      <a:cubicBezTo>
                        <a:pt x="0" y="112232"/>
                        <a:pt x="1" y="70463"/>
                        <a:pt x="1" y="28694"/>
                      </a:cubicBezTo>
                      <a:cubicBezTo>
                        <a:pt x="1" y="12847"/>
                        <a:pt x="30908" y="0"/>
                        <a:pt x="69033" y="0"/>
                      </a:cubicBez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135" name="Group 134"/>
                <p:cNvGrpSpPr/>
                <p:nvPr/>
              </p:nvGrpSpPr>
              <p:grpSpPr bwMode="gray">
                <a:xfrm>
                  <a:off x="8846598" y="1186208"/>
                  <a:ext cx="197202" cy="97497"/>
                  <a:chOff x="9985390" y="1226001"/>
                  <a:chExt cx="167775" cy="90696"/>
                </a:xfrm>
              </p:grpSpPr>
              <p:cxnSp>
                <p:nvCxnSpPr>
                  <p:cNvPr id="149" name="Straight Connector 148"/>
                  <p:cNvCxnSpPr/>
                  <p:nvPr/>
                </p:nvCxnSpPr>
                <p:spPr bwMode="gray">
                  <a:xfrm flipV="1">
                    <a:off x="9985451" y="1276774"/>
                    <a:ext cx="109" cy="39923"/>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50" name="Freeform 149"/>
                  <p:cNvSpPr/>
                  <p:nvPr/>
                </p:nvSpPr>
                <p:spPr bwMode="gray">
                  <a:xfrm>
                    <a:off x="9985390" y="1226001"/>
                    <a:ext cx="167622" cy="63112"/>
                  </a:xfrm>
                  <a:custGeom>
                    <a:avLst/>
                    <a:gdLst>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31520 w 767554"/>
                      <a:gd name="connsiteY22" fmla="*/ 21619 h 25429"/>
                      <a:gd name="connsiteX23" fmla="*/ 737235 w 767554"/>
                      <a:gd name="connsiteY23" fmla="*/ 19714 h 25429"/>
                      <a:gd name="connsiteX24" fmla="*/ 750570 w 767554"/>
                      <a:gd name="connsiteY24" fmla="*/ 15904 h 25429"/>
                      <a:gd name="connsiteX25" fmla="*/ 762000 w 767554"/>
                      <a:gd name="connsiteY25" fmla="*/ 8284 h 25429"/>
                      <a:gd name="connsiteX26" fmla="*/ 763905 w 767554"/>
                      <a:gd name="connsiteY26" fmla="*/ 2569 h 25429"/>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31520 w 767554"/>
                      <a:gd name="connsiteY22" fmla="*/ 21619 h 25429"/>
                      <a:gd name="connsiteX23" fmla="*/ 750570 w 767554"/>
                      <a:gd name="connsiteY23" fmla="*/ 15904 h 25429"/>
                      <a:gd name="connsiteX24" fmla="*/ 762000 w 767554"/>
                      <a:gd name="connsiteY24" fmla="*/ 8284 h 25429"/>
                      <a:gd name="connsiteX25" fmla="*/ 763905 w 767554"/>
                      <a:gd name="connsiteY25" fmla="*/ 2569 h 25429"/>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50570 w 767554"/>
                      <a:gd name="connsiteY22" fmla="*/ 15904 h 25429"/>
                      <a:gd name="connsiteX23" fmla="*/ 762000 w 767554"/>
                      <a:gd name="connsiteY23" fmla="*/ 8284 h 25429"/>
                      <a:gd name="connsiteX24" fmla="*/ 763905 w 767554"/>
                      <a:gd name="connsiteY24" fmla="*/ 2569 h 25429"/>
                      <a:gd name="connsiteX0" fmla="*/ 0 w 766977"/>
                      <a:gd name="connsiteY0" fmla="*/ 10189 h 25429"/>
                      <a:gd name="connsiteX1" fmla="*/ 11430 w 766977"/>
                      <a:gd name="connsiteY1" fmla="*/ 8284 h 25429"/>
                      <a:gd name="connsiteX2" fmla="*/ 28575 w 766977"/>
                      <a:gd name="connsiteY2" fmla="*/ 4474 h 25429"/>
                      <a:gd name="connsiteX3" fmla="*/ 57150 w 766977"/>
                      <a:gd name="connsiteY3" fmla="*/ 2569 h 25429"/>
                      <a:gd name="connsiteX4" fmla="*/ 104775 w 766977"/>
                      <a:gd name="connsiteY4" fmla="*/ 4474 h 25429"/>
                      <a:gd name="connsiteX5" fmla="*/ 133350 w 766977"/>
                      <a:gd name="connsiteY5" fmla="*/ 6379 h 25429"/>
                      <a:gd name="connsiteX6" fmla="*/ 169545 w 766977"/>
                      <a:gd name="connsiteY6" fmla="*/ 8284 h 25429"/>
                      <a:gd name="connsiteX7" fmla="*/ 262890 w 766977"/>
                      <a:gd name="connsiteY7" fmla="*/ 12094 h 25429"/>
                      <a:gd name="connsiteX8" fmla="*/ 289560 w 766977"/>
                      <a:gd name="connsiteY8" fmla="*/ 10189 h 25429"/>
                      <a:gd name="connsiteX9" fmla="*/ 300990 w 766977"/>
                      <a:gd name="connsiteY9" fmla="*/ 8284 h 25429"/>
                      <a:gd name="connsiteX10" fmla="*/ 350520 w 766977"/>
                      <a:gd name="connsiteY10" fmla="*/ 10189 h 25429"/>
                      <a:gd name="connsiteX11" fmla="*/ 390525 w 766977"/>
                      <a:gd name="connsiteY11" fmla="*/ 8284 h 25429"/>
                      <a:gd name="connsiteX12" fmla="*/ 419100 w 766977"/>
                      <a:gd name="connsiteY12" fmla="*/ 6379 h 25429"/>
                      <a:gd name="connsiteX13" fmla="*/ 491490 w 766977"/>
                      <a:gd name="connsiteY13" fmla="*/ 2569 h 25429"/>
                      <a:gd name="connsiteX14" fmla="*/ 575310 w 766977"/>
                      <a:gd name="connsiteY14" fmla="*/ 2569 h 25429"/>
                      <a:gd name="connsiteX15" fmla="*/ 586740 w 766977"/>
                      <a:gd name="connsiteY15" fmla="*/ 4474 h 25429"/>
                      <a:gd name="connsiteX16" fmla="*/ 617220 w 766977"/>
                      <a:gd name="connsiteY16" fmla="*/ 6379 h 25429"/>
                      <a:gd name="connsiteX17" fmla="*/ 661035 w 766977"/>
                      <a:gd name="connsiteY17" fmla="*/ 12094 h 25429"/>
                      <a:gd name="connsiteX18" fmla="*/ 678180 w 766977"/>
                      <a:gd name="connsiteY18" fmla="*/ 15904 h 25429"/>
                      <a:gd name="connsiteX19" fmla="*/ 689610 w 766977"/>
                      <a:gd name="connsiteY19" fmla="*/ 19714 h 25429"/>
                      <a:gd name="connsiteX20" fmla="*/ 699135 w 766977"/>
                      <a:gd name="connsiteY20" fmla="*/ 21619 h 25429"/>
                      <a:gd name="connsiteX21" fmla="*/ 716280 w 766977"/>
                      <a:gd name="connsiteY21" fmla="*/ 25429 h 25429"/>
                      <a:gd name="connsiteX22" fmla="*/ 762000 w 766977"/>
                      <a:gd name="connsiteY22" fmla="*/ 8284 h 25429"/>
                      <a:gd name="connsiteX23" fmla="*/ 763905 w 766977"/>
                      <a:gd name="connsiteY23" fmla="*/ 2569 h 25429"/>
                      <a:gd name="connsiteX0" fmla="*/ 0 w 762000"/>
                      <a:gd name="connsiteY0" fmla="*/ 10189 h 25429"/>
                      <a:gd name="connsiteX1" fmla="*/ 11430 w 762000"/>
                      <a:gd name="connsiteY1" fmla="*/ 8284 h 25429"/>
                      <a:gd name="connsiteX2" fmla="*/ 28575 w 762000"/>
                      <a:gd name="connsiteY2" fmla="*/ 4474 h 25429"/>
                      <a:gd name="connsiteX3" fmla="*/ 57150 w 762000"/>
                      <a:gd name="connsiteY3" fmla="*/ 2569 h 25429"/>
                      <a:gd name="connsiteX4" fmla="*/ 104775 w 762000"/>
                      <a:gd name="connsiteY4" fmla="*/ 4474 h 25429"/>
                      <a:gd name="connsiteX5" fmla="*/ 133350 w 762000"/>
                      <a:gd name="connsiteY5" fmla="*/ 6379 h 25429"/>
                      <a:gd name="connsiteX6" fmla="*/ 169545 w 762000"/>
                      <a:gd name="connsiteY6" fmla="*/ 8284 h 25429"/>
                      <a:gd name="connsiteX7" fmla="*/ 262890 w 762000"/>
                      <a:gd name="connsiteY7" fmla="*/ 12094 h 25429"/>
                      <a:gd name="connsiteX8" fmla="*/ 289560 w 762000"/>
                      <a:gd name="connsiteY8" fmla="*/ 10189 h 25429"/>
                      <a:gd name="connsiteX9" fmla="*/ 300990 w 762000"/>
                      <a:gd name="connsiteY9" fmla="*/ 8284 h 25429"/>
                      <a:gd name="connsiteX10" fmla="*/ 350520 w 762000"/>
                      <a:gd name="connsiteY10" fmla="*/ 10189 h 25429"/>
                      <a:gd name="connsiteX11" fmla="*/ 390525 w 762000"/>
                      <a:gd name="connsiteY11" fmla="*/ 8284 h 25429"/>
                      <a:gd name="connsiteX12" fmla="*/ 419100 w 762000"/>
                      <a:gd name="connsiteY12" fmla="*/ 6379 h 25429"/>
                      <a:gd name="connsiteX13" fmla="*/ 491490 w 762000"/>
                      <a:gd name="connsiteY13" fmla="*/ 2569 h 25429"/>
                      <a:gd name="connsiteX14" fmla="*/ 575310 w 762000"/>
                      <a:gd name="connsiteY14" fmla="*/ 2569 h 25429"/>
                      <a:gd name="connsiteX15" fmla="*/ 586740 w 762000"/>
                      <a:gd name="connsiteY15" fmla="*/ 4474 h 25429"/>
                      <a:gd name="connsiteX16" fmla="*/ 617220 w 762000"/>
                      <a:gd name="connsiteY16" fmla="*/ 6379 h 25429"/>
                      <a:gd name="connsiteX17" fmla="*/ 661035 w 762000"/>
                      <a:gd name="connsiteY17" fmla="*/ 12094 h 25429"/>
                      <a:gd name="connsiteX18" fmla="*/ 678180 w 762000"/>
                      <a:gd name="connsiteY18" fmla="*/ 15904 h 25429"/>
                      <a:gd name="connsiteX19" fmla="*/ 689610 w 762000"/>
                      <a:gd name="connsiteY19" fmla="*/ 19714 h 25429"/>
                      <a:gd name="connsiteX20" fmla="*/ 699135 w 762000"/>
                      <a:gd name="connsiteY20" fmla="*/ 21619 h 25429"/>
                      <a:gd name="connsiteX21" fmla="*/ 716280 w 762000"/>
                      <a:gd name="connsiteY21" fmla="*/ 25429 h 25429"/>
                      <a:gd name="connsiteX22" fmla="*/ 762000 w 762000"/>
                      <a:gd name="connsiteY22" fmla="*/ 8284 h 25429"/>
                      <a:gd name="connsiteX0" fmla="*/ 0 w 762000"/>
                      <a:gd name="connsiteY0" fmla="*/ 10189 h 26852"/>
                      <a:gd name="connsiteX1" fmla="*/ 11430 w 762000"/>
                      <a:gd name="connsiteY1" fmla="*/ 8284 h 26852"/>
                      <a:gd name="connsiteX2" fmla="*/ 28575 w 762000"/>
                      <a:gd name="connsiteY2" fmla="*/ 4474 h 26852"/>
                      <a:gd name="connsiteX3" fmla="*/ 57150 w 762000"/>
                      <a:gd name="connsiteY3" fmla="*/ 2569 h 26852"/>
                      <a:gd name="connsiteX4" fmla="*/ 104775 w 762000"/>
                      <a:gd name="connsiteY4" fmla="*/ 4474 h 26852"/>
                      <a:gd name="connsiteX5" fmla="*/ 133350 w 762000"/>
                      <a:gd name="connsiteY5" fmla="*/ 6379 h 26852"/>
                      <a:gd name="connsiteX6" fmla="*/ 169545 w 762000"/>
                      <a:gd name="connsiteY6" fmla="*/ 8284 h 26852"/>
                      <a:gd name="connsiteX7" fmla="*/ 262890 w 762000"/>
                      <a:gd name="connsiteY7" fmla="*/ 12094 h 26852"/>
                      <a:gd name="connsiteX8" fmla="*/ 289560 w 762000"/>
                      <a:gd name="connsiteY8" fmla="*/ 10189 h 26852"/>
                      <a:gd name="connsiteX9" fmla="*/ 300990 w 762000"/>
                      <a:gd name="connsiteY9" fmla="*/ 8284 h 26852"/>
                      <a:gd name="connsiteX10" fmla="*/ 350520 w 762000"/>
                      <a:gd name="connsiteY10" fmla="*/ 10189 h 26852"/>
                      <a:gd name="connsiteX11" fmla="*/ 390525 w 762000"/>
                      <a:gd name="connsiteY11" fmla="*/ 8284 h 26852"/>
                      <a:gd name="connsiteX12" fmla="*/ 419100 w 762000"/>
                      <a:gd name="connsiteY12" fmla="*/ 6379 h 26852"/>
                      <a:gd name="connsiteX13" fmla="*/ 491490 w 762000"/>
                      <a:gd name="connsiteY13" fmla="*/ 2569 h 26852"/>
                      <a:gd name="connsiteX14" fmla="*/ 575310 w 762000"/>
                      <a:gd name="connsiteY14" fmla="*/ 2569 h 26852"/>
                      <a:gd name="connsiteX15" fmla="*/ 586740 w 762000"/>
                      <a:gd name="connsiteY15" fmla="*/ 4474 h 26852"/>
                      <a:gd name="connsiteX16" fmla="*/ 617220 w 762000"/>
                      <a:gd name="connsiteY16" fmla="*/ 6379 h 26852"/>
                      <a:gd name="connsiteX17" fmla="*/ 661035 w 762000"/>
                      <a:gd name="connsiteY17" fmla="*/ 12094 h 26852"/>
                      <a:gd name="connsiteX18" fmla="*/ 678180 w 762000"/>
                      <a:gd name="connsiteY18" fmla="*/ 15904 h 26852"/>
                      <a:gd name="connsiteX19" fmla="*/ 689610 w 762000"/>
                      <a:gd name="connsiteY19" fmla="*/ 19714 h 26852"/>
                      <a:gd name="connsiteX20" fmla="*/ 699135 w 762000"/>
                      <a:gd name="connsiteY20" fmla="*/ 21619 h 26852"/>
                      <a:gd name="connsiteX21" fmla="*/ 706756 w 762000"/>
                      <a:gd name="connsiteY21" fmla="*/ 25429 h 26852"/>
                      <a:gd name="connsiteX22" fmla="*/ 716280 w 762000"/>
                      <a:gd name="connsiteY22" fmla="*/ 25429 h 26852"/>
                      <a:gd name="connsiteX23" fmla="*/ 762000 w 762000"/>
                      <a:gd name="connsiteY23" fmla="*/ 8284 h 26852"/>
                      <a:gd name="connsiteX0" fmla="*/ 0 w 762000"/>
                      <a:gd name="connsiteY0" fmla="*/ 10189 h 26852"/>
                      <a:gd name="connsiteX1" fmla="*/ 11430 w 762000"/>
                      <a:gd name="connsiteY1" fmla="*/ 8284 h 26852"/>
                      <a:gd name="connsiteX2" fmla="*/ 28575 w 762000"/>
                      <a:gd name="connsiteY2" fmla="*/ 4474 h 26852"/>
                      <a:gd name="connsiteX3" fmla="*/ 57150 w 762000"/>
                      <a:gd name="connsiteY3" fmla="*/ 2569 h 26852"/>
                      <a:gd name="connsiteX4" fmla="*/ 104775 w 762000"/>
                      <a:gd name="connsiteY4" fmla="*/ 4474 h 26852"/>
                      <a:gd name="connsiteX5" fmla="*/ 133350 w 762000"/>
                      <a:gd name="connsiteY5" fmla="*/ 6379 h 26852"/>
                      <a:gd name="connsiteX6" fmla="*/ 169545 w 762000"/>
                      <a:gd name="connsiteY6" fmla="*/ 8284 h 26852"/>
                      <a:gd name="connsiteX7" fmla="*/ 262890 w 762000"/>
                      <a:gd name="connsiteY7" fmla="*/ 12094 h 26852"/>
                      <a:gd name="connsiteX8" fmla="*/ 289560 w 762000"/>
                      <a:gd name="connsiteY8" fmla="*/ 10189 h 26852"/>
                      <a:gd name="connsiteX9" fmla="*/ 300990 w 762000"/>
                      <a:gd name="connsiteY9" fmla="*/ 8284 h 26852"/>
                      <a:gd name="connsiteX10" fmla="*/ 350520 w 762000"/>
                      <a:gd name="connsiteY10" fmla="*/ 10189 h 26852"/>
                      <a:gd name="connsiteX11" fmla="*/ 390525 w 762000"/>
                      <a:gd name="connsiteY11" fmla="*/ 8284 h 26852"/>
                      <a:gd name="connsiteX12" fmla="*/ 419100 w 762000"/>
                      <a:gd name="connsiteY12" fmla="*/ 6379 h 26852"/>
                      <a:gd name="connsiteX13" fmla="*/ 491490 w 762000"/>
                      <a:gd name="connsiteY13" fmla="*/ 2569 h 26852"/>
                      <a:gd name="connsiteX14" fmla="*/ 575310 w 762000"/>
                      <a:gd name="connsiteY14" fmla="*/ 2569 h 26852"/>
                      <a:gd name="connsiteX15" fmla="*/ 586740 w 762000"/>
                      <a:gd name="connsiteY15" fmla="*/ 4474 h 26852"/>
                      <a:gd name="connsiteX16" fmla="*/ 617220 w 762000"/>
                      <a:gd name="connsiteY16" fmla="*/ 6379 h 26852"/>
                      <a:gd name="connsiteX17" fmla="*/ 661035 w 762000"/>
                      <a:gd name="connsiteY17" fmla="*/ 12094 h 26852"/>
                      <a:gd name="connsiteX18" fmla="*/ 678180 w 762000"/>
                      <a:gd name="connsiteY18" fmla="*/ 15904 h 26852"/>
                      <a:gd name="connsiteX19" fmla="*/ 699135 w 762000"/>
                      <a:gd name="connsiteY19" fmla="*/ 21619 h 26852"/>
                      <a:gd name="connsiteX20" fmla="*/ 706756 w 762000"/>
                      <a:gd name="connsiteY20" fmla="*/ 25429 h 26852"/>
                      <a:gd name="connsiteX21" fmla="*/ 716280 w 762000"/>
                      <a:gd name="connsiteY21" fmla="*/ 25429 h 26852"/>
                      <a:gd name="connsiteX22" fmla="*/ 762000 w 762000"/>
                      <a:gd name="connsiteY22" fmla="*/ 8284 h 26852"/>
                      <a:gd name="connsiteX0" fmla="*/ 0 w 716280"/>
                      <a:gd name="connsiteY0" fmla="*/ 10189 h 26852"/>
                      <a:gd name="connsiteX1" fmla="*/ 11430 w 716280"/>
                      <a:gd name="connsiteY1" fmla="*/ 8284 h 26852"/>
                      <a:gd name="connsiteX2" fmla="*/ 28575 w 716280"/>
                      <a:gd name="connsiteY2" fmla="*/ 4474 h 26852"/>
                      <a:gd name="connsiteX3" fmla="*/ 57150 w 716280"/>
                      <a:gd name="connsiteY3" fmla="*/ 2569 h 26852"/>
                      <a:gd name="connsiteX4" fmla="*/ 104775 w 716280"/>
                      <a:gd name="connsiteY4" fmla="*/ 4474 h 26852"/>
                      <a:gd name="connsiteX5" fmla="*/ 133350 w 716280"/>
                      <a:gd name="connsiteY5" fmla="*/ 6379 h 26852"/>
                      <a:gd name="connsiteX6" fmla="*/ 169545 w 716280"/>
                      <a:gd name="connsiteY6" fmla="*/ 8284 h 26852"/>
                      <a:gd name="connsiteX7" fmla="*/ 262890 w 716280"/>
                      <a:gd name="connsiteY7" fmla="*/ 12094 h 26852"/>
                      <a:gd name="connsiteX8" fmla="*/ 289560 w 716280"/>
                      <a:gd name="connsiteY8" fmla="*/ 10189 h 26852"/>
                      <a:gd name="connsiteX9" fmla="*/ 300990 w 716280"/>
                      <a:gd name="connsiteY9" fmla="*/ 8284 h 26852"/>
                      <a:gd name="connsiteX10" fmla="*/ 350520 w 716280"/>
                      <a:gd name="connsiteY10" fmla="*/ 10189 h 26852"/>
                      <a:gd name="connsiteX11" fmla="*/ 390525 w 716280"/>
                      <a:gd name="connsiteY11" fmla="*/ 8284 h 26852"/>
                      <a:gd name="connsiteX12" fmla="*/ 419100 w 716280"/>
                      <a:gd name="connsiteY12" fmla="*/ 6379 h 26852"/>
                      <a:gd name="connsiteX13" fmla="*/ 491490 w 716280"/>
                      <a:gd name="connsiteY13" fmla="*/ 2569 h 26852"/>
                      <a:gd name="connsiteX14" fmla="*/ 575310 w 716280"/>
                      <a:gd name="connsiteY14" fmla="*/ 2569 h 26852"/>
                      <a:gd name="connsiteX15" fmla="*/ 586740 w 716280"/>
                      <a:gd name="connsiteY15" fmla="*/ 4474 h 26852"/>
                      <a:gd name="connsiteX16" fmla="*/ 617220 w 716280"/>
                      <a:gd name="connsiteY16" fmla="*/ 6379 h 26852"/>
                      <a:gd name="connsiteX17" fmla="*/ 661035 w 716280"/>
                      <a:gd name="connsiteY17" fmla="*/ 12094 h 26852"/>
                      <a:gd name="connsiteX18" fmla="*/ 678180 w 716280"/>
                      <a:gd name="connsiteY18" fmla="*/ 15904 h 26852"/>
                      <a:gd name="connsiteX19" fmla="*/ 699135 w 716280"/>
                      <a:gd name="connsiteY19" fmla="*/ 21619 h 26852"/>
                      <a:gd name="connsiteX20" fmla="*/ 706756 w 716280"/>
                      <a:gd name="connsiteY20" fmla="*/ 25429 h 26852"/>
                      <a:gd name="connsiteX21" fmla="*/ 716280 w 716280"/>
                      <a:gd name="connsiteY21" fmla="*/ 25429 h 26852"/>
                      <a:gd name="connsiteX0" fmla="*/ 0 w 706756"/>
                      <a:gd name="connsiteY0" fmla="*/ 10189 h 25429"/>
                      <a:gd name="connsiteX1" fmla="*/ 11430 w 706756"/>
                      <a:gd name="connsiteY1" fmla="*/ 8284 h 25429"/>
                      <a:gd name="connsiteX2" fmla="*/ 28575 w 706756"/>
                      <a:gd name="connsiteY2" fmla="*/ 4474 h 25429"/>
                      <a:gd name="connsiteX3" fmla="*/ 57150 w 706756"/>
                      <a:gd name="connsiteY3" fmla="*/ 2569 h 25429"/>
                      <a:gd name="connsiteX4" fmla="*/ 104775 w 706756"/>
                      <a:gd name="connsiteY4" fmla="*/ 4474 h 25429"/>
                      <a:gd name="connsiteX5" fmla="*/ 133350 w 706756"/>
                      <a:gd name="connsiteY5" fmla="*/ 6379 h 25429"/>
                      <a:gd name="connsiteX6" fmla="*/ 169545 w 706756"/>
                      <a:gd name="connsiteY6" fmla="*/ 8284 h 25429"/>
                      <a:gd name="connsiteX7" fmla="*/ 262890 w 706756"/>
                      <a:gd name="connsiteY7" fmla="*/ 12094 h 25429"/>
                      <a:gd name="connsiteX8" fmla="*/ 289560 w 706756"/>
                      <a:gd name="connsiteY8" fmla="*/ 10189 h 25429"/>
                      <a:gd name="connsiteX9" fmla="*/ 300990 w 706756"/>
                      <a:gd name="connsiteY9" fmla="*/ 8284 h 25429"/>
                      <a:gd name="connsiteX10" fmla="*/ 350520 w 706756"/>
                      <a:gd name="connsiteY10" fmla="*/ 10189 h 25429"/>
                      <a:gd name="connsiteX11" fmla="*/ 390525 w 706756"/>
                      <a:gd name="connsiteY11" fmla="*/ 8284 h 25429"/>
                      <a:gd name="connsiteX12" fmla="*/ 419100 w 706756"/>
                      <a:gd name="connsiteY12" fmla="*/ 6379 h 25429"/>
                      <a:gd name="connsiteX13" fmla="*/ 491490 w 706756"/>
                      <a:gd name="connsiteY13" fmla="*/ 2569 h 25429"/>
                      <a:gd name="connsiteX14" fmla="*/ 575310 w 706756"/>
                      <a:gd name="connsiteY14" fmla="*/ 2569 h 25429"/>
                      <a:gd name="connsiteX15" fmla="*/ 586740 w 706756"/>
                      <a:gd name="connsiteY15" fmla="*/ 4474 h 25429"/>
                      <a:gd name="connsiteX16" fmla="*/ 617220 w 706756"/>
                      <a:gd name="connsiteY16" fmla="*/ 6379 h 25429"/>
                      <a:gd name="connsiteX17" fmla="*/ 661035 w 706756"/>
                      <a:gd name="connsiteY17" fmla="*/ 12094 h 25429"/>
                      <a:gd name="connsiteX18" fmla="*/ 678180 w 706756"/>
                      <a:gd name="connsiteY18" fmla="*/ 15904 h 25429"/>
                      <a:gd name="connsiteX19" fmla="*/ 699135 w 706756"/>
                      <a:gd name="connsiteY19" fmla="*/ 21619 h 25429"/>
                      <a:gd name="connsiteX20" fmla="*/ 706756 w 706756"/>
                      <a:gd name="connsiteY20" fmla="*/ 25429 h 2542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61035 w 699135"/>
                      <a:gd name="connsiteY17" fmla="*/ 12094 h 21619"/>
                      <a:gd name="connsiteX18" fmla="*/ 678180 w 699135"/>
                      <a:gd name="connsiteY18" fmla="*/ 15904 h 21619"/>
                      <a:gd name="connsiteX19" fmla="*/ 699135 w 699135"/>
                      <a:gd name="connsiteY19" fmla="*/ 21619 h 2161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78180 w 699135"/>
                      <a:gd name="connsiteY17" fmla="*/ 15904 h 21619"/>
                      <a:gd name="connsiteX18" fmla="*/ 699135 w 699135"/>
                      <a:gd name="connsiteY18" fmla="*/ 21619 h 2161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99135 w 699135"/>
                      <a:gd name="connsiteY17" fmla="*/ 21619 h 21619"/>
                      <a:gd name="connsiteX0" fmla="*/ 0 w 617220"/>
                      <a:gd name="connsiteY0" fmla="*/ 10189 h 12094"/>
                      <a:gd name="connsiteX1" fmla="*/ 11430 w 617220"/>
                      <a:gd name="connsiteY1" fmla="*/ 8284 h 12094"/>
                      <a:gd name="connsiteX2" fmla="*/ 28575 w 617220"/>
                      <a:gd name="connsiteY2" fmla="*/ 4474 h 12094"/>
                      <a:gd name="connsiteX3" fmla="*/ 57150 w 617220"/>
                      <a:gd name="connsiteY3" fmla="*/ 2569 h 12094"/>
                      <a:gd name="connsiteX4" fmla="*/ 104775 w 617220"/>
                      <a:gd name="connsiteY4" fmla="*/ 4474 h 12094"/>
                      <a:gd name="connsiteX5" fmla="*/ 133350 w 617220"/>
                      <a:gd name="connsiteY5" fmla="*/ 6379 h 12094"/>
                      <a:gd name="connsiteX6" fmla="*/ 169545 w 617220"/>
                      <a:gd name="connsiteY6" fmla="*/ 8284 h 12094"/>
                      <a:gd name="connsiteX7" fmla="*/ 262890 w 617220"/>
                      <a:gd name="connsiteY7" fmla="*/ 12094 h 12094"/>
                      <a:gd name="connsiteX8" fmla="*/ 289560 w 617220"/>
                      <a:gd name="connsiteY8" fmla="*/ 10189 h 12094"/>
                      <a:gd name="connsiteX9" fmla="*/ 300990 w 617220"/>
                      <a:gd name="connsiteY9" fmla="*/ 8284 h 12094"/>
                      <a:gd name="connsiteX10" fmla="*/ 350520 w 617220"/>
                      <a:gd name="connsiteY10" fmla="*/ 10189 h 12094"/>
                      <a:gd name="connsiteX11" fmla="*/ 390525 w 617220"/>
                      <a:gd name="connsiteY11" fmla="*/ 8284 h 12094"/>
                      <a:gd name="connsiteX12" fmla="*/ 419100 w 617220"/>
                      <a:gd name="connsiteY12" fmla="*/ 6379 h 12094"/>
                      <a:gd name="connsiteX13" fmla="*/ 491490 w 617220"/>
                      <a:gd name="connsiteY13" fmla="*/ 2569 h 12094"/>
                      <a:gd name="connsiteX14" fmla="*/ 575310 w 617220"/>
                      <a:gd name="connsiteY14" fmla="*/ 2569 h 12094"/>
                      <a:gd name="connsiteX15" fmla="*/ 586740 w 617220"/>
                      <a:gd name="connsiteY15" fmla="*/ 4474 h 12094"/>
                      <a:gd name="connsiteX16" fmla="*/ 617220 w 617220"/>
                      <a:gd name="connsiteY16" fmla="*/ 6379 h 12094"/>
                      <a:gd name="connsiteX0" fmla="*/ 0 w 763905"/>
                      <a:gd name="connsiteY0" fmla="*/ 10189 h 12094"/>
                      <a:gd name="connsiteX1" fmla="*/ 11430 w 763905"/>
                      <a:gd name="connsiteY1" fmla="*/ 8284 h 12094"/>
                      <a:gd name="connsiteX2" fmla="*/ 28575 w 763905"/>
                      <a:gd name="connsiteY2" fmla="*/ 4474 h 12094"/>
                      <a:gd name="connsiteX3" fmla="*/ 57150 w 763905"/>
                      <a:gd name="connsiteY3" fmla="*/ 2569 h 12094"/>
                      <a:gd name="connsiteX4" fmla="*/ 104775 w 763905"/>
                      <a:gd name="connsiteY4" fmla="*/ 4474 h 12094"/>
                      <a:gd name="connsiteX5" fmla="*/ 133350 w 763905"/>
                      <a:gd name="connsiteY5" fmla="*/ 6379 h 12094"/>
                      <a:gd name="connsiteX6" fmla="*/ 169545 w 763905"/>
                      <a:gd name="connsiteY6" fmla="*/ 8284 h 12094"/>
                      <a:gd name="connsiteX7" fmla="*/ 262890 w 763905"/>
                      <a:gd name="connsiteY7" fmla="*/ 12094 h 12094"/>
                      <a:gd name="connsiteX8" fmla="*/ 289560 w 763905"/>
                      <a:gd name="connsiteY8" fmla="*/ 10189 h 12094"/>
                      <a:gd name="connsiteX9" fmla="*/ 300990 w 763905"/>
                      <a:gd name="connsiteY9" fmla="*/ 8284 h 12094"/>
                      <a:gd name="connsiteX10" fmla="*/ 350520 w 763905"/>
                      <a:gd name="connsiteY10" fmla="*/ 10189 h 12094"/>
                      <a:gd name="connsiteX11" fmla="*/ 390525 w 763905"/>
                      <a:gd name="connsiteY11" fmla="*/ 8284 h 12094"/>
                      <a:gd name="connsiteX12" fmla="*/ 419100 w 763905"/>
                      <a:gd name="connsiteY12" fmla="*/ 6379 h 12094"/>
                      <a:gd name="connsiteX13" fmla="*/ 491490 w 763905"/>
                      <a:gd name="connsiteY13" fmla="*/ 2569 h 12094"/>
                      <a:gd name="connsiteX14" fmla="*/ 575310 w 763905"/>
                      <a:gd name="connsiteY14" fmla="*/ 2569 h 12094"/>
                      <a:gd name="connsiteX15" fmla="*/ 586740 w 763905"/>
                      <a:gd name="connsiteY15" fmla="*/ 4474 h 12094"/>
                      <a:gd name="connsiteX16" fmla="*/ 763905 w 763905"/>
                      <a:gd name="connsiteY16" fmla="*/ 8284 h 12094"/>
                      <a:gd name="connsiteX0" fmla="*/ 0 w 763905"/>
                      <a:gd name="connsiteY0" fmla="*/ 9527 h 11432"/>
                      <a:gd name="connsiteX1" fmla="*/ 11430 w 763905"/>
                      <a:gd name="connsiteY1" fmla="*/ 7622 h 11432"/>
                      <a:gd name="connsiteX2" fmla="*/ 28575 w 763905"/>
                      <a:gd name="connsiteY2" fmla="*/ 3812 h 11432"/>
                      <a:gd name="connsiteX3" fmla="*/ 57150 w 763905"/>
                      <a:gd name="connsiteY3" fmla="*/ 1907 h 11432"/>
                      <a:gd name="connsiteX4" fmla="*/ 104775 w 763905"/>
                      <a:gd name="connsiteY4" fmla="*/ 3812 h 11432"/>
                      <a:gd name="connsiteX5" fmla="*/ 133350 w 763905"/>
                      <a:gd name="connsiteY5" fmla="*/ 5717 h 11432"/>
                      <a:gd name="connsiteX6" fmla="*/ 169545 w 763905"/>
                      <a:gd name="connsiteY6" fmla="*/ 7622 h 11432"/>
                      <a:gd name="connsiteX7" fmla="*/ 262890 w 763905"/>
                      <a:gd name="connsiteY7" fmla="*/ 11432 h 11432"/>
                      <a:gd name="connsiteX8" fmla="*/ 289560 w 763905"/>
                      <a:gd name="connsiteY8" fmla="*/ 9527 h 11432"/>
                      <a:gd name="connsiteX9" fmla="*/ 300990 w 763905"/>
                      <a:gd name="connsiteY9" fmla="*/ 7622 h 11432"/>
                      <a:gd name="connsiteX10" fmla="*/ 350520 w 763905"/>
                      <a:gd name="connsiteY10" fmla="*/ 9527 h 11432"/>
                      <a:gd name="connsiteX11" fmla="*/ 390525 w 763905"/>
                      <a:gd name="connsiteY11" fmla="*/ 7622 h 11432"/>
                      <a:gd name="connsiteX12" fmla="*/ 419100 w 763905"/>
                      <a:gd name="connsiteY12" fmla="*/ 5717 h 11432"/>
                      <a:gd name="connsiteX13" fmla="*/ 491490 w 763905"/>
                      <a:gd name="connsiteY13" fmla="*/ 1907 h 11432"/>
                      <a:gd name="connsiteX14" fmla="*/ 575310 w 763905"/>
                      <a:gd name="connsiteY14" fmla="*/ 1907 h 11432"/>
                      <a:gd name="connsiteX15" fmla="*/ 763905 w 763905"/>
                      <a:gd name="connsiteY15" fmla="*/ 7622 h 11432"/>
                      <a:gd name="connsiteX0" fmla="*/ 0 w 763905"/>
                      <a:gd name="connsiteY0" fmla="*/ 7620 h 9525"/>
                      <a:gd name="connsiteX1" fmla="*/ 11430 w 763905"/>
                      <a:gd name="connsiteY1" fmla="*/ 5715 h 9525"/>
                      <a:gd name="connsiteX2" fmla="*/ 28575 w 763905"/>
                      <a:gd name="connsiteY2" fmla="*/ 1905 h 9525"/>
                      <a:gd name="connsiteX3" fmla="*/ 57150 w 763905"/>
                      <a:gd name="connsiteY3" fmla="*/ 0 h 9525"/>
                      <a:gd name="connsiteX4" fmla="*/ 104775 w 763905"/>
                      <a:gd name="connsiteY4" fmla="*/ 1905 h 9525"/>
                      <a:gd name="connsiteX5" fmla="*/ 133350 w 763905"/>
                      <a:gd name="connsiteY5" fmla="*/ 3810 h 9525"/>
                      <a:gd name="connsiteX6" fmla="*/ 169545 w 763905"/>
                      <a:gd name="connsiteY6" fmla="*/ 5715 h 9525"/>
                      <a:gd name="connsiteX7" fmla="*/ 262890 w 763905"/>
                      <a:gd name="connsiteY7" fmla="*/ 9525 h 9525"/>
                      <a:gd name="connsiteX8" fmla="*/ 289560 w 763905"/>
                      <a:gd name="connsiteY8" fmla="*/ 7620 h 9525"/>
                      <a:gd name="connsiteX9" fmla="*/ 300990 w 763905"/>
                      <a:gd name="connsiteY9" fmla="*/ 5715 h 9525"/>
                      <a:gd name="connsiteX10" fmla="*/ 350520 w 763905"/>
                      <a:gd name="connsiteY10" fmla="*/ 7620 h 9525"/>
                      <a:gd name="connsiteX11" fmla="*/ 390525 w 763905"/>
                      <a:gd name="connsiteY11" fmla="*/ 5715 h 9525"/>
                      <a:gd name="connsiteX12" fmla="*/ 419100 w 763905"/>
                      <a:gd name="connsiteY12" fmla="*/ 3810 h 9525"/>
                      <a:gd name="connsiteX13" fmla="*/ 491490 w 763905"/>
                      <a:gd name="connsiteY13" fmla="*/ 0 h 9525"/>
                      <a:gd name="connsiteX14" fmla="*/ 763905 w 763905"/>
                      <a:gd name="connsiteY14" fmla="*/ 5715 h 9525"/>
                      <a:gd name="connsiteX0" fmla="*/ 0 w 10000"/>
                      <a:gd name="connsiteY0" fmla="*/ 8000 h 10000"/>
                      <a:gd name="connsiteX1" fmla="*/ 150 w 10000"/>
                      <a:gd name="connsiteY1" fmla="*/ 6000 h 10000"/>
                      <a:gd name="connsiteX2" fmla="*/ 748 w 10000"/>
                      <a:gd name="connsiteY2" fmla="*/ 0 h 10000"/>
                      <a:gd name="connsiteX3" fmla="*/ 1372 w 10000"/>
                      <a:gd name="connsiteY3" fmla="*/ 2000 h 10000"/>
                      <a:gd name="connsiteX4" fmla="*/ 1746 w 10000"/>
                      <a:gd name="connsiteY4" fmla="*/ 4000 h 10000"/>
                      <a:gd name="connsiteX5" fmla="*/ 2219 w 10000"/>
                      <a:gd name="connsiteY5" fmla="*/ 6000 h 10000"/>
                      <a:gd name="connsiteX6" fmla="*/ 3441 w 10000"/>
                      <a:gd name="connsiteY6" fmla="*/ 10000 h 10000"/>
                      <a:gd name="connsiteX7" fmla="*/ 3791 w 10000"/>
                      <a:gd name="connsiteY7" fmla="*/ 8000 h 10000"/>
                      <a:gd name="connsiteX8" fmla="*/ 3940 w 10000"/>
                      <a:gd name="connsiteY8" fmla="*/ 6000 h 10000"/>
                      <a:gd name="connsiteX9" fmla="*/ 4589 w 10000"/>
                      <a:gd name="connsiteY9" fmla="*/ 8000 h 10000"/>
                      <a:gd name="connsiteX10" fmla="*/ 5112 w 10000"/>
                      <a:gd name="connsiteY10" fmla="*/ 6000 h 10000"/>
                      <a:gd name="connsiteX11" fmla="*/ 5486 w 10000"/>
                      <a:gd name="connsiteY11" fmla="*/ 4000 h 10000"/>
                      <a:gd name="connsiteX12" fmla="*/ 6434 w 10000"/>
                      <a:gd name="connsiteY12" fmla="*/ 0 h 10000"/>
                      <a:gd name="connsiteX13" fmla="*/ 10000 w 10000"/>
                      <a:gd name="connsiteY13" fmla="*/ 6000 h 10000"/>
                      <a:gd name="connsiteX0" fmla="*/ 0 w 10000"/>
                      <a:gd name="connsiteY0" fmla="*/ 8000 h 10000"/>
                      <a:gd name="connsiteX1" fmla="*/ 748 w 10000"/>
                      <a:gd name="connsiteY1" fmla="*/ 0 h 10000"/>
                      <a:gd name="connsiteX2" fmla="*/ 1372 w 10000"/>
                      <a:gd name="connsiteY2" fmla="*/ 2000 h 10000"/>
                      <a:gd name="connsiteX3" fmla="*/ 1746 w 10000"/>
                      <a:gd name="connsiteY3" fmla="*/ 4000 h 10000"/>
                      <a:gd name="connsiteX4" fmla="*/ 2219 w 10000"/>
                      <a:gd name="connsiteY4" fmla="*/ 6000 h 10000"/>
                      <a:gd name="connsiteX5" fmla="*/ 3441 w 10000"/>
                      <a:gd name="connsiteY5" fmla="*/ 10000 h 10000"/>
                      <a:gd name="connsiteX6" fmla="*/ 3791 w 10000"/>
                      <a:gd name="connsiteY6" fmla="*/ 8000 h 10000"/>
                      <a:gd name="connsiteX7" fmla="*/ 3940 w 10000"/>
                      <a:gd name="connsiteY7" fmla="*/ 6000 h 10000"/>
                      <a:gd name="connsiteX8" fmla="*/ 4589 w 10000"/>
                      <a:gd name="connsiteY8" fmla="*/ 8000 h 10000"/>
                      <a:gd name="connsiteX9" fmla="*/ 5112 w 10000"/>
                      <a:gd name="connsiteY9" fmla="*/ 6000 h 10000"/>
                      <a:gd name="connsiteX10" fmla="*/ 5486 w 10000"/>
                      <a:gd name="connsiteY10" fmla="*/ 4000 h 10000"/>
                      <a:gd name="connsiteX11" fmla="*/ 6434 w 10000"/>
                      <a:gd name="connsiteY11" fmla="*/ 0 h 10000"/>
                      <a:gd name="connsiteX12" fmla="*/ 10000 w 10000"/>
                      <a:gd name="connsiteY12" fmla="*/ 6000 h 10000"/>
                      <a:gd name="connsiteX0" fmla="*/ 0 w 10000"/>
                      <a:gd name="connsiteY0" fmla="*/ 8000 h 10000"/>
                      <a:gd name="connsiteX1" fmla="*/ 1372 w 10000"/>
                      <a:gd name="connsiteY1" fmla="*/ 2000 h 10000"/>
                      <a:gd name="connsiteX2" fmla="*/ 1746 w 10000"/>
                      <a:gd name="connsiteY2" fmla="*/ 4000 h 10000"/>
                      <a:gd name="connsiteX3" fmla="*/ 2219 w 10000"/>
                      <a:gd name="connsiteY3" fmla="*/ 6000 h 10000"/>
                      <a:gd name="connsiteX4" fmla="*/ 3441 w 10000"/>
                      <a:gd name="connsiteY4" fmla="*/ 10000 h 10000"/>
                      <a:gd name="connsiteX5" fmla="*/ 3791 w 10000"/>
                      <a:gd name="connsiteY5" fmla="*/ 8000 h 10000"/>
                      <a:gd name="connsiteX6" fmla="*/ 3940 w 10000"/>
                      <a:gd name="connsiteY6" fmla="*/ 6000 h 10000"/>
                      <a:gd name="connsiteX7" fmla="*/ 4589 w 10000"/>
                      <a:gd name="connsiteY7" fmla="*/ 8000 h 10000"/>
                      <a:gd name="connsiteX8" fmla="*/ 5112 w 10000"/>
                      <a:gd name="connsiteY8" fmla="*/ 6000 h 10000"/>
                      <a:gd name="connsiteX9" fmla="*/ 5486 w 10000"/>
                      <a:gd name="connsiteY9" fmla="*/ 4000 h 10000"/>
                      <a:gd name="connsiteX10" fmla="*/ 6434 w 10000"/>
                      <a:gd name="connsiteY10" fmla="*/ 0 h 10000"/>
                      <a:gd name="connsiteX11" fmla="*/ 10000 w 10000"/>
                      <a:gd name="connsiteY11" fmla="*/ 6000 h 10000"/>
                      <a:gd name="connsiteX0" fmla="*/ 0 w 10000"/>
                      <a:gd name="connsiteY0" fmla="*/ 8000 h 10000"/>
                      <a:gd name="connsiteX1" fmla="*/ 1372 w 10000"/>
                      <a:gd name="connsiteY1" fmla="*/ 2000 h 10000"/>
                      <a:gd name="connsiteX2" fmla="*/ 2219 w 10000"/>
                      <a:gd name="connsiteY2" fmla="*/ 6000 h 10000"/>
                      <a:gd name="connsiteX3" fmla="*/ 3441 w 10000"/>
                      <a:gd name="connsiteY3" fmla="*/ 10000 h 10000"/>
                      <a:gd name="connsiteX4" fmla="*/ 3791 w 10000"/>
                      <a:gd name="connsiteY4" fmla="*/ 8000 h 10000"/>
                      <a:gd name="connsiteX5" fmla="*/ 3940 w 10000"/>
                      <a:gd name="connsiteY5" fmla="*/ 6000 h 10000"/>
                      <a:gd name="connsiteX6" fmla="*/ 4589 w 10000"/>
                      <a:gd name="connsiteY6" fmla="*/ 8000 h 10000"/>
                      <a:gd name="connsiteX7" fmla="*/ 5112 w 10000"/>
                      <a:gd name="connsiteY7" fmla="*/ 6000 h 10000"/>
                      <a:gd name="connsiteX8" fmla="*/ 5486 w 10000"/>
                      <a:gd name="connsiteY8" fmla="*/ 4000 h 10000"/>
                      <a:gd name="connsiteX9" fmla="*/ 6434 w 10000"/>
                      <a:gd name="connsiteY9" fmla="*/ 0 h 10000"/>
                      <a:gd name="connsiteX10" fmla="*/ 10000 w 10000"/>
                      <a:gd name="connsiteY10" fmla="*/ 6000 h 10000"/>
                      <a:gd name="connsiteX0" fmla="*/ 0 w 10000"/>
                      <a:gd name="connsiteY0" fmla="*/ 8000 h 10000"/>
                      <a:gd name="connsiteX1" fmla="*/ 2219 w 10000"/>
                      <a:gd name="connsiteY1" fmla="*/ 6000 h 10000"/>
                      <a:gd name="connsiteX2" fmla="*/ 3441 w 10000"/>
                      <a:gd name="connsiteY2" fmla="*/ 10000 h 10000"/>
                      <a:gd name="connsiteX3" fmla="*/ 3791 w 10000"/>
                      <a:gd name="connsiteY3" fmla="*/ 8000 h 10000"/>
                      <a:gd name="connsiteX4" fmla="*/ 3940 w 10000"/>
                      <a:gd name="connsiteY4" fmla="*/ 6000 h 10000"/>
                      <a:gd name="connsiteX5" fmla="*/ 4589 w 10000"/>
                      <a:gd name="connsiteY5" fmla="*/ 8000 h 10000"/>
                      <a:gd name="connsiteX6" fmla="*/ 5112 w 10000"/>
                      <a:gd name="connsiteY6" fmla="*/ 6000 h 10000"/>
                      <a:gd name="connsiteX7" fmla="*/ 5486 w 10000"/>
                      <a:gd name="connsiteY7" fmla="*/ 4000 h 10000"/>
                      <a:gd name="connsiteX8" fmla="*/ 6434 w 10000"/>
                      <a:gd name="connsiteY8" fmla="*/ 0 h 10000"/>
                      <a:gd name="connsiteX9" fmla="*/ 10000 w 10000"/>
                      <a:gd name="connsiteY9" fmla="*/ 6000 h 10000"/>
                      <a:gd name="connsiteX0" fmla="*/ 0 w 10000"/>
                      <a:gd name="connsiteY0" fmla="*/ 8000 h 10000"/>
                      <a:gd name="connsiteX1" fmla="*/ 3441 w 10000"/>
                      <a:gd name="connsiteY1" fmla="*/ 10000 h 10000"/>
                      <a:gd name="connsiteX2" fmla="*/ 3791 w 10000"/>
                      <a:gd name="connsiteY2" fmla="*/ 8000 h 10000"/>
                      <a:gd name="connsiteX3" fmla="*/ 3940 w 10000"/>
                      <a:gd name="connsiteY3" fmla="*/ 6000 h 10000"/>
                      <a:gd name="connsiteX4" fmla="*/ 4589 w 10000"/>
                      <a:gd name="connsiteY4" fmla="*/ 8000 h 10000"/>
                      <a:gd name="connsiteX5" fmla="*/ 5112 w 10000"/>
                      <a:gd name="connsiteY5" fmla="*/ 6000 h 10000"/>
                      <a:gd name="connsiteX6" fmla="*/ 5486 w 10000"/>
                      <a:gd name="connsiteY6" fmla="*/ 4000 h 10000"/>
                      <a:gd name="connsiteX7" fmla="*/ 6434 w 10000"/>
                      <a:gd name="connsiteY7" fmla="*/ 0 h 10000"/>
                      <a:gd name="connsiteX8" fmla="*/ 10000 w 10000"/>
                      <a:gd name="connsiteY8" fmla="*/ 6000 h 10000"/>
                      <a:gd name="connsiteX0" fmla="*/ 0 w 10125"/>
                      <a:gd name="connsiteY0" fmla="*/ 8000 h 10000"/>
                      <a:gd name="connsiteX1" fmla="*/ 3566 w 10125"/>
                      <a:gd name="connsiteY1" fmla="*/ 10000 h 10000"/>
                      <a:gd name="connsiteX2" fmla="*/ 3916 w 10125"/>
                      <a:gd name="connsiteY2" fmla="*/ 8000 h 10000"/>
                      <a:gd name="connsiteX3" fmla="*/ 4065 w 10125"/>
                      <a:gd name="connsiteY3" fmla="*/ 6000 h 10000"/>
                      <a:gd name="connsiteX4" fmla="*/ 4714 w 10125"/>
                      <a:gd name="connsiteY4" fmla="*/ 8000 h 10000"/>
                      <a:gd name="connsiteX5" fmla="*/ 5237 w 10125"/>
                      <a:gd name="connsiteY5" fmla="*/ 6000 h 10000"/>
                      <a:gd name="connsiteX6" fmla="*/ 5611 w 10125"/>
                      <a:gd name="connsiteY6" fmla="*/ 4000 h 10000"/>
                      <a:gd name="connsiteX7" fmla="*/ 6559 w 10125"/>
                      <a:gd name="connsiteY7" fmla="*/ 0 h 10000"/>
                      <a:gd name="connsiteX8" fmla="*/ 10125 w 10125"/>
                      <a:gd name="connsiteY8" fmla="*/ 6000 h 10000"/>
                      <a:gd name="connsiteX0" fmla="*/ 0 w 10175"/>
                      <a:gd name="connsiteY0" fmla="*/ 8000 h 10000"/>
                      <a:gd name="connsiteX1" fmla="*/ 3566 w 10175"/>
                      <a:gd name="connsiteY1" fmla="*/ 10000 h 10000"/>
                      <a:gd name="connsiteX2" fmla="*/ 3916 w 10175"/>
                      <a:gd name="connsiteY2" fmla="*/ 8000 h 10000"/>
                      <a:gd name="connsiteX3" fmla="*/ 4065 w 10175"/>
                      <a:gd name="connsiteY3" fmla="*/ 6000 h 10000"/>
                      <a:gd name="connsiteX4" fmla="*/ 4714 w 10175"/>
                      <a:gd name="connsiteY4" fmla="*/ 8000 h 10000"/>
                      <a:gd name="connsiteX5" fmla="*/ 5237 w 10175"/>
                      <a:gd name="connsiteY5" fmla="*/ 6000 h 10000"/>
                      <a:gd name="connsiteX6" fmla="*/ 5611 w 10175"/>
                      <a:gd name="connsiteY6" fmla="*/ 4000 h 10000"/>
                      <a:gd name="connsiteX7" fmla="*/ 6559 w 10175"/>
                      <a:gd name="connsiteY7" fmla="*/ 0 h 10000"/>
                      <a:gd name="connsiteX8" fmla="*/ 10175 w 10175"/>
                      <a:gd name="connsiteY8" fmla="*/ 10000 h 10000"/>
                      <a:gd name="connsiteX0" fmla="*/ 0 w 10175"/>
                      <a:gd name="connsiteY0" fmla="*/ 4000 h 6000"/>
                      <a:gd name="connsiteX1" fmla="*/ 3566 w 10175"/>
                      <a:gd name="connsiteY1" fmla="*/ 6000 h 6000"/>
                      <a:gd name="connsiteX2" fmla="*/ 3916 w 10175"/>
                      <a:gd name="connsiteY2" fmla="*/ 4000 h 6000"/>
                      <a:gd name="connsiteX3" fmla="*/ 4065 w 10175"/>
                      <a:gd name="connsiteY3" fmla="*/ 2000 h 6000"/>
                      <a:gd name="connsiteX4" fmla="*/ 4714 w 10175"/>
                      <a:gd name="connsiteY4" fmla="*/ 4000 h 6000"/>
                      <a:gd name="connsiteX5" fmla="*/ 5237 w 10175"/>
                      <a:gd name="connsiteY5" fmla="*/ 2000 h 6000"/>
                      <a:gd name="connsiteX6" fmla="*/ 5611 w 10175"/>
                      <a:gd name="connsiteY6" fmla="*/ 0 h 6000"/>
                      <a:gd name="connsiteX7" fmla="*/ 6509 w 10175"/>
                      <a:gd name="connsiteY7" fmla="*/ 2000 h 6000"/>
                      <a:gd name="connsiteX8" fmla="*/ 10175 w 10175"/>
                      <a:gd name="connsiteY8" fmla="*/ 6000 h 6000"/>
                      <a:gd name="connsiteX0" fmla="*/ 0 w 10000"/>
                      <a:gd name="connsiteY0" fmla="*/ 7264 h 17286"/>
                      <a:gd name="connsiteX1" fmla="*/ 3505 w 10000"/>
                      <a:gd name="connsiteY1" fmla="*/ 10597 h 17286"/>
                      <a:gd name="connsiteX2" fmla="*/ 3849 w 10000"/>
                      <a:gd name="connsiteY2" fmla="*/ 7264 h 17286"/>
                      <a:gd name="connsiteX3" fmla="*/ 3995 w 10000"/>
                      <a:gd name="connsiteY3" fmla="*/ 3930 h 17286"/>
                      <a:gd name="connsiteX4" fmla="*/ 4633 w 10000"/>
                      <a:gd name="connsiteY4" fmla="*/ 7264 h 17286"/>
                      <a:gd name="connsiteX5" fmla="*/ 5147 w 10000"/>
                      <a:gd name="connsiteY5" fmla="*/ 3930 h 17286"/>
                      <a:gd name="connsiteX6" fmla="*/ 5514 w 10000"/>
                      <a:gd name="connsiteY6" fmla="*/ 597 h 17286"/>
                      <a:gd name="connsiteX7" fmla="*/ 6250 w 10000"/>
                      <a:gd name="connsiteY7" fmla="*/ 17264 h 17286"/>
                      <a:gd name="connsiteX8" fmla="*/ 10000 w 10000"/>
                      <a:gd name="connsiteY8" fmla="*/ 10597 h 17286"/>
                      <a:gd name="connsiteX0" fmla="*/ 0 w 10000"/>
                      <a:gd name="connsiteY0" fmla="*/ 6883 h 10294"/>
                      <a:gd name="connsiteX1" fmla="*/ 3505 w 10000"/>
                      <a:gd name="connsiteY1" fmla="*/ 10216 h 10294"/>
                      <a:gd name="connsiteX2" fmla="*/ 3849 w 10000"/>
                      <a:gd name="connsiteY2" fmla="*/ 6883 h 10294"/>
                      <a:gd name="connsiteX3" fmla="*/ 3995 w 10000"/>
                      <a:gd name="connsiteY3" fmla="*/ 3549 h 10294"/>
                      <a:gd name="connsiteX4" fmla="*/ 4633 w 10000"/>
                      <a:gd name="connsiteY4" fmla="*/ 6883 h 10294"/>
                      <a:gd name="connsiteX5" fmla="*/ 5147 w 10000"/>
                      <a:gd name="connsiteY5" fmla="*/ 3549 h 10294"/>
                      <a:gd name="connsiteX6" fmla="*/ 5514 w 10000"/>
                      <a:gd name="connsiteY6" fmla="*/ 216 h 10294"/>
                      <a:gd name="connsiteX7" fmla="*/ 6176 w 10000"/>
                      <a:gd name="connsiteY7" fmla="*/ 10216 h 10294"/>
                      <a:gd name="connsiteX8" fmla="*/ 10000 w 10000"/>
                      <a:gd name="connsiteY8" fmla="*/ 10216 h 10294"/>
                      <a:gd name="connsiteX0" fmla="*/ 0 w 10000"/>
                      <a:gd name="connsiteY0" fmla="*/ 6881 h 10292"/>
                      <a:gd name="connsiteX1" fmla="*/ 3505 w 10000"/>
                      <a:gd name="connsiteY1" fmla="*/ 10214 h 10292"/>
                      <a:gd name="connsiteX2" fmla="*/ 3995 w 10000"/>
                      <a:gd name="connsiteY2" fmla="*/ 3547 h 10292"/>
                      <a:gd name="connsiteX3" fmla="*/ 4633 w 10000"/>
                      <a:gd name="connsiteY3" fmla="*/ 6881 h 10292"/>
                      <a:gd name="connsiteX4" fmla="*/ 5147 w 10000"/>
                      <a:gd name="connsiteY4" fmla="*/ 3547 h 10292"/>
                      <a:gd name="connsiteX5" fmla="*/ 5514 w 10000"/>
                      <a:gd name="connsiteY5" fmla="*/ 214 h 10292"/>
                      <a:gd name="connsiteX6" fmla="*/ 6176 w 10000"/>
                      <a:gd name="connsiteY6" fmla="*/ 10214 h 10292"/>
                      <a:gd name="connsiteX7" fmla="*/ 10000 w 10000"/>
                      <a:gd name="connsiteY7" fmla="*/ 10214 h 10292"/>
                      <a:gd name="connsiteX0" fmla="*/ 0 w 10000"/>
                      <a:gd name="connsiteY0" fmla="*/ 10127 h 76793"/>
                      <a:gd name="connsiteX1" fmla="*/ 3505 w 10000"/>
                      <a:gd name="connsiteY1" fmla="*/ 13460 h 76793"/>
                      <a:gd name="connsiteX2" fmla="*/ 3995 w 10000"/>
                      <a:gd name="connsiteY2" fmla="*/ 6793 h 76793"/>
                      <a:gd name="connsiteX3" fmla="*/ 4535 w 10000"/>
                      <a:gd name="connsiteY3" fmla="*/ 76793 h 76793"/>
                      <a:gd name="connsiteX4" fmla="*/ 5147 w 10000"/>
                      <a:gd name="connsiteY4" fmla="*/ 6793 h 76793"/>
                      <a:gd name="connsiteX5" fmla="*/ 5514 w 10000"/>
                      <a:gd name="connsiteY5" fmla="*/ 3460 h 76793"/>
                      <a:gd name="connsiteX6" fmla="*/ 6176 w 10000"/>
                      <a:gd name="connsiteY6" fmla="*/ 13460 h 76793"/>
                      <a:gd name="connsiteX7" fmla="*/ 10000 w 10000"/>
                      <a:gd name="connsiteY7" fmla="*/ 13460 h 76793"/>
                      <a:gd name="connsiteX0" fmla="*/ 0 w 10000"/>
                      <a:gd name="connsiteY0" fmla="*/ 74224 h 140890"/>
                      <a:gd name="connsiteX1" fmla="*/ 3505 w 10000"/>
                      <a:gd name="connsiteY1" fmla="*/ 77557 h 140890"/>
                      <a:gd name="connsiteX2" fmla="*/ 4093 w 10000"/>
                      <a:gd name="connsiteY2" fmla="*/ 891 h 140890"/>
                      <a:gd name="connsiteX3" fmla="*/ 4535 w 10000"/>
                      <a:gd name="connsiteY3" fmla="*/ 140890 h 140890"/>
                      <a:gd name="connsiteX4" fmla="*/ 5147 w 10000"/>
                      <a:gd name="connsiteY4" fmla="*/ 70890 h 140890"/>
                      <a:gd name="connsiteX5" fmla="*/ 5514 w 10000"/>
                      <a:gd name="connsiteY5" fmla="*/ 67557 h 140890"/>
                      <a:gd name="connsiteX6" fmla="*/ 6176 w 10000"/>
                      <a:gd name="connsiteY6" fmla="*/ 77557 h 140890"/>
                      <a:gd name="connsiteX7" fmla="*/ 10000 w 10000"/>
                      <a:gd name="connsiteY7" fmla="*/ 77557 h 140890"/>
                      <a:gd name="connsiteX0" fmla="*/ 0 w 10000"/>
                      <a:gd name="connsiteY0" fmla="*/ 74765 h 141431"/>
                      <a:gd name="connsiteX1" fmla="*/ 3505 w 10000"/>
                      <a:gd name="connsiteY1" fmla="*/ 78098 h 141431"/>
                      <a:gd name="connsiteX2" fmla="*/ 4093 w 10000"/>
                      <a:gd name="connsiteY2" fmla="*/ 1432 h 141431"/>
                      <a:gd name="connsiteX3" fmla="*/ 4535 w 10000"/>
                      <a:gd name="connsiteY3" fmla="*/ 141431 h 141431"/>
                      <a:gd name="connsiteX4" fmla="*/ 5147 w 10000"/>
                      <a:gd name="connsiteY4" fmla="*/ 71431 h 141431"/>
                      <a:gd name="connsiteX5" fmla="*/ 5514 w 10000"/>
                      <a:gd name="connsiteY5" fmla="*/ 68098 h 141431"/>
                      <a:gd name="connsiteX6" fmla="*/ 6176 w 10000"/>
                      <a:gd name="connsiteY6" fmla="*/ 78098 h 141431"/>
                      <a:gd name="connsiteX7" fmla="*/ 10000 w 10000"/>
                      <a:gd name="connsiteY7" fmla="*/ 78098 h 141431"/>
                      <a:gd name="connsiteX0" fmla="*/ 0 w 10000"/>
                      <a:gd name="connsiteY0" fmla="*/ 73867 h 140533"/>
                      <a:gd name="connsiteX1" fmla="*/ 3505 w 10000"/>
                      <a:gd name="connsiteY1" fmla="*/ 77200 h 140533"/>
                      <a:gd name="connsiteX2" fmla="*/ 4093 w 10000"/>
                      <a:gd name="connsiteY2" fmla="*/ 534 h 140533"/>
                      <a:gd name="connsiteX3" fmla="*/ 4535 w 10000"/>
                      <a:gd name="connsiteY3" fmla="*/ 140533 h 140533"/>
                      <a:gd name="connsiteX4" fmla="*/ 5147 w 10000"/>
                      <a:gd name="connsiteY4" fmla="*/ 70533 h 140533"/>
                      <a:gd name="connsiteX5" fmla="*/ 5514 w 10000"/>
                      <a:gd name="connsiteY5" fmla="*/ 67200 h 140533"/>
                      <a:gd name="connsiteX6" fmla="*/ 6176 w 10000"/>
                      <a:gd name="connsiteY6" fmla="*/ 77200 h 140533"/>
                      <a:gd name="connsiteX7" fmla="*/ 10000 w 10000"/>
                      <a:gd name="connsiteY7" fmla="*/ 77200 h 140533"/>
                      <a:gd name="connsiteX0" fmla="*/ 0 w 10000"/>
                      <a:gd name="connsiteY0" fmla="*/ 73867 h 140533"/>
                      <a:gd name="connsiteX1" fmla="*/ 3505 w 10000"/>
                      <a:gd name="connsiteY1" fmla="*/ 77200 h 140533"/>
                      <a:gd name="connsiteX2" fmla="*/ 4093 w 10000"/>
                      <a:gd name="connsiteY2" fmla="*/ 534 h 140533"/>
                      <a:gd name="connsiteX3" fmla="*/ 4535 w 10000"/>
                      <a:gd name="connsiteY3" fmla="*/ 140533 h 140533"/>
                      <a:gd name="connsiteX4" fmla="*/ 5147 w 10000"/>
                      <a:gd name="connsiteY4" fmla="*/ 70533 h 140533"/>
                      <a:gd name="connsiteX5" fmla="*/ 5514 w 10000"/>
                      <a:gd name="connsiteY5" fmla="*/ 67200 h 140533"/>
                      <a:gd name="connsiteX6" fmla="*/ 6176 w 10000"/>
                      <a:gd name="connsiteY6" fmla="*/ 77200 h 140533"/>
                      <a:gd name="connsiteX7" fmla="*/ 10000 w 10000"/>
                      <a:gd name="connsiteY7" fmla="*/ 77200 h 140533"/>
                      <a:gd name="connsiteX0" fmla="*/ 0 w 10000"/>
                      <a:gd name="connsiteY0" fmla="*/ 76346 h 143012"/>
                      <a:gd name="connsiteX1" fmla="*/ 3505 w 10000"/>
                      <a:gd name="connsiteY1" fmla="*/ 79679 h 143012"/>
                      <a:gd name="connsiteX2" fmla="*/ 4093 w 10000"/>
                      <a:gd name="connsiteY2" fmla="*/ 3013 h 143012"/>
                      <a:gd name="connsiteX3" fmla="*/ 4535 w 10000"/>
                      <a:gd name="connsiteY3" fmla="*/ 143012 h 143012"/>
                      <a:gd name="connsiteX4" fmla="*/ 5147 w 10000"/>
                      <a:gd name="connsiteY4" fmla="*/ 73012 h 143012"/>
                      <a:gd name="connsiteX5" fmla="*/ 5514 w 10000"/>
                      <a:gd name="connsiteY5" fmla="*/ 69679 h 143012"/>
                      <a:gd name="connsiteX6" fmla="*/ 6176 w 10000"/>
                      <a:gd name="connsiteY6" fmla="*/ 79679 h 143012"/>
                      <a:gd name="connsiteX7" fmla="*/ 10000 w 10000"/>
                      <a:gd name="connsiteY7" fmla="*/ 79679 h 143012"/>
                      <a:gd name="connsiteX0" fmla="*/ 0 w 10000"/>
                      <a:gd name="connsiteY0" fmla="*/ 76348 h 143014"/>
                      <a:gd name="connsiteX1" fmla="*/ 3505 w 10000"/>
                      <a:gd name="connsiteY1" fmla="*/ 79681 h 143014"/>
                      <a:gd name="connsiteX2" fmla="*/ 4093 w 10000"/>
                      <a:gd name="connsiteY2" fmla="*/ 3015 h 143014"/>
                      <a:gd name="connsiteX3" fmla="*/ 4535 w 10000"/>
                      <a:gd name="connsiteY3" fmla="*/ 143014 h 143014"/>
                      <a:gd name="connsiteX4" fmla="*/ 5147 w 10000"/>
                      <a:gd name="connsiteY4" fmla="*/ 73014 h 143014"/>
                      <a:gd name="connsiteX5" fmla="*/ 5514 w 10000"/>
                      <a:gd name="connsiteY5" fmla="*/ 69681 h 143014"/>
                      <a:gd name="connsiteX6" fmla="*/ 6176 w 10000"/>
                      <a:gd name="connsiteY6" fmla="*/ 79681 h 143014"/>
                      <a:gd name="connsiteX7" fmla="*/ 10000 w 10000"/>
                      <a:gd name="connsiteY7" fmla="*/ 79681 h 143014"/>
                      <a:gd name="connsiteX0" fmla="*/ 0 w 10000"/>
                      <a:gd name="connsiteY0" fmla="*/ 73333 h 139999"/>
                      <a:gd name="connsiteX1" fmla="*/ 3505 w 10000"/>
                      <a:gd name="connsiteY1" fmla="*/ 76666 h 139999"/>
                      <a:gd name="connsiteX2" fmla="*/ 4093 w 10000"/>
                      <a:gd name="connsiteY2" fmla="*/ 0 h 139999"/>
                      <a:gd name="connsiteX3" fmla="*/ 4535 w 10000"/>
                      <a:gd name="connsiteY3" fmla="*/ 139999 h 139999"/>
                      <a:gd name="connsiteX4" fmla="*/ 5147 w 10000"/>
                      <a:gd name="connsiteY4" fmla="*/ 69999 h 139999"/>
                      <a:gd name="connsiteX5" fmla="*/ 5514 w 10000"/>
                      <a:gd name="connsiteY5" fmla="*/ 66666 h 139999"/>
                      <a:gd name="connsiteX6" fmla="*/ 6176 w 10000"/>
                      <a:gd name="connsiteY6" fmla="*/ 76666 h 139999"/>
                      <a:gd name="connsiteX7" fmla="*/ 10000 w 10000"/>
                      <a:gd name="connsiteY7" fmla="*/ 76666 h 139999"/>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88187 h 161520"/>
                      <a:gd name="connsiteX1" fmla="*/ 3505 w 10000"/>
                      <a:gd name="connsiteY1" fmla="*/ 91520 h 161520"/>
                      <a:gd name="connsiteX2" fmla="*/ 4093 w 10000"/>
                      <a:gd name="connsiteY2" fmla="*/ 14854 h 161520"/>
                      <a:gd name="connsiteX3" fmla="*/ 4609 w 10000"/>
                      <a:gd name="connsiteY3" fmla="*/ 161520 h 161520"/>
                      <a:gd name="connsiteX4" fmla="*/ 5245 w 10000"/>
                      <a:gd name="connsiteY4" fmla="*/ 1521 h 161520"/>
                      <a:gd name="connsiteX5" fmla="*/ 5514 w 10000"/>
                      <a:gd name="connsiteY5" fmla="*/ 81520 h 161520"/>
                      <a:gd name="connsiteX6" fmla="*/ 6176 w 10000"/>
                      <a:gd name="connsiteY6" fmla="*/ 91520 h 161520"/>
                      <a:gd name="connsiteX7" fmla="*/ 10000 w 10000"/>
                      <a:gd name="connsiteY7" fmla="*/ 91520 h 161520"/>
                      <a:gd name="connsiteX0" fmla="*/ 0 w 10000"/>
                      <a:gd name="connsiteY0" fmla="*/ 88187 h 161520"/>
                      <a:gd name="connsiteX1" fmla="*/ 3505 w 10000"/>
                      <a:gd name="connsiteY1" fmla="*/ 91520 h 161520"/>
                      <a:gd name="connsiteX2" fmla="*/ 4093 w 10000"/>
                      <a:gd name="connsiteY2" fmla="*/ 14854 h 161520"/>
                      <a:gd name="connsiteX3" fmla="*/ 4609 w 10000"/>
                      <a:gd name="connsiteY3" fmla="*/ 161520 h 161520"/>
                      <a:gd name="connsiteX4" fmla="*/ 5245 w 10000"/>
                      <a:gd name="connsiteY4" fmla="*/ 1521 h 161520"/>
                      <a:gd name="connsiteX5" fmla="*/ 5514 w 10000"/>
                      <a:gd name="connsiteY5" fmla="*/ 81520 h 161520"/>
                      <a:gd name="connsiteX6" fmla="*/ 6176 w 10000"/>
                      <a:gd name="connsiteY6" fmla="*/ 91520 h 161520"/>
                      <a:gd name="connsiteX7" fmla="*/ 10000 w 10000"/>
                      <a:gd name="connsiteY7" fmla="*/ 91520 h 161520"/>
                      <a:gd name="connsiteX0" fmla="*/ 0 w 10000"/>
                      <a:gd name="connsiteY0" fmla="*/ 88918 h 162251"/>
                      <a:gd name="connsiteX1" fmla="*/ 3505 w 10000"/>
                      <a:gd name="connsiteY1" fmla="*/ 92251 h 162251"/>
                      <a:gd name="connsiteX2" fmla="*/ 4093 w 10000"/>
                      <a:gd name="connsiteY2" fmla="*/ 15585 h 162251"/>
                      <a:gd name="connsiteX3" fmla="*/ 4609 w 10000"/>
                      <a:gd name="connsiteY3" fmla="*/ 162251 h 162251"/>
                      <a:gd name="connsiteX4" fmla="*/ 5245 w 10000"/>
                      <a:gd name="connsiteY4" fmla="*/ 2252 h 162251"/>
                      <a:gd name="connsiteX5" fmla="*/ 5514 w 10000"/>
                      <a:gd name="connsiteY5" fmla="*/ 82251 h 162251"/>
                      <a:gd name="connsiteX6" fmla="*/ 6176 w 10000"/>
                      <a:gd name="connsiteY6" fmla="*/ 92251 h 162251"/>
                      <a:gd name="connsiteX7" fmla="*/ 10000 w 10000"/>
                      <a:gd name="connsiteY7" fmla="*/ 92251 h 162251"/>
                      <a:gd name="connsiteX0" fmla="*/ 0 w 10000"/>
                      <a:gd name="connsiteY0" fmla="*/ 88918 h 162251"/>
                      <a:gd name="connsiteX1" fmla="*/ 3505 w 10000"/>
                      <a:gd name="connsiteY1" fmla="*/ 92251 h 162251"/>
                      <a:gd name="connsiteX2" fmla="*/ 4093 w 10000"/>
                      <a:gd name="connsiteY2" fmla="*/ 15585 h 162251"/>
                      <a:gd name="connsiteX3" fmla="*/ 4609 w 10000"/>
                      <a:gd name="connsiteY3" fmla="*/ 162251 h 162251"/>
                      <a:gd name="connsiteX4" fmla="*/ 5245 w 10000"/>
                      <a:gd name="connsiteY4" fmla="*/ 2252 h 162251"/>
                      <a:gd name="connsiteX5" fmla="*/ 5514 w 10000"/>
                      <a:gd name="connsiteY5" fmla="*/ 82251 h 162251"/>
                      <a:gd name="connsiteX6" fmla="*/ 6176 w 10000"/>
                      <a:gd name="connsiteY6" fmla="*/ 92251 h 162251"/>
                      <a:gd name="connsiteX7" fmla="*/ 10000 w 10000"/>
                      <a:gd name="connsiteY7" fmla="*/ 92251 h 162251"/>
                      <a:gd name="connsiteX0" fmla="*/ 0 w 10000"/>
                      <a:gd name="connsiteY0" fmla="*/ 87898 h 161231"/>
                      <a:gd name="connsiteX1" fmla="*/ 3505 w 10000"/>
                      <a:gd name="connsiteY1" fmla="*/ 91231 h 161231"/>
                      <a:gd name="connsiteX2" fmla="*/ 4093 w 10000"/>
                      <a:gd name="connsiteY2" fmla="*/ 14565 h 161231"/>
                      <a:gd name="connsiteX3" fmla="*/ 4609 w 10000"/>
                      <a:gd name="connsiteY3" fmla="*/ 161231 h 161231"/>
                      <a:gd name="connsiteX4" fmla="*/ 5245 w 10000"/>
                      <a:gd name="connsiteY4" fmla="*/ 1232 h 161231"/>
                      <a:gd name="connsiteX5" fmla="*/ 5416 w 10000"/>
                      <a:gd name="connsiteY5" fmla="*/ 131230 h 161231"/>
                      <a:gd name="connsiteX6" fmla="*/ 6176 w 10000"/>
                      <a:gd name="connsiteY6" fmla="*/ 91231 h 161231"/>
                      <a:gd name="connsiteX7" fmla="*/ 10000 w 10000"/>
                      <a:gd name="connsiteY7" fmla="*/ 91231 h 161231"/>
                      <a:gd name="connsiteX0" fmla="*/ 0 w 10000"/>
                      <a:gd name="connsiteY0" fmla="*/ 87641 h 160974"/>
                      <a:gd name="connsiteX1" fmla="*/ 3505 w 10000"/>
                      <a:gd name="connsiteY1" fmla="*/ 90974 h 160974"/>
                      <a:gd name="connsiteX2" fmla="*/ 4093 w 10000"/>
                      <a:gd name="connsiteY2" fmla="*/ 14308 h 160974"/>
                      <a:gd name="connsiteX3" fmla="*/ 4609 w 10000"/>
                      <a:gd name="connsiteY3" fmla="*/ 160974 h 160974"/>
                      <a:gd name="connsiteX4" fmla="*/ 5245 w 10000"/>
                      <a:gd name="connsiteY4" fmla="*/ 975 h 160974"/>
                      <a:gd name="connsiteX5" fmla="*/ 5416 w 10000"/>
                      <a:gd name="connsiteY5" fmla="*/ 130973 h 160974"/>
                      <a:gd name="connsiteX6" fmla="*/ 5882 w 10000"/>
                      <a:gd name="connsiteY6" fmla="*/ 94307 h 160974"/>
                      <a:gd name="connsiteX7" fmla="*/ 6176 w 10000"/>
                      <a:gd name="connsiteY7" fmla="*/ 90974 h 160974"/>
                      <a:gd name="connsiteX8" fmla="*/ 10000 w 10000"/>
                      <a:gd name="connsiteY8" fmla="*/ 90974 h 160974"/>
                      <a:gd name="connsiteX0" fmla="*/ 0 w 10000"/>
                      <a:gd name="connsiteY0" fmla="*/ 96964 h 170297"/>
                      <a:gd name="connsiteX1" fmla="*/ 3505 w 10000"/>
                      <a:gd name="connsiteY1" fmla="*/ 100297 h 170297"/>
                      <a:gd name="connsiteX2" fmla="*/ 4093 w 10000"/>
                      <a:gd name="connsiteY2" fmla="*/ 23631 h 170297"/>
                      <a:gd name="connsiteX3" fmla="*/ 4609 w 10000"/>
                      <a:gd name="connsiteY3" fmla="*/ 170297 h 170297"/>
                      <a:gd name="connsiteX4" fmla="*/ 5245 w 10000"/>
                      <a:gd name="connsiteY4" fmla="*/ 10298 h 170297"/>
                      <a:gd name="connsiteX5" fmla="*/ 5416 w 10000"/>
                      <a:gd name="connsiteY5" fmla="*/ 140296 h 170297"/>
                      <a:gd name="connsiteX6" fmla="*/ 5833 w 10000"/>
                      <a:gd name="connsiteY6" fmla="*/ 298 h 170297"/>
                      <a:gd name="connsiteX7" fmla="*/ 6176 w 10000"/>
                      <a:gd name="connsiteY7" fmla="*/ 100297 h 170297"/>
                      <a:gd name="connsiteX8" fmla="*/ 10000 w 10000"/>
                      <a:gd name="connsiteY8" fmla="*/ 100297 h 170297"/>
                      <a:gd name="connsiteX0" fmla="*/ 0 w 10000"/>
                      <a:gd name="connsiteY0" fmla="*/ 96964 h 170297"/>
                      <a:gd name="connsiteX1" fmla="*/ 3505 w 10000"/>
                      <a:gd name="connsiteY1" fmla="*/ 100297 h 170297"/>
                      <a:gd name="connsiteX2" fmla="*/ 3970 w 10000"/>
                      <a:gd name="connsiteY2" fmla="*/ 20297 h 170297"/>
                      <a:gd name="connsiteX3" fmla="*/ 4609 w 10000"/>
                      <a:gd name="connsiteY3" fmla="*/ 170297 h 170297"/>
                      <a:gd name="connsiteX4" fmla="*/ 5245 w 10000"/>
                      <a:gd name="connsiteY4" fmla="*/ 10298 h 170297"/>
                      <a:gd name="connsiteX5" fmla="*/ 5416 w 10000"/>
                      <a:gd name="connsiteY5" fmla="*/ 140296 h 170297"/>
                      <a:gd name="connsiteX6" fmla="*/ 5833 w 10000"/>
                      <a:gd name="connsiteY6" fmla="*/ 298 h 170297"/>
                      <a:gd name="connsiteX7" fmla="*/ 6176 w 10000"/>
                      <a:gd name="connsiteY7" fmla="*/ 100297 h 170297"/>
                      <a:gd name="connsiteX8" fmla="*/ 10000 w 10000"/>
                      <a:gd name="connsiteY8" fmla="*/ 100297 h 170297"/>
                      <a:gd name="connsiteX0" fmla="*/ 0 w 10000"/>
                      <a:gd name="connsiteY0" fmla="*/ 96964 h 176218"/>
                      <a:gd name="connsiteX1" fmla="*/ 3505 w 10000"/>
                      <a:gd name="connsiteY1" fmla="*/ 100297 h 176218"/>
                      <a:gd name="connsiteX2" fmla="*/ 3970 w 10000"/>
                      <a:gd name="connsiteY2" fmla="*/ 20297 h 176218"/>
                      <a:gd name="connsiteX3" fmla="*/ 4609 w 10000"/>
                      <a:gd name="connsiteY3" fmla="*/ 170297 h 176218"/>
                      <a:gd name="connsiteX4" fmla="*/ 4436 w 10000"/>
                      <a:gd name="connsiteY4" fmla="*/ 120294 h 176218"/>
                      <a:gd name="connsiteX5" fmla="*/ 5245 w 10000"/>
                      <a:gd name="connsiteY5" fmla="*/ 10298 h 176218"/>
                      <a:gd name="connsiteX6" fmla="*/ 5416 w 10000"/>
                      <a:gd name="connsiteY6" fmla="*/ 140296 h 176218"/>
                      <a:gd name="connsiteX7" fmla="*/ 5833 w 10000"/>
                      <a:gd name="connsiteY7" fmla="*/ 298 h 176218"/>
                      <a:gd name="connsiteX8" fmla="*/ 6176 w 10000"/>
                      <a:gd name="connsiteY8" fmla="*/ 100297 h 176218"/>
                      <a:gd name="connsiteX9" fmla="*/ 10000 w 10000"/>
                      <a:gd name="connsiteY9" fmla="*/ 100297 h 176218"/>
                      <a:gd name="connsiteX0" fmla="*/ 0 w 10000"/>
                      <a:gd name="connsiteY0" fmla="*/ 113357 h 192613"/>
                      <a:gd name="connsiteX1" fmla="*/ 3505 w 10000"/>
                      <a:gd name="connsiteY1" fmla="*/ 116690 h 192613"/>
                      <a:gd name="connsiteX2" fmla="*/ 3970 w 10000"/>
                      <a:gd name="connsiteY2" fmla="*/ 36690 h 192613"/>
                      <a:gd name="connsiteX3" fmla="*/ 4609 w 10000"/>
                      <a:gd name="connsiteY3" fmla="*/ 186690 h 192613"/>
                      <a:gd name="connsiteX4" fmla="*/ 4436 w 10000"/>
                      <a:gd name="connsiteY4" fmla="*/ 136687 h 192613"/>
                      <a:gd name="connsiteX5" fmla="*/ 5000 w 10000"/>
                      <a:gd name="connsiteY5" fmla="*/ 24 h 192613"/>
                      <a:gd name="connsiteX6" fmla="*/ 5416 w 10000"/>
                      <a:gd name="connsiteY6" fmla="*/ 156689 h 192613"/>
                      <a:gd name="connsiteX7" fmla="*/ 5833 w 10000"/>
                      <a:gd name="connsiteY7" fmla="*/ 16691 h 192613"/>
                      <a:gd name="connsiteX8" fmla="*/ 6176 w 10000"/>
                      <a:gd name="connsiteY8" fmla="*/ 116690 h 192613"/>
                      <a:gd name="connsiteX9" fmla="*/ 10000 w 10000"/>
                      <a:gd name="connsiteY9" fmla="*/ 116690 h 192613"/>
                      <a:gd name="connsiteX0" fmla="*/ 0 w 10000"/>
                      <a:gd name="connsiteY0" fmla="*/ 113359 h 157828"/>
                      <a:gd name="connsiteX1" fmla="*/ 3505 w 10000"/>
                      <a:gd name="connsiteY1" fmla="*/ 116692 h 157828"/>
                      <a:gd name="connsiteX2" fmla="*/ 3970 w 10000"/>
                      <a:gd name="connsiteY2" fmla="*/ 36692 h 157828"/>
                      <a:gd name="connsiteX3" fmla="*/ 4436 w 10000"/>
                      <a:gd name="connsiteY3" fmla="*/ 136689 h 157828"/>
                      <a:gd name="connsiteX4" fmla="*/ 5000 w 10000"/>
                      <a:gd name="connsiteY4" fmla="*/ 26 h 157828"/>
                      <a:gd name="connsiteX5" fmla="*/ 5416 w 10000"/>
                      <a:gd name="connsiteY5" fmla="*/ 156691 h 157828"/>
                      <a:gd name="connsiteX6" fmla="*/ 5833 w 10000"/>
                      <a:gd name="connsiteY6" fmla="*/ 16693 h 157828"/>
                      <a:gd name="connsiteX7" fmla="*/ 6176 w 10000"/>
                      <a:gd name="connsiteY7" fmla="*/ 116692 h 157828"/>
                      <a:gd name="connsiteX8" fmla="*/ 10000 w 10000"/>
                      <a:gd name="connsiteY8" fmla="*/ 116692 h 157828"/>
                      <a:gd name="connsiteX0" fmla="*/ 0 w 10000"/>
                      <a:gd name="connsiteY0" fmla="*/ 113362 h 136955"/>
                      <a:gd name="connsiteX1" fmla="*/ 3505 w 10000"/>
                      <a:gd name="connsiteY1" fmla="*/ 116695 h 136955"/>
                      <a:gd name="connsiteX2" fmla="*/ 3970 w 10000"/>
                      <a:gd name="connsiteY2" fmla="*/ 36695 h 136955"/>
                      <a:gd name="connsiteX3" fmla="*/ 4436 w 10000"/>
                      <a:gd name="connsiteY3" fmla="*/ 136692 h 136955"/>
                      <a:gd name="connsiteX4" fmla="*/ 5000 w 10000"/>
                      <a:gd name="connsiteY4" fmla="*/ 29 h 136955"/>
                      <a:gd name="connsiteX5" fmla="*/ 5293 w 10000"/>
                      <a:gd name="connsiteY5" fmla="*/ 133361 h 136955"/>
                      <a:gd name="connsiteX6" fmla="*/ 5833 w 10000"/>
                      <a:gd name="connsiteY6" fmla="*/ 16696 h 136955"/>
                      <a:gd name="connsiteX7" fmla="*/ 6176 w 10000"/>
                      <a:gd name="connsiteY7" fmla="*/ 116695 h 136955"/>
                      <a:gd name="connsiteX8" fmla="*/ 10000 w 10000"/>
                      <a:gd name="connsiteY8" fmla="*/ 116695 h 136955"/>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833 w 10000"/>
                      <a:gd name="connsiteY6" fmla="*/ 26694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710 w 10000"/>
                      <a:gd name="connsiteY6" fmla="*/ 36694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710 w 10000"/>
                      <a:gd name="connsiteY6" fmla="*/ 36694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710 w 10000"/>
                      <a:gd name="connsiteY6" fmla="*/ 36694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685 w 10000"/>
                      <a:gd name="connsiteY6" fmla="*/ 23361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685 w 10000"/>
                      <a:gd name="connsiteY6" fmla="*/ 23361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32 h 146925"/>
                      <a:gd name="connsiteX1" fmla="*/ 3505 w 10000"/>
                      <a:gd name="connsiteY1" fmla="*/ 126665 h 146925"/>
                      <a:gd name="connsiteX2" fmla="*/ 3970 w 10000"/>
                      <a:gd name="connsiteY2" fmla="*/ 46665 h 146925"/>
                      <a:gd name="connsiteX3" fmla="*/ 4436 w 10000"/>
                      <a:gd name="connsiteY3" fmla="*/ 146662 h 146925"/>
                      <a:gd name="connsiteX4" fmla="*/ 4902 w 10000"/>
                      <a:gd name="connsiteY4" fmla="*/ 0 h 146925"/>
                      <a:gd name="connsiteX5" fmla="*/ 5293 w 10000"/>
                      <a:gd name="connsiteY5" fmla="*/ 143331 h 146925"/>
                      <a:gd name="connsiteX6" fmla="*/ 5685 w 10000"/>
                      <a:gd name="connsiteY6" fmla="*/ 23333 h 146925"/>
                      <a:gd name="connsiteX7" fmla="*/ 6176 w 10000"/>
                      <a:gd name="connsiteY7" fmla="*/ 126665 h 146925"/>
                      <a:gd name="connsiteX8" fmla="*/ 10000 w 10000"/>
                      <a:gd name="connsiteY8" fmla="*/ 126665 h 146925"/>
                      <a:gd name="connsiteX0" fmla="*/ 0 w 10000"/>
                      <a:gd name="connsiteY0" fmla="*/ 123332 h 146923"/>
                      <a:gd name="connsiteX1" fmla="*/ 3505 w 10000"/>
                      <a:gd name="connsiteY1" fmla="*/ 126665 h 146923"/>
                      <a:gd name="connsiteX2" fmla="*/ 3970 w 10000"/>
                      <a:gd name="connsiteY2" fmla="*/ 46665 h 146923"/>
                      <a:gd name="connsiteX3" fmla="*/ 4436 w 10000"/>
                      <a:gd name="connsiteY3" fmla="*/ 146662 h 146923"/>
                      <a:gd name="connsiteX4" fmla="*/ 4902 w 10000"/>
                      <a:gd name="connsiteY4" fmla="*/ 0 h 146923"/>
                      <a:gd name="connsiteX5" fmla="*/ 5293 w 10000"/>
                      <a:gd name="connsiteY5" fmla="*/ 143331 h 146923"/>
                      <a:gd name="connsiteX6" fmla="*/ 5685 w 10000"/>
                      <a:gd name="connsiteY6" fmla="*/ 23333 h 146923"/>
                      <a:gd name="connsiteX7" fmla="*/ 6176 w 10000"/>
                      <a:gd name="connsiteY7" fmla="*/ 126665 h 146923"/>
                      <a:gd name="connsiteX8" fmla="*/ 10000 w 10000"/>
                      <a:gd name="connsiteY8" fmla="*/ 126665 h 146923"/>
                      <a:gd name="connsiteX0" fmla="*/ 0 w 10000"/>
                      <a:gd name="connsiteY0" fmla="*/ 123332 h 146925"/>
                      <a:gd name="connsiteX1" fmla="*/ 3505 w 10000"/>
                      <a:gd name="connsiteY1" fmla="*/ 126665 h 146925"/>
                      <a:gd name="connsiteX2" fmla="*/ 3970 w 10000"/>
                      <a:gd name="connsiteY2" fmla="*/ 46665 h 146925"/>
                      <a:gd name="connsiteX3" fmla="*/ 4436 w 10000"/>
                      <a:gd name="connsiteY3" fmla="*/ 146662 h 146925"/>
                      <a:gd name="connsiteX4" fmla="*/ 4902 w 10000"/>
                      <a:gd name="connsiteY4" fmla="*/ 0 h 146925"/>
                      <a:gd name="connsiteX5" fmla="*/ 5293 w 10000"/>
                      <a:gd name="connsiteY5" fmla="*/ 143331 h 146925"/>
                      <a:gd name="connsiteX6" fmla="*/ 5685 w 10000"/>
                      <a:gd name="connsiteY6" fmla="*/ 23333 h 146925"/>
                      <a:gd name="connsiteX7" fmla="*/ 6176 w 10000"/>
                      <a:gd name="connsiteY7" fmla="*/ 126665 h 146925"/>
                      <a:gd name="connsiteX8" fmla="*/ 10000 w 10000"/>
                      <a:gd name="connsiteY8" fmla="*/ 126665 h 146925"/>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387 w 10000"/>
                      <a:gd name="connsiteY3" fmla="*/ 146663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6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55 w 10000"/>
                      <a:gd name="connsiteY1" fmla="*/ 113973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5479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355 w 10000"/>
                      <a:gd name="connsiteY1" fmla="*/ 116985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46664">
                        <a:moveTo>
                          <a:pt x="0" y="116665"/>
                        </a:moveTo>
                        <a:cubicBezTo>
                          <a:pt x="705" y="117360"/>
                          <a:pt x="2183" y="116985"/>
                          <a:pt x="3355" y="116985"/>
                        </a:cubicBezTo>
                        <a:cubicBezTo>
                          <a:pt x="3530" y="79762"/>
                          <a:pt x="3752" y="69442"/>
                          <a:pt x="3921" y="29998"/>
                        </a:cubicBezTo>
                        <a:cubicBezTo>
                          <a:pt x="4101" y="79997"/>
                          <a:pt x="4215" y="106107"/>
                          <a:pt x="4387" y="139996"/>
                        </a:cubicBezTo>
                        <a:cubicBezTo>
                          <a:pt x="4608" y="87218"/>
                          <a:pt x="4643" y="55555"/>
                          <a:pt x="4828" y="0"/>
                        </a:cubicBezTo>
                        <a:cubicBezTo>
                          <a:pt x="5062" y="74443"/>
                          <a:pt x="5187" y="97776"/>
                          <a:pt x="5268" y="146664"/>
                        </a:cubicBezTo>
                        <a:cubicBezTo>
                          <a:pt x="5496" y="88887"/>
                          <a:pt x="5509" y="76665"/>
                          <a:pt x="5759" y="23333"/>
                        </a:cubicBezTo>
                        <a:cubicBezTo>
                          <a:pt x="5960" y="69999"/>
                          <a:pt x="6029" y="77221"/>
                          <a:pt x="6176" y="119998"/>
                        </a:cubicBezTo>
                        <a:cubicBezTo>
                          <a:pt x="6915" y="120553"/>
                          <a:pt x="9270" y="117916"/>
                          <a:pt x="10000" y="119998"/>
                        </a:cubicBezTo>
                      </a:path>
                    </a:pathLst>
                  </a:custGeom>
                  <a:noFill/>
                  <a:ln w="127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BBvoice"/>
                      <a:ea typeface="ABBvoice"/>
                      <a:cs typeface="ABBvoice"/>
                    </a:endParaRPr>
                  </a:p>
                </p:txBody>
              </p:sp>
              <p:cxnSp>
                <p:nvCxnSpPr>
                  <p:cNvPr id="151" name="Straight Connector 150"/>
                  <p:cNvCxnSpPr/>
                  <p:nvPr/>
                </p:nvCxnSpPr>
                <p:spPr bwMode="gray">
                  <a:xfrm flipV="1">
                    <a:off x="10153056" y="1276774"/>
                    <a:ext cx="109" cy="39923"/>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6" name="Oval 119"/>
                <p:cNvSpPr/>
                <p:nvPr/>
              </p:nvSpPr>
              <p:spPr bwMode="gray">
                <a:xfrm>
                  <a:off x="8810811" y="1271638"/>
                  <a:ext cx="71575" cy="2685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47" name="Oval 119"/>
                <p:cNvSpPr/>
                <p:nvPr/>
              </p:nvSpPr>
              <p:spPr bwMode="gray">
                <a:xfrm>
                  <a:off x="9008021" y="1271638"/>
                  <a:ext cx="71575" cy="2685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148" name="Straight Connector 147"/>
                <p:cNvCxnSpPr/>
                <p:nvPr/>
              </p:nvCxnSpPr>
              <p:spPr bwMode="gray">
                <a:xfrm>
                  <a:off x="8945111" y="1307252"/>
                  <a:ext cx="0" cy="101258"/>
                </a:xfrm>
                <a:prstGeom prst="line">
                  <a:avLst/>
                </a:prstGeom>
                <a:solidFill>
                  <a:schemeClr val="tx2"/>
                </a:solidFill>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125" name="Group 124">
              <a:extLst>
                <a:ext uri="{FF2B5EF4-FFF2-40B4-BE49-F238E27FC236}">
                  <a16:creationId xmlns:a16="http://schemas.microsoft.com/office/drawing/2014/main" id="{2B7FF007-BD73-4D99-B6CE-D6B8A3F41411}"/>
                </a:ext>
              </a:extLst>
            </p:cNvPr>
            <p:cNvGrpSpPr>
              <a:grpSpLocks noChangeAspect="1"/>
            </p:cNvGrpSpPr>
            <p:nvPr/>
          </p:nvGrpSpPr>
          <p:grpSpPr bwMode="gray">
            <a:xfrm>
              <a:off x="336352" y="4417432"/>
              <a:ext cx="587287" cy="587287"/>
              <a:chOff x="332583" y="3137940"/>
              <a:chExt cx="432000" cy="432000"/>
            </a:xfrm>
          </p:grpSpPr>
          <p:sp>
            <p:nvSpPr>
              <p:cNvPr id="152" name="Rechteck 91">
                <a:extLst>
                  <a:ext uri="{FF2B5EF4-FFF2-40B4-BE49-F238E27FC236}">
                    <a16:creationId xmlns:a16="http://schemas.microsoft.com/office/drawing/2014/main" id="{201E55A6-0AFA-4A23-8CA8-A30FFDD61CA4}"/>
                  </a:ext>
                </a:extLst>
              </p:cNvPr>
              <p:cNvSpPr/>
              <p:nvPr/>
            </p:nvSpPr>
            <p:spPr bwMode="gray">
              <a:xfrm>
                <a:off x="332583" y="3137940"/>
                <a:ext cx="432000" cy="432000"/>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90000"/>
                  </a:lnSpc>
                  <a:spcBef>
                    <a:spcPts val="1100"/>
                  </a:spcBef>
                  <a:spcAft>
                    <a:spcPts val="0"/>
                  </a:spcAft>
                  <a:buClr>
                    <a:srgbClr val="002897"/>
                  </a:buClr>
                  <a:buSzPct val="70000"/>
                  <a:buFontTx/>
                  <a:buNone/>
                  <a:tabLst/>
                  <a:defRPr/>
                </a:pPr>
                <a:endParaRPr kumimoji="0" lang="en-US" sz="1000" b="1"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153" name="Rectangle 77">
                <a:extLst>
                  <a:ext uri="{FF2B5EF4-FFF2-40B4-BE49-F238E27FC236}">
                    <a16:creationId xmlns:a16="http://schemas.microsoft.com/office/drawing/2014/main" id="{0FC89B08-D069-4FE7-9CC5-31C0222FB547}"/>
                  </a:ext>
                </a:extLst>
              </p:cNvPr>
              <p:cNvSpPr/>
              <p:nvPr/>
            </p:nvSpPr>
            <p:spPr bwMode="gray">
              <a:xfrm>
                <a:off x="355175" y="3295085"/>
                <a:ext cx="386816" cy="197716"/>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pic>
        <p:nvPicPr>
          <p:cNvPr id="154" name="Picture 153">
            <a:extLst>
              <a:ext uri="{FF2B5EF4-FFF2-40B4-BE49-F238E27FC236}">
                <a16:creationId xmlns:a16="http://schemas.microsoft.com/office/drawing/2014/main" id="{7BE1AB85-0D94-4DAE-9E30-13E19EA19163}"/>
              </a:ext>
            </a:extLst>
          </p:cNvPr>
          <p:cNvPicPr>
            <a:picLocks noChangeAspect="1"/>
          </p:cNvPicPr>
          <p:nvPr/>
        </p:nvPicPr>
        <p:blipFill rotWithShape="1">
          <a:blip r:embed="rId5"/>
          <a:srcRect t="13639" b="12602"/>
          <a:stretch/>
        </p:blipFill>
        <p:spPr>
          <a:xfrm>
            <a:off x="4292534" y="2176293"/>
            <a:ext cx="3805366" cy="2806795"/>
          </a:xfrm>
          <a:prstGeom prst="rect">
            <a:avLst/>
          </a:prstGeom>
        </p:spPr>
      </p:pic>
    </p:spTree>
    <p:custDataLst>
      <p:tags r:id="rId1"/>
    </p:custDataLst>
    <p:extLst>
      <p:ext uri="{BB962C8B-B14F-4D97-AF65-F5344CB8AC3E}">
        <p14:creationId xmlns:p14="http://schemas.microsoft.com/office/powerpoint/2010/main" val="3507987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750" fill="hold"/>
                                        <p:tgtEl>
                                          <p:spTgt spid="7"/>
                                        </p:tgtEl>
                                        <p:attrNameLst>
                                          <p:attrName>ppt_w</p:attrName>
                                        </p:attrNameLst>
                                      </p:cBhvr>
                                      <p:tavLst>
                                        <p:tav tm="0">
                                          <p:val>
                                            <p:fltVal val="0"/>
                                          </p:val>
                                        </p:tav>
                                        <p:tav tm="100000">
                                          <p:val>
                                            <p:strVal val="#ppt_w"/>
                                          </p:val>
                                        </p:tav>
                                      </p:tavLst>
                                    </p:anim>
                                    <p:anim calcmode="lin" valueType="num">
                                      <p:cBhvr>
                                        <p:cTn id="8" dur="750" fill="hold"/>
                                        <p:tgtEl>
                                          <p:spTgt spid="7"/>
                                        </p:tgtEl>
                                        <p:attrNameLst>
                                          <p:attrName>ppt_h</p:attrName>
                                        </p:attrNameLst>
                                      </p:cBhvr>
                                      <p:tavLst>
                                        <p:tav tm="0">
                                          <p:val>
                                            <p:fltVal val="0"/>
                                          </p:val>
                                        </p:tav>
                                        <p:tav tm="100000">
                                          <p:val>
                                            <p:strVal val="#ppt_h"/>
                                          </p:val>
                                        </p:tav>
                                      </p:tavLst>
                                    </p:anim>
                                  </p:childTnLst>
                                </p:cTn>
                              </p:par>
                              <p:par>
                                <p:cTn id="9" presetID="23" presetClass="entr" presetSubtype="16" fill="hold" nodeType="withEffect">
                                  <p:stCondLst>
                                    <p:cond delay="500"/>
                                  </p:stCondLst>
                                  <p:childTnLst>
                                    <p:set>
                                      <p:cBhvr>
                                        <p:cTn id="10" dur="1" fill="hold">
                                          <p:stCondLst>
                                            <p:cond delay="0"/>
                                          </p:stCondLst>
                                        </p:cTn>
                                        <p:tgtEl>
                                          <p:spTgt spid="8"/>
                                        </p:tgtEl>
                                        <p:attrNameLst>
                                          <p:attrName>style.visibility</p:attrName>
                                        </p:attrNameLst>
                                      </p:cBhvr>
                                      <p:to>
                                        <p:strVal val="visible"/>
                                      </p:to>
                                    </p:set>
                                    <p:anim calcmode="lin" valueType="num">
                                      <p:cBhvr>
                                        <p:cTn id="11" dur="750" fill="hold"/>
                                        <p:tgtEl>
                                          <p:spTgt spid="8"/>
                                        </p:tgtEl>
                                        <p:attrNameLst>
                                          <p:attrName>ppt_w</p:attrName>
                                        </p:attrNameLst>
                                      </p:cBhvr>
                                      <p:tavLst>
                                        <p:tav tm="0">
                                          <p:val>
                                            <p:fltVal val="0"/>
                                          </p:val>
                                        </p:tav>
                                        <p:tav tm="100000">
                                          <p:val>
                                            <p:strVal val="#ppt_w"/>
                                          </p:val>
                                        </p:tav>
                                      </p:tavLst>
                                    </p:anim>
                                    <p:anim calcmode="lin" valueType="num">
                                      <p:cBhvr>
                                        <p:cTn id="12" dur="750" fill="hold"/>
                                        <p:tgtEl>
                                          <p:spTgt spid="8"/>
                                        </p:tgtEl>
                                        <p:attrNameLst>
                                          <p:attrName>ppt_h</p:attrName>
                                        </p:attrNameLst>
                                      </p:cBhvr>
                                      <p:tavLst>
                                        <p:tav tm="0">
                                          <p:val>
                                            <p:fltVal val="0"/>
                                          </p:val>
                                        </p:tav>
                                        <p:tav tm="100000">
                                          <p:val>
                                            <p:strVal val="#ppt_h"/>
                                          </p:val>
                                        </p:tav>
                                      </p:tavLst>
                                    </p:anim>
                                  </p:childTnLst>
                                </p:cTn>
                              </p:par>
                              <p:par>
                                <p:cTn id="13" presetID="23" presetClass="entr" presetSubtype="16"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 calcmode="lin" valueType="num">
                                      <p:cBhvr>
                                        <p:cTn id="15" dur="750" fill="hold"/>
                                        <p:tgtEl>
                                          <p:spTgt spid="11"/>
                                        </p:tgtEl>
                                        <p:attrNameLst>
                                          <p:attrName>ppt_w</p:attrName>
                                        </p:attrNameLst>
                                      </p:cBhvr>
                                      <p:tavLst>
                                        <p:tav tm="0">
                                          <p:val>
                                            <p:fltVal val="0"/>
                                          </p:val>
                                        </p:tav>
                                        <p:tav tm="100000">
                                          <p:val>
                                            <p:strVal val="#ppt_w"/>
                                          </p:val>
                                        </p:tav>
                                      </p:tavLst>
                                    </p:anim>
                                    <p:anim calcmode="lin" valueType="num">
                                      <p:cBhvr>
                                        <p:cTn id="16" dur="750" fill="hold"/>
                                        <p:tgtEl>
                                          <p:spTgt spid="11"/>
                                        </p:tgtEl>
                                        <p:attrNameLst>
                                          <p:attrName>ppt_h</p:attrName>
                                        </p:attrNameLst>
                                      </p:cBhvr>
                                      <p:tavLst>
                                        <p:tav tm="0">
                                          <p:val>
                                            <p:fltVal val="0"/>
                                          </p:val>
                                        </p:tav>
                                        <p:tav tm="100000">
                                          <p:val>
                                            <p:strVal val="#ppt_h"/>
                                          </p:val>
                                        </p:tav>
                                      </p:tavLst>
                                    </p:anim>
                                  </p:childTnLst>
                                </p:cTn>
                              </p:par>
                              <p:par>
                                <p:cTn id="17" presetID="23" presetClass="entr" presetSubtype="16"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p:cTn id="19" dur="750" fill="hold"/>
                                        <p:tgtEl>
                                          <p:spTgt spid="6"/>
                                        </p:tgtEl>
                                        <p:attrNameLst>
                                          <p:attrName>ppt_w</p:attrName>
                                        </p:attrNameLst>
                                      </p:cBhvr>
                                      <p:tavLst>
                                        <p:tav tm="0">
                                          <p:val>
                                            <p:fltVal val="0"/>
                                          </p:val>
                                        </p:tav>
                                        <p:tav tm="100000">
                                          <p:val>
                                            <p:strVal val="#ppt_w"/>
                                          </p:val>
                                        </p:tav>
                                      </p:tavLst>
                                    </p:anim>
                                    <p:anim calcmode="lin" valueType="num">
                                      <p:cBhvr>
                                        <p:cTn id="20" dur="750" fill="hold"/>
                                        <p:tgtEl>
                                          <p:spTgt spid="6"/>
                                        </p:tgtEl>
                                        <p:attrNameLst>
                                          <p:attrName>ppt_h</p:attrName>
                                        </p:attrNameLst>
                                      </p:cBhvr>
                                      <p:tavLst>
                                        <p:tav tm="0">
                                          <p:val>
                                            <p:fltVal val="0"/>
                                          </p:val>
                                        </p:tav>
                                        <p:tav tm="100000">
                                          <p:val>
                                            <p:strVal val="#ppt_h"/>
                                          </p:val>
                                        </p:tav>
                                      </p:tavLst>
                                    </p:anim>
                                  </p:childTnLst>
                                </p:cTn>
                              </p:par>
                              <p:par>
                                <p:cTn id="21" presetID="23" presetClass="entr" presetSubtype="16" fill="hold" nodeType="withEffect">
                                  <p:stCondLst>
                                    <p:cond delay="2000"/>
                                  </p:stCondLst>
                                  <p:childTnLst>
                                    <p:set>
                                      <p:cBhvr>
                                        <p:cTn id="22" dur="1" fill="hold">
                                          <p:stCondLst>
                                            <p:cond delay="0"/>
                                          </p:stCondLst>
                                        </p:cTn>
                                        <p:tgtEl>
                                          <p:spTgt spid="16"/>
                                        </p:tgtEl>
                                        <p:attrNameLst>
                                          <p:attrName>style.visibility</p:attrName>
                                        </p:attrNameLst>
                                      </p:cBhvr>
                                      <p:to>
                                        <p:strVal val="visible"/>
                                      </p:to>
                                    </p:set>
                                    <p:anim calcmode="lin" valueType="num">
                                      <p:cBhvr>
                                        <p:cTn id="23" dur="750" fill="hold"/>
                                        <p:tgtEl>
                                          <p:spTgt spid="16"/>
                                        </p:tgtEl>
                                        <p:attrNameLst>
                                          <p:attrName>ppt_w</p:attrName>
                                        </p:attrNameLst>
                                      </p:cBhvr>
                                      <p:tavLst>
                                        <p:tav tm="0">
                                          <p:val>
                                            <p:fltVal val="0"/>
                                          </p:val>
                                        </p:tav>
                                        <p:tav tm="100000">
                                          <p:val>
                                            <p:strVal val="#ppt_w"/>
                                          </p:val>
                                        </p:tav>
                                      </p:tavLst>
                                    </p:anim>
                                    <p:anim calcmode="lin" valueType="num">
                                      <p:cBhvr>
                                        <p:cTn id="24" dur="750" fill="hold"/>
                                        <p:tgtEl>
                                          <p:spTgt spid="16"/>
                                        </p:tgtEl>
                                        <p:attrNameLst>
                                          <p:attrName>ppt_h</p:attrName>
                                        </p:attrNameLst>
                                      </p:cBhvr>
                                      <p:tavLst>
                                        <p:tav tm="0">
                                          <p:val>
                                            <p:fltVal val="0"/>
                                          </p:val>
                                        </p:tav>
                                        <p:tav tm="100000">
                                          <p:val>
                                            <p:strVal val="#ppt_h"/>
                                          </p:val>
                                        </p:tav>
                                      </p:tavLst>
                                    </p:anim>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142"/>
                                        </p:tgtEl>
                                        <p:attrNameLst>
                                          <p:attrName>style.visibility</p:attrName>
                                        </p:attrNameLst>
                                      </p:cBhvr>
                                      <p:to>
                                        <p:strVal val="visible"/>
                                      </p:to>
                                    </p:set>
                                    <p:animEffect transition="in" filter="wipe(left)">
                                      <p:cBhvr>
                                        <p:cTn id="29" dur="750"/>
                                        <p:tgtEl>
                                          <p:spTgt spid="142"/>
                                        </p:tgtEl>
                                      </p:cBhvr>
                                    </p:animEffect>
                                  </p:childTnLst>
                                </p:cTn>
                              </p:par>
                              <p:par>
                                <p:cTn id="30" presetID="22" presetClass="entr" presetSubtype="8" fill="hold" nodeType="withEffect">
                                  <p:stCondLst>
                                    <p:cond delay="0"/>
                                  </p:stCondLst>
                                  <p:childTnLst>
                                    <p:set>
                                      <p:cBhvr>
                                        <p:cTn id="31" dur="1" fill="hold">
                                          <p:stCondLst>
                                            <p:cond delay="0"/>
                                          </p:stCondLst>
                                        </p:cTn>
                                        <p:tgtEl>
                                          <p:spTgt spid="141"/>
                                        </p:tgtEl>
                                        <p:attrNameLst>
                                          <p:attrName>style.visibility</p:attrName>
                                        </p:attrNameLst>
                                      </p:cBhvr>
                                      <p:to>
                                        <p:strVal val="visible"/>
                                      </p:to>
                                    </p:set>
                                    <p:animEffect transition="in" filter="wipe(left)">
                                      <p:cBhvr>
                                        <p:cTn id="32" dur="750"/>
                                        <p:tgtEl>
                                          <p:spTgt spid="141"/>
                                        </p:tgtEl>
                                      </p:cBhvr>
                                    </p:animEffect>
                                  </p:childTnLst>
                                </p:cTn>
                              </p:par>
                              <p:par>
                                <p:cTn id="33" presetID="22" presetClass="entr" presetSubtype="8" fill="hold"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wipe(left)">
                                      <p:cBhvr>
                                        <p:cTn id="35" dur="750"/>
                                        <p:tgtEl>
                                          <p:spTgt spid="25"/>
                                        </p:tgtEl>
                                      </p:cBhvr>
                                    </p:animEffect>
                                  </p:childTnLst>
                                </p:cTn>
                              </p:par>
                              <p:par>
                                <p:cTn id="36" presetID="22" presetClass="entr" presetSubtype="8" fill="hold" nodeType="withEffect">
                                  <p:stCondLst>
                                    <p:cond delay="0"/>
                                  </p:stCondLst>
                                  <p:childTnLst>
                                    <p:set>
                                      <p:cBhvr>
                                        <p:cTn id="37" dur="1" fill="hold">
                                          <p:stCondLst>
                                            <p:cond delay="0"/>
                                          </p:stCondLst>
                                        </p:cTn>
                                        <p:tgtEl>
                                          <p:spTgt spid="138"/>
                                        </p:tgtEl>
                                        <p:attrNameLst>
                                          <p:attrName>style.visibility</p:attrName>
                                        </p:attrNameLst>
                                      </p:cBhvr>
                                      <p:to>
                                        <p:strVal val="visible"/>
                                      </p:to>
                                    </p:set>
                                    <p:animEffect transition="in" filter="wipe(left)">
                                      <p:cBhvr>
                                        <p:cTn id="38" dur="750"/>
                                        <p:tgtEl>
                                          <p:spTgt spid="138"/>
                                        </p:tgtEl>
                                      </p:cBhvr>
                                    </p:animEffect>
                                  </p:childTnLst>
                                </p:cTn>
                              </p:par>
                              <p:par>
                                <p:cTn id="39" presetID="22" presetClass="entr" presetSubtype="8" fill="hold" nodeType="withEffect">
                                  <p:stCondLst>
                                    <p:cond delay="0"/>
                                  </p:stCondLst>
                                  <p:childTnLst>
                                    <p:set>
                                      <p:cBhvr>
                                        <p:cTn id="40" dur="1" fill="hold">
                                          <p:stCondLst>
                                            <p:cond delay="0"/>
                                          </p:stCondLst>
                                        </p:cTn>
                                        <p:tgtEl>
                                          <p:spTgt spid="140"/>
                                        </p:tgtEl>
                                        <p:attrNameLst>
                                          <p:attrName>style.visibility</p:attrName>
                                        </p:attrNameLst>
                                      </p:cBhvr>
                                      <p:to>
                                        <p:strVal val="visible"/>
                                      </p:to>
                                    </p:set>
                                    <p:animEffect transition="in" filter="wipe(left)">
                                      <p:cBhvr>
                                        <p:cTn id="41" dur="750"/>
                                        <p:tgtEl>
                                          <p:spTgt spid="140"/>
                                        </p:tgtEl>
                                      </p:cBhvr>
                                    </p:animEffect>
                                  </p:childTnLst>
                                </p:cTn>
                              </p:par>
                              <p:par>
                                <p:cTn id="42" presetID="22" presetClass="entr" presetSubtype="1" fill="hold" nodeType="withEffect">
                                  <p:stCondLst>
                                    <p:cond delay="750"/>
                                  </p:stCondLst>
                                  <p:childTnLst>
                                    <p:set>
                                      <p:cBhvr>
                                        <p:cTn id="43" dur="1" fill="hold">
                                          <p:stCondLst>
                                            <p:cond delay="0"/>
                                          </p:stCondLst>
                                        </p:cTn>
                                        <p:tgtEl>
                                          <p:spTgt spid="139"/>
                                        </p:tgtEl>
                                        <p:attrNameLst>
                                          <p:attrName>style.visibility</p:attrName>
                                        </p:attrNameLst>
                                      </p:cBhvr>
                                      <p:to>
                                        <p:strVal val="visible"/>
                                      </p:to>
                                    </p:set>
                                    <p:animEffect transition="in" filter="wipe(up)">
                                      <p:cBhvr>
                                        <p:cTn id="44" dur="750"/>
                                        <p:tgtEl>
                                          <p:spTgt spid="139"/>
                                        </p:tgtEl>
                                      </p:cBhvr>
                                    </p:animEffect>
                                  </p:childTnLst>
                                </p:cTn>
                              </p:par>
                              <p:par>
                                <p:cTn id="45" presetID="22" presetClass="entr" presetSubtype="1" fill="hold" nodeType="withEffect">
                                  <p:stCondLst>
                                    <p:cond delay="750"/>
                                  </p:stCondLst>
                                  <p:childTnLst>
                                    <p:set>
                                      <p:cBhvr>
                                        <p:cTn id="46" dur="1" fill="hold">
                                          <p:stCondLst>
                                            <p:cond delay="0"/>
                                          </p:stCondLst>
                                        </p:cTn>
                                        <p:tgtEl>
                                          <p:spTgt spid="137"/>
                                        </p:tgtEl>
                                        <p:attrNameLst>
                                          <p:attrName>style.visibility</p:attrName>
                                        </p:attrNameLst>
                                      </p:cBhvr>
                                      <p:to>
                                        <p:strVal val="visible"/>
                                      </p:to>
                                    </p:set>
                                    <p:animEffect transition="in" filter="wipe(up)">
                                      <p:cBhvr>
                                        <p:cTn id="47" dur="750"/>
                                        <p:tgtEl>
                                          <p:spTgt spid="137"/>
                                        </p:tgtEl>
                                      </p:cBhvr>
                                    </p:animEffect>
                                  </p:childTnLst>
                                </p:cTn>
                              </p:par>
                              <p:par>
                                <p:cTn id="48" presetID="22" presetClass="entr" presetSubtype="4" fill="hold" nodeType="withEffect">
                                  <p:stCondLst>
                                    <p:cond delay="750"/>
                                  </p:stCondLst>
                                  <p:childTnLst>
                                    <p:set>
                                      <p:cBhvr>
                                        <p:cTn id="49" dur="1" fill="hold">
                                          <p:stCondLst>
                                            <p:cond delay="0"/>
                                          </p:stCondLst>
                                        </p:cTn>
                                        <p:tgtEl>
                                          <p:spTgt spid="145"/>
                                        </p:tgtEl>
                                        <p:attrNameLst>
                                          <p:attrName>style.visibility</p:attrName>
                                        </p:attrNameLst>
                                      </p:cBhvr>
                                      <p:to>
                                        <p:strVal val="visible"/>
                                      </p:to>
                                    </p:set>
                                    <p:animEffect transition="in" filter="wipe(down)">
                                      <p:cBhvr>
                                        <p:cTn id="50" dur="750"/>
                                        <p:tgtEl>
                                          <p:spTgt spid="145"/>
                                        </p:tgtEl>
                                      </p:cBhvr>
                                    </p:animEffect>
                                  </p:childTnLst>
                                </p:cTn>
                              </p:par>
                              <p:par>
                                <p:cTn id="51" presetID="22" presetClass="entr" presetSubtype="4" fill="hold" nodeType="withEffect">
                                  <p:stCondLst>
                                    <p:cond delay="750"/>
                                  </p:stCondLst>
                                  <p:childTnLst>
                                    <p:set>
                                      <p:cBhvr>
                                        <p:cTn id="52" dur="1" fill="hold">
                                          <p:stCondLst>
                                            <p:cond delay="0"/>
                                          </p:stCondLst>
                                        </p:cTn>
                                        <p:tgtEl>
                                          <p:spTgt spid="143"/>
                                        </p:tgtEl>
                                        <p:attrNameLst>
                                          <p:attrName>style.visibility</p:attrName>
                                        </p:attrNameLst>
                                      </p:cBhvr>
                                      <p:to>
                                        <p:strVal val="visible"/>
                                      </p:to>
                                    </p:set>
                                    <p:animEffect transition="in" filter="wipe(down)">
                                      <p:cBhvr>
                                        <p:cTn id="53" dur="750"/>
                                        <p:tgtEl>
                                          <p:spTgt spid="143"/>
                                        </p:tgtEl>
                                      </p:cBhvr>
                                    </p:animEffect>
                                  </p:childTnLst>
                                </p:cTn>
                              </p:par>
                            </p:childTnLst>
                          </p:cTn>
                        </p:par>
                        <p:par>
                          <p:cTn id="54" fill="hold">
                            <p:stCondLst>
                              <p:cond delay="1500"/>
                            </p:stCondLst>
                            <p:childTnLst>
                              <p:par>
                                <p:cTn id="55" presetID="22" presetClass="entr" presetSubtype="8" fill="hold" nodeType="afterEffect">
                                  <p:stCondLst>
                                    <p:cond delay="0"/>
                                  </p:stCondLst>
                                  <p:childTnLst>
                                    <p:set>
                                      <p:cBhvr>
                                        <p:cTn id="56" dur="1" fill="hold">
                                          <p:stCondLst>
                                            <p:cond delay="0"/>
                                          </p:stCondLst>
                                        </p:cTn>
                                        <p:tgtEl>
                                          <p:spTgt spid="146"/>
                                        </p:tgtEl>
                                        <p:attrNameLst>
                                          <p:attrName>style.visibility</p:attrName>
                                        </p:attrNameLst>
                                      </p:cBhvr>
                                      <p:to>
                                        <p:strVal val="visible"/>
                                      </p:to>
                                    </p:set>
                                    <p:animEffect transition="in" filter="wipe(left)">
                                      <p:cBhvr>
                                        <p:cTn id="57" dur="750"/>
                                        <p:tgtEl>
                                          <p:spTgt spid="146"/>
                                        </p:tgtEl>
                                      </p:cBhvr>
                                    </p:animEffect>
                                  </p:childTnLst>
                                </p:cTn>
                              </p:par>
                            </p:childTnLst>
                          </p:cTn>
                        </p:par>
                        <p:par>
                          <p:cTn id="58" fill="hold">
                            <p:stCondLst>
                              <p:cond delay="2250"/>
                            </p:stCondLst>
                            <p:childTnLst>
                              <p:par>
                                <p:cTn id="59" presetID="10" presetClass="entr" presetSubtype="0" fill="hold" nodeType="afterEffect">
                                  <p:stCondLst>
                                    <p:cond delay="0"/>
                                  </p:stCondLst>
                                  <p:childTnLst>
                                    <p:set>
                                      <p:cBhvr>
                                        <p:cTn id="60" dur="1" fill="hold">
                                          <p:stCondLst>
                                            <p:cond delay="0"/>
                                          </p:stCondLst>
                                        </p:cTn>
                                        <p:tgtEl>
                                          <p:spTgt spid="154"/>
                                        </p:tgtEl>
                                        <p:attrNameLst>
                                          <p:attrName>style.visibility</p:attrName>
                                        </p:attrNameLst>
                                      </p:cBhvr>
                                      <p:to>
                                        <p:strVal val="visible"/>
                                      </p:to>
                                    </p:set>
                                    <p:animEffect transition="in" filter="fade">
                                      <p:cBhvr>
                                        <p:cTn id="61" dur="1000"/>
                                        <p:tgtEl>
                                          <p:spTgt spid="154"/>
                                        </p:tgtEl>
                                      </p:cBhvr>
                                    </p:animEffect>
                                  </p:childTnLst>
                                </p:cTn>
                              </p:par>
                              <p:par>
                                <p:cTn id="62" presetID="22" presetClass="entr" presetSubtype="8" fill="hold" nodeType="withEffect">
                                  <p:stCondLst>
                                    <p:cond delay="1000"/>
                                  </p:stCondLst>
                                  <p:childTnLst>
                                    <p:set>
                                      <p:cBhvr>
                                        <p:cTn id="63" dur="1" fill="hold">
                                          <p:stCondLst>
                                            <p:cond delay="0"/>
                                          </p:stCondLst>
                                        </p:cTn>
                                        <p:tgtEl>
                                          <p:spTgt spid="83"/>
                                        </p:tgtEl>
                                        <p:attrNameLst>
                                          <p:attrName>style.visibility</p:attrName>
                                        </p:attrNameLst>
                                      </p:cBhvr>
                                      <p:to>
                                        <p:strVal val="visible"/>
                                      </p:to>
                                    </p:set>
                                    <p:animEffect transition="in" filter="wipe(left)">
                                      <p:cBhvr>
                                        <p:cTn id="64" dur="1000"/>
                                        <p:tgtEl>
                                          <p:spTgt spid="83"/>
                                        </p:tgtEl>
                                      </p:cBhvr>
                                    </p:animEffect>
                                  </p:childTnLst>
                                </p:cTn>
                              </p:par>
                              <p:par>
                                <p:cTn id="65" presetID="22" presetClass="entr" presetSubtype="8" fill="hold" nodeType="withEffect">
                                  <p:stCondLst>
                                    <p:cond delay="1000"/>
                                  </p:stCondLst>
                                  <p:childTnLst>
                                    <p:set>
                                      <p:cBhvr>
                                        <p:cTn id="66" dur="1" fill="hold">
                                          <p:stCondLst>
                                            <p:cond delay="0"/>
                                          </p:stCondLst>
                                        </p:cTn>
                                        <p:tgtEl>
                                          <p:spTgt spid="87">
                                            <p:txEl>
                                              <p:pRg st="0" end="0"/>
                                            </p:txEl>
                                          </p:spTgt>
                                        </p:tgtEl>
                                        <p:attrNameLst>
                                          <p:attrName>style.visibility</p:attrName>
                                        </p:attrNameLst>
                                      </p:cBhvr>
                                      <p:to>
                                        <p:strVal val="visible"/>
                                      </p:to>
                                    </p:set>
                                    <p:animEffect transition="in" filter="wipe(left)">
                                      <p:cBhvr>
                                        <p:cTn id="67" dur="1000"/>
                                        <p:tgtEl>
                                          <p:spTgt spid="87">
                                            <p:txEl>
                                              <p:pRg st="0" end="0"/>
                                            </p:txEl>
                                          </p:spTgt>
                                        </p:tgtEl>
                                      </p:cBhvr>
                                    </p:animEffect>
                                  </p:childTnLst>
                                </p:cTn>
                              </p:par>
                              <p:par>
                                <p:cTn id="68" presetID="22" presetClass="entr" presetSubtype="8" fill="hold" nodeType="withEffect">
                                  <p:stCondLst>
                                    <p:cond delay="1000"/>
                                  </p:stCondLst>
                                  <p:childTnLst>
                                    <p:set>
                                      <p:cBhvr>
                                        <p:cTn id="69" dur="1" fill="hold">
                                          <p:stCondLst>
                                            <p:cond delay="0"/>
                                          </p:stCondLst>
                                        </p:cTn>
                                        <p:tgtEl>
                                          <p:spTgt spid="87">
                                            <p:txEl>
                                              <p:pRg st="1" end="1"/>
                                            </p:txEl>
                                          </p:spTgt>
                                        </p:tgtEl>
                                        <p:attrNameLst>
                                          <p:attrName>style.visibility</p:attrName>
                                        </p:attrNameLst>
                                      </p:cBhvr>
                                      <p:to>
                                        <p:strVal val="visible"/>
                                      </p:to>
                                    </p:set>
                                    <p:animEffect transition="in" filter="wipe(left)">
                                      <p:cBhvr>
                                        <p:cTn id="70" dur="1000"/>
                                        <p:tgtEl>
                                          <p:spTgt spid="87">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de-DE" dirty="0"/>
              <a:t>Advance Optima </a:t>
            </a:r>
            <a:r>
              <a:rPr lang="de-DE" dirty="0" err="1"/>
              <a:t>series</a:t>
            </a:r>
            <a:r>
              <a:rPr lang="de-DE" dirty="0"/>
              <a:t> (AO2000)</a:t>
            </a:r>
            <a:endParaRPr lang="en-US" dirty="0"/>
          </a:p>
        </p:txBody>
      </p:sp>
      <p:sp>
        <p:nvSpPr>
          <p:cNvPr id="38" name="Date Placeholder 3"/>
          <p:cNvSpPr>
            <a:spLocks noGrp="1"/>
          </p:cNvSpPr>
          <p:nvPr>
            <p:ph type="dt" sz="half" idx="14"/>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898612E-1445-4DFF-B180-AA14B11EC924}"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9" name="Slide Number Placeholder 8"/>
          <p:cNvSpPr>
            <a:spLocks noGrp="1"/>
          </p:cNvSpPr>
          <p:nvPr>
            <p:ph type="sldNum" sz="quarter" idx="16"/>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7" name="Subtitle 6"/>
          <p:cNvSpPr>
            <a:spLocks noGrp="1"/>
          </p:cNvSpPr>
          <p:nvPr>
            <p:ph type="subTitle" idx="13"/>
          </p:nvPr>
        </p:nvSpPr>
        <p:spPr bwMode="gray"/>
        <p:txBody>
          <a:bodyPr/>
          <a:lstStyle/>
          <a:p>
            <a:r>
              <a:rPr lang="en-US" dirty="0"/>
              <a:t>Modular gas analyzer series</a:t>
            </a:r>
          </a:p>
        </p:txBody>
      </p:sp>
      <p:sp>
        <p:nvSpPr>
          <p:cNvPr id="2533435" name="Rectangle 59"/>
          <p:cNvSpPr>
            <a:spLocks noGrp="1" noChangeArrowheads="1"/>
          </p:cNvSpPr>
          <p:nvPr>
            <p:ph sz="quarter" idx="4294967295"/>
          </p:nvPr>
        </p:nvSpPr>
        <p:spPr bwMode="gray">
          <a:xfrm>
            <a:off x="334963" y="1827468"/>
            <a:ext cx="5603442" cy="4087557"/>
          </a:xfrm>
        </p:spPr>
        <p:txBody>
          <a:bodyPr lIns="72000" tIns="72000" rIns="72000" bIns="72000"/>
          <a:lstStyle/>
          <a:p>
            <a:pPr marL="174625" indent="-174625" defTabSz="914400">
              <a:buFont typeface="ABBvoiceOffice" panose="020B0604020202020204" charset="0"/>
              <a:buChar char="‒"/>
            </a:pPr>
            <a:r>
              <a:rPr lang="en-US" altLang="en-US" sz="1600" dirty="0"/>
              <a:t>Broadest selection of measuring principles</a:t>
            </a:r>
          </a:p>
          <a:p>
            <a:pPr marL="174625" indent="-174625" defTabSz="914400">
              <a:buFont typeface="ABBvoiceOffice" panose="020B0604020202020204" charset="0"/>
              <a:buChar char="‒"/>
            </a:pPr>
            <a:r>
              <a:rPr lang="en-US" altLang="en-US" sz="1600" dirty="0"/>
              <a:t>One central unit for up to 4 sensor modules</a:t>
            </a:r>
          </a:p>
          <a:p>
            <a:pPr marL="174625" indent="-174625" defTabSz="914400">
              <a:buFont typeface="ABBvoiceOffice" panose="020B0604020202020204" charset="0"/>
              <a:buChar char="‒"/>
            </a:pPr>
            <a:r>
              <a:rPr lang="en-US" altLang="en-US" sz="1600" dirty="0"/>
              <a:t>Measures up to 6 gas components simultaneously </a:t>
            </a:r>
          </a:p>
          <a:p>
            <a:pPr marL="174625" indent="-174625" defTabSz="914400">
              <a:buFont typeface="ABBvoiceOffice" panose="020B0604020202020204" charset="0"/>
              <a:buChar char="‒"/>
            </a:pPr>
            <a:r>
              <a:rPr lang="en-US" altLang="en-US" sz="1600" dirty="0"/>
              <a:t>Single or multi housing solution – rack and wall mount</a:t>
            </a:r>
          </a:p>
          <a:p>
            <a:pPr marL="174625" indent="-174625" defTabSz="914400">
              <a:buFont typeface="ABBvoiceOffice" panose="020B0604020202020204" charset="0"/>
              <a:buChar char="‒"/>
            </a:pPr>
            <a:r>
              <a:rPr lang="en-US" altLang="en-US" sz="1600" dirty="0"/>
              <a:t>Sensor modules up to 350m from the central unit</a:t>
            </a:r>
          </a:p>
          <a:p>
            <a:pPr marL="174625" indent="-174625" defTabSz="914400">
              <a:buFont typeface="ABBvoiceOffice" panose="020B0604020202020204" charset="0"/>
              <a:buChar char="‒"/>
            </a:pPr>
            <a:r>
              <a:rPr lang="en-US" altLang="en-US" sz="1600" dirty="0"/>
              <a:t>Sample handling components can also be integrated</a:t>
            </a:r>
          </a:p>
          <a:p>
            <a:pPr marL="174625" indent="-174625" defTabSz="914400">
              <a:buFont typeface="ABBvoiceOffice" panose="020B0604020202020204" charset="0"/>
              <a:buChar char="‒"/>
            </a:pPr>
            <a:r>
              <a:rPr lang="en-US" altLang="en-US" sz="1600" dirty="0"/>
              <a:t>Internal PLC functionality</a:t>
            </a:r>
            <a:endParaRPr lang="en-US" altLang="en-US" dirty="0"/>
          </a:p>
          <a:p>
            <a:pPr lvl="2">
              <a:spcBef>
                <a:spcPts val="0"/>
              </a:spcBef>
            </a:pPr>
            <a:r>
              <a:rPr lang="en-US" altLang="en-US" dirty="0"/>
              <a:t>Valve control – </a:t>
            </a:r>
            <a:r>
              <a:rPr lang="en-US" altLang="en-US" dirty="0" err="1"/>
              <a:t>autocal</a:t>
            </a:r>
            <a:r>
              <a:rPr lang="en-US" altLang="en-US" dirty="0"/>
              <a:t>, stream switching</a:t>
            </a:r>
          </a:p>
          <a:p>
            <a:pPr lvl="2">
              <a:spcBef>
                <a:spcPts val="0"/>
              </a:spcBef>
            </a:pPr>
            <a:r>
              <a:rPr lang="en-US" altLang="en-US" dirty="0"/>
              <a:t>Calculations – O</a:t>
            </a:r>
            <a:r>
              <a:rPr lang="en-US" altLang="en-US" baseline="-25000" dirty="0"/>
              <a:t>2</a:t>
            </a:r>
            <a:r>
              <a:rPr lang="en-US" altLang="en-US" dirty="0"/>
              <a:t> correction, Wet to Dry</a:t>
            </a:r>
          </a:p>
          <a:p>
            <a:pPr lvl="2">
              <a:spcBef>
                <a:spcPts val="0"/>
              </a:spcBef>
            </a:pPr>
            <a:r>
              <a:rPr lang="en-US" altLang="en-US" dirty="0"/>
              <a:t>Integrate external signals</a:t>
            </a:r>
          </a:p>
          <a:p>
            <a:pPr lvl="2">
              <a:spcBef>
                <a:spcPts val="0"/>
              </a:spcBef>
            </a:pPr>
            <a:r>
              <a:rPr lang="en-US" altLang="en-US" dirty="0"/>
              <a:t>Cross sensitivity correction</a:t>
            </a:r>
          </a:p>
          <a:p>
            <a:pPr lvl="2">
              <a:spcBef>
                <a:spcPts val="0"/>
              </a:spcBef>
            </a:pPr>
            <a:r>
              <a:rPr lang="en-US" altLang="en-US" dirty="0"/>
              <a:t>Program soft keys (i.e. shortcuts)</a:t>
            </a:r>
          </a:p>
          <a:p>
            <a:pPr>
              <a:spcBef>
                <a:spcPts val="1200"/>
              </a:spcBef>
              <a:tabLst>
                <a:tab pos="712788" algn="l"/>
              </a:tabLst>
            </a:pPr>
            <a:r>
              <a:rPr lang="de-DE" altLang="en-US" sz="1600" b="1" dirty="0">
                <a:solidFill>
                  <a:srgbClr val="D90000"/>
                </a:solidFill>
              </a:rPr>
              <a:t>	</a:t>
            </a:r>
            <a:r>
              <a:rPr lang="de-DE" altLang="en-US" sz="1600" b="1" dirty="0" err="1">
                <a:solidFill>
                  <a:srgbClr val="D90000"/>
                </a:solidFill>
              </a:rPr>
              <a:t>Attractive</a:t>
            </a:r>
            <a:r>
              <a:rPr lang="de-DE" altLang="en-US" sz="1600" b="1" dirty="0">
                <a:solidFill>
                  <a:srgbClr val="D90000"/>
                </a:solidFill>
              </a:rPr>
              <a:t> </a:t>
            </a:r>
            <a:r>
              <a:rPr lang="de-DE" altLang="en-US" sz="1600" b="1" dirty="0" err="1">
                <a:solidFill>
                  <a:srgbClr val="D90000"/>
                </a:solidFill>
              </a:rPr>
              <a:t>solutions</a:t>
            </a:r>
            <a:r>
              <a:rPr lang="de-DE" altLang="en-US" sz="1600" b="1" dirty="0">
                <a:solidFill>
                  <a:srgbClr val="D90000"/>
                </a:solidFill>
              </a:rPr>
              <a:t> </a:t>
            </a:r>
            <a:r>
              <a:rPr lang="de-DE" altLang="en-US" sz="1600" b="1" dirty="0" err="1">
                <a:solidFill>
                  <a:srgbClr val="D90000"/>
                </a:solidFill>
              </a:rPr>
              <a:t>for</a:t>
            </a:r>
            <a:r>
              <a:rPr lang="de-DE" altLang="en-US" sz="1600" b="1" dirty="0">
                <a:solidFill>
                  <a:srgbClr val="D90000"/>
                </a:solidFill>
              </a:rPr>
              <a:t> </a:t>
            </a:r>
            <a:r>
              <a:rPr lang="de-DE" altLang="en-US" sz="1600" b="1" dirty="0" err="1">
                <a:solidFill>
                  <a:srgbClr val="D90000"/>
                </a:solidFill>
              </a:rPr>
              <a:t>hazardous</a:t>
            </a:r>
            <a:r>
              <a:rPr lang="de-DE" altLang="en-US" sz="1600" b="1" dirty="0">
                <a:solidFill>
                  <a:srgbClr val="D90000"/>
                </a:solidFill>
              </a:rPr>
              <a:t> 	</a:t>
            </a:r>
            <a:r>
              <a:rPr lang="de-DE" altLang="en-US" sz="1600" b="1" dirty="0" err="1">
                <a:solidFill>
                  <a:srgbClr val="D90000"/>
                </a:solidFill>
              </a:rPr>
              <a:t>applications</a:t>
            </a:r>
            <a:r>
              <a:rPr lang="de-DE" altLang="en-US" sz="1600" b="1" dirty="0">
                <a:solidFill>
                  <a:srgbClr val="D90000"/>
                </a:solidFill>
              </a:rPr>
              <a:t>!</a:t>
            </a:r>
            <a:r>
              <a:rPr lang="en-US" altLang="en-US" sz="1600" b="1" dirty="0">
                <a:solidFill>
                  <a:srgbClr val="D90000"/>
                </a:solidFill>
              </a:rPr>
              <a:t> Click for more info…</a:t>
            </a:r>
            <a:endParaRPr lang="de-DE" altLang="en-US" sz="1600" b="1" dirty="0">
              <a:solidFill>
                <a:srgbClr val="D90000"/>
              </a:solidFill>
            </a:endParaRPr>
          </a:p>
        </p:txBody>
      </p:sp>
      <p:sp>
        <p:nvSpPr>
          <p:cNvPr id="2533459" name="Rectangle 83"/>
          <p:cNvSpPr>
            <a:spLocks noChangeArrowheads="1"/>
          </p:cNvSpPr>
          <p:nvPr/>
        </p:nvSpPr>
        <p:spPr bwMode="gray">
          <a:xfrm>
            <a:off x="6729674" y="4842174"/>
            <a:ext cx="120650" cy="120650"/>
          </a:xfrm>
          <a:prstGeom prst="rect">
            <a:avLst/>
          </a:prstGeom>
          <a:solidFill>
            <a:schemeClr val="tx1"/>
          </a:solidFill>
          <a:ln>
            <a:noFill/>
          </a:ln>
          <a:extLst>
            <a:ext uri="{91240B29-F687-4F45-9708-019B960494DF}">
              <a14:hiddenLine xmlns:a14="http://schemas.microsoft.com/office/drawing/2010/main" w="28575" algn="ctr">
                <a:solidFill>
                  <a:srgbClr val="000000"/>
                </a:solidFill>
                <a:miter lim="800000"/>
                <a:headEnd/>
                <a:tailEnd/>
              </a14:hiddenLine>
            </a:ext>
          </a:extLst>
        </p:spPr>
        <p:txBody>
          <a:bodyPr wrap="none" lIns="0" tIns="0" rIns="0" bIns="0" anchor="ctr"/>
          <a:lstStyle>
            <a:lvl1pPr>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1pPr>
            <a:lvl2pPr marL="742950" indent="-285750">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2pPr>
            <a:lvl3pPr marL="1143000" indent="-228600">
              <a:lnSpc>
                <a:spcPct val="95000"/>
              </a:lnSpc>
              <a:spcBef>
                <a:spcPct val="50000"/>
              </a:spcBef>
              <a:buClr>
                <a:schemeClr val="tx2"/>
              </a:buClr>
              <a:buSzPct val="70000"/>
              <a:buFont typeface="Wingdings" panose="05000000000000000000" pitchFamily="2" charset="2"/>
              <a:buChar char="§"/>
              <a:defRPr sz="1600">
                <a:solidFill>
                  <a:srgbClr val="000000"/>
                </a:solidFill>
                <a:latin typeface="Arial" panose="020B0604020202020204" pitchFamily="34" charset="0"/>
              </a:defRPr>
            </a:lvl3pPr>
            <a:lvl4pPr marL="16002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4pPr>
            <a:lvl5pPr marL="20574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5pPr>
            <a:lvl6pPr marL="25146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6pPr>
            <a:lvl7pPr marL="29718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7pPr>
            <a:lvl8pPr marL="34290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8pPr>
            <a:lvl9pPr marL="38862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Char char="§"/>
              <a:tabLst/>
              <a:defRPr/>
            </a:pPr>
            <a:endParaRPr kumimoji="0" lang="de-DE" alt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533460" name="Rectangle 84"/>
          <p:cNvSpPr>
            <a:spLocks noChangeArrowheads="1"/>
          </p:cNvSpPr>
          <p:nvPr/>
        </p:nvSpPr>
        <p:spPr bwMode="gray">
          <a:xfrm>
            <a:off x="10893687" y="4842174"/>
            <a:ext cx="120650" cy="120650"/>
          </a:xfrm>
          <a:prstGeom prst="rect">
            <a:avLst/>
          </a:prstGeom>
          <a:solidFill>
            <a:schemeClr val="tx1"/>
          </a:solidFill>
          <a:ln>
            <a:noFill/>
          </a:ln>
          <a:extLst>
            <a:ext uri="{91240B29-F687-4F45-9708-019B960494DF}">
              <a14:hiddenLine xmlns:a14="http://schemas.microsoft.com/office/drawing/2010/main" w="28575" algn="ctr">
                <a:solidFill>
                  <a:srgbClr val="000000"/>
                </a:solidFill>
                <a:miter lim="800000"/>
                <a:headEnd/>
                <a:tailEnd/>
              </a14:hiddenLine>
            </a:ext>
          </a:extLst>
        </p:spPr>
        <p:txBody>
          <a:bodyPr wrap="none" lIns="0" tIns="0" rIns="0" bIns="0" anchor="ctr"/>
          <a:lstStyle>
            <a:lvl1pPr>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1pPr>
            <a:lvl2pPr marL="742950" indent="-285750">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2pPr>
            <a:lvl3pPr marL="1143000" indent="-228600">
              <a:lnSpc>
                <a:spcPct val="95000"/>
              </a:lnSpc>
              <a:spcBef>
                <a:spcPct val="50000"/>
              </a:spcBef>
              <a:buClr>
                <a:schemeClr val="tx2"/>
              </a:buClr>
              <a:buSzPct val="70000"/>
              <a:buFont typeface="Wingdings" panose="05000000000000000000" pitchFamily="2" charset="2"/>
              <a:buChar char="§"/>
              <a:defRPr sz="1600">
                <a:solidFill>
                  <a:srgbClr val="000000"/>
                </a:solidFill>
                <a:latin typeface="Arial" panose="020B0604020202020204" pitchFamily="34" charset="0"/>
              </a:defRPr>
            </a:lvl3pPr>
            <a:lvl4pPr marL="16002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4pPr>
            <a:lvl5pPr marL="20574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5pPr>
            <a:lvl6pPr marL="25146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6pPr>
            <a:lvl7pPr marL="29718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7pPr>
            <a:lvl8pPr marL="34290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8pPr>
            <a:lvl9pPr marL="38862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9pPr>
          </a:lstStyle>
          <a:p>
            <a:pPr marL="0" marR="0" lvl="0" indent="0" algn="l"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Char char="§"/>
              <a:tabLst/>
              <a:defRPr/>
            </a:pPr>
            <a:endParaRPr kumimoji="0" lang="de-DE" alt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533461" name="Line 85"/>
          <p:cNvSpPr>
            <a:spLocks noChangeShapeType="1"/>
          </p:cNvSpPr>
          <p:nvPr/>
        </p:nvSpPr>
        <p:spPr bwMode="gray">
          <a:xfrm>
            <a:off x="6850326" y="4902499"/>
            <a:ext cx="4056063"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533462" name="Line 86"/>
          <p:cNvSpPr>
            <a:spLocks noChangeShapeType="1"/>
          </p:cNvSpPr>
          <p:nvPr/>
        </p:nvSpPr>
        <p:spPr bwMode="gray">
          <a:xfrm flipV="1">
            <a:off x="7124962" y="4731049"/>
            <a:ext cx="0" cy="17145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533463" name="Line 87"/>
          <p:cNvSpPr>
            <a:spLocks noChangeShapeType="1"/>
          </p:cNvSpPr>
          <p:nvPr/>
        </p:nvSpPr>
        <p:spPr bwMode="gray">
          <a:xfrm flipV="1">
            <a:off x="9610987" y="4731049"/>
            <a:ext cx="0" cy="17145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533464" name="Line 88"/>
          <p:cNvSpPr>
            <a:spLocks noChangeShapeType="1"/>
          </p:cNvSpPr>
          <p:nvPr/>
        </p:nvSpPr>
        <p:spPr bwMode="gray">
          <a:xfrm flipV="1">
            <a:off x="10312662" y="4731049"/>
            <a:ext cx="0" cy="17145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533469" name="Text Box 93"/>
          <p:cNvSpPr txBox="1">
            <a:spLocks noChangeArrowheads="1"/>
          </p:cNvSpPr>
          <p:nvPr/>
        </p:nvSpPr>
        <p:spPr bwMode="gray">
          <a:xfrm>
            <a:off x="8607687" y="5123162"/>
            <a:ext cx="52418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0" tIns="0" rIns="0" bIns="0">
            <a:spAutoFit/>
          </a:bodyPr>
          <a:lstStyle>
            <a:lvl1pPr marL="182563" indent="-182563">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1pPr>
            <a:lvl2pPr marL="742950" indent="-285750">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2pPr>
            <a:lvl3pPr marL="1143000" indent="-228600">
              <a:lnSpc>
                <a:spcPct val="95000"/>
              </a:lnSpc>
              <a:spcBef>
                <a:spcPct val="50000"/>
              </a:spcBef>
              <a:buClr>
                <a:schemeClr val="tx2"/>
              </a:buClr>
              <a:buSzPct val="70000"/>
              <a:buFont typeface="Wingdings" panose="05000000000000000000" pitchFamily="2" charset="2"/>
              <a:buChar char="§"/>
              <a:defRPr sz="1600">
                <a:solidFill>
                  <a:srgbClr val="000000"/>
                </a:solidFill>
                <a:latin typeface="Arial" panose="020B0604020202020204" pitchFamily="34" charset="0"/>
              </a:defRPr>
            </a:lvl3pPr>
            <a:lvl4pPr marL="16002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4pPr>
            <a:lvl5pPr marL="20574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5pPr>
            <a:lvl6pPr marL="25146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6pPr>
            <a:lvl7pPr marL="29718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7pPr>
            <a:lvl8pPr marL="34290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8pPr>
            <a:lvl9pPr marL="38862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9pPr>
          </a:lstStyle>
          <a:p>
            <a:pPr marL="182563" marR="0" lvl="0" indent="-182563" algn="l"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None/>
              <a:tabLst/>
              <a:defRPr/>
            </a:pPr>
            <a:r>
              <a:rPr kumimoji="0" lang="de-DE" altLang="en-US" sz="1400" b="1" i="0" u="none" strike="noStrike" kern="1200" cap="none" spc="0" normalizeH="0" baseline="0" noProof="0" dirty="0">
                <a:ln>
                  <a:noFill/>
                </a:ln>
                <a:solidFill>
                  <a:srgbClr val="D90000"/>
                </a:solidFill>
                <a:effectLst/>
                <a:uLnTx/>
                <a:uFillTx/>
                <a:latin typeface="ABBvoice"/>
                <a:ea typeface="ABBvoice"/>
                <a:cs typeface="ABBvoice"/>
              </a:rPr>
              <a:t>350 m</a:t>
            </a:r>
          </a:p>
        </p:txBody>
      </p:sp>
      <p:sp>
        <p:nvSpPr>
          <p:cNvPr id="2533470" name="Line 94"/>
          <p:cNvSpPr>
            <a:spLocks noChangeShapeType="1"/>
          </p:cNvSpPr>
          <p:nvPr/>
        </p:nvSpPr>
        <p:spPr bwMode="gray">
          <a:xfrm flipH="1">
            <a:off x="7269426" y="5229524"/>
            <a:ext cx="1152525" cy="0"/>
          </a:xfrm>
          <a:prstGeom prst="line">
            <a:avLst/>
          </a:prstGeom>
          <a:noFill/>
          <a:ln w="28575">
            <a:solidFill>
              <a:schemeClr val="tx2"/>
            </a:solidFill>
            <a:round/>
            <a:headEnd/>
            <a:tailEnd type="triangle" w="med" len="med"/>
          </a:ln>
          <a:extLst>
            <a:ext uri="{909E8E84-426E-40DD-AFC4-6F175D3DCCD1}">
              <a14:hiddenFill xmlns:a14="http://schemas.microsoft.com/office/drawing/2010/main">
                <a:noFill/>
              </a14:hiddenFill>
            </a:ext>
          </a:ex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2533471" name="Line 95"/>
          <p:cNvSpPr>
            <a:spLocks noChangeShapeType="1"/>
          </p:cNvSpPr>
          <p:nvPr/>
        </p:nvSpPr>
        <p:spPr bwMode="gray">
          <a:xfrm>
            <a:off x="9285551" y="5229524"/>
            <a:ext cx="1152525" cy="0"/>
          </a:xfrm>
          <a:prstGeom prst="line">
            <a:avLst/>
          </a:prstGeom>
          <a:noFill/>
          <a:ln w="28575">
            <a:solidFill>
              <a:schemeClr val="tx2"/>
            </a:solidFill>
            <a:round/>
            <a:headEnd/>
            <a:tailEnd type="triangle" w="med" len="med"/>
          </a:ln>
          <a:extLst>
            <a:ext uri="{909E8E84-426E-40DD-AFC4-6F175D3DCCD1}">
              <a14:hiddenFill xmlns:a14="http://schemas.microsoft.com/office/drawing/2010/main">
                <a:noFill/>
              </a14:hiddenFill>
            </a:ext>
          </a:ex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pic>
        <p:nvPicPr>
          <p:cNvPr id="2052" name="Picture 4" descr="C:\Users\Samuel Rackstraw.SAMMY-LAPTOP\Desktop\Desktop_Orga\CUSTOMERS\ABB\54_CEMS_customer_presentation\CEMS_webinar\AO2000 stack_edit.pn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gray">
          <a:xfrm>
            <a:off x="7878855" y="1621944"/>
            <a:ext cx="2724184" cy="3363740"/>
          </a:xfrm>
          <a:prstGeom prst="rect">
            <a:avLst/>
          </a:prstGeom>
          <a:noFill/>
          <a:extLst>
            <a:ext uri="{909E8E84-426E-40DD-AFC4-6F175D3DCCD1}">
              <a14:hiddenFill xmlns:a14="http://schemas.microsoft.com/office/drawing/2010/main">
                <a:solidFill>
                  <a:srgbClr val="FFFFFF"/>
                </a:solidFill>
              </a14:hiddenFill>
            </a:ext>
          </a:extLst>
        </p:spPr>
      </p:pic>
      <p:sp>
        <p:nvSpPr>
          <p:cNvPr id="677907" name="Rectangle 99"/>
          <p:cNvSpPr>
            <a:spLocks noChangeArrowheads="1"/>
          </p:cNvSpPr>
          <p:nvPr/>
        </p:nvSpPr>
        <p:spPr bwMode="gray">
          <a:xfrm>
            <a:off x="8277489" y="2122469"/>
            <a:ext cx="784225" cy="539750"/>
          </a:xfrm>
          <a:prstGeom prst="rect">
            <a:avLst/>
          </a:prstGeom>
          <a:solidFill>
            <a:schemeClr val="accent1"/>
          </a:solidFill>
          <a:ln w="25400" algn="ctr">
            <a:solidFill>
              <a:schemeClr val="accent1"/>
            </a:solidFill>
            <a:miter lim="800000"/>
            <a:headEnd/>
            <a:tailEnd/>
          </a:ln>
        </p:spPr>
        <p:txBody>
          <a:bodyPr wrap="none" lIns="0" tIns="0" rIns="0" bIns="0" anchor="ctr"/>
          <a:lstStyle>
            <a:lvl1pPr marL="182563" indent="-182563">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1pPr>
            <a:lvl2pPr marL="742950" indent="-285750">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2pPr>
            <a:lvl3pPr marL="1143000" indent="-228600">
              <a:lnSpc>
                <a:spcPct val="95000"/>
              </a:lnSpc>
              <a:spcBef>
                <a:spcPct val="50000"/>
              </a:spcBef>
              <a:buClr>
                <a:schemeClr val="tx2"/>
              </a:buClr>
              <a:buSzPct val="70000"/>
              <a:buFont typeface="Wingdings" panose="05000000000000000000" pitchFamily="2" charset="2"/>
              <a:buChar char="§"/>
              <a:defRPr sz="1600">
                <a:solidFill>
                  <a:srgbClr val="000000"/>
                </a:solidFill>
                <a:latin typeface="Arial" panose="020B0604020202020204" pitchFamily="34" charset="0"/>
              </a:defRPr>
            </a:lvl3pPr>
            <a:lvl4pPr marL="16002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4pPr>
            <a:lvl5pPr marL="20574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5pPr>
            <a:lvl6pPr marL="25146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6pPr>
            <a:lvl7pPr marL="29718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7pPr>
            <a:lvl8pPr marL="34290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8pPr>
            <a:lvl9pPr marL="38862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9pPr>
          </a:lstStyle>
          <a:p>
            <a:pPr marL="182563" marR="0" lvl="0" indent="-182563" algn="ctr"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None/>
              <a:tabLst/>
              <a:defRPr/>
            </a:pPr>
            <a:r>
              <a:rPr kumimoji="0" lang="de-DE" altLang="en-US" sz="800" b="0" i="0" u="none" strike="noStrike" kern="1200" cap="none" spc="0" normalizeH="0" baseline="0" noProof="0">
                <a:ln>
                  <a:noFill/>
                </a:ln>
                <a:solidFill>
                  <a:srgbClr val="FFFFFF"/>
                </a:solidFill>
                <a:effectLst/>
                <a:uLnTx/>
                <a:uFillTx/>
                <a:latin typeface="ABBvoice"/>
                <a:ea typeface="ABBvoice"/>
                <a:cs typeface="ABBvoice"/>
              </a:rPr>
              <a:t>Module 1</a:t>
            </a:r>
          </a:p>
        </p:txBody>
      </p:sp>
      <p:sp>
        <p:nvSpPr>
          <p:cNvPr id="677908" name="Rectangle 100"/>
          <p:cNvSpPr>
            <a:spLocks noChangeArrowheads="1"/>
          </p:cNvSpPr>
          <p:nvPr/>
        </p:nvSpPr>
        <p:spPr bwMode="gray">
          <a:xfrm>
            <a:off x="8277489" y="3011152"/>
            <a:ext cx="784225" cy="539750"/>
          </a:xfrm>
          <a:prstGeom prst="rect">
            <a:avLst/>
          </a:prstGeom>
          <a:solidFill>
            <a:schemeClr val="accent1"/>
          </a:solidFill>
          <a:ln w="25400" algn="ctr">
            <a:solidFill>
              <a:schemeClr val="accent1"/>
            </a:solidFill>
            <a:miter lim="800000"/>
            <a:headEnd/>
            <a:tailEnd/>
          </a:ln>
        </p:spPr>
        <p:txBody>
          <a:bodyPr wrap="none" lIns="0" tIns="0" rIns="0" bIns="0" anchor="ctr"/>
          <a:lstStyle>
            <a:lvl1pPr marL="182563" indent="-182563">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1pPr>
            <a:lvl2pPr marL="742950" indent="-285750">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2pPr>
            <a:lvl3pPr marL="1143000" indent="-228600">
              <a:lnSpc>
                <a:spcPct val="95000"/>
              </a:lnSpc>
              <a:spcBef>
                <a:spcPct val="50000"/>
              </a:spcBef>
              <a:buClr>
                <a:schemeClr val="tx2"/>
              </a:buClr>
              <a:buSzPct val="70000"/>
              <a:buFont typeface="Wingdings" panose="05000000000000000000" pitchFamily="2" charset="2"/>
              <a:buChar char="§"/>
              <a:defRPr sz="1600">
                <a:solidFill>
                  <a:srgbClr val="000000"/>
                </a:solidFill>
                <a:latin typeface="Arial" panose="020B0604020202020204" pitchFamily="34" charset="0"/>
              </a:defRPr>
            </a:lvl3pPr>
            <a:lvl4pPr marL="16002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4pPr>
            <a:lvl5pPr marL="20574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5pPr>
            <a:lvl6pPr marL="25146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6pPr>
            <a:lvl7pPr marL="29718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7pPr>
            <a:lvl8pPr marL="34290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8pPr>
            <a:lvl9pPr marL="38862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9pPr>
          </a:lstStyle>
          <a:p>
            <a:pPr marL="182563" marR="0" lvl="0" indent="-182563" algn="ctr"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None/>
              <a:tabLst/>
              <a:defRPr/>
            </a:pPr>
            <a:r>
              <a:rPr kumimoji="0" lang="de-DE" altLang="en-US" sz="800" b="0" i="0" u="none" strike="noStrike" kern="1200" cap="none" spc="0" normalizeH="0" baseline="0" noProof="0">
                <a:ln>
                  <a:noFill/>
                </a:ln>
                <a:solidFill>
                  <a:srgbClr val="FFFFFF"/>
                </a:solidFill>
                <a:effectLst/>
                <a:uLnTx/>
                <a:uFillTx/>
                <a:latin typeface="ABBvoice"/>
                <a:ea typeface="ABBvoice"/>
                <a:cs typeface="ABBvoice"/>
              </a:rPr>
              <a:t>Module 2</a:t>
            </a:r>
          </a:p>
        </p:txBody>
      </p:sp>
      <p:sp>
        <p:nvSpPr>
          <p:cNvPr id="677909" name="Rectangle 101"/>
          <p:cNvSpPr>
            <a:spLocks noChangeArrowheads="1"/>
          </p:cNvSpPr>
          <p:nvPr/>
        </p:nvSpPr>
        <p:spPr bwMode="gray">
          <a:xfrm>
            <a:off x="9276026" y="3011152"/>
            <a:ext cx="784225" cy="539750"/>
          </a:xfrm>
          <a:prstGeom prst="rect">
            <a:avLst/>
          </a:prstGeom>
          <a:solidFill>
            <a:schemeClr val="accent1"/>
          </a:solidFill>
          <a:ln w="25400" algn="ctr">
            <a:solidFill>
              <a:schemeClr val="accent1"/>
            </a:solidFill>
            <a:miter lim="800000"/>
            <a:headEnd/>
            <a:tailEnd/>
          </a:ln>
        </p:spPr>
        <p:txBody>
          <a:bodyPr wrap="none" lIns="0" tIns="0" rIns="0" bIns="0" anchor="ctr"/>
          <a:lstStyle>
            <a:lvl1pPr marL="182563" indent="-182563">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1pPr>
            <a:lvl2pPr marL="742950" indent="-285750">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2pPr>
            <a:lvl3pPr marL="1143000" indent="-228600">
              <a:lnSpc>
                <a:spcPct val="95000"/>
              </a:lnSpc>
              <a:spcBef>
                <a:spcPct val="50000"/>
              </a:spcBef>
              <a:buClr>
                <a:schemeClr val="tx2"/>
              </a:buClr>
              <a:buSzPct val="70000"/>
              <a:buFont typeface="Wingdings" panose="05000000000000000000" pitchFamily="2" charset="2"/>
              <a:buChar char="§"/>
              <a:defRPr sz="1600">
                <a:solidFill>
                  <a:srgbClr val="000000"/>
                </a:solidFill>
                <a:latin typeface="Arial" panose="020B0604020202020204" pitchFamily="34" charset="0"/>
              </a:defRPr>
            </a:lvl3pPr>
            <a:lvl4pPr marL="16002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4pPr>
            <a:lvl5pPr marL="20574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5pPr>
            <a:lvl6pPr marL="25146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6pPr>
            <a:lvl7pPr marL="29718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7pPr>
            <a:lvl8pPr marL="34290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8pPr>
            <a:lvl9pPr marL="38862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9pPr>
          </a:lstStyle>
          <a:p>
            <a:pPr marL="182563" marR="0" lvl="0" indent="-182563" algn="ctr"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None/>
              <a:tabLst/>
              <a:defRPr/>
            </a:pPr>
            <a:r>
              <a:rPr kumimoji="0" lang="de-DE" altLang="en-US" sz="800" b="0" i="0" u="none" strike="noStrike" kern="1200" cap="none" spc="0" normalizeH="0" baseline="0" noProof="0">
                <a:ln>
                  <a:noFill/>
                </a:ln>
                <a:solidFill>
                  <a:srgbClr val="FFFFFF"/>
                </a:solidFill>
                <a:effectLst/>
                <a:uLnTx/>
                <a:uFillTx/>
                <a:latin typeface="ABBvoice"/>
                <a:ea typeface="ABBvoice"/>
                <a:cs typeface="ABBvoice"/>
              </a:rPr>
              <a:t>Module 3</a:t>
            </a:r>
          </a:p>
        </p:txBody>
      </p:sp>
      <p:sp>
        <p:nvSpPr>
          <p:cNvPr id="677910" name="Rectangle 102"/>
          <p:cNvSpPr>
            <a:spLocks noChangeArrowheads="1"/>
          </p:cNvSpPr>
          <p:nvPr/>
        </p:nvSpPr>
        <p:spPr bwMode="gray">
          <a:xfrm>
            <a:off x="9276026" y="3888722"/>
            <a:ext cx="784225" cy="539750"/>
          </a:xfrm>
          <a:prstGeom prst="rect">
            <a:avLst/>
          </a:prstGeom>
          <a:solidFill>
            <a:schemeClr val="accent1"/>
          </a:solidFill>
          <a:ln w="25400" algn="ctr">
            <a:solidFill>
              <a:schemeClr val="accent1"/>
            </a:solidFill>
            <a:miter lim="800000"/>
            <a:headEnd/>
            <a:tailEnd/>
          </a:ln>
        </p:spPr>
        <p:txBody>
          <a:bodyPr wrap="none" lIns="0" tIns="0" rIns="0" bIns="0" anchor="ctr"/>
          <a:lstStyle>
            <a:lvl1pPr marL="182563" indent="-182563">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1pPr>
            <a:lvl2pPr marL="742950" indent="-285750">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2pPr>
            <a:lvl3pPr marL="1143000" indent="-228600">
              <a:lnSpc>
                <a:spcPct val="95000"/>
              </a:lnSpc>
              <a:spcBef>
                <a:spcPct val="50000"/>
              </a:spcBef>
              <a:buClr>
                <a:schemeClr val="tx2"/>
              </a:buClr>
              <a:buSzPct val="70000"/>
              <a:buFont typeface="Wingdings" panose="05000000000000000000" pitchFamily="2" charset="2"/>
              <a:buChar char="§"/>
              <a:defRPr sz="1600">
                <a:solidFill>
                  <a:srgbClr val="000000"/>
                </a:solidFill>
                <a:latin typeface="Arial" panose="020B0604020202020204" pitchFamily="34" charset="0"/>
              </a:defRPr>
            </a:lvl3pPr>
            <a:lvl4pPr marL="16002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4pPr>
            <a:lvl5pPr marL="20574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5pPr>
            <a:lvl6pPr marL="25146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6pPr>
            <a:lvl7pPr marL="29718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7pPr>
            <a:lvl8pPr marL="34290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8pPr>
            <a:lvl9pPr marL="38862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9pPr>
          </a:lstStyle>
          <a:p>
            <a:pPr marL="182563" marR="0" lvl="0" indent="-182563" algn="ctr"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None/>
              <a:tabLst/>
              <a:defRPr/>
            </a:pPr>
            <a:r>
              <a:rPr kumimoji="0" lang="de-DE" altLang="en-US" sz="800" b="0" i="0" u="none" strike="noStrike" kern="1200" cap="none" spc="0" normalizeH="0" baseline="0" noProof="0">
                <a:ln>
                  <a:noFill/>
                </a:ln>
                <a:solidFill>
                  <a:srgbClr val="FFFFFF"/>
                </a:solidFill>
                <a:effectLst/>
                <a:uLnTx/>
                <a:uFillTx/>
                <a:latin typeface="ABBvoice"/>
                <a:ea typeface="ABBvoice"/>
                <a:cs typeface="ABBvoice"/>
              </a:rPr>
              <a:t>Module 4</a:t>
            </a:r>
          </a:p>
        </p:txBody>
      </p:sp>
      <p:grpSp>
        <p:nvGrpSpPr>
          <p:cNvPr id="19" name="Group 18"/>
          <p:cNvGrpSpPr/>
          <p:nvPr/>
        </p:nvGrpSpPr>
        <p:grpSpPr bwMode="gray">
          <a:xfrm>
            <a:off x="8478616" y="3827930"/>
            <a:ext cx="1497853" cy="679116"/>
            <a:chOff x="8478616" y="233621"/>
            <a:chExt cx="1497853" cy="679116"/>
          </a:xfrm>
        </p:grpSpPr>
        <p:pic>
          <p:nvPicPr>
            <p:cNvPr id="2057" name="Picture 9"/>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gray">
            <a:xfrm>
              <a:off x="8478616" y="233621"/>
              <a:ext cx="1497853" cy="679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7" name="Rectangle 99"/>
            <p:cNvSpPr>
              <a:spLocks noChangeArrowheads="1"/>
            </p:cNvSpPr>
            <p:nvPr/>
          </p:nvSpPr>
          <p:spPr bwMode="gray">
            <a:xfrm>
              <a:off x="9197692" y="465882"/>
              <a:ext cx="482600" cy="330200"/>
            </a:xfrm>
            <a:prstGeom prst="rect">
              <a:avLst/>
            </a:prstGeom>
            <a:solidFill>
              <a:schemeClr val="accent1"/>
            </a:solidFill>
            <a:ln w="25400" algn="ctr">
              <a:solidFill>
                <a:schemeClr val="accent1"/>
              </a:solidFill>
              <a:miter lim="800000"/>
              <a:headEnd/>
              <a:tailEnd/>
            </a:ln>
          </p:spPr>
          <p:txBody>
            <a:bodyPr wrap="none" lIns="0" tIns="0" rIns="0" bIns="0" anchor="ctr"/>
            <a:lstStyle>
              <a:lvl1pPr marL="182563" indent="-182563">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1pPr>
              <a:lvl2pPr marL="742950" indent="-285750">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2pPr>
              <a:lvl3pPr marL="1143000" indent="-228600">
                <a:lnSpc>
                  <a:spcPct val="95000"/>
                </a:lnSpc>
                <a:spcBef>
                  <a:spcPct val="50000"/>
                </a:spcBef>
                <a:buClr>
                  <a:schemeClr val="tx2"/>
                </a:buClr>
                <a:buSzPct val="70000"/>
                <a:buFont typeface="Wingdings" panose="05000000000000000000" pitchFamily="2" charset="2"/>
                <a:buChar char="§"/>
                <a:defRPr sz="1600">
                  <a:solidFill>
                    <a:srgbClr val="000000"/>
                  </a:solidFill>
                  <a:latin typeface="Arial" panose="020B0604020202020204" pitchFamily="34" charset="0"/>
                </a:defRPr>
              </a:lvl3pPr>
              <a:lvl4pPr marL="16002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4pPr>
              <a:lvl5pPr marL="20574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5pPr>
              <a:lvl6pPr marL="25146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6pPr>
              <a:lvl7pPr marL="29718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7pPr>
              <a:lvl8pPr marL="34290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8pPr>
              <a:lvl9pPr marL="38862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9pPr>
            </a:lstStyle>
            <a:p>
              <a:pPr marL="182563" marR="0" lvl="0" indent="-182563" algn="ctr"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None/>
                <a:tabLst/>
                <a:defRPr/>
              </a:pPr>
              <a:r>
                <a:rPr kumimoji="0" lang="de-DE" altLang="en-US" sz="800" b="0" i="0" u="none" strike="noStrike" kern="1200" cap="none" spc="0" normalizeH="0" baseline="0" noProof="0" dirty="0">
                  <a:ln>
                    <a:noFill/>
                  </a:ln>
                  <a:solidFill>
                    <a:srgbClr val="FFFFFF"/>
                  </a:solidFill>
                  <a:effectLst/>
                  <a:uLnTx/>
                  <a:uFillTx/>
                  <a:latin typeface="ABBvoice"/>
                  <a:ea typeface="ABBvoice"/>
                  <a:cs typeface="ABBvoice"/>
                </a:rPr>
                <a:t>Module 4</a:t>
              </a:r>
            </a:p>
          </p:txBody>
        </p:sp>
      </p:grpSp>
      <p:pic>
        <p:nvPicPr>
          <p:cNvPr id="2533487" name="Picture 111" descr="Caldos27_A_hr"/>
          <p:cNvPicPr>
            <a:picLocks noChangeAspect="1" noChangeArrowheads="1"/>
          </p:cNvPicPr>
          <p:nvPr>
            <p:custDataLst>
              <p:tags r:id="rId2"/>
            </p:custDataLst>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8353689" y="2876851"/>
            <a:ext cx="657225" cy="854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oup 17"/>
          <p:cNvGrpSpPr/>
          <p:nvPr/>
        </p:nvGrpSpPr>
        <p:grpSpPr bwMode="gray">
          <a:xfrm>
            <a:off x="8478616" y="2908047"/>
            <a:ext cx="1497853" cy="745960"/>
            <a:chOff x="8478616" y="-631567"/>
            <a:chExt cx="1497853" cy="745960"/>
          </a:xfrm>
        </p:grpSpPr>
        <p:pic>
          <p:nvPicPr>
            <p:cNvPr id="2056" name="Picture 8"/>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gray">
            <a:xfrm>
              <a:off x="8478616" y="-631567"/>
              <a:ext cx="1497853" cy="745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3" name="Rectangle 99"/>
            <p:cNvSpPr>
              <a:spLocks noChangeArrowheads="1"/>
            </p:cNvSpPr>
            <p:nvPr/>
          </p:nvSpPr>
          <p:spPr bwMode="gray">
            <a:xfrm>
              <a:off x="8659528" y="-360187"/>
              <a:ext cx="482600" cy="330200"/>
            </a:xfrm>
            <a:prstGeom prst="rect">
              <a:avLst/>
            </a:prstGeom>
            <a:solidFill>
              <a:schemeClr val="accent1"/>
            </a:solidFill>
            <a:ln w="25400" algn="ctr">
              <a:solidFill>
                <a:schemeClr val="accent1"/>
              </a:solidFill>
              <a:miter lim="800000"/>
              <a:headEnd/>
              <a:tailEnd/>
            </a:ln>
          </p:spPr>
          <p:txBody>
            <a:bodyPr wrap="none" lIns="0" tIns="0" rIns="0" bIns="0" anchor="ctr"/>
            <a:lstStyle>
              <a:lvl1pPr marL="182563" indent="-182563">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1pPr>
              <a:lvl2pPr marL="742950" indent="-285750">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2pPr>
              <a:lvl3pPr marL="1143000" indent="-228600">
                <a:lnSpc>
                  <a:spcPct val="95000"/>
                </a:lnSpc>
                <a:spcBef>
                  <a:spcPct val="50000"/>
                </a:spcBef>
                <a:buClr>
                  <a:schemeClr val="tx2"/>
                </a:buClr>
                <a:buSzPct val="70000"/>
                <a:buFont typeface="Wingdings" panose="05000000000000000000" pitchFamily="2" charset="2"/>
                <a:buChar char="§"/>
                <a:defRPr sz="1600">
                  <a:solidFill>
                    <a:srgbClr val="000000"/>
                  </a:solidFill>
                  <a:latin typeface="Arial" panose="020B0604020202020204" pitchFamily="34" charset="0"/>
                </a:defRPr>
              </a:lvl3pPr>
              <a:lvl4pPr marL="16002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4pPr>
              <a:lvl5pPr marL="20574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5pPr>
              <a:lvl6pPr marL="25146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6pPr>
              <a:lvl7pPr marL="29718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7pPr>
              <a:lvl8pPr marL="34290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8pPr>
              <a:lvl9pPr marL="38862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9pPr>
            </a:lstStyle>
            <a:p>
              <a:pPr marL="182563" marR="0" lvl="0" indent="-182563" algn="ctr"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None/>
                <a:tabLst/>
                <a:defRPr/>
              </a:pPr>
              <a:r>
                <a:rPr kumimoji="0" lang="de-DE" altLang="en-US" sz="800" b="0" i="0" u="none" strike="noStrike" kern="1200" cap="none" spc="0" normalizeH="0" baseline="0" noProof="0" dirty="0">
                  <a:ln>
                    <a:noFill/>
                  </a:ln>
                  <a:solidFill>
                    <a:srgbClr val="FFFFFF"/>
                  </a:solidFill>
                  <a:effectLst/>
                  <a:uLnTx/>
                  <a:uFillTx/>
                  <a:latin typeface="ABBvoice"/>
                  <a:ea typeface="ABBvoice"/>
                  <a:cs typeface="ABBvoice"/>
                </a:rPr>
                <a:t>Module 2</a:t>
              </a:r>
            </a:p>
          </p:txBody>
        </p:sp>
        <p:sp>
          <p:nvSpPr>
            <p:cNvPr id="84" name="Rectangle 99"/>
            <p:cNvSpPr>
              <a:spLocks noChangeArrowheads="1"/>
            </p:cNvSpPr>
            <p:nvPr/>
          </p:nvSpPr>
          <p:spPr bwMode="gray">
            <a:xfrm>
              <a:off x="9197692" y="-360187"/>
              <a:ext cx="482600" cy="330200"/>
            </a:xfrm>
            <a:prstGeom prst="rect">
              <a:avLst/>
            </a:prstGeom>
            <a:solidFill>
              <a:schemeClr val="accent1"/>
            </a:solidFill>
            <a:ln w="25400" algn="ctr">
              <a:solidFill>
                <a:schemeClr val="accent1"/>
              </a:solidFill>
              <a:miter lim="800000"/>
              <a:headEnd/>
              <a:tailEnd/>
            </a:ln>
          </p:spPr>
          <p:txBody>
            <a:bodyPr wrap="none" lIns="0" tIns="0" rIns="0" bIns="0" anchor="ctr"/>
            <a:lstStyle>
              <a:lvl1pPr marL="182563" indent="-182563">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1pPr>
              <a:lvl2pPr marL="742950" indent="-285750">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2pPr>
              <a:lvl3pPr marL="1143000" indent="-228600">
                <a:lnSpc>
                  <a:spcPct val="95000"/>
                </a:lnSpc>
                <a:spcBef>
                  <a:spcPct val="50000"/>
                </a:spcBef>
                <a:buClr>
                  <a:schemeClr val="tx2"/>
                </a:buClr>
                <a:buSzPct val="70000"/>
                <a:buFont typeface="Wingdings" panose="05000000000000000000" pitchFamily="2" charset="2"/>
                <a:buChar char="§"/>
                <a:defRPr sz="1600">
                  <a:solidFill>
                    <a:srgbClr val="000000"/>
                  </a:solidFill>
                  <a:latin typeface="Arial" panose="020B0604020202020204" pitchFamily="34" charset="0"/>
                </a:defRPr>
              </a:lvl3pPr>
              <a:lvl4pPr marL="16002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4pPr>
              <a:lvl5pPr marL="20574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5pPr>
              <a:lvl6pPr marL="25146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6pPr>
              <a:lvl7pPr marL="29718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7pPr>
              <a:lvl8pPr marL="34290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8pPr>
              <a:lvl9pPr marL="38862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9pPr>
            </a:lstStyle>
            <a:p>
              <a:pPr marL="182563" marR="0" lvl="0" indent="-182563" algn="ctr"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None/>
                <a:tabLst/>
                <a:defRPr/>
              </a:pPr>
              <a:r>
                <a:rPr kumimoji="0" lang="de-DE" altLang="en-US" sz="800" b="0" i="0" u="none" strike="noStrike" kern="1200" cap="none" spc="0" normalizeH="0" baseline="0" noProof="0" dirty="0">
                  <a:ln>
                    <a:noFill/>
                  </a:ln>
                  <a:solidFill>
                    <a:srgbClr val="FFFFFF"/>
                  </a:solidFill>
                  <a:effectLst/>
                  <a:uLnTx/>
                  <a:uFillTx/>
                  <a:latin typeface="ABBvoice"/>
                  <a:ea typeface="ABBvoice"/>
                  <a:cs typeface="ABBvoice"/>
                </a:rPr>
                <a:t>Module 3</a:t>
              </a:r>
            </a:p>
          </p:txBody>
        </p:sp>
      </p:grpSp>
      <p:grpSp>
        <p:nvGrpSpPr>
          <p:cNvPr id="20" name="Group 19"/>
          <p:cNvGrpSpPr/>
          <p:nvPr/>
        </p:nvGrpSpPr>
        <p:grpSpPr bwMode="gray">
          <a:xfrm>
            <a:off x="8478617" y="2006936"/>
            <a:ext cx="1497852" cy="701661"/>
            <a:chOff x="8478617" y="-1971600"/>
            <a:chExt cx="1497852" cy="701661"/>
          </a:xfrm>
        </p:grpSpPr>
        <p:pic>
          <p:nvPicPr>
            <p:cNvPr id="2055" name="Picture 7"/>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gray">
            <a:xfrm>
              <a:off x="8478617" y="-1971600"/>
              <a:ext cx="1497852" cy="701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0" name="Rectangle 99"/>
            <p:cNvSpPr>
              <a:spLocks noChangeArrowheads="1"/>
            </p:cNvSpPr>
            <p:nvPr/>
          </p:nvSpPr>
          <p:spPr bwMode="gray">
            <a:xfrm>
              <a:off x="8660621" y="-1725542"/>
              <a:ext cx="482600" cy="330200"/>
            </a:xfrm>
            <a:prstGeom prst="rect">
              <a:avLst/>
            </a:prstGeom>
            <a:solidFill>
              <a:schemeClr val="accent1"/>
            </a:solidFill>
            <a:ln w="25400" algn="ctr">
              <a:solidFill>
                <a:schemeClr val="accent1"/>
              </a:solidFill>
              <a:miter lim="800000"/>
              <a:headEnd/>
              <a:tailEnd/>
            </a:ln>
          </p:spPr>
          <p:txBody>
            <a:bodyPr wrap="none" lIns="0" tIns="0" rIns="0" bIns="0" anchor="ctr"/>
            <a:lstStyle>
              <a:lvl1pPr marL="182563" indent="-182563">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1pPr>
              <a:lvl2pPr marL="742950" indent="-285750">
                <a:lnSpc>
                  <a:spcPct val="95000"/>
                </a:lnSpc>
                <a:spcBef>
                  <a:spcPct val="50000"/>
                </a:spcBef>
                <a:buClr>
                  <a:schemeClr val="tx2"/>
                </a:buClr>
                <a:buSzPct val="70000"/>
                <a:buFont typeface="Wingdings" panose="05000000000000000000" pitchFamily="2" charset="2"/>
                <a:buChar char="§"/>
                <a:defRPr>
                  <a:solidFill>
                    <a:srgbClr val="000000"/>
                  </a:solidFill>
                  <a:latin typeface="Arial" panose="020B0604020202020204" pitchFamily="34" charset="0"/>
                </a:defRPr>
              </a:lvl2pPr>
              <a:lvl3pPr marL="1143000" indent="-228600">
                <a:lnSpc>
                  <a:spcPct val="95000"/>
                </a:lnSpc>
                <a:spcBef>
                  <a:spcPct val="50000"/>
                </a:spcBef>
                <a:buClr>
                  <a:schemeClr val="tx2"/>
                </a:buClr>
                <a:buSzPct val="70000"/>
                <a:buFont typeface="Wingdings" panose="05000000000000000000" pitchFamily="2" charset="2"/>
                <a:buChar char="§"/>
                <a:defRPr sz="1600">
                  <a:solidFill>
                    <a:srgbClr val="000000"/>
                  </a:solidFill>
                  <a:latin typeface="Arial" panose="020B0604020202020204" pitchFamily="34" charset="0"/>
                </a:defRPr>
              </a:lvl3pPr>
              <a:lvl4pPr marL="16002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4pPr>
              <a:lvl5pPr marL="2057400" indent="-228600">
                <a:lnSpc>
                  <a:spcPct val="95000"/>
                </a:lnSpc>
                <a:spcBef>
                  <a:spcPct val="50000"/>
                </a:spcBef>
                <a:buClr>
                  <a:schemeClr val="tx2"/>
                </a:buClr>
                <a:buSzPct val="70000"/>
                <a:buFont typeface="Wingdings" panose="05000000000000000000" pitchFamily="2" charset="2"/>
                <a:buChar char="§"/>
                <a:defRPr sz="1400">
                  <a:solidFill>
                    <a:srgbClr val="000000"/>
                  </a:solidFill>
                  <a:latin typeface="Arial" panose="020B0604020202020204" pitchFamily="34" charset="0"/>
                </a:defRPr>
              </a:lvl5pPr>
              <a:lvl6pPr marL="25146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6pPr>
              <a:lvl7pPr marL="29718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7pPr>
              <a:lvl8pPr marL="34290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8pPr>
              <a:lvl9pPr marL="3886200" indent="-228600" eaLnBrk="0" fontAlgn="base" hangingPunct="0">
                <a:lnSpc>
                  <a:spcPct val="95000"/>
                </a:lnSpc>
                <a:spcBef>
                  <a:spcPct val="50000"/>
                </a:spcBef>
                <a:spcAft>
                  <a:spcPct val="0"/>
                </a:spcAft>
                <a:buClr>
                  <a:schemeClr val="tx2"/>
                </a:buClr>
                <a:buSzPct val="70000"/>
                <a:buFont typeface="Wingdings" panose="05000000000000000000" pitchFamily="2" charset="2"/>
                <a:buChar char="§"/>
                <a:defRPr sz="1400">
                  <a:solidFill>
                    <a:srgbClr val="000000"/>
                  </a:solidFill>
                  <a:latin typeface="Arial" panose="020B0604020202020204" pitchFamily="34" charset="0"/>
                </a:defRPr>
              </a:lvl9pPr>
            </a:lstStyle>
            <a:p>
              <a:pPr marL="182563" marR="0" lvl="0" indent="-182563" algn="ctr"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None/>
                <a:tabLst/>
                <a:defRPr/>
              </a:pPr>
              <a:r>
                <a:rPr kumimoji="0" lang="de-DE" altLang="en-US" sz="800" b="0" i="0" u="none" strike="noStrike" kern="1200" cap="none" spc="0" normalizeH="0" baseline="0" noProof="0" dirty="0">
                  <a:ln>
                    <a:noFill/>
                  </a:ln>
                  <a:solidFill>
                    <a:srgbClr val="FFFFFF"/>
                  </a:solidFill>
                  <a:effectLst/>
                  <a:uLnTx/>
                  <a:uFillTx/>
                  <a:latin typeface="ABBvoice"/>
                  <a:ea typeface="ABBvoice"/>
                  <a:cs typeface="ABBvoice"/>
                </a:rPr>
                <a:t>Module 1</a:t>
              </a:r>
            </a:p>
          </p:txBody>
        </p:sp>
      </p:grpSp>
      <p:pic>
        <p:nvPicPr>
          <p:cNvPr id="2533488" name="Picture 112" descr="Uras26_A_hr"/>
          <p:cNvPicPr>
            <a:picLocks noChangeAspect="1" noChangeArrowheads="1"/>
          </p:cNvPicPr>
          <p:nvPr>
            <p:custDataLst>
              <p:tags r:id="rId3"/>
            </p:custDataLst>
          </p:nvPr>
        </p:nvPicPr>
        <p:blipFill>
          <a:blip r:embed="rId13">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8277487" y="2029124"/>
            <a:ext cx="792162"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33489" name="Picture 113" descr="Magnos206_A_hr"/>
          <p:cNvPicPr>
            <a:picLocks noChangeAspect="1" noChangeArrowheads="1"/>
          </p:cNvPicPr>
          <p:nvPr>
            <p:custDataLst>
              <p:tags r:id="rId4"/>
            </p:custDataLst>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9310949" y="2821289"/>
            <a:ext cx="69215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7914" name="Picture 114" descr="Limas11_UV photometer"/>
          <p:cNvPicPr>
            <a:picLocks noChangeAspect="1" noChangeArrowheads="1"/>
          </p:cNvPicPr>
          <p:nvPr>
            <p:custDataLst>
              <p:tags r:id="rId5"/>
            </p:custDataLst>
          </p:nvPr>
        </p:nvPicPr>
        <p:blipFill>
          <a:blip r:embed="rId15">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9161726" y="3802046"/>
            <a:ext cx="87947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3" name="Picture 5"/>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gray">
          <a:xfrm>
            <a:off x="7746945" y="2309210"/>
            <a:ext cx="2313349" cy="173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Line 88"/>
          <p:cNvSpPr>
            <a:spLocks noChangeShapeType="1"/>
          </p:cNvSpPr>
          <p:nvPr/>
        </p:nvSpPr>
        <p:spPr bwMode="gray">
          <a:xfrm flipV="1">
            <a:off x="8273103" y="3659489"/>
            <a:ext cx="0" cy="124301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grpSp>
        <p:nvGrpSpPr>
          <p:cNvPr id="37" name="Group 36">
            <a:extLst>
              <a:ext uri="{FF2B5EF4-FFF2-40B4-BE49-F238E27FC236}">
                <a16:creationId xmlns:a16="http://schemas.microsoft.com/office/drawing/2014/main" id="{BC725E19-DD1C-4418-B14B-371DE282F96E}"/>
              </a:ext>
            </a:extLst>
          </p:cNvPr>
          <p:cNvGrpSpPr>
            <a:grpSpLocks noChangeAspect="1"/>
          </p:cNvGrpSpPr>
          <p:nvPr/>
        </p:nvGrpSpPr>
        <p:grpSpPr bwMode="gray">
          <a:xfrm>
            <a:off x="332367" y="5250833"/>
            <a:ext cx="689137" cy="577417"/>
            <a:chOff x="5382466" y="2044232"/>
            <a:chExt cx="937763" cy="785738"/>
          </a:xfrm>
          <a:solidFill>
            <a:schemeClr val="tx1"/>
          </a:solidFill>
        </p:grpSpPr>
        <p:grpSp>
          <p:nvGrpSpPr>
            <p:cNvPr id="39" name="Gruppieren 3076">
              <a:extLst>
                <a:ext uri="{FF2B5EF4-FFF2-40B4-BE49-F238E27FC236}">
                  <a16:creationId xmlns:a16="http://schemas.microsoft.com/office/drawing/2014/main" id="{BA9D177A-1D21-44F2-AD6A-72087F2026FE}"/>
                </a:ext>
              </a:extLst>
            </p:cNvPr>
            <p:cNvGrpSpPr/>
            <p:nvPr/>
          </p:nvGrpSpPr>
          <p:grpSpPr bwMode="gray">
            <a:xfrm>
              <a:off x="5624826" y="2208674"/>
              <a:ext cx="453043" cy="460345"/>
              <a:chOff x="6433785" y="4335053"/>
              <a:chExt cx="453043" cy="460345"/>
            </a:xfrm>
            <a:grpFill/>
          </p:grpSpPr>
          <p:sp>
            <p:nvSpPr>
              <p:cNvPr id="42" name="Rechteck 297">
                <a:extLst>
                  <a:ext uri="{FF2B5EF4-FFF2-40B4-BE49-F238E27FC236}">
                    <a16:creationId xmlns:a16="http://schemas.microsoft.com/office/drawing/2014/main" id="{D82106C2-1F8D-470D-A757-ED8B6DBEEC9A}"/>
                  </a:ext>
                </a:extLst>
              </p:cNvPr>
              <p:cNvSpPr/>
              <p:nvPr/>
            </p:nvSpPr>
            <p:spPr bwMode="gray">
              <a:xfrm>
                <a:off x="6684854" y="4541041"/>
                <a:ext cx="201974" cy="254357"/>
              </a:xfrm>
              <a:custGeom>
                <a:avLst/>
                <a:gdLst/>
                <a:ahLst/>
                <a:cxnLst/>
                <a:rect l="l" t="t" r="r" b="b"/>
                <a:pathLst>
                  <a:path w="171193" h="215593">
                    <a:moveTo>
                      <a:pt x="2732" y="0"/>
                    </a:moveTo>
                    <a:cubicBezTo>
                      <a:pt x="31801" y="5583"/>
                      <a:pt x="45458" y="13241"/>
                      <a:pt x="55614" y="25569"/>
                    </a:cubicBezTo>
                    <a:lnTo>
                      <a:pt x="85597" y="78441"/>
                    </a:lnTo>
                    <a:lnTo>
                      <a:pt x="115579" y="25569"/>
                    </a:lnTo>
                    <a:cubicBezTo>
                      <a:pt x="125735" y="13241"/>
                      <a:pt x="139392" y="5583"/>
                      <a:pt x="168461" y="0"/>
                    </a:cubicBezTo>
                    <a:lnTo>
                      <a:pt x="169737" y="36539"/>
                    </a:lnTo>
                    <a:cubicBezTo>
                      <a:pt x="150035" y="44140"/>
                      <a:pt x="147302" y="43960"/>
                      <a:pt x="138661" y="56436"/>
                    </a:cubicBezTo>
                    <a:lnTo>
                      <a:pt x="104983" y="112627"/>
                    </a:lnTo>
                    <a:lnTo>
                      <a:pt x="132675" y="161459"/>
                    </a:lnTo>
                    <a:cubicBezTo>
                      <a:pt x="138215" y="169054"/>
                      <a:pt x="153825" y="177709"/>
                      <a:pt x="171193" y="182998"/>
                    </a:cubicBezTo>
                    <a:cubicBezTo>
                      <a:pt x="170615" y="193863"/>
                      <a:pt x="170036" y="204728"/>
                      <a:pt x="169458" y="215593"/>
                    </a:cubicBezTo>
                    <a:cubicBezTo>
                      <a:pt x="145227" y="213278"/>
                      <a:pt x="126884" y="206716"/>
                      <a:pt x="109815" y="185383"/>
                    </a:cubicBezTo>
                    <a:lnTo>
                      <a:pt x="85597" y="144974"/>
                    </a:lnTo>
                    <a:lnTo>
                      <a:pt x="61378" y="185383"/>
                    </a:lnTo>
                    <a:cubicBezTo>
                      <a:pt x="44309" y="206716"/>
                      <a:pt x="25966" y="213278"/>
                      <a:pt x="1735" y="215593"/>
                    </a:cubicBezTo>
                    <a:cubicBezTo>
                      <a:pt x="1157" y="204728"/>
                      <a:pt x="578" y="193863"/>
                      <a:pt x="0" y="182998"/>
                    </a:cubicBezTo>
                    <a:cubicBezTo>
                      <a:pt x="17368" y="177709"/>
                      <a:pt x="32978" y="169054"/>
                      <a:pt x="38518" y="161459"/>
                    </a:cubicBezTo>
                    <a:lnTo>
                      <a:pt x="66210" y="112627"/>
                    </a:lnTo>
                    <a:lnTo>
                      <a:pt x="32532" y="56436"/>
                    </a:lnTo>
                    <a:cubicBezTo>
                      <a:pt x="23891" y="43960"/>
                      <a:pt x="21158" y="44140"/>
                      <a:pt x="1456" y="36539"/>
                    </a:cubicBezTo>
                    <a:cubicBezTo>
                      <a:pt x="1881" y="24360"/>
                      <a:pt x="2307" y="12180"/>
                      <a:pt x="2732" y="0"/>
                    </a:cubicBezTo>
                    <a:close/>
                  </a:path>
                </a:pathLst>
              </a:custGeom>
              <a:noFill/>
              <a:ln w="19050">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3" name="Rechteck 305">
                <a:extLst>
                  <a:ext uri="{FF2B5EF4-FFF2-40B4-BE49-F238E27FC236}">
                    <a16:creationId xmlns:a16="http://schemas.microsoft.com/office/drawing/2014/main" id="{66958B1E-54E5-442F-BB7D-9E11B99DBE81}"/>
                  </a:ext>
                </a:extLst>
              </p:cNvPr>
              <p:cNvSpPr/>
              <p:nvPr/>
            </p:nvSpPr>
            <p:spPr bwMode="gray">
              <a:xfrm>
                <a:off x="6433785" y="4335053"/>
                <a:ext cx="212100" cy="452561"/>
              </a:xfrm>
              <a:custGeom>
                <a:avLst/>
                <a:gdLst/>
                <a:ahLst/>
                <a:cxnLst/>
                <a:rect l="l" t="t" r="r" b="b"/>
                <a:pathLst>
                  <a:path w="179776" h="383591">
                    <a:moveTo>
                      <a:pt x="104498" y="0"/>
                    </a:moveTo>
                    <a:cubicBezTo>
                      <a:pt x="134377" y="0"/>
                      <a:pt x="161327" y="12540"/>
                      <a:pt x="179776" y="33145"/>
                    </a:cubicBezTo>
                    <a:lnTo>
                      <a:pt x="151910" y="61011"/>
                    </a:lnTo>
                    <a:cubicBezTo>
                      <a:pt x="141353" y="45309"/>
                      <a:pt x="123149" y="36648"/>
                      <a:pt x="102922" y="36648"/>
                    </a:cubicBezTo>
                    <a:cubicBezTo>
                      <a:pt x="64629" y="36648"/>
                      <a:pt x="33587" y="67690"/>
                      <a:pt x="33587" y="105984"/>
                    </a:cubicBezTo>
                    <a:cubicBezTo>
                      <a:pt x="33587" y="142135"/>
                      <a:pt x="61253" y="171823"/>
                      <a:pt x="96657" y="174054"/>
                    </a:cubicBezTo>
                    <a:lnTo>
                      <a:pt x="109630" y="174595"/>
                    </a:lnTo>
                    <a:lnTo>
                      <a:pt x="140774" y="174595"/>
                    </a:lnTo>
                    <a:lnTo>
                      <a:pt x="140774" y="175318"/>
                    </a:lnTo>
                    <a:lnTo>
                      <a:pt x="140774" y="181919"/>
                    </a:lnTo>
                    <a:lnTo>
                      <a:pt x="140774" y="201672"/>
                    </a:lnTo>
                    <a:lnTo>
                      <a:pt x="140774" y="208273"/>
                    </a:lnTo>
                    <a:lnTo>
                      <a:pt x="140774" y="208996"/>
                    </a:lnTo>
                    <a:lnTo>
                      <a:pt x="109630" y="208996"/>
                    </a:lnTo>
                    <a:lnTo>
                      <a:pt x="96657" y="209537"/>
                    </a:lnTo>
                    <a:cubicBezTo>
                      <a:pt x="61253" y="211768"/>
                      <a:pt x="33587" y="241456"/>
                      <a:pt x="33587" y="277607"/>
                    </a:cubicBezTo>
                    <a:cubicBezTo>
                      <a:pt x="33587" y="315901"/>
                      <a:pt x="64629" y="346943"/>
                      <a:pt x="102922" y="346943"/>
                    </a:cubicBezTo>
                    <a:cubicBezTo>
                      <a:pt x="123149" y="346943"/>
                      <a:pt x="141353" y="338282"/>
                      <a:pt x="151910" y="322580"/>
                    </a:cubicBezTo>
                    <a:lnTo>
                      <a:pt x="179776" y="350446"/>
                    </a:lnTo>
                    <a:cubicBezTo>
                      <a:pt x="161327" y="371051"/>
                      <a:pt x="134377" y="383591"/>
                      <a:pt x="104498" y="383591"/>
                    </a:cubicBezTo>
                    <a:cubicBezTo>
                      <a:pt x="46785" y="383591"/>
                      <a:pt x="0" y="336806"/>
                      <a:pt x="0" y="279093"/>
                    </a:cubicBezTo>
                    <a:cubicBezTo>
                      <a:pt x="0" y="241544"/>
                      <a:pt x="19804" y="208621"/>
                      <a:pt x="50253" y="191796"/>
                    </a:cubicBezTo>
                    <a:cubicBezTo>
                      <a:pt x="19804" y="174970"/>
                      <a:pt x="0" y="142048"/>
                      <a:pt x="0" y="104498"/>
                    </a:cubicBezTo>
                    <a:cubicBezTo>
                      <a:pt x="0" y="46785"/>
                      <a:pt x="46785" y="0"/>
                      <a:pt x="104498" y="0"/>
                    </a:cubicBezTo>
                    <a:close/>
                  </a:path>
                </a:pathLst>
              </a:custGeom>
              <a:noFill/>
              <a:ln w="19050">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grpSp>
        <p:sp>
          <p:nvSpPr>
            <p:cNvPr id="41" name="Sechseck 314">
              <a:extLst>
                <a:ext uri="{FF2B5EF4-FFF2-40B4-BE49-F238E27FC236}">
                  <a16:creationId xmlns:a16="http://schemas.microsoft.com/office/drawing/2014/main" id="{AD914078-8B53-4538-A20D-2B7406D0501D}"/>
                </a:ext>
              </a:extLst>
            </p:cNvPr>
            <p:cNvSpPr/>
            <p:nvPr/>
          </p:nvSpPr>
          <p:spPr bwMode="gray">
            <a:xfrm>
              <a:off x="5382466" y="2044232"/>
              <a:ext cx="937763" cy="785738"/>
            </a:xfrm>
            <a:custGeom>
              <a:avLst/>
              <a:gdLst/>
              <a:ahLst/>
              <a:cxnLst/>
              <a:rect l="l" t="t" r="r" b="b"/>
              <a:pathLst>
                <a:path w="988678" h="828399">
                  <a:moveTo>
                    <a:pt x="263630" y="43631"/>
                  </a:moveTo>
                  <a:lnTo>
                    <a:pt x="52073" y="414199"/>
                  </a:lnTo>
                  <a:lnTo>
                    <a:pt x="263630" y="784767"/>
                  </a:lnTo>
                  <a:lnTo>
                    <a:pt x="725049" y="784767"/>
                  </a:lnTo>
                  <a:lnTo>
                    <a:pt x="936606" y="414199"/>
                  </a:lnTo>
                  <a:lnTo>
                    <a:pt x="725049" y="43631"/>
                  </a:lnTo>
                  <a:close/>
                  <a:moveTo>
                    <a:pt x="236466" y="0"/>
                  </a:moveTo>
                  <a:lnTo>
                    <a:pt x="752212" y="0"/>
                  </a:lnTo>
                  <a:lnTo>
                    <a:pt x="988678" y="414200"/>
                  </a:lnTo>
                  <a:lnTo>
                    <a:pt x="752212" y="828399"/>
                  </a:lnTo>
                  <a:lnTo>
                    <a:pt x="236466" y="828399"/>
                  </a:lnTo>
                  <a:lnTo>
                    <a:pt x="0" y="414200"/>
                  </a:lnTo>
                  <a:close/>
                </a:path>
              </a:pathLst>
            </a:custGeom>
            <a:noFill/>
            <a:ln w="1905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grpSp>
      <p:sp>
        <p:nvSpPr>
          <p:cNvPr id="44" name="Rectangle 43">
            <a:hlinkClick r:id="rId17" action="ppaction://hlinksldjump"/>
            <a:extLst>
              <a:ext uri="{FF2B5EF4-FFF2-40B4-BE49-F238E27FC236}">
                <a16:creationId xmlns:a16="http://schemas.microsoft.com/office/drawing/2014/main" id="{B4C6CD71-29DC-4900-ACAC-F04D19763E97}"/>
              </a:ext>
            </a:extLst>
          </p:cNvPr>
          <p:cNvSpPr/>
          <p:nvPr/>
        </p:nvSpPr>
        <p:spPr bwMode="gray">
          <a:xfrm>
            <a:off x="303659" y="5486599"/>
            <a:ext cx="5792341" cy="787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err="1">
              <a:ln>
                <a:noFill/>
              </a:ln>
              <a:solidFill>
                <a:srgbClr val="D90000"/>
              </a:solidFill>
              <a:effectLst/>
              <a:uLnTx/>
              <a:uFillTx/>
              <a:latin typeface="ABBvoice"/>
              <a:ea typeface="ABBvoice"/>
              <a:cs typeface="ABBvoice"/>
            </a:endParaRPr>
          </a:p>
        </p:txBody>
      </p:sp>
      <p:pic>
        <p:nvPicPr>
          <p:cNvPr id="45" name="Content Placeholder 10">
            <a:extLst>
              <a:ext uri="{FF2B5EF4-FFF2-40B4-BE49-F238E27FC236}">
                <a16:creationId xmlns:a16="http://schemas.microsoft.com/office/drawing/2014/main" id="{0B487812-BEA8-4352-B0D0-A3882D75881F}"/>
              </a:ext>
            </a:extLst>
          </p:cNvPr>
          <p:cNvPicPr preferRelativeResize="0">
            <a:picLocks noChangeAspect="1"/>
          </p:cNvPicPr>
          <p:nvPr/>
        </p:nvPicPr>
        <p:blipFill>
          <a:blip r:embed="rId18"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7143814" y="5447574"/>
            <a:ext cx="452842" cy="360000"/>
          </a:xfrm>
          <a:prstGeom prst="rect">
            <a:avLst/>
          </a:prstGeom>
          <a:noFill/>
          <a:ln w="9525">
            <a:noFill/>
            <a:miter lim="800000"/>
            <a:headEnd/>
            <a:tailEnd/>
          </a:ln>
        </p:spPr>
      </p:pic>
      <p:pic>
        <p:nvPicPr>
          <p:cNvPr id="46" name="Picture 10">
            <a:extLst>
              <a:ext uri="{FF2B5EF4-FFF2-40B4-BE49-F238E27FC236}">
                <a16:creationId xmlns:a16="http://schemas.microsoft.com/office/drawing/2014/main" id="{64DE07B5-83EC-45CC-AE15-7DD17D322A50}"/>
              </a:ext>
            </a:extLst>
          </p:cNvPr>
          <p:cNvPicPr preferRelativeResize="0">
            <a:picLocks noChangeAspect="1"/>
          </p:cNvPicPr>
          <p:nvPr/>
        </p:nvPicPr>
        <p:blipFill>
          <a:blip r:embed="rId19"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8714824" y="5435999"/>
            <a:ext cx="395864" cy="396000"/>
          </a:xfrm>
          <a:prstGeom prst="rect">
            <a:avLst/>
          </a:prstGeom>
          <a:noFill/>
          <a:ln w="9525">
            <a:noFill/>
            <a:miter lim="800000"/>
            <a:headEnd/>
            <a:tailEnd/>
          </a:ln>
        </p:spPr>
      </p:pic>
      <p:pic>
        <p:nvPicPr>
          <p:cNvPr id="47" name="Picture 11">
            <a:extLst>
              <a:ext uri="{FF2B5EF4-FFF2-40B4-BE49-F238E27FC236}">
                <a16:creationId xmlns:a16="http://schemas.microsoft.com/office/drawing/2014/main" id="{1B973689-88CD-4BCE-8BCF-63E474DC6B36}"/>
              </a:ext>
            </a:extLst>
          </p:cNvPr>
          <p:cNvPicPr preferRelativeResize="0">
            <a:picLocks noChangeAspect="1"/>
          </p:cNvPicPr>
          <p:nvPr/>
        </p:nvPicPr>
        <p:blipFill>
          <a:blip r:embed="rId20"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7884620" y="5380755"/>
            <a:ext cx="503823" cy="504000"/>
          </a:xfrm>
          <a:prstGeom prst="rect">
            <a:avLst/>
          </a:prstGeom>
          <a:noFill/>
          <a:ln w="9525">
            <a:noFill/>
            <a:miter lim="800000"/>
            <a:headEnd/>
            <a:tailEnd/>
          </a:ln>
        </p:spPr>
      </p:pic>
      <p:pic>
        <p:nvPicPr>
          <p:cNvPr id="48" name="Picture 47">
            <a:extLst>
              <a:ext uri="{FF2B5EF4-FFF2-40B4-BE49-F238E27FC236}">
                <a16:creationId xmlns:a16="http://schemas.microsoft.com/office/drawing/2014/main" id="{CCBC6597-93CB-4F9C-82DB-561BDD1575BE}"/>
              </a:ext>
            </a:extLst>
          </p:cNvPr>
          <p:cNvPicPr>
            <a:picLocks noChangeAspect="1"/>
          </p:cNvPicPr>
          <p:nvPr/>
        </p:nvPicPr>
        <p:blipFill>
          <a:blip r:embed="rId21">
            <a:duotone>
              <a:schemeClr val="bg2">
                <a:shade val="45000"/>
                <a:satMod val="135000"/>
              </a:schemeClr>
              <a:prstClr val="white"/>
            </a:duotone>
          </a:blip>
          <a:stretch>
            <a:fillRect/>
          </a:stretch>
        </p:blipFill>
        <p:spPr>
          <a:xfrm>
            <a:off x="9413222" y="5477634"/>
            <a:ext cx="466725" cy="333375"/>
          </a:xfrm>
          <a:prstGeom prst="rect">
            <a:avLst/>
          </a:prstGeom>
        </p:spPr>
      </p:pic>
      <p:pic>
        <p:nvPicPr>
          <p:cNvPr id="49" name="Grafik 20">
            <a:extLst>
              <a:ext uri="{FF2B5EF4-FFF2-40B4-BE49-F238E27FC236}">
                <a16:creationId xmlns:a16="http://schemas.microsoft.com/office/drawing/2014/main" id="{E04A0DF7-F7EF-4A88-9B0E-CB419EB13D62}"/>
              </a:ext>
            </a:extLst>
          </p:cNvPr>
          <p:cNvPicPr>
            <a:picLocks noChangeAspect="1"/>
          </p:cNvPicPr>
          <p:nvPr/>
        </p:nvPicPr>
        <p:blipFill>
          <a:blip r:embed="rId22"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10201899" y="5411574"/>
            <a:ext cx="396000" cy="396000"/>
          </a:xfrm>
          <a:prstGeom prst="rect">
            <a:avLst/>
          </a:prstGeom>
        </p:spPr>
      </p:pic>
    </p:spTree>
    <p:custDataLst>
      <p:tags r:id="rId1"/>
    </p:custDataLst>
    <p:extLst>
      <p:ext uri="{BB962C8B-B14F-4D97-AF65-F5344CB8AC3E}">
        <p14:creationId xmlns:p14="http://schemas.microsoft.com/office/powerpoint/2010/main" val="2491236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2052"/>
                                        </p:tgtEl>
                                        <p:attrNameLst>
                                          <p:attrName>style.visibility</p:attrName>
                                        </p:attrNameLst>
                                      </p:cBhvr>
                                      <p:to>
                                        <p:strVal val="visible"/>
                                      </p:to>
                                    </p:set>
                                    <p:animEffect transition="in" filter="fade">
                                      <p:cBhvr>
                                        <p:cTn id="7" dur="1000"/>
                                        <p:tgtEl>
                                          <p:spTgt spid="2052"/>
                                        </p:tgtEl>
                                      </p:cBhvr>
                                    </p:animEffect>
                                  </p:childTnLst>
                                </p:cTn>
                              </p:par>
                              <p:par>
                                <p:cTn id="8" presetID="42" presetClass="entr" presetSubtype="0" fill="hold" nodeType="withEffect">
                                  <p:stCondLst>
                                    <p:cond delay="0"/>
                                  </p:stCondLst>
                                  <p:childTnLst>
                                    <p:set>
                                      <p:cBhvr>
                                        <p:cTn id="9" dur="1" fill="hold">
                                          <p:stCondLst>
                                            <p:cond delay="0"/>
                                          </p:stCondLst>
                                        </p:cTn>
                                        <p:tgtEl>
                                          <p:spTgt spid="2533435">
                                            <p:txEl>
                                              <p:pRg st="0" end="0"/>
                                            </p:txEl>
                                          </p:spTgt>
                                        </p:tgtEl>
                                        <p:attrNameLst>
                                          <p:attrName>style.visibility</p:attrName>
                                        </p:attrNameLst>
                                      </p:cBhvr>
                                      <p:to>
                                        <p:strVal val="visible"/>
                                      </p:to>
                                    </p:set>
                                    <p:animEffect transition="in" filter="fade">
                                      <p:cBhvr>
                                        <p:cTn id="10" dur="1000"/>
                                        <p:tgtEl>
                                          <p:spTgt spid="2533435">
                                            <p:txEl>
                                              <p:pRg st="0" end="0"/>
                                            </p:txEl>
                                          </p:spTgt>
                                        </p:tgtEl>
                                      </p:cBhvr>
                                    </p:animEffect>
                                    <p:anim calcmode="lin" valueType="num">
                                      <p:cBhvr>
                                        <p:cTn id="11" dur="1000" fill="hold"/>
                                        <p:tgtEl>
                                          <p:spTgt spid="2533435">
                                            <p:txEl>
                                              <p:pRg st="0" end="0"/>
                                            </p:txEl>
                                          </p:spTgt>
                                        </p:tgtEl>
                                        <p:attrNameLst>
                                          <p:attrName>ppt_x</p:attrName>
                                        </p:attrNameLst>
                                      </p:cBhvr>
                                      <p:tavLst>
                                        <p:tav tm="0">
                                          <p:val>
                                            <p:strVal val="#ppt_x"/>
                                          </p:val>
                                        </p:tav>
                                        <p:tav tm="100000">
                                          <p:val>
                                            <p:strVal val="#ppt_x"/>
                                          </p:val>
                                        </p:tav>
                                      </p:tavLst>
                                    </p:anim>
                                    <p:anim calcmode="lin" valueType="num">
                                      <p:cBhvr>
                                        <p:cTn id="12" dur="1000" fill="hold"/>
                                        <p:tgtEl>
                                          <p:spTgt spid="2533435">
                                            <p:txEl>
                                              <p:pRg st="0" end="0"/>
                                            </p:txEl>
                                          </p:spTgt>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42" presetClass="entr" presetSubtype="0" fill="hold" nodeType="afterEffect">
                                  <p:stCondLst>
                                    <p:cond delay="0"/>
                                  </p:stCondLst>
                                  <p:childTnLst>
                                    <p:set>
                                      <p:cBhvr>
                                        <p:cTn id="15" dur="1" fill="hold">
                                          <p:stCondLst>
                                            <p:cond delay="0"/>
                                          </p:stCondLst>
                                        </p:cTn>
                                        <p:tgtEl>
                                          <p:spTgt spid="2533435">
                                            <p:txEl>
                                              <p:pRg st="1" end="1"/>
                                            </p:txEl>
                                          </p:spTgt>
                                        </p:tgtEl>
                                        <p:attrNameLst>
                                          <p:attrName>style.visibility</p:attrName>
                                        </p:attrNameLst>
                                      </p:cBhvr>
                                      <p:to>
                                        <p:strVal val="visible"/>
                                      </p:to>
                                    </p:set>
                                    <p:animEffect transition="in" filter="fade">
                                      <p:cBhvr>
                                        <p:cTn id="16" dur="1000"/>
                                        <p:tgtEl>
                                          <p:spTgt spid="2533435">
                                            <p:txEl>
                                              <p:pRg st="1" end="1"/>
                                            </p:txEl>
                                          </p:spTgt>
                                        </p:tgtEl>
                                      </p:cBhvr>
                                    </p:animEffect>
                                    <p:anim calcmode="lin" valueType="num">
                                      <p:cBhvr>
                                        <p:cTn id="17" dur="1000" fill="hold"/>
                                        <p:tgtEl>
                                          <p:spTgt spid="2533435">
                                            <p:txEl>
                                              <p:pRg st="1" end="1"/>
                                            </p:txEl>
                                          </p:spTgt>
                                        </p:tgtEl>
                                        <p:attrNameLst>
                                          <p:attrName>ppt_x</p:attrName>
                                        </p:attrNameLst>
                                      </p:cBhvr>
                                      <p:tavLst>
                                        <p:tav tm="0">
                                          <p:val>
                                            <p:strVal val="#ppt_x"/>
                                          </p:val>
                                        </p:tav>
                                        <p:tav tm="100000">
                                          <p:val>
                                            <p:strVal val="#ppt_x"/>
                                          </p:val>
                                        </p:tav>
                                      </p:tavLst>
                                    </p:anim>
                                    <p:anim calcmode="lin" valueType="num">
                                      <p:cBhvr>
                                        <p:cTn id="18" dur="1000" fill="hold"/>
                                        <p:tgtEl>
                                          <p:spTgt spid="2533435">
                                            <p:txEl>
                                              <p:pRg st="1" end="1"/>
                                            </p:txEl>
                                          </p:spTgt>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500"/>
                                  </p:stCondLst>
                                  <p:childTnLst>
                                    <p:set>
                                      <p:cBhvr>
                                        <p:cTn id="20" dur="1" fill="hold">
                                          <p:stCondLst>
                                            <p:cond delay="0"/>
                                          </p:stCondLst>
                                        </p:cTn>
                                        <p:tgtEl>
                                          <p:spTgt spid="2533435">
                                            <p:txEl>
                                              <p:pRg st="2" end="2"/>
                                            </p:txEl>
                                          </p:spTgt>
                                        </p:tgtEl>
                                        <p:attrNameLst>
                                          <p:attrName>style.visibility</p:attrName>
                                        </p:attrNameLst>
                                      </p:cBhvr>
                                      <p:to>
                                        <p:strVal val="visible"/>
                                      </p:to>
                                    </p:set>
                                    <p:animEffect transition="in" filter="fade">
                                      <p:cBhvr>
                                        <p:cTn id="21" dur="1000"/>
                                        <p:tgtEl>
                                          <p:spTgt spid="2533435">
                                            <p:txEl>
                                              <p:pRg st="2" end="2"/>
                                            </p:txEl>
                                          </p:spTgt>
                                        </p:tgtEl>
                                      </p:cBhvr>
                                    </p:animEffect>
                                    <p:anim calcmode="lin" valueType="num">
                                      <p:cBhvr>
                                        <p:cTn id="22" dur="1000" fill="hold"/>
                                        <p:tgtEl>
                                          <p:spTgt spid="2533435">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2533435">
                                            <p:txEl>
                                              <p:pRg st="2" end="2"/>
                                            </p:txEl>
                                          </p:spTgt>
                                        </p:tgtEl>
                                        <p:attrNameLst>
                                          <p:attrName>ppt_y</p:attrName>
                                        </p:attrNameLst>
                                      </p:cBhvr>
                                      <p:tavLst>
                                        <p:tav tm="0">
                                          <p:val>
                                            <p:strVal val="#ppt_y+.1"/>
                                          </p:val>
                                        </p:tav>
                                        <p:tav tm="100000">
                                          <p:val>
                                            <p:strVal val="#ppt_y"/>
                                          </p:val>
                                        </p:tav>
                                      </p:tavLst>
                                    </p:anim>
                                  </p:childTnLst>
                                </p:cTn>
                              </p:par>
                              <p:par>
                                <p:cTn id="24" presetID="23" presetClass="entr" presetSubtype="32" fill="hold" nodeType="withEffect">
                                  <p:stCondLst>
                                    <p:cond delay="500"/>
                                  </p:stCondLst>
                                  <p:childTnLst>
                                    <p:set>
                                      <p:cBhvr>
                                        <p:cTn id="25" dur="1" fill="hold">
                                          <p:stCondLst>
                                            <p:cond delay="0"/>
                                          </p:stCondLst>
                                        </p:cTn>
                                        <p:tgtEl>
                                          <p:spTgt spid="2533488"/>
                                        </p:tgtEl>
                                        <p:attrNameLst>
                                          <p:attrName>style.visibility</p:attrName>
                                        </p:attrNameLst>
                                      </p:cBhvr>
                                      <p:to>
                                        <p:strVal val="visible"/>
                                      </p:to>
                                    </p:set>
                                    <p:anim calcmode="lin" valueType="num">
                                      <p:cBhvr>
                                        <p:cTn id="26" dur="1000" fill="hold"/>
                                        <p:tgtEl>
                                          <p:spTgt spid="2533488"/>
                                        </p:tgtEl>
                                        <p:attrNameLst>
                                          <p:attrName>ppt_w</p:attrName>
                                        </p:attrNameLst>
                                      </p:cBhvr>
                                      <p:tavLst>
                                        <p:tav tm="0">
                                          <p:val>
                                            <p:strVal val="4*#ppt_w"/>
                                          </p:val>
                                        </p:tav>
                                        <p:tav tm="100000">
                                          <p:val>
                                            <p:strVal val="#ppt_w"/>
                                          </p:val>
                                        </p:tav>
                                      </p:tavLst>
                                    </p:anim>
                                    <p:anim calcmode="lin" valueType="num">
                                      <p:cBhvr>
                                        <p:cTn id="27" dur="1000" fill="hold"/>
                                        <p:tgtEl>
                                          <p:spTgt spid="2533488"/>
                                        </p:tgtEl>
                                        <p:attrNameLst>
                                          <p:attrName>ppt_h</p:attrName>
                                        </p:attrNameLst>
                                      </p:cBhvr>
                                      <p:tavLst>
                                        <p:tav tm="0">
                                          <p:val>
                                            <p:strVal val="4*#ppt_h"/>
                                          </p:val>
                                        </p:tav>
                                        <p:tav tm="100000">
                                          <p:val>
                                            <p:strVal val="#ppt_h"/>
                                          </p:val>
                                        </p:tav>
                                      </p:tavLst>
                                    </p:anim>
                                  </p:childTnLst>
                                </p:cTn>
                              </p:par>
                            </p:childTnLst>
                          </p:cTn>
                        </p:par>
                        <p:par>
                          <p:cTn id="28" fill="hold">
                            <p:stCondLst>
                              <p:cond delay="2500"/>
                            </p:stCondLst>
                            <p:childTnLst>
                              <p:par>
                                <p:cTn id="29" presetID="10" presetClass="entr" presetSubtype="0" fill="hold" grpId="0" nodeType="afterEffect">
                                  <p:stCondLst>
                                    <p:cond delay="0"/>
                                  </p:stCondLst>
                                  <p:childTnLst>
                                    <p:set>
                                      <p:cBhvr>
                                        <p:cTn id="30" dur="1" fill="hold">
                                          <p:stCondLst>
                                            <p:cond delay="0"/>
                                          </p:stCondLst>
                                        </p:cTn>
                                        <p:tgtEl>
                                          <p:spTgt spid="677907"/>
                                        </p:tgtEl>
                                        <p:attrNameLst>
                                          <p:attrName>style.visibility</p:attrName>
                                        </p:attrNameLst>
                                      </p:cBhvr>
                                      <p:to>
                                        <p:strVal val="visible"/>
                                      </p:to>
                                    </p:set>
                                    <p:animEffect transition="in" filter="fade">
                                      <p:cBhvr>
                                        <p:cTn id="31" dur="500"/>
                                        <p:tgtEl>
                                          <p:spTgt spid="677907"/>
                                        </p:tgtEl>
                                      </p:cBhvr>
                                    </p:animEffect>
                                  </p:childTnLst>
                                </p:cTn>
                              </p:par>
                              <p:par>
                                <p:cTn id="32" presetID="10" presetClass="exit" presetSubtype="0" fill="hold" nodeType="withEffect">
                                  <p:stCondLst>
                                    <p:cond delay="0"/>
                                  </p:stCondLst>
                                  <p:childTnLst>
                                    <p:animEffect transition="out" filter="fade">
                                      <p:cBhvr>
                                        <p:cTn id="33" dur="500"/>
                                        <p:tgtEl>
                                          <p:spTgt spid="2533488"/>
                                        </p:tgtEl>
                                      </p:cBhvr>
                                    </p:animEffect>
                                    <p:set>
                                      <p:cBhvr>
                                        <p:cTn id="34" dur="1" fill="hold">
                                          <p:stCondLst>
                                            <p:cond delay="499"/>
                                          </p:stCondLst>
                                        </p:cTn>
                                        <p:tgtEl>
                                          <p:spTgt spid="2533488"/>
                                        </p:tgtEl>
                                        <p:attrNameLst>
                                          <p:attrName>style.visibility</p:attrName>
                                        </p:attrNameLst>
                                      </p:cBhvr>
                                      <p:to>
                                        <p:strVal val="hidden"/>
                                      </p:to>
                                    </p:set>
                                  </p:childTnLst>
                                </p:cTn>
                              </p:par>
                            </p:childTnLst>
                          </p:cTn>
                        </p:par>
                        <p:par>
                          <p:cTn id="35" fill="hold" nodeType="withGroup">
                            <p:stCondLst>
                              <p:cond delay="3000"/>
                            </p:stCondLst>
                            <p:childTnLst>
                              <p:par>
                                <p:cTn id="36" presetID="23" presetClass="entr" presetSubtype="32" fill="hold" nodeType="afterEffect">
                                  <p:stCondLst>
                                    <p:cond delay="0"/>
                                  </p:stCondLst>
                                  <p:childTnLst>
                                    <p:set>
                                      <p:cBhvr>
                                        <p:cTn id="37" dur="1" fill="hold">
                                          <p:stCondLst>
                                            <p:cond delay="0"/>
                                          </p:stCondLst>
                                        </p:cTn>
                                        <p:tgtEl>
                                          <p:spTgt spid="2533487"/>
                                        </p:tgtEl>
                                        <p:attrNameLst>
                                          <p:attrName>style.visibility</p:attrName>
                                        </p:attrNameLst>
                                      </p:cBhvr>
                                      <p:to>
                                        <p:strVal val="visible"/>
                                      </p:to>
                                    </p:set>
                                    <p:anim calcmode="lin" valueType="num">
                                      <p:cBhvr>
                                        <p:cTn id="38" dur="1000" fill="hold"/>
                                        <p:tgtEl>
                                          <p:spTgt spid="2533487"/>
                                        </p:tgtEl>
                                        <p:attrNameLst>
                                          <p:attrName>ppt_w</p:attrName>
                                        </p:attrNameLst>
                                      </p:cBhvr>
                                      <p:tavLst>
                                        <p:tav tm="0">
                                          <p:val>
                                            <p:strVal val="4*#ppt_w"/>
                                          </p:val>
                                        </p:tav>
                                        <p:tav tm="100000">
                                          <p:val>
                                            <p:strVal val="#ppt_w"/>
                                          </p:val>
                                        </p:tav>
                                      </p:tavLst>
                                    </p:anim>
                                    <p:anim calcmode="lin" valueType="num">
                                      <p:cBhvr>
                                        <p:cTn id="39" dur="1000" fill="hold"/>
                                        <p:tgtEl>
                                          <p:spTgt spid="2533487"/>
                                        </p:tgtEl>
                                        <p:attrNameLst>
                                          <p:attrName>ppt_h</p:attrName>
                                        </p:attrNameLst>
                                      </p:cBhvr>
                                      <p:tavLst>
                                        <p:tav tm="0">
                                          <p:val>
                                            <p:strVal val="4*#ppt_h"/>
                                          </p:val>
                                        </p:tav>
                                        <p:tav tm="100000">
                                          <p:val>
                                            <p:strVal val="#ppt_h"/>
                                          </p:val>
                                        </p:tav>
                                      </p:tavLst>
                                    </p:anim>
                                  </p:childTnLst>
                                </p:cTn>
                              </p:par>
                            </p:childTnLst>
                          </p:cTn>
                        </p:par>
                        <p:par>
                          <p:cTn id="40" fill="hold" nodeType="afterGroup">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677908"/>
                                        </p:tgtEl>
                                        <p:attrNameLst>
                                          <p:attrName>style.visibility</p:attrName>
                                        </p:attrNameLst>
                                      </p:cBhvr>
                                      <p:to>
                                        <p:strVal val="visible"/>
                                      </p:to>
                                    </p:set>
                                    <p:animEffect transition="in" filter="fade">
                                      <p:cBhvr>
                                        <p:cTn id="43" dur="500"/>
                                        <p:tgtEl>
                                          <p:spTgt spid="677908"/>
                                        </p:tgtEl>
                                      </p:cBhvr>
                                    </p:animEffect>
                                  </p:childTnLst>
                                </p:cTn>
                              </p:par>
                              <p:par>
                                <p:cTn id="44" presetID="10" presetClass="exit" presetSubtype="0" fill="hold" nodeType="withEffect">
                                  <p:stCondLst>
                                    <p:cond delay="0"/>
                                  </p:stCondLst>
                                  <p:childTnLst>
                                    <p:animEffect transition="out" filter="fade">
                                      <p:cBhvr>
                                        <p:cTn id="45" dur="500"/>
                                        <p:tgtEl>
                                          <p:spTgt spid="2533487"/>
                                        </p:tgtEl>
                                      </p:cBhvr>
                                    </p:animEffect>
                                    <p:set>
                                      <p:cBhvr>
                                        <p:cTn id="46" dur="1" fill="hold">
                                          <p:stCondLst>
                                            <p:cond delay="499"/>
                                          </p:stCondLst>
                                        </p:cTn>
                                        <p:tgtEl>
                                          <p:spTgt spid="2533487"/>
                                        </p:tgtEl>
                                        <p:attrNameLst>
                                          <p:attrName>style.visibility</p:attrName>
                                        </p:attrNameLst>
                                      </p:cBhvr>
                                      <p:to>
                                        <p:strVal val="hidden"/>
                                      </p:to>
                                    </p:set>
                                  </p:childTnLst>
                                </p:cTn>
                              </p:par>
                            </p:childTnLst>
                          </p:cTn>
                        </p:par>
                        <p:par>
                          <p:cTn id="47" fill="hold" nodeType="withGroup">
                            <p:stCondLst>
                              <p:cond delay="4500"/>
                            </p:stCondLst>
                            <p:childTnLst>
                              <p:par>
                                <p:cTn id="48" presetID="23" presetClass="entr" presetSubtype="32" fill="hold" nodeType="afterEffect">
                                  <p:stCondLst>
                                    <p:cond delay="0"/>
                                  </p:stCondLst>
                                  <p:childTnLst>
                                    <p:set>
                                      <p:cBhvr>
                                        <p:cTn id="49" dur="1" fill="hold">
                                          <p:stCondLst>
                                            <p:cond delay="0"/>
                                          </p:stCondLst>
                                        </p:cTn>
                                        <p:tgtEl>
                                          <p:spTgt spid="2533489"/>
                                        </p:tgtEl>
                                        <p:attrNameLst>
                                          <p:attrName>style.visibility</p:attrName>
                                        </p:attrNameLst>
                                      </p:cBhvr>
                                      <p:to>
                                        <p:strVal val="visible"/>
                                      </p:to>
                                    </p:set>
                                    <p:anim calcmode="lin" valueType="num">
                                      <p:cBhvr>
                                        <p:cTn id="50" dur="1000" fill="hold"/>
                                        <p:tgtEl>
                                          <p:spTgt spid="2533489"/>
                                        </p:tgtEl>
                                        <p:attrNameLst>
                                          <p:attrName>ppt_w</p:attrName>
                                        </p:attrNameLst>
                                      </p:cBhvr>
                                      <p:tavLst>
                                        <p:tav tm="0">
                                          <p:val>
                                            <p:strVal val="4*#ppt_w"/>
                                          </p:val>
                                        </p:tav>
                                        <p:tav tm="100000">
                                          <p:val>
                                            <p:strVal val="#ppt_w"/>
                                          </p:val>
                                        </p:tav>
                                      </p:tavLst>
                                    </p:anim>
                                    <p:anim calcmode="lin" valueType="num">
                                      <p:cBhvr>
                                        <p:cTn id="51" dur="1000" fill="hold"/>
                                        <p:tgtEl>
                                          <p:spTgt spid="2533489"/>
                                        </p:tgtEl>
                                        <p:attrNameLst>
                                          <p:attrName>ppt_h</p:attrName>
                                        </p:attrNameLst>
                                      </p:cBhvr>
                                      <p:tavLst>
                                        <p:tav tm="0">
                                          <p:val>
                                            <p:strVal val="4*#ppt_h"/>
                                          </p:val>
                                        </p:tav>
                                        <p:tav tm="100000">
                                          <p:val>
                                            <p:strVal val="#ppt_h"/>
                                          </p:val>
                                        </p:tav>
                                      </p:tavLst>
                                    </p:anim>
                                  </p:childTnLst>
                                </p:cTn>
                              </p:par>
                            </p:childTnLst>
                          </p:cTn>
                        </p:par>
                        <p:par>
                          <p:cTn id="52" fill="hold" nodeType="afterGroup">
                            <p:stCondLst>
                              <p:cond delay="5500"/>
                            </p:stCondLst>
                            <p:childTnLst>
                              <p:par>
                                <p:cTn id="53" presetID="10" presetClass="entr" presetSubtype="0" fill="hold" grpId="0" nodeType="afterEffect">
                                  <p:stCondLst>
                                    <p:cond delay="0"/>
                                  </p:stCondLst>
                                  <p:childTnLst>
                                    <p:set>
                                      <p:cBhvr>
                                        <p:cTn id="54" dur="1" fill="hold">
                                          <p:stCondLst>
                                            <p:cond delay="0"/>
                                          </p:stCondLst>
                                        </p:cTn>
                                        <p:tgtEl>
                                          <p:spTgt spid="677909"/>
                                        </p:tgtEl>
                                        <p:attrNameLst>
                                          <p:attrName>style.visibility</p:attrName>
                                        </p:attrNameLst>
                                      </p:cBhvr>
                                      <p:to>
                                        <p:strVal val="visible"/>
                                      </p:to>
                                    </p:set>
                                    <p:animEffect transition="in" filter="fade">
                                      <p:cBhvr>
                                        <p:cTn id="55" dur="500"/>
                                        <p:tgtEl>
                                          <p:spTgt spid="677909"/>
                                        </p:tgtEl>
                                      </p:cBhvr>
                                    </p:animEffect>
                                  </p:childTnLst>
                                </p:cTn>
                              </p:par>
                              <p:par>
                                <p:cTn id="56" presetID="10" presetClass="exit" presetSubtype="0" fill="hold" nodeType="withEffect">
                                  <p:stCondLst>
                                    <p:cond delay="0"/>
                                  </p:stCondLst>
                                  <p:childTnLst>
                                    <p:animEffect transition="out" filter="fade">
                                      <p:cBhvr>
                                        <p:cTn id="57" dur="500"/>
                                        <p:tgtEl>
                                          <p:spTgt spid="2533489"/>
                                        </p:tgtEl>
                                      </p:cBhvr>
                                    </p:animEffect>
                                    <p:set>
                                      <p:cBhvr>
                                        <p:cTn id="58" dur="1" fill="hold">
                                          <p:stCondLst>
                                            <p:cond delay="499"/>
                                          </p:stCondLst>
                                        </p:cTn>
                                        <p:tgtEl>
                                          <p:spTgt spid="2533489"/>
                                        </p:tgtEl>
                                        <p:attrNameLst>
                                          <p:attrName>style.visibility</p:attrName>
                                        </p:attrNameLst>
                                      </p:cBhvr>
                                      <p:to>
                                        <p:strVal val="hidden"/>
                                      </p:to>
                                    </p:set>
                                  </p:childTnLst>
                                </p:cTn>
                              </p:par>
                            </p:childTnLst>
                          </p:cTn>
                        </p:par>
                        <p:par>
                          <p:cTn id="59" fill="hold" nodeType="withGroup">
                            <p:stCondLst>
                              <p:cond delay="6000"/>
                            </p:stCondLst>
                            <p:childTnLst>
                              <p:par>
                                <p:cTn id="60" presetID="23" presetClass="entr" presetSubtype="32" fill="hold" nodeType="afterEffect">
                                  <p:stCondLst>
                                    <p:cond delay="0"/>
                                  </p:stCondLst>
                                  <p:childTnLst>
                                    <p:set>
                                      <p:cBhvr>
                                        <p:cTn id="61" dur="1" fill="hold">
                                          <p:stCondLst>
                                            <p:cond delay="0"/>
                                          </p:stCondLst>
                                        </p:cTn>
                                        <p:tgtEl>
                                          <p:spTgt spid="677914"/>
                                        </p:tgtEl>
                                        <p:attrNameLst>
                                          <p:attrName>style.visibility</p:attrName>
                                        </p:attrNameLst>
                                      </p:cBhvr>
                                      <p:to>
                                        <p:strVal val="visible"/>
                                      </p:to>
                                    </p:set>
                                    <p:anim calcmode="lin" valueType="num">
                                      <p:cBhvr>
                                        <p:cTn id="62" dur="1000" fill="hold"/>
                                        <p:tgtEl>
                                          <p:spTgt spid="677914"/>
                                        </p:tgtEl>
                                        <p:attrNameLst>
                                          <p:attrName>ppt_w</p:attrName>
                                        </p:attrNameLst>
                                      </p:cBhvr>
                                      <p:tavLst>
                                        <p:tav tm="0">
                                          <p:val>
                                            <p:strVal val="4*#ppt_w"/>
                                          </p:val>
                                        </p:tav>
                                        <p:tav tm="100000">
                                          <p:val>
                                            <p:strVal val="#ppt_w"/>
                                          </p:val>
                                        </p:tav>
                                      </p:tavLst>
                                    </p:anim>
                                    <p:anim calcmode="lin" valueType="num">
                                      <p:cBhvr>
                                        <p:cTn id="63" dur="1000" fill="hold"/>
                                        <p:tgtEl>
                                          <p:spTgt spid="677914"/>
                                        </p:tgtEl>
                                        <p:attrNameLst>
                                          <p:attrName>ppt_h</p:attrName>
                                        </p:attrNameLst>
                                      </p:cBhvr>
                                      <p:tavLst>
                                        <p:tav tm="0">
                                          <p:val>
                                            <p:strVal val="4*#ppt_h"/>
                                          </p:val>
                                        </p:tav>
                                        <p:tav tm="100000">
                                          <p:val>
                                            <p:strVal val="#ppt_h"/>
                                          </p:val>
                                        </p:tav>
                                      </p:tavLst>
                                    </p:anim>
                                  </p:childTnLst>
                                </p:cTn>
                              </p:par>
                            </p:childTnLst>
                          </p:cTn>
                        </p:par>
                        <p:par>
                          <p:cTn id="64" fill="hold" nodeType="afterGroup">
                            <p:stCondLst>
                              <p:cond delay="7000"/>
                            </p:stCondLst>
                            <p:childTnLst>
                              <p:par>
                                <p:cTn id="65" presetID="10" presetClass="entr" presetSubtype="0" fill="hold" grpId="0" nodeType="afterEffect">
                                  <p:stCondLst>
                                    <p:cond delay="0"/>
                                  </p:stCondLst>
                                  <p:childTnLst>
                                    <p:set>
                                      <p:cBhvr>
                                        <p:cTn id="66" dur="1" fill="hold">
                                          <p:stCondLst>
                                            <p:cond delay="0"/>
                                          </p:stCondLst>
                                        </p:cTn>
                                        <p:tgtEl>
                                          <p:spTgt spid="677910"/>
                                        </p:tgtEl>
                                        <p:attrNameLst>
                                          <p:attrName>style.visibility</p:attrName>
                                        </p:attrNameLst>
                                      </p:cBhvr>
                                      <p:to>
                                        <p:strVal val="visible"/>
                                      </p:to>
                                    </p:set>
                                    <p:animEffect transition="in" filter="fade">
                                      <p:cBhvr>
                                        <p:cTn id="67" dur="500"/>
                                        <p:tgtEl>
                                          <p:spTgt spid="677910"/>
                                        </p:tgtEl>
                                      </p:cBhvr>
                                    </p:animEffect>
                                  </p:childTnLst>
                                </p:cTn>
                              </p:par>
                              <p:par>
                                <p:cTn id="68" presetID="10" presetClass="exit" presetSubtype="0" fill="hold" nodeType="withEffect">
                                  <p:stCondLst>
                                    <p:cond delay="0"/>
                                  </p:stCondLst>
                                  <p:childTnLst>
                                    <p:animEffect transition="out" filter="fade">
                                      <p:cBhvr>
                                        <p:cTn id="69" dur="500"/>
                                        <p:tgtEl>
                                          <p:spTgt spid="677914"/>
                                        </p:tgtEl>
                                      </p:cBhvr>
                                    </p:animEffect>
                                    <p:set>
                                      <p:cBhvr>
                                        <p:cTn id="70" dur="1" fill="hold">
                                          <p:stCondLst>
                                            <p:cond delay="499"/>
                                          </p:stCondLst>
                                        </p:cTn>
                                        <p:tgtEl>
                                          <p:spTgt spid="677914"/>
                                        </p:tgtEl>
                                        <p:attrNameLst>
                                          <p:attrName>style.visibility</p:attrName>
                                        </p:attrNameLst>
                                      </p:cBhvr>
                                      <p:to>
                                        <p:strVal val="hidden"/>
                                      </p:to>
                                    </p:set>
                                  </p:childTnLst>
                                </p:cTn>
                              </p:par>
                            </p:childTnLst>
                          </p:cTn>
                        </p:par>
                      </p:childTnLst>
                    </p:cTn>
                  </p:par>
                  <p:par>
                    <p:cTn id="71" fill="hold">
                      <p:stCondLst>
                        <p:cond delay="indefinite"/>
                      </p:stCondLst>
                      <p:childTnLst>
                        <p:par>
                          <p:cTn id="72" fill="hold">
                            <p:stCondLst>
                              <p:cond delay="0"/>
                            </p:stCondLst>
                            <p:childTnLst>
                              <p:par>
                                <p:cTn id="73" presetID="42" presetClass="entr" presetSubtype="0" fill="hold" nodeType="clickEffect">
                                  <p:stCondLst>
                                    <p:cond delay="0"/>
                                  </p:stCondLst>
                                  <p:childTnLst>
                                    <p:set>
                                      <p:cBhvr>
                                        <p:cTn id="74" dur="1" fill="hold">
                                          <p:stCondLst>
                                            <p:cond delay="0"/>
                                          </p:stCondLst>
                                        </p:cTn>
                                        <p:tgtEl>
                                          <p:spTgt spid="2533435">
                                            <p:txEl>
                                              <p:pRg st="3" end="3"/>
                                            </p:txEl>
                                          </p:spTgt>
                                        </p:tgtEl>
                                        <p:attrNameLst>
                                          <p:attrName>style.visibility</p:attrName>
                                        </p:attrNameLst>
                                      </p:cBhvr>
                                      <p:to>
                                        <p:strVal val="visible"/>
                                      </p:to>
                                    </p:set>
                                    <p:animEffect transition="in" filter="fade">
                                      <p:cBhvr>
                                        <p:cTn id="75" dur="1000"/>
                                        <p:tgtEl>
                                          <p:spTgt spid="2533435">
                                            <p:txEl>
                                              <p:pRg st="3" end="3"/>
                                            </p:txEl>
                                          </p:spTgt>
                                        </p:tgtEl>
                                      </p:cBhvr>
                                    </p:animEffect>
                                    <p:anim calcmode="lin" valueType="num">
                                      <p:cBhvr>
                                        <p:cTn id="76" dur="1000" fill="hold"/>
                                        <p:tgtEl>
                                          <p:spTgt spid="2533435">
                                            <p:txEl>
                                              <p:pRg st="3" end="3"/>
                                            </p:txEl>
                                          </p:spTgt>
                                        </p:tgtEl>
                                        <p:attrNameLst>
                                          <p:attrName>ppt_x</p:attrName>
                                        </p:attrNameLst>
                                      </p:cBhvr>
                                      <p:tavLst>
                                        <p:tav tm="0">
                                          <p:val>
                                            <p:strVal val="#ppt_x"/>
                                          </p:val>
                                        </p:tav>
                                        <p:tav tm="100000">
                                          <p:val>
                                            <p:strVal val="#ppt_x"/>
                                          </p:val>
                                        </p:tav>
                                      </p:tavLst>
                                    </p:anim>
                                    <p:anim calcmode="lin" valueType="num">
                                      <p:cBhvr>
                                        <p:cTn id="77" dur="1000" fill="hold"/>
                                        <p:tgtEl>
                                          <p:spTgt spid="2533435">
                                            <p:txEl>
                                              <p:pRg st="3" end="3"/>
                                            </p:txEl>
                                          </p:spTgt>
                                        </p:tgtEl>
                                        <p:attrNameLst>
                                          <p:attrName>ppt_y</p:attrName>
                                        </p:attrNameLst>
                                      </p:cBhvr>
                                      <p:tavLst>
                                        <p:tav tm="0">
                                          <p:val>
                                            <p:strVal val="#ppt_y+.1"/>
                                          </p:val>
                                        </p:tav>
                                        <p:tav tm="100000">
                                          <p:val>
                                            <p:strVal val="#ppt_y"/>
                                          </p:val>
                                        </p:tav>
                                      </p:tavLst>
                                    </p:anim>
                                  </p:childTnLst>
                                </p:cTn>
                              </p:par>
                            </p:childTnLst>
                          </p:cTn>
                        </p:par>
                        <p:par>
                          <p:cTn id="78" fill="hold">
                            <p:stCondLst>
                              <p:cond delay="1000"/>
                            </p:stCondLst>
                            <p:childTnLst>
                              <p:par>
                                <p:cTn id="79" presetID="10" presetClass="entr" presetSubtype="0" fill="hold" nodeType="afterEffect">
                                  <p:stCondLst>
                                    <p:cond delay="0"/>
                                  </p:stCondLst>
                                  <p:childTnLst>
                                    <p:set>
                                      <p:cBhvr>
                                        <p:cTn id="80" dur="1" fill="hold">
                                          <p:stCondLst>
                                            <p:cond delay="0"/>
                                          </p:stCondLst>
                                        </p:cTn>
                                        <p:tgtEl>
                                          <p:spTgt spid="20"/>
                                        </p:tgtEl>
                                        <p:attrNameLst>
                                          <p:attrName>style.visibility</p:attrName>
                                        </p:attrNameLst>
                                      </p:cBhvr>
                                      <p:to>
                                        <p:strVal val="visible"/>
                                      </p:to>
                                    </p:set>
                                    <p:animEffect transition="in" filter="fade">
                                      <p:cBhvr>
                                        <p:cTn id="81" dur="1000"/>
                                        <p:tgtEl>
                                          <p:spTgt spid="20"/>
                                        </p:tgtEl>
                                      </p:cBhvr>
                                    </p:animEffect>
                                  </p:childTnLst>
                                </p:cTn>
                              </p:par>
                              <p:par>
                                <p:cTn id="82" presetID="10" presetClass="exit" presetSubtype="0" fill="hold" grpId="1" nodeType="withEffect">
                                  <p:stCondLst>
                                    <p:cond delay="0"/>
                                  </p:stCondLst>
                                  <p:childTnLst>
                                    <p:animEffect transition="out" filter="fade">
                                      <p:cBhvr>
                                        <p:cTn id="83" dur="500"/>
                                        <p:tgtEl>
                                          <p:spTgt spid="677907"/>
                                        </p:tgtEl>
                                      </p:cBhvr>
                                    </p:animEffect>
                                    <p:set>
                                      <p:cBhvr>
                                        <p:cTn id="84" dur="1" fill="hold">
                                          <p:stCondLst>
                                            <p:cond delay="499"/>
                                          </p:stCondLst>
                                        </p:cTn>
                                        <p:tgtEl>
                                          <p:spTgt spid="677907"/>
                                        </p:tgtEl>
                                        <p:attrNameLst>
                                          <p:attrName>style.visibility</p:attrName>
                                        </p:attrNameLst>
                                      </p:cBhvr>
                                      <p:to>
                                        <p:strVal val="hidden"/>
                                      </p:to>
                                    </p:set>
                                  </p:childTnLst>
                                </p:cTn>
                              </p:par>
                              <p:par>
                                <p:cTn id="85" presetID="10" presetClass="exit" presetSubtype="0" fill="hold" grpId="1" nodeType="withEffect">
                                  <p:stCondLst>
                                    <p:cond delay="0"/>
                                  </p:stCondLst>
                                  <p:childTnLst>
                                    <p:animEffect transition="out" filter="fade">
                                      <p:cBhvr>
                                        <p:cTn id="86" dur="500"/>
                                        <p:tgtEl>
                                          <p:spTgt spid="677908"/>
                                        </p:tgtEl>
                                      </p:cBhvr>
                                    </p:animEffect>
                                    <p:set>
                                      <p:cBhvr>
                                        <p:cTn id="87" dur="1" fill="hold">
                                          <p:stCondLst>
                                            <p:cond delay="499"/>
                                          </p:stCondLst>
                                        </p:cTn>
                                        <p:tgtEl>
                                          <p:spTgt spid="677908"/>
                                        </p:tgtEl>
                                        <p:attrNameLst>
                                          <p:attrName>style.visibility</p:attrName>
                                        </p:attrNameLst>
                                      </p:cBhvr>
                                      <p:to>
                                        <p:strVal val="hidden"/>
                                      </p:to>
                                    </p:set>
                                  </p:childTnLst>
                                </p:cTn>
                              </p:par>
                              <p:par>
                                <p:cTn id="88" presetID="10" presetClass="exit" presetSubtype="0" fill="hold" grpId="1" nodeType="withEffect">
                                  <p:stCondLst>
                                    <p:cond delay="0"/>
                                  </p:stCondLst>
                                  <p:childTnLst>
                                    <p:animEffect transition="out" filter="fade">
                                      <p:cBhvr>
                                        <p:cTn id="89" dur="500"/>
                                        <p:tgtEl>
                                          <p:spTgt spid="677909"/>
                                        </p:tgtEl>
                                      </p:cBhvr>
                                    </p:animEffect>
                                    <p:set>
                                      <p:cBhvr>
                                        <p:cTn id="90" dur="1" fill="hold">
                                          <p:stCondLst>
                                            <p:cond delay="499"/>
                                          </p:stCondLst>
                                        </p:cTn>
                                        <p:tgtEl>
                                          <p:spTgt spid="677909"/>
                                        </p:tgtEl>
                                        <p:attrNameLst>
                                          <p:attrName>style.visibility</p:attrName>
                                        </p:attrNameLst>
                                      </p:cBhvr>
                                      <p:to>
                                        <p:strVal val="hidden"/>
                                      </p:to>
                                    </p:set>
                                  </p:childTnLst>
                                </p:cTn>
                              </p:par>
                              <p:par>
                                <p:cTn id="91" presetID="10" presetClass="exit" presetSubtype="0" fill="hold" grpId="1" nodeType="withEffect">
                                  <p:stCondLst>
                                    <p:cond delay="0"/>
                                  </p:stCondLst>
                                  <p:childTnLst>
                                    <p:animEffect transition="out" filter="fade">
                                      <p:cBhvr>
                                        <p:cTn id="92" dur="500"/>
                                        <p:tgtEl>
                                          <p:spTgt spid="677910"/>
                                        </p:tgtEl>
                                      </p:cBhvr>
                                    </p:animEffect>
                                    <p:set>
                                      <p:cBhvr>
                                        <p:cTn id="93" dur="1" fill="hold">
                                          <p:stCondLst>
                                            <p:cond delay="499"/>
                                          </p:stCondLst>
                                        </p:cTn>
                                        <p:tgtEl>
                                          <p:spTgt spid="677910"/>
                                        </p:tgtEl>
                                        <p:attrNameLst>
                                          <p:attrName>style.visibility</p:attrName>
                                        </p:attrNameLst>
                                      </p:cBhvr>
                                      <p:to>
                                        <p:strVal val="hidden"/>
                                      </p:to>
                                    </p:set>
                                  </p:childTnLst>
                                </p:cTn>
                              </p:par>
                              <p:par>
                                <p:cTn id="94" presetID="53" presetClass="exit" presetSubtype="0" fill="hold" nodeType="withEffect">
                                  <p:stCondLst>
                                    <p:cond delay="0"/>
                                  </p:stCondLst>
                                  <p:childTnLst>
                                    <p:anim calcmode="lin" valueType="num">
                                      <p:cBhvr>
                                        <p:cTn id="95" dur="1000"/>
                                        <p:tgtEl>
                                          <p:spTgt spid="2052"/>
                                        </p:tgtEl>
                                        <p:attrNameLst>
                                          <p:attrName>ppt_w</p:attrName>
                                        </p:attrNameLst>
                                      </p:cBhvr>
                                      <p:tavLst>
                                        <p:tav tm="0">
                                          <p:val>
                                            <p:strVal val="ppt_w"/>
                                          </p:val>
                                        </p:tav>
                                        <p:tav tm="100000">
                                          <p:val>
                                            <p:fltVal val="0"/>
                                          </p:val>
                                        </p:tav>
                                      </p:tavLst>
                                    </p:anim>
                                    <p:anim calcmode="lin" valueType="num">
                                      <p:cBhvr>
                                        <p:cTn id="96" dur="1000"/>
                                        <p:tgtEl>
                                          <p:spTgt spid="2052"/>
                                        </p:tgtEl>
                                        <p:attrNameLst>
                                          <p:attrName>ppt_h</p:attrName>
                                        </p:attrNameLst>
                                      </p:cBhvr>
                                      <p:tavLst>
                                        <p:tav tm="0">
                                          <p:val>
                                            <p:strVal val="ppt_h"/>
                                          </p:val>
                                        </p:tav>
                                        <p:tav tm="100000">
                                          <p:val>
                                            <p:fltVal val="0"/>
                                          </p:val>
                                        </p:tav>
                                      </p:tavLst>
                                    </p:anim>
                                    <p:animEffect transition="out" filter="fade">
                                      <p:cBhvr>
                                        <p:cTn id="97" dur="1000"/>
                                        <p:tgtEl>
                                          <p:spTgt spid="2052"/>
                                        </p:tgtEl>
                                      </p:cBhvr>
                                    </p:animEffect>
                                    <p:set>
                                      <p:cBhvr>
                                        <p:cTn id="98" dur="1" fill="hold">
                                          <p:stCondLst>
                                            <p:cond delay="999"/>
                                          </p:stCondLst>
                                        </p:cTn>
                                        <p:tgtEl>
                                          <p:spTgt spid="2052"/>
                                        </p:tgtEl>
                                        <p:attrNameLst>
                                          <p:attrName>style.visibility</p:attrName>
                                        </p:attrNameLst>
                                      </p:cBhvr>
                                      <p:to>
                                        <p:strVal val="hidden"/>
                                      </p:to>
                                    </p:set>
                                  </p:childTnLst>
                                </p:cTn>
                              </p:par>
                              <p:par>
                                <p:cTn id="99" presetID="10" presetClass="entr" presetSubtype="0" fill="hold" nodeType="withEffect">
                                  <p:stCondLst>
                                    <p:cond delay="0"/>
                                  </p:stCondLst>
                                  <p:childTnLst>
                                    <p:set>
                                      <p:cBhvr>
                                        <p:cTn id="100" dur="1" fill="hold">
                                          <p:stCondLst>
                                            <p:cond delay="0"/>
                                          </p:stCondLst>
                                        </p:cTn>
                                        <p:tgtEl>
                                          <p:spTgt spid="18"/>
                                        </p:tgtEl>
                                        <p:attrNameLst>
                                          <p:attrName>style.visibility</p:attrName>
                                        </p:attrNameLst>
                                      </p:cBhvr>
                                      <p:to>
                                        <p:strVal val="visible"/>
                                      </p:to>
                                    </p:set>
                                    <p:animEffect transition="in" filter="fade">
                                      <p:cBhvr>
                                        <p:cTn id="101" dur="1000"/>
                                        <p:tgtEl>
                                          <p:spTgt spid="18"/>
                                        </p:tgtEl>
                                      </p:cBhvr>
                                    </p:animEffect>
                                  </p:childTnLst>
                                </p:cTn>
                              </p:par>
                              <p:par>
                                <p:cTn id="102" presetID="10" presetClass="entr" presetSubtype="0" fill="hold" nodeType="withEffect">
                                  <p:stCondLst>
                                    <p:cond delay="0"/>
                                  </p:stCondLst>
                                  <p:childTnLst>
                                    <p:set>
                                      <p:cBhvr>
                                        <p:cTn id="103" dur="1" fill="hold">
                                          <p:stCondLst>
                                            <p:cond delay="0"/>
                                          </p:stCondLst>
                                        </p:cTn>
                                        <p:tgtEl>
                                          <p:spTgt spid="19"/>
                                        </p:tgtEl>
                                        <p:attrNameLst>
                                          <p:attrName>style.visibility</p:attrName>
                                        </p:attrNameLst>
                                      </p:cBhvr>
                                      <p:to>
                                        <p:strVal val="visible"/>
                                      </p:to>
                                    </p:set>
                                    <p:animEffect transition="in" filter="fade">
                                      <p:cBhvr>
                                        <p:cTn id="104" dur="1000"/>
                                        <p:tgtEl>
                                          <p:spTgt spid="19"/>
                                        </p:tgtEl>
                                      </p:cBhvr>
                                    </p:animEffect>
                                  </p:childTnLst>
                                </p:cTn>
                              </p:par>
                            </p:childTnLst>
                          </p:cTn>
                        </p:par>
                        <p:par>
                          <p:cTn id="105" fill="hold">
                            <p:stCondLst>
                              <p:cond delay="2000"/>
                            </p:stCondLst>
                            <p:childTnLst>
                              <p:par>
                                <p:cTn id="106" presetID="42" presetClass="path" presetSubtype="0" accel="50000" fill="hold" nodeType="afterEffect">
                                  <p:stCondLst>
                                    <p:cond delay="0"/>
                                  </p:stCondLst>
                                  <p:childTnLst>
                                    <p:animMotion origin="layout" path="M 3.33333E-6 -3.7037E-6 L -0.19076 0.3132 " pathEditMode="relative" rAng="0" ptsTypes="AA">
                                      <p:cBhvr>
                                        <p:cTn id="107" dur="1000" fill="hold"/>
                                        <p:tgtEl>
                                          <p:spTgt spid="20"/>
                                        </p:tgtEl>
                                        <p:attrNameLst>
                                          <p:attrName>ppt_x</p:attrName>
                                          <p:attrName>ppt_y</p:attrName>
                                        </p:attrNameLst>
                                      </p:cBhvr>
                                      <p:rCtr x="-9544" y="15648"/>
                                    </p:animMotion>
                                  </p:childTnLst>
                                </p:cTn>
                              </p:par>
                              <p:par>
                                <p:cTn id="108" presetID="42" presetClass="path" presetSubtype="0" accel="50000" fill="hold" nodeType="withEffect">
                                  <p:stCondLst>
                                    <p:cond delay="0"/>
                                  </p:stCondLst>
                                  <p:childTnLst>
                                    <p:animMotion origin="layout" path="M 3.33333E-6 2.96296E-6 L 0.13333 0.17199 " pathEditMode="relative" rAng="0" ptsTypes="AA">
                                      <p:cBhvr>
                                        <p:cTn id="109" dur="1000" fill="hold"/>
                                        <p:tgtEl>
                                          <p:spTgt spid="18"/>
                                        </p:tgtEl>
                                        <p:attrNameLst>
                                          <p:attrName>ppt_x</p:attrName>
                                          <p:attrName>ppt_y</p:attrName>
                                        </p:attrNameLst>
                                      </p:cBhvr>
                                      <p:rCtr x="6667" y="8588"/>
                                    </p:animMotion>
                                  </p:childTnLst>
                                </p:cTn>
                              </p:par>
                              <p:par>
                                <p:cTn id="110" presetID="42" presetClass="path" presetSubtype="0" accel="50000" fill="hold" nodeType="withEffect">
                                  <p:stCondLst>
                                    <p:cond delay="0"/>
                                  </p:stCondLst>
                                  <p:childTnLst>
                                    <p:animMotion origin="layout" path="M 3.33333E-6 -3.7037E-6 L 3.33333E-6 0.04676 " pathEditMode="relative" rAng="0" ptsTypes="AA">
                                      <p:cBhvr>
                                        <p:cTn id="111" dur="1000" fill="hold"/>
                                        <p:tgtEl>
                                          <p:spTgt spid="19"/>
                                        </p:tgtEl>
                                        <p:attrNameLst>
                                          <p:attrName>ppt_x</p:attrName>
                                          <p:attrName>ppt_y</p:attrName>
                                        </p:attrNameLst>
                                      </p:cBhvr>
                                      <p:rCtr x="0" y="2338"/>
                                    </p:animMotion>
                                  </p:childTnLst>
                                </p:cTn>
                              </p:par>
                            </p:childTnLst>
                          </p:cTn>
                        </p:par>
                        <p:par>
                          <p:cTn id="112" fill="hold">
                            <p:stCondLst>
                              <p:cond delay="3000"/>
                            </p:stCondLst>
                            <p:childTnLst>
                              <p:par>
                                <p:cTn id="113" presetID="10" presetClass="entr" presetSubtype="0" fill="hold" grpId="0" nodeType="afterEffect">
                                  <p:stCondLst>
                                    <p:cond delay="0"/>
                                  </p:stCondLst>
                                  <p:childTnLst>
                                    <p:set>
                                      <p:cBhvr>
                                        <p:cTn id="114" dur="1" fill="hold">
                                          <p:stCondLst>
                                            <p:cond delay="0"/>
                                          </p:stCondLst>
                                        </p:cTn>
                                        <p:tgtEl>
                                          <p:spTgt spid="2533459"/>
                                        </p:tgtEl>
                                        <p:attrNameLst>
                                          <p:attrName>style.visibility</p:attrName>
                                        </p:attrNameLst>
                                      </p:cBhvr>
                                      <p:to>
                                        <p:strVal val="visible"/>
                                      </p:to>
                                    </p:set>
                                    <p:animEffect transition="in" filter="fade">
                                      <p:cBhvr>
                                        <p:cTn id="115" dur="1000"/>
                                        <p:tgtEl>
                                          <p:spTgt spid="2533459"/>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2533460"/>
                                        </p:tgtEl>
                                        <p:attrNameLst>
                                          <p:attrName>style.visibility</p:attrName>
                                        </p:attrNameLst>
                                      </p:cBhvr>
                                      <p:to>
                                        <p:strVal val="visible"/>
                                      </p:to>
                                    </p:set>
                                    <p:animEffect transition="in" filter="fade">
                                      <p:cBhvr>
                                        <p:cTn id="118" dur="1000"/>
                                        <p:tgtEl>
                                          <p:spTgt spid="2533460"/>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2533461"/>
                                        </p:tgtEl>
                                        <p:attrNameLst>
                                          <p:attrName>style.visibility</p:attrName>
                                        </p:attrNameLst>
                                      </p:cBhvr>
                                      <p:to>
                                        <p:strVal val="visible"/>
                                      </p:to>
                                    </p:set>
                                    <p:animEffect transition="in" filter="fade">
                                      <p:cBhvr>
                                        <p:cTn id="121" dur="1000"/>
                                        <p:tgtEl>
                                          <p:spTgt spid="2533461"/>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2533462"/>
                                        </p:tgtEl>
                                        <p:attrNameLst>
                                          <p:attrName>style.visibility</p:attrName>
                                        </p:attrNameLst>
                                      </p:cBhvr>
                                      <p:to>
                                        <p:strVal val="visible"/>
                                      </p:to>
                                    </p:set>
                                    <p:animEffect transition="in" filter="fade">
                                      <p:cBhvr>
                                        <p:cTn id="124" dur="1000"/>
                                        <p:tgtEl>
                                          <p:spTgt spid="2533462"/>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2533463"/>
                                        </p:tgtEl>
                                        <p:attrNameLst>
                                          <p:attrName>style.visibility</p:attrName>
                                        </p:attrNameLst>
                                      </p:cBhvr>
                                      <p:to>
                                        <p:strVal val="visible"/>
                                      </p:to>
                                    </p:set>
                                    <p:animEffect transition="in" filter="fade">
                                      <p:cBhvr>
                                        <p:cTn id="127" dur="1000"/>
                                        <p:tgtEl>
                                          <p:spTgt spid="2533463"/>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2533464"/>
                                        </p:tgtEl>
                                        <p:attrNameLst>
                                          <p:attrName>style.visibility</p:attrName>
                                        </p:attrNameLst>
                                      </p:cBhvr>
                                      <p:to>
                                        <p:strVal val="visible"/>
                                      </p:to>
                                    </p:set>
                                    <p:animEffect transition="in" filter="fade">
                                      <p:cBhvr>
                                        <p:cTn id="130" dur="1000"/>
                                        <p:tgtEl>
                                          <p:spTgt spid="2533464"/>
                                        </p:tgtEl>
                                      </p:cBhvr>
                                    </p:animEffect>
                                  </p:childTnLst>
                                </p:cTn>
                              </p:par>
                              <p:par>
                                <p:cTn id="131" presetID="42" presetClass="entr" presetSubtype="0" fill="hold" nodeType="withEffect">
                                  <p:stCondLst>
                                    <p:cond delay="0"/>
                                  </p:stCondLst>
                                  <p:childTnLst>
                                    <p:set>
                                      <p:cBhvr>
                                        <p:cTn id="132" dur="1" fill="hold">
                                          <p:stCondLst>
                                            <p:cond delay="0"/>
                                          </p:stCondLst>
                                        </p:cTn>
                                        <p:tgtEl>
                                          <p:spTgt spid="2533435">
                                            <p:txEl>
                                              <p:pRg st="4" end="4"/>
                                            </p:txEl>
                                          </p:spTgt>
                                        </p:tgtEl>
                                        <p:attrNameLst>
                                          <p:attrName>style.visibility</p:attrName>
                                        </p:attrNameLst>
                                      </p:cBhvr>
                                      <p:to>
                                        <p:strVal val="visible"/>
                                      </p:to>
                                    </p:set>
                                    <p:animEffect transition="in" filter="fade">
                                      <p:cBhvr>
                                        <p:cTn id="133" dur="1000"/>
                                        <p:tgtEl>
                                          <p:spTgt spid="2533435">
                                            <p:txEl>
                                              <p:pRg st="4" end="4"/>
                                            </p:txEl>
                                          </p:spTgt>
                                        </p:tgtEl>
                                      </p:cBhvr>
                                    </p:animEffect>
                                    <p:anim calcmode="lin" valueType="num">
                                      <p:cBhvr>
                                        <p:cTn id="134" dur="1000" fill="hold"/>
                                        <p:tgtEl>
                                          <p:spTgt spid="2533435">
                                            <p:txEl>
                                              <p:pRg st="4" end="4"/>
                                            </p:txEl>
                                          </p:spTgt>
                                        </p:tgtEl>
                                        <p:attrNameLst>
                                          <p:attrName>ppt_x</p:attrName>
                                        </p:attrNameLst>
                                      </p:cBhvr>
                                      <p:tavLst>
                                        <p:tav tm="0">
                                          <p:val>
                                            <p:strVal val="#ppt_x"/>
                                          </p:val>
                                        </p:tav>
                                        <p:tav tm="100000">
                                          <p:val>
                                            <p:strVal val="#ppt_x"/>
                                          </p:val>
                                        </p:tav>
                                      </p:tavLst>
                                    </p:anim>
                                    <p:anim calcmode="lin" valueType="num">
                                      <p:cBhvr>
                                        <p:cTn id="135" dur="1000" fill="hold"/>
                                        <p:tgtEl>
                                          <p:spTgt spid="2533435">
                                            <p:txEl>
                                              <p:pRg st="4" end="4"/>
                                            </p:txEl>
                                          </p:spTgt>
                                        </p:tgtEl>
                                        <p:attrNameLst>
                                          <p:attrName>ppt_y</p:attrName>
                                        </p:attrNameLst>
                                      </p:cBhvr>
                                      <p:tavLst>
                                        <p:tav tm="0">
                                          <p:val>
                                            <p:strVal val="#ppt_y+.1"/>
                                          </p:val>
                                        </p:tav>
                                        <p:tav tm="100000">
                                          <p:val>
                                            <p:strVal val="#ppt_y"/>
                                          </p:val>
                                        </p:tav>
                                      </p:tavLst>
                                    </p:anim>
                                  </p:childTnLst>
                                </p:cTn>
                              </p:par>
                              <p:par>
                                <p:cTn id="136" presetID="10" presetClass="entr" presetSubtype="0" fill="hold" grpId="0" nodeType="withEffect">
                                  <p:stCondLst>
                                    <p:cond delay="0"/>
                                  </p:stCondLst>
                                  <p:childTnLst>
                                    <p:set>
                                      <p:cBhvr>
                                        <p:cTn id="137" dur="1" fill="hold">
                                          <p:stCondLst>
                                            <p:cond delay="0"/>
                                          </p:stCondLst>
                                        </p:cTn>
                                        <p:tgtEl>
                                          <p:spTgt spid="2533469"/>
                                        </p:tgtEl>
                                        <p:attrNameLst>
                                          <p:attrName>style.visibility</p:attrName>
                                        </p:attrNameLst>
                                      </p:cBhvr>
                                      <p:to>
                                        <p:strVal val="visible"/>
                                      </p:to>
                                    </p:set>
                                    <p:animEffect transition="in" filter="fade">
                                      <p:cBhvr>
                                        <p:cTn id="138" dur="1000"/>
                                        <p:tgtEl>
                                          <p:spTgt spid="2533469"/>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2533470"/>
                                        </p:tgtEl>
                                        <p:attrNameLst>
                                          <p:attrName>style.visibility</p:attrName>
                                        </p:attrNameLst>
                                      </p:cBhvr>
                                      <p:to>
                                        <p:strVal val="visible"/>
                                      </p:to>
                                    </p:set>
                                    <p:animEffect transition="in" filter="fade">
                                      <p:cBhvr>
                                        <p:cTn id="141" dur="1000"/>
                                        <p:tgtEl>
                                          <p:spTgt spid="2533470"/>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2533471"/>
                                        </p:tgtEl>
                                        <p:attrNameLst>
                                          <p:attrName>style.visibility</p:attrName>
                                        </p:attrNameLst>
                                      </p:cBhvr>
                                      <p:to>
                                        <p:strVal val="visible"/>
                                      </p:to>
                                    </p:set>
                                    <p:animEffect transition="in" filter="fade">
                                      <p:cBhvr>
                                        <p:cTn id="144" dur="1000"/>
                                        <p:tgtEl>
                                          <p:spTgt spid="2533471"/>
                                        </p:tgtEl>
                                      </p:cBhvr>
                                    </p:animEffect>
                                  </p:childTnLst>
                                </p:cTn>
                              </p:par>
                            </p:childTnLst>
                          </p:cTn>
                        </p:par>
                      </p:childTnLst>
                    </p:cTn>
                  </p:par>
                  <p:par>
                    <p:cTn id="145" fill="hold">
                      <p:stCondLst>
                        <p:cond delay="indefinite"/>
                      </p:stCondLst>
                      <p:childTnLst>
                        <p:par>
                          <p:cTn id="146" fill="hold">
                            <p:stCondLst>
                              <p:cond delay="0"/>
                            </p:stCondLst>
                            <p:childTnLst>
                              <p:par>
                                <p:cTn id="147" presetID="42" presetClass="entr" presetSubtype="0" fill="hold" nodeType="clickEffect">
                                  <p:stCondLst>
                                    <p:cond delay="0"/>
                                  </p:stCondLst>
                                  <p:childTnLst>
                                    <p:set>
                                      <p:cBhvr>
                                        <p:cTn id="148" dur="1" fill="hold">
                                          <p:stCondLst>
                                            <p:cond delay="0"/>
                                          </p:stCondLst>
                                        </p:cTn>
                                        <p:tgtEl>
                                          <p:spTgt spid="2533435">
                                            <p:txEl>
                                              <p:pRg st="5" end="5"/>
                                            </p:txEl>
                                          </p:spTgt>
                                        </p:tgtEl>
                                        <p:attrNameLst>
                                          <p:attrName>style.visibility</p:attrName>
                                        </p:attrNameLst>
                                      </p:cBhvr>
                                      <p:to>
                                        <p:strVal val="visible"/>
                                      </p:to>
                                    </p:set>
                                    <p:animEffect transition="in" filter="fade">
                                      <p:cBhvr>
                                        <p:cTn id="149" dur="1000"/>
                                        <p:tgtEl>
                                          <p:spTgt spid="2533435">
                                            <p:txEl>
                                              <p:pRg st="5" end="5"/>
                                            </p:txEl>
                                          </p:spTgt>
                                        </p:tgtEl>
                                      </p:cBhvr>
                                    </p:animEffect>
                                    <p:anim calcmode="lin" valueType="num">
                                      <p:cBhvr>
                                        <p:cTn id="150" dur="1000" fill="hold"/>
                                        <p:tgtEl>
                                          <p:spTgt spid="2533435">
                                            <p:txEl>
                                              <p:pRg st="5" end="5"/>
                                            </p:txEl>
                                          </p:spTgt>
                                        </p:tgtEl>
                                        <p:attrNameLst>
                                          <p:attrName>ppt_x</p:attrName>
                                        </p:attrNameLst>
                                      </p:cBhvr>
                                      <p:tavLst>
                                        <p:tav tm="0">
                                          <p:val>
                                            <p:strVal val="#ppt_x"/>
                                          </p:val>
                                        </p:tav>
                                        <p:tav tm="100000">
                                          <p:val>
                                            <p:strVal val="#ppt_x"/>
                                          </p:val>
                                        </p:tav>
                                      </p:tavLst>
                                    </p:anim>
                                    <p:anim calcmode="lin" valueType="num">
                                      <p:cBhvr>
                                        <p:cTn id="151" dur="1000" fill="hold"/>
                                        <p:tgtEl>
                                          <p:spTgt spid="2533435">
                                            <p:txEl>
                                              <p:pRg st="5" end="5"/>
                                            </p:txEl>
                                          </p:spTgt>
                                        </p:tgtEl>
                                        <p:attrNameLst>
                                          <p:attrName>ppt_y</p:attrName>
                                        </p:attrNameLst>
                                      </p:cBhvr>
                                      <p:tavLst>
                                        <p:tav tm="0">
                                          <p:val>
                                            <p:strVal val="#ppt_y+.1"/>
                                          </p:val>
                                        </p:tav>
                                        <p:tav tm="100000">
                                          <p:val>
                                            <p:strVal val="#ppt_y"/>
                                          </p:val>
                                        </p:tav>
                                      </p:tavLst>
                                    </p:anim>
                                  </p:childTnLst>
                                </p:cTn>
                              </p:par>
                              <p:par>
                                <p:cTn id="152" presetID="10" presetClass="entr" presetSubtype="0" fill="hold" nodeType="withEffect">
                                  <p:stCondLst>
                                    <p:cond delay="0"/>
                                  </p:stCondLst>
                                  <p:childTnLst>
                                    <p:set>
                                      <p:cBhvr>
                                        <p:cTn id="153" dur="1" fill="hold">
                                          <p:stCondLst>
                                            <p:cond delay="0"/>
                                          </p:stCondLst>
                                        </p:cTn>
                                        <p:tgtEl>
                                          <p:spTgt spid="2053"/>
                                        </p:tgtEl>
                                        <p:attrNameLst>
                                          <p:attrName>style.visibility</p:attrName>
                                        </p:attrNameLst>
                                      </p:cBhvr>
                                      <p:to>
                                        <p:strVal val="visible"/>
                                      </p:to>
                                    </p:set>
                                    <p:animEffect transition="in" filter="fade">
                                      <p:cBhvr>
                                        <p:cTn id="154" dur="1000"/>
                                        <p:tgtEl>
                                          <p:spTgt spid="2053"/>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40"/>
                                        </p:tgtEl>
                                        <p:attrNameLst>
                                          <p:attrName>style.visibility</p:attrName>
                                        </p:attrNameLst>
                                      </p:cBhvr>
                                      <p:to>
                                        <p:strVal val="visible"/>
                                      </p:to>
                                    </p:set>
                                    <p:animEffect transition="in" filter="fade">
                                      <p:cBhvr>
                                        <p:cTn id="157" dur="1000"/>
                                        <p:tgtEl>
                                          <p:spTgt spid="40"/>
                                        </p:tgtEl>
                                      </p:cBhvr>
                                    </p:animEffect>
                                  </p:childTnLst>
                                </p:cTn>
                              </p:par>
                            </p:childTnLst>
                          </p:cTn>
                        </p:par>
                      </p:childTnLst>
                    </p:cTn>
                  </p:par>
                  <p:par>
                    <p:cTn id="158" fill="hold">
                      <p:stCondLst>
                        <p:cond delay="indefinite"/>
                      </p:stCondLst>
                      <p:childTnLst>
                        <p:par>
                          <p:cTn id="159" fill="hold">
                            <p:stCondLst>
                              <p:cond delay="0"/>
                            </p:stCondLst>
                            <p:childTnLst>
                              <p:par>
                                <p:cTn id="160" presetID="42" presetClass="entr" presetSubtype="0" fill="hold" nodeType="clickEffect">
                                  <p:stCondLst>
                                    <p:cond delay="0"/>
                                  </p:stCondLst>
                                  <p:childTnLst>
                                    <p:set>
                                      <p:cBhvr>
                                        <p:cTn id="161" dur="1" fill="hold">
                                          <p:stCondLst>
                                            <p:cond delay="0"/>
                                          </p:stCondLst>
                                        </p:cTn>
                                        <p:tgtEl>
                                          <p:spTgt spid="2533435">
                                            <p:txEl>
                                              <p:pRg st="6" end="6"/>
                                            </p:txEl>
                                          </p:spTgt>
                                        </p:tgtEl>
                                        <p:attrNameLst>
                                          <p:attrName>style.visibility</p:attrName>
                                        </p:attrNameLst>
                                      </p:cBhvr>
                                      <p:to>
                                        <p:strVal val="visible"/>
                                      </p:to>
                                    </p:set>
                                    <p:animEffect transition="in" filter="fade">
                                      <p:cBhvr>
                                        <p:cTn id="162" dur="1000"/>
                                        <p:tgtEl>
                                          <p:spTgt spid="2533435">
                                            <p:txEl>
                                              <p:pRg st="6" end="6"/>
                                            </p:txEl>
                                          </p:spTgt>
                                        </p:tgtEl>
                                      </p:cBhvr>
                                    </p:animEffect>
                                    <p:anim calcmode="lin" valueType="num">
                                      <p:cBhvr>
                                        <p:cTn id="163" dur="1000" fill="hold"/>
                                        <p:tgtEl>
                                          <p:spTgt spid="2533435">
                                            <p:txEl>
                                              <p:pRg st="6" end="6"/>
                                            </p:txEl>
                                          </p:spTgt>
                                        </p:tgtEl>
                                        <p:attrNameLst>
                                          <p:attrName>ppt_x</p:attrName>
                                        </p:attrNameLst>
                                      </p:cBhvr>
                                      <p:tavLst>
                                        <p:tav tm="0">
                                          <p:val>
                                            <p:strVal val="#ppt_x"/>
                                          </p:val>
                                        </p:tav>
                                        <p:tav tm="100000">
                                          <p:val>
                                            <p:strVal val="#ppt_x"/>
                                          </p:val>
                                        </p:tav>
                                      </p:tavLst>
                                    </p:anim>
                                    <p:anim calcmode="lin" valueType="num">
                                      <p:cBhvr>
                                        <p:cTn id="164" dur="1000" fill="hold"/>
                                        <p:tgtEl>
                                          <p:spTgt spid="2533435">
                                            <p:txEl>
                                              <p:pRg st="6" end="6"/>
                                            </p:txEl>
                                          </p:spTgt>
                                        </p:tgtEl>
                                        <p:attrNameLst>
                                          <p:attrName>ppt_y</p:attrName>
                                        </p:attrNameLst>
                                      </p:cBhvr>
                                      <p:tavLst>
                                        <p:tav tm="0">
                                          <p:val>
                                            <p:strVal val="#ppt_y+.1"/>
                                          </p:val>
                                        </p:tav>
                                        <p:tav tm="100000">
                                          <p:val>
                                            <p:strVal val="#ppt_y"/>
                                          </p:val>
                                        </p:tav>
                                      </p:tavLst>
                                    </p:anim>
                                  </p:childTnLst>
                                </p:cTn>
                              </p:par>
                              <p:par>
                                <p:cTn id="165" presetID="42" presetClass="entr" presetSubtype="0" fill="hold" nodeType="withEffect">
                                  <p:stCondLst>
                                    <p:cond delay="0"/>
                                  </p:stCondLst>
                                  <p:childTnLst>
                                    <p:set>
                                      <p:cBhvr>
                                        <p:cTn id="166" dur="1" fill="hold">
                                          <p:stCondLst>
                                            <p:cond delay="0"/>
                                          </p:stCondLst>
                                        </p:cTn>
                                        <p:tgtEl>
                                          <p:spTgt spid="2533435">
                                            <p:txEl>
                                              <p:pRg st="7" end="7"/>
                                            </p:txEl>
                                          </p:spTgt>
                                        </p:tgtEl>
                                        <p:attrNameLst>
                                          <p:attrName>style.visibility</p:attrName>
                                        </p:attrNameLst>
                                      </p:cBhvr>
                                      <p:to>
                                        <p:strVal val="visible"/>
                                      </p:to>
                                    </p:set>
                                    <p:animEffect transition="in" filter="fade">
                                      <p:cBhvr>
                                        <p:cTn id="167" dur="1000"/>
                                        <p:tgtEl>
                                          <p:spTgt spid="2533435">
                                            <p:txEl>
                                              <p:pRg st="7" end="7"/>
                                            </p:txEl>
                                          </p:spTgt>
                                        </p:tgtEl>
                                      </p:cBhvr>
                                    </p:animEffect>
                                    <p:anim calcmode="lin" valueType="num">
                                      <p:cBhvr>
                                        <p:cTn id="168" dur="1000" fill="hold"/>
                                        <p:tgtEl>
                                          <p:spTgt spid="2533435">
                                            <p:txEl>
                                              <p:pRg st="7" end="7"/>
                                            </p:txEl>
                                          </p:spTgt>
                                        </p:tgtEl>
                                        <p:attrNameLst>
                                          <p:attrName>ppt_x</p:attrName>
                                        </p:attrNameLst>
                                      </p:cBhvr>
                                      <p:tavLst>
                                        <p:tav tm="0">
                                          <p:val>
                                            <p:strVal val="#ppt_x"/>
                                          </p:val>
                                        </p:tav>
                                        <p:tav tm="100000">
                                          <p:val>
                                            <p:strVal val="#ppt_x"/>
                                          </p:val>
                                        </p:tav>
                                      </p:tavLst>
                                    </p:anim>
                                    <p:anim calcmode="lin" valueType="num">
                                      <p:cBhvr>
                                        <p:cTn id="169" dur="1000" fill="hold"/>
                                        <p:tgtEl>
                                          <p:spTgt spid="2533435">
                                            <p:txEl>
                                              <p:pRg st="7" end="7"/>
                                            </p:txEl>
                                          </p:spTgt>
                                        </p:tgtEl>
                                        <p:attrNameLst>
                                          <p:attrName>ppt_y</p:attrName>
                                        </p:attrNameLst>
                                      </p:cBhvr>
                                      <p:tavLst>
                                        <p:tav tm="0">
                                          <p:val>
                                            <p:strVal val="#ppt_y+.1"/>
                                          </p:val>
                                        </p:tav>
                                        <p:tav tm="100000">
                                          <p:val>
                                            <p:strVal val="#ppt_y"/>
                                          </p:val>
                                        </p:tav>
                                      </p:tavLst>
                                    </p:anim>
                                  </p:childTnLst>
                                </p:cTn>
                              </p:par>
                              <p:par>
                                <p:cTn id="170" presetID="42" presetClass="entr" presetSubtype="0" fill="hold" nodeType="withEffect">
                                  <p:stCondLst>
                                    <p:cond delay="0"/>
                                  </p:stCondLst>
                                  <p:childTnLst>
                                    <p:set>
                                      <p:cBhvr>
                                        <p:cTn id="171" dur="1" fill="hold">
                                          <p:stCondLst>
                                            <p:cond delay="0"/>
                                          </p:stCondLst>
                                        </p:cTn>
                                        <p:tgtEl>
                                          <p:spTgt spid="2533435">
                                            <p:txEl>
                                              <p:pRg st="8" end="8"/>
                                            </p:txEl>
                                          </p:spTgt>
                                        </p:tgtEl>
                                        <p:attrNameLst>
                                          <p:attrName>style.visibility</p:attrName>
                                        </p:attrNameLst>
                                      </p:cBhvr>
                                      <p:to>
                                        <p:strVal val="visible"/>
                                      </p:to>
                                    </p:set>
                                    <p:animEffect transition="in" filter="fade">
                                      <p:cBhvr>
                                        <p:cTn id="172" dur="1000"/>
                                        <p:tgtEl>
                                          <p:spTgt spid="2533435">
                                            <p:txEl>
                                              <p:pRg st="8" end="8"/>
                                            </p:txEl>
                                          </p:spTgt>
                                        </p:tgtEl>
                                      </p:cBhvr>
                                    </p:animEffect>
                                    <p:anim calcmode="lin" valueType="num">
                                      <p:cBhvr>
                                        <p:cTn id="173" dur="1000" fill="hold"/>
                                        <p:tgtEl>
                                          <p:spTgt spid="2533435">
                                            <p:txEl>
                                              <p:pRg st="8" end="8"/>
                                            </p:txEl>
                                          </p:spTgt>
                                        </p:tgtEl>
                                        <p:attrNameLst>
                                          <p:attrName>ppt_x</p:attrName>
                                        </p:attrNameLst>
                                      </p:cBhvr>
                                      <p:tavLst>
                                        <p:tav tm="0">
                                          <p:val>
                                            <p:strVal val="#ppt_x"/>
                                          </p:val>
                                        </p:tav>
                                        <p:tav tm="100000">
                                          <p:val>
                                            <p:strVal val="#ppt_x"/>
                                          </p:val>
                                        </p:tav>
                                      </p:tavLst>
                                    </p:anim>
                                    <p:anim calcmode="lin" valueType="num">
                                      <p:cBhvr>
                                        <p:cTn id="174" dur="1000" fill="hold"/>
                                        <p:tgtEl>
                                          <p:spTgt spid="2533435">
                                            <p:txEl>
                                              <p:pRg st="8" end="8"/>
                                            </p:txEl>
                                          </p:spTgt>
                                        </p:tgtEl>
                                        <p:attrNameLst>
                                          <p:attrName>ppt_y</p:attrName>
                                        </p:attrNameLst>
                                      </p:cBhvr>
                                      <p:tavLst>
                                        <p:tav tm="0">
                                          <p:val>
                                            <p:strVal val="#ppt_y+.1"/>
                                          </p:val>
                                        </p:tav>
                                        <p:tav tm="100000">
                                          <p:val>
                                            <p:strVal val="#ppt_y"/>
                                          </p:val>
                                        </p:tav>
                                      </p:tavLst>
                                    </p:anim>
                                  </p:childTnLst>
                                </p:cTn>
                              </p:par>
                              <p:par>
                                <p:cTn id="175" presetID="42" presetClass="entr" presetSubtype="0" fill="hold" nodeType="withEffect">
                                  <p:stCondLst>
                                    <p:cond delay="0"/>
                                  </p:stCondLst>
                                  <p:childTnLst>
                                    <p:set>
                                      <p:cBhvr>
                                        <p:cTn id="176" dur="1" fill="hold">
                                          <p:stCondLst>
                                            <p:cond delay="0"/>
                                          </p:stCondLst>
                                        </p:cTn>
                                        <p:tgtEl>
                                          <p:spTgt spid="2533435">
                                            <p:txEl>
                                              <p:pRg st="9" end="9"/>
                                            </p:txEl>
                                          </p:spTgt>
                                        </p:tgtEl>
                                        <p:attrNameLst>
                                          <p:attrName>style.visibility</p:attrName>
                                        </p:attrNameLst>
                                      </p:cBhvr>
                                      <p:to>
                                        <p:strVal val="visible"/>
                                      </p:to>
                                    </p:set>
                                    <p:animEffect transition="in" filter="fade">
                                      <p:cBhvr>
                                        <p:cTn id="177" dur="1000"/>
                                        <p:tgtEl>
                                          <p:spTgt spid="2533435">
                                            <p:txEl>
                                              <p:pRg st="9" end="9"/>
                                            </p:txEl>
                                          </p:spTgt>
                                        </p:tgtEl>
                                      </p:cBhvr>
                                    </p:animEffect>
                                    <p:anim calcmode="lin" valueType="num">
                                      <p:cBhvr>
                                        <p:cTn id="178" dur="1000" fill="hold"/>
                                        <p:tgtEl>
                                          <p:spTgt spid="2533435">
                                            <p:txEl>
                                              <p:pRg st="9" end="9"/>
                                            </p:txEl>
                                          </p:spTgt>
                                        </p:tgtEl>
                                        <p:attrNameLst>
                                          <p:attrName>ppt_x</p:attrName>
                                        </p:attrNameLst>
                                      </p:cBhvr>
                                      <p:tavLst>
                                        <p:tav tm="0">
                                          <p:val>
                                            <p:strVal val="#ppt_x"/>
                                          </p:val>
                                        </p:tav>
                                        <p:tav tm="100000">
                                          <p:val>
                                            <p:strVal val="#ppt_x"/>
                                          </p:val>
                                        </p:tav>
                                      </p:tavLst>
                                    </p:anim>
                                    <p:anim calcmode="lin" valueType="num">
                                      <p:cBhvr>
                                        <p:cTn id="179" dur="1000" fill="hold"/>
                                        <p:tgtEl>
                                          <p:spTgt spid="2533435">
                                            <p:txEl>
                                              <p:pRg st="9" end="9"/>
                                            </p:txEl>
                                          </p:spTgt>
                                        </p:tgtEl>
                                        <p:attrNameLst>
                                          <p:attrName>ppt_y</p:attrName>
                                        </p:attrNameLst>
                                      </p:cBhvr>
                                      <p:tavLst>
                                        <p:tav tm="0">
                                          <p:val>
                                            <p:strVal val="#ppt_y+.1"/>
                                          </p:val>
                                        </p:tav>
                                        <p:tav tm="100000">
                                          <p:val>
                                            <p:strVal val="#ppt_y"/>
                                          </p:val>
                                        </p:tav>
                                      </p:tavLst>
                                    </p:anim>
                                  </p:childTnLst>
                                </p:cTn>
                              </p:par>
                              <p:par>
                                <p:cTn id="180" presetID="42" presetClass="entr" presetSubtype="0" fill="hold" nodeType="withEffect">
                                  <p:stCondLst>
                                    <p:cond delay="0"/>
                                  </p:stCondLst>
                                  <p:childTnLst>
                                    <p:set>
                                      <p:cBhvr>
                                        <p:cTn id="181" dur="1" fill="hold">
                                          <p:stCondLst>
                                            <p:cond delay="0"/>
                                          </p:stCondLst>
                                        </p:cTn>
                                        <p:tgtEl>
                                          <p:spTgt spid="2533435">
                                            <p:txEl>
                                              <p:pRg st="10" end="10"/>
                                            </p:txEl>
                                          </p:spTgt>
                                        </p:tgtEl>
                                        <p:attrNameLst>
                                          <p:attrName>style.visibility</p:attrName>
                                        </p:attrNameLst>
                                      </p:cBhvr>
                                      <p:to>
                                        <p:strVal val="visible"/>
                                      </p:to>
                                    </p:set>
                                    <p:animEffect transition="in" filter="fade">
                                      <p:cBhvr>
                                        <p:cTn id="182" dur="1000"/>
                                        <p:tgtEl>
                                          <p:spTgt spid="2533435">
                                            <p:txEl>
                                              <p:pRg st="10" end="10"/>
                                            </p:txEl>
                                          </p:spTgt>
                                        </p:tgtEl>
                                      </p:cBhvr>
                                    </p:animEffect>
                                    <p:anim calcmode="lin" valueType="num">
                                      <p:cBhvr>
                                        <p:cTn id="183" dur="1000" fill="hold"/>
                                        <p:tgtEl>
                                          <p:spTgt spid="2533435">
                                            <p:txEl>
                                              <p:pRg st="10" end="10"/>
                                            </p:txEl>
                                          </p:spTgt>
                                        </p:tgtEl>
                                        <p:attrNameLst>
                                          <p:attrName>ppt_x</p:attrName>
                                        </p:attrNameLst>
                                      </p:cBhvr>
                                      <p:tavLst>
                                        <p:tav tm="0">
                                          <p:val>
                                            <p:strVal val="#ppt_x"/>
                                          </p:val>
                                        </p:tav>
                                        <p:tav tm="100000">
                                          <p:val>
                                            <p:strVal val="#ppt_x"/>
                                          </p:val>
                                        </p:tav>
                                      </p:tavLst>
                                    </p:anim>
                                    <p:anim calcmode="lin" valueType="num">
                                      <p:cBhvr>
                                        <p:cTn id="184" dur="1000" fill="hold"/>
                                        <p:tgtEl>
                                          <p:spTgt spid="2533435">
                                            <p:txEl>
                                              <p:pRg st="10" end="10"/>
                                            </p:txEl>
                                          </p:spTgt>
                                        </p:tgtEl>
                                        <p:attrNameLst>
                                          <p:attrName>ppt_y</p:attrName>
                                        </p:attrNameLst>
                                      </p:cBhvr>
                                      <p:tavLst>
                                        <p:tav tm="0">
                                          <p:val>
                                            <p:strVal val="#ppt_y+.1"/>
                                          </p:val>
                                        </p:tav>
                                        <p:tav tm="100000">
                                          <p:val>
                                            <p:strVal val="#ppt_y"/>
                                          </p:val>
                                        </p:tav>
                                      </p:tavLst>
                                    </p:anim>
                                  </p:childTnLst>
                                </p:cTn>
                              </p:par>
                              <p:par>
                                <p:cTn id="185" presetID="42" presetClass="entr" presetSubtype="0" fill="hold" nodeType="withEffect">
                                  <p:stCondLst>
                                    <p:cond delay="0"/>
                                  </p:stCondLst>
                                  <p:childTnLst>
                                    <p:set>
                                      <p:cBhvr>
                                        <p:cTn id="186" dur="1" fill="hold">
                                          <p:stCondLst>
                                            <p:cond delay="0"/>
                                          </p:stCondLst>
                                        </p:cTn>
                                        <p:tgtEl>
                                          <p:spTgt spid="2533435">
                                            <p:txEl>
                                              <p:pRg st="11" end="11"/>
                                            </p:txEl>
                                          </p:spTgt>
                                        </p:tgtEl>
                                        <p:attrNameLst>
                                          <p:attrName>style.visibility</p:attrName>
                                        </p:attrNameLst>
                                      </p:cBhvr>
                                      <p:to>
                                        <p:strVal val="visible"/>
                                      </p:to>
                                    </p:set>
                                    <p:animEffect transition="in" filter="fade">
                                      <p:cBhvr>
                                        <p:cTn id="187" dur="1000"/>
                                        <p:tgtEl>
                                          <p:spTgt spid="2533435">
                                            <p:txEl>
                                              <p:pRg st="11" end="11"/>
                                            </p:txEl>
                                          </p:spTgt>
                                        </p:tgtEl>
                                      </p:cBhvr>
                                    </p:animEffect>
                                    <p:anim calcmode="lin" valueType="num">
                                      <p:cBhvr>
                                        <p:cTn id="188" dur="1000" fill="hold"/>
                                        <p:tgtEl>
                                          <p:spTgt spid="2533435">
                                            <p:txEl>
                                              <p:pRg st="11" end="11"/>
                                            </p:txEl>
                                          </p:spTgt>
                                        </p:tgtEl>
                                        <p:attrNameLst>
                                          <p:attrName>ppt_x</p:attrName>
                                        </p:attrNameLst>
                                      </p:cBhvr>
                                      <p:tavLst>
                                        <p:tav tm="0">
                                          <p:val>
                                            <p:strVal val="#ppt_x"/>
                                          </p:val>
                                        </p:tav>
                                        <p:tav tm="100000">
                                          <p:val>
                                            <p:strVal val="#ppt_x"/>
                                          </p:val>
                                        </p:tav>
                                      </p:tavLst>
                                    </p:anim>
                                    <p:anim calcmode="lin" valueType="num">
                                      <p:cBhvr>
                                        <p:cTn id="189" dur="1000" fill="hold"/>
                                        <p:tgtEl>
                                          <p:spTgt spid="2533435">
                                            <p:txEl>
                                              <p:pRg st="11" end="11"/>
                                            </p:txEl>
                                          </p:spTgt>
                                        </p:tgtEl>
                                        <p:attrNameLst>
                                          <p:attrName>ppt_y</p:attrName>
                                        </p:attrNameLst>
                                      </p:cBhvr>
                                      <p:tavLst>
                                        <p:tav tm="0">
                                          <p:val>
                                            <p:strVal val="#ppt_y+.1"/>
                                          </p:val>
                                        </p:tav>
                                        <p:tav tm="100000">
                                          <p:val>
                                            <p:strVal val="#ppt_y"/>
                                          </p:val>
                                        </p:tav>
                                      </p:tavLst>
                                    </p:anim>
                                  </p:childTnLst>
                                </p:cTn>
                              </p:par>
                            </p:childTnLst>
                          </p:cTn>
                        </p:par>
                      </p:childTnLst>
                    </p:cTn>
                  </p:par>
                  <p:par>
                    <p:cTn id="190" fill="hold">
                      <p:stCondLst>
                        <p:cond delay="indefinite"/>
                      </p:stCondLst>
                      <p:childTnLst>
                        <p:par>
                          <p:cTn id="191" fill="hold">
                            <p:stCondLst>
                              <p:cond delay="0"/>
                            </p:stCondLst>
                            <p:childTnLst>
                              <p:par>
                                <p:cTn id="192" presetID="1" presetClass="entr" presetSubtype="0" fill="hold" nodeType="clickEffect">
                                  <p:stCondLst>
                                    <p:cond delay="0"/>
                                  </p:stCondLst>
                                  <p:childTnLst>
                                    <p:set>
                                      <p:cBhvr>
                                        <p:cTn id="193" dur="1" fill="hold">
                                          <p:stCondLst>
                                            <p:cond delay="0"/>
                                          </p:stCondLst>
                                        </p:cTn>
                                        <p:tgtEl>
                                          <p:spTgt spid="2533435">
                                            <p:txEl>
                                              <p:pRg st="12" end="12"/>
                                            </p:txEl>
                                          </p:spTgt>
                                        </p:tgtEl>
                                        <p:attrNameLst>
                                          <p:attrName>style.visibility</p:attrName>
                                        </p:attrNameLst>
                                      </p:cBhvr>
                                      <p:to>
                                        <p:strVal val="visible"/>
                                      </p:to>
                                    </p:set>
                                  </p:childTnLst>
                                </p:cTn>
                              </p:par>
                              <p:par>
                                <p:cTn id="194" presetID="10" presetClass="entr" presetSubtype="0" fill="hold" nodeType="withEffect">
                                  <p:stCondLst>
                                    <p:cond delay="0"/>
                                  </p:stCondLst>
                                  <p:childTnLst>
                                    <p:set>
                                      <p:cBhvr>
                                        <p:cTn id="195" dur="1" fill="hold">
                                          <p:stCondLst>
                                            <p:cond delay="0"/>
                                          </p:stCondLst>
                                        </p:cTn>
                                        <p:tgtEl>
                                          <p:spTgt spid="37"/>
                                        </p:tgtEl>
                                        <p:attrNameLst>
                                          <p:attrName>style.visibility</p:attrName>
                                        </p:attrNameLst>
                                      </p:cBhvr>
                                      <p:to>
                                        <p:strVal val="visible"/>
                                      </p:to>
                                    </p:set>
                                    <p:animEffect transition="in" filter="fade">
                                      <p:cBhvr>
                                        <p:cTn id="196" dur="500"/>
                                        <p:tgtEl>
                                          <p:spTgt spid="37"/>
                                        </p:tgtEl>
                                      </p:cBhvr>
                                    </p:animEffect>
                                  </p:childTnLst>
                                </p:cTn>
                              </p:par>
                              <p:par>
                                <p:cTn id="197" presetID="10" presetClass="entr" presetSubtype="0" fill="hold" grpId="0" nodeType="withEffect" nodePh="1">
                                  <p:stCondLst>
                                    <p:cond delay="0"/>
                                  </p:stCondLst>
                                  <p:endCondLst>
                                    <p:cond evt="begin" delay="0">
                                      <p:tn val="197"/>
                                    </p:cond>
                                  </p:endCondLst>
                                  <p:childTnLst>
                                    <p:set>
                                      <p:cBhvr>
                                        <p:cTn id="198" dur="1" fill="hold">
                                          <p:stCondLst>
                                            <p:cond delay="0"/>
                                          </p:stCondLst>
                                        </p:cTn>
                                        <p:tgtEl>
                                          <p:spTgt spid="44"/>
                                        </p:tgtEl>
                                        <p:attrNameLst>
                                          <p:attrName>style.visibility</p:attrName>
                                        </p:attrNameLst>
                                      </p:cBhvr>
                                      <p:to>
                                        <p:strVal val="visible"/>
                                      </p:to>
                                    </p:set>
                                    <p:animEffect transition="in" filter="fade">
                                      <p:cBhvr>
                                        <p:cTn id="199" dur="500"/>
                                        <p:tgtEl>
                                          <p:spTgt spid="44"/>
                                        </p:tgtEl>
                                      </p:cBhvr>
                                    </p:animEffect>
                                  </p:childTnLst>
                                </p:cTn>
                              </p:par>
                            </p:childTnLst>
                          </p:cTn>
                        </p:par>
                        <p:par>
                          <p:cTn id="200" fill="hold">
                            <p:stCondLst>
                              <p:cond delay="500"/>
                            </p:stCondLst>
                            <p:childTnLst>
                              <p:par>
                                <p:cTn id="201" presetID="1" presetClass="entr" presetSubtype="0" fill="hold" nodeType="afterEffect">
                                  <p:stCondLst>
                                    <p:cond delay="0"/>
                                  </p:stCondLst>
                                  <p:childTnLst>
                                    <p:set>
                                      <p:cBhvr>
                                        <p:cTn id="202" dur="1" fill="hold">
                                          <p:stCondLst>
                                            <p:cond delay="0"/>
                                          </p:stCondLst>
                                        </p:cTn>
                                        <p:tgtEl>
                                          <p:spTgt spid="45"/>
                                        </p:tgtEl>
                                        <p:attrNameLst>
                                          <p:attrName>style.visibility</p:attrName>
                                        </p:attrNameLst>
                                      </p:cBhvr>
                                      <p:to>
                                        <p:strVal val="visible"/>
                                      </p:to>
                                    </p:set>
                                  </p:childTnLst>
                                </p:cTn>
                              </p:par>
                            </p:childTnLst>
                          </p:cTn>
                        </p:par>
                        <p:par>
                          <p:cTn id="203" fill="hold">
                            <p:stCondLst>
                              <p:cond delay="500"/>
                            </p:stCondLst>
                            <p:childTnLst>
                              <p:par>
                                <p:cTn id="204" presetID="1" presetClass="entr" presetSubtype="0" fill="hold" nodeType="afterEffect">
                                  <p:stCondLst>
                                    <p:cond delay="250"/>
                                  </p:stCondLst>
                                  <p:childTnLst>
                                    <p:set>
                                      <p:cBhvr>
                                        <p:cTn id="205" dur="1" fill="hold">
                                          <p:stCondLst>
                                            <p:cond delay="0"/>
                                          </p:stCondLst>
                                        </p:cTn>
                                        <p:tgtEl>
                                          <p:spTgt spid="47"/>
                                        </p:tgtEl>
                                        <p:attrNameLst>
                                          <p:attrName>style.visibility</p:attrName>
                                        </p:attrNameLst>
                                      </p:cBhvr>
                                      <p:to>
                                        <p:strVal val="visible"/>
                                      </p:to>
                                    </p:set>
                                  </p:childTnLst>
                                </p:cTn>
                              </p:par>
                            </p:childTnLst>
                          </p:cTn>
                        </p:par>
                        <p:par>
                          <p:cTn id="206" fill="hold">
                            <p:stCondLst>
                              <p:cond delay="750"/>
                            </p:stCondLst>
                            <p:childTnLst>
                              <p:par>
                                <p:cTn id="207" presetID="1" presetClass="entr" presetSubtype="0" fill="hold" nodeType="afterEffect">
                                  <p:stCondLst>
                                    <p:cond delay="250"/>
                                  </p:stCondLst>
                                  <p:childTnLst>
                                    <p:set>
                                      <p:cBhvr>
                                        <p:cTn id="208" dur="1" fill="hold">
                                          <p:stCondLst>
                                            <p:cond delay="0"/>
                                          </p:stCondLst>
                                        </p:cTn>
                                        <p:tgtEl>
                                          <p:spTgt spid="46"/>
                                        </p:tgtEl>
                                        <p:attrNameLst>
                                          <p:attrName>style.visibility</p:attrName>
                                        </p:attrNameLst>
                                      </p:cBhvr>
                                      <p:to>
                                        <p:strVal val="visible"/>
                                      </p:to>
                                    </p:set>
                                  </p:childTnLst>
                                </p:cTn>
                              </p:par>
                            </p:childTnLst>
                          </p:cTn>
                        </p:par>
                        <p:par>
                          <p:cTn id="209" fill="hold">
                            <p:stCondLst>
                              <p:cond delay="1000"/>
                            </p:stCondLst>
                            <p:childTnLst>
                              <p:par>
                                <p:cTn id="210" presetID="1" presetClass="entr" presetSubtype="0" fill="hold" nodeType="afterEffect">
                                  <p:stCondLst>
                                    <p:cond delay="250"/>
                                  </p:stCondLst>
                                  <p:childTnLst>
                                    <p:set>
                                      <p:cBhvr>
                                        <p:cTn id="211" dur="1" fill="hold">
                                          <p:stCondLst>
                                            <p:cond delay="0"/>
                                          </p:stCondLst>
                                        </p:cTn>
                                        <p:tgtEl>
                                          <p:spTgt spid="48"/>
                                        </p:tgtEl>
                                        <p:attrNameLst>
                                          <p:attrName>style.visibility</p:attrName>
                                        </p:attrNameLst>
                                      </p:cBhvr>
                                      <p:to>
                                        <p:strVal val="visible"/>
                                      </p:to>
                                    </p:set>
                                  </p:childTnLst>
                                </p:cTn>
                              </p:par>
                            </p:childTnLst>
                          </p:cTn>
                        </p:par>
                        <p:par>
                          <p:cTn id="212" fill="hold">
                            <p:stCondLst>
                              <p:cond delay="1250"/>
                            </p:stCondLst>
                            <p:childTnLst>
                              <p:par>
                                <p:cTn id="213" presetID="1" presetClass="entr" presetSubtype="0" fill="hold" nodeType="afterEffect">
                                  <p:stCondLst>
                                    <p:cond delay="250"/>
                                  </p:stCondLst>
                                  <p:childTnLst>
                                    <p:set>
                                      <p:cBhvr>
                                        <p:cTn id="214"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33459" grpId="0" animBg="1"/>
      <p:bldP spid="2533460" grpId="0" animBg="1"/>
      <p:bldP spid="2533461" grpId="0" animBg="1"/>
      <p:bldP spid="2533462" grpId="0" animBg="1"/>
      <p:bldP spid="2533463" grpId="0" animBg="1"/>
      <p:bldP spid="2533464" grpId="0" animBg="1"/>
      <p:bldP spid="2533469" grpId="0"/>
      <p:bldP spid="2533470" grpId="0" animBg="1"/>
      <p:bldP spid="2533471" grpId="0" animBg="1"/>
      <p:bldP spid="677907" grpId="0" animBg="1"/>
      <p:bldP spid="677907" grpId="1" animBg="1"/>
      <p:bldP spid="677908" grpId="0" animBg="1"/>
      <p:bldP spid="677908" grpId="1" animBg="1"/>
      <p:bldP spid="677909" grpId="0" animBg="1"/>
      <p:bldP spid="677909" grpId="1" animBg="1"/>
      <p:bldP spid="677910" grpId="0" animBg="1"/>
      <p:bldP spid="677910" grpId="1" animBg="1"/>
      <p:bldP spid="40" grpId="0" animBg="1"/>
      <p:bldP spid="4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1" name="Content Placeholder 1"/>
          <p:cNvSpPr>
            <a:spLocks noGrp="1"/>
          </p:cNvSpPr>
          <p:nvPr>
            <p:ph sz="quarter" idx="4294967295"/>
          </p:nvPr>
        </p:nvSpPr>
        <p:spPr bwMode="gray">
          <a:xfrm>
            <a:off x="334530" y="2208952"/>
            <a:ext cx="5763058" cy="1137416"/>
          </a:xfrm>
        </p:spPr>
        <p:txBody>
          <a:bodyPr lIns="72000" tIns="72000" rIns="72000" bIns="72000"/>
          <a:lstStyle/>
          <a:p>
            <a:pPr lvl="1"/>
            <a:r>
              <a:rPr lang="en-US" sz="1600" dirty="0"/>
              <a:t>One enclosure for Caldos25/27 or Magnos28</a:t>
            </a:r>
          </a:p>
          <a:p>
            <a:pPr lvl="1"/>
            <a:r>
              <a:rPr lang="en-US" sz="1600" dirty="0"/>
              <a:t>Uras26 in separate Ex-d enclosure</a:t>
            </a:r>
          </a:p>
        </p:txBody>
      </p:sp>
      <p:sp>
        <p:nvSpPr>
          <p:cNvPr id="680" name="Content Placeholder 1"/>
          <p:cNvSpPr>
            <a:spLocks noGrp="1"/>
          </p:cNvSpPr>
          <p:nvPr>
            <p:ph sz="quarter" idx="4294967295"/>
          </p:nvPr>
        </p:nvSpPr>
        <p:spPr bwMode="gray">
          <a:xfrm>
            <a:off x="334530" y="3280708"/>
            <a:ext cx="5743872" cy="614363"/>
          </a:xfrm>
        </p:spPr>
        <p:txBody>
          <a:bodyPr lIns="72000" tIns="72000" rIns="72000" bIns="72000"/>
          <a:lstStyle/>
          <a:p>
            <a:pPr lvl="1"/>
            <a:r>
              <a:rPr lang="en-US" sz="1600" dirty="0"/>
              <a:t>Combination of two analyzers possible</a:t>
            </a:r>
          </a:p>
          <a:p>
            <a:pPr lvl="1"/>
            <a:r>
              <a:rPr lang="en-US" sz="1600" dirty="0"/>
              <a:t>Up to 5 measuring components</a:t>
            </a:r>
          </a:p>
        </p:txBody>
      </p:sp>
      <p:sp>
        <p:nvSpPr>
          <p:cNvPr id="683" name="Content Placeholder 1"/>
          <p:cNvSpPr>
            <a:spLocks noGrp="1"/>
          </p:cNvSpPr>
          <p:nvPr>
            <p:ph sz="quarter" idx="4294967295"/>
          </p:nvPr>
        </p:nvSpPr>
        <p:spPr bwMode="gray">
          <a:xfrm>
            <a:off x="331320" y="4412603"/>
            <a:ext cx="5743872" cy="983080"/>
          </a:xfrm>
        </p:spPr>
        <p:txBody>
          <a:bodyPr lIns="72000" tIns="72000" rIns="72000" bIns="72000"/>
          <a:lstStyle/>
          <a:p>
            <a:pPr lvl="1"/>
            <a:r>
              <a:rPr lang="en-US" sz="1600" dirty="0"/>
              <a:t>Ex-d housing – no purging required</a:t>
            </a:r>
          </a:p>
          <a:p>
            <a:pPr lvl="1"/>
            <a:r>
              <a:rPr lang="en-US" sz="1600" dirty="0"/>
              <a:t>ATEX 2G certified</a:t>
            </a:r>
          </a:p>
          <a:p>
            <a:pPr marL="0" lvl="1" indent="0">
              <a:spcBef>
                <a:spcPts val="1800"/>
              </a:spcBef>
              <a:buNone/>
              <a:tabLst>
                <a:tab pos="712788" algn="l"/>
              </a:tabLst>
            </a:pPr>
            <a:r>
              <a:rPr lang="en-US" altLang="en-US" sz="1600" b="1" dirty="0">
                <a:solidFill>
                  <a:srgbClr val="D90000"/>
                </a:solidFill>
              </a:rPr>
              <a:t>	Click for more info about hazardous area 	certifications…</a:t>
            </a:r>
            <a:endParaRPr lang="en-US" sz="1600" dirty="0"/>
          </a:p>
        </p:txBody>
      </p:sp>
      <p:sp>
        <p:nvSpPr>
          <p:cNvPr id="676" name="Text Placeholder 7"/>
          <p:cNvSpPr txBox="1">
            <a:spLocks/>
          </p:cNvSpPr>
          <p:nvPr/>
        </p:nvSpPr>
        <p:spPr bwMode="gray">
          <a:xfrm>
            <a:off x="335577" y="1946215"/>
            <a:ext cx="5602828"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600"/>
              </a:spcBef>
            </a:pPr>
            <a:r>
              <a:rPr lang="en-US" dirty="0"/>
              <a:t>Compactly built</a:t>
            </a:r>
          </a:p>
        </p:txBody>
      </p:sp>
      <p:sp>
        <p:nvSpPr>
          <p:cNvPr id="682" name="Text Placeholder 7"/>
          <p:cNvSpPr txBox="1">
            <a:spLocks/>
          </p:cNvSpPr>
          <p:nvPr/>
        </p:nvSpPr>
        <p:spPr bwMode="gray">
          <a:xfrm>
            <a:off x="335577" y="3017369"/>
            <a:ext cx="5602828"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600"/>
              </a:spcBef>
            </a:pPr>
            <a:r>
              <a:rPr lang="en-US" dirty="0"/>
              <a:t>Easy to combine</a:t>
            </a:r>
          </a:p>
        </p:txBody>
      </p:sp>
      <p:sp>
        <p:nvSpPr>
          <p:cNvPr id="685" name="Text Placeholder 7"/>
          <p:cNvSpPr txBox="1">
            <a:spLocks/>
          </p:cNvSpPr>
          <p:nvPr/>
        </p:nvSpPr>
        <p:spPr bwMode="gray">
          <a:xfrm>
            <a:off x="332367" y="4149525"/>
            <a:ext cx="5602828"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600"/>
              </a:spcBef>
            </a:pPr>
            <a:r>
              <a:rPr lang="en-US" dirty="0"/>
              <a:t>Safe, compact and certified</a:t>
            </a:r>
          </a:p>
        </p:txBody>
      </p:sp>
      <p:sp>
        <p:nvSpPr>
          <p:cNvPr id="458" name="Rectangle 457"/>
          <p:cNvSpPr/>
          <p:nvPr/>
        </p:nvSpPr>
        <p:spPr bwMode="gray">
          <a:xfrm>
            <a:off x="0" y="6094413"/>
            <a:ext cx="12192000" cy="7635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1010" name="Rectangle 7"/>
          <p:cNvSpPr/>
          <p:nvPr/>
        </p:nvSpPr>
        <p:spPr bwMode="gray">
          <a:xfrm>
            <a:off x="8461900" y="0"/>
            <a:ext cx="1150478" cy="2796367"/>
          </a:xfrm>
          <a:custGeom>
            <a:avLst/>
            <a:gdLst>
              <a:gd name="connsiteX0" fmla="*/ 49530 w 1150478"/>
              <a:gd name="connsiteY0" fmla="*/ 0 h 2784937"/>
              <a:gd name="connsiteX1" fmla="*/ 1089518 w 1150478"/>
              <a:gd name="connsiteY1" fmla="*/ 0 h 2784937"/>
              <a:gd name="connsiteX2" fmla="*/ 1089518 w 1150478"/>
              <a:gd name="connsiteY2" fmla="*/ 13557 h 2784937"/>
              <a:gd name="connsiteX3" fmla="*/ 1089518 w 1150478"/>
              <a:gd name="connsiteY3" fmla="*/ 49327 h 2784937"/>
              <a:gd name="connsiteX4" fmla="*/ 1089518 w 1150478"/>
              <a:gd name="connsiteY4" fmla="*/ 886048 h 2784937"/>
              <a:gd name="connsiteX5" fmla="*/ 1089518 w 1150478"/>
              <a:gd name="connsiteY5" fmla="*/ 1194245 h 2784937"/>
              <a:gd name="connsiteX6" fmla="*/ 1089518 w 1150478"/>
              <a:gd name="connsiteY6" fmla="*/ 1230015 h 2784937"/>
              <a:gd name="connsiteX7" fmla="*/ 1089518 w 1150478"/>
              <a:gd name="connsiteY7" fmla="*/ 1408733 h 2784937"/>
              <a:gd name="connsiteX8" fmla="*/ 1089518 w 1150478"/>
              <a:gd name="connsiteY8" fmla="*/ 1466901 h 2784937"/>
              <a:gd name="connsiteX9" fmla="*/ 1089518 w 1150478"/>
              <a:gd name="connsiteY9" fmla="*/ 1588374 h 2784937"/>
              <a:gd name="connsiteX10" fmla="*/ 1150478 w 1150478"/>
              <a:gd name="connsiteY10" fmla="*/ 2647590 h 2784937"/>
              <a:gd name="connsiteX11" fmla="*/ 1092058 w 1150478"/>
              <a:gd name="connsiteY11" fmla="*/ 2784937 h 2784937"/>
              <a:gd name="connsiteX12" fmla="*/ 1029067 w 1150478"/>
              <a:gd name="connsiteY12" fmla="*/ 2691898 h 2784937"/>
              <a:gd name="connsiteX13" fmla="*/ 808435 w 1150478"/>
              <a:gd name="connsiteY13" fmla="*/ 2621462 h 2784937"/>
              <a:gd name="connsiteX14" fmla="*/ 523260 w 1150478"/>
              <a:gd name="connsiteY14" fmla="*/ 2744171 h 2784937"/>
              <a:gd name="connsiteX15" fmla="*/ 263095 w 1150478"/>
              <a:gd name="connsiteY15" fmla="*/ 2653737 h 2784937"/>
              <a:gd name="connsiteX16" fmla="*/ 118895 w 1150478"/>
              <a:gd name="connsiteY16" fmla="*/ 2693696 h 2784937"/>
              <a:gd name="connsiteX17" fmla="*/ 49530 w 1150478"/>
              <a:gd name="connsiteY17" fmla="*/ 2769062 h 2784937"/>
              <a:gd name="connsiteX18" fmla="*/ 0 w 1150478"/>
              <a:gd name="connsiteY18" fmla="*/ 2651400 h 2784937"/>
              <a:gd name="connsiteX19" fmla="*/ 49530 w 1150478"/>
              <a:gd name="connsiteY19" fmla="*/ 1588374 h 2784937"/>
              <a:gd name="connsiteX20" fmla="*/ 49530 w 1150478"/>
              <a:gd name="connsiteY20" fmla="*/ 1466901 h 2784937"/>
              <a:gd name="connsiteX21" fmla="*/ 49530 w 1150478"/>
              <a:gd name="connsiteY21" fmla="*/ 1408733 h 2784937"/>
              <a:gd name="connsiteX22" fmla="*/ 49530 w 1150478"/>
              <a:gd name="connsiteY22" fmla="*/ 1230015 h 2784937"/>
              <a:gd name="connsiteX23" fmla="*/ 49530 w 1150478"/>
              <a:gd name="connsiteY23" fmla="*/ 1194245 h 2784937"/>
              <a:gd name="connsiteX24" fmla="*/ 49530 w 1150478"/>
              <a:gd name="connsiteY24" fmla="*/ 886048 h 2784937"/>
              <a:gd name="connsiteX25" fmla="*/ 49530 w 1150478"/>
              <a:gd name="connsiteY25" fmla="*/ 49327 h 2784937"/>
              <a:gd name="connsiteX26" fmla="*/ 49530 w 1150478"/>
              <a:gd name="connsiteY26" fmla="*/ 13557 h 2784937"/>
              <a:gd name="connsiteX27" fmla="*/ 49530 w 1150478"/>
              <a:gd name="connsiteY27" fmla="*/ 0 h 2784937"/>
              <a:gd name="connsiteX0" fmla="*/ 49530 w 1150478"/>
              <a:gd name="connsiteY0" fmla="*/ 0 h 2784937"/>
              <a:gd name="connsiteX1" fmla="*/ 1089518 w 1150478"/>
              <a:gd name="connsiteY1" fmla="*/ 0 h 2784937"/>
              <a:gd name="connsiteX2" fmla="*/ 1089518 w 1150478"/>
              <a:gd name="connsiteY2" fmla="*/ 13557 h 2784937"/>
              <a:gd name="connsiteX3" fmla="*/ 1089518 w 1150478"/>
              <a:gd name="connsiteY3" fmla="*/ 49327 h 2784937"/>
              <a:gd name="connsiteX4" fmla="*/ 1089518 w 1150478"/>
              <a:gd name="connsiteY4" fmla="*/ 886048 h 2784937"/>
              <a:gd name="connsiteX5" fmla="*/ 1089518 w 1150478"/>
              <a:gd name="connsiteY5" fmla="*/ 1194245 h 2784937"/>
              <a:gd name="connsiteX6" fmla="*/ 1089518 w 1150478"/>
              <a:gd name="connsiteY6" fmla="*/ 1230015 h 2784937"/>
              <a:gd name="connsiteX7" fmla="*/ 1089518 w 1150478"/>
              <a:gd name="connsiteY7" fmla="*/ 1408733 h 2784937"/>
              <a:gd name="connsiteX8" fmla="*/ 1089518 w 1150478"/>
              <a:gd name="connsiteY8" fmla="*/ 1466901 h 2784937"/>
              <a:gd name="connsiteX9" fmla="*/ 1089518 w 1150478"/>
              <a:gd name="connsiteY9" fmla="*/ 1588374 h 2784937"/>
              <a:gd name="connsiteX10" fmla="*/ 1150478 w 1150478"/>
              <a:gd name="connsiteY10" fmla="*/ 2647590 h 2784937"/>
              <a:gd name="connsiteX11" fmla="*/ 1092058 w 1150478"/>
              <a:gd name="connsiteY11" fmla="*/ 2784937 h 2784937"/>
              <a:gd name="connsiteX12" fmla="*/ 1029067 w 1150478"/>
              <a:gd name="connsiteY12" fmla="*/ 2691898 h 2784937"/>
              <a:gd name="connsiteX13" fmla="*/ 806530 w 1150478"/>
              <a:gd name="connsiteY13" fmla="*/ 2625272 h 2784937"/>
              <a:gd name="connsiteX14" fmla="*/ 523260 w 1150478"/>
              <a:gd name="connsiteY14" fmla="*/ 2744171 h 2784937"/>
              <a:gd name="connsiteX15" fmla="*/ 263095 w 1150478"/>
              <a:gd name="connsiteY15" fmla="*/ 2653737 h 2784937"/>
              <a:gd name="connsiteX16" fmla="*/ 118895 w 1150478"/>
              <a:gd name="connsiteY16" fmla="*/ 2693696 h 2784937"/>
              <a:gd name="connsiteX17" fmla="*/ 49530 w 1150478"/>
              <a:gd name="connsiteY17" fmla="*/ 2769062 h 2784937"/>
              <a:gd name="connsiteX18" fmla="*/ 0 w 1150478"/>
              <a:gd name="connsiteY18" fmla="*/ 2651400 h 2784937"/>
              <a:gd name="connsiteX19" fmla="*/ 49530 w 1150478"/>
              <a:gd name="connsiteY19" fmla="*/ 1588374 h 2784937"/>
              <a:gd name="connsiteX20" fmla="*/ 49530 w 1150478"/>
              <a:gd name="connsiteY20" fmla="*/ 1466901 h 2784937"/>
              <a:gd name="connsiteX21" fmla="*/ 49530 w 1150478"/>
              <a:gd name="connsiteY21" fmla="*/ 1408733 h 2784937"/>
              <a:gd name="connsiteX22" fmla="*/ 49530 w 1150478"/>
              <a:gd name="connsiteY22" fmla="*/ 1230015 h 2784937"/>
              <a:gd name="connsiteX23" fmla="*/ 49530 w 1150478"/>
              <a:gd name="connsiteY23" fmla="*/ 1194245 h 2784937"/>
              <a:gd name="connsiteX24" fmla="*/ 49530 w 1150478"/>
              <a:gd name="connsiteY24" fmla="*/ 886048 h 2784937"/>
              <a:gd name="connsiteX25" fmla="*/ 49530 w 1150478"/>
              <a:gd name="connsiteY25" fmla="*/ 49327 h 2784937"/>
              <a:gd name="connsiteX26" fmla="*/ 49530 w 1150478"/>
              <a:gd name="connsiteY26" fmla="*/ 13557 h 2784937"/>
              <a:gd name="connsiteX27" fmla="*/ 49530 w 1150478"/>
              <a:gd name="connsiteY27" fmla="*/ 0 h 2784937"/>
              <a:gd name="connsiteX0" fmla="*/ 49530 w 1150478"/>
              <a:gd name="connsiteY0" fmla="*/ 0 h 2784937"/>
              <a:gd name="connsiteX1" fmla="*/ 1089518 w 1150478"/>
              <a:gd name="connsiteY1" fmla="*/ 0 h 2784937"/>
              <a:gd name="connsiteX2" fmla="*/ 1089518 w 1150478"/>
              <a:gd name="connsiteY2" fmla="*/ 13557 h 2784937"/>
              <a:gd name="connsiteX3" fmla="*/ 1089518 w 1150478"/>
              <a:gd name="connsiteY3" fmla="*/ 49327 h 2784937"/>
              <a:gd name="connsiteX4" fmla="*/ 1089518 w 1150478"/>
              <a:gd name="connsiteY4" fmla="*/ 886048 h 2784937"/>
              <a:gd name="connsiteX5" fmla="*/ 1089518 w 1150478"/>
              <a:gd name="connsiteY5" fmla="*/ 1194245 h 2784937"/>
              <a:gd name="connsiteX6" fmla="*/ 1089518 w 1150478"/>
              <a:gd name="connsiteY6" fmla="*/ 1230015 h 2784937"/>
              <a:gd name="connsiteX7" fmla="*/ 1089518 w 1150478"/>
              <a:gd name="connsiteY7" fmla="*/ 1408733 h 2784937"/>
              <a:gd name="connsiteX8" fmla="*/ 1089518 w 1150478"/>
              <a:gd name="connsiteY8" fmla="*/ 1466901 h 2784937"/>
              <a:gd name="connsiteX9" fmla="*/ 1089518 w 1150478"/>
              <a:gd name="connsiteY9" fmla="*/ 1588374 h 2784937"/>
              <a:gd name="connsiteX10" fmla="*/ 1150478 w 1150478"/>
              <a:gd name="connsiteY10" fmla="*/ 2647590 h 2784937"/>
              <a:gd name="connsiteX11" fmla="*/ 1092058 w 1150478"/>
              <a:gd name="connsiteY11" fmla="*/ 2784937 h 2784937"/>
              <a:gd name="connsiteX12" fmla="*/ 1029067 w 1150478"/>
              <a:gd name="connsiteY12" fmla="*/ 2691898 h 2784937"/>
              <a:gd name="connsiteX13" fmla="*/ 806530 w 1150478"/>
              <a:gd name="connsiteY13" fmla="*/ 2625272 h 2784937"/>
              <a:gd name="connsiteX14" fmla="*/ 523260 w 1150478"/>
              <a:gd name="connsiteY14" fmla="*/ 2744171 h 2784937"/>
              <a:gd name="connsiteX15" fmla="*/ 263095 w 1150478"/>
              <a:gd name="connsiteY15" fmla="*/ 2653737 h 2784937"/>
              <a:gd name="connsiteX16" fmla="*/ 118895 w 1150478"/>
              <a:gd name="connsiteY16" fmla="*/ 2687981 h 2784937"/>
              <a:gd name="connsiteX17" fmla="*/ 49530 w 1150478"/>
              <a:gd name="connsiteY17" fmla="*/ 2769062 h 2784937"/>
              <a:gd name="connsiteX18" fmla="*/ 0 w 1150478"/>
              <a:gd name="connsiteY18" fmla="*/ 2651400 h 2784937"/>
              <a:gd name="connsiteX19" fmla="*/ 49530 w 1150478"/>
              <a:gd name="connsiteY19" fmla="*/ 1588374 h 2784937"/>
              <a:gd name="connsiteX20" fmla="*/ 49530 w 1150478"/>
              <a:gd name="connsiteY20" fmla="*/ 1466901 h 2784937"/>
              <a:gd name="connsiteX21" fmla="*/ 49530 w 1150478"/>
              <a:gd name="connsiteY21" fmla="*/ 1408733 h 2784937"/>
              <a:gd name="connsiteX22" fmla="*/ 49530 w 1150478"/>
              <a:gd name="connsiteY22" fmla="*/ 1230015 h 2784937"/>
              <a:gd name="connsiteX23" fmla="*/ 49530 w 1150478"/>
              <a:gd name="connsiteY23" fmla="*/ 1194245 h 2784937"/>
              <a:gd name="connsiteX24" fmla="*/ 49530 w 1150478"/>
              <a:gd name="connsiteY24" fmla="*/ 886048 h 2784937"/>
              <a:gd name="connsiteX25" fmla="*/ 49530 w 1150478"/>
              <a:gd name="connsiteY25" fmla="*/ 49327 h 2784937"/>
              <a:gd name="connsiteX26" fmla="*/ 49530 w 1150478"/>
              <a:gd name="connsiteY26" fmla="*/ 13557 h 2784937"/>
              <a:gd name="connsiteX27" fmla="*/ 49530 w 1150478"/>
              <a:gd name="connsiteY27" fmla="*/ 0 h 2784937"/>
              <a:gd name="connsiteX0" fmla="*/ 49530 w 1150478"/>
              <a:gd name="connsiteY0" fmla="*/ 0 h 2784937"/>
              <a:gd name="connsiteX1" fmla="*/ 1089518 w 1150478"/>
              <a:gd name="connsiteY1" fmla="*/ 0 h 2784937"/>
              <a:gd name="connsiteX2" fmla="*/ 1089518 w 1150478"/>
              <a:gd name="connsiteY2" fmla="*/ 13557 h 2784937"/>
              <a:gd name="connsiteX3" fmla="*/ 1089518 w 1150478"/>
              <a:gd name="connsiteY3" fmla="*/ 49327 h 2784937"/>
              <a:gd name="connsiteX4" fmla="*/ 1089518 w 1150478"/>
              <a:gd name="connsiteY4" fmla="*/ 886048 h 2784937"/>
              <a:gd name="connsiteX5" fmla="*/ 1089518 w 1150478"/>
              <a:gd name="connsiteY5" fmla="*/ 1194245 h 2784937"/>
              <a:gd name="connsiteX6" fmla="*/ 1089518 w 1150478"/>
              <a:gd name="connsiteY6" fmla="*/ 1230015 h 2784937"/>
              <a:gd name="connsiteX7" fmla="*/ 1089518 w 1150478"/>
              <a:gd name="connsiteY7" fmla="*/ 1408733 h 2784937"/>
              <a:gd name="connsiteX8" fmla="*/ 1089518 w 1150478"/>
              <a:gd name="connsiteY8" fmla="*/ 1466901 h 2784937"/>
              <a:gd name="connsiteX9" fmla="*/ 1089518 w 1150478"/>
              <a:gd name="connsiteY9" fmla="*/ 1588374 h 2784937"/>
              <a:gd name="connsiteX10" fmla="*/ 1150478 w 1150478"/>
              <a:gd name="connsiteY10" fmla="*/ 2647590 h 2784937"/>
              <a:gd name="connsiteX11" fmla="*/ 1092058 w 1150478"/>
              <a:gd name="connsiteY11" fmla="*/ 2784937 h 2784937"/>
              <a:gd name="connsiteX12" fmla="*/ 1029067 w 1150478"/>
              <a:gd name="connsiteY12" fmla="*/ 2691898 h 2784937"/>
              <a:gd name="connsiteX13" fmla="*/ 806530 w 1150478"/>
              <a:gd name="connsiteY13" fmla="*/ 2625272 h 2784937"/>
              <a:gd name="connsiteX14" fmla="*/ 523260 w 1150478"/>
              <a:gd name="connsiteY14" fmla="*/ 2744171 h 2784937"/>
              <a:gd name="connsiteX15" fmla="*/ 270715 w 1150478"/>
              <a:gd name="connsiteY15" fmla="*/ 2648022 h 2784937"/>
              <a:gd name="connsiteX16" fmla="*/ 118895 w 1150478"/>
              <a:gd name="connsiteY16" fmla="*/ 2687981 h 2784937"/>
              <a:gd name="connsiteX17" fmla="*/ 49530 w 1150478"/>
              <a:gd name="connsiteY17" fmla="*/ 2769062 h 2784937"/>
              <a:gd name="connsiteX18" fmla="*/ 0 w 1150478"/>
              <a:gd name="connsiteY18" fmla="*/ 2651400 h 2784937"/>
              <a:gd name="connsiteX19" fmla="*/ 49530 w 1150478"/>
              <a:gd name="connsiteY19" fmla="*/ 1588374 h 2784937"/>
              <a:gd name="connsiteX20" fmla="*/ 49530 w 1150478"/>
              <a:gd name="connsiteY20" fmla="*/ 1466901 h 2784937"/>
              <a:gd name="connsiteX21" fmla="*/ 49530 w 1150478"/>
              <a:gd name="connsiteY21" fmla="*/ 1408733 h 2784937"/>
              <a:gd name="connsiteX22" fmla="*/ 49530 w 1150478"/>
              <a:gd name="connsiteY22" fmla="*/ 1230015 h 2784937"/>
              <a:gd name="connsiteX23" fmla="*/ 49530 w 1150478"/>
              <a:gd name="connsiteY23" fmla="*/ 1194245 h 2784937"/>
              <a:gd name="connsiteX24" fmla="*/ 49530 w 1150478"/>
              <a:gd name="connsiteY24" fmla="*/ 886048 h 2784937"/>
              <a:gd name="connsiteX25" fmla="*/ 49530 w 1150478"/>
              <a:gd name="connsiteY25" fmla="*/ 49327 h 2784937"/>
              <a:gd name="connsiteX26" fmla="*/ 49530 w 1150478"/>
              <a:gd name="connsiteY26" fmla="*/ 13557 h 2784937"/>
              <a:gd name="connsiteX27" fmla="*/ 49530 w 1150478"/>
              <a:gd name="connsiteY27" fmla="*/ 0 h 2784937"/>
              <a:gd name="connsiteX0" fmla="*/ 49530 w 1150478"/>
              <a:gd name="connsiteY0" fmla="*/ 0 h 2784937"/>
              <a:gd name="connsiteX1" fmla="*/ 1089518 w 1150478"/>
              <a:gd name="connsiteY1" fmla="*/ 0 h 2784937"/>
              <a:gd name="connsiteX2" fmla="*/ 1089518 w 1150478"/>
              <a:gd name="connsiteY2" fmla="*/ 13557 h 2784937"/>
              <a:gd name="connsiteX3" fmla="*/ 1089518 w 1150478"/>
              <a:gd name="connsiteY3" fmla="*/ 49327 h 2784937"/>
              <a:gd name="connsiteX4" fmla="*/ 1089518 w 1150478"/>
              <a:gd name="connsiteY4" fmla="*/ 886048 h 2784937"/>
              <a:gd name="connsiteX5" fmla="*/ 1089518 w 1150478"/>
              <a:gd name="connsiteY5" fmla="*/ 1194245 h 2784937"/>
              <a:gd name="connsiteX6" fmla="*/ 1089518 w 1150478"/>
              <a:gd name="connsiteY6" fmla="*/ 1230015 h 2784937"/>
              <a:gd name="connsiteX7" fmla="*/ 1089518 w 1150478"/>
              <a:gd name="connsiteY7" fmla="*/ 1408733 h 2784937"/>
              <a:gd name="connsiteX8" fmla="*/ 1089518 w 1150478"/>
              <a:gd name="connsiteY8" fmla="*/ 1466901 h 2784937"/>
              <a:gd name="connsiteX9" fmla="*/ 1089518 w 1150478"/>
              <a:gd name="connsiteY9" fmla="*/ 1588374 h 2784937"/>
              <a:gd name="connsiteX10" fmla="*/ 1150478 w 1150478"/>
              <a:gd name="connsiteY10" fmla="*/ 2647590 h 2784937"/>
              <a:gd name="connsiteX11" fmla="*/ 1092058 w 1150478"/>
              <a:gd name="connsiteY11" fmla="*/ 2784937 h 2784937"/>
              <a:gd name="connsiteX12" fmla="*/ 1029067 w 1150478"/>
              <a:gd name="connsiteY12" fmla="*/ 2691898 h 2784937"/>
              <a:gd name="connsiteX13" fmla="*/ 806530 w 1150478"/>
              <a:gd name="connsiteY13" fmla="*/ 2625272 h 2784937"/>
              <a:gd name="connsiteX14" fmla="*/ 523260 w 1150478"/>
              <a:gd name="connsiteY14" fmla="*/ 2744171 h 2784937"/>
              <a:gd name="connsiteX15" fmla="*/ 238330 w 1150478"/>
              <a:gd name="connsiteY15" fmla="*/ 2648022 h 2784937"/>
              <a:gd name="connsiteX16" fmla="*/ 118895 w 1150478"/>
              <a:gd name="connsiteY16" fmla="*/ 2687981 h 2784937"/>
              <a:gd name="connsiteX17" fmla="*/ 49530 w 1150478"/>
              <a:gd name="connsiteY17" fmla="*/ 2769062 h 2784937"/>
              <a:gd name="connsiteX18" fmla="*/ 0 w 1150478"/>
              <a:gd name="connsiteY18" fmla="*/ 2651400 h 2784937"/>
              <a:gd name="connsiteX19" fmla="*/ 49530 w 1150478"/>
              <a:gd name="connsiteY19" fmla="*/ 1588374 h 2784937"/>
              <a:gd name="connsiteX20" fmla="*/ 49530 w 1150478"/>
              <a:gd name="connsiteY20" fmla="*/ 1466901 h 2784937"/>
              <a:gd name="connsiteX21" fmla="*/ 49530 w 1150478"/>
              <a:gd name="connsiteY21" fmla="*/ 1408733 h 2784937"/>
              <a:gd name="connsiteX22" fmla="*/ 49530 w 1150478"/>
              <a:gd name="connsiteY22" fmla="*/ 1230015 h 2784937"/>
              <a:gd name="connsiteX23" fmla="*/ 49530 w 1150478"/>
              <a:gd name="connsiteY23" fmla="*/ 1194245 h 2784937"/>
              <a:gd name="connsiteX24" fmla="*/ 49530 w 1150478"/>
              <a:gd name="connsiteY24" fmla="*/ 886048 h 2784937"/>
              <a:gd name="connsiteX25" fmla="*/ 49530 w 1150478"/>
              <a:gd name="connsiteY25" fmla="*/ 49327 h 2784937"/>
              <a:gd name="connsiteX26" fmla="*/ 49530 w 1150478"/>
              <a:gd name="connsiteY26" fmla="*/ 13557 h 2784937"/>
              <a:gd name="connsiteX27" fmla="*/ 49530 w 1150478"/>
              <a:gd name="connsiteY27" fmla="*/ 0 h 2784937"/>
              <a:gd name="connsiteX0" fmla="*/ 49530 w 1150478"/>
              <a:gd name="connsiteY0" fmla="*/ 0 h 2784937"/>
              <a:gd name="connsiteX1" fmla="*/ 1089518 w 1150478"/>
              <a:gd name="connsiteY1" fmla="*/ 0 h 2784937"/>
              <a:gd name="connsiteX2" fmla="*/ 1089518 w 1150478"/>
              <a:gd name="connsiteY2" fmla="*/ 13557 h 2784937"/>
              <a:gd name="connsiteX3" fmla="*/ 1089518 w 1150478"/>
              <a:gd name="connsiteY3" fmla="*/ 49327 h 2784937"/>
              <a:gd name="connsiteX4" fmla="*/ 1089518 w 1150478"/>
              <a:gd name="connsiteY4" fmla="*/ 886048 h 2784937"/>
              <a:gd name="connsiteX5" fmla="*/ 1089518 w 1150478"/>
              <a:gd name="connsiteY5" fmla="*/ 1194245 h 2784937"/>
              <a:gd name="connsiteX6" fmla="*/ 1089518 w 1150478"/>
              <a:gd name="connsiteY6" fmla="*/ 1230015 h 2784937"/>
              <a:gd name="connsiteX7" fmla="*/ 1089518 w 1150478"/>
              <a:gd name="connsiteY7" fmla="*/ 1408733 h 2784937"/>
              <a:gd name="connsiteX8" fmla="*/ 1089518 w 1150478"/>
              <a:gd name="connsiteY8" fmla="*/ 1466901 h 2784937"/>
              <a:gd name="connsiteX9" fmla="*/ 1089518 w 1150478"/>
              <a:gd name="connsiteY9" fmla="*/ 1588374 h 2784937"/>
              <a:gd name="connsiteX10" fmla="*/ 1150478 w 1150478"/>
              <a:gd name="connsiteY10" fmla="*/ 2647590 h 2784937"/>
              <a:gd name="connsiteX11" fmla="*/ 1092058 w 1150478"/>
              <a:gd name="connsiteY11" fmla="*/ 2784937 h 2784937"/>
              <a:gd name="connsiteX12" fmla="*/ 1029067 w 1150478"/>
              <a:gd name="connsiteY12" fmla="*/ 2691898 h 2784937"/>
              <a:gd name="connsiteX13" fmla="*/ 806530 w 1150478"/>
              <a:gd name="connsiteY13" fmla="*/ 2625272 h 2784937"/>
              <a:gd name="connsiteX14" fmla="*/ 523260 w 1150478"/>
              <a:gd name="connsiteY14" fmla="*/ 2744171 h 2784937"/>
              <a:gd name="connsiteX15" fmla="*/ 238330 w 1150478"/>
              <a:gd name="connsiteY15" fmla="*/ 2648022 h 2784937"/>
              <a:gd name="connsiteX16" fmla="*/ 118895 w 1150478"/>
              <a:gd name="connsiteY16" fmla="*/ 2687981 h 2784937"/>
              <a:gd name="connsiteX17" fmla="*/ 49530 w 1150478"/>
              <a:gd name="connsiteY17" fmla="*/ 2769062 h 2784937"/>
              <a:gd name="connsiteX18" fmla="*/ 0 w 1150478"/>
              <a:gd name="connsiteY18" fmla="*/ 2651400 h 2784937"/>
              <a:gd name="connsiteX19" fmla="*/ 49530 w 1150478"/>
              <a:gd name="connsiteY19" fmla="*/ 1588374 h 2784937"/>
              <a:gd name="connsiteX20" fmla="*/ 49530 w 1150478"/>
              <a:gd name="connsiteY20" fmla="*/ 1466901 h 2784937"/>
              <a:gd name="connsiteX21" fmla="*/ 49530 w 1150478"/>
              <a:gd name="connsiteY21" fmla="*/ 1408733 h 2784937"/>
              <a:gd name="connsiteX22" fmla="*/ 49530 w 1150478"/>
              <a:gd name="connsiteY22" fmla="*/ 1230015 h 2784937"/>
              <a:gd name="connsiteX23" fmla="*/ 49530 w 1150478"/>
              <a:gd name="connsiteY23" fmla="*/ 1194245 h 2784937"/>
              <a:gd name="connsiteX24" fmla="*/ 49530 w 1150478"/>
              <a:gd name="connsiteY24" fmla="*/ 886048 h 2784937"/>
              <a:gd name="connsiteX25" fmla="*/ 49530 w 1150478"/>
              <a:gd name="connsiteY25" fmla="*/ 49327 h 2784937"/>
              <a:gd name="connsiteX26" fmla="*/ 49530 w 1150478"/>
              <a:gd name="connsiteY26" fmla="*/ 13557 h 2784937"/>
              <a:gd name="connsiteX27" fmla="*/ 49530 w 1150478"/>
              <a:gd name="connsiteY27" fmla="*/ 0 h 2784937"/>
              <a:gd name="connsiteX0" fmla="*/ 49530 w 1150478"/>
              <a:gd name="connsiteY0" fmla="*/ 0 h 2784937"/>
              <a:gd name="connsiteX1" fmla="*/ 1089518 w 1150478"/>
              <a:gd name="connsiteY1" fmla="*/ 0 h 2784937"/>
              <a:gd name="connsiteX2" fmla="*/ 1089518 w 1150478"/>
              <a:gd name="connsiteY2" fmla="*/ 13557 h 2784937"/>
              <a:gd name="connsiteX3" fmla="*/ 1089518 w 1150478"/>
              <a:gd name="connsiteY3" fmla="*/ 49327 h 2784937"/>
              <a:gd name="connsiteX4" fmla="*/ 1089518 w 1150478"/>
              <a:gd name="connsiteY4" fmla="*/ 886048 h 2784937"/>
              <a:gd name="connsiteX5" fmla="*/ 1089518 w 1150478"/>
              <a:gd name="connsiteY5" fmla="*/ 1194245 h 2784937"/>
              <a:gd name="connsiteX6" fmla="*/ 1089518 w 1150478"/>
              <a:gd name="connsiteY6" fmla="*/ 1230015 h 2784937"/>
              <a:gd name="connsiteX7" fmla="*/ 1089518 w 1150478"/>
              <a:gd name="connsiteY7" fmla="*/ 1408733 h 2784937"/>
              <a:gd name="connsiteX8" fmla="*/ 1089518 w 1150478"/>
              <a:gd name="connsiteY8" fmla="*/ 1466901 h 2784937"/>
              <a:gd name="connsiteX9" fmla="*/ 1089518 w 1150478"/>
              <a:gd name="connsiteY9" fmla="*/ 1588374 h 2784937"/>
              <a:gd name="connsiteX10" fmla="*/ 1150478 w 1150478"/>
              <a:gd name="connsiteY10" fmla="*/ 2647590 h 2784937"/>
              <a:gd name="connsiteX11" fmla="*/ 1092058 w 1150478"/>
              <a:gd name="connsiteY11" fmla="*/ 2784937 h 2784937"/>
              <a:gd name="connsiteX12" fmla="*/ 1029067 w 1150478"/>
              <a:gd name="connsiteY12" fmla="*/ 2691898 h 2784937"/>
              <a:gd name="connsiteX13" fmla="*/ 806530 w 1150478"/>
              <a:gd name="connsiteY13" fmla="*/ 2625272 h 2784937"/>
              <a:gd name="connsiteX14" fmla="*/ 530880 w 1150478"/>
              <a:gd name="connsiteY14" fmla="*/ 2738456 h 2784937"/>
              <a:gd name="connsiteX15" fmla="*/ 238330 w 1150478"/>
              <a:gd name="connsiteY15" fmla="*/ 2648022 h 2784937"/>
              <a:gd name="connsiteX16" fmla="*/ 118895 w 1150478"/>
              <a:gd name="connsiteY16" fmla="*/ 2687981 h 2784937"/>
              <a:gd name="connsiteX17" fmla="*/ 49530 w 1150478"/>
              <a:gd name="connsiteY17" fmla="*/ 2769062 h 2784937"/>
              <a:gd name="connsiteX18" fmla="*/ 0 w 1150478"/>
              <a:gd name="connsiteY18" fmla="*/ 2651400 h 2784937"/>
              <a:gd name="connsiteX19" fmla="*/ 49530 w 1150478"/>
              <a:gd name="connsiteY19" fmla="*/ 1588374 h 2784937"/>
              <a:gd name="connsiteX20" fmla="*/ 49530 w 1150478"/>
              <a:gd name="connsiteY20" fmla="*/ 1466901 h 2784937"/>
              <a:gd name="connsiteX21" fmla="*/ 49530 w 1150478"/>
              <a:gd name="connsiteY21" fmla="*/ 1408733 h 2784937"/>
              <a:gd name="connsiteX22" fmla="*/ 49530 w 1150478"/>
              <a:gd name="connsiteY22" fmla="*/ 1230015 h 2784937"/>
              <a:gd name="connsiteX23" fmla="*/ 49530 w 1150478"/>
              <a:gd name="connsiteY23" fmla="*/ 1194245 h 2784937"/>
              <a:gd name="connsiteX24" fmla="*/ 49530 w 1150478"/>
              <a:gd name="connsiteY24" fmla="*/ 886048 h 2784937"/>
              <a:gd name="connsiteX25" fmla="*/ 49530 w 1150478"/>
              <a:gd name="connsiteY25" fmla="*/ 49327 h 2784937"/>
              <a:gd name="connsiteX26" fmla="*/ 49530 w 1150478"/>
              <a:gd name="connsiteY26" fmla="*/ 13557 h 2784937"/>
              <a:gd name="connsiteX27" fmla="*/ 49530 w 1150478"/>
              <a:gd name="connsiteY27" fmla="*/ 0 h 2784937"/>
              <a:gd name="connsiteX0" fmla="*/ 49530 w 1150478"/>
              <a:gd name="connsiteY0" fmla="*/ 0 h 2784937"/>
              <a:gd name="connsiteX1" fmla="*/ 1089518 w 1150478"/>
              <a:gd name="connsiteY1" fmla="*/ 0 h 2784937"/>
              <a:gd name="connsiteX2" fmla="*/ 1089518 w 1150478"/>
              <a:gd name="connsiteY2" fmla="*/ 13557 h 2784937"/>
              <a:gd name="connsiteX3" fmla="*/ 1089518 w 1150478"/>
              <a:gd name="connsiteY3" fmla="*/ 49327 h 2784937"/>
              <a:gd name="connsiteX4" fmla="*/ 1089518 w 1150478"/>
              <a:gd name="connsiteY4" fmla="*/ 886048 h 2784937"/>
              <a:gd name="connsiteX5" fmla="*/ 1089518 w 1150478"/>
              <a:gd name="connsiteY5" fmla="*/ 1194245 h 2784937"/>
              <a:gd name="connsiteX6" fmla="*/ 1089518 w 1150478"/>
              <a:gd name="connsiteY6" fmla="*/ 1230015 h 2784937"/>
              <a:gd name="connsiteX7" fmla="*/ 1089518 w 1150478"/>
              <a:gd name="connsiteY7" fmla="*/ 1408733 h 2784937"/>
              <a:gd name="connsiteX8" fmla="*/ 1089518 w 1150478"/>
              <a:gd name="connsiteY8" fmla="*/ 1466901 h 2784937"/>
              <a:gd name="connsiteX9" fmla="*/ 1089518 w 1150478"/>
              <a:gd name="connsiteY9" fmla="*/ 1588374 h 2784937"/>
              <a:gd name="connsiteX10" fmla="*/ 1150478 w 1150478"/>
              <a:gd name="connsiteY10" fmla="*/ 2647590 h 2784937"/>
              <a:gd name="connsiteX11" fmla="*/ 1092058 w 1150478"/>
              <a:gd name="connsiteY11" fmla="*/ 2784937 h 2784937"/>
              <a:gd name="connsiteX12" fmla="*/ 1029067 w 1150478"/>
              <a:gd name="connsiteY12" fmla="*/ 2691898 h 2784937"/>
              <a:gd name="connsiteX13" fmla="*/ 806530 w 1150478"/>
              <a:gd name="connsiteY13" fmla="*/ 2625272 h 2784937"/>
              <a:gd name="connsiteX14" fmla="*/ 530880 w 1150478"/>
              <a:gd name="connsiteY14" fmla="*/ 2738456 h 2784937"/>
              <a:gd name="connsiteX15" fmla="*/ 238330 w 1150478"/>
              <a:gd name="connsiteY15" fmla="*/ 2648022 h 2784937"/>
              <a:gd name="connsiteX16" fmla="*/ 118895 w 1150478"/>
              <a:gd name="connsiteY16" fmla="*/ 2687981 h 2784937"/>
              <a:gd name="connsiteX17" fmla="*/ 49530 w 1150478"/>
              <a:gd name="connsiteY17" fmla="*/ 2769062 h 2784937"/>
              <a:gd name="connsiteX18" fmla="*/ 0 w 1150478"/>
              <a:gd name="connsiteY18" fmla="*/ 2651400 h 2784937"/>
              <a:gd name="connsiteX19" fmla="*/ 49530 w 1150478"/>
              <a:gd name="connsiteY19" fmla="*/ 1588374 h 2784937"/>
              <a:gd name="connsiteX20" fmla="*/ 49530 w 1150478"/>
              <a:gd name="connsiteY20" fmla="*/ 1466901 h 2784937"/>
              <a:gd name="connsiteX21" fmla="*/ 49530 w 1150478"/>
              <a:gd name="connsiteY21" fmla="*/ 1408733 h 2784937"/>
              <a:gd name="connsiteX22" fmla="*/ 49530 w 1150478"/>
              <a:gd name="connsiteY22" fmla="*/ 1230015 h 2784937"/>
              <a:gd name="connsiteX23" fmla="*/ 49530 w 1150478"/>
              <a:gd name="connsiteY23" fmla="*/ 1194245 h 2784937"/>
              <a:gd name="connsiteX24" fmla="*/ 49530 w 1150478"/>
              <a:gd name="connsiteY24" fmla="*/ 886048 h 2784937"/>
              <a:gd name="connsiteX25" fmla="*/ 49530 w 1150478"/>
              <a:gd name="connsiteY25" fmla="*/ 49327 h 2784937"/>
              <a:gd name="connsiteX26" fmla="*/ 49530 w 1150478"/>
              <a:gd name="connsiteY26" fmla="*/ 13557 h 2784937"/>
              <a:gd name="connsiteX27" fmla="*/ 49530 w 1150478"/>
              <a:gd name="connsiteY27" fmla="*/ 0 h 2784937"/>
              <a:gd name="connsiteX0" fmla="*/ 49530 w 1150478"/>
              <a:gd name="connsiteY0" fmla="*/ 0 h 2784937"/>
              <a:gd name="connsiteX1" fmla="*/ 1089518 w 1150478"/>
              <a:gd name="connsiteY1" fmla="*/ 0 h 2784937"/>
              <a:gd name="connsiteX2" fmla="*/ 1089518 w 1150478"/>
              <a:gd name="connsiteY2" fmla="*/ 13557 h 2784937"/>
              <a:gd name="connsiteX3" fmla="*/ 1089518 w 1150478"/>
              <a:gd name="connsiteY3" fmla="*/ 49327 h 2784937"/>
              <a:gd name="connsiteX4" fmla="*/ 1089518 w 1150478"/>
              <a:gd name="connsiteY4" fmla="*/ 886048 h 2784937"/>
              <a:gd name="connsiteX5" fmla="*/ 1089518 w 1150478"/>
              <a:gd name="connsiteY5" fmla="*/ 1194245 h 2784937"/>
              <a:gd name="connsiteX6" fmla="*/ 1089518 w 1150478"/>
              <a:gd name="connsiteY6" fmla="*/ 1230015 h 2784937"/>
              <a:gd name="connsiteX7" fmla="*/ 1089518 w 1150478"/>
              <a:gd name="connsiteY7" fmla="*/ 1408733 h 2784937"/>
              <a:gd name="connsiteX8" fmla="*/ 1089518 w 1150478"/>
              <a:gd name="connsiteY8" fmla="*/ 1466901 h 2784937"/>
              <a:gd name="connsiteX9" fmla="*/ 1089518 w 1150478"/>
              <a:gd name="connsiteY9" fmla="*/ 1588374 h 2784937"/>
              <a:gd name="connsiteX10" fmla="*/ 1150478 w 1150478"/>
              <a:gd name="connsiteY10" fmla="*/ 2647590 h 2784937"/>
              <a:gd name="connsiteX11" fmla="*/ 1092058 w 1150478"/>
              <a:gd name="connsiteY11" fmla="*/ 2784937 h 2784937"/>
              <a:gd name="connsiteX12" fmla="*/ 1029067 w 1150478"/>
              <a:gd name="connsiteY12" fmla="*/ 2691898 h 2784937"/>
              <a:gd name="connsiteX13" fmla="*/ 806530 w 1150478"/>
              <a:gd name="connsiteY13" fmla="*/ 2625272 h 2784937"/>
              <a:gd name="connsiteX14" fmla="*/ 530880 w 1150478"/>
              <a:gd name="connsiteY14" fmla="*/ 2738456 h 2784937"/>
              <a:gd name="connsiteX15" fmla="*/ 238330 w 1150478"/>
              <a:gd name="connsiteY15" fmla="*/ 2648022 h 2784937"/>
              <a:gd name="connsiteX16" fmla="*/ 118895 w 1150478"/>
              <a:gd name="connsiteY16" fmla="*/ 2687981 h 2784937"/>
              <a:gd name="connsiteX17" fmla="*/ 49530 w 1150478"/>
              <a:gd name="connsiteY17" fmla="*/ 2769062 h 2784937"/>
              <a:gd name="connsiteX18" fmla="*/ 0 w 1150478"/>
              <a:gd name="connsiteY18" fmla="*/ 2651400 h 2784937"/>
              <a:gd name="connsiteX19" fmla="*/ 49530 w 1150478"/>
              <a:gd name="connsiteY19" fmla="*/ 1588374 h 2784937"/>
              <a:gd name="connsiteX20" fmla="*/ 49530 w 1150478"/>
              <a:gd name="connsiteY20" fmla="*/ 1466901 h 2784937"/>
              <a:gd name="connsiteX21" fmla="*/ 49530 w 1150478"/>
              <a:gd name="connsiteY21" fmla="*/ 1408733 h 2784937"/>
              <a:gd name="connsiteX22" fmla="*/ 49530 w 1150478"/>
              <a:gd name="connsiteY22" fmla="*/ 1230015 h 2784937"/>
              <a:gd name="connsiteX23" fmla="*/ 49530 w 1150478"/>
              <a:gd name="connsiteY23" fmla="*/ 1194245 h 2784937"/>
              <a:gd name="connsiteX24" fmla="*/ 49530 w 1150478"/>
              <a:gd name="connsiteY24" fmla="*/ 886048 h 2784937"/>
              <a:gd name="connsiteX25" fmla="*/ 49530 w 1150478"/>
              <a:gd name="connsiteY25" fmla="*/ 49327 h 2784937"/>
              <a:gd name="connsiteX26" fmla="*/ 49530 w 1150478"/>
              <a:gd name="connsiteY26" fmla="*/ 13557 h 2784937"/>
              <a:gd name="connsiteX27" fmla="*/ 49530 w 1150478"/>
              <a:gd name="connsiteY27" fmla="*/ 0 h 2784937"/>
              <a:gd name="connsiteX0" fmla="*/ 49530 w 1150478"/>
              <a:gd name="connsiteY0" fmla="*/ 0 h 2784937"/>
              <a:gd name="connsiteX1" fmla="*/ 1089518 w 1150478"/>
              <a:gd name="connsiteY1" fmla="*/ 0 h 2784937"/>
              <a:gd name="connsiteX2" fmla="*/ 1089518 w 1150478"/>
              <a:gd name="connsiteY2" fmla="*/ 13557 h 2784937"/>
              <a:gd name="connsiteX3" fmla="*/ 1089518 w 1150478"/>
              <a:gd name="connsiteY3" fmla="*/ 49327 h 2784937"/>
              <a:gd name="connsiteX4" fmla="*/ 1089518 w 1150478"/>
              <a:gd name="connsiteY4" fmla="*/ 886048 h 2784937"/>
              <a:gd name="connsiteX5" fmla="*/ 1089518 w 1150478"/>
              <a:gd name="connsiteY5" fmla="*/ 1194245 h 2784937"/>
              <a:gd name="connsiteX6" fmla="*/ 1089518 w 1150478"/>
              <a:gd name="connsiteY6" fmla="*/ 1230015 h 2784937"/>
              <a:gd name="connsiteX7" fmla="*/ 1089518 w 1150478"/>
              <a:gd name="connsiteY7" fmla="*/ 1408733 h 2784937"/>
              <a:gd name="connsiteX8" fmla="*/ 1089518 w 1150478"/>
              <a:gd name="connsiteY8" fmla="*/ 1466901 h 2784937"/>
              <a:gd name="connsiteX9" fmla="*/ 1089518 w 1150478"/>
              <a:gd name="connsiteY9" fmla="*/ 1588374 h 2784937"/>
              <a:gd name="connsiteX10" fmla="*/ 1150478 w 1150478"/>
              <a:gd name="connsiteY10" fmla="*/ 2647590 h 2784937"/>
              <a:gd name="connsiteX11" fmla="*/ 1092058 w 1150478"/>
              <a:gd name="connsiteY11" fmla="*/ 2784937 h 2784937"/>
              <a:gd name="connsiteX12" fmla="*/ 1029067 w 1150478"/>
              <a:gd name="connsiteY12" fmla="*/ 2691898 h 2784937"/>
              <a:gd name="connsiteX13" fmla="*/ 806530 w 1150478"/>
              <a:gd name="connsiteY13" fmla="*/ 2625272 h 2784937"/>
              <a:gd name="connsiteX14" fmla="*/ 530880 w 1150478"/>
              <a:gd name="connsiteY14" fmla="*/ 2738456 h 2784937"/>
              <a:gd name="connsiteX15" fmla="*/ 238330 w 1150478"/>
              <a:gd name="connsiteY15" fmla="*/ 2648022 h 2784937"/>
              <a:gd name="connsiteX16" fmla="*/ 118895 w 1150478"/>
              <a:gd name="connsiteY16" fmla="*/ 2687981 h 2784937"/>
              <a:gd name="connsiteX17" fmla="*/ 49530 w 1150478"/>
              <a:gd name="connsiteY17" fmla="*/ 2769062 h 2784937"/>
              <a:gd name="connsiteX18" fmla="*/ 0 w 1150478"/>
              <a:gd name="connsiteY18" fmla="*/ 2651400 h 2784937"/>
              <a:gd name="connsiteX19" fmla="*/ 49530 w 1150478"/>
              <a:gd name="connsiteY19" fmla="*/ 1588374 h 2784937"/>
              <a:gd name="connsiteX20" fmla="*/ 49530 w 1150478"/>
              <a:gd name="connsiteY20" fmla="*/ 1466901 h 2784937"/>
              <a:gd name="connsiteX21" fmla="*/ 49530 w 1150478"/>
              <a:gd name="connsiteY21" fmla="*/ 1408733 h 2784937"/>
              <a:gd name="connsiteX22" fmla="*/ 49530 w 1150478"/>
              <a:gd name="connsiteY22" fmla="*/ 1230015 h 2784937"/>
              <a:gd name="connsiteX23" fmla="*/ 49530 w 1150478"/>
              <a:gd name="connsiteY23" fmla="*/ 1194245 h 2784937"/>
              <a:gd name="connsiteX24" fmla="*/ 49530 w 1150478"/>
              <a:gd name="connsiteY24" fmla="*/ 886048 h 2784937"/>
              <a:gd name="connsiteX25" fmla="*/ 49530 w 1150478"/>
              <a:gd name="connsiteY25" fmla="*/ 49327 h 2784937"/>
              <a:gd name="connsiteX26" fmla="*/ 49530 w 1150478"/>
              <a:gd name="connsiteY26" fmla="*/ 13557 h 2784937"/>
              <a:gd name="connsiteX27" fmla="*/ 49530 w 1150478"/>
              <a:gd name="connsiteY27" fmla="*/ 0 h 2784937"/>
              <a:gd name="connsiteX0" fmla="*/ 49530 w 1150478"/>
              <a:gd name="connsiteY0" fmla="*/ 0 h 2796367"/>
              <a:gd name="connsiteX1" fmla="*/ 1089518 w 1150478"/>
              <a:gd name="connsiteY1" fmla="*/ 0 h 2796367"/>
              <a:gd name="connsiteX2" fmla="*/ 1089518 w 1150478"/>
              <a:gd name="connsiteY2" fmla="*/ 13557 h 2796367"/>
              <a:gd name="connsiteX3" fmla="*/ 1089518 w 1150478"/>
              <a:gd name="connsiteY3" fmla="*/ 49327 h 2796367"/>
              <a:gd name="connsiteX4" fmla="*/ 1089518 w 1150478"/>
              <a:gd name="connsiteY4" fmla="*/ 886048 h 2796367"/>
              <a:gd name="connsiteX5" fmla="*/ 1089518 w 1150478"/>
              <a:gd name="connsiteY5" fmla="*/ 1194245 h 2796367"/>
              <a:gd name="connsiteX6" fmla="*/ 1089518 w 1150478"/>
              <a:gd name="connsiteY6" fmla="*/ 1230015 h 2796367"/>
              <a:gd name="connsiteX7" fmla="*/ 1089518 w 1150478"/>
              <a:gd name="connsiteY7" fmla="*/ 1408733 h 2796367"/>
              <a:gd name="connsiteX8" fmla="*/ 1089518 w 1150478"/>
              <a:gd name="connsiteY8" fmla="*/ 1466901 h 2796367"/>
              <a:gd name="connsiteX9" fmla="*/ 1089518 w 1150478"/>
              <a:gd name="connsiteY9" fmla="*/ 1588374 h 2796367"/>
              <a:gd name="connsiteX10" fmla="*/ 1150478 w 1150478"/>
              <a:gd name="connsiteY10" fmla="*/ 2647590 h 2796367"/>
              <a:gd name="connsiteX11" fmla="*/ 1092058 w 1150478"/>
              <a:gd name="connsiteY11" fmla="*/ 2796367 h 2796367"/>
              <a:gd name="connsiteX12" fmla="*/ 1029067 w 1150478"/>
              <a:gd name="connsiteY12" fmla="*/ 2691898 h 2796367"/>
              <a:gd name="connsiteX13" fmla="*/ 806530 w 1150478"/>
              <a:gd name="connsiteY13" fmla="*/ 2625272 h 2796367"/>
              <a:gd name="connsiteX14" fmla="*/ 530880 w 1150478"/>
              <a:gd name="connsiteY14" fmla="*/ 2738456 h 2796367"/>
              <a:gd name="connsiteX15" fmla="*/ 238330 w 1150478"/>
              <a:gd name="connsiteY15" fmla="*/ 2648022 h 2796367"/>
              <a:gd name="connsiteX16" fmla="*/ 118895 w 1150478"/>
              <a:gd name="connsiteY16" fmla="*/ 2687981 h 2796367"/>
              <a:gd name="connsiteX17" fmla="*/ 49530 w 1150478"/>
              <a:gd name="connsiteY17" fmla="*/ 2769062 h 2796367"/>
              <a:gd name="connsiteX18" fmla="*/ 0 w 1150478"/>
              <a:gd name="connsiteY18" fmla="*/ 2651400 h 2796367"/>
              <a:gd name="connsiteX19" fmla="*/ 49530 w 1150478"/>
              <a:gd name="connsiteY19" fmla="*/ 1588374 h 2796367"/>
              <a:gd name="connsiteX20" fmla="*/ 49530 w 1150478"/>
              <a:gd name="connsiteY20" fmla="*/ 1466901 h 2796367"/>
              <a:gd name="connsiteX21" fmla="*/ 49530 w 1150478"/>
              <a:gd name="connsiteY21" fmla="*/ 1408733 h 2796367"/>
              <a:gd name="connsiteX22" fmla="*/ 49530 w 1150478"/>
              <a:gd name="connsiteY22" fmla="*/ 1230015 h 2796367"/>
              <a:gd name="connsiteX23" fmla="*/ 49530 w 1150478"/>
              <a:gd name="connsiteY23" fmla="*/ 1194245 h 2796367"/>
              <a:gd name="connsiteX24" fmla="*/ 49530 w 1150478"/>
              <a:gd name="connsiteY24" fmla="*/ 886048 h 2796367"/>
              <a:gd name="connsiteX25" fmla="*/ 49530 w 1150478"/>
              <a:gd name="connsiteY25" fmla="*/ 49327 h 2796367"/>
              <a:gd name="connsiteX26" fmla="*/ 49530 w 1150478"/>
              <a:gd name="connsiteY26" fmla="*/ 13557 h 2796367"/>
              <a:gd name="connsiteX27" fmla="*/ 49530 w 1150478"/>
              <a:gd name="connsiteY27" fmla="*/ 0 h 2796367"/>
              <a:gd name="connsiteX0" fmla="*/ 49530 w 1150478"/>
              <a:gd name="connsiteY0" fmla="*/ 0 h 2796367"/>
              <a:gd name="connsiteX1" fmla="*/ 1089518 w 1150478"/>
              <a:gd name="connsiteY1" fmla="*/ 0 h 2796367"/>
              <a:gd name="connsiteX2" fmla="*/ 1089518 w 1150478"/>
              <a:gd name="connsiteY2" fmla="*/ 13557 h 2796367"/>
              <a:gd name="connsiteX3" fmla="*/ 1089518 w 1150478"/>
              <a:gd name="connsiteY3" fmla="*/ 49327 h 2796367"/>
              <a:gd name="connsiteX4" fmla="*/ 1089518 w 1150478"/>
              <a:gd name="connsiteY4" fmla="*/ 886048 h 2796367"/>
              <a:gd name="connsiteX5" fmla="*/ 1089518 w 1150478"/>
              <a:gd name="connsiteY5" fmla="*/ 1194245 h 2796367"/>
              <a:gd name="connsiteX6" fmla="*/ 1089518 w 1150478"/>
              <a:gd name="connsiteY6" fmla="*/ 1230015 h 2796367"/>
              <a:gd name="connsiteX7" fmla="*/ 1089518 w 1150478"/>
              <a:gd name="connsiteY7" fmla="*/ 1408733 h 2796367"/>
              <a:gd name="connsiteX8" fmla="*/ 1089518 w 1150478"/>
              <a:gd name="connsiteY8" fmla="*/ 1466901 h 2796367"/>
              <a:gd name="connsiteX9" fmla="*/ 1089518 w 1150478"/>
              <a:gd name="connsiteY9" fmla="*/ 1588374 h 2796367"/>
              <a:gd name="connsiteX10" fmla="*/ 1150478 w 1150478"/>
              <a:gd name="connsiteY10" fmla="*/ 2647590 h 2796367"/>
              <a:gd name="connsiteX11" fmla="*/ 1092058 w 1150478"/>
              <a:gd name="connsiteY11" fmla="*/ 2796367 h 2796367"/>
              <a:gd name="connsiteX12" fmla="*/ 1029067 w 1150478"/>
              <a:gd name="connsiteY12" fmla="*/ 2691898 h 2796367"/>
              <a:gd name="connsiteX13" fmla="*/ 806530 w 1150478"/>
              <a:gd name="connsiteY13" fmla="*/ 2625272 h 2796367"/>
              <a:gd name="connsiteX14" fmla="*/ 530880 w 1150478"/>
              <a:gd name="connsiteY14" fmla="*/ 2738456 h 2796367"/>
              <a:gd name="connsiteX15" fmla="*/ 238330 w 1150478"/>
              <a:gd name="connsiteY15" fmla="*/ 2648022 h 2796367"/>
              <a:gd name="connsiteX16" fmla="*/ 118895 w 1150478"/>
              <a:gd name="connsiteY16" fmla="*/ 2687981 h 2796367"/>
              <a:gd name="connsiteX17" fmla="*/ 49530 w 1150478"/>
              <a:gd name="connsiteY17" fmla="*/ 2769062 h 2796367"/>
              <a:gd name="connsiteX18" fmla="*/ 0 w 1150478"/>
              <a:gd name="connsiteY18" fmla="*/ 2651400 h 2796367"/>
              <a:gd name="connsiteX19" fmla="*/ 49530 w 1150478"/>
              <a:gd name="connsiteY19" fmla="*/ 1588374 h 2796367"/>
              <a:gd name="connsiteX20" fmla="*/ 49530 w 1150478"/>
              <a:gd name="connsiteY20" fmla="*/ 1466901 h 2796367"/>
              <a:gd name="connsiteX21" fmla="*/ 49530 w 1150478"/>
              <a:gd name="connsiteY21" fmla="*/ 1408733 h 2796367"/>
              <a:gd name="connsiteX22" fmla="*/ 49530 w 1150478"/>
              <a:gd name="connsiteY22" fmla="*/ 1230015 h 2796367"/>
              <a:gd name="connsiteX23" fmla="*/ 49530 w 1150478"/>
              <a:gd name="connsiteY23" fmla="*/ 1194245 h 2796367"/>
              <a:gd name="connsiteX24" fmla="*/ 49530 w 1150478"/>
              <a:gd name="connsiteY24" fmla="*/ 886048 h 2796367"/>
              <a:gd name="connsiteX25" fmla="*/ 49530 w 1150478"/>
              <a:gd name="connsiteY25" fmla="*/ 49327 h 2796367"/>
              <a:gd name="connsiteX26" fmla="*/ 49530 w 1150478"/>
              <a:gd name="connsiteY26" fmla="*/ 13557 h 2796367"/>
              <a:gd name="connsiteX27" fmla="*/ 49530 w 1150478"/>
              <a:gd name="connsiteY27" fmla="*/ 0 h 2796367"/>
              <a:gd name="connsiteX0" fmla="*/ 49530 w 1150478"/>
              <a:gd name="connsiteY0" fmla="*/ 0 h 2796367"/>
              <a:gd name="connsiteX1" fmla="*/ 1089518 w 1150478"/>
              <a:gd name="connsiteY1" fmla="*/ 0 h 2796367"/>
              <a:gd name="connsiteX2" fmla="*/ 1089518 w 1150478"/>
              <a:gd name="connsiteY2" fmla="*/ 13557 h 2796367"/>
              <a:gd name="connsiteX3" fmla="*/ 1089518 w 1150478"/>
              <a:gd name="connsiteY3" fmla="*/ 49327 h 2796367"/>
              <a:gd name="connsiteX4" fmla="*/ 1089518 w 1150478"/>
              <a:gd name="connsiteY4" fmla="*/ 886048 h 2796367"/>
              <a:gd name="connsiteX5" fmla="*/ 1089518 w 1150478"/>
              <a:gd name="connsiteY5" fmla="*/ 1194245 h 2796367"/>
              <a:gd name="connsiteX6" fmla="*/ 1089518 w 1150478"/>
              <a:gd name="connsiteY6" fmla="*/ 1230015 h 2796367"/>
              <a:gd name="connsiteX7" fmla="*/ 1089518 w 1150478"/>
              <a:gd name="connsiteY7" fmla="*/ 1408733 h 2796367"/>
              <a:gd name="connsiteX8" fmla="*/ 1089518 w 1150478"/>
              <a:gd name="connsiteY8" fmla="*/ 1466901 h 2796367"/>
              <a:gd name="connsiteX9" fmla="*/ 1089518 w 1150478"/>
              <a:gd name="connsiteY9" fmla="*/ 1588374 h 2796367"/>
              <a:gd name="connsiteX10" fmla="*/ 1150478 w 1150478"/>
              <a:gd name="connsiteY10" fmla="*/ 2647590 h 2796367"/>
              <a:gd name="connsiteX11" fmla="*/ 1092058 w 1150478"/>
              <a:gd name="connsiteY11" fmla="*/ 2796367 h 2796367"/>
              <a:gd name="connsiteX12" fmla="*/ 1029067 w 1150478"/>
              <a:gd name="connsiteY12" fmla="*/ 2691898 h 2796367"/>
              <a:gd name="connsiteX13" fmla="*/ 806530 w 1150478"/>
              <a:gd name="connsiteY13" fmla="*/ 2625272 h 2796367"/>
              <a:gd name="connsiteX14" fmla="*/ 530880 w 1150478"/>
              <a:gd name="connsiteY14" fmla="*/ 2738456 h 2796367"/>
              <a:gd name="connsiteX15" fmla="*/ 238330 w 1150478"/>
              <a:gd name="connsiteY15" fmla="*/ 2648022 h 2796367"/>
              <a:gd name="connsiteX16" fmla="*/ 118895 w 1150478"/>
              <a:gd name="connsiteY16" fmla="*/ 2687981 h 2796367"/>
              <a:gd name="connsiteX17" fmla="*/ 49530 w 1150478"/>
              <a:gd name="connsiteY17" fmla="*/ 2769062 h 2796367"/>
              <a:gd name="connsiteX18" fmla="*/ 0 w 1150478"/>
              <a:gd name="connsiteY18" fmla="*/ 2651400 h 2796367"/>
              <a:gd name="connsiteX19" fmla="*/ 49530 w 1150478"/>
              <a:gd name="connsiteY19" fmla="*/ 1588374 h 2796367"/>
              <a:gd name="connsiteX20" fmla="*/ 49530 w 1150478"/>
              <a:gd name="connsiteY20" fmla="*/ 1466901 h 2796367"/>
              <a:gd name="connsiteX21" fmla="*/ 49530 w 1150478"/>
              <a:gd name="connsiteY21" fmla="*/ 1408733 h 2796367"/>
              <a:gd name="connsiteX22" fmla="*/ 49530 w 1150478"/>
              <a:gd name="connsiteY22" fmla="*/ 1230015 h 2796367"/>
              <a:gd name="connsiteX23" fmla="*/ 49530 w 1150478"/>
              <a:gd name="connsiteY23" fmla="*/ 1194245 h 2796367"/>
              <a:gd name="connsiteX24" fmla="*/ 49530 w 1150478"/>
              <a:gd name="connsiteY24" fmla="*/ 886048 h 2796367"/>
              <a:gd name="connsiteX25" fmla="*/ 49530 w 1150478"/>
              <a:gd name="connsiteY25" fmla="*/ 49327 h 2796367"/>
              <a:gd name="connsiteX26" fmla="*/ 49530 w 1150478"/>
              <a:gd name="connsiteY26" fmla="*/ 13557 h 2796367"/>
              <a:gd name="connsiteX27" fmla="*/ 49530 w 1150478"/>
              <a:gd name="connsiteY27" fmla="*/ 0 h 279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50478" h="2796367">
                <a:moveTo>
                  <a:pt x="49530" y="0"/>
                </a:moveTo>
                <a:lnTo>
                  <a:pt x="1089518" y="0"/>
                </a:lnTo>
                <a:lnTo>
                  <a:pt x="1089518" y="13557"/>
                </a:lnTo>
                <a:lnTo>
                  <a:pt x="1089518" y="49327"/>
                </a:lnTo>
                <a:lnTo>
                  <a:pt x="1089518" y="886048"/>
                </a:lnTo>
                <a:lnTo>
                  <a:pt x="1089518" y="1194245"/>
                </a:lnTo>
                <a:lnTo>
                  <a:pt x="1089518" y="1230015"/>
                </a:lnTo>
                <a:lnTo>
                  <a:pt x="1089518" y="1408733"/>
                </a:lnTo>
                <a:lnTo>
                  <a:pt x="1089518" y="1466901"/>
                </a:lnTo>
                <a:lnTo>
                  <a:pt x="1089518" y="1588374"/>
                </a:lnTo>
                <a:lnTo>
                  <a:pt x="1150478" y="2647590"/>
                </a:lnTo>
                <a:lnTo>
                  <a:pt x="1092058" y="2796367"/>
                </a:lnTo>
                <a:cubicBezTo>
                  <a:pt x="1076776" y="2725349"/>
                  <a:pt x="1061494" y="2724816"/>
                  <a:pt x="1029067" y="2691898"/>
                </a:cubicBezTo>
                <a:cubicBezTo>
                  <a:pt x="965515" y="2645091"/>
                  <a:pt x="889561" y="2617512"/>
                  <a:pt x="806530" y="2625272"/>
                </a:cubicBezTo>
                <a:cubicBezTo>
                  <a:pt x="723499" y="2633032"/>
                  <a:pt x="635230" y="2692797"/>
                  <a:pt x="530880" y="2738456"/>
                </a:cubicBezTo>
                <a:cubicBezTo>
                  <a:pt x="427790" y="2679542"/>
                  <a:pt x="307379" y="2644529"/>
                  <a:pt x="238330" y="2648022"/>
                </a:cubicBezTo>
                <a:cubicBezTo>
                  <a:pt x="180113" y="2660317"/>
                  <a:pt x="187702" y="2657243"/>
                  <a:pt x="118895" y="2687981"/>
                </a:cubicBezTo>
                <a:cubicBezTo>
                  <a:pt x="58704" y="2725398"/>
                  <a:pt x="61221" y="2728700"/>
                  <a:pt x="49530" y="2769062"/>
                </a:cubicBezTo>
                <a:lnTo>
                  <a:pt x="0" y="2651400"/>
                </a:lnTo>
                <a:lnTo>
                  <a:pt x="49530" y="1588374"/>
                </a:lnTo>
                <a:lnTo>
                  <a:pt x="49530" y="1466901"/>
                </a:lnTo>
                <a:lnTo>
                  <a:pt x="49530" y="1408733"/>
                </a:lnTo>
                <a:lnTo>
                  <a:pt x="49530" y="1230015"/>
                </a:lnTo>
                <a:lnTo>
                  <a:pt x="49530" y="1194245"/>
                </a:lnTo>
                <a:lnTo>
                  <a:pt x="49530" y="886048"/>
                </a:lnTo>
                <a:lnTo>
                  <a:pt x="49530" y="49327"/>
                </a:lnTo>
                <a:lnTo>
                  <a:pt x="49530" y="13557"/>
                </a:lnTo>
                <a:lnTo>
                  <a:pt x="4953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 name="Title 1"/>
          <p:cNvSpPr>
            <a:spLocks noGrp="1"/>
          </p:cNvSpPr>
          <p:nvPr>
            <p:ph type="title"/>
          </p:nvPr>
        </p:nvSpPr>
        <p:spPr bwMode="gray"/>
        <p:txBody>
          <a:bodyPr/>
          <a:lstStyle/>
          <a:p>
            <a:r>
              <a:rPr lang="en-US" dirty="0"/>
              <a:t>EL3060</a:t>
            </a:r>
          </a:p>
        </p:txBody>
      </p:sp>
      <p:sp>
        <p:nvSpPr>
          <p:cNvPr id="293" name="Date Placeholder 3"/>
          <p:cNvSpPr>
            <a:spLocks noGrp="1"/>
          </p:cNvSpPr>
          <p:nvPr>
            <p:ph type="dt" sz="half" idx="14"/>
          </p:nvPr>
        </p:nvSpPr>
        <p:spPr bwMode="gray">
          <a:prstGeom prst="rect">
            <a:avLst/>
          </a:prstGeom>
        </p:spPr>
        <p:txBody>
          <a:bodyPr/>
          <a:lstStyle/>
          <a:p>
            <a:fld id="{479F5AED-CDE6-4CF9-A19E-ACD3A4FD6C29}" type="datetime4">
              <a:rPr lang="en-US" smtClean="0"/>
              <a:t>September 8, 2019</a:t>
            </a:fld>
            <a:endParaRPr lang="en-US" dirty="0"/>
          </a:p>
        </p:txBody>
      </p:sp>
      <p:sp>
        <p:nvSpPr>
          <p:cNvPr id="295" name="Footer Placeholder 4"/>
          <p:cNvSpPr>
            <a:spLocks noGrp="1"/>
          </p:cNvSpPr>
          <p:nvPr>
            <p:ph type="ftr" sz="quarter" idx="15"/>
          </p:nvPr>
        </p:nvSpPr>
        <p:spPr bwMode="gray">
          <a:prstGeom prst="rect">
            <a:avLst/>
          </a:prstGeom>
        </p:spPr>
        <p:txBody>
          <a:bodyPr/>
          <a:lstStyle/>
          <a:p>
            <a:pPr lvl="8"/>
            <a:endParaRPr lang="en-US" dirty="0"/>
          </a:p>
        </p:txBody>
      </p:sp>
      <p:sp>
        <p:nvSpPr>
          <p:cNvPr id="294" name="Slide Number Placeholder 4"/>
          <p:cNvSpPr>
            <a:spLocks noGrp="1"/>
          </p:cNvSpPr>
          <p:nvPr>
            <p:ph type="sldNum" sz="quarter" idx="16"/>
          </p:nvPr>
        </p:nvSpPr>
        <p:spPr bwMode="gray">
          <a:prstGeom prst="rect">
            <a:avLst/>
          </a:prstGeom>
        </p:spPr>
        <p:txBody>
          <a:bodyPr/>
          <a:lstStyle/>
          <a:p>
            <a:r>
              <a:rPr lang="en-US"/>
              <a:t>Slide </a:t>
            </a:r>
            <a:fld id="{619F89D8-7AE3-494A-97F3-03D680869632}" type="slidenum">
              <a:rPr lang="en-US" smtClean="0"/>
              <a:pPr/>
              <a:t>17</a:t>
            </a:fld>
            <a:endParaRPr lang="en-US" dirty="0"/>
          </a:p>
        </p:txBody>
      </p:sp>
      <p:sp>
        <p:nvSpPr>
          <p:cNvPr id="3" name="Text Placeholder 2"/>
          <p:cNvSpPr>
            <a:spLocks noGrp="1"/>
          </p:cNvSpPr>
          <p:nvPr>
            <p:ph type="subTitle" idx="13"/>
          </p:nvPr>
        </p:nvSpPr>
        <p:spPr bwMode="gray"/>
        <p:txBody>
          <a:bodyPr/>
          <a:lstStyle/>
          <a:p>
            <a:r>
              <a:rPr lang="en-US" dirty="0"/>
              <a:t>The specialist for hazardous areas</a:t>
            </a:r>
          </a:p>
        </p:txBody>
      </p:sp>
      <p:grpSp>
        <p:nvGrpSpPr>
          <p:cNvPr id="459" name="Group 458"/>
          <p:cNvGrpSpPr/>
          <p:nvPr/>
        </p:nvGrpSpPr>
        <p:grpSpPr bwMode="gray">
          <a:xfrm>
            <a:off x="334271" y="6327549"/>
            <a:ext cx="337946" cy="88364"/>
            <a:chOff x="61913" y="5218113"/>
            <a:chExt cx="3138487" cy="820737"/>
          </a:xfrm>
          <a:solidFill>
            <a:schemeClr val="accent3"/>
          </a:solidFill>
        </p:grpSpPr>
        <p:sp>
          <p:nvSpPr>
            <p:cNvPr id="460"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61"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63"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64"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465" name="Picture 19"/>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gray">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cxnSp>
        <p:nvCxnSpPr>
          <p:cNvPr id="469" name="Straight Connector 468"/>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cxnSp>
        <p:nvCxnSpPr>
          <p:cNvPr id="470" name="Straight Connector 469"/>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296" name="Text Box 27">
            <a:extLst>
              <a:ext uri="{FF2B5EF4-FFF2-40B4-BE49-F238E27FC236}">
                <a16:creationId xmlns:a16="http://schemas.microsoft.com/office/drawing/2014/main" id="{69DF20E9-F78D-4A61-A53F-CD8C949B73C5}"/>
              </a:ext>
            </a:extLst>
          </p:cNvPr>
          <p:cNvSpPr txBox="1">
            <a:spLocks noChangeArrowheads="1"/>
          </p:cNvSpPr>
          <p:nvPr/>
        </p:nvSpPr>
        <p:spPr bwMode="auto">
          <a:xfrm>
            <a:off x="9295233" y="2688857"/>
            <a:ext cx="864019" cy="248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0" tIns="0" rIns="0" bIns="0">
            <a:spAutoFit/>
          </a:bodyPr>
          <a:lstStyle>
            <a:lvl1pPr marL="182563" indent="-182563">
              <a:lnSpc>
                <a:spcPct val="95000"/>
              </a:lnSpc>
              <a:spcBef>
                <a:spcPct val="50000"/>
              </a:spcBef>
              <a:buClr>
                <a:schemeClr val="tx2"/>
              </a:buClr>
              <a:buSzPct val="70000"/>
              <a:buFont typeface="Wingdings" pitchFamily="2" charset="2"/>
              <a:buChar char="§"/>
              <a:defRPr>
                <a:solidFill>
                  <a:srgbClr val="000000"/>
                </a:solidFill>
                <a:latin typeface="Arial" charset="0"/>
              </a:defRPr>
            </a:lvl1pPr>
            <a:lvl2pPr marL="742950" indent="-285750">
              <a:lnSpc>
                <a:spcPct val="95000"/>
              </a:lnSpc>
              <a:spcBef>
                <a:spcPct val="50000"/>
              </a:spcBef>
              <a:buClr>
                <a:schemeClr val="tx2"/>
              </a:buClr>
              <a:buSzPct val="70000"/>
              <a:buFont typeface="Wingdings" pitchFamily="2" charset="2"/>
              <a:buChar char="§"/>
              <a:defRPr>
                <a:solidFill>
                  <a:srgbClr val="000000"/>
                </a:solidFill>
                <a:latin typeface="Arial" charset="0"/>
              </a:defRPr>
            </a:lvl2pPr>
            <a:lvl3pPr marL="1143000" indent="-228600">
              <a:lnSpc>
                <a:spcPct val="95000"/>
              </a:lnSpc>
              <a:spcBef>
                <a:spcPct val="50000"/>
              </a:spcBef>
              <a:buClr>
                <a:schemeClr val="tx2"/>
              </a:buClr>
              <a:buSzPct val="70000"/>
              <a:buFont typeface="Wingdings" pitchFamily="2" charset="2"/>
              <a:buChar char="§"/>
              <a:defRPr sz="1600">
                <a:solidFill>
                  <a:srgbClr val="000000"/>
                </a:solidFill>
                <a:latin typeface="Arial" charset="0"/>
              </a:defRPr>
            </a:lvl3pPr>
            <a:lvl4pPr marL="1600200" indent="-228600">
              <a:lnSpc>
                <a:spcPct val="95000"/>
              </a:lnSpc>
              <a:spcBef>
                <a:spcPct val="50000"/>
              </a:spcBef>
              <a:buClr>
                <a:schemeClr val="tx2"/>
              </a:buClr>
              <a:buSzPct val="70000"/>
              <a:buFont typeface="Wingdings" pitchFamily="2" charset="2"/>
              <a:buChar char="§"/>
              <a:defRPr sz="1400">
                <a:solidFill>
                  <a:srgbClr val="000000"/>
                </a:solidFill>
                <a:latin typeface="Arial" charset="0"/>
              </a:defRPr>
            </a:lvl4pPr>
            <a:lvl5pPr marL="2057400" indent="-228600">
              <a:lnSpc>
                <a:spcPct val="95000"/>
              </a:lnSpc>
              <a:spcBef>
                <a:spcPct val="50000"/>
              </a:spcBef>
              <a:buClr>
                <a:schemeClr val="tx2"/>
              </a:buClr>
              <a:buSzPct val="70000"/>
              <a:buFont typeface="Wingdings" pitchFamily="2" charset="2"/>
              <a:buChar char="§"/>
              <a:defRPr sz="1400">
                <a:solidFill>
                  <a:srgbClr val="000000"/>
                </a:solidFill>
                <a:latin typeface="Arial" charset="0"/>
              </a:defRPr>
            </a:lvl5pPr>
            <a:lvl6pPr marL="2514600" indent="-228600" eaLnBrk="0" fontAlgn="base" hangingPunct="0">
              <a:lnSpc>
                <a:spcPct val="95000"/>
              </a:lnSpc>
              <a:spcBef>
                <a:spcPct val="50000"/>
              </a:spcBef>
              <a:spcAft>
                <a:spcPct val="0"/>
              </a:spcAft>
              <a:buClr>
                <a:schemeClr val="tx2"/>
              </a:buClr>
              <a:buSzPct val="70000"/>
              <a:buFont typeface="Wingdings" pitchFamily="2" charset="2"/>
              <a:buChar char="§"/>
              <a:defRPr sz="1400">
                <a:solidFill>
                  <a:srgbClr val="000000"/>
                </a:solidFill>
                <a:latin typeface="Arial" charset="0"/>
              </a:defRPr>
            </a:lvl6pPr>
            <a:lvl7pPr marL="2971800" indent="-228600" eaLnBrk="0" fontAlgn="base" hangingPunct="0">
              <a:lnSpc>
                <a:spcPct val="95000"/>
              </a:lnSpc>
              <a:spcBef>
                <a:spcPct val="50000"/>
              </a:spcBef>
              <a:spcAft>
                <a:spcPct val="0"/>
              </a:spcAft>
              <a:buClr>
                <a:schemeClr val="tx2"/>
              </a:buClr>
              <a:buSzPct val="70000"/>
              <a:buFont typeface="Wingdings" pitchFamily="2" charset="2"/>
              <a:buChar char="§"/>
              <a:defRPr sz="1400">
                <a:solidFill>
                  <a:srgbClr val="000000"/>
                </a:solidFill>
                <a:latin typeface="Arial" charset="0"/>
              </a:defRPr>
            </a:lvl7pPr>
            <a:lvl8pPr marL="3429000" indent="-228600" eaLnBrk="0" fontAlgn="base" hangingPunct="0">
              <a:lnSpc>
                <a:spcPct val="95000"/>
              </a:lnSpc>
              <a:spcBef>
                <a:spcPct val="50000"/>
              </a:spcBef>
              <a:spcAft>
                <a:spcPct val="0"/>
              </a:spcAft>
              <a:buClr>
                <a:schemeClr val="tx2"/>
              </a:buClr>
              <a:buSzPct val="70000"/>
              <a:buFont typeface="Wingdings" pitchFamily="2" charset="2"/>
              <a:buChar char="§"/>
              <a:defRPr sz="1400">
                <a:solidFill>
                  <a:srgbClr val="000000"/>
                </a:solidFill>
                <a:latin typeface="Arial" charset="0"/>
              </a:defRPr>
            </a:lvl8pPr>
            <a:lvl9pPr marL="3886200" indent="-228600" eaLnBrk="0" fontAlgn="base" hangingPunct="0">
              <a:lnSpc>
                <a:spcPct val="95000"/>
              </a:lnSpc>
              <a:spcBef>
                <a:spcPct val="50000"/>
              </a:spcBef>
              <a:spcAft>
                <a:spcPct val="0"/>
              </a:spcAft>
              <a:buClr>
                <a:schemeClr val="tx2"/>
              </a:buClr>
              <a:buSzPct val="70000"/>
              <a:buFont typeface="Wingdings" pitchFamily="2" charset="2"/>
              <a:buChar char="§"/>
              <a:defRPr sz="1400">
                <a:solidFill>
                  <a:srgbClr val="000000"/>
                </a:solidFill>
                <a:latin typeface="Arial" charset="0"/>
              </a:defRPr>
            </a:lvl9pPr>
          </a:lstStyle>
          <a:p>
            <a:pPr eaLnBrk="1" hangingPunct="1">
              <a:lnSpc>
                <a:spcPct val="70000"/>
              </a:lnSpc>
              <a:buFont typeface="Wingdings" pitchFamily="2" charset="2"/>
              <a:buNone/>
            </a:pPr>
            <a:r>
              <a:rPr lang="en-US" altLang="en-US" sz="1000" dirty="0">
                <a:solidFill>
                  <a:schemeClr val="accent1"/>
                </a:solidFill>
              </a:rPr>
              <a:t>Caldos25/27 or</a:t>
            </a:r>
          </a:p>
          <a:p>
            <a:pPr eaLnBrk="1" hangingPunct="1">
              <a:lnSpc>
                <a:spcPct val="30000"/>
              </a:lnSpc>
              <a:buFont typeface="Wingdings" pitchFamily="2" charset="2"/>
              <a:buNone/>
            </a:pPr>
            <a:r>
              <a:rPr lang="en-US" altLang="en-US" sz="1000" dirty="0">
                <a:solidFill>
                  <a:schemeClr val="accent1"/>
                </a:solidFill>
              </a:rPr>
              <a:t>Magnos28</a:t>
            </a:r>
            <a:endParaRPr lang="de-DE" altLang="en-US" sz="1000" dirty="0">
              <a:solidFill>
                <a:schemeClr val="accent1"/>
              </a:solidFill>
            </a:endParaRPr>
          </a:p>
        </p:txBody>
      </p:sp>
      <p:sp>
        <p:nvSpPr>
          <p:cNvPr id="297" name="Text Box 28">
            <a:extLst>
              <a:ext uri="{FF2B5EF4-FFF2-40B4-BE49-F238E27FC236}">
                <a16:creationId xmlns:a16="http://schemas.microsoft.com/office/drawing/2014/main" id="{B05157E0-D32C-46CE-88AA-A028CFA906C9}"/>
              </a:ext>
            </a:extLst>
          </p:cNvPr>
          <p:cNvSpPr txBox="1">
            <a:spLocks noChangeArrowheads="1"/>
          </p:cNvSpPr>
          <p:nvPr/>
        </p:nvSpPr>
        <p:spPr bwMode="auto">
          <a:xfrm>
            <a:off x="10297154" y="3766342"/>
            <a:ext cx="41197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0" tIns="0" rIns="0" bIns="0">
            <a:spAutoFit/>
          </a:bodyPr>
          <a:lstStyle>
            <a:lvl1pPr marL="182563" indent="-182563">
              <a:lnSpc>
                <a:spcPct val="95000"/>
              </a:lnSpc>
              <a:spcBef>
                <a:spcPct val="50000"/>
              </a:spcBef>
              <a:buClr>
                <a:schemeClr val="tx2"/>
              </a:buClr>
              <a:buSzPct val="70000"/>
              <a:buFont typeface="Wingdings" pitchFamily="2" charset="2"/>
              <a:buChar char="§"/>
              <a:defRPr>
                <a:solidFill>
                  <a:srgbClr val="000000"/>
                </a:solidFill>
                <a:latin typeface="Arial" charset="0"/>
              </a:defRPr>
            </a:lvl1pPr>
            <a:lvl2pPr marL="742950" indent="-285750">
              <a:lnSpc>
                <a:spcPct val="95000"/>
              </a:lnSpc>
              <a:spcBef>
                <a:spcPct val="50000"/>
              </a:spcBef>
              <a:buClr>
                <a:schemeClr val="tx2"/>
              </a:buClr>
              <a:buSzPct val="70000"/>
              <a:buFont typeface="Wingdings" pitchFamily="2" charset="2"/>
              <a:buChar char="§"/>
              <a:defRPr>
                <a:solidFill>
                  <a:srgbClr val="000000"/>
                </a:solidFill>
                <a:latin typeface="Arial" charset="0"/>
              </a:defRPr>
            </a:lvl2pPr>
            <a:lvl3pPr marL="1143000" indent="-228600">
              <a:lnSpc>
                <a:spcPct val="95000"/>
              </a:lnSpc>
              <a:spcBef>
                <a:spcPct val="50000"/>
              </a:spcBef>
              <a:buClr>
                <a:schemeClr val="tx2"/>
              </a:buClr>
              <a:buSzPct val="70000"/>
              <a:buFont typeface="Wingdings" pitchFamily="2" charset="2"/>
              <a:buChar char="§"/>
              <a:defRPr sz="1600">
                <a:solidFill>
                  <a:srgbClr val="000000"/>
                </a:solidFill>
                <a:latin typeface="Arial" charset="0"/>
              </a:defRPr>
            </a:lvl3pPr>
            <a:lvl4pPr marL="1600200" indent="-228600">
              <a:lnSpc>
                <a:spcPct val="95000"/>
              </a:lnSpc>
              <a:spcBef>
                <a:spcPct val="50000"/>
              </a:spcBef>
              <a:buClr>
                <a:schemeClr val="tx2"/>
              </a:buClr>
              <a:buSzPct val="70000"/>
              <a:buFont typeface="Wingdings" pitchFamily="2" charset="2"/>
              <a:buChar char="§"/>
              <a:defRPr sz="1400">
                <a:solidFill>
                  <a:srgbClr val="000000"/>
                </a:solidFill>
                <a:latin typeface="Arial" charset="0"/>
              </a:defRPr>
            </a:lvl4pPr>
            <a:lvl5pPr marL="2057400" indent="-228600">
              <a:lnSpc>
                <a:spcPct val="95000"/>
              </a:lnSpc>
              <a:spcBef>
                <a:spcPct val="50000"/>
              </a:spcBef>
              <a:buClr>
                <a:schemeClr val="tx2"/>
              </a:buClr>
              <a:buSzPct val="70000"/>
              <a:buFont typeface="Wingdings" pitchFamily="2" charset="2"/>
              <a:buChar char="§"/>
              <a:defRPr sz="1400">
                <a:solidFill>
                  <a:srgbClr val="000000"/>
                </a:solidFill>
                <a:latin typeface="Arial" charset="0"/>
              </a:defRPr>
            </a:lvl5pPr>
            <a:lvl6pPr marL="2514600" indent="-228600" eaLnBrk="0" fontAlgn="base" hangingPunct="0">
              <a:lnSpc>
                <a:spcPct val="95000"/>
              </a:lnSpc>
              <a:spcBef>
                <a:spcPct val="50000"/>
              </a:spcBef>
              <a:spcAft>
                <a:spcPct val="0"/>
              </a:spcAft>
              <a:buClr>
                <a:schemeClr val="tx2"/>
              </a:buClr>
              <a:buSzPct val="70000"/>
              <a:buFont typeface="Wingdings" pitchFamily="2" charset="2"/>
              <a:buChar char="§"/>
              <a:defRPr sz="1400">
                <a:solidFill>
                  <a:srgbClr val="000000"/>
                </a:solidFill>
                <a:latin typeface="Arial" charset="0"/>
              </a:defRPr>
            </a:lvl6pPr>
            <a:lvl7pPr marL="2971800" indent="-228600" eaLnBrk="0" fontAlgn="base" hangingPunct="0">
              <a:lnSpc>
                <a:spcPct val="95000"/>
              </a:lnSpc>
              <a:spcBef>
                <a:spcPct val="50000"/>
              </a:spcBef>
              <a:spcAft>
                <a:spcPct val="0"/>
              </a:spcAft>
              <a:buClr>
                <a:schemeClr val="tx2"/>
              </a:buClr>
              <a:buSzPct val="70000"/>
              <a:buFont typeface="Wingdings" pitchFamily="2" charset="2"/>
              <a:buChar char="§"/>
              <a:defRPr sz="1400">
                <a:solidFill>
                  <a:srgbClr val="000000"/>
                </a:solidFill>
                <a:latin typeface="Arial" charset="0"/>
              </a:defRPr>
            </a:lvl7pPr>
            <a:lvl8pPr marL="3429000" indent="-228600" eaLnBrk="0" fontAlgn="base" hangingPunct="0">
              <a:lnSpc>
                <a:spcPct val="95000"/>
              </a:lnSpc>
              <a:spcBef>
                <a:spcPct val="50000"/>
              </a:spcBef>
              <a:spcAft>
                <a:spcPct val="0"/>
              </a:spcAft>
              <a:buClr>
                <a:schemeClr val="tx2"/>
              </a:buClr>
              <a:buSzPct val="70000"/>
              <a:buFont typeface="Wingdings" pitchFamily="2" charset="2"/>
              <a:buChar char="§"/>
              <a:defRPr sz="1400">
                <a:solidFill>
                  <a:srgbClr val="000000"/>
                </a:solidFill>
                <a:latin typeface="Arial" charset="0"/>
              </a:defRPr>
            </a:lvl8pPr>
            <a:lvl9pPr marL="3886200" indent="-228600" eaLnBrk="0" fontAlgn="base" hangingPunct="0">
              <a:lnSpc>
                <a:spcPct val="95000"/>
              </a:lnSpc>
              <a:spcBef>
                <a:spcPct val="50000"/>
              </a:spcBef>
              <a:spcAft>
                <a:spcPct val="0"/>
              </a:spcAft>
              <a:buClr>
                <a:schemeClr val="tx2"/>
              </a:buClr>
              <a:buSzPct val="70000"/>
              <a:buFont typeface="Wingdings" pitchFamily="2" charset="2"/>
              <a:buChar char="§"/>
              <a:defRPr sz="1400">
                <a:solidFill>
                  <a:srgbClr val="000000"/>
                </a:solidFill>
                <a:latin typeface="Arial" charset="0"/>
              </a:defRPr>
            </a:lvl9pPr>
          </a:lstStyle>
          <a:p>
            <a:pPr eaLnBrk="1" hangingPunct="1">
              <a:lnSpc>
                <a:spcPct val="100000"/>
              </a:lnSpc>
              <a:buFont typeface="Wingdings" pitchFamily="2" charset="2"/>
              <a:buNone/>
            </a:pPr>
            <a:r>
              <a:rPr lang="de-DE" altLang="en-US" sz="1000" dirty="0">
                <a:solidFill>
                  <a:schemeClr val="accent1"/>
                </a:solidFill>
              </a:rPr>
              <a:t>Uras26</a:t>
            </a:r>
          </a:p>
        </p:txBody>
      </p:sp>
      <p:sp>
        <p:nvSpPr>
          <p:cNvPr id="32" name="Rectangle 31">
            <a:hlinkClick r:id="rId5" action="ppaction://hlinksldjump"/>
            <a:extLst>
              <a:ext uri="{FF2B5EF4-FFF2-40B4-BE49-F238E27FC236}">
                <a16:creationId xmlns:a16="http://schemas.microsoft.com/office/drawing/2014/main" id="{785D7474-6EDB-4534-8FB4-A70DC059E789}"/>
              </a:ext>
            </a:extLst>
          </p:cNvPr>
          <p:cNvSpPr/>
          <p:nvPr/>
        </p:nvSpPr>
        <p:spPr bwMode="gray">
          <a:xfrm>
            <a:off x="303659" y="5144963"/>
            <a:ext cx="5792341" cy="7875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err="1">
              <a:ln>
                <a:noFill/>
              </a:ln>
              <a:solidFill>
                <a:srgbClr val="D90000"/>
              </a:solidFill>
              <a:effectLst/>
              <a:uLnTx/>
              <a:uFillTx/>
              <a:latin typeface="ABBvoice"/>
              <a:ea typeface="ABBvoice"/>
              <a:cs typeface="ABBvoice"/>
            </a:endParaRPr>
          </a:p>
        </p:txBody>
      </p:sp>
      <p:grpSp>
        <p:nvGrpSpPr>
          <p:cNvPr id="33" name="Group 32">
            <a:extLst>
              <a:ext uri="{FF2B5EF4-FFF2-40B4-BE49-F238E27FC236}">
                <a16:creationId xmlns:a16="http://schemas.microsoft.com/office/drawing/2014/main" id="{D33241F6-5E8C-4DCB-B04B-18D702F9739D}"/>
              </a:ext>
            </a:extLst>
          </p:cNvPr>
          <p:cNvGrpSpPr>
            <a:grpSpLocks noChangeAspect="1"/>
          </p:cNvGrpSpPr>
          <p:nvPr/>
        </p:nvGrpSpPr>
        <p:grpSpPr bwMode="gray">
          <a:xfrm>
            <a:off x="332367" y="5250833"/>
            <a:ext cx="689137" cy="577417"/>
            <a:chOff x="5382466" y="2044232"/>
            <a:chExt cx="937763" cy="785738"/>
          </a:xfrm>
          <a:solidFill>
            <a:schemeClr val="tx1"/>
          </a:solidFill>
        </p:grpSpPr>
        <p:grpSp>
          <p:nvGrpSpPr>
            <p:cNvPr id="34" name="Gruppieren 3076">
              <a:extLst>
                <a:ext uri="{FF2B5EF4-FFF2-40B4-BE49-F238E27FC236}">
                  <a16:creationId xmlns:a16="http://schemas.microsoft.com/office/drawing/2014/main" id="{471737DC-2127-438B-8182-0B8F36C97B3E}"/>
                </a:ext>
              </a:extLst>
            </p:cNvPr>
            <p:cNvGrpSpPr/>
            <p:nvPr/>
          </p:nvGrpSpPr>
          <p:grpSpPr bwMode="gray">
            <a:xfrm>
              <a:off x="5624826" y="2208674"/>
              <a:ext cx="453043" cy="460345"/>
              <a:chOff x="6433785" y="4335053"/>
              <a:chExt cx="453043" cy="460345"/>
            </a:xfrm>
            <a:grpFill/>
          </p:grpSpPr>
          <p:sp>
            <p:nvSpPr>
              <p:cNvPr id="36" name="Rechteck 297">
                <a:extLst>
                  <a:ext uri="{FF2B5EF4-FFF2-40B4-BE49-F238E27FC236}">
                    <a16:creationId xmlns:a16="http://schemas.microsoft.com/office/drawing/2014/main" id="{CAD1E1F5-F0B0-4EE4-8FEA-0ECC8EB4E6B1}"/>
                  </a:ext>
                </a:extLst>
              </p:cNvPr>
              <p:cNvSpPr/>
              <p:nvPr/>
            </p:nvSpPr>
            <p:spPr bwMode="gray">
              <a:xfrm>
                <a:off x="6684854" y="4541041"/>
                <a:ext cx="201974" cy="254357"/>
              </a:xfrm>
              <a:custGeom>
                <a:avLst/>
                <a:gdLst/>
                <a:ahLst/>
                <a:cxnLst/>
                <a:rect l="l" t="t" r="r" b="b"/>
                <a:pathLst>
                  <a:path w="171193" h="215593">
                    <a:moveTo>
                      <a:pt x="2732" y="0"/>
                    </a:moveTo>
                    <a:cubicBezTo>
                      <a:pt x="31801" y="5583"/>
                      <a:pt x="45458" y="13241"/>
                      <a:pt x="55614" y="25569"/>
                    </a:cubicBezTo>
                    <a:lnTo>
                      <a:pt x="85597" y="78441"/>
                    </a:lnTo>
                    <a:lnTo>
                      <a:pt x="115579" y="25569"/>
                    </a:lnTo>
                    <a:cubicBezTo>
                      <a:pt x="125735" y="13241"/>
                      <a:pt x="139392" y="5583"/>
                      <a:pt x="168461" y="0"/>
                    </a:cubicBezTo>
                    <a:lnTo>
                      <a:pt x="169737" y="36539"/>
                    </a:lnTo>
                    <a:cubicBezTo>
                      <a:pt x="150035" y="44140"/>
                      <a:pt x="147302" y="43960"/>
                      <a:pt x="138661" y="56436"/>
                    </a:cubicBezTo>
                    <a:lnTo>
                      <a:pt x="104983" y="112627"/>
                    </a:lnTo>
                    <a:lnTo>
                      <a:pt x="132675" y="161459"/>
                    </a:lnTo>
                    <a:cubicBezTo>
                      <a:pt x="138215" y="169054"/>
                      <a:pt x="153825" y="177709"/>
                      <a:pt x="171193" y="182998"/>
                    </a:cubicBezTo>
                    <a:cubicBezTo>
                      <a:pt x="170615" y="193863"/>
                      <a:pt x="170036" y="204728"/>
                      <a:pt x="169458" y="215593"/>
                    </a:cubicBezTo>
                    <a:cubicBezTo>
                      <a:pt x="145227" y="213278"/>
                      <a:pt x="126884" y="206716"/>
                      <a:pt x="109815" y="185383"/>
                    </a:cubicBezTo>
                    <a:lnTo>
                      <a:pt x="85597" y="144974"/>
                    </a:lnTo>
                    <a:lnTo>
                      <a:pt x="61378" y="185383"/>
                    </a:lnTo>
                    <a:cubicBezTo>
                      <a:pt x="44309" y="206716"/>
                      <a:pt x="25966" y="213278"/>
                      <a:pt x="1735" y="215593"/>
                    </a:cubicBezTo>
                    <a:cubicBezTo>
                      <a:pt x="1157" y="204728"/>
                      <a:pt x="578" y="193863"/>
                      <a:pt x="0" y="182998"/>
                    </a:cubicBezTo>
                    <a:cubicBezTo>
                      <a:pt x="17368" y="177709"/>
                      <a:pt x="32978" y="169054"/>
                      <a:pt x="38518" y="161459"/>
                    </a:cubicBezTo>
                    <a:lnTo>
                      <a:pt x="66210" y="112627"/>
                    </a:lnTo>
                    <a:lnTo>
                      <a:pt x="32532" y="56436"/>
                    </a:lnTo>
                    <a:cubicBezTo>
                      <a:pt x="23891" y="43960"/>
                      <a:pt x="21158" y="44140"/>
                      <a:pt x="1456" y="36539"/>
                    </a:cubicBezTo>
                    <a:cubicBezTo>
                      <a:pt x="1881" y="24360"/>
                      <a:pt x="2307" y="12180"/>
                      <a:pt x="2732" y="0"/>
                    </a:cubicBezTo>
                    <a:close/>
                  </a:path>
                </a:pathLst>
              </a:custGeom>
              <a:noFill/>
              <a:ln w="19050">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37" name="Rechteck 305">
                <a:extLst>
                  <a:ext uri="{FF2B5EF4-FFF2-40B4-BE49-F238E27FC236}">
                    <a16:creationId xmlns:a16="http://schemas.microsoft.com/office/drawing/2014/main" id="{90EC11C5-4955-4986-9B72-B0077DC1CFEA}"/>
                  </a:ext>
                </a:extLst>
              </p:cNvPr>
              <p:cNvSpPr/>
              <p:nvPr/>
            </p:nvSpPr>
            <p:spPr bwMode="gray">
              <a:xfrm>
                <a:off x="6433785" y="4335053"/>
                <a:ext cx="212100" cy="452561"/>
              </a:xfrm>
              <a:custGeom>
                <a:avLst/>
                <a:gdLst/>
                <a:ahLst/>
                <a:cxnLst/>
                <a:rect l="l" t="t" r="r" b="b"/>
                <a:pathLst>
                  <a:path w="179776" h="383591">
                    <a:moveTo>
                      <a:pt x="104498" y="0"/>
                    </a:moveTo>
                    <a:cubicBezTo>
                      <a:pt x="134377" y="0"/>
                      <a:pt x="161327" y="12540"/>
                      <a:pt x="179776" y="33145"/>
                    </a:cubicBezTo>
                    <a:lnTo>
                      <a:pt x="151910" y="61011"/>
                    </a:lnTo>
                    <a:cubicBezTo>
                      <a:pt x="141353" y="45309"/>
                      <a:pt x="123149" y="36648"/>
                      <a:pt x="102922" y="36648"/>
                    </a:cubicBezTo>
                    <a:cubicBezTo>
                      <a:pt x="64629" y="36648"/>
                      <a:pt x="33587" y="67690"/>
                      <a:pt x="33587" y="105984"/>
                    </a:cubicBezTo>
                    <a:cubicBezTo>
                      <a:pt x="33587" y="142135"/>
                      <a:pt x="61253" y="171823"/>
                      <a:pt x="96657" y="174054"/>
                    </a:cubicBezTo>
                    <a:lnTo>
                      <a:pt x="109630" y="174595"/>
                    </a:lnTo>
                    <a:lnTo>
                      <a:pt x="140774" y="174595"/>
                    </a:lnTo>
                    <a:lnTo>
                      <a:pt x="140774" y="175318"/>
                    </a:lnTo>
                    <a:lnTo>
                      <a:pt x="140774" y="181919"/>
                    </a:lnTo>
                    <a:lnTo>
                      <a:pt x="140774" y="201672"/>
                    </a:lnTo>
                    <a:lnTo>
                      <a:pt x="140774" y="208273"/>
                    </a:lnTo>
                    <a:lnTo>
                      <a:pt x="140774" y="208996"/>
                    </a:lnTo>
                    <a:lnTo>
                      <a:pt x="109630" y="208996"/>
                    </a:lnTo>
                    <a:lnTo>
                      <a:pt x="96657" y="209537"/>
                    </a:lnTo>
                    <a:cubicBezTo>
                      <a:pt x="61253" y="211768"/>
                      <a:pt x="33587" y="241456"/>
                      <a:pt x="33587" y="277607"/>
                    </a:cubicBezTo>
                    <a:cubicBezTo>
                      <a:pt x="33587" y="315901"/>
                      <a:pt x="64629" y="346943"/>
                      <a:pt x="102922" y="346943"/>
                    </a:cubicBezTo>
                    <a:cubicBezTo>
                      <a:pt x="123149" y="346943"/>
                      <a:pt x="141353" y="338282"/>
                      <a:pt x="151910" y="322580"/>
                    </a:cubicBezTo>
                    <a:lnTo>
                      <a:pt x="179776" y="350446"/>
                    </a:lnTo>
                    <a:cubicBezTo>
                      <a:pt x="161327" y="371051"/>
                      <a:pt x="134377" y="383591"/>
                      <a:pt x="104498" y="383591"/>
                    </a:cubicBezTo>
                    <a:cubicBezTo>
                      <a:pt x="46785" y="383591"/>
                      <a:pt x="0" y="336806"/>
                      <a:pt x="0" y="279093"/>
                    </a:cubicBezTo>
                    <a:cubicBezTo>
                      <a:pt x="0" y="241544"/>
                      <a:pt x="19804" y="208621"/>
                      <a:pt x="50253" y="191796"/>
                    </a:cubicBezTo>
                    <a:cubicBezTo>
                      <a:pt x="19804" y="174970"/>
                      <a:pt x="0" y="142048"/>
                      <a:pt x="0" y="104498"/>
                    </a:cubicBezTo>
                    <a:cubicBezTo>
                      <a:pt x="0" y="46785"/>
                      <a:pt x="46785" y="0"/>
                      <a:pt x="104498" y="0"/>
                    </a:cubicBezTo>
                    <a:close/>
                  </a:path>
                </a:pathLst>
              </a:custGeom>
              <a:noFill/>
              <a:ln w="19050">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grpSp>
        <p:sp>
          <p:nvSpPr>
            <p:cNvPr id="35" name="Sechseck 314">
              <a:extLst>
                <a:ext uri="{FF2B5EF4-FFF2-40B4-BE49-F238E27FC236}">
                  <a16:creationId xmlns:a16="http://schemas.microsoft.com/office/drawing/2014/main" id="{A6C54702-93C2-4B54-A61C-67E3A9393ED6}"/>
                </a:ext>
              </a:extLst>
            </p:cNvPr>
            <p:cNvSpPr/>
            <p:nvPr/>
          </p:nvSpPr>
          <p:spPr bwMode="gray">
            <a:xfrm>
              <a:off x="5382466" y="2044232"/>
              <a:ext cx="937763" cy="785738"/>
            </a:xfrm>
            <a:custGeom>
              <a:avLst/>
              <a:gdLst/>
              <a:ahLst/>
              <a:cxnLst/>
              <a:rect l="l" t="t" r="r" b="b"/>
              <a:pathLst>
                <a:path w="988678" h="828399">
                  <a:moveTo>
                    <a:pt x="263630" y="43631"/>
                  </a:moveTo>
                  <a:lnTo>
                    <a:pt x="52073" y="414199"/>
                  </a:lnTo>
                  <a:lnTo>
                    <a:pt x="263630" y="784767"/>
                  </a:lnTo>
                  <a:lnTo>
                    <a:pt x="725049" y="784767"/>
                  </a:lnTo>
                  <a:lnTo>
                    <a:pt x="936606" y="414199"/>
                  </a:lnTo>
                  <a:lnTo>
                    <a:pt x="725049" y="43631"/>
                  </a:lnTo>
                  <a:close/>
                  <a:moveTo>
                    <a:pt x="236466" y="0"/>
                  </a:moveTo>
                  <a:lnTo>
                    <a:pt x="752212" y="0"/>
                  </a:lnTo>
                  <a:lnTo>
                    <a:pt x="988678" y="414200"/>
                  </a:lnTo>
                  <a:lnTo>
                    <a:pt x="752212" y="828399"/>
                  </a:lnTo>
                  <a:lnTo>
                    <a:pt x="236466" y="828399"/>
                  </a:lnTo>
                  <a:lnTo>
                    <a:pt x="0" y="414200"/>
                  </a:lnTo>
                  <a:close/>
                </a:path>
              </a:pathLst>
            </a:custGeom>
            <a:noFill/>
            <a:ln w="19050">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grpSp>
      <p:pic>
        <p:nvPicPr>
          <p:cNvPr id="38" name="Content Placeholder 10">
            <a:extLst>
              <a:ext uri="{FF2B5EF4-FFF2-40B4-BE49-F238E27FC236}">
                <a16:creationId xmlns:a16="http://schemas.microsoft.com/office/drawing/2014/main" id="{A341CA0C-7B50-4D8F-8BF1-AEC1C47E62A1}"/>
              </a:ext>
            </a:extLst>
          </p:cNvPr>
          <p:cNvPicPr preferRelativeResize="0">
            <a:picLocks noChangeAspect="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6701687" y="5357140"/>
            <a:ext cx="452842" cy="360000"/>
          </a:xfrm>
          <a:prstGeom prst="rect">
            <a:avLst/>
          </a:prstGeom>
          <a:noFill/>
          <a:ln w="9525">
            <a:noFill/>
            <a:miter lim="800000"/>
            <a:headEnd/>
            <a:tailEnd/>
          </a:ln>
        </p:spPr>
      </p:pic>
      <p:pic>
        <p:nvPicPr>
          <p:cNvPr id="39" name="Picture 10">
            <a:extLst>
              <a:ext uri="{FF2B5EF4-FFF2-40B4-BE49-F238E27FC236}">
                <a16:creationId xmlns:a16="http://schemas.microsoft.com/office/drawing/2014/main" id="{0A343EF2-C258-46ED-B972-85D9FBE3E687}"/>
              </a:ext>
            </a:extLst>
          </p:cNvPr>
          <p:cNvPicPr preferRelativeResize="0">
            <a:picLocks noChangeAspect="1"/>
          </p:cNvPicPr>
          <p:nvPr/>
        </p:nvPicPr>
        <p:blipFill>
          <a:blip r:embed="rId7"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8272697" y="5345565"/>
            <a:ext cx="395864" cy="396000"/>
          </a:xfrm>
          <a:prstGeom prst="rect">
            <a:avLst/>
          </a:prstGeom>
          <a:noFill/>
          <a:ln w="9525">
            <a:noFill/>
            <a:miter lim="800000"/>
            <a:headEnd/>
            <a:tailEnd/>
          </a:ln>
        </p:spPr>
      </p:pic>
      <p:pic>
        <p:nvPicPr>
          <p:cNvPr id="40" name="Picture 11">
            <a:extLst>
              <a:ext uri="{FF2B5EF4-FFF2-40B4-BE49-F238E27FC236}">
                <a16:creationId xmlns:a16="http://schemas.microsoft.com/office/drawing/2014/main" id="{895107E7-20E1-49FB-841B-A0AC2EAB235C}"/>
              </a:ext>
            </a:extLst>
          </p:cNvPr>
          <p:cNvPicPr preferRelativeResize="0">
            <a:picLocks noChangeAspect="1"/>
          </p:cNvPicPr>
          <p:nvPr/>
        </p:nvPicPr>
        <p:blipFill>
          <a:blip r:embed="rId8"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7442493" y="5290321"/>
            <a:ext cx="503823" cy="504000"/>
          </a:xfrm>
          <a:prstGeom prst="rect">
            <a:avLst/>
          </a:prstGeom>
          <a:noFill/>
          <a:ln w="9525">
            <a:noFill/>
            <a:miter lim="800000"/>
            <a:headEnd/>
            <a:tailEnd/>
          </a:ln>
        </p:spPr>
      </p:pic>
      <p:pic>
        <p:nvPicPr>
          <p:cNvPr id="41" name="Picture 40">
            <a:extLst>
              <a:ext uri="{FF2B5EF4-FFF2-40B4-BE49-F238E27FC236}">
                <a16:creationId xmlns:a16="http://schemas.microsoft.com/office/drawing/2014/main" id="{9E934A18-F266-4907-8CB5-9004EBBA1B6F}"/>
              </a:ext>
            </a:extLst>
          </p:cNvPr>
          <p:cNvPicPr>
            <a:picLocks noChangeAspect="1"/>
          </p:cNvPicPr>
          <p:nvPr/>
        </p:nvPicPr>
        <p:blipFill>
          <a:blip r:embed="rId9">
            <a:duotone>
              <a:schemeClr val="bg2">
                <a:shade val="45000"/>
                <a:satMod val="135000"/>
              </a:schemeClr>
              <a:prstClr val="white"/>
            </a:duotone>
          </a:blip>
          <a:stretch>
            <a:fillRect/>
          </a:stretch>
        </p:blipFill>
        <p:spPr>
          <a:xfrm>
            <a:off x="8971095" y="5387200"/>
            <a:ext cx="466725" cy="333375"/>
          </a:xfrm>
          <a:prstGeom prst="rect">
            <a:avLst/>
          </a:prstGeom>
        </p:spPr>
      </p:pic>
      <p:pic>
        <p:nvPicPr>
          <p:cNvPr id="42" name="Grafik 20">
            <a:extLst>
              <a:ext uri="{FF2B5EF4-FFF2-40B4-BE49-F238E27FC236}">
                <a16:creationId xmlns:a16="http://schemas.microsoft.com/office/drawing/2014/main" id="{3A95A7ED-96A5-4929-A291-005025F500AE}"/>
              </a:ext>
            </a:extLst>
          </p:cNvPr>
          <p:cNvPicPr>
            <a:picLocks noChangeAspect="1"/>
          </p:cNvPicPr>
          <p:nvPr/>
        </p:nvPicPr>
        <p:blipFill>
          <a:blip r:embed="rId10"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9759772" y="5321140"/>
            <a:ext cx="396000" cy="396000"/>
          </a:xfrm>
          <a:prstGeom prst="rect">
            <a:avLst/>
          </a:prstGeom>
        </p:spPr>
      </p:pic>
      <p:pic>
        <p:nvPicPr>
          <p:cNvPr id="43" name="Picture 19" descr="AO2060_3Drechts_lowres">
            <a:extLst>
              <a:ext uri="{FF2B5EF4-FFF2-40B4-BE49-F238E27FC236}">
                <a16:creationId xmlns:a16="http://schemas.microsoft.com/office/drawing/2014/main" id="{FD2714C1-E39A-4C73-8E63-C6C92500D7F8}"/>
              </a:ext>
            </a:extLst>
          </p:cNvPr>
          <p:cNvPicPr>
            <a:picLocks noChangeAspect="1" noChangeArrowheads="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9146428" y="3027271"/>
            <a:ext cx="1230774" cy="1765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4" name="Group 10">
            <a:extLst>
              <a:ext uri="{FF2B5EF4-FFF2-40B4-BE49-F238E27FC236}">
                <a16:creationId xmlns:a16="http://schemas.microsoft.com/office/drawing/2014/main" id="{2F8D0D6C-E567-4203-98F4-CDA59CD7A618}"/>
              </a:ext>
            </a:extLst>
          </p:cNvPr>
          <p:cNvGrpSpPr>
            <a:grpSpLocks noChangeAspect="1"/>
          </p:cNvGrpSpPr>
          <p:nvPr/>
        </p:nvGrpSpPr>
        <p:grpSpPr bwMode="gray">
          <a:xfrm>
            <a:off x="7546378" y="2129253"/>
            <a:ext cx="1953757" cy="2671200"/>
            <a:chOff x="957" y="1158"/>
            <a:chExt cx="1108" cy="1434"/>
          </a:xfrm>
        </p:grpSpPr>
        <p:sp>
          <p:nvSpPr>
            <p:cNvPr id="45" name="Rectangle 11">
              <a:extLst>
                <a:ext uri="{FF2B5EF4-FFF2-40B4-BE49-F238E27FC236}">
                  <a16:creationId xmlns:a16="http://schemas.microsoft.com/office/drawing/2014/main" id="{B21D2B1B-6331-488D-9386-D139F8F7CA3B}"/>
                </a:ext>
              </a:extLst>
            </p:cNvPr>
            <p:cNvSpPr>
              <a:spLocks noChangeArrowheads="1"/>
            </p:cNvSpPr>
            <p:nvPr/>
          </p:nvSpPr>
          <p:spPr bwMode="gray">
            <a:xfrm>
              <a:off x="1605" y="1275"/>
              <a:ext cx="264" cy="864"/>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endParaRPr lang="de-DE" altLang="de-DE">
                <a:solidFill>
                  <a:srgbClr val="000000"/>
                </a:solidFill>
              </a:endParaRPr>
            </a:p>
          </p:txBody>
        </p:sp>
        <p:sp>
          <p:nvSpPr>
            <p:cNvPr id="46" name="Rectangle 12">
              <a:extLst>
                <a:ext uri="{FF2B5EF4-FFF2-40B4-BE49-F238E27FC236}">
                  <a16:creationId xmlns:a16="http://schemas.microsoft.com/office/drawing/2014/main" id="{96D0D7C2-9291-425A-BC3A-CAD6A365B669}"/>
                </a:ext>
              </a:extLst>
            </p:cNvPr>
            <p:cNvSpPr>
              <a:spLocks noChangeArrowheads="1"/>
            </p:cNvSpPr>
            <p:nvPr/>
          </p:nvSpPr>
          <p:spPr bwMode="gray">
            <a:xfrm>
              <a:off x="1035" y="1548"/>
              <a:ext cx="156" cy="198"/>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defRPr>
              </a:lvl9pPr>
            </a:lstStyle>
            <a:p>
              <a:pPr eaLnBrk="1" hangingPunct="1"/>
              <a:endParaRPr lang="de-DE" altLang="de-DE">
                <a:solidFill>
                  <a:srgbClr val="000000"/>
                </a:solidFill>
              </a:endParaRPr>
            </a:p>
          </p:txBody>
        </p:sp>
        <p:pic>
          <p:nvPicPr>
            <p:cNvPr id="47" name="Picture 13" descr="EL3060_3dr_O2">
              <a:extLst>
                <a:ext uri="{FF2B5EF4-FFF2-40B4-BE49-F238E27FC236}">
                  <a16:creationId xmlns:a16="http://schemas.microsoft.com/office/drawing/2014/main" id="{3856BF4D-13EB-4F35-9CBA-0BA409B2D7EC}"/>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957" y="1158"/>
              <a:ext cx="1108" cy="1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8" name="Picture 47">
            <a:extLst>
              <a:ext uri="{FF2B5EF4-FFF2-40B4-BE49-F238E27FC236}">
                <a16:creationId xmlns:a16="http://schemas.microsoft.com/office/drawing/2014/main" id="{A3725DD0-2A4C-4DE9-8E9B-14AEA326082D}"/>
              </a:ext>
            </a:extLst>
          </p:cNvPr>
          <p:cNvPicPr>
            <a:picLocks noChangeAspect="1"/>
          </p:cNvPicPr>
          <p:nvPr/>
        </p:nvPicPr>
        <p:blipFill rotWithShape="1">
          <a:blip r:embed="rId13">
            <a:duotone>
              <a:schemeClr val="bg2">
                <a:shade val="45000"/>
                <a:satMod val="135000"/>
              </a:schemeClr>
              <a:prstClr val="white"/>
            </a:duotone>
          </a:blip>
          <a:srcRect l="6735" r="9672"/>
          <a:stretch/>
        </p:blipFill>
        <p:spPr bwMode="gray">
          <a:xfrm>
            <a:off x="10483611" y="5330826"/>
            <a:ext cx="256889" cy="420992"/>
          </a:xfrm>
          <a:prstGeom prst="rect">
            <a:avLst/>
          </a:prstGeom>
        </p:spPr>
      </p:pic>
      <p:pic>
        <p:nvPicPr>
          <p:cNvPr id="49" name="Grafik 21">
            <a:extLst>
              <a:ext uri="{FF2B5EF4-FFF2-40B4-BE49-F238E27FC236}">
                <a16:creationId xmlns:a16="http://schemas.microsoft.com/office/drawing/2014/main" id="{9BA40053-E66C-48D1-9181-F0D9A5818B5D}"/>
              </a:ext>
            </a:extLst>
          </p:cNvPr>
          <p:cNvPicPr>
            <a:picLocks noChangeAspect="1"/>
          </p:cNvPicPr>
          <p:nvPr/>
        </p:nvPicPr>
        <p:blipFill rotWithShape="1">
          <a:blip r:embed="rId14">
            <a:duotone>
              <a:schemeClr val="bg2">
                <a:shade val="45000"/>
                <a:satMod val="135000"/>
              </a:schemeClr>
              <a:prstClr val="white"/>
            </a:duotone>
            <a:extLst>
              <a:ext uri="{28A0092B-C50C-407E-A947-70E740481C1C}">
                <a14:useLocalDpi xmlns:a14="http://schemas.microsoft.com/office/drawing/2010/main" val="0"/>
              </a:ext>
            </a:extLst>
          </a:blip>
          <a:srcRect l="12621" r="15480"/>
          <a:stretch/>
        </p:blipFill>
        <p:spPr bwMode="gray">
          <a:xfrm>
            <a:off x="11120185" y="5346775"/>
            <a:ext cx="253595" cy="352711"/>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1183516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83">
                                            <p:txEl>
                                              <p:pRg st="2" end="2"/>
                                            </p:txEl>
                                          </p:spTgt>
                                        </p:tgtEl>
                                        <p:attrNameLst>
                                          <p:attrName>style.visibility</p:attrName>
                                        </p:attrNameLst>
                                      </p:cBhvr>
                                      <p:to>
                                        <p:strVal val="visible"/>
                                      </p:to>
                                    </p:set>
                                  </p:childTnLst>
                                </p:cTn>
                              </p:par>
                              <p:par>
                                <p:cTn id="7" presetID="10" presetClass="entr" presetSubtype="0" fill="hold" grpId="0" nodeType="withEffect" nodePh="1">
                                  <p:stCondLst>
                                    <p:cond delay="0"/>
                                  </p:stCondLst>
                                  <p:endCondLst>
                                    <p:cond evt="begin" delay="0">
                                      <p:tn val="7"/>
                                    </p:cond>
                                  </p:endCondLst>
                                  <p:childTnLst>
                                    <p:set>
                                      <p:cBhvr>
                                        <p:cTn id="8" dur="1" fill="hold">
                                          <p:stCondLst>
                                            <p:cond delay="0"/>
                                          </p:stCondLst>
                                        </p:cTn>
                                        <p:tgtEl>
                                          <p:spTgt spid="32"/>
                                        </p:tgtEl>
                                        <p:attrNameLst>
                                          <p:attrName>style.visibility</p:attrName>
                                        </p:attrNameLst>
                                      </p:cBhvr>
                                      <p:to>
                                        <p:strVal val="visible"/>
                                      </p:to>
                                    </p:set>
                                    <p:animEffect transition="in" filter="fade">
                                      <p:cBhvr>
                                        <p:cTn id="9" dur="500"/>
                                        <p:tgtEl>
                                          <p:spTgt spid="32"/>
                                        </p:tgtEl>
                                      </p:cBhvr>
                                    </p:animEffect>
                                  </p:childTnLst>
                                </p:cTn>
                              </p:par>
                              <p:par>
                                <p:cTn id="10" presetID="10" presetClass="entr" presetSubtype="0" fill="hold" nodeType="with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childTnLst>
                          </p:cTn>
                        </p:par>
                        <p:par>
                          <p:cTn id="13" fill="hold">
                            <p:stCondLst>
                              <p:cond delay="500"/>
                            </p:stCondLst>
                            <p:childTnLst>
                              <p:par>
                                <p:cTn id="14" presetID="1" presetClass="entr" presetSubtype="0" fill="hold" nodeType="afterEffect">
                                  <p:stCondLst>
                                    <p:cond delay="0"/>
                                  </p:stCondLst>
                                  <p:childTnLst>
                                    <p:set>
                                      <p:cBhvr>
                                        <p:cTn id="15" dur="1" fill="hold">
                                          <p:stCondLst>
                                            <p:cond delay="0"/>
                                          </p:stCondLst>
                                        </p:cTn>
                                        <p:tgtEl>
                                          <p:spTgt spid="38"/>
                                        </p:tgtEl>
                                        <p:attrNameLst>
                                          <p:attrName>style.visibility</p:attrName>
                                        </p:attrNameLst>
                                      </p:cBhvr>
                                      <p:to>
                                        <p:strVal val="visible"/>
                                      </p:to>
                                    </p:set>
                                  </p:childTnLst>
                                </p:cTn>
                              </p:par>
                            </p:childTnLst>
                          </p:cTn>
                        </p:par>
                        <p:par>
                          <p:cTn id="16" fill="hold">
                            <p:stCondLst>
                              <p:cond delay="500"/>
                            </p:stCondLst>
                            <p:childTnLst>
                              <p:par>
                                <p:cTn id="17" presetID="1" presetClass="entr" presetSubtype="0" fill="hold" nodeType="afterEffect">
                                  <p:stCondLst>
                                    <p:cond delay="250"/>
                                  </p:stCondLst>
                                  <p:childTnLst>
                                    <p:set>
                                      <p:cBhvr>
                                        <p:cTn id="18" dur="1" fill="hold">
                                          <p:stCondLst>
                                            <p:cond delay="0"/>
                                          </p:stCondLst>
                                        </p:cTn>
                                        <p:tgtEl>
                                          <p:spTgt spid="40"/>
                                        </p:tgtEl>
                                        <p:attrNameLst>
                                          <p:attrName>style.visibility</p:attrName>
                                        </p:attrNameLst>
                                      </p:cBhvr>
                                      <p:to>
                                        <p:strVal val="visible"/>
                                      </p:to>
                                    </p:set>
                                  </p:childTnLst>
                                </p:cTn>
                              </p:par>
                            </p:childTnLst>
                          </p:cTn>
                        </p:par>
                        <p:par>
                          <p:cTn id="19" fill="hold">
                            <p:stCondLst>
                              <p:cond delay="750"/>
                            </p:stCondLst>
                            <p:childTnLst>
                              <p:par>
                                <p:cTn id="20" presetID="1" presetClass="entr" presetSubtype="0" fill="hold" nodeType="afterEffect">
                                  <p:stCondLst>
                                    <p:cond delay="250"/>
                                  </p:stCondLst>
                                  <p:childTnLst>
                                    <p:set>
                                      <p:cBhvr>
                                        <p:cTn id="21" dur="1" fill="hold">
                                          <p:stCondLst>
                                            <p:cond delay="0"/>
                                          </p:stCondLst>
                                        </p:cTn>
                                        <p:tgtEl>
                                          <p:spTgt spid="39"/>
                                        </p:tgtEl>
                                        <p:attrNameLst>
                                          <p:attrName>style.visibility</p:attrName>
                                        </p:attrNameLst>
                                      </p:cBhvr>
                                      <p:to>
                                        <p:strVal val="visible"/>
                                      </p:to>
                                    </p:set>
                                  </p:childTnLst>
                                </p:cTn>
                              </p:par>
                            </p:childTnLst>
                          </p:cTn>
                        </p:par>
                        <p:par>
                          <p:cTn id="22" fill="hold">
                            <p:stCondLst>
                              <p:cond delay="1000"/>
                            </p:stCondLst>
                            <p:childTnLst>
                              <p:par>
                                <p:cTn id="23" presetID="1" presetClass="entr" presetSubtype="0" fill="hold" nodeType="afterEffect">
                                  <p:stCondLst>
                                    <p:cond delay="250"/>
                                  </p:stCondLst>
                                  <p:childTnLst>
                                    <p:set>
                                      <p:cBhvr>
                                        <p:cTn id="24" dur="1" fill="hold">
                                          <p:stCondLst>
                                            <p:cond delay="0"/>
                                          </p:stCondLst>
                                        </p:cTn>
                                        <p:tgtEl>
                                          <p:spTgt spid="41"/>
                                        </p:tgtEl>
                                        <p:attrNameLst>
                                          <p:attrName>style.visibility</p:attrName>
                                        </p:attrNameLst>
                                      </p:cBhvr>
                                      <p:to>
                                        <p:strVal val="visible"/>
                                      </p:to>
                                    </p:set>
                                  </p:childTnLst>
                                </p:cTn>
                              </p:par>
                            </p:childTnLst>
                          </p:cTn>
                        </p:par>
                        <p:par>
                          <p:cTn id="25" fill="hold">
                            <p:stCondLst>
                              <p:cond delay="1250"/>
                            </p:stCondLst>
                            <p:childTnLst>
                              <p:par>
                                <p:cTn id="26" presetID="1" presetClass="entr" presetSubtype="0" fill="hold" nodeType="afterEffect">
                                  <p:stCondLst>
                                    <p:cond delay="250"/>
                                  </p:stCondLst>
                                  <p:childTnLst>
                                    <p:set>
                                      <p:cBhvr>
                                        <p:cTn id="27" dur="1" fill="hold">
                                          <p:stCondLst>
                                            <p:cond delay="0"/>
                                          </p:stCondLst>
                                        </p:cTn>
                                        <p:tgtEl>
                                          <p:spTgt spid="42"/>
                                        </p:tgtEl>
                                        <p:attrNameLst>
                                          <p:attrName>style.visibility</p:attrName>
                                        </p:attrNameLst>
                                      </p:cBhvr>
                                      <p:to>
                                        <p:strVal val="visible"/>
                                      </p:to>
                                    </p:set>
                                  </p:childTnLst>
                                </p:cTn>
                              </p:par>
                            </p:childTnLst>
                          </p:cTn>
                        </p:par>
                        <p:par>
                          <p:cTn id="28" fill="hold">
                            <p:stCondLst>
                              <p:cond delay="1500"/>
                            </p:stCondLst>
                            <p:childTnLst>
                              <p:par>
                                <p:cTn id="29" presetID="1" presetClass="entr" presetSubtype="0" fill="hold" nodeType="afterEffect">
                                  <p:stCondLst>
                                    <p:cond delay="250"/>
                                  </p:stCondLst>
                                  <p:childTnLst>
                                    <p:set>
                                      <p:cBhvr>
                                        <p:cTn id="30" dur="1" fill="hold">
                                          <p:stCondLst>
                                            <p:cond delay="0"/>
                                          </p:stCondLst>
                                        </p:cTn>
                                        <p:tgtEl>
                                          <p:spTgt spid="48"/>
                                        </p:tgtEl>
                                        <p:attrNameLst>
                                          <p:attrName>style.visibility</p:attrName>
                                        </p:attrNameLst>
                                      </p:cBhvr>
                                      <p:to>
                                        <p:strVal val="visible"/>
                                      </p:to>
                                    </p:set>
                                  </p:childTnLst>
                                </p:cTn>
                              </p:par>
                            </p:childTnLst>
                          </p:cTn>
                        </p:par>
                        <p:par>
                          <p:cTn id="31" fill="hold">
                            <p:stCondLst>
                              <p:cond delay="1750"/>
                            </p:stCondLst>
                            <p:childTnLst>
                              <p:par>
                                <p:cTn id="32" presetID="1" presetClass="entr" presetSubtype="0" fill="hold" nodeType="afterEffect">
                                  <p:stCondLst>
                                    <p:cond delay="250"/>
                                  </p:stCondLst>
                                  <p:childTnLst>
                                    <p:set>
                                      <p:cBhvr>
                                        <p:cTn id="33"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895729-4838-4FBA-9525-4C794E35C2B3}"/>
              </a:ext>
            </a:extLst>
          </p:cNvPr>
          <p:cNvSpPr>
            <a:spLocks noGrp="1"/>
          </p:cNvSpPr>
          <p:nvPr>
            <p:ph type="title"/>
          </p:nvPr>
        </p:nvSpPr>
        <p:spPr/>
        <p:txBody>
          <a:bodyPr/>
          <a:lstStyle/>
          <a:p>
            <a:r>
              <a:rPr lang="de-DE" dirty="0"/>
              <a:t>AZ20 – </a:t>
            </a:r>
            <a:r>
              <a:rPr lang="de-DE" dirty="0" err="1"/>
              <a:t>Zirconia</a:t>
            </a:r>
            <a:r>
              <a:rPr lang="de-DE" dirty="0"/>
              <a:t> </a:t>
            </a:r>
            <a:r>
              <a:rPr lang="de-DE" dirty="0" err="1"/>
              <a:t>oxygen</a:t>
            </a:r>
            <a:r>
              <a:rPr lang="de-DE" dirty="0"/>
              <a:t> </a:t>
            </a:r>
            <a:r>
              <a:rPr lang="de-DE" dirty="0" err="1"/>
              <a:t>analyzer</a:t>
            </a:r>
            <a:endParaRPr lang="en-US" dirty="0"/>
          </a:p>
        </p:txBody>
      </p:sp>
      <p:sp>
        <p:nvSpPr>
          <p:cNvPr id="3" name="Footer Placeholder 2">
            <a:extLst>
              <a:ext uri="{FF2B5EF4-FFF2-40B4-BE49-F238E27FC236}">
                <a16:creationId xmlns:a16="http://schemas.microsoft.com/office/drawing/2014/main" id="{7E919A40-7C11-496C-84EF-12BE11CDC6DE}"/>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C6C240D1-5513-46A1-A36D-1F2415A6F1F8}"/>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92817489-0B95-4A2C-87BD-76732EF55F75}"/>
              </a:ext>
            </a:extLst>
          </p:cNvPr>
          <p:cNvSpPr>
            <a:spLocks noGrp="1"/>
          </p:cNvSpPr>
          <p:nvPr>
            <p:ph type="sldNum" sz="quarter" idx="12"/>
          </p:nvPr>
        </p:nvSpPr>
        <p:spPr/>
        <p:txBody>
          <a:bodyPr/>
          <a:lstStyle/>
          <a:p>
            <a:r>
              <a:rPr lang="en-US"/>
              <a:t>Slide </a:t>
            </a:r>
            <a:fld id="{619F89D8-7AE3-494A-97F3-03D680869632}" type="slidenum">
              <a:rPr lang="en-US" smtClean="0"/>
              <a:pPr/>
              <a:t>18</a:t>
            </a:fld>
            <a:endParaRPr lang="en-US" dirty="0"/>
          </a:p>
        </p:txBody>
      </p:sp>
      <p:sp>
        <p:nvSpPr>
          <p:cNvPr id="7" name="Content Placeholder 6">
            <a:extLst>
              <a:ext uri="{FF2B5EF4-FFF2-40B4-BE49-F238E27FC236}">
                <a16:creationId xmlns:a16="http://schemas.microsoft.com/office/drawing/2014/main" id="{27D3F8D2-FC9F-4FAA-B465-3C9532F93822}"/>
              </a:ext>
            </a:extLst>
          </p:cNvPr>
          <p:cNvSpPr>
            <a:spLocks noGrp="1"/>
          </p:cNvSpPr>
          <p:nvPr>
            <p:ph sz="quarter" idx="19"/>
          </p:nvPr>
        </p:nvSpPr>
        <p:spPr/>
        <p:txBody>
          <a:bodyPr/>
          <a:lstStyle/>
          <a:p>
            <a:pPr indent="-180018"/>
            <a:r>
              <a:rPr lang="pl-PL" altLang="en-US" dirty="0"/>
              <a:t>R</a:t>
            </a:r>
            <a:r>
              <a:rPr lang="en-US" altLang="en-US" dirty="0" err="1"/>
              <a:t>obust</a:t>
            </a:r>
            <a:r>
              <a:rPr lang="en-US" altLang="en-US" dirty="0"/>
              <a:t>, long-life probe</a:t>
            </a:r>
          </a:p>
          <a:p>
            <a:pPr lvl="1"/>
            <a:r>
              <a:rPr lang="pl-PL" altLang="en-US" dirty="0"/>
              <a:t>P</a:t>
            </a:r>
            <a:r>
              <a:rPr lang="en-US" altLang="en-US" dirty="0" err="1"/>
              <a:t>roven</a:t>
            </a:r>
            <a:r>
              <a:rPr lang="en-US" altLang="en-US" dirty="0"/>
              <a:t> cell design from over 50 years experience</a:t>
            </a:r>
          </a:p>
          <a:p>
            <a:pPr lvl="1"/>
            <a:r>
              <a:rPr lang="pl-PL" altLang="en-US" dirty="0"/>
              <a:t>F</a:t>
            </a:r>
            <a:r>
              <a:rPr lang="en-US" altLang="en-US" dirty="0" err="1"/>
              <a:t>ast</a:t>
            </a:r>
            <a:r>
              <a:rPr lang="en-US" altLang="en-US" dirty="0"/>
              <a:t> response to process variations</a:t>
            </a:r>
          </a:p>
          <a:p>
            <a:pPr lvl="1"/>
            <a:r>
              <a:rPr lang="pl-PL" altLang="en-US" dirty="0"/>
              <a:t>S</a:t>
            </a:r>
            <a:r>
              <a:rPr lang="en-US" altLang="en-US" dirty="0"/>
              <a:t>table, accurate and low drift Oxygen measurement </a:t>
            </a:r>
          </a:p>
          <a:p>
            <a:pPr indent="-180018"/>
            <a:r>
              <a:rPr lang="de-DE" dirty="0"/>
              <a:t>Easy </a:t>
            </a:r>
            <a:r>
              <a:rPr lang="de-DE" dirty="0" err="1"/>
              <a:t>operation</a:t>
            </a:r>
            <a:endParaRPr lang="de-DE" dirty="0"/>
          </a:p>
          <a:p>
            <a:pPr lvl="1"/>
            <a:r>
              <a:rPr lang="de-DE" dirty="0"/>
              <a:t>Simple and intuitive 4-key </a:t>
            </a:r>
            <a:r>
              <a:rPr lang="de-DE" dirty="0" err="1"/>
              <a:t>operation</a:t>
            </a:r>
            <a:endParaRPr lang="de-DE" dirty="0"/>
          </a:p>
          <a:p>
            <a:pPr lvl="1"/>
            <a:r>
              <a:rPr lang="de-DE" dirty="0"/>
              <a:t>Easy Setup </a:t>
            </a:r>
            <a:r>
              <a:rPr lang="de-DE" dirty="0" err="1"/>
              <a:t>menu</a:t>
            </a:r>
            <a:endParaRPr lang="de-DE" dirty="0"/>
          </a:p>
          <a:p>
            <a:pPr lvl="1"/>
            <a:r>
              <a:rPr lang="de-DE" dirty="0"/>
              <a:t>Internal </a:t>
            </a:r>
            <a:r>
              <a:rPr lang="de-DE" dirty="0" err="1"/>
              <a:t>data-logging</a:t>
            </a:r>
            <a:r>
              <a:rPr lang="de-DE" dirty="0"/>
              <a:t> (</a:t>
            </a:r>
            <a:r>
              <a:rPr lang="de-DE" dirty="0" err="1"/>
              <a:t>up</a:t>
            </a:r>
            <a:r>
              <a:rPr lang="de-DE" dirty="0"/>
              <a:t> </a:t>
            </a:r>
            <a:r>
              <a:rPr lang="de-DE" dirty="0" err="1"/>
              <a:t>to</a:t>
            </a:r>
            <a:r>
              <a:rPr lang="de-DE" dirty="0"/>
              <a:t> 100 </a:t>
            </a:r>
            <a:r>
              <a:rPr lang="de-DE" dirty="0" err="1"/>
              <a:t>events</a:t>
            </a:r>
            <a:r>
              <a:rPr lang="de-DE" dirty="0"/>
              <a:t>)</a:t>
            </a:r>
          </a:p>
          <a:p>
            <a:r>
              <a:rPr lang="en-US" dirty="0"/>
              <a:t>Unique integrated auto-calibration system</a:t>
            </a:r>
          </a:p>
          <a:p>
            <a:pPr lvl="1"/>
            <a:r>
              <a:rPr lang="en-US" dirty="0"/>
              <a:t>Integral to the probe head</a:t>
            </a:r>
          </a:p>
          <a:p>
            <a:pPr lvl="1"/>
            <a:r>
              <a:rPr lang="en-US" dirty="0"/>
              <a:t>Controls the sequence and test gas flow rate</a:t>
            </a:r>
          </a:p>
          <a:p>
            <a:pPr lvl="1"/>
            <a:r>
              <a:rPr lang="en-US" dirty="0"/>
              <a:t>Detects test gas availability</a:t>
            </a:r>
            <a:endParaRPr lang="de-DE" dirty="0"/>
          </a:p>
          <a:p>
            <a:pPr lvl="1"/>
            <a:endParaRPr lang="en-US" dirty="0"/>
          </a:p>
          <a:p>
            <a:pPr lvl="1"/>
            <a:endParaRPr lang="en-US" dirty="0"/>
          </a:p>
        </p:txBody>
      </p:sp>
      <p:sp>
        <p:nvSpPr>
          <p:cNvPr id="8" name="Subtitle 7">
            <a:extLst>
              <a:ext uri="{FF2B5EF4-FFF2-40B4-BE49-F238E27FC236}">
                <a16:creationId xmlns:a16="http://schemas.microsoft.com/office/drawing/2014/main" id="{A367C9C8-23FF-4627-8CC4-E2C9A8C7A6F4}"/>
              </a:ext>
            </a:extLst>
          </p:cNvPr>
          <p:cNvSpPr>
            <a:spLocks noGrp="1"/>
          </p:cNvSpPr>
          <p:nvPr>
            <p:ph type="subTitle" idx="13"/>
          </p:nvPr>
        </p:nvSpPr>
        <p:spPr/>
        <p:txBody>
          <a:bodyPr/>
          <a:lstStyle/>
          <a:p>
            <a:r>
              <a:rPr lang="de-DE" dirty="0"/>
              <a:t>Robust, easy </a:t>
            </a:r>
            <a:r>
              <a:rPr lang="de-DE" dirty="0" err="1"/>
              <a:t>operation</a:t>
            </a:r>
            <a:r>
              <a:rPr lang="de-DE" dirty="0"/>
              <a:t>, </a:t>
            </a:r>
            <a:r>
              <a:rPr lang="de-DE" dirty="0" err="1"/>
              <a:t>integrated</a:t>
            </a:r>
            <a:r>
              <a:rPr lang="de-DE" dirty="0"/>
              <a:t> auto-cal feature</a:t>
            </a:r>
            <a:endParaRPr lang="en-US" dirty="0"/>
          </a:p>
        </p:txBody>
      </p:sp>
      <p:pic>
        <p:nvPicPr>
          <p:cNvPr id="19" name="Content Placeholder 18">
            <a:extLst>
              <a:ext uri="{FF2B5EF4-FFF2-40B4-BE49-F238E27FC236}">
                <a16:creationId xmlns:a16="http://schemas.microsoft.com/office/drawing/2014/main" id="{1B6641C4-44ED-49A5-9A10-AD3C7436EB99}"/>
              </a:ext>
            </a:extLst>
          </p:cNvPr>
          <p:cNvPicPr>
            <a:picLocks noGrp="1" noChangeAspect="1"/>
          </p:cNvPicPr>
          <p:nvPr>
            <p:ph sz="quarter" idx="20"/>
          </p:nvPr>
        </p:nvPicPr>
        <p:blipFill>
          <a:blip r:embed="rId2" cstate="email">
            <a:extLst>
              <a:ext uri="{28A0092B-C50C-407E-A947-70E740481C1C}">
                <a14:useLocalDpi xmlns:a14="http://schemas.microsoft.com/office/drawing/2010/main"/>
              </a:ext>
            </a:extLst>
          </a:blip>
          <a:stretch>
            <a:fillRect/>
          </a:stretch>
        </p:blipFill>
        <p:spPr>
          <a:xfrm>
            <a:off x="6248400" y="2756998"/>
            <a:ext cx="5605463" cy="2329842"/>
          </a:xfrm>
          <a:prstGeom prst="rect">
            <a:avLst/>
          </a:prstGeom>
        </p:spPr>
      </p:pic>
    </p:spTree>
    <p:extLst>
      <p:ext uri="{BB962C8B-B14F-4D97-AF65-F5344CB8AC3E}">
        <p14:creationId xmlns:p14="http://schemas.microsoft.com/office/powerpoint/2010/main" val="89057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CBEE00-8D68-48E8-B07E-45B9D42DA6A5}"/>
              </a:ext>
            </a:extLst>
          </p:cNvPr>
          <p:cNvSpPr>
            <a:spLocks noGrp="1"/>
          </p:cNvSpPr>
          <p:nvPr>
            <p:ph type="title"/>
          </p:nvPr>
        </p:nvSpPr>
        <p:spPr/>
        <p:txBody>
          <a:bodyPr/>
          <a:lstStyle/>
          <a:p>
            <a:r>
              <a:rPr lang="de-DE" dirty="0"/>
              <a:t>PGC1000 – </a:t>
            </a:r>
            <a:r>
              <a:rPr lang="de-DE" dirty="0" err="1"/>
              <a:t>Process</a:t>
            </a:r>
            <a:r>
              <a:rPr lang="de-DE" dirty="0"/>
              <a:t> Gas </a:t>
            </a:r>
            <a:r>
              <a:rPr lang="de-DE" dirty="0" err="1"/>
              <a:t>Chromatograph</a:t>
            </a:r>
            <a:endParaRPr lang="en-US" dirty="0"/>
          </a:p>
        </p:txBody>
      </p:sp>
      <p:sp>
        <p:nvSpPr>
          <p:cNvPr id="3" name="Footer Placeholder 2">
            <a:extLst>
              <a:ext uri="{FF2B5EF4-FFF2-40B4-BE49-F238E27FC236}">
                <a16:creationId xmlns:a16="http://schemas.microsoft.com/office/drawing/2014/main" id="{FCFAE6ED-2BD2-4128-8E53-17204230E1D0}"/>
              </a:ext>
            </a:extLst>
          </p:cNvPr>
          <p:cNvSpPr>
            <a:spLocks noGrp="1"/>
          </p:cNvSpPr>
          <p:nvPr>
            <p:ph type="ftr" sz="quarter" idx="10"/>
          </p:nvPr>
        </p:nvSpPr>
        <p:spPr/>
        <p:txBody>
          <a:bodyPr/>
          <a:lstStyle/>
          <a:p>
            <a:pPr lvl="8"/>
            <a:r>
              <a:rPr lang="de-DE" dirty="0"/>
              <a:t>* TCD – Thermal </a:t>
            </a:r>
            <a:r>
              <a:rPr lang="de-DE" dirty="0" err="1"/>
              <a:t>Conductivity</a:t>
            </a:r>
            <a:r>
              <a:rPr lang="de-DE" dirty="0"/>
              <a:t> </a:t>
            </a:r>
            <a:r>
              <a:rPr lang="de-DE" dirty="0" err="1"/>
              <a:t>Detector</a:t>
            </a:r>
            <a:endParaRPr lang="en-US" dirty="0"/>
          </a:p>
        </p:txBody>
      </p:sp>
      <p:sp>
        <p:nvSpPr>
          <p:cNvPr id="4" name="Date Placeholder 3">
            <a:extLst>
              <a:ext uri="{FF2B5EF4-FFF2-40B4-BE49-F238E27FC236}">
                <a16:creationId xmlns:a16="http://schemas.microsoft.com/office/drawing/2014/main" id="{EBE1B4DB-3CFC-4CD0-BEE2-24EA81F3D1E0}"/>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4667624C-1D59-4393-9565-8006A2D10510}"/>
              </a:ext>
            </a:extLst>
          </p:cNvPr>
          <p:cNvSpPr>
            <a:spLocks noGrp="1"/>
          </p:cNvSpPr>
          <p:nvPr>
            <p:ph type="sldNum" sz="quarter" idx="12"/>
          </p:nvPr>
        </p:nvSpPr>
        <p:spPr/>
        <p:txBody>
          <a:bodyPr/>
          <a:lstStyle/>
          <a:p>
            <a:r>
              <a:rPr lang="en-US"/>
              <a:t>Slide </a:t>
            </a:r>
            <a:fld id="{619F89D8-7AE3-494A-97F3-03D680869632}" type="slidenum">
              <a:rPr lang="en-US" smtClean="0"/>
              <a:pPr/>
              <a:t>19</a:t>
            </a:fld>
            <a:endParaRPr lang="en-US" dirty="0"/>
          </a:p>
        </p:txBody>
      </p:sp>
      <p:pic>
        <p:nvPicPr>
          <p:cNvPr id="10" name="Content Placeholder 9">
            <a:extLst>
              <a:ext uri="{FF2B5EF4-FFF2-40B4-BE49-F238E27FC236}">
                <a16:creationId xmlns:a16="http://schemas.microsoft.com/office/drawing/2014/main" id="{AACFA058-1481-4774-9D35-D9CE3285A22B}"/>
              </a:ext>
            </a:extLst>
          </p:cNvPr>
          <p:cNvPicPr>
            <a:picLocks noGrp="1" noChangeAspect="1"/>
          </p:cNvPicPr>
          <p:nvPr>
            <p:ph sz="quarter" idx="20"/>
          </p:nvPr>
        </p:nvPicPr>
        <p:blipFill>
          <a:blip r:embed="rId2"/>
          <a:stretch>
            <a:fillRect/>
          </a:stretch>
        </p:blipFill>
        <p:spPr>
          <a:xfrm>
            <a:off x="6500000" y="2052918"/>
            <a:ext cx="4895402" cy="3059626"/>
          </a:xfrm>
        </p:spPr>
      </p:pic>
      <p:sp>
        <p:nvSpPr>
          <p:cNvPr id="7" name="Content Placeholder 6">
            <a:extLst>
              <a:ext uri="{FF2B5EF4-FFF2-40B4-BE49-F238E27FC236}">
                <a16:creationId xmlns:a16="http://schemas.microsoft.com/office/drawing/2014/main" id="{4F41C17D-90C1-448B-A8A2-444045B82FA0}"/>
              </a:ext>
            </a:extLst>
          </p:cNvPr>
          <p:cNvSpPr>
            <a:spLocks noGrp="1"/>
          </p:cNvSpPr>
          <p:nvPr>
            <p:ph sz="quarter" idx="19"/>
          </p:nvPr>
        </p:nvSpPr>
        <p:spPr/>
        <p:txBody>
          <a:bodyPr/>
          <a:lstStyle/>
          <a:p>
            <a:r>
              <a:rPr lang="en-US" dirty="0"/>
              <a:t>Compact</a:t>
            </a:r>
          </a:p>
          <a:p>
            <a:pPr lvl="1"/>
            <a:r>
              <a:rPr lang="en-US" dirty="0"/>
              <a:t>Mounted much closer to sample point</a:t>
            </a:r>
          </a:p>
          <a:p>
            <a:r>
              <a:rPr lang="en-US" dirty="0"/>
              <a:t>Versatile</a:t>
            </a:r>
          </a:p>
          <a:p>
            <a:pPr lvl="1"/>
            <a:r>
              <a:rPr lang="en-US" dirty="0"/>
              <a:t>Capable of a variety of vapor applications</a:t>
            </a:r>
          </a:p>
          <a:p>
            <a:r>
              <a:rPr lang="en-US" dirty="0"/>
              <a:t>Cost Effective</a:t>
            </a:r>
          </a:p>
          <a:p>
            <a:pPr lvl="1"/>
            <a:r>
              <a:rPr lang="en-US" dirty="0" err="1"/>
              <a:t>Shelterless</a:t>
            </a:r>
            <a:r>
              <a:rPr lang="en-US" dirty="0"/>
              <a:t> (if sample conditions allow)</a:t>
            </a:r>
          </a:p>
          <a:p>
            <a:pPr lvl="1"/>
            <a:r>
              <a:rPr lang="en-US" dirty="0"/>
              <a:t>Low utility consumption</a:t>
            </a:r>
          </a:p>
          <a:p>
            <a:r>
              <a:rPr lang="en-US" dirty="0"/>
              <a:t>Quality</a:t>
            </a:r>
          </a:p>
          <a:p>
            <a:pPr lvl="1"/>
            <a:r>
              <a:rPr lang="en-US" dirty="0"/>
              <a:t>Conventional analytical components</a:t>
            </a:r>
          </a:p>
          <a:p>
            <a:pPr lvl="1"/>
            <a:r>
              <a:rPr lang="en-US" dirty="0"/>
              <a:t>Highly sensitive TCD* for </a:t>
            </a:r>
            <a:r>
              <a:rPr lang="de-DE" dirty="0"/>
              <a:t>C1-C9+, </a:t>
            </a:r>
            <a:r>
              <a:rPr lang="de-DE" dirty="0" err="1"/>
              <a:t>inerts</a:t>
            </a:r>
            <a:r>
              <a:rPr lang="de-DE" dirty="0"/>
              <a:t> and H</a:t>
            </a:r>
            <a:r>
              <a:rPr lang="de-DE" baseline="-25000" dirty="0"/>
              <a:t>2</a:t>
            </a:r>
            <a:r>
              <a:rPr lang="de-DE" dirty="0"/>
              <a:t>S</a:t>
            </a:r>
            <a:endParaRPr lang="en-US" dirty="0"/>
          </a:p>
          <a:p>
            <a:pPr lvl="1"/>
            <a:r>
              <a:rPr lang="en-US" dirty="0"/>
              <a:t>Modularity of hardware and software</a:t>
            </a:r>
          </a:p>
        </p:txBody>
      </p:sp>
      <p:sp>
        <p:nvSpPr>
          <p:cNvPr id="8" name="Subtitle 7">
            <a:extLst>
              <a:ext uri="{FF2B5EF4-FFF2-40B4-BE49-F238E27FC236}">
                <a16:creationId xmlns:a16="http://schemas.microsoft.com/office/drawing/2014/main" id="{D65FD280-78B6-4100-815C-3DFE0884149A}"/>
              </a:ext>
            </a:extLst>
          </p:cNvPr>
          <p:cNvSpPr>
            <a:spLocks noGrp="1"/>
          </p:cNvSpPr>
          <p:nvPr>
            <p:ph type="subTitle" idx="13"/>
          </p:nvPr>
        </p:nvSpPr>
        <p:spPr/>
        <p:txBody>
          <a:bodyPr/>
          <a:lstStyle/>
          <a:p>
            <a:r>
              <a:rPr lang="de-DE" dirty="0"/>
              <a:t>Compact, </a:t>
            </a:r>
            <a:r>
              <a:rPr lang="de-DE" dirty="0" err="1"/>
              <a:t>shelterless</a:t>
            </a:r>
            <a:r>
              <a:rPr lang="de-DE" dirty="0"/>
              <a:t>, </a:t>
            </a:r>
            <a:r>
              <a:rPr lang="de-DE" dirty="0" err="1"/>
              <a:t>cost</a:t>
            </a:r>
            <a:r>
              <a:rPr lang="de-DE" dirty="0"/>
              <a:t> </a:t>
            </a:r>
            <a:r>
              <a:rPr lang="de-DE" dirty="0" err="1"/>
              <a:t>effective</a:t>
            </a:r>
            <a:r>
              <a:rPr lang="de-DE" dirty="0"/>
              <a:t>, </a:t>
            </a:r>
            <a:r>
              <a:rPr lang="de-DE" dirty="0" err="1"/>
              <a:t>quality</a:t>
            </a:r>
            <a:endParaRPr lang="en-US" dirty="0"/>
          </a:p>
        </p:txBody>
      </p:sp>
    </p:spTree>
    <p:extLst>
      <p:ext uri="{BB962C8B-B14F-4D97-AF65-F5344CB8AC3E}">
        <p14:creationId xmlns:p14="http://schemas.microsoft.com/office/powerpoint/2010/main" val="315841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de-DE" dirty="0"/>
              <a:t>Agenda</a:t>
            </a:r>
            <a:endParaRPr lang="en-US" dirty="0"/>
          </a:p>
        </p:txBody>
      </p:sp>
      <p:sp>
        <p:nvSpPr>
          <p:cNvPr id="37" name="Subtitle 36">
            <a:extLst>
              <a:ext uri="{FF2B5EF4-FFF2-40B4-BE49-F238E27FC236}">
                <a16:creationId xmlns:a16="http://schemas.microsoft.com/office/drawing/2014/main" id="{41E5812D-4F74-4935-9BD1-AF7EB1DA260C}"/>
              </a:ext>
            </a:extLst>
          </p:cNvPr>
          <p:cNvSpPr>
            <a:spLocks noGrp="1"/>
          </p:cNvSpPr>
          <p:nvPr>
            <p:ph type="subTitle" idx="13"/>
          </p:nvPr>
        </p:nvSpPr>
        <p:spPr bwMode="gray"/>
        <p:txBody>
          <a:bodyPr/>
          <a:lstStyle/>
          <a:p>
            <a:endParaRPr lang="de-DE"/>
          </a:p>
        </p:txBody>
      </p:sp>
      <p:cxnSp>
        <p:nvCxnSpPr>
          <p:cNvPr id="26" name="Straight Arrow Connector 25">
            <a:extLst>
              <a:ext uri="{FF2B5EF4-FFF2-40B4-BE49-F238E27FC236}">
                <a16:creationId xmlns:a16="http://schemas.microsoft.com/office/drawing/2014/main" id="{47056F3A-B67E-4435-9474-E9E3E679C590}"/>
              </a:ext>
            </a:extLst>
          </p:cNvPr>
          <p:cNvCxnSpPr>
            <a:cxnSpLocks/>
          </p:cNvCxnSpPr>
          <p:nvPr/>
        </p:nvCxnSpPr>
        <p:spPr bwMode="gray">
          <a:xfrm flipV="1">
            <a:off x="333264" y="2679841"/>
            <a:ext cx="11520000" cy="1"/>
          </a:xfrm>
          <a:prstGeom prst="straightConnector1">
            <a:avLst/>
          </a:prstGeom>
          <a:ln w="19050">
            <a:solidFill>
              <a:schemeClr val="accent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59E02D15-68C4-43C7-8E6D-EB694E30CC0F}"/>
              </a:ext>
            </a:extLst>
          </p:cNvPr>
          <p:cNvCxnSpPr>
            <a:cxnSpLocks/>
          </p:cNvCxnSpPr>
          <p:nvPr/>
        </p:nvCxnSpPr>
        <p:spPr bwMode="gray">
          <a:xfrm flipV="1">
            <a:off x="333264" y="4875754"/>
            <a:ext cx="11520000" cy="1"/>
          </a:xfrm>
          <a:prstGeom prst="straightConnector1">
            <a:avLst/>
          </a:prstGeom>
          <a:ln w="19050">
            <a:solidFill>
              <a:schemeClr val="accent3"/>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20" name="Snip Same Side Corner Rectangle 53">
            <a:extLst>
              <a:ext uri="{FF2B5EF4-FFF2-40B4-BE49-F238E27FC236}">
                <a16:creationId xmlns:a16="http://schemas.microsoft.com/office/drawing/2014/main" id="{7448876C-8C5E-4BAE-BA04-38EEA49DF7BE}"/>
              </a:ext>
            </a:extLst>
          </p:cNvPr>
          <p:cNvSpPr>
            <a:spLocks noChangeAspect="1"/>
          </p:cNvSpPr>
          <p:nvPr/>
        </p:nvSpPr>
        <p:spPr bwMode="gray">
          <a:xfrm rot="13500000" flipH="1">
            <a:off x="498744" y="2061529"/>
            <a:ext cx="275414" cy="548978"/>
          </a:xfrm>
          <a:custGeom>
            <a:avLst/>
            <a:gdLst/>
            <a:ahLst/>
            <a:cxnLst/>
            <a:rect l="l" t="t" r="r" b="b"/>
            <a:pathLst>
              <a:path w="436368" h="869804">
                <a:moveTo>
                  <a:pt x="58229" y="811577"/>
                </a:moveTo>
                <a:cubicBezTo>
                  <a:pt x="146570" y="899918"/>
                  <a:pt x="289800" y="899918"/>
                  <a:pt x="378141" y="811577"/>
                </a:cubicBezTo>
                <a:cubicBezTo>
                  <a:pt x="466482" y="723236"/>
                  <a:pt x="466482" y="580006"/>
                  <a:pt x="378141" y="491665"/>
                </a:cubicBezTo>
                <a:cubicBezTo>
                  <a:pt x="289800" y="403324"/>
                  <a:pt x="146570" y="403324"/>
                  <a:pt x="58229" y="491665"/>
                </a:cubicBezTo>
                <a:cubicBezTo>
                  <a:pt x="-30112" y="580006"/>
                  <a:pt x="-30112" y="723236"/>
                  <a:pt x="58229" y="811577"/>
                </a:cubicBezTo>
                <a:close/>
                <a:moveTo>
                  <a:pt x="0" y="869804"/>
                </a:moveTo>
                <a:cubicBezTo>
                  <a:pt x="-120499" y="749305"/>
                  <a:pt x="-120499" y="553935"/>
                  <a:pt x="0" y="433436"/>
                </a:cubicBezTo>
                <a:cubicBezTo>
                  <a:pt x="40846" y="392590"/>
                  <a:pt x="90294" y="365590"/>
                  <a:pt x="142803" y="353584"/>
                </a:cubicBezTo>
                <a:lnTo>
                  <a:pt x="142803" y="13739"/>
                </a:lnTo>
                <a:lnTo>
                  <a:pt x="156542" y="0"/>
                </a:lnTo>
                <a:lnTo>
                  <a:pt x="219743" y="0"/>
                </a:lnTo>
                <a:lnTo>
                  <a:pt x="233482" y="13739"/>
                </a:lnTo>
                <a:lnTo>
                  <a:pt x="233482" y="344527"/>
                </a:lnTo>
                <a:cubicBezTo>
                  <a:pt x="307311" y="347093"/>
                  <a:pt x="380024" y="377091"/>
                  <a:pt x="436368" y="433436"/>
                </a:cubicBezTo>
                <a:cubicBezTo>
                  <a:pt x="556868" y="553935"/>
                  <a:pt x="556868" y="749305"/>
                  <a:pt x="436368" y="869804"/>
                </a:cubicBezTo>
                <a:cubicBezTo>
                  <a:pt x="315869" y="990304"/>
                  <a:pt x="120500" y="990304"/>
                  <a:pt x="0" y="869804"/>
                </a:cubicBezTo>
                <a:close/>
              </a:path>
            </a:pathLst>
          </a:cu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dirty="0" err="1"/>
          </a:p>
        </p:txBody>
      </p:sp>
      <p:sp>
        <p:nvSpPr>
          <p:cNvPr id="25" name="Inhaltsplatzhalter 5">
            <a:extLst>
              <a:ext uri="{FF2B5EF4-FFF2-40B4-BE49-F238E27FC236}">
                <a16:creationId xmlns:a16="http://schemas.microsoft.com/office/drawing/2014/main" id="{0DF1A29F-68E2-44EB-BDCE-A1CE9D3ADBD8}"/>
              </a:ext>
            </a:extLst>
          </p:cNvPr>
          <p:cNvSpPr txBox="1">
            <a:spLocks/>
          </p:cNvSpPr>
          <p:nvPr/>
        </p:nvSpPr>
        <p:spPr bwMode="gray">
          <a:xfrm flipH="1">
            <a:off x="332365" y="2679842"/>
            <a:ext cx="2090904" cy="1031984"/>
          </a:xfrm>
          <a:prstGeom prst="rect">
            <a:avLst/>
          </a:prstGeom>
        </p:spPr>
        <p:txBody>
          <a:bodyPr vert="horz" lIns="0" tIns="72000" rIns="72000" bIns="7200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buClr>
                <a:schemeClr val="tx1"/>
              </a:buClr>
            </a:pPr>
            <a:r>
              <a:rPr lang="en-US" sz="1600" b="1" dirty="0"/>
              <a:t>1. </a:t>
            </a:r>
            <a:br>
              <a:rPr lang="en-US" sz="1600" b="1" dirty="0">
                <a:solidFill>
                  <a:schemeClr val="tx2"/>
                </a:solidFill>
              </a:rPr>
            </a:br>
            <a:r>
              <a:rPr lang="en-US" b="1" dirty="0">
                <a:solidFill>
                  <a:schemeClr val="tx2"/>
                </a:solidFill>
              </a:rPr>
              <a:t>Gas analyzer solutions for industrial gas</a:t>
            </a:r>
          </a:p>
          <a:p>
            <a:pPr lvl="1">
              <a:buClr>
                <a:schemeClr val="tx1"/>
              </a:buClr>
              <a:buFont typeface="ABBvoice" panose="020D0603020503020204" pitchFamily="34" charset="0"/>
              <a:buChar char="−"/>
            </a:pPr>
            <a:endParaRPr lang="en-US" sz="1200" dirty="0"/>
          </a:p>
        </p:txBody>
      </p:sp>
      <p:sp>
        <p:nvSpPr>
          <p:cNvPr id="27" name="Oval 26">
            <a:extLst>
              <a:ext uri="{FF2B5EF4-FFF2-40B4-BE49-F238E27FC236}">
                <a16:creationId xmlns:a16="http://schemas.microsoft.com/office/drawing/2014/main" id="{EAD63F51-D947-4F24-98FD-EB218C53B2E1}"/>
              </a:ext>
            </a:extLst>
          </p:cNvPr>
          <p:cNvSpPr>
            <a:spLocks noChangeAspect="1"/>
          </p:cNvSpPr>
          <p:nvPr/>
        </p:nvSpPr>
        <p:spPr bwMode="gray">
          <a:xfrm>
            <a:off x="629042" y="2651041"/>
            <a:ext cx="57600" cy="576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14" name="Inhaltsplatzhalter 5">
            <a:extLst>
              <a:ext uri="{FF2B5EF4-FFF2-40B4-BE49-F238E27FC236}">
                <a16:creationId xmlns:a16="http://schemas.microsoft.com/office/drawing/2014/main" id="{FB00209E-5266-4F02-8E7F-D9891CA78137}"/>
              </a:ext>
            </a:extLst>
          </p:cNvPr>
          <p:cNvSpPr txBox="1">
            <a:spLocks/>
          </p:cNvSpPr>
          <p:nvPr/>
        </p:nvSpPr>
        <p:spPr bwMode="gray">
          <a:xfrm flipH="1">
            <a:off x="332365" y="4875755"/>
            <a:ext cx="2090904" cy="1031984"/>
          </a:xfrm>
          <a:prstGeom prst="rect">
            <a:avLst/>
          </a:prstGeom>
        </p:spPr>
        <p:txBody>
          <a:bodyPr vert="horz" lIns="0" tIns="72000" rIns="72000" bIns="7200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buClr>
                <a:schemeClr val="tx1"/>
              </a:buClr>
            </a:pPr>
            <a:r>
              <a:rPr lang="en-US" sz="1600" b="1" dirty="0"/>
              <a:t>6.</a:t>
            </a:r>
            <a:br>
              <a:rPr lang="en-US" sz="1600" b="1" dirty="0">
                <a:solidFill>
                  <a:schemeClr val="tx2"/>
                </a:solidFill>
              </a:rPr>
            </a:br>
            <a:r>
              <a:rPr lang="en-US" b="1" dirty="0">
                <a:solidFill>
                  <a:schemeClr val="tx2"/>
                </a:solidFill>
              </a:rPr>
              <a:t>Natural Gas – </a:t>
            </a:r>
            <a:br>
              <a:rPr lang="en-US" b="1" dirty="0">
                <a:solidFill>
                  <a:schemeClr val="tx2"/>
                </a:solidFill>
              </a:rPr>
            </a:br>
            <a:r>
              <a:rPr lang="en-US" b="1" dirty="0">
                <a:solidFill>
                  <a:schemeClr val="tx2"/>
                </a:solidFill>
              </a:rPr>
              <a:t>LNG</a:t>
            </a:r>
            <a:r>
              <a:rPr lang="en-US" b="1" baseline="30000" dirty="0">
                <a:solidFill>
                  <a:schemeClr val="tx2"/>
                </a:solidFill>
              </a:rPr>
              <a:t>1</a:t>
            </a:r>
            <a:r>
              <a:rPr lang="en-US" b="1" dirty="0">
                <a:solidFill>
                  <a:schemeClr val="tx2"/>
                </a:solidFill>
              </a:rPr>
              <a:t> / CNG</a:t>
            </a:r>
            <a:r>
              <a:rPr lang="en-US" b="1" baseline="30000" dirty="0">
                <a:solidFill>
                  <a:schemeClr val="tx2"/>
                </a:solidFill>
              </a:rPr>
              <a:t>2</a:t>
            </a:r>
          </a:p>
          <a:p>
            <a:pPr lvl="1">
              <a:buClr>
                <a:schemeClr val="tx1"/>
              </a:buClr>
              <a:buFont typeface="ABBvoice" panose="020D0603020503020204" pitchFamily="34" charset="0"/>
              <a:buChar char="−"/>
            </a:pPr>
            <a:endParaRPr lang="en-US" sz="1200" dirty="0"/>
          </a:p>
        </p:txBody>
      </p:sp>
      <p:sp>
        <p:nvSpPr>
          <p:cNvPr id="115" name="Oval 114">
            <a:extLst>
              <a:ext uri="{FF2B5EF4-FFF2-40B4-BE49-F238E27FC236}">
                <a16:creationId xmlns:a16="http://schemas.microsoft.com/office/drawing/2014/main" id="{CEC54A22-E5D3-416F-83CC-2F5DC289FF7B}"/>
              </a:ext>
            </a:extLst>
          </p:cNvPr>
          <p:cNvSpPr>
            <a:spLocks noChangeAspect="1"/>
          </p:cNvSpPr>
          <p:nvPr/>
        </p:nvSpPr>
        <p:spPr bwMode="gray">
          <a:xfrm>
            <a:off x="629042" y="4846954"/>
            <a:ext cx="57600" cy="576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8" name="Inhaltsplatzhalter 5">
            <a:extLst>
              <a:ext uri="{FF2B5EF4-FFF2-40B4-BE49-F238E27FC236}">
                <a16:creationId xmlns:a16="http://schemas.microsoft.com/office/drawing/2014/main" id="{3E8E5B17-DDFF-4365-A797-5DBEA7BA0089}"/>
              </a:ext>
            </a:extLst>
          </p:cNvPr>
          <p:cNvSpPr txBox="1">
            <a:spLocks/>
          </p:cNvSpPr>
          <p:nvPr/>
        </p:nvSpPr>
        <p:spPr bwMode="gray">
          <a:xfrm flipH="1">
            <a:off x="2689864" y="2679842"/>
            <a:ext cx="2090904" cy="1031984"/>
          </a:xfrm>
          <a:prstGeom prst="rect">
            <a:avLst/>
          </a:prstGeom>
        </p:spPr>
        <p:txBody>
          <a:bodyPr vert="horz" lIns="0" tIns="72000" rIns="72000" bIns="7200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buClr>
                <a:schemeClr val="tx1"/>
              </a:buClr>
            </a:pPr>
            <a:r>
              <a:rPr lang="en-US" sz="1600" b="1" dirty="0"/>
              <a:t>2. </a:t>
            </a:r>
            <a:br>
              <a:rPr lang="en-US" sz="1600" b="1" dirty="0">
                <a:solidFill>
                  <a:schemeClr val="tx2"/>
                </a:solidFill>
              </a:rPr>
            </a:br>
            <a:r>
              <a:rPr lang="en-US" b="1" dirty="0">
                <a:solidFill>
                  <a:schemeClr val="tx2"/>
                </a:solidFill>
              </a:rPr>
              <a:t>Air separation &amp; </a:t>
            </a:r>
            <a:br>
              <a:rPr lang="en-US" b="1" dirty="0">
                <a:solidFill>
                  <a:schemeClr val="tx2"/>
                </a:solidFill>
              </a:rPr>
            </a:br>
            <a:r>
              <a:rPr lang="en-US" b="1" dirty="0">
                <a:solidFill>
                  <a:schemeClr val="tx2"/>
                </a:solidFill>
              </a:rPr>
              <a:t>argon purification</a:t>
            </a:r>
          </a:p>
          <a:p>
            <a:pPr lvl="1">
              <a:buClr>
                <a:schemeClr val="tx1"/>
              </a:buClr>
            </a:pPr>
            <a:endParaRPr lang="en-US" sz="1100" dirty="0"/>
          </a:p>
        </p:txBody>
      </p:sp>
      <p:sp>
        <p:nvSpPr>
          <p:cNvPr id="33" name="Oval 32">
            <a:extLst>
              <a:ext uri="{FF2B5EF4-FFF2-40B4-BE49-F238E27FC236}">
                <a16:creationId xmlns:a16="http://schemas.microsoft.com/office/drawing/2014/main" id="{3C96CE19-F914-4A31-857B-D6C3986A8DF1}"/>
              </a:ext>
            </a:extLst>
          </p:cNvPr>
          <p:cNvSpPr>
            <a:spLocks noChangeAspect="1"/>
          </p:cNvSpPr>
          <p:nvPr/>
        </p:nvSpPr>
        <p:spPr bwMode="gray">
          <a:xfrm>
            <a:off x="3020067" y="2651041"/>
            <a:ext cx="57600" cy="576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17" name="Inhaltsplatzhalter 5">
            <a:extLst>
              <a:ext uri="{FF2B5EF4-FFF2-40B4-BE49-F238E27FC236}">
                <a16:creationId xmlns:a16="http://schemas.microsoft.com/office/drawing/2014/main" id="{3B344595-94F1-431D-89DE-1A02D0643AB6}"/>
              </a:ext>
            </a:extLst>
          </p:cNvPr>
          <p:cNvSpPr txBox="1">
            <a:spLocks/>
          </p:cNvSpPr>
          <p:nvPr/>
        </p:nvSpPr>
        <p:spPr bwMode="gray">
          <a:xfrm flipH="1">
            <a:off x="2689864" y="4875755"/>
            <a:ext cx="2090904" cy="1031984"/>
          </a:xfrm>
          <a:prstGeom prst="rect">
            <a:avLst/>
          </a:prstGeom>
        </p:spPr>
        <p:txBody>
          <a:bodyPr vert="horz" lIns="0" tIns="72000" rIns="72000" bIns="7200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buClr>
                <a:schemeClr val="tx1"/>
              </a:buClr>
            </a:pPr>
            <a:r>
              <a:rPr lang="en-US" sz="1600" b="1" dirty="0"/>
              <a:t>7.</a:t>
            </a:r>
            <a:br>
              <a:rPr lang="en-US" sz="1600" b="1" dirty="0">
                <a:solidFill>
                  <a:schemeClr val="tx2"/>
                </a:solidFill>
              </a:rPr>
            </a:br>
            <a:r>
              <a:rPr lang="en-US" b="1" dirty="0">
                <a:solidFill>
                  <a:schemeClr val="tx2"/>
                </a:solidFill>
              </a:rPr>
              <a:t>Biomethane &amp; </a:t>
            </a:r>
            <a:br>
              <a:rPr lang="en-US" b="1" dirty="0">
                <a:solidFill>
                  <a:schemeClr val="tx2"/>
                </a:solidFill>
              </a:rPr>
            </a:br>
            <a:r>
              <a:rPr lang="en-US" b="1" dirty="0">
                <a:solidFill>
                  <a:schemeClr val="tx2"/>
                </a:solidFill>
              </a:rPr>
              <a:t>small-scale CO</a:t>
            </a:r>
            <a:r>
              <a:rPr lang="en-US" b="1" baseline="-25000" dirty="0">
                <a:solidFill>
                  <a:schemeClr val="tx2"/>
                </a:solidFill>
              </a:rPr>
              <a:t>2</a:t>
            </a:r>
          </a:p>
          <a:p>
            <a:pPr>
              <a:buClr>
                <a:schemeClr val="tx1"/>
              </a:buClr>
            </a:pPr>
            <a:endParaRPr lang="en-US" sz="1100" dirty="0"/>
          </a:p>
        </p:txBody>
      </p:sp>
      <p:sp>
        <p:nvSpPr>
          <p:cNvPr id="118" name="Oval 117">
            <a:extLst>
              <a:ext uri="{FF2B5EF4-FFF2-40B4-BE49-F238E27FC236}">
                <a16:creationId xmlns:a16="http://schemas.microsoft.com/office/drawing/2014/main" id="{64860551-7FB7-4E3D-B0E4-7376BE692378}"/>
              </a:ext>
            </a:extLst>
          </p:cNvPr>
          <p:cNvSpPr>
            <a:spLocks noChangeAspect="1"/>
          </p:cNvSpPr>
          <p:nvPr/>
        </p:nvSpPr>
        <p:spPr bwMode="gray">
          <a:xfrm>
            <a:off x="3020067" y="4846954"/>
            <a:ext cx="57600" cy="576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1" name="Inhaltsplatzhalter 5">
            <a:extLst>
              <a:ext uri="{FF2B5EF4-FFF2-40B4-BE49-F238E27FC236}">
                <a16:creationId xmlns:a16="http://schemas.microsoft.com/office/drawing/2014/main" id="{28AAA1D1-055C-4EA3-A6AD-B73FE8A79C22}"/>
              </a:ext>
            </a:extLst>
          </p:cNvPr>
          <p:cNvSpPr txBox="1">
            <a:spLocks/>
          </p:cNvSpPr>
          <p:nvPr/>
        </p:nvSpPr>
        <p:spPr bwMode="gray">
          <a:xfrm flipH="1">
            <a:off x="9762360" y="2679842"/>
            <a:ext cx="2090904" cy="1031984"/>
          </a:xfrm>
          <a:prstGeom prst="rect">
            <a:avLst/>
          </a:prstGeom>
        </p:spPr>
        <p:txBody>
          <a:bodyPr vert="horz" lIns="0" tIns="72000" rIns="72000" bIns="7200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buClr>
                <a:schemeClr val="tx1"/>
              </a:buClr>
            </a:pPr>
            <a:r>
              <a:rPr lang="en-US" sz="1600" b="1" dirty="0"/>
              <a:t>5. </a:t>
            </a:r>
            <a:br>
              <a:rPr lang="en-US" sz="1600" b="1" dirty="0">
                <a:solidFill>
                  <a:schemeClr val="tx2"/>
                </a:solidFill>
              </a:rPr>
            </a:br>
            <a:r>
              <a:rPr lang="en-US" b="1" dirty="0">
                <a:solidFill>
                  <a:schemeClr val="tx2"/>
                </a:solidFill>
              </a:rPr>
              <a:t>Large scale CO</a:t>
            </a:r>
            <a:r>
              <a:rPr lang="en-US" b="1" baseline="-25000" dirty="0">
                <a:solidFill>
                  <a:schemeClr val="tx2"/>
                </a:solidFill>
              </a:rPr>
              <a:t>2</a:t>
            </a:r>
            <a:r>
              <a:rPr lang="en-US" b="1" dirty="0">
                <a:solidFill>
                  <a:schemeClr val="tx2"/>
                </a:solidFill>
              </a:rPr>
              <a:t> – associated with H</a:t>
            </a:r>
            <a:r>
              <a:rPr lang="en-US" b="1" baseline="-25000" dirty="0">
                <a:solidFill>
                  <a:schemeClr val="tx2"/>
                </a:solidFill>
              </a:rPr>
              <a:t>2</a:t>
            </a:r>
            <a:r>
              <a:rPr lang="en-US" b="1" dirty="0">
                <a:solidFill>
                  <a:schemeClr val="tx2"/>
                </a:solidFill>
              </a:rPr>
              <a:t> / syngas / ammonia</a:t>
            </a:r>
          </a:p>
          <a:p>
            <a:pPr lvl="1">
              <a:buClr>
                <a:schemeClr val="tx1"/>
              </a:buClr>
            </a:pPr>
            <a:endParaRPr lang="en-US" sz="1200" dirty="0"/>
          </a:p>
        </p:txBody>
      </p:sp>
      <p:sp>
        <p:nvSpPr>
          <p:cNvPr id="36" name="Oval 35">
            <a:extLst>
              <a:ext uri="{FF2B5EF4-FFF2-40B4-BE49-F238E27FC236}">
                <a16:creationId xmlns:a16="http://schemas.microsoft.com/office/drawing/2014/main" id="{3C1A3437-CB3C-4A24-B362-F913BA2A2F10}"/>
              </a:ext>
            </a:extLst>
          </p:cNvPr>
          <p:cNvSpPr>
            <a:spLocks noChangeAspect="1"/>
          </p:cNvSpPr>
          <p:nvPr/>
        </p:nvSpPr>
        <p:spPr bwMode="gray">
          <a:xfrm>
            <a:off x="10092562" y="2651041"/>
            <a:ext cx="57600" cy="576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20" name="Inhaltsplatzhalter 5">
            <a:extLst>
              <a:ext uri="{FF2B5EF4-FFF2-40B4-BE49-F238E27FC236}">
                <a16:creationId xmlns:a16="http://schemas.microsoft.com/office/drawing/2014/main" id="{D93A70D8-2B77-4920-BFE8-DB4A23248647}"/>
              </a:ext>
            </a:extLst>
          </p:cNvPr>
          <p:cNvSpPr txBox="1">
            <a:spLocks/>
          </p:cNvSpPr>
          <p:nvPr/>
        </p:nvSpPr>
        <p:spPr bwMode="gray">
          <a:xfrm flipH="1">
            <a:off x="9762360" y="4875755"/>
            <a:ext cx="2090904" cy="1031984"/>
          </a:xfrm>
          <a:prstGeom prst="rect">
            <a:avLst/>
          </a:prstGeom>
        </p:spPr>
        <p:txBody>
          <a:bodyPr vert="horz" lIns="0" tIns="72000" rIns="72000" bIns="7200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buClr>
                <a:schemeClr val="tx1"/>
              </a:buClr>
            </a:pPr>
            <a:r>
              <a:rPr lang="en-US" sz="1600" b="1" dirty="0"/>
              <a:t>10. </a:t>
            </a:r>
            <a:br>
              <a:rPr lang="en-US" sz="1600" b="1" dirty="0">
                <a:solidFill>
                  <a:schemeClr val="tx2"/>
                </a:solidFill>
              </a:rPr>
            </a:br>
            <a:r>
              <a:rPr lang="en-US" b="1" dirty="0">
                <a:solidFill>
                  <a:schemeClr val="tx2"/>
                </a:solidFill>
              </a:rPr>
              <a:t>Summary</a:t>
            </a:r>
          </a:p>
          <a:p>
            <a:pPr lvl="1">
              <a:buClr>
                <a:schemeClr val="tx1"/>
              </a:buClr>
            </a:pPr>
            <a:endParaRPr lang="en-US" sz="1200" dirty="0"/>
          </a:p>
        </p:txBody>
      </p:sp>
      <p:sp>
        <p:nvSpPr>
          <p:cNvPr id="121" name="Oval 120">
            <a:extLst>
              <a:ext uri="{FF2B5EF4-FFF2-40B4-BE49-F238E27FC236}">
                <a16:creationId xmlns:a16="http://schemas.microsoft.com/office/drawing/2014/main" id="{4606A2F3-E58C-4C51-9496-D48CB16A32C4}"/>
              </a:ext>
            </a:extLst>
          </p:cNvPr>
          <p:cNvSpPr>
            <a:spLocks noChangeAspect="1"/>
          </p:cNvSpPr>
          <p:nvPr/>
        </p:nvSpPr>
        <p:spPr bwMode="gray">
          <a:xfrm>
            <a:off x="10092562" y="4846954"/>
            <a:ext cx="57600" cy="576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0" name="Inhaltsplatzhalter 5">
            <a:extLst>
              <a:ext uri="{FF2B5EF4-FFF2-40B4-BE49-F238E27FC236}">
                <a16:creationId xmlns:a16="http://schemas.microsoft.com/office/drawing/2014/main" id="{F5C2453A-22C6-4977-A90B-EEBD8206BA80}"/>
              </a:ext>
            </a:extLst>
          </p:cNvPr>
          <p:cNvSpPr txBox="1">
            <a:spLocks/>
          </p:cNvSpPr>
          <p:nvPr/>
        </p:nvSpPr>
        <p:spPr bwMode="gray">
          <a:xfrm flipH="1">
            <a:off x="7404862" y="2679842"/>
            <a:ext cx="2090904" cy="1031984"/>
          </a:xfrm>
          <a:prstGeom prst="rect">
            <a:avLst/>
          </a:prstGeom>
        </p:spPr>
        <p:txBody>
          <a:bodyPr vert="horz" lIns="0" tIns="72000" rIns="72000" bIns="7200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buClr>
                <a:schemeClr val="tx1"/>
              </a:buClr>
            </a:pPr>
            <a:r>
              <a:rPr lang="en-US" sz="1600" b="1" dirty="0"/>
              <a:t>4. </a:t>
            </a:r>
            <a:br>
              <a:rPr lang="en-US" sz="1600" b="1" dirty="0">
                <a:solidFill>
                  <a:schemeClr val="tx2"/>
                </a:solidFill>
              </a:rPr>
            </a:br>
            <a:r>
              <a:rPr lang="en-US" b="1" dirty="0">
                <a:solidFill>
                  <a:schemeClr val="tx2"/>
                </a:solidFill>
              </a:rPr>
              <a:t>Interlinks with petrochemical industry</a:t>
            </a:r>
          </a:p>
          <a:p>
            <a:pPr lvl="1">
              <a:buClr>
                <a:schemeClr val="tx1"/>
              </a:buClr>
            </a:pPr>
            <a:endParaRPr lang="en-US" sz="1200" dirty="0"/>
          </a:p>
        </p:txBody>
      </p:sp>
      <p:sp>
        <p:nvSpPr>
          <p:cNvPr id="35" name="Oval 34">
            <a:extLst>
              <a:ext uri="{FF2B5EF4-FFF2-40B4-BE49-F238E27FC236}">
                <a16:creationId xmlns:a16="http://schemas.microsoft.com/office/drawing/2014/main" id="{0238492E-CD0A-4A24-9872-8B6757913D75}"/>
              </a:ext>
            </a:extLst>
          </p:cNvPr>
          <p:cNvSpPr>
            <a:spLocks noChangeAspect="1"/>
          </p:cNvSpPr>
          <p:nvPr/>
        </p:nvSpPr>
        <p:spPr bwMode="gray">
          <a:xfrm>
            <a:off x="7735065" y="2651041"/>
            <a:ext cx="57600" cy="576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22" name="Inhaltsplatzhalter 5">
            <a:extLst>
              <a:ext uri="{FF2B5EF4-FFF2-40B4-BE49-F238E27FC236}">
                <a16:creationId xmlns:a16="http://schemas.microsoft.com/office/drawing/2014/main" id="{07DD2F88-5734-4E9A-B88A-516EAC804E1C}"/>
              </a:ext>
            </a:extLst>
          </p:cNvPr>
          <p:cNvSpPr txBox="1">
            <a:spLocks/>
          </p:cNvSpPr>
          <p:nvPr/>
        </p:nvSpPr>
        <p:spPr bwMode="gray">
          <a:xfrm flipH="1">
            <a:off x="7404862" y="4875755"/>
            <a:ext cx="2090904" cy="1031984"/>
          </a:xfrm>
          <a:prstGeom prst="rect">
            <a:avLst/>
          </a:prstGeom>
        </p:spPr>
        <p:txBody>
          <a:bodyPr vert="horz" lIns="0" tIns="72000" rIns="72000" bIns="7200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buClr>
                <a:schemeClr val="tx1"/>
              </a:buClr>
            </a:pPr>
            <a:r>
              <a:rPr lang="en-US" sz="1600" b="1" dirty="0"/>
              <a:t>9. </a:t>
            </a:r>
            <a:br>
              <a:rPr lang="en-US" sz="1600" b="1" dirty="0">
                <a:solidFill>
                  <a:schemeClr val="tx2"/>
                </a:solidFill>
              </a:rPr>
            </a:br>
            <a:r>
              <a:rPr lang="en-US" b="1" dirty="0">
                <a:solidFill>
                  <a:schemeClr val="tx2"/>
                </a:solidFill>
              </a:rPr>
              <a:t>Cylinder / </a:t>
            </a:r>
            <a:br>
              <a:rPr lang="en-US" b="1" dirty="0">
                <a:solidFill>
                  <a:schemeClr val="tx2"/>
                </a:solidFill>
              </a:rPr>
            </a:br>
            <a:r>
              <a:rPr lang="en-US" b="1" dirty="0">
                <a:solidFill>
                  <a:schemeClr val="tx2"/>
                </a:solidFill>
              </a:rPr>
              <a:t>specialty gases</a:t>
            </a:r>
          </a:p>
          <a:p>
            <a:pPr lvl="1">
              <a:buClr>
                <a:schemeClr val="tx1"/>
              </a:buClr>
            </a:pPr>
            <a:endParaRPr lang="en-US" sz="1200" dirty="0"/>
          </a:p>
        </p:txBody>
      </p:sp>
      <p:sp>
        <p:nvSpPr>
          <p:cNvPr id="124" name="Oval 123">
            <a:extLst>
              <a:ext uri="{FF2B5EF4-FFF2-40B4-BE49-F238E27FC236}">
                <a16:creationId xmlns:a16="http://schemas.microsoft.com/office/drawing/2014/main" id="{C20667AF-0F40-49B6-80EB-2EEFF21043C9}"/>
              </a:ext>
            </a:extLst>
          </p:cNvPr>
          <p:cNvSpPr>
            <a:spLocks noChangeAspect="1"/>
          </p:cNvSpPr>
          <p:nvPr/>
        </p:nvSpPr>
        <p:spPr bwMode="gray">
          <a:xfrm>
            <a:off x="7735065" y="4846954"/>
            <a:ext cx="57600" cy="576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9" name="Inhaltsplatzhalter 5">
            <a:extLst>
              <a:ext uri="{FF2B5EF4-FFF2-40B4-BE49-F238E27FC236}">
                <a16:creationId xmlns:a16="http://schemas.microsoft.com/office/drawing/2014/main" id="{EB93500D-3BD9-44B0-A70E-6D0058C62DA2}"/>
              </a:ext>
            </a:extLst>
          </p:cNvPr>
          <p:cNvSpPr txBox="1">
            <a:spLocks/>
          </p:cNvSpPr>
          <p:nvPr/>
        </p:nvSpPr>
        <p:spPr bwMode="gray">
          <a:xfrm flipH="1">
            <a:off x="5047363" y="2679842"/>
            <a:ext cx="2090904" cy="1031984"/>
          </a:xfrm>
          <a:prstGeom prst="rect">
            <a:avLst/>
          </a:prstGeom>
        </p:spPr>
        <p:txBody>
          <a:bodyPr vert="horz" lIns="0" tIns="72000" rIns="72000" bIns="7200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buClr>
                <a:schemeClr val="tx1"/>
              </a:buClr>
            </a:pPr>
            <a:r>
              <a:rPr lang="en-US" sz="1600" b="1" dirty="0"/>
              <a:t>3. </a:t>
            </a:r>
            <a:br>
              <a:rPr lang="en-US" sz="1600" b="1" dirty="0">
                <a:solidFill>
                  <a:schemeClr val="tx2"/>
                </a:solidFill>
              </a:rPr>
            </a:br>
            <a:r>
              <a:rPr lang="fr-FR" b="1" dirty="0" err="1">
                <a:solidFill>
                  <a:schemeClr val="tx2"/>
                </a:solidFill>
              </a:rPr>
              <a:t>Hydrogen</a:t>
            </a:r>
            <a:r>
              <a:rPr lang="fr-FR" b="1" dirty="0">
                <a:solidFill>
                  <a:schemeClr val="tx2"/>
                </a:solidFill>
              </a:rPr>
              <a:t>, </a:t>
            </a:r>
            <a:r>
              <a:rPr lang="fr-FR" b="1" dirty="0" err="1">
                <a:solidFill>
                  <a:schemeClr val="tx2"/>
                </a:solidFill>
              </a:rPr>
              <a:t>carbon</a:t>
            </a:r>
            <a:r>
              <a:rPr lang="fr-FR" b="1" dirty="0">
                <a:solidFill>
                  <a:schemeClr val="tx2"/>
                </a:solidFill>
              </a:rPr>
              <a:t> </a:t>
            </a:r>
            <a:r>
              <a:rPr lang="fr-FR" b="1" dirty="0" err="1">
                <a:solidFill>
                  <a:schemeClr val="tx2"/>
                </a:solidFill>
              </a:rPr>
              <a:t>monoxide</a:t>
            </a:r>
            <a:r>
              <a:rPr lang="fr-FR" b="1" dirty="0">
                <a:solidFill>
                  <a:schemeClr val="tx2"/>
                </a:solidFill>
              </a:rPr>
              <a:t> &amp; syngas production</a:t>
            </a:r>
            <a:endParaRPr lang="fr-FR" sz="1600" b="1" dirty="0">
              <a:solidFill>
                <a:schemeClr val="tx2"/>
              </a:solidFill>
            </a:endParaRPr>
          </a:p>
        </p:txBody>
      </p:sp>
      <p:sp>
        <p:nvSpPr>
          <p:cNvPr id="34" name="Oval 33">
            <a:extLst>
              <a:ext uri="{FF2B5EF4-FFF2-40B4-BE49-F238E27FC236}">
                <a16:creationId xmlns:a16="http://schemas.microsoft.com/office/drawing/2014/main" id="{7106FCE5-927A-495D-818C-A60C4F59C1F2}"/>
              </a:ext>
            </a:extLst>
          </p:cNvPr>
          <p:cNvSpPr>
            <a:spLocks noChangeAspect="1"/>
          </p:cNvSpPr>
          <p:nvPr/>
        </p:nvSpPr>
        <p:spPr bwMode="gray">
          <a:xfrm>
            <a:off x="5377566" y="2651041"/>
            <a:ext cx="57600" cy="576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25" name="Inhaltsplatzhalter 5">
            <a:extLst>
              <a:ext uri="{FF2B5EF4-FFF2-40B4-BE49-F238E27FC236}">
                <a16:creationId xmlns:a16="http://schemas.microsoft.com/office/drawing/2014/main" id="{E5DAF6F0-D918-48B7-9C8C-DEC898DB1209}"/>
              </a:ext>
            </a:extLst>
          </p:cNvPr>
          <p:cNvSpPr txBox="1">
            <a:spLocks/>
          </p:cNvSpPr>
          <p:nvPr/>
        </p:nvSpPr>
        <p:spPr bwMode="gray">
          <a:xfrm flipH="1">
            <a:off x="5047363" y="4875755"/>
            <a:ext cx="2090904" cy="1031984"/>
          </a:xfrm>
          <a:prstGeom prst="rect">
            <a:avLst/>
          </a:prstGeom>
        </p:spPr>
        <p:txBody>
          <a:bodyPr vert="horz" lIns="0" tIns="72000" rIns="72000" bIns="72000" rtlCol="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buClr>
                <a:schemeClr val="tx1"/>
              </a:buClr>
            </a:pPr>
            <a:r>
              <a:rPr lang="en-US" sz="1600" b="1" dirty="0"/>
              <a:t>8. </a:t>
            </a:r>
            <a:br>
              <a:rPr lang="en-US" sz="1600" b="1" dirty="0">
                <a:solidFill>
                  <a:schemeClr val="tx2"/>
                </a:solidFill>
              </a:rPr>
            </a:br>
            <a:r>
              <a:rPr lang="fr-FR" b="1" dirty="0" err="1">
                <a:solidFill>
                  <a:schemeClr val="tx2"/>
                </a:solidFill>
              </a:rPr>
              <a:t>Hydrogen</a:t>
            </a:r>
            <a:r>
              <a:rPr lang="fr-FR" b="1" dirty="0">
                <a:solidFill>
                  <a:schemeClr val="tx2"/>
                </a:solidFill>
              </a:rPr>
              <a:t> – </a:t>
            </a:r>
            <a:br>
              <a:rPr lang="fr-FR" b="1" dirty="0">
                <a:solidFill>
                  <a:schemeClr val="tx2"/>
                </a:solidFill>
              </a:rPr>
            </a:br>
            <a:r>
              <a:rPr lang="fr-FR" b="1" dirty="0" err="1">
                <a:solidFill>
                  <a:schemeClr val="tx2"/>
                </a:solidFill>
              </a:rPr>
              <a:t>emerging</a:t>
            </a:r>
            <a:r>
              <a:rPr lang="fr-FR" b="1" dirty="0">
                <a:solidFill>
                  <a:schemeClr val="tx2"/>
                </a:solidFill>
              </a:rPr>
              <a:t> applications</a:t>
            </a:r>
          </a:p>
          <a:p>
            <a:pPr>
              <a:buClr>
                <a:schemeClr val="tx1"/>
              </a:buClr>
            </a:pPr>
            <a:endParaRPr lang="fr-FR" sz="1600" b="1" dirty="0">
              <a:solidFill>
                <a:schemeClr val="tx2"/>
              </a:solidFill>
            </a:endParaRPr>
          </a:p>
        </p:txBody>
      </p:sp>
      <p:sp>
        <p:nvSpPr>
          <p:cNvPr id="126" name="Oval 125">
            <a:extLst>
              <a:ext uri="{FF2B5EF4-FFF2-40B4-BE49-F238E27FC236}">
                <a16:creationId xmlns:a16="http://schemas.microsoft.com/office/drawing/2014/main" id="{7D9CEC2A-ABF8-4947-84F0-539600665327}"/>
              </a:ext>
            </a:extLst>
          </p:cNvPr>
          <p:cNvSpPr>
            <a:spLocks noChangeAspect="1"/>
          </p:cNvSpPr>
          <p:nvPr/>
        </p:nvSpPr>
        <p:spPr bwMode="gray">
          <a:xfrm>
            <a:off x="5377566" y="4846954"/>
            <a:ext cx="57600" cy="57600"/>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196" name="Group 195">
            <a:extLst>
              <a:ext uri="{FF2B5EF4-FFF2-40B4-BE49-F238E27FC236}">
                <a16:creationId xmlns:a16="http://schemas.microsoft.com/office/drawing/2014/main" id="{1FC6B9BA-A265-4C45-9DC4-D68FEECCF91A}"/>
              </a:ext>
            </a:extLst>
          </p:cNvPr>
          <p:cNvGrpSpPr/>
          <p:nvPr/>
        </p:nvGrpSpPr>
        <p:grpSpPr bwMode="gray">
          <a:xfrm>
            <a:off x="7520676" y="2048279"/>
            <a:ext cx="476710" cy="476708"/>
            <a:chOff x="10893904" y="1965646"/>
            <a:chExt cx="747426" cy="747423"/>
          </a:xfrm>
        </p:grpSpPr>
        <p:sp>
          <p:nvSpPr>
            <p:cNvPr id="197" name="Oval 829">
              <a:extLst>
                <a:ext uri="{FF2B5EF4-FFF2-40B4-BE49-F238E27FC236}">
                  <a16:creationId xmlns:a16="http://schemas.microsoft.com/office/drawing/2014/main" id="{B343D3DD-E738-419B-99EC-D2A090DFE48D}"/>
                </a:ext>
              </a:extLst>
            </p:cNvPr>
            <p:cNvSpPr/>
            <p:nvPr/>
          </p:nvSpPr>
          <p:spPr bwMode="gray">
            <a:xfrm>
              <a:off x="10893904" y="1965648"/>
              <a:ext cx="747426" cy="747421"/>
            </a:xfrm>
            <a:prstGeom prst="ellips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198" name="Straight Connector 834">
              <a:extLst>
                <a:ext uri="{FF2B5EF4-FFF2-40B4-BE49-F238E27FC236}">
                  <a16:creationId xmlns:a16="http://schemas.microsoft.com/office/drawing/2014/main" id="{3BFFBA2E-E0D8-4CBB-8615-2D8900611576}"/>
                </a:ext>
              </a:extLst>
            </p:cNvPr>
            <p:cNvCxnSpPr/>
            <p:nvPr/>
          </p:nvCxnSpPr>
          <p:spPr bwMode="gray">
            <a:xfrm>
              <a:off x="10893904" y="2341709"/>
              <a:ext cx="747426"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99" name="Oval 26">
              <a:extLst>
                <a:ext uri="{FF2B5EF4-FFF2-40B4-BE49-F238E27FC236}">
                  <a16:creationId xmlns:a16="http://schemas.microsoft.com/office/drawing/2014/main" id="{FE52F5D9-FFBC-44B2-AB9E-A1D91A6E2931}"/>
                </a:ext>
              </a:extLst>
            </p:cNvPr>
            <p:cNvSpPr/>
            <p:nvPr/>
          </p:nvSpPr>
          <p:spPr bwMode="gray">
            <a:xfrm>
              <a:off x="10997756" y="2081663"/>
              <a:ext cx="296304" cy="98780"/>
            </a:xfrm>
            <a:custGeom>
              <a:avLst/>
              <a:gdLst>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144136"/>
                <a:gd name="connsiteY0" fmla="*/ 1704594 h 3457836"/>
                <a:gd name="connsiteX1" fmla="*/ 2038267 w 4144136"/>
                <a:gd name="connsiteY1" fmla="*/ 0 h 3457836"/>
                <a:gd name="connsiteX2" fmla="*/ 4076534 w 4144136"/>
                <a:gd name="connsiteY2" fmla="*/ 1704594 h 3457836"/>
                <a:gd name="connsiteX3" fmla="*/ 3507738 w 4144136"/>
                <a:gd name="connsiteY3" fmla="*/ 2880360 h 3457836"/>
                <a:gd name="connsiteX4" fmla="*/ 2038267 w 4144136"/>
                <a:gd name="connsiteY4" fmla="*/ 3409188 h 3457836"/>
                <a:gd name="connsiteX5" fmla="*/ 0 w 4144136"/>
                <a:gd name="connsiteY5" fmla="*/ 1704594 h 3457836"/>
                <a:gd name="connsiteX0" fmla="*/ 67982 w 4212118"/>
                <a:gd name="connsiteY0" fmla="*/ 1704594 h 3409192"/>
                <a:gd name="connsiteX1" fmla="*/ 2106249 w 4212118"/>
                <a:gd name="connsiteY1" fmla="*/ 0 h 3409192"/>
                <a:gd name="connsiteX2" fmla="*/ 4144516 w 4212118"/>
                <a:gd name="connsiteY2" fmla="*/ 1704594 h 3409192"/>
                <a:gd name="connsiteX3" fmla="*/ 3575720 w 4212118"/>
                <a:gd name="connsiteY3" fmla="*/ 2880360 h 3409192"/>
                <a:gd name="connsiteX4" fmla="*/ 2106249 w 4212118"/>
                <a:gd name="connsiteY4" fmla="*/ 3409188 h 3409192"/>
                <a:gd name="connsiteX5" fmla="*/ 634400 w 4212118"/>
                <a:gd name="connsiteY5" fmla="*/ 2872740 h 3409192"/>
                <a:gd name="connsiteX6" fmla="*/ 67982 w 4212118"/>
                <a:gd name="connsiteY6" fmla="*/ 1704594 h 3409192"/>
                <a:gd name="connsiteX0" fmla="*/ 0 w 3577718"/>
                <a:gd name="connsiteY0" fmla="*/ 2890959 h 3427436"/>
                <a:gd name="connsiteX1" fmla="*/ 1471849 w 3577718"/>
                <a:gd name="connsiteY1" fmla="*/ 18219 h 3427436"/>
                <a:gd name="connsiteX2" fmla="*/ 3510116 w 3577718"/>
                <a:gd name="connsiteY2" fmla="*/ 1722813 h 3427436"/>
                <a:gd name="connsiteX3" fmla="*/ 2941320 w 3577718"/>
                <a:gd name="connsiteY3" fmla="*/ 2898579 h 3427436"/>
                <a:gd name="connsiteX4" fmla="*/ 1471849 w 3577718"/>
                <a:gd name="connsiteY4" fmla="*/ 3427407 h 3427436"/>
                <a:gd name="connsiteX5" fmla="*/ 0 w 3577718"/>
                <a:gd name="connsiteY5" fmla="*/ 2890959 h 3427436"/>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4" fmla="*/ 1563289 w 2941320"/>
                <a:gd name="connsiteY4" fmla="*/ 91440 h 3409199"/>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0" fmla="*/ 2941320 w 2941320"/>
                <a:gd name="connsiteY0" fmla="*/ 7620 h 536459"/>
                <a:gd name="connsiteX1" fmla="*/ 1471849 w 2941320"/>
                <a:gd name="connsiteY1" fmla="*/ 536448 h 536459"/>
                <a:gd name="connsiteX2" fmla="*/ 0 w 2941320"/>
                <a:gd name="connsiteY2" fmla="*/ 0 h 536459"/>
                <a:gd name="connsiteX0" fmla="*/ 2941320 w 2941320"/>
                <a:gd name="connsiteY0" fmla="*/ 7620 h 544179"/>
                <a:gd name="connsiteX1" fmla="*/ 2497678 w 2941320"/>
                <a:gd name="connsiteY1" fmla="*/ 296924 h 544179"/>
                <a:gd name="connsiteX2" fmla="*/ 1471849 w 2941320"/>
                <a:gd name="connsiteY2" fmla="*/ 536448 h 544179"/>
                <a:gd name="connsiteX3" fmla="*/ 0 w 2941320"/>
                <a:gd name="connsiteY3" fmla="*/ 0 h 544179"/>
                <a:gd name="connsiteX0" fmla="*/ 2941320 w 2941320"/>
                <a:gd name="connsiteY0" fmla="*/ 7620 h 587648"/>
                <a:gd name="connsiteX1" fmla="*/ 2497678 w 2941320"/>
                <a:gd name="connsiteY1" fmla="*/ 296924 h 587648"/>
                <a:gd name="connsiteX2" fmla="*/ 1608273 w 2941320"/>
                <a:gd name="connsiteY2" fmla="*/ 538777 h 587648"/>
                <a:gd name="connsiteX3" fmla="*/ 1471849 w 2941320"/>
                <a:gd name="connsiteY3" fmla="*/ 536448 h 587648"/>
                <a:gd name="connsiteX4" fmla="*/ 0 w 2941320"/>
                <a:gd name="connsiteY4" fmla="*/ 0 h 587648"/>
                <a:gd name="connsiteX0" fmla="*/ 2941320 w 2941320"/>
                <a:gd name="connsiteY0" fmla="*/ 7620 h 584814"/>
                <a:gd name="connsiteX1" fmla="*/ 2497678 w 2941320"/>
                <a:gd name="connsiteY1" fmla="*/ 296924 h 584814"/>
                <a:gd name="connsiteX2" fmla="*/ 1616075 w 2941320"/>
                <a:gd name="connsiteY2" fmla="*/ 530975 h 584814"/>
                <a:gd name="connsiteX3" fmla="*/ 1471849 w 2941320"/>
                <a:gd name="connsiteY3" fmla="*/ 536448 h 584814"/>
                <a:gd name="connsiteX4" fmla="*/ 0 w 2941320"/>
                <a:gd name="connsiteY4" fmla="*/ 0 h 584814"/>
                <a:gd name="connsiteX0" fmla="*/ 2941320 w 2941320"/>
                <a:gd name="connsiteY0" fmla="*/ 7620 h 553598"/>
                <a:gd name="connsiteX1" fmla="*/ 2497678 w 2941320"/>
                <a:gd name="connsiteY1" fmla="*/ 296924 h 553598"/>
                <a:gd name="connsiteX2" fmla="*/ 1616075 w 2941320"/>
                <a:gd name="connsiteY2" fmla="*/ 530975 h 553598"/>
                <a:gd name="connsiteX3" fmla="*/ 1471849 w 2941320"/>
                <a:gd name="connsiteY3" fmla="*/ 536448 h 553598"/>
                <a:gd name="connsiteX4" fmla="*/ 0 w 2941320"/>
                <a:gd name="connsiteY4" fmla="*/ 0 h 553598"/>
                <a:gd name="connsiteX0" fmla="*/ 2941320 w 2941320"/>
                <a:gd name="connsiteY0" fmla="*/ 7620 h 540697"/>
                <a:gd name="connsiteX1" fmla="*/ 2497678 w 2941320"/>
                <a:gd name="connsiteY1" fmla="*/ 296924 h 540697"/>
                <a:gd name="connsiteX2" fmla="*/ 1616075 w 2941320"/>
                <a:gd name="connsiteY2" fmla="*/ 530975 h 540697"/>
                <a:gd name="connsiteX3" fmla="*/ 1471849 w 2941320"/>
                <a:gd name="connsiteY3" fmla="*/ 536448 h 540697"/>
                <a:gd name="connsiteX4" fmla="*/ 0 w 2941320"/>
                <a:gd name="connsiteY4" fmla="*/ 0 h 540697"/>
                <a:gd name="connsiteX0" fmla="*/ 2941320 w 2941320"/>
                <a:gd name="connsiteY0" fmla="*/ 7620 h 540697"/>
                <a:gd name="connsiteX1" fmla="*/ 1616075 w 2941320"/>
                <a:gd name="connsiteY1" fmla="*/ 530975 h 540697"/>
                <a:gd name="connsiteX2" fmla="*/ 1471849 w 2941320"/>
                <a:gd name="connsiteY2" fmla="*/ 536448 h 540697"/>
                <a:gd name="connsiteX3" fmla="*/ 0 w 2941320"/>
                <a:gd name="connsiteY3" fmla="*/ 0 h 540697"/>
                <a:gd name="connsiteX0" fmla="*/ 1616075 w 1616075"/>
                <a:gd name="connsiteY0" fmla="*/ 530975 h 540697"/>
                <a:gd name="connsiteX1" fmla="*/ 1471849 w 1616075"/>
                <a:gd name="connsiteY1" fmla="*/ 536448 h 540697"/>
                <a:gd name="connsiteX2" fmla="*/ 0 w 1616075"/>
                <a:gd name="connsiteY2" fmla="*/ 0 h 540697"/>
                <a:gd name="connsiteX0" fmla="*/ 1616075 w 1616075"/>
                <a:gd name="connsiteY0" fmla="*/ 530975 h 542212"/>
                <a:gd name="connsiteX1" fmla="*/ 1471849 w 1616075"/>
                <a:gd name="connsiteY1" fmla="*/ 536448 h 542212"/>
                <a:gd name="connsiteX2" fmla="*/ 0 w 1616075"/>
                <a:gd name="connsiteY2" fmla="*/ 0 h 542212"/>
                <a:gd name="connsiteX0" fmla="*/ 1616075 w 1616075"/>
                <a:gd name="connsiteY0" fmla="*/ 530975 h 538760"/>
                <a:gd name="connsiteX1" fmla="*/ 1471849 w 1616075"/>
                <a:gd name="connsiteY1" fmla="*/ 536448 h 538760"/>
                <a:gd name="connsiteX2" fmla="*/ 0 w 1616075"/>
                <a:gd name="connsiteY2" fmla="*/ 0 h 538760"/>
              </a:gdLst>
              <a:ahLst/>
              <a:cxnLst>
                <a:cxn ang="0">
                  <a:pos x="connsiteX0" y="connsiteY0"/>
                </a:cxn>
                <a:cxn ang="0">
                  <a:pos x="connsiteX1" y="connsiteY1"/>
                </a:cxn>
                <a:cxn ang="0">
                  <a:pos x="connsiteX2" y="connsiteY2"/>
                </a:cxn>
              </a:cxnLst>
              <a:rect l="l" t="t" r="r" b="b"/>
              <a:pathLst>
                <a:path w="1616075" h="538760">
                  <a:moveTo>
                    <a:pt x="1616075" y="530975"/>
                  </a:moveTo>
                  <a:cubicBezTo>
                    <a:pt x="1562130" y="539690"/>
                    <a:pt x="1529248" y="540422"/>
                    <a:pt x="1471849" y="536448"/>
                  </a:cubicBezTo>
                  <a:cubicBezTo>
                    <a:pt x="981629" y="535178"/>
                    <a:pt x="495300" y="431038"/>
                    <a:pt x="0" y="0"/>
                  </a:cubicBez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Oval 26">
              <a:extLst>
                <a:ext uri="{FF2B5EF4-FFF2-40B4-BE49-F238E27FC236}">
                  <a16:creationId xmlns:a16="http://schemas.microsoft.com/office/drawing/2014/main" id="{1C7246CC-713B-4A73-88B5-DAEE3988D866}"/>
                </a:ext>
              </a:extLst>
            </p:cNvPr>
            <p:cNvSpPr/>
            <p:nvPr/>
          </p:nvSpPr>
          <p:spPr bwMode="gray">
            <a:xfrm rot="10800000">
              <a:off x="10997756" y="2498697"/>
              <a:ext cx="539286" cy="98358"/>
            </a:xfrm>
            <a:custGeom>
              <a:avLst/>
              <a:gdLst>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144136"/>
                <a:gd name="connsiteY0" fmla="*/ 1704594 h 3457836"/>
                <a:gd name="connsiteX1" fmla="*/ 2038267 w 4144136"/>
                <a:gd name="connsiteY1" fmla="*/ 0 h 3457836"/>
                <a:gd name="connsiteX2" fmla="*/ 4076534 w 4144136"/>
                <a:gd name="connsiteY2" fmla="*/ 1704594 h 3457836"/>
                <a:gd name="connsiteX3" fmla="*/ 3507738 w 4144136"/>
                <a:gd name="connsiteY3" fmla="*/ 2880360 h 3457836"/>
                <a:gd name="connsiteX4" fmla="*/ 2038267 w 4144136"/>
                <a:gd name="connsiteY4" fmla="*/ 3409188 h 3457836"/>
                <a:gd name="connsiteX5" fmla="*/ 0 w 4144136"/>
                <a:gd name="connsiteY5" fmla="*/ 1704594 h 3457836"/>
                <a:gd name="connsiteX0" fmla="*/ 67982 w 4212118"/>
                <a:gd name="connsiteY0" fmla="*/ 1704594 h 3409192"/>
                <a:gd name="connsiteX1" fmla="*/ 2106249 w 4212118"/>
                <a:gd name="connsiteY1" fmla="*/ 0 h 3409192"/>
                <a:gd name="connsiteX2" fmla="*/ 4144516 w 4212118"/>
                <a:gd name="connsiteY2" fmla="*/ 1704594 h 3409192"/>
                <a:gd name="connsiteX3" fmla="*/ 3575720 w 4212118"/>
                <a:gd name="connsiteY3" fmla="*/ 2880360 h 3409192"/>
                <a:gd name="connsiteX4" fmla="*/ 2106249 w 4212118"/>
                <a:gd name="connsiteY4" fmla="*/ 3409188 h 3409192"/>
                <a:gd name="connsiteX5" fmla="*/ 634400 w 4212118"/>
                <a:gd name="connsiteY5" fmla="*/ 2872740 h 3409192"/>
                <a:gd name="connsiteX6" fmla="*/ 67982 w 4212118"/>
                <a:gd name="connsiteY6" fmla="*/ 1704594 h 3409192"/>
                <a:gd name="connsiteX0" fmla="*/ 0 w 3577718"/>
                <a:gd name="connsiteY0" fmla="*/ 2890959 h 3427436"/>
                <a:gd name="connsiteX1" fmla="*/ 1471849 w 3577718"/>
                <a:gd name="connsiteY1" fmla="*/ 18219 h 3427436"/>
                <a:gd name="connsiteX2" fmla="*/ 3510116 w 3577718"/>
                <a:gd name="connsiteY2" fmla="*/ 1722813 h 3427436"/>
                <a:gd name="connsiteX3" fmla="*/ 2941320 w 3577718"/>
                <a:gd name="connsiteY3" fmla="*/ 2898579 h 3427436"/>
                <a:gd name="connsiteX4" fmla="*/ 1471849 w 3577718"/>
                <a:gd name="connsiteY4" fmla="*/ 3427407 h 3427436"/>
                <a:gd name="connsiteX5" fmla="*/ 0 w 3577718"/>
                <a:gd name="connsiteY5" fmla="*/ 2890959 h 3427436"/>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4" fmla="*/ 1563289 w 2941320"/>
                <a:gd name="connsiteY4" fmla="*/ 91440 h 3409199"/>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0" fmla="*/ 2941320 w 2941320"/>
                <a:gd name="connsiteY0" fmla="*/ 7620 h 536459"/>
                <a:gd name="connsiteX1" fmla="*/ 1471849 w 2941320"/>
                <a:gd name="connsiteY1" fmla="*/ 536448 h 536459"/>
                <a:gd name="connsiteX2" fmla="*/ 0 w 2941320"/>
                <a:gd name="connsiteY2" fmla="*/ 0 h 536459"/>
              </a:gdLst>
              <a:ahLst/>
              <a:cxnLst>
                <a:cxn ang="0">
                  <a:pos x="connsiteX0" y="connsiteY0"/>
                </a:cxn>
                <a:cxn ang="0">
                  <a:pos x="connsiteX1" y="connsiteY1"/>
                </a:cxn>
                <a:cxn ang="0">
                  <a:pos x="connsiteX2" y="connsiteY2"/>
                </a:cxn>
              </a:cxnLst>
              <a:rect l="l" t="t" r="r" b="b"/>
              <a:pathLst>
                <a:path w="2941320" h="536459">
                  <a:moveTo>
                    <a:pt x="2941320" y="7620"/>
                  </a:moveTo>
                  <a:cubicBezTo>
                    <a:pt x="2423160" y="431038"/>
                    <a:pt x="1962069" y="537718"/>
                    <a:pt x="1471849" y="536448"/>
                  </a:cubicBezTo>
                  <a:cubicBezTo>
                    <a:pt x="981629" y="535178"/>
                    <a:pt x="495300" y="431038"/>
                    <a:pt x="0" y="0"/>
                  </a:cubicBez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Oval 26">
              <a:extLst>
                <a:ext uri="{FF2B5EF4-FFF2-40B4-BE49-F238E27FC236}">
                  <a16:creationId xmlns:a16="http://schemas.microsoft.com/office/drawing/2014/main" id="{61B94FF0-7093-45F7-976B-F60780E57B25}"/>
                </a:ext>
              </a:extLst>
            </p:cNvPr>
            <p:cNvSpPr/>
            <p:nvPr/>
          </p:nvSpPr>
          <p:spPr bwMode="gray">
            <a:xfrm flipH="1">
              <a:off x="11449292" y="2081663"/>
              <a:ext cx="83523" cy="66567"/>
            </a:xfrm>
            <a:custGeom>
              <a:avLst/>
              <a:gdLst>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144136"/>
                <a:gd name="connsiteY0" fmla="*/ 1704594 h 3457836"/>
                <a:gd name="connsiteX1" fmla="*/ 2038267 w 4144136"/>
                <a:gd name="connsiteY1" fmla="*/ 0 h 3457836"/>
                <a:gd name="connsiteX2" fmla="*/ 4076534 w 4144136"/>
                <a:gd name="connsiteY2" fmla="*/ 1704594 h 3457836"/>
                <a:gd name="connsiteX3" fmla="*/ 3507738 w 4144136"/>
                <a:gd name="connsiteY3" fmla="*/ 2880360 h 3457836"/>
                <a:gd name="connsiteX4" fmla="*/ 2038267 w 4144136"/>
                <a:gd name="connsiteY4" fmla="*/ 3409188 h 3457836"/>
                <a:gd name="connsiteX5" fmla="*/ 0 w 4144136"/>
                <a:gd name="connsiteY5" fmla="*/ 1704594 h 3457836"/>
                <a:gd name="connsiteX0" fmla="*/ 67982 w 4212118"/>
                <a:gd name="connsiteY0" fmla="*/ 1704594 h 3409192"/>
                <a:gd name="connsiteX1" fmla="*/ 2106249 w 4212118"/>
                <a:gd name="connsiteY1" fmla="*/ 0 h 3409192"/>
                <a:gd name="connsiteX2" fmla="*/ 4144516 w 4212118"/>
                <a:gd name="connsiteY2" fmla="*/ 1704594 h 3409192"/>
                <a:gd name="connsiteX3" fmla="*/ 3575720 w 4212118"/>
                <a:gd name="connsiteY3" fmla="*/ 2880360 h 3409192"/>
                <a:gd name="connsiteX4" fmla="*/ 2106249 w 4212118"/>
                <a:gd name="connsiteY4" fmla="*/ 3409188 h 3409192"/>
                <a:gd name="connsiteX5" fmla="*/ 634400 w 4212118"/>
                <a:gd name="connsiteY5" fmla="*/ 2872740 h 3409192"/>
                <a:gd name="connsiteX6" fmla="*/ 67982 w 4212118"/>
                <a:gd name="connsiteY6" fmla="*/ 1704594 h 3409192"/>
                <a:gd name="connsiteX0" fmla="*/ 0 w 3577718"/>
                <a:gd name="connsiteY0" fmla="*/ 2890959 h 3427436"/>
                <a:gd name="connsiteX1" fmla="*/ 1471849 w 3577718"/>
                <a:gd name="connsiteY1" fmla="*/ 18219 h 3427436"/>
                <a:gd name="connsiteX2" fmla="*/ 3510116 w 3577718"/>
                <a:gd name="connsiteY2" fmla="*/ 1722813 h 3427436"/>
                <a:gd name="connsiteX3" fmla="*/ 2941320 w 3577718"/>
                <a:gd name="connsiteY3" fmla="*/ 2898579 h 3427436"/>
                <a:gd name="connsiteX4" fmla="*/ 1471849 w 3577718"/>
                <a:gd name="connsiteY4" fmla="*/ 3427407 h 3427436"/>
                <a:gd name="connsiteX5" fmla="*/ 0 w 3577718"/>
                <a:gd name="connsiteY5" fmla="*/ 2890959 h 3427436"/>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4" fmla="*/ 1563289 w 2941320"/>
                <a:gd name="connsiteY4" fmla="*/ 91440 h 3409199"/>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0" fmla="*/ 2941320 w 2941320"/>
                <a:gd name="connsiteY0" fmla="*/ 7620 h 536459"/>
                <a:gd name="connsiteX1" fmla="*/ 1471849 w 2941320"/>
                <a:gd name="connsiteY1" fmla="*/ 536448 h 536459"/>
                <a:gd name="connsiteX2" fmla="*/ 0 w 2941320"/>
                <a:gd name="connsiteY2" fmla="*/ 0 h 536459"/>
                <a:gd name="connsiteX0" fmla="*/ 2941320 w 2941320"/>
                <a:gd name="connsiteY0" fmla="*/ 7620 h 544179"/>
                <a:gd name="connsiteX1" fmla="*/ 2497678 w 2941320"/>
                <a:gd name="connsiteY1" fmla="*/ 296924 h 544179"/>
                <a:gd name="connsiteX2" fmla="*/ 1471849 w 2941320"/>
                <a:gd name="connsiteY2" fmla="*/ 536448 h 544179"/>
                <a:gd name="connsiteX3" fmla="*/ 0 w 2941320"/>
                <a:gd name="connsiteY3" fmla="*/ 0 h 544179"/>
                <a:gd name="connsiteX0" fmla="*/ 2941320 w 2941320"/>
                <a:gd name="connsiteY0" fmla="*/ 7620 h 587648"/>
                <a:gd name="connsiteX1" fmla="*/ 2497678 w 2941320"/>
                <a:gd name="connsiteY1" fmla="*/ 296924 h 587648"/>
                <a:gd name="connsiteX2" fmla="*/ 1608273 w 2941320"/>
                <a:gd name="connsiteY2" fmla="*/ 538777 h 587648"/>
                <a:gd name="connsiteX3" fmla="*/ 1471849 w 2941320"/>
                <a:gd name="connsiteY3" fmla="*/ 536448 h 587648"/>
                <a:gd name="connsiteX4" fmla="*/ 0 w 2941320"/>
                <a:gd name="connsiteY4" fmla="*/ 0 h 587648"/>
                <a:gd name="connsiteX0" fmla="*/ 2941320 w 2941320"/>
                <a:gd name="connsiteY0" fmla="*/ 7620 h 584814"/>
                <a:gd name="connsiteX1" fmla="*/ 2497678 w 2941320"/>
                <a:gd name="connsiteY1" fmla="*/ 296924 h 584814"/>
                <a:gd name="connsiteX2" fmla="*/ 1616075 w 2941320"/>
                <a:gd name="connsiteY2" fmla="*/ 530975 h 584814"/>
                <a:gd name="connsiteX3" fmla="*/ 1471849 w 2941320"/>
                <a:gd name="connsiteY3" fmla="*/ 536448 h 584814"/>
                <a:gd name="connsiteX4" fmla="*/ 0 w 2941320"/>
                <a:gd name="connsiteY4" fmla="*/ 0 h 584814"/>
                <a:gd name="connsiteX0" fmla="*/ 2941320 w 2941320"/>
                <a:gd name="connsiteY0" fmla="*/ 7620 h 553598"/>
                <a:gd name="connsiteX1" fmla="*/ 2497678 w 2941320"/>
                <a:gd name="connsiteY1" fmla="*/ 296924 h 553598"/>
                <a:gd name="connsiteX2" fmla="*/ 1616075 w 2941320"/>
                <a:gd name="connsiteY2" fmla="*/ 530975 h 553598"/>
                <a:gd name="connsiteX3" fmla="*/ 1471849 w 2941320"/>
                <a:gd name="connsiteY3" fmla="*/ 536448 h 553598"/>
                <a:gd name="connsiteX4" fmla="*/ 0 w 2941320"/>
                <a:gd name="connsiteY4" fmla="*/ 0 h 553598"/>
                <a:gd name="connsiteX0" fmla="*/ 2941320 w 2941320"/>
                <a:gd name="connsiteY0" fmla="*/ 7620 h 540697"/>
                <a:gd name="connsiteX1" fmla="*/ 2497678 w 2941320"/>
                <a:gd name="connsiteY1" fmla="*/ 296924 h 540697"/>
                <a:gd name="connsiteX2" fmla="*/ 1616075 w 2941320"/>
                <a:gd name="connsiteY2" fmla="*/ 530975 h 540697"/>
                <a:gd name="connsiteX3" fmla="*/ 1471849 w 2941320"/>
                <a:gd name="connsiteY3" fmla="*/ 536448 h 540697"/>
                <a:gd name="connsiteX4" fmla="*/ 0 w 2941320"/>
                <a:gd name="connsiteY4" fmla="*/ 0 h 540697"/>
                <a:gd name="connsiteX0" fmla="*/ 2941320 w 2941320"/>
                <a:gd name="connsiteY0" fmla="*/ 7620 h 540697"/>
                <a:gd name="connsiteX1" fmla="*/ 1616075 w 2941320"/>
                <a:gd name="connsiteY1" fmla="*/ 530975 h 540697"/>
                <a:gd name="connsiteX2" fmla="*/ 1471849 w 2941320"/>
                <a:gd name="connsiteY2" fmla="*/ 536448 h 540697"/>
                <a:gd name="connsiteX3" fmla="*/ 0 w 2941320"/>
                <a:gd name="connsiteY3" fmla="*/ 0 h 540697"/>
                <a:gd name="connsiteX0" fmla="*/ 1616075 w 1616075"/>
                <a:gd name="connsiteY0" fmla="*/ 530975 h 540697"/>
                <a:gd name="connsiteX1" fmla="*/ 1471849 w 1616075"/>
                <a:gd name="connsiteY1" fmla="*/ 536448 h 540697"/>
                <a:gd name="connsiteX2" fmla="*/ 0 w 1616075"/>
                <a:gd name="connsiteY2" fmla="*/ 0 h 540697"/>
                <a:gd name="connsiteX0" fmla="*/ 1616075 w 1616075"/>
                <a:gd name="connsiteY0" fmla="*/ 530975 h 540697"/>
                <a:gd name="connsiteX1" fmla="*/ 1471849 w 1616075"/>
                <a:gd name="connsiteY1" fmla="*/ 536448 h 540697"/>
                <a:gd name="connsiteX2" fmla="*/ 516410 w 1616075"/>
                <a:gd name="connsiteY2" fmla="*/ 335929 h 540697"/>
                <a:gd name="connsiteX3" fmla="*/ 0 w 1616075"/>
                <a:gd name="connsiteY3" fmla="*/ 0 h 540697"/>
                <a:gd name="connsiteX0" fmla="*/ 1616075 w 1616075"/>
                <a:gd name="connsiteY0" fmla="*/ 530975 h 530974"/>
                <a:gd name="connsiteX1" fmla="*/ 516410 w 1616075"/>
                <a:gd name="connsiteY1" fmla="*/ 335929 h 530974"/>
                <a:gd name="connsiteX2" fmla="*/ 0 w 1616075"/>
                <a:gd name="connsiteY2" fmla="*/ 0 h 530974"/>
                <a:gd name="connsiteX0" fmla="*/ 516410 w 516410"/>
                <a:gd name="connsiteY0" fmla="*/ 335929 h 335929"/>
                <a:gd name="connsiteX1" fmla="*/ 0 w 516410"/>
                <a:gd name="connsiteY1" fmla="*/ 0 h 335929"/>
                <a:gd name="connsiteX0" fmla="*/ 516410 w 516410"/>
                <a:gd name="connsiteY0" fmla="*/ 335929 h 335929"/>
                <a:gd name="connsiteX1" fmla="*/ 0 w 516410"/>
                <a:gd name="connsiteY1" fmla="*/ 0 h 335929"/>
                <a:gd name="connsiteX0" fmla="*/ 524852 w 524852"/>
                <a:gd name="connsiteY0" fmla="*/ 382740 h 382740"/>
                <a:gd name="connsiteX1" fmla="*/ 0 w 524852"/>
                <a:gd name="connsiteY1" fmla="*/ 0 h 382740"/>
                <a:gd name="connsiteX0" fmla="*/ 524852 w 524852"/>
                <a:gd name="connsiteY0" fmla="*/ 382740 h 382740"/>
                <a:gd name="connsiteX1" fmla="*/ 0 w 524852"/>
                <a:gd name="connsiteY1" fmla="*/ 0 h 382740"/>
                <a:gd name="connsiteX0" fmla="*/ 524852 w 524852"/>
                <a:gd name="connsiteY0" fmla="*/ 382740 h 382740"/>
                <a:gd name="connsiteX1" fmla="*/ 0 w 524852"/>
                <a:gd name="connsiteY1" fmla="*/ 0 h 382740"/>
                <a:gd name="connsiteX0" fmla="*/ 492926 w 492926"/>
                <a:gd name="connsiteY0" fmla="*/ 363070 h 363070"/>
                <a:gd name="connsiteX1" fmla="*/ 0 w 492926"/>
                <a:gd name="connsiteY1" fmla="*/ 0 h 363070"/>
              </a:gdLst>
              <a:ahLst/>
              <a:cxnLst>
                <a:cxn ang="0">
                  <a:pos x="connsiteX0" y="connsiteY0"/>
                </a:cxn>
                <a:cxn ang="0">
                  <a:pos x="connsiteX1" y="connsiteY1"/>
                </a:cxn>
              </a:cxnLst>
              <a:rect l="l" t="t" r="r" b="b"/>
              <a:pathLst>
                <a:path w="492926" h="363070">
                  <a:moveTo>
                    <a:pt x="492926" y="363070"/>
                  </a:moveTo>
                  <a:cubicBezTo>
                    <a:pt x="188523" y="219050"/>
                    <a:pt x="86068" y="87196"/>
                    <a:pt x="0" y="0"/>
                  </a:cubicBez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2" name="Oval 26">
              <a:extLst>
                <a:ext uri="{FF2B5EF4-FFF2-40B4-BE49-F238E27FC236}">
                  <a16:creationId xmlns:a16="http://schemas.microsoft.com/office/drawing/2014/main" id="{2B5C06B8-AB2D-4090-92F1-5BCADC9D8BC0}"/>
                </a:ext>
              </a:extLst>
            </p:cNvPr>
            <p:cNvSpPr/>
            <p:nvPr/>
          </p:nvSpPr>
          <p:spPr bwMode="gray">
            <a:xfrm rot="5400000" flipH="1">
              <a:off x="10795733" y="2243535"/>
              <a:ext cx="747421" cy="191647"/>
            </a:xfrm>
            <a:custGeom>
              <a:avLst/>
              <a:gdLst>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144136"/>
                <a:gd name="connsiteY0" fmla="*/ 1704594 h 3457836"/>
                <a:gd name="connsiteX1" fmla="*/ 2038267 w 4144136"/>
                <a:gd name="connsiteY1" fmla="*/ 0 h 3457836"/>
                <a:gd name="connsiteX2" fmla="*/ 4076534 w 4144136"/>
                <a:gd name="connsiteY2" fmla="*/ 1704594 h 3457836"/>
                <a:gd name="connsiteX3" fmla="*/ 3507738 w 4144136"/>
                <a:gd name="connsiteY3" fmla="*/ 2880360 h 3457836"/>
                <a:gd name="connsiteX4" fmla="*/ 2038267 w 4144136"/>
                <a:gd name="connsiteY4" fmla="*/ 3409188 h 3457836"/>
                <a:gd name="connsiteX5" fmla="*/ 0 w 4144136"/>
                <a:gd name="connsiteY5" fmla="*/ 1704594 h 3457836"/>
                <a:gd name="connsiteX0" fmla="*/ 67982 w 4212118"/>
                <a:gd name="connsiteY0" fmla="*/ 1704594 h 3409192"/>
                <a:gd name="connsiteX1" fmla="*/ 2106249 w 4212118"/>
                <a:gd name="connsiteY1" fmla="*/ 0 h 3409192"/>
                <a:gd name="connsiteX2" fmla="*/ 4144516 w 4212118"/>
                <a:gd name="connsiteY2" fmla="*/ 1704594 h 3409192"/>
                <a:gd name="connsiteX3" fmla="*/ 3575720 w 4212118"/>
                <a:gd name="connsiteY3" fmla="*/ 2880360 h 3409192"/>
                <a:gd name="connsiteX4" fmla="*/ 2106249 w 4212118"/>
                <a:gd name="connsiteY4" fmla="*/ 3409188 h 3409192"/>
                <a:gd name="connsiteX5" fmla="*/ 634400 w 4212118"/>
                <a:gd name="connsiteY5" fmla="*/ 2872740 h 3409192"/>
                <a:gd name="connsiteX6" fmla="*/ 67982 w 4212118"/>
                <a:gd name="connsiteY6" fmla="*/ 1704594 h 3409192"/>
                <a:gd name="connsiteX0" fmla="*/ 0 w 3577718"/>
                <a:gd name="connsiteY0" fmla="*/ 2890959 h 3427436"/>
                <a:gd name="connsiteX1" fmla="*/ 1471849 w 3577718"/>
                <a:gd name="connsiteY1" fmla="*/ 18219 h 3427436"/>
                <a:gd name="connsiteX2" fmla="*/ 3510116 w 3577718"/>
                <a:gd name="connsiteY2" fmla="*/ 1722813 h 3427436"/>
                <a:gd name="connsiteX3" fmla="*/ 2941320 w 3577718"/>
                <a:gd name="connsiteY3" fmla="*/ 2898579 h 3427436"/>
                <a:gd name="connsiteX4" fmla="*/ 1471849 w 3577718"/>
                <a:gd name="connsiteY4" fmla="*/ 3427407 h 3427436"/>
                <a:gd name="connsiteX5" fmla="*/ 0 w 3577718"/>
                <a:gd name="connsiteY5" fmla="*/ 2890959 h 3427436"/>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4" fmla="*/ 1563289 w 2941320"/>
                <a:gd name="connsiteY4" fmla="*/ 91440 h 3409199"/>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0" fmla="*/ 2941320 w 2941320"/>
                <a:gd name="connsiteY0" fmla="*/ 7620 h 536459"/>
                <a:gd name="connsiteX1" fmla="*/ 1471849 w 2941320"/>
                <a:gd name="connsiteY1" fmla="*/ 536448 h 536459"/>
                <a:gd name="connsiteX2" fmla="*/ 0 w 2941320"/>
                <a:gd name="connsiteY2" fmla="*/ 0 h 536459"/>
              </a:gdLst>
              <a:ahLst/>
              <a:cxnLst>
                <a:cxn ang="0">
                  <a:pos x="connsiteX0" y="connsiteY0"/>
                </a:cxn>
                <a:cxn ang="0">
                  <a:pos x="connsiteX1" y="connsiteY1"/>
                </a:cxn>
                <a:cxn ang="0">
                  <a:pos x="connsiteX2" y="connsiteY2"/>
                </a:cxn>
              </a:cxnLst>
              <a:rect l="l" t="t" r="r" b="b"/>
              <a:pathLst>
                <a:path w="2941320" h="536459">
                  <a:moveTo>
                    <a:pt x="2941320" y="7620"/>
                  </a:moveTo>
                  <a:cubicBezTo>
                    <a:pt x="2423160" y="431038"/>
                    <a:pt x="1962069" y="537718"/>
                    <a:pt x="1471849" y="536448"/>
                  </a:cubicBezTo>
                  <a:cubicBezTo>
                    <a:pt x="981629" y="535178"/>
                    <a:pt x="495300" y="431038"/>
                    <a:pt x="0" y="0"/>
                  </a:cubicBez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3" name="Oval 26">
              <a:extLst>
                <a:ext uri="{FF2B5EF4-FFF2-40B4-BE49-F238E27FC236}">
                  <a16:creationId xmlns:a16="http://schemas.microsoft.com/office/drawing/2014/main" id="{DF5B408E-FE68-494F-BDBD-3234054E20F4}"/>
                </a:ext>
              </a:extLst>
            </p:cNvPr>
            <p:cNvSpPr/>
            <p:nvPr/>
          </p:nvSpPr>
          <p:spPr bwMode="gray">
            <a:xfrm rot="16200000" flipH="1">
              <a:off x="11271634" y="1962047"/>
              <a:ext cx="38855" cy="46053"/>
            </a:xfrm>
            <a:custGeom>
              <a:avLst/>
              <a:gdLst>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144136"/>
                <a:gd name="connsiteY0" fmla="*/ 1704594 h 3457836"/>
                <a:gd name="connsiteX1" fmla="*/ 2038267 w 4144136"/>
                <a:gd name="connsiteY1" fmla="*/ 0 h 3457836"/>
                <a:gd name="connsiteX2" fmla="*/ 4076534 w 4144136"/>
                <a:gd name="connsiteY2" fmla="*/ 1704594 h 3457836"/>
                <a:gd name="connsiteX3" fmla="*/ 3507738 w 4144136"/>
                <a:gd name="connsiteY3" fmla="*/ 2880360 h 3457836"/>
                <a:gd name="connsiteX4" fmla="*/ 2038267 w 4144136"/>
                <a:gd name="connsiteY4" fmla="*/ 3409188 h 3457836"/>
                <a:gd name="connsiteX5" fmla="*/ 0 w 4144136"/>
                <a:gd name="connsiteY5" fmla="*/ 1704594 h 3457836"/>
                <a:gd name="connsiteX0" fmla="*/ 67982 w 4212118"/>
                <a:gd name="connsiteY0" fmla="*/ 1704594 h 3409192"/>
                <a:gd name="connsiteX1" fmla="*/ 2106249 w 4212118"/>
                <a:gd name="connsiteY1" fmla="*/ 0 h 3409192"/>
                <a:gd name="connsiteX2" fmla="*/ 4144516 w 4212118"/>
                <a:gd name="connsiteY2" fmla="*/ 1704594 h 3409192"/>
                <a:gd name="connsiteX3" fmla="*/ 3575720 w 4212118"/>
                <a:gd name="connsiteY3" fmla="*/ 2880360 h 3409192"/>
                <a:gd name="connsiteX4" fmla="*/ 2106249 w 4212118"/>
                <a:gd name="connsiteY4" fmla="*/ 3409188 h 3409192"/>
                <a:gd name="connsiteX5" fmla="*/ 634400 w 4212118"/>
                <a:gd name="connsiteY5" fmla="*/ 2872740 h 3409192"/>
                <a:gd name="connsiteX6" fmla="*/ 67982 w 4212118"/>
                <a:gd name="connsiteY6" fmla="*/ 1704594 h 3409192"/>
                <a:gd name="connsiteX0" fmla="*/ 0 w 3577718"/>
                <a:gd name="connsiteY0" fmla="*/ 2890959 h 3427436"/>
                <a:gd name="connsiteX1" fmla="*/ 1471849 w 3577718"/>
                <a:gd name="connsiteY1" fmla="*/ 18219 h 3427436"/>
                <a:gd name="connsiteX2" fmla="*/ 3510116 w 3577718"/>
                <a:gd name="connsiteY2" fmla="*/ 1722813 h 3427436"/>
                <a:gd name="connsiteX3" fmla="*/ 2941320 w 3577718"/>
                <a:gd name="connsiteY3" fmla="*/ 2898579 h 3427436"/>
                <a:gd name="connsiteX4" fmla="*/ 1471849 w 3577718"/>
                <a:gd name="connsiteY4" fmla="*/ 3427407 h 3427436"/>
                <a:gd name="connsiteX5" fmla="*/ 0 w 3577718"/>
                <a:gd name="connsiteY5" fmla="*/ 2890959 h 3427436"/>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4" fmla="*/ 1563289 w 2941320"/>
                <a:gd name="connsiteY4" fmla="*/ 91440 h 3409199"/>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0" fmla="*/ 2941320 w 2941320"/>
                <a:gd name="connsiteY0" fmla="*/ 7620 h 536459"/>
                <a:gd name="connsiteX1" fmla="*/ 1471849 w 2941320"/>
                <a:gd name="connsiteY1" fmla="*/ 536448 h 536459"/>
                <a:gd name="connsiteX2" fmla="*/ 0 w 2941320"/>
                <a:gd name="connsiteY2" fmla="*/ 0 h 536459"/>
                <a:gd name="connsiteX0" fmla="*/ 2947862 w 2947862"/>
                <a:gd name="connsiteY0" fmla="*/ 7620 h 537284"/>
                <a:gd name="connsiteX1" fmla="*/ 1478391 w 2947862"/>
                <a:gd name="connsiteY1" fmla="*/ 536448 h 537284"/>
                <a:gd name="connsiteX2" fmla="*/ 159446 w 2947862"/>
                <a:gd name="connsiteY2" fmla="*/ 126792 h 537284"/>
                <a:gd name="connsiteX3" fmla="*/ 6542 w 2947862"/>
                <a:gd name="connsiteY3" fmla="*/ 0 h 537284"/>
                <a:gd name="connsiteX0" fmla="*/ 2941320 w 2941320"/>
                <a:gd name="connsiteY0" fmla="*/ 7620 h 537284"/>
                <a:gd name="connsiteX1" fmla="*/ 1471849 w 2941320"/>
                <a:gd name="connsiteY1" fmla="*/ 536448 h 537284"/>
                <a:gd name="connsiteX2" fmla="*/ 152904 w 2941320"/>
                <a:gd name="connsiteY2" fmla="*/ 126792 h 537284"/>
                <a:gd name="connsiteX3" fmla="*/ 0 w 2941320"/>
                <a:gd name="connsiteY3" fmla="*/ 0 h 537284"/>
                <a:gd name="connsiteX0" fmla="*/ 1471849 w 1471849"/>
                <a:gd name="connsiteY0" fmla="*/ 536448 h 537284"/>
                <a:gd name="connsiteX1" fmla="*/ 152904 w 1471849"/>
                <a:gd name="connsiteY1" fmla="*/ 126792 h 537284"/>
                <a:gd name="connsiteX2" fmla="*/ 0 w 1471849"/>
                <a:gd name="connsiteY2" fmla="*/ 0 h 537284"/>
                <a:gd name="connsiteX0" fmla="*/ 152904 w 152904"/>
                <a:gd name="connsiteY0" fmla="*/ 126792 h 126792"/>
                <a:gd name="connsiteX1" fmla="*/ 0 w 152904"/>
                <a:gd name="connsiteY1" fmla="*/ 0 h 126792"/>
              </a:gdLst>
              <a:ahLst/>
              <a:cxnLst>
                <a:cxn ang="0">
                  <a:pos x="connsiteX0" y="connsiteY0"/>
                </a:cxn>
                <a:cxn ang="0">
                  <a:pos x="connsiteX1" y="connsiteY1"/>
                </a:cxn>
              </a:cxnLst>
              <a:rect l="l" t="t" r="r" b="b"/>
              <a:pathLst>
                <a:path w="152904" h="126792">
                  <a:moveTo>
                    <a:pt x="152904" y="126792"/>
                  </a:moveTo>
                  <a:cubicBezTo>
                    <a:pt x="110254" y="100402"/>
                    <a:pt x="25484" y="21132"/>
                    <a:pt x="0" y="0"/>
                  </a:cubicBez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4" name="Oval 26">
              <a:extLst>
                <a:ext uri="{FF2B5EF4-FFF2-40B4-BE49-F238E27FC236}">
                  <a16:creationId xmlns:a16="http://schemas.microsoft.com/office/drawing/2014/main" id="{BC8016B6-53E8-4CE5-A6B8-094D0290D35C}"/>
                </a:ext>
              </a:extLst>
            </p:cNvPr>
            <p:cNvSpPr/>
            <p:nvPr/>
          </p:nvSpPr>
          <p:spPr bwMode="gray">
            <a:xfrm rot="16200000">
              <a:off x="11099055" y="2353082"/>
              <a:ext cx="528330" cy="191643"/>
            </a:xfrm>
            <a:custGeom>
              <a:avLst/>
              <a:gdLst>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144136"/>
                <a:gd name="connsiteY0" fmla="*/ 1704594 h 3457836"/>
                <a:gd name="connsiteX1" fmla="*/ 2038267 w 4144136"/>
                <a:gd name="connsiteY1" fmla="*/ 0 h 3457836"/>
                <a:gd name="connsiteX2" fmla="*/ 4076534 w 4144136"/>
                <a:gd name="connsiteY2" fmla="*/ 1704594 h 3457836"/>
                <a:gd name="connsiteX3" fmla="*/ 3507738 w 4144136"/>
                <a:gd name="connsiteY3" fmla="*/ 2880360 h 3457836"/>
                <a:gd name="connsiteX4" fmla="*/ 2038267 w 4144136"/>
                <a:gd name="connsiteY4" fmla="*/ 3409188 h 3457836"/>
                <a:gd name="connsiteX5" fmla="*/ 0 w 4144136"/>
                <a:gd name="connsiteY5" fmla="*/ 1704594 h 3457836"/>
                <a:gd name="connsiteX0" fmla="*/ 67982 w 4212118"/>
                <a:gd name="connsiteY0" fmla="*/ 1704594 h 3409192"/>
                <a:gd name="connsiteX1" fmla="*/ 2106249 w 4212118"/>
                <a:gd name="connsiteY1" fmla="*/ 0 h 3409192"/>
                <a:gd name="connsiteX2" fmla="*/ 4144516 w 4212118"/>
                <a:gd name="connsiteY2" fmla="*/ 1704594 h 3409192"/>
                <a:gd name="connsiteX3" fmla="*/ 3575720 w 4212118"/>
                <a:gd name="connsiteY3" fmla="*/ 2880360 h 3409192"/>
                <a:gd name="connsiteX4" fmla="*/ 2106249 w 4212118"/>
                <a:gd name="connsiteY4" fmla="*/ 3409188 h 3409192"/>
                <a:gd name="connsiteX5" fmla="*/ 634400 w 4212118"/>
                <a:gd name="connsiteY5" fmla="*/ 2872740 h 3409192"/>
                <a:gd name="connsiteX6" fmla="*/ 67982 w 4212118"/>
                <a:gd name="connsiteY6" fmla="*/ 1704594 h 3409192"/>
                <a:gd name="connsiteX0" fmla="*/ 0 w 3577718"/>
                <a:gd name="connsiteY0" fmla="*/ 2890959 h 3427436"/>
                <a:gd name="connsiteX1" fmla="*/ 1471849 w 3577718"/>
                <a:gd name="connsiteY1" fmla="*/ 18219 h 3427436"/>
                <a:gd name="connsiteX2" fmla="*/ 3510116 w 3577718"/>
                <a:gd name="connsiteY2" fmla="*/ 1722813 h 3427436"/>
                <a:gd name="connsiteX3" fmla="*/ 2941320 w 3577718"/>
                <a:gd name="connsiteY3" fmla="*/ 2898579 h 3427436"/>
                <a:gd name="connsiteX4" fmla="*/ 1471849 w 3577718"/>
                <a:gd name="connsiteY4" fmla="*/ 3427407 h 3427436"/>
                <a:gd name="connsiteX5" fmla="*/ 0 w 3577718"/>
                <a:gd name="connsiteY5" fmla="*/ 2890959 h 3427436"/>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4" fmla="*/ 1563289 w 2941320"/>
                <a:gd name="connsiteY4" fmla="*/ 91440 h 3409199"/>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0" fmla="*/ 2941320 w 2941320"/>
                <a:gd name="connsiteY0" fmla="*/ 7620 h 536459"/>
                <a:gd name="connsiteX1" fmla="*/ 1471849 w 2941320"/>
                <a:gd name="connsiteY1" fmla="*/ 536448 h 536459"/>
                <a:gd name="connsiteX2" fmla="*/ 0 w 2941320"/>
                <a:gd name="connsiteY2" fmla="*/ 0 h 536459"/>
                <a:gd name="connsiteX0" fmla="*/ 2941320 w 2941320"/>
                <a:gd name="connsiteY0" fmla="*/ 7620 h 572649"/>
                <a:gd name="connsiteX1" fmla="*/ 2079132 w 2941320"/>
                <a:gd name="connsiteY1" fmla="*/ 467035 h 572649"/>
                <a:gd name="connsiteX2" fmla="*/ 1471849 w 2941320"/>
                <a:gd name="connsiteY2" fmla="*/ 536448 h 572649"/>
                <a:gd name="connsiteX3" fmla="*/ 0 w 2941320"/>
                <a:gd name="connsiteY3" fmla="*/ 0 h 572649"/>
                <a:gd name="connsiteX0" fmla="*/ 2941320 w 2941320"/>
                <a:gd name="connsiteY0" fmla="*/ 7620 h 537127"/>
                <a:gd name="connsiteX1" fmla="*/ 2079132 w 2941320"/>
                <a:gd name="connsiteY1" fmla="*/ 467035 h 537127"/>
                <a:gd name="connsiteX2" fmla="*/ 1471849 w 2941320"/>
                <a:gd name="connsiteY2" fmla="*/ 536448 h 537127"/>
                <a:gd name="connsiteX3" fmla="*/ 0 w 2941320"/>
                <a:gd name="connsiteY3" fmla="*/ 0 h 537127"/>
                <a:gd name="connsiteX0" fmla="*/ 2941320 w 2941320"/>
                <a:gd name="connsiteY0" fmla="*/ 7620 h 536448"/>
                <a:gd name="connsiteX1" fmla="*/ 2079132 w 2941320"/>
                <a:gd name="connsiteY1" fmla="*/ 467035 h 536448"/>
                <a:gd name="connsiteX2" fmla="*/ 1471849 w 2941320"/>
                <a:gd name="connsiteY2" fmla="*/ 536448 h 536448"/>
                <a:gd name="connsiteX3" fmla="*/ 0 w 2941320"/>
                <a:gd name="connsiteY3" fmla="*/ 0 h 536448"/>
                <a:gd name="connsiteX0" fmla="*/ 2079132 w 2079132"/>
                <a:gd name="connsiteY0" fmla="*/ 467035 h 536448"/>
                <a:gd name="connsiteX1" fmla="*/ 1471849 w 2079132"/>
                <a:gd name="connsiteY1" fmla="*/ 536448 h 536448"/>
                <a:gd name="connsiteX2" fmla="*/ 0 w 2079132"/>
                <a:gd name="connsiteY2" fmla="*/ 0 h 536448"/>
              </a:gdLst>
              <a:ahLst/>
              <a:cxnLst>
                <a:cxn ang="0">
                  <a:pos x="connsiteX0" y="connsiteY0"/>
                </a:cxn>
                <a:cxn ang="0">
                  <a:pos x="connsiteX1" y="connsiteY1"/>
                </a:cxn>
                <a:cxn ang="0">
                  <a:pos x="connsiteX2" y="connsiteY2"/>
                </a:cxn>
              </a:cxnLst>
              <a:rect l="l" t="t" r="r" b="b"/>
              <a:pathLst>
                <a:path w="2079132" h="536448">
                  <a:moveTo>
                    <a:pt x="2079132" y="467035"/>
                  </a:moveTo>
                  <a:cubicBezTo>
                    <a:pt x="2019984" y="487109"/>
                    <a:pt x="1835257" y="534211"/>
                    <a:pt x="1471849" y="536448"/>
                  </a:cubicBezTo>
                  <a:cubicBezTo>
                    <a:pt x="981629" y="535178"/>
                    <a:pt x="495300" y="431038"/>
                    <a:pt x="0" y="0"/>
                  </a:cubicBez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Oval 152">
              <a:extLst>
                <a:ext uri="{FF2B5EF4-FFF2-40B4-BE49-F238E27FC236}">
                  <a16:creationId xmlns:a16="http://schemas.microsoft.com/office/drawing/2014/main" id="{0CCE3228-C819-48CA-BA4E-A79B6F327423}"/>
                </a:ext>
              </a:extLst>
            </p:cNvPr>
            <p:cNvSpPr/>
            <p:nvPr/>
          </p:nvSpPr>
          <p:spPr bwMode="gray">
            <a:xfrm rot="10800000" flipH="1">
              <a:off x="11265077" y="1994907"/>
              <a:ext cx="200760" cy="337437"/>
            </a:xfrm>
            <a:custGeom>
              <a:avLst/>
              <a:gdLst>
                <a:gd name="connsiteX0" fmla="*/ 182355 w 364707"/>
                <a:gd name="connsiteY0" fmla="*/ 0 h 609571"/>
                <a:gd name="connsiteX1" fmla="*/ 182355 w 364707"/>
                <a:gd name="connsiteY1" fmla="*/ 215475 h 609571"/>
                <a:gd name="connsiteX2" fmla="*/ 182354 w 364707"/>
                <a:gd name="connsiteY2" fmla="*/ 215475 h 609571"/>
                <a:gd name="connsiteX3" fmla="*/ 182353 w 364707"/>
                <a:gd name="connsiteY3" fmla="*/ 0 h 609571"/>
                <a:gd name="connsiteX4" fmla="*/ 89921 w 364707"/>
                <a:gd name="connsiteY4" fmla="*/ 206858 h 609571"/>
                <a:gd name="connsiteX5" fmla="*/ 5356 w 364707"/>
                <a:gd name="connsiteY5" fmla="*/ 383573 h 609571"/>
                <a:gd name="connsiteX6" fmla="*/ 4829 w 364707"/>
                <a:gd name="connsiteY6" fmla="*/ 474058 h 609571"/>
                <a:gd name="connsiteX7" fmla="*/ 182354 w 364707"/>
                <a:gd name="connsiteY7" fmla="*/ 609529 h 609571"/>
                <a:gd name="connsiteX8" fmla="*/ 359879 w 364707"/>
                <a:gd name="connsiteY8" fmla="*/ 474058 h 609571"/>
                <a:gd name="connsiteX9" fmla="*/ 359352 w 364707"/>
                <a:gd name="connsiteY9" fmla="*/ 383573 h 609571"/>
                <a:gd name="connsiteX10" fmla="*/ 274787 w 364707"/>
                <a:gd name="connsiteY10" fmla="*/ 206858 h 609571"/>
                <a:gd name="connsiteX11" fmla="*/ 182355 w 364707"/>
                <a:gd name="connsiteY11" fmla="*/ 0 h 609571"/>
                <a:gd name="connsiteX0" fmla="*/ 182355 w 364707"/>
                <a:gd name="connsiteY0" fmla="*/ 0 h 609571"/>
                <a:gd name="connsiteX1" fmla="*/ 182355 w 364707"/>
                <a:gd name="connsiteY1" fmla="*/ 215475 h 609571"/>
                <a:gd name="connsiteX2" fmla="*/ 182353 w 364707"/>
                <a:gd name="connsiteY2" fmla="*/ 0 h 609571"/>
                <a:gd name="connsiteX3" fmla="*/ 89921 w 364707"/>
                <a:gd name="connsiteY3" fmla="*/ 206858 h 609571"/>
                <a:gd name="connsiteX4" fmla="*/ 5356 w 364707"/>
                <a:gd name="connsiteY4" fmla="*/ 383573 h 609571"/>
                <a:gd name="connsiteX5" fmla="*/ 4829 w 364707"/>
                <a:gd name="connsiteY5" fmla="*/ 474058 h 609571"/>
                <a:gd name="connsiteX6" fmla="*/ 182354 w 364707"/>
                <a:gd name="connsiteY6" fmla="*/ 609529 h 609571"/>
                <a:gd name="connsiteX7" fmla="*/ 359879 w 364707"/>
                <a:gd name="connsiteY7" fmla="*/ 474058 h 609571"/>
                <a:gd name="connsiteX8" fmla="*/ 359352 w 364707"/>
                <a:gd name="connsiteY8" fmla="*/ 383573 h 609571"/>
                <a:gd name="connsiteX9" fmla="*/ 274787 w 364707"/>
                <a:gd name="connsiteY9" fmla="*/ 206858 h 609571"/>
                <a:gd name="connsiteX10" fmla="*/ 182355 w 364707"/>
                <a:gd name="connsiteY10" fmla="*/ 0 h 609571"/>
                <a:gd name="connsiteX0" fmla="*/ 182355 w 364707"/>
                <a:gd name="connsiteY0" fmla="*/ 0 h 609571"/>
                <a:gd name="connsiteX1" fmla="*/ 182353 w 364707"/>
                <a:gd name="connsiteY1" fmla="*/ 0 h 609571"/>
                <a:gd name="connsiteX2" fmla="*/ 89921 w 364707"/>
                <a:gd name="connsiteY2" fmla="*/ 206858 h 609571"/>
                <a:gd name="connsiteX3" fmla="*/ 5356 w 364707"/>
                <a:gd name="connsiteY3" fmla="*/ 383573 h 609571"/>
                <a:gd name="connsiteX4" fmla="*/ 4829 w 364707"/>
                <a:gd name="connsiteY4" fmla="*/ 474058 h 609571"/>
                <a:gd name="connsiteX5" fmla="*/ 182354 w 364707"/>
                <a:gd name="connsiteY5" fmla="*/ 609529 h 609571"/>
                <a:gd name="connsiteX6" fmla="*/ 359879 w 364707"/>
                <a:gd name="connsiteY6" fmla="*/ 474058 h 609571"/>
                <a:gd name="connsiteX7" fmla="*/ 359352 w 364707"/>
                <a:gd name="connsiteY7" fmla="*/ 383573 h 609571"/>
                <a:gd name="connsiteX8" fmla="*/ 274787 w 364707"/>
                <a:gd name="connsiteY8" fmla="*/ 206858 h 609571"/>
                <a:gd name="connsiteX9" fmla="*/ 182355 w 364707"/>
                <a:gd name="connsiteY9" fmla="*/ 0 h 609571"/>
                <a:gd name="connsiteX0" fmla="*/ 182355 w 364707"/>
                <a:gd name="connsiteY0" fmla="*/ 0 h 609571"/>
                <a:gd name="connsiteX1" fmla="*/ 182353 w 364707"/>
                <a:gd name="connsiteY1" fmla="*/ 0 h 609571"/>
                <a:gd name="connsiteX2" fmla="*/ 89921 w 364707"/>
                <a:gd name="connsiteY2" fmla="*/ 206858 h 609571"/>
                <a:gd name="connsiteX3" fmla="*/ 5356 w 364707"/>
                <a:gd name="connsiteY3" fmla="*/ 383573 h 609571"/>
                <a:gd name="connsiteX4" fmla="*/ 4829 w 364707"/>
                <a:gd name="connsiteY4" fmla="*/ 474058 h 609571"/>
                <a:gd name="connsiteX5" fmla="*/ 182354 w 364707"/>
                <a:gd name="connsiteY5" fmla="*/ 609529 h 609571"/>
                <a:gd name="connsiteX6" fmla="*/ 359879 w 364707"/>
                <a:gd name="connsiteY6" fmla="*/ 474058 h 609571"/>
                <a:gd name="connsiteX7" fmla="*/ 359352 w 364707"/>
                <a:gd name="connsiteY7" fmla="*/ 383573 h 609571"/>
                <a:gd name="connsiteX8" fmla="*/ 274787 w 364707"/>
                <a:gd name="connsiteY8" fmla="*/ 206858 h 609571"/>
                <a:gd name="connsiteX9" fmla="*/ 182355 w 364707"/>
                <a:gd name="connsiteY9" fmla="*/ 0 h 609571"/>
                <a:gd name="connsiteX0" fmla="*/ 182355 w 364707"/>
                <a:gd name="connsiteY0" fmla="*/ 25367 h 634938"/>
                <a:gd name="connsiteX1" fmla="*/ 182353 w 364707"/>
                <a:gd name="connsiteY1" fmla="*/ 25367 h 634938"/>
                <a:gd name="connsiteX2" fmla="*/ 89921 w 364707"/>
                <a:gd name="connsiteY2" fmla="*/ 232225 h 634938"/>
                <a:gd name="connsiteX3" fmla="*/ 5356 w 364707"/>
                <a:gd name="connsiteY3" fmla="*/ 408940 h 634938"/>
                <a:gd name="connsiteX4" fmla="*/ 4829 w 364707"/>
                <a:gd name="connsiteY4" fmla="*/ 499425 h 634938"/>
                <a:gd name="connsiteX5" fmla="*/ 182354 w 364707"/>
                <a:gd name="connsiteY5" fmla="*/ 634896 h 634938"/>
                <a:gd name="connsiteX6" fmla="*/ 359879 w 364707"/>
                <a:gd name="connsiteY6" fmla="*/ 499425 h 634938"/>
                <a:gd name="connsiteX7" fmla="*/ 359352 w 364707"/>
                <a:gd name="connsiteY7" fmla="*/ 408940 h 634938"/>
                <a:gd name="connsiteX8" fmla="*/ 274787 w 364707"/>
                <a:gd name="connsiteY8" fmla="*/ 232225 h 634938"/>
                <a:gd name="connsiteX9" fmla="*/ 182355 w 364707"/>
                <a:gd name="connsiteY9" fmla="*/ 25367 h 634938"/>
                <a:gd name="connsiteX0" fmla="*/ 182355 w 364707"/>
                <a:gd name="connsiteY0" fmla="*/ 15128 h 624699"/>
                <a:gd name="connsiteX1" fmla="*/ 182353 w 364707"/>
                <a:gd name="connsiteY1" fmla="*/ 15128 h 624699"/>
                <a:gd name="connsiteX2" fmla="*/ 89921 w 364707"/>
                <a:gd name="connsiteY2" fmla="*/ 221986 h 624699"/>
                <a:gd name="connsiteX3" fmla="*/ 5356 w 364707"/>
                <a:gd name="connsiteY3" fmla="*/ 398701 h 624699"/>
                <a:gd name="connsiteX4" fmla="*/ 4829 w 364707"/>
                <a:gd name="connsiteY4" fmla="*/ 489186 h 624699"/>
                <a:gd name="connsiteX5" fmla="*/ 182354 w 364707"/>
                <a:gd name="connsiteY5" fmla="*/ 624657 h 624699"/>
                <a:gd name="connsiteX6" fmla="*/ 359879 w 364707"/>
                <a:gd name="connsiteY6" fmla="*/ 489186 h 624699"/>
                <a:gd name="connsiteX7" fmla="*/ 359352 w 364707"/>
                <a:gd name="connsiteY7" fmla="*/ 398701 h 624699"/>
                <a:gd name="connsiteX8" fmla="*/ 274787 w 364707"/>
                <a:gd name="connsiteY8" fmla="*/ 221986 h 624699"/>
                <a:gd name="connsiteX9" fmla="*/ 182355 w 364707"/>
                <a:gd name="connsiteY9" fmla="*/ 15128 h 624699"/>
                <a:gd name="connsiteX0" fmla="*/ 182355 w 364707"/>
                <a:gd name="connsiteY0" fmla="*/ 15128 h 624699"/>
                <a:gd name="connsiteX1" fmla="*/ 182353 w 364707"/>
                <a:gd name="connsiteY1" fmla="*/ 15128 h 624699"/>
                <a:gd name="connsiteX2" fmla="*/ 89921 w 364707"/>
                <a:gd name="connsiteY2" fmla="*/ 221986 h 624699"/>
                <a:gd name="connsiteX3" fmla="*/ 5356 w 364707"/>
                <a:gd name="connsiteY3" fmla="*/ 398701 h 624699"/>
                <a:gd name="connsiteX4" fmla="*/ 4829 w 364707"/>
                <a:gd name="connsiteY4" fmla="*/ 489186 h 624699"/>
                <a:gd name="connsiteX5" fmla="*/ 182354 w 364707"/>
                <a:gd name="connsiteY5" fmla="*/ 624657 h 624699"/>
                <a:gd name="connsiteX6" fmla="*/ 359879 w 364707"/>
                <a:gd name="connsiteY6" fmla="*/ 489186 h 624699"/>
                <a:gd name="connsiteX7" fmla="*/ 359352 w 364707"/>
                <a:gd name="connsiteY7" fmla="*/ 398701 h 624699"/>
                <a:gd name="connsiteX8" fmla="*/ 274787 w 364707"/>
                <a:gd name="connsiteY8" fmla="*/ 221986 h 624699"/>
                <a:gd name="connsiteX9" fmla="*/ 182355 w 364707"/>
                <a:gd name="connsiteY9" fmla="*/ 15128 h 624699"/>
                <a:gd name="connsiteX0" fmla="*/ 182355 w 364707"/>
                <a:gd name="connsiteY0" fmla="*/ 3428 h 612999"/>
                <a:gd name="connsiteX1" fmla="*/ 182353 w 364707"/>
                <a:gd name="connsiteY1" fmla="*/ 3428 h 612999"/>
                <a:gd name="connsiteX2" fmla="*/ 89921 w 364707"/>
                <a:gd name="connsiteY2" fmla="*/ 210286 h 612999"/>
                <a:gd name="connsiteX3" fmla="*/ 5356 w 364707"/>
                <a:gd name="connsiteY3" fmla="*/ 387001 h 612999"/>
                <a:gd name="connsiteX4" fmla="*/ 4829 w 364707"/>
                <a:gd name="connsiteY4" fmla="*/ 477486 h 612999"/>
                <a:gd name="connsiteX5" fmla="*/ 182354 w 364707"/>
                <a:gd name="connsiteY5" fmla="*/ 612957 h 612999"/>
                <a:gd name="connsiteX6" fmla="*/ 359879 w 364707"/>
                <a:gd name="connsiteY6" fmla="*/ 477486 h 612999"/>
                <a:gd name="connsiteX7" fmla="*/ 359352 w 364707"/>
                <a:gd name="connsiteY7" fmla="*/ 387001 h 612999"/>
                <a:gd name="connsiteX8" fmla="*/ 274787 w 364707"/>
                <a:gd name="connsiteY8" fmla="*/ 210286 h 612999"/>
                <a:gd name="connsiteX9" fmla="*/ 182355 w 364707"/>
                <a:gd name="connsiteY9" fmla="*/ 3428 h 612999"/>
                <a:gd name="connsiteX0" fmla="*/ 182355 w 364707"/>
                <a:gd name="connsiteY0" fmla="*/ 3428 h 612999"/>
                <a:gd name="connsiteX1" fmla="*/ 182353 w 364707"/>
                <a:gd name="connsiteY1" fmla="*/ 3428 h 612999"/>
                <a:gd name="connsiteX2" fmla="*/ 89921 w 364707"/>
                <a:gd name="connsiteY2" fmla="*/ 210286 h 612999"/>
                <a:gd name="connsiteX3" fmla="*/ 5356 w 364707"/>
                <a:gd name="connsiteY3" fmla="*/ 387001 h 612999"/>
                <a:gd name="connsiteX4" fmla="*/ 4829 w 364707"/>
                <a:gd name="connsiteY4" fmla="*/ 477486 h 612999"/>
                <a:gd name="connsiteX5" fmla="*/ 182354 w 364707"/>
                <a:gd name="connsiteY5" fmla="*/ 612957 h 612999"/>
                <a:gd name="connsiteX6" fmla="*/ 359879 w 364707"/>
                <a:gd name="connsiteY6" fmla="*/ 477486 h 612999"/>
                <a:gd name="connsiteX7" fmla="*/ 359352 w 364707"/>
                <a:gd name="connsiteY7" fmla="*/ 387001 h 612999"/>
                <a:gd name="connsiteX8" fmla="*/ 274787 w 364707"/>
                <a:gd name="connsiteY8" fmla="*/ 210286 h 612999"/>
                <a:gd name="connsiteX9" fmla="*/ 182355 w 364707"/>
                <a:gd name="connsiteY9" fmla="*/ 3428 h 612999"/>
                <a:gd name="connsiteX0" fmla="*/ 182355 w 364707"/>
                <a:gd name="connsiteY0" fmla="*/ 3428 h 612999"/>
                <a:gd name="connsiteX1" fmla="*/ 182353 w 364707"/>
                <a:gd name="connsiteY1" fmla="*/ 3428 h 612999"/>
                <a:gd name="connsiteX2" fmla="*/ 89921 w 364707"/>
                <a:gd name="connsiteY2" fmla="*/ 210286 h 612999"/>
                <a:gd name="connsiteX3" fmla="*/ 5356 w 364707"/>
                <a:gd name="connsiteY3" fmla="*/ 387001 h 612999"/>
                <a:gd name="connsiteX4" fmla="*/ 4829 w 364707"/>
                <a:gd name="connsiteY4" fmla="*/ 477486 h 612999"/>
                <a:gd name="connsiteX5" fmla="*/ 182354 w 364707"/>
                <a:gd name="connsiteY5" fmla="*/ 612957 h 612999"/>
                <a:gd name="connsiteX6" fmla="*/ 359879 w 364707"/>
                <a:gd name="connsiteY6" fmla="*/ 477486 h 612999"/>
                <a:gd name="connsiteX7" fmla="*/ 359352 w 364707"/>
                <a:gd name="connsiteY7" fmla="*/ 387001 h 612999"/>
                <a:gd name="connsiteX8" fmla="*/ 274787 w 364707"/>
                <a:gd name="connsiteY8" fmla="*/ 217096 h 612999"/>
                <a:gd name="connsiteX9" fmla="*/ 182355 w 364707"/>
                <a:gd name="connsiteY9" fmla="*/ 3428 h 612999"/>
                <a:gd name="connsiteX0" fmla="*/ 182355 w 364707"/>
                <a:gd name="connsiteY0" fmla="*/ 3428 h 612999"/>
                <a:gd name="connsiteX1" fmla="*/ 182353 w 364707"/>
                <a:gd name="connsiteY1" fmla="*/ 3428 h 612999"/>
                <a:gd name="connsiteX2" fmla="*/ 89921 w 364707"/>
                <a:gd name="connsiteY2" fmla="*/ 210286 h 612999"/>
                <a:gd name="connsiteX3" fmla="*/ 5356 w 364707"/>
                <a:gd name="connsiteY3" fmla="*/ 387001 h 612999"/>
                <a:gd name="connsiteX4" fmla="*/ 4829 w 364707"/>
                <a:gd name="connsiteY4" fmla="*/ 477486 h 612999"/>
                <a:gd name="connsiteX5" fmla="*/ 182354 w 364707"/>
                <a:gd name="connsiteY5" fmla="*/ 612957 h 612999"/>
                <a:gd name="connsiteX6" fmla="*/ 359879 w 364707"/>
                <a:gd name="connsiteY6" fmla="*/ 477486 h 612999"/>
                <a:gd name="connsiteX7" fmla="*/ 359352 w 364707"/>
                <a:gd name="connsiteY7" fmla="*/ 387001 h 612999"/>
                <a:gd name="connsiteX8" fmla="*/ 182355 w 364707"/>
                <a:gd name="connsiteY8" fmla="*/ 3428 h 612999"/>
                <a:gd name="connsiteX0" fmla="*/ 182355 w 364707"/>
                <a:gd name="connsiteY0" fmla="*/ 3428 h 612999"/>
                <a:gd name="connsiteX1" fmla="*/ 182353 w 364707"/>
                <a:gd name="connsiteY1" fmla="*/ 3428 h 612999"/>
                <a:gd name="connsiteX2" fmla="*/ 5356 w 364707"/>
                <a:gd name="connsiteY2" fmla="*/ 387001 h 612999"/>
                <a:gd name="connsiteX3" fmla="*/ 4829 w 364707"/>
                <a:gd name="connsiteY3" fmla="*/ 477486 h 612999"/>
                <a:gd name="connsiteX4" fmla="*/ 182354 w 364707"/>
                <a:gd name="connsiteY4" fmla="*/ 612957 h 612999"/>
                <a:gd name="connsiteX5" fmla="*/ 359879 w 364707"/>
                <a:gd name="connsiteY5" fmla="*/ 477486 h 612999"/>
                <a:gd name="connsiteX6" fmla="*/ 359352 w 364707"/>
                <a:gd name="connsiteY6" fmla="*/ 387001 h 612999"/>
                <a:gd name="connsiteX7" fmla="*/ 182355 w 364707"/>
                <a:gd name="connsiteY7" fmla="*/ 3428 h 612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4707" h="612999">
                  <a:moveTo>
                    <a:pt x="182355" y="3428"/>
                  </a:moveTo>
                  <a:cubicBezTo>
                    <a:pt x="87120" y="210871"/>
                    <a:pt x="197759" y="-31048"/>
                    <a:pt x="182353" y="3428"/>
                  </a:cubicBezTo>
                  <a:cubicBezTo>
                    <a:pt x="152853" y="67357"/>
                    <a:pt x="34943" y="307992"/>
                    <a:pt x="5356" y="387001"/>
                  </a:cubicBezTo>
                  <a:cubicBezTo>
                    <a:pt x="-1194" y="418928"/>
                    <a:pt x="-2159" y="448821"/>
                    <a:pt x="4829" y="477486"/>
                  </a:cubicBezTo>
                  <a:cubicBezTo>
                    <a:pt x="28811" y="575869"/>
                    <a:pt x="99109" y="614463"/>
                    <a:pt x="182354" y="612957"/>
                  </a:cubicBezTo>
                  <a:cubicBezTo>
                    <a:pt x="265599" y="614463"/>
                    <a:pt x="335897" y="575869"/>
                    <a:pt x="359879" y="477486"/>
                  </a:cubicBezTo>
                  <a:cubicBezTo>
                    <a:pt x="366867" y="448821"/>
                    <a:pt x="365902" y="418928"/>
                    <a:pt x="359352" y="387001"/>
                  </a:cubicBezTo>
                  <a:cubicBezTo>
                    <a:pt x="329765" y="307992"/>
                    <a:pt x="211855" y="67357"/>
                    <a:pt x="182355" y="3428"/>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6" name="Oval 838">
              <a:extLst>
                <a:ext uri="{FF2B5EF4-FFF2-40B4-BE49-F238E27FC236}">
                  <a16:creationId xmlns:a16="http://schemas.microsoft.com/office/drawing/2014/main" id="{F86A7AF6-B29A-4E87-B557-E162E95A2E15}"/>
                </a:ext>
              </a:extLst>
            </p:cNvPr>
            <p:cNvSpPr/>
            <p:nvPr/>
          </p:nvSpPr>
          <p:spPr bwMode="gray">
            <a:xfrm rot="10800000">
              <a:off x="11294849" y="2029799"/>
              <a:ext cx="141216" cy="141217"/>
            </a:xfrm>
            <a:prstGeom prst="ellips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207" name="Straight Connector 206">
              <a:extLst>
                <a:ext uri="{FF2B5EF4-FFF2-40B4-BE49-F238E27FC236}">
                  <a16:creationId xmlns:a16="http://schemas.microsoft.com/office/drawing/2014/main" id="{B8094F81-34DA-4B0A-B783-C7FF211B5ABD}"/>
                </a:ext>
              </a:extLst>
            </p:cNvPr>
            <p:cNvCxnSpPr>
              <a:cxnSpLocks/>
            </p:cNvCxnSpPr>
            <p:nvPr/>
          </p:nvCxnSpPr>
          <p:spPr bwMode="gray">
            <a:xfrm flipH="1">
              <a:off x="11267304" y="2119312"/>
              <a:ext cx="626" cy="593757"/>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8" name="Straight Connector 207">
              <a:extLst>
                <a:ext uri="{FF2B5EF4-FFF2-40B4-BE49-F238E27FC236}">
                  <a16:creationId xmlns:a16="http://schemas.microsoft.com/office/drawing/2014/main" id="{09A8DCD9-A94E-454A-8A2F-736CD698FFA1}"/>
                </a:ext>
              </a:extLst>
            </p:cNvPr>
            <p:cNvCxnSpPr>
              <a:cxnSpLocks/>
            </p:cNvCxnSpPr>
            <p:nvPr/>
          </p:nvCxnSpPr>
          <p:spPr bwMode="gray">
            <a:xfrm flipH="1">
              <a:off x="11267472" y="1966912"/>
              <a:ext cx="290" cy="102591"/>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26" name="Group 225">
            <a:extLst>
              <a:ext uri="{FF2B5EF4-FFF2-40B4-BE49-F238E27FC236}">
                <a16:creationId xmlns:a16="http://schemas.microsoft.com/office/drawing/2014/main" id="{DBBD990C-C6CD-4808-B3B9-0FD56A125D5A}"/>
              </a:ext>
            </a:extLst>
          </p:cNvPr>
          <p:cNvGrpSpPr/>
          <p:nvPr/>
        </p:nvGrpSpPr>
        <p:grpSpPr bwMode="gray">
          <a:xfrm>
            <a:off x="9887763" y="4244192"/>
            <a:ext cx="476710" cy="476708"/>
            <a:chOff x="9156815" y="-560965"/>
            <a:chExt cx="718798" cy="718795"/>
          </a:xfrm>
        </p:grpSpPr>
        <p:grpSp>
          <p:nvGrpSpPr>
            <p:cNvPr id="209" name="Group 208">
              <a:extLst>
                <a:ext uri="{FF2B5EF4-FFF2-40B4-BE49-F238E27FC236}">
                  <a16:creationId xmlns:a16="http://schemas.microsoft.com/office/drawing/2014/main" id="{92772EDE-B9CD-4093-B069-7A55F0CC4DDE}"/>
                </a:ext>
              </a:extLst>
            </p:cNvPr>
            <p:cNvGrpSpPr/>
            <p:nvPr/>
          </p:nvGrpSpPr>
          <p:grpSpPr bwMode="gray">
            <a:xfrm>
              <a:off x="9156815" y="-560965"/>
              <a:ext cx="718798" cy="718795"/>
              <a:chOff x="10893904" y="1965646"/>
              <a:chExt cx="747426" cy="747423"/>
            </a:xfrm>
          </p:grpSpPr>
          <p:sp>
            <p:nvSpPr>
              <p:cNvPr id="210" name="Oval 829">
                <a:extLst>
                  <a:ext uri="{FF2B5EF4-FFF2-40B4-BE49-F238E27FC236}">
                    <a16:creationId xmlns:a16="http://schemas.microsoft.com/office/drawing/2014/main" id="{DB730CAA-1C17-4F1C-AA02-F70E33D9D3F0}"/>
                  </a:ext>
                </a:extLst>
              </p:cNvPr>
              <p:cNvSpPr/>
              <p:nvPr/>
            </p:nvSpPr>
            <p:spPr bwMode="gray">
              <a:xfrm>
                <a:off x="10893904" y="1965648"/>
                <a:ext cx="747426" cy="747421"/>
              </a:xfrm>
              <a:prstGeom prst="ellips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211" name="Straight Connector 834">
                <a:extLst>
                  <a:ext uri="{FF2B5EF4-FFF2-40B4-BE49-F238E27FC236}">
                    <a16:creationId xmlns:a16="http://schemas.microsoft.com/office/drawing/2014/main" id="{E72002A2-CD75-4EA4-9EEC-F017BA247CC6}"/>
                  </a:ext>
                </a:extLst>
              </p:cNvPr>
              <p:cNvCxnSpPr/>
              <p:nvPr/>
            </p:nvCxnSpPr>
            <p:spPr bwMode="gray">
              <a:xfrm>
                <a:off x="10893904" y="2341709"/>
                <a:ext cx="747426"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12" name="Oval 26">
                <a:extLst>
                  <a:ext uri="{FF2B5EF4-FFF2-40B4-BE49-F238E27FC236}">
                    <a16:creationId xmlns:a16="http://schemas.microsoft.com/office/drawing/2014/main" id="{8ADB0F1B-5D34-4B2B-84C9-EC3B1150F712}"/>
                  </a:ext>
                </a:extLst>
              </p:cNvPr>
              <p:cNvSpPr/>
              <p:nvPr/>
            </p:nvSpPr>
            <p:spPr bwMode="gray">
              <a:xfrm>
                <a:off x="10997756" y="2081663"/>
                <a:ext cx="296304" cy="98780"/>
              </a:xfrm>
              <a:custGeom>
                <a:avLst/>
                <a:gdLst>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144136"/>
                  <a:gd name="connsiteY0" fmla="*/ 1704594 h 3457836"/>
                  <a:gd name="connsiteX1" fmla="*/ 2038267 w 4144136"/>
                  <a:gd name="connsiteY1" fmla="*/ 0 h 3457836"/>
                  <a:gd name="connsiteX2" fmla="*/ 4076534 w 4144136"/>
                  <a:gd name="connsiteY2" fmla="*/ 1704594 h 3457836"/>
                  <a:gd name="connsiteX3" fmla="*/ 3507738 w 4144136"/>
                  <a:gd name="connsiteY3" fmla="*/ 2880360 h 3457836"/>
                  <a:gd name="connsiteX4" fmla="*/ 2038267 w 4144136"/>
                  <a:gd name="connsiteY4" fmla="*/ 3409188 h 3457836"/>
                  <a:gd name="connsiteX5" fmla="*/ 0 w 4144136"/>
                  <a:gd name="connsiteY5" fmla="*/ 1704594 h 3457836"/>
                  <a:gd name="connsiteX0" fmla="*/ 67982 w 4212118"/>
                  <a:gd name="connsiteY0" fmla="*/ 1704594 h 3409192"/>
                  <a:gd name="connsiteX1" fmla="*/ 2106249 w 4212118"/>
                  <a:gd name="connsiteY1" fmla="*/ 0 h 3409192"/>
                  <a:gd name="connsiteX2" fmla="*/ 4144516 w 4212118"/>
                  <a:gd name="connsiteY2" fmla="*/ 1704594 h 3409192"/>
                  <a:gd name="connsiteX3" fmla="*/ 3575720 w 4212118"/>
                  <a:gd name="connsiteY3" fmla="*/ 2880360 h 3409192"/>
                  <a:gd name="connsiteX4" fmla="*/ 2106249 w 4212118"/>
                  <a:gd name="connsiteY4" fmla="*/ 3409188 h 3409192"/>
                  <a:gd name="connsiteX5" fmla="*/ 634400 w 4212118"/>
                  <a:gd name="connsiteY5" fmla="*/ 2872740 h 3409192"/>
                  <a:gd name="connsiteX6" fmla="*/ 67982 w 4212118"/>
                  <a:gd name="connsiteY6" fmla="*/ 1704594 h 3409192"/>
                  <a:gd name="connsiteX0" fmla="*/ 0 w 3577718"/>
                  <a:gd name="connsiteY0" fmla="*/ 2890959 h 3427436"/>
                  <a:gd name="connsiteX1" fmla="*/ 1471849 w 3577718"/>
                  <a:gd name="connsiteY1" fmla="*/ 18219 h 3427436"/>
                  <a:gd name="connsiteX2" fmla="*/ 3510116 w 3577718"/>
                  <a:gd name="connsiteY2" fmla="*/ 1722813 h 3427436"/>
                  <a:gd name="connsiteX3" fmla="*/ 2941320 w 3577718"/>
                  <a:gd name="connsiteY3" fmla="*/ 2898579 h 3427436"/>
                  <a:gd name="connsiteX4" fmla="*/ 1471849 w 3577718"/>
                  <a:gd name="connsiteY4" fmla="*/ 3427407 h 3427436"/>
                  <a:gd name="connsiteX5" fmla="*/ 0 w 3577718"/>
                  <a:gd name="connsiteY5" fmla="*/ 2890959 h 3427436"/>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4" fmla="*/ 1563289 w 2941320"/>
                  <a:gd name="connsiteY4" fmla="*/ 91440 h 3409199"/>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0" fmla="*/ 2941320 w 2941320"/>
                  <a:gd name="connsiteY0" fmla="*/ 7620 h 536459"/>
                  <a:gd name="connsiteX1" fmla="*/ 1471849 w 2941320"/>
                  <a:gd name="connsiteY1" fmla="*/ 536448 h 536459"/>
                  <a:gd name="connsiteX2" fmla="*/ 0 w 2941320"/>
                  <a:gd name="connsiteY2" fmla="*/ 0 h 536459"/>
                  <a:gd name="connsiteX0" fmla="*/ 2941320 w 2941320"/>
                  <a:gd name="connsiteY0" fmla="*/ 7620 h 544179"/>
                  <a:gd name="connsiteX1" fmla="*/ 2497678 w 2941320"/>
                  <a:gd name="connsiteY1" fmla="*/ 296924 h 544179"/>
                  <a:gd name="connsiteX2" fmla="*/ 1471849 w 2941320"/>
                  <a:gd name="connsiteY2" fmla="*/ 536448 h 544179"/>
                  <a:gd name="connsiteX3" fmla="*/ 0 w 2941320"/>
                  <a:gd name="connsiteY3" fmla="*/ 0 h 544179"/>
                  <a:gd name="connsiteX0" fmla="*/ 2941320 w 2941320"/>
                  <a:gd name="connsiteY0" fmla="*/ 7620 h 587648"/>
                  <a:gd name="connsiteX1" fmla="*/ 2497678 w 2941320"/>
                  <a:gd name="connsiteY1" fmla="*/ 296924 h 587648"/>
                  <a:gd name="connsiteX2" fmla="*/ 1608273 w 2941320"/>
                  <a:gd name="connsiteY2" fmla="*/ 538777 h 587648"/>
                  <a:gd name="connsiteX3" fmla="*/ 1471849 w 2941320"/>
                  <a:gd name="connsiteY3" fmla="*/ 536448 h 587648"/>
                  <a:gd name="connsiteX4" fmla="*/ 0 w 2941320"/>
                  <a:gd name="connsiteY4" fmla="*/ 0 h 587648"/>
                  <a:gd name="connsiteX0" fmla="*/ 2941320 w 2941320"/>
                  <a:gd name="connsiteY0" fmla="*/ 7620 h 584814"/>
                  <a:gd name="connsiteX1" fmla="*/ 2497678 w 2941320"/>
                  <a:gd name="connsiteY1" fmla="*/ 296924 h 584814"/>
                  <a:gd name="connsiteX2" fmla="*/ 1616075 w 2941320"/>
                  <a:gd name="connsiteY2" fmla="*/ 530975 h 584814"/>
                  <a:gd name="connsiteX3" fmla="*/ 1471849 w 2941320"/>
                  <a:gd name="connsiteY3" fmla="*/ 536448 h 584814"/>
                  <a:gd name="connsiteX4" fmla="*/ 0 w 2941320"/>
                  <a:gd name="connsiteY4" fmla="*/ 0 h 584814"/>
                  <a:gd name="connsiteX0" fmla="*/ 2941320 w 2941320"/>
                  <a:gd name="connsiteY0" fmla="*/ 7620 h 553598"/>
                  <a:gd name="connsiteX1" fmla="*/ 2497678 w 2941320"/>
                  <a:gd name="connsiteY1" fmla="*/ 296924 h 553598"/>
                  <a:gd name="connsiteX2" fmla="*/ 1616075 w 2941320"/>
                  <a:gd name="connsiteY2" fmla="*/ 530975 h 553598"/>
                  <a:gd name="connsiteX3" fmla="*/ 1471849 w 2941320"/>
                  <a:gd name="connsiteY3" fmla="*/ 536448 h 553598"/>
                  <a:gd name="connsiteX4" fmla="*/ 0 w 2941320"/>
                  <a:gd name="connsiteY4" fmla="*/ 0 h 553598"/>
                  <a:gd name="connsiteX0" fmla="*/ 2941320 w 2941320"/>
                  <a:gd name="connsiteY0" fmla="*/ 7620 h 540697"/>
                  <a:gd name="connsiteX1" fmla="*/ 2497678 w 2941320"/>
                  <a:gd name="connsiteY1" fmla="*/ 296924 h 540697"/>
                  <a:gd name="connsiteX2" fmla="*/ 1616075 w 2941320"/>
                  <a:gd name="connsiteY2" fmla="*/ 530975 h 540697"/>
                  <a:gd name="connsiteX3" fmla="*/ 1471849 w 2941320"/>
                  <a:gd name="connsiteY3" fmla="*/ 536448 h 540697"/>
                  <a:gd name="connsiteX4" fmla="*/ 0 w 2941320"/>
                  <a:gd name="connsiteY4" fmla="*/ 0 h 540697"/>
                  <a:gd name="connsiteX0" fmla="*/ 2941320 w 2941320"/>
                  <a:gd name="connsiteY0" fmla="*/ 7620 h 540697"/>
                  <a:gd name="connsiteX1" fmla="*/ 1616075 w 2941320"/>
                  <a:gd name="connsiteY1" fmla="*/ 530975 h 540697"/>
                  <a:gd name="connsiteX2" fmla="*/ 1471849 w 2941320"/>
                  <a:gd name="connsiteY2" fmla="*/ 536448 h 540697"/>
                  <a:gd name="connsiteX3" fmla="*/ 0 w 2941320"/>
                  <a:gd name="connsiteY3" fmla="*/ 0 h 540697"/>
                  <a:gd name="connsiteX0" fmla="*/ 1616075 w 1616075"/>
                  <a:gd name="connsiteY0" fmla="*/ 530975 h 540697"/>
                  <a:gd name="connsiteX1" fmla="*/ 1471849 w 1616075"/>
                  <a:gd name="connsiteY1" fmla="*/ 536448 h 540697"/>
                  <a:gd name="connsiteX2" fmla="*/ 0 w 1616075"/>
                  <a:gd name="connsiteY2" fmla="*/ 0 h 540697"/>
                  <a:gd name="connsiteX0" fmla="*/ 1616075 w 1616075"/>
                  <a:gd name="connsiteY0" fmla="*/ 530975 h 542212"/>
                  <a:gd name="connsiteX1" fmla="*/ 1471849 w 1616075"/>
                  <a:gd name="connsiteY1" fmla="*/ 536448 h 542212"/>
                  <a:gd name="connsiteX2" fmla="*/ 0 w 1616075"/>
                  <a:gd name="connsiteY2" fmla="*/ 0 h 542212"/>
                  <a:gd name="connsiteX0" fmla="*/ 1616075 w 1616075"/>
                  <a:gd name="connsiteY0" fmla="*/ 530975 h 538760"/>
                  <a:gd name="connsiteX1" fmla="*/ 1471849 w 1616075"/>
                  <a:gd name="connsiteY1" fmla="*/ 536448 h 538760"/>
                  <a:gd name="connsiteX2" fmla="*/ 0 w 1616075"/>
                  <a:gd name="connsiteY2" fmla="*/ 0 h 538760"/>
                </a:gdLst>
                <a:ahLst/>
                <a:cxnLst>
                  <a:cxn ang="0">
                    <a:pos x="connsiteX0" y="connsiteY0"/>
                  </a:cxn>
                  <a:cxn ang="0">
                    <a:pos x="connsiteX1" y="connsiteY1"/>
                  </a:cxn>
                  <a:cxn ang="0">
                    <a:pos x="connsiteX2" y="connsiteY2"/>
                  </a:cxn>
                </a:cxnLst>
                <a:rect l="l" t="t" r="r" b="b"/>
                <a:pathLst>
                  <a:path w="1616075" h="538760">
                    <a:moveTo>
                      <a:pt x="1616075" y="530975"/>
                    </a:moveTo>
                    <a:cubicBezTo>
                      <a:pt x="1562130" y="539690"/>
                      <a:pt x="1529248" y="540422"/>
                      <a:pt x="1471849" y="536448"/>
                    </a:cubicBezTo>
                    <a:cubicBezTo>
                      <a:pt x="981629" y="535178"/>
                      <a:pt x="495300" y="431038"/>
                      <a:pt x="0" y="0"/>
                    </a:cubicBez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 name="Oval 26">
                <a:extLst>
                  <a:ext uri="{FF2B5EF4-FFF2-40B4-BE49-F238E27FC236}">
                    <a16:creationId xmlns:a16="http://schemas.microsoft.com/office/drawing/2014/main" id="{7F234D66-A516-4958-8656-F09D3971AA2A}"/>
                  </a:ext>
                </a:extLst>
              </p:cNvPr>
              <p:cNvSpPr/>
              <p:nvPr/>
            </p:nvSpPr>
            <p:spPr bwMode="gray">
              <a:xfrm rot="10800000">
                <a:off x="10997756" y="2498697"/>
                <a:ext cx="539286" cy="98358"/>
              </a:xfrm>
              <a:custGeom>
                <a:avLst/>
                <a:gdLst>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144136"/>
                  <a:gd name="connsiteY0" fmla="*/ 1704594 h 3457836"/>
                  <a:gd name="connsiteX1" fmla="*/ 2038267 w 4144136"/>
                  <a:gd name="connsiteY1" fmla="*/ 0 h 3457836"/>
                  <a:gd name="connsiteX2" fmla="*/ 4076534 w 4144136"/>
                  <a:gd name="connsiteY2" fmla="*/ 1704594 h 3457836"/>
                  <a:gd name="connsiteX3" fmla="*/ 3507738 w 4144136"/>
                  <a:gd name="connsiteY3" fmla="*/ 2880360 h 3457836"/>
                  <a:gd name="connsiteX4" fmla="*/ 2038267 w 4144136"/>
                  <a:gd name="connsiteY4" fmla="*/ 3409188 h 3457836"/>
                  <a:gd name="connsiteX5" fmla="*/ 0 w 4144136"/>
                  <a:gd name="connsiteY5" fmla="*/ 1704594 h 3457836"/>
                  <a:gd name="connsiteX0" fmla="*/ 67982 w 4212118"/>
                  <a:gd name="connsiteY0" fmla="*/ 1704594 h 3409192"/>
                  <a:gd name="connsiteX1" fmla="*/ 2106249 w 4212118"/>
                  <a:gd name="connsiteY1" fmla="*/ 0 h 3409192"/>
                  <a:gd name="connsiteX2" fmla="*/ 4144516 w 4212118"/>
                  <a:gd name="connsiteY2" fmla="*/ 1704594 h 3409192"/>
                  <a:gd name="connsiteX3" fmla="*/ 3575720 w 4212118"/>
                  <a:gd name="connsiteY3" fmla="*/ 2880360 h 3409192"/>
                  <a:gd name="connsiteX4" fmla="*/ 2106249 w 4212118"/>
                  <a:gd name="connsiteY4" fmla="*/ 3409188 h 3409192"/>
                  <a:gd name="connsiteX5" fmla="*/ 634400 w 4212118"/>
                  <a:gd name="connsiteY5" fmla="*/ 2872740 h 3409192"/>
                  <a:gd name="connsiteX6" fmla="*/ 67982 w 4212118"/>
                  <a:gd name="connsiteY6" fmla="*/ 1704594 h 3409192"/>
                  <a:gd name="connsiteX0" fmla="*/ 0 w 3577718"/>
                  <a:gd name="connsiteY0" fmla="*/ 2890959 h 3427436"/>
                  <a:gd name="connsiteX1" fmla="*/ 1471849 w 3577718"/>
                  <a:gd name="connsiteY1" fmla="*/ 18219 h 3427436"/>
                  <a:gd name="connsiteX2" fmla="*/ 3510116 w 3577718"/>
                  <a:gd name="connsiteY2" fmla="*/ 1722813 h 3427436"/>
                  <a:gd name="connsiteX3" fmla="*/ 2941320 w 3577718"/>
                  <a:gd name="connsiteY3" fmla="*/ 2898579 h 3427436"/>
                  <a:gd name="connsiteX4" fmla="*/ 1471849 w 3577718"/>
                  <a:gd name="connsiteY4" fmla="*/ 3427407 h 3427436"/>
                  <a:gd name="connsiteX5" fmla="*/ 0 w 3577718"/>
                  <a:gd name="connsiteY5" fmla="*/ 2890959 h 3427436"/>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4" fmla="*/ 1563289 w 2941320"/>
                  <a:gd name="connsiteY4" fmla="*/ 91440 h 3409199"/>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0" fmla="*/ 2941320 w 2941320"/>
                  <a:gd name="connsiteY0" fmla="*/ 7620 h 536459"/>
                  <a:gd name="connsiteX1" fmla="*/ 1471849 w 2941320"/>
                  <a:gd name="connsiteY1" fmla="*/ 536448 h 536459"/>
                  <a:gd name="connsiteX2" fmla="*/ 0 w 2941320"/>
                  <a:gd name="connsiteY2" fmla="*/ 0 h 536459"/>
                </a:gdLst>
                <a:ahLst/>
                <a:cxnLst>
                  <a:cxn ang="0">
                    <a:pos x="connsiteX0" y="connsiteY0"/>
                  </a:cxn>
                  <a:cxn ang="0">
                    <a:pos x="connsiteX1" y="connsiteY1"/>
                  </a:cxn>
                  <a:cxn ang="0">
                    <a:pos x="connsiteX2" y="connsiteY2"/>
                  </a:cxn>
                </a:cxnLst>
                <a:rect l="l" t="t" r="r" b="b"/>
                <a:pathLst>
                  <a:path w="2941320" h="536459">
                    <a:moveTo>
                      <a:pt x="2941320" y="7620"/>
                    </a:moveTo>
                    <a:cubicBezTo>
                      <a:pt x="2423160" y="431038"/>
                      <a:pt x="1962069" y="537718"/>
                      <a:pt x="1471849" y="536448"/>
                    </a:cubicBezTo>
                    <a:cubicBezTo>
                      <a:pt x="981629" y="535178"/>
                      <a:pt x="495300" y="431038"/>
                      <a:pt x="0" y="0"/>
                    </a:cubicBez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4" name="Oval 26">
                <a:extLst>
                  <a:ext uri="{FF2B5EF4-FFF2-40B4-BE49-F238E27FC236}">
                    <a16:creationId xmlns:a16="http://schemas.microsoft.com/office/drawing/2014/main" id="{0995183B-AF16-4162-9481-3F37D866E39C}"/>
                  </a:ext>
                </a:extLst>
              </p:cNvPr>
              <p:cNvSpPr/>
              <p:nvPr/>
            </p:nvSpPr>
            <p:spPr bwMode="gray">
              <a:xfrm flipH="1">
                <a:off x="11474840" y="2081663"/>
                <a:ext cx="57975" cy="53288"/>
              </a:xfrm>
              <a:custGeom>
                <a:avLst/>
                <a:gdLst>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144136"/>
                  <a:gd name="connsiteY0" fmla="*/ 1704594 h 3457836"/>
                  <a:gd name="connsiteX1" fmla="*/ 2038267 w 4144136"/>
                  <a:gd name="connsiteY1" fmla="*/ 0 h 3457836"/>
                  <a:gd name="connsiteX2" fmla="*/ 4076534 w 4144136"/>
                  <a:gd name="connsiteY2" fmla="*/ 1704594 h 3457836"/>
                  <a:gd name="connsiteX3" fmla="*/ 3507738 w 4144136"/>
                  <a:gd name="connsiteY3" fmla="*/ 2880360 h 3457836"/>
                  <a:gd name="connsiteX4" fmla="*/ 2038267 w 4144136"/>
                  <a:gd name="connsiteY4" fmla="*/ 3409188 h 3457836"/>
                  <a:gd name="connsiteX5" fmla="*/ 0 w 4144136"/>
                  <a:gd name="connsiteY5" fmla="*/ 1704594 h 3457836"/>
                  <a:gd name="connsiteX0" fmla="*/ 67982 w 4212118"/>
                  <a:gd name="connsiteY0" fmla="*/ 1704594 h 3409192"/>
                  <a:gd name="connsiteX1" fmla="*/ 2106249 w 4212118"/>
                  <a:gd name="connsiteY1" fmla="*/ 0 h 3409192"/>
                  <a:gd name="connsiteX2" fmla="*/ 4144516 w 4212118"/>
                  <a:gd name="connsiteY2" fmla="*/ 1704594 h 3409192"/>
                  <a:gd name="connsiteX3" fmla="*/ 3575720 w 4212118"/>
                  <a:gd name="connsiteY3" fmla="*/ 2880360 h 3409192"/>
                  <a:gd name="connsiteX4" fmla="*/ 2106249 w 4212118"/>
                  <a:gd name="connsiteY4" fmla="*/ 3409188 h 3409192"/>
                  <a:gd name="connsiteX5" fmla="*/ 634400 w 4212118"/>
                  <a:gd name="connsiteY5" fmla="*/ 2872740 h 3409192"/>
                  <a:gd name="connsiteX6" fmla="*/ 67982 w 4212118"/>
                  <a:gd name="connsiteY6" fmla="*/ 1704594 h 3409192"/>
                  <a:gd name="connsiteX0" fmla="*/ 0 w 3577718"/>
                  <a:gd name="connsiteY0" fmla="*/ 2890959 h 3427436"/>
                  <a:gd name="connsiteX1" fmla="*/ 1471849 w 3577718"/>
                  <a:gd name="connsiteY1" fmla="*/ 18219 h 3427436"/>
                  <a:gd name="connsiteX2" fmla="*/ 3510116 w 3577718"/>
                  <a:gd name="connsiteY2" fmla="*/ 1722813 h 3427436"/>
                  <a:gd name="connsiteX3" fmla="*/ 2941320 w 3577718"/>
                  <a:gd name="connsiteY3" fmla="*/ 2898579 h 3427436"/>
                  <a:gd name="connsiteX4" fmla="*/ 1471849 w 3577718"/>
                  <a:gd name="connsiteY4" fmla="*/ 3427407 h 3427436"/>
                  <a:gd name="connsiteX5" fmla="*/ 0 w 3577718"/>
                  <a:gd name="connsiteY5" fmla="*/ 2890959 h 3427436"/>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4" fmla="*/ 1563289 w 2941320"/>
                  <a:gd name="connsiteY4" fmla="*/ 91440 h 3409199"/>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0" fmla="*/ 2941320 w 2941320"/>
                  <a:gd name="connsiteY0" fmla="*/ 7620 h 536459"/>
                  <a:gd name="connsiteX1" fmla="*/ 1471849 w 2941320"/>
                  <a:gd name="connsiteY1" fmla="*/ 536448 h 536459"/>
                  <a:gd name="connsiteX2" fmla="*/ 0 w 2941320"/>
                  <a:gd name="connsiteY2" fmla="*/ 0 h 536459"/>
                  <a:gd name="connsiteX0" fmla="*/ 2941320 w 2941320"/>
                  <a:gd name="connsiteY0" fmla="*/ 7620 h 544179"/>
                  <a:gd name="connsiteX1" fmla="*/ 2497678 w 2941320"/>
                  <a:gd name="connsiteY1" fmla="*/ 296924 h 544179"/>
                  <a:gd name="connsiteX2" fmla="*/ 1471849 w 2941320"/>
                  <a:gd name="connsiteY2" fmla="*/ 536448 h 544179"/>
                  <a:gd name="connsiteX3" fmla="*/ 0 w 2941320"/>
                  <a:gd name="connsiteY3" fmla="*/ 0 h 544179"/>
                  <a:gd name="connsiteX0" fmla="*/ 2941320 w 2941320"/>
                  <a:gd name="connsiteY0" fmla="*/ 7620 h 587648"/>
                  <a:gd name="connsiteX1" fmla="*/ 2497678 w 2941320"/>
                  <a:gd name="connsiteY1" fmla="*/ 296924 h 587648"/>
                  <a:gd name="connsiteX2" fmla="*/ 1608273 w 2941320"/>
                  <a:gd name="connsiteY2" fmla="*/ 538777 h 587648"/>
                  <a:gd name="connsiteX3" fmla="*/ 1471849 w 2941320"/>
                  <a:gd name="connsiteY3" fmla="*/ 536448 h 587648"/>
                  <a:gd name="connsiteX4" fmla="*/ 0 w 2941320"/>
                  <a:gd name="connsiteY4" fmla="*/ 0 h 587648"/>
                  <a:gd name="connsiteX0" fmla="*/ 2941320 w 2941320"/>
                  <a:gd name="connsiteY0" fmla="*/ 7620 h 584814"/>
                  <a:gd name="connsiteX1" fmla="*/ 2497678 w 2941320"/>
                  <a:gd name="connsiteY1" fmla="*/ 296924 h 584814"/>
                  <a:gd name="connsiteX2" fmla="*/ 1616075 w 2941320"/>
                  <a:gd name="connsiteY2" fmla="*/ 530975 h 584814"/>
                  <a:gd name="connsiteX3" fmla="*/ 1471849 w 2941320"/>
                  <a:gd name="connsiteY3" fmla="*/ 536448 h 584814"/>
                  <a:gd name="connsiteX4" fmla="*/ 0 w 2941320"/>
                  <a:gd name="connsiteY4" fmla="*/ 0 h 584814"/>
                  <a:gd name="connsiteX0" fmla="*/ 2941320 w 2941320"/>
                  <a:gd name="connsiteY0" fmla="*/ 7620 h 553598"/>
                  <a:gd name="connsiteX1" fmla="*/ 2497678 w 2941320"/>
                  <a:gd name="connsiteY1" fmla="*/ 296924 h 553598"/>
                  <a:gd name="connsiteX2" fmla="*/ 1616075 w 2941320"/>
                  <a:gd name="connsiteY2" fmla="*/ 530975 h 553598"/>
                  <a:gd name="connsiteX3" fmla="*/ 1471849 w 2941320"/>
                  <a:gd name="connsiteY3" fmla="*/ 536448 h 553598"/>
                  <a:gd name="connsiteX4" fmla="*/ 0 w 2941320"/>
                  <a:gd name="connsiteY4" fmla="*/ 0 h 553598"/>
                  <a:gd name="connsiteX0" fmla="*/ 2941320 w 2941320"/>
                  <a:gd name="connsiteY0" fmla="*/ 7620 h 540697"/>
                  <a:gd name="connsiteX1" fmla="*/ 2497678 w 2941320"/>
                  <a:gd name="connsiteY1" fmla="*/ 296924 h 540697"/>
                  <a:gd name="connsiteX2" fmla="*/ 1616075 w 2941320"/>
                  <a:gd name="connsiteY2" fmla="*/ 530975 h 540697"/>
                  <a:gd name="connsiteX3" fmla="*/ 1471849 w 2941320"/>
                  <a:gd name="connsiteY3" fmla="*/ 536448 h 540697"/>
                  <a:gd name="connsiteX4" fmla="*/ 0 w 2941320"/>
                  <a:gd name="connsiteY4" fmla="*/ 0 h 540697"/>
                  <a:gd name="connsiteX0" fmla="*/ 2941320 w 2941320"/>
                  <a:gd name="connsiteY0" fmla="*/ 7620 h 540697"/>
                  <a:gd name="connsiteX1" fmla="*/ 1616075 w 2941320"/>
                  <a:gd name="connsiteY1" fmla="*/ 530975 h 540697"/>
                  <a:gd name="connsiteX2" fmla="*/ 1471849 w 2941320"/>
                  <a:gd name="connsiteY2" fmla="*/ 536448 h 540697"/>
                  <a:gd name="connsiteX3" fmla="*/ 0 w 2941320"/>
                  <a:gd name="connsiteY3" fmla="*/ 0 h 540697"/>
                  <a:gd name="connsiteX0" fmla="*/ 1616075 w 1616075"/>
                  <a:gd name="connsiteY0" fmla="*/ 530975 h 540697"/>
                  <a:gd name="connsiteX1" fmla="*/ 1471849 w 1616075"/>
                  <a:gd name="connsiteY1" fmla="*/ 536448 h 540697"/>
                  <a:gd name="connsiteX2" fmla="*/ 0 w 1616075"/>
                  <a:gd name="connsiteY2" fmla="*/ 0 h 540697"/>
                  <a:gd name="connsiteX0" fmla="*/ 1616075 w 1616075"/>
                  <a:gd name="connsiteY0" fmla="*/ 530975 h 540697"/>
                  <a:gd name="connsiteX1" fmla="*/ 1471849 w 1616075"/>
                  <a:gd name="connsiteY1" fmla="*/ 536448 h 540697"/>
                  <a:gd name="connsiteX2" fmla="*/ 516410 w 1616075"/>
                  <a:gd name="connsiteY2" fmla="*/ 335929 h 540697"/>
                  <a:gd name="connsiteX3" fmla="*/ 0 w 1616075"/>
                  <a:gd name="connsiteY3" fmla="*/ 0 h 540697"/>
                  <a:gd name="connsiteX0" fmla="*/ 1616075 w 1616075"/>
                  <a:gd name="connsiteY0" fmla="*/ 530975 h 530974"/>
                  <a:gd name="connsiteX1" fmla="*/ 516410 w 1616075"/>
                  <a:gd name="connsiteY1" fmla="*/ 335929 h 530974"/>
                  <a:gd name="connsiteX2" fmla="*/ 0 w 1616075"/>
                  <a:gd name="connsiteY2" fmla="*/ 0 h 530974"/>
                  <a:gd name="connsiteX0" fmla="*/ 516410 w 516410"/>
                  <a:gd name="connsiteY0" fmla="*/ 335929 h 335929"/>
                  <a:gd name="connsiteX1" fmla="*/ 0 w 516410"/>
                  <a:gd name="connsiteY1" fmla="*/ 0 h 335929"/>
                  <a:gd name="connsiteX0" fmla="*/ 516410 w 516410"/>
                  <a:gd name="connsiteY0" fmla="*/ 335929 h 335929"/>
                  <a:gd name="connsiteX1" fmla="*/ 0 w 516410"/>
                  <a:gd name="connsiteY1" fmla="*/ 0 h 335929"/>
                  <a:gd name="connsiteX0" fmla="*/ 524852 w 524852"/>
                  <a:gd name="connsiteY0" fmla="*/ 382740 h 382740"/>
                  <a:gd name="connsiteX1" fmla="*/ 0 w 524852"/>
                  <a:gd name="connsiteY1" fmla="*/ 0 h 382740"/>
                  <a:gd name="connsiteX0" fmla="*/ 524852 w 524852"/>
                  <a:gd name="connsiteY0" fmla="*/ 382740 h 382740"/>
                  <a:gd name="connsiteX1" fmla="*/ 0 w 524852"/>
                  <a:gd name="connsiteY1" fmla="*/ 0 h 382740"/>
                  <a:gd name="connsiteX0" fmla="*/ 524852 w 524852"/>
                  <a:gd name="connsiteY0" fmla="*/ 382740 h 382740"/>
                  <a:gd name="connsiteX1" fmla="*/ 0 w 524852"/>
                  <a:gd name="connsiteY1" fmla="*/ 0 h 382740"/>
                  <a:gd name="connsiteX0" fmla="*/ 492926 w 492926"/>
                  <a:gd name="connsiteY0" fmla="*/ 363070 h 363070"/>
                  <a:gd name="connsiteX1" fmla="*/ 0 w 492926"/>
                  <a:gd name="connsiteY1" fmla="*/ 0 h 363070"/>
                  <a:gd name="connsiteX0" fmla="*/ 492926 w 492926"/>
                  <a:gd name="connsiteY0" fmla="*/ 363070 h 363070"/>
                  <a:gd name="connsiteX1" fmla="*/ 272004 w 492926"/>
                  <a:gd name="connsiteY1" fmla="*/ 236625 h 363070"/>
                  <a:gd name="connsiteX2" fmla="*/ 0 w 492926"/>
                  <a:gd name="connsiteY2" fmla="*/ 0 h 363070"/>
                  <a:gd name="connsiteX0" fmla="*/ 272004 w 272004"/>
                  <a:gd name="connsiteY0" fmla="*/ 236625 h 236625"/>
                  <a:gd name="connsiteX1" fmla="*/ 0 w 272004"/>
                  <a:gd name="connsiteY1" fmla="*/ 0 h 236625"/>
                  <a:gd name="connsiteX0" fmla="*/ 342147 w 342147"/>
                  <a:gd name="connsiteY0" fmla="*/ 290646 h 290646"/>
                  <a:gd name="connsiteX1" fmla="*/ 0 w 342147"/>
                  <a:gd name="connsiteY1" fmla="*/ 0 h 290646"/>
                </a:gdLst>
                <a:ahLst/>
                <a:cxnLst>
                  <a:cxn ang="0">
                    <a:pos x="connsiteX0" y="connsiteY0"/>
                  </a:cxn>
                  <a:cxn ang="0">
                    <a:pos x="connsiteX1" y="connsiteY1"/>
                  </a:cxn>
                </a:cxnLst>
                <a:rect l="l" t="t" r="r" b="b"/>
                <a:pathLst>
                  <a:path w="342147" h="290646">
                    <a:moveTo>
                      <a:pt x="342147" y="290646"/>
                    </a:moveTo>
                    <a:cubicBezTo>
                      <a:pt x="258666" y="273071"/>
                      <a:pt x="86068" y="87196"/>
                      <a:pt x="0" y="0"/>
                    </a:cubicBez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5" name="Oval 26">
                <a:extLst>
                  <a:ext uri="{FF2B5EF4-FFF2-40B4-BE49-F238E27FC236}">
                    <a16:creationId xmlns:a16="http://schemas.microsoft.com/office/drawing/2014/main" id="{61728FAB-DBDD-499D-B461-72E6B4933A9F}"/>
                  </a:ext>
                </a:extLst>
              </p:cNvPr>
              <p:cNvSpPr/>
              <p:nvPr/>
            </p:nvSpPr>
            <p:spPr bwMode="gray">
              <a:xfrm rot="5400000" flipH="1">
                <a:off x="10795733" y="2243535"/>
                <a:ext cx="747421" cy="191647"/>
              </a:xfrm>
              <a:custGeom>
                <a:avLst/>
                <a:gdLst>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144136"/>
                  <a:gd name="connsiteY0" fmla="*/ 1704594 h 3457836"/>
                  <a:gd name="connsiteX1" fmla="*/ 2038267 w 4144136"/>
                  <a:gd name="connsiteY1" fmla="*/ 0 h 3457836"/>
                  <a:gd name="connsiteX2" fmla="*/ 4076534 w 4144136"/>
                  <a:gd name="connsiteY2" fmla="*/ 1704594 h 3457836"/>
                  <a:gd name="connsiteX3" fmla="*/ 3507738 w 4144136"/>
                  <a:gd name="connsiteY3" fmla="*/ 2880360 h 3457836"/>
                  <a:gd name="connsiteX4" fmla="*/ 2038267 w 4144136"/>
                  <a:gd name="connsiteY4" fmla="*/ 3409188 h 3457836"/>
                  <a:gd name="connsiteX5" fmla="*/ 0 w 4144136"/>
                  <a:gd name="connsiteY5" fmla="*/ 1704594 h 3457836"/>
                  <a:gd name="connsiteX0" fmla="*/ 67982 w 4212118"/>
                  <a:gd name="connsiteY0" fmla="*/ 1704594 h 3409192"/>
                  <a:gd name="connsiteX1" fmla="*/ 2106249 w 4212118"/>
                  <a:gd name="connsiteY1" fmla="*/ 0 h 3409192"/>
                  <a:gd name="connsiteX2" fmla="*/ 4144516 w 4212118"/>
                  <a:gd name="connsiteY2" fmla="*/ 1704594 h 3409192"/>
                  <a:gd name="connsiteX3" fmla="*/ 3575720 w 4212118"/>
                  <a:gd name="connsiteY3" fmla="*/ 2880360 h 3409192"/>
                  <a:gd name="connsiteX4" fmla="*/ 2106249 w 4212118"/>
                  <a:gd name="connsiteY4" fmla="*/ 3409188 h 3409192"/>
                  <a:gd name="connsiteX5" fmla="*/ 634400 w 4212118"/>
                  <a:gd name="connsiteY5" fmla="*/ 2872740 h 3409192"/>
                  <a:gd name="connsiteX6" fmla="*/ 67982 w 4212118"/>
                  <a:gd name="connsiteY6" fmla="*/ 1704594 h 3409192"/>
                  <a:gd name="connsiteX0" fmla="*/ 0 w 3577718"/>
                  <a:gd name="connsiteY0" fmla="*/ 2890959 h 3427436"/>
                  <a:gd name="connsiteX1" fmla="*/ 1471849 w 3577718"/>
                  <a:gd name="connsiteY1" fmla="*/ 18219 h 3427436"/>
                  <a:gd name="connsiteX2" fmla="*/ 3510116 w 3577718"/>
                  <a:gd name="connsiteY2" fmla="*/ 1722813 h 3427436"/>
                  <a:gd name="connsiteX3" fmla="*/ 2941320 w 3577718"/>
                  <a:gd name="connsiteY3" fmla="*/ 2898579 h 3427436"/>
                  <a:gd name="connsiteX4" fmla="*/ 1471849 w 3577718"/>
                  <a:gd name="connsiteY4" fmla="*/ 3427407 h 3427436"/>
                  <a:gd name="connsiteX5" fmla="*/ 0 w 3577718"/>
                  <a:gd name="connsiteY5" fmla="*/ 2890959 h 3427436"/>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4" fmla="*/ 1563289 w 2941320"/>
                  <a:gd name="connsiteY4" fmla="*/ 91440 h 3409199"/>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0" fmla="*/ 2941320 w 2941320"/>
                  <a:gd name="connsiteY0" fmla="*/ 7620 h 536459"/>
                  <a:gd name="connsiteX1" fmla="*/ 1471849 w 2941320"/>
                  <a:gd name="connsiteY1" fmla="*/ 536448 h 536459"/>
                  <a:gd name="connsiteX2" fmla="*/ 0 w 2941320"/>
                  <a:gd name="connsiteY2" fmla="*/ 0 h 536459"/>
                </a:gdLst>
                <a:ahLst/>
                <a:cxnLst>
                  <a:cxn ang="0">
                    <a:pos x="connsiteX0" y="connsiteY0"/>
                  </a:cxn>
                  <a:cxn ang="0">
                    <a:pos x="connsiteX1" y="connsiteY1"/>
                  </a:cxn>
                  <a:cxn ang="0">
                    <a:pos x="connsiteX2" y="connsiteY2"/>
                  </a:cxn>
                </a:cxnLst>
                <a:rect l="l" t="t" r="r" b="b"/>
                <a:pathLst>
                  <a:path w="2941320" h="536459">
                    <a:moveTo>
                      <a:pt x="2941320" y="7620"/>
                    </a:moveTo>
                    <a:cubicBezTo>
                      <a:pt x="2423160" y="431038"/>
                      <a:pt x="1962069" y="537718"/>
                      <a:pt x="1471849" y="536448"/>
                    </a:cubicBezTo>
                    <a:cubicBezTo>
                      <a:pt x="981629" y="535178"/>
                      <a:pt x="495300" y="431038"/>
                      <a:pt x="0" y="0"/>
                    </a:cubicBez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6" name="Oval 26">
                <a:extLst>
                  <a:ext uri="{FF2B5EF4-FFF2-40B4-BE49-F238E27FC236}">
                    <a16:creationId xmlns:a16="http://schemas.microsoft.com/office/drawing/2014/main" id="{7D856411-05F0-4B5B-9F61-43A9DE5352CC}"/>
                  </a:ext>
                </a:extLst>
              </p:cNvPr>
              <p:cNvSpPr/>
              <p:nvPr/>
            </p:nvSpPr>
            <p:spPr bwMode="gray">
              <a:xfrm rot="16200000" flipH="1">
                <a:off x="11271634" y="1962047"/>
                <a:ext cx="38855" cy="46053"/>
              </a:xfrm>
              <a:custGeom>
                <a:avLst/>
                <a:gdLst>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144136"/>
                  <a:gd name="connsiteY0" fmla="*/ 1704594 h 3457836"/>
                  <a:gd name="connsiteX1" fmla="*/ 2038267 w 4144136"/>
                  <a:gd name="connsiteY1" fmla="*/ 0 h 3457836"/>
                  <a:gd name="connsiteX2" fmla="*/ 4076534 w 4144136"/>
                  <a:gd name="connsiteY2" fmla="*/ 1704594 h 3457836"/>
                  <a:gd name="connsiteX3" fmla="*/ 3507738 w 4144136"/>
                  <a:gd name="connsiteY3" fmla="*/ 2880360 h 3457836"/>
                  <a:gd name="connsiteX4" fmla="*/ 2038267 w 4144136"/>
                  <a:gd name="connsiteY4" fmla="*/ 3409188 h 3457836"/>
                  <a:gd name="connsiteX5" fmla="*/ 0 w 4144136"/>
                  <a:gd name="connsiteY5" fmla="*/ 1704594 h 3457836"/>
                  <a:gd name="connsiteX0" fmla="*/ 67982 w 4212118"/>
                  <a:gd name="connsiteY0" fmla="*/ 1704594 h 3409192"/>
                  <a:gd name="connsiteX1" fmla="*/ 2106249 w 4212118"/>
                  <a:gd name="connsiteY1" fmla="*/ 0 h 3409192"/>
                  <a:gd name="connsiteX2" fmla="*/ 4144516 w 4212118"/>
                  <a:gd name="connsiteY2" fmla="*/ 1704594 h 3409192"/>
                  <a:gd name="connsiteX3" fmla="*/ 3575720 w 4212118"/>
                  <a:gd name="connsiteY3" fmla="*/ 2880360 h 3409192"/>
                  <a:gd name="connsiteX4" fmla="*/ 2106249 w 4212118"/>
                  <a:gd name="connsiteY4" fmla="*/ 3409188 h 3409192"/>
                  <a:gd name="connsiteX5" fmla="*/ 634400 w 4212118"/>
                  <a:gd name="connsiteY5" fmla="*/ 2872740 h 3409192"/>
                  <a:gd name="connsiteX6" fmla="*/ 67982 w 4212118"/>
                  <a:gd name="connsiteY6" fmla="*/ 1704594 h 3409192"/>
                  <a:gd name="connsiteX0" fmla="*/ 0 w 3577718"/>
                  <a:gd name="connsiteY0" fmla="*/ 2890959 h 3427436"/>
                  <a:gd name="connsiteX1" fmla="*/ 1471849 w 3577718"/>
                  <a:gd name="connsiteY1" fmla="*/ 18219 h 3427436"/>
                  <a:gd name="connsiteX2" fmla="*/ 3510116 w 3577718"/>
                  <a:gd name="connsiteY2" fmla="*/ 1722813 h 3427436"/>
                  <a:gd name="connsiteX3" fmla="*/ 2941320 w 3577718"/>
                  <a:gd name="connsiteY3" fmla="*/ 2898579 h 3427436"/>
                  <a:gd name="connsiteX4" fmla="*/ 1471849 w 3577718"/>
                  <a:gd name="connsiteY4" fmla="*/ 3427407 h 3427436"/>
                  <a:gd name="connsiteX5" fmla="*/ 0 w 3577718"/>
                  <a:gd name="connsiteY5" fmla="*/ 2890959 h 3427436"/>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4" fmla="*/ 1563289 w 2941320"/>
                  <a:gd name="connsiteY4" fmla="*/ 91440 h 3409199"/>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0" fmla="*/ 2941320 w 2941320"/>
                  <a:gd name="connsiteY0" fmla="*/ 7620 h 536459"/>
                  <a:gd name="connsiteX1" fmla="*/ 1471849 w 2941320"/>
                  <a:gd name="connsiteY1" fmla="*/ 536448 h 536459"/>
                  <a:gd name="connsiteX2" fmla="*/ 0 w 2941320"/>
                  <a:gd name="connsiteY2" fmla="*/ 0 h 536459"/>
                  <a:gd name="connsiteX0" fmla="*/ 2947862 w 2947862"/>
                  <a:gd name="connsiteY0" fmla="*/ 7620 h 537284"/>
                  <a:gd name="connsiteX1" fmla="*/ 1478391 w 2947862"/>
                  <a:gd name="connsiteY1" fmla="*/ 536448 h 537284"/>
                  <a:gd name="connsiteX2" fmla="*/ 159446 w 2947862"/>
                  <a:gd name="connsiteY2" fmla="*/ 126792 h 537284"/>
                  <a:gd name="connsiteX3" fmla="*/ 6542 w 2947862"/>
                  <a:gd name="connsiteY3" fmla="*/ 0 h 537284"/>
                  <a:gd name="connsiteX0" fmla="*/ 2941320 w 2941320"/>
                  <a:gd name="connsiteY0" fmla="*/ 7620 h 537284"/>
                  <a:gd name="connsiteX1" fmla="*/ 1471849 w 2941320"/>
                  <a:gd name="connsiteY1" fmla="*/ 536448 h 537284"/>
                  <a:gd name="connsiteX2" fmla="*/ 152904 w 2941320"/>
                  <a:gd name="connsiteY2" fmla="*/ 126792 h 537284"/>
                  <a:gd name="connsiteX3" fmla="*/ 0 w 2941320"/>
                  <a:gd name="connsiteY3" fmla="*/ 0 h 537284"/>
                  <a:gd name="connsiteX0" fmla="*/ 1471849 w 1471849"/>
                  <a:gd name="connsiteY0" fmla="*/ 536448 h 537284"/>
                  <a:gd name="connsiteX1" fmla="*/ 152904 w 1471849"/>
                  <a:gd name="connsiteY1" fmla="*/ 126792 h 537284"/>
                  <a:gd name="connsiteX2" fmla="*/ 0 w 1471849"/>
                  <a:gd name="connsiteY2" fmla="*/ 0 h 537284"/>
                  <a:gd name="connsiteX0" fmla="*/ 152904 w 152904"/>
                  <a:gd name="connsiteY0" fmla="*/ 126792 h 126792"/>
                  <a:gd name="connsiteX1" fmla="*/ 0 w 152904"/>
                  <a:gd name="connsiteY1" fmla="*/ 0 h 126792"/>
                </a:gdLst>
                <a:ahLst/>
                <a:cxnLst>
                  <a:cxn ang="0">
                    <a:pos x="connsiteX0" y="connsiteY0"/>
                  </a:cxn>
                  <a:cxn ang="0">
                    <a:pos x="connsiteX1" y="connsiteY1"/>
                  </a:cxn>
                </a:cxnLst>
                <a:rect l="l" t="t" r="r" b="b"/>
                <a:pathLst>
                  <a:path w="152904" h="126792">
                    <a:moveTo>
                      <a:pt x="152904" y="126792"/>
                    </a:moveTo>
                    <a:cubicBezTo>
                      <a:pt x="110254" y="100402"/>
                      <a:pt x="25484" y="21132"/>
                      <a:pt x="0" y="0"/>
                    </a:cubicBez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Oval 26">
                <a:extLst>
                  <a:ext uri="{FF2B5EF4-FFF2-40B4-BE49-F238E27FC236}">
                    <a16:creationId xmlns:a16="http://schemas.microsoft.com/office/drawing/2014/main" id="{4C5D54CE-0717-4144-9E2B-6C38FFF8D54C}"/>
                  </a:ext>
                </a:extLst>
              </p:cNvPr>
              <p:cNvSpPr/>
              <p:nvPr/>
            </p:nvSpPr>
            <p:spPr bwMode="gray">
              <a:xfrm rot="16200000">
                <a:off x="11106843" y="2360871"/>
                <a:ext cx="512753" cy="191643"/>
              </a:xfrm>
              <a:custGeom>
                <a:avLst/>
                <a:gdLst>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076534"/>
                  <a:gd name="connsiteY0" fmla="*/ 1704594 h 3409188"/>
                  <a:gd name="connsiteX1" fmla="*/ 2038267 w 4076534"/>
                  <a:gd name="connsiteY1" fmla="*/ 0 h 3409188"/>
                  <a:gd name="connsiteX2" fmla="*/ 4076534 w 4076534"/>
                  <a:gd name="connsiteY2" fmla="*/ 1704594 h 3409188"/>
                  <a:gd name="connsiteX3" fmla="*/ 2038267 w 4076534"/>
                  <a:gd name="connsiteY3" fmla="*/ 3409188 h 3409188"/>
                  <a:gd name="connsiteX4" fmla="*/ 0 w 4076534"/>
                  <a:gd name="connsiteY4" fmla="*/ 1704594 h 3409188"/>
                  <a:gd name="connsiteX0" fmla="*/ 0 w 4144136"/>
                  <a:gd name="connsiteY0" fmla="*/ 1704594 h 3457836"/>
                  <a:gd name="connsiteX1" fmla="*/ 2038267 w 4144136"/>
                  <a:gd name="connsiteY1" fmla="*/ 0 h 3457836"/>
                  <a:gd name="connsiteX2" fmla="*/ 4076534 w 4144136"/>
                  <a:gd name="connsiteY2" fmla="*/ 1704594 h 3457836"/>
                  <a:gd name="connsiteX3" fmla="*/ 3507738 w 4144136"/>
                  <a:gd name="connsiteY3" fmla="*/ 2880360 h 3457836"/>
                  <a:gd name="connsiteX4" fmla="*/ 2038267 w 4144136"/>
                  <a:gd name="connsiteY4" fmla="*/ 3409188 h 3457836"/>
                  <a:gd name="connsiteX5" fmla="*/ 0 w 4144136"/>
                  <a:gd name="connsiteY5" fmla="*/ 1704594 h 3457836"/>
                  <a:gd name="connsiteX0" fmla="*/ 67982 w 4212118"/>
                  <a:gd name="connsiteY0" fmla="*/ 1704594 h 3409192"/>
                  <a:gd name="connsiteX1" fmla="*/ 2106249 w 4212118"/>
                  <a:gd name="connsiteY1" fmla="*/ 0 h 3409192"/>
                  <a:gd name="connsiteX2" fmla="*/ 4144516 w 4212118"/>
                  <a:gd name="connsiteY2" fmla="*/ 1704594 h 3409192"/>
                  <a:gd name="connsiteX3" fmla="*/ 3575720 w 4212118"/>
                  <a:gd name="connsiteY3" fmla="*/ 2880360 h 3409192"/>
                  <a:gd name="connsiteX4" fmla="*/ 2106249 w 4212118"/>
                  <a:gd name="connsiteY4" fmla="*/ 3409188 h 3409192"/>
                  <a:gd name="connsiteX5" fmla="*/ 634400 w 4212118"/>
                  <a:gd name="connsiteY5" fmla="*/ 2872740 h 3409192"/>
                  <a:gd name="connsiteX6" fmla="*/ 67982 w 4212118"/>
                  <a:gd name="connsiteY6" fmla="*/ 1704594 h 3409192"/>
                  <a:gd name="connsiteX0" fmla="*/ 0 w 3577718"/>
                  <a:gd name="connsiteY0" fmla="*/ 2890959 h 3427436"/>
                  <a:gd name="connsiteX1" fmla="*/ 1471849 w 3577718"/>
                  <a:gd name="connsiteY1" fmla="*/ 18219 h 3427436"/>
                  <a:gd name="connsiteX2" fmla="*/ 3510116 w 3577718"/>
                  <a:gd name="connsiteY2" fmla="*/ 1722813 h 3427436"/>
                  <a:gd name="connsiteX3" fmla="*/ 2941320 w 3577718"/>
                  <a:gd name="connsiteY3" fmla="*/ 2898579 h 3427436"/>
                  <a:gd name="connsiteX4" fmla="*/ 1471849 w 3577718"/>
                  <a:gd name="connsiteY4" fmla="*/ 3427407 h 3427436"/>
                  <a:gd name="connsiteX5" fmla="*/ 0 w 3577718"/>
                  <a:gd name="connsiteY5" fmla="*/ 2890959 h 3427436"/>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10138"/>
                  <a:gd name="connsiteX1" fmla="*/ 1471849 w 2941320"/>
                  <a:gd name="connsiteY1" fmla="*/ 1 h 3410138"/>
                  <a:gd name="connsiteX2" fmla="*/ 2941320 w 2941320"/>
                  <a:gd name="connsiteY2" fmla="*/ 2880361 h 3410138"/>
                  <a:gd name="connsiteX3" fmla="*/ 1471849 w 2941320"/>
                  <a:gd name="connsiteY3" fmla="*/ 3409189 h 3410138"/>
                  <a:gd name="connsiteX4" fmla="*/ 0 w 2941320"/>
                  <a:gd name="connsiteY4" fmla="*/ 2872741 h 3410138"/>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196"/>
                  <a:gd name="connsiteX1" fmla="*/ 1471849 w 2941320"/>
                  <a:gd name="connsiteY1" fmla="*/ 1 h 3409196"/>
                  <a:gd name="connsiteX2" fmla="*/ 2941320 w 2941320"/>
                  <a:gd name="connsiteY2" fmla="*/ 2880361 h 3409196"/>
                  <a:gd name="connsiteX3" fmla="*/ 1471849 w 2941320"/>
                  <a:gd name="connsiteY3" fmla="*/ 3409189 h 3409196"/>
                  <a:gd name="connsiteX4" fmla="*/ 0 w 2941320"/>
                  <a:gd name="connsiteY4" fmla="*/ 2872741 h 3409196"/>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0 w 2941320"/>
                  <a:gd name="connsiteY0" fmla="*/ 2872741 h 3409200"/>
                  <a:gd name="connsiteX1" fmla="*/ 1471849 w 2941320"/>
                  <a:gd name="connsiteY1" fmla="*/ 1 h 3409200"/>
                  <a:gd name="connsiteX2" fmla="*/ 2941320 w 2941320"/>
                  <a:gd name="connsiteY2" fmla="*/ 2880361 h 3409200"/>
                  <a:gd name="connsiteX3" fmla="*/ 1471849 w 2941320"/>
                  <a:gd name="connsiteY3" fmla="*/ 3409189 h 3409200"/>
                  <a:gd name="connsiteX4" fmla="*/ 0 w 2941320"/>
                  <a:gd name="connsiteY4" fmla="*/ 2872741 h 3409200"/>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4" fmla="*/ 1563289 w 2941320"/>
                  <a:gd name="connsiteY4" fmla="*/ 91440 h 3409199"/>
                  <a:gd name="connsiteX0" fmla="*/ 1471849 w 2941320"/>
                  <a:gd name="connsiteY0" fmla="*/ 0 h 3409199"/>
                  <a:gd name="connsiteX1" fmla="*/ 2941320 w 2941320"/>
                  <a:gd name="connsiteY1" fmla="*/ 2880360 h 3409199"/>
                  <a:gd name="connsiteX2" fmla="*/ 1471849 w 2941320"/>
                  <a:gd name="connsiteY2" fmla="*/ 3409188 h 3409199"/>
                  <a:gd name="connsiteX3" fmla="*/ 0 w 2941320"/>
                  <a:gd name="connsiteY3" fmla="*/ 2872740 h 3409199"/>
                  <a:gd name="connsiteX0" fmla="*/ 2941320 w 2941320"/>
                  <a:gd name="connsiteY0" fmla="*/ 7620 h 536459"/>
                  <a:gd name="connsiteX1" fmla="*/ 1471849 w 2941320"/>
                  <a:gd name="connsiteY1" fmla="*/ 536448 h 536459"/>
                  <a:gd name="connsiteX2" fmla="*/ 0 w 2941320"/>
                  <a:gd name="connsiteY2" fmla="*/ 0 h 536459"/>
                  <a:gd name="connsiteX0" fmla="*/ 2941320 w 2941320"/>
                  <a:gd name="connsiteY0" fmla="*/ 7620 h 572649"/>
                  <a:gd name="connsiteX1" fmla="*/ 2079132 w 2941320"/>
                  <a:gd name="connsiteY1" fmla="*/ 467035 h 572649"/>
                  <a:gd name="connsiteX2" fmla="*/ 1471849 w 2941320"/>
                  <a:gd name="connsiteY2" fmla="*/ 536448 h 572649"/>
                  <a:gd name="connsiteX3" fmla="*/ 0 w 2941320"/>
                  <a:gd name="connsiteY3" fmla="*/ 0 h 572649"/>
                  <a:gd name="connsiteX0" fmla="*/ 2941320 w 2941320"/>
                  <a:gd name="connsiteY0" fmla="*/ 7620 h 537127"/>
                  <a:gd name="connsiteX1" fmla="*/ 2079132 w 2941320"/>
                  <a:gd name="connsiteY1" fmla="*/ 467035 h 537127"/>
                  <a:gd name="connsiteX2" fmla="*/ 1471849 w 2941320"/>
                  <a:gd name="connsiteY2" fmla="*/ 536448 h 537127"/>
                  <a:gd name="connsiteX3" fmla="*/ 0 w 2941320"/>
                  <a:gd name="connsiteY3" fmla="*/ 0 h 537127"/>
                  <a:gd name="connsiteX0" fmla="*/ 2941320 w 2941320"/>
                  <a:gd name="connsiteY0" fmla="*/ 7620 h 536448"/>
                  <a:gd name="connsiteX1" fmla="*/ 2079132 w 2941320"/>
                  <a:gd name="connsiteY1" fmla="*/ 467035 h 536448"/>
                  <a:gd name="connsiteX2" fmla="*/ 1471849 w 2941320"/>
                  <a:gd name="connsiteY2" fmla="*/ 536448 h 536448"/>
                  <a:gd name="connsiteX3" fmla="*/ 0 w 2941320"/>
                  <a:gd name="connsiteY3" fmla="*/ 0 h 536448"/>
                  <a:gd name="connsiteX0" fmla="*/ 2079132 w 2079132"/>
                  <a:gd name="connsiteY0" fmla="*/ 467035 h 536448"/>
                  <a:gd name="connsiteX1" fmla="*/ 1471849 w 2079132"/>
                  <a:gd name="connsiteY1" fmla="*/ 536448 h 536448"/>
                  <a:gd name="connsiteX2" fmla="*/ 0 w 2079132"/>
                  <a:gd name="connsiteY2" fmla="*/ 0 h 536448"/>
                  <a:gd name="connsiteX0" fmla="*/ 2079132 w 2079132"/>
                  <a:gd name="connsiteY0" fmla="*/ 467035 h 565747"/>
                  <a:gd name="connsiteX1" fmla="*/ 1916478 w 2079132"/>
                  <a:gd name="connsiteY1" fmla="*/ 491955 h 565747"/>
                  <a:gd name="connsiteX2" fmla="*/ 1471849 w 2079132"/>
                  <a:gd name="connsiteY2" fmla="*/ 536448 h 565747"/>
                  <a:gd name="connsiteX3" fmla="*/ 0 w 2079132"/>
                  <a:gd name="connsiteY3" fmla="*/ 0 h 565747"/>
                  <a:gd name="connsiteX0" fmla="*/ 2079132 w 2079132"/>
                  <a:gd name="connsiteY0" fmla="*/ 467035 h 565747"/>
                  <a:gd name="connsiteX1" fmla="*/ 1916488 w 2079132"/>
                  <a:gd name="connsiteY1" fmla="*/ 491957 h 565747"/>
                  <a:gd name="connsiteX2" fmla="*/ 1471849 w 2079132"/>
                  <a:gd name="connsiteY2" fmla="*/ 536448 h 565747"/>
                  <a:gd name="connsiteX3" fmla="*/ 0 w 2079132"/>
                  <a:gd name="connsiteY3" fmla="*/ 0 h 565747"/>
                  <a:gd name="connsiteX0" fmla="*/ 1916488 w 1916486"/>
                  <a:gd name="connsiteY0" fmla="*/ 491957 h 565747"/>
                  <a:gd name="connsiteX1" fmla="*/ 1471849 w 1916486"/>
                  <a:gd name="connsiteY1" fmla="*/ 536448 h 565747"/>
                  <a:gd name="connsiteX2" fmla="*/ 0 w 1916486"/>
                  <a:gd name="connsiteY2" fmla="*/ 0 h 565747"/>
                  <a:gd name="connsiteX0" fmla="*/ 2017829 w 2017829"/>
                  <a:gd name="connsiteY0" fmla="*/ 464234 h 561736"/>
                  <a:gd name="connsiteX1" fmla="*/ 1471849 w 2017829"/>
                  <a:gd name="connsiteY1" fmla="*/ 536448 h 561736"/>
                  <a:gd name="connsiteX2" fmla="*/ 0 w 2017829"/>
                  <a:gd name="connsiteY2" fmla="*/ 0 h 561736"/>
                  <a:gd name="connsiteX0" fmla="*/ 2017829 w 2017829"/>
                  <a:gd name="connsiteY0" fmla="*/ 464234 h 555152"/>
                  <a:gd name="connsiteX1" fmla="*/ 1471849 w 2017829"/>
                  <a:gd name="connsiteY1" fmla="*/ 536448 h 555152"/>
                  <a:gd name="connsiteX2" fmla="*/ 0 w 2017829"/>
                  <a:gd name="connsiteY2" fmla="*/ 0 h 555152"/>
                  <a:gd name="connsiteX0" fmla="*/ 2017829 w 2017829"/>
                  <a:gd name="connsiteY0" fmla="*/ 464234 h 555152"/>
                  <a:gd name="connsiteX1" fmla="*/ 1471849 w 2017829"/>
                  <a:gd name="connsiteY1" fmla="*/ 536448 h 555152"/>
                  <a:gd name="connsiteX2" fmla="*/ 0 w 2017829"/>
                  <a:gd name="connsiteY2" fmla="*/ 0 h 555152"/>
                  <a:gd name="connsiteX0" fmla="*/ 2017829 w 2017829"/>
                  <a:gd name="connsiteY0" fmla="*/ 464234 h 536448"/>
                  <a:gd name="connsiteX1" fmla="*/ 1471849 w 2017829"/>
                  <a:gd name="connsiteY1" fmla="*/ 536448 h 536448"/>
                  <a:gd name="connsiteX2" fmla="*/ 0 w 2017829"/>
                  <a:gd name="connsiteY2" fmla="*/ 0 h 536448"/>
                  <a:gd name="connsiteX0" fmla="*/ 2017829 w 2017829"/>
                  <a:gd name="connsiteY0" fmla="*/ 464234 h 536448"/>
                  <a:gd name="connsiteX1" fmla="*/ 1471849 w 2017829"/>
                  <a:gd name="connsiteY1" fmla="*/ 536448 h 536448"/>
                  <a:gd name="connsiteX2" fmla="*/ 0 w 2017829"/>
                  <a:gd name="connsiteY2" fmla="*/ 0 h 536448"/>
                  <a:gd name="connsiteX0" fmla="*/ 2017829 w 2017829"/>
                  <a:gd name="connsiteY0" fmla="*/ 464234 h 536448"/>
                  <a:gd name="connsiteX1" fmla="*/ 1471849 w 2017829"/>
                  <a:gd name="connsiteY1" fmla="*/ 536448 h 536448"/>
                  <a:gd name="connsiteX2" fmla="*/ 0 w 2017829"/>
                  <a:gd name="connsiteY2" fmla="*/ 0 h 536448"/>
                  <a:gd name="connsiteX0" fmla="*/ 2017829 w 2017829"/>
                  <a:gd name="connsiteY0" fmla="*/ 464234 h 536448"/>
                  <a:gd name="connsiteX1" fmla="*/ 1471849 w 2017829"/>
                  <a:gd name="connsiteY1" fmla="*/ 536448 h 536448"/>
                  <a:gd name="connsiteX2" fmla="*/ 0 w 2017829"/>
                  <a:gd name="connsiteY2" fmla="*/ 0 h 536448"/>
                </a:gdLst>
                <a:ahLst/>
                <a:cxnLst>
                  <a:cxn ang="0">
                    <a:pos x="connsiteX0" y="connsiteY0"/>
                  </a:cxn>
                  <a:cxn ang="0">
                    <a:pos x="connsiteX1" y="connsiteY1"/>
                  </a:cxn>
                  <a:cxn ang="0">
                    <a:pos x="connsiteX2" y="connsiteY2"/>
                  </a:cxn>
                </a:cxnLst>
                <a:rect l="l" t="t" r="r" b="b"/>
                <a:pathLst>
                  <a:path w="2017829" h="536448">
                    <a:moveTo>
                      <a:pt x="2017829" y="464234"/>
                    </a:moveTo>
                    <a:cubicBezTo>
                      <a:pt x="1916617" y="492438"/>
                      <a:pt x="1838034" y="518635"/>
                      <a:pt x="1471849" y="536448"/>
                    </a:cubicBezTo>
                    <a:cubicBezTo>
                      <a:pt x="981629" y="535178"/>
                      <a:pt x="495300" y="431038"/>
                      <a:pt x="0" y="0"/>
                    </a:cubicBez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220" name="Straight Connector 219">
                <a:extLst>
                  <a:ext uri="{FF2B5EF4-FFF2-40B4-BE49-F238E27FC236}">
                    <a16:creationId xmlns:a16="http://schemas.microsoft.com/office/drawing/2014/main" id="{FD228AD0-A0E2-401F-87A4-C591EAC04BE9}"/>
                  </a:ext>
                </a:extLst>
              </p:cNvPr>
              <p:cNvCxnSpPr>
                <a:cxnSpLocks/>
              </p:cNvCxnSpPr>
              <p:nvPr/>
            </p:nvCxnSpPr>
            <p:spPr bwMode="gray">
              <a:xfrm>
                <a:off x="11267304" y="2138484"/>
                <a:ext cx="0" cy="574585"/>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1" name="Straight Connector 220">
                <a:extLst>
                  <a:ext uri="{FF2B5EF4-FFF2-40B4-BE49-F238E27FC236}">
                    <a16:creationId xmlns:a16="http://schemas.microsoft.com/office/drawing/2014/main" id="{788FB68C-9E5E-449C-AE85-8848BD49F1F1}"/>
                  </a:ext>
                </a:extLst>
              </p:cNvPr>
              <p:cNvCxnSpPr>
                <a:cxnSpLocks/>
              </p:cNvCxnSpPr>
              <p:nvPr/>
            </p:nvCxnSpPr>
            <p:spPr bwMode="gray">
              <a:xfrm flipH="1">
                <a:off x="11267472" y="1966912"/>
                <a:ext cx="290" cy="102591"/>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24" name="Snip Same Side Corner Rectangle 53">
              <a:extLst>
                <a:ext uri="{FF2B5EF4-FFF2-40B4-BE49-F238E27FC236}">
                  <a16:creationId xmlns:a16="http://schemas.microsoft.com/office/drawing/2014/main" id="{D39A68E4-6DB9-4D88-8EAC-7E13504E0796}"/>
                </a:ext>
              </a:extLst>
            </p:cNvPr>
            <p:cNvSpPr>
              <a:spLocks noChangeAspect="1"/>
            </p:cNvSpPr>
            <p:nvPr/>
          </p:nvSpPr>
          <p:spPr bwMode="gray">
            <a:xfrm rot="8100000">
              <a:off x="9593960" y="-527456"/>
              <a:ext cx="151868" cy="302720"/>
            </a:xfrm>
            <a:custGeom>
              <a:avLst/>
              <a:gdLst/>
              <a:ahLst/>
              <a:cxnLst/>
              <a:rect l="l" t="t" r="r" b="b"/>
              <a:pathLst>
                <a:path w="436368" h="869804">
                  <a:moveTo>
                    <a:pt x="58229" y="811577"/>
                  </a:moveTo>
                  <a:cubicBezTo>
                    <a:pt x="146570" y="899918"/>
                    <a:pt x="289800" y="899918"/>
                    <a:pt x="378141" y="811577"/>
                  </a:cubicBezTo>
                  <a:cubicBezTo>
                    <a:pt x="466482" y="723236"/>
                    <a:pt x="466482" y="580006"/>
                    <a:pt x="378141" y="491665"/>
                  </a:cubicBezTo>
                  <a:cubicBezTo>
                    <a:pt x="289800" y="403324"/>
                    <a:pt x="146570" y="403324"/>
                    <a:pt x="58229" y="491665"/>
                  </a:cubicBezTo>
                  <a:cubicBezTo>
                    <a:pt x="-30112" y="580006"/>
                    <a:pt x="-30112" y="723236"/>
                    <a:pt x="58229" y="811577"/>
                  </a:cubicBezTo>
                  <a:close/>
                  <a:moveTo>
                    <a:pt x="0" y="869804"/>
                  </a:moveTo>
                  <a:cubicBezTo>
                    <a:pt x="-120499" y="749305"/>
                    <a:pt x="-120499" y="553935"/>
                    <a:pt x="0" y="433436"/>
                  </a:cubicBezTo>
                  <a:cubicBezTo>
                    <a:pt x="40846" y="392590"/>
                    <a:pt x="90294" y="365590"/>
                    <a:pt x="142803" y="353584"/>
                  </a:cubicBezTo>
                  <a:lnTo>
                    <a:pt x="142803" y="13739"/>
                  </a:lnTo>
                  <a:lnTo>
                    <a:pt x="156542" y="0"/>
                  </a:lnTo>
                  <a:lnTo>
                    <a:pt x="219743" y="0"/>
                  </a:lnTo>
                  <a:lnTo>
                    <a:pt x="233482" y="13739"/>
                  </a:lnTo>
                  <a:lnTo>
                    <a:pt x="233482" y="344527"/>
                  </a:lnTo>
                  <a:cubicBezTo>
                    <a:pt x="307311" y="347093"/>
                    <a:pt x="380024" y="377091"/>
                    <a:pt x="436368" y="433436"/>
                  </a:cubicBezTo>
                  <a:cubicBezTo>
                    <a:pt x="556868" y="553935"/>
                    <a:pt x="556868" y="749305"/>
                    <a:pt x="436368" y="869804"/>
                  </a:cubicBezTo>
                  <a:cubicBezTo>
                    <a:pt x="315869" y="990304"/>
                    <a:pt x="120500" y="990304"/>
                    <a:pt x="0" y="869804"/>
                  </a:cubicBezTo>
                  <a:close/>
                </a:path>
              </a:pathLst>
            </a:cu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dirty="0" err="1"/>
            </a:p>
          </p:txBody>
        </p:sp>
      </p:grpSp>
      <p:grpSp>
        <p:nvGrpSpPr>
          <p:cNvPr id="421" name="Group 420">
            <a:extLst>
              <a:ext uri="{FF2B5EF4-FFF2-40B4-BE49-F238E27FC236}">
                <a16:creationId xmlns:a16="http://schemas.microsoft.com/office/drawing/2014/main" id="{F2DFEF87-D381-453F-A632-5969D244B0A4}"/>
              </a:ext>
            </a:extLst>
          </p:cNvPr>
          <p:cNvGrpSpPr/>
          <p:nvPr/>
        </p:nvGrpSpPr>
        <p:grpSpPr bwMode="gray">
          <a:xfrm>
            <a:off x="2766522" y="4229056"/>
            <a:ext cx="562904" cy="491844"/>
            <a:chOff x="3321248" y="2604373"/>
            <a:chExt cx="538260" cy="470312"/>
          </a:xfrm>
        </p:grpSpPr>
        <p:sp>
          <p:nvSpPr>
            <p:cNvPr id="422" name="Freeform: Shape 421">
              <a:extLst>
                <a:ext uri="{FF2B5EF4-FFF2-40B4-BE49-F238E27FC236}">
                  <a16:creationId xmlns:a16="http://schemas.microsoft.com/office/drawing/2014/main" id="{BCBFA4AF-370C-47FD-88F4-04B00067F6E4}"/>
                </a:ext>
              </a:extLst>
            </p:cNvPr>
            <p:cNvSpPr/>
            <p:nvPr/>
          </p:nvSpPr>
          <p:spPr bwMode="gray">
            <a:xfrm rot="16200000">
              <a:off x="3196794" y="2823224"/>
              <a:ext cx="365761" cy="116853"/>
            </a:xfrm>
            <a:custGeom>
              <a:avLst/>
              <a:gdLst>
                <a:gd name="connsiteX0" fmla="*/ 365761 w 365761"/>
                <a:gd name="connsiteY0" fmla="*/ 58426 h 116853"/>
                <a:gd name="connsiteX1" fmla="*/ 338314 w 365761"/>
                <a:gd name="connsiteY1" fmla="*/ 116853 h 116853"/>
                <a:gd name="connsiteX2" fmla="*/ 169082 w 365761"/>
                <a:gd name="connsiteY2" fmla="*/ 116853 h 116853"/>
                <a:gd name="connsiteX3" fmla="*/ 169082 w 365761"/>
                <a:gd name="connsiteY3" fmla="*/ 58886 h 116853"/>
                <a:gd name="connsiteX4" fmla="*/ 3 w 365761"/>
                <a:gd name="connsiteY4" fmla="*/ 58886 h 116853"/>
                <a:gd name="connsiteX5" fmla="*/ 3 w 365761"/>
                <a:gd name="connsiteY5" fmla="*/ 116853 h 116853"/>
                <a:gd name="connsiteX6" fmla="*/ 0 w 365761"/>
                <a:gd name="connsiteY6" fmla="*/ 116853 h 116853"/>
                <a:gd name="connsiteX7" fmla="*/ 0 w 365761"/>
                <a:gd name="connsiteY7" fmla="*/ 1 h 116853"/>
                <a:gd name="connsiteX8" fmla="*/ 338314 w 365761"/>
                <a:gd name="connsiteY8" fmla="*/ 0 h 116853"/>
                <a:gd name="connsiteX9" fmla="*/ 365761 w 365761"/>
                <a:gd name="connsiteY9" fmla="*/ 58426 h 116853"/>
                <a:gd name="connsiteX0" fmla="*/ 365761 w 365761"/>
                <a:gd name="connsiteY0" fmla="*/ 58426 h 116853"/>
                <a:gd name="connsiteX1" fmla="*/ 338314 w 365761"/>
                <a:gd name="connsiteY1" fmla="*/ 116853 h 116853"/>
                <a:gd name="connsiteX2" fmla="*/ 195752 w 365761"/>
                <a:gd name="connsiteY2" fmla="*/ 116853 h 116853"/>
                <a:gd name="connsiteX3" fmla="*/ 169082 w 365761"/>
                <a:gd name="connsiteY3" fmla="*/ 58886 h 116853"/>
                <a:gd name="connsiteX4" fmla="*/ 3 w 365761"/>
                <a:gd name="connsiteY4" fmla="*/ 58886 h 116853"/>
                <a:gd name="connsiteX5" fmla="*/ 3 w 365761"/>
                <a:gd name="connsiteY5" fmla="*/ 116853 h 116853"/>
                <a:gd name="connsiteX6" fmla="*/ 0 w 365761"/>
                <a:gd name="connsiteY6" fmla="*/ 116853 h 116853"/>
                <a:gd name="connsiteX7" fmla="*/ 0 w 365761"/>
                <a:gd name="connsiteY7" fmla="*/ 1 h 116853"/>
                <a:gd name="connsiteX8" fmla="*/ 338314 w 365761"/>
                <a:gd name="connsiteY8" fmla="*/ 0 h 116853"/>
                <a:gd name="connsiteX9" fmla="*/ 365761 w 365761"/>
                <a:gd name="connsiteY9" fmla="*/ 58426 h 11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5761" h="116853">
                  <a:moveTo>
                    <a:pt x="365761" y="58426"/>
                  </a:moveTo>
                  <a:cubicBezTo>
                    <a:pt x="365761" y="90694"/>
                    <a:pt x="353473" y="116853"/>
                    <a:pt x="338314" y="116853"/>
                  </a:cubicBezTo>
                  <a:lnTo>
                    <a:pt x="195752" y="116853"/>
                  </a:lnTo>
                  <a:lnTo>
                    <a:pt x="169082" y="58886"/>
                  </a:lnTo>
                  <a:lnTo>
                    <a:pt x="3" y="58886"/>
                  </a:lnTo>
                  <a:lnTo>
                    <a:pt x="3" y="116853"/>
                  </a:lnTo>
                  <a:lnTo>
                    <a:pt x="0" y="116853"/>
                  </a:lnTo>
                  <a:lnTo>
                    <a:pt x="0" y="1"/>
                  </a:lnTo>
                  <a:lnTo>
                    <a:pt x="338314" y="0"/>
                  </a:lnTo>
                  <a:cubicBezTo>
                    <a:pt x="353473" y="0"/>
                    <a:pt x="365761" y="26158"/>
                    <a:pt x="365761" y="58426"/>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sz="1600" dirty="0"/>
            </a:p>
          </p:txBody>
        </p:sp>
        <p:cxnSp>
          <p:nvCxnSpPr>
            <p:cNvPr id="423" name="Straight Connector 422">
              <a:extLst>
                <a:ext uri="{FF2B5EF4-FFF2-40B4-BE49-F238E27FC236}">
                  <a16:creationId xmlns:a16="http://schemas.microsoft.com/office/drawing/2014/main" id="{E68DE337-19FF-4607-AE05-AF3A5D5D4C9E}"/>
                </a:ext>
              </a:extLst>
            </p:cNvPr>
            <p:cNvCxnSpPr>
              <a:cxnSpLocks/>
            </p:cNvCxnSpPr>
            <p:nvPr/>
          </p:nvCxnSpPr>
          <p:spPr bwMode="gray">
            <a:xfrm>
              <a:off x="3321249" y="2730767"/>
              <a:ext cx="116852"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24" name="Straight Connector 423">
              <a:extLst>
                <a:ext uri="{FF2B5EF4-FFF2-40B4-BE49-F238E27FC236}">
                  <a16:creationId xmlns:a16="http://schemas.microsoft.com/office/drawing/2014/main" id="{F78A069B-6E62-4652-AEFA-E302C8BFBBED}"/>
                </a:ext>
              </a:extLst>
            </p:cNvPr>
            <p:cNvCxnSpPr>
              <a:cxnSpLocks/>
            </p:cNvCxnSpPr>
            <p:nvPr/>
          </p:nvCxnSpPr>
          <p:spPr bwMode="gray">
            <a:xfrm>
              <a:off x="3321249" y="2814208"/>
              <a:ext cx="116852"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25" name="Straight Connector 424">
              <a:extLst>
                <a:ext uri="{FF2B5EF4-FFF2-40B4-BE49-F238E27FC236}">
                  <a16:creationId xmlns:a16="http://schemas.microsoft.com/office/drawing/2014/main" id="{700F05F4-7DF9-4404-A509-D8BBEF847343}"/>
                </a:ext>
              </a:extLst>
            </p:cNvPr>
            <p:cNvCxnSpPr>
              <a:cxnSpLocks/>
            </p:cNvCxnSpPr>
            <p:nvPr/>
          </p:nvCxnSpPr>
          <p:spPr bwMode="gray">
            <a:xfrm>
              <a:off x="3321249" y="2897649"/>
              <a:ext cx="116852"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26" name="Straight Connector 425">
              <a:extLst>
                <a:ext uri="{FF2B5EF4-FFF2-40B4-BE49-F238E27FC236}">
                  <a16:creationId xmlns:a16="http://schemas.microsoft.com/office/drawing/2014/main" id="{950C10B6-64E1-49D9-9825-30F3188BF1F7}"/>
                </a:ext>
              </a:extLst>
            </p:cNvPr>
            <p:cNvCxnSpPr>
              <a:cxnSpLocks/>
            </p:cNvCxnSpPr>
            <p:nvPr/>
          </p:nvCxnSpPr>
          <p:spPr bwMode="gray">
            <a:xfrm>
              <a:off x="3327096" y="2981090"/>
              <a:ext cx="53038"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27" name="Rectangle 426">
              <a:extLst>
                <a:ext uri="{FF2B5EF4-FFF2-40B4-BE49-F238E27FC236}">
                  <a16:creationId xmlns:a16="http://schemas.microsoft.com/office/drawing/2014/main" id="{1CADF3BF-F6E8-4B7D-B7F8-DA75FBC9E946}"/>
                </a:ext>
              </a:extLst>
            </p:cNvPr>
            <p:cNvSpPr/>
            <p:nvPr/>
          </p:nvSpPr>
          <p:spPr bwMode="gray">
            <a:xfrm rot="5400000">
              <a:off x="3434473" y="2843309"/>
              <a:ext cx="166879" cy="275559"/>
            </a:xfrm>
            <a:prstGeom prst="rect">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sz="1600"/>
            </a:p>
          </p:txBody>
        </p:sp>
        <p:sp>
          <p:nvSpPr>
            <p:cNvPr id="428" name="Freeform: Shape 427">
              <a:extLst>
                <a:ext uri="{FF2B5EF4-FFF2-40B4-BE49-F238E27FC236}">
                  <a16:creationId xmlns:a16="http://schemas.microsoft.com/office/drawing/2014/main" id="{2508DEC0-E4F6-4368-8F7E-50B555AFD5B4}"/>
                </a:ext>
              </a:extLst>
            </p:cNvPr>
            <p:cNvSpPr/>
            <p:nvPr/>
          </p:nvSpPr>
          <p:spPr bwMode="gray">
            <a:xfrm rot="10800000">
              <a:off x="3380134" y="2851419"/>
              <a:ext cx="275557" cy="41424"/>
            </a:xfrm>
            <a:custGeom>
              <a:avLst/>
              <a:gdLst>
                <a:gd name="connsiteX0" fmla="*/ 260382 w 547200"/>
                <a:gd name="connsiteY0" fmla="*/ 0 h 209016"/>
                <a:gd name="connsiteX1" fmla="*/ 547200 w 547200"/>
                <a:gd name="connsiteY1" fmla="*/ 3768 h 209016"/>
                <a:gd name="connsiteX2" fmla="*/ 547200 w 547200"/>
                <a:gd name="connsiteY2" fmla="*/ 67271 h 209016"/>
                <a:gd name="connsiteX3" fmla="*/ 328220 w 547200"/>
                <a:gd name="connsiteY3" fmla="*/ 209016 h 209016"/>
                <a:gd name="connsiteX4" fmla="*/ 218980 w 547200"/>
                <a:gd name="connsiteY4" fmla="*/ 209016 h 209016"/>
                <a:gd name="connsiteX5" fmla="*/ 0 w 547200"/>
                <a:gd name="connsiteY5" fmla="*/ 67271 h 209016"/>
                <a:gd name="connsiteX6" fmla="*/ 0 w 547200"/>
                <a:gd name="connsiteY6" fmla="*/ 3768 h 209016"/>
                <a:gd name="connsiteX0" fmla="*/ 260382 w 547200"/>
                <a:gd name="connsiteY0" fmla="*/ 0 h 209016"/>
                <a:gd name="connsiteX1" fmla="*/ 547200 w 547200"/>
                <a:gd name="connsiteY1" fmla="*/ 3768 h 209016"/>
                <a:gd name="connsiteX2" fmla="*/ 547200 w 547200"/>
                <a:gd name="connsiteY2" fmla="*/ 67271 h 209016"/>
                <a:gd name="connsiteX3" fmla="*/ 328220 w 547200"/>
                <a:gd name="connsiteY3" fmla="*/ 209016 h 209016"/>
                <a:gd name="connsiteX4" fmla="*/ 218980 w 547200"/>
                <a:gd name="connsiteY4" fmla="*/ 209016 h 209016"/>
                <a:gd name="connsiteX5" fmla="*/ 0 w 547200"/>
                <a:gd name="connsiteY5" fmla="*/ 67271 h 209016"/>
                <a:gd name="connsiteX6" fmla="*/ 0 w 547200"/>
                <a:gd name="connsiteY6" fmla="*/ 3768 h 209016"/>
                <a:gd name="connsiteX7" fmla="*/ 351822 w 547200"/>
                <a:gd name="connsiteY7" fmla="*/ 91440 h 209016"/>
                <a:gd name="connsiteX0" fmla="*/ 260382 w 547200"/>
                <a:gd name="connsiteY0" fmla="*/ 0 h 209016"/>
                <a:gd name="connsiteX1" fmla="*/ 547200 w 547200"/>
                <a:gd name="connsiteY1" fmla="*/ 3768 h 209016"/>
                <a:gd name="connsiteX2" fmla="*/ 547200 w 547200"/>
                <a:gd name="connsiteY2" fmla="*/ 67271 h 209016"/>
                <a:gd name="connsiteX3" fmla="*/ 328220 w 547200"/>
                <a:gd name="connsiteY3" fmla="*/ 209016 h 209016"/>
                <a:gd name="connsiteX4" fmla="*/ 218980 w 547200"/>
                <a:gd name="connsiteY4" fmla="*/ 209016 h 209016"/>
                <a:gd name="connsiteX5" fmla="*/ 0 w 547200"/>
                <a:gd name="connsiteY5" fmla="*/ 67271 h 209016"/>
                <a:gd name="connsiteX6" fmla="*/ 0 w 547200"/>
                <a:gd name="connsiteY6" fmla="*/ 3768 h 209016"/>
                <a:gd name="connsiteX0" fmla="*/ 547200 w 547200"/>
                <a:gd name="connsiteY0" fmla="*/ 0 h 205248"/>
                <a:gd name="connsiteX1" fmla="*/ 547200 w 547200"/>
                <a:gd name="connsiteY1" fmla="*/ 63503 h 205248"/>
                <a:gd name="connsiteX2" fmla="*/ 328220 w 547200"/>
                <a:gd name="connsiteY2" fmla="*/ 205248 h 205248"/>
                <a:gd name="connsiteX3" fmla="*/ 218980 w 547200"/>
                <a:gd name="connsiteY3" fmla="*/ 205248 h 205248"/>
                <a:gd name="connsiteX4" fmla="*/ 0 w 547200"/>
                <a:gd name="connsiteY4" fmla="*/ 63503 h 205248"/>
                <a:gd name="connsiteX5" fmla="*/ 0 w 547200"/>
                <a:gd name="connsiteY5" fmla="*/ 0 h 205248"/>
                <a:gd name="connsiteX0" fmla="*/ 547200 w 547200"/>
                <a:gd name="connsiteY0" fmla="*/ 63503 h 205248"/>
                <a:gd name="connsiteX1" fmla="*/ 328220 w 547200"/>
                <a:gd name="connsiteY1" fmla="*/ 205248 h 205248"/>
                <a:gd name="connsiteX2" fmla="*/ 218980 w 547200"/>
                <a:gd name="connsiteY2" fmla="*/ 205248 h 205248"/>
                <a:gd name="connsiteX3" fmla="*/ 0 w 547200"/>
                <a:gd name="connsiteY3" fmla="*/ 63503 h 205248"/>
                <a:gd name="connsiteX4" fmla="*/ 0 w 547200"/>
                <a:gd name="connsiteY4" fmla="*/ 0 h 205248"/>
                <a:gd name="connsiteX0" fmla="*/ 547200 w 547200"/>
                <a:gd name="connsiteY0" fmla="*/ 1 h 141746"/>
                <a:gd name="connsiteX1" fmla="*/ 328220 w 547200"/>
                <a:gd name="connsiteY1" fmla="*/ 141746 h 141746"/>
                <a:gd name="connsiteX2" fmla="*/ 218980 w 547200"/>
                <a:gd name="connsiteY2" fmla="*/ 141746 h 141746"/>
                <a:gd name="connsiteX3" fmla="*/ 0 w 547200"/>
                <a:gd name="connsiteY3" fmla="*/ 1 h 141746"/>
              </a:gdLst>
              <a:ahLst/>
              <a:cxnLst>
                <a:cxn ang="0">
                  <a:pos x="connsiteX0" y="connsiteY0"/>
                </a:cxn>
                <a:cxn ang="0">
                  <a:pos x="connsiteX1" y="connsiteY1"/>
                </a:cxn>
                <a:cxn ang="0">
                  <a:pos x="connsiteX2" y="connsiteY2"/>
                </a:cxn>
                <a:cxn ang="0">
                  <a:pos x="connsiteX3" y="connsiteY3"/>
                </a:cxn>
              </a:cxnLst>
              <a:rect l="l" t="t" r="r" b="b"/>
              <a:pathLst>
                <a:path w="547200" h="141746">
                  <a:moveTo>
                    <a:pt x="547200" y="1"/>
                  </a:moveTo>
                  <a:lnTo>
                    <a:pt x="328220" y="141746"/>
                  </a:lnTo>
                  <a:lnTo>
                    <a:pt x="218980" y="141746"/>
                  </a:lnTo>
                  <a:lnTo>
                    <a:pt x="0" y="1"/>
                  </a:ln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429" name="Freeform: Shape 428">
              <a:extLst>
                <a:ext uri="{FF2B5EF4-FFF2-40B4-BE49-F238E27FC236}">
                  <a16:creationId xmlns:a16="http://schemas.microsoft.com/office/drawing/2014/main" id="{57DBC704-76C4-4D12-BCC4-A3F82B6B56DE}"/>
                </a:ext>
              </a:extLst>
            </p:cNvPr>
            <p:cNvSpPr/>
            <p:nvPr/>
          </p:nvSpPr>
          <p:spPr bwMode="gray">
            <a:xfrm rot="5400000">
              <a:off x="3532620" y="2768808"/>
              <a:ext cx="315874" cy="275559"/>
            </a:xfrm>
            <a:custGeom>
              <a:avLst/>
              <a:gdLst>
                <a:gd name="connsiteX0" fmla="*/ 0 w 315874"/>
                <a:gd name="connsiteY0" fmla="*/ 275559 h 275559"/>
                <a:gd name="connsiteX1" fmla="*/ 0 w 315874"/>
                <a:gd name="connsiteY1" fmla="*/ 0 h 275559"/>
                <a:gd name="connsiteX2" fmla="*/ 315874 w 315874"/>
                <a:gd name="connsiteY2" fmla="*/ 0 h 275559"/>
                <a:gd name="connsiteX3" fmla="*/ 315874 w 315874"/>
                <a:gd name="connsiteY3" fmla="*/ 172644 h 275559"/>
                <a:gd name="connsiteX4" fmla="*/ 146798 w 315874"/>
                <a:gd name="connsiteY4" fmla="*/ 172644 h 275559"/>
                <a:gd name="connsiteX5" fmla="*/ 146798 w 315874"/>
                <a:gd name="connsiteY5" fmla="*/ 275559 h 275559"/>
                <a:gd name="connsiteX0" fmla="*/ 0 w 315874"/>
                <a:gd name="connsiteY0" fmla="*/ 275559 h 279369"/>
                <a:gd name="connsiteX1" fmla="*/ 0 w 315874"/>
                <a:gd name="connsiteY1" fmla="*/ 0 h 279369"/>
                <a:gd name="connsiteX2" fmla="*/ 315874 w 315874"/>
                <a:gd name="connsiteY2" fmla="*/ 0 h 279369"/>
                <a:gd name="connsiteX3" fmla="*/ 315874 w 315874"/>
                <a:gd name="connsiteY3" fmla="*/ 172644 h 279369"/>
                <a:gd name="connsiteX4" fmla="*/ 146798 w 315874"/>
                <a:gd name="connsiteY4" fmla="*/ 172644 h 279369"/>
                <a:gd name="connsiteX5" fmla="*/ 102983 w 315874"/>
                <a:gd name="connsiteY5" fmla="*/ 279369 h 279369"/>
                <a:gd name="connsiteX6" fmla="*/ 0 w 315874"/>
                <a:gd name="connsiteY6" fmla="*/ 275559 h 279369"/>
                <a:gd name="connsiteX0" fmla="*/ 0 w 315874"/>
                <a:gd name="connsiteY0" fmla="*/ 275559 h 275559"/>
                <a:gd name="connsiteX1" fmla="*/ 0 w 315874"/>
                <a:gd name="connsiteY1" fmla="*/ 0 h 275559"/>
                <a:gd name="connsiteX2" fmla="*/ 315874 w 315874"/>
                <a:gd name="connsiteY2" fmla="*/ 0 h 275559"/>
                <a:gd name="connsiteX3" fmla="*/ 315874 w 315874"/>
                <a:gd name="connsiteY3" fmla="*/ 172644 h 275559"/>
                <a:gd name="connsiteX4" fmla="*/ 146798 w 315874"/>
                <a:gd name="connsiteY4" fmla="*/ 172644 h 275559"/>
                <a:gd name="connsiteX5" fmla="*/ 102983 w 315874"/>
                <a:gd name="connsiteY5" fmla="*/ 275559 h 275559"/>
                <a:gd name="connsiteX6" fmla="*/ 0 w 315874"/>
                <a:gd name="connsiteY6" fmla="*/ 275559 h 275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874" h="275559">
                  <a:moveTo>
                    <a:pt x="0" y="275559"/>
                  </a:moveTo>
                  <a:lnTo>
                    <a:pt x="0" y="0"/>
                  </a:lnTo>
                  <a:lnTo>
                    <a:pt x="315874" y="0"/>
                  </a:lnTo>
                  <a:lnTo>
                    <a:pt x="315874" y="172644"/>
                  </a:lnTo>
                  <a:lnTo>
                    <a:pt x="146798" y="172644"/>
                  </a:lnTo>
                  <a:lnTo>
                    <a:pt x="102983" y="275559"/>
                  </a:lnTo>
                  <a:lnTo>
                    <a:pt x="0" y="275559"/>
                  </a:ln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sz="1600"/>
            </a:p>
          </p:txBody>
        </p:sp>
        <p:sp>
          <p:nvSpPr>
            <p:cNvPr id="430" name="Freeform: Shape 429">
              <a:extLst>
                <a:ext uri="{FF2B5EF4-FFF2-40B4-BE49-F238E27FC236}">
                  <a16:creationId xmlns:a16="http://schemas.microsoft.com/office/drawing/2014/main" id="{ADAD3A8F-829F-437E-989A-70C69F6D2456}"/>
                </a:ext>
              </a:extLst>
            </p:cNvPr>
            <p:cNvSpPr/>
            <p:nvPr/>
          </p:nvSpPr>
          <p:spPr bwMode="gray">
            <a:xfrm rot="10800000">
              <a:off x="3552777" y="2676525"/>
              <a:ext cx="275557" cy="69520"/>
            </a:xfrm>
            <a:custGeom>
              <a:avLst/>
              <a:gdLst>
                <a:gd name="connsiteX0" fmla="*/ 260382 w 547200"/>
                <a:gd name="connsiteY0" fmla="*/ 0 h 209016"/>
                <a:gd name="connsiteX1" fmla="*/ 547200 w 547200"/>
                <a:gd name="connsiteY1" fmla="*/ 3768 h 209016"/>
                <a:gd name="connsiteX2" fmla="*/ 547200 w 547200"/>
                <a:gd name="connsiteY2" fmla="*/ 67271 h 209016"/>
                <a:gd name="connsiteX3" fmla="*/ 328220 w 547200"/>
                <a:gd name="connsiteY3" fmla="*/ 209016 h 209016"/>
                <a:gd name="connsiteX4" fmla="*/ 218980 w 547200"/>
                <a:gd name="connsiteY4" fmla="*/ 209016 h 209016"/>
                <a:gd name="connsiteX5" fmla="*/ 0 w 547200"/>
                <a:gd name="connsiteY5" fmla="*/ 67271 h 209016"/>
                <a:gd name="connsiteX6" fmla="*/ 0 w 547200"/>
                <a:gd name="connsiteY6" fmla="*/ 3768 h 209016"/>
                <a:gd name="connsiteX0" fmla="*/ 260382 w 547200"/>
                <a:gd name="connsiteY0" fmla="*/ 0 h 209016"/>
                <a:gd name="connsiteX1" fmla="*/ 547200 w 547200"/>
                <a:gd name="connsiteY1" fmla="*/ 3768 h 209016"/>
                <a:gd name="connsiteX2" fmla="*/ 547200 w 547200"/>
                <a:gd name="connsiteY2" fmla="*/ 67271 h 209016"/>
                <a:gd name="connsiteX3" fmla="*/ 328220 w 547200"/>
                <a:gd name="connsiteY3" fmla="*/ 209016 h 209016"/>
                <a:gd name="connsiteX4" fmla="*/ 218980 w 547200"/>
                <a:gd name="connsiteY4" fmla="*/ 209016 h 209016"/>
                <a:gd name="connsiteX5" fmla="*/ 0 w 547200"/>
                <a:gd name="connsiteY5" fmla="*/ 67271 h 209016"/>
                <a:gd name="connsiteX6" fmla="*/ 0 w 547200"/>
                <a:gd name="connsiteY6" fmla="*/ 3768 h 209016"/>
                <a:gd name="connsiteX7" fmla="*/ 351822 w 547200"/>
                <a:gd name="connsiteY7" fmla="*/ 91440 h 209016"/>
                <a:gd name="connsiteX0" fmla="*/ 260382 w 547200"/>
                <a:gd name="connsiteY0" fmla="*/ 0 h 209016"/>
                <a:gd name="connsiteX1" fmla="*/ 547200 w 547200"/>
                <a:gd name="connsiteY1" fmla="*/ 3768 h 209016"/>
                <a:gd name="connsiteX2" fmla="*/ 547200 w 547200"/>
                <a:gd name="connsiteY2" fmla="*/ 67271 h 209016"/>
                <a:gd name="connsiteX3" fmla="*/ 328220 w 547200"/>
                <a:gd name="connsiteY3" fmla="*/ 209016 h 209016"/>
                <a:gd name="connsiteX4" fmla="*/ 218980 w 547200"/>
                <a:gd name="connsiteY4" fmla="*/ 209016 h 209016"/>
                <a:gd name="connsiteX5" fmla="*/ 0 w 547200"/>
                <a:gd name="connsiteY5" fmla="*/ 67271 h 209016"/>
                <a:gd name="connsiteX6" fmla="*/ 0 w 547200"/>
                <a:gd name="connsiteY6" fmla="*/ 3768 h 209016"/>
                <a:gd name="connsiteX0" fmla="*/ 547200 w 547200"/>
                <a:gd name="connsiteY0" fmla="*/ 0 h 205248"/>
                <a:gd name="connsiteX1" fmla="*/ 547200 w 547200"/>
                <a:gd name="connsiteY1" fmla="*/ 63503 h 205248"/>
                <a:gd name="connsiteX2" fmla="*/ 328220 w 547200"/>
                <a:gd name="connsiteY2" fmla="*/ 205248 h 205248"/>
                <a:gd name="connsiteX3" fmla="*/ 218980 w 547200"/>
                <a:gd name="connsiteY3" fmla="*/ 205248 h 205248"/>
                <a:gd name="connsiteX4" fmla="*/ 0 w 547200"/>
                <a:gd name="connsiteY4" fmla="*/ 63503 h 205248"/>
                <a:gd name="connsiteX5" fmla="*/ 0 w 547200"/>
                <a:gd name="connsiteY5" fmla="*/ 0 h 205248"/>
                <a:gd name="connsiteX0" fmla="*/ 547200 w 547200"/>
                <a:gd name="connsiteY0" fmla="*/ 63503 h 205248"/>
                <a:gd name="connsiteX1" fmla="*/ 328220 w 547200"/>
                <a:gd name="connsiteY1" fmla="*/ 205248 h 205248"/>
                <a:gd name="connsiteX2" fmla="*/ 218980 w 547200"/>
                <a:gd name="connsiteY2" fmla="*/ 205248 h 205248"/>
                <a:gd name="connsiteX3" fmla="*/ 0 w 547200"/>
                <a:gd name="connsiteY3" fmla="*/ 63503 h 205248"/>
                <a:gd name="connsiteX4" fmla="*/ 0 w 547200"/>
                <a:gd name="connsiteY4" fmla="*/ 0 h 205248"/>
                <a:gd name="connsiteX0" fmla="*/ 547200 w 547200"/>
                <a:gd name="connsiteY0" fmla="*/ 1 h 141746"/>
                <a:gd name="connsiteX1" fmla="*/ 328220 w 547200"/>
                <a:gd name="connsiteY1" fmla="*/ 141746 h 141746"/>
                <a:gd name="connsiteX2" fmla="*/ 218980 w 547200"/>
                <a:gd name="connsiteY2" fmla="*/ 141746 h 141746"/>
                <a:gd name="connsiteX3" fmla="*/ 0 w 547200"/>
                <a:gd name="connsiteY3" fmla="*/ 1 h 141746"/>
              </a:gdLst>
              <a:ahLst/>
              <a:cxnLst>
                <a:cxn ang="0">
                  <a:pos x="connsiteX0" y="connsiteY0"/>
                </a:cxn>
                <a:cxn ang="0">
                  <a:pos x="connsiteX1" y="connsiteY1"/>
                </a:cxn>
                <a:cxn ang="0">
                  <a:pos x="connsiteX2" y="connsiteY2"/>
                </a:cxn>
                <a:cxn ang="0">
                  <a:pos x="connsiteX3" y="connsiteY3"/>
                </a:cxn>
              </a:cxnLst>
              <a:rect l="l" t="t" r="r" b="b"/>
              <a:pathLst>
                <a:path w="547200" h="141746">
                  <a:moveTo>
                    <a:pt x="547200" y="1"/>
                  </a:moveTo>
                  <a:lnTo>
                    <a:pt x="328220" y="141746"/>
                  </a:lnTo>
                  <a:lnTo>
                    <a:pt x="218980" y="141746"/>
                  </a:lnTo>
                  <a:lnTo>
                    <a:pt x="0" y="1"/>
                  </a:ln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431" name="Rectangle 430">
              <a:extLst>
                <a:ext uri="{FF2B5EF4-FFF2-40B4-BE49-F238E27FC236}">
                  <a16:creationId xmlns:a16="http://schemas.microsoft.com/office/drawing/2014/main" id="{C103EB7A-EEBC-477A-9A6E-5204357D8258}"/>
                </a:ext>
              </a:extLst>
            </p:cNvPr>
            <p:cNvSpPr/>
            <p:nvPr/>
          </p:nvSpPr>
          <p:spPr bwMode="gray">
            <a:xfrm>
              <a:off x="3654881" y="2630805"/>
              <a:ext cx="65584" cy="45719"/>
            </a:xfrm>
            <a:prstGeom prst="rect">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p>
              <a:endParaRPr lang="de-DE" sz="1600" dirty="0" err="1"/>
            </a:p>
          </p:txBody>
        </p:sp>
        <p:grpSp>
          <p:nvGrpSpPr>
            <p:cNvPr id="432" name="Group 431">
              <a:extLst>
                <a:ext uri="{FF2B5EF4-FFF2-40B4-BE49-F238E27FC236}">
                  <a16:creationId xmlns:a16="http://schemas.microsoft.com/office/drawing/2014/main" id="{48BA93CC-4837-4AF1-889F-374876BF81BF}"/>
                </a:ext>
              </a:extLst>
            </p:cNvPr>
            <p:cNvGrpSpPr/>
            <p:nvPr/>
          </p:nvGrpSpPr>
          <p:grpSpPr bwMode="gray">
            <a:xfrm flipH="1">
              <a:off x="3691215" y="2604373"/>
              <a:ext cx="168293" cy="470312"/>
              <a:chOff x="3519380" y="2594213"/>
              <a:chExt cx="168293" cy="470312"/>
            </a:xfrm>
          </p:grpSpPr>
          <p:grpSp>
            <p:nvGrpSpPr>
              <p:cNvPr id="438" name="Group 437">
                <a:extLst>
                  <a:ext uri="{FF2B5EF4-FFF2-40B4-BE49-F238E27FC236}">
                    <a16:creationId xmlns:a16="http://schemas.microsoft.com/office/drawing/2014/main" id="{6CCF2F5E-05DC-4953-8637-736565E0DAB0}"/>
                  </a:ext>
                </a:extLst>
              </p:cNvPr>
              <p:cNvGrpSpPr/>
              <p:nvPr/>
            </p:nvGrpSpPr>
            <p:grpSpPr bwMode="gray">
              <a:xfrm>
                <a:off x="3519380" y="2594213"/>
                <a:ext cx="14474" cy="470312"/>
                <a:chOff x="10362094" y="4082953"/>
                <a:chExt cx="272760" cy="8863264"/>
              </a:xfrm>
            </p:grpSpPr>
            <p:sp>
              <p:nvSpPr>
                <p:cNvPr id="443" name="Arc 442">
                  <a:extLst>
                    <a:ext uri="{FF2B5EF4-FFF2-40B4-BE49-F238E27FC236}">
                      <a16:creationId xmlns:a16="http://schemas.microsoft.com/office/drawing/2014/main" id="{08783B90-A541-4AED-B560-C06D5B6F07B5}"/>
                    </a:ext>
                  </a:extLst>
                </p:cNvPr>
                <p:cNvSpPr/>
                <p:nvPr/>
              </p:nvSpPr>
              <p:spPr bwMode="gray">
                <a:xfrm>
                  <a:off x="10362094" y="4082953"/>
                  <a:ext cx="272760" cy="272764"/>
                </a:xfrm>
                <a:prstGeom prst="arc">
                  <a:avLst>
                    <a:gd name="adj1" fmla="val 11037066"/>
                    <a:gd name="adj2" fmla="val 16279283"/>
                  </a:avLst>
                </a:prstGeom>
                <a:noFill/>
                <a:ln w="19050">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de-DE" sz="1600"/>
                </a:p>
              </p:txBody>
            </p:sp>
            <p:cxnSp>
              <p:nvCxnSpPr>
                <p:cNvPr id="444" name="Straight Connector 443">
                  <a:extLst>
                    <a:ext uri="{FF2B5EF4-FFF2-40B4-BE49-F238E27FC236}">
                      <a16:creationId xmlns:a16="http://schemas.microsoft.com/office/drawing/2014/main" id="{6E927FC6-F3BE-46D5-9DED-A3914844EB2E}"/>
                    </a:ext>
                  </a:extLst>
                </p:cNvPr>
                <p:cNvCxnSpPr>
                  <a:cxnSpLocks/>
                  <a:stCxn id="443" idx="0"/>
                </p:cNvCxnSpPr>
                <p:nvPr/>
              </p:nvCxnSpPr>
              <p:spPr bwMode="gray">
                <a:xfrm flipH="1">
                  <a:off x="10362414" y="4209934"/>
                  <a:ext cx="0" cy="8736283"/>
                </a:xfrm>
                <a:prstGeom prst="line">
                  <a:avLst/>
                </a:prstGeom>
                <a:noFill/>
                <a:ln w="19050">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39" name="Group 438">
                <a:extLst>
                  <a:ext uri="{FF2B5EF4-FFF2-40B4-BE49-F238E27FC236}">
                    <a16:creationId xmlns:a16="http://schemas.microsoft.com/office/drawing/2014/main" id="{A5D1111B-740F-4DDF-A7E2-C6F62D82969D}"/>
                  </a:ext>
                </a:extLst>
              </p:cNvPr>
              <p:cNvGrpSpPr/>
              <p:nvPr/>
            </p:nvGrpSpPr>
            <p:grpSpPr bwMode="gray">
              <a:xfrm flipH="1">
                <a:off x="3641009" y="2594220"/>
                <a:ext cx="46664" cy="45719"/>
                <a:chOff x="10832967" y="4082959"/>
                <a:chExt cx="278402" cy="272763"/>
              </a:xfrm>
            </p:grpSpPr>
            <p:sp>
              <p:nvSpPr>
                <p:cNvPr id="441" name="Arc 440">
                  <a:extLst>
                    <a:ext uri="{FF2B5EF4-FFF2-40B4-BE49-F238E27FC236}">
                      <a16:creationId xmlns:a16="http://schemas.microsoft.com/office/drawing/2014/main" id="{5810D016-BC30-4CBC-BFF1-EA62277BCDD2}"/>
                    </a:ext>
                  </a:extLst>
                </p:cNvPr>
                <p:cNvSpPr/>
                <p:nvPr/>
              </p:nvSpPr>
              <p:spPr bwMode="gray">
                <a:xfrm>
                  <a:off x="10838605" y="4082959"/>
                  <a:ext cx="272764" cy="272763"/>
                </a:xfrm>
                <a:prstGeom prst="arc">
                  <a:avLst>
                    <a:gd name="adj1" fmla="val 11037066"/>
                    <a:gd name="adj2" fmla="val 16279283"/>
                  </a:avLst>
                </a:prstGeom>
                <a:noFill/>
                <a:ln w="19050">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de-DE" sz="1600"/>
                </a:p>
              </p:txBody>
            </p:sp>
            <p:cxnSp>
              <p:nvCxnSpPr>
                <p:cNvPr id="442" name="Straight Connector 441">
                  <a:extLst>
                    <a:ext uri="{FF2B5EF4-FFF2-40B4-BE49-F238E27FC236}">
                      <a16:creationId xmlns:a16="http://schemas.microsoft.com/office/drawing/2014/main" id="{2E94742C-CD80-436B-9C45-F79D6F3120A7}"/>
                    </a:ext>
                  </a:extLst>
                </p:cNvPr>
                <p:cNvCxnSpPr>
                  <a:cxnSpLocks/>
                  <a:endCxn id="431" idx="0"/>
                </p:cNvCxnSpPr>
                <p:nvPr/>
              </p:nvCxnSpPr>
              <p:spPr bwMode="gray">
                <a:xfrm flipH="1">
                  <a:off x="10832967" y="4209941"/>
                  <a:ext cx="5978" cy="91287"/>
                </a:xfrm>
                <a:prstGeom prst="line">
                  <a:avLst/>
                </a:prstGeom>
                <a:noFill/>
                <a:ln w="19050">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grpSp>
          <p:cxnSp>
            <p:nvCxnSpPr>
              <p:cNvPr id="440" name="Straight Connector 439">
                <a:extLst>
                  <a:ext uri="{FF2B5EF4-FFF2-40B4-BE49-F238E27FC236}">
                    <a16:creationId xmlns:a16="http://schemas.microsoft.com/office/drawing/2014/main" id="{72E289E5-6027-42BC-BF81-7799B919BD35}"/>
                  </a:ext>
                </a:extLst>
              </p:cNvPr>
              <p:cNvCxnSpPr>
                <a:cxnSpLocks/>
                <a:stCxn id="443" idx="2"/>
                <a:endCxn id="441" idx="2"/>
              </p:cNvCxnSpPr>
              <p:nvPr/>
            </p:nvCxnSpPr>
            <p:spPr bwMode="gray">
              <a:xfrm>
                <a:off x="3526784" y="2594215"/>
                <a:ext cx="136558" cy="11"/>
              </a:xfrm>
              <a:prstGeom prst="line">
                <a:avLst/>
              </a:prstGeom>
              <a:noFill/>
              <a:ln w="19050">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33" name="Group 432">
              <a:extLst>
                <a:ext uri="{FF2B5EF4-FFF2-40B4-BE49-F238E27FC236}">
                  <a16:creationId xmlns:a16="http://schemas.microsoft.com/office/drawing/2014/main" id="{98AA0C07-5909-4F6D-AE99-BC88B57204A1}"/>
                </a:ext>
              </a:extLst>
            </p:cNvPr>
            <p:cNvGrpSpPr/>
            <p:nvPr/>
          </p:nvGrpSpPr>
          <p:grpSpPr bwMode="gray">
            <a:xfrm rot="5400000" flipH="1">
              <a:off x="3689952" y="2950980"/>
              <a:ext cx="49462" cy="110209"/>
              <a:chOff x="3519380" y="2594211"/>
              <a:chExt cx="49462" cy="110209"/>
            </a:xfrm>
          </p:grpSpPr>
          <p:grpSp>
            <p:nvGrpSpPr>
              <p:cNvPr id="434" name="Group 433">
                <a:extLst>
                  <a:ext uri="{FF2B5EF4-FFF2-40B4-BE49-F238E27FC236}">
                    <a16:creationId xmlns:a16="http://schemas.microsoft.com/office/drawing/2014/main" id="{E02FE9CE-74D3-4DEE-AF3D-B4BB7B96B799}"/>
                  </a:ext>
                </a:extLst>
              </p:cNvPr>
              <p:cNvGrpSpPr/>
              <p:nvPr/>
            </p:nvGrpSpPr>
            <p:grpSpPr bwMode="gray">
              <a:xfrm>
                <a:off x="3519380" y="2594211"/>
                <a:ext cx="14474" cy="110209"/>
                <a:chOff x="10362094" y="4082953"/>
                <a:chExt cx="272760" cy="2076959"/>
              </a:xfrm>
            </p:grpSpPr>
            <p:sp>
              <p:nvSpPr>
                <p:cNvPr id="436" name="Arc 435">
                  <a:extLst>
                    <a:ext uri="{FF2B5EF4-FFF2-40B4-BE49-F238E27FC236}">
                      <a16:creationId xmlns:a16="http://schemas.microsoft.com/office/drawing/2014/main" id="{6CEBDFD9-3DEA-4DC1-9899-3F9589C3CB31}"/>
                    </a:ext>
                  </a:extLst>
                </p:cNvPr>
                <p:cNvSpPr/>
                <p:nvPr/>
              </p:nvSpPr>
              <p:spPr bwMode="gray">
                <a:xfrm>
                  <a:off x="10362094" y="4082953"/>
                  <a:ext cx="272760" cy="272764"/>
                </a:xfrm>
                <a:prstGeom prst="arc">
                  <a:avLst>
                    <a:gd name="adj1" fmla="val 11037066"/>
                    <a:gd name="adj2" fmla="val 16279283"/>
                  </a:avLst>
                </a:prstGeom>
                <a:noFill/>
                <a:ln w="19050">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de-DE" sz="1600"/>
                </a:p>
              </p:txBody>
            </p:sp>
            <p:cxnSp>
              <p:nvCxnSpPr>
                <p:cNvPr id="437" name="Straight Connector 436">
                  <a:extLst>
                    <a:ext uri="{FF2B5EF4-FFF2-40B4-BE49-F238E27FC236}">
                      <a16:creationId xmlns:a16="http://schemas.microsoft.com/office/drawing/2014/main" id="{82BE0E98-0206-440E-80DF-F593E724ED6B}"/>
                    </a:ext>
                  </a:extLst>
                </p:cNvPr>
                <p:cNvCxnSpPr>
                  <a:cxnSpLocks/>
                  <a:stCxn id="436" idx="0"/>
                </p:cNvCxnSpPr>
                <p:nvPr/>
              </p:nvCxnSpPr>
              <p:spPr bwMode="gray">
                <a:xfrm rot="5400000">
                  <a:off x="9387411" y="5184919"/>
                  <a:ext cx="1949987" cy="0"/>
                </a:xfrm>
                <a:prstGeom prst="line">
                  <a:avLst/>
                </a:prstGeom>
                <a:noFill/>
                <a:ln w="19050">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grpSp>
          <p:cxnSp>
            <p:nvCxnSpPr>
              <p:cNvPr id="435" name="Straight Connector 434">
                <a:extLst>
                  <a:ext uri="{FF2B5EF4-FFF2-40B4-BE49-F238E27FC236}">
                    <a16:creationId xmlns:a16="http://schemas.microsoft.com/office/drawing/2014/main" id="{32063054-624A-4C6C-A2A6-BC56C8A13429}"/>
                  </a:ext>
                </a:extLst>
              </p:cNvPr>
              <p:cNvCxnSpPr>
                <a:cxnSpLocks/>
                <a:stCxn id="436" idx="2"/>
              </p:cNvCxnSpPr>
              <p:nvPr/>
            </p:nvCxnSpPr>
            <p:spPr bwMode="gray">
              <a:xfrm rot="5400000" flipV="1">
                <a:off x="3547812" y="2573186"/>
                <a:ext cx="1" cy="42058"/>
              </a:xfrm>
              <a:prstGeom prst="line">
                <a:avLst/>
              </a:prstGeom>
              <a:noFill/>
              <a:ln w="19050">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80" name="Group 479">
            <a:extLst>
              <a:ext uri="{FF2B5EF4-FFF2-40B4-BE49-F238E27FC236}">
                <a16:creationId xmlns:a16="http://schemas.microsoft.com/office/drawing/2014/main" id="{BB4817A0-8FED-4675-B228-BA3C62DB1403}"/>
              </a:ext>
            </a:extLst>
          </p:cNvPr>
          <p:cNvGrpSpPr>
            <a:grpSpLocks noChangeAspect="1"/>
          </p:cNvGrpSpPr>
          <p:nvPr/>
        </p:nvGrpSpPr>
        <p:grpSpPr bwMode="gray">
          <a:xfrm flipH="1">
            <a:off x="352553" y="4383354"/>
            <a:ext cx="654315" cy="337546"/>
            <a:chOff x="15680978" y="5899089"/>
            <a:chExt cx="1743419" cy="899387"/>
          </a:xfrm>
        </p:grpSpPr>
        <p:sp>
          <p:nvSpPr>
            <p:cNvPr id="487" name="Freeform 67">
              <a:extLst>
                <a:ext uri="{FF2B5EF4-FFF2-40B4-BE49-F238E27FC236}">
                  <a16:creationId xmlns:a16="http://schemas.microsoft.com/office/drawing/2014/main" id="{26FAFDF8-1FE2-412A-A85F-308D4A1B2765}"/>
                </a:ext>
              </a:extLst>
            </p:cNvPr>
            <p:cNvSpPr>
              <a:spLocks/>
            </p:cNvSpPr>
            <p:nvPr/>
          </p:nvSpPr>
          <p:spPr bwMode="gray">
            <a:xfrm>
              <a:off x="15680978" y="6348782"/>
              <a:ext cx="1743419" cy="449694"/>
            </a:xfrm>
            <a:custGeom>
              <a:avLst/>
              <a:gdLst>
                <a:gd name="T0" fmla="*/ 54 w 252"/>
                <a:gd name="T1" fmla="*/ 65 h 65"/>
                <a:gd name="T2" fmla="*/ 0 w 252"/>
                <a:gd name="T3" fmla="*/ 0 h 65"/>
                <a:gd name="T4" fmla="*/ 252 w 252"/>
                <a:gd name="T5" fmla="*/ 0 h 65"/>
                <a:gd name="T6" fmla="*/ 234 w 252"/>
                <a:gd name="T7" fmla="*/ 65 h 65"/>
                <a:gd name="T8" fmla="*/ 54 w 252"/>
                <a:gd name="T9" fmla="*/ 65 h 65"/>
              </a:gdLst>
              <a:ahLst/>
              <a:cxnLst>
                <a:cxn ang="0">
                  <a:pos x="T0" y="T1"/>
                </a:cxn>
                <a:cxn ang="0">
                  <a:pos x="T2" y="T3"/>
                </a:cxn>
                <a:cxn ang="0">
                  <a:pos x="T4" y="T5"/>
                </a:cxn>
                <a:cxn ang="0">
                  <a:pos x="T6" y="T7"/>
                </a:cxn>
                <a:cxn ang="0">
                  <a:pos x="T8" y="T9"/>
                </a:cxn>
              </a:cxnLst>
              <a:rect l="0" t="0" r="r" b="b"/>
              <a:pathLst>
                <a:path w="252" h="65">
                  <a:moveTo>
                    <a:pt x="54" y="65"/>
                  </a:moveTo>
                  <a:lnTo>
                    <a:pt x="0" y="0"/>
                  </a:lnTo>
                  <a:lnTo>
                    <a:pt x="252" y="0"/>
                  </a:lnTo>
                  <a:lnTo>
                    <a:pt x="234" y="65"/>
                  </a:lnTo>
                  <a:lnTo>
                    <a:pt x="54" y="65"/>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88" name="Freeform: Shape 487">
              <a:extLst>
                <a:ext uri="{FF2B5EF4-FFF2-40B4-BE49-F238E27FC236}">
                  <a16:creationId xmlns:a16="http://schemas.microsoft.com/office/drawing/2014/main" id="{7509B793-974F-42BA-9CE9-F09FA2F801C5}"/>
                </a:ext>
              </a:extLst>
            </p:cNvPr>
            <p:cNvSpPr>
              <a:spLocks/>
            </p:cNvSpPr>
            <p:nvPr/>
          </p:nvSpPr>
          <p:spPr bwMode="gray">
            <a:xfrm>
              <a:off x="16627941" y="6182742"/>
              <a:ext cx="345577" cy="166040"/>
            </a:xfrm>
            <a:custGeom>
              <a:avLst/>
              <a:gdLst>
                <a:gd name="connsiteX0" fmla="*/ 172789 w 345577"/>
                <a:gd name="connsiteY0" fmla="*/ 0 h 166040"/>
                <a:gd name="connsiteX1" fmla="*/ 333875 w 345577"/>
                <a:gd name="connsiteY1" fmla="*/ 107615 h 166040"/>
                <a:gd name="connsiteX2" fmla="*/ 345577 w 345577"/>
                <a:gd name="connsiteY2" fmla="*/ 166040 h 166040"/>
                <a:gd name="connsiteX3" fmla="*/ 0 w 345577"/>
                <a:gd name="connsiteY3" fmla="*/ 166040 h 166040"/>
                <a:gd name="connsiteX4" fmla="*/ 11703 w 345577"/>
                <a:gd name="connsiteY4" fmla="*/ 107615 h 166040"/>
                <a:gd name="connsiteX5" fmla="*/ 172789 w 345577"/>
                <a:gd name="connsiteY5" fmla="*/ 0 h 16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577" h="166040">
                  <a:moveTo>
                    <a:pt x="172789" y="0"/>
                  </a:moveTo>
                  <a:cubicBezTo>
                    <a:pt x="245205" y="0"/>
                    <a:pt x="307335" y="44374"/>
                    <a:pt x="333875" y="107615"/>
                  </a:cubicBezTo>
                  <a:lnTo>
                    <a:pt x="345577" y="166040"/>
                  </a:lnTo>
                  <a:lnTo>
                    <a:pt x="0" y="166040"/>
                  </a:lnTo>
                  <a:lnTo>
                    <a:pt x="11703" y="107615"/>
                  </a:lnTo>
                  <a:cubicBezTo>
                    <a:pt x="38243" y="44374"/>
                    <a:pt x="100374" y="0"/>
                    <a:pt x="172789" y="0"/>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e-DE"/>
            </a:p>
          </p:txBody>
        </p:sp>
        <p:sp>
          <p:nvSpPr>
            <p:cNvPr id="489" name="Line 74">
              <a:extLst>
                <a:ext uri="{FF2B5EF4-FFF2-40B4-BE49-F238E27FC236}">
                  <a16:creationId xmlns:a16="http://schemas.microsoft.com/office/drawing/2014/main" id="{831F7F8C-8847-4AC7-9CDB-33FFF916B9C0}"/>
                </a:ext>
              </a:extLst>
            </p:cNvPr>
            <p:cNvSpPr>
              <a:spLocks noChangeShapeType="1"/>
            </p:cNvSpPr>
            <p:nvPr/>
          </p:nvSpPr>
          <p:spPr bwMode="gray">
            <a:xfrm>
              <a:off x="16511178" y="5899089"/>
              <a:ext cx="0"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90" name="Freeform 75">
              <a:extLst>
                <a:ext uri="{FF2B5EF4-FFF2-40B4-BE49-F238E27FC236}">
                  <a16:creationId xmlns:a16="http://schemas.microsoft.com/office/drawing/2014/main" id="{E4B37753-C1B4-4940-B96F-55E3727B6231}"/>
                </a:ext>
              </a:extLst>
            </p:cNvPr>
            <p:cNvSpPr>
              <a:spLocks/>
            </p:cNvSpPr>
            <p:nvPr/>
          </p:nvSpPr>
          <p:spPr bwMode="gray">
            <a:xfrm>
              <a:off x="17037309" y="6106639"/>
              <a:ext cx="345578" cy="242144"/>
            </a:xfrm>
            <a:custGeom>
              <a:avLst/>
              <a:gdLst>
                <a:gd name="T0" fmla="*/ 0 w 54"/>
                <a:gd name="T1" fmla="*/ 35 h 35"/>
                <a:gd name="T2" fmla="*/ 0 w 54"/>
                <a:gd name="T3" fmla="*/ 0 h 35"/>
                <a:gd name="T4" fmla="*/ 54 w 54"/>
                <a:gd name="T5" fmla="*/ 0 h 35"/>
                <a:gd name="T6" fmla="*/ 54 w 54"/>
                <a:gd name="T7" fmla="*/ 35 h 35"/>
              </a:gdLst>
              <a:ahLst/>
              <a:cxnLst>
                <a:cxn ang="0">
                  <a:pos x="T0" y="T1"/>
                </a:cxn>
                <a:cxn ang="0">
                  <a:pos x="T2" y="T3"/>
                </a:cxn>
                <a:cxn ang="0">
                  <a:pos x="T4" y="T5"/>
                </a:cxn>
                <a:cxn ang="0">
                  <a:pos x="T6" y="T7"/>
                </a:cxn>
              </a:cxnLst>
              <a:rect l="0" t="0" r="r" b="b"/>
              <a:pathLst>
                <a:path w="54" h="35">
                  <a:moveTo>
                    <a:pt x="0" y="35"/>
                  </a:moveTo>
                  <a:lnTo>
                    <a:pt x="0" y="0"/>
                  </a:lnTo>
                  <a:lnTo>
                    <a:pt x="54" y="0"/>
                  </a:lnTo>
                  <a:lnTo>
                    <a:pt x="54" y="35"/>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91" name="Line 76">
              <a:extLst>
                <a:ext uri="{FF2B5EF4-FFF2-40B4-BE49-F238E27FC236}">
                  <a16:creationId xmlns:a16="http://schemas.microsoft.com/office/drawing/2014/main" id="{1BD0D988-80D1-4683-B4AF-6273A25CE832}"/>
                </a:ext>
              </a:extLst>
            </p:cNvPr>
            <p:cNvSpPr>
              <a:spLocks noChangeShapeType="1"/>
            </p:cNvSpPr>
            <p:nvPr/>
          </p:nvSpPr>
          <p:spPr bwMode="gray">
            <a:xfrm>
              <a:off x="16884767" y="6348782"/>
              <a:ext cx="0"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92" name="Line 77">
              <a:extLst>
                <a:ext uri="{FF2B5EF4-FFF2-40B4-BE49-F238E27FC236}">
                  <a16:creationId xmlns:a16="http://schemas.microsoft.com/office/drawing/2014/main" id="{6285EF67-E9F3-4A41-9D84-A7243660708D}"/>
                </a:ext>
              </a:extLst>
            </p:cNvPr>
            <p:cNvSpPr>
              <a:spLocks noChangeShapeType="1"/>
            </p:cNvSpPr>
            <p:nvPr/>
          </p:nvSpPr>
          <p:spPr bwMode="gray">
            <a:xfrm>
              <a:off x="15805508" y="6514822"/>
              <a:ext cx="1577379"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93" name="Freeform: Shape 492">
              <a:extLst>
                <a:ext uri="{FF2B5EF4-FFF2-40B4-BE49-F238E27FC236}">
                  <a16:creationId xmlns:a16="http://schemas.microsoft.com/office/drawing/2014/main" id="{0C4907B0-E52E-46F6-B27D-B89EF61D1219}"/>
                </a:ext>
              </a:extLst>
            </p:cNvPr>
            <p:cNvSpPr>
              <a:spLocks/>
            </p:cNvSpPr>
            <p:nvPr/>
          </p:nvSpPr>
          <p:spPr bwMode="gray">
            <a:xfrm flipV="1">
              <a:off x="17004377" y="5982109"/>
              <a:ext cx="217276" cy="124530"/>
            </a:xfrm>
            <a:custGeom>
              <a:avLst/>
              <a:gdLst>
                <a:gd name="connsiteX0" fmla="*/ 0 w 217276"/>
                <a:gd name="connsiteY0" fmla="*/ 124530 h 124530"/>
                <a:gd name="connsiteX1" fmla="*/ 217276 w 217276"/>
                <a:gd name="connsiteY1" fmla="*/ 124530 h 124530"/>
                <a:gd name="connsiteX2" fmla="*/ 217276 w 217276"/>
                <a:gd name="connsiteY2" fmla="*/ 0 h 124530"/>
                <a:gd name="connsiteX3" fmla="*/ 31134 w 217276"/>
                <a:gd name="connsiteY3" fmla="*/ 0 h 124530"/>
              </a:gdLst>
              <a:ahLst/>
              <a:cxnLst>
                <a:cxn ang="0">
                  <a:pos x="connsiteX0" y="connsiteY0"/>
                </a:cxn>
                <a:cxn ang="0">
                  <a:pos x="connsiteX1" y="connsiteY1"/>
                </a:cxn>
                <a:cxn ang="0">
                  <a:pos x="connsiteX2" y="connsiteY2"/>
                </a:cxn>
                <a:cxn ang="0">
                  <a:pos x="connsiteX3" y="connsiteY3"/>
                </a:cxn>
              </a:cxnLst>
              <a:rect l="l" t="t" r="r" b="b"/>
              <a:pathLst>
                <a:path w="217276" h="124530">
                  <a:moveTo>
                    <a:pt x="0" y="124530"/>
                  </a:moveTo>
                  <a:lnTo>
                    <a:pt x="217276" y="124530"/>
                  </a:lnTo>
                  <a:lnTo>
                    <a:pt x="217276" y="0"/>
                  </a:lnTo>
                  <a:lnTo>
                    <a:pt x="31134" y="0"/>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e-DE"/>
            </a:p>
          </p:txBody>
        </p:sp>
        <p:sp>
          <p:nvSpPr>
            <p:cNvPr id="494" name="Freeform: Shape 493">
              <a:extLst>
                <a:ext uri="{FF2B5EF4-FFF2-40B4-BE49-F238E27FC236}">
                  <a16:creationId xmlns:a16="http://schemas.microsoft.com/office/drawing/2014/main" id="{8B15A278-0492-485B-87FB-011386DF539C}"/>
                </a:ext>
              </a:extLst>
            </p:cNvPr>
            <p:cNvSpPr>
              <a:spLocks/>
            </p:cNvSpPr>
            <p:nvPr/>
          </p:nvSpPr>
          <p:spPr bwMode="gray">
            <a:xfrm>
              <a:off x="17252711" y="5928361"/>
              <a:ext cx="130176" cy="176442"/>
            </a:xfrm>
            <a:custGeom>
              <a:avLst/>
              <a:gdLst>
                <a:gd name="connsiteX0" fmla="*/ 44112 w 130176"/>
                <a:gd name="connsiteY0" fmla="*/ 0 h 176442"/>
                <a:gd name="connsiteX1" fmla="*/ 130176 w 130176"/>
                <a:gd name="connsiteY1" fmla="*/ 0 h 176442"/>
                <a:gd name="connsiteX2" fmla="*/ 130176 w 130176"/>
                <a:gd name="connsiteY2" fmla="*/ 176442 h 176442"/>
                <a:gd name="connsiteX3" fmla="*/ 0 w 130176"/>
                <a:gd name="connsiteY3" fmla="*/ 176442 h 176442"/>
              </a:gdLst>
              <a:ahLst/>
              <a:cxnLst>
                <a:cxn ang="0">
                  <a:pos x="connsiteX0" y="connsiteY0"/>
                </a:cxn>
                <a:cxn ang="0">
                  <a:pos x="connsiteX1" y="connsiteY1"/>
                </a:cxn>
                <a:cxn ang="0">
                  <a:pos x="connsiteX2" y="connsiteY2"/>
                </a:cxn>
                <a:cxn ang="0">
                  <a:pos x="connsiteX3" y="connsiteY3"/>
                </a:cxn>
              </a:cxnLst>
              <a:rect l="l" t="t" r="r" b="b"/>
              <a:pathLst>
                <a:path w="130176" h="176442">
                  <a:moveTo>
                    <a:pt x="44112" y="0"/>
                  </a:moveTo>
                  <a:lnTo>
                    <a:pt x="130176" y="0"/>
                  </a:lnTo>
                  <a:lnTo>
                    <a:pt x="130176" y="176442"/>
                  </a:lnTo>
                  <a:lnTo>
                    <a:pt x="0" y="176442"/>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e-DE"/>
            </a:p>
          </p:txBody>
        </p:sp>
        <p:sp>
          <p:nvSpPr>
            <p:cNvPr id="495" name="Freeform: Shape 494">
              <a:extLst>
                <a:ext uri="{FF2B5EF4-FFF2-40B4-BE49-F238E27FC236}">
                  <a16:creationId xmlns:a16="http://schemas.microsoft.com/office/drawing/2014/main" id="{1DF75ED0-2041-4A5E-A6A0-E6AFD8E1ACED}"/>
                </a:ext>
              </a:extLst>
            </p:cNvPr>
            <p:cNvSpPr>
              <a:spLocks/>
            </p:cNvSpPr>
            <p:nvPr/>
          </p:nvSpPr>
          <p:spPr bwMode="gray">
            <a:xfrm>
              <a:off x="15891341" y="6182742"/>
              <a:ext cx="345578" cy="166040"/>
            </a:xfrm>
            <a:custGeom>
              <a:avLst/>
              <a:gdLst>
                <a:gd name="connsiteX0" fmla="*/ 172789 w 345578"/>
                <a:gd name="connsiteY0" fmla="*/ 0 h 166040"/>
                <a:gd name="connsiteX1" fmla="*/ 333875 w 345578"/>
                <a:gd name="connsiteY1" fmla="*/ 107615 h 166040"/>
                <a:gd name="connsiteX2" fmla="*/ 345578 w 345578"/>
                <a:gd name="connsiteY2" fmla="*/ 166040 h 166040"/>
                <a:gd name="connsiteX3" fmla="*/ 0 w 345578"/>
                <a:gd name="connsiteY3" fmla="*/ 166040 h 166040"/>
                <a:gd name="connsiteX4" fmla="*/ 11704 w 345578"/>
                <a:gd name="connsiteY4" fmla="*/ 107615 h 166040"/>
                <a:gd name="connsiteX5" fmla="*/ 172789 w 345578"/>
                <a:gd name="connsiteY5" fmla="*/ 0 h 16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578" h="166040">
                  <a:moveTo>
                    <a:pt x="172789" y="0"/>
                  </a:moveTo>
                  <a:cubicBezTo>
                    <a:pt x="245204" y="0"/>
                    <a:pt x="307335" y="44374"/>
                    <a:pt x="333875" y="107615"/>
                  </a:cubicBezTo>
                  <a:lnTo>
                    <a:pt x="345578" y="166040"/>
                  </a:lnTo>
                  <a:lnTo>
                    <a:pt x="0" y="166040"/>
                  </a:lnTo>
                  <a:lnTo>
                    <a:pt x="11704" y="107615"/>
                  </a:lnTo>
                  <a:cubicBezTo>
                    <a:pt x="38243" y="44374"/>
                    <a:pt x="100374" y="0"/>
                    <a:pt x="172789" y="0"/>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e-DE"/>
            </a:p>
          </p:txBody>
        </p:sp>
        <p:sp>
          <p:nvSpPr>
            <p:cNvPr id="496" name="Freeform: Shape 495">
              <a:extLst>
                <a:ext uri="{FF2B5EF4-FFF2-40B4-BE49-F238E27FC236}">
                  <a16:creationId xmlns:a16="http://schemas.microsoft.com/office/drawing/2014/main" id="{212F3009-09D8-40D1-B79B-9C757A932C31}"/>
                </a:ext>
              </a:extLst>
            </p:cNvPr>
            <p:cNvSpPr>
              <a:spLocks/>
            </p:cNvSpPr>
            <p:nvPr/>
          </p:nvSpPr>
          <p:spPr bwMode="gray">
            <a:xfrm>
              <a:off x="16259641" y="6182742"/>
              <a:ext cx="345578" cy="166040"/>
            </a:xfrm>
            <a:custGeom>
              <a:avLst/>
              <a:gdLst>
                <a:gd name="connsiteX0" fmla="*/ 172789 w 345578"/>
                <a:gd name="connsiteY0" fmla="*/ 0 h 166040"/>
                <a:gd name="connsiteX1" fmla="*/ 333875 w 345578"/>
                <a:gd name="connsiteY1" fmla="*/ 107615 h 166040"/>
                <a:gd name="connsiteX2" fmla="*/ 345578 w 345578"/>
                <a:gd name="connsiteY2" fmla="*/ 166040 h 166040"/>
                <a:gd name="connsiteX3" fmla="*/ 0 w 345578"/>
                <a:gd name="connsiteY3" fmla="*/ 166040 h 166040"/>
                <a:gd name="connsiteX4" fmla="*/ 11704 w 345578"/>
                <a:gd name="connsiteY4" fmla="*/ 107615 h 166040"/>
                <a:gd name="connsiteX5" fmla="*/ 172789 w 345578"/>
                <a:gd name="connsiteY5" fmla="*/ 0 h 16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578" h="166040">
                  <a:moveTo>
                    <a:pt x="172789" y="0"/>
                  </a:moveTo>
                  <a:cubicBezTo>
                    <a:pt x="245204" y="0"/>
                    <a:pt x="307335" y="44374"/>
                    <a:pt x="333875" y="107615"/>
                  </a:cubicBezTo>
                  <a:lnTo>
                    <a:pt x="345578" y="166040"/>
                  </a:lnTo>
                  <a:lnTo>
                    <a:pt x="0" y="166040"/>
                  </a:lnTo>
                  <a:lnTo>
                    <a:pt x="11704" y="107615"/>
                  </a:lnTo>
                  <a:cubicBezTo>
                    <a:pt x="38243" y="44374"/>
                    <a:pt x="100374" y="0"/>
                    <a:pt x="172789" y="0"/>
                  </a:cubicBez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e-DE"/>
            </a:p>
          </p:txBody>
        </p:sp>
      </p:grpSp>
      <p:grpSp>
        <p:nvGrpSpPr>
          <p:cNvPr id="507" name="Group 506">
            <a:extLst>
              <a:ext uri="{FF2B5EF4-FFF2-40B4-BE49-F238E27FC236}">
                <a16:creationId xmlns:a16="http://schemas.microsoft.com/office/drawing/2014/main" id="{4912FC09-92A5-4188-A8F2-EAB718F987B4}"/>
              </a:ext>
            </a:extLst>
          </p:cNvPr>
          <p:cNvGrpSpPr/>
          <p:nvPr/>
        </p:nvGrpSpPr>
        <p:grpSpPr bwMode="gray">
          <a:xfrm>
            <a:off x="7500985" y="4239697"/>
            <a:ext cx="644278" cy="481203"/>
            <a:chOff x="11062364" y="4858591"/>
            <a:chExt cx="1088518" cy="698534"/>
          </a:xfrm>
        </p:grpSpPr>
        <p:grpSp>
          <p:nvGrpSpPr>
            <p:cNvPr id="508" name="Group 507">
              <a:extLst>
                <a:ext uri="{FF2B5EF4-FFF2-40B4-BE49-F238E27FC236}">
                  <a16:creationId xmlns:a16="http://schemas.microsoft.com/office/drawing/2014/main" id="{4B974919-F185-489B-B351-193BDCF3C5AE}"/>
                </a:ext>
              </a:extLst>
            </p:cNvPr>
            <p:cNvGrpSpPr/>
            <p:nvPr/>
          </p:nvGrpSpPr>
          <p:grpSpPr bwMode="gray">
            <a:xfrm>
              <a:off x="11062364" y="4858591"/>
              <a:ext cx="247650" cy="698534"/>
              <a:chOff x="11050905" y="4858591"/>
              <a:chExt cx="247650" cy="698534"/>
            </a:xfrm>
          </p:grpSpPr>
          <p:sp>
            <p:nvSpPr>
              <p:cNvPr id="523" name="Rectangle: Rounded Corners 1043">
                <a:extLst>
                  <a:ext uri="{FF2B5EF4-FFF2-40B4-BE49-F238E27FC236}">
                    <a16:creationId xmlns:a16="http://schemas.microsoft.com/office/drawing/2014/main" id="{45AF5561-76C3-4F82-8C26-4A8F70D8BBFD}"/>
                  </a:ext>
                </a:extLst>
              </p:cNvPr>
              <p:cNvSpPr/>
              <p:nvPr/>
            </p:nvSpPr>
            <p:spPr bwMode="gray">
              <a:xfrm>
                <a:off x="11072536" y="4858591"/>
                <a:ext cx="204388" cy="652815"/>
              </a:xfrm>
              <a:custGeom>
                <a:avLst/>
                <a:gdLst>
                  <a:gd name="connsiteX0" fmla="*/ 0 w 204388"/>
                  <a:gd name="connsiteY0" fmla="*/ 31525 h 698535"/>
                  <a:gd name="connsiteX1" fmla="*/ 31525 w 204388"/>
                  <a:gd name="connsiteY1" fmla="*/ 0 h 698535"/>
                  <a:gd name="connsiteX2" fmla="*/ 172863 w 204388"/>
                  <a:gd name="connsiteY2" fmla="*/ 0 h 698535"/>
                  <a:gd name="connsiteX3" fmla="*/ 204388 w 204388"/>
                  <a:gd name="connsiteY3" fmla="*/ 31525 h 698535"/>
                  <a:gd name="connsiteX4" fmla="*/ 204388 w 204388"/>
                  <a:gd name="connsiteY4" fmla="*/ 667010 h 698535"/>
                  <a:gd name="connsiteX5" fmla="*/ 172863 w 204388"/>
                  <a:gd name="connsiteY5" fmla="*/ 698535 h 698535"/>
                  <a:gd name="connsiteX6" fmla="*/ 31525 w 204388"/>
                  <a:gd name="connsiteY6" fmla="*/ 698535 h 698535"/>
                  <a:gd name="connsiteX7" fmla="*/ 0 w 204388"/>
                  <a:gd name="connsiteY7" fmla="*/ 667010 h 698535"/>
                  <a:gd name="connsiteX8" fmla="*/ 0 w 204388"/>
                  <a:gd name="connsiteY8" fmla="*/ 31525 h 698535"/>
                  <a:gd name="connsiteX0" fmla="*/ 0 w 204388"/>
                  <a:gd name="connsiteY0" fmla="*/ 31525 h 726160"/>
                  <a:gd name="connsiteX1" fmla="*/ 31525 w 204388"/>
                  <a:gd name="connsiteY1" fmla="*/ 0 h 726160"/>
                  <a:gd name="connsiteX2" fmla="*/ 172863 w 204388"/>
                  <a:gd name="connsiteY2" fmla="*/ 0 h 726160"/>
                  <a:gd name="connsiteX3" fmla="*/ 204388 w 204388"/>
                  <a:gd name="connsiteY3" fmla="*/ 31525 h 726160"/>
                  <a:gd name="connsiteX4" fmla="*/ 204388 w 204388"/>
                  <a:gd name="connsiteY4" fmla="*/ 667010 h 726160"/>
                  <a:gd name="connsiteX5" fmla="*/ 31525 w 204388"/>
                  <a:gd name="connsiteY5" fmla="*/ 698535 h 726160"/>
                  <a:gd name="connsiteX6" fmla="*/ 0 w 204388"/>
                  <a:gd name="connsiteY6" fmla="*/ 667010 h 726160"/>
                  <a:gd name="connsiteX7" fmla="*/ 0 w 204388"/>
                  <a:gd name="connsiteY7" fmla="*/ 31525 h 726160"/>
                  <a:gd name="connsiteX0" fmla="*/ 0 w 204388"/>
                  <a:gd name="connsiteY0" fmla="*/ 31525 h 746445"/>
                  <a:gd name="connsiteX1" fmla="*/ 31525 w 204388"/>
                  <a:gd name="connsiteY1" fmla="*/ 0 h 746445"/>
                  <a:gd name="connsiteX2" fmla="*/ 172863 w 204388"/>
                  <a:gd name="connsiteY2" fmla="*/ 0 h 746445"/>
                  <a:gd name="connsiteX3" fmla="*/ 204388 w 204388"/>
                  <a:gd name="connsiteY3" fmla="*/ 31525 h 746445"/>
                  <a:gd name="connsiteX4" fmla="*/ 204388 w 204388"/>
                  <a:gd name="connsiteY4" fmla="*/ 667010 h 746445"/>
                  <a:gd name="connsiteX5" fmla="*/ 0 w 204388"/>
                  <a:gd name="connsiteY5" fmla="*/ 667010 h 746445"/>
                  <a:gd name="connsiteX6" fmla="*/ 0 w 204388"/>
                  <a:gd name="connsiteY6" fmla="*/ 31525 h 746445"/>
                  <a:gd name="connsiteX0" fmla="*/ 0 w 204388"/>
                  <a:gd name="connsiteY0" fmla="*/ 31525 h 714082"/>
                  <a:gd name="connsiteX1" fmla="*/ 31525 w 204388"/>
                  <a:gd name="connsiteY1" fmla="*/ 0 h 714082"/>
                  <a:gd name="connsiteX2" fmla="*/ 172863 w 204388"/>
                  <a:gd name="connsiteY2" fmla="*/ 0 h 714082"/>
                  <a:gd name="connsiteX3" fmla="*/ 204388 w 204388"/>
                  <a:gd name="connsiteY3" fmla="*/ 31525 h 714082"/>
                  <a:gd name="connsiteX4" fmla="*/ 204388 w 204388"/>
                  <a:gd name="connsiteY4" fmla="*/ 667010 h 714082"/>
                  <a:gd name="connsiteX5" fmla="*/ 0 w 204388"/>
                  <a:gd name="connsiteY5" fmla="*/ 667010 h 714082"/>
                  <a:gd name="connsiteX6" fmla="*/ 0 w 204388"/>
                  <a:gd name="connsiteY6" fmla="*/ 31525 h 714082"/>
                  <a:gd name="connsiteX0" fmla="*/ 0 w 204388"/>
                  <a:gd name="connsiteY0" fmla="*/ 31525 h 667010"/>
                  <a:gd name="connsiteX1" fmla="*/ 31525 w 204388"/>
                  <a:gd name="connsiteY1" fmla="*/ 0 h 667010"/>
                  <a:gd name="connsiteX2" fmla="*/ 172863 w 204388"/>
                  <a:gd name="connsiteY2" fmla="*/ 0 h 667010"/>
                  <a:gd name="connsiteX3" fmla="*/ 204388 w 204388"/>
                  <a:gd name="connsiteY3" fmla="*/ 31525 h 667010"/>
                  <a:gd name="connsiteX4" fmla="*/ 204388 w 204388"/>
                  <a:gd name="connsiteY4" fmla="*/ 667010 h 667010"/>
                  <a:gd name="connsiteX5" fmla="*/ 0 w 204388"/>
                  <a:gd name="connsiteY5" fmla="*/ 667010 h 667010"/>
                  <a:gd name="connsiteX6" fmla="*/ 0 w 204388"/>
                  <a:gd name="connsiteY6" fmla="*/ 31525 h 66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388" h="667010">
                    <a:moveTo>
                      <a:pt x="0" y="31525"/>
                    </a:moveTo>
                    <a:cubicBezTo>
                      <a:pt x="0" y="14114"/>
                      <a:pt x="14114" y="0"/>
                      <a:pt x="31525" y="0"/>
                    </a:cubicBezTo>
                    <a:lnTo>
                      <a:pt x="172863" y="0"/>
                    </a:lnTo>
                    <a:cubicBezTo>
                      <a:pt x="190274" y="0"/>
                      <a:pt x="204388" y="14114"/>
                      <a:pt x="204388" y="31525"/>
                    </a:cubicBezTo>
                    <a:lnTo>
                      <a:pt x="204388" y="667010"/>
                    </a:lnTo>
                    <a:lnTo>
                      <a:pt x="0" y="667010"/>
                    </a:lnTo>
                    <a:lnTo>
                      <a:pt x="0" y="31525"/>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24" name="Straight Connector 523">
                <a:extLst>
                  <a:ext uri="{FF2B5EF4-FFF2-40B4-BE49-F238E27FC236}">
                    <a16:creationId xmlns:a16="http://schemas.microsoft.com/office/drawing/2014/main" id="{A6384DBA-B344-4276-944F-3A526C1C9E94}"/>
                  </a:ext>
                </a:extLst>
              </p:cNvPr>
              <p:cNvCxnSpPr>
                <a:cxnSpLocks/>
              </p:cNvCxnSpPr>
              <p:nvPr/>
            </p:nvCxnSpPr>
            <p:spPr bwMode="gray">
              <a:xfrm>
                <a:off x="11072536" y="4893951"/>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525" name="Straight Connector 524">
                <a:extLst>
                  <a:ext uri="{FF2B5EF4-FFF2-40B4-BE49-F238E27FC236}">
                    <a16:creationId xmlns:a16="http://schemas.microsoft.com/office/drawing/2014/main" id="{2A164E5F-55B9-4014-A1F6-B8BC1104CDBC}"/>
                  </a:ext>
                </a:extLst>
              </p:cNvPr>
              <p:cNvCxnSpPr>
                <a:cxnSpLocks/>
              </p:cNvCxnSpPr>
              <p:nvPr/>
            </p:nvCxnSpPr>
            <p:spPr bwMode="gray">
              <a:xfrm>
                <a:off x="11072536" y="5003171"/>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526" name="Straight Connector 525">
                <a:extLst>
                  <a:ext uri="{FF2B5EF4-FFF2-40B4-BE49-F238E27FC236}">
                    <a16:creationId xmlns:a16="http://schemas.microsoft.com/office/drawing/2014/main" id="{6EAFD77E-8AC6-4F28-B13E-365EEEABB31D}"/>
                  </a:ext>
                </a:extLst>
              </p:cNvPr>
              <p:cNvCxnSpPr>
                <a:cxnSpLocks/>
              </p:cNvCxnSpPr>
              <p:nvPr/>
            </p:nvCxnSpPr>
            <p:spPr bwMode="gray">
              <a:xfrm>
                <a:off x="11072536" y="5130230"/>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527" name="Straight Connector 526">
                <a:extLst>
                  <a:ext uri="{FF2B5EF4-FFF2-40B4-BE49-F238E27FC236}">
                    <a16:creationId xmlns:a16="http://schemas.microsoft.com/office/drawing/2014/main" id="{E04D2D6C-1FD7-4DF8-8CD8-9E4641C608F2}"/>
                  </a:ext>
                </a:extLst>
              </p:cNvPr>
              <p:cNvCxnSpPr>
                <a:cxnSpLocks/>
              </p:cNvCxnSpPr>
              <p:nvPr/>
            </p:nvCxnSpPr>
            <p:spPr bwMode="gray">
              <a:xfrm>
                <a:off x="11072536" y="5257289"/>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528" name="Straight Connector 527">
                <a:extLst>
                  <a:ext uri="{FF2B5EF4-FFF2-40B4-BE49-F238E27FC236}">
                    <a16:creationId xmlns:a16="http://schemas.microsoft.com/office/drawing/2014/main" id="{A59587B3-B5D7-4C8D-A731-5187A7A4DD44}"/>
                  </a:ext>
                </a:extLst>
              </p:cNvPr>
              <p:cNvCxnSpPr>
                <a:cxnSpLocks/>
              </p:cNvCxnSpPr>
              <p:nvPr/>
            </p:nvCxnSpPr>
            <p:spPr bwMode="gray">
              <a:xfrm>
                <a:off x="11072536" y="5384348"/>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529" name="Rectangle 528">
                <a:extLst>
                  <a:ext uri="{FF2B5EF4-FFF2-40B4-BE49-F238E27FC236}">
                    <a16:creationId xmlns:a16="http://schemas.microsoft.com/office/drawing/2014/main" id="{1930EAFD-CB60-4C71-89ED-073AE0DD85C8}"/>
                  </a:ext>
                </a:extLst>
              </p:cNvPr>
              <p:cNvSpPr/>
              <p:nvPr/>
            </p:nvSpPr>
            <p:spPr bwMode="gray">
              <a:xfrm>
                <a:off x="11050905" y="5511406"/>
                <a:ext cx="247650" cy="45719"/>
              </a:xfrm>
              <a:prstGeom prst="rect">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509" name="Group 508">
              <a:extLst>
                <a:ext uri="{FF2B5EF4-FFF2-40B4-BE49-F238E27FC236}">
                  <a16:creationId xmlns:a16="http://schemas.microsoft.com/office/drawing/2014/main" id="{ACFF1D81-9F06-4DC8-B14C-1D0A6E1FE226}"/>
                </a:ext>
              </a:extLst>
            </p:cNvPr>
            <p:cNvGrpSpPr/>
            <p:nvPr/>
          </p:nvGrpSpPr>
          <p:grpSpPr bwMode="gray">
            <a:xfrm>
              <a:off x="11342110" y="5224577"/>
              <a:ext cx="247650" cy="332548"/>
              <a:chOff x="11336655" y="5224577"/>
              <a:chExt cx="247650" cy="332548"/>
            </a:xfrm>
          </p:grpSpPr>
          <p:sp>
            <p:nvSpPr>
              <p:cNvPr id="518" name="Freeform: Shape 517">
                <a:extLst>
                  <a:ext uri="{FF2B5EF4-FFF2-40B4-BE49-F238E27FC236}">
                    <a16:creationId xmlns:a16="http://schemas.microsoft.com/office/drawing/2014/main" id="{A3AFE267-C59D-4564-9EFD-28FCE3F21F49}"/>
                  </a:ext>
                </a:extLst>
              </p:cNvPr>
              <p:cNvSpPr/>
              <p:nvPr/>
            </p:nvSpPr>
            <p:spPr bwMode="gray">
              <a:xfrm>
                <a:off x="11358286" y="5224577"/>
                <a:ext cx="204388" cy="332548"/>
              </a:xfrm>
              <a:custGeom>
                <a:avLst/>
                <a:gdLst>
                  <a:gd name="connsiteX0" fmla="*/ 31525 w 204388"/>
                  <a:gd name="connsiteY0" fmla="*/ 0 h 332548"/>
                  <a:gd name="connsiteX1" fmla="*/ 172863 w 204388"/>
                  <a:gd name="connsiteY1" fmla="*/ 0 h 332548"/>
                  <a:gd name="connsiteX2" fmla="*/ 204388 w 204388"/>
                  <a:gd name="connsiteY2" fmla="*/ 30854 h 332548"/>
                  <a:gd name="connsiteX3" fmla="*/ 204388 w 204388"/>
                  <a:gd name="connsiteY3" fmla="*/ 332548 h 332548"/>
                  <a:gd name="connsiteX4" fmla="*/ 0 w 204388"/>
                  <a:gd name="connsiteY4" fmla="*/ 332548 h 332548"/>
                  <a:gd name="connsiteX5" fmla="*/ 0 w 204388"/>
                  <a:gd name="connsiteY5" fmla="*/ 30854 h 332548"/>
                  <a:gd name="connsiteX6" fmla="*/ 31525 w 204388"/>
                  <a:gd name="connsiteY6" fmla="*/ 0 h 332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388" h="332548">
                    <a:moveTo>
                      <a:pt x="31525" y="0"/>
                    </a:moveTo>
                    <a:lnTo>
                      <a:pt x="172863" y="0"/>
                    </a:lnTo>
                    <a:cubicBezTo>
                      <a:pt x="190274" y="0"/>
                      <a:pt x="204388" y="13814"/>
                      <a:pt x="204388" y="30854"/>
                    </a:cubicBezTo>
                    <a:lnTo>
                      <a:pt x="204388" y="332548"/>
                    </a:lnTo>
                    <a:lnTo>
                      <a:pt x="0" y="332548"/>
                    </a:lnTo>
                    <a:lnTo>
                      <a:pt x="0" y="30854"/>
                    </a:lnTo>
                    <a:cubicBezTo>
                      <a:pt x="0" y="13814"/>
                      <a:pt x="14114" y="0"/>
                      <a:pt x="31525" y="0"/>
                    </a:cubicBez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cxnSp>
            <p:nvCxnSpPr>
              <p:cNvPr id="519" name="Straight Connector 518">
                <a:extLst>
                  <a:ext uri="{FF2B5EF4-FFF2-40B4-BE49-F238E27FC236}">
                    <a16:creationId xmlns:a16="http://schemas.microsoft.com/office/drawing/2014/main" id="{41A3ED2C-23CB-4E67-A6B3-90BF504DC1D3}"/>
                  </a:ext>
                </a:extLst>
              </p:cNvPr>
              <p:cNvCxnSpPr>
                <a:cxnSpLocks/>
              </p:cNvCxnSpPr>
              <p:nvPr/>
            </p:nvCxnSpPr>
            <p:spPr bwMode="gray">
              <a:xfrm>
                <a:off x="11358286" y="5259937"/>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520" name="Straight Connector 519">
                <a:extLst>
                  <a:ext uri="{FF2B5EF4-FFF2-40B4-BE49-F238E27FC236}">
                    <a16:creationId xmlns:a16="http://schemas.microsoft.com/office/drawing/2014/main" id="{4500FA2D-2451-4395-946F-18B03AE05218}"/>
                  </a:ext>
                </a:extLst>
              </p:cNvPr>
              <p:cNvCxnSpPr>
                <a:cxnSpLocks/>
              </p:cNvCxnSpPr>
              <p:nvPr/>
            </p:nvCxnSpPr>
            <p:spPr bwMode="gray">
              <a:xfrm>
                <a:off x="11358286" y="5359000"/>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521" name="Straight Connector 520">
                <a:extLst>
                  <a:ext uri="{FF2B5EF4-FFF2-40B4-BE49-F238E27FC236}">
                    <a16:creationId xmlns:a16="http://schemas.microsoft.com/office/drawing/2014/main" id="{6DFFBB85-D41A-47EA-9DD4-EA53E59EB2B1}"/>
                  </a:ext>
                </a:extLst>
              </p:cNvPr>
              <p:cNvCxnSpPr>
                <a:cxnSpLocks/>
              </p:cNvCxnSpPr>
              <p:nvPr/>
            </p:nvCxnSpPr>
            <p:spPr bwMode="gray">
              <a:xfrm>
                <a:off x="11358286" y="5458063"/>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522" name="Straight Connector 521">
                <a:extLst>
                  <a:ext uri="{FF2B5EF4-FFF2-40B4-BE49-F238E27FC236}">
                    <a16:creationId xmlns:a16="http://schemas.microsoft.com/office/drawing/2014/main" id="{3BD488D5-61BE-425B-A55D-B8F8CADD4503}"/>
                  </a:ext>
                </a:extLst>
              </p:cNvPr>
              <p:cNvCxnSpPr/>
              <p:nvPr/>
            </p:nvCxnSpPr>
            <p:spPr bwMode="gray">
              <a:xfrm>
                <a:off x="11336655" y="5557125"/>
                <a:ext cx="247650"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sp>
          <p:nvSpPr>
            <p:cNvPr id="510" name="Freeform: Shape 509">
              <a:extLst>
                <a:ext uri="{FF2B5EF4-FFF2-40B4-BE49-F238E27FC236}">
                  <a16:creationId xmlns:a16="http://schemas.microsoft.com/office/drawing/2014/main" id="{CA4673C4-5D91-4DF2-8100-6713F54273B9}"/>
                </a:ext>
              </a:extLst>
            </p:cNvPr>
            <p:cNvSpPr/>
            <p:nvPr/>
          </p:nvSpPr>
          <p:spPr bwMode="gray">
            <a:xfrm>
              <a:off x="11627816" y="5387340"/>
              <a:ext cx="490185" cy="140002"/>
            </a:xfrm>
            <a:custGeom>
              <a:avLst/>
              <a:gdLst>
                <a:gd name="connsiteX0" fmla="*/ 35538 w 490185"/>
                <a:gd name="connsiteY0" fmla="*/ 0 h 140002"/>
                <a:gd name="connsiteX1" fmla="*/ 454647 w 490185"/>
                <a:gd name="connsiteY1" fmla="*/ 0 h 140002"/>
                <a:gd name="connsiteX2" fmla="*/ 490185 w 490185"/>
                <a:gd name="connsiteY2" fmla="*/ 35538 h 140002"/>
                <a:gd name="connsiteX3" fmla="*/ 490185 w 490185"/>
                <a:gd name="connsiteY3" fmla="*/ 104464 h 140002"/>
                <a:gd name="connsiteX4" fmla="*/ 454647 w 490185"/>
                <a:gd name="connsiteY4" fmla="*/ 140002 h 140002"/>
                <a:gd name="connsiteX5" fmla="*/ 454642 w 490185"/>
                <a:gd name="connsiteY5" fmla="*/ 140002 h 140002"/>
                <a:gd name="connsiteX6" fmla="*/ 454642 w 490185"/>
                <a:gd name="connsiteY6" fmla="*/ 124066 h 140002"/>
                <a:gd name="connsiteX7" fmla="*/ 408923 w 490185"/>
                <a:gd name="connsiteY7" fmla="*/ 124066 h 140002"/>
                <a:gd name="connsiteX8" fmla="*/ 408923 w 490185"/>
                <a:gd name="connsiteY8" fmla="*/ 140002 h 140002"/>
                <a:gd name="connsiteX9" fmla="*/ 81262 w 490185"/>
                <a:gd name="connsiteY9" fmla="*/ 140002 h 140002"/>
                <a:gd name="connsiteX10" fmla="*/ 81262 w 490185"/>
                <a:gd name="connsiteY10" fmla="*/ 124066 h 140002"/>
                <a:gd name="connsiteX11" fmla="*/ 35543 w 490185"/>
                <a:gd name="connsiteY11" fmla="*/ 124066 h 140002"/>
                <a:gd name="connsiteX12" fmla="*/ 35543 w 490185"/>
                <a:gd name="connsiteY12" fmla="*/ 140002 h 140002"/>
                <a:gd name="connsiteX13" fmla="*/ 35538 w 490185"/>
                <a:gd name="connsiteY13" fmla="*/ 140002 h 140002"/>
                <a:gd name="connsiteX14" fmla="*/ 0 w 490185"/>
                <a:gd name="connsiteY14" fmla="*/ 104464 h 140002"/>
                <a:gd name="connsiteX15" fmla="*/ 0 w 490185"/>
                <a:gd name="connsiteY15" fmla="*/ 35538 h 140002"/>
                <a:gd name="connsiteX16" fmla="*/ 35538 w 490185"/>
                <a:gd name="connsiteY16" fmla="*/ 0 h 14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0185" h="140002">
                  <a:moveTo>
                    <a:pt x="35538" y="0"/>
                  </a:moveTo>
                  <a:lnTo>
                    <a:pt x="454647" y="0"/>
                  </a:lnTo>
                  <a:cubicBezTo>
                    <a:pt x="474274" y="0"/>
                    <a:pt x="490185" y="15911"/>
                    <a:pt x="490185" y="35538"/>
                  </a:cubicBezTo>
                  <a:lnTo>
                    <a:pt x="490185" y="104464"/>
                  </a:lnTo>
                  <a:cubicBezTo>
                    <a:pt x="490185" y="124091"/>
                    <a:pt x="474274" y="140002"/>
                    <a:pt x="454647" y="140002"/>
                  </a:cubicBezTo>
                  <a:lnTo>
                    <a:pt x="454642" y="140002"/>
                  </a:lnTo>
                  <a:lnTo>
                    <a:pt x="454642" y="124066"/>
                  </a:lnTo>
                  <a:lnTo>
                    <a:pt x="408923" y="124066"/>
                  </a:lnTo>
                  <a:lnTo>
                    <a:pt x="408923" y="140002"/>
                  </a:lnTo>
                  <a:lnTo>
                    <a:pt x="81262" y="140002"/>
                  </a:lnTo>
                  <a:lnTo>
                    <a:pt x="81262" y="124066"/>
                  </a:lnTo>
                  <a:lnTo>
                    <a:pt x="35543" y="124066"/>
                  </a:lnTo>
                  <a:lnTo>
                    <a:pt x="35543" y="140002"/>
                  </a:lnTo>
                  <a:lnTo>
                    <a:pt x="35538" y="140002"/>
                  </a:lnTo>
                  <a:cubicBezTo>
                    <a:pt x="15911" y="140002"/>
                    <a:pt x="0" y="124091"/>
                    <a:pt x="0" y="104464"/>
                  </a:cubicBezTo>
                  <a:lnTo>
                    <a:pt x="0" y="35538"/>
                  </a:lnTo>
                  <a:cubicBezTo>
                    <a:pt x="0" y="15911"/>
                    <a:pt x="15911" y="0"/>
                    <a:pt x="35538" y="0"/>
                  </a:cubicBez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511" name="Freeform: Shape 510">
              <a:extLst>
                <a:ext uri="{FF2B5EF4-FFF2-40B4-BE49-F238E27FC236}">
                  <a16:creationId xmlns:a16="http://schemas.microsoft.com/office/drawing/2014/main" id="{7F6BD068-3ED2-4DDD-B4E6-F6F8EC9BC930}"/>
                </a:ext>
              </a:extLst>
            </p:cNvPr>
            <p:cNvSpPr/>
            <p:nvPr/>
          </p:nvSpPr>
          <p:spPr bwMode="gray">
            <a:xfrm>
              <a:off x="12118001" y="5430565"/>
              <a:ext cx="32881" cy="53552"/>
            </a:xfrm>
            <a:custGeom>
              <a:avLst/>
              <a:gdLst>
                <a:gd name="connsiteX0" fmla="*/ 0 w 32881"/>
                <a:gd name="connsiteY0" fmla="*/ 0 h 75232"/>
                <a:gd name="connsiteX1" fmla="*/ 16220 w 32881"/>
                <a:gd name="connsiteY1" fmla="*/ 0 h 75232"/>
                <a:gd name="connsiteX2" fmla="*/ 32881 w 32881"/>
                <a:gd name="connsiteY2" fmla="*/ 16661 h 75232"/>
                <a:gd name="connsiteX3" fmla="*/ 32881 w 32881"/>
                <a:gd name="connsiteY3" fmla="*/ 58571 h 75232"/>
                <a:gd name="connsiteX4" fmla="*/ 16220 w 32881"/>
                <a:gd name="connsiteY4" fmla="*/ 75232 h 75232"/>
                <a:gd name="connsiteX5" fmla="*/ 0 w 32881"/>
                <a:gd name="connsiteY5" fmla="*/ 75232 h 75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81" h="75232">
                  <a:moveTo>
                    <a:pt x="0" y="0"/>
                  </a:moveTo>
                  <a:lnTo>
                    <a:pt x="16220" y="0"/>
                  </a:lnTo>
                  <a:cubicBezTo>
                    <a:pt x="25422" y="0"/>
                    <a:pt x="32881" y="7459"/>
                    <a:pt x="32881" y="16661"/>
                  </a:cubicBezTo>
                  <a:lnTo>
                    <a:pt x="32881" y="58571"/>
                  </a:lnTo>
                  <a:cubicBezTo>
                    <a:pt x="32881" y="67773"/>
                    <a:pt x="25422" y="75232"/>
                    <a:pt x="16220" y="75232"/>
                  </a:cubicBezTo>
                  <a:lnTo>
                    <a:pt x="0" y="75232"/>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512" name="Arc 511">
              <a:extLst>
                <a:ext uri="{FF2B5EF4-FFF2-40B4-BE49-F238E27FC236}">
                  <a16:creationId xmlns:a16="http://schemas.microsoft.com/office/drawing/2014/main" id="{0D05A960-5A1B-4C39-B74C-1E26B44870FE}"/>
                </a:ext>
              </a:extLst>
            </p:cNvPr>
            <p:cNvSpPr/>
            <p:nvPr/>
          </p:nvSpPr>
          <p:spPr bwMode="gray">
            <a:xfrm flipH="1">
              <a:off x="11678526" y="5305312"/>
              <a:ext cx="28935" cy="28934"/>
            </a:xfrm>
            <a:prstGeom prst="arc">
              <a:avLst>
                <a:gd name="adj1" fmla="val 11037066"/>
                <a:gd name="adj2" fmla="val 16279283"/>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a:p>
          </p:txBody>
        </p:sp>
        <p:cxnSp>
          <p:nvCxnSpPr>
            <p:cNvPr id="513" name="Straight Connector 512">
              <a:extLst>
                <a:ext uri="{FF2B5EF4-FFF2-40B4-BE49-F238E27FC236}">
                  <a16:creationId xmlns:a16="http://schemas.microsoft.com/office/drawing/2014/main" id="{2ED2D69C-BE2C-4AC0-B1FE-0134A929AF3E}"/>
                </a:ext>
              </a:extLst>
            </p:cNvPr>
            <p:cNvCxnSpPr>
              <a:cxnSpLocks/>
            </p:cNvCxnSpPr>
            <p:nvPr/>
          </p:nvCxnSpPr>
          <p:spPr bwMode="gray">
            <a:xfrm>
              <a:off x="11707470" y="5318668"/>
              <a:ext cx="0" cy="6568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14" name="Straight Connector 513">
              <a:extLst>
                <a:ext uri="{FF2B5EF4-FFF2-40B4-BE49-F238E27FC236}">
                  <a16:creationId xmlns:a16="http://schemas.microsoft.com/office/drawing/2014/main" id="{85EA2BCF-0104-4A07-92EF-1626FB463652}"/>
                </a:ext>
              </a:extLst>
            </p:cNvPr>
            <p:cNvCxnSpPr>
              <a:cxnSpLocks/>
            </p:cNvCxnSpPr>
            <p:nvPr/>
          </p:nvCxnSpPr>
          <p:spPr bwMode="gray">
            <a:xfrm flipH="1">
              <a:off x="11569788" y="5305312"/>
              <a:ext cx="12337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515" name="Group 514">
              <a:extLst>
                <a:ext uri="{FF2B5EF4-FFF2-40B4-BE49-F238E27FC236}">
                  <a16:creationId xmlns:a16="http://schemas.microsoft.com/office/drawing/2014/main" id="{65F58361-3E44-4371-A58B-6A6C878C13FB}"/>
                </a:ext>
              </a:extLst>
            </p:cNvPr>
            <p:cNvGrpSpPr/>
            <p:nvPr/>
          </p:nvGrpSpPr>
          <p:grpSpPr bwMode="gray">
            <a:xfrm>
              <a:off x="11663359" y="5511406"/>
              <a:ext cx="419099" cy="45719"/>
              <a:chOff x="11675709" y="5511406"/>
              <a:chExt cx="419099" cy="45719"/>
            </a:xfrm>
          </p:grpSpPr>
          <p:sp>
            <p:nvSpPr>
              <p:cNvPr id="516" name="Rectangle 515">
                <a:extLst>
                  <a:ext uri="{FF2B5EF4-FFF2-40B4-BE49-F238E27FC236}">
                    <a16:creationId xmlns:a16="http://schemas.microsoft.com/office/drawing/2014/main" id="{50EEB123-5910-49AD-8202-DF9727370582}"/>
                  </a:ext>
                </a:extLst>
              </p:cNvPr>
              <p:cNvSpPr/>
              <p:nvPr/>
            </p:nvSpPr>
            <p:spPr bwMode="gray">
              <a:xfrm>
                <a:off x="11675709" y="5511406"/>
                <a:ext cx="45719" cy="45719"/>
              </a:xfrm>
              <a:prstGeom prst="rect">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17" name="Rectangle 516">
                <a:extLst>
                  <a:ext uri="{FF2B5EF4-FFF2-40B4-BE49-F238E27FC236}">
                    <a16:creationId xmlns:a16="http://schemas.microsoft.com/office/drawing/2014/main" id="{E3142900-DBA4-41A3-A107-E23292FCD5E8}"/>
                  </a:ext>
                </a:extLst>
              </p:cNvPr>
              <p:cNvSpPr/>
              <p:nvPr/>
            </p:nvSpPr>
            <p:spPr bwMode="gray">
              <a:xfrm>
                <a:off x="12049089" y="5511406"/>
                <a:ext cx="45719" cy="45719"/>
              </a:xfrm>
              <a:prstGeom prst="rect">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530" name="Group 529">
            <a:extLst>
              <a:ext uri="{FF2B5EF4-FFF2-40B4-BE49-F238E27FC236}">
                <a16:creationId xmlns:a16="http://schemas.microsoft.com/office/drawing/2014/main" id="{9F4C7E8C-3C95-4A55-AABE-3D86CC74699D}"/>
              </a:ext>
            </a:extLst>
          </p:cNvPr>
          <p:cNvGrpSpPr/>
          <p:nvPr/>
        </p:nvGrpSpPr>
        <p:grpSpPr bwMode="gray">
          <a:xfrm>
            <a:off x="5152076" y="4309994"/>
            <a:ext cx="692801" cy="410906"/>
            <a:chOff x="3922098" y="2140610"/>
            <a:chExt cx="1241070" cy="736089"/>
          </a:xfrm>
        </p:grpSpPr>
        <p:grpSp>
          <p:nvGrpSpPr>
            <p:cNvPr id="531" name="Group 530">
              <a:extLst>
                <a:ext uri="{FF2B5EF4-FFF2-40B4-BE49-F238E27FC236}">
                  <a16:creationId xmlns:a16="http://schemas.microsoft.com/office/drawing/2014/main" id="{16414176-B41D-45BF-91EF-990AFCB917BE}"/>
                </a:ext>
              </a:extLst>
            </p:cNvPr>
            <p:cNvGrpSpPr>
              <a:grpSpLocks noChangeAspect="1"/>
            </p:cNvGrpSpPr>
            <p:nvPr/>
          </p:nvGrpSpPr>
          <p:grpSpPr bwMode="gray">
            <a:xfrm>
              <a:off x="3922098" y="2140610"/>
              <a:ext cx="344770" cy="736089"/>
              <a:chOff x="3298870" y="3291617"/>
              <a:chExt cx="193727" cy="413612"/>
            </a:xfrm>
          </p:grpSpPr>
          <p:grpSp>
            <p:nvGrpSpPr>
              <p:cNvPr id="541" name="Group 540">
                <a:extLst>
                  <a:ext uri="{FF2B5EF4-FFF2-40B4-BE49-F238E27FC236}">
                    <a16:creationId xmlns:a16="http://schemas.microsoft.com/office/drawing/2014/main" id="{7B207129-DB9F-45E7-83D8-20BF38601B5F}"/>
                  </a:ext>
                </a:extLst>
              </p:cNvPr>
              <p:cNvGrpSpPr/>
              <p:nvPr/>
            </p:nvGrpSpPr>
            <p:grpSpPr bwMode="gray">
              <a:xfrm>
                <a:off x="3298870" y="3291617"/>
                <a:ext cx="193727" cy="413612"/>
                <a:chOff x="3265190" y="2377954"/>
                <a:chExt cx="621667" cy="1327275"/>
              </a:xfrm>
            </p:grpSpPr>
            <p:sp>
              <p:nvSpPr>
                <p:cNvPr id="547" name="Freeform: Shape 546">
                  <a:extLst>
                    <a:ext uri="{FF2B5EF4-FFF2-40B4-BE49-F238E27FC236}">
                      <a16:creationId xmlns:a16="http://schemas.microsoft.com/office/drawing/2014/main" id="{BCAF4ED7-A342-4566-8CC9-79354F136800}"/>
                    </a:ext>
                  </a:extLst>
                </p:cNvPr>
                <p:cNvSpPr/>
                <p:nvPr/>
              </p:nvSpPr>
              <p:spPr bwMode="gray">
                <a:xfrm rot="16200000">
                  <a:off x="3119191" y="2523953"/>
                  <a:ext cx="913663" cy="621665"/>
                </a:xfrm>
                <a:custGeom>
                  <a:avLst/>
                  <a:gdLst>
                    <a:gd name="connsiteX0" fmla="*/ 913663 w 913663"/>
                    <a:gd name="connsiteY0" fmla="*/ 310831 h 621665"/>
                    <a:gd name="connsiteX1" fmla="*/ 845100 w 913663"/>
                    <a:gd name="connsiteY1" fmla="*/ 621662 h 621665"/>
                    <a:gd name="connsiteX2" fmla="*/ 798352 w 913663"/>
                    <a:gd name="connsiteY2" fmla="*/ 621662 h 621665"/>
                    <a:gd name="connsiteX3" fmla="*/ 798352 w 913663"/>
                    <a:gd name="connsiteY3" fmla="*/ 621665 h 621665"/>
                    <a:gd name="connsiteX4" fmla="*/ 0 w 913663"/>
                    <a:gd name="connsiteY4" fmla="*/ 621665 h 621665"/>
                    <a:gd name="connsiteX5" fmla="*/ 0 w 913663"/>
                    <a:gd name="connsiteY5" fmla="*/ 3 h 621665"/>
                    <a:gd name="connsiteX6" fmla="*/ 776538 w 913663"/>
                    <a:gd name="connsiteY6" fmla="*/ 3 h 621665"/>
                    <a:gd name="connsiteX7" fmla="*/ 776538 w 913663"/>
                    <a:gd name="connsiteY7" fmla="*/ 0 h 621665"/>
                    <a:gd name="connsiteX8" fmla="*/ 845101 w 913663"/>
                    <a:gd name="connsiteY8" fmla="*/ 0 h 621665"/>
                    <a:gd name="connsiteX9" fmla="*/ 913663 w 913663"/>
                    <a:gd name="connsiteY9" fmla="*/ 310831 h 621665"/>
                    <a:gd name="connsiteX0" fmla="*/ 913663 w 913663"/>
                    <a:gd name="connsiteY0" fmla="*/ 310831 h 621665"/>
                    <a:gd name="connsiteX1" fmla="*/ 845100 w 913663"/>
                    <a:gd name="connsiteY1" fmla="*/ 621662 h 621665"/>
                    <a:gd name="connsiteX2" fmla="*/ 798352 w 913663"/>
                    <a:gd name="connsiteY2" fmla="*/ 621662 h 621665"/>
                    <a:gd name="connsiteX3" fmla="*/ 0 w 913663"/>
                    <a:gd name="connsiteY3" fmla="*/ 621665 h 621665"/>
                    <a:gd name="connsiteX4" fmla="*/ 0 w 913663"/>
                    <a:gd name="connsiteY4" fmla="*/ 3 h 621665"/>
                    <a:gd name="connsiteX5" fmla="*/ 776538 w 913663"/>
                    <a:gd name="connsiteY5" fmla="*/ 3 h 621665"/>
                    <a:gd name="connsiteX6" fmla="*/ 776538 w 913663"/>
                    <a:gd name="connsiteY6" fmla="*/ 0 h 621665"/>
                    <a:gd name="connsiteX7" fmla="*/ 845101 w 913663"/>
                    <a:gd name="connsiteY7" fmla="*/ 0 h 621665"/>
                    <a:gd name="connsiteX8" fmla="*/ 913663 w 913663"/>
                    <a:gd name="connsiteY8" fmla="*/ 310831 h 621665"/>
                    <a:gd name="connsiteX0" fmla="*/ 913663 w 913663"/>
                    <a:gd name="connsiteY0" fmla="*/ 310831 h 621665"/>
                    <a:gd name="connsiteX1" fmla="*/ 845100 w 913663"/>
                    <a:gd name="connsiteY1" fmla="*/ 621662 h 621665"/>
                    <a:gd name="connsiteX2" fmla="*/ 0 w 913663"/>
                    <a:gd name="connsiteY2" fmla="*/ 621665 h 621665"/>
                    <a:gd name="connsiteX3" fmla="*/ 0 w 913663"/>
                    <a:gd name="connsiteY3" fmla="*/ 3 h 621665"/>
                    <a:gd name="connsiteX4" fmla="*/ 776538 w 913663"/>
                    <a:gd name="connsiteY4" fmla="*/ 3 h 621665"/>
                    <a:gd name="connsiteX5" fmla="*/ 776538 w 913663"/>
                    <a:gd name="connsiteY5" fmla="*/ 0 h 621665"/>
                    <a:gd name="connsiteX6" fmla="*/ 845101 w 913663"/>
                    <a:gd name="connsiteY6" fmla="*/ 0 h 621665"/>
                    <a:gd name="connsiteX7" fmla="*/ 913663 w 913663"/>
                    <a:gd name="connsiteY7" fmla="*/ 310831 h 621665"/>
                    <a:gd name="connsiteX0" fmla="*/ 913663 w 913663"/>
                    <a:gd name="connsiteY0" fmla="*/ 310831 h 621665"/>
                    <a:gd name="connsiteX1" fmla="*/ 845100 w 913663"/>
                    <a:gd name="connsiteY1" fmla="*/ 621662 h 621665"/>
                    <a:gd name="connsiteX2" fmla="*/ 0 w 913663"/>
                    <a:gd name="connsiteY2" fmla="*/ 621665 h 621665"/>
                    <a:gd name="connsiteX3" fmla="*/ 0 w 913663"/>
                    <a:gd name="connsiteY3" fmla="*/ 3 h 621665"/>
                    <a:gd name="connsiteX4" fmla="*/ 776538 w 913663"/>
                    <a:gd name="connsiteY4" fmla="*/ 3 h 621665"/>
                    <a:gd name="connsiteX5" fmla="*/ 845101 w 913663"/>
                    <a:gd name="connsiteY5" fmla="*/ 0 h 621665"/>
                    <a:gd name="connsiteX6" fmla="*/ 913663 w 913663"/>
                    <a:gd name="connsiteY6" fmla="*/ 310831 h 621665"/>
                    <a:gd name="connsiteX0" fmla="*/ 913663 w 913663"/>
                    <a:gd name="connsiteY0" fmla="*/ 310831 h 621665"/>
                    <a:gd name="connsiteX1" fmla="*/ 845100 w 913663"/>
                    <a:gd name="connsiteY1" fmla="*/ 621662 h 621665"/>
                    <a:gd name="connsiteX2" fmla="*/ 0 w 913663"/>
                    <a:gd name="connsiteY2" fmla="*/ 621665 h 621665"/>
                    <a:gd name="connsiteX3" fmla="*/ 0 w 913663"/>
                    <a:gd name="connsiteY3" fmla="*/ 3 h 621665"/>
                    <a:gd name="connsiteX4" fmla="*/ 845101 w 913663"/>
                    <a:gd name="connsiteY4" fmla="*/ 0 h 621665"/>
                    <a:gd name="connsiteX5" fmla="*/ 913663 w 913663"/>
                    <a:gd name="connsiteY5" fmla="*/ 310831 h 621665"/>
                    <a:gd name="connsiteX0" fmla="*/ 913886 w 913886"/>
                    <a:gd name="connsiteY0" fmla="*/ 310831 h 621665"/>
                    <a:gd name="connsiteX1" fmla="*/ 845323 w 913886"/>
                    <a:gd name="connsiteY1" fmla="*/ 621662 h 621665"/>
                    <a:gd name="connsiteX2" fmla="*/ 223 w 913886"/>
                    <a:gd name="connsiteY2" fmla="*/ 621665 h 621665"/>
                    <a:gd name="connsiteX3" fmla="*/ 0 w 913886"/>
                    <a:gd name="connsiteY3" fmla="*/ 300970 h 621665"/>
                    <a:gd name="connsiteX4" fmla="*/ 223 w 913886"/>
                    <a:gd name="connsiteY4" fmla="*/ 3 h 621665"/>
                    <a:gd name="connsiteX5" fmla="*/ 845324 w 913886"/>
                    <a:gd name="connsiteY5" fmla="*/ 0 h 621665"/>
                    <a:gd name="connsiteX6" fmla="*/ 913886 w 913886"/>
                    <a:gd name="connsiteY6" fmla="*/ 310831 h 621665"/>
                    <a:gd name="connsiteX0" fmla="*/ 0 w 913886"/>
                    <a:gd name="connsiteY0" fmla="*/ 300970 h 621665"/>
                    <a:gd name="connsiteX1" fmla="*/ 223 w 913886"/>
                    <a:gd name="connsiteY1" fmla="*/ 3 h 621665"/>
                    <a:gd name="connsiteX2" fmla="*/ 845324 w 913886"/>
                    <a:gd name="connsiteY2" fmla="*/ 0 h 621665"/>
                    <a:gd name="connsiteX3" fmla="*/ 913886 w 913886"/>
                    <a:gd name="connsiteY3" fmla="*/ 310831 h 621665"/>
                    <a:gd name="connsiteX4" fmla="*/ 845323 w 913886"/>
                    <a:gd name="connsiteY4" fmla="*/ 621662 h 621665"/>
                    <a:gd name="connsiteX5" fmla="*/ 223 w 913886"/>
                    <a:gd name="connsiteY5" fmla="*/ 621665 h 621665"/>
                    <a:gd name="connsiteX6" fmla="*/ 91440 w 913886"/>
                    <a:gd name="connsiteY6" fmla="*/ 392410 h 621665"/>
                    <a:gd name="connsiteX0" fmla="*/ 5 w 913668"/>
                    <a:gd name="connsiteY0" fmla="*/ 3 h 621665"/>
                    <a:gd name="connsiteX1" fmla="*/ 845106 w 913668"/>
                    <a:gd name="connsiteY1" fmla="*/ 0 h 621665"/>
                    <a:gd name="connsiteX2" fmla="*/ 913668 w 913668"/>
                    <a:gd name="connsiteY2" fmla="*/ 310831 h 621665"/>
                    <a:gd name="connsiteX3" fmla="*/ 845105 w 913668"/>
                    <a:gd name="connsiteY3" fmla="*/ 621662 h 621665"/>
                    <a:gd name="connsiteX4" fmla="*/ 5 w 913668"/>
                    <a:gd name="connsiteY4" fmla="*/ 621665 h 621665"/>
                    <a:gd name="connsiteX5" fmla="*/ 91222 w 913668"/>
                    <a:gd name="connsiteY5" fmla="*/ 392410 h 621665"/>
                    <a:gd name="connsiteX0" fmla="*/ 0 w 913663"/>
                    <a:gd name="connsiteY0" fmla="*/ 3 h 621665"/>
                    <a:gd name="connsiteX1" fmla="*/ 845101 w 913663"/>
                    <a:gd name="connsiteY1" fmla="*/ 0 h 621665"/>
                    <a:gd name="connsiteX2" fmla="*/ 913663 w 913663"/>
                    <a:gd name="connsiteY2" fmla="*/ 310831 h 621665"/>
                    <a:gd name="connsiteX3" fmla="*/ 845100 w 913663"/>
                    <a:gd name="connsiteY3" fmla="*/ 621662 h 621665"/>
                    <a:gd name="connsiteX4" fmla="*/ 0 w 913663"/>
                    <a:gd name="connsiteY4" fmla="*/ 621665 h 621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663" h="621665">
                      <a:moveTo>
                        <a:pt x="0" y="3"/>
                      </a:moveTo>
                      <a:lnTo>
                        <a:pt x="845101" y="0"/>
                      </a:lnTo>
                      <a:cubicBezTo>
                        <a:pt x="882967" y="0"/>
                        <a:pt x="913663" y="139164"/>
                        <a:pt x="913663" y="310831"/>
                      </a:cubicBezTo>
                      <a:cubicBezTo>
                        <a:pt x="913663" y="482498"/>
                        <a:pt x="882967" y="621662"/>
                        <a:pt x="845100" y="621662"/>
                      </a:cubicBezTo>
                      <a:lnTo>
                        <a:pt x="0" y="621665"/>
                      </a:ln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cxnSp>
              <p:nvCxnSpPr>
                <p:cNvPr id="548" name="Straight Connector 547">
                  <a:extLst>
                    <a:ext uri="{FF2B5EF4-FFF2-40B4-BE49-F238E27FC236}">
                      <a16:creationId xmlns:a16="http://schemas.microsoft.com/office/drawing/2014/main" id="{AAE3C46F-9371-4F40-95E4-9E77BED9573B}"/>
                    </a:ext>
                  </a:extLst>
                </p:cNvPr>
                <p:cNvCxnSpPr/>
                <p:nvPr/>
              </p:nvCxnSpPr>
              <p:spPr bwMode="gray">
                <a:xfrm>
                  <a:off x="3886857" y="3017821"/>
                  <a:ext cx="0" cy="687408"/>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49" name="Straight Connector 548">
                  <a:extLst>
                    <a:ext uri="{FF2B5EF4-FFF2-40B4-BE49-F238E27FC236}">
                      <a16:creationId xmlns:a16="http://schemas.microsoft.com/office/drawing/2014/main" id="{EB8C252C-9B70-4485-B99C-24C7CA098D7E}"/>
                    </a:ext>
                  </a:extLst>
                </p:cNvPr>
                <p:cNvCxnSpPr/>
                <p:nvPr/>
              </p:nvCxnSpPr>
              <p:spPr bwMode="gray">
                <a:xfrm>
                  <a:off x="3265191" y="3017821"/>
                  <a:ext cx="0" cy="687408"/>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0" name="Straight Connector 549">
                  <a:extLst>
                    <a:ext uri="{FF2B5EF4-FFF2-40B4-BE49-F238E27FC236}">
                      <a16:creationId xmlns:a16="http://schemas.microsoft.com/office/drawing/2014/main" id="{C8D27CB7-570D-428D-8EFA-2B1199B50AB9}"/>
                    </a:ext>
                  </a:extLst>
                </p:cNvPr>
                <p:cNvCxnSpPr>
                  <a:cxnSpLocks/>
                </p:cNvCxnSpPr>
                <p:nvPr/>
              </p:nvCxnSpPr>
              <p:spPr bwMode="gray">
                <a:xfrm>
                  <a:off x="3771677" y="3415896"/>
                  <a:ext cx="115180" cy="120939"/>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551" name="Freeform: Shape 550">
                  <a:extLst>
                    <a:ext uri="{FF2B5EF4-FFF2-40B4-BE49-F238E27FC236}">
                      <a16:creationId xmlns:a16="http://schemas.microsoft.com/office/drawing/2014/main" id="{9EF51CCB-922D-4855-8330-4A9F6F53FEBD}"/>
                    </a:ext>
                  </a:extLst>
                </p:cNvPr>
                <p:cNvSpPr/>
                <p:nvPr/>
              </p:nvSpPr>
              <p:spPr bwMode="gray">
                <a:xfrm>
                  <a:off x="3265191" y="3281801"/>
                  <a:ext cx="621660" cy="233659"/>
                </a:xfrm>
                <a:custGeom>
                  <a:avLst/>
                  <a:gdLst>
                    <a:gd name="connsiteX0" fmla="*/ 260382 w 547200"/>
                    <a:gd name="connsiteY0" fmla="*/ 0 h 209016"/>
                    <a:gd name="connsiteX1" fmla="*/ 547200 w 547200"/>
                    <a:gd name="connsiteY1" fmla="*/ 3768 h 209016"/>
                    <a:gd name="connsiteX2" fmla="*/ 547200 w 547200"/>
                    <a:gd name="connsiteY2" fmla="*/ 67271 h 209016"/>
                    <a:gd name="connsiteX3" fmla="*/ 328220 w 547200"/>
                    <a:gd name="connsiteY3" fmla="*/ 209016 h 209016"/>
                    <a:gd name="connsiteX4" fmla="*/ 218980 w 547200"/>
                    <a:gd name="connsiteY4" fmla="*/ 209016 h 209016"/>
                    <a:gd name="connsiteX5" fmla="*/ 0 w 547200"/>
                    <a:gd name="connsiteY5" fmla="*/ 67271 h 209016"/>
                    <a:gd name="connsiteX6" fmla="*/ 0 w 547200"/>
                    <a:gd name="connsiteY6" fmla="*/ 3768 h 209016"/>
                    <a:gd name="connsiteX0" fmla="*/ 260382 w 547200"/>
                    <a:gd name="connsiteY0" fmla="*/ 0 h 209016"/>
                    <a:gd name="connsiteX1" fmla="*/ 547200 w 547200"/>
                    <a:gd name="connsiteY1" fmla="*/ 3768 h 209016"/>
                    <a:gd name="connsiteX2" fmla="*/ 547200 w 547200"/>
                    <a:gd name="connsiteY2" fmla="*/ 67271 h 209016"/>
                    <a:gd name="connsiteX3" fmla="*/ 328220 w 547200"/>
                    <a:gd name="connsiteY3" fmla="*/ 209016 h 209016"/>
                    <a:gd name="connsiteX4" fmla="*/ 218980 w 547200"/>
                    <a:gd name="connsiteY4" fmla="*/ 209016 h 209016"/>
                    <a:gd name="connsiteX5" fmla="*/ 0 w 547200"/>
                    <a:gd name="connsiteY5" fmla="*/ 67271 h 209016"/>
                    <a:gd name="connsiteX6" fmla="*/ 0 w 547200"/>
                    <a:gd name="connsiteY6" fmla="*/ 3768 h 209016"/>
                    <a:gd name="connsiteX7" fmla="*/ 351822 w 547200"/>
                    <a:gd name="connsiteY7" fmla="*/ 91440 h 209016"/>
                    <a:gd name="connsiteX0" fmla="*/ 260382 w 547200"/>
                    <a:gd name="connsiteY0" fmla="*/ 0 h 209016"/>
                    <a:gd name="connsiteX1" fmla="*/ 547200 w 547200"/>
                    <a:gd name="connsiteY1" fmla="*/ 3768 h 209016"/>
                    <a:gd name="connsiteX2" fmla="*/ 547200 w 547200"/>
                    <a:gd name="connsiteY2" fmla="*/ 67271 h 209016"/>
                    <a:gd name="connsiteX3" fmla="*/ 328220 w 547200"/>
                    <a:gd name="connsiteY3" fmla="*/ 209016 h 209016"/>
                    <a:gd name="connsiteX4" fmla="*/ 218980 w 547200"/>
                    <a:gd name="connsiteY4" fmla="*/ 209016 h 209016"/>
                    <a:gd name="connsiteX5" fmla="*/ 0 w 547200"/>
                    <a:gd name="connsiteY5" fmla="*/ 67271 h 209016"/>
                    <a:gd name="connsiteX6" fmla="*/ 0 w 547200"/>
                    <a:gd name="connsiteY6" fmla="*/ 3768 h 209016"/>
                    <a:gd name="connsiteX0" fmla="*/ 547200 w 547200"/>
                    <a:gd name="connsiteY0" fmla="*/ 0 h 205248"/>
                    <a:gd name="connsiteX1" fmla="*/ 547200 w 547200"/>
                    <a:gd name="connsiteY1" fmla="*/ 63503 h 205248"/>
                    <a:gd name="connsiteX2" fmla="*/ 328220 w 547200"/>
                    <a:gd name="connsiteY2" fmla="*/ 205248 h 205248"/>
                    <a:gd name="connsiteX3" fmla="*/ 218980 w 547200"/>
                    <a:gd name="connsiteY3" fmla="*/ 205248 h 205248"/>
                    <a:gd name="connsiteX4" fmla="*/ 0 w 547200"/>
                    <a:gd name="connsiteY4" fmla="*/ 63503 h 205248"/>
                    <a:gd name="connsiteX5" fmla="*/ 0 w 547200"/>
                    <a:gd name="connsiteY5" fmla="*/ 0 h 205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200" h="205248">
                      <a:moveTo>
                        <a:pt x="547200" y="0"/>
                      </a:moveTo>
                      <a:lnTo>
                        <a:pt x="547200" y="63503"/>
                      </a:lnTo>
                      <a:lnTo>
                        <a:pt x="328220" y="205248"/>
                      </a:lnTo>
                      <a:lnTo>
                        <a:pt x="218980" y="205248"/>
                      </a:lnTo>
                      <a:lnTo>
                        <a:pt x="0" y="63503"/>
                      </a:lnTo>
                      <a:lnTo>
                        <a:pt x="0" y="0"/>
                      </a:ln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52" name="Straight Connector 551">
                  <a:extLst>
                    <a:ext uri="{FF2B5EF4-FFF2-40B4-BE49-F238E27FC236}">
                      <a16:creationId xmlns:a16="http://schemas.microsoft.com/office/drawing/2014/main" id="{7C41B259-41FF-40B2-B9B6-6752403D3AB2}"/>
                    </a:ext>
                  </a:extLst>
                </p:cNvPr>
                <p:cNvCxnSpPr>
                  <a:cxnSpLocks/>
                </p:cNvCxnSpPr>
                <p:nvPr/>
              </p:nvCxnSpPr>
              <p:spPr bwMode="gray">
                <a:xfrm flipH="1">
                  <a:off x="3265191" y="3415896"/>
                  <a:ext cx="115180" cy="120939"/>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cxnSp>
            <p:nvCxnSpPr>
              <p:cNvPr id="542" name="Straight Connector 541">
                <a:extLst>
                  <a:ext uri="{FF2B5EF4-FFF2-40B4-BE49-F238E27FC236}">
                    <a16:creationId xmlns:a16="http://schemas.microsoft.com/office/drawing/2014/main" id="{C025C16E-99C0-47C6-B416-6C540459F9E9}"/>
                  </a:ext>
                </a:extLst>
              </p:cNvPr>
              <p:cNvCxnSpPr>
                <a:cxnSpLocks/>
              </p:cNvCxnSpPr>
              <p:nvPr/>
            </p:nvCxnSpPr>
            <p:spPr bwMode="gray">
              <a:xfrm>
                <a:off x="3298871" y="3317525"/>
                <a:ext cx="19372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43" name="Straight Connector 542">
                <a:extLst>
                  <a:ext uri="{FF2B5EF4-FFF2-40B4-BE49-F238E27FC236}">
                    <a16:creationId xmlns:a16="http://schemas.microsoft.com/office/drawing/2014/main" id="{EBCCD69A-497B-490F-A9BA-6033998BEE0D}"/>
                  </a:ext>
                </a:extLst>
              </p:cNvPr>
              <p:cNvCxnSpPr>
                <a:cxnSpLocks/>
              </p:cNvCxnSpPr>
              <p:nvPr/>
            </p:nvCxnSpPr>
            <p:spPr bwMode="gray">
              <a:xfrm>
                <a:off x="3298871" y="3385087"/>
                <a:ext cx="19372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44" name="Straight Connector 543">
                <a:extLst>
                  <a:ext uri="{FF2B5EF4-FFF2-40B4-BE49-F238E27FC236}">
                    <a16:creationId xmlns:a16="http://schemas.microsoft.com/office/drawing/2014/main" id="{D5F02D4C-264A-4144-9066-8B37716B2593}"/>
                  </a:ext>
                </a:extLst>
              </p:cNvPr>
              <p:cNvCxnSpPr>
                <a:cxnSpLocks/>
              </p:cNvCxnSpPr>
              <p:nvPr/>
            </p:nvCxnSpPr>
            <p:spPr bwMode="gray">
              <a:xfrm>
                <a:off x="3298871" y="3587773"/>
                <a:ext cx="19372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45" name="Straight Connector 544">
                <a:extLst>
                  <a:ext uri="{FF2B5EF4-FFF2-40B4-BE49-F238E27FC236}">
                    <a16:creationId xmlns:a16="http://schemas.microsoft.com/office/drawing/2014/main" id="{38BD1703-4ABD-4088-8EEE-EE989CB207F8}"/>
                  </a:ext>
                </a:extLst>
              </p:cNvPr>
              <p:cNvCxnSpPr>
                <a:cxnSpLocks/>
              </p:cNvCxnSpPr>
              <p:nvPr/>
            </p:nvCxnSpPr>
            <p:spPr bwMode="gray">
              <a:xfrm>
                <a:off x="3298871" y="3452649"/>
                <a:ext cx="19372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46" name="Straight Connector 545">
                <a:extLst>
                  <a:ext uri="{FF2B5EF4-FFF2-40B4-BE49-F238E27FC236}">
                    <a16:creationId xmlns:a16="http://schemas.microsoft.com/office/drawing/2014/main" id="{B5194687-DF7F-4CB1-8682-BB6BC0BF40FE}"/>
                  </a:ext>
                </a:extLst>
              </p:cNvPr>
              <p:cNvCxnSpPr>
                <a:cxnSpLocks/>
              </p:cNvCxnSpPr>
              <p:nvPr/>
            </p:nvCxnSpPr>
            <p:spPr bwMode="gray">
              <a:xfrm>
                <a:off x="3298871" y="3520211"/>
                <a:ext cx="19372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32" name="Group 531">
              <a:extLst>
                <a:ext uri="{FF2B5EF4-FFF2-40B4-BE49-F238E27FC236}">
                  <a16:creationId xmlns:a16="http://schemas.microsoft.com/office/drawing/2014/main" id="{ADD1EFFF-DD6C-40D7-86BF-3BF9EA33CDCC}"/>
                </a:ext>
              </a:extLst>
            </p:cNvPr>
            <p:cNvGrpSpPr>
              <a:grpSpLocks noChangeAspect="1"/>
            </p:cNvGrpSpPr>
            <p:nvPr/>
          </p:nvGrpSpPr>
          <p:grpSpPr bwMode="gray">
            <a:xfrm>
              <a:off x="4335746" y="2493214"/>
              <a:ext cx="827422" cy="381628"/>
              <a:chOff x="4519647" y="2366529"/>
              <a:chExt cx="413711" cy="190814"/>
            </a:xfrm>
          </p:grpSpPr>
          <p:sp>
            <p:nvSpPr>
              <p:cNvPr id="533" name="Rectangle 26">
                <a:extLst>
                  <a:ext uri="{FF2B5EF4-FFF2-40B4-BE49-F238E27FC236}">
                    <a16:creationId xmlns:a16="http://schemas.microsoft.com/office/drawing/2014/main" id="{6D733849-EFE8-4463-8712-A7D5188FE02F}"/>
                  </a:ext>
                </a:extLst>
              </p:cNvPr>
              <p:cNvSpPr/>
              <p:nvPr/>
            </p:nvSpPr>
            <p:spPr bwMode="gray">
              <a:xfrm>
                <a:off x="4759905" y="2428143"/>
                <a:ext cx="173453" cy="89622"/>
              </a:xfrm>
              <a:custGeom>
                <a:avLst/>
                <a:gdLst/>
                <a:ahLst/>
                <a:cxnLst/>
                <a:rect l="l" t="t" r="r" b="b"/>
                <a:pathLst>
                  <a:path w="653899" h="337865">
                    <a:moveTo>
                      <a:pt x="299916" y="40642"/>
                    </a:moveTo>
                    <a:lnTo>
                      <a:pt x="299916" y="161188"/>
                    </a:lnTo>
                    <a:lnTo>
                      <a:pt x="597382" y="161188"/>
                    </a:lnTo>
                    <a:lnTo>
                      <a:pt x="597382" y="155351"/>
                    </a:lnTo>
                    <a:lnTo>
                      <a:pt x="482673" y="40642"/>
                    </a:lnTo>
                    <a:close/>
                    <a:moveTo>
                      <a:pt x="250746" y="0"/>
                    </a:moveTo>
                    <a:lnTo>
                      <a:pt x="506245" y="0"/>
                    </a:lnTo>
                    <a:lnTo>
                      <a:pt x="653899" y="147654"/>
                    </a:lnTo>
                    <a:lnTo>
                      <a:pt x="653899" y="236370"/>
                    </a:lnTo>
                    <a:lnTo>
                      <a:pt x="653899" y="316381"/>
                    </a:lnTo>
                    <a:lnTo>
                      <a:pt x="653899" y="337865"/>
                    </a:lnTo>
                    <a:lnTo>
                      <a:pt x="604867" y="337865"/>
                    </a:lnTo>
                    <a:cubicBezTo>
                      <a:pt x="588978" y="307199"/>
                      <a:pt x="556685" y="287118"/>
                      <a:pt x="519702" y="287118"/>
                    </a:cubicBezTo>
                    <a:cubicBezTo>
                      <a:pt x="482719" y="287118"/>
                      <a:pt x="450427" y="307199"/>
                      <a:pt x="434537" y="337865"/>
                    </a:cubicBezTo>
                    <a:lnTo>
                      <a:pt x="205785" y="337865"/>
                    </a:lnTo>
                    <a:cubicBezTo>
                      <a:pt x="189896" y="307199"/>
                      <a:pt x="157603" y="287118"/>
                      <a:pt x="120620" y="287118"/>
                    </a:cubicBezTo>
                    <a:cubicBezTo>
                      <a:pt x="83637" y="287118"/>
                      <a:pt x="51345" y="307199"/>
                      <a:pt x="35455" y="337865"/>
                    </a:cubicBezTo>
                    <a:lnTo>
                      <a:pt x="0" y="337865"/>
                    </a:lnTo>
                    <a:lnTo>
                      <a:pt x="0" y="236370"/>
                    </a:lnTo>
                    <a:lnTo>
                      <a:pt x="250746" y="236370"/>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534" name="Rectangle: Rounded Corners 533">
                <a:extLst>
                  <a:ext uri="{FF2B5EF4-FFF2-40B4-BE49-F238E27FC236}">
                    <a16:creationId xmlns:a16="http://schemas.microsoft.com/office/drawing/2014/main" id="{1B99451E-E1B1-4A0D-BC25-C8B49F2E5103}"/>
                  </a:ext>
                </a:extLst>
              </p:cNvPr>
              <p:cNvSpPr/>
              <p:nvPr/>
            </p:nvSpPr>
            <p:spPr bwMode="gray">
              <a:xfrm>
                <a:off x="4519647" y="2366529"/>
                <a:ext cx="277143" cy="97271"/>
              </a:xfrm>
              <a:prstGeom prst="roundRect">
                <a:avLst>
                  <a:gd name="adj" fmla="val 42167"/>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535" name="Rectangle 26">
                <a:extLst>
                  <a:ext uri="{FF2B5EF4-FFF2-40B4-BE49-F238E27FC236}">
                    <a16:creationId xmlns:a16="http://schemas.microsoft.com/office/drawing/2014/main" id="{6A7BED50-9021-49ED-A01A-C9B77A955174}"/>
                  </a:ext>
                </a:extLst>
              </p:cNvPr>
              <p:cNvSpPr/>
              <p:nvPr/>
            </p:nvSpPr>
            <p:spPr bwMode="gray">
              <a:xfrm>
                <a:off x="4546317" y="2490843"/>
                <a:ext cx="131884" cy="26923"/>
              </a:xfrm>
              <a:custGeom>
                <a:avLst/>
                <a:gdLst/>
                <a:ahLst/>
                <a:cxnLst/>
                <a:rect l="l" t="t" r="r" b="b"/>
                <a:pathLst>
                  <a:path w="497189" h="101495">
                    <a:moveTo>
                      <a:pt x="0" y="0"/>
                    </a:moveTo>
                    <a:lnTo>
                      <a:pt x="495777" y="0"/>
                    </a:lnTo>
                    <a:lnTo>
                      <a:pt x="497189" y="180"/>
                    </a:lnTo>
                    <a:lnTo>
                      <a:pt x="497189" y="101495"/>
                    </a:lnTo>
                    <a:lnTo>
                      <a:pt x="447529" y="101495"/>
                    </a:lnTo>
                    <a:cubicBezTo>
                      <a:pt x="431639" y="70828"/>
                      <a:pt x="399347" y="50747"/>
                      <a:pt x="362363" y="50747"/>
                    </a:cubicBezTo>
                    <a:cubicBezTo>
                      <a:pt x="325380" y="50747"/>
                      <a:pt x="293087" y="70828"/>
                      <a:pt x="277197" y="101495"/>
                    </a:cubicBezTo>
                    <a:lnTo>
                      <a:pt x="219992" y="101495"/>
                    </a:lnTo>
                    <a:cubicBezTo>
                      <a:pt x="204102" y="70828"/>
                      <a:pt x="171809" y="50747"/>
                      <a:pt x="134826" y="50747"/>
                    </a:cubicBezTo>
                    <a:cubicBezTo>
                      <a:pt x="97843" y="50747"/>
                      <a:pt x="65550" y="70828"/>
                      <a:pt x="49660" y="101495"/>
                    </a:cubicBezTo>
                    <a:lnTo>
                      <a:pt x="0" y="101495"/>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536" name="Flowchart: Connector 535">
                <a:extLst>
                  <a:ext uri="{FF2B5EF4-FFF2-40B4-BE49-F238E27FC236}">
                    <a16:creationId xmlns:a16="http://schemas.microsoft.com/office/drawing/2014/main" id="{049A2E4A-7735-4915-B70A-A0C9676BADF8}"/>
                  </a:ext>
                </a:extLst>
              </p:cNvPr>
              <p:cNvSpPr/>
              <p:nvPr/>
            </p:nvSpPr>
            <p:spPr bwMode="gray">
              <a:xfrm>
                <a:off x="4555562"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537" name="Flowchart: Connector 536">
                <a:extLst>
                  <a:ext uri="{FF2B5EF4-FFF2-40B4-BE49-F238E27FC236}">
                    <a16:creationId xmlns:a16="http://schemas.microsoft.com/office/drawing/2014/main" id="{B329E154-EC47-477C-9192-FF82D83A2CE5}"/>
                  </a:ext>
                </a:extLst>
              </p:cNvPr>
              <p:cNvSpPr/>
              <p:nvPr/>
            </p:nvSpPr>
            <p:spPr bwMode="gray">
              <a:xfrm>
                <a:off x="4615918"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538" name="Flowchart: Connector 537">
                <a:extLst>
                  <a:ext uri="{FF2B5EF4-FFF2-40B4-BE49-F238E27FC236}">
                    <a16:creationId xmlns:a16="http://schemas.microsoft.com/office/drawing/2014/main" id="{E08EAE3F-A530-4CA5-BBEE-CFACEEADBB02}"/>
                  </a:ext>
                </a:extLst>
              </p:cNvPr>
              <p:cNvSpPr/>
              <p:nvPr/>
            </p:nvSpPr>
            <p:spPr bwMode="gray">
              <a:xfrm>
                <a:off x="4765381"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539" name="Flowchart: Connector 538">
                <a:extLst>
                  <a:ext uri="{FF2B5EF4-FFF2-40B4-BE49-F238E27FC236}">
                    <a16:creationId xmlns:a16="http://schemas.microsoft.com/office/drawing/2014/main" id="{E2428C51-D8C2-4058-BA28-4D2D91A84BD4}"/>
                  </a:ext>
                </a:extLst>
              </p:cNvPr>
              <p:cNvSpPr/>
              <p:nvPr/>
            </p:nvSpPr>
            <p:spPr bwMode="gray">
              <a:xfrm>
                <a:off x="4871242"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540" name="Right Triangle 539">
                <a:extLst>
                  <a:ext uri="{FF2B5EF4-FFF2-40B4-BE49-F238E27FC236}">
                    <a16:creationId xmlns:a16="http://schemas.microsoft.com/office/drawing/2014/main" id="{7C38DA60-2380-4752-B412-175E47EFC9C8}"/>
                  </a:ext>
                </a:extLst>
              </p:cNvPr>
              <p:cNvSpPr/>
              <p:nvPr/>
            </p:nvSpPr>
            <p:spPr bwMode="gray">
              <a:xfrm>
                <a:off x="4827463" y="2379102"/>
                <a:ext cx="45583" cy="36551"/>
              </a:xfrm>
              <a:prstGeom prst="rtTriangl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grpSp>
      </p:grpSp>
      <p:grpSp>
        <p:nvGrpSpPr>
          <p:cNvPr id="553" name="Group 552">
            <a:extLst>
              <a:ext uri="{FF2B5EF4-FFF2-40B4-BE49-F238E27FC236}">
                <a16:creationId xmlns:a16="http://schemas.microsoft.com/office/drawing/2014/main" id="{0E7B5C3B-1DD4-4388-A974-E61916FDAA2E}"/>
              </a:ext>
            </a:extLst>
          </p:cNvPr>
          <p:cNvGrpSpPr/>
          <p:nvPr/>
        </p:nvGrpSpPr>
        <p:grpSpPr bwMode="gray">
          <a:xfrm>
            <a:off x="9890135" y="2126688"/>
            <a:ext cx="438839" cy="398299"/>
            <a:chOff x="10276401" y="2217421"/>
            <a:chExt cx="1069368" cy="970579"/>
          </a:xfrm>
        </p:grpSpPr>
        <p:sp>
          <p:nvSpPr>
            <p:cNvPr id="554" name="Rectangle 553">
              <a:extLst>
                <a:ext uri="{FF2B5EF4-FFF2-40B4-BE49-F238E27FC236}">
                  <a16:creationId xmlns:a16="http://schemas.microsoft.com/office/drawing/2014/main" id="{BFA14BAB-786F-4B7C-A029-736B43DD3641}"/>
                </a:ext>
              </a:extLst>
            </p:cNvPr>
            <p:cNvSpPr/>
            <p:nvPr/>
          </p:nvSpPr>
          <p:spPr bwMode="gray">
            <a:xfrm rot="16200000">
              <a:off x="10479673" y="2194789"/>
              <a:ext cx="661802" cy="777718"/>
            </a:xfrm>
            <a:prstGeom prst="rect">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0" tIns="0" rIns="0" bIns="0" rtlCol="0" anchor="ctr"/>
            <a:lstStyle/>
            <a:p>
              <a:pPr algn="ctr">
                <a:spcBef>
                  <a:spcPts val="1100"/>
                </a:spcBef>
                <a:buClr>
                  <a:schemeClr val="tx2"/>
                </a:buClr>
                <a:buSzPct val="70000"/>
                <a:buFont typeface="Wingdings" pitchFamily="2" charset="2"/>
                <a:buNone/>
              </a:pPr>
              <a:endParaRPr lang="en-US"/>
            </a:p>
          </p:txBody>
        </p:sp>
        <p:sp>
          <p:nvSpPr>
            <p:cNvPr id="555" name="Flowchart: Delay 554">
              <a:extLst>
                <a:ext uri="{FF2B5EF4-FFF2-40B4-BE49-F238E27FC236}">
                  <a16:creationId xmlns:a16="http://schemas.microsoft.com/office/drawing/2014/main" id="{6B805E18-CE0C-4F27-AFD2-5BC1E8C64DFC}"/>
                </a:ext>
              </a:extLst>
            </p:cNvPr>
            <p:cNvSpPr/>
            <p:nvPr/>
          </p:nvSpPr>
          <p:spPr bwMode="gray">
            <a:xfrm>
              <a:off x="11199791" y="2252746"/>
              <a:ext cx="145978" cy="661803"/>
            </a:xfrm>
            <a:prstGeom prst="flowChartDelay">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0" tIns="0" rIns="0" bIns="0" rtlCol="0" anchor="ctr"/>
            <a:lstStyle/>
            <a:p>
              <a:pPr algn="ctr">
                <a:spcBef>
                  <a:spcPts val="1100"/>
                </a:spcBef>
                <a:buClr>
                  <a:schemeClr val="tx2"/>
                </a:buClr>
                <a:buSzPct val="70000"/>
                <a:buFont typeface="Wingdings" pitchFamily="2" charset="2"/>
                <a:buNone/>
              </a:pPr>
              <a:endParaRPr lang="en-US"/>
            </a:p>
          </p:txBody>
        </p:sp>
        <p:sp>
          <p:nvSpPr>
            <p:cNvPr id="556" name="Flowchart: Delay 555">
              <a:extLst>
                <a:ext uri="{FF2B5EF4-FFF2-40B4-BE49-F238E27FC236}">
                  <a16:creationId xmlns:a16="http://schemas.microsoft.com/office/drawing/2014/main" id="{3D76B66A-C8B3-47D4-8555-7A46AD358A7E}"/>
                </a:ext>
              </a:extLst>
            </p:cNvPr>
            <p:cNvSpPr/>
            <p:nvPr/>
          </p:nvSpPr>
          <p:spPr bwMode="gray">
            <a:xfrm flipH="1">
              <a:off x="10276401" y="2252746"/>
              <a:ext cx="145978" cy="661803"/>
            </a:xfrm>
            <a:prstGeom prst="flowChartDelay">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0" tIns="0" rIns="0" bIns="0" rtlCol="0" anchor="ctr"/>
            <a:lstStyle/>
            <a:p>
              <a:pPr algn="ctr">
                <a:spcBef>
                  <a:spcPts val="1100"/>
                </a:spcBef>
                <a:buClr>
                  <a:schemeClr val="tx2"/>
                </a:buClr>
                <a:buSzPct val="70000"/>
                <a:buFont typeface="Wingdings" pitchFamily="2" charset="2"/>
                <a:buNone/>
              </a:pPr>
              <a:endParaRPr lang="en-US"/>
            </a:p>
          </p:txBody>
        </p:sp>
        <p:cxnSp>
          <p:nvCxnSpPr>
            <p:cNvPr id="557" name="Straight Connector 556">
              <a:extLst>
                <a:ext uri="{FF2B5EF4-FFF2-40B4-BE49-F238E27FC236}">
                  <a16:creationId xmlns:a16="http://schemas.microsoft.com/office/drawing/2014/main" id="{7517F9FE-07C2-4EF1-A055-DD61A2B0BC8C}"/>
                </a:ext>
              </a:extLst>
            </p:cNvPr>
            <p:cNvCxnSpPr>
              <a:cxnSpLocks/>
            </p:cNvCxnSpPr>
            <p:nvPr/>
          </p:nvCxnSpPr>
          <p:spPr bwMode="gray">
            <a:xfrm>
              <a:off x="10421715" y="2217421"/>
              <a:ext cx="0" cy="73245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8" name="Straight Connector 557">
              <a:extLst>
                <a:ext uri="{FF2B5EF4-FFF2-40B4-BE49-F238E27FC236}">
                  <a16:creationId xmlns:a16="http://schemas.microsoft.com/office/drawing/2014/main" id="{743E1997-EC6E-4801-8B8F-D12B534500FA}"/>
                </a:ext>
              </a:extLst>
            </p:cNvPr>
            <p:cNvCxnSpPr>
              <a:cxnSpLocks/>
            </p:cNvCxnSpPr>
            <p:nvPr/>
          </p:nvCxnSpPr>
          <p:spPr bwMode="gray">
            <a:xfrm>
              <a:off x="10680954" y="2217421"/>
              <a:ext cx="0" cy="73245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59" name="Straight Connector 558">
              <a:extLst>
                <a:ext uri="{FF2B5EF4-FFF2-40B4-BE49-F238E27FC236}">
                  <a16:creationId xmlns:a16="http://schemas.microsoft.com/office/drawing/2014/main" id="{6C9AF8BE-396D-4378-862C-412D04FB156B}"/>
                </a:ext>
              </a:extLst>
            </p:cNvPr>
            <p:cNvCxnSpPr>
              <a:cxnSpLocks/>
            </p:cNvCxnSpPr>
            <p:nvPr/>
          </p:nvCxnSpPr>
          <p:spPr bwMode="gray">
            <a:xfrm>
              <a:off x="11199433" y="2217421"/>
              <a:ext cx="0" cy="73245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60" name="Straight Connector 559">
              <a:extLst>
                <a:ext uri="{FF2B5EF4-FFF2-40B4-BE49-F238E27FC236}">
                  <a16:creationId xmlns:a16="http://schemas.microsoft.com/office/drawing/2014/main" id="{656F5D2D-9669-4420-9CF3-BF9FBC18D266}"/>
                </a:ext>
              </a:extLst>
            </p:cNvPr>
            <p:cNvCxnSpPr>
              <a:cxnSpLocks/>
            </p:cNvCxnSpPr>
            <p:nvPr/>
          </p:nvCxnSpPr>
          <p:spPr bwMode="gray">
            <a:xfrm>
              <a:off x="10940193" y="2217421"/>
              <a:ext cx="0" cy="73245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561" name="Group 560">
              <a:extLst>
                <a:ext uri="{FF2B5EF4-FFF2-40B4-BE49-F238E27FC236}">
                  <a16:creationId xmlns:a16="http://schemas.microsoft.com/office/drawing/2014/main" id="{46DE3502-EE40-4AAF-ADF2-A2934A1D85C9}"/>
                </a:ext>
              </a:extLst>
            </p:cNvPr>
            <p:cNvGrpSpPr/>
            <p:nvPr/>
          </p:nvGrpSpPr>
          <p:grpSpPr bwMode="gray">
            <a:xfrm>
              <a:off x="10421715" y="2916308"/>
              <a:ext cx="777718" cy="271692"/>
              <a:chOff x="10421715" y="2455546"/>
              <a:chExt cx="777718" cy="732454"/>
            </a:xfrm>
          </p:grpSpPr>
          <p:cxnSp>
            <p:nvCxnSpPr>
              <p:cNvPr id="562" name="Straight Connector 561">
                <a:extLst>
                  <a:ext uri="{FF2B5EF4-FFF2-40B4-BE49-F238E27FC236}">
                    <a16:creationId xmlns:a16="http://schemas.microsoft.com/office/drawing/2014/main" id="{58F63F4B-0C32-4E4F-92A0-278749679643}"/>
                  </a:ext>
                </a:extLst>
              </p:cNvPr>
              <p:cNvCxnSpPr>
                <a:cxnSpLocks/>
              </p:cNvCxnSpPr>
              <p:nvPr/>
            </p:nvCxnSpPr>
            <p:spPr bwMode="gray">
              <a:xfrm>
                <a:off x="10421715" y="2455546"/>
                <a:ext cx="0" cy="73245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563" name="Straight Connector 562">
                <a:extLst>
                  <a:ext uri="{FF2B5EF4-FFF2-40B4-BE49-F238E27FC236}">
                    <a16:creationId xmlns:a16="http://schemas.microsoft.com/office/drawing/2014/main" id="{AA50F341-F22D-4B31-B0C6-B03115EF16DF}"/>
                  </a:ext>
                </a:extLst>
              </p:cNvPr>
              <p:cNvCxnSpPr>
                <a:cxnSpLocks/>
              </p:cNvCxnSpPr>
              <p:nvPr/>
            </p:nvCxnSpPr>
            <p:spPr bwMode="gray">
              <a:xfrm>
                <a:off x="11199433" y="2455546"/>
                <a:ext cx="0" cy="73245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445" name="Group 444">
            <a:extLst>
              <a:ext uri="{FF2B5EF4-FFF2-40B4-BE49-F238E27FC236}">
                <a16:creationId xmlns:a16="http://schemas.microsoft.com/office/drawing/2014/main" id="{15846C15-334B-4B78-9BBA-C6D16731B41C}"/>
              </a:ext>
            </a:extLst>
          </p:cNvPr>
          <p:cNvGrpSpPr/>
          <p:nvPr/>
        </p:nvGrpSpPr>
        <p:grpSpPr bwMode="gray">
          <a:xfrm>
            <a:off x="5207600" y="2040058"/>
            <a:ext cx="390819" cy="484929"/>
            <a:chOff x="1181866" y="2927540"/>
            <a:chExt cx="254703" cy="316036"/>
          </a:xfrm>
        </p:grpSpPr>
        <p:sp>
          <p:nvSpPr>
            <p:cNvPr id="446" name="Freeform: Shape 445">
              <a:extLst>
                <a:ext uri="{FF2B5EF4-FFF2-40B4-BE49-F238E27FC236}">
                  <a16:creationId xmlns:a16="http://schemas.microsoft.com/office/drawing/2014/main" id="{72903E58-D155-4EF3-8C46-0991CF7D9A37}"/>
                </a:ext>
              </a:extLst>
            </p:cNvPr>
            <p:cNvSpPr/>
            <p:nvPr/>
          </p:nvSpPr>
          <p:spPr bwMode="gray">
            <a:xfrm flipH="1">
              <a:off x="1332174" y="3069160"/>
              <a:ext cx="101951" cy="41204"/>
            </a:xfrm>
            <a:custGeom>
              <a:avLst/>
              <a:gdLst>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8708 w 297254"/>
                <a:gd name="connsiteY12" fmla="*/ 257973 h 921450"/>
                <a:gd name="connsiteX13" fmla="*/ 226749 w 297254"/>
                <a:gd name="connsiteY13" fmla="*/ 254635 h 921450"/>
                <a:gd name="connsiteX14" fmla="*/ 226749 w 297254"/>
                <a:gd name="connsiteY14" fmla="*/ 76034 h 921450"/>
                <a:gd name="connsiteX15" fmla="*/ 150714 w 297254"/>
                <a:gd name="connsiteY15"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6749 w 297254"/>
                <a:gd name="connsiteY12" fmla="*/ 254635 h 921450"/>
                <a:gd name="connsiteX13" fmla="*/ 226749 w 297254"/>
                <a:gd name="connsiteY13" fmla="*/ 76034 h 921450"/>
                <a:gd name="connsiteX14" fmla="*/ 150714 w 297254"/>
                <a:gd name="connsiteY14"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0 w 297254"/>
                <a:gd name="connsiteY7" fmla="*/ 921450 h 921450"/>
                <a:gd name="connsiteX8" fmla="*/ 297254 w 297254"/>
                <a:gd name="connsiteY8" fmla="*/ 921450 h 921450"/>
                <a:gd name="connsiteX9" fmla="*/ 297254 w 297254"/>
                <a:gd name="connsiteY9" fmla="*/ 374772 h 921450"/>
                <a:gd name="connsiteX10" fmla="*/ 297254 w 297254"/>
                <a:gd name="connsiteY10" fmla="*/ 372716 h 921450"/>
                <a:gd name="connsiteX11" fmla="*/ 226749 w 297254"/>
                <a:gd name="connsiteY11" fmla="*/ 254635 h 921450"/>
                <a:gd name="connsiteX12" fmla="*/ 226749 w 297254"/>
                <a:gd name="connsiteY12" fmla="*/ 76034 h 921450"/>
                <a:gd name="connsiteX13" fmla="*/ 150714 w 297254"/>
                <a:gd name="connsiteY13"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11" fmla="*/ 226749 w 297254"/>
                <a:gd name="connsiteY11" fmla="*/ 76034 h 921450"/>
                <a:gd name="connsiteX12" fmla="*/ 150714 w 297254"/>
                <a:gd name="connsiteY12" fmla="*/ 0 h 921450"/>
                <a:gd name="connsiteX0" fmla="*/ 150714 w 297254"/>
                <a:gd name="connsiteY0" fmla="*/ 0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10" fmla="*/ 226749 w 297254"/>
                <a:gd name="connsiteY10" fmla="*/ 76034 h 374772"/>
                <a:gd name="connsiteX11" fmla="*/ 150714 w 297254"/>
                <a:gd name="connsiteY11" fmla="*/ 0 h 374772"/>
                <a:gd name="connsiteX0" fmla="*/ 150714 w 297254"/>
                <a:gd name="connsiteY0" fmla="*/ 0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10" fmla="*/ 150714 w 297254"/>
                <a:gd name="connsiteY10" fmla="*/ 0 h 374772"/>
                <a:gd name="connsiteX0" fmla="*/ 226749 w 297254"/>
                <a:gd name="connsiteY0" fmla="*/ 254635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0" fmla="*/ 226749 w 297254"/>
                <a:gd name="connsiteY0" fmla="*/ 254635 h 374772"/>
                <a:gd name="connsiteX1" fmla="*/ 148627 w 297254"/>
                <a:gd name="connsiteY1" fmla="*/ 421 h 374772"/>
                <a:gd name="connsiteX2" fmla="*/ 146540 w 297254"/>
                <a:gd name="connsiteY2" fmla="*/ 0 h 374772"/>
                <a:gd name="connsiteX3" fmla="*/ 70505 w 297254"/>
                <a:gd name="connsiteY3" fmla="*/ 254635 h 374772"/>
                <a:gd name="connsiteX4" fmla="*/ 0 w 297254"/>
                <a:gd name="connsiteY4" fmla="*/ 372716 h 374772"/>
                <a:gd name="connsiteX5" fmla="*/ 0 w 297254"/>
                <a:gd name="connsiteY5" fmla="*/ 374772 h 374772"/>
                <a:gd name="connsiteX6" fmla="*/ 297254 w 297254"/>
                <a:gd name="connsiteY6" fmla="*/ 374772 h 374772"/>
                <a:gd name="connsiteX7" fmla="*/ 297254 w 297254"/>
                <a:gd name="connsiteY7" fmla="*/ 372716 h 374772"/>
                <a:gd name="connsiteX8" fmla="*/ 226749 w 297254"/>
                <a:gd name="connsiteY8" fmla="*/ 254635 h 374772"/>
                <a:gd name="connsiteX0" fmla="*/ 226749 w 297254"/>
                <a:gd name="connsiteY0" fmla="*/ 254215 h 374352"/>
                <a:gd name="connsiteX1" fmla="*/ 148627 w 297254"/>
                <a:gd name="connsiteY1" fmla="*/ 1 h 374352"/>
                <a:gd name="connsiteX2" fmla="*/ 70505 w 297254"/>
                <a:gd name="connsiteY2" fmla="*/ 254215 h 374352"/>
                <a:gd name="connsiteX3" fmla="*/ 0 w 297254"/>
                <a:gd name="connsiteY3" fmla="*/ 372296 h 374352"/>
                <a:gd name="connsiteX4" fmla="*/ 0 w 297254"/>
                <a:gd name="connsiteY4" fmla="*/ 374352 h 374352"/>
                <a:gd name="connsiteX5" fmla="*/ 297254 w 297254"/>
                <a:gd name="connsiteY5" fmla="*/ 374352 h 374352"/>
                <a:gd name="connsiteX6" fmla="*/ 297254 w 297254"/>
                <a:gd name="connsiteY6" fmla="*/ 372296 h 374352"/>
                <a:gd name="connsiteX7" fmla="*/ 226749 w 297254"/>
                <a:gd name="connsiteY7" fmla="*/ 254215 h 374352"/>
                <a:gd name="connsiteX0" fmla="*/ 226749 w 297254"/>
                <a:gd name="connsiteY0" fmla="*/ -1 h 120136"/>
                <a:gd name="connsiteX1" fmla="*/ 70505 w 297254"/>
                <a:gd name="connsiteY1" fmla="*/ -1 h 120136"/>
                <a:gd name="connsiteX2" fmla="*/ 0 w 297254"/>
                <a:gd name="connsiteY2" fmla="*/ 118080 h 120136"/>
                <a:gd name="connsiteX3" fmla="*/ 0 w 297254"/>
                <a:gd name="connsiteY3" fmla="*/ 120136 h 120136"/>
                <a:gd name="connsiteX4" fmla="*/ 297254 w 297254"/>
                <a:gd name="connsiteY4" fmla="*/ 120136 h 120136"/>
                <a:gd name="connsiteX5" fmla="*/ 297254 w 297254"/>
                <a:gd name="connsiteY5" fmla="*/ 118080 h 120136"/>
                <a:gd name="connsiteX6" fmla="*/ 226749 w 297254"/>
                <a:gd name="connsiteY6" fmla="*/ -1 h 120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54" h="120136">
                  <a:moveTo>
                    <a:pt x="226749" y="-1"/>
                  </a:moveTo>
                  <a:lnTo>
                    <a:pt x="70505" y="-1"/>
                  </a:lnTo>
                  <a:lnTo>
                    <a:pt x="0" y="118080"/>
                  </a:lnTo>
                  <a:lnTo>
                    <a:pt x="0" y="120136"/>
                  </a:lnTo>
                  <a:lnTo>
                    <a:pt x="297254" y="120136"/>
                  </a:lnTo>
                  <a:lnTo>
                    <a:pt x="297254" y="118080"/>
                  </a:lnTo>
                  <a:lnTo>
                    <a:pt x="226749" y="-1"/>
                  </a:ln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sp>
          <p:nvSpPr>
            <p:cNvPr id="447" name="Freeform: Shape 446">
              <a:extLst>
                <a:ext uri="{FF2B5EF4-FFF2-40B4-BE49-F238E27FC236}">
                  <a16:creationId xmlns:a16="http://schemas.microsoft.com/office/drawing/2014/main" id="{3F7B6E70-1758-4873-95F3-5DB236B70FF1}"/>
                </a:ext>
              </a:extLst>
            </p:cNvPr>
            <p:cNvSpPr/>
            <p:nvPr/>
          </p:nvSpPr>
          <p:spPr bwMode="gray">
            <a:xfrm flipH="1">
              <a:off x="1356355" y="2927540"/>
              <a:ext cx="53588" cy="144484"/>
            </a:xfrm>
            <a:custGeom>
              <a:avLst/>
              <a:gdLst>
                <a:gd name="connsiteX0" fmla="*/ 27510 w 53588"/>
                <a:gd name="connsiteY0" fmla="*/ 0 h 144484"/>
                <a:gd name="connsiteX1" fmla="*/ 26794 w 53588"/>
                <a:gd name="connsiteY1" fmla="*/ 145 h 144484"/>
                <a:gd name="connsiteX2" fmla="*/ 26078 w 53588"/>
                <a:gd name="connsiteY2" fmla="*/ 0 h 144484"/>
                <a:gd name="connsiteX3" fmla="*/ 0 w 53588"/>
                <a:gd name="connsiteY3" fmla="*/ 26078 h 144484"/>
                <a:gd name="connsiteX4" fmla="*/ 0 w 53588"/>
                <a:gd name="connsiteY4" fmla="*/ 83228 h 144484"/>
                <a:gd name="connsiteX5" fmla="*/ 0 w 53588"/>
                <a:gd name="connsiteY5" fmla="*/ 87334 h 144484"/>
                <a:gd name="connsiteX6" fmla="*/ 0 w 53588"/>
                <a:gd name="connsiteY6" fmla="*/ 144484 h 144484"/>
                <a:gd name="connsiteX7" fmla="*/ 53588 w 53588"/>
                <a:gd name="connsiteY7" fmla="*/ 144484 h 144484"/>
                <a:gd name="connsiteX8" fmla="*/ 53588 w 53588"/>
                <a:gd name="connsiteY8" fmla="*/ 87334 h 144484"/>
                <a:gd name="connsiteX9" fmla="*/ 53588 w 53588"/>
                <a:gd name="connsiteY9" fmla="*/ 83228 h 144484"/>
                <a:gd name="connsiteX10" fmla="*/ 53588 w 53588"/>
                <a:gd name="connsiteY10" fmla="*/ 26078 h 144484"/>
                <a:gd name="connsiteX11" fmla="*/ 27510 w 53588"/>
                <a:gd name="connsiteY11" fmla="*/ 0 h 14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588" h="144484">
                  <a:moveTo>
                    <a:pt x="27510" y="0"/>
                  </a:moveTo>
                  <a:lnTo>
                    <a:pt x="26794" y="145"/>
                  </a:lnTo>
                  <a:lnTo>
                    <a:pt x="26078" y="0"/>
                  </a:lnTo>
                  <a:cubicBezTo>
                    <a:pt x="11675" y="0"/>
                    <a:pt x="0" y="11676"/>
                    <a:pt x="0" y="26078"/>
                  </a:cubicBezTo>
                  <a:lnTo>
                    <a:pt x="0" y="83228"/>
                  </a:lnTo>
                  <a:lnTo>
                    <a:pt x="0" y="87334"/>
                  </a:lnTo>
                  <a:lnTo>
                    <a:pt x="0" y="144484"/>
                  </a:lnTo>
                  <a:lnTo>
                    <a:pt x="53588" y="144484"/>
                  </a:lnTo>
                  <a:lnTo>
                    <a:pt x="53588" y="87334"/>
                  </a:lnTo>
                  <a:lnTo>
                    <a:pt x="53588" y="83228"/>
                  </a:lnTo>
                  <a:lnTo>
                    <a:pt x="53588" y="26078"/>
                  </a:lnTo>
                  <a:cubicBezTo>
                    <a:pt x="53588" y="11676"/>
                    <a:pt x="41912" y="0"/>
                    <a:pt x="27510" y="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wrap="square" rtlCol="0" anchor="ctr">
              <a:noAutofit/>
            </a:bodyPr>
            <a:lstStyle/>
            <a:p>
              <a:pPr algn="ctr"/>
              <a:endParaRPr lang="en-US" sz="1400"/>
            </a:p>
          </p:txBody>
        </p:sp>
        <p:sp>
          <p:nvSpPr>
            <p:cNvPr id="448" name="Freeform: Shape 447">
              <a:extLst>
                <a:ext uri="{FF2B5EF4-FFF2-40B4-BE49-F238E27FC236}">
                  <a16:creationId xmlns:a16="http://schemas.microsoft.com/office/drawing/2014/main" id="{7127805F-E7D2-49B3-A73E-6F2EE72A380B}"/>
                </a:ext>
              </a:extLst>
            </p:cNvPr>
            <p:cNvSpPr/>
            <p:nvPr/>
          </p:nvSpPr>
          <p:spPr bwMode="gray">
            <a:xfrm flipH="1">
              <a:off x="1329729" y="3111496"/>
              <a:ext cx="106840" cy="56114"/>
            </a:xfrm>
            <a:custGeom>
              <a:avLst/>
              <a:gdLst>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8708 w 297254"/>
                <a:gd name="connsiteY12" fmla="*/ 257973 h 921450"/>
                <a:gd name="connsiteX13" fmla="*/ 226749 w 297254"/>
                <a:gd name="connsiteY13" fmla="*/ 254635 h 921450"/>
                <a:gd name="connsiteX14" fmla="*/ 226749 w 297254"/>
                <a:gd name="connsiteY14" fmla="*/ 76034 h 921450"/>
                <a:gd name="connsiteX15" fmla="*/ 150714 w 297254"/>
                <a:gd name="connsiteY15"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6749 w 297254"/>
                <a:gd name="connsiteY12" fmla="*/ 254635 h 921450"/>
                <a:gd name="connsiteX13" fmla="*/ 226749 w 297254"/>
                <a:gd name="connsiteY13" fmla="*/ 76034 h 921450"/>
                <a:gd name="connsiteX14" fmla="*/ 150714 w 297254"/>
                <a:gd name="connsiteY14"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0 w 297254"/>
                <a:gd name="connsiteY7" fmla="*/ 921450 h 921450"/>
                <a:gd name="connsiteX8" fmla="*/ 297254 w 297254"/>
                <a:gd name="connsiteY8" fmla="*/ 921450 h 921450"/>
                <a:gd name="connsiteX9" fmla="*/ 297254 w 297254"/>
                <a:gd name="connsiteY9" fmla="*/ 374772 h 921450"/>
                <a:gd name="connsiteX10" fmla="*/ 297254 w 297254"/>
                <a:gd name="connsiteY10" fmla="*/ 372716 h 921450"/>
                <a:gd name="connsiteX11" fmla="*/ 226749 w 297254"/>
                <a:gd name="connsiteY11" fmla="*/ 254635 h 921450"/>
                <a:gd name="connsiteX12" fmla="*/ 226749 w 297254"/>
                <a:gd name="connsiteY12" fmla="*/ 76034 h 921450"/>
                <a:gd name="connsiteX13" fmla="*/ 150714 w 297254"/>
                <a:gd name="connsiteY13"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254635 h 921450"/>
                <a:gd name="connsiteX4" fmla="*/ 0 w 297254"/>
                <a:gd name="connsiteY4" fmla="*/ 372716 h 921450"/>
                <a:gd name="connsiteX5" fmla="*/ 0 w 297254"/>
                <a:gd name="connsiteY5" fmla="*/ 374772 h 921450"/>
                <a:gd name="connsiteX6" fmla="*/ 0 w 297254"/>
                <a:gd name="connsiteY6" fmla="*/ 921450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11" fmla="*/ 226749 w 297254"/>
                <a:gd name="connsiteY11" fmla="*/ 76034 h 921450"/>
                <a:gd name="connsiteX12" fmla="*/ 150714 w 297254"/>
                <a:gd name="connsiteY12" fmla="*/ 0 h 921450"/>
                <a:gd name="connsiteX0" fmla="*/ 226749 w 297254"/>
                <a:gd name="connsiteY0" fmla="*/ 76034 h 921450"/>
                <a:gd name="connsiteX1" fmla="*/ 148627 w 297254"/>
                <a:gd name="connsiteY1" fmla="*/ 421 h 921450"/>
                <a:gd name="connsiteX2" fmla="*/ 146540 w 297254"/>
                <a:gd name="connsiteY2" fmla="*/ 0 h 921450"/>
                <a:gd name="connsiteX3" fmla="*/ 70505 w 297254"/>
                <a:gd name="connsiteY3" fmla="*/ 254635 h 921450"/>
                <a:gd name="connsiteX4" fmla="*/ 0 w 297254"/>
                <a:gd name="connsiteY4" fmla="*/ 372716 h 921450"/>
                <a:gd name="connsiteX5" fmla="*/ 0 w 297254"/>
                <a:gd name="connsiteY5" fmla="*/ 374772 h 921450"/>
                <a:gd name="connsiteX6" fmla="*/ 0 w 297254"/>
                <a:gd name="connsiteY6" fmla="*/ 921450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11" fmla="*/ 226749 w 297254"/>
                <a:gd name="connsiteY11" fmla="*/ 76034 h 921450"/>
                <a:gd name="connsiteX0" fmla="*/ 226749 w 297254"/>
                <a:gd name="connsiteY0" fmla="*/ 254635 h 921450"/>
                <a:gd name="connsiteX1" fmla="*/ 148627 w 297254"/>
                <a:gd name="connsiteY1" fmla="*/ 421 h 921450"/>
                <a:gd name="connsiteX2" fmla="*/ 146540 w 297254"/>
                <a:gd name="connsiteY2" fmla="*/ 0 h 921450"/>
                <a:gd name="connsiteX3" fmla="*/ 70505 w 297254"/>
                <a:gd name="connsiteY3" fmla="*/ 254635 h 921450"/>
                <a:gd name="connsiteX4" fmla="*/ 0 w 297254"/>
                <a:gd name="connsiteY4" fmla="*/ 372716 h 921450"/>
                <a:gd name="connsiteX5" fmla="*/ 0 w 297254"/>
                <a:gd name="connsiteY5" fmla="*/ 374772 h 921450"/>
                <a:gd name="connsiteX6" fmla="*/ 0 w 297254"/>
                <a:gd name="connsiteY6" fmla="*/ 921450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0" fmla="*/ 226749 w 297254"/>
                <a:gd name="connsiteY0" fmla="*/ 254215 h 921030"/>
                <a:gd name="connsiteX1" fmla="*/ 148627 w 297254"/>
                <a:gd name="connsiteY1" fmla="*/ 1 h 921030"/>
                <a:gd name="connsiteX2" fmla="*/ 70505 w 297254"/>
                <a:gd name="connsiteY2" fmla="*/ 254215 h 921030"/>
                <a:gd name="connsiteX3" fmla="*/ 0 w 297254"/>
                <a:gd name="connsiteY3" fmla="*/ 372296 h 921030"/>
                <a:gd name="connsiteX4" fmla="*/ 0 w 297254"/>
                <a:gd name="connsiteY4" fmla="*/ 374352 h 921030"/>
                <a:gd name="connsiteX5" fmla="*/ 0 w 297254"/>
                <a:gd name="connsiteY5" fmla="*/ 921030 h 921030"/>
                <a:gd name="connsiteX6" fmla="*/ 297254 w 297254"/>
                <a:gd name="connsiteY6" fmla="*/ 921030 h 921030"/>
                <a:gd name="connsiteX7" fmla="*/ 297254 w 297254"/>
                <a:gd name="connsiteY7" fmla="*/ 374352 h 921030"/>
                <a:gd name="connsiteX8" fmla="*/ 297254 w 297254"/>
                <a:gd name="connsiteY8" fmla="*/ 372296 h 921030"/>
                <a:gd name="connsiteX9" fmla="*/ 226749 w 297254"/>
                <a:gd name="connsiteY9" fmla="*/ 254215 h 921030"/>
                <a:gd name="connsiteX0" fmla="*/ 226749 w 297254"/>
                <a:gd name="connsiteY0" fmla="*/ 0 h 666815"/>
                <a:gd name="connsiteX1" fmla="*/ 70505 w 297254"/>
                <a:gd name="connsiteY1" fmla="*/ 0 h 666815"/>
                <a:gd name="connsiteX2" fmla="*/ 0 w 297254"/>
                <a:gd name="connsiteY2" fmla="*/ 118081 h 666815"/>
                <a:gd name="connsiteX3" fmla="*/ 0 w 297254"/>
                <a:gd name="connsiteY3" fmla="*/ 120137 h 666815"/>
                <a:gd name="connsiteX4" fmla="*/ 0 w 297254"/>
                <a:gd name="connsiteY4" fmla="*/ 666815 h 666815"/>
                <a:gd name="connsiteX5" fmla="*/ 297254 w 297254"/>
                <a:gd name="connsiteY5" fmla="*/ 666815 h 666815"/>
                <a:gd name="connsiteX6" fmla="*/ 297254 w 297254"/>
                <a:gd name="connsiteY6" fmla="*/ 120137 h 666815"/>
                <a:gd name="connsiteX7" fmla="*/ 297254 w 297254"/>
                <a:gd name="connsiteY7" fmla="*/ 118081 h 666815"/>
                <a:gd name="connsiteX8" fmla="*/ 226749 w 297254"/>
                <a:gd name="connsiteY8" fmla="*/ 0 h 666815"/>
                <a:gd name="connsiteX0" fmla="*/ 226749 w 297254"/>
                <a:gd name="connsiteY0" fmla="*/ 0 h 666815"/>
                <a:gd name="connsiteX1" fmla="*/ 0 w 297254"/>
                <a:gd name="connsiteY1" fmla="*/ 118081 h 666815"/>
                <a:gd name="connsiteX2" fmla="*/ 0 w 297254"/>
                <a:gd name="connsiteY2" fmla="*/ 120137 h 666815"/>
                <a:gd name="connsiteX3" fmla="*/ 0 w 297254"/>
                <a:gd name="connsiteY3" fmla="*/ 666815 h 666815"/>
                <a:gd name="connsiteX4" fmla="*/ 297254 w 297254"/>
                <a:gd name="connsiteY4" fmla="*/ 666815 h 666815"/>
                <a:gd name="connsiteX5" fmla="*/ 297254 w 297254"/>
                <a:gd name="connsiteY5" fmla="*/ 120137 h 666815"/>
                <a:gd name="connsiteX6" fmla="*/ 297254 w 297254"/>
                <a:gd name="connsiteY6" fmla="*/ 118081 h 666815"/>
                <a:gd name="connsiteX7" fmla="*/ 226749 w 297254"/>
                <a:gd name="connsiteY7" fmla="*/ 0 h 666815"/>
                <a:gd name="connsiteX0" fmla="*/ 297254 w 297254"/>
                <a:gd name="connsiteY0" fmla="*/ 0 h 548734"/>
                <a:gd name="connsiteX1" fmla="*/ 0 w 297254"/>
                <a:gd name="connsiteY1" fmla="*/ 0 h 548734"/>
                <a:gd name="connsiteX2" fmla="*/ 0 w 297254"/>
                <a:gd name="connsiteY2" fmla="*/ 2056 h 548734"/>
                <a:gd name="connsiteX3" fmla="*/ 0 w 297254"/>
                <a:gd name="connsiteY3" fmla="*/ 548734 h 548734"/>
                <a:gd name="connsiteX4" fmla="*/ 297254 w 297254"/>
                <a:gd name="connsiteY4" fmla="*/ 548734 h 548734"/>
                <a:gd name="connsiteX5" fmla="*/ 297254 w 297254"/>
                <a:gd name="connsiteY5" fmla="*/ 2056 h 548734"/>
                <a:gd name="connsiteX6" fmla="*/ 297254 w 297254"/>
                <a:gd name="connsiteY6" fmla="*/ 0 h 548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54" h="548734">
                  <a:moveTo>
                    <a:pt x="297254" y="0"/>
                  </a:moveTo>
                  <a:lnTo>
                    <a:pt x="0" y="0"/>
                  </a:lnTo>
                  <a:lnTo>
                    <a:pt x="0" y="2056"/>
                  </a:lnTo>
                  <a:lnTo>
                    <a:pt x="0" y="548734"/>
                  </a:lnTo>
                  <a:lnTo>
                    <a:pt x="297254" y="548734"/>
                  </a:lnTo>
                  <a:lnTo>
                    <a:pt x="297254" y="2056"/>
                  </a:lnTo>
                  <a:lnTo>
                    <a:pt x="297254" y="0"/>
                  </a:ln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sp>
          <p:nvSpPr>
            <p:cNvPr id="449" name="Freeform: Shape 448">
              <a:extLst>
                <a:ext uri="{FF2B5EF4-FFF2-40B4-BE49-F238E27FC236}">
                  <a16:creationId xmlns:a16="http://schemas.microsoft.com/office/drawing/2014/main" id="{484EDA07-63B9-44BE-85D0-0F1EB7E24899}"/>
                </a:ext>
              </a:extLst>
            </p:cNvPr>
            <p:cNvSpPr/>
            <p:nvPr/>
          </p:nvSpPr>
          <p:spPr bwMode="gray">
            <a:xfrm rot="10800000" flipH="1">
              <a:off x="1356355" y="3203087"/>
              <a:ext cx="53588" cy="40489"/>
            </a:xfrm>
            <a:custGeom>
              <a:avLst/>
              <a:gdLst>
                <a:gd name="connsiteX0" fmla="*/ 0 w 53588"/>
                <a:gd name="connsiteY0" fmla="*/ 40489 h 40489"/>
                <a:gd name="connsiteX1" fmla="*/ 53588 w 53588"/>
                <a:gd name="connsiteY1" fmla="*/ 40489 h 40489"/>
                <a:gd name="connsiteX2" fmla="*/ 53588 w 53588"/>
                <a:gd name="connsiteY2" fmla="*/ 26078 h 40489"/>
                <a:gd name="connsiteX3" fmla="*/ 27510 w 53588"/>
                <a:gd name="connsiteY3" fmla="*/ 0 h 40489"/>
                <a:gd name="connsiteX4" fmla="*/ 26794 w 53588"/>
                <a:gd name="connsiteY4" fmla="*/ 145 h 40489"/>
                <a:gd name="connsiteX5" fmla="*/ 26078 w 53588"/>
                <a:gd name="connsiteY5" fmla="*/ 0 h 40489"/>
                <a:gd name="connsiteX6" fmla="*/ 0 w 53588"/>
                <a:gd name="connsiteY6" fmla="*/ 26078 h 4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588" h="40489">
                  <a:moveTo>
                    <a:pt x="0" y="40489"/>
                  </a:moveTo>
                  <a:lnTo>
                    <a:pt x="53588" y="40489"/>
                  </a:lnTo>
                  <a:lnTo>
                    <a:pt x="53588" y="26078"/>
                  </a:lnTo>
                  <a:cubicBezTo>
                    <a:pt x="53588" y="11676"/>
                    <a:pt x="41912" y="0"/>
                    <a:pt x="27510" y="0"/>
                  </a:cubicBezTo>
                  <a:lnTo>
                    <a:pt x="26794" y="145"/>
                  </a:lnTo>
                  <a:lnTo>
                    <a:pt x="26078" y="0"/>
                  </a:lnTo>
                  <a:cubicBezTo>
                    <a:pt x="11675" y="0"/>
                    <a:pt x="0" y="11676"/>
                    <a:pt x="0" y="26078"/>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wrap="square" rtlCol="0" anchor="ctr">
              <a:noAutofit/>
            </a:bodyPr>
            <a:lstStyle/>
            <a:p>
              <a:pPr algn="ctr"/>
              <a:endParaRPr lang="en-US" sz="1400"/>
            </a:p>
          </p:txBody>
        </p:sp>
        <p:sp>
          <p:nvSpPr>
            <p:cNvPr id="450" name="Freeform: Shape 449">
              <a:extLst>
                <a:ext uri="{FF2B5EF4-FFF2-40B4-BE49-F238E27FC236}">
                  <a16:creationId xmlns:a16="http://schemas.microsoft.com/office/drawing/2014/main" id="{C8B6BF22-CAC6-4227-B5A3-CE5526231D75}"/>
                </a:ext>
              </a:extLst>
            </p:cNvPr>
            <p:cNvSpPr/>
            <p:nvPr/>
          </p:nvSpPr>
          <p:spPr bwMode="gray">
            <a:xfrm rot="10800000" flipH="1">
              <a:off x="1332174" y="3164746"/>
              <a:ext cx="101951" cy="41204"/>
            </a:xfrm>
            <a:custGeom>
              <a:avLst/>
              <a:gdLst>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8708 w 297254"/>
                <a:gd name="connsiteY12" fmla="*/ 257973 h 921450"/>
                <a:gd name="connsiteX13" fmla="*/ 226749 w 297254"/>
                <a:gd name="connsiteY13" fmla="*/ 254635 h 921450"/>
                <a:gd name="connsiteX14" fmla="*/ 226749 w 297254"/>
                <a:gd name="connsiteY14" fmla="*/ 76034 h 921450"/>
                <a:gd name="connsiteX15" fmla="*/ 150714 w 297254"/>
                <a:gd name="connsiteY15"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6749 w 297254"/>
                <a:gd name="connsiteY12" fmla="*/ 254635 h 921450"/>
                <a:gd name="connsiteX13" fmla="*/ 226749 w 297254"/>
                <a:gd name="connsiteY13" fmla="*/ 76034 h 921450"/>
                <a:gd name="connsiteX14" fmla="*/ 150714 w 297254"/>
                <a:gd name="connsiteY14"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0 w 297254"/>
                <a:gd name="connsiteY7" fmla="*/ 921450 h 921450"/>
                <a:gd name="connsiteX8" fmla="*/ 297254 w 297254"/>
                <a:gd name="connsiteY8" fmla="*/ 921450 h 921450"/>
                <a:gd name="connsiteX9" fmla="*/ 297254 w 297254"/>
                <a:gd name="connsiteY9" fmla="*/ 374772 h 921450"/>
                <a:gd name="connsiteX10" fmla="*/ 297254 w 297254"/>
                <a:gd name="connsiteY10" fmla="*/ 372716 h 921450"/>
                <a:gd name="connsiteX11" fmla="*/ 226749 w 297254"/>
                <a:gd name="connsiteY11" fmla="*/ 254635 h 921450"/>
                <a:gd name="connsiteX12" fmla="*/ 226749 w 297254"/>
                <a:gd name="connsiteY12" fmla="*/ 76034 h 921450"/>
                <a:gd name="connsiteX13" fmla="*/ 150714 w 297254"/>
                <a:gd name="connsiteY13"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11" fmla="*/ 226749 w 297254"/>
                <a:gd name="connsiteY11" fmla="*/ 76034 h 921450"/>
                <a:gd name="connsiteX12" fmla="*/ 150714 w 297254"/>
                <a:gd name="connsiteY12" fmla="*/ 0 h 921450"/>
                <a:gd name="connsiteX0" fmla="*/ 150714 w 297254"/>
                <a:gd name="connsiteY0" fmla="*/ 0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10" fmla="*/ 226749 w 297254"/>
                <a:gd name="connsiteY10" fmla="*/ 76034 h 374772"/>
                <a:gd name="connsiteX11" fmla="*/ 150714 w 297254"/>
                <a:gd name="connsiteY11" fmla="*/ 0 h 374772"/>
                <a:gd name="connsiteX0" fmla="*/ 150714 w 297254"/>
                <a:gd name="connsiteY0" fmla="*/ 0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10" fmla="*/ 150714 w 297254"/>
                <a:gd name="connsiteY10" fmla="*/ 0 h 374772"/>
                <a:gd name="connsiteX0" fmla="*/ 226749 w 297254"/>
                <a:gd name="connsiteY0" fmla="*/ 254635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0" fmla="*/ 226749 w 297254"/>
                <a:gd name="connsiteY0" fmla="*/ 254635 h 374772"/>
                <a:gd name="connsiteX1" fmla="*/ 148627 w 297254"/>
                <a:gd name="connsiteY1" fmla="*/ 421 h 374772"/>
                <a:gd name="connsiteX2" fmla="*/ 146540 w 297254"/>
                <a:gd name="connsiteY2" fmla="*/ 0 h 374772"/>
                <a:gd name="connsiteX3" fmla="*/ 70505 w 297254"/>
                <a:gd name="connsiteY3" fmla="*/ 254635 h 374772"/>
                <a:gd name="connsiteX4" fmla="*/ 0 w 297254"/>
                <a:gd name="connsiteY4" fmla="*/ 372716 h 374772"/>
                <a:gd name="connsiteX5" fmla="*/ 0 w 297254"/>
                <a:gd name="connsiteY5" fmla="*/ 374772 h 374772"/>
                <a:gd name="connsiteX6" fmla="*/ 297254 w 297254"/>
                <a:gd name="connsiteY6" fmla="*/ 374772 h 374772"/>
                <a:gd name="connsiteX7" fmla="*/ 297254 w 297254"/>
                <a:gd name="connsiteY7" fmla="*/ 372716 h 374772"/>
                <a:gd name="connsiteX8" fmla="*/ 226749 w 297254"/>
                <a:gd name="connsiteY8" fmla="*/ 254635 h 374772"/>
                <a:gd name="connsiteX0" fmla="*/ 226749 w 297254"/>
                <a:gd name="connsiteY0" fmla="*/ 254215 h 374352"/>
                <a:gd name="connsiteX1" fmla="*/ 148627 w 297254"/>
                <a:gd name="connsiteY1" fmla="*/ 1 h 374352"/>
                <a:gd name="connsiteX2" fmla="*/ 70505 w 297254"/>
                <a:gd name="connsiteY2" fmla="*/ 254215 h 374352"/>
                <a:gd name="connsiteX3" fmla="*/ 0 w 297254"/>
                <a:gd name="connsiteY3" fmla="*/ 372296 h 374352"/>
                <a:gd name="connsiteX4" fmla="*/ 0 w 297254"/>
                <a:gd name="connsiteY4" fmla="*/ 374352 h 374352"/>
                <a:gd name="connsiteX5" fmla="*/ 297254 w 297254"/>
                <a:gd name="connsiteY5" fmla="*/ 374352 h 374352"/>
                <a:gd name="connsiteX6" fmla="*/ 297254 w 297254"/>
                <a:gd name="connsiteY6" fmla="*/ 372296 h 374352"/>
                <a:gd name="connsiteX7" fmla="*/ 226749 w 297254"/>
                <a:gd name="connsiteY7" fmla="*/ 254215 h 374352"/>
                <a:gd name="connsiteX0" fmla="*/ 226749 w 297254"/>
                <a:gd name="connsiteY0" fmla="*/ -1 h 120136"/>
                <a:gd name="connsiteX1" fmla="*/ 70505 w 297254"/>
                <a:gd name="connsiteY1" fmla="*/ -1 h 120136"/>
                <a:gd name="connsiteX2" fmla="*/ 0 w 297254"/>
                <a:gd name="connsiteY2" fmla="*/ 118080 h 120136"/>
                <a:gd name="connsiteX3" fmla="*/ 0 w 297254"/>
                <a:gd name="connsiteY3" fmla="*/ 120136 h 120136"/>
                <a:gd name="connsiteX4" fmla="*/ 297254 w 297254"/>
                <a:gd name="connsiteY4" fmla="*/ 120136 h 120136"/>
                <a:gd name="connsiteX5" fmla="*/ 297254 w 297254"/>
                <a:gd name="connsiteY5" fmla="*/ 118080 h 120136"/>
                <a:gd name="connsiteX6" fmla="*/ 226749 w 297254"/>
                <a:gd name="connsiteY6" fmla="*/ -1 h 120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54" h="120136">
                  <a:moveTo>
                    <a:pt x="226749" y="-1"/>
                  </a:moveTo>
                  <a:lnTo>
                    <a:pt x="70505" y="-1"/>
                  </a:lnTo>
                  <a:lnTo>
                    <a:pt x="0" y="118080"/>
                  </a:lnTo>
                  <a:lnTo>
                    <a:pt x="0" y="120136"/>
                  </a:lnTo>
                  <a:lnTo>
                    <a:pt x="297254" y="120136"/>
                  </a:lnTo>
                  <a:lnTo>
                    <a:pt x="297254" y="118080"/>
                  </a:lnTo>
                  <a:lnTo>
                    <a:pt x="226749" y="-1"/>
                  </a:ln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sp>
          <p:nvSpPr>
            <p:cNvPr id="451" name="Rectangle: Rounded Corners 450">
              <a:extLst>
                <a:ext uri="{FF2B5EF4-FFF2-40B4-BE49-F238E27FC236}">
                  <a16:creationId xmlns:a16="http://schemas.microsoft.com/office/drawing/2014/main" id="{8D76D930-29B0-4698-915E-79E517A26B7D}"/>
                </a:ext>
              </a:extLst>
            </p:cNvPr>
            <p:cNvSpPr/>
            <p:nvPr/>
          </p:nvSpPr>
          <p:spPr bwMode="gray">
            <a:xfrm>
              <a:off x="1181866" y="2927540"/>
              <a:ext cx="93712" cy="316036"/>
            </a:xfrm>
            <a:prstGeom prst="roundRect">
              <a:avLst>
                <a:gd name="adj" fmla="val 43902"/>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452" name="Straight Connector 451">
              <a:extLst>
                <a:ext uri="{FF2B5EF4-FFF2-40B4-BE49-F238E27FC236}">
                  <a16:creationId xmlns:a16="http://schemas.microsoft.com/office/drawing/2014/main" id="{263561A5-FFBC-41B4-B7DC-5DEB260043D8}"/>
                </a:ext>
              </a:extLst>
            </p:cNvPr>
            <p:cNvCxnSpPr>
              <a:cxnSpLocks/>
            </p:cNvCxnSpPr>
            <p:nvPr/>
          </p:nvCxnSpPr>
          <p:spPr bwMode="gray">
            <a:xfrm>
              <a:off x="1273219" y="3213899"/>
              <a:ext cx="83136" cy="0"/>
            </a:xfrm>
            <a:prstGeom prst="line">
              <a:avLst/>
            </a:prstGeom>
            <a:solidFill>
              <a:schemeClr val="accent2">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nvGrpSpPr>
            <p:cNvPr id="453" name="Group 452">
              <a:extLst>
                <a:ext uri="{FF2B5EF4-FFF2-40B4-BE49-F238E27FC236}">
                  <a16:creationId xmlns:a16="http://schemas.microsoft.com/office/drawing/2014/main" id="{A773322C-CB84-475C-8915-65354C7C0479}"/>
                </a:ext>
              </a:extLst>
            </p:cNvPr>
            <p:cNvGrpSpPr/>
            <p:nvPr/>
          </p:nvGrpSpPr>
          <p:grpSpPr bwMode="gray">
            <a:xfrm>
              <a:off x="1303940" y="2975429"/>
              <a:ext cx="49167" cy="25594"/>
              <a:chOff x="10831038" y="4082947"/>
              <a:chExt cx="318025" cy="165549"/>
            </a:xfrm>
          </p:grpSpPr>
          <p:sp>
            <p:nvSpPr>
              <p:cNvPr id="457" name="Arc 456">
                <a:extLst>
                  <a:ext uri="{FF2B5EF4-FFF2-40B4-BE49-F238E27FC236}">
                    <a16:creationId xmlns:a16="http://schemas.microsoft.com/office/drawing/2014/main" id="{4EB4A37C-C0CB-4767-974D-0B87437997C2}"/>
                  </a:ext>
                </a:extLst>
              </p:cNvPr>
              <p:cNvSpPr/>
              <p:nvPr/>
            </p:nvSpPr>
            <p:spPr bwMode="gray">
              <a:xfrm>
                <a:off x="10831038" y="4082947"/>
                <a:ext cx="165549" cy="165549"/>
              </a:xfrm>
              <a:prstGeom prst="arc">
                <a:avLst>
                  <a:gd name="adj1" fmla="val 11037066"/>
                  <a:gd name="adj2" fmla="val 16279283"/>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a:p>
            </p:txBody>
          </p:sp>
          <p:cxnSp>
            <p:nvCxnSpPr>
              <p:cNvPr id="458" name="Straight Connector 457">
                <a:extLst>
                  <a:ext uri="{FF2B5EF4-FFF2-40B4-BE49-F238E27FC236}">
                    <a16:creationId xmlns:a16="http://schemas.microsoft.com/office/drawing/2014/main" id="{327769BD-BD30-460D-991F-F017B7A3E0C6}"/>
                  </a:ext>
                </a:extLst>
              </p:cNvPr>
              <p:cNvCxnSpPr>
                <a:cxnSpLocks/>
              </p:cNvCxnSpPr>
              <p:nvPr/>
            </p:nvCxnSpPr>
            <p:spPr bwMode="gray">
              <a:xfrm>
                <a:off x="10912849" y="4082947"/>
                <a:ext cx="236214"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454" name="Arc 453">
              <a:extLst>
                <a:ext uri="{FF2B5EF4-FFF2-40B4-BE49-F238E27FC236}">
                  <a16:creationId xmlns:a16="http://schemas.microsoft.com/office/drawing/2014/main" id="{103EC3D1-5C22-4CDD-B209-1E3F8FB4CCAC}"/>
                </a:ext>
              </a:extLst>
            </p:cNvPr>
            <p:cNvSpPr/>
            <p:nvPr/>
          </p:nvSpPr>
          <p:spPr bwMode="gray">
            <a:xfrm rot="10800000">
              <a:off x="1278338" y="3157022"/>
              <a:ext cx="25594" cy="25594"/>
            </a:xfrm>
            <a:prstGeom prst="arc">
              <a:avLst>
                <a:gd name="adj1" fmla="val 11037066"/>
                <a:gd name="adj2" fmla="val 16279283"/>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a:p>
          </p:txBody>
        </p:sp>
        <p:cxnSp>
          <p:nvCxnSpPr>
            <p:cNvPr id="455" name="Straight Connector 454">
              <a:extLst>
                <a:ext uri="{FF2B5EF4-FFF2-40B4-BE49-F238E27FC236}">
                  <a16:creationId xmlns:a16="http://schemas.microsoft.com/office/drawing/2014/main" id="{9481B592-7F70-4F13-AA35-A4560206B739}"/>
                </a:ext>
              </a:extLst>
            </p:cNvPr>
            <p:cNvCxnSpPr>
              <a:cxnSpLocks/>
              <a:stCxn id="454" idx="0"/>
              <a:endCxn id="457" idx="0"/>
            </p:cNvCxnSpPr>
            <p:nvPr/>
          </p:nvCxnSpPr>
          <p:spPr bwMode="gray">
            <a:xfrm flipV="1">
              <a:off x="1303902" y="2987344"/>
              <a:ext cx="68" cy="183357"/>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56" name="Straight Connector 455">
              <a:extLst>
                <a:ext uri="{FF2B5EF4-FFF2-40B4-BE49-F238E27FC236}">
                  <a16:creationId xmlns:a16="http://schemas.microsoft.com/office/drawing/2014/main" id="{97C64CDD-B0A9-4F35-9A43-AFB2D7151D2F}"/>
                </a:ext>
              </a:extLst>
            </p:cNvPr>
            <p:cNvCxnSpPr>
              <a:cxnSpLocks/>
            </p:cNvCxnSpPr>
            <p:nvPr/>
          </p:nvCxnSpPr>
          <p:spPr bwMode="gray">
            <a:xfrm flipH="1">
              <a:off x="1267782" y="3182616"/>
              <a:ext cx="23503"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459" name="Group 458">
            <a:extLst>
              <a:ext uri="{FF2B5EF4-FFF2-40B4-BE49-F238E27FC236}">
                <a16:creationId xmlns:a16="http://schemas.microsoft.com/office/drawing/2014/main" id="{5DD50DD5-6B4A-4FFB-A3DD-36C66232E0F2}"/>
              </a:ext>
            </a:extLst>
          </p:cNvPr>
          <p:cNvGrpSpPr>
            <a:grpSpLocks noChangeAspect="1"/>
          </p:cNvGrpSpPr>
          <p:nvPr/>
        </p:nvGrpSpPr>
        <p:grpSpPr bwMode="gray">
          <a:xfrm>
            <a:off x="2841754" y="2049086"/>
            <a:ext cx="409732" cy="475901"/>
            <a:chOff x="5383725" y="1450976"/>
            <a:chExt cx="272094" cy="316036"/>
          </a:xfrm>
        </p:grpSpPr>
        <p:cxnSp>
          <p:nvCxnSpPr>
            <p:cNvPr id="460" name="Straight Connector 459">
              <a:extLst>
                <a:ext uri="{FF2B5EF4-FFF2-40B4-BE49-F238E27FC236}">
                  <a16:creationId xmlns:a16="http://schemas.microsoft.com/office/drawing/2014/main" id="{FDB51791-F8E1-4D98-B222-744624D101F7}"/>
                </a:ext>
              </a:extLst>
            </p:cNvPr>
            <p:cNvCxnSpPr/>
            <p:nvPr/>
          </p:nvCxnSpPr>
          <p:spPr bwMode="gray">
            <a:xfrm>
              <a:off x="5562432" y="1477055"/>
              <a:ext cx="52156"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61" name="Straight Connector 460">
              <a:extLst>
                <a:ext uri="{FF2B5EF4-FFF2-40B4-BE49-F238E27FC236}">
                  <a16:creationId xmlns:a16="http://schemas.microsoft.com/office/drawing/2014/main" id="{A3C15C49-D3C7-4A53-9B6A-352827134B6D}"/>
                </a:ext>
              </a:extLst>
            </p:cNvPr>
            <p:cNvCxnSpPr/>
            <p:nvPr/>
          </p:nvCxnSpPr>
          <p:spPr bwMode="gray">
            <a:xfrm>
              <a:off x="5562432" y="1535210"/>
              <a:ext cx="52156"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62" name="Straight Connector 461">
              <a:extLst>
                <a:ext uri="{FF2B5EF4-FFF2-40B4-BE49-F238E27FC236}">
                  <a16:creationId xmlns:a16="http://schemas.microsoft.com/office/drawing/2014/main" id="{AB76CC9A-63CE-41B7-965C-0661DD296854}"/>
                </a:ext>
              </a:extLst>
            </p:cNvPr>
            <p:cNvCxnSpPr/>
            <p:nvPr/>
          </p:nvCxnSpPr>
          <p:spPr bwMode="gray">
            <a:xfrm>
              <a:off x="5539184" y="1593161"/>
              <a:ext cx="98653"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63" name="Straight Connector 462">
              <a:extLst>
                <a:ext uri="{FF2B5EF4-FFF2-40B4-BE49-F238E27FC236}">
                  <a16:creationId xmlns:a16="http://schemas.microsoft.com/office/drawing/2014/main" id="{A8B4CD42-325D-40F6-BB02-225199CF5BD5}"/>
                </a:ext>
              </a:extLst>
            </p:cNvPr>
            <p:cNvCxnSpPr/>
            <p:nvPr/>
          </p:nvCxnSpPr>
          <p:spPr bwMode="gray">
            <a:xfrm>
              <a:off x="5539184" y="1651112"/>
              <a:ext cx="98653"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64" name="Straight Connector 463">
              <a:extLst>
                <a:ext uri="{FF2B5EF4-FFF2-40B4-BE49-F238E27FC236}">
                  <a16:creationId xmlns:a16="http://schemas.microsoft.com/office/drawing/2014/main" id="{A0D62C9E-9B30-4449-8793-C488A2082AF7}"/>
                </a:ext>
              </a:extLst>
            </p:cNvPr>
            <p:cNvCxnSpPr/>
            <p:nvPr/>
          </p:nvCxnSpPr>
          <p:spPr bwMode="gray">
            <a:xfrm>
              <a:off x="5539184" y="1709062"/>
              <a:ext cx="98653"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65" name="Straight Connector 464">
              <a:extLst>
                <a:ext uri="{FF2B5EF4-FFF2-40B4-BE49-F238E27FC236}">
                  <a16:creationId xmlns:a16="http://schemas.microsoft.com/office/drawing/2014/main" id="{FAA13463-C7E4-4E1A-A4EE-37BCA8B74F30}"/>
                </a:ext>
              </a:extLst>
            </p:cNvPr>
            <p:cNvCxnSpPr/>
            <p:nvPr/>
          </p:nvCxnSpPr>
          <p:spPr bwMode="gray">
            <a:xfrm>
              <a:off x="5562432" y="1767012"/>
              <a:ext cx="52156"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6" name="Freeform: Shape 465">
              <a:extLst>
                <a:ext uri="{FF2B5EF4-FFF2-40B4-BE49-F238E27FC236}">
                  <a16:creationId xmlns:a16="http://schemas.microsoft.com/office/drawing/2014/main" id="{66086D4B-A5DE-4F0A-8603-14F24CB4ECF8}"/>
                </a:ext>
              </a:extLst>
            </p:cNvPr>
            <p:cNvSpPr/>
            <p:nvPr/>
          </p:nvSpPr>
          <p:spPr bwMode="gray">
            <a:xfrm flipH="1">
              <a:off x="5413810" y="1453521"/>
              <a:ext cx="82079" cy="313491"/>
            </a:xfrm>
            <a:custGeom>
              <a:avLst/>
              <a:gdLst>
                <a:gd name="connsiteX0" fmla="*/ 239313 w 239313"/>
                <a:gd name="connsiteY0" fmla="*/ 837138 h 914029"/>
                <a:gd name="connsiteX1" fmla="*/ 0 w 239313"/>
                <a:gd name="connsiteY1" fmla="*/ 837138 h 914029"/>
                <a:gd name="connsiteX2" fmla="*/ 0 w 239313"/>
                <a:gd name="connsiteY2" fmla="*/ 914029 h 914029"/>
                <a:gd name="connsiteX3" fmla="*/ 239313 w 239313"/>
                <a:gd name="connsiteY3" fmla="*/ 914029 h 914029"/>
                <a:gd name="connsiteX4" fmla="*/ 154279 w 239313"/>
                <a:gd name="connsiteY4" fmla="*/ 0 h 914029"/>
                <a:gd name="connsiteX5" fmla="*/ 84972 w 239313"/>
                <a:gd name="connsiteY5" fmla="*/ 0 h 914029"/>
                <a:gd name="connsiteX6" fmla="*/ 55690 w 239313"/>
                <a:gd name="connsiteY6" fmla="*/ 23653 h 914029"/>
                <a:gd name="connsiteX7" fmla="*/ 55423 w 239313"/>
                <a:gd name="connsiteY7" fmla="*/ 23653 h 914029"/>
                <a:gd name="connsiteX8" fmla="*/ 55423 w 239313"/>
                <a:gd name="connsiteY8" fmla="*/ 23869 h 914029"/>
                <a:gd name="connsiteX9" fmla="*/ 55423 w 239313"/>
                <a:gd name="connsiteY9" fmla="*/ 425756 h 914029"/>
                <a:gd name="connsiteX10" fmla="*/ 56762 w 239313"/>
                <a:gd name="connsiteY10" fmla="*/ 425756 h 914029"/>
                <a:gd name="connsiteX11" fmla="*/ 56762 w 239313"/>
                <a:gd name="connsiteY11" fmla="*/ 428578 h 914029"/>
                <a:gd name="connsiteX12" fmla="*/ 0 w 239313"/>
                <a:gd name="connsiteY12" fmla="*/ 523643 h 914029"/>
                <a:gd name="connsiteX13" fmla="*/ 0 w 239313"/>
                <a:gd name="connsiteY13" fmla="*/ 525298 h 914029"/>
                <a:gd name="connsiteX14" fmla="*/ 0 w 239313"/>
                <a:gd name="connsiteY14" fmla="*/ 591803 h 914029"/>
                <a:gd name="connsiteX15" fmla="*/ 239313 w 239313"/>
                <a:gd name="connsiteY15" fmla="*/ 591803 h 914029"/>
                <a:gd name="connsiteX16" fmla="*/ 239313 w 239313"/>
                <a:gd name="connsiteY16" fmla="*/ 525298 h 914029"/>
                <a:gd name="connsiteX17" fmla="*/ 239313 w 239313"/>
                <a:gd name="connsiteY17" fmla="*/ 523643 h 914029"/>
                <a:gd name="connsiteX18" fmla="*/ 182551 w 239313"/>
                <a:gd name="connsiteY18" fmla="*/ 428578 h 914029"/>
                <a:gd name="connsiteX19" fmla="*/ 182551 w 239313"/>
                <a:gd name="connsiteY19" fmla="*/ 425756 h 914029"/>
                <a:gd name="connsiteX20" fmla="*/ 183828 w 239313"/>
                <a:gd name="connsiteY20" fmla="*/ 425756 h 914029"/>
                <a:gd name="connsiteX21" fmla="*/ 183828 w 239313"/>
                <a:gd name="connsiteY21" fmla="*/ 23869 h 914029"/>
                <a:gd name="connsiteX22" fmla="*/ 183828 w 239313"/>
                <a:gd name="connsiteY22" fmla="*/ 23653 h 914029"/>
                <a:gd name="connsiteX23" fmla="*/ 183561 w 239313"/>
                <a:gd name="connsiteY23" fmla="*/ 23653 h 914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313" h="914029">
                  <a:moveTo>
                    <a:pt x="239313" y="837138"/>
                  </a:moveTo>
                  <a:lnTo>
                    <a:pt x="0" y="837138"/>
                  </a:lnTo>
                  <a:lnTo>
                    <a:pt x="0" y="914029"/>
                  </a:lnTo>
                  <a:lnTo>
                    <a:pt x="239313" y="914029"/>
                  </a:lnTo>
                  <a:close/>
                  <a:moveTo>
                    <a:pt x="154279" y="0"/>
                  </a:moveTo>
                  <a:lnTo>
                    <a:pt x="84972" y="0"/>
                  </a:lnTo>
                  <a:lnTo>
                    <a:pt x="55690" y="23653"/>
                  </a:lnTo>
                  <a:lnTo>
                    <a:pt x="55423" y="23653"/>
                  </a:lnTo>
                  <a:lnTo>
                    <a:pt x="55423" y="23869"/>
                  </a:lnTo>
                  <a:lnTo>
                    <a:pt x="55423" y="425756"/>
                  </a:lnTo>
                  <a:lnTo>
                    <a:pt x="56762" y="425756"/>
                  </a:lnTo>
                  <a:lnTo>
                    <a:pt x="56762" y="428578"/>
                  </a:lnTo>
                  <a:lnTo>
                    <a:pt x="0" y="523643"/>
                  </a:lnTo>
                  <a:lnTo>
                    <a:pt x="0" y="525298"/>
                  </a:lnTo>
                  <a:lnTo>
                    <a:pt x="0" y="591803"/>
                  </a:lnTo>
                  <a:lnTo>
                    <a:pt x="239313" y="591803"/>
                  </a:lnTo>
                  <a:lnTo>
                    <a:pt x="239313" y="525298"/>
                  </a:lnTo>
                  <a:lnTo>
                    <a:pt x="239313" y="523643"/>
                  </a:lnTo>
                  <a:lnTo>
                    <a:pt x="182551" y="428578"/>
                  </a:lnTo>
                  <a:lnTo>
                    <a:pt x="182551" y="425756"/>
                  </a:lnTo>
                  <a:lnTo>
                    <a:pt x="183828" y="425756"/>
                  </a:lnTo>
                  <a:lnTo>
                    <a:pt x="183828" y="23869"/>
                  </a:lnTo>
                  <a:lnTo>
                    <a:pt x="183828" y="23653"/>
                  </a:lnTo>
                  <a:lnTo>
                    <a:pt x="183561" y="23653"/>
                  </a:ln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467" name="Straight Connector 466">
              <a:extLst>
                <a:ext uri="{FF2B5EF4-FFF2-40B4-BE49-F238E27FC236}">
                  <a16:creationId xmlns:a16="http://schemas.microsoft.com/office/drawing/2014/main" id="{CDB1B078-2E88-47ED-A608-1D42B34DDD3C}"/>
                </a:ext>
              </a:extLst>
            </p:cNvPr>
            <p:cNvCxnSpPr/>
            <p:nvPr/>
          </p:nvCxnSpPr>
          <p:spPr bwMode="gray">
            <a:xfrm>
              <a:off x="5432875" y="1461633"/>
              <a:ext cx="43948" cy="7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68" name="Straight Connector 467">
              <a:extLst>
                <a:ext uri="{FF2B5EF4-FFF2-40B4-BE49-F238E27FC236}">
                  <a16:creationId xmlns:a16="http://schemas.microsoft.com/office/drawing/2014/main" id="{AC3B3186-91EA-4082-A3A5-131338849890}"/>
                </a:ext>
              </a:extLst>
            </p:cNvPr>
            <p:cNvCxnSpPr/>
            <p:nvPr/>
          </p:nvCxnSpPr>
          <p:spPr bwMode="gray">
            <a:xfrm>
              <a:off x="5432875" y="1496093"/>
              <a:ext cx="43948" cy="7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69" name="Straight Connector 468">
              <a:extLst>
                <a:ext uri="{FF2B5EF4-FFF2-40B4-BE49-F238E27FC236}">
                  <a16:creationId xmlns:a16="http://schemas.microsoft.com/office/drawing/2014/main" id="{C141E9B8-718D-492D-AFE2-8954DA816297}"/>
                </a:ext>
              </a:extLst>
            </p:cNvPr>
            <p:cNvCxnSpPr/>
            <p:nvPr/>
          </p:nvCxnSpPr>
          <p:spPr bwMode="gray">
            <a:xfrm>
              <a:off x="5432875" y="1530552"/>
              <a:ext cx="43948" cy="7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0" name="Straight Connector 469">
              <a:extLst>
                <a:ext uri="{FF2B5EF4-FFF2-40B4-BE49-F238E27FC236}">
                  <a16:creationId xmlns:a16="http://schemas.microsoft.com/office/drawing/2014/main" id="{CC0B35D3-46D8-42D1-B021-D5261E18EF9A}"/>
                </a:ext>
              </a:extLst>
            </p:cNvPr>
            <p:cNvCxnSpPr/>
            <p:nvPr/>
          </p:nvCxnSpPr>
          <p:spPr bwMode="gray">
            <a:xfrm>
              <a:off x="5432875" y="1565012"/>
              <a:ext cx="43948" cy="7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1" name="Straight Connector 470">
              <a:extLst>
                <a:ext uri="{FF2B5EF4-FFF2-40B4-BE49-F238E27FC236}">
                  <a16:creationId xmlns:a16="http://schemas.microsoft.com/office/drawing/2014/main" id="{3C956E4F-A709-49F5-95E4-27CE2ED99896}"/>
                </a:ext>
              </a:extLst>
            </p:cNvPr>
            <p:cNvCxnSpPr>
              <a:cxnSpLocks/>
            </p:cNvCxnSpPr>
            <p:nvPr/>
          </p:nvCxnSpPr>
          <p:spPr bwMode="gray">
            <a:xfrm>
              <a:off x="5415249" y="1599548"/>
              <a:ext cx="79200"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72" name="Freeform: Shape 471">
              <a:extLst>
                <a:ext uri="{FF2B5EF4-FFF2-40B4-BE49-F238E27FC236}">
                  <a16:creationId xmlns:a16="http://schemas.microsoft.com/office/drawing/2014/main" id="{6DB497C3-AB2B-4EE1-950D-5B9FC8284FAF}"/>
                </a:ext>
              </a:extLst>
            </p:cNvPr>
            <p:cNvSpPr/>
            <p:nvPr/>
          </p:nvSpPr>
          <p:spPr bwMode="gray">
            <a:xfrm flipH="1">
              <a:off x="5538251" y="1450976"/>
              <a:ext cx="101951" cy="316036"/>
            </a:xfrm>
            <a:custGeom>
              <a:avLst/>
              <a:gdLst>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8708 w 297254"/>
                <a:gd name="connsiteY12" fmla="*/ 257973 h 921450"/>
                <a:gd name="connsiteX13" fmla="*/ 226749 w 297254"/>
                <a:gd name="connsiteY13" fmla="*/ 254635 h 921450"/>
                <a:gd name="connsiteX14" fmla="*/ 226749 w 297254"/>
                <a:gd name="connsiteY14" fmla="*/ 76034 h 921450"/>
                <a:gd name="connsiteX15" fmla="*/ 150714 w 297254"/>
                <a:gd name="connsiteY15"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6749 w 297254"/>
                <a:gd name="connsiteY12" fmla="*/ 254635 h 921450"/>
                <a:gd name="connsiteX13" fmla="*/ 226749 w 297254"/>
                <a:gd name="connsiteY13" fmla="*/ 76034 h 921450"/>
                <a:gd name="connsiteX14" fmla="*/ 150714 w 297254"/>
                <a:gd name="connsiteY14"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0 w 297254"/>
                <a:gd name="connsiteY7" fmla="*/ 921450 h 921450"/>
                <a:gd name="connsiteX8" fmla="*/ 297254 w 297254"/>
                <a:gd name="connsiteY8" fmla="*/ 921450 h 921450"/>
                <a:gd name="connsiteX9" fmla="*/ 297254 w 297254"/>
                <a:gd name="connsiteY9" fmla="*/ 374772 h 921450"/>
                <a:gd name="connsiteX10" fmla="*/ 297254 w 297254"/>
                <a:gd name="connsiteY10" fmla="*/ 372716 h 921450"/>
                <a:gd name="connsiteX11" fmla="*/ 226749 w 297254"/>
                <a:gd name="connsiteY11" fmla="*/ 254635 h 921450"/>
                <a:gd name="connsiteX12" fmla="*/ 226749 w 297254"/>
                <a:gd name="connsiteY12" fmla="*/ 76034 h 921450"/>
                <a:gd name="connsiteX13" fmla="*/ 150714 w 297254"/>
                <a:gd name="connsiteY13" fmla="*/ 0 h 92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7254" h="921450">
                  <a:moveTo>
                    <a:pt x="150714" y="0"/>
                  </a:moveTo>
                  <a:lnTo>
                    <a:pt x="148627" y="421"/>
                  </a:lnTo>
                  <a:lnTo>
                    <a:pt x="146540" y="0"/>
                  </a:lnTo>
                  <a:cubicBezTo>
                    <a:pt x="104547" y="0"/>
                    <a:pt x="70505" y="34042"/>
                    <a:pt x="70505" y="76034"/>
                  </a:cubicBezTo>
                  <a:lnTo>
                    <a:pt x="70505" y="254635"/>
                  </a:lnTo>
                  <a:lnTo>
                    <a:pt x="0" y="372716"/>
                  </a:lnTo>
                  <a:lnTo>
                    <a:pt x="0" y="374772"/>
                  </a:lnTo>
                  <a:lnTo>
                    <a:pt x="0" y="921450"/>
                  </a:lnTo>
                  <a:lnTo>
                    <a:pt x="297254" y="921450"/>
                  </a:lnTo>
                  <a:lnTo>
                    <a:pt x="297254" y="374772"/>
                  </a:lnTo>
                  <a:lnTo>
                    <a:pt x="297254" y="372716"/>
                  </a:lnTo>
                  <a:lnTo>
                    <a:pt x="226749" y="254635"/>
                  </a:lnTo>
                  <a:lnTo>
                    <a:pt x="226749" y="76034"/>
                  </a:lnTo>
                  <a:cubicBezTo>
                    <a:pt x="226749" y="34042"/>
                    <a:pt x="192707" y="0"/>
                    <a:pt x="150714" y="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sp>
          <p:nvSpPr>
            <p:cNvPr id="473" name="Rectangle 472">
              <a:extLst>
                <a:ext uri="{FF2B5EF4-FFF2-40B4-BE49-F238E27FC236}">
                  <a16:creationId xmlns:a16="http://schemas.microsoft.com/office/drawing/2014/main" id="{15F61753-76BB-47CD-83E1-B04E31293F95}"/>
                </a:ext>
              </a:extLst>
            </p:cNvPr>
            <p:cNvSpPr/>
            <p:nvPr/>
          </p:nvSpPr>
          <p:spPr bwMode="gray">
            <a:xfrm flipH="1">
              <a:off x="5403280" y="1656496"/>
              <a:ext cx="103138" cy="84144"/>
            </a:xfrm>
            <a:prstGeom prst="rect">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474" name="Straight Connector 473">
              <a:extLst>
                <a:ext uri="{FF2B5EF4-FFF2-40B4-BE49-F238E27FC236}">
                  <a16:creationId xmlns:a16="http://schemas.microsoft.com/office/drawing/2014/main" id="{E8C7B15A-64D7-48B3-8CFA-289C97101573}"/>
                </a:ext>
              </a:extLst>
            </p:cNvPr>
            <p:cNvCxnSpPr/>
            <p:nvPr/>
          </p:nvCxnSpPr>
          <p:spPr bwMode="gray">
            <a:xfrm>
              <a:off x="5383725" y="1656496"/>
              <a:ext cx="142248"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5" name="Straight Connector 474">
              <a:extLst>
                <a:ext uri="{FF2B5EF4-FFF2-40B4-BE49-F238E27FC236}">
                  <a16:creationId xmlns:a16="http://schemas.microsoft.com/office/drawing/2014/main" id="{D1B1AF69-06BF-41D6-B016-61398C9B1FB3}"/>
                </a:ext>
              </a:extLst>
            </p:cNvPr>
            <p:cNvCxnSpPr>
              <a:cxnSpLocks/>
            </p:cNvCxnSpPr>
            <p:nvPr/>
          </p:nvCxnSpPr>
          <p:spPr bwMode="gray">
            <a:xfrm flipH="1">
              <a:off x="5383725" y="1740640"/>
              <a:ext cx="142248"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476" name="Straight Connector 475">
              <a:extLst>
                <a:ext uri="{FF2B5EF4-FFF2-40B4-BE49-F238E27FC236}">
                  <a16:creationId xmlns:a16="http://schemas.microsoft.com/office/drawing/2014/main" id="{6F01C6A0-6458-4CED-A9BC-30F3FF71A769}"/>
                </a:ext>
              </a:extLst>
            </p:cNvPr>
            <p:cNvCxnSpPr>
              <a:cxnSpLocks/>
            </p:cNvCxnSpPr>
            <p:nvPr/>
          </p:nvCxnSpPr>
          <p:spPr bwMode="gray">
            <a:xfrm>
              <a:off x="5383725" y="1767012"/>
              <a:ext cx="272094"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38" name="Date Placeholder 37">
            <a:extLst>
              <a:ext uri="{FF2B5EF4-FFF2-40B4-BE49-F238E27FC236}">
                <a16:creationId xmlns:a16="http://schemas.microsoft.com/office/drawing/2014/main" id="{7D29BB78-2BE6-4C39-B5A9-C81235F3CD38}"/>
              </a:ext>
            </a:extLst>
          </p:cNvPr>
          <p:cNvSpPr>
            <a:spLocks noGrp="1"/>
          </p:cNvSpPr>
          <p:nvPr>
            <p:ph type="dt" sz="half" idx="14"/>
          </p:nvPr>
        </p:nvSpPr>
        <p:spPr bwMode="gray"/>
        <p:txBody>
          <a:bodyPr/>
          <a:lstStyle/>
          <a:p>
            <a:fld id="{FD844EEA-A8E6-4207-86A1-2A7951422210}" type="datetime4">
              <a:rPr lang="en-US" smtClean="0"/>
              <a:t>September 8, 2019</a:t>
            </a:fld>
            <a:endParaRPr lang="en-US" dirty="0"/>
          </a:p>
        </p:txBody>
      </p:sp>
      <p:sp>
        <p:nvSpPr>
          <p:cNvPr id="39" name="Footer Placeholder 38">
            <a:extLst>
              <a:ext uri="{FF2B5EF4-FFF2-40B4-BE49-F238E27FC236}">
                <a16:creationId xmlns:a16="http://schemas.microsoft.com/office/drawing/2014/main" id="{0CB406C8-F38E-4F71-B0CB-B856B799892D}"/>
              </a:ext>
            </a:extLst>
          </p:cNvPr>
          <p:cNvSpPr>
            <a:spLocks noGrp="1"/>
          </p:cNvSpPr>
          <p:nvPr>
            <p:ph type="ftr" sz="quarter" idx="15"/>
          </p:nvPr>
        </p:nvSpPr>
        <p:spPr bwMode="gray"/>
        <p:txBody>
          <a:bodyPr/>
          <a:lstStyle/>
          <a:p>
            <a:pPr lvl="8"/>
            <a:r>
              <a:rPr lang="en-US" baseline="30000" dirty="0"/>
              <a:t>1</a:t>
            </a:r>
            <a:r>
              <a:rPr lang="en-US" dirty="0"/>
              <a:t> Liquefied Natural Gas</a:t>
            </a:r>
          </a:p>
          <a:p>
            <a:pPr lvl="8"/>
            <a:r>
              <a:rPr lang="en-US" baseline="30000" dirty="0"/>
              <a:t>2</a:t>
            </a:r>
            <a:r>
              <a:rPr lang="en-US" dirty="0"/>
              <a:t> Compressed Natural Gas</a:t>
            </a:r>
          </a:p>
        </p:txBody>
      </p:sp>
      <p:sp>
        <p:nvSpPr>
          <p:cNvPr id="40" name="Slide Number Placeholder 39">
            <a:extLst>
              <a:ext uri="{FF2B5EF4-FFF2-40B4-BE49-F238E27FC236}">
                <a16:creationId xmlns:a16="http://schemas.microsoft.com/office/drawing/2014/main" id="{1EA5BF5C-E405-4B86-AD51-CB9BA543A6A1}"/>
              </a:ext>
            </a:extLst>
          </p:cNvPr>
          <p:cNvSpPr>
            <a:spLocks noGrp="1"/>
          </p:cNvSpPr>
          <p:nvPr>
            <p:ph type="sldNum" sz="quarter" idx="16"/>
          </p:nvPr>
        </p:nvSpPr>
        <p:spPr bwMode="gray"/>
        <p:txBody>
          <a:bodyPr/>
          <a:lstStyle/>
          <a:p>
            <a:r>
              <a:rPr lang="en-US"/>
              <a:t>Slide </a:t>
            </a:r>
            <a:fld id="{619F89D8-7AE3-494A-97F3-03D680869632}" type="slidenum">
              <a:rPr lang="en-US" smtClean="0"/>
              <a:pPr/>
              <a:t>2</a:t>
            </a:fld>
            <a:endParaRPr lang="en-US" dirty="0"/>
          </a:p>
        </p:txBody>
      </p:sp>
    </p:spTree>
    <p:custDataLst>
      <p:tags r:id="rId1"/>
    </p:custDataLst>
    <p:extLst>
      <p:ext uri="{BB962C8B-B14F-4D97-AF65-F5344CB8AC3E}">
        <p14:creationId xmlns:p14="http://schemas.microsoft.com/office/powerpoint/2010/main" val="150858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2000"/>
                                        <p:tgtEl>
                                          <p:spTgt spid="26"/>
                                        </p:tgtEl>
                                      </p:cBhvr>
                                    </p:animEffect>
                                  </p:childTnLst>
                                </p:cTn>
                              </p:par>
                              <p:par>
                                <p:cTn id="8" presetID="53" presetClass="entr" presetSubtype="16" fill="hold" grpId="0" nodeType="withEffect">
                                  <p:stCondLst>
                                    <p:cond delay="250"/>
                                  </p:stCondLst>
                                  <p:childTnLst>
                                    <p:set>
                                      <p:cBhvr>
                                        <p:cTn id="9" dur="1" fill="hold">
                                          <p:stCondLst>
                                            <p:cond delay="0"/>
                                          </p:stCondLst>
                                        </p:cTn>
                                        <p:tgtEl>
                                          <p:spTgt spid="27"/>
                                        </p:tgtEl>
                                        <p:attrNameLst>
                                          <p:attrName>style.visibility</p:attrName>
                                        </p:attrNameLst>
                                      </p:cBhvr>
                                      <p:to>
                                        <p:strVal val="visible"/>
                                      </p:to>
                                    </p:set>
                                    <p:anim calcmode="lin" valueType="num">
                                      <p:cBhvr>
                                        <p:cTn id="10" dur="500" fill="hold"/>
                                        <p:tgtEl>
                                          <p:spTgt spid="27"/>
                                        </p:tgtEl>
                                        <p:attrNameLst>
                                          <p:attrName>ppt_w</p:attrName>
                                        </p:attrNameLst>
                                      </p:cBhvr>
                                      <p:tavLst>
                                        <p:tav tm="0">
                                          <p:val>
                                            <p:fltVal val="0"/>
                                          </p:val>
                                        </p:tav>
                                        <p:tav tm="100000">
                                          <p:val>
                                            <p:strVal val="#ppt_w"/>
                                          </p:val>
                                        </p:tav>
                                      </p:tavLst>
                                    </p:anim>
                                    <p:anim calcmode="lin" valueType="num">
                                      <p:cBhvr>
                                        <p:cTn id="11" dur="500" fill="hold"/>
                                        <p:tgtEl>
                                          <p:spTgt spid="27"/>
                                        </p:tgtEl>
                                        <p:attrNameLst>
                                          <p:attrName>ppt_h</p:attrName>
                                        </p:attrNameLst>
                                      </p:cBhvr>
                                      <p:tavLst>
                                        <p:tav tm="0">
                                          <p:val>
                                            <p:fltVal val="0"/>
                                          </p:val>
                                        </p:tav>
                                        <p:tav tm="100000">
                                          <p:val>
                                            <p:strVal val="#ppt_h"/>
                                          </p:val>
                                        </p:tav>
                                      </p:tavLst>
                                    </p:anim>
                                    <p:animEffect transition="in" filter="fade">
                                      <p:cBhvr>
                                        <p:cTn id="12" dur="500"/>
                                        <p:tgtEl>
                                          <p:spTgt spid="27"/>
                                        </p:tgtEl>
                                      </p:cBhvr>
                                    </p:animEffect>
                                  </p:childTnLst>
                                </p:cTn>
                              </p:par>
                              <p:par>
                                <p:cTn id="13" presetID="47" presetClass="entr" presetSubtype="0" fill="hold" grpId="0" nodeType="withEffect">
                                  <p:stCondLst>
                                    <p:cond delay="25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1000"/>
                                        <p:tgtEl>
                                          <p:spTgt spid="20"/>
                                        </p:tgtEl>
                                      </p:cBhvr>
                                    </p:animEffect>
                                    <p:anim calcmode="lin" valueType="num">
                                      <p:cBhvr>
                                        <p:cTn id="16" dur="1000" fill="hold"/>
                                        <p:tgtEl>
                                          <p:spTgt spid="20"/>
                                        </p:tgtEl>
                                        <p:attrNameLst>
                                          <p:attrName>ppt_x</p:attrName>
                                        </p:attrNameLst>
                                      </p:cBhvr>
                                      <p:tavLst>
                                        <p:tav tm="0">
                                          <p:val>
                                            <p:strVal val="#ppt_x"/>
                                          </p:val>
                                        </p:tav>
                                        <p:tav tm="100000">
                                          <p:val>
                                            <p:strVal val="#ppt_x"/>
                                          </p:val>
                                        </p:tav>
                                      </p:tavLst>
                                    </p:anim>
                                    <p:anim calcmode="lin" valueType="num">
                                      <p:cBhvr>
                                        <p:cTn id="17" dur="1000" fill="hold"/>
                                        <p:tgtEl>
                                          <p:spTgt spid="20"/>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250"/>
                                  </p:stCondLst>
                                  <p:childTnLst>
                                    <p:set>
                                      <p:cBhvr>
                                        <p:cTn id="19" dur="1" fill="hold">
                                          <p:stCondLst>
                                            <p:cond delay="0"/>
                                          </p:stCondLst>
                                        </p:cTn>
                                        <p:tgtEl>
                                          <p:spTgt spid="25"/>
                                        </p:tgtEl>
                                        <p:attrNameLst>
                                          <p:attrName>style.visibility</p:attrName>
                                        </p:attrNameLst>
                                      </p:cBhvr>
                                      <p:to>
                                        <p:strVal val="visible"/>
                                      </p:to>
                                    </p:set>
                                    <p:animEffect transition="in" filter="fade">
                                      <p:cBhvr>
                                        <p:cTn id="20" dur="1000"/>
                                        <p:tgtEl>
                                          <p:spTgt spid="25"/>
                                        </p:tgtEl>
                                      </p:cBhvr>
                                    </p:animEffect>
                                    <p:anim calcmode="lin" valueType="num">
                                      <p:cBhvr>
                                        <p:cTn id="21" dur="1000" fill="hold"/>
                                        <p:tgtEl>
                                          <p:spTgt spid="25"/>
                                        </p:tgtEl>
                                        <p:attrNameLst>
                                          <p:attrName>ppt_x</p:attrName>
                                        </p:attrNameLst>
                                      </p:cBhvr>
                                      <p:tavLst>
                                        <p:tav tm="0">
                                          <p:val>
                                            <p:strVal val="#ppt_x"/>
                                          </p:val>
                                        </p:tav>
                                        <p:tav tm="100000">
                                          <p:val>
                                            <p:strVal val="#ppt_x"/>
                                          </p:val>
                                        </p:tav>
                                      </p:tavLst>
                                    </p:anim>
                                    <p:anim calcmode="lin" valueType="num">
                                      <p:cBhvr>
                                        <p:cTn id="22" dur="1000" fill="hold"/>
                                        <p:tgtEl>
                                          <p:spTgt spid="25"/>
                                        </p:tgtEl>
                                        <p:attrNameLst>
                                          <p:attrName>ppt_y</p:attrName>
                                        </p:attrNameLst>
                                      </p:cBhvr>
                                      <p:tavLst>
                                        <p:tav tm="0">
                                          <p:val>
                                            <p:strVal val="#ppt_y+.1"/>
                                          </p:val>
                                        </p:tav>
                                        <p:tav tm="100000">
                                          <p:val>
                                            <p:strVal val="#ppt_y"/>
                                          </p:val>
                                        </p:tav>
                                      </p:tavLst>
                                    </p:anim>
                                  </p:childTnLst>
                                </p:cTn>
                              </p:par>
                              <p:par>
                                <p:cTn id="23" presetID="53" presetClass="entr" presetSubtype="16" fill="hold" grpId="0" nodeType="withEffect">
                                  <p:stCondLst>
                                    <p:cond delay="500"/>
                                  </p:stCondLst>
                                  <p:childTnLst>
                                    <p:set>
                                      <p:cBhvr>
                                        <p:cTn id="24" dur="1" fill="hold">
                                          <p:stCondLst>
                                            <p:cond delay="0"/>
                                          </p:stCondLst>
                                        </p:cTn>
                                        <p:tgtEl>
                                          <p:spTgt spid="33"/>
                                        </p:tgtEl>
                                        <p:attrNameLst>
                                          <p:attrName>style.visibility</p:attrName>
                                        </p:attrNameLst>
                                      </p:cBhvr>
                                      <p:to>
                                        <p:strVal val="visible"/>
                                      </p:to>
                                    </p:set>
                                    <p:anim calcmode="lin" valueType="num">
                                      <p:cBhvr>
                                        <p:cTn id="25" dur="500" fill="hold"/>
                                        <p:tgtEl>
                                          <p:spTgt spid="33"/>
                                        </p:tgtEl>
                                        <p:attrNameLst>
                                          <p:attrName>ppt_w</p:attrName>
                                        </p:attrNameLst>
                                      </p:cBhvr>
                                      <p:tavLst>
                                        <p:tav tm="0">
                                          <p:val>
                                            <p:fltVal val="0"/>
                                          </p:val>
                                        </p:tav>
                                        <p:tav tm="100000">
                                          <p:val>
                                            <p:strVal val="#ppt_w"/>
                                          </p:val>
                                        </p:tav>
                                      </p:tavLst>
                                    </p:anim>
                                    <p:anim calcmode="lin" valueType="num">
                                      <p:cBhvr>
                                        <p:cTn id="26" dur="500" fill="hold"/>
                                        <p:tgtEl>
                                          <p:spTgt spid="33"/>
                                        </p:tgtEl>
                                        <p:attrNameLst>
                                          <p:attrName>ppt_h</p:attrName>
                                        </p:attrNameLst>
                                      </p:cBhvr>
                                      <p:tavLst>
                                        <p:tav tm="0">
                                          <p:val>
                                            <p:fltVal val="0"/>
                                          </p:val>
                                        </p:tav>
                                        <p:tav tm="100000">
                                          <p:val>
                                            <p:strVal val="#ppt_h"/>
                                          </p:val>
                                        </p:tav>
                                      </p:tavLst>
                                    </p:anim>
                                    <p:animEffect transition="in" filter="fade">
                                      <p:cBhvr>
                                        <p:cTn id="27" dur="500"/>
                                        <p:tgtEl>
                                          <p:spTgt spid="33"/>
                                        </p:tgtEl>
                                      </p:cBhvr>
                                    </p:animEffect>
                                  </p:childTnLst>
                                </p:cTn>
                              </p:par>
                              <p:par>
                                <p:cTn id="28" presetID="47" presetClass="entr" presetSubtype="0" fill="hold" nodeType="withEffect">
                                  <p:stCondLst>
                                    <p:cond delay="500"/>
                                  </p:stCondLst>
                                  <p:childTnLst>
                                    <p:set>
                                      <p:cBhvr>
                                        <p:cTn id="29" dur="1" fill="hold">
                                          <p:stCondLst>
                                            <p:cond delay="0"/>
                                          </p:stCondLst>
                                        </p:cTn>
                                        <p:tgtEl>
                                          <p:spTgt spid="459"/>
                                        </p:tgtEl>
                                        <p:attrNameLst>
                                          <p:attrName>style.visibility</p:attrName>
                                        </p:attrNameLst>
                                      </p:cBhvr>
                                      <p:to>
                                        <p:strVal val="visible"/>
                                      </p:to>
                                    </p:set>
                                    <p:animEffect transition="in" filter="fade">
                                      <p:cBhvr>
                                        <p:cTn id="30" dur="1000"/>
                                        <p:tgtEl>
                                          <p:spTgt spid="459"/>
                                        </p:tgtEl>
                                      </p:cBhvr>
                                    </p:animEffect>
                                    <p:anim calcmode="lin" valueType="num">
                                      <p:cBhvr>
                                        <p:cTn id="31" dur="1000" fill="hold"/>
                                        <p:tgtEl>
                                          <p:spTgt spid="459"/>
                                        </p:tgtEl>
                                        <p:attrNameLst>
                                          <p:attrName>ppt_x</p:attrName>
                                        </p:attrNameLst>
                                      </p:cBhvr>
                                      <p:tavLst>
                                        <p:tav tm="0">
                                          <p:val>
                                            <p:strVal val="#ppt_x"/>
                                          </p:val>
                                        </p:tav>
                                        <p:tav tm="100000">
                                          <p:val>
                                            <p:strVal val="#ppt_x"/>
                                          </p:val>
                                        </p:tav>
                                      </p:tavLst>
                                    </p:anim>
                                    <p:anim calcmode="lin" valueType="num">
                                      <p:cBhvr>
                                        <p:cTn id="32" dur="1000" fill="hold"/>
                                        <p:tgtEl>
                                          <p:spTgt spid="459"/>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50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1000"/>
                                        <p:tgtEl>
                                          <p:spTgt spid="28"/>
                                        </p:tgtEl>
                                      </p:cBhvr>
                                    </p:animEffect>
                                    <p:anim calcmode="lin" valueType="num">
                                      <p:cBhvr>
                                        <p:cTn id="36" dur="1000" fill="hold"/>
                                        <p:tgtEl>
                                          <p:spTgt spid="28"/>
                                        </p:tgtEl>
                                        <p:attrNameLst>
                                          <p:attrName>ppt_x</p:attrName>
                                        </p:attrNameLst>
                                      </p:cBhvr>
                                      <p:tavLst>
                                        <p:tav tm="0">
                                          <p:val>
                                            <p:strVal val="#ppt_x"/>
                                          </p:val>
                                        </p:tav>
                                        <p:tav tm="100000">
                                          <p:val>
                                            <p:strVal val="#ppt_x"/>
                                          </p:val>
                                        </p:tav>
                                      </p:tavLst>
                                    </p:anim>
                                    <p:anim calcmode="lin" valueType="num">
                                      <p:cBhvr>
                                        <p:cTn id="37" dur="1000" fill="hold"/>
                                        <p:tgtEl>
                                          <p:spTgt spid="28"/>
                                        </p:tgtEl>
                                        <p:attrNameLst>
                                          <p:attrName>ppt_y</p:attrName>
                                        </p:attrNameLst>
                                      </p:cBhvr>
                                      <p:tavLst>
                                        <p:tav tm="0">
                                          <p:val>
                                            <p:strVal val="#ppt_y+.1"/>
                                          </p:val>
                                        </p:tav>
                                        <p:tav tm="100000">
                                          <p:val>
                                            <p:strVal val="#ppt_y"/>
                                          </p:val>
                                        </p:tav>
                                      </p:tavLst>
                                    </p:anim>
                                  </p:childTnLst>
                                </p:cTn>
                              </p:par>
                              <p:par>
                                <p:cTn id="38" presetID="53" presetClass="entr" presetSubtype="16" fill="hold" grpId="0" nodeType="withEffect">
                                  <p:stCondLst>
                                    <p:cond delay="750"/>
                                  </p:stCondLst>
                                  <p:childTnLst>
                                    <p:set>
                                      <p:cBhvr>
                                        <p:cTn id="39" dur="1" fill="hold">
                                          <p:stCondLst>
                                            <p:cond delay="0"/>
                                          </p:stCondLst>
                                        </p:cTn>
                                        <p:tgtEl>
                                          <p:spTgt spid="34"/>
                                        </p:tgtEl>
                                        <p:attrNameLst>
                                          <p:attrName>style.visibility</p:attrName>
                                        </p:attrNameLst>
                                      </p:cBhvr>
                                      <p:to>
                                        <p:strVal val="visible"/>
                                      </p:to>
                                    </p:set>
                                    <p:anim calcmode="lin" valueType="num">
                                      <p:cBhvr>
                                        <p:cTn id="40" dur="500" fill="hold"/>
                                        <p:tgtEl>
                                          <p:spTgt spid="34"/>
                                        </p:tgtEl>
                                        <p:attrNameLst>
                                          <p:attrName>ppt_w</p:attrName>
                                        </p:attrNameLst>
                                      </p:cBhvr>
                                      <p:tavLst>
                                        <p:tav tm="0">
                                          <p:val>
                                            <p:fltVal val="0"/>
                                          </p:val>
                                        </p:tav>
                                        <p:tav tm="100000">
                                          <p:val>
                                            <p:strVal val="#ppt_w"/>
                                          </p:val>
                                        </p:tav>
                                      </p:tavLst>
                                    </p:anim>
                                    <p:anim calcmode="lin" valueType="num">
                                      <p:cBhvr>
                                        <p:cTn id="41" dur="500" fill="hold"/>
                                        <p:tgtEl>
                                          <p:spTgt spid="34"/>
                                        </p:tgtEl>
                                        <p:attrNameLst>
                                          <p:attrName>ppt_h</p:attrName>
                                        </p:attrNameLst>
                                      </p:cBhvr>
                                      <p:tavLst>
                                        <p:tav tm="0">
                                          <p:val>
                                            <p:fltVal val="0"/>
                                          </p:val>
                                        </p:tav>
                                        <p:tav tm="100000">
                                          <p:val>
                                            <p:strVal val="#ppt_h"/>
                                          </p:val>
                                        </p:tav>
                                      </p:tavLst>
                                    </p:anim>
                                    <p:animEffect transition="in" filter="fade">
                                      <p:cBhvr>
                                        <p:cTn id="42" dur="500"/>
                                        <p:tgtEl>
                                          <p:spTgt spid="34"/>
                                        </p:tgtEl>
                                      </p:cBhvr>
                                    </p:animEffect>
                                  </p:childTnLst>
                                </p:cTn>
                              </p:par>
                              <p:par>
                                <p:cTn id="43" presetID="47" presetClass="entr" presetSubtype="0" fill="hold" nodeType="withEffect">
                                  <p:stCondLst>
                                    <p:cond delay="750"/>
                                  </p:stCondLst>
                                  <p:childTnLst>
                                    <p:set>
                                      <p:cBhvr>
                                        <p:cTn id="44" dur="1" fill="hold">
                                          <p:stCondLst>
                                            <p:cond delay="0"/>
                                          </p:stCondLst>
                                        </p:cTn>
                                        <p:tgtEl>
                                          <p:spTgt spid="445"/>
                                        </p:tgtEl>
                                        <p:attrNameLst>
                                          <p:attrName>style.visibility</p:attrName>
                                        </p:attrNameLst>
                                      </p:cBhvr>
                                      <p:to>
                                        <p:strVal val="visible"/>
                                      </p:to>
                                    </p:set>
                                    <p:animEffect transition="in" filter="fade">
                                      <p:cBhvr>
                                        <p:cTn id="45" dur="1000"/>
                                        <p:tgtEl>
                                          <p:spTgt spid="445"/>
                                        </p:tgtEl>
                                      </p:cBhvr>
                                    </p:animEffect>
                                    <p:anim calcmode="lin" valueType="num">
                                      <p:cBhvr>
                                        <p:cTn id="46" dur="1000" fill="hold"/>
                                        <p:tgtEl>
                                          <p:spTgt spid="445"/>
                                        </p:tgtEl>
                                        <p:attrNameLst>
                                          <p:attrName>ppt_x</p:attrName>
                                        </p:attrNameLst>
                                      </p:cBhvr>
                                      <p:tavLst>
                                        <p:tav tm="0">
                                          <p:val>
                                            <p:strVal val="#ppt_x"/>
                                          </p:val>
                                        </p:tav>
                                        <p:tav tm="100000">
                                          <p:val>
                                            <p:strVal val="#ppt_x"/>
                                          </p:val>
                                        </p:tav>
                                      </p:tavLst>
                                    </p:anim>
                                    <p:anim calcmode="lin" valueType="num">
                                      <p:cBhvr>
                                        <p:cTn id="47" dur="1000" fill="hold"/>
                                        <p:tgtEl>
                                          <p:spTgt spid="445"/>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750"/>
                                  </p:stCondLst>
                                  <p:childTnLst>
                                    <p:set>
                                      <p:cBhvr>
                                        <p:cTn id="49" dur="1" fill="hold">
                                          <p:stCondLst>
                                            <p:cond delay="0"/>
                                          </p:stCondLst>
                                        </p:cTn>
                                        <p:tgtEl>
                                          <p:spTgt spid="29"/>
                                        </p:tgtEl>
                                        <p:attrNameLst>
                                          <p:attrName>style.visibility</p:attrName>
                                        </p:attrNameLst>
                                      </p:cBhvr>
                                      <p:to>
                                        <p:strVal val="visible"/>
                                      </p:to>
                                    </p:set>
                                    <p:animEffect transition="in" filter="fade">
                                      <p:cBhvr>
                                        <p:cTn id="50" dur="1000"/>
                                        <p:tgtEl>
                                          <p:spTgt spid="29"/>
                                        </p:tgtEl>
                                      </p:cBhvr>
                                    </p:animEffect>
                                    <p:anim calcmode="lin" valueType="num">
                                      <p:cBhvr>
                                        <p:cTn id="51" dur="1000" fill="hold"/>
                                        <p:tgtEl>
                                          <p:spTgt spid="29"/>
                                        </p:tgtEl>
                                        <p:attrNameLst>
                                          <p:attrName>ppt_x</p:attrName>
                                        </p:attrNameLst>
                                      </p:cBhvr>
                                      <p:tavLst>
                                        <p:tav tm="0">
                                          <p:val>
                                            <p:strVal val="#ppt_x"/>
                                          </p:val>
                                        </p:tav>
                                        <p:tav tm="100000">
                                          <p:val>
                                            <p:strVal val="#ppt_x"/>
                                          </p:val>
                                        </p:tav>
                                      </p:tavLst>
                                    </p:anim>
                                    <p:anim calcmode="lin" valueType="num">
                                      <p:cBhvr>
                                        <p:cTn id="52" dur="1000" fill="hold"/>
                                        <p:tgtEl>
                                          <p:spTgt spid="29"/>
                                        </p:tgtEl>
                                        <p:attrNameLst>
                                          <p:attrName>ppt_y</p:attrName>
                                        </p:attrNameLst>
                                      </p:cBhvr>
                                      <p:tavLst>
                                        <p:tav tm="0">
                                          <p:val>
                                            <p:strVal val="#ppt_y+.1"/>
                                          </p:val>
                                        </p:tav>
                                        <p:tav tm="100000">
                                          <p:val>
                                            <p:strVal val="#ppt_y"/>
                                          </p:val>
                                        </p:tav>
                                      </p:tavLst>
                                    </p:anim>
                                  </p:childTnLst>
                                </p:cTn>
                              </p:par>
                              <p:par>
                                <p:cTn id="53" presetID="53" presetClass="entr" presetSubtype="16" fill="hold" grpId="0" nodeType="withEffect">
                                  <p:stCondLst>
                                    <p:cond delay="1000"/>
                                  </p:stCondLst>
                                  <p:childTnLst>
                                    <p:set>
                                      <p:cBhvr>
                                        <p:cTn id="54" dur="1" fill="hold">
                                          <p:stCondLst>
                                            <p:cond delay="0"/>
                                          </p:stCondLst>
                                        </p:cTn>
                                        <p:tgtEl>
                                          <p:spTgt spid="35"/>
                                        </p:tgtEl>
                                        <p:attrNameLst>
                                          <p:attrName>style.visibility</p:attrName>
                                        </p:attrNameLst>
                                      </p:cBhvr>
                                      <p:to>
                                        <p:strVal val="visible"/>
                                      </p:to>
                                    </p:set>
                                    <p:anim calcmode="lin" valueType="num">
                                      <p:cBhvr>
                                        <p:cTn id="55" dur="500" fill="hold"/>
                                        <p:tgtEl>
                                          <p:spTgt spid="35"/>
                                        </p:tgtEl>
                                        <p:attrNameLst>
                                          <p:attrName>ppt_w</p:attrName>
                                        </p:attrNameLst>
                                      </p:cBhvr>
                                      <p:tavLst>
                                        <p:tav tm="0">
                                          <p:val>
                                            <p:fltVal val="0"/>
                                          </p:val>
                                        </p:tav>
                                        <p:tav tm="100000">
                                          <p:val>
                                            <p:strVal val="#ppt_w"/>
                                          </p:val>
                                        </p:tav>
                                      </p:tavLst>
                                    </p:anim>
                                    <p:anim calcmode="lin" valueType="num">
                                      <p:cBhvr>
                                        <p:cTn id="56" dur="500" fill="hold"/>
                                        <p:tgtEl>
                                          <p:spTgt spid="35"/>
                                        </p:tgtEl>
                                        <p:attrNameLst>
                                          <p:attrName>ppt_h</p:attrName>
                                        </p:attrNameLst>
                                      </p:cBhvr>
                                      <p:tavLst>
                                        <p:tav tm="0">
                                          <p:val>
                                            <p:fltVal val="0"/>
                                          </p:val>
                                        </p:tav>
                                        <p:tav tm="100000">
                                          <p:val>
                                            <p:strVal val="#ppt_h"/>
                                          </p:val>
                                        </p:tav>
                                      </p:tavLst>
                                    </p:anim>
                                    <p:animEffect transition="in" filter="fade">
                                      <p:cBhvr>
                                        <p:cTn id="57" dur="500"/>
                                        <p:tgtEl>
                                          <p:spTgt spid="35"/>
                                        </p:tgtEl>
                                      </p:cBhvr>
                                    </p:animEffect>
                                  </p:childTnLst>
                                </p:cTn>
                              </p:par>
                              <p:par>
                                <p:cTn id="58" presetID="47" presetClass="entr" presetSubtype="0" fill="hold" nodeType="withEffect">
                                  <p:stCondLst>
                                    <p:cond delay="1000"/>
                                  </p:stCondLst>
                                  <p:childTnLst>
                                    <p:set>
                                      <p:cBhvr>
                                        <p:cTn id="59" dur="1" fill="hold">
                                          <p:stCondLst>
                                            <p:cond delay="0"/>
                                          </p:stCondLst>
                                        </p:cTn>
                                        <p:tgtEl>
                                          <p:spTgt spid="196"/>
                                        </p:tgtEl>
                                        <p:attrNameLst>
                                          <p:attrName>style.visibility</p:attrName>
                                        </p:attrNameLst>
                                      </p:cBhvr>
                                      <p:to>
                                        <p:strVal val="visible"/>
                                      </p:to>
                                    </p:set>
                                    <p:animEffect transition="in" filter="fade">
                                      <p:cBhvr>
                                        <p:cTn id="60" dur="1000"/>
                                        <p:tgtEl>
                                          <p:spTgt spid="196"/>
                                        </p:tgtEl>
                                      </p:cBhvr>
                                    </p:animEffect>
                                    <p:anim calcmode="lin" valueType="num">
                                      <p:cBhvr>
                                        <p:cTn id="61" dur="1000" fill="hold"/>
                                        <p:tgtEl>
                                          <p:spTgt spid="196"/>
                                        </p:tgtEl>
                                        <p:attrNameLst>
                                          <p:attrName>ppt_x</p:attrName>
                                        </p:attrNameLst>
                                      </p:cBhvr>
                                      <p:tavLst>
                                        <p:tav tm="0">
                                          <p:val>
                                            <p:strVal val="#ppt_x"/>
                                          </p:val>
                                        </p:tav>
                                        <p:tav tm="100000">
                                          <p:val>
                                            <p:strVal val="#ppt_x"/>
                                          </p:val>
                                        </p:tav>
                                      </p:tavLst>
                                    </p:anim>
                                    <p:anim calcmode="lin" valueType="num">
                                      <p:cBhvr>
                                        <p:cTn id="62" dur="1000" fill="hold"/>
                                        <p:tgtEl>
                                          <p:spTgt spid="196"/>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1000"/>
                                  </p:stCondLst>
                                  <p:childTnLst>
                                    <p:set>
                                      <p:cBhvr>
                                        <p:cTn id="64" dur="1" fill="hold">
                                          <p:stCondLst>
                                            <p:cond delay="0"/>
                                          </p:stCondLst>
                                        </p:cTn>
                                        <p:tgtEl>
                                          <p:spTgt spid="30"/>
                                        </p:tgtEl>
                                        <p:attrNameLst>
                                          <p:attrName>style.visibility</p:attrName>
                                        </p:attrNameLst>
                                      </p:cBhvr>
                                      <p:to>
                                        <p:strVal val="visible"/>
                                      </p:to>
                                    </p:set>
                                    <p:animEffect transition="in" filter="fade">
                                      <p:cBhvr>
                                        <p:cTn id="65" dur="1000"/>
                                        <p:tgtEl>
                                          <p:spTgt spid="30"/>
                                        </p:tgtEl>
                                      </p:cBhvr>
                                    </p:animEffect>
                                    <p:anim calcmode="lin" valueType="num">
                                      <p:cBhvr>
                                        <p:cTn id="66" dur="1000" fill="hold"/>
                                        <p:tgtEl>
                                          <p:spTgt spid="30"/>
                                        </p:tgtEl>
                                        <p:attrNameLst>
                                          <p:attrName>ppt_x</p:attrName>
                                        </p:attrNameLst>
                                      </p:cBhvr>
                                      <p:tavLst>
                                        <p:tav tm="0">
                                          <p:val>
                                            <p:strVal val="#ppt_x"/>
                                          </p:val>
                                        </p:tav>
                                        <p:tav tm="100000">
                                          <p:val>
                                            <p:strVal val="#ppt_x"/>
                                          </p:val>
                                        </p:tav>
                                      </p:tavLst>
                                    </p:anim>
                                    <p:anim calcmode="lin" valueType="num">
                                      <p:cBhvr>
                                        <p:cTn id="67" dur="1000" fill="hold"/>
                                        <p:tgtEl>
                                          <p:spTgt spid="30"/>
                                        </p:tgtEl>
                                        <p:attrNameLst>
                                          <p:attrName>ppt_y</p:attrName>
                                        </p:attrNameLst>
                                      </p:cBhvr>
                                      <p:tavLst>
                                        <p:tav tm="0">
                                          <p:val>
                                            <p:strVal val="#ppt_y+.1"/>
                                          </p:val>
                                        </p:tav>
                                        <p:tav tm="100000">
                                          <p:val>
                                            <p:strVal val="#ppt_y"/>
                                          </p:val>
                                        </p:tav>
                                      </p:tavLst>
                                    </p:anim>
                                  </p:childTnLst>
                                </p:cTn>
                              </p:par>
                              <p:par>
                                <p:cTn id="68" presetID="53" presetClass="entr" presetSubtype="16" fill="hold" grpId="0" nodeType="withEffect">
                                  <p:stCondLst>
                                    <p:cond delay="1250"/>
                                  </p:stCondLst>
                                  <p:childTnLst>
                                    <p:set>
                                      <p:cBhvr>
                                        <p:cTn id="69" dur="1" fill="hold">
                                          <p:stCondLst>
                                            <p:cond delay="0"/>
                                          </p:stCondLst>
                                        </p:cTn>
                                        <p:tgtEl>
                                          <p:spTgt spid="36"/>
                                        </p:tgtEl>
                                        <p:attrNameLst>
                                          <p:attrName>style.visibility</p:attrName>
                                        </p:attrNameLst>
                                      </p:cBhvr>
                                      <p:to>
                                        <p:strVal val="visible"/>
                                      </p:to>
                                    </p:set>
                                    <p:anim calcmode="lin" valueType="num">
                                      <p:cBhvr>
                                        <p:cTn id="70" dur="500" fill="hold"/>
                                        <p:tgtEl>
                                          <p:spTgt spid="36"/>
                                        </p:tgtEl>
                                        <p:attrNameLst>
                                          <p:attrName>ppt_w</p:attrName>
                                        </p:attrNameLst>
                                      </p:cBhvr>
                                      <p:tavLst>
                                        <p:tav tm="0">
                                          <p:val>
                                            <p:fltVal val="0"/>
                                          </p:val>
                                        </p:tav>
                                        <p:tav tm="100000">
                                          <p:val>
                                            <p:strVal val="#ppt_w"/>
                                          </p:val>
                                        </p:tav>
                                      </p:tavLst>
                                    </p:anim>
                                    <p:anim calcmode="lin" valueType="num">
                                      <p:cBhvr>
                                        <p:cTn id="71" dur="500" fill="hold"/>
                                        <p:tgtEl>
                                          <p:spTgt spid="36"/>
                                        </p:tgtEl>
                                        <p:attrNameLst>
                                          <p:attrName>ppt_h</p:attrName>
                                        </p:attrNameLst>
                                      </p:cBhvr>
                                      <p:tavLst>
                                        <p:tav tm="0">
                                          <p:val>
                                            <p:fltVal val="0"/>
                                          </p:val>
                                        </p:tav>
                                        <p:tav tm="100000">
                                          <p:val>
                                            <p:strVal val="#ppt_h"/>
                                          </p:val>
                                        </p:tav>
                                      </p:tavLst>
                                    </p:anim>
                                    <p:animEffect transition="in" filter="fade">
                                      <p:cBhvr>
                                        <p:cTn id="72" dur="500"/>
                                        <p:tgtEl>
                                          <p:spTgt spid="36"/>
                                        </p:tgtEl>
                                      </p:cBhvr>
                                    </p:animEffect>
                                  </p:childTnLst>
                                </p:cTn>
                              </p:par>
                              <p:par>
                                <p:cTn id="73" presetID="47" presetClass="entr" presetSubtype="0" fill="hold" nodeType="withEffect">
                                  <p:stCondLst>
                                    <p:cond delay="1250"/>
                                  </p:stCondLst>
                                  <p:childTnLst>
                                    <p:set>
                                      <p:cBhvr>
                                        <p:cTn id="74" dur="1" fill="hold">
                                          <p:stCondLst>
                                            <p:cond delay="0"/>
                                          </p:stCondLst>
                                        </p:cTn>
                                        <p:tgtEl>
                                          <p:spTgt spid="553"/>
                                        </p:tgtEl>
                                        <p:attrNameLst>
                                          <p:attrName>style.visibility</p:attrName>
                                        </p:attrNameLst>
                                      </p:cBhvr>
                                      <p:to>
                                        <p:strVal val="visible"/>
                                      </p:to>
                                    </p:set>
                                    <p:animEffect transition="in" filter="fade">
                                      <p:cBhvr>
                                        <p:cTn id="75" dur="1000"/>
                                        <p:tgtEl>
                                          <p:spTgt spid="553"/>
                                        </p:tgtEl>
                                      </p:cBhvr>
                                    </p:animEffect>
                                    <p:anim calcmode="lin" valueType="num">
                                      <p:cBhvr>
                                        <p:cTn id="76" dur="1000" fill="hold"/>
                                        <p:tgtEl>
                                          <p:spTgt spid="553"/>
                                        </p:tgtEl>
                                        <p:attrNameLst>
                                          <p:attrName>ppt_x</p:attrName>
                                        </p:attrNameLst>
                                      </p:cBhvr>
                                      <p:tavLst>
                                        <p:tav tm="0">
                                          <p:val>
                                            <p:strVal val="#ppt_x"/>
                                          </p:val>
                                        </p:tav>
                                        <p:tav tm="100000">
                                          <p:val>
                                            <p:strVal val="#ppt_x"/>
                                          </p:val>
                                        </p:tav>
                                      </p:tavLst>
                                    </p:anim>
                                    <p:anim calcmode="lin" valueType="num">
                                      <p:cBhvr>
                                        <p:cTn id="77" dur="1000" fill="hold"/>
                                        <p:tgtEl>
                                          <p:spTgt spid="553"/>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1250"/>
                                  </p:stCondLst>
                                  <p:childTnLst>
                                    <p:set>
                                      <p:cBhvr>
                                        <p:cTn id="79" dur="1" fill="hold">
                                          <p:stCondLst>
                                            <p:cond delay="0"/>
                                          </p:stCondLst>
                                        </p:cTn>
                                        <p:tgtEl>
                                          <p:spTgt spid="31"/>
                                        </p:tgtEl>
                                        <p:attrNameLst>
                                          <p:attrName>style.visibility</p:attrName>
                                        </p:attrNameLst>
                                      </p:cBhvr>
                                      <p:to>
                                        <p:strVal val="visible"/>
                                      </p:to>
                                    </p:set>
                                    <p:animEffect transition="in" filter="fade">
                                      <p:cBhvr>
                                        <p:cTn id="80" dur="1000"/>
                                        <p:tgtEl>
                                          <p:spTgt spid="31"/>
                                        </p:tgtEl>
                                      </p:cBhvr>
                                    </p:animEffect>
                                    <p:anim calcmode="lin" valueType="num">
                                      <p:cBhvr>
                                        <p:cTn id="81" dur="1000" fill="hold"/>
                                        <p:tgtEl>
                                          <p:spTgt spid="31"/>
                                        </p:tgtEl>
                                        <p:attrNameLst>
                                          <p:attrName>ppt_x</p:attrName>
                                        </p:attrNameLst>
                                      </p:cBhvr>
                                      <p:tavLst>
                                        <p:tav tm="0">
                                          <p:val>
                                            <p:strVal val="#ppt_x"/>
                                          </p:val>
                                        </p:tav>
                                        <p:tav tm="100000">
                                          <p:val>
                                            <p:strVal val="#ppt_x"/>
                                          </p:val>
                                        </p:tav>
                                      </p:tavLst>
                                    </p:anim>
                                    <p:anim calcmode="lin" valueType="num">
                                      <p:cBhvr>
                                        <p:cTn id="82" dur="1000" fill="hold"/>
                                        <p:tgtEl>
                                          <p:spTgt spid="31"/>
                                        </p:tgtEl>
                                        <p:attrNameLst>
                                          <p:attrName>ppt_y</p:attrName>
                                        </p:attrNameLst>
                                      </p:cBhvr>
                                      <p:tavLst>
                                        <p:tav tm="0">
                                          <p:val>
                                            <p:strVal val="#ppt_y+.1"/>
                                          </p:val>
                                        </p:tav>
                                        <p:tav tm="100000">
                                          <p:val>
                                            <p:strVal val="#ppt_y"/>
                                          </p:val>
                                        </p:tav>
                                      </p:tavLst>
                                    </p:anim>
                                  </p:childTnLst>
                                </p:cTn>
                              </p:par>
                              <p:par>
                                <p:cTn id="83" presetID="22" presetClass="entr" presetSubtype="8" fill="hold" nodeType="withEffect">
                                  <p:stCondLst>
                                    <p:cond delay="1250"/>
                                  </p:stCondLst>
                                  <p:childTnLst>
                                    <p:set>
                                      <p:cBhvr>
                                        <p:cTn id="84" dur="1" fill="hold">
                                          <p:stCondLst>
                                            <p:cond delay="0"/>
                                          </p:stCondLst>
                                        </p:cTn>
                                        <p:tgtEl>
                                          <p:spTgt spid="112"/>
                                        </p:tgtEl>
                                        <p:attrNameLst>
                                          <p:attrName>style.visibility</p:attrName>
                                        </p:attrNameLst>
                                      </p:cBhvr>
                                      <p:to>
                                        <p:strVal val="visible"/>
                                      </p:to>
                                    </p:set>
                                    <p:animEffect transition="in" filter="wipe(left)">
                                      <p:cBhvr>
                                        <p:cTn id="85" dur="2000"/>
                                        <p:tgtEl>
                                          <p:spTgt spid="112"/>
                                        </p:tgtEl>
                                      </p:cBhvr>
                                    </p:animEffect>
                                  </p:childTnLst>
                                </p:cTn>
                              </p:par>
                              <p:par>
                                <p:cTn id="86" presetID="53" presetClass="entr" presetSubtype="16" fill="hold" grpId="0" nodeType="withEffect">
                                  <p:stCondLst>
                                    <p:cond delay="1500"/>
                                  </p:stCondLst>
                                  <p:childTnLst>
                                    <p:set>
                                      <p:cBhvr>
                                        <p:cTn id="87" dur="1" fill="hold">
                                          <p:stCondLst>
                                            <p:cond delay="0"/>
                                          </p:stCondLst>
                                        </p:cTn>
                                        <p:tgtEl>
                                          <p:spTgt spid="115"/>
                                        </p:tgtEl>
                                        <p:attrNameLst>
                                          <p:attrName>style.visibility</p:attrName>
                                        </p:attrNameLst>
                                      </p:cBhvr>
                                      <p:to>
                                        <p:strVal val="visible"/>
                                      </p:to>
                                    </p:set>
                                    <p:anim calcmode="lin" valueType="num">
                                      <p:cBhvr>
                                        <p:cTn id="88" dur="500" fill="hold"/>
                                        <p:tgtEl>
                                          <p:spTgt spid="115"/>
                                        </p:tgtEl>
                                        <p:attrNameLst>
                                          <p:attrName>ppt_w</p:attrName>
                                        </p:attrNameLst>
                                      </p:cBhvr>
                                      <p:tavLst>
                                        <p:tav tm="0">
                                          <p:val>
                                            <p:fltVal val="0"/>
                                          </p:val>
                                        </p:tav>
                                        <p:tav tm="100000">
                                          <p:val>
                                            <p:strVal val="#ppt_w"/>
                                          </p:val>
                                        </p:tav>
                                      </p:tavLst>
                                    </p:anim>
                                    <p:anim calcmode="lin" valueType="num">
                                      <p:cBhvr>
                                        <p:cTn id="89" dur="500" fill="hold"/>
                                        <p:tgtEl>
                                          <p:spTgt spid="115"/>
                                        </p:tgtEl>
                                        <p:attrNameLst>
                                          <p:attrName>ppt_h</p:attrName>
                                        </p:attrNameLst>
                                      </p:cBhvr>
                                      <p:tavLst>
                                        <p:tav tm="0">
                                          <p:val>
                                            <p:fltVal val="0"/>
                                          </p:val>
                                        </p:tav>
                                        <p:tav tm="100000">
                                          <p:val>
                                            <p:strVal val="#ppt_h"/>
                                          </p:val>
                                        </p:tav>
                                      </p:tavLst>
                                    </p:anim>
                                    <p:animEffect transition="in" filter="fade">
                                      <p:cBhvr>
                                        <p:cTn id="90" dur="500"/>
                                        <p:tgtEl>
                                          <p:spTgt spid="115"/>
                                        </p:tgtEl>
                                      </p:cBhvr>
                                    </p:animEffect>
                                  </p:childTnLst>
                                </p:cTn>
                              </p:par>
                              <p:par>
                                <p:cTn id="91" presetID="47" presetClass="entr" presetSubtype="0" fill="hold" nodeType="withEffect">
                                  <p:stCondLst>
                                    <p:cond delay="1500"/>
                                  </p:stCondLst>
                                  <p:childTnLst>
                                    <p:set>
                                      <p:cBhvr>
                                        <p:cTn id="92" dur="1" fill="hold">
                                          <p:stCondLst>
                                            <p:cond delay="0"/>
                                          </p:stCondLst>
                                        </p:cTn>
                                        <p:tgtEl>
                                          <p:spTgt spid="480"/>
                                        </p:tgtEl>
                                        <p:attrNameLst>
                                          <p:attrName>style.visibility</p:attrName>
                                        </p:attrNameLst>
                                      </p:cBhvr>
                                      <p:to>
                                        <p:strVal val="visible"/>
                                      </p:to>
                                    </p:set>
                                    <p:animEffect transition="in" filter="fade">
                                      <p:cBhvr>
                                        <p:cTn id="93" dur="1000"/>
                                        <p:tgtEl>
                                          <p:spTgt spid="480"/>
                                        </p:tgtEl>
                                      </p:cBhvr>
                                    </p:animEffect>
                                    <p:anim calcmode="lin" valueType="num">
                                      <p:cBhvr>
                                        <p:cTn id="94" dur="1000" fill="hold"/>
                                        <p:tgtEl>
                                          <p:spTgt spid="480"/>
                                        </p:tgtEl>
                                        <p:attrNameLst>
                                          <p:attrName>ppt_x</p:attrName>
                                        </p:attrNameLst>
                                      </p:cBhvr>
                                      <p:tavLst>
                                        <p:tav tm="0">
                                          <p:val>
                                            <p:strVal val="#ppt_x"/>
                                          </p:val>
                                        </p:tav>
                                        <p:tav tm="100000">
                                          <p:val>
                                            <p:strVal val="#ppt_x"/>
                                          </p:val>
                                        </p:tav>
                                      </p:tavLst>
                                    </p:anim>
                                    <p:anim calcmode="lin" valueType="num">
                                      <p:cBhvr>
                                        <p:cTn id="95" dur="1000" fill="hold"/>
                                        <p:tgtEl>
                                          <p:spTgt spid="480"/>
                                        </p:tgtEl>
                                        <p:attrNameLst>
                                          <p:attrName>ppt_y</p:attrName>
                                        </p:attrNameLst>
                                      </p:cBhvr>
                                      <p:tavLst>
                                        <p:tav tm="0">
                                          <p:val>
                                            <p:strVal val="#ppt_y-.1"/>
                                          </p:val>
                                        </p:tav>
                                        <p:tav tm="100000">
                                          <p:val>
                                            <p:strVal val="#ppt_y"/>
                                          </p:val>
                                        </p:tav>
                                      </p:tavLst>
                                    </p:anim>
                                  </p:childTnLst>
                                </p:cTn>
                              </p:par>
                              <p:par>
                                <p:cTn id="96" presetID="42" presetClass="entr" presetSubtype="0" fill="hold" grpId="0" nodeType="withEffect">
                                  <p:stCondLst>
                                    <p:cond delay="1500"/>
                                  </p:stCondLst>
                                  <p:childTnLst>
                                    <p:set>
                                      <p:cBhvr>
                                        <p:cTn id="97" dur="1" fill="hold">
                                          <p:stCondLst>
                                            <p:cond delay="0"/>
                                          </p:stCondLst>
                                        </p:cTn>
                                        <p:tgtEl>
                                          <p:spTgt spid="114"/>
                                        </p:tgtEl>
                                        <p:attrNameLst>
                                          <p:attrName>style.visibility</p:attrName>
                                        </p:attrNameLst>
                                      </p:cBhvr>
                                      <p:to>
                                        <p:strVal val="visible"/>
                                      </p:to>
                                    </p:set>
                                    <p:animEffect transition="in" filter="fade">
                                      <p:cBhvr>
                                        <p:cTn id="98" dur="1000"/>
                                        <p:tgtEl>
                                          <p:spTgt spid="114"/>
                                        </p:tgtEl>
                                      </p:cBhvr>
                                    </p:animEffect>
                                    <p:anim calcmode="lin" valueType="num">
                                      <p:cBhvr>
                                        <p:cTn id="99" dur="1000" fill="hold"/>
                                        <p:tgtEl>
                                          <p:spTgt spid="114"/>
                                        </p:tgtEl>
                                        <p:attrNameLst>
                                          <p:attrName>ppt_x</p:attrName>
                                        </p:attrNameLst>
                                      </p:cBhvr>
                                      <p:tavLst>
                                        <p:tav tm="0">
                                          <p:val>
                                            <p:strVal val="#ppt_x"/>
                                          </p:val>
                                        </p:tav>
                                        <p:tav tm="100000">
                                          <p:val>
                                            <p:strVal val="#ppt_x"/>
                                          </p:val>
                                        </p:tav>
                                      </p:tavLst>
                                    </p:anim>
                                    <p:anim calcmode="lin" valueType="num">
                                      <p:cBhvr>
                                        <p:cTn id="100" dur="1000" fill="hold"/>
                                        <p:tgtEl>
                                          <p:spTgt spid="114"/>
                                        </p:tgtEl>
                                        <p:attrNameLst>
                                          <p:attrName>ppt_y</p:attrName>
                                        </p:attrNameLst>
                                      </p:cBhvr>
                                      <p:tavLst>
                                        <p:tav tm="0">
                                          <p:val>
                                            <p:strVal val="#ppt_y+.1"/>
                                          </p:val>
                                        </p:tav>
                                        <p:tav tm="100000">
                                          <p:val>
                                            <p:strVal val="#ppt_y"/>
                                          </p:val>
                                        </p:tav>
                                      </p:tavLst>
                                    </p:anim>
                                  </p:childTnLst>
                                </p:cTn>
                              </p:par>
                              <p:par>
                                <p:cTn id="101" presetID="53" presetClass="entr" presetSubtype="16" fill="hold" grpId="0" nodeType="withEffect">
                                  <p:stCondLst>
                                    <p:cond delay="1750"/>
                                  </p:stCondLst>
                                  <p:childTnLst>
                                    <p:set>
                                      <p:cBhvr>
                                        <p:cTn id="102" dur="1" fill="hold">
                                          <p:stCondLst>
                                            <p:cond delay="0"/>
                                          </p:stCondLst>
                                        </p:cTn>
                                        <p:tgtEl>
                                          <p:spTgt spid="118"/>
                                        </p:tgtEl>
                                        <p:attrNameLst>
                                          <p:attrName>style.visibility</p:attrName>
                                        </p:attrNameLst>
                                      </p:cBhvr>
                                      <p:to>
                                        <p:strVal val="visible"/>
                                      </p:to>
                                    </p:set>
                                    <p:anim calcmode="lin" valueType="num">
                                      <p:cBhvr>
                                        <p:cTn id="103" dur="500" fill="hold"/>
                                        <p:tgtEl>
                                          <p:spTgt spid="118"/>
                                        </p:tgtEl>
                                        <p:attrNameLst>
                                          <p:attrName>ppt_w</p:attrName>
                                        </p:attrNameLst>
                                      </p:cBhvr>
                                      <p:tavLst>
                                        <p:tav tm="0">
                                          <p:val>
                                            <p:fltVal val="0"/>
                                          </p:val>
                                        </p:tav>
                                        <p:tav tm="100000">
                                          <p:val>
                                            <p:strVal val="#ppt_w"/>
                                          </p:val>
                                        </p:tav>
                                      </p:tavLst>
                                    </p:anim>
                                    <p:anim calcmode="lin" valueType="num">
                                      <p:cBhvr>
                                        <p:cTn id="104" dur="500" fill="hold"/>
                                        <p:tgtEl>
                                          <p:spTgt spid="118"/>
                                        </p:tgtEl>
                                        <p:attrNameLst>
                                          <p:attrName>ppt_h</p:attrName>
                                        </p:attrNameLst>
                                      </p:cBhvr>
                                      <p:tavLst>
                                        <p:tav tm="0">
                                          <p:val>
                                            <p:fltVal val="0"/>
                                          </p:val>
                                        </p:tav>
                                        <p:tav tm="100000">
                                          <p:val>
                                            <p:strVal val="#ppt_h"/>
                                          </p:val>
                                        </p:tav>
                                      </p:tavLst>
                                    </p:anim>
                                    <p:animEffect transition="in" filter="fade">
                                      <p:cBhvr>
                                        <p:cTn id="105" dur="500"/>
                                        <p:tgtEl>
                                          <p:spTgt spid="118"/>
                                        </p:tgtEl>
                                      </p:cBhvr>
                                    </p:animEffect>
                                  </p:childTnLst>
                                </p:cTn>
                              </p:par>
                              <p:par>
                                <p:cTn id="106" presetID="47" presetClass="entr" presetSubtype="0" fill="hold" nodeType="withEffect">
                                  <p:stCondLst>
                                    <p:cond delay="1750"/>
                                  </p:stCondLst>
                                  <p:childTnLst>
                                    <p:set>
                                      <p:cBhvr>
                                        <p:cTn id="107" dur="1" fill="hold">
                                          <p:stCondLst>
                                            <p:cond delay="0"/>
                                          </p:stCondLst>
                                        </p:cTn>
                                        <p:tgtEl>
                                          <p:spTgt spid="421"/>
                                        </p:tgtEl>
                                        <p:attrNameLst>
                                          <p:attrName>style.visibility</p:attrName>
                                        </p:attrNameLst>
                                      </p:cBhvr>
                                      <p:to>
                                        <p:strVal val="visible"/>
                                      </p:to>
                                    </p:set>
                                    <p:animEffect transition="in" filter="fade">
                                      <p:cBhvr>
                                        <p:cTn id="108" dur="1000"/>
                                        <p:tgtEl>
                                          <p:spTgt spid="421"/>
                                        </p:tgtEl>
                                      </p:cBhvr>
                                    </p:animEffect>
                                    <p:anim calcmode="lin" valueType="num">
                                      <p:cBhvr>
                                        <p:cTn id="109" dur="1000" fill="hold"/>
                                        <p:tgtEl>
                                          <p:spTgt spid="421"/>
                                        </p:tgtEl>
                                        <p:attrNameLst>
                                          <p:attrName>ppt_x</p:attrName>
                                        </p:attrNameLst>
                                      </p:cBhvr>
                                      <p:tavLst>
                                        <p:tav tm="0">
                                          <p:val>
                                            <p:strVal val="#ppt_x"/>
                                          </p:val>
                                        </p:tav>
                                        <p:tav tm="100000">
                                          <p:val>
                                            <p:strVal val="#ppt_x"/>
                                          </p:val>
                                        </p:tav>
                                      </p:tavLst>
                                    </p:anim>
                                    <p:anim calcmode="lin" valueType="num">
                                      <p:cBhvr>
                                        <p:cTn id="110" dur="1000" fill="hold"/>
                                        <p:tgtEl>
                                          <p:spTgt spid="421"/>
                                        </p:tgtEl>
                                        <p:attrNameLst>
                                          <p:attrName>ppt_y</p:attrName>
                                        </p:attrNameLst>
                                      </p:cBhvr>
                                      <p:tavLst>
                                        <p:tav tm="0">
                                          <p:val>
                                            <p:strVal val="#ppt_y-.1"/>
                                          </p:val>
                                        </p:tav>
                                        <p:tav tm="100000">
                                          <p:val>
                                            <p:strVal val="#ppt_y"/>
                                          </p:val>
                                        </p:tav>
                                      </p:tavLst>
                                    </p:anim>
                                  </p:childTnLst>
                                </p:cTn>
                              </p:par>
                              <p:par>
                                <p:cTn id="111" presetID="42" presetClass="entr" presetSubtype="0" fill="hold" grpId="0" nodeType="withEffect">
                                  <p:stCondLst>
                                    <p:cond delay="1750"/>
                                  </p:stCondLst>
                                  <p:childTnLst>
                                    <p:set>
                                      <p:cBhvr>
                                        <p:cTn id="112" dur="1" fill="hold">
                                          <p:stCondLst>
                                            <p:cond delay="0"/>
                                          </p:stCondLst>
                                        </p:cTn>
                                        <p:tgtEl>
                                          <p:spTgt spid="117"/>
                                        </p:tgtEl>
                                        <p:attrNameLst>
                                          <p:attrName>style.visibility</p:attrName>
                                        </p:attrNameLst>
                                      </p:cBhvr>
                                      <p:to>
                                        <p:strVal val="visible"/>
                                      </p:to>
                                    </p:set>
                                    <p:animEffect transition="in" filter="fade">
                                      <p:cBhvr>
                                        <p:cTn id="113" dur="1000"/>
                                        <p:tgtEl>
                                          <p:spTgt spid="117"/>
                                        </p:tgtEl>
                                      </p:cBhvr>
                                    </p:animEffect>
                                    <p:anim calcmode="lin" valueType="num">
                                      <p:cBhvr>
                                        <p:cTn id="114" dur="1000" fill="hold"/>
                                        <p:tgtEl>
                                          <p:spTgt spid="117"/>
                                        </p:tgtEl>
                                        <p:attrNameLst>
                                          <p:attrName>ppt_x</p:attrName>
                                        </p:attrNameLst>
                                      </p:cBhvr>
                                      <p:tavLst>
                                        <p:tav tm="0">
                                          <p:val>
                                            <p:strVal val="#ppt_x"/>
                                          </p:val>
                                        </p:tav>
                                        <p:tav tm="100000">
                                          <p:val>
                                            <p:strVal val="#ppt_x"/>
                                          </p:val>
                                        </p:tav>
                                      </p:tavLst>
                                    </p:anim>
                                    <p:anim calcmode="lin" valueType="num">
                                      <p:cBhvr>
                                        <p:cTn id="115" dur="1000" fill="hold"/>
                                        <p:tgtEl>
                                          <p:spTgt spid="117"/>
                                        </p:tgtEl>
                                        <p:attrNameLst>
                                          <p:attrName>ppt_y</p:attrName>
                                        </p:attrNameLst>
                                      </p:cBhvr>
                                      <p:tavLst>
                                        <p:tav tm="0">
                                          <p:val>
                                            <p:strVal val="#ppt_y+.1"/>
                                          </p:val>
                                        </p:tav>
                                        <p:tav tm="100000">
                                          <p:val>
                                            <p:strVal val="#ppt_y"/>
                                          </p:val>
                                        </p:tav>
                                      </p:tavLst>
                                    </p:anim>
                                  </p:childTnLst>
                                </p:cTn>
                              </p:par>
                              <p:par>
                                <p:cTn id="116" presetID="53" presetClass="entr" presetSubtype="16" fill="hold" grpId="0" nodeType="withEffect">
                                  <p:stCondLst>
                                    <p:cond delay="2000"/>
                                  </p:stCondLst>
                                  <p:childTnLst>
                                    <p:set>
                                      <p:cBhvr>
                                        <p:cTn id="117" dur="1" fill="hold">
                                          <p:stCondLst>
                                            <p:cond delay="0"/>
                                          </p:stCondLst>
                                        </p:cTn>
                                        <p:tgtEl>
                                          <p:spTgt spid="126"/>
                                        </p:tgtEl>
                                        <p:attrNameLst>
                                          <p:attrName>style.visibility</p:attrName>
                                        </p:attrNameLst>
                                      </p:cBhvr>
                                      <p:to>
                                        <p:strVal val="visible"/>
                                      </p:to>
                                    </p:set>
                                    <p:anim calcmode="lin" valueType="num">
                                      <p:cBhvr>
                                        <p:cTn id="118" dur="500" fill="hold"/>
                                        <p:tgtEl>
                                          <p:spTgt spid="126"/>
                                        </p:tgtEl>
                                        <p:attrNameLst>
                                          <p:attrName>ppt_w</p:attrName>
                                        </p:attrNameLst>
                                      </p:cBhvr>
                                      <p:tavLst>
                                        <p:tav tm="0">
                                          <p:val>
                                            <p:fltVal val="0"/>
                                          </p:val>
                                        </p:tav>
                                        <p:tav tm="100000">
                                          <p:val>
                                            <p:strVal val="#ppt_w"/>
                                          </p:val>
                                        </p:tav>
                                      </p:tavLst>
                                    </p:anim>
                                    <p:anim calcmode="lin" valueType="num">
                                      <p:cBhvr>
                                        <p:cTn id="119" dur="500" fill="hold"/>
                                        <p:tgtEl>
                                          <p:spTgt spid="126"/>
                                        </p:tgtEl>
                                        <p:attrNameLst>
                                          <p:attrName>ppt_h</p:attrName>
                                        </p:attrNameLst>
                                      </p:cBhvr>
                                      <p:tavLst>
                                        <p:tav tm="0">
                                          <p:val>
                                            <p:fltVal val="0"/>
                                          </p:val>
                                        </p:tav>
                                        <p:tav tm="100000">
                                          <p:val>
                                            <p:strVal val="#ppt_h"/>
                                          </p:val>
                                        </p:tav>
                                      </p:tavLst>
                                    </p:anim>
                                    <p:animEffect transition="in" filter="fade">
                                      <p:cBhvr>
                                        <p:cTn id="120" dur="500"/>
                                        <p:tgtEl>
                                          <p:spTgt spid="126"/>
                                        </p:tgtEl>
                                      </p:cBhvr>
                                    </p:animEffect>
                                  </p:childTnLst>
                                </p:cTn>
                              </p:par>
                              <p:par>
                                <p:cTn id="121" presetID="47" presetClass="entr" presetSubtype="0" fill="hold" nodeType="withEffect">
                                  <p:stCondLst>
                                    <p:cond delay="2000"/>
                                  </p:stCondLst>
                                  <p:childTnLst>
                                    <p:set>
                                      <p:cBhvr>
                                        <p:cTn id="122" dur="1" fill="hold">
                                          <p:stCondLst>
                                            <p:cond delay="0"/>
                                          </p:stCondLst>
                                        </p:cTn>
                                        <p:tgtEl>
                                          <p:spTgt spid="530"/>
                                        </p:tgtEl>
                                        <p:attrNameLst>
                                          <p:attrName>style.visibility</p:attrName>
                                        </p:attrNameLst>
                                      </p:cBhvr>
                                      <p:to>
                                        <p:strVal val="visible"/>
                                      </p:to>
                                    </p:set>
                                    <p:animEffect transition="in" filter="fade">
                                      <p:cBhvr>
                                        <p:cTn id="123" dur="1000"/>
                                        <p:tgtEl>
                                          <p:spTgt spid="530"/>
                                        </p:tgtEl>
                                      </p:cBhvr>
                                    </p:animEffect>
                                    <p:anim calcmode="lin" valueType="num">
                                      <p:cBhvr>
                                        <p:cTn id="124" dur="1000" fill="hold"/>
                                        <p:tgtEl>
                                          <p:spTgt spid="530"/>
                                        </p:tgtEl>
                                        <p:attrNameLst>
                                          <p:attrName>ppt_x</p:attrName>
                                        </p:attrNameLst>
                                      </p:cBhvr>
                                      <p:tavLst>
                                        <p:tav tm="0">
                                          <p:val>
                                            <p:strVal val="#ppt_x"/>
                                          </p:val>
                                        </p:tav>
                                        <p:tav tm="100000">
                                          <p:val>
                                            <p:strVal val="#ppt_x"/>
                                          </p:val>
                                        </p:tav>
                                      </p:tavLst>
                                    </p:anim>
                                    <p:anim calcmode="lin" valueType="num">
                                      <p:cBhvr>
                                        <p:cTn id="125" dur="1000" fill="hold"/>
                                        <p:tgtEl>
                                          <p:spTgt spid="530"/>
                                        </p:tgtEl>
                                        <p:attrNameLst>
                                          <p:attrName>ppt_y</p:attrName>
                                        </p:attrNameLst>
                                      </p:cBhvr>
                                      <p:tavLst>
                                        <p:tav tm="0">
                                          <p:val>
                                            <p:strVal val="#ppt_y-.1"/>
                                          </p:val>
                                        </p:tav>
                                        <p:tav tm="100000">
                                          <p:val>
                                            <p:strVal val="#ppt_y"/>
                                          </p:val>
                                        </p:tav>
                                      </p:tavLst>
                                    </p:anim>
                                  </p:childTnLst>
                                </p:cTn>
                              </p:par>
                              <p:par>
                                <p:cTn id="126" presetID="42" presetClass="entr" presetSubtype="0" fill="hold" grpId="0" nodeType="withEffect">
                                  <p:stCondLst>
                                    <p:cond delay="2000"/>
                                  </p:stCondLst>
                                  <p:childTnLst>
                                    <p:set>
                                      <p:cBhvr>
                                        <p:cTn id="127" dur="1" fill="hold">
                                          <p:stCondLst>
                                            <p:cond delay="0"/>
                                          </p:stCondLst>
                                        </p:cTn>
                                        <p:tgtEl>
                                          <p:spTgt spid="125"/>
                                        </p:tgtEl>
                                        <p:attrNameLst>
                                          <p:attrName>style.visibility</p:attrName>
                                        </p:attrNameLst>
                                      </p:cBhvr>
                                      <p:to>
                                        <p:strVal val="visible"/>
                                      </p:to>
                                    </p:set>
                                    <p:animEffect transition="in" filter="fade">
                                      <p:cBhvr>
                                        <p:cTn id="128" dur="1000"/>
                                        <p:tgtEl>
                                          <p:spTgt spid="125"/>
                                        </p:tgtEl>
                                      </p:cBhvr>
                                    </p:animEffect>
                                    <p:anim calcmode="lin" valueType="num">
                                      <p:cBhvr>
                                        <p:cTn id="129" dur="1000" fill="hold"/>
                                        <p:tgtEl>
                                          <p:spTgt spid="125"/>
                                        </p:tgtEl>
                                        <p:attrNameLst>
                                          <p:attrName>ppt_x</p:attrName>
                                        </p:attrNameLst>
                                      </p:cBhvr>
                                      <p:tavLst>
                                        <p:tav tm="0">
                                          <p:val>
                                            <p:strVal val="#ppt_x"/>
                                          </p:val>
                                        </p:tav>
                                        <p:tav tm="100000">
                                          <p:val>
                                            <p:strVal val="#ppt_x"/>
                                          </p:val>
                                        </p:tav>
                                      </p:tavLst>
                                    </p:anim>
                                    <p:anim calcmode="lin" valueType="num">
                                      <p:cBhvr>
                                        <p:cTn id="130" dur="1000" fill="hold"/>
                                        <p:tgtEl>
                                          <p:spTgt spid="125"/>
                                        </p:tgtEl>
                                        <p:attrNameLst>
                                          <p:attrName>ppt_y</p:attrName>
                                        </p:attrNameLst>
                                      </p:cBhvr>
                                      <p:tavLst>
                                        <p:tav tm="0">
                                          <p:val>
                                            <p:strVal val="#ppt_y+.1"/>
                                          </p:val>
                                        </p:tav>
                                        <p:tav tm="100000">
                                          <p:val>
                                            <p:strVal val="#ppt_y"/>
                                          </p:val>
                                        </p:tav>
                                      </p:tavLst>
                                    </p:anim>
                                  </p:childTnLst>
                                </p:cTn>
                              </p:par>
                              <p:par>
                                <p:cTn id="131" presetID="53" presetClass="entr" presetSubtype="16" fill="hold" grpId="0" nodeType="withEffect">
                                  <p:stCondLst>
                                    <p:cond delay="2250"/>
                                  </p:stCondLst>
                                  <p:childTnLst>
                                    <p:set>
                                      <p:cBhvr>
                                        <p:cTn id="132" dur="1" fill="hold">
                                          <p:stCondLst>
                                            <p:cond delay="0"/>
                                          </p:stCondLst>
                                        </p:cTn>
                                        <p:tgtEl>
                                          <p:spTgt spid="124"/>
                                        </p:tgtEl>
                                        <p:attrNameLst>
                                          <p:attrName>style.visibility</p:attrName>
                                        </p:attrNameLst>
                                      </p:cBhvr>
                                      <p:to>
                                        <p:strVal val="visible"/>
                                      </p:to>
                                    </p:set>
                                    <p:anim calcmode="lin" valueType="num">
                                      <p:cBhvr>
                                        <p:cTn id="133" dur="500" fill="hold"/>
                                        <p:tgtEl>
                                          <p:spTgt spid="124"/>
                                        </p:tgtEl>
                                        <p:attrNameLst>
                                          <p:attrName>ppt_w</p:attrName>
                                        </p:attrNameLst>
                                      </p:cBhvr>
                                      <p:tavLst>
                                        <p:tav tm="0">
                                          <p:val>
                                            <p:fltVal val="0"/>
                                          </p:val>
                                        </p:tav>
                                        <p:tav tm="100000">
                                          <p:val>
                                            <p:strVal val="#ppt_w"/>
                                          </p:val>
                                        </p:tav>
                                      </p:tavLst>
                                    </p:anim>
                                    <p:anim calcmode="lin" valueType="num">
                                      <p:cBhvr>
                                        <p:cTn id="134" dur="500" fill="hold"/>
                                        <p:tgtEl>
                                          <p:spTgt spid="124"/>
                                        </p:tgtEl>
                                        <p:attrNameLst>
                                          <p:attrName>ppt_h</p:attrName>
                                        </p:attrNameLst>
                                      </p:cBhvr>
                                      <p:tavLst>
                                        <p:tav tm="0">
                                          <p:val>
                                            <p:fltVal val="0"/>
                                          </p:val>
                                        </p:tav>
                                        <p:tav tm="100000">
                                          <p:val>
                                            <p:strVal val="#ppt_h"/>
                                          </p:val>
                                        </p:tav>
                                      </p:tavLst>
                                    </p:anim>
                                    <p:animEffect transition="in" filter="fade">
                                      <p:cBhvr>
                                        <p:cTn id="135" dur="500"/>
                                        <p:tgtEl>
                                          <p:spTgt spid="124"/>
                                        </p:tgtEl>
                                      </p:cBhvr>
                                    </p:animEffect>
                                  </p:childTnLst>
                                </p:cTn>
                              </p:par>
                              <p:par>
                                <p:cTn id="136" presetID="47" presetClass="entr" presetSubtype="0" fill="hold" nodeType="withEffect">
                                  <p:stCondLst>
                                    <p:cond delay="2250"/>
                                  </p:stCondLst>
                                  <p:childTnLst>
                                    <p:set>
                                      <p:cBhvr>
                                        <p:cTn id="137" dur="1" fill="hold">
                                          <p:stCondLst>
                                            <p:cond delay="0"/>
                                          </p:stCondLst>
                                        </p:cTn>
                                        <p:tgtEl>
                                          <p:spTgt spid="507"/>
                                        </p:tgtEl>
                                        <p:attrNameLst>
                                          <p:attrName>style.visibility</p:attrName>
                                        </p:attrNameLst>
                                      </p:cBhvr>
                                      <p:to>
                                        <p:strVal val="visible"/>
                                      </p:to>
                                    </p:set>
                                    <p:animEffect transition="in" filter="fade">
                                      <p:cBhvr>
                                        <p:cTn id="138" dur="1000"/>
                                        <p:tgtEl>
                                          <p:spTgt spid="507"/>
                                        </p:tgtEl>
                                      </p:cBhvr>
                                    </p:animEffect>
                                    <p:anim calcmode="lin" valueType="num">
                                      <p:cBhvr>
                                        <p:cTn id="139" dur="1000" fill="hold"/>
                                        <p:tgtEl>
                                          <p:spTgt spid="507"/>
                                        </p:tgtEl>
                                        <p:attrNameLst>
                                          <p:attrName>ppt_x</p:attrName>
                                        </p:attrNameLst>
                                      </p:cBhvr>
                                      <p:tavLst>
                                        <p:tav tm="0">
                                          <p:val>
                                            <p:strVal val="#ppt_x"/>
                                          </p:val>
                                        </p:tav>
                                        <p:tav tm="100000">
                                          <p:val>
                                            <p:strVal val="#ppt_x"/>
                                          </p:val>
                                        </p:tav>
                                      </p:tavLst>
                                    </p:anim>
                                    <p:anim calcmode="lin" valueType="num">
                                      <p:cBhvr>
                                        <p:cTn id="140" dur="1000" fill="hold"/>
                                        <p:tgtEl>
                                          <p:spTgt spid="507"/>
                                        </p:tgtEl>
                                        <p:attrNameLst>
                                          <p:attrName>ppt_y</p:attrName>
                                        </p:attrNameLst>
                                      </p:cBhvr>
                                      <p:tavLst>
                                        <p:tav tm="0">
                                          <p:val>
                                            <p:strVal val="#ppt_y-.1"/>
                                          </p:val>
                                        </p:tav>
                                        <p:tav tm="100000">
                                          <p:val>
                                            <p:strVal val="#ppt_y"/>
                                          </p:val>
                                        </p:tav>
                                      </p:tavLst>
                                    </p:anim>
                                  </p:childTnLst>
                                </p:cTn>
                              </p:par>
                              <p:par>
                                <p:cTn id="141" presetID="42" presetClass="entr" presetSubtype="0" fill="hold" grpId="0" nodeType="withEffect">
                                  <p:stCondLst>
                                    <p:cond delay="2250"/>
                                  </p:stCondLst>
                                  <p:childTnLst>
                                    <p:set>
                                      <p:cBhvr>
                                        <p:cTn id="142" dur="1" fill="hold">
                                          <p:stCondLst>
                                            <p:cond delay="0"/>
                                          </p:stCondLst>
                                        </p:cTn>
                                        <p:tgtEl>
                                          <p:spTgt spid="122"/>
                                        </p:tgtEl>
                                        <p:attrNameLst>
                                          <p:attrName>style.visibility</p:attrName>
                                        </p:attrNameLst>
                                      </p:cBhvr>
                                      <p:to>
                                        <p:strVal val="visible"/>
                                      </p:to>
                                    </p:set>
                                    <p:animEffect transition="in" filter="fade">
                                      <p:cBhvr>
                                        <p:cTn id="143" dur="1000"/>
                                        <p:tgtEl>
                                          <p:spTgt spid="122"/>
                                        </p:tgtEl>
                                      </p:cBhvr>
                                    </p:animEffect>
                                    <p:anim calcmode="lin" valueType="num">
                                      <p:cBhvr>
                                        <p:cTn id="144" dur="1000" fill="hold"/>
                                        <p:tgtEl>
                                          <p:spTgt spid="122"/>
                                        </p:tgtEl>
                                        <p:attrNameLst>
                                          <p:attrName>ppt_x</p:attrName>
                                        </p:attrNameLst>
                                      </p:cBhvr>
                                      <p:tavLst>
                                        <p:tav tm="0">
                                          <p:val>
                                            <p:strVal val="#ppt_x"/>
                                          </p:val>
                                        </p:tav>
                                        <p:tav tm="100000">
                                          <p:val>
                                            <p:strVal val="#ppt_x"/>
                                          </p:val>
                                        </p:tav>
                                      </p:tavLst>
                                    </p:anim>
                                    <p:anim calcmode="lin" valueType="num">
                                      <p:cBhvr>
                                        <p:cTn id="145" dur="1000" fill="hold"/>
                                        <p:tgtEl>
                                          <p:spTgt spid="122"/>
                                        </p:tgtEl>
                                        <p:attrNameLst>
                                          <p:attrName>ppt_y</p:attrName>
                                        </p:attrNameLst>
                                      </p:cBhvr>
                                      <p:tavLst>
                                        <p:tav tm="0">
                                          <p:val>
                                            <p:strVal val="#ppt_y+.1"/>
                                          </p:val>
                                        </p:tav>
                                        <p:tav tm="100000">
                                          <p:val>
                                            <p:strVal val="#ppt_y"/>
                                          </p:val>
                                        </p:tav>
                                      </p:tavLst>
                                    </p:anim>
                                  </p:childTnLst>
                                </p:cTn>
                              </p:par>
                              <p:par>
                                <p:cTn id="146" presetID="53" presetClass="entr" presetSubtype="16" fill="hold" grpId="0" nodeType="withEffect">
                                  <p:stCondLst>
                                    <p:cond delay="2500"/>
                                  </p:stCondLst>
                                  <p:childTnLst>
                                    <p:set>
                                      <p:cBhvr>
                                        <p:cTn id="147" dur="1" fill="hold">
                                          <p:stCondLst>
                                            <p:cond delay="0"/>
                                          </p:stCondLst>
                                        </p:cTn>
                                        <p:tgtEl>
                                          <p:spTgt spid="121"/>
                                        </p:tgtEl>
                                        <p:attrNameLst>
                                          <p:attrName>style.visibility</p:attrName>
                                        </p:attrNameLst>
                                      </p:cBhvr>
                                      <p:to>
                                        <p:strVal val="visible"/>
                                      </p:to>
                                    </p:set>
                                    <p:anim calcmode="lin" valueType="num">
                                      <p:cBhvr>
                                        <p:cTn id="148" dur="500" fill="hold"/>
                                        <p:tgtEl>
                                          <p:spTgt spid="121"/>
                                        </p:tgtEl>
                                        <p:attrNameLst>
                                          <p:attrName>ppt_w</p:attrName>
                                        </p:attrNameLst>
                                      </p:cBhvr>
                                      <p:tavLst>
                                        <p:tav tm="0">
                                          <p:val>
                                            <p:fltVal val="0"/>
                                          </p:val>
                                        </p:tav>
                                        <p:tav tm="100000">
                                          <p:val>
                                            <p:strVal val="#ppt_w"/>
                                          </p:val>
                                        </p:tav>
                                      </p:tavLst>
                                    </p:anim>
                                    <p:anim calcmode="lin" valueType="num">
                                      <p:cBhvr>
                                        <p:cTn id="149" dur="500" fill="hold"/>
                                        <p:tgtEl>
                                          <p:spTgt spid="121"/>
                                        </p:tgtEl>
                                        <p:attrNameLst>
                                          <p:attrName>ppt_h</p:attrName>
                                        </p:attrNameLst>
                                      </p:cBhvr>
                                      <p:tavLst>
                                        <p:tav tm="0">
                                          <p:val>
                                            <p:fltVal val="0"/>
                                          </p:val>
                                        </p:tav>
                                        <p:tav tm="100000">
                                          <p:val>
                                            <p:strVal val="#ppt_h"/>
                                          </p:val>
                                        </p:tav>
                                      </p:tavLst>
                                    </p:anim>
                                    <p:animEffect transition="in" filter="fade">
                                      <p:cBhvr>
                                        <p:cTn id="150" dur="500"/>
                                        <p:tgtEl>
                                          <p:spTgt spid="121"/>
                                        </p:tgtEl>
                                      </p:cBhvr>
                                    </p:animEffect>
                                  </p:childTnLst>
                                </p:cTn>
                              </p:par>
                              <p:par>
                                <p:cTn id="151" presetID="47" presetClass="entr" presetSubtype="0" fill="hold" nodeType="withEffect">
                                  <p:stCondLst>
                                    <p:cond delay="2500"/>
                                  </p:stCondLst>
                                  <p:childTnLst>
                                    <p:set>
                                      <p:cBhvr>
                                        <p:cTn id="152" dur="1" fill="hold">
                                          <p:stCondLst>
                                            <p:cond delay="0"/>
                                          </p:stCondLst>
                                        </p:cTn>
                                        <p:tgtEl>
                                          <p:spTgt spid="226"/>
                                        </p:tgtEl>
                                        <p:attrNameLst>
                                          <p:attrName>style.visibility</p:attrName>
                                        </p:attrNameLst>
                                      </p:cBhvr>
                                      <p:to>
                                        <p:strVal val="visible"/>
                                      </p:to>
                                    </p:set>
                                    <p:animEffect transition="in" filter="fade">
                                      <p:cBhvr>
                                        <p:cTn id="153" dur="1000"/>
                                        <p:tgtEl>
                                          <p:spTgt spid="226"/>
                                        </p:tgtEl>
                                      </p:cBhvr>
                                    </p:animEffect>
                                    <p:anim calcmode="lin" valueType="num">
                                      <p:cBhvr>
                                        <p:cTn id="154" dur="1000" fill="hold"/>
                                        <p:tgtEl>
                                          <p:spTgt spid="226"/>
                                        </p:tgtEl>
                                        <p:attrNameLst>
                                          <p:attrName>ppt_x</p:attrName>
                                        </p:attrNameLst>
                                      </p:cBhvr>
                                      <p:tavLst>
                                        <p:tav tm="0">
                                          <p:val>
                                            <p:strVal val="#ppt_x"/>
                                          </p:val>
                                        </p:tav>
                                        <p:tav tm="100000">
                                          <p:val>
                                            <p:strVal val="#ppt_x"/>
                                          </p:val>
                                        </p:tav>
                                      </p:tavLst>
                                    </p:anim>
                                    <p:anim calcmode="lin" valueType="num">
                                      <p:cBhvr>
                                        <p:cTn id="155" dur="1000" fill="hold"/>
                                        <p:tgtEl>
                                          <p:spTgt spid="226"/>
                                        </p:tgtEl>
                                        <p:attrNameLst>
                                          <p:attrName>ppt_y</p:attrName>
                                        </p:attrNameLst>
                                      </p:cBhvr>
                                      <p:tavLst>
                                        <p:tav tm="0">
                                          <p:val>
                                            <p:strVal val="#ppt_y-.1"/>
                                          </p:val>
                                        </p:tav>
                                        <p:tav tm="100000">
                                          <p:val>
                                            <p:strVal val="#ppt_y"/>
                                          </p:val>
                                        </p:tav>
                                      </p:tavLst>
                                    </p:anim>
                                  </p:childTnLst>
                                </p:cTn>
                              </p:par>
                              <p:par>
                                <p:cTn id="156" presetID="42" presetClass="entr" presetSubtype="0" fill="hold" grpId="0" nodeType="withEffect">
                                  <p:stCondLst>
                                    <p:cond delay="2500"/>
                                  </p:stCondLst>
                                  <p:childTnLst>
                                    <p:set>
                                      <p:cBhvr>
                                        <p:cTn id="157" dur="1" fill="hold">
                                          <p:stCondLst>
                                            <p:cond delay="0"/>
                                          </p:stCondLst>
                                        </p:cTn>
                                        <p:tgtEl>
                                          <p:spTgt spid="120"/>
                                        </p:tgtEl>
                                        <p:attrNameLst>
                                          <p:attrName>style.visibility</p:attrName>
                                        </p:attrNameLst>
                                      </p:cBhvr>
                                      <p:to>
                                        <p:strVal val="visible"/>
                                      </p:to>
                                    </p:set>
                                    <p:animEffect transition="in" filter="fade">
                                      <p:cBhvr>
                                        <p:cTn id="158" dur="1000"/>
                                        <p:tgtEl>
                                          <p:spTgt spid="120"/>
                                        </p:tgtEl>
                                      </p:cBhvr>
                                    </p:animEffect>
                                    <p:anim calcmode="lin" valueType="num">
                                      <p:cBhvr>
                                        <p:cTn id="159" dur="1000" fill="hold"/>
                                        <p:tgtEl>
                                          <p:spTgt spid="120"/>
                                        </p:tgtEl>
                                        <p:attrNameLst>
                                          <p:attrName>ppt_x</p:attrName>
                                        </p:attrNameLst>
                                      </p:cBhvr>
                                      <p:tavLst>
                                        <p:tav tm="0">
                                          <p:val>
                                            <p:strVal val="#ppt_x"/>
                                          </p:val>
                                        </p:tav>
                                        <p:tav tm="100000">
                                          <p:val>
                                            <p:strVal val="#ppt_x"/>
                                          </p:val>
                                        </p:tav>
                                      </p:tavLst>
                                    </p:anim>
                                    <p:anim calcmode="lin" valueType="num">
                                      <p:cBhvr>
                                        <p:cTn id="160" dur="1000" fill="hold"/>
                                        <p:tgtEl>
                                          <p:spTgt spid="1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5" grpId="0"/>
      <p:bldP spid="27" grpId="0" animBg="1"/>
      <p:bldP spid="114" grpId="0"/>
      <p:bldP spid="115" grpId="0" animBg="1"/>
      <p:bldP spid="28" grpId="0"/>
      <p:bldP spid="33" grpId="0" animBg="1"/>
      <p:bldP spid="117" grpId="0"/>
      <p:bldP spid="118" grpId="0" animBg="1"/>
      <p:bldP spid="31" grpId="0"/>
      <p:bldP spid="36" grpId="0" animBg="1"/>
      <p:bldP spid="120" grpId="0"/>
      <p:bldP spid="121" grpId="0" animBg="1"/>
      <p:bldP spid="30" grpId="0"/>
      <p:bldP spid="35" grpId="0" animBg="1"/>
      <p:bldP spid="122" grpId="0"/>
      <p:bldP spid="124" grpId="0" animBg="1"/>
      <p:bldP spid="29" grpId="0"/>
      <p:bldP spid="34" grpId="0" animBg="1"/>
      <p:bldP spid="125" grpId="0"/>
      <p:bldP spid="12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D93DA6-B3D7-4B84-B596-0476644CB0A6}"/>
              </a:ext>
            </a:extLst>
          </p:cNvPr>
          <p:cNvSpPr>
            <a:spLocks noGrp="1"/>
          </p:cNvSpPr>
          <p:nvPr>
            <p:ph type="title"/>
          </p:nvPr>
        </p:nvSpPr>
        <p:spPr/>
        <p:txBody>
          <a:bodyPr/>
          <a:lstStyle/>
          <a:p>
            <a:r>
              <a:rPr lang="de-DE" dirty="0"/>
              <a:t>PGC1000</a:t>
            </a:r>
            <a:endParaRPr lang="en-US" dirty="0"/>
          </a:p>
        </p:txBody>
      </p:sp>
      <p:sp>
        <p:nvSpPr>
          <p:cNvPr id="3" name="Footer Placeholder 2">
            <a:extLst>
              <a:ext uri="{FF2B5EF4-FFF2-40B4-BE49-F238E27FC236}">
                <a16:creationId xmlns:a16="http://schemas.microsoft.com/office/drawing/2014/main" id="{80000AF5-9313-46C5-BB30-4F68D966CD77}"/>
              </a:ext>
            </a:extLst>
          </p:cNvPr>
          <p:cNvSpPr>
            <a:spLocks noGrp="1"/>
          </p:cNvSpPr>
          <p:nvPr>
            <p:ph type="ftr" sz="quarter" idx="10"/>
          </p:nvPr>
        </p:nvSpPr>
        <p:spPr/>
        <p:txBody>
          <a:bodyPr/>
          <a:lstStyle/>
          <a:p>
            <a:pPr lvl="8"/>
            <a:r>
              <a:rPr lang="de-DE" dirty="0"/>
              <a:t>* EPC – Electronic </a:t>
            </a:r>
            <a:r>
              <a:rPr lang="de-DE" dirty="0" err="1"/>
              <a:t>Pressure</a:t>
            </a:r>
            <a:r>
              <a:rPr lang="de-DE" dirty="0"/>
              <a:t> Control</a:t>
            </a:r>
            <a:endParaRPr lang="en-US" dirty="0"/>
          </a:p>
        </p:txBody>
      </p:sp>
      <p:sp>
        <p:nvSpPr>
          <p:cNvPr id="4" name="Date Placeholder 3">
            <a:extLst>
              <a:ext uri="{FF2B5EF4-FFF2-40B4-BE49-F238E27FC236}">
                <a16:creationId xmlns:a16="http://schemas.microsoft.com/office/drawing/2014/main" id="{E7D6BA9E-C61A-4B18-BDF4-F1A4A4770AE9}"/>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A13C3258-DB84-44A3-86C3-07BA0861E0E5}"/>
              </a:ext>
            </a:extLst>
          </p:cNvPr>
          <p:cNvSpPr>
            <a:spLocks noGrp="1"/>
          </p:cNvSpPr>
          <p:nvPr>
            <p:ph type="sldNum" sz="quarter" idx="12"/>
          </p:nvPr>
        </p:nvSpPr>
        <p:spPr/>
        <p:txBody>
          <a:bodyPr/>
          <a:lstStyle/>
          <a:p>
            <a:r>
              <a:rPr lang="en-US"/>
              <a:t>Slide </a:t>
            </a:r>
            <a:fld id="{619F89D8-7AE3-494A-97F3-03D680869632}" type="slidenum">
              <a:rPr lang="en-US" smtClean="0"/>
              <a:pPr/>
              <a:t>20</a:t>
            </a:fld>
            <a:endParaRPr lang="en-US" dirty="0"/>
          </a:p>
        </p:txBody>
      </p:sp>
      <p:sp>
        <p:nvSpPr>
          <p:cNvPr id="7" name="Content Placeholder 6">
            <a:extLst>
              <a:ext uri="{FF2B5EF4-FFF2-40B4-BE49-F238E27FC236}">
                <a16:creationId xmlns:a16="http://schemas.microsoft.com/office/drawing/2014/main" id="{9FC6FF3F-C313-4799-96F9-7D594BDC53DF}"/>
              </a:ext>
            </a:extLst>
          </p:cNvPr>
          <p:cNvSpPr>
            <a:spLocks noGrp="1"/>
          </p:cNvSpPr>
          <p:nvPr>
            <p:ph sz="quarter" idx="19"/>
          </p:nvPr>
        </p:nvSpPr>
        <p:spPr/>
        <p:txBody>
          <a:bodyPr/>
          <a:lstStyle/>
          <a:p>
            <a:pPr lvl="1"/>
            <a:r>
              <a:rPr lang="de-DE" dirty="0" err="1"/>
              <a:t>Consists</a:t>
            </a:r>
            <a:r>
              <a:rPr lang="de-DE" dirty="0"/>
              <a:t> </a:t>
            </a:r>
            <a:r>
              <a:rPr lang="de-DE" dirty="0" err="1"/>
              <a:t>of</a:t>
            </a:r>
            <a:r>
              <a:rPr lang="de-DE" dirty="0"/>
              <a:t> </a:t>
            </a:r>
            <a:r>
              <a:rPr lang="de-DE" dirty="0" err="1"/>
              <a:t>three</a:t>
            </a:r>
            <a:r>
              <a:rPr lang="de-DE" dirty="0"/>
              <a:t> </a:t>
            </a:r>
            <a:r>
              <a:rPr lang="de-DE" dirty="0" err="1"/>
              <a:t>primary</a:t>
            </a:r>
            <a:r>
              <a:rPr lang="de-DE" dirty="0"/>
              <a:t> </a:t>
            </a:r>
            <a:r>
              <a:rPr lang="de-DE" dirty="0" err="1"/>
              <a:t>components</a:t>
            </a:r>
            <a:endParaRPr lang="de-DE" dirty="0"/>
          </a:p>
          <a:p>
            <a:pPr lvl="2">
              <a:spcBef>
                <a:spcPts val="300"/>
              </a:spcBef>
            </a:pPr>
            <a:r>
              <a:rPr lang="en-US" dirty="0"/>
              <a:t>GC module (detector, pressure sensor, column &amp; sample loop spool, valves)</a:t>
            </a:r>
          </a:p>
          <a:p>
            <a:pPr lvl="2">
              <a:spcBef>
                <a:spcPts val="300"/>
              </a:spcBef>
            </a:pPr>
            <a:r>
              <a:rPr lang="en-US" dirty="0"/>
              <a:t>Manifold assembly (heater plate assembly &amp; manifold)</a:t>
            </a:r>
          </a:p>
          <a:p>
            <a:pPr lvl="2">
              <a:spcBef>
                <a:spcPts val="300"/>
              </a:spcBef>
            </a:pPr>
            <a:r>
              <a:rPr lang="en-US" dirty="0"/>
              <a:t>Analytical processor assembly</a:t>
            </a:r>
          </a:p>
          <a:p>
            <a:pPr lvl="1"/>
            <a:r>
              <a:rPr lang="de-DE" dirty="0"/>
              <a:t>G</a:t>
            </a:r>
            <a:r>
              <a:rPr lang="en-US" dirty="0"/>
              <a:t>C module</a:t>
            </a:r>
          </a:p>
          <a:p>
            <a:pPr lvl="2">
              <a:spcBef>
                <a:spcPts val="300"/>
              </a:spcBef>
            </a:pPr>
            <a:r>
              <a:rPr lang="en-US" dirty="0"/>
              <a:t>2 - thermal conductivity detectors</a:t>
            </a:r>
          </a:p>
          <a:p>
            <a:pPr lvl="2">
              <a:spcBef>
                <a:spcPts val="300"/>
              </a:spcBef>
            </a:pPr>
            <a:r>
              <a:rPr lang="en-US" dirty="0"/>
              <a:t>2 - 10 port valves (sample backflush to measure) </a:t>
            </a:r>
          </a:p>
          <a:p>
            <a:pPr lvl="2">
              <a:spcBef>
                <a:spcPts val="300"/>
              </a:spcBef>
            </a:pPr>
            <a:r>
              <a:rPr lang="en-US" dirty="0"/>
              <a:t>1/16” </a:t>
            </a:r>
            <a:r>
              <a:rPr lang="en-US" dirty="0" err="1"/>
              <a:t>micropacked</a:t>
            </a:r>
            <a:r>
              <a:rPr lang="en-US" dirty="0"/>
              <a:t> or capillary GC columns</a:t>
            </a:r>
          </a:p>
          <a:p>
            <a:pPr lvl="2">
              <a:spcBef>
                <a:spcPts val="300"/>
              </a:spcBef>
            </a:pPr>
            <a:r>
              <a:rPr lang="en-US" dirty="0"/>
              <a:t>Detector plate houses pressure sensors for EPC*</a:t>
            </a:r>
          </a:p>
          <a:p>
            <a:pPr lvl="1"/>
            <a:r>
              <a:rPr lang="de-DE" dirty="0"/>
              <a:t>Valve </a:t>
            </a:r>
            <a:r>
              <a:rPr lang="de-DE" dirty="0" err="1"/>
              <a:t>assembly</a:t>
            </a:r>
            <a:endParaRPr lang="de-DE" dirty="0"/>
          </a:p>
          <a:p>
            <a:pPr lvl="2">
              <a:spcBef>
                <a:spcPts val="300"/>
              </a:spcBef>
            </a:pPr>
            <a:r>
              <a:rPr lang="en-US" dirty="0"/>
              <a:t>No external tubing</a:t>
            </a:r>
          </a:p>
          <a:p>
            <a:pPr lvl="2">
              <a:spcBef>
                <a:spcPts val="300"/>
              </a:spcBef>
            </a:pPr>
            <a:r>
              <a:rPr lang="en-US" dirty="0"/>
              <a:t>Dual 10 port valve arrangement (RCS)</a:t>
            </a:r>
          </a:p>
          <a:p>
            <a:pPr lvl="2">
              <a:spcBef>
                <a:spcPts val="300"/>
              </a:spcBef>
            </a:pPr>
            <a:r>
              <a:rPr lang="en-US" dirty="0"/>
              <a:t>Million of cycles between failures</a:t>
            </a:r>
          </a:p>
          <a:p>
            <a:pPr lvl="1">
              <a:spcBef>
                <a:spcPts val="300"/>
              </a:spcBef>
            </a:pPr>
            <a:r>
              <a:rPr lang="de-DE" dirty="0"/>
              <a:t>C</a:t>
            </a:r>
            <a:r>
              <a:rPr lang="en-US" dirty="0" err="1"/>
              <a:t>olumn</a:t>
            </a:r>
            <a:r>
              <a:rPr lang="en-US" dirty="0"/>
              <a:t> spool assembly</a:t>
            </a:r>
          </a:p>
          <a:p>
            <a:pPr lvl="2"/>
            <a:endParaRPr lang="en-US" dirty="0"/>
          </a:p>
        </p:txBody>
      </p:sp>
      <p:sp>
        <p:nvSpPr>
          <p:cNvPr id="8" name="Subtitle 7">
            <a:extLst>
              <a:ext uri="{FF2B5EF4-FFF2-40B4-BE49-F238E27FC236}">
                <a16:creationId xmlns:a16="http://schemas.microsoft.com/office/drawing/2014/main" id="{AD667E06-1B66-416C-855C-E2A3101062EA}"/>
              </a:ext>
            </a:extLst>
          </p:cNvPr>
          <p:cNvSpPr>
            <a:spLocks noGrp="1"/>
          </p:cNvSpPr>
          <p:nvPr>
            <p:ph type="subTitle" idx="13"/>
          </p:nvPr>
        </p:nvSpPr>
        <p:spPr/>
        <p:txBody>
          <a:bodyPr/>
          <a:lstStyle/>
          <a:p>
            <a:r>
              <a:rPr lang="de-DE" dirty="0"/>
              <a:t>Analytical </a:t>
            </a:r>
            <a:r>
              <a:rPr lang="de-DE" dirty="0" err="1"/>
              <a:t>module</a:t>
            </a:r>
            <a:r>
              <a:rPr lang="de-DE" dirty="0"/>
              <a:t> </a:t>
            </a:r>
            <a:r>
              <a:rPr lang="de-DE" dirty="0" err="1"/>
              <a:t>assembly</a:t>
            </a:r>
            <a:endParaRPr lang="en-US" dirty="0"/>
          </a:p>
        </p:txBody>
      </p:sp>
      <p:pic>
        <p:nvPicPr>
          <p:cNvPr id="17" name="Content Placeholder 2">
            <a:extLst>
              <a:ext uri="{FF2B5EF4-FFF2-40B4-BE49-F238E27FC236}">
                <a16:creationId xmlns:a16="http://schemas.microsoft.com/office/drawing/2014/main" id="{86842CC1-CA81-40CA-8D0C-65E7C8B6A540}"/>
              </a:ext>
            </a:extLst>
          </p:cNvPr>
          <p:cNvPicPr>
            <a:picLocks noGrp="1" noChangeAspect="1"/>
          </p:cNvPicPr>
          <p:nvPr>
            <p:ph sz="quarter" idx="27"/>
          </p:nvPr>
        </p:nvPicPr>
        <p:blipFill>
          <a:blip r:embed="rId2" cstate="email">
            <a:extLst>
              <a:ext uri="{28A0092B-C50C-407E-A947-70E740481C1C}">
                <a14:useLocalDpi xmlns:a14="http://schemas.microsoft.com/office/drawing/2010/main" val="0"/>
              </a:ext>
            </a:extLst>
          </a:blip>
          <a:srcRect/>
          <a:stretch>
            <a:fillRect/>
          </a:stretch>
        </p:blipFill>
        <p:spPr>
          <a:xfrm rot="10800000">
            <a:off x="9201637" y="1987394"/>
            <a:ext cx="2558816" cy="1699561"/>
          </a:xfrm>
          <a:prstGeom prst="rect">
            <a:avLst/>
          </a:prstGeom>
        </p:spPr>
      </p:pic>
      <p:pic>
        <p:nvPicPr>
          <p:cNvPr id="18" name="Picture 5" descr="GCcircuitBoard.jpg">
            <a:extLst>
              <a:ext uri="{FF2B5EF4-FFF2-40B4-BE49-F238E27FC236}">
                <a16:creationId xmlns:a16="http://schemas.microsoft.com/office/drawing/2014/main" id="{37FD387C-78E6-4B62-851C-59073446A500}"/>
              </a:ext>
            </a:extLst>
          </p:cNvPr>
          <p:cNvPicPr>
            <a:picLocks noGrp="1" noChangeAspect="1"/>
          </p:cNvPicPr>
          <p:nvPr>
            <p:ph sz="quarter" idx="28"/>
          </p:nvPr>
        </p:nvPicPr>
        <p:blipFill>
          <a:blip r:embed="rId3" cstate="email">
            <a:extLst>
              <a:ext uri="{28A0092B-C50C-407E-A947-70E740481C1C}">
                <a14:useLocalDpi xmlns:a14="http://schemas.microsoft.com/office/drawing/2010/main" val="0"/>
              </a:ext>
            </a:extLst>
          </a:blip>
          <a:srcRect/>
          <a:stretch>
            <a:fillRect/>
          </a:stretch>
        </p:blipFill>
        <p:spPr bwMode="auto">
          <a:xfrm>
            <a:off x="6168036" y="4061384"/>
            <a:ext cx="1561887" cy="1645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5" descr="ColumnSpool.jpg">
            <a:extLst>
              <a:ext uri="{FF2B5EF4-FFF2-40B4-BE49-F238E27FC236}">
                <a16:creationId xmlns:a16="http://schemas.microsoft.com/office/drawing/2014/main" id="{2D683C9C-D486-4374-8F32-90F3BD9847E4}"/>
              </a:ext>
            </a:extLst>
          </p:cNvPr>
          <p:cNvPicPr>
            <a:picLocks noGrp="1" noChangeAspect="1"/>
          </p:cNvPicPr>
          <p:nvPr>
            <p:ph sz="quarter" idx="29"/>
          </p:nvPr>
        </p:nvPicPr>
        <p:blipFill>
          <a:blip r:embed="rId4" cstate="email">
            <a:extLst>
              <a:ext uri="{28A0092B-C50C-407E-A947-70E740481C1C}">
                <a14:useLocalDpi xmlns:a14="http://schemas.microsoft.com/office/drawing/2010/main" val="0"/>
              </a:ext>
            </a:extLst>
          </a:blip>
          <a:srcRect/>
          <a:stretch>
            <a:fillRect/>
          </a:stretch>
        </p:blipFill>
        <p:spPr bwMode="auto">
          <a:xfrm>
            <a:off x="8200725" y="4036567"/>
            <a:ext cx="1561887" cy="1737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4" descr="GCModule.jpg">
            <a:extLst>
              <a:ext uri="{FF2B5EF4-FFF2-40B4-BE49-F238E27FC236}">
                <a16:creationId xmlns:a16="http://schemas.microsoft.com/office/drawing/2014/main" id="{215E3653-A2E3-4D7E-8928-6C96F0D04B05}"/>
              </a:ext>
            </a:extLst>
          </p:cNvPr>
          <p:cNvPicPr>
            <a:picLocks noGrp="1" noChangeAspect="1"/>
          </p:cNvPicPr>
          <p:nvPr>
            <p:ph sz="quarter" idx="30"/>
          </p:nvPr>
        </p:nvPicPr>
        <p:blipFill>
          <a:blip r:embed="rId5" cstate="email">
            <a:extLst>
              <a:ext uri="{28A0092B-C50C-407E-A947-70E740481C1C}">
                <a14:useLocalDpi xmlns:a14="http://schemas.microsoft.com/office/drawing/2010/main" val="0"/>
              </a:ext>
            </a:extLst>
          </a:blip>
          <a:srcRect/>
          <a:stretch>
            <a:fillRect/>
          </a:stretch>
        </p:blipFill>
        <p:spPr bwMode="auto">
          <a:xfrm>
            <a:off x="10377059" y="4053823"/>
            <a:ext cx="1272772" cy="1737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Image result for pgc1000">
            <a:hlinkClick r:id="rId6"/>
            <a:extLst>
              <a:ext uri="{FF2B5EF4-FFF2-40B4-BE49-F238E27FC236}">
                <a16:creationId xmlns:a16="http://schemas.microsoft.com/office/drawing/2014/main" id="{C7D1A0F5-0A60-4C8E-8C14-E542AC8039D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65874" y="2018323"/>
            <a:ext cx="2409825" cy="1895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1715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46B83-915D-46C7-8E6A-EAFF63962100}"/>
              </a:ext>
            </a:extLst>
          </p:cNvPr>
          <p:cNvSpPr>
            <a:spLocks noGrp="1"/>
          </p:cNvSpPr>
          <p:nvPr>
            <p:ph type="title"/>
          </p:nvPr>
        </p:nvSpPr>
        <p:spPr/>
        <p:txBody>
          <a:bodyPr/>
          <a:lstStyle/>
          <a:p>
            <a:r>
              <a:rPr lang="de-DE" dirty="0"/>
              <a:t>PGC5000 – </a:t>
            </a:r>
            <a:r>
              <a:rPr lang="de-DE" dirty="0" err="1"/>
              <a:t>Process</a:t>
            </a:r>
            <a:r>
              <a:rPr lang="de-DE" dirty="0"/>
              <a:t> Gas </a:t>
            </a:r>
            <a:r>
              <a:rPr lang="de-DE" dirty="0" err="1"/>
              <a:t>Chromatograph</a:t>
            </a:r>
            <a:endParaRPr lang="en-US" dirty="0"/>
          </a:p>
        </p:txBody>
      </p:sp>
      <p:sp>
        <p:nvSpPr>
          <p:cNvPr id="3" name="Footer Placeholder 2">
            <a:extLst>
              <a:ext uri="{FF2B5EF4-FFF2-40B4-BE49-F238E27FC236}">
                <a16:creationId xmlns:a16="http://schemas.microsoft.com/office/drawing/2014/main" id="{2A22E503-B8AC-46FC-ACDB-70F7CF98FA7B}"/>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D0B56E32-D342-48B1-80A3-AF1AE8BCA7D3}"/>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4EB58FDD-05B0-4179-818F-A894D1FE675F}"/>
              </a:ext>
            </a:extLst>
          </p:cNvPr>
          <p:cNvSpPr>
            <a:spLocks noGrp="1"/>
          </p:cNvSpPr>
          <p:nvPr>
            <p:ph type="sldNum" sz="quarter" idx="12"/>
          </p:nvPr>
        </p:nvSpPr>
        <p:spPr/>
        <p:txBody>
          <a:bodyPr/>
          <a:lstStyle/>
          <a:p>
            <a:r>
              <a:rPr lang="en-US"/>
              <a:t>Slide </a:t>
            </a:r>
            <a:fld id="{619F89D8-7AE3-494A-97F3-03D680869632}" type="slidenum">
              <a:rPr lang="en-US" smtClean="0"/>
              <a:pPr/>
              <a:t>21</a:t>
            </a:fld>
            <a:endParaRPr lang="en-US" dirty="0"/>
          </a:p>
        </p:txBody>
      </p:sp>
      <p:sp>
        <p:nvSpPr>
          <p:cNvPr id="7" name="Content Placeholder 6">
            <a:extLst>
              <a:ext uri="{FF2B5EF4-FFF2-40B4-BE49-F238E27FC236}">
                <a16:creationId xmlns:a16="http://schemas.microsoft.com/office/drawing/2014/main" id="{5E16346A-1BF3-44C7-BAF2-D3DFE50F2CE2}"/>
              </a:ext>
            </a:extLst>
          </p:cNvPr>
          <p:cNvSpPr>
            <a:spLocks noGrp="1"/>
          </p:cNvSpPr>
          <p:nvPr>
            <p:ph sz="quarter" idx="19"/>
          </p:nvPr>
        </p:nvSpPr>
        <p:spPr/>
        <p:txBody>
          <a:bodyPr/>
          <a:lstStyle/>
          <a:p>
            <a:pPr lvl="1"/>
            <a:r>
              <a:rPr lang="de-DE" dirty="0"/>
              <a:t>Modular </a:t>
            </a:r>
            <a:r>
              <a:rPr lang="de-DE" dirty="0" err="1"/>
              <a:t>process</a:t>
            </a:r>
            <a:r>
              <a:rPr lang="de-DE" dirty="0"/>
              <a:t> GC </a:t>
            </a:r>
            <a:r>
              <a:rPr lang="de-DE" dirty="0" err="1"/>
              <a:t>series</a:t>
            </a:r>
            <a:endParaRPr lang="de-DE" dirty="0"/>
          </a:p>
          <a:p>
            <a:pPr lvl="2"/>
            <a:r>
              <a:rPr lang="de-DE" dirty="0"/>
              <a:t>PGC5000A Controller</a:t>
            </a:r>
          </a:p>
          <a:p>
            <a:pPr lvl="2"/>
            <a:r>
              <a:rPr lang="de-DE" dirty="0"/>
              <a:t>PGC5000B Smart </a:t>
            </a:r>
            <a:r>
              <a:rPr lang="de-DE" dirty="0" err="1"/>
              <a:t>Oven</a:t>
            </a:r>
            <a:r>
              <a:rPr lang="de-DE" baseline="30000" dirty="0" err="1"/>
              <a:t>TM</a:t>
            </a:r>
            <a:endParaRPr lang="de-DE" baseline="30000" dirty="0"/>
          </a:p>
          <a:p>
            <a:pPr lvl="2"/>
            <a:r>
              <a:rPr lang="de-DE" dirty="0"/>
              <a:t>PGC5000C Smart </a:t>
            </a:r>
            <a:r>
              <a:rPr lang="de-DE" dirty="0" err="1"/>
              <a:t>Oven</a:t>
            </a:r>
            <a:r>
              <a:rPr lang="de-DE" baseline="30000" dirty="0" err="1"/>
              <a:t>TM</a:t>
            </a:r>
            <a:endParaRPr lang="en-US" dirty="0"/>
          </a:p>
          <a:p>
            <a:pPr lvl="2"/>
            <a:r>
              <a:rPr lang="en-US" dirty="0"/>
              <a:t>Fiber optic, </a:t>
            </a:r>
            <a:r>
              <a:rPr lang="en-US" dirty="0" err="1"/>
              <a:t>CANbus</a:t>
            </a:r>
            <a:r>
              <a:rPr lang="en-US" dirty="0"/>
              <a:t> communications</a:t>
            </a:r>
          </a:p>
          <a:p>
            <a:pPr lvl="1"/>
            <a:r>
              <a:rPr lang="en-US" dirty="0"/>
              <a:t>Full detector suite for maximum measurement capability: FID, </a:t>
            </a:r>
            <a:r>
              <a:rPr lang="en-US" i="1" dirty="0"/>
              <a:t>s</a:t>
            </a:r>
            <a:r>
              <a:rPr lang="en-US" dirty="0"/>
              <a:t>TCD, </a:t>
            </a:r>
            <a:r>
              <a:rPr lang="en-US" i="1" dirty="0" err="1"/>
              <a:t>m</a:t>
            </a:r>
            <a:r>
              <a:rPr lang="en-US" dirty="0" err="1"/>
              <a:t>TCD</a:t>
            </a:r>
            <a:r>
              <a:rPr lang="en-US" dirty="0"/>
              <a:t>, FPD, DID</a:t>
            </a:r>
          </a:p>
          <a:p>
            <a:pPr lvl="1"/>
            <a:r>
              <a:rPr lang="en-US" dirty="0"/>
              <a:t>Airless oven option for significant utility savings</a:t>
            </a:r>
          </a:p>
          <a:p>
            <a:pPr lvl="1"/>
            <a:r>
              <a:rPr lang="en-US" dirty="0"/>
              <a:t>Superior technical solution for Total Sulfur (PGC5007B)</a:t>
            </a:r>
          </a:p>
          <a:p>
            <a:pPr lvl="1"/>
            <a:r>
              <a:rPr lang="en-US" dirty="0"/>
              <a:t>Easy to use graphical, touch screen User Interface (UI)</a:t>
            </a:r>
          </a:p>
          <a:p>
            <a:pPr lvl="1"/>
            <a:r>
              <a:rPr lang="de-DE" dirty="0"/>
              <a:t>Industry </a:t>
            </a:r>
            <a:r>
              <a:rPr lang="de-DE" dirty="0" err="1"/>
              <a:t>standard</a:t>
            </a:r>
            <a:r>
              <a:rPr lang="de-DE" dirty="0"/>
              <a:t> </a:t>
            </a:r>
            <a:r>
              <a:rPr lang="de-DE" dirty="0" err="1"/>
              <a:t>communication</a:t>
            </a:r>
            <a:r>
              <a:rPr lang="de-DE" dirty="0"/>
              <a:t> </a:t>
            </a:r>
            <a:r>
              <a:rPr lang="de-DE" dirty="0" err="1"/>
              <a:t>protocols</a:t>
            </a:r>
            <a:endParaRPr lang="en-US" dirty="0"/>
          </a:p>
          <a:p>
            <a:pPr lvl="2"/>
            <a:r>
              <a:rPr lang="en-US" dirty="0"/>
              <a:t>Native TCP/IP and Modbus TCP/IP network communications</a:t>
            </a:r>
          </a:p>
          <a:p>
            <a:pPr lvl="2"/>
            <a:r>
              <a:rPr lang="en-US" dirty="0"/>
              <a:t>Native multicast type data transmission with V4 OS</a:t>
            </a:r>
          </a:p>
        </p:txBody>
      </p:sp>
      <p:sp>
        <p:nvSpPr>
          <p:cNvPr id="8" name="Subtitle 7">
            <a:extLst>
              <a:ext uri="{FF2B5EF4-FFF2-40B4-BE49-F238E27FC236}">
                <a16:creationId xmlns:a16="http://schemas.microsoft.com/office/drawing/2014/main" id="{F93DA376-8518-4C36-AAAD-DE6F5DA468DC}"/>
              </a:ext>
            </a:extLst>
          </p:cNvPr>
          <p:cNvSpPr>
            <a:spLocks noGrp="1"/>
          </p:cNvSpPr>
          <p:nvPr>
            <p:ph type="subTitle" idx="13"/>
          </p:nvPr>
        </p:nvSpPr>
        <p:spPr/>
        <p:txBody>
          <a:bodyPr/>
          <a:lstStyle/>
          <a:p>
            <a:r>
              <a:rPr lang="de-DE" dirty="0"/>
              <a:t>State </a:t>
            </a:r>
            <a:r>
              <a:rPr lang="de-DE" dirty="0" err="1"/>
              <a:t>of</a:t>
            </a:r>
            <a:r>
              <a:rPr lang="de-DE" dirty="0"/>
              <a:t> </a:t>
            </a:r>
            <a:r>
              <a:rPr lang="de-DE" dirty="0" err="1"/>
              <a:t>the</a:t>
            </a:r>
            <a:r>
              <a:rPr lang="de-DE" dirty="0"/>
              <a:t> </a:t>
            </a:r>
            <a:r>
              <a:rPr lang="de-DE" dirty="0" err="1"/>
              <a:t>art</a:t>
            </a:r>
            <a:r>
              <a:rPr lang="de-DE" dirty="0"/>
              <a:t>, flexible, simple, powerful</a:t>
            </a:r>
            <a:endParaRPr lang="en-US" dirty="0"/>
          </a:p>
        </p:txBody>
      </p:sp>
      <p:pic>
        <p:nvPicPr>
          <p:cNvPr id="9" name="Picture 8">
            <a:extLst>
              <a:ext uri="{FF2B5EF4-FFF2-40B4-BE49-F238E27FC236}">
                <a16:creationId xmlns:a16="http://schemas.microsoft.com/office/drawing/2014/main" id="{153910AF-CF39-4C0A-82D7-40AB81FA6380}"/>
              </a:ext>
            </a:extLst>
          </p:cNvPr>
          <p:cNvPicPr>
            <a:picLocks noChangeAspect="1"/>
          </p:cNvPicPr>
          <p:nvPr/>
        </p:nvPicPr>
        <p:blipFill rotWithShape="1">
          <a:blip r:embed="rId2">
            <a:extLst>
              <a:ext uri="{BEBA8EAE-BF5A-486C-A8C5-ECC9F3942E4B}">
                <a14:imgProps xmlns:a14="http://schemas.microsoft.com/office/drawing/2010/main">
                  <a14:imgLayer r:embed="rId3">
                    <a14:imgEffect>
                      <a14:backgroundRemoval t="4250" b="77750" l="10000" r="90000">
                        <a14:foregroundMark x1="27000" y1="4250" x2="27000" y2="4250"/>
                        <a14:foregroundMark x1="53000" y1="6250" x2="53000" y2="6250"/>
                        <a14:foregroundMark x1="52000" y1="6000" x2="52000" y2="6000"/>
                        <a14:foregroundMark x1="25000" y1="29750" x2="25000" y2="29750"/>
                        <a14:foregroundMark x1="25250" y1="68250" x2="25250" y2="68250"/>
                        <a14:foregroundMark x1="26750" y1="74750" x2="26750" y2="74750"/>
                        <a14:foregroundMark x1="28250" y1="77750" x2="28250" y2="77750"/>
                      </a14:backgroundRemoval>
                    </a14:imgEffect>
                  </a14:imgLayer>
                </a14:imgProps>
              </a:ext>
            </a:extLst>
          </a:blip>
          <a:srcRect b="21647"/>
          <a:stretch/>
        </p:blipFill>
        <p:spPr>
          <a:xfrm>
            <a:off x="7274859" y="1878927"/>
            <a:ext cx="3608294" cy="2827204"/>
          </a:xfrm>
          <a:prstGeom prst="rect">
            <a:avLst/>
          </a:prstGeom>
        </p:spPr>
      </p:pic>
      <p:pic>
        <p:nvPicPr>
          <p:cNvPr id="10" name="Picture 9">
            <a:extLst>
              <a:ext uri="{FF2B5EF4-FFF2-40B4-BE49-F238E27FC236}">
                <a16:creationId xmlns:a16="http://schemas.microsoft.com/office/drawing/2014/main" id="{454B98DE-A75D-4941-AD3B-27B62D2BAA72}"/>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4250" b="68000" l="10000" r="90000">
                        <a14:foregroundMark x1="18750" y1="4250" x2="18750" y2="4250"/>
                        <a14:foregroundMark x1="84500" y1="28250" x2="84500" y2="28250"/>
                        <a14:foregroundMark x1="85250" y1="28500" x2="85250" y2="28500"/>
                        <a14:foregroundMark x1="19750" y1="67750" x2="19750" y2="67750"/>
                        <a14:foregroundMark x1="22500" y1="68000" x2="22500" y2="68000"/>
                      </a14:backgroundRemoval>
                    </a14:imgEffect>
                  </a14:imgLayer>
                </a14:imgProps>
              </a:ext>
            </a:extLst>
          </a:blip>
          <a:srcRect b="31252"/>
          <a:stretch/>
        </p:blipFill>
        <p:spPr>
          <a:xfrm>
            <a:off x="8530367" y="3082233"/>
            <a:ext cx="2875711" cy="1977010"/>
          </a:xfrm>
          <a:prstGeom prst="rect">
            <a:avLst/>
          </a:prstGeom>
        </p:spPr>
      </p:pic>
      <p:pic>
        <p:nvPicPr>
          <p:cNvPr id="11" name="Content Placeholder 28">
            <a:extLst>
              <a:ext uri="{FF2B5EF4-FFF2-40B4-BE49-F238E27FC236}">
                <a16:creationId xmlns:a16="http://schemas.microsoft.com/office/drawing/2014/main" id="{E534028B-41F8-4FE4-A18D-0E413C212285}"/>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4750" b="46750" l="2000" r="96500">
                        <a14:foregroundMark x1="3000" y1="14250" x2="3000" y2="14250"/>
                        <a14:foregroundMark x1="2000" y1="14250" x2="2000" y2="14250"/>
                        <a14:foregroundMark x1="2500" y1="39500" x2="2500" y2="39500"/>
                        <a14:foregroundMark x1="5000" y1="32250" x2="5000" y2="32250"/>
                        <a14:foregroundMark x1="5000" y1="26250" x2="5000" y2="26250"/>
                        <a14:foregroundMark x1="5500" y1="17000" x2="5500" y2="17000"/>
                        <a14:foregroundMark x1="5500" y1="9750" x2="18000" y2="10000"/>
                        <a14:foregroundMark x1="18000" y1="10000" x2="33250" y2="10000"/>
                        <a14:foregroundMark x1="33250" y1="10000" x2="91250" y2="10000"/>
                        <a14:foregroundMark x1="91250" y1="10000" x2="96250" y2="9750"/>
                        <a14:foregroundMark x1="96250" y1="11750" x2="96250" y2="44000"/>
                        <a14:foregroundMark x1="5750" y1="46000" x2="61500" y2="46500"/>
                        <a14:foregroundMark x1="61500" y1="46500" x2="77000" y2="46250"/>
                        <a14:foregroundMark x1="77000" y1="46250" x2="96500" y2="46750"/>
                        <a14:foregroundMark x1="5500" y1="12250" x2="5750" y2="45500"/>
                        <a14:foregroundMark x1="55250" y1="26250" x2="55250" y2="26250"/>
                        <a14:foregroundMark x1="67500" y1="27500" x2="67500" y2="27500"/>
                        <a14:foregroundMark x1="70250" y1="22500" x2="70250" y2="22500"/>
                        <a14:foregroundMark x1="65000" y1="22000" x2="65000" y2="22000"/>
                        <a14:foregroundMark x1="61250" y1="19250" x2="75750" y2="19500"/>
                        <a14:foregroundMark x1="75750" y1="19500" x2="81750" y2="31750"/>
                        <a14:foregroundMark x1="81750" y1="31750" x2="69250" y2="36500"/>
                        <a14:foregroundMark x1="69250" y1="36500" x2="58500" y2="29000"/>
                        <a14:foregroundMark x1="58500" y1="29000" x2="61250" y2="19000"/>
                        <a14:foregroundMark x1="69750" y1="15250" x2="69750" y2="15250"/>
                        <a14:foregroundMark x1="75500" y1="24500" x2="75500" y2="24500"/>
                        <a14:foregroundMark x1="82500" y1="24500" x2="82500" y2="24500"/>
                        <a14:foregroundMark x1="68500" y1="25250" x2="68500" y2="25250"/>
                        <a14:foregroundMark x1="62500" y1="38000" x2="62500" y2="38000"/>
                      </a14:backgroundRemoval>
                    </a14:imgEffect>
                  </a14:imgLayer>
                </a14:imgProps>
              </a:ext>
            </a:extLst>
          </a:blip>
          <a:srcRect b="52232"/>
          <a:stretch/>
        </p:blipFill>
        <p:spPr bwMode="gray">
          <a:xfrm>
            <a:off x="6539608" y="3940922"/>
            <a:ext cx="2035550" cy="972348"/>
          </a:xfrm>
          <a:prstGeom prst="rect">
            <a:avLst/>
          </a:prstGeom>
        </p:spPr>
      </p:pic>
    </p:spTree>
    <p:extLst>
      <p:ext uri="{BB962C8B-B14F-4D97-AF65-F5344CB8AC3E}">
        <p14:creationId xmlns:p14="http://schemas.microsoft.com/office/powerpoint/2010/main" val="144151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35EA4-1A6C-4374-BFFD-D89759A1AB9F}"/>
              </a:ext>
            </a:extLst>
          </p:cNvPr>
          <p:cNvSpPr>
            <a:spLocks noGrp="1"/>
          </p:cNvSpPr>
          <p:nvPr>
            <p:ph type="title"/>
          </p:nvPr>
        </p:nvSpPr>
        <p:spPr/>
        <p:txBody>
          <a:bodyPr/>
          <a:lstStyle/>
          <a:p>
            <a:r>
              <a:rPr lang="de-DE" dirty="0"/>
              <a:t>PGC5000</a:t>
            </a:r>
            <a:endParaRPr lang="en-US" dirty="0"/>
          </a:p>
        </p:txBody>
      </p:sp>
      <p:sp>
        <p:nvSpPr>
          <p:cNvPr id="3" name="Footer Placeholder 2">
            <a:extLst>
              <a:ext uri="{FF2B5EF4-FFF2-40B4-BE49-F238E27FC236}">
                <a16:creationId xmlns:a16="http://schemas.microsoft.com/office/drawing/2014/main" id="{3041770A-E289-48DD-B3BF-5F7A4BB218C3}"/>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FC842232-D6F3-4DCE-94C9-8D5D0C0880B3}"/>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3B7844A0-2FAB-4F9E-8052-A6192BDE2A7A}"/>
              </a:ext>
            </a:extLst>
          </p:cNvPr>
          <p:cNvSpPr>
            <a:spLocks noGrp="1"/>
          </p:cNvSpPr>
          <p:nvPr>
            <p:ph type="sldNum" sz="quarter" idx="12"/>
          </p:nvPr>
        </p:nvSpPr>
        <p:spPr/>
        <p:txBody>
          <a:bodyPr/>
          <a:lstStyle/>
          <a:p>
            <a:r>
              <a:rPr lang="en-US"/>
              <a:t>Slide </a:t>
            </a:r>
            <a:fld id="{619F89D8-7AE3-494A-97F3-03D680869632}" type="slidenum">
              <a:rPr lang="en-US" smtClean="0"/>
              <a:pPr/>
              <a:t>22</a:t>
            </a:fld>
            <a:endParaRPr lang="en-US" dirty="0"/>
          </a:p>
        </p:txBody>
      </p:sp>
      <p:sp>
        <p:nvSpPr>
          <p:cNvPr id="7" name="Content Placeholder 6">
            <a:extLst>
              <a:ext uri="{FF2B5EF4-FFF2-40B4-BE49-F238E27FC236}">
                <a16:creationId xmlns:a16="http://schemas.microsoft.com/office/drawing/2014/main" id="{476D857E-6890-4E07-AF39-53A992514FE4}"/>
              </a:ext>
            </a:extLst>
          </p:cNvPr>
          <p:cNvSpPr>
            <a:spLocks noGrp="1"/>
          </p:cNvSpPr>
          <p:nvPr>
            <p:ph sz="quarter" idx="19"/>
          </p:nvPr>
        </p:nvSpPr>
        <p:spPr>
          <a:xfrm>
            <a:off x="332366" y="1931194"/>
            <a:ext cx="6041539" cy="3980918"/>
          </a:xfrm>
        </p:spPr>
        <p:txBody>
          <a:bodyPr/>
          <a:lstStyle/>
          <a:p>
            <a:r>
              <a:rPr lang="de-DE" dirty="0" err="1"/>
              <a:t>One</a:t>
            </a:r>
            <a:r>
              <a:rPr lang="de-DE" dirty="0"/>
              <a:t> </a:t>
            </a:r>
            <a:r>
              <a:rPr lang="de-DE" dirty="0" err="1"/>
              <a:t>of</a:t>
            </a:r>
            <a:r>
              <a:rPr lang="de-DE" dirty="0"/>
              <a:t> a </a:t>
            </a:r>
            <a:r>
              <a:rPr lang="de-DE" dirty="0" err="1"/>
              <a:t>kind</a:t>
            </a:r>
            <a:endParaRPr lang="de-DE" dirty="0"/>
          </a:p>
          <a:p>
            <a:pPr lvl="1"/>
            <a:r>
              <a:rPr lang="en-US" sz="1400" dirty="0"/>
              <a:t>The Single Board Computer (SBC), traditionally located in the PGC5000A enclosure, is now fully integrated within the analytical oven making the traditional controller and user interface (UI) optional</a:t>
            </a:r>
          </a:p>
          <a:p>
            <a:r>
              <a:rPr lang="de-DE" dirty="0" err="1"/>
              <a:t>Significant</a:t>
            </a:r>
            <a:r>
              <a:rPr lang="de-DE" dirty="0"/>
              <a:t> </a:t>
            </a:r>
            <a:r>
              <a:rPr lang="de-DE" dirty="0" err="1"/>
              <a:t>cost</a:t>
            </a:r>
            <a:r>
              <a:rPr lang="de-DE" dirty="0"/>
              <a:t> </a:t>
            </a:r>
            <a:r>
              <a:rPr lang="de-DE" dirty="0" err="1"/>
              <a:t>savings</a:t>
            </a:r>
            <a:endParaRPr lang="de-DE" dirty="0"/>
          </a:p>
          <a:p>
            <a:pPr lvl="1">
              <a:spcBef>
                <a:spcPts val="300"/>
              </a:spcBef>
            </a:pPr>
            <a:r>
              <a:rPr lang="en-US" sz="1400" dirty="0"/>
              <a:t>Green field shelter size and analyzer cost reduction of up to </a:t>
            </a:r>
            <a:r>
              <a:rPr lang="en-US" sz="1400" b="1" dirty="0"/>
              <a:t>50%</a:t>
            </a:r>
            <a:r>
              <a:rPr lang="en-US" sz="1400" dirty="0"/>
              <a:t>    and </a:t>
            </a:r>
            <a:r>
              <a:rPr lang="en-US" sz="1400" b="1" dirty="0"/>
              <a:t>17%</a:t>
            </a:r>
            <a:r>
              <a:rPr lang="en-US" sz="1400" dirty="0"/>
              <a:t>, respectively</a:t>
            </a:r>
          </a:p>
          <a:p>
            <a:pPr lvl="1">
              <a:spcBef>
                <a:spcPts val="300"/>
              </a:spcBef>
            </a:pPr>
            <a:r>
              <a:rPr lang="en-US" sz="1400" dirty="0"/>
              <a:t>Brown field analyzer cost reduction of up to </a:t>
            </a:r>
            <a:r>
              <a:rPr lang="en-US" sz="1400" b="1" dirty="0"/>
              <a:t>32%</a:t>
            </a:r>
          </a:p>
          <a:p>
            <a:pPr lvl="1">
              <a:spcBef>
                <a:spcPts val="300"/>
              </a:spcBef>
            </a:pPr>
            <a:r>
              <a:rPr lang="en-US" sz="1400" dirty="0"/>
              <a:t>Replaced analyzer cost reduction of up to </a:t>
            </a:r>
            <a:r>
              <a:rPr lang="en-US" sz="1400" b="1" dirty="0"/>
              <a:t>9%</a:t>
            </a:r>
          </a:p>
          <a:p>
            <a:r>
              <a:rPr lang="de-DE" dirty="0"/>
              <a:t>S</a:t>
            </a:r>
            <a:r>
              <a:rPr lang="en-US" dirty="0" err="1"/>
              <a:t>afety</a:t>
            </a:r>
            <a:r>
              <a:rPr lang="en-US" dirty="0"/>
              <a:t> and installation flexibility</a:t>
            </a:r>
          </a:p>
          <a:p>
            <a:pPr lvl="1">
              <a:spcBef>
                <a:spcPts val="300"/>
              </a:spcBef>
            </a:pPr>
            <a:r>
              <a:rPr lang="en-US" sz="1400" dirty="0"/>
              <a:t>Technicians spend more time in safe areas with remote UI flexibility</a:t>
            </a:r>
          </a:p>
          <a:p>
            <a:pPr lvl="1">
              <a:spcBef>
                <a:spcPts val="300"/>
              </a:spcBef>
            </a:pPr>
            <a:r>
              <a:rPr lang="en-US" sz="1400" dirty="0"/>
              <a:t>Three UI options for the PGC5000 Integrated Controller Oven:</a:t>
            </a:r>
          </a:p>
          <a:p>
            <a:pPr lvl="2">
              <a:spcBef>
                <a:spcPts val="300"/>
              </a:spcBef>
            </a:pPr>
            <a:r>
              <a:rPr lang="en-US" sz="1200" dirty="0"/>
              <a:t>Single PGC5000A for all ovens in a shelter</a:t>
            </a:r>
          </a:p>
          <a:p>
            <a:pPr lvl="2">
              <a:spcBef>
                <a:spcPts val="300"/>
              </a:spcBef>
            </a:pPr>
            <a:r>
              <a:rPr lang="en-US" sz="1200" dirty="0"/>
              <a:t>PC connected via Ethernet to the analyzer network</a:t>
            </a:r>
          </a:p>
          <a:p>
            <a:pPr lvl="2">
              <a:spcBef>
                <a:spcPts val="300"/>
              </a:spcBef>
            </a:pPr>
            <a:r>
              <a:rPr lang="en-US" sz="1200" dirty="0"/>
              <a:t>Class 1, </a:t>
            </a:r>
            <a:r>
              <a:rPr lang="en-US" sz="1200" dirty="0" err="1"/>
              <a:t>Div</a:t>
            </a:r>
            <a:r>
              <a:rPr lang="en-US" sz="1200" dirty="0"/>
              <a:t> 2 notebook PC wirelessly connected to analyzer network</a:t>
            </a:r>
          </a:p>
          <a:p>
            <a:pPr lvl="1"/>
            <a:endParaRPr lang="en-US" dirty="0"/>
          </a:p>
          <a:p>
            <a:pPr lvl="1"/>
            <a:endParaRPr lang="en-US" dirty="0"/>
          </a:p>
        </p:txBody>
      </p:sp>
      <p:sp>
        <p:nvSpPr>
          <p:cNvPr id="8" name="Subtitle 7">
            <a:extLst>
              <a:ext uri="{FF2B5EF4-FFF2-40B4-BE49-F238E27FC236}">
                <a16:creationId xmlns:a16="http://schemas.microsoft.com/office/drawing/2014/main" id="{9ED0C3A2-47CB-4932-BDBB-DA35F9A4CF46}"/>
              </a:ext>
            </a:extLst>
          </p:cNvPr>
          <p:cNvSpPr>
            <a:spLocks noGrp="1"/>
          </p:cNvSpPr>
          <p:nvPr>
            <p:ph type="subTitle" idx="13"/>
          </p:nvPr>
        </p:nvSpPr>
        <p:spPr/>
        <p:txBody>
          <a:bodyPr/>
          <a:lstStyle/>
          <a:p>
            <a:r>
              <a:rPr lang="de-DE" dirty="0"/>
              <a:t>Integrated Controller </a:t>
            </a:r>
            <a:r>
              <a:rPr lang="de-DE" dirty="0" err="1"/>
              <a:t>Oven</a:t>
            </a:r>
            <a:endParaRPr lang="en-US" dirty="0"/>
          </a:p>
        </p:txBody>
      </p:sp>
      <p:pic>
        <p:nvPicPr>
          <p:cNvPr id="9" name="Picture 7">
            <a:extLst>
              <a:ext uri="{FF2B5EF4-FFF2-40B4-BE49-F238E27FC236}">
                <a16:creationId xmlns:a16="http://schemas.microsoft.com/office/drawing/2014/main" id="{A4ADE222-E022-45A7-8CBD-DEEEABEBB8B7}"/>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888287" y="1889600"/>
            <a:ext cx="2466119" cy="1387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F3E044D7-7652-4A67-8983-E5471DB3F25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24551" y="3363494"/>
            <a:ext cx="4365162" cy="2548618"/>
          </a:xfrm>
          <a:prstGeom prst="rect">
            <a:avLst/>
          </a:prstGeom>
        </p:spPr>
      </p:pic>
      <p:cxnSp>
        <p:nvCxnSpPr>
          <p:cNvPr id="11" name="Straight Arrow Connector 10">
            <a:extLst>
              <a:ext uri="{FF2B5EF4-FFF2-40B4-BE49-F238E27FC236}">
                <a16:creationId xmlns:a16="http://schemas.microsoft.com/office/drawing/2014/main" id="{438A1052-9F92-4489-99E9-BDAE88AAB536}"/>
              </a:ext>
            </a:extLst>
          </p:cNvPr>
          <p:cNvCxnSpPr/>
          <p:nvPr/>
        </p:nvCxnSpPr>
        <p:spPr bwMode="gray">
          <a:xfrm flipH="1">
            <a:off x="7571163" y="2265435"/>
            <a:ext cx="1054404" cy="1661497"/>
          </a:xfrm>
          <a:prstGeom prst="straightConnector1">
            <a:avLst/>
          </a:prstGeom>
          <a:ln w="158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4D10056-581E-4666-BBFF-46C0FB46EF41}"/>
              </a:ext>
            </a:extLst>
          </p:cNvPr>
          <p:cNvSpPr/>
          <p:nvPr/>
        </p:nvSpPr>
        <p:spPr bwMode="gray">
          <a:xfrm>
            <a:off x="6976803" y="3948873"/>
            <a:ext cx="1036319" cy="55626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err="1"/>
          </a:p>
        </p:txBody>
      </p:sp>
    </p:spTree>
    <p:extLst>
      <p:ext uri="{BB962C8B-B14F-4D97-AF65-F5344CB8AC3E}">
        <p14:creationId xmlns:p14="http://schemas.microsoft.com/office/powerpoint/2010/main" val="2699093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5975C-6033-4099-89C5-F72F78ED277B}"/>
              </a:ext>
            </a:extLst>
          </p:cNvPr>
          <p:cNvSpPr>
            <a:spLocks noGrp="1"/>
          </p:cNvSpPr>
          <p:nvPr>
            <p:ph type="title"/>
          </p:nvPr>
        </p:nvSpPr>
        <p:spPr/>
        <p:txBody>
          <a:bodyPr/>
          <a:lstStyle/>
          <a:p>
            <a:r>
              <a:rPr lang="de-DE" dirty="0"/>
              <a:t>RVP4500 – Reid </a:t>
            </a:r>
            <a:r>
              <a:rPr lang="de-DE" dirty="0" err="1"/>
              <a:t>Vapor</a:t>
            </a:r>
            <a:r>
              <a:rPr lang="de-DE" dirty="0"/>
              <a:t> </a:t>
            </a:r>
            <a:r>
              <a:rPr lang="de-DE" dirty="0" err="1"/>
              <a:t>Pressure</a:t>
            </a:r>
            <a:r>
              <a:rPr lang="de-DE" dirty="0"/>
              <a:t> </a:t>
            </a:r>
            <a:r>
              <a:rPr lang="de-DE" dirty="0" err="1"/>
              <a:t>analyzer</a:t>
            </a:r>
            <a:endParaRPr lang="en-US" dirty="0"/>
          </a:p>
        </p:txBody>
      </p:sp>
      <p:sp>
        <p:nvSpPr>
          <p:cNvPr id="3" name="Footer Placeholder 2">
            <a:extLst>
              <a:ext uri="{FF2B5EF4-FFF2-40B4-BE49-F238E27FC236}">
                <a16:creationId xmlns:a16="http://schemas.microsoft.com/office/drawing/2014/main" id="{86512CC2-EE94-4463-8516-9EFDE6F95061}"/>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C75DAC34-0A82-486B-9F66-2F62BE5C9C3B}"/>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5E772441-8556-4BD0-ACC4-75BE92505E31}"/>
              </a:ext>
            </a:extLst>
          </p:cNvPr>
          <p:cNvSpPr>
            <a:spLocks noGrp="1"/>
          </p:cNvSpPr>
          <p:nvPr>
            <p:ph type="sldNum" sz="quarter" idx="12"/>
          </p:nvPr>
        </p:nvSpPr>
        <p:spPr/>
        <p:txBody>
          <a:bodyPr/>
          <a:lstStyle/>
          <a:p>
            <a:r>
              <a:rPr lang="en-US"/>
              <a:t>Slide </a:t>
            </a:r>
            <a:fld id="{619F89D8-7AE3-494A-97F3-03D680869632}" type="slidenum">
              <a:rPr lang="en-US" smtClean="0"/>
              <a:pPr/>
              <a:t>23</a:t>
            </a:fld>
            <a:endParaRPr lang="en-US" dirty="0"/>
          </a:p>
        </p:txBody>
      </p:sp>
      <p:pic>
        <p:nvPicPr>
          <p:cNvPr id="10" name="Content Placeholder 9">
            <a:extLst>
              <a:ext uri="{FF2B5EF4-FFF2-40B4-BE49-F238E27FC236}">
                <a16:creationId xmlns:a16="http://schemas.microsoft.com/office/drawing/2014/main" id="{68A48F49-A097-4EC5-BAD6-1B81AAF8D16A}"/>
              </a:ext>
            </a:extLst>
          </p:cNvPr>
          <p:cNvPicPr>
            <a:picLocks noGrp="1" noChangeAspect="1"/>
          </p:cNvPicPr>
          <p:nvPr>
            <p:ph sz="quarter" idx="20"/>
          </p:nvPr>
        </p:nvPicPr>
        <p:blipFill rotWithShape="1">
          <a:blip r:embed="rId2"/>
          <a:srcRect t="4501" b="14204"/>
          <a:stretch/>
        </p:blipFill>
        <p:spPr>
          <a:xfrm>
            <a:off x="6744907" y="2058135"/>
            <a:ext cx="4639055" cy="3771340"/>
          </a:xfrm>
        </p:spPr>
      </p:pic>
      <p:sp>
        <p:nvSpPr>
          <p:cNvPr id="7" name="Content Placeholder 6">
            <a:extLst>
              <a:ext uri="{FF2B5EF4-FFF2-40B4-BE49-F238E27FC236}">
                <a16:creationId xmlns:a16="http://schemas.microsoft.com/office/drawing/2014/main" id="{B1BF0A33-ECCD-40CC-BDCD-0E97B3032B58}"/>
              </a:ext>
            </a:extLst>
          </p:cNvPr>
          <p:cNvSpPr>
            <a:spLocks noGrp="1"/>
          </p:cNvSpPr>
          <p:nvPr>
            <p:ph sz="quarter" idx="19"/>
          </p:nvPr>
        </p:nvSpPr>
        <p:spPr/>
        <p:txBody>
          <a:bodyPr/>
          <a:lstStyle/>
          <a:p>
            <a:r>
              <a:rPr lang="de-DE" dirty="0"/>
              <a:t>Different </a:t>
            </a:r>
            <a:r>
              <a:rPr lang="de-DE" dirty="0" err="1"/>
              <a:t>models</a:t>
            </a:r>
            <a:r>
              <a:rPr lang="de-DE" dirty="0"/>
              <a:t> </a:t>
            </a:r>
            <a:r>
              <a:rPr lang="de-DE" dirty="0" err="1"/>
              <a:t>to</a:t>
            </a:r>
            <a:r>
              <a:rPr lang="de-DE" dirty="0"/>
              <a:t> </a:t>
            </a:r>
            <a:r>
              <a:rPr lang="de-DE" dirty="0" err="1"/>
              <a:t>cover</a:t>
            </a:r>
            <a:r>
              <a:rPr lang="de-DE" dirty="0"/>
              <a:t> </a:t>
            </a:r>
            <a:r>
              <a:rPr lang="de-DE" dirty="0" err="1"/>
              <a:t>vapor</a:t>
            </a:r>
            <a:r>
              <a:rPr lang="de-DE" dirty="0"/>
              <a:t> </a:t>
            </a:r>
            <a:r>
              <a:rPr lang="de-DE" dirty="0" err="1"/>
              <a:t>pressure</a:t>
            </a:r>
            <a:r>
              <a:rPr lang="de-DE" dirty="0"/>
              <a:t> </a:t>
            </a:r>
            <a:r>
              <a:rPr lang="de-DE" dirty="0" err="1"/>
              <a:t>ranges</a:t>
            </a:r>
            <a:endParaRPr lang="de-DE" dirty="0"/>
          </a:p>
          <a:p>
            <a:pPr lvl="1"/>
            <a:r>
              <a:rPr lang="de-DE" dirty="0" err="1"/>
              <a:t>From</a:t>
            </a:r>
            <a:r>
              <a:rPr lang="de-DE" dirty="0"/>
              <a:t> 0-20 </a:t>
            </a:r>
            <a:r>
              <a:rPr lang="de-DE" dirty="0" err="1"/>
              <a:t>psi</a:t>
            </a:r>
            <a:r>
              <a:rPr lang="de-DE" dirty="0"/>
              <a:t> </a:t>
            </a:r>
            <a:r>
              <a:rPr lang="de-DE" dirty="0" err="1"/>
              <a:t>to</a:t>
            </a:r>
            <a:r>
              <a:rPr lang="de-DE" dirty="0"/>
              <a:t> 0-225 </a:t>
            </a:r>
            <a:r>
              <a:rPr lang="de-DE" dirty="0" err="1"/>
              <a:t>psi</a:t>
            </a:r>
            <a:endParaRPr lang="de-DE" dirty="0"/>
          </a:p>
          <a:p>
            <a:pPr lvl="1"/>
            <a:r>
              <a:rPr lang="de-DE" dirty="0"/>
              <a:t>Most </a:t>
            </a:r>
            <a:r>
              <a:rPr lang="de-DE" dirty="0" err="1"/>
              <a:t>common</a:t>
            </a:r>
            <a:r>
              <a:rPr lang="de-DE" dirty="0"/>
              <a:t> </a:t>
            </a:r>
            <a:r>
              <a:rPr lang="de-DE" dirty="0" err="1"/>
              <a:t>are</a:t>
            </a:r>
            <a:r>
              <a:rPr lang="de-DE" dirty="0"/>
              <a:t> 0-20 </a:t>
            </a:r>
            <a:r>
              <a:rPr lang="de-DE" dirty="0" err="1"/>
              <a:t>psi</a:t>
            </a:r>
            <a:r>
              <a:rPr lang="de-DE" dirty="0"/>
              <a:t> and 0-30 </a:t>
            </a:r>
            <a:r>
              <a:rPr lang="de-DE" dirty="0" err="1"/>
              <a:t>psi</a:t>
            </a:r>
            <a:r>
              <a:rPr lang="de-DE" dirty="0"/>
              <a:t> </a:t>
            </a:r>
            <a:r>
              <a:rPr lang="de-DE" dirty="0" err="1"/>
              <a:t>for</a:t>
            </a:r>
            <a:r>
              <a:rPr lang="de-DE" dirty="0"/>
              <a:t> </a:t>
            </a:r>
            <a:r>
              <a:rPr lang="de-DE" dirty="0" err="1"/>
              <a:t>shale</a:t>
            </a:r>
            <a:r>
              <a:rPr lang="de-DE" dirty="0"/>
              <a:t> gas</a:t>
            </a:r>
          </a:p>
          <a:p>
            <a:r>
              <a:rPr lang="de-DE" dirty="0"/>
              <a:t>ASTM Method D5482 (off-line </a:t>
            </a:r>
            <a:r>
              <a:rPr lang="de-DE" dirty="0" err="1"/>
              <a:t>mode</a:t>
            </a:r>
            <a:r>
              <a:rPr lang="de-DE" dirty="0"/>
              <a:t>)</a:t>
            </a:r>
          </a:p>
          <a:p>
            <a:pPr lvl="1"/>
            <a:r>
              <a:rPr lang="de-DE" dirty="0"/>
              <a:t>RVP4500 </a:t>
            </a:r>
            <a:r>
              <a:rPr lang="de-DE" dirty="0" err="1"/>
              <a:t>meets</a:t>
            </a:r>
            <a:r>
              <a:rPr lang="de-DE" dirty="0"/>
              <a:t> </a:t>
            </a:r>
            <a:r>
              <a:rPr lang="de-DE" dirty="0" err="1"/>
              <a:t>the</a:t>
            </a:r>
            <a:r>
              <a:rPr lang="de-DE" dirty="0"/>
              <a:t> </a:t>
            </a:r>
            <a:r>
              <a:rPr lang="de-DE" dirty="0" err="1"/>
              <a:t>requirements</a:t>
            </a:r>
            <a:r>
              <a:rPr lang="de-DE" dirty="0"/>
              <a:t> </a:t>
            </a:r>
            <a:r>
              <a:rPr lang="de-DE" dirty="0" err="1"/>
              <a:t>of</a:t>
            </a:r>
            <a:r>
              <a:rPr lang="de-DE" dirty="0"/>
              <a:t> </a:t>
            </a:r>
            <a:r>
              <a:rPr lang="de-DE" dirty="0" err="1"/>
              <a:t>this</a:t>
            </a:r>
            <a:r>
              <a:rPr lang="de-DE" dirty="0"/>
              <a:t> </a:t>
            </a:r>
            <a:r>
              <a:rPr lang="de-DE" dirty="0" err="1"/>
              <a:t>method</a:t>
            </a:r>
            <a:endParaRPr lang="de-DE" dirty="0"/>
          </a:p>
          <a:p>
            <a:r>
              <a:rPr lang="de-DE" dirty="0"/>
              <a:t>Field </a:t>
            </a:r>
            <a:r>
              <a:rPr lang="de-DE" dirty="0" err="1"/>
              <a:t>proven</a:t>
            </a:r>
            <a:r>
              <a:rPr lang="de-DE" dirty="0"/>
              <a:t> reliable </a:t>
            </a:r>
            <a:r>
              <a:rPr lang="de-DE" dirty="0" err="1"/>
              <a:t>process</a:t>
            </a:r>
            <a:r>
              <a:rPr lang="de-DE" dirty="0"/>
              <a:t> </a:t>
            </a:r>
            <a:r>
              <a:rPr lang="de-DE" dirty="0" err="1"/>
              <a:t>analyzer</a:t>
            </a:r>
            <a:endParaRPr lang="de-DE" dirty="0"/>
          </a:p>
          <a:p>
            <a:pPr lvl="1"/>
            <a:r>
              <a:rPr lang="de-DE" dirty="0"/>
              <a:t>More </a:t>
            </a:r>
            <a:r>
              <a:rPr lang="de-DE" dirty="0" err="1"/>
              <a:t>than</a:t>
            </a:r>
            <a:r>
              <a:rPr lang="de-DE" dirty="0"/>
              <a:t> 20 </a:t>
            </a:r>
            <a:r>
              <a:rPr lang="de-DE" dirty="0" err="1"/>
              <a:t>years</a:t>
            </a:r>
            <a:r>
              <a:rPr lang="de-DE" dirty="0"/>
              <a:t> </a:t>
            </a:r>
            <a:r>
              <a:rPr lang="de-DE" dirty="0" err="1"/>
              <a:t>of</a:t>
            </a:r>
            <a:r>
              <a:rPr lang="de-DE" dirty="0"/>
              <a:t> </a:t>
            </a:r>
            <a:r>
              <a:rPr lang="de-DE" dirty="0" err="1"/>
              <a:t>experience</a:t>
            </a:r>
            <a:r>
              <a:rPr lang="de-DE" dirty="0"/>
              <a:t> in </a:t>
            </a:r>
            <a:r>
              <a:rPr lang="de-DE" dirty="0" err="1"/>
              <a:t>refinery</a:t>
            </a:r>
            <a:r>
              <a:rPr lang="de-DE" dirty="0"/>
              <a:t> </a:t>
            </a:r>
            <a:r>
              <a:rPr lang="de-DE" dirty="0" err="1"/>
              <a:t>operations</a:t>
            </a:r>
            <a:endParaRPr lang="de-DE" dirty="0"/>
          </a:p>
          <a:p>
            <a:r>
              <a:rPr lang="de-DE" dirty="0" err="1"/>
              <a:t>Does</a:t>
            </a:r>
            <a:r>
              <a:rPr lang="de-DE" dirty="0"/>
              <a:t> not </a:t>
            </a:r>
            <a:r>
              <a:rPr lang="de-DE" dirty="0" err="1"/>
              <a:t>require</a:t>
            </a:r>
            <a:r>
              <a:rPr lang="de-DE" dirty="0"/>
              <a:t> </a:t>
            </a:r>
            <a:r>
              <a:rPr lang="de-DE" dirty="0" err="1"/>
              <a:t>field</a:t>
            </a:r>
            <a:r>
              <a:rPr lang="de-DE" dirty="0"/>
              <a:t> </a:t>
            </a:r>
            <a:r>
              <a:rPr lang="de-DE" dirty="0" err="1"/>
              <a:t>calibration</a:t>
            </a:r>
            <a:endParaRPr lang="de-DE" dirty="0"/>
          </a:p>
          <a:p>
            <a:pPr lvl="1"/>
            <a:r>
              <a:rPr lang="de-DE" dirty="0"/>
              <a:t>Factory </a:t>
            </a:r>
            <a:r>
              <a:rPr lang="de-DE" dirty="0" err="1"/>
              <a:t>calibrated</a:t>
            </a:r>
            <a:r>
              <a:rPr lang="de-DE" dirty="0"/>
              <a:t>, </a:t>
            </a:r>
            <a:r>
              <a:rPr lang="de-DE" dirty="0" err="1"/>
              <a:t>minimizes</a:t>
            </a:r>
            <a:r>
              <a:rPr lang="de-DE" dirty="0"/>
              <a:t> support </a:t>
            </a:r>
            <a:r>
              <a:rPr lang="de-DE" dirty="0" err="1"/>
              <a:t>requirements</a:t>
            </a:r>
            <a:endParaRPr lang="de-DE" dirty="0"/>
          </a:p>
          <a:p>
            <a:r>
              <a:rPr lang="de-DE" dirty="0" err="1"/>
              <a:t>No</a:t>
            </a:r>
            <a:r>
              <a:rPr lang="de-DE" dirty="0"/>
              <a:t> </a:t>
            </a:r>
            <a:r>
              <a:rPr lang="de-DE" dirty="0" err="1"/>
              <a:t>safety</a:t>
            </a:r>
            <a:r>
              <a:rPr lang="de-DE" dirty="0"/>
              <a:t> </a:t>
            </a:r>
            <a:r>
              <a:rPr lang="de-DE" dirty="0" err="1"/>
              <a:t>purge</a:t>
            </a:r>
            <a:r>
              <a:rPr lang="de-DE" dirty="0"/>
              <a:t> </a:t>
            </a:r>
            <a:r>
              <a:rPr lang="de-DE" dirty="0" err="1"/>
              <a:t>for</a:t>
            </a:r>
            <a:r>
              <a:rPr lang="de-DE" dirty="0"/>
              <a:t> </a:t>
            </a:r>
            <a:r>
              <a:rPr lang="de-DE" dirty="0" err="1"/>
              <a:t>hazardous</a:t>
            </a:r>
            <a:r>
              <a:rPr lang="de-DE" dirty="0"/>
              <a:t> </a:t>
            </a:r>
            <a:r>
              <a:rPr lang="de-DE" dirty="0" err="1"/>
              <a:t>areas</a:t>
            </a:r>
            <a:endParaRPr lang="de-DE" dirty="0"/>
          </a:p>
          <a:p>
            <a:pPr lvl="1"/>
            <a:r>
              <a:rPr lang="de-DE" dirty="0" err="1"/>
              <a:t>Minimizes</a:t>
            </a:r>
            <a:r>
              <a:rPr lang="de-DE" dirty="0"/>
              <a:t> </a:t>
            </a:r>
            <a:r>
              <a:rPr lang="de-DE" dirty="0" err="1"/>
              <a:t>consumables</a:t>
            </a:r>
            <a:r>
              <a:rPr lang="de-DE" dirty="0"/>
              <a:t> </a:t>
            </a:r>
            <a:r>
              <a:rPr lang="de-DE" dirty="0" err="1"/>
              <a:t>required</a:t>
            </a:r>
            <a:r>
              <a:rPr lang="de-DE" dirty="0"/>
              <a:t> in </a:t>
            </a:r>
            <a:r>
              <a:rPr lang="de-DE" dirty="0" err="1"/>
              <a:t>the</a:t>
            </a:r>
            <a:r>
              <a:rPr lang="de-DE" dirty="0"/>
              <a:t> </a:t>
            </a:r>
            <a:r>
              <a:rPr lang="de-DE" dirty="0" err="1"/>
              <a:t>field</a:t>
            </a:r>
            <a:endParaRPr lang="de-DE" dirty="0"/>
          </a:p>
        </p:txBody>
      </p:sp>
      <p:sp>
        <p:nvSpPr>
          <p:cNvPr id="8" name="Subtitle 7">
            <a:extLst>
              <a:ext uri="{FF2B5EF4-FFF2-40B4-BE49-F238E27FC236}">
                <a16:creationId xmlns:a16="http://schemas.microsoft.com/office/drawing/2014/main" id="{A75D854B-41C6-4EC3-BF43-8A175939A004}"/>
              </a:ext>
            </a:extLst>
          </p:cNvPr>
          <p:cNvSpPr>
            <a:spLocks noGrp="1"/>
          </p:cNvSpPr>
          <p:nvPr>
            <p:ph type="subTitle" idx="13"/>
          </p:nvPr>
        </p:nvSpPr>
        <p:spPr/>
        <p:txBody>
          <a:bodyPr/>
          <a:lstStyle/>
          <a:p>
            <a:r>
              <a:rPr lang="de-DE" dirty="0"/>
              <a:t>Compact, </a:t>
            </a:r>
            <a:r>
              <a:rPr lang="de-DE" dirty="0" err="1"/>
              <a:t>field-proven</a:t>
            </a:r>
            <a:r>
              <a:rPr lang="de-DE" dirty="0"/>
              <a:t>, </a:t>
            </a:r>
            <a:r>
              <a:rPr lang="de-DE" dirty="0" err="1"/>
              <a:t>low</a:t>
            </a:r>
            <a:r>
              <a:rPr lang="de-DE" dirty="0"/>
              <a:t> </a:t>
            </a:r>
            <a:r>
              <a:rPr lang="de-DE" dirty="0" err="1"/>
              <a:t>maintenance</a:t>
            </a:r>
            <a:endParaRPr lang="en-US" dirty="0"/>
          </a:p>
        </p:txBody>
      </p:sp>
    </p:spTree>
    <p:extLst>
      <p:ext uri="{BB962C8B-B14F-4D97-AF65-F5344CB8AC3E}">
        <p14:creationId xmlns:p14="http://schemas.microsoft.com/office/powerpoint/2010/main" val="1736737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FC4AF-9E94-4AB0-ABC6-A755B54AED11}"/>
              </a:ext>
            </a:extLst>
          </p:cNvPr>
          <p:cNvSpPr>
            <a:spLocks noGrp="1"/>
          </p:cNvSpPr>
          <p:nvPr>
            <p:ph type="title"/>
          </p:nvPr>
        </p:nvSpPr>
        <p:spPr/>
        <p:txBody>
          <a:bodyPr/>
          <a:lstStyle/>
          <a:p>
            <a:r>
              <a:rPr lang="de-DE" dirty="0"/>
              <a:t>LGR-ICOS</a:t>
            </a:r>
            <a:r>
              <a:rPr lang="de-DE" baseline="30000" dirty="0"/>
              <a:t>TM</a:t>
            </a:r>
            <a:r>
              <a:rPr lang="de-DE" dirty="0"/>
              <a:t> 950 Series – Off-Axis ICOS </a:t>
            </a:r>
            <a:r>
              <a:rPr lang="de-DE" dirty="0" err="1"/>
              <a:t>laser</a:t>
            </a:r>
            <a:r>
              <a:rPr lang="de-DE" dirty="0"/>
              <a:t> </a:t>
            </a:r>
            <a:r>
              <a:rPr lang="de-DE" dirty="0" err="1"/>
              <a:t>technology</a:t>
            </a:r>
            <a:endParaRPr lang="en-US" dirty="0"/>
          </a:p>
        </p:txBody>
      </p:sp>
      <p:sp>
        <p:nvSpPr>
          <p:cNvPr id="3" name="Footer Placeholder 2">
            <a:extLst>
              <a:ext uri="{FF2B5EF4-FFF2-40B4-BE49-F238E27FC236}">
                <a16:creationId xmlns:a16="http://schemas.microsoft.com/office/drawing/2014/main" id="{0AED073A-585E-4D58-9F0D-5F796DA6A8D5}"/>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39557601-BCCB-47D6-BFBB-BD9D473DAB6B}"/>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CB074D56-A75A-4F7B-8091-DD05CBCD9B97}"/>
              </a:ext>
            </a:extLst>
          </p:cNvPr>
          <p:cNvSpPr>
            <a:spLocks noGrp="1"/>
          </p:cNvSpPr>
          <p:nvPr>
            <p:ph type="sldNum" sz="quarter" idx="12"/>
          </p:nvPr>
        </p:nvSpPr>
        <p:spPr/>
        <p:txBody>
          <a:bodyPr/>
          <a:lstStyle/>
          <a:p>
            <a:r>
              <a:rPr lang="en-US"/>
              <a:t>Slide </a:t>
            </a:r>
            <a:fld id="{619F89D8-7AE3-494A-97F3-03D680869632}" type="slidenum">
              <a:rPr lang="en-US" smtClean="0"/>
              <a:pPr/>
              <a:t>24</a:t>
            </a:fld>
            <a:endParaRPr lang="en-US" dirty="0"/>
          </a:p>
        </p:txBody>
      </p:sp>
      <p:sp>
        <p:nvSpPr>
          <p:cNvPr id="7" name="Content Placeholder 6">
            <a:extLst>
              <a:ext uri="{FF2B5EF4-FFF2-40B4-BE49-F238E27FC236}">
                <a16:creationId xmlns:a16="http://schemas.microsoft.com/office/drawing/2014/main" id="{67378C0C-2B46-4956-8315-2B4184C9AE34}"/>
              </a:ext>
            </a:extLst>
          </p:cNvPr>
          <p:cNvSpPr>
            <a:spLocks noGrp="1"/>
          </p:cNvSpPr>
          <p:nvPr>
            <p:ph sz="quarter" idx="19"/>
          </p:nvPr>
        </p:nvSpPr>
        <p:spPr>
          <a:xfrm>
            <a:off x="332366" y="1931194"/>
            <a:ext cx="6113258" cy="3980918"/>
          </a:xfrm>
        </p:spPr>
        <p:txBody>
          <a:bodyPr/>
          <a:lstStyle/>
          <a:p>
            <a:r>
              <a:rPr lang="de-DE" dirty="0"/>
              <a:t>Speed</a:t>
            </a:r>
          </a:p>
          <a:p>
            <a:pPr lvl="1"/>
            <a:r>
              <a:rPr lang="de-DE" dirty="0"/>
              <a:t>Fast </a:t>
            </a:r>
            <a:r>
              <a:rPr lang="de-DE" dirty="0" err="1"/>
              <a:t>response</a:t>
            </a:r>
            <a:r>
              <a:rPr lang="de-DE" dirty="0"/>
              <a:t> = fast </a:t>
            </a:r>
            <a:r>
              <a:rPr lang="de-DE" dirty="0" err="1"/>
              <a:t>feedback</a:t>
            </a:r>
            <a:r>
              <a:rPr lang="de-DE" dirty="0"/>
              <a:t> loop = </a:t>
            </a:r>
            <a:r>
              <a:rPr lang="de-DE" b="1" dirty="0" err="1"/>
              <a:t>product</a:t>
            </a:r>
            <a:r>
              <a:rPr lang="de-DE" b="1" dirty="0"/>
              <a:t> on </a:t>
            </a:r>
            <a:r>
              <a:rPr lang="de-DE" b="1" dirty="0" err="1"/>
              <a:t>spec</a:t>
            </a:r>
            <a:r>
              <a:rPr lang="de-DE" b="1" dirty="0"/>
              <a:t> ($)</a:t>
            </a:r>
          </a:p>
          <a:p>
            <a:r>
              <a:rPr lang="de-DE" dirty="0" err="1"/>
              <a:t>Sensitivity</a:t>
            </a:r>
            <a:r>
              <a:rPr lang="de-DE" dirty="0"/>
              <a:t> / </a:t>
            </a:r>
            <a:r>
              <a:rPr lang="de-DE" dirty="0" err="1"/>
              <a:t>precision</a:t>
            </a:r>
            <a:endParaRPr lang="de-DE" dirty="0"/>
          </a:p>
          <a:p>
            <a:pPr lvl="1"/>
            <a:r>
              <a:rPr lang="de-DE" dirty="0"/>
              <a:t>Low LOD (ppb/</a:t>
            </a:r>
            <a:r>
              <a:rPr lang="de-DE" dirty="0" err="1"/>
              <a:t>ppt</a:t>
            </a:r>
            <a:r>
              <a:rPr lang="de-DE" dirty="0"/>
              <a:t>) = </a:t>
            </a:r>
            <a:r>
              <a:rPr lang="de-DE" dirty="0" err="1"/>
              <a:t>tighter</a:t>
            </a:r>
            <a:r>
              <a:rPr lang="de-DE" dirty="0"/>
              <a:t> </a:t>
            </a:r>
            <a:r>
              <a:rPr lang="de-DE" dirty="0" err="1"/>
              <a:t>control</a:t>
            </a:r>
            <a:r>
              <a:rPr lang="de-DE" dirty="0"/>
              <a:t> = </a:t>
            </a:r>
            <a:r>
              <a:rPr lang="de-DE" b="1" dirty="0" err="1"/>
              <a:t>longer</a:t>
            </a:r>
            <a:r>
              <a:rPr lang="de-DE" b="1" dirty="0"/>
              <a:t> </a:t>
            </a:r>
            <a:r>
              <a:rPr lang="de-DE" b="1" dirty="0" err="1"/>
              <a:t>catalyst</a:t>
            </a:r>
            <a:r>
              <a:rPr lang="de-DE" b="1" dirty="0"/>
              <a:t> </a:t>
            </a:r>
            <a:r>
              <a:rPr lang="de-DE" b="1" dirty="0" err="1"/>
              <a:t>life</a:t>
            </a:r>
            <a:r>
              <a:rPr lang="de-DE" b="1" dirty="0"/>
              <a:t> ($)</a:t>
            </a:r>
          </a:p>
          <a:p>
            <a:r>
              <a:rPr lang="de-DE" dirty="0" err="1"/>
              <a:t>Accuracy</a:t>
            </a:r>
            <a:endParaRPr lang="de-DE" dirty="0"/>
          </a:p>
          <a:p>
            <a:pPr lvl="1"/>
            <a:r>
              <a:rPr lang="de-DE" dirty="0"/>
              <a:t>True </a:t>
            </a:r>
            <a:r>
              <a:rPr lang="de-DE" dirty="0" err="1"/>
              <a:t>measurement</a:t>
            </a:r>
            <a:r>
              <a:rPr lang="de-DE" dirty="0"/>
              <a:t> = </a:t>
            </a:r>
            <a:r>
              <a:rPr lang="de-DE" dirty="0" err="1"/>
              <a:t>better</a:t>
            </a:r>
            <a:r>
              <a:rPr lang="de-DE" dirty="0"/>
              <a:t> </a:t>
            </a:r>
            <a:r>
              <a:rPr lang="de-DE" dirty="0" err="1"/>
              <a:t>control</a:t>
            </a:r>
            <a:r>
              <a:rPr lang="de-DE" dirty="0"/>
              <a:t> = </a:t>
            </a:r>
            <a:r>
              <a:rPr lang="de-DE" b="1" dirty="0" err="1"/>
              <a:t>product</a:t>
            </a:r>
            <a:r>
              <a:rPr lang="de-DE" b="1" dirty="0"/>
              <a:t> on </a:t>
            </a:r>
            <a:r>
              <a:rPr lang="de-DE" b="1" dirty="0" err="1"/>
              <a:t>spec</a:t>
            </a:r>
            <a:r>
              <a:rPr lang="de-DE" b="1" dirty="0"/>
              <a:t> ($)</a:t>
            </a:r>
          </a:p>
          <a:p>
            <a:r>
              <a:rPr lang="de-DE" dirty="0"/>
              <a:t>Wide </a:t>
            </a:r>
            <a:r>
              <a:rPr lang="de-DE" dirty="0" err="1"/>
              <a:t>dynamic</a:t>
            </a:r>
            <a:r>
              <a:rPr lang="de-DE" dirty="0"/>
              <a:t> </a:t>
            </a:r>
            <a:r>
              <a:rPr lang="de-DE" dirty="0" err="1"/>
              <a:t>range</a:t>
            </a:r>
            <a:endParaRPr lang="de-DE" dirty="0"/>
          </a:p>
          <a:p>
            <a:pPr lvl="1"/>
            <a:r>
              <a:rPr lang="de-DE" dirty="0" err="1"/>
              <a:t>Accurate</a:t>
            </a:r>
            <a:r>
              <a:rPr lang="de-DE" dirty="0"/>
              <a:t> </a:t>
            </a:r>
            <a:r>
              <a:rPr lang="de-DE" dirty="0" err="1"/>
              <a:t>for</a:t>
            </a:r>
            <a:r>
              <a:rPr lang="de-DE" dirty="0"/>
              <a:t> all </a:t>
            </a:r>
            <a:r>
              <a:rPr lang="de-DE" dirty="0" err="1"/>
              <a:t>process</a:t>
            </a:r>
            <a:r>
              <a:rPr lang="de-DE" dirty="0"/>
              <a:t> </a:t>
            </a:r>
            <a:r>
              <a:rPr lang="de-DE" dirty="0" err="1"/>
              <a:t>conditions</a:t>
            </a:r>
            <a:r>
              <a:rPr lang="de-DE" dirty="0"/>
              <a:t> = </a:t>
            </a:r>
            <a:r>
              <a:rPr lang="de-DE" b="1" dirty="0" err="1"/>
              <a:t>product</a:t>
            </a:r>
            <a:r>
              <a:rPr lang="de-DE" b="1" dirty="0"/>
              <a:t> on </a:t>
            </a:r>
            <a:r>
              <a:rPr lang="de-DE" b="1" dirty="0" err="1"/>
              <a:t>spec</a:t>
            </a:r>
            <a:r>
              <a:rPr lang="de-DE" b="1" dirty="0"/>
              <a:t> ($)</a:t>
            </a:r>
          </a:p>
          <a:p>
            <a:r>
              <a:rPr lang="de-DE" dirty="0" err="1"/>
              <a:t>Reliability</a:t>
            </a:r>
            <a:endParaRPr lang="de-DE" dirty="0"/>
          </a:p>
          <a:p>
            <a:pPr lvl="1"/>
            <a:r>
              <a:rPr lang="de-DE" dirty="0" err="1"/>
              <a:t>Stability</a:t>
            </a:r>
            <a:r>
              <a:rPr lang="de-DE" dirty="0"/>
              <a:t> (</a:t>
            </a:r>
            <a:r>
              <a:rPr lang="de-DE" dirty="0" err="1"/>
              <a:t>no</a:t>
            </a:r>
            <a:r>
              <a:rPr lang="de-DE" dirty="0"/>
              <a:t> </a:t>
            </a:r>
            <a:r>
              <a:rPr lang="de-DE" dirty="0" err="1"/>
              <a:t>drift</a:t>
            </a:r>
            <a:r>
              <a:rPr lang="de-DE" dirty="0"/>
              <a:t>) = </a:t>
            </a:r>
            <a:r>
              <a:rPr lang="de-DE" dirty="0" err="1"/>
              <a:t>no</a:t>
            </a:r>
            <a:r>
              <a:rPr lang="de-DE" dirty="0"/>
              <a:t> </a:t>
            </a:r>
            <a:r>
              <a:rPr lang="de-DE" dirty="0" err="1"/>
              <a:t>recalibration</a:t>
            </a:r>
            <a:r>
              <a:rPr lang="de-DE" dirty="0"/>
              <a:t> = </a:t>
            </a:r>
            <a:r>
              <a:rPr lang="de-DE" b="1" dirty="0" err="1"/>
              <a:t>lower</a:t>
            </a:r>
            <a:r>
              <a:rPr lang="de-DE" b="1" dirty="0"/>
              <a:t> </a:t>
            </a:r>
            <a:r>
              <a:rPr lang="de-DE" b="1" dirty="0" err="1"/>
              <a:t>maintenance</a:t>
            </a:r>
            <a:r>
              <a:rPr lang="de-DE" b="1" dirty="0"/>
              <a:t> ($)</a:t>
            </a:r>
          </a:p>
          <a:p>
            <a:pPr lvl="1"/>
            <a:r>
              <a:rPr lang="de-DE" dirty="0"/>
              <a:t>Field </a:t>
            </a:r>
            <a:r>
              <a:rPr lang="de-DE" dirty="0" err="1"/>
              <a:t>serviceable</a:t>
            </a:r>
            <a:r>
              <a:rPr lang="de-DE" dirty="0"/>
              <a:t> = minimal </a:t>
            </a:r>
            <a:r>
              <a:rPr lang="de-DE" dirty="0" err="1"/>
              <a:t>training</a:t>
            </a:r>
            <a:r>
              <a:rPr lang="de-DE" dirty="0"/>
              <a:t> = </a:t>
            </a:r>
            <a:r>
              <a:rPr lang="de-DE" b="1" dirty="0" err="1"/>
              <a:t>higher</a:t>
            </a:r>
            <a:r>
              <a:rPr lang="de-DE" b="1" dirty="0"/>
              <a:t> </a:t>
            </a:r>
            <a:r>
              <a:rPr lang="de-DE" b="1" dirty="0" err="1"/>
              <a:t>uptime</a:t>
            </a:r>
            <a:r>
              <a:rPr lang="de-DE" b="1" dirty="0"/>
              <a:t> ($)</a:t>
            </a:r>
          </a:p>
        </p:txBody>
      </p:sp>
      <p:sp>
        <p:nvSpPr>
          <p:cNvPr id="8" name="Subtitle 7">
            <a:extLst>
              <a:ext uri="{FF2B5EF4-FFF2-40B4-BE49-F238E27FC236}">
                <a16:creationId xmlns:a16="http://schemas.microsoft.com/office/drawing/2014/main" id="{19B30CCA-4101-4569-B540-3853A2D4C2F4}"/>
              </a:ext>
            </a:extLst>
          </p:cNvPr>
          <p:cNvSpPr>
            <a:spLocks noGrp="1"/>
          </p:cNvSpPr>
          <p:nvPr>
            <p:ph type="subTitle" idx="13"/>
          </p:nvPr>
        </p:nvSpPr>
        <p:spPr/>
        <p:txBody>
          <a:bodyPr/>
          <a:lstStyle/>
          <a:p>
            <a:r>
              <a:rPr lang="en-US" dirty="0"/>
              <a:t>Extraordinarily high sensitivity, fast response and over a wide dynamic range </a:t>
            </a:r>
          </a:p>
        </p:txBody>
      </p:sp>
      <p:pic>
        <p:nvPicPr>
          <p:cNvPr id="9" name="Content Placeholder 18">
            <a:extLst>
              <a:ext uri="{FF2B5EF4-FFF2-40B4-BE49-F238E27FC236}">
                <a16:creationId xmlns:a16="http://schemas.microsoft.com/office/drawing/2014/main" id="{FC7BEC28-17D4-4228-A846-5832A555B38E}"/>
              </a:ext>
            </a:extLst>
          </p:cNvPr>
          <p:cNvPicPr>
            <a:picLocks noGrp="1" noChangeAspect="1"/>
          </p:cNvPicPr>
          <p:nvPr>
            <p:ph sz="quarter" idx="20"/>
          </p:nvPr>
        </p:nvPicPr>
        <p:blipFill>
          <a:blip r:embed="rId2"/>
          <a:stretch>
            <a:fillRect/>
          </a:stretch>
        </p:blipFill>
        <p:spPr>
          <a:xfrm>
            <a:off x="7150977" y="1809469"/>
            <a:ext cx="3758373" cy="3758373"/>
          </a:xfrm>
          <a:prstGeom prst="rect">
            <a:avLst/>
          </a:prstGeom>
        </p:spPr>
      </p:pic>
    </p:spTree>
    <p:extLst>
      <p:ext uri="{BB962C8B-B14F-4D97-AF65-F5344CB8AC3E}">
        <p14:creationId xmlns:p14="http://schemas.microsoft.com/office/powerpoint/2010/main" val="783840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558CFEF-2B71-4CA8-9FED-2E68312FFD17}"/>
              </a:ext>
            </a:extLst>
          </p:cNvPr>
          <p:cNvSpPr>
            <a:spLocks noGrp="1"/>
          </p:cNvSpPr>
          <p:nvPr>
            <p:ph sz="quarter" idx="21"/>
          </p:nvPr>
        </p:nvSpPr>
        <p:spPr/>
        <p:txBody>
          <a:bodyPr/>
          <a:lstStyle/>
          <a:p>
            <a:r>
              <a:rPr lang="en-US" dirty="0"/>
              <a:t>1st:	TDLAS (tunable diode laser absorption spectroscopy)</a:t>
            </a:r>
          </a:p>
          <a:p>
            <a:pPr>
              <a:spcBef>
                <a:spcPts val="300"/>
              </a:spcBef>
            </a:pPr>
            <a:r>
              <a:rPr lang="en-US" dirty="0"/>
              <a:t>	</a:t>
            </a:r>
            <a:r>
              <a:rPr lang="en-US" sz="1600" b="0" dirty="0">
                <a:solidFill>
                  <a:schemeClr val="tx1"/>
                </a:solidFill>
              </a:rPr>
              <a:t>[First papers mentioning tunable diode laser for spectroscopy date from the 60’s]</a:t>
            </a:r>
          </a:p>
          <a:p>
            <a:pPr>
              <a:spcBef>
                <a:spcPts val="300"/>
              </a:spcBef>
            </a:pPr>
            <a:endParaRPr lang="en-US" dirty="0"/>
          </a:p>
          <a:p>
            <a:endParaRPr lang="en-US" dirty="0"/>
          </a:p>
          <a:p>
            <a:r>
              <a:rPr lang="en-US" dirty="0"/>
              <a:t>2nd:	CRDS (cavity ringdown spectroscopy)</a:t>
            </a:r>
          </a:p>
          <a:p>
            <a:pPr>
              <a:spcBef>
                <a:spcPts val="300"/>
              </a:spcBef>
            </a:pPr>
            <a:r>
              <a:rPr lang="en-US" dirty="0"/>
              <a:t>	</a:t>
            </a:r>
            <a:r>
              <a:rPr lang="en-US" sz="1600" b="0" dirty="0">
                <a:solidFill>
                  <a:schemeClr val="tx1"/>
                </a:solidFill>
              </a:rPr>
              <a:t>[First paper mentioning CRDS using TDL date from the 1988 (Anthony </a:t>
            </a:r>
            <a:r>
              <a:rPr lang="en-US" sz="1600" b="0" dirty="0" err="1">
                <a:solidFill>
                  <a:schemeClr val="tx1"/>
                </a:solidFill>
              </a:rPr>
              <a:t>O’keefe</a:t>
            </a:r>
            <a:r>
              <a:rPr lang="en-US" sz="1600" b="0" dirty="0">
                <a:solidFill>
                  <a:schemeClr val="tx1"/>
                </a:solidFill>
              </a:rPr>
              <a:t>, LGR founder]</a:t>
            </a:r>
          </a:p>
          <a:p>
            <a:pPr>
              <a:spcBef>
                <a:spcPts val="300"/>
              </a:spcBef>
            </a:pPr>
            <a:endParaRPr lang="en-US" sz="1600" b="0" dirty="0">
              <a:solidFill>
                <a:schemeClr val="tx1"/>
              </a:solidFill>
            </a:endParaRPr>
          </a:p>
          <a:p>
            <a:endParaRPr lang="en-US" dirty="0"/>
          </a:p>
          <a:p>
            <a:r>
              <a:rPr lang="en-US" dirty="0"/>
              <a:t>3rd:	OA-ICOS (off-axis integrated cavity output spectroscopy)</a:t>
            </a:r>
          </a:p>
          <a:p>
            <a:pPr>
              <a:spcBef>
                <a:spcPts val="300"/>
              </a:spcBef>
            </a:pPr>
            <a:r>
              <a:rPr lang="en-US" dirty="0"/>
              <a:t>	</a:t>
            </a:r>
            <a:r>
              <a:rPr lang="en-US" sz="1600" b="0" dirty="0">
                <a:solidFill>
                  <a:schemeClr val="tx1"/>
                </a:solidFill>
              </a:rPr>
              <a:t>[1st generation OA-ICOS patent filed in 2001, published in 2004 (Los Gatos Research)]</a:t>
            </a:r>
          </a:p>
          <a:p>
            <a:endParaRPr lang="en-US" dirty="0"/>
          </a:p>
        </p:txBody>
      </p:sp>
      <p:sp>
        <p:nvSpPr>
          <p:cNvPr id="3" name="Title 2">
            <a:extLst>
              <a:ext uri="{FF2B5EF4-FFF2-40B4-BE49-F238E27FC236}">
                <a16:creationId xmlns:a16="http://schemas.microsoft.com/office/drawing/2014/main" id="{4DC0E85F-1382-45DC-9DF0-1E930FFC5914}"/>
              </a:ext>
            </a:extLst>
          </p:cNvPr>
          <p:cNvSpPr>
            <a:spLocks noGrp="1"/>
          </p:cNvSpPr>
          <p:nvPr>
            <p:ph type="title"/>
          </p:nvPr>
        </p:nvSpPr>
        <p:spPr/>
        <p:txBody>
          <a:bodyPr/>
          <a:lstStyle/>
          <a:p>
            <a:r>
              <a:rPr lang="de-DE" dirty="0"/>
              <a:t>OA-ICOS: </a:t>
            </a:r>
            <a:r>
              <a:rPr lang="en-US" dirty="0"/>
              <a:t>Off-Axis Integrated Cavity Output Spectroscopy</a:t>
            </a:r>
          </a:p>
        </p:txBody>
      </p:sp>
      <p:sp>
        <p:nvSpPr>
          <p:cNvPr id="4" name="Date Placeholder 3">
            <a:extLst>
              <a:ext uri="{FF2B5EF4-FFF2-40B4-BE49-F238E27FC236}">
                <a16:creationId xmlns:a16="http://schemas.microsoft.com/office/drawing/2014/main" id="{B39D970C-D6AF-4896-BC1A-C3D775535033}"/>
              </a:ext>
            </a:extLst>
          </p:cNvPr>
          <p:cNvSpPr>
            <a:spLocks noGrp="1"/>
          </p:cNvSpPr>
          <p:nvPr>
            <p:ph type="dt" sz="half" idx="18"/>
          </p:nvPr>
        </p:nvSpPr>
        <p:spPr/>
        <p:txBody>
          <a:bodyPr/>
          <a:lstStyle/>
          <a:p>
            <a:fld id="{FFAB2352-921F-4DD8-A99A-A1474F6943FF}" type="datetime4">
              <a:rPr lang="en-US" smtClean="0"/>
              <a:t>September 8, 2019</a:t>
            </a:fld>
            <a:endParaRPr lang="en-US" dirty="0"/>
          </a:p>
        </p:txBody>
      </p:sp>
      <p:sp>
        <p:nvSpPr>
          <p:cNvPr id="5" name="Footer Placeholder 4">
            <a:extLst>
              <a:ext uri="{FF2B5EF4-FFF2-40B4-BE49-F238E27FC236}">
                <a16:creationId xmlns:a16="http://schemas.microsoft.com/office/drawing/2014/main" id="{190B4A6D-32BC-46CB-8BEB-B7854EAD8AA8}"/>
              </a:ext>
            </a:extLst>
          </p:cNvPr>
          <p:cNvSpPr>
            <a:spLocks noGrp="1"/>
          </p:cNvSpPr>
          <p:nvPr>
            <p:ph type="ftr" sz="quarter" idx="19"/>
          </p:nvPr>
        </p:nvSpPr>
        <p:spPr/>
        <p:txBody>
          <a:bodyPr/>
          <a:lstStyle/>
          <a:p>
            <a:pPr lvl="8"/>
            <a:endParaRPr lang="en-US" dirty="0"/>
          </a:p>
        </p:txBody>
      </p:sp>
      <p:sp>
        <p:nvSpPr>
          <p:cNvPr id="6" name="Slide Number Placeholder 5">
            <a:extLst>
              <a:ext uri="{FF2B5EF4-FFF2-40B4-BE49-F238E27FC236}">
                <a16:creationId xmlns:a16="http://schemas.microsoft.com/office/drawing/2014/main" id="{FE7DA485-3455-42BF-8FC8-EDDAC47A7002}"/>
              </a:ext>
            </a:extLst>
          </p:cNvPr>
          <p:cNvSpPr>
            <a:spLocks noGrp="1"/>
          </p:cNvSpPr>
          <p:nvPr>
            <p:ph type="sldNum" sz="quarter" idx="20"/>
          </p:nvPr>
        </p:nvSpPr>
        <p:spPr/>
        <p:txBody>
          <a:bodyPr/>
          <a:lstStyle/>
          <a:p>
            <a:r>
              <a:rPr lang="en-US"/>
              <a:t>Slide </a:t>
            </a:r>
            <a:fld id="{619F89D8-7AE3-494A-97F3-03D680869632}" type="slidenum">
              <a:rPr lang="en-US" smtClean="0"/>
              <a:pPr/>
              <a:t>25</a:t>
            </a:fld>
            <a:endParaRPr lang="en-US" dirty="0"/>
          </a:p>
        </p:txBody>
      </p:sp>
      <p:sp>
        <p:nvSpPr>
          <p:cNvPr id="7" name="Subtitle 6">
            <a:extLst>
              <a:ext uri="{FF2B5EF4-FFF2-40B4-BE49-F238E27FC236}">
                <a16:creationId xmlns:a16="http://schemas.microsoft.com/office/drawing/2014/main" id="{410519D0-5FDD-400D-B9D9-3554134A5C45}"/>
              </a:ext>
            </a:extLst>
          </p:cNvPr>
          <p:cNvSpPr>
            <a:spLocks noGrp="1"/>
          </p:cNvSpPr>
          <p:nvPr>
            <p:ph type="subTitle" idx="13"/>
          </p:nvPr>
        </p:nvSpPr>
        <p:spPr/>
        <p:txBody>
          <a:bodyPr/>
          <a:lstStyle/>
          <a:p>
            <a:r>
              <a:rPr lang="en-US" dirty="0"/>
              <a:t>The latest evolution in TDLAS</a:t>
            </a:r>
          </a:p>
        </p:txBody>
      </p:sp>
      <p:sp>
        <p:nvSpPr>
          <p:cNvPr id="8" name="Text Placeholder 7">
            <a:extLst>
              <a:ext uri="{FF2B5EF4-FFF2-40B4-BE49-F238E27FC236}">
                <a16:creationId xmlns:a16="http://schemas.microsoft.com/office/drawing/2014/main" id="{E695A0CF-286D-4C63-A7BA-949856304898}"/>
              </a:ext>
            </a:extLst>
          </p:cNvPr>
          <p:cNvSpPr>
            <a:spLocks noGrp="1"/>
          </p:cNvSpPr>
          <p:nvPr>
            <p:ph type="body" sz="quarter" idx="29"/>
          </p:nvPr>
        </p:nvSpPr>
        <p:spPr/>
        <p:txBody>
          <a:bodyPr/>
          <a:lstStyle/>
          <a:p>
            <a:r>
              <a:rPr lang="en-US" dirty="0"/>
              <a:t>4th generation OA-ICOS technology in the LGR-ICOS™ analyzers: latest advancement in TDLAS</a:t>
            </a:r>
          </a:p>
        </p:txBody>
      </p:sp>
      <p:sp>
        <p:nvSpPr>
          <p:cNvPr id="9" name="Down Arrow 7">
            <a:extLst>
              <a:ext uri="{FF2B5EF4-FFF2-40B4-BE49-F238E27FC236}">
                <a16:creationId xmlns:a16="http://schemas.microsoft.com/office/drawing/2014/main" id="{FD9831EA-4A55-4724-B686-FFABB36D0F3C}"/>
              </a:ext>
            </a:extLst>
          </p:cNvPr>
          <p:cNvSpPr/>
          <p:nvPr/>
        </p:nvSpPr>
        <p:spPr bwMode="gray">
          <a:xfrm>
            <a:off x="1653324" y="2591774"/>
            <a:ext cx="484742" cy="572877"/>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a:p>
        </p:txBody>
      </p:sp>
      <p:sp>
        <p:nvSpPr>
          <p:cNvPr id="10" name="Down Arrow 8">
            <a:extLst>
              <a:ext uri="{FF2B5EF4-FFF2-40B4-BE49-F238E27FC236}">
                <a16:creationId xmlns:a16="http://schemas.microsoft.com/office/drawing/2014/main" id="{1BA53D8E-0311-4B80-84DF-BBA2AE2C1889}"/>
              </a:ext>
            </a:extLst>
          </p:cNvPr>
          <p:cNvSpPr/>
          <p:nvPr/>
        </p:nvSpPr>
        <p:spPr bwMode="gray">
          <a:xfrm>
            <a:off x="1653324" y="3944576"/>
            <a:ext cx="484742" cy="572877"/>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US" sz="1400" dirty="0" err="1"/>
          </a:p>
        </p:txBody>
      </p:sp>
      <p:sp>
        <p:nvSpPr>
          <p:cNvPr id="11" name="TextBox 10">
            <a:extLst>
              <a:ext uri="{FF2B5EF4-FFF2-40B4-BE49-F238E27FC236}">
                <a16:creationId xmlns:a16="http://schemas.microsoft.com/office/drawing/2014/main" id="{6C4676FF-104F-42AB-B6D7-2A9D29FF2793}"/>
              </a:ext>
            </a:extLst>
          </p:cNvPr>
          <p:cNvSpPr txBox="1"/>
          <p:nvPr/>
        </p:nvSpPr>
        <p:spPr bwMode="gray">
          <a:xfrm>
            <a:off x="2232796" y="2652641"/>
            <a:ext cx="3034061" cy="473174"/>
          </a:xfrm>
          <a:prstGeom prst="rect">
            <a:avLst/>
          </a:prstGeom>
          <a:noFill/>
        </p:spPr>
        <p:txBody>
          <a:bodyPr wrap="square" lIns="72000" tIns="72000" rIns="72000" bIns="72000" rtlCol="0">
            <a:noAutofit/>
          </a:bodyPr>
          <a:lstStyle/>
          <a:p>
            <a:r>
              <a:rPr lang="fr-CA" sz="1400" dirty="0">
                <a:solidFill>
                  <a:schemeClr val="tx2"/>
                </a:solidFill>
              </a:rPr>
              <a:t>+</a:t>
            </a:r>
            <a:r>
              <a:rPr lang="fr-CA" sz="1400" dirty="0" err="1">
                <a:solidFill>
                  <a:schemeClr val="tx2"/>
                </a:solidFill>
              </a:rPr>
              <a:t>Sensitivity</a:t>
            </a:r>
            <a:endParaRPr lang="en-US" sz="1400" dirty="0" err="1">
              <a:solidFill>
                <a:schemeClr val="tx2"/>
              </a:solidFill>
            </a:endParaRPr>
          </a:p>
        </p:txBody>
      </p:sp>
      <p:sp>
        <p:nvSpPr>
          <p:cNvPr id="12" name="TextBox 11">
            <a:extLst>
              <a:ext uri="{FF2B5EF4-FFF2-40B4-BE49-F238E27FC236}">
                <a16:creationId xmlns:a16="http://schemas.microsoft.com/office/drawing/2014/main" id="{C21C1C75-81A9-4132-94BC-17E4A3223350}"/>
              </a:ext>
            </a:extLst>
          </p:cNvPr>
          <p:cNvSpPr txBox="1"/>
          <p:nvPr/>
        </p:nvSpPr>
        <p:spPr bwMode="gray">
          <a:xfrm>
            <a:off x="2232795" y="4044278"/>
            <a:ext cx="3981512" cy="473174"/>
          </a:xfrm>
          <a:prstGeom prst="rect">
            <a:avLst/>
          </a:prstGeom>
          <a:noFill/>
        </p:spPr>
        <p:txBody>
          <a:bodyPr wrap="square" lIns="72000" tIns="72000" rIns="72000" bIns="72000" rtlCol="0">
            <a:noAutofit/>
          </a:bodyPr>
          <a:lstStyle/>
          <a:p>
            <a:r>
              <a:rPr lang="fr-CA" sz="1400" dirty="0">
                <a:solidFill>
                  <a:schemeClr val="tx2"/>
                </a:solidFill>
              </a:rPr>
              <a:t>+ </a:t>
            </a:r>
            <a:r>
              <a:rPr lang="fr-CA" sz="1400" dirty="0" err="1">
                <a:solidFill>
                  <a:schemeClr val="tx2"/>
                </a:solidFill>
              </a:rPr>
              <a:t>Accuracy</a:t>
            </a:r>
            <a:r>
              <a:rPr lang="fr-CA" sz="1400" dirty="0">
                <a:solidFill>
                  <a:schemeClr val="tx2"/>
                </a:solidFill>
              </a:rPr>
              <a:t> and </a:t>
            </a:r>
            <a:r>
              <a:rPr lang="fr-CA" sz="1400" dirty="0" err="1">
                <a:solidFill>
                  <a:schemeClr val="tx2"/>
                </a:solidFill>
              </a:rPr>
              <a:t>ruggedness</a:t>
            </a:r>
            <a:r>
              <a:rPr lang="fr-CA" sz="1400" dirty="0">
                <a:solidFill>
                  <a:schemeClr val="tx2"/>
                </a:solidFill>
              </a:rPr>
              <a:t>/</a:t>
            </a:r>
            <a:r>
              <a:rPr lang="fr-CA" sz="1400" dirty="0" err="1">
                <a:solidFill>
                  <a:schemeClr val="tx2"/>
                </a:solidFill>
              </a:rPr>
              <a:t>serviceability</a:t>
            </a:r>
            <a:endParaRPr lang="en-US" sz="1400" dirty="0" err="1">
              <a:solidFill>
                <a:schemeClr val="tx2"/>
              </a:solidFill>
            </a:endParaRPr>
          </a:p>
        </p:txBody>
      </p:sp>
    </p:spTree>
    <p:extLst>
      <p:ext uri="{BB962C8B-B14F-4D97-AF65-F5344CB8AC3E}">
        <p14:creationId xmlns:p14="http://schemas.microsoft.com/office/powerpoint/2010/main" val="540948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BB OA-ICOS Technology</a:t>
            </a:r>
          </a:p>
        </p:txBody>
      </p:sp>
      <p:sp>
        <p:nvSpPr>
          <p:cNvPr id="5" name="Footer Placeholder 4"/>
          <p:cNvSpPr>
            <a:spLocks noGrp="1"/>
          </p:cNvSpPr>
          <p:nvPr>
            <p:ph type="ftr" sz="quarter" idx="10"/>
          </p:nvPr>
        </p:nvSpPr>
        <p:spPr/>
        <p:txBody>
          <a:bodyPr/>
          <a:lstStyle/>
          <a:p>
            <a:pPr lvl="8"/>
            <a:endParaRPr lang="en-US" dirty="0"/>
          </a:p>
        </p:txBody>
      </p:sp>
      <p:sp>
        <p:nvSpPr>
          <p:cNvPr id="4" name="Date Placeholder 3"/>
          <p:cNvSpPr>
            <a:spLocks noGrp="1"/>
          </p:cNvSpPr>
          <p:nvPr>
            <p:ph type="dt" sz="half" idx="11"/>
          </p:nvPr>
        </p:nvSpPr>
        <p:spPr/>
        <p:txBody>
          <a:bodyPr/>
          <a:lstStyle/>
          <a:p>
            <a:fld id="{FFAB2352-921F-4DD8-A99A-A1474F6943FF}" type="datetime4">
              <a:rPr lang="en-US" smtClean="0"/>
              <a:t>September 8, 2019</a:t>
            </a:fld>
            <a:endParaRPr lang="en-US" dirty="0"/>
          </a:p>
        </p:txBody>
      </p:sp>
      <p:sp>
        <p:nvSpPr>
          <p:cNvPr id="6" name="Slide Number Placeholder 5"/>
          <p:cNvSpPr>
            <a:spLocks noGrp="1"/>
          </p:cNvSpPr>
          <p:nvPr>
            <p:ph type="sldNum" sz="quarter" idx="12"/>
          </p:nvPr>
        </p:nvSpPr>
        <p:spPr/>
        <p:txBody>
          <a:bodyPr/>
          <a:lstStyle/>
          <a:p>
            <a:r>
              <a:rPr lang="en-US"/>
              <a:t>Slide </a:t>
            </a:r>
            <a:fld id="{619F89D8-7AE3-494A-97F3-03D680869632}" type="slidenum">
              <a:rPr lang="en-US" smtClean="0"/>
              <a:pPr/>
              <a:t>26</a:t>
            </a:fld>
            <a:endParaRPr lang="en-US" dirty="0"/>
          </a:p>
        </p:txBody>
      </p:sp>
      <p:sp>
        <p:nvSpPr>
          <p:cNvPr id="7" name="Subtitle 6"/>
          <p:cNvSpPr>
            <a:spLocks noGrp="1"/>
          </p:cNvSpPr>
          <p:nvPr>
            <p:ph type="subTitle" idx="13"/>
          </p:nvPr>
        </p:nvSpPr>
        <p:spPr/>
        <p:txBody>
          <a:bodyPr/>
          <a:lstStyle/>
          <a:p>
            <a:r>
              <a:rPr lang="en-US" dirty="0"/>
              <a:t>Off-axis Integrated cavity output spectroscopy – technically advanced compared to other TDLAS</a:t>
            </a:r>
          </a:p>
        </p:txBody>
      </p:sp>
      <p:pic>
        <p:nvPicPr>
          <p:cNvPr id="18" name="Content Placeholder 10"/>
          <p:cNvPicPr>
            <a:picLocks noGrp="1" noChangeAspect="1"/>
          </p:cNvPicPr>
          <p:nvPr>
            <p:ph sz="quarter" idx="20"/>
          </p:nvPr>
        </p:nvPicPr>
        <p:blipFill>
          <a:blip r:embed="rId2"/>
          <a:stretch>
            <a:fillRect/>
          </a:stretch>
        </p:blipFill>
        <p:spPr bwMode="gray">
          <a:xfrm>
            <a:off x="346560" y="2183192"/>
            <a:ext cx="5605463" cy="2865778"/>
          </a:xfrm>
          <a:prstGeom prst="rect">
            <a:avLst/>
          </a:prstGeom>
        </p:spPr>
      </p:pic>
      <p:sp>
        <p:nvSpPr>
          <p:cNvPr id="19" name="TextBox 18"/>
          <p:cNvSpPr txBox="1"/>
          <p:nvPr/>
        </p:nvSpPr>
        <p:spPr bwMode="gray">
          <a:xfrm>
            <a:off x="336550" y="5345039"/>
            <a:ext cx="5601914" cy="571485"/>
          </a:xfrm>
          <a:prstGeom prst="rect">
            <a:avLst/>
          </a:prstGeom>
          <a:noFill/>
        </p:spPr>
        <p:txBody>
          <a:bodyPr wrap="square" lIns="72000" tIns="72000" rIns="72000" bIns="72000" rtlCol="0">
            <a:noAutofit/>
          </a:bodyPr>
          <a:lstStyle/>
          <a:p>
            <a:r>
              <a:rPr lang="en-US" sz="1600" dirty="0">
                <a:solidFill>
                  <a:schemeClr val="tx2"/>
                </a:solidFill>
              </a:rPr>
              <a:t>Effective optical pathlength up to 25 km = sufficient absorption even at trace levels</a:t>
            </a:r>
          </a:p>
        </p:txBody>
      </p:sp>
      <p:pic>
        <p:nvPicPr>
          <p:cNvPr id="14" name="Picture 14">
            <a:extLst>
              <a:ext uri="{FF2B5EF4-FFF2-40B4-BE49-F238E27FC236}">
                <a16:creationId xmlns:a16="http://schemas.microsoft.com/office/drawing/2014/main" id="{2D49F593-8807-405F-8FCF-00C0840BD107}"/>
              </a:ext>
            </a:extLst>
          </p:cNvPr>
          <p:cNvPicPr>
            <a:picLocks noGrp="1" noChangeAspect="1" noChangeArrowheads="1"/>
          </p:cNvPicPr>
          <p:nvPr>
            <p:ph sz="quarter" idx="19"/>
          </p:nvPr>
        </p:nvPicPr>
        <p:blipFill>
          <a:blip r:embed="rId3">
            <a:extLst>
              <a:ext uri="{28A0092B-C50C-407E-A947-70E740481C1C}">
                <a14:useLocalDpi xmlns:a14="http://schemas.microsoft.com/office/drawing/2010/main" val="0"/>
              </a:ext>
            </a:extLst>
          </a:blip>
          <a:stretch>
            <a:fillRect/>
          </a:stretch>
        </p:blipFill>
        <p:spPr bwMode="auto">
          <a:xfrm>
            <a:off x="6384310" y="2322425"/>
            <a:ext cx="5341231" cy="35941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0" name="Text Placeholder 9">
            <a:extLst>
              <a:ext uri="{FF2B5EF4-FFF2-40B4-BE49-F238E27FC236}">
                <a16:creationId xmlns:a16="http://schemas.microsoft.com/office/drawing/2014/main" id="{B8108089-6F4A-41FF-A64E-8B13DBB3C549}"/>
              </a:ext>
            </a:extLst>
          </p:cNvPr>
          <p:cNvSpPr>
            <a:spLocks noGrp="1"/>
          </p:cNvSpPr>
          <p:nvPr>
            <p:ph type="body" sz="quarter" idx="16"/>
          </p:nvPr>
        </p:nvSpPr>
        <p:spPr/>
        <p:txBody>
          <a:bodyPr/>
          <a:lstStyle/>
          <a:p>
            <a:r>
              <a:rPr lang="en-US" dirty="0"/>
              <a:t>Basic methodology</a:t>
            </a:r>
          </a:p>
        </p:txBody>
      </p:sp>
      <p:sp>
        <p:nvSpPr>
          <p:cNvPr id="21" name="Text Placeholder 9">
            <a:extLst>
              <a:ext uri="{FF2B5EF4-FFF2-40B4-BE49-F238E27FC236}">
                <a16:creationId xmlns:a16="http://schemas.microsoft.com/office/drawing/2014/main" id="{AD60E4AE-6657-44EE-B5B9-09543503C49F}"/>
              </a:ext>
            </a:extLst>
          </p:cNvPr>
          <p:cNvSpPr txBox="1">
            <a:spLocks/>
          </p:cNvSpPr>
          <p:nvPr/>
        </p:nvSpPr>
        <p:spPr bwMode="gray">
          <a:xfrm>
            <a:off x="6248064" y="1904203"/>
            <a:ext cx="5605200" cy="252000"/>
          </a:xfrm>
          <a:prstGeom prst="rect">
            <a:avLst/>
          </a:prstGeom>
        </p:spPr>
        <p:txBody>
          <a:bodyPr vert="horz" lIns="0" tIns="0" rIns="0" bIns="0" rtlCol="0" anchor="t">
            <a:noAutofit/>
          </a:bodyPr>
          <a:lstStyle>
            <a:lvl1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91" rtl="0" eaLnBrk="1" latinLnBrk="0" hangingPunct="1">
              <a:spcBef>
                <a:spcPts val="0"/>
              </a:spcBef>
              <a:buFont typeface="ABBvoiceOffice" panose="020D0603020503020204" pitchFamily="34" charset="0"/>
              <a:buNone/>
              <a:defRPr sz="1600" b="1" kern="1200">
                <a:solidFill>
                  <a:schemeClr val="tx2"/>
                </a:solidFill>
                <a:latin typeface="+mn-lt"/>
                <a:ea typeface="+mn-ea"/>
                <a:cs typeface="+mn-cs"/>
              </a:defRPr>
            </a:lvl2pPr>
            <a:lvl3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3pPr>
            <a:lvl4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4pPr>
            <a:lvl5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5pPr>
            <a:lvl6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6pPr>
            <a:lvl7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7pPr>
            <a:lvl8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8pPr>
            <a:lvl9pPr marL="0" indent="0" algn="l" defTabSz="914491"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9pPr>
          </a:lstStyle>
          <a:p>
            <a:r>
              <a:rPr lang="en-US" dirty="0"/>
              <a:t>Measurement (100-1000Hz)</a:t>
            </a:r>
          </a:p>
        </p:txBody>
      </p:sp>
    </p:spTree>
    <p:extLst>
      <p:ext uri="{BB962C8B-B14F-4D97-AF65-F5344CB8AC3E}">
        <p14:creationId xmlns:p14="http://schemas.microsoft.com/office/powerpoint/2010/main" val="4204112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168447-CD78-4F8A-AB4E-AC87144E559D}"/>
              </a:ext>
            </a:extLst>
          </p:cNvPr>
          <p:cNvSpPr>
            <a:spLocks noGrp="1"/>
          </p:cNvSpPr>
          <p:nvPr>
            <p:ph type="title"/>
          </p:nvPr>
        </p:nvSpPr>
        <p:spPr bwMode="gray">
          <a:xfrm>
            <a:off x="333264" y="682313"/>
            <a:ext cx="11520000" cy="396000"/>
          </a:xfrm>
        </p:spPr>
        <p:txBody>
          <a:bodyPr/>
          <a:lstStyle/>
          <a:p>
            <a:r>
              <a:rPr lang="en-US" dirty="0"/>
              <a:t>Overview</a:t>
            </a:r>
          </a:p>
        </p:txBody>
      </p:sp>
      <p:sp>
        <p:nvSpPr>
          <p:cNvPr id="7" name="Subtitle 6">
            <a:extLst>
              <a:ext uri="{FF2B5EF4-FFF2-40B4-BE49-F238E27FC236}">
                <a16:creationId xmlns:a16="http://schemas.microsoft.com/office/drawing/2014/main" id="{09CF7B58-7315-43E5-8590-7A47B8C7E10E}"/>
              </a:ext>
            </a:extLst>
          </p:cNvPr>
          <p:cNvSpPr>
            <a:spLocks noGrp="1"/>
          </p:cNvSpPr>
          <p:nvPr>
            <p:ph type="subTitle" idx="13"/>
          </p:nvPr>
        </p:nvSpPr>
        <p:spPr bwMode="gray"/>
        <p:txBody>
          <a:bodyPr/>
          <a:lstStyle/>
          <a:p>
            <a:r>
              <a:rPr lang="en-US" dirty="0"/>
              <a:t>ABB analytical solutions for Industrial Gas</a:t>
            </a:r>
          </a:p>
        </p:txBody>
      </p:sp>
      <p:graphicFrame>
        <p:nvGraphicFramePr>
          <p:cNvPr id="8" name="Group 324">
            <a:extLst>
              <a:ext uri="{FF2B5EF4-FFF2-40B4-BE49-F238E27FC236}">
                <a16:creationId xmlns:a16="http://schemas.microsoft.com/office/drawing/2014/main" id="{DC6804CB-0604-42F3-9226-1A6ADDF3BDDA}"/>
              </a:ext>
            </a:extLst>
          </p:cNvPr>
          <p:cNvGraphicFramePr>
            <a:graphicFrameLocks noGrp="1"/>
          </p:cNvGraphicFramePr>
          <p:nvPr>
            <p:ph sz="quarter" idx="4294967295"/>
            <p:extLst>
              <p:ext uri="{D42A27DB-BD31-4B8C-83A1-F6EECF244321}">
                <p14:modId xmlns:p14="http://schemas.microsoft.com/office/powerpoint/2010/main" val="458867710"/>
              </p:ext>
            </p:extLst>
          </p:nvPr>
        </p:nvGraphicFramePr>
        <p:xfrm>
          <a:off x="333264" y="1933573"/>
          <a:ext cx="11519997" cy="3684664"/>
        </p:xfrm>
        <a:graphic>
          <a:graphicData uri="http://schemas.openxmlformats.org/drawingml/2006/table">
            <a:tbl>
              <a:tblPr/>
              <a:tblGrid>
                <a:gridCol w="1222341">
                  <a:extLst>
                    <a:ext uri="{9D8B030D-6E8A-4147-A177-3AD203B41FA5}">
                      <a16:colId xmlns:a16="http://schemas.microsoft.com/office/drawing/2014/main" val="3417312483"/>
                    </a:ext>
                  </a:extLst>
                </a:gridCol>
                <a:gridCol w="3277652">
                  <a:extLst>
                    <a:ext uri="{9D8B030D-6E8A-4147-A177-3AD203B41FA5}">
                      <a16:colId xmlns:a16="http://schemas.microsoft.com/office/drawing/2014/main" val="1152078815"/>
                    </a:ext>
                  </a:extLst>
                </a:gridCol>
                <a:gridCol w="1989574">
                  <a:extLst>
                    <a:ext uri="{9D8B030D-6E8A-4147-A177-3AD203B41FA5}">
                      <a16:colId xmlns:a16="http://schemas.microsoft.com/office/drawing/2014/main" val="2636926498"/>
                    </a:ext>
                  </a:extLst>
                </a:gridCol>
                <a:gridCol w="1230208">
                  <a:extLst>
                    <a:ext uri="{9D8B030D-6E8A-4147-A177-3AD203B41FA5}">
                      <a16:colId xmlns:a16="http://schemas.microsoft.com/office/drawing/2014/main" val="824351"/>
                    </a:ext>
                  </a:extLst>
                </a:gridCol>
                <a:gridCol w="421778">
                  <a:extLst>
                    <a:ext uri="{9D8B030D-6E8A-4147-A177-3AD203B41FA5}">
                      <a16:colId xmlns:a16="http://schemas.microsoft.com/office/drawing/2014/main" val="1281896680"/>
                    </a:ext>
                  </a:extLst>
                </a:gridCol>
                <a:gridCol w="421778">
                  <a:extLst>
                    <a:ext uri="{9D8B030D-6E8A-4147-A177-3AD203B41FA5}">
                      <a16:colId xmlns:a16="http://schemas.microsoft.com/office/drawing/2014/main" val="2578867775"/>
                    </a:ext>
                  </a:extLst>
                </a:gridCol>
                <a:gridCol w="421778">
                  <a:extLst>
                    <a:ext uri="{9D8B030D-6E8A-4147-A177-3AD203B41FA5}">
                      <a16:colId xmlns:a16="http://schemas.microsoft.com/office/drawing/2014/main" val="2403795164"/>
                    </a:ext>
                  </a:extLst>
                </a:gridCol>
                <a:gridCol w="421778">
                  <a:extLst>
                    <a:ext uri="{9D8B030D-6E8A-4147-A177-3AD203B41FA5}">
                      <a16:colId xmlns:a16="http://schemas.microsoft.com/office/drawing/2014/main" val="2848958967"/>
                    </a:ext>
                  </a:extLst>
                </a:gridCol>
                <a:gridCol w="421778">
                  <a:extLst>
                    <a:ext uri="{9D8B030D-6E8A-4147-A177-3AD203B41FA5}">
                      <a16:colId xmlns:a16="http://schemas.microsoft.com/office/drawing/2014/main" val="2395450145"/>
                    </a:ext>
                  </a:extLst>
                </a:gridCol>
                <a:gridCol w="421778">
                  <a:extLst>
                    <a:ext uri="{9D8B030D-6E8A-4147-A177-3AD203B41FA5}">
                      <a16:colId xmlns:a16="http://schemas.microsoft.com/office/drawing/2014/main" val="3628318998"/>
                    </a:ext>
                  </a:extLst>
                </a:gridCol>
                <a:gridCol w="421778">
                  <a:extLst>
                    <a:ext uri="{9D8B030D-6E8A-4147-A177-3AD203B41FA5}">
                      <a16:colId xmlns:a16="http://schemas.microsoft.com/office/drawing/2014/main" val="2324759733"/>
                    </a:ext>
                  </a:extLst>
                </a:gridCol>
                <a:gridCol w="423888">
                  <a:extLst>
                    <a:ext uri="{9D8B030D-6E8A-4147-A177-3AD203B41FA5}">
                      <a16:colId xmlns:a16="http://schemas.microsoft.com/office/drawing/2014/main" val="3806767626"/>
                    </a:ext>
                  </a:extLst>
                </a:gridCol>
                <a:gridCol w="423888">
                  <a:extLst>
                    <a:ext uri="{9D8B030D-6E8A-4147-A177-3AD203B41FA5}">
                      <a16:colId xmlns:a16="http://schemas.microsoft.com/office/drawing/2014/main" val="1558616701"/>
                    </a:ext>
                  </a:extLst>
                </a:gridCol>
              </a:tblGrid>
              <a:tr h="920159">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nalyzer</a:t>
                      </a:r>
                    </a:p>
                  </a:txBody>
                  <a:tcPr marL="0" marR="0" marT="36000" marB="3600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Measuring principle(s)</a:t>
                      </a:r>
                    </a:p>
                  </a:txBody>
                  <a:tcPr marL="0" marR="0" marT="36000" marB="3600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Components</a:t>
                      </a:r>
                    </a:p>
                  </a:txBody>
                  <a:tcPr marL="0" marR="0" marT="36000" marB="3600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Units</a:t>
                      </a:r>
                    </a:p>
                  </a:txBody>
                  <a:tcPr marL="0" marR="0" marT="36000" marB="3600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SU</a:t>
                      </a:r>
                      <a:endPar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vert="vert270" anchor="ctr"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400" b="1" i="0" u="none" strike="noStrike" cap="none" normalizeH="0" baseline="0" noProof="0" dirty="0" err="1">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HyCO</a:t>
                      </a:r>
                      <a:endPar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vert="vert270" anchor="ctr"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CNG</a:t>
                      </a:r>
                      <a:endPar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vert="vert270" anchor="ctr"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LNG</a:t>
                      </a:r>
                      <a:endPar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vert="vert270" anchor="ctr"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Bio-CH</a:t>
                      </a:r>
                      <a:r>
                        <a:rPr kumimoji="0" lang="de-DE" altLang="en-US" sz="1400" b="1" i="0" u="none" strike="noStrike" cap="none" normalizeH="0" baseline="-2500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4</a:t>
                      </a:r>
                      <a:endParaRPr kumimoji="0" lang="en-US" altLang="en-US" sz="1400" b="1" i="0" u="none" strike="noStrike" cap="none" normalizeH="0" baseline="-2500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vert="vert270" anchor="ctr"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CO</a:t>
                      </a:r>
                      <a:r>
                        <a:rPr kumimoji="0" lang="de-DE" altLang="en-US" sz="1400" b="1" i="0" u="none" strike="noStrike" cap="none" normalizeH="0" baseline="-2500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400" b="1" i="0" u="none" strike="noStrike" cap="none" normalizeH="0" baseline="-2500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vert="vert270" anchor="ctr"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H</a:t>
                      </a:r>
                      <a:r>
                        <a:rPr kumimoji="0" lang="de-DE" altLang="en-US" sz="1400" b="1" i="0" u="none" strike="noStrike" cap="none" normalizeH="0" baseline="-2500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400" b="1" i="0" u="none" strike="noStrike" cap="none" normalizeH="0" baseline="-2500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vert="vert270" anchor="ctr"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400" b="1" i="0" u="none" strike="noStrike" cap="none" normalizeH="0" baseline="0" noProof="0" dirty="0" err="1">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Cylinder</a:t>
                      </a:r>
                      <a:endPar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vert="vert270" anchor="ctr"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400" b="1" i="0" u="none" strike="noStrike" cap="none" normalizeH="0" baseline="0" noProof="0" dirty="0" err="1">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Speciality</a:t>
                      </a:r>
                      <a:endPar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vert="vert270" anchor="ctr"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70671138"/>
                  </a:ext>
                </a:extLst>
              </a:tr>
              <a:tr h="36881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EL3000</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solidFill>
                  </a:tcPr>
                </a:tc>
                <a:tc rowSpan="2">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NDIR, NDUV, PMD, TCD, FID, ZrO</a:t>
                      </a:r>
                      <a:r>
                        <a:rPr kumimoji="0" lang="en-US" altLang="en-US" sz="1200" b="0" i="0" u="none" strike="noStrike" cap="none" normalizeH="0" baseline="-2500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 El. sensor</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rowSpan="2">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 CO</a:t>
                      </a:r>
                      <a:r>
                        <a:rPr kumimoji="0" lang="de-DE"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CH</a:t>
                      </a:r>
                      <a:r>
                        <a:rPr kumimoji="0" lang="de-DE" altLang="en-US" sz="1200" b="0" i="0" u="none" strike="noStrike" kern="1200"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4</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NO, N</a:t>
                      </a:r>
                      <a:r>
                        <a:rPr kumimoji="0" lang="de-DE" altLang="en-US" sz="1200" b="0" i="0" u="none" strike="noStrike" kern="1200"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 H</a:t>
                      </a:r>
                      <a:r>
                        <a:rPr kumimoji="0" lang="de-DE" altLang="en-US" sz="1200" b="0" i="0" u="none" strike="noStrike" kern="1200"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Ar, O</a:t>
                      </a:r>
                      <a:r>
                        <a:rPr kumimoji="0" lang="de-DE" altLang="en-US" sz="1200" b="0" i="0" u="none" strike="noStrike" kern="1200"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THC, CV/BTU</a:t>
                      </a:r>
                      <a:endPar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rowSpan="2">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pm </a:t>
                      </a:r>
                      <a:r>
                        <a:rPr kumimoji="0" lang="de-DE" altLang="en-US" sz="1200" b="0" i="0" u="none" strike="noStrike" cap="none" normalizeH="0" baseline="0" noProof="0" dirty="0" err="1">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to</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vol%</a:t>
                      </a:r>
                      <a:endPar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row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row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row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rowSpan="2">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row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row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row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row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rowSpan="2">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3254574409"/>
                  </a:ext>
                </a:extLst>
              </a:tr>
              <a:tr h="36881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AO2000</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vMerge="1">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32769597"/>
                  </a:ext>
                </a:extLst>
              </a:tr>
              <a:tr h="36657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AZ20</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ZrO</a:t>
                      </a:r>
                      <a:r>
                        <a:rPr kumimoji="0" lang="en-US" altLang="en-US" sz="1200" b="0" i="0" u="none" strike="noStrike" cap="none" normalizeH="0" baseline="-2500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de-DE"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de-DE" altLang="en-US" sz="1200" b="0" i="0" u="none" strike="noStrike" kern="1200" cap="none" spc="0" normalizeH="0" baseline="0" noProof="0" dirty="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rPr>
                        <a:t>vol%</a:t>
                      </a:r>
                      <a:endParaRPr kumimoji="0" lang="en-US" altLang="en-US" sz="1200" b="0" i="0" u="none" strike="noStrike" kern="1200" cap="none" spc="0" normalizeH="0" baseline="0" noProof="0" dirty="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898803511"/>
                  </a:ext>
                </a:extLst>
              </a:tr>
              <a:tr h="36657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PGC1000</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Gas Chromatograph – TCD</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1-C9+, CV/BTU, H</a:t>
                      </a:r>
                      <a:r>
                        <a:rPr kumimoji="0" lang="de-DE"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S</a:t>
                      </a:r>
                      <a:endPar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pm </a:t>
                      </a:r>
                      <a:r>
                        <a:rPr kumimoji="0" lang="de-DE" altLang="en-US" sz="1200" b="0" i="0" u="none" strike="noStrike" cap="none" normalizeH="0" baseline="0" noProof="0" dirty="0" err="1">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to</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vol%</a:t>
                      </a:r>
                      <a:endPar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099789432"/>
                  </a:ext>
                </a:extLst>
              </a:tr>
              <a:tr h="366573">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1" i="0" u="none" strike="noStrike" kern="1200" cap="none" spc="0" normalizeH="0" baseline="0" noProof="0" dirty="0">
                          <a:ln>
                            <a:noFill/>
                          </a:ln>
                          <a:solidFill>
                            <a:sysClr val="windowText" lastClr="000000"/>
                          </a:solidFill>
                          <a:effectLst/>
                          <a:uLnTx/>
                          <a:uFillTx/>
                          <a:latin typeface="ABBvoice" panose="020D0603020503020204" pitchFamily="34" charset="0"/>
                          <a:ea typeface="ABBvoice" panose="020D0603020503020204" pitchFamily="34" charset="0"/>
                          <a:cs typeface="ABBvoice" panose="020D0603020503020204" pitchFamily="34" charset="0"/>
                        </a:rPr>
                        <a:t>PGC5000</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ysClr val="windowText" lastClr="000000"/>
                          </a:solidFill>
                          <a:effectLst/>
                          <a:uLnTx/>
                          <a:uFillTx/>
                          <a:latin typeface="ABBvoice" panose="020D0603020503020204" pitchFamily="34" charset="0"/>
                          <a:ea typeface="ABBvoice" panose="020D0603020503020204" pitchFamily="34" charset="0"/>
                          <a:cs typeface="ABBvoice" panose="020D0603020503020204" pitchFamily="34" charset="0"/>
                        </a:rPr>
                        <a:t>Gas Chromatograph – TCD, FPD, FID, DID</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1-C9+, H</a:t>
                      </a:r>
                      <a:r>
                        <a:rPr kumimoji="0" lang="de-DE"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H</a:t>
                      </a:r>
                      <a:r>
                        <a:rPr kumimoji="0" lang="de-DE"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S, CO, CO</a:t>
                      </a:r>
                      <a:r>
                        <a:rPr kumimoji="0" lang="de-DE"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pm </a:t>
                      </a:r>
                      <a:r>
                        <a:rPr kumimoji="0" lang="de-DE" altLang="en-US" sz="1200" b="0" i="0" u="none" strike="noStrike" cap="none" normalizeH="0" baseline="0" noProof="0" dirty="0" err="1">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to</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vol%</a:t>
                      </a:r>
                      <a:endPar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18023465"/>
                  </a:ext>
                </a:extLst>
              </a:tr>
              <a:tr h="36657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RVP4500</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Reid Vapor Pressure</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200" b="0" i="0" u="none" strike="noStrike" kern="1200"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RVP</a:t>
                      </a:r>
                      <a:endParaRPr kumimoji="0" lang="en-US" altLang="en-US" sz="1200" b="0" i="0" u="none" strike="noStrike" kern="1200"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de-DE" altLang="en-US" sz="1200" b="0" i="0" u="none" strike="noStrike" kern="1200" cap="none" spc="0" normalizeH="0" baseline="0" noProof="0" dirty="0" err="1">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rPr>
                        <a:t>psi</a:t>
                      </a:r>
                      <a:endParaRPr kumimoji="0" lang="en-US" altLang="en-US" sz="1200" b="0" i="0" u="none" strike="noStrike" kern="1200" cap="none" spc="0" normalizeH="0" baseline="0" noProof="0" dirty="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2940310977"/>
                  </a:ext>
                </a:extLst>
              </a:tr>
              <a:tr h="560591">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LGR-ICOS 950</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Off-Axis ICOS laser technolog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HCl, HF, NH</a:t>
                      </a:r>
                      <a:r>
                        <a:rPr kumimoji="0" lang="de-DE"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3</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H</a:t>
                      </a:r>
                      <a:r>
                        <a:rPr kumimoji="0" lang="de-DE"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S, H</a:t>
                      </a:r>
                      <a:r>
                        <a:rPr kumimoji="0" lang="de-DE"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 CO, CO</a:t>
                      </a:r>
                      <a:r>
                        <a:rPr kumimoji="0" lang="de-DE"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de-DE"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O</a:t>
                      </a:r>
                      <a:r>
                        <a:rPr kumimoji="0" lang="de-DE"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de-DE" altLang="en-US" sz="1200" b="0" i="0" u="none" strike="noStrike" kern="1200" cap="none" spc="0" normalizeH="0" baseline="0" noProof="0" dirty="0" err="1">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rPr>
                        <a:t>ppt</a:t>
                      </a:r>
                      <a:r>
                        <a:rPr kumimoji="0" lang="de-DE" altLang="en-US" sz="1200" b="0" i="0" u="none" strike="noStrike" kern="1200" cap="none" spc="0" normalizeH="0" baseline="0" noProof="0" dirty="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rPr>
                        <a:t> </a:t>
                      </a:r>
                      <a:r>
                        <a:rPr kumimoji="0" lang="de-DE" altLang="en-US" sz="1200" b="0" i="0" u="none" strike="noStrike" kern="1200" cap="none" spc="0" normalizeH="0" baseline="0" noProof="0" dirty="0" err="1">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rPr>
                        <a:t>to</a:t>
                      </a:r>
                      <a:r>
                        <a:rPr kumimoji="0" lang="de-DE" altLang="en-US" sz="1200" b="0" i="0" u="none" strike="noStrike" kern="1200" cap="none" spc="0" normalizeH="0" baseline="0" noProof="0" dirty="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rPr>
                        <a:t> ppm</a:t>
                      </a:r>
                      <a:endParaRPr kumimoji="0" lang="en-US" altLang="en-US" sz="1200" b="0" i="0" u="none" strike="noStrike" kern="1200" cap="none" spc="0" normalizeH="0" baseline="0" noProof="0" dirty="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 latinLnBrk="0" hangingPunct="1">
                        <a:lnSpc>
                          <a:spcPct val="100000"/>
                        </a:lnSpc>
                        <a:spcBef>
                          <a:spcPct val="0"/>
                        </a:spcBef>
                        <a:spcAft>
                          <a:spcPct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X</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19933144"/>
                  </a:ext>
                </a:extLst>
              </a:tr>
            </a:tbl>
          </a:graphicData>
        </a:graphic>
      </p:graphicFrame>
      <p:sp>
        <p:nvSpPr>
          <p:cNvPr id="2" name="Date Placeholder 1">
            <a:extLst>
              <a:ext uri="{FF2B5EF4-FFF2-40B4-BE49-F238E27FC236}">
                <a16:creationId xmlns:a16="http://schemas.microsoft.com/office/drawing/2014/main" id="{A33D8556-BB43-471A-B444-EF673DCC1B03}"/>
              </a:ext>
            </a:extLst>
          </p:cNvPr>
          <p:cNvSpPr>
            <a:spLocks noGrp="1"/>
          </p:cNvSpPr>
          <p:nvPr>
            <p:ph type="dt" sz="half" idx="14"/>
          </p:nvPr>
        </p:nvSpPr>
        <p:spPr bwMode="gray"/>
        <p:txBody>
          <a:bodyPr/>
          <a:lstStyle/>
          <a:p>
            <a:fld id="{25150489-AA4E-4345-9853-598A514D4B7E}" type="datetime4">
              <a:rPr lang="en-US" smtClean="0"/>
              <a:t>September 8, 2019</a:t>
            </a:fld>
            <a:endParaRPr lang="en-US"/>
          </a:p>
        </p:txBody>
      </p:sp>
      <p:sp>
        <p:nvSpPr>
          <p:cNvPr id="77" name="Slide Number Placeholder 76">
            <a:extLst>
              <a:ext uri="{FF2B5EF4-FFF2-40B4-BE49-F238E27FC236}">
                <a16:creationId xmlns:a16="http://schemas.microsoft.com/office/drawing/2014/main" id="{80837501-02ED-401C-AEF4-932D0EC1A8FD}"/>
              </a:ext>
            </a:extLst>
          </p:cNvPr>
          <p:cNvSpPr>
            <a:spLocks noGrp="1"/>
          </p:cNvSpPr>
          <p:nvPr>
            <p:ph type="sldNum" sz="quarter" idx="16"/>
          </p:nvPr>
        </p:nvSpPr>
        <p:spPr bwMode="gray"/>
        <p:txBody>
          <a:bodyPr/>
          <a:lstStyle/>
          <a:p>
            <a:r>
              <a:rPr lang="en-US"/>
              <a:t>Slide </a:t>
            </a:r>
            <a:fld id="{619F89D8-7AE3-494A-97F3-03D680869632}" type="slidenum">
              <a:rPr lang="en-US" smtClean="0"/>
              <a:pPr/>
              <a:t>27</a:t>
            </a:fld>
            <a:endParaRPr lang="en-US"/>
          </a:p>
        </p:txBody>
      </p:sp>
      <p:sp>
        <p:nvSpPr>
          <p:cNvPr id="78" name="Footer Placeholder 77">
            <a:extLst>
              <a:ext uri="{FF2B5EF4-FFF2-40B4-BE49-F238E27FC236}">
                <a16:creationId xmlns:a16="http://schemas.microsoft.com/office/drawing/2014/main" id="{FF3B893F-4E82-4EC2-B899-A02D7304B9C9}"/>
              </a:ext>
            </a:extLst>
          </p:cNvPr>
          <p:cNvSpPr>
            <a:spLocks noGrp="1"/>
          </p:cNvSpPr>
          <p:nvPr>
            <p:ph type="ftr" sz="quarter" idx="15"/>
          </p:nvPr>
        </p:nvSpPr>
        <p:spPr bwMode="gray"/>
        <p:txBody>
          <a:bodyPr/>
          <a:lstStyle/>
          <a:p>
            <a:pPr lvl="8"/>
            <a:r>
              <a:rPr lang="en-US"/>
              <a:t>* THC - Total hydrocarbons</a:t>
            </a:r>
          </a:p>
        </p:txBody>
      </p:sp>
    </p:spTree>
    <p:custDataLst>
      <p:tags r:id="rId1"/>
    </p:custDataLst>
    <p:extLst>
      <p:ext uri="{BB962C8B-B14F-4D97-AF65-F5344CB8AC3E}">
        <p14:creationId xmlns:p14="http://schemas.microsoft.com/office/powerpoint/2010/main" val="390619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6E616-9568-47B7-8FA4-BA93BAB2990F}"/>
              </a:ext>
            </a:extLst>
          </p:cNvPr>
          <p:cNvSpPr>
            <a:spLocks noGrp="1"/>
          </p:cNvSpPr>
          <p:nvPr>
            <p:ph type="ctrTitle"/>
          </p:nvPr>
        </p:nvSpPr>
        <p:spPr bwMode="gray"/>
        <p:txBody>
          <a:bodyPr/>
          <a:lstStyle/>
          <a:p>
            <a:r>
              <a:rPr lang="de-DE" dirty="0"/>
              <a:t>Air </a:t>
            </a:r>
            <a:r>
              <a:rPr lang="de-DE" dirty="0" err="1"/>
              <a:t>separation</a:t>
            </a:r>
            <a:r>
              <a:rPr lang="de-DE" dirty="0"/>
              <a:t> &amp; </a:t>
            </a:r>
            <a:r>
              <a:rPr lang="de-DE" dirty="0" err="1"/>
              <a:t>argon</a:t>
            </a:r>
            <a:r>
              <a:rPr lang="de-DE" dirty="0"/>
              <a:t> </a:t>
            </a:r>
            <a:r>
              <a:rPr lang="de-DE" dirty="0" err="1"/>
              <a:t>purification</a:t>
            </a:r>
            <a:endParaRPr lang="de-DE" dirty="0"/>
          </a:p>
        </p:txBody>
      </p:sp>
      <p:sp>
        <p:nvSpPr>
          <p:cNvPr id="3" name="Subtitle 2">
            <a:extLst>
              <a:ext uri="{FF2B5EF4-FFF2-40B4-BE49-F238E27FC236}">
                <a16:creationId xmlns:a16="http://schemas.microsoft.com/office/drawing/2014/main" id="{53D52D07-37D4-4616-A8ED-3B0544E9DA19}"/>
              </a:ext>
            </a:extLst>
          </p:cNvPr>
          <p:cNvSpPr>
            <a:spLocks noGrp="1"/>
          </p:cNvSpPr>
          <p:nvPr>
            <p:ph type="subTitle" idx="1"/>
          </p:nvPr>
        </p:nvSpPr>
        <p:spPr bwMode="gray"/>
        <p:txBody>
          <a:bodyPr/>
          <a:lstStyle/>
          <a:p>
            <a:endParaRPr lang="de-DE"/>
          </a:p>
        </p:txBody>
      </p:sp>
    </p:spTree>
    <p:custDataLst>
      <p:tags r:id="rId1"/>
    </p:custDataLst>
    <p:extLst>
      <p:ext uri="{BB962C8B-B14F-4D97-AF65-F5344CB8AC3E}">
        <p14:creationId xmlns:p14="http://schemas.microsoft.com/office/powerpoint/2010/main" val="3407830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829" name="Straight Connector 828">
            <a:extLst>
              <a:ext uri="{FF2B5EF4-FFF2-40B4-BE49-F238E27FC236}">
                <a16:creationId xmlns:a16="http://schemas.microsoft.com/office/drawing/2014/main" id="{1F0E9A69-C047-4CF9-B777-45BA115EBC46}"/>
              </a:ext>
            </a:extLst>
          </p:cNvPr>
          <p:cNvCxnSpPr>
            <a:cxnSpLocks/>
          </p:cNvCxnSpPr>
          <p:nvPr/>
        </p:nvCxnSpPr>
        <p:spPr bwMode="gray">
          <a:xfrm>
            <a:off x="1432560" y="3717386"/>
            <a:ext cx="1639670" cy="0"/>
          </a:xfrm>
          <a:prstGeom prst="line">
            <a:avLst/>
          </a:prstGeom>
          <a:ln w="12700" cap="rnd">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827" name="Inhaltsplatzhalter 5">
            <a:extLst>
              <a:ext uri="{FF2B5EF4-FFF2-40B4-BE49-F238E27FC236}">
                <a16:creationId xmlns:a16="http://schemas.microsoft.com/office/drawing/2014/main" id="{45203033-91D9-4D61-93AB-371B6EB431CD}"/>
              </a:ext>
            </a:extLst>
          </p:cNvPr>
          <p:cNvSpPr txBox="1">
            <a:spLocks/>
          </p:cNvSpPr>
          <p:nvPr/>
        </p:nvSpPr>
        <p:spPr bwMode="gray">
          <a:xfrm flipH="1">
            <a:off x="348628" y="4353071"/>
            <a:ext cx="1192627" cy="713201"/>
          </a:xfrm>
          <a:prstGeom prst="rect">
            <a:avLst/>
          </a:prstGeom>
          <a:noFill/>
          <a:ln cap="rnd">
            <a:noFill/>
          </a:ln>
          <a:effectLst/>
          <a:scene3d>
            <a:camera prst="orthographicFront">
              <a:rot lat="0" lon="0" rev="0"/>
            </a:camera>
            <a:lightRig rig="threePt" dir="t"/>
          </a:scene3d>
        </p:spPr>
        <p:txBody>
          <a:bodyPr wrap="square" lIns="0" tIns="0" rIns="0" bIns="0" numCol="1" spcCol="72000" rtlCol="0" anchor="ctr">
            <a:noAutofit/>
            <a:scene3d>
              <a:camera prst="isometricLeftDown"/>
              <a:lightRig rig="threePt" dir="t"/>
            </a:scene3d>
          </a:bodyPr>
          <a:lstStyle>
            <a:defPPr>
              <a:defRPr lang="en-US"/>
            </a:defPPr>
            <a:lvl1pPr>
              <a:lnSpc>
                <a:spcPct val="100000"/>
              </a:lnSpc>
              <a:spcBef>
                <a:spcPts val="0"/>
              </a:spcBef>
              <a:defRPr sz="1400" b="1">
                <a:ea typeface="Verdana" panose="020B0604030504040204" pitchFamily="34" charset="0"/>
              </a:defRPr>
            </a:lvl1pPr>
            <a:lvl2pPr marL="180018" lvl="1" indent="-180018" defTabSz="914491">
              <a:spcBef>
                <a:spcPts val="600"/>
              </a:spcBef>
              <a:buFont typeface="ABBvoiceOffice" panose="020D0603020503020204" pitchFamily="34" charset="0"/>
              <a:buChar char="–"/>
              <a:defRPr sz="8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t>1 </a:t>
            </a:r>
          </a:p>
          <a:p>
            <a:r>
              <a:rPr lang="en-US" dirty="0">
                <a:solidFill>
                  <a:schemeClr val="bg2"/>
                </a:solidFill>
              </a:rPr>
              <a:t>Ambient air drawn in &amp; compressed</a:t>
            </a:r>
          </a:p>
          <a:p>
            <a:pPr lvl="1"/>
            <a:endParaRPr lang="en-US" dirty="0"/>
          </a:p>
        </p:txBody>
      </p:sp>
      <p:cxnSp>
        <p:nvCxnSpPr>
          <p:cNvPr id="623" name="Straight Connector 622">
            <a:extLst>
              <a:ext uri="{FF2B5EF4-FFF2-40B4-BE49-F238E27FC236}">
                <a16:creationId xmlns:a16="http://schemas.microsoft.com/office/drawing/2014/main" id="{E11B6738-EE72-492E-8816-809B07AC967D}"/>
              </a:ext>
            </a:extLst>
          </p:cNvPr>
          <p:cNvCxnSpPr>
            <a:cxnSpLocks/>
          </p:cNvCxnSpPr>
          <p:nvPr/>
        </p:nvCxnSpPr>
        <p:spPr bwMode="gray">
          <a:xfrm>
            <a:off x="513577" y="4337146"/>
            <a:ext cx="2120299" cy="0"/>
          </a:xfrm>
          <a:prstGeom prst="line">
            <a:avLst/>
          </a:prstGeom>
          <a:ln w="12700" cap="rnd">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sp>
        <p:nvSpPr>
          <p:cNvPr id="688" name="Freeform: Shape 687">
            <a:extLst>
              <a:ext uri="{FF2B5EF4-FFF2-40B4-BE49-F238E27FC236}">
                <a16:creationId xmlns:a16="http://schemas.microsoft.com/office/drawing/2014/main" id="{8ECF29C7-986C-4DD3-BFA3-BDDBF8577B3C}"/>
              </a:ext>
            </a:extLst>
          </p:cNvPr>
          <p:cNvSpPr/>
          <p:nvPr/>
        </p:nvSpPr>
        <p:spPr bwMode="gray">
          <a:xfrm rot="3600000" flipV="1">
            <a:off x="8492394" y="1249579"/>
            <a:ext cx="83805" cy="2611142"/>
          </a:xfrm>
          <a:custGeom>
            <a:avLst/>
            <a:gdLst>
              <a:gd name="connsiteX0" fmla="*/ 0 w 83805"/>
              <a:gd name="connsiteY0" fmla="*/ 2476145 h 2611142"/>
              <a:gd name="connsiteX1" fmla="*/ 77940 w 83805"/>
              <a:gd name="connsiteY1" fmla="*/ 2611142 h 2611142"/>
              <a:gd name="connsiteX2" fmla="*/ 83805 w 83805"/>
              <a:gd name="connsiteY2" fmla="*/ 0 h 2611142"/>
              <a:gd name="connsiteX3" fmla="*/ 1376 w 83805"/>
              <a:gd name="connsiteY3" fmla="*/ 47692 h 2611142"/>
              <a:gd name="connsiteX4" fmla="*/ 1376 w 83805"/>
              <a:gd name="connsiteY4" fmla="*/ 2030004 h 2611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5" h="2611142">
                <a:moveTo>
                  <a:pt x="0" y="2476145"/>
                </a:moveTo>
                <a:lnTo>
                  <a:pt x="77940" y="2611142"/>
                </a:lnTo>
                <a:lnTo>
                  <a:pt x="83805" y="0"/>
                </a:lnTo>
                <a:lnTo>
                  <a:pt x="1376" y="47692"/>
                </a:lnTo>
                <a:cubicBezTo>
                  <a:pt x="1376" y="708463"/>
                  <a:pt x="1376" y="1369234"/>
                  <a:pt x="1376" y="2030004"/>
                </a:cubicBezTo>
                <a:close/>
              </a:path>
            </a:pathLst>
          </a:custGeom>
          <a:gradFill>
            <a:gsLst>
              <a:gs pos="100000">
                <a:schemeClr val="bg1">
                  <a:alpha val="0"/>
                </a:schemeClr>
              </a:gs>
              <a:gs pos="0">
                <a:schemeClr val="bg1"/>
              </a:gs>
            </a:gsLst>
            <a:lin ang="5400000" scaled="0"/>
          </a:gradFill>
          <a:ln w="12700" cap="rnd">
            <a:gradFill>
              <a:gsLst>
                <a:gs pos="0">
                  <a:schemeClr val="accent2"/>
                </a:gs>
                <a:gs pos="100000">
                  <a:schemeClr val="bg1">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nvGrpSpPr>
          <p:cNvPr id="408" name="Group 407">
            <a:extLst>
              <a:ext uri="{FF2B5EF4-FFF2-40B4-BE49-F238E27FC236}">
                <a16:creationId xmlns:a16="http://schemas.microsoft.com/office/drawing/2014/main" id="{52324D28-5338-46B7-BAFD-2409EC094E40}"/>
              </a:ext>
            </a:extLst>
          </p:cNvPr>
          <p:cNvGrpSpPr/>
          <p:nvPr/>
        </p:nvGrpSpPr>
        <p:grpSpPr bwMode="gray">
          <a:xfrm rot="5400000">
            <a:off x="6181874" y="2652122"/>
            <a:ext cx="1549901" cy="932967"/>
            <a:chOff x="3394149" y="4370013"/>
            <a:chExt cx="1107534" cy="666684"/>
          </a:xfrm>
        </p:grpSpPr>
        <p:sp>
          <p:nvSpPr>
            <p:cNvPr id="409" name="Freeform: Shape 408">
              <a:extLst>
                <a:ext uri="{FF2B5EF4-FFF2-40B4-BE49-F238E27FC236}">
                  <a16:creationId xmlns:a16="http://schemas.microsoft.com/office/drawing/2014/main" id="{6FC09E38-EF3E-412C-8976-F53B5D1E5AA5}"/>
                </a:ext>
              </a:extLst>
            </p:cNvPr>
            <p:cNvSpPr/>
            <p:nvPr/>
          </p:nvSpPr>
          <p:spPr bwMode="gray">
            <a:xfrm rot="16200000">
              <a:off x="3748912" y="4283925"/>
              <a:ext cx="666683" cy="838859"/>
            </a:xfrm>
            <a:custGeom>
              <a:avLst/>
              <a:gdLst>
                <a:gd name="connsiteX0" fmla="*/ 666683 w 666683"/>
                <a:gd name="connsiteY0" fmla="*/ 0 h 838859"/>
                <a:gd name="connsiteX1" fmla="*/ 666683 w 666683"/>
                <a:gd name="connsiteY1" fmla="*/ 169071 h 838859"/>
                <a:gd name="connsiteX2" fmla="*/ 666683 w 666683"/>
                <a:gd name="connsiteY2" fmla="*/ 202211 h 838859"/>
                <a:gd name="connsiteX3" fmla="*/ 666683 w 666683"/>
                <a:gd name="connsiteY3" fmla="*/ 349050 h 838859"/>
                <a:gd name="connsiteX4" fmla="*/ 666683 w 666683"/>
                <a:gd name="connsiteY4" fmla="*/ 371282 h 838859"/>
                <a:gd name="connsiteX5" fmla="*/ 666683 w 666683"/>
                <a:gd name="connsiteY5" fmla="*/ 518120 h 838859"/>
                <a:gd name="connsiteX6" fmla="*/ 666683 w 666683"/>
                <a:gd name="connsiteY6" fmla="*/ 523574 h 838859"/>
                <a:gd name="connsiteX7" fmla="*/ 666683 w 666683"/>
                <a:gd name="connsiteY7" fmla="*/ 551260 h 838859"/>
                <a:gd name="connsiteX8" fmla="*/ 666683 w 666683"/>
                <a:gd name="connsiteY8" fmla="*/ 644511 h 838859"/>
                <a:gd name="connsiteX9" fmla="*/ 333342 w 666683"/>
                <a:gd name="connsiteY9" fmla="*/ 838859 h 838859"/>
                <a:gd name="connsiteX10" fmla="*/ 0 w 666683"/>
                <a:gd name="connsiteY10" fmla="*/ 644511 h 838859"/>
                <a:gd name="connsiteX11" fmla="*/ 0 w 666683"/>
                <a:gd name="connsiteY11" fmla="*/ 551260 h 838859"/>
                <a:gd name="connsiteX12" fmla="*/ 0 w 666683"/>
                <a:gd name="connsiteY12" fmla="*/ 523574 h 838859"/>
                <a:gd name="connsiteX13" fmla="*/ 0 w 666683"/>
                <a:gd name="connsiteY13" fmla="*/ 518120 h 838859"/>
                <a:gd name="connsiteX14" fmla="*/ 0 w 666683"/>
                <a:gd name="connsiteY14" fmla="*/ 371282 h 838859"/>
                <a:gd name="connsiteX15" fmla="*/ 0 w 666683"/>
                <a:gd name="connsiteY15" fmla="*/ 349050 h 838859"/>
                <a:gd name="connsiteX16" fmla="*/ 0 w 666683"/>
                <a:gd name="connsiteY16" fmla="*/ 202211 h 838859"/>
                <a:gd name="connsiteX17" fmla="*/ 0 w 666683"/>
                <a:gd name="connsiteY17" fmla="*/ 169071 h 838859"/>
                <a:gd name="connsiteX18" fmla="*/ 0 w 666683"/>
                <a:gd name="connsiteY18" fmla="*/ 0 h 838859"/>
                <a:gd name="connsiteX19" fmla="*/ 333342 w 666683"/>
                <a:gd name="connsiteY19" fmla="*/ 194348 h 838859"/>
                <a:gd name="connsiteX20" fmla="*/ 666683 w 666683"/>
                <a:gd name="connsiteY20" fmla="*/ 0 h 838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6683" h="838859">
                  <a:moveTo>
                    <a:pt x="666683" y="0"/>
                  </a:moveTo>
                  <a:lnTo>
                    <a:pt x="666683" y="169071"/>
                  </a:lnTo>
                  <a:lnTo>
                    <a:pt x="666683" y="202211"/>
                  </a:lnTo>
                  <a:lnTo>
                    <a:pt x="666683" y="349050"/>
                  </a:lnTo>
                  <a:lnTo>
                    <a:pt x="666683" y="371282"/>
                  </a:lnTo>
                  <a:lnTo>
                    <a:pt x="666683" y="518120"/>
                  </a:lnTo>
                  <a:lnTo>
                    <a:pt x="666683" y="523574"/>
                  </a:lnTo>
                  <a:lnTo>
                    <a:pt x="666683" y="551260"/>
                  </a:lnTo>
                  <a:lnTo>
                    <a:pt x="666683" y="644511"/>
                  </a:lnTo>
                  <a:cubicBezTo>
                    <a:pt x="666683" y="751847"/>
                    <a:pt x="517442" y="838859"/>
                    <a:pt x="333342" y="838859"/>
                  </a:cubicBezTo>
                  <a:cubicBezTo>
                    <a:pt x="149242" y="838859"/>
                    <a:pt x="0" y="751847"/>
                    <a:pt x="0" y="644511"/>
                  </a:cubicBezTo>
                  <a:lnTo>
                    <a:pt x="0" y="551260"/>
                  </a:lnTo>
                  <a:lnTo>
                    <a:pt x="0" y="523574"/>
                  </a:lnTo>
                  <a:lnTo>
                    <a:pt x="0" y="518120"/>
                  </a:lnTo>
                  <a:lnTo>
                    <a:pt x="0" y="371282"/>
                  </a:lnTo>
                  <a:lnTo>
                    <a:pt x="0" y="349050"/>
                  </a:lnTo>
                  <a:lnTo>
                    <a:pt x="0" y="202211"/>
                  </a:lnTo>
                  <a:lnTo>
                    <a:pt x="0" y="169071"/>
                  </a:lnTo>
                  <a:lnTo>
                    <a:pt x="0" y="0"/>
                  </a:lnTo>
                  <a:cubicBezTo>
                    <a:pt x="0" y="107336"/>
                    <a:pt x="149242" y="194348"/>
                    <a:pt x="333342" y="194348"/>
                  </a:cubicBezTo>
                  <a:cubicBezTo>
                    <a:pt x="517442" y="194348"/>
                    <a:pt x="666683" y="107336"/>
                    <a:pt x="666683" y="0"/>
                  </a:cubicBez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10" name="Oval 386">
              <a:extLst>
                <a:ext uri="{FF2B5EF4-FFF2-40B4-BE49-F238E27FC236}">
                  <a16:creationId xmlns:a16="http://schemas.microsoft.com/office/drawing/2014/main" id="{FD009217-82E9-41DF-BC3C-FA6ED3727487}"/>
                </a:ext>
              </a:extLst>
            </p:cNvPr>
            <p:cNvSpPr/>
            <p:nvPr/>
          </p:nvSpPr>
          <p:spPr bwMode="gray">
            <a:xfrm rot="16200000">
              <a:off x="3293639" y="4470523"/>
              <a:ext cx="666684" cy="465663"/>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grpSp>
        <p:nvGrpSpPr>
          <p:cNvPr id="381" name="Group 380">
            <a:extLst>
              <a:ext uri="{FF2B5EF4-FFF2-40B4-BE49-F238E27FC236}">
                <a16:creationId xmlns:a16="http://schemas.microsoft.com/office/drawing/2014/main" id="{E6F2B530-F669-4113-A9CF-26BC2E72C9DD}"/>
              </a:ext>
            </a:extLst>
          </p:cNvPr>
          <p:cNvGrpSpPr/>
          <p:nvPr/>
        </p:nvGrpSpPr>
        <p:grpSpPr bwMode="gray">
          <a:xfrm rot="5400000">
            <a:off x="5467043" y="3076910"/>
            <a:ext cx="1549901" cy="932967"/>
            <a:chOff x="3394149" y="4370013"/>
            <a:chExt cx="1107534" cy="666684"/>
          </a:xfrm>
        </p:grpSpPr>
        <p:sp>
          <p:nvSpPr>
            <p:cNvPr id="383" name="Freeform: Shape 382">
              <a:extLst>
                <a:ext uri="{FF2B5EF4-FFF2-40B4-BE49-F238E27FC236}">
                  <a16:creationId xmlns:a16="http://schemas.microsoft.com/office/drawing/2014/main" id="{66C93887-7BD0-4012-A9BD-43E6F162CA80}"/>
                </a:ext>
              </a:extLst>
            </p:cNvPr>
            <p:cNvSpPr/>
            <p:nvPr/>
          </p:nvSpPr>
          <p:spPr bwMode="gray">
            <a:xfrm rot="16200000">
              <a:off x="3748912" y="4283925"/>
              <a:ext cx="666683" cy="838859"/>
            </a:xfrm>
            <a:custGeom>
              <a:avLst/>
              <a:gdLst>
                <a:gd name="connsiteX0" fmla="*/ 666683 w 666683"/>
                <a:gd name="connsiteY0" fmla="*/ 0 h 838859"/>
                <a:gd name="connsiteX1" fmla="*/ 666683 w 666683"/>
                <a:gd name="connsiteY1" fmla="*/ 169071 h 838859"/>
                <a:gd name="connsiteX2" fmla="*/ 666683 w 666683"/>
                <a:gd name="connsiteY2" fmla="*/ 202211 h 838859"/>
                <a:gd name="connsiteX3" fmla="*/ 666683 w 666683"/>
                <a:gd name="connsiteY3" fmla="*/ 349050 h 838859"/>
                <a:gd name="connsiteX4" fmla="*/ 666683 w 666683"/>
                <a:gd name="connsiteY4" fmla="*/ 371282 h 838859"/>
                <a:gd name="connsiteX5" fmla="*/ 666683 w 666683"/>
                <a:gd name="connsiteY5" fmla="*/ 518120 h 838859"/>
                <a:gd name="connsiteX6" fmla="*/ 666683 w 666683"/>
                <a:gd name="connsiteY6" fmla="*/ 523574 h 838859"/>
                <a:gd name="connsiteX7" fmla="*/ 666683 w 666683"/>
                <a:gd name="connsiteY7" fmla="*/ 551260 h 838859"/>
                <a:gd name="connsiteX8" fmla="*/ 666683 w 666683"/>
                <a:gd name="connsiteY8" fmla="*/ 644511 h 838859"/>
                <a:gd name="connsiteX9" fmla="*/ 333342 w 666683"/>
                <a:gd name="connsiteY9" fmla="*/ 838859 h 838859"/>
                <a:gd name="connsiteX10" fmla="*/ 0 w 666683"/>
                <a:gd name="connsiteY10" fmla="*/ 644511 h 838859"/>
                <a:gd name="connsiteX11" fmla="*/ 0 w 666683"/>
                <a:gd name="connsiteY11" fmla="*/ 551260 h 838859"/>
                <a:gd name="connsiteX12" fmla="*/ 0 w 666683"/>
                <a:gd name="connsiteY12" fmla="*/ 523574 h 838859"/>
                <a:gd name="connsiteX13" fmla="*/ 0 w 666683"/>
                <a:gd name="connsiteY13" fmla="*/ 518120 h 838859"/>
                <a:gd name="connsiteX14" fmla="*/ 0 w 666683"/>
                <a:gd name="connsiteY14" fmla="*/ 371282 h 838859"/>
                <a:gd name="connsiteX15" fmla="*/ 0 w 666683"/>
                <a:gd name="connsiteY15" fmla="*/ 349050 h 838859"/>
                <a:gd name="connsiteX16" fmla="*/ 0 w 666683"/>
                <a:gd name="connsiteY16" fmla="*/ 202211 h 838859"/>
                <a:gd name="connsiteX17" fmla="*/ 0 w 666683"/>
                <a:gd name="connsiteY17" fmla="*/ 169071 h 838859"/>
                <a:gd name="connsiteX18" fmla="*/ 0 w 666683"/>
                <a:gd name="connsiteY18" fmla="*/ 0 h 838859"/>
                <a:gd name="connsiteX19" fmla="*/ 333342 w 666683"/>
                <a:gd name="connsiteY19" fmla="*/ 194348 h 838859"/>
                <a:gd name="connsiteX20" fmla="*/ 666683 w 666683"/>
                <a:gd name="connsiteY20" fmla="*/ 0 h 838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6683" h="838859">
                  <a:moveTo>
                    <a:pt x="666683" y="0"/>
                  </a:moveTo>
                  <a:lnTo>
                    <a:pt x="666683" y="169071"/>
                  </a:lnTo>
                  <a:lnTo>
                    <a:pt x="666683" y="202211"/>
                  </a:lnTo>
                  <a:lnTo>
                    <a:pt x="666683" y="349050"/>
                  </a:lnTo>
                  <a:lnTo>
                    <a:pt x="666683" y="371282"/>
                  </a:lnTo>
                  <a:lnTo>
                    <a:pt x="666683" y="518120"/>
                  </a:lnTo>
                  <a:lnTo>
                    <a:pt x="666683" y="523574"/>
                  </a:lnTo>
                  <a:lnTo>
                    <a:pt x="666683" y="551260"/>
                  </a:lnTo>
                  <a:lnTo>
                    <a:pt x="666683" y="644511"/>
                  </a:lnTo>
                  <a:cubicBezTo>
                    <a:pt x="666683" y="751847"/>
                    <a:pt x="517442" y="838859"/>
                    <a:pt x="333342" y="838859"/>
                  </a:cubicBezTo>
                  <a:cubicBezTo>
                    <a:pt x="149242" y="838859"/>
                    <a:pt x="0" y="751847"/>
                    <a:pt x="0" y="644511"/>
                  </a:cubicBezTo>
                  <a:lnTo>
                    <a:pt x="0" y="551260"/>
                  </a:lnTo>
                  <a:lnTo>
                    <a:pt x="0" y="523574"/>
                  </a:lnTo>
                  <a:lnTo>
                    <a:pt x="0" y="518120"/>
                  </a:lnTo>
                  <a:lnTo>
                    <a:pt x="0" y="371282"/>
                  </a:lnTo>
                  <a:lnTo>
                    <a:pt x="0" y="349050"/>
                  </a:lnTo>
                  <a:lnTo>
                    <a:pt x="0" y="202211"/>
                  </a:lnTo>
                  <a:lnTo>
                    <a:pt x="0" y="169071"/>
                  </a:lnTo>
                  <a:lnTo>
                    <a:pt x="0" y="0"/>
                  </a:lnTo>
                  <a:cubicBezTo>
                    <a:pt x="0" y="107336"/>
                    <a:pt x="149242" y="194348"/>
                    <a:pt x="333342" y="194348"/>
                  </a:cubicBezTo>
                  <a:cubicBezTo>
                    <a:pt x="517442" y="194348"/>
                    <a:pt x="666683" y="107336"/>
                    <a:pt x="666683" y="0"/>
                  </a:cubicBez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84" name="Oval 386">
              <a:extLst>
                <a:ext uri="{FF2B5EF4-FFF2-40B4-BE49-F238E27FC236}">
                  <a16:creationId xmlns:a16="http://schemas.microsoft.com/office/drawing/2014/main" id="{9F90A9B7-16BC-478C-8CFC-1A6FD1727B3D}"/>
                </a:ext>
              </a:extLst>
            </p:cNvPr>
            <p:cNvSpPr/>
            <p:nvPr/>
          </p:nvSpPr>
          <p:spPr bwMode="gray">
            <a:xfrm rot="16200000">
              <a:off x="3293639" y="4470523"/>
              <a:ext cx="666684" cy="465663"/>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grpSp>
        <p:nvGrpSpPr>
          <p:cNvPr id="404" name="Group 403">
            <a:extLst>
              <a:ext uri="{FF2B5EF4-FFF2-40B4-BE49-F238E27FC236}">
                <a16:creationId xmlns:a16="http://schemas.microsoft.com/office/drawing/2014/main" id="{3AC178AF-EF9A-42B1-9388-FA617EFD1DFA}"/>
              </a:ext>
            </a:extLst>
          </p:cNvPr>
          <p:cNvGrpSpPr/>
          <p:nvPr/>
        </p:nvGrpSpPr>
        <p:grpSpPr bwMode="gray">
          <a:xfrm>
            <a:off x="5390343" y="3956254"/>
            <a:ext cx="777399" cy="896319"/>
            <a:chOff x="4415972" y="177612"/>
            <a:chExt cx="3041468" cy="3506727"/>
          </a:xfrm>
        </p:grpSpPr>
        <p:sp>
          <p:nvSpPr>
            <p:cNvPr id="405" name="Rectangle 25">
              <a:extLst>
                <a:ext uri="{FF2B5EF4-FFF2-40B4-BE49-F238E27FC236}">
                  <a16:creationId xmlns:a16="http://schemas.microsoft.com/office/drawing/2014/main" id="{ABC8F958-2F32-4EDB-AA9A-145F76D6B84B}"/>
                </a:ext>
              </a:extLst>
            </p:cNvPr>
            <p:cNvSpPr/>
            <p:nvPr/>
          </p:nvSpPr>
          <p:spPr bwMode="gray">
            <a:xfrm>
              <a:off x="4415972" y="1051037"/>
              <a:ext cx="1520338" cy="2633302"/>
            </a:xfrm>
            <a:custGeom>
              <a:avLst/>
              <a:gdLst/>
              <a:ahLst/>
              <a:cxnLst/>
              <a:rect l="l" t="t" r="r" b="b"/>
              <a:pathLst>
                <a:path w="1520338" h="2633302">
                  <a:moveTo>
                    <a:pt x="0" y="0"/>
                  </a:moveTo>
                  <a:lnTo>
                    <a:pt x="1518719" y="878702"/>
                  </a:lnTo>
                  <a:lnTo>
                    <a:pt x="1520338" y="2633302"/>
                  </a:lnTo>
                  <a:lnTo>
                    <a:pt x="1619" y="175460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06" name="Rectangle 26">
              <a:extLst>
                <a:ext uri="{FF2B5EF4-FFF2-40B4-BE49-F238E27FC236}">
                  <a16:creationId xmlns:a16="http://schemas.microsoft.com/office/drawing/2014/main" id="{5BE8DD89-32CC-450A-BD64-EF290C1F017B}"/>
                </a:ext>
              </a:extLst>
            </p:cNvPr>
            <p:cNvSpPr/>
            <p:nvPr/>
          </p:nvSpPr>
          <p:spPr bwMode="gray">
            <a:xfrm>
              <a:off x="5936162" y="1051037"/>
              <a:ext cx="1520338" cy="2633302"/>
            </a:xfrm>
            <a:custGeom>
              <a:avLst/>
              <a:gdLst/>
              <a:ahLst/>
              <a:cxnLst/>
              <a:rect l="l" t="t" r="r" b="b"/>
              <a:pathLst>
                <a:path w="1520338" h="2633302">
                  <a:moveTo>
                    <a:pt x="1520338" y="0"/>
                  </a:moveTo>
                  <a:lnTo>
                    <a:pt x="1518719" y="1754600"/>
                  </a:lnTo>
                  <a:lnTo>
                    <a:pt x="0" y="2633302"/>
                  </a:lnTo>
                  <a:lnTo>
                    <a:pt x="1619" y="878702"/>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07" name="Diamond 406">
              <a:extLst>
                <a:ext uri="{FF2B5EF4-FFF2-40B4-BE49-F238E27FC236}">
                  <a16:creationId xmlns:a16="http://schemas.microsoft.com/office/drawing/2014/main" id="{721724B9-DF97-454E-85B9-0EAD1036C013}"/>
                </a:ext>
              </a:extLst>
            </p:cNvPr>
            <p:cNvSpPr/>
            <p:nvPr/>
          </p:nvSpPr>
          <p:spPr bwMode="gray">
            <a:xfrm>
              <a:off x="4416765" y="177612"/>
              <a:ext cx="3040675" cy="1751796"/>
            </a:xfrm>
            <a:prstGeom prst="diamond">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grpSp>
        <p:nvGrpSpPr>
          <p:cNvPr id="399" name="Group 398">
            <a:extLst>
              <a:ext uri="{FF2B5EF4-FFF2-40B4-BE49-F238E27FC236}">
                <a16:creationId xmlns:a16="http://schemas.microsoft.com/office/drawing/2014/main" id="{A000F83E-2FDC-4CB9-AD86-1487043AF481}"/>
              </a:ext>
            </a:extLst>
          </p:cNvPr>
          <p:cNvGrpSpPr/>
          <p:nvPr/>
        </p:nvGrpSpPr>
        <p:grpSpPr bwMode="gray">
          <a:xfrm>
            <a:off x="4844644" y="3494078"/>
            <a:ext cx="754947" cy="1525885"/>
            <a:chOff x="6097719" y="4586617"/>
            <a:chExt cx="1053206" cy="2128719"/>
          </a:xfrm>
        </p:grpSpPr>
        <p:sp>
          <p:nvSpPr>
            <p:cNvPr id="397" name="Freeform: Shape 396">
              <a:extLst>
                <a:ext uri="{FF2B5EF4-FFF2-40B4-BE49-F238E27FC236}">
                  <a16:creationId xmlns:a16="http://schemas.microsoft.com/office/drawing/2014/main" id="{6B25B7B7-B056-4699-9FF3-DC2974D68477}"/>
                </a:ext>
              </a:extLst>
            </p:cNvPr>
            <p:cNvSpPr/>
            <p:nvPr/>
          </p:nvSpPr>
          <p:spPr bwMode="gray">
            <a:xfrm>
              <a:off x="6097719" y="4889069"/>
              <a:ext cx="526466" cy="1826267"/>
            </a:xfrm>
            <a:custGeom>
              <a:avLst/>
              <a:gdLst>
                <a:gd name="connsiteX0" fmla="*/ 0 w 526466"/>
                <a:gd name="connsiteY0" fmla="*/ 0 h 1826267"/>
                <a:gd name="connsiteX1" fmla="*/ 525906 w 526466"/>
                <a:gd name="connsiteY1" fmla="*/ 304279 h 1826267"/>
                <a:gd name="connsiteX2" fmla="*/ 526466 w 526466"/>
                <a:gd name="connsiteY2" fmla="*/ 911866 h 1826267"/>
                <a:gd name="connsiteX3" fmla="*/ 526039 w 526466"/>
                <a:gd name="connsiteY3" fmla="*/ 911619 h 1826267"/>
                <a:gd name="connsiteX4" fmla="*/ 526466 w 526466"/>
                <a:gd name="connsiteY4" fmla="*/ 1374854 h 1826267"/>
                <a:gd name="connsiteX5" fmla="*/ 526050 w 526466"/>
                <a:gd name="connsiteY5" fmla="*/ 1374613 h 1826267"/>
                <a:gd name="connsiteX6" fmla="*/ 526466 w 526466"/>
                <a:gd name="connsiteY6" fmla="*/ 1826267 h 1826267"/>
                <a:gd name="connsiteX7" fmla="*/ 561 w 526466"/>
                <a:gd name="connsiteY7" fmla="*/ 1521988 h 1826267"/>
                <a:gd name="connsiteX8" fmla="*/ 0 w 526466"/>
                <a:gd name="connsiteY8" fmla="*/ 914401 h 1826267"/>
                <a:gd name="connsiteX9" fmla="*/ 417 w 526466"/>
                <a:gd name="connsiteY9" fmla="*/ 914642 h 1826267"/>
                <a:gd name="connsiteX10" fmla="*/ 0 w 526466"/>
                <a:gd name="connsiteY10" fmla="*/ 462988 h 1826267"/>
                <a:gd name="connsiteX11" fmla="*/ 428 w 526466"/>
                <a:gd name="connsiteY11" fmla="*/ 463236 h 182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6466" h="1826267">
                  <a:moveTo>
                    <a:pt x="0" y="0"/>
                  </a:moveTo>
                  <a:lnTo>
                    <a:pt x="525906" y="304279"/>
                  </a:lnTo>
                  <a:lnTo>
                    <a:pt x="526466" y="911866"/>
                  </a:lnTo>
                  <a:lnTo>
                    <a:pt x="526039" y="911619"/>
                  </a:lnTo>
                  <a:lnTo>
                    <a:pt x="526466" y="1374854"/>
                  </a:lnTo>
                  <a:lnTo>
                    <a:pt x="526050" y="1374613"/>
                  </a:lnTo>
                  <a:lnTo>
                    <a:pt x="526466" y="1826267"/>
                  </a:lnTo>
                  <a:lnTo>
                    <a:pt x="561" y="1521988"/>
                  </a:lnTo>
                  <a:lnTo>
                    <a:pt x="0" y="914401"/>
                  </a:lnTo>
                  <a:lnTo>
                    <a:pt x="417" y="914642"/>
                  </a:lnTo>
                  <a:lnTo>
                    <a:pt x="0" y="462988"/>
                  </a:lnTo>
                  <a:lnTo>
                    <a:pt x="428" y="463236"/>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98" name="Freeform: Shape 397">
              <a:extLst>
                <a:ext uri="{FF2B5EF4-FFF2-40B4-BE49-F238E27FC236}">
                  <a16:creationId xmlns:a16="http://schemas.microsoft.com/office/drawing/2014/main" id="{DDDBE02F-BA77-4C67-BA4E-67445FCCC85A}"/>
                </a:ext>
              </a:extLst>
            </p:cNvPr>
            <p:cNvSpPr/>
            <p:nvPr/>
          </p:nvSpPr>
          <p:spPr bwMode="gray">
            <a:xfrm>
              <a:off x="6624134" y="4889069"/>
              <a:ext cx="526466" cy="1826267"/>
            </a:xfrm>
            <a:custGeom>
              <a:avLst/>
              <a:gdLst>
                <a:gd name="connsiteX0" fmla="*/ 526466 w 526466"/>
                <a:gd name="connsiteY0" fmla="*/ 0 h 1826267"/>
                <a:gd name="connsiteX1" fmla="*/ 526039 w 526466"/>
                <a:gd name="connsiteY1" fmla="*/ 463236 h 1826267"/>
                <a:gd name="connsiteX2" fmla="*/ 526466 w 526466"/>
                <a:gd name="connsiteY2" fmla="*/ 462988 h 1826267"/>
                <a:gd name="connsiteX3" fmla="*/ 526050 w 526466"/>
                <a:gd name="connsiteY3" fmla="*/ 914642 h 1826267"/>
                <a:gd name="connsiteX4" fmla="*/ 526466 w 526466"/>
                <a:gd name="connsiteY4" fmla="*/ 914401 h 1826267"/>
                <a:gd name="connsiteX5" fmla="*/ 525906 w 526466"/>
                <a:gd name="connsiteY5" fmla="*/ 1521988 h 1826267"/>
                <a:gd name="connsiteX6" fmla="*/ 0 w 526466"/>
                <a:gd name="connsiteY6" fmla="*/ 1826267 h 1826267"/>
                <a:gd name="connsiteX7" fmla="*/ 417 w 526466"/>
                <a:gd name="connsiteY7" fmla="*/ 1374613 h 1826267"/>
                <a:gd name="connsiteX8" fmla="*/ 0 w 526466"/>
                <a:gd name="connsiteY8" fmla="*/ 1374854 h 1826267"/>
                <a:gd name="connsiteX9" fmla="*/ 428 w 526466"/>
                <a:gd name="connsiteY9" fmla="*/ 911619 h 1826267"/>
                <a:gd name="connsiteX10" fmla="*/ 0 w 526466"/>
                <a:gd name="connsiteY10" fmla="*/ 911866 h 1826267"/>
                <a:gd name="connsiteX11" fmla="*/ 561 w 526466"/>
                <a:gd name="connsiteY11" fmla="*/ 304279 h 182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6466" h="1826267">
                  <a:moveTo>
                    <a:pt x="526466" y="0"/>
                  </a:moveTo>
                  <a:lnTo>
                    <a:pt x="526039" y="463236"/>
                  </a:lnTo>
                  <a:lnTo>
                    <a:pt x="526466" y="462988"/>
                  </a:lnTo>
                  <a:lnTo>
                    <a:pt x="526050" y="914642"/>
                  </a:lnTo>
                  <a:lnTo>
                    <a:pt x="526466" y="914401"/>
                  </a:lnTo>
                  <a:lnTo>
                    <a:pt x="525906" y="1521988"/>
                  </a:lnTo>
                  <a:lnTo>
                    <a:pt x="0" y="1826267"/>
                  </a:lnTo>
                  <a:lnTo>
                    <a:pt x="417" y="1374613"/>
                  </a:lnTo>
                  <a:lnTo>
                    <a:pt x="0" y="1374854"/>
                  </a:lnTo>
                  <a:lnTo>
                    <a:pt x="428" y="911619"/>
                  </a:lnTo>
                  <a:lnTo>
                    <a:pt x="0" y="911866"/>
                  </a:lnTo>
                  <a:lnTo>
                    <a:pt x="561" y="304279"/>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88" name="Diamond 387">
              <a:extLst>
                <a:ext uri="{FF2B5EF4-FFF2-40B4-BE49-F238E27FC236}">
                  <a16:creationId xmlns:a16="http://schemas.microsoft.com/office/drawing/2014/main" id="{FCAE4C3B-41FB-431B-A3B1-6BC1904619BF}"/>
                </a:ext>
              </a:extLst>
            </p:cNvPr>
            <p:cNvSpPr/>
            <p:nvPr/>
          </p:nvSpPr>
          <p:spPr bwMode="gray">
            <a:xfrm>
              <a:off x="6097994" y="4586617"/>
              <a:ext cx="1052931" cy="606616"/>
            </a:xfrm>
            <a:prstGeom prst="diamond">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
        <p:nvSpPr>
          <p:cNvPr id="438" name="Freeform: Shape 437">
            <a:extLst>
              <a:ext uri="{FF2B5EF4-FFF2-40B4-BE49-F238E27FC236}">
                <a16:creationId xmlns:a16="http://schemas.microsoft.com/office/drawing/2014/main" id="{D17861E7-506F-47FB-9D20-A545AC446D3A}"/>
              </a:ext>
            </a:extLst>
          </p:cNvPr>
          <p:cNvSpPr/>
          <p:nvPr/>
        </p:nvSpPr>
        <p:spPr bwMode="gray">
          <a:xfrm rot="7200000" flipH="1">
            <a:off x="4991151" y="3316525"/>
            <a:ext cx="405393" cy="324228"/>
          </a:xfrm>
          <a:custGeom>
            <a:avLst/>
            <a:gdLst>
              <a:gd name="connsiteX0" fmla="*/ 545709 w 565553"/>
              <a:gd name="connsiteY0" fmla="*/ 433040 h 452321"/>
              <a:gd name="connsiteX1" fmla="*/ 552578 w 565553"/>
              <a:gd name="connsiteY1" fmla="*/ 420860 h 452321"/>
              <a:gd name="connsiteX2" fmla="*/ 565553 w 565553"/>
              <a:gd name="connsiteY2" fmla="*/ 359724 h 452321"/>
              <a:gd name="connsiteX3" fmla="*/ 548125 w 565553"/>
              <a:gd name="connsiteY3" fmla="*/ 302756 h 452321"/>
              <a:gd name="connsiteX4" fmla="*/ 494265 w 565553"/>
              <a:gd name="connsiteY4" fmla="*/ 249895 h 452321"/>
              <a:gd name="connsiteX5" fmla="*/ 70603 w 565553"/>
              <a:gd name="connsiteY5" fmla="*/ 3235 h 452321"/>
              <a:gd name="connsiteX6" fmla="*/ 70239 w 565553"/>
              <a:gd name="connsiteY6" fmla="*/ 2817 h 452321"/>
              <a:gd name="connsiteX7" fmla="*/ 56528 w 565553"/>
              <a:gd name="connsiteY7" fmla="*/ 139 h 452321"/>
              <a:gd name="connsiteX8" fmla="*/ 44949 w 565553"/>
              <a:gd name="connsiteY8" fmla="*/ 3437 h 452321"/>
              <a:gd name="connsiteX9" fmla="*/ 42409 w 565553"/>
              <a:gd name="connsiteY9" fmla="*/ 5017 h 452321"/>
              <a:gd name="connsiteX10" fmla="*/ 40818 w 565553"/>
              <a:gd name="connsiteY10" fmla="*/ 5561 h 452321"/>
              <a:gd name="connsiteX11" fmla="*/ 38199 w 565553"/>
              <a:gd name="connsiteY11" fmla="*/ 7635 h 452321"/>
              <a:gd name="connsiteX12" fmla="*/ 33137 w 565553"/>
              <a:gd name="connsiteY12" fmla="*/ 10784 h 452321"/>
              <a:gd name="connsiteX13" fmla="*/ 28393 w 565553"/>
              <a:gd name="connsiteY13" fmla="*/ 15400 h 452321"/>
              <a:gd name="connsiteX14" fmla="*/ 25344 w 565553"/>
              <a:gd name="connsiteY14" fmla="*/ 17815 h 452321"/>
              <a:gd name="connsiteX15" fmla="*/ 23832 w 565553"/>
              <a:gd name="connsiteY15" fmla="*/ 19838 h 452321"/>
              <a:gd name="connsiteX16" fmla="*/ 21884 w 565553"/>
              <a:gd name="connsiteY16" fmla="*/ 21733 h 452321"/>
              <a:gd name="connsiteX17" fmla="*/ 13587 w 565553"/>
              <a:gd name="connsiteY17" fmla="*/ 33547 h 452321"/>
              <a:gd name="connsiteX18" fmla="*/ 11799 w 565553"/>
              <a:gd name="connsiteY18" fmla="*/ 35939 h 452321"/>
              <a:gd name="connsiteX19" fmla="*/ 10194 w 565553"/>
              <a:gd name="connsiteY19" fmla="*/ 39679 h 452321"/>
              <a:gd name="connsiteX20" fmla="*/ 4718 w 565553"/>
              <a:gd name="connsiteY20" fmla="*/ 51465 h 452321"/>
              <a:gd name="connsiteX21" fmla="*/ 4118 w 565553"/>
              <a:gd name="connsiteY21" fmla="*/ 53836 h 452321"/>
              <a:gd name="connsiteX22" fmla="*/ 2875 w 565553"/>
              <a:gd name="connsiteY22" fmla="*/ 56732 h 452321"/>
              <a:gd name="connsiteX23" fmla="*/ 2168 w 565553"/>
              <a:gd name="connsiteY23" fmla="*/ 61533 h 452321"/>
              <a:gd name="connsiteX24" fmla="*/ 863 w 565553"/>
              <a:gd name="connsiteY24" fmla="*/ 66685 h 452321"/>
              <a:gd name="connsiteX25" fmla="*/ 705 w 565553"/>
              <a:gd name="connsiteY25" fmla="*/ 71469 h 452321"/>
              <a:gd name="connsiteX26" fmla="*/ 0 w 565553"/>
              <a:gd name="connsiteY26" fmla="*/ 76260 h 452321"/>
              <a:gd name="connsiteX27" fmla="*/ 469 w 565553"/>
              <a:gd name="connsiteY27" fmla="*/ 78652 h 452321"/>
              <a:gd name="connsiteX28" fmla="*/ 405 w 565553"/>
              <a:gd name="connsiteY28" fmla="*/ 80588 h 452321"/>
              <a:gd name="connsiteX29" fmla="*/ 2424 w 565553"/>
              <a:gd name="connsiteY29" fmla="*/ 88622 h 452321"/>
              <a:gd name="connsiteX30" fmla="*/ 3159 w 565553"/>
              <a:gd name="connsiteY30" fmla="*/ 92369 h 452321"/>
              <a:gd name="connsiteX31" fmla="*/ 12333 w 565553"/>
              <a:gd name="connsiteY31" fmla="*/ 102903 h 452321"/>
              <a:gd name="connsiteX32" fmla="*/ 435848 w 565553"/>
              <a:gd name="connsiteY32" fmla="*/ 348924 h 452321"/>
              <a:gd name="connsiteX33" fmla="*/ 444145 w 565553"/>
              <a:gd name="connsiteY33" fmla="*/ 368726 h 452321"/>
              <a:gd name="connsiteX34" fmla="*/ 442546 w 565553"/>
              <a:gd name="connsiteY34" fmla="*/ 374986 h 452321"/>
              <a:gd name="connsiteX35" fmla="*/ 442402 w 565553"/>
              <a:gd name="connsiteY35" fmla="*/ 375014 h 452321"/>
              <a:gd name="connsiteX36" fmla="*/ 418112 w 565553"/>
              <a:gd name="connsiteY36" fmla="*/ 388952 h 452321"/>
              <a:gd name="connsiteX37" fmla="*/ 527926 w 565553"/>
              <a:gd name="connsiteY37" fmla="*/ 452321 h 452321"/>
              <a:gd name="connsiteX38" fmla="*/ 538378 w 565553"/>
              <a:gd name="connsiteY38" fmla="*/ 443375 h 452321"/>
              <a:gd name="connsiteX39" fmla="*/ 545709 w 565553"/>
              <a:gd name="connsiteY39" fmla="*/ 433040 h 452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65553" h="452321">
                <a:moveTo>
                  <a:pt x="545709" y="433040"/>
                </a:moveTo>
                <a:cubicBezTo>
                  <a:pt x="547663" y="429539"/>
                  <a:pt x="549541" y="425731"/>
                  <a:pt x="552578" y="420860"/>
                </a:cubicBezTo>
                <a:cubicBezTo>
                  <a:pt x="564727" y="401376"/>
                  <a:pt x="562574" y="384547"/>
                  <a:pt x="565553" y="359724"/>
                </a:cubicBezTo>
                <a:cubicBezTo>
                  <a:pt x="564822" y="344839"/>
                  <a:pt x="564375" y="331677"/>
                  <a:pt x="548125" y="302756"/>
                </a:cubicBezTo>
                <a:cubicBezTo>
                  <a:pt x="526459" y="264195"/>
                  <a:pt x="513217" y="265005"/>
                  <a:pt x="494265" y="249895"/>
                </a:cubicBezTo>
                <a:lnTo>
                  <a:pt x="70603" y="3235"/>
                </a:lnTo>
                <a:lnTo>
                  <a:pt x="70239" y="2817"/>
                </a:lnTo>
                <a:cubicBezTo>
                  <a:pt x="66180" y="474"/>
                  <a:pt x="61506" y="-360"/>
                  <a:pt x="56528" y="139"/>
                </a:cubicBezTo>
                <a:cubicBezTo>
                  <a:pt x="52795" y="513"/>
                  <a:pt x="48891" y="1638"/>
                  <a:pt x="44949" y="3437"/>
                </a:cubicBezTo>
                <a:lnTo>
                  <a:pt x="42409" y="5017"/>
                </a:lnTo>
                <a:lnTo>
                  <a:pt x="40818" y="5561"/>
                </a:lnTo>
                <a:lnTo>
                  <a:pt x="38199" y="7635"/>
                </a:lnTo>
                <a:lnTo>
                  <a:pt x="33137" y="10784"/>
                </a:lnTo>
                <a:lnTo>
                  <a:pt x="28393" y="15400"/>
                </a:lnTo>
                <a:lnTo>
                  <a:pt x="25344" y="17815"/>
                </a:lnTo>
                <a:lnTo>
                  <a:pt x="23832" y="19838"/>
                </a:lnTo>
                <a:lnTo>
                  <a:pt x="21884" y="21733"/>
                </a:lnTo>
                <a:lnTo>
                  <a:pt x="13587" y="33547"/>
                </a:lnTo>
                <a:lnTo>
                  <a:pt x="11799" y="35939"/>
                </a:lnTo>
                <a:lnTo>
                  <a:pt x="10194" y="39679"/>
                </a:lnTo>
                <a:lnTo>
                  <a:pt x="4718" y="51465"/>
                </a:lnTo>
                <a:lnTo>
                  <a:pt x="4118" y="53836"/>
                </a:lnTo>
                <a:lnTo>
                  <a:pt x="2875" y="56732"/>
                </a:lnTo>
                <a:lnTo>
                  <a:pt x="2168" y="61533"/>
                </a:lnTo>
                <a:lnTo>
                  <a:pt x="863" y="66685"/>
                </a:lnTo>
                <a:lnTo>
                  <a:pt x="705" y="71469"/>
                </a:lnTo>
                <a:lnTo>
                  <a:pt x="0" y="76260"/>
                </a:lnTo>
                <a:lnTo>
                  <a:pt x="469" y="78652"/>
                </a:lnTo>
                <a:cubicBezTo>
                  <a:pt x="448" y="79297"/>
                  <a:pt x="427" y="79943"/>
                  <a:pt x="405" y="80588"/>
                </a:cubicBezTo>
                <a:lnTo>
                  <a:pt x="2424" y="88622"/>
                </a:lnTo>
                <a:lnTo>
                  <a:pt x="3159" y="92369"/>
                </a:lnTo>
                <a:cubicBezTo>
                  <a:pt x="5215" y="96929"/>
                  <a:pt x="8274" y="100560"/>
                  <a:pt x="12333" y="102903"/>
                </a:cubicBezTo>
                <a:lnTo>
                  <a:pt x="435848" y="348924"/>
                </a:lnTo>
                <a:cubicBezTo>
                  <a:pt x="445349" y="355289"/>
                  <a:pt x="445870" y="361968"/>
                  <a:pt x="444145" y="368726"/>
                </a:cubicBezTo>
                <a:lnTo>
                  <a:pt x="442546" y="374986"/>
                </a:lnTo>
                <a:lnTo>
                  <a:pt x="442402" y="375014"/>
                </a:lnTo>
                <a:lnTo>
                  <a:pt x="418112" y="388952"/>
                </a:lnTo>
                <a:lnTo>
                  <a:pt x="527926" y="452321"/>
                </a:lnTo>
                <a:lnTo>
                  <a:pt x="538378" y="443375"/>
                </a:lnTo>
                <a:cubicBezTo>
                  <a:pt x="541723" y="439735"/>
                  <a:pt x="543754" y="436541"/>
                  <a:pt x="545709" y="433040"/>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err="1"/>
          </a:p>
        </p:txBody>
      </p:sp>
      <p:grpSp>
        <p:nvGrpSpPr>
          <p:cNvPr id="67" name="Group 66">
            <a:extLst>
              <a:ext uri="{FF2B5EF4-FFF2-40B4-BE49-F238E27FC236}">
                <a16:creationId xmlns:a16="http://schemas.microsoft.com/office/drawing/2014/main" id="{EB0A97BA-B626-4B78-8442-7396C3330881}"/>
              </a:ext>
            </a:extLst>
          </p:cNvPr>
          <p:cNvGrpSpPr/>
          <p:nvPr/>
        </p:nvGrpSpPr>
        <p:grpSpPr bwMode="gray">
          <a:xfrm>
            <a:off x="2922793" y="3488893"/>
            <a:ext cx="333843" cy="1028620"/>
            <a:chOff x="2892187" y="3954485"/>
            <a:chExt cx="465735" cy="1434999"/>
          </a:xfrm>
        </p:grpSpPr>
        <p:sp>
          <p:nvSpPr>
            <p:cNvPr id="44" name="Freeform: Shape 43">
              <a:extLst>
                <a:ext uri="{FF2B5EF4-FFF2-40B4-BE49-F238E27FC236}">
                  <a16:creationId xmlns:a16="http://schemas.microsoft.com/office/drawing/2014/main" id="{BC7843EB-BF1E-4A13-A54B-C62AD19BFDF3}"/>
                </a:ext>
              </a:extLst>
            </p:cNvPr>
            <p:cNvSpPr/>
            <p:nvPr/>
          </p:nvSpPr>
          <p:spPr bwMode="gray">
            <a:xfrm>
              <a:off x="2892190" y="4142176"/>
              <a:ext cx="465732" cy="1247308"/>
            </a:xfrm>
            <a:custGeom>
              <a:avLst/>
              <a:gdLst>
                <a:gd name="connsiteX0" fmla="*/ 0 w 465733"/>
                <a:gd name="connsiteY0" fmla="*/ 0 h 1247308"/>
                <a:gd name="connsiteX1" fmla="*/ 232867 w 465733"/>
                <a:gd name="connsiteY1" fmla="*/ 135768 h 1247308"/>
                <a:gd name="connsiteX2" fmla="*/ 465733 w 465733"/>
                <a:gd name="connsiteY2" fmla="*/ 0 h 1247308"/>
                <a:gd name="connsiteX3" fmla="*/ 465733 w 465733"/>
                <a:gd name="connsiteY3" fmla="*/ 118110 h 1247308"/>
                <a:gd name="connsiteX4" fmla="*/ 465733 w 465733"/>
                <a:gd name="connsiteY4" fmla="*/ 141261 h 1247308"/>
                <a:gd name="connsiteX5" fmla="*/ 465733 w 465733"/>
                <a:gd name="connsiteY5" fmla="*/ 243840 h 1247308"/>
                <a:gd name="connsiteX6" fmla="*/ 465733 w 465733"/>
                <a:gd name="connsiteY6" fmla="*/ 259371 h 1247308"/>
                <a:gd name="connsiteX7" fmla="*/ 465733 w 465733"/>
                <a:gd name="connsiteY7" fmla="*/ 361950 h 1247308"/>
                <a:gd name="connsiteX8" fmla="*/ 465733 w 465733"/>
                <a:gd name="connsiteY8" fmla="*/ 365760 h 1247308"/>
                <a:gd name="connsiteX9" fmla="*/ 465733 w 465733"/>
                <a:gd name="connsiteY9" fmla="*/ 385101 h 1247308"/>
                <a:gd name="connsiteX10" fmla="*/ 465733 w 465733"/>
                <a:gd name="connsiteY10" fmla="*/ 487680 h 1247308"/>
                <a:gd name="connsiteX11" fmla="*/ 465733 w 465733"/>
                <a:gd name="connsiteY11" fmla="*/ 503211 h 1247308"/>
                <a:gd name="connsiteX12" fmla="*/ 465733 w 465733"/>
                <a:gd name="connsiteY12" fmla="*/ 507021 h 1247308"/>
                <a:gd name="connsiteX13" fmla="*/ 465733 w 465733"/>
                <a:gd name="connsiteY13" fmla="*/ 609600 h 1247308"/>
                <a:gd name="connsiteX14" fmla="*/ 465733 w 465733"/>
                <a:gd name="connsiteY14" fmla="*/ 628941 h 1247308"/>
                <a:gd name="connsiteX15" fmla="*/ 465733 w 465733"/>
                <a:gd name="connsiteY15" fmla="*/ 726440 h 1247308"/>
                <a:gd name="connsiteX16" fmla="*/ 465733 w 465733"/>
                <a:gd name="connsiteY16" fmla="*/ 731520 h 1247308"/>
                <a:gd name="connsiteX17" fmla="*/ 465733 w 465733"/>
                <a:gd name="connsiteY17" fmla="*/ 750861 h 1247308"/>
                <a:gd name="connsiteX18" fmla="*/ 465733 w 465733"/>
                <a:gd name="connsiteY18" fmla="*/ 853440 h 1247308"/>
                <a:gd name="connsiteX19" fmla="*/ 465733 w 465733"/>
                <a:gd name="connsiteY19" fmla="*/ 867701 h 1247308"/>
                <a:gd name="connsiteX20" fmla="*/ 465733 w 465733"/>
                <a:gd name="connsiteY20" fmla="*/ 872781 h 1247308"/>
                <a:gd name="connsiteX21" fmla="*/ 465733 w 465733"/>
                <a:gd name="connsiteY21" fmla="*/ 970280 h 1247308"/>
                <a:gd name="connsiteX22" fmla="*/ 465733 w 465733"/>
                <a:gd name="connsiteY22" fmla="*/ 994701 h 1247308"/>
                <a:gd name="connsiteX23" fmla="*/ 465733 w 465733"/>
                <a:gd name="connsiteY23" fmla="*/ 1111541 h 1247308"/>
                <a:gd name="connsiteX24" fmla="*/ 232867 w 465733"/>
                <a:gd name="connsiteY24" fmla="*/ 1247308 h 1247308"/>
                <a:gd name="connsiteX25" fmla="*/ 0 w 465733"/>
                <a:gd name="connsiteY25" fmla="*/ 1111541 h 1247308"/>
                <a:gd name="connsiteX26" fmla="*/ 0 w 465733"/>
                <a:gd name="connsiteY26" fmla="*/ 994701 h 1247308"/>
                <a:gd name="connsiteX27" fmla="*/ 0 w 465733"/>
                <a:gd name="connsiteY27" fmla="*/ 970280 h 1247308"/>
                <a:gd name="connsiteX28" fmla="*/ 0 w 465733"/>
                <a:gd name="connsiteY28" fmla="*/ 872781 h 1247308"/>
                <a:gd name="connsiteX29" fmla="*/ 0 w 465733"/>
                <a:gd name="connsiteY29" fmla="*/ 867701 h 1247308"/>
                <a:gd name="connsiteX30" fmla="*/ 0 w 465733"/>
                <a:gd name="connsiteY30" fmla="*/ 853440 h 1247308"/>
                <a:gd name="connsiteX31" fmla="*/ 0 w 465733"/>
                <a:gd name="connsiteY31" fmla="*/ 750861 h 1247308"/>
                <a:gd name="connsiteX32" fmla="*/ 0 w 465733"/>
                <a:gd name="connsiteY32" fmla="*/ 731520 h 1247308"/>
                <a:gd name="connsiteX33" fmla="*/ 0 w 465733"/>
                <a:gd name="connsiteY33" fmla="*/ 726440 h 1247308"/>
                <a:gd name="connsiteX34" fmla="*/ 0 w 465733"/>
                <a:gd name="connsiteY34" fmla="*/ 628941 h 1247308"/>
                <a:gd name="connsiteX35" fmla="*/ 0 w 465733"/>
                <a:gd name="connsiteY35" fmla="*/ 609600 h 1247308"/>
                <a:gd name="connsiteX36" fmla="*/ 0 w 465733"/>
                <a:gd name="connsiteY36" fmla="*/ 507021 h 1247308"/>
                <a:gd name="connsiteX37" fmla="*/ 0 w 465733"/>
                <a:gd name="connsiteY37" fmla="*/ 503211 h 1247308"/>
                <a:gd name="connsiteX38" fmla="*/ 0 w 465733"/>
                <a:gd name="connsiteY38" fmla="*/ 487680 h 1247308"/>
                <a:gd name="connsiteX39" fmla="*/ 0 w 465733"/>
                <a:gd name="connsiteY39" fmla="*/ 385101 h 1247308"/>
                <a:gd name="connsiteX40" fmla="*/ 0 w 465733"/>
                <a:gd name="connsiteY40" fmla="*/ 365760 h 1247308"/>
                <a:gd name="connsiteX41" fmla="*/ 0 w 465733"/>
                <a:gd name="connsiteY41" fmla="*/ 361950 h 1247308"/>
                <a:gd name="connsiteX42" fmla="*/ 0 w 465733"/>
                <a:gd name="connsiteY42" fmla="*/ 259371 h 1247308"/>
                <a:gd name="connsiteX43" fmla="*/ 0 w 465733"/>
                <a:gd name="connsiteY43" fmla="*/ 243840 h 1247308"/>
                <a:gd name="connsiteX44" fmla="*/ 0 w 465733"/>
                <a:gd name="connsiteY44" fmla="*/ 141261 h 1247308"/>
                <a:gd name="connsiteX45" fmla="*/ 0 w 465733"/>
                <a:gd name="connsiteY45" fmla="*/ 118110 h 1247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65733" h="1247308">
                  <a:moveTo>
                    <a:pt x="0" y="0"/>
                  </a:moveTo>
                  <a:cubicBezTo>
                    <a:pt x="0" y="74983"/>
                    <a:pt x="104258" y="135768"/>
                    <a:pt x="232867" y="135768"/>
                  </a:cubicBezTo>
                  <a:cubicBezTo>
                    <a:pt x="361476" y="135768"/>
                    <a:pt x="465733" y="74983"/>
                    <a:pt x="465733" y="0"/>
                  </a:cubicBezTo>
                  <a:lnTo>
                    <a:pt x="465733" y="118110"/>
                  </a:lnTo>
                  <a:lnTo>
                    <a:pt x="465733" y="141261"/>
                  </a:lnTo>
                  <a:lnTo>
                    <a:pt x="465733" y="243840"/>
                  </a:lnTo>
                  <a:lnTo>
                    <a:pt x="465733" y="259371"/>
                  </a:lnTo>
                  <a:lnTo>
                    <a:pt x="465733" y="361950"/>
                  </a:lnTo>
                  <a:lnTo>
                    <a:pt x="465733" y="365760"/>
                  </a:lnTo>
                  <a:lnTo>
                    <a:pt x="465733" y="385101"/>
                  </a:lnTo>
                  <a:lnTo>
                    <a:pt x="465733" y="487680"/>
                  </a:lnTo>
                  <a:lnTo>
                    <a:pt x="465733" y="503211"/>
                  </a:lnTo>
                  <a:lnTo>
                    <a:pt x="465733" y="507021"/>
                  </a:lnTo>
                  <a:lnTo>
                    <a:pt x="465733" y="609600"/>
                  </a:lnTo>
                  <a:lnTo>
                    <a:pt x="465733" y="628941"/>
                  </a:lnTo>
                  <a:lnTo>
                    <a:pt x="465733" y="726440"/>
                  </a:lnTo>
                  <a:lnTo>
                    <a:pt x="465733" y="731520"/>
                  </a:lnTo>
                  <a:lnTo>
                    <a:pt x="465733" y="750861"/>
                  </a:lnTo>
                  <a:lnTo>
                    <a:pt x="465733" y="853440"/>
                  </a:lnTo>
                  <a:lnTo>
                    <a:pt x="465733" y="867701"/>
                  </a:lnTo>
                  <a:lnTo>
                    <a:pt x="465733" y="872781"/>
                  </a:lnTo>
                  <a:lnTo>
                    <a:pt x="465733" y="970280"/>
                  </a:lnTo>
                  <a:lnTo>
                    <a:pt x="465733" y="994701"/>
                  </a:lnTo>
                  <a:lnTo>
                    <a:pt x="465733" y="1111541"/>
                  </a:lnTo>
                  <a:cubicBezTo>
                    <a:pt x="465733" y="1186523"/>
                    <a:pt x="361476" y="1247308"/>
                    <a:pt x="232867" y="1247308"/>
                  </a:cubicBezTo>
                  <a:cubicBezTo>
                    <a:pt x="104258" y="1247308"/>
                    <a:pt x="0" y="1186523"/>
                    <a:pt x="0" y="1111541"/>
                  </a:cubicBezTo>
                  <a:lnTo>
                    <a:pt x="0" y="994701"/>
                  </a:lnTo>
                  <a:lnTo>
                    <a:pt x="0" y="970280"/>
                  </a:lnTo>
                  <a:lnTo>
                    <a:pt x="0" y="872781"/>
                  </a:lnTo>
                  <a:lnTo>
                    <a:pt x="0" y="867701"/>
                  </a:lnTo>
                  <a:lnTo>
                    <a:pt x="0" y="853440"/>
                  </a:lnTo>
                  <a:lnTo>
                    <a:pt x="0" y="750861"/>
                  </a:lnTo>
                  <a:lnTo>
                    <a:pt x="0" y="731520"/>
                  </a:lnTo>
                  <a:lnTo>
                    <a:pt x="0" y="726440"/>
                  </a:lnTo>
                  <a:lnTo>
                    <a:pt x="0" y="628941"/>
                  </a:lnTo>
                  <a:lnTo>
                    <a:pt x="0" y="609600"/>
                  </a:lnTo>
                  <a:lnTo>
                    <a:pt x="0" y="507021"/>
                  </a:lnTo>
                  <a:lnTo>
                    <a:pt x="0" y="503211"/>
                  </a:lnTo>
                  <a:lnTo>
                    <a:pt x="0" y="487680"/>
                  </a:lnTo>
                  <a:lnTo>
                    <a:pt x="0" y="385101"/>
                  </a:lnTo>
                  <a:lnTo>
                    <a:pt x="0" y="365760"/>
                  </a:lnTo>
                  <a:lnTo>
                    <a:pt x="0" y="361950"/>
                  </a:lnTo>
                  <a:lnTo>
                    <a:pt x="0" y="259371"/>
                  </a:lnTo>
                  <a:lnTo>
                    <a:pt x="0" y="243840"/>
                  </a:lnTo>
                  <a:lnTo>
                    <a:pt x="0" y="141261"/>
                  </a:lnTo>
                  <a:lnTo>
                    <a:pt x="0" y="11811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8" name="Oval 386">
              <a:extLst>
                <a:ext uri="{FF2B5EF4-FFF2-40B4-BE49-F238E27FC236}">
                  <a16:creationId xmlns:a16="http://schemas.microsoft.com/office/drawing/2014/main" id="{41AD5133-4229-4972-BB1F-8A62A4270E46}"/>
                </a:ext>
              </a:extLst>
            </p:cNvPr>
            <p:cNvSpPr/>
            <p:nvPr/>
          </p:nvSpPr>
          <p:spPr bwMode="gray">
            <a:xfrm>
              <a:off x="2892187" y="3954485"/>
              <a:ext cx="465732" cy="325304"/>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grpSp>
        <p:nvGrpSpPr>
          <p:cNvPr id="76" name="Group 75">
            <a:extLst>
              <a:ext uri="{FF2B5EF4-FFF2-40B4-BE49-F238E27FC236}">
                <a16:creationId xmlns:a16="http://schemas.microsoft.com/office/drawing/2014/main" id="{5B5F71A4-117B-40F3-9BD9-01D0B89DCDE0}"/>
              </a:ext>
            </a:extLst>
          </p:cNvPr>
          <p:cNvGrpSpPr/>
          <p:nvPr/>
        </p:nvGrpSpPr>
        <p:grpSpPr bwMode="gray">
          <a:xfrm rot="19800000">
            <a:off x="3052071" y="4184691"/>
            <a:ext cx="828850" cy="477886"/>
            <a:chOff x="3394149" y="4370012"/>
            <a:chExt cx="1156306" cy="666685"/>
          </a:xfrm>
        </p:grpSpPr>
        <p:sp>
          <p:nvSpPr>
            <p:cNvPr id="75" name="Freeform: Shape 74">
              <a:extLst>
                <a:ext uri="{FF2B5EF4-FFF2-40B4-BE49-F238E27FC236}">
                  <a16:creationId xmlns:a16="http://schemas.microsoft.com/office/drawing/2014/main" id="{72BFFD3A-1C74-4B09-99DC-5B233DCEBF88}"/>
                </a:ext>
              </a:extLst>
            </p:cNvPr>
            <p:cNvSpPr/>
            <p:nvPr/>
          </p:nvSpPr>
          <p:spPr bwMode="gray">
            <a:xfrm rot="5400000" flipH="1">
              <a:off x="4081453" y="4567694"/>
              <a:ext cx="666684" cy="271320"/>
            </a:xfrm>
            <a:custGeom>
              <a:avLst/>
              <a:gdLst>
                <a:gd name="connsiteX0" fmla="*/ 1 w 666684"/>
                <a:gd name="connsiteY0" fmla="*/ 251989 h 271320"/>
                <a:gd name="connsiteX1" fmla="*/ 1 w 666684"/>
                <a:gd name="connsiteY1" fmla="*/ 251980 h 271320"/>
                <a:gd name="connsiteX2" fmla="*/ 0 w 666684"/>
                <a:gd name="connsiteY2" fmla="*/ 251984 h 271320"/>
                <a:gd name="connsiteX3" fmla="*/ 661514 w 666684"/>
                <a:gd name="connsiteY3" fmla="*/ 213219 h 271320"/>
                <a:gd name="connsiteX4" fmla="*/ 659911 w 666684"/>
                <a:gd name="connsiteY4" fmla="*/ 201201 h 271320"/>
                <a:gd name="connsiteX5" fmla="*/ 333342 w 666684"/>
                <a:gd name="connsiteY5" fmla="*/ 0 h 271320"/>
                <a:gd name="connsiteX6" fmla="*/ 6773 w 666684"/>
                <a:gd name="connsiteY6" fmla="*/ 201201 h 271320"/>
                <a:gd name="connsiteX7" fmla="*/ 5166 w 666684"/>
                <a:gd name="connsiteY7" fmla="*/ 213245 h 271320"/>
                <a:gd name="connsiteX8" fmla="*/ 6773 w 666684"/>
                <a:gd name="connsiteY8" fmla="*/ 203953 h 271320"/>
                <a:gd name="connsiteX9" fmla="*/ 333343 w 666684"/>
                <a:gd name="connsiteY9" fmla="*/ 48773 h 271320"/>
                <a:gd name="connsiteX10" fmla="*/ 659911 w 666684"/>
                <a:gd name="connsiteY10" fmla="*/ 203953 h 271320"/>
                <a:gd name="connsiteX11" fmla="*/ 666684 w 666684"/>
                <a:gd name="connsiteY11" fmla="*/ 271316 h 271320"/>
                <a:gd name="connsiteX12" fmla="*/ 666684 w 666684"/>
                <a:gd name="connsiteY12" fmla="*/ 271313 h 271320"/>
                <a:gd name="connsiteX13" fmla="*/ 666684 w 666684"/>
                <a:gd name="connsiteY13" fmla="*/ 271320 h 271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684" h="271320">
                  <a:moveTo>
                    <a:pt x="1" y="251989"/>
                  </a:moveTo>
                  <a:lnTo>
                    <a:pt x="1" y="251980"/>
                  </a:lnTo>
                  <a:lnTo>
                    <a:pt x="0" y="251984"/>
                  </a:lnTo>
                  <a:close/>
                  <a:moveTo>
                    <a:pt x="661514" y="213219"/>
                  </a:moveTo>
                  <a:lnTo>
                    <a:pt x="659911" y="201201"/>
                  </a:lnTo>
                  <a:cubicBezTo>
                    <a:pt x="628828" y="86376"/>
                    <a:pt x="494429" y="0"/>
                    <a:pt x="333342" y="0"/>
                  </a:cubicBezTo>
                  <a:cubicBezTo>
                    <a:pt x="172255" y="0"/>
                    <a:pt x="37855" y="86376"/>
                    <a:pt x="6773" y="201201"/>
                  </a:cubicBezTo>
                  <a:lnTo>
                    <a:pt x="5166" y="213245"/>
                  </a:lnTo>
                  <a:lnTo>
                    <a:pt x="6773" y="203953"/>
                  </a:lnTo>
                  <a:cubicBezTo>
                    <a:pt x="37856" y="115391"/>
                    <a:pt x="172255" y="48773"/>
                    <a:pt x="333343" y="48773"/>
                  </a:cubicBezTo>
                  <a:cubicBezTo>
                    <a:pt x="494430" y="48773"/>
                    <a:pt x="628829" y="115391"/>
                    <a:pt x="659911" y="203953"/>
                  </a:cubicBezTo>
                  <a:close/>
                  <a:moveTo>
                    <a:pt x="666684" y="271316"/>
                  </a:moveTo>
                  <a:lnTo>
                    <a:pt x="666684" y="271313"/>
                  </a:lnTo>
                  <a:lnTo>
                    <a:pt x="666684" y="27132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2" name="Freeform: Shape 71">
              <a:extLst>
                <a:ext uri="{FF2B5EF4-FFF2-40B4-BE49-F238E27FC236}">
                  <a16:creationId xmlns:a16="http://schemas.microsoft.com/office/drawing/2014/main" id="{644A112D-6126-4B26-9BBC-B34A283FCA1F}"/>
                </a:ext>
              </a:extLst>
            </p:cNvPr>
            <p:cNvSpPr/>
            <p:nvPr/>
          </p:nvSpPr>
          <p:spPr bwMode="gray">
            <a:xfrm rot="16200000">
              <a:off x="3748912" y="4283925"/>
              <a:ext cx="666683" cy="838859"/>
            </a:xfrm>
            <a:custGeom>
              <a:avLst/>
              <a:gdLst>
                <a:gd name="connsiteX0" fmla="*/ 666683 w 666683"/>
                <a:gd name="connsiteY0" fmla="*/ 0 h 838859"/>
                <a:gd name="connsiteX1" fmla="*/ 666683 w 666683"/>
                <a:gd name="connsiteY1" fmla="*/ 169071 h 838859"/>
                <a:gd name="connsiteX2" fmla="*/ 666683 w 666683"/>
                <a:gd name="connsiteY2" fmla="*/ 202211 h 838859"/>
                <a:gd name="connsiteX3" fmla="*/ 666683 w 666683"/>
                <a:gd name="connsiteY3" fmla="*/ 349050 h 838859"/>
                <a:gd name="connsiteX4" fmla="*/ 666683 w 666683"/>
                <a:gd name="connsiteY4" fmla="*/ 371282 h 838859"/>
                <a:gd name="connsiteX5" fmla="*/ 666683 w 666683"/>
                <a:gd name="connsiteY5" fmla="*/ 518120 h 838859"/>
                <a:gd name="connsiteX6" fmla="*/ 666683 w 666683"/>
                <a:gd name="connsiteY6" fmla="*/ 523574 h 838859"/>
                <a:gd name="connsiteX7" fmla="*/ 666683 w 666683"/>
                <a:gd name="connsiteY7" fmla="*/ 551260 h 838859"/>
                <a:gd name="connsiteX8" fmla="*/ 666683 w 666683"/>
                <a:gd name="connsiteY8" fmla="*/ 644511 h 838859"/>
                <a:gd name="connsiteX9" fmla="*/ 333342 w 666683"/>
                <a:gd name="connsiteY9" fmla="*/ 838859 h 838859"/>
                <a:gd name="connsiteX10" fmla="*/ 0 w 666683"/>
                <a:gd name="connsiteY10" fmla="*/ 644511 h 838859"/>
                <a:gd name="connsiteX11" fmla="*/ 0 w 666683"/>
                <a:gd name="connsiteY11" fmla="*/ 551260 h 838859"/>
                <a:gd name="connsiteX12" fmla="*/ 0 w 666683"/>
                <a:gd name="connsiteY12" fmla="*/ 523574 h 838859"/>
                <a:gd name="connsiteX13" fmla="*/ 0 w 666683"/>
                <a:gd name="connsiteY13" fmla="*/ 518120 h 838859"/>
                <a:gd name="connsiteX14" fmla="*/ 0 w 666683"/>
                <a:gd name="connsiteY14" fmla="*/ 371282 h 838859"/>
                <a:gd name="connsiteX15" fmla="*/ 0 w 666683"/>
                <a:gd name="connsiteY15" fmla="*/ 349050 h 838859"/>
                <a:gd name="connsiteX16" fmla="*/ 0 w 666683"/>
                <a:gd name="connsiteY16" fmla="*/ 202211 h 838859"/>
                <a:gd name="connsiteX17" fmla="*/ 0 w 666683"/>
                <a:gd name="connsiteY17" fmla="*/ 169071 h 838859"/>
                <a:gd name="connsiteX18" fmla="*/ 0 w 666683"/>
                <a:gd name="connsiteY18" fmla="*/ 0 h 838859"/>
                <a:gd name="connsiteX19" fmla="*/ 333342 w 666683"/>
                <a:gd name="connsiteY19" fmla="*/ 194348 h 838859"/>
                <a:gd name="connsiteX20" fmla="*/ 666683 w 666683"/>
                <a:gd name="connsiteY20" fmla="*/ 0 h 838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6683" h="838859">
                  <a:moveTo>
                    <a:pt x="666683" y="0"/>
                  </a:moveTo>
                  <a:lnTo>
                    <a:pt x="666683" y="169071"/>
                  </a:lnTo>
                  <a:lnTo>
                    <a:pt x="666683" y="202211"/>
                  </a:lnTo>
                  <a:lnTo>
                    <a:pt x="666683" y="349050"/>
                  </a:lnTo>
                  <a:lnTo>
                    <a:pt x="666683" y="371282"/>
                  </a:lnTo>
                  <a:lnTo>
                    <a:pt x="666683" y="518120"/>
                  </a:lnTo>
                  <a:lnTo>
                    <a:pt x="666683" y="523574"/>
                  </a:lnTo>
                  <a:lnTo>
                    <a:pt x="666683" y="551260"/>
                  </a:lnTo>
                  <a:lnTo>
                    <a:pt x="666683" y="644511"/>
                  </a:lnTo>
                  <a:cubicBezTo>
                    <a:pt x="666683" y="751847"/>
                    <a:pt x="517442" y="838859"/>
                    <a:pt x="333342" y="838859"/>
                  </a:cubicBezTo>
                  <a:cubicBezTo>
                    <a:pt x="149242" y="838859"/>
                    <a:pt x="0" y="751847"/>
                    <a:pt x="0" y="644511"/>
                  </a:cubicBezTo>
                  <a:lnTo>
                    <a:pt x="0" y="551260"/>
                  </a:lnTo>
                  <a:lnTo>
                    <a:pt x="0" y="523574"/>
                  </a:lnTo>
                  <a:lnTo>
                    <a:pt x="0" y="518120"/>
                  </a:lnTo>
                  <a:lnTo>
                    <a:pt x="0" y="371282"/>
                  </a:lnTo>
                  <a:lnTo>
                    <a:pt x="0" y="349050"/>
                  </a:lnTo>
                  <a:lnTo>
                    <a:pt x="0" y="202211"/>
                  </a:lnTo>
                  <a:lnTo>
                    <a:pt x="0" y="169071"/>
                  </a:lnTo>
                  <a:lnTo>
                    <a:pt x="0" y="0"/>
                  </a:lnTo>
                  <a:cubicBezTo>
                    <a:pt x="0" y="107336"/>
                    <a:pt x="149242" y="194348"/>
                    <a:pt x="333342" y="194348"/>
                  </a:cubicBezTo>
                  <a:cubicBezTo>
                    <a:pt x="517442" y="194348"/>
                    <a:pt x="666683" y="107336"/>
                    <a:pt x="666683" y="0"/>
                  </a:cubicBezTo>
                  <a:close/>
                </a:path>
              </a:pathLst>
            </a:custGeom>
            <a:gradFill>
              <a:gsLst>
                <a:gs pos="85000">
                  <a:schemeClr val="bg1"/>
                </a:gs>
                <a:gs pos="37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0" name="Oval 386">
              <a:extLst>
                <a:ext uri="{FF2B5EF4-FFF2-40B4-BE49-F238E27FC236}">
                  <a16:creationId xmlns:a16="http://schemas.microsoft.com/office/drawing/2014/main" id="{7BBBA21A-BFCC-4472-B005-105BB924383E}"/>
                </a:ext>
              </a:extLst>
            </p:cNvPr>
            <p:cNvSpPr/>
            <p:nvPr/>
          </p:nvSpPr>
          <p:spPr bwMode="gray">
            <a:xfrm rot="16200000">
              <a:off x="3293639" y="4470523"/>
              <a:ext cx="666684" cy="465663"/>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7287">
                  <a:schemeClr val="accent2">
                    <a:lumMod val="0"/>
                    <a:lumOff val="100000"/>
                  </a:schemeClr>
                </a:gs>
                <a:gs pos="76000">
                  <a:schemeClr val="accent4"/>
                </a:gs>
              </a:gsLst>
              <a:path path="circle">
                <a:fillToRect l="100000" t="100000"/>
              </a:path>
              <a:tileRect r="-100000" b="-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
        <p:nvSpPr>
          <p:cNvPr id="321" name="Can 74">
            <a:extLst>
              <a:ext uri="{FF2B5EF4-FFF2-40B4-BE49-F238E27FC236}">
                <a16:creationId xmlns:a16="http://schemas.microsoft.com/office/drawing/2014/main" id="{725C661E-E60C-4D8E-9948-10E3F805A344}"/>
              </a:ext>
            </a:extLst>
          </p:cNvPr>
          <p:cNvSpPr/>
          <p:nvPr/>
        </p:nvSpPr>
        <p:spPr bwMode="gray">
          <a:xfrm rot="3600000" flipV="1">
            <a:off x="2841428" y="4159701"/>
            <a:ext cx="82428" cy="202985"/>
          </a:xfrm>
          <a:prstGeom prst="can">
            <a:avLst>
              <a:gd name="adj" fmla="val 58804"/>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nvGrpSpPr>
          <p:cNvPr id="66" name="Group 65">
            <a:extLst>
              <a:ext uri="{FF2B5EF4-FFF2-40B4-BE49-F238E27FC236}">
                <a16:creationId xmlns:a16="http://schemas.microsoft.com/office/drawing/2014/main" id="{2D998D0A-D903-4CFB-AA54-ED378B1C1C90}"/>
              </a:ext>
            </a:extLst>
          </p:cNvPr>
          <p:cNvGrpSpPr/>
          <p:nvPr/>
        </p:nvGrpSpPr>
        <p:grpSpPr bwMode="gray">
          <a:xfrm>
            <a:off x="2423499" y="3926447"/>
            <a:ext cx="444904" cy="820413"/>
            <a:chOff x="2195636" y="4564904"/>
            <a:chExt cx="620673" cy="1144535"/>
          </a:xfrm>
        </p:grpSpPr>
        <p:sp>
          <p:nvSpPr>
            <p:cNvPr id="65" name="Freeform: Shape 64">
              <a:extLst>
                <a:ext uri="{FF2B5EF4-FFF2-40B4-BE49-F238E27FC236}">
                  <a16:creationId xmlns:a16="http://schemas.microsoft.com/office/drawing/2014/main" id="{41C7D771-C179-4BEE-A49E-65CB22192F65}"/>
                </a:ext>
              </a:extLst>
            </p:cNvPr>
            <p:cNvSpPr/>
            <p:nvPr/>
          </p:nvSpPr>
          <p:spPr bwMode="gray">
            <a:xfrm>
              <a:off x="2195636" y="4693595"/>
              <a:ext cx="398513" cy="1015843"/>
            </a:xfrm>
            <a:custGeom>
              <a:avLst/>
              <a:gdLst>
                <a:gd name="connsiteX0" fmla="*/ 620671 w 631138"/>
                <a:gd name="connsiteY0" fmla="*/ 228531 h 1144533"/>
                <a:gd name="connsiteX1" fmla="*/ 630165 w 631138"/>
                <a:gd name="connsiteY1" fmla="*/ 234000 h 1144533"/>
                <a:gd name="connsiteX2" fmla="*/ 631138 w 631138"/>
                <a:gd name="connsiteY2" fmla="*/ 1010514 h 1144533"/>
                <a:gd name="connsiteX3" fmla="*/ 619267 w 631138"/>
                <a:gd name="connsiteY3" fmla="*/ 1017353 h 1144533"/>
                <a:gd name="connsiteX4" fmla="*/ 618280 w 631138"/>
                <a:gd name="connsiteY4" fmla="*/ 229909 h 1144533"/>
                <a:gd name="connsiteX5" fmla="*/ 3052 w 631138"/>
                <a:gd name="connsiteY5" fmla="*/ 128690 h 1144533"/>
                <a:gd name="connsiteX6" fmla="*/ 397526 w 631138"/>
                <a:gd name="connsiteY6" fmla="*/ 355955 h 1144533"/>
                <a:gd name="connsiteX7" fmla="*/ 397524 w 631138"/>
                <a:gd name="connsiteY7" fmla="*/ 355956 h 1144533"/>
                <a:gd name="connsiteX8" fmla="*/ 398513 w 631138"/>
                <a:gd name="connsiteY8" fmla="*/ 1144533 h 1144533"/>
                <a:gd name="connsiteX9" fmla="*/ 398512 w 631138"/>
                <a:gd name="connsiteY9" fmla="*/ 1144533 h 1144533"/>
                <a:gd name="connsiteX10" fmla="*/ 1842 w 631138"/>
                <a:gd name="connsiteY10" fmla="*/ 916004 h 1144533"/>
                <a:gd name="connsiteX11" fmla="*/ 0 w 631138"/>
                <a:gd name="connsiteY11" fmla="*/ 130555 h 1144533"/>
                <a:gd name="connsiteX12" fmla="*/ 224001 w 631138"/>
                <a:gd name="connsiteY12" fmla="*/ 0 h 1144533"/>
                <a:gd name="connsiteX13" fmla="*/ 224002 w 631138"/>
                <a:gd name="connsiteY13" fmla="*/ 1 h 1144533"/>
                <a:gd name="connsiteX14" fmla="*/ 42890 w 631138"/>
                <a:gd name="connsiteY14" fmla="*/ 104343 h 1144533"/>
                <a:gd name="connsiteX15" fmla="*/ 74267 w 631138"/>
                <a:gd name="connsiteY15" fmla="*/ 85166 h 1144533"/>
                <a:gd name="connsiteX16" fmla="*/ 171959 w 631138"/>
                <a:gd name="connsiteY16" fmla="*/ 29983 h 1144533"/>
                <a:gd name="connsiteX0" fmla="*/ 620671 w 630165"/>
                <a:gd name="connsiteY0" fmla="*/ 228531 h 1144533"/>
                <a:gd name="connsiteX1" fmla="*/ 630165 w 630165"/>
                <a:gd name="connsiteY1" fmla="*/ 234000 h 1144533"/>
                <a:gd name="connsiteX2" fmla="*/ 619267 w 630165"/>
                <a:gd name="connsiteY2" fmla="*/ 1017353 h 1144533"/>
                <a:gd name="connsiteX3" fmla="*/ 618280 w 630165"/>
                <a:gd name="connsiteY3" fmla="*/ 229909 h 1144533"/>
                <a:gd name="connsiteX4" fmla="*/ 620671 w 630165"/>
                <a:gd name="connsiteY4" fmla="*/ 228531 h 1144533"/>
                <a:gd name="connsiteX5" fmla="*/ 3052 w 630165"/>
                <a:gd name="connsiteY5" fmla="*/ 128690 h 1144533"/>
                <a:gd name="connsiteX6" fmla="*/ 397526 w 630165"/>
                <a:gd name="connsiteY6" fmla="*/ 355955 h 1144533"/>
                <a:gd name="connsiteX7" fmla="*/ 397524 w 630165"/>
                <a:gd name="connsiteY7" fmla="*/ 355956 h 1144533"/>
                <a:gd name="connsiteX8" fmla="*/ 398513 w 630165"/>
                <a:gd name="connsiteY8" fmla="*/ 1144533 h 1144533"/>
                <a:gd name="connsiteX9" fmla="*/ 398512 w 630165"/>
                <a:gd name="connsiteY9" fmla="*/ 1144533 h 1144533"/>
                <a:gd name="connsiteX10" fmla="*/ 1842 w 630165"/>
                <a:gd name="connsiteY10" fmla="*/ 916004 h 1144533"/>
                <a:gd name="connsiteX11" fmla="*/ 0 w 630165"/>
                <a:gd name="connsiteY11" fmla="*/ 130555 h 1144533"/>
                <a:gd name="connsiteX12" fmla="*/ 3052 w 630165"/>
                <a:gd name="connsiteY12" fmla="*/ 128690 h 1144533"/>
                <a:gd name="connsiteX13" fmla="*/ 224001 w 630165"/>
                <a:gd name="connsiteY13" fmla="*/ 0 h 1144533"/>
                <a:gd name="connsiteX14" fmla="*/ 224002 w 630165"/>
                <a:gd name="connsiteY14" fmla="*/ 1 h 1144533"/>
                <a:gd name="connsiteX15" fmla="*/ 42890 w 630165"/>
                <a:gd name="connsiteY15" fmla="*/ 104343 h 1144533"/>
                <a:gd name="connsiteX16" fmla="*/ 74267 w 630165"/>
                <a:gd name="connsiteY16" fmla="*/ 85166 h 1144533"/>
                <a:gd name="connsiteX17" fmla="*/ 171959 w 630165"/>
                <a:gd name="connsiteY17" fmla="*/ 29983 h 1144533"/>
                <a:gd name="connsiteX18" fmla="*/ 224001 w 630165"/>
                <a:gd name="connsiteY18" fmla="*/ 0 h 1144533"/>
                <a:gd name="connsiteX0" fmla="*/ 620671 w 630165"/>
                <a:gd name="connsiteY0" fmla="*/ 228531 h 1144533"/>
                <a:gd name="connsiteX1" fmla="*/ 630165 w 630165"/>
                <a:gd name="connsiteY1" fmla="*/ 234000 h 1144533"/>
                <a:gd name="connsiteX2" fmla="*/ 618280 w 630165"/>
                <a:gd name="connsiteY2" fmla="*/ 229909 h 1144533"/>
                <a:gd name="connsiteX3" fmla="*/ 620671 w 630165"/>
                <a:gd name="connsiteY3" fmla="*/ 228531 h 1144533"/>
                <a:gd name="connsiteX4" fmla="*/ 3052 w 630165"/>
                <a:gd name="connsiteY4" fmla="*/ 128690 h 1144533"/>
                <a:gd name="connsiteX5" fmla="*/ 397526 w 630165"/>
                <a:gd name="connsiteY5" fmla="*/ 355955 h 1144533"/>
                <a:gd name="connsiteX6" fmla="*/ 397524 w 630165"/>
                <a:gd name="connsiteY6" fmla="*/ 355956 h 1144533"/>
                <a:gd name="connsiteX7" fmla="*/ 398513 w 630165"/>
                <a:gd name="connsiteY7" fmla="*/ 1144533 h 1144533"/>
                <a:gd name="connsiteX8" fmla="*/ 398512 w 630165"/>
                <a:gd name="connsiteY8" fmla="*/ 1144533 h 1144533"/>
                <a:gd name="connsiteX9" fmla="*/ 1842 w 630165"/>
                <a:gd name="connsiteY9" fmla="*/ 916004 h 1144533"/>
                <a:gd name="connsiteX10" fmla="*/ 0 w 630165"/>
                <a:gd name="connsiteY10" fmla="*/ 130555 h 1144533"/>
                <a:gd name="connsiteX11" fmla="*/ 3052 w 630165"/>
                <a:gd name="connsiteY11" fmla="*/ 128690 h 1144533"/>
                <a:gd name="connsiteX12" fmla="*/ 224001 w 630165"/>
                <a:gd name="connsiteY12" fmla="*/ 0 h 1144533"/>
                <a:gd name="connsiteX13" fmla="*/ 224002 w 630165"/>
                <a:gd name="connsiteY13" fmla="*/ 1 h 1144533"/>
                <a:gd name="connsiteX14" fmla="*/ 42890 w 630165"/>
                <a:gd name="connsiteY14" fmla="*/ 104343 h 1144533"/>
                <a:gd name="connsiteX15" fmla="*/ 74267 w 630165"/>
                <a:gd name="connsiteY15" fmla="*/ 85166 h 1144533"/>
                <a:gd name="connsiteX16" fmla="*/ 171959 w 630165"/>
                <a:gd name="connsiteY16" fmla="*/ 29983 h 1144533"/>
                <a:gd name="connsiteX17" fmla="*/ 224001 w 630165"/>
                <a:gd name="connsiteY17" fmla="*/ 0 h 1144533"/>
                <a:gd name="connsiteX0" fmla="*/ 618280 w 630165"/>
                <a:gd name="connsiteY0" fmla="*/ 229909 h 1144533"/>
                <a:gd name="connsiteX1" fmla="*/ 630165 w 630165"/>
                <a:gd name="connsiteY1" fmla="*/ 234000 h 1144533"/>
                <a:gd name="connsiteX2" fmla="*/ 618280 w 630165"/>
                <a:gd name="connsiteY2" fmla="*/ 229909 h 1144533"/>
                <a:gd name="connsiteX3" fmla="*/ 3052 w 630165"/>
                <a:gd name="connsiteY3" fmla="*/ 128690 h 1144533"/>
                <a:gd name="connsiteX4" fmla="*/ 397526 w 630165"/>
                <a:gd name="connsiteY4" fmla="*/ 355955 h 1144533"/>
                <a:gd name="connsiteX5" fmla="*/ 397524 w 630165"/>
                <a:gd name="connsiteY5" fmla="*/ 355956 h 1144533"/>
                <a:gd name="connsiteX6" fmla="*/ 398513 w 630165"/>
                <a:gd name="connsiteY6" fmla="*/ 1144533 h 1144533"/>
                <a:gd name="connsiteX7" fmla="*/ 398512 w 630165"/>
                <a:gd name="connsiteY7" fmla="*/ 1144533 h 1144533"/>
                <a:gd name="connsiteX8" fmla="*/ 1842 w 630165"/>
                <a:gd name="connsiteY8" fmla="*/ 916004 h 1144533"/>
                <a:gd name="connsiteX9" fmla="*/ 0 w 630165"/>
                <a:gd name="connsiteY9" fmla="*/ 130555 h 1144533"/>
                <a:gd name="connsiteX10" fmla="*/ 3052 w 630165"/>
                <a:gd name="connsiteY10" fmla="*/ 128690 h 1144533"/>
                <a:gd name="connsiteX11" fmla="*/ 224001 w 630165"/>
                <a:gd name="connsiteY11" fmla="*/ 0 h 1144533"/>
                <a:gd name="connsiteX12" fmla="*/ 224002 w 630165"/>
                <a:gd name="connsiteY12" fmla="*/ 1 h 1144533"/>
                <a:gd name="connsiteX13" fmla="*/ 42890 w 630165"/>
                <a:gd name="connsiteY13" fmla="*/ 104343 h 1144533"/>
                <a:gd name="connsiteX14" fmla="*/ 74267 w 630165"/>
                <a:gd name="connsiteY14" fmla="*/ 85166 h 1144533"/>
                <a:gd name="connsiteX15" fmla="*/ 171959 w 630165"/>
                <a:gd name="connsiteY15" fmla="*/ 29983 h 1144533"/>
                <a:gd name="connsiteX16" fmla="*/ 224001 w 630165"/>
                <a:gd name="connsiteY16" fmla="*/ 0 h 1144533"/>
                <a:gd name="connsiteX0" fmla="*/ 3052 w 398513"/>
                <a:gd name="connsiteY0" fmla="*/ 128690 h 1144533"/>
                <a:gd name="connsiteX1" fmla="*/ 397526 w 398513"/>
                <a:gd name="connsiteY1" fmla="*/ 355955 h 1144533"/>
                <a:gd name="connsiteX2" fmla="*/ 397524 w 398513"/>
                <a:gd name="connsiteY2" fmla="*/ 355956 h 1144533"/>
                <a:gd name="connsiteX3" fmla="*/ 398513 w 398513"/>
                <a:gd name="connsiteY3" fmla="*/ 1144533 h 1144533"/>
                <a:gd name="connsiteX4" fmla="*/ 398512 w 398513"/>
                <a:gd name="connsiteY4" fmla="*/ 1144533 h 1144533"/>
                <a:gd name="connsiteX5" fmla="*/ 1842 w 398513"/>
                <a:gd name="connsiteY5" fmla="*/ 916004 h 1144533"/>
                <a:gd name="connsiteX6" fmla="*/ 0 w 398513"/>
                <a:gd name="connsiteY6" fmla="*/ 130555 h 1144533"/>
                <a:gd name="connsiteX7" fmla="*/ 3052 w 398513"/>
                <a:gd name="connsiteY7" fmla="*/ 128690 h 1144533"/>
                <a:gd name="connsiteX8" fmla="*/ 224001 w 398513"/>
                <a:gd name="connsiteY8" fmla="*/ 0 h 1144533"/>
                <a:gd name="connsiteX9" fmla="*/ 224002 w 398513"/>
                <a:gd name="connsiteY9" fmla="*/ 1 h 1144533"/>
                <a:gd name="connsiteX10" fmla="*/ 42890 w 398513"/>
                <a:gd name="connsiteY10" fmla="*/ 104343 h 1144533"/>
                <a:gd name="connsiteX11" fmla="*/ 74267 w 398513"/>
                <a:gd name="connsiteY11" fmla="*/ 85166 h 1144533"/>
                <a:gd name="connsiteX12" fmla="*/ 171959 w 398513"/>
                <a:gd name="connsiteY12" fmla="*/ 29983 h 1144533"/>
                <a:gd name="connsiteX13" fmla="*/ 224001 w 398513"/>
                <a:gd name="connsiteY13" fmla="*/ 0 h 1144533"/>
                <a:gd name="connsiteX0" fmla="*/ 3052 w 398513"/>
                <a:gd name="connsiteY0" fmla="*/ 128689 h 1144532"/>
                <a:gd name="connsiteX1" fmla="*/ 397526 w 398513"/>
                <a:gd name="connsiteY1" fmla="*/ 355954 h 1144532"/>
                <a:gd name="connsiteX2" fmla="*/ 397524 w 398513"/>
                <a:gd name="connsiteY2" fmla="*/ 355955 h 1144532"/>
                <a:gd name="connsiteX3" fmla="*/ 398513 w 398513"/>
                <a:gd name="connsiteY3" fmla="*/ 1144532 h 1144532"/>
                <a:gd name="connsiteX4" fmla="*/ 398512 w 398513"/>
                <a:gd name="connsiteY4" fmla="*/ 1144532 h 1144532"/>
                <a:gd name="connsiteX5" fmla="*/ 1842 w 398513"/>
                <a:gd name="connsiteY5" fmla="*/ 916003 h 1144532"/>
                <a:gd name="connsiteX6" fmla="*/ 0 w 398513"/>
                <a:gd name="connsiteY6" fmla="*/ 130554 h 1144532"/>
                <a:gd name="connsiteX7" fmla="*/ 3052 w 398513"/>
                <a:gd name="connsiteY7" fmla="*/ 128689 h 1144532"/>
                <a:gd name="connsiteX8" fmla="*/ 171959 w 398513"/>
                <a:gd name="connsiteY8" fmla="*/ 29982 h 1144532"/>
                <a:gd name="connsiteX9" fmla="*/ 224002 w 398513"/>
                <a:gd name="connsiteY9" fmla="*/ 0 h 1144532"/>
                <a:gd name="connsiteX10" fmla="*/ 42890 w 398513"/>
                <a:gd name="connsiteY10" fmla="*/ 104342 h 1144532"/>
                <a:gd name="connsiteX11" fmla="*/ 74267 w 398513"/>
                <a:gd name="connsiteY11" fmla="*/ 85165 h 1144532"/>
                <a:gd name="connsiteX12" fmla="*/ 171959 w 398513"/>
                <a:gd name="connsiteY12" fmla="*/ 29982 h 1144532"/>
                <a:gd name="connsiteX0" fmla="*/ 3052 w 398513"/>
                <a:gd name="connsiteY0" fmla="*/ 128689 h 1144532"/>
                <a:gd name="connsiteX1" fmla="*/ 397526 w 398513"/>
                <a:gd name="connsiteY1" fmla="*/ 355954 h 1144532"/>
                <a:gd name="connsiteX2" fmla="*/ 397524 w 398513"/>
                <a:gd name="connsiteY2" fmla="*/ 355955 h 1144532"/>
                <a:gd name="connsiteX3" fmla="*/ 398513 w 398513"/>
                <a:gd name="connsiteY3" fmla="*/ 1144532 h 1144532"/>
                <a:gd name="connsiteX4" fmla="*/ 398512 w 398513"/>
                <a:gd name="connsiteY4" fmla="*/ 1144532 h 1144532"/>
                <a:gd name="connsiteX5" fmla="*/ 1842 w 398513"/>
                <a:gd name="connsiteY5" fmla="*/ 916003 h 1144532"/>
                <a:gd name="connsiteX6" fmla="*/ 0 w 398513"/>
                <a:gd name="connsiteY6" fmla="*/ 130554 h 1144532"/>
                <a:gd name="connsiteX7" fmla="*/ 3052 w 398513"/>
                <a:gd name="connsiteY7" fmla="*/ 128689 h 1144532"/>
                <a:gd name="connsiteX8" fmla="*/ 74267 w 398513"/>
                <a:gd name="connsiteY8" fmla="*/ 85165 h 1144532"/>
                <a:gd name="connsiteX9" fmla="*/ 224002 w 398513"/>
                <a:gd name="connsiteY9" fmla="*/ 0 h 1144532"/>
                <a:gd name="connsiteX10" fmla="*/ 42890 w 398513"/>
                <a:gd name="connsiteY10" fmla="*/ 104342 h 1144532"/>
                <a:gd name="connsiteX11" fmla="*/ 74267 w 398513"/>
                <a:gd name="connsiteY11" fmla="*/ 85165 h 1144532"/>
                <a:gd name="connsiteX0" fmla="*/ 3052 w 398513"/>
                <a:gd name="connsiteY0" fmla="*/ 43524 h 1059367"/>
                <a:gd name="connsiteX1" fmla="*/ 397526 w 398513"/>
                <a:gd name="connsiteY1" fmla="*/ 270789 h 1059367"/>
                <a:gd name="connsiteX2" fmla="*/ 397524 w 398513"/>
                <a:gd name="connsiteY2" fmla="*/ 270790 h 1059367"/>
                <a:gd name="connsiteX3" fmla="*/ 398513 w 398513"/>
                <a:gd name="connsiteY3" fmla="*/ 1059367 h 1059367"/>
                <a:gd name="connsiteX4" fmla="*/ 398512 w 398513"/>
                <a:gd name="connsiteY4" fmla="*/ 1059367 h 1059367"/>
                <a:gd name="connsiteX5" fmla="*/ 1842 w 398513"/>
                <a:gd name="connsiteY5" fmla="*/ 830838 h 1059367"/>
                <a:gd name="connsiteX6" fmla="*/ 0 w 398513"/>
                <a:gd name="connsiteY6" fmla="*/ 45389 h 1059367"/>
                <a:gd name="connsiteX7" fmla="*/ 3052 w 398513"/>
                <a:gd name="connsiteY7" fmla="*/ 43524 h 1059367"/>
                <a:gd name="connsiteX8" fmla="*/ 74267 w 398513"/>
                <a:gd name="connsiteY8" fmla="*/ 0 h 1059367"/>
                <a:gd name="connsiteX9" fmla="*/ 42890 w 398513"/>
                <a:gd name="connsiteY9" fmla="*/ 19177 h 1059367"/>
                <a:gd name="connsiteX10" fmla="*/ 74267 w 398513"/>
                <a:gd name="connsiteY10" fmla="*/ 0 h 1059367"/>
                <a:gd name="connsiteX0" fmla="*/ 3052 w 398513"/>
                <a:gd name="connsiteY0" fmla="*/ 0 h 1015843"/>
                <a:gd name="connsiteX1" fmla="*/ 397526 w 398513"/>
                <a:gd name="connsiteY1" fmla="*/ 227265 h 1015843"/>
                <a:gd name="connsiteX2" fmla="*/ 397524 w 398513"/>
                <a:gd name="connsiteY2" fmla="*/ 227266 h 1015843"/>
                <a:gd name="connsiteX3" fmla="*/ 398513 w 398513"/>
                <a:gd name="connsiteY3" fmla="*/ 1015843 h 1015843"/>
                <a:gd name="connsiteX4" fmla="*/ 398512 w 398513"/>
                <a:gd name="connsiteY4" fmla="*/ 1015843 h 1015843"/>
                <a:gd name="connsiteX5" fmla="*/ 1842 w 398513"/>
                <a:gd name="connsiteY5" fmla="*/ 787314 h 1015843"/>
                <a:gd name="connsiteX6" fmla="*/ 0 w 398513"/>
                <a:gd name="connsiteY6" fmla="*/ 1865 h 1015843"/>
                <a:gd name="connsiteX7" fmla="*/ 3052 w 398513"/>
                <a:gd name="connsiteY7" fmla="*/ 0 h 1015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513" h="1015843">
                  <a:moveTo>
                    <a:pt x="3052" y="0"/>
                  </a:moveTo>
                  <a:lnTo>
                    <a:pt x="397526" y="227265"/>
                  </a:lnTo>
                  <a:cubicBezTo>
                    <a:pt x="397525" y="227265"/>
                    <a:pt x="397525" y="227266"/>
                    <a:pt x="397524" y="227266"/>
                  </a:cubicBezTo>
                  <a:cubicBezTo>
                    <a:pt x="397854" y="490125"/>
                    <a:pt x="398183" y="752984"/>
                    <a:pt x="398513" y="1015843"/>
                  </a:cubicBezTo>
                  <a:lnTo>
                    <a:pt x="398512" y="1015843"/>
                  </a:lnTo>
                  <a:lnTo>
                    <a:pt x="1842" y="787314"/>
                  </a:lnTo>
                  <a:cubicBezTo>
                    <a:pt x="1229" y="525497"/>
                    <a:pt x="921" y="394589"/>
                    <a:pt x="0" y="1865"/>
                  </a:cubicBezTo>
                  <a:lnTo>
                    <a:pt x="3052"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0" name="Freeform: Shape 59">
              <a:extLst>
                <a:ext uri="{FF2B5EF4-FFF2-40B4-BE49-F238E27FC236}">
                  <a16:creationId xmlns:a16="http://schemas.microsoft.com/office/drawing/2014/main" id="{AB2BE6B4-A7B4-4135-B00D-8ABD4418B6A5}"/>
                </a:ext>
              </a:extLst>
            </p:cNvPr>
            <p:cNvSpPr/>
            <p:nvPr/>
          </p:nvSpPr>
          <p:spPr bwMode="gray">
            <a:xfrm>
              <a:off x="2593161" y="4794181"/>
              <a:ext cx="221743" cy="915258"/>
            </a:xfrm>
            <a:custGeom>
              <a:avLst/>
              <a:gdLst>
                <a:gd name="connsiteX0" fmla="*/ 220755 w 221743"/>
                <a:gd name="connsiteY0" fmla="*/ 0 h 915258"/>
                <a:gd name="connsiteX1" fmla="*/ 221743 w 221743"/>
                <a:gd name="connsiteY1" fmla="*/ 788077 h 915258"/>
                <a:gd name="connsiteX2" fmla="*/ 989 w 221743"/>
                <a:gd name="connsiteY2" fmla="*/ 915258 h 915258"/>
                <a:gd name="connsiteX3" fmla="*/ 0 w 221743"/>
                <a:gd name="connsiteY3" fmla="*/ 126679 h 915258"/>
              </a:gdLst>
              <a:ahLst/>
              <a:cxnLst>
                <a:cxn ang="0">
                  <a:pos x="connsiteX0" y="connsiteY0"/>
                </a:cxn>
                <a:cxn ang="0">
                  <a:pos x="connsiteX1" y="connsiteY1"/>
                </a:cxn>
                <a:cxn ang="0">
                  <a:pos x="connsiteX2" y="connsiteY2"/>
                </a:cxn>
                <a:cxn ang="0">
                  <a:pos x="connsiteX3" y="connsiteY3"/>
                </a:cxn>
              </a:cxnLst>
              <a:rect l="l" t="t" r="r" b="b"/>
              <a:pathLst>
                <a:path w="221743" h="915258">
                  <a:moveTo>
                    <a:pt x="220755" y="0"/>
                  </a:moveTo>
                  <a:lnTo>
                    <a:pt x="221743" y="788077"/>
                  </a:lnTo>
                  <a:lnTo>
                    <a:pt x="989" y="915258"/>
                  </a:lnTo>
                  <a:cubicBezTo>
                    <a:pt x="659" y="652398"/>
                    <a:pt x="330" y="389539"/>
                    <a:pt x="0" y="126679"/>
                  </a:cubicBez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1" name="Freeform: Shape 50">
              <a:extLst>
                <a:ext uri="{FF2B5EF4-FFF2-40B4-BE49-F238E27FC236}">
                  <a16:creationId xmlns:a16="http://schemas.microsoft.com/office/drawing/2014/main" id="{D298B030-43E6-4869-9281-4AD54F256D0A}"/>
                </a:ext>
              </a:extLst>
            </p:cNvPr>
            <p:cNvSpPr/>
            <p:nvPr/>
          </p:nvSpPr>
          <p:spPr bwMode="gray">
            <a:xfrm>
              <a:off x="2197477" y="4564904"/>
              <a:ext cx="618832" cy="356522"/>
            </a:xfrm>
            <a:custGeom>
              <a:avLst/>
              <a:gdLst>
                <a:gd name="connsiteX0" fmla="*/ 222162 w 618832"/>
                <a:gd name="connsiteY0" fmla="*/ 0 h 356522"/>
                <a:gd name="connsiteX1" fmla="*/ 618832 w 618832"/>
                <a:gd name="connsiteY1" fmla="*/ 228530 h 356522"/>
                <a:gd name="connsiteX2" fmla="*/ 396670 w 618832"/>
                <a:gd name="connsiteY2" fmla="*/ 356522 h 356522"/>
                <a:gd name="connsiteX3" fmla="*/ 0 w 618832"/>
                <a:gd name="connsiteY3" fmla="*/ 127992 h 356522"/>
              </a:gdLst>
              <a:ahLst/>
              <a:cxnLst>
                <a:cxn ang="0">
                  <a:pos x="connsiteX0" y="connsiteY0"/>
                </a:cxn>
                <a:cxn ang="0">
                  <a:pos x="connsiteX1" y="connsiteY1"/>
                </a:cxn>
                <a:cxn ang="0">
                  <a:pos x="connsiteX2" y="connsiteY2"/>
                </a:cxn>
                <a:cxn ang="0">
                  <a:pos x="connsiteX3" y="connsiteY3"/>
                </a:cxn>
              </a:cxnLst>
              <a:rect l="l" t="t" r="r" b="b"/>
              <a:pathLst>
                <a:path w="618832" h="356522">
                  <a:moveTo>
                    <a:pt x="222162" y="0"/>
                  </a:moveTo>
                  <a:lnTo>
                    <a:pt x="618832" y="228530"/>
                  </a:lnTo>
                  <a:lnTo>
                    <a:pt x="396670" y="356522"/>
                  </a:lnTo>
                  <a:lnTo>
                    <a:pt x="0" y="127992"/>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p>
          </p:txBody>
        </p:sp>
      </p:grpSp>
      <p:grpSp>
        <p:nvGrpSpPr>
          <p:cNvPr id="333" name="Group 332">
            <a:extLst>
              <a:ext uri="{FF2B5EF4-FFF2-40B4-BE49-F238E27FC236}">
                <a16:creationId xmlns:a16="http://schemas.microsoft.com/office/drawing/2014/main" id="{44631D71-317B-4095-B785-BA66BD69EE4F}"/>
              </a:ext>
            </a:extLst>
          </p:cNvPr>
          <p:cNvGrpSpPr/>
          <p:nvPr/>
        </p:nvGrpSpPr>
        <p:grpSpPr bwMode="gray">
          <a:xfrm>
            <a:off x="3625193" y="4310803"/>
            <a:ext cx="777399" cy="896319"/>
            <a:chOff x="4415972" y="177612"/>
            <a:chExt cx="3041468" cy="3506727"/>
          </a:xfrm>
        </p:grpSpPr>
        <p:sp>
          <p:nvSpPr>
            <p:cNvPr id="334" name="Rectangle 25">
              <a:extLst>
                <a:ext uri="{FF2B5EF4-FFF2-40B4-BE49-F238E27FC236}">
                  <a16:creationId xmlns:a16="http://schemas.microsoft.com/office/drawing/2014/main" id="{966D0D6B-3AE2-40A8-A5BC-F2D227BF9DDC}"/>
                </a:ext>
              </a:extLst>
            </p:cNvPr>
            <p:cNvSpPr/>
            <p:nvPr/>
          </p:nvSpPr>
          <p:spPr bwMode="gray">
            <a:xfrm>
              <a:off x="4415972" y="1051037"/>
              <a:ext cx="1520338" cy="2633302"/>
            </a:xfrm>
            <a:custGeom>
              <a:avLst/>
              <a:gdLst/>
              <a:ahLst/>
              <a:cxnLst/>
              <a:rect l="l" t="t" r="r" b="b"/>
              <a:pathLst>
                <a:path w="1520338" h="2633302">
                  <a:moveTo>
                    <a:pt x="0" y="0"/>
                  </a:moveTo>
                  <a:lnTo>
                    <a:pt x="1518719" y="878702"/>
                  </a:lnTo>
                  <a:lnTo>
                    <a:pt x="1520338" y="2633302"/>
                  </a:lnTo>
                  <a:lnTo>
                    <a:pt x="1619" y="175460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35" name="Rectangle 26">
              <a:extLst>
                <a:ext uri="{FF2B5EF4-FFF2-40B4-BE49-F238E27FC236}">
                  <a16:creationId xmlns:a16="http://schemas.microsoft.com/office/drawing/2014/main" id="{076CB0D7-CBB1-4AD1-80C2-FD33E132DD21}"/>
                </a:ext>
              </a:extLst>
            </p:cNvPr>
            <p:cNvSpPr/>
            <p:nvPr/>
          </p:nvSpPr>
          <p:spPr bwMode="gray">
            <a:xfrm>
              <a:off x="5936162" y="1051037"/>
              <a:ext cx="1520338" cy="2633302"/>
            </a:xfrm>
            <a:custGeom>
              <a:avLst/>
              <a:gdLst/>
              <a:ahLst/>
              <a:cxnLst/>
              <a:rect l="l" t="t" r="r" b="b"/>
              <a:pathLst>
                <a:path w="1520338" h="2633302">
                  <a:moveTo>
                    <a:pt x="1520338" y="0"/>
                  </a:moveTo>
                  <a:lnTo>
                    <a:pt x="1518719" y="1754600"/>
                  </a:lnTo>
                  <a:lnTo>
                    <a:pt x="0" y="2633302"/>
                  </a:lnTo>
                  <a:lnTo>
                    <a:pt x="1619" y="878702"/>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36" name="Diamond 335">
              <a:extLst>
                <a:ext uri="{FF2B5EF4-FFF2-40B4-BE49-F238E27FC236}">
                  <a16:creationId xmlns:a16="http://schemas.microsoft.com/office/drawing/2014/main" id="{7E7DBD24-4FEC-42B1-A242-3E481CF0D44A}"/>
                </a:ext>
              </a:extLst>
            </p:cNvPr>
            <p:cNvSpPr/>
            <p:nvPr/>
          </p:nvSpPr>
          <p:spPr bwMode="gray">
            <a:xfrm>
              <a:off x="4416765" y="177612"/>
              <a:ext cx="3040675" cy="1751796"/>
            </a:xfrm>
            <a:prstGeom prst="diamond">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
        <p:nvSpPr>
          <p:cNvPr id="320" name="Freeform: Shape 319">
            <a:extLst>
              <a:ext uri="{FF2B5EF4-FFF2-40B4-BE49-F238E27FC236}">
                <a16:creationId xmlns:a16="http://schemas.microsoft.com/office/drawing/2014/main" id="{6F020929-6DA4-430B-88AB-C30821F845CA}"/>
              </a:ext>
            </a:extLst>
          </p:cNvPr>
          <p:cNvSpPr/>
          <p:nvPr/>
        </p:nvSpPr>
        <p:spPr bwMode="gray">
          <a:xfrm rot="3600000" flipV="1">
            <a:off x="3072235" y="4488157"/>
            <a:ext cx="672118" cy="575355"/>
          </a:xfrm>
          <a:custGeom>
            <a:avLst/>
            <a:gdLst>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374112 w 937653"/>
              <a:gd name="connsiteY9" fmla="*/ 257065 h 802662"/>
              <a:gd name="connsiteX10" fmla="*/ 374384 w 937653"/>
              <a:gd name="connsiteY10" fmla="*/ 257408 h 802662"/>
              <a:gd name="connsiteX11" fmla="*/ 374599 w 937653"/>
              <a:gd name="connsiteY11" fmla="*/ 257348 h 802662"/>
              <a:gd name="connsiteX12" fmla="*/ 559074 w 937653"/>
              <a:gd name="connsiteY12" fmla="*/ 364510 h 802662"/>
              <a:gd name="connsiteX13" fmla="*/ 575229 w 937653"/>
              <a:gd name="connsiteY13" fmla="*/ 392492 h 802662"/>
              <a:gd name="connsiteX14" fmla="*/ 575206 w 937653"/>
              <a:gd name="connsiteY14" fmla="*/ 396105 h 802662"/>
              <a:gd name="connsiteX15" fmla="*/ 574764 w 937653"/>
              <a:gd name="connsiteY15" fmla="*/ 394245 h 802662"/>
              <a:gd name="connsiteX16" fmla="*/ 577516 w 937653"/>
              <a:gd name="connsiteY16" fmla="*/ 631568 h 802662"/>
              <a:gd name="connsiteX17" fmla="*/ 582034 w 937653"/>
              <a:gd name="connsiteY17" fmla="*/ 644728 h 802662"/>
              <a:gd name="connsiteX18" fmla="*/ 635013 w 937653"/>
              <a:gd name="connsiteY18" fmla="*/ 665378 h 802662"/>
              <a:gd name="connsiteX19" fmla="*/ 692510 w 937653"/>
              <a:gd name="connsiteY19" fmla="*/ 631568 h 802662"/>
              <a:gd name="connsiteX20" fmla="*/ 692511 w 937653"/>
              <a:gd name="connsiteY20" fmla="*/ 436889 h 802662"/>
              <a:gd name="connsiteX21" fmla="*/ 804216 w 937653"/>
              <a:gd name="connsiteY21" fmla="*/ 501794 h 802662"/>
              <a:gd name="connsiteX22" fmla="*/ 820371 w 937653"/>
              <a:gd name="connsiteY22" fmla="*/ 529776 h 802662"/>
              <a:gd name="connsiteX23" fmla="*/ 820348 w 937653"/>
              <a:gd name="connsiteY23" fmla="*/ 533389 h 802662"/>
              <a:gd name="connsiteX24" fmla="*/ 819906 w 937653"/>
              <a:gd name="connsiteY24" fmla="*/ 531529 h 802662"/>
              <a:gd name="connsiteX25" fmla="*/ 822658 w 937653"/>
              <a:gd name="connsiteY25" fmla="*/ 768852 h 802662"/>
              <a:gd name="connsiteX26" fmla="*/ 827176 w 937653"/>
              <a:gd name="connsiteY26" fmla="*/ 782012 h 802662"/>
              <a:gd name="connsiteX27" fmla="*/ 880155 w 937653"/>
              <a:gd name="connsiteY27" fmla="*/ 802662 h 802662"/>
              <a:gd name="connsiteX28" fmla="*/ 937652 w 937653"/>
              <a:gd name="connsiteY28" fmla="*/ 768852 h 802662"/>
              <a:gd name="connsiteX29" fmla="*/ 937653 w 937653"/>
              <a:gd name="connsiteY29" fmla="*/ 553293 h 802662"/>
              <a:gd name="connsiteX30" fmla="*/ 935356 w 937653"/>
              <a:gd name="connsiteY30" fmla="*/ 528691 h 802662"/>
              <a:gd name="connsiteX31" fmla="*/ 933921 w 937653"/>
              <a:gd name="connsiteY31" fmla="*/ 512593 h 802662"/>
              <a:gd name="connsiteX32" fmla="*/ 916493 w 937653"/>
              <a:gd name="connsiteY32" fmla="*/ 455625 h 802662"/>
              <a:gd name="connsiteX33" fmla="*/ 862633 w 937653"/>
              <a:gd name="connsiteY33" fmla="*/ 402765 h 802662"/>
              <a:gd name="connsiteX34" fmla="*/ 410794 w 937653"/>
              <a:gd name="connsiteY34" fmla="*/ 145137 h 802662"/>
              <a:gd name="connsiteX35" fmla="*/ 401536 w 937653"/>
              <a:gd name="connsiteY35" fmla="*/ 142348 h 802662"/>
              <a:gd name="connsiteX36" fmla="*/ 165652 w 937653"/>
              <a:gd name="connsiteY36" fmla="*/ 7853 h 802662"/>
              <a:gd name="connsiteX37" fmla="*/ 120174 w 937653"/>
              <a:gd name="connsiteY37" fmla="*/ 151 h 802662"/>
              <a:gd name="connsiteX38" fmla="*/ 60741 w 937653"/>
              <a:gd name="connsiteY38" fmla="*/ 19482 h 802662"/>
              <a:gd name="connsiteX39" fmla="*/ 20119 w 937653"/>
              <a:gd name="connsiteY39" fmla="*/ 63059 h 802662"/>
              <a:gd name="connsiteX40" fmla="*/ 1271 w 937653"/>
              <a:gd name="connsiteY40" fmla="*/ 136133 h 802662"/>
              <a:gd name="connsiteX41" fmla="*/ 2272 w 937653"/>
              <a:gd name="connsiteY41" fmla="*/ 296515 h 802662"/>
              <a:gd name="connsiteX42" fmla="*/ 6790 w 937653"/>
              <a:gd name="connsiteY42"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374112 w 937653"/>
              <a:gd name="connsiteY9" fmla="*/ 257065 h 802662"/>
              <a:gd name="connsiteX10" fmla="*/ 374384 w 937653"/>
              <a:gd name="connsiteY10" fmla="*/ 257408 h 802662"/>
              <a:gd name="connsiteX11" fmla="*/ 374599 w 937653"/>
              <a:gd name="connsiteY11" fmla="*/ 257348 h 802662"/>
              <a:gd name="connsiteX12" fmla="*/ 559074 w 937653"/>
              <a:gd name="connsiteY12" fmla="*/ 364510 h 802662"/>
              <a:gd name="connsiteX13" fmla="*/ 575229 w 937653"/>
              <a:gd name="connsiteY13" fmla="*/ 392492 h 802662"/>
              <a:gd name="connsiteX14" fmla="*/ 575206 w 937653"/>
              <a:gd name="connsiteY14" fmla="*/ 396105 h 802662"/>
              <a:gd name="connsiteX15" fmla="*/ 574764 w 937653"/>
              <a:gd name="connsiteY15" fmla="*/ 394245 h 802662"/>
              <a:gd name="connsiteX16" fmla="*/ 577516 w 937653"/>
              <a:gd name="connsiteY16" fmla="*/ 631568 h 802662"/>
              <a:gd name="connsiteX17" fmla="*/ 582034 w 937653"/>
              <a:gd name="connsiteY17" fmla="*/ 644728 h 802662"/>
              <a:gd name="connsiteX18" fmla="*/ 635013 w 937653"/>
              <a:gd name="connsiteY18" fmla="*/ 665378 h 802662"/>
              <a:gd name="connsiteX19" fmla="*/ 692511 w 937653"/>
              <a:gd name="connsiteY19" fmla="*/ 436889 h 802662"/>
              <a:gd name="connsiteX20" fmla="*/ 804216 w 937653"/>
              <a:gd name="connsiteY20" fmla="*/ 501794 h 802662"/>
              <a:gd name="connsiteX21" fmla="*/ 820371 w 937653"/>
              <a:gd name="connsiteY21" fmla="*/ 529776 h 802662"/>
              <a:gd name="connsiteX22" fmla="*/ 820348 w 937653"/>
              <a:gd name="connsiteY22" fmla="*/ 533389 h 802662"/>
              <a:gd name="connsiteX23" fmla="*/ 819906 w 937653"/>
              <a:gd name="connsiteY23" fmla="*/ 531529 h 802662"/>
              <a:gd name="connsiteX24" fmla="*/ 822658 w 937653"/>
              <a:gd name="connsiteY24" fmla="*/ 768852 h 802662"/>
              <a:gd name="connsiteX25" fmla="*/ 827176 w 937653"/>
              <a:gd name="connsiteY25" fmla="*/ 782012 h 802662"/>
              <a:gd name="connsiteX26" fmla="*/ 880155 w 937653"/>
              <a:gd name="connsiteY26" fmla="*/ 802662 h 802662"/>
              <a:gd name="connsiteX27" fmla="*/ 937652 w 937653"/>
              <a:gd name="connsiteY27" fmla="*/ 768852 h 802662"/>
              <a:gd name="connsiteX28" fmla="*/ 937653 w 937653"/>
              <a:gd name="connsiteY28" fmla="*/ 553293 h 802662"/>
              <a:gd name="connsiteX29" fmla="*/ 935356 w 937653"/>
              <a:gd name="connsiteY29" fmla="*/ 528691 h 802662"/>
              <a:gd name="connsiteX30" fmla="*/ 933921 w 937653"/>
              <a:gd name="connsiteY30" fmla="*/ 512593 h 802662"/>
              <a:gd name="connsiteX31" fmla="*/ 916493 w 937653"/>
              <a:gd name="connsiteY31" fmla="*/ 455625 h 802662"/>
              <a:gd name="connsiteX32" fmla="*/ 862633 w 937653"/>
              <a:gd name="connsiteY32" fmla="*/ 402765 h 802662"/>
              <a:gd name="connsiteX33" fmla="*/ 410794 w 937653"/>
              <a:gd name="connsiteY33" fmla="*/ 145137 h 802662"/>
              <a:gd name="connsiteX34" fmla="*/ 401536 w 937653"/>
              <a:gd name="connsiteY34" fmla="*/ 142348 h 802662"/>
              <a:gd name="connsiteX35" fmla="*/ 165652 w 937653"/>
              <a:gd name="connsiteY35" fmla="*/ 7853 h 802662"/>
              <a:gd name="connsiteX36" fmla="*/ 120174 w 937653"/>
              <a:gd name="connsiteY36" fmla="*/ 151 h 802662"/>
              <a:gd name="connsiteX37" fmla="*/ 60741 w 937653"/>
              <a:gd name="connsiteY37" fmla="*/ 19482 h 802662"/>
              <a:gd name="connsiteX38" fmla="*/ 20119 w 937653"/>
              <a:gd name="connsiteY38" fmla="*/ 63059 h 802662"/>
              <a:gd name="connsiteX39" fmla="*/ 1271 w 937653"/>
              <a:gd name="connsiteY39" fmla="*/ 136133 h 802662"/>
              <a:gd name="connsiteX40" fmla="*/ 2272 w 937653"/>
              <a:gd name="connsiteY40" fmla="*/ 296515 h 802662"/>
              <a:gd name="connsiteX41" fmla="*/ 6790 w 937653"/>
              <a:gd name="connsiteY41"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374112 w 937653"/>
              <a:gd name="connsiteY9" fmla="*/ 257065 h 802662"/>
              <a:gd name="connsiteX10" fmla="*/ 374384 w 937653"/>
              <a:gd name="connsiteY10" fmla="*/ 257408 h 802662"/>
              <a:gd name="connsiteX11" fmla="*/ 374599 w 937653"/>
              <a:gd name="connsiteY11" fmla="*/ 257348 h 802662"/>
              <a:gd name="connsiteX12" fmla="*/ 559074 w 937653"/>
              <a:gd name="connsiteY12" fmla="*/ 364510 h 802662"/>
              <a:gd name="connsiteX13" fmla="*/ 575229 w 937653"/>
              <a:gd name="connsiteY13" fmla="*/ 392492 h 802662"/>
              <a:gd name="connsiteX14" fmla="*/ 575206 w 937653"/>
              <a:gd name="connsiteY14" fmla="*/ 396105 h 802662"/>
              <a:gd name="connsiteX15" fmla="*/ 574764 w 937653"/>
              <a:gd name="connsiteY15" fmla="*/ 394245 h 802662"/>
              <a:gd name="connsiteX16" fmla="*/ 577516 w 937653"/>
              <a:gd name="connsiteY16" fmla="*/ 631568 h 802662"/>
              <a:gd name="connsiteX17" fmla="*/ 582034 w 937653"/>
              <a:gd name="connsiteY17" fmla="*/ 644728 h 802662"/>
              <a:gd name="connsiteX18" fmla="*/ 692511 w 937653"/>
              <a:gd name="connsiteY18" fmla="*/ 436889 h 802662"/>
              <a:gd name="connsiteX19" fmla="*/ 804216 w 937653"/>
              <a:gd name="connsiteY19" fmla="*/ 501794 h 802662"/>
              <a:gd name="connsiteX20" fmla="*/ 820371 w 937653"/>
              <a:gd name="connsiteY20" fmla="*/ 529776 h 802662"/>
              <a:gd name="connsiteX21" fmla="*/ 820348 w 937653"/>
              <a:gd name="connsiteY21" fmla="*/ 533389 h 802662"/>
              <a:gd name="connsiteX22" fmla="*/ 819906 w 937653"/>
              <a:gd name="connsiteY22" fmla="*/ 531529 h 802662"/>
              <a:gd name="connsiteX23" fmla="*/ 822658 w 937653"/>
              <a:gd name="connsiteY23" fmla="*/ 768852 h 802662"/>
              <a:gd name="connsiteX24" fmla="*/ 827176 w 937653"/>
              <a:gd name="connsiteY24" fmla="*/ 782012 h 802662"/>
              <a:gd name="connsiteX25" fmla="*/ 880155 w 937653"/>
              <a:gd name="connsiteY25" fmla="*/ 802662 h 802662"/>
              <a:gd name="connsiteX26" fmla="*/ 937652 w 937653"/>
              <a:gd name="connsiteY26" fmla="*/ 768852 h 802662"/>
              <a:gd name="connsiteX27" fmla="*/ 937653 w 937653"/>
              <a:gd name="connsiteY27" fmla="*/ 553293 h 802662"/>
              <a:gd name="connsiteX28" fmla="*/ 935356 w 937653"/>
              <a:gd name="connsiteY28" fmla="*/ 528691 h 802662"/>
              <a:gd name="connsiteX29" fmla="*/ 933921 w 937653"/>
              <a:gd name="connsiteY29" fmla="*/ 512593 h 802662"/>
              <a:gd name="connsiteX30" fmla="*/ 916493 w 937653"/>
              <a:gd name="connsiteY30" fmla="*/ 455625 h 802662"/>
              <a:gd name="connsiteX31" fmla="*/ 862633 w 937653"/>
              <a:gd name="connsiteY31" fmla="*/ 402765 h 802662"/>
              <a:gd name="connsiteX32" fmla="*/ 410794 w 937653"/>
              <a:gd name="connsiteY32" fmla="*/ 145137 h 802662"/>
              <a:gd name="connsiteX33" fmla="*/ 401536 w 937653"/>
              <a:gd name="connsiteY33" fmla="*/ 142348 h 802662"/>
              <a:gd name="connsiteX34" fmla="*/ 165652 w 937653"/>
              <a:gd name="connsiteY34" fmla="*/ 7853 h 802662"/>
              <a:gd name="connsiteX35" fmla="*/ 120174 w 937653"/>
              <a:gd name="connsiteY35" fmla="*/ 151 h 802662"/>
              <a:gd name="connsiteX36" fmla="*/ 60741 w 937653"/>
              <a:gd name="connsiteY36" fmla="*/ 19482 h 802662"/>
              <a:gd name="connsiteX37" fmla="*/ 20119 w 937653"/>
              <a:gd name="connsiteY37" fmla="*/ 63059 h 802662"/>
              <a:gd name="connsiteX38" fmla="*/ 1271 w 937653"/>
              <a:gd name="connsiteY38" fmla="*/ 136133 h 802662"/>
              <a:gd name="connsiteX39" fmla="*/ 2272 w 937653"/>
              <a:gd name="connsiteY39" fmla="*/ 296515 h 802662"/>
              <a:gd name="connsiteX40" fmla="*/ 6790 w 937653"/>
              <a:gd name="connsiteY40"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374112 w 937653"/>
              <a:gd name="connsiteY9" fmla="*/ 257065 h 802662"/>
              <a:gd name="connsiteX10" fmla="*/ 374384 w 937653"/>
              <a:gd name="connsiteY10" fmla="*/ 257408 h 802662"/>
              <a:gd name="connsiteX11" fmla="*/ 374599 w 937653"/>
              <a:gd name="connsiteY11" fmla="*/ 257348 h 802662"/>
              <a:gd name="connsiteX12" fmla="*/ 559074 w 937653"/>
              <a:gd name="connsiteY12" fmla="*/ 364510 h 802662"/>
              <a:gd name="connsiteX13" fmla="*/ 575229 w 937653"/>
              <a:gd name="connsiteY13" fmla="*/ 392492 h 802662"/>
              <a:gd name="connsiteX14" fmla="*/ 575206 w 937653"/>
              <a:gd name="connsiteY14" fmla="*/ 396105 h 802662"/>
              <a:gd name="connsiteX15" fmla="*/ 574764 w 937653"/>
              <a:gd name="connsiteY15" fmla="*/ 394245 h 802662"/>
              <a:gd name="connsiteX16" fmla="*/ 577516 w 937653"/>
              <a:gd name="connsiteY16" fmla="*/ 631568 h 802662"/>
              <a:gd name="connsiteX17" fmla="*/ 692511 w 937653"/>
              <a:gd name="connsiteY17" fmla="*/ 436889 h 802662"/>
              <a:gd name="connsiteX18" fmla="*/ 804216 w 937653"/>
              <a:gd name="connsiteY18" fmla="*/ 501794 h 802662"/>
              <a:gd name="connsiteX19" fmla="*/ 820371 w 937653"/>
              <a:gd name="connsiteY19" fmla="*/ 529776 h 802662"/>
              <a:gd name="connsiteX20" fmla="*/ 820348 w 937653"/>
              <a:gd name="connsiteY20" fmla="*/ 533389 h 802662"/>
              <a:gd name="connsiteX21" fmla="*/ 819906 w 937653"/>
              <a:gd name="connsiteY21" fmla="*/ 531529 h 802662"/>
              <a:gd name="connsiteX22" fmla="*/ 822658 w 937653"/>
              <a:gd name="connsiteY22" fmla="*/ 768852 h 802662"/>
              <a:gd name="connsiteX23" fmla="*/ 827176 w 937653"/>
              <a:gd name="connsiteY23" fmla="*/ 782012 h 802662"/>
              <a:gd name="connsiteX24" fmla="*/ 880155 w 937653"/>
              <a:gd name="connsiteY24" fmla="*/ 802662 h 802662"/>
              <a:gd name="connsiteX25" fmla="*/ 937652 w 937653"/>
              <a:gd name="connsiteY25" fmla="*/ 768852 h 802662"/>
              <a:gd name="connsiteX26" fmla="*/ 937653 w 937653"/>
              <a:gd name="connsiteY26" fmla="*/ 553293 h 802662"/>
              <a:gd name="connsiteX27" fmla="*/ 935356 w 937653"/>
              <a:gd name="connsiteY27" fmla="*/ 528691 h 802662"/>
              <a:gd name="connsiteX28" fmla="*/ 933921 w 937653"/>
              <a:gd name="connsiteY28" fmla="*/ 512593 h 802662"/>
              <a:gd name="connsiteX29" fmla="*/ 916493 w 937653"/>
              <a:gd name="connsiteY29" fmla="*/ 455625 h 802662"/>
              <a:gd name="connsiteX30" fmla="*/ 862633 w 937653"/>
              <a:gd name="connsiteY30" fmla="*/ 402765 h 802662"/>
              <a:gd name="connsiteX31" fmla="*/ 410794 w 937653"/>
              <a:gd name="connsiteY31" fmla="*/ 145137 h 802662"/>
              <a:gd name="connsiteX32" fmla="*/ 401536 w 937653"/>
              <a:gd name="connsiteY32" fmla="*/ 142348 h 802662"/>
              <a:gd name="connsiteX33" fmla="*/ 165652 w 937653"/>
              <a:gd name="connsiteY33" fmla="*/ 7853 h 802662"/>
              <a:gd name="connsiteX34" fmla="*/ 120174 w 937653"/>
              <a:gd name="connsiteY34" fmla="*/ 151 h 802662"/>
              <a:gd name="connsiteX35" fmla="*/ 60741 w 937653"/>
              <a:gd name="connsiteY35" fmla="*/ 19482 h 802662"/>
              <a:gd name="connsiteX36" fmla="*/ 20119 w 937653"/>
              <a:gd name="connsiteY36" fmla="*/ 63059 h 802662"/>
              <a:gd name="connsiteX37" fmla="*/ 1271 w 937653"/>
              <a:gd name="connsiteY37" fmla="*/ 136133 h 802662"/>
              <a:gd name="connsiteX38" fmla="*/ 2272 w 937653"/>
              <a:gd name="connsiteY38" fmla="*/ 296515 h 802662"/>
              <a:gd name="connsiteX39" fmla="*/ 6790 w 937653"/>
              <a:gd name="connsiteY39"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374112 w 937653"/>
              <a:gd name="connsiteY9" fmla="*/ 257065 h 802662"/>
              <a:gd name="connsiteX10" fmla="*/ 374384 w 937653"/>
              <a:gd name="connsiteY10" fmla="*/ 257408 h 802662"/>
              <a:gd name="connsiteX11" fmla="*/ 374599 w 937653"/>
              <a:gd name="connsiteY11" fmla="*/ 257348 h 802662"/>
              <a:gd name="connsiteX12" fmla="*/ 559074 w 937653"/>
              <a:gd name="connsiteY12" fmla="*/ 364510 h 802662"/>
              <a:gd name="connsiteX13" fmla="*/ 575229 w 937653"/>
              <a:gd name="connsiteY13" fmla="*/ 392492 h 802662"/>
              <a:gd name="connsiteX14" fmla="*/ 575206 w 937653"/>
              <a:gd name="connsiteY14" fmla="*/ 396105 h 802662"/>
              <a:gd name="connsiteX15" fmla="*/ 574764 w 937653"/>
              <a:gd name="connsiteY15" fmla="*/ 394245 h 802662"/>
              <a:gd name="connsiteX16" fmla="*/ 692511 w 937653"/>
              <a:gd name="connsiteY16" fmla="*/ 436889 h 802662"/>
              <a:gd name="connsiteX17" fmla="*/ 804216 w 937653"/>
              <a:gd name="connsiteY17" fmla="*/ 501794 h 802662"/>
              <a:gd name="connsiteX18" fmla="*/ 820371 w 937653"/>
              <a:gd name="connsiteY18" fmla="*/ 529776 h 802662"/>
              <a:gd name="connsiteX19" fmla="*/ 820348 w 937653"/>
              <a:gd name="connsiteY19" fmla="*/ 533389 h 802662"/>
              <a:gd name="connsiteX20" fmla="*/ 819906 w 937653"/>
              <a:gd name="connsiteY20" fmla="*/ 531529 h 802662"/>
              <a:gd name="connsiteX21" fmla="*/ 822658 w 937653"/>
              <a:gd name="connsiteY21" fmla="*/ 768852 h 802662"/>
              <a:gd name="connsiteX22" fmla="*/ 827176 w 937653"/>
              <a:gd name="connsiteY22" fmla="*/ 782012 h 802662"/>
              <a:gd name="connsiteX23" fmla="*/ 880155 w 937653"/>
              <a:gd name="connsiteY23" fmla="*/ 802662 h 802662"/>
              <a:gd name="connsiteX24" fmla="*/ 937652 w 937653"/>
              <a:gd name="connsiteY24" fmla="*/ 768852 h 802662"/>
              <a:gd name="connsiteX25" fmla="*/ 937653 w 937653"/>
              <a:gd name="connsiteY25" fmla="*/ 553293 h 802662"/>
              <a:gd name="connsiteX26" fmla="*/ 935356 w 937653"/>
              <a:gd name="connsiteY26" fmla="*/ 528691 h 802662"/>
              <a:gd name="connsiteX27" fmla="*/ 933921 w 937653"/>
              <a:gd name="connsiteY27" fmla="*/ 512593 h 802662"/>
              <a:gd name="connsiteX28" fmla="*/ 916493 w 937653"/>
              <a:gd name="connsiteY28" fmla="*/ 455625 h 802662"/>
              <a:gd name="connsiteX29" fmla="*/ 862633 w 937653"/>
              <a:gd name="connsiteY29" fmla="*/ 402765 h 802662"/>
              <a:gd name="connsiteX30" fmla="*/ 410794 w 937653"/>
              <a:gd name="connsiteY30" fmla="*/ 145137 h 802662"/>
              <a:gd name="connsiteX31" fmla="*/ 401536 w 937653"/>
              <a:gd name="connsiteY31" fmla="*/ 142348 h 802662"/>
              <a:gd name="connsiteX32" fmla="*/ 165652 w 937653"/>
              <a:gd name="connsiteY32" fmla="*/ 7853 h 802662"/>
              <a:gd name="connsiteX33" fmla="*/ 120174 w 937653"/>
              <a:gd name="connsiteY33" fmla="*/ 151 h 802662"/>
              <a:gd name="connsiteX34" fmla="*/ 60741 w 937653"/>
              <a:gd name="connsiteY34" fmla="*/ 19482 h 802662"/>
              <a:gd name="connsiteX35" fmla="*/ 20119 w 937653"/>
              <a:gd name="connsiteY35" fmla="*/ 63059 h 802662"/>
              <a:gd name="connsiteX36" fmla="*/ 1271 w 937653"/>
              <a:gd name="connsiteY36" fmla="*/ 136133 h 802662"/>
              <a:gd name="connsiteX37" fmla="*/ 2272 w 937653"/>
              <a:gd name="connsiteY37" fmla="*/ 296515 h 802662"/>
              <a:gd name="connsiteX38" fmla="*/ 6790 w 937653"/>
              <a:gd name="connsiteY38"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374112 w 937653"/>
              <a:gd name="connsiteY9" fmla="*/ 257065 h 802662"/>
              <a:gd name="connsiteX10" fmla="*/ 374384 w 937653"/>
              <a:gd name="connsiteY10" fmla="*/ 257408 h 802662"/>
              <a:gd name="connsiteX11" fmla="*/ 374599 w 937653"/>
              <a:gd name="connsiteY11" fmla="*/ 257348 h 802662"/>
              <a:gd name="connsiteX12" fmla="*/ 559074 w 937653"/>
              <a:gd name="connsiteY12" fmla="*/ 364510 h 802662"/>
              <a:gd name="connsiteX13" fmla="*/ 575229 w 937653"/>
              <a:gd name="connsiteY13" fmla="*/ 392492 h 802662"/>
              <a:gd name="connsiteX14" fmla="*/ 575206 w 937653"/>
              <a:gd name="connsiteY14" fmla="*/ 396105 h 802662"/>
              <a:gd name="connsiteX15" fmla="*/ 692511 w 937653"/>
              <a:gd name="connsiteY15" fmla="*/ 436889 h 802662"/>
              <a:gd name="connsiteX16" fmla="*/ 804216 w 937653"/>
              <a:gd name="connsiteY16" fmla="*/ 501794 h 802662"/>
              <a:gd name="connsiteX17" fmla="*/ 820371 w 937653"/>
              <a:gd name="connsiteY17" fmla="*/ 529776 h 802662"/>
              <a:gd name="connsiteX18" fmla="*/ 820348 w 937653"/>
              <a:gd name="connsiteY18" fmla="*/ 533389 h 802662"/>
              <a:gd name="connsiteX19" fmla="*/ 819906 w 937653"/>
              <a:gd name="connsiteY19" fmla="*/ 531529 h 802662"/>
              <a:gd name="connsiteX20" fmla="*/ 822658 w 937653"/>
              <a:gd name="connsiteY20" fmla="*/ 768852 h 802662"/>
              <a:gd name="connsiteX21" fmla="*/ 827176 w 937653"/>
              <a:gd name="connsiteY21" fmla="*/ 782012 h 802662"/>
              <a:gd name="connsiteX22" fmla="*/ 880155 w 937653"/>
              <a:gd name="connsiteY22" fmla="*/ 802662 h 802662"/>
              <a:gd name="connsiteX23" fmla="*/ 937652 w 937653"/>
              <a:gd name="connsiteY23" fmla="*/ 768852 h 802662"/>
              <a:gd name="connsiteX24" fmla="*/ 937653 w 937653"/>
              <a:gd name="connsiteY24" fmla="*/ 553293 h 802662"/>
              <a:gd name="connsiteX25" fmla="*/ 935356 w 937653"/>
              <a:gd name="connsiteY25" fmla="*/ 528691 h 802662"/>
              <a:gd name="connsiteX26" fmla="*/ 933921 w 937653"/>
              <a:gd name="connsiteY26" fmla="*/ 512593 h 802662"/>
              <a:gd name="connsiteX27" fmla="*/ 916493 w 937653"/>
              <a:gd name="connsiteY27" fmla="*/ 455625 h 802662"/>
              <a:gd name="connsiteX28" fmla="*/ 862633 w 937653"/>
              <a:gd name="connsiteY28" fmla="*/ 402765 h 802662"/>
              <a:gd name="connsiteX29" fmla="*/ 410794 w 937653"/>
              <a:gd name="connsiteY29" fmla="*/ 145137 h 802662"/>
              <a:gd name="connsiteX30" fmla="*/ 401536 w 937653"/>
              <a:gd name="connsiteY30" fmla="*/ 142348 h 802662"/>
              <a:gd name="connsiteX31" fmla="*/ 165652 w 937653"/>
              <a:gd name="connsiteY31" fmla="*/ 7853 h 802662"/>
              <a:gd name="connsiteX32" fmla="*/ 120174 w 937653"/>
              <a:gd name="connsiteY32" fmla="*/ 151 h 802662"/>
              <a:gd name="connsiteX33" fmla="*/ 60741 w 937653"/>
              <a:gd name="connsiteY33" fmla="*/ 19482 h 802662"/>
              <a:gd name="connsiteX34" fmla="*/ 20119 w 937653"/>
              <a:gd name="connsiteY34" fmla="*/ 63059 h 802662"/>
              <a:gd name="connsiteX35" fmla="*/ 1271 w 937653"/>
              <a:gd name="connsiteY35" fmla="*/ 136133 h 802662"/>
              <a:gd name="connsiteX36" fmla="*/ 2272 w 937653"/>
              <a:gd name="connsiteY36" fmla="*/ 296515 h 802662"/>
              <a:gd name="connsiteX37" fmla="*/ 6790 w 937653"/>
              <a:gd name="connsiteY37"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374112 w 937653"/>
              <a:gd name="connsiteY9" fmla="*/ 257065 h 802662"/>
              <a:gd name="connsiteX10" fmla="*/ 374384 w 937653"/>
              <a:gd name="connsiteY10" fmla="*/ 257408 h 802662"/>
              <a:gd name="connsiteX11" fmla="*/ 374599 w 937653"/>
              <a:gd name="connsiteY11" fmla="*/ 257348 h 802662"/>
              <a:gd name="connsiteX12" fmla="*/ 559074 w 937653"/>
              <a:gd name="connsiteY12" fmla="*/ 364510 h 802662"/>
              <a:gd name="connsiteX13" fmla="*/ 575229 w 937653"/>
              <a:gd name="connsiteY13" fmla="*/ 392492 h 802662"/>
              <a:gd name="connsiteX14" fmla="*/ 692511 w 937653"/>
              <a:gd name="connsiteY14" fmla="*/ 436889 h 802662"/>
              <a:gd name="connsiteX15" fmla="*/ 804216 w 937653"/>
              <a:gd name="connsiteY15" fmla="*/ 501794 h 802662"/>
              <a:gd name="connsiteX16" fmla="*/ 820371 w 937653"/>
              <a:gd name="connsiteY16" fmla="*/ 529776 h 802662"/>
              <a:gd name="connsiteX17" fmla="*/ 820348 w 937653"/>
              <a:gd name="connsiteY17" fmla="*/ 533389 h 802662"/>
              <a:gd name="connsiteX18" fmla="*/ 819906 w 937653"/>
              <a:gd name="connsiteY18" fmla="*/ 531529 h 802662"/>
              <a:gd name="connsiteX19" fmla="*/ 822658 w 937653"/>
              <a:gd name="connsiteY19" fmla="*/ 768852 h 802662"/>
              <a:gd name="connsiteX20" fmla="*/ 827176 w 937653"/>
              <a:gd name="connsiteY20" fmla="*/ 782012 h 802662"/>
              <a:gd name="connsiteX21" fmla="*/ 880155 w 937653"/>
              <a:gd name="connsiteY21" fmla="*/ 802662 h 802662"/>
              <a:gd name="connsiteX22" fmla="*/ 937652 w 937653"/>
              <a:gd name="connsiteY22" fmla="*/ 768852 h 802662"/>
              <a:gd name="connsiteX23" fmla="*/ 937653 w 937653"/>
              <a:gd name="connsiteY23" fmla="*/ 553293 h 802662"/>
              <a:gd name="connsiteX24" fmla="*/ 935356 w 937653"/>
              <a:gd name="connsiteY24" fmla="*/ 528691 h 802662"/>
              <a:gd name="connsiteX25" fmla="*/ 933921 w 937653"/>
              <a:gd name="connsiteY25" fmla="*/ 512593 h 802662"/>
              <a:gd name="connsiteX26" fmla="*/ 916493 w 937653"/>
              <a:gd name="connsiteY26" fmla="*/ 455625 h 802662"/>
              <a:gd name="connsiteX27" fmla="*/ 862633 w 937653"/>
              <a:gd name="connsiteY27" fmla="*/ 402765 h 802662"/>
              <a:gd name="connsiteX28" fmla="*/ 410794 w 937653"/>
              <a:gd name="connsiteY28" fmla="*/ 145137 h 802662"/>
              <a:gd name="connsiteX29" fmla="*/ 401536 w 937653"/>
              <a:gd name="connsiteY29" fmla="*/ 142348 h 802662"/>
              <a:gd name="connsiteX30" fmla="*/ 165652 w 937653"/>
              <a:gd name="connsiteY30" fmla="*/ 7853 h 802662"/>
              <a:gd name="connsiteX31" fmla="*/ 120174 w 937653"/>
              <a:gd name="connsiteY31" fmla="*/ 151 h 802662"/>
              <a:gd name="connsiteX32" fmla="*/ 60741 w 937653"/>
              <a:gd name="connsiteY32" fmla="*/ 19482 h 802662"/>
              <a:gd name="connsiteX33" fmla="*/ 20119 w 937653"/>
              <a:gd name="connsiteY33" fmla="*/ 63059 h 802662"/>
              <a:gd name="connsiteX34" fmla="*/ 1271 w 937653"/>
              <a:gd name="connsiteY34" fmla="*/ 136133 h 802662"/>
              <a:gd name="connsiteX35" fmla="*/ 2272 w 937653"/>
              <a:gd name="connsiteY35" fmla="*/ 296515 h 802662"/>
              <a:gd name="connsiteX36" fmla="*/ 6790 w 937653"/>
              <a:gd name="connsiteY36"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374112 w 937653"/>
              <a:gd name="connsiteY9" fmla="*/ 257065 h 802662"/>
              <a:gd name="connsiteX10" fmla="*/ 374384 w 937653"/>
              <a:gd name="connsiteY10" fmla="*/ 257408 h 802662"/>
              <a:gd name="connsiteX11" fmla="*/ 374599 w 937653"/>
              <a:gd name="connsiteY11" fmla="*/ 257348 h 802662"/>
              <a:gd name="connsiteX12" fmla="*/ 559074 w 937653"/>
              <a:gd name="connsiteY12" fmla="*/ 364510 h 802662"/>
              <a:gd name="connsiteX13" fmla="*/ 692511 w 937653"/>
              <a:gd name="connsiteY13" fmla="*/ 436889 h 802662"/>
              <a:gd name="connsiteX14" fmla="*/ 804216 w 937653"/>
              <a:gd name="connsiteY14" fmla="*/ 501794 h 802662"/>
              <a:gd name="connsiteX15" fmla="*/ 820371 w 937653"/>
              <a:gd name="connsiteY15" fmla="*/ 529776 h 802662"/>
              <a:gd name="connsiteX16" fmla="*/ 820348 w 937653"/>
              <a:gd name="connsiteY16" fmla="*/ 533389 h 802662"/>
              <a:gd name="connsiteX17" fmla="*/ 819906 w 937653"/>
              <a:gd name="connsiteY17" fmla="*/ 531529 h 802662"/>
              <a:gd name="connsiteX18" fmla="*/ 822658 w 937653"/>
              <a:gd name="connsiteY18" fmla="*/ 768852 h 802662"/>
              <a:gd name="connsiteX19" fmla="*/ 827176 w 937653"/>
              <a:gd name="connsiteY19" fmla="*/ 782012 h 802662"/>
              <a:gd name="connsiteX20" fmla="*/ 880155 w 937653"/>
              <a:gd name="connsiteY20" fmla="*/ 802662 h 802662"/>
              <a:gd name="connsiteX21" fmla="*/ 937652 w 937653"/>
              <a:gd name="connsiteY21" fmla="*/ 768852 h 802662"/>
              <a:gd name="connsiteX22" fmla="*/ 937653 w 937653"/>
              <a:gd name="connsiteY22" fmla="*/ 553293 h 802662"/>
              <a:gd name="connsiteX23" fmla="*/ 935356 w 937653"/>
              <a:gd name="connsiteY23" fmla="*/ 528691 h 802662"/>
              <a:gd name="connsiteX24" fmla="*/ 933921 w 937653"/>
              <a:gd name="connsiteY24" fmla="*/ 512593 h 802662"/>
              <a:gd name="connsiteX25" fmla="*/ 916493 w 937653"/>
              <a:gd name="connsiteY25" fmla="*/ 455625 h 802662"/>
              <a:gd name="connsiteX26" fmla="*/ 862633 w 937653"/>
              <a:gd name="connsiteY26" fmla="*/ 402765 h 802662"/>
              <a:gd name="connsiteX27" fmla="*/ 410794 w 937653"/>
              <a:gd name="connsiteY27" fmla="*/ 145137 h 802662"/>
              <a:gd name="connsiteX28" fmla="*/ 401536 w 937653"/>
              <a:gd name="connsiteY28" fmla="*/ 142348 h 802662"/>
              <a:gd name="connsiteX29" fmla="*/ 165652 w 937653"/>
              <a:gd name="connsiteY29" fmla="*/ 7853 h 802662"/>
              <a:gd name="connsiteX30" fmla="*/ 120174 w 937653"/>
              <a:gd name="connsiteY30" fmla="*/ 151 h 802662"/>
              <a:gd name="connsiteX31" fmla="*/ 60741 w 937653"/>
              <a:gd name="connsiteY31" fmla="*/ 19482 h 802662"/>
              <a:gd name="connsiteX32" fmla="*/ 20119 w 937653"/>
              <a:gd name="connsiteY32" fmla="*/ 63059 h 802662"/>
              <a:gd name="connsiteX33" fmla="*/ 1271 w 937653"/>
              <a:gd name="connsiteY33" fmla="*/ 136133 h 802662"/>
              <a:gd name="connsiteX34" fmla="*/ 2272 w 937653"/>
              <a:gd name="connsiteY34" fmla="*/ 296515 h 802662"/>
              <a:gd name="connsiteX35" fmla="*/ 6790 w 937653"/>
              <a:gd name="connsiteY35"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374112 w 937653"/>
              <a:gd name="connsiteY9" fmla="*/ 257065 h 802662"/>
              <a:gd name="connsiteX10" fmla="*/ 374384 w 937653"/>
              <a:gd name="connsiteY10" fmla="*/ 257408 h 802662"/>
              <a:gd name="connsiteX11" fmla="*/ 374599 w 937653"/>
              <a:gd name="connsiteY11" fmla="*/ 257348 h 802662"/>
              <a:gd name="connsiteX12" fmla="*/ 692511 w 937653"/>
              <a:gd name="connsiteY12" fmla="*/ 436889 h 802662"/>
              <a:gd name="connsiteX13" fmla="*/ 804216 w 937653"/>
              <a:gd name="connsiteY13" fmla="*/ 501794 h 802662"/>
              <a:gd name="connsiteX14" fmla="*/ 820371 w 937653"/>
              <a:gd name="connsiteY14" fmla="*/ 529776 h 802662"/>
              <a:gd name="connsiteX15" fmla="*/ 820348 w 937653"/>
              <a:gd name="connsiteY15" fmla="*/ 533389 h 802662"/>
              <a:gd name="connsiteX16" fmla="*/ 819906 w 937653"/>
              <a:gd name="connsiteY16" fmla="*/ 531529 h 802662"/>
              <a:gd name="connsiteX17" fmla="*/ 822658 w 937653"/>
              <a:gd name="connsiteY17" fmla="*/ 768852 h 802662"/>
              <a:gd name="connsiteX18" fmla="*/ 827176 w 937653"/>
              <a:gd name="connsiteY18" fmla="*/ 782012 h 802662"/>
              <a:gd name="connsiteX19" fmla="*/ 880155 w 937653"/>
              <a:gd name="connsiteY19" fmla="*/ 802662 h 802662"/>
              <a:gd name="connsiteX20" fmla="*/ 937652 w 937653"/>
              <a:gd name="connsiteY20" fmla="*/ 768852 h 802662"/>
              <a:gd name="connsiteX21" fmla="*/ 937653 w 937653"/>
              <a:gd name="connsiteY21" fmla="*/ 553293 h 802662"/>
              <a:gd name="connsiteX22" fmla="*/ 935356 w 937653"/>
              <a:gd name="connsiteY22" fmla="*/ 528691 h 802662"/>
              <a:gd name="connsiteX23" fmla="*/ 933921 w 937653"/>
              <a:gd name="connsiteY23" fmla="*/ 512593 h 802662"/>
              <a:gd name="connsiteX24" fmla="*/ 916493 w 937653"/>
              <a:gd name="connsiteY24" fmla="*/ 455625 h 802662"/>
              <a:gd name="connsiteX25" fmla="*/ 862633 w 937653"/>
              <a:gd name="connsiteY25" fmla="*/ 402765 h 802662"/>
              <a:gd name="connsiteX26" fmla="*/ 410794 w 937653"/>
              <a:gd name="connsiteY26" fmla="*/ 145137 h 802662"/>
              <a:gd name="connsiteX27" fmla="*/ 401536 w 937653"/>
              <a:gd name="connsiteY27" fmla="*/ 142348 h 802662"/>
              <a:gd name="connsiteX28" fmla="*/ 165652 w 937653"/>
              <a:gd name="connsiteY28" fmla="*/ 7853 h 802662"/>
              <a:gd name="connsiteX29" fmla="*/ 120174 w 937653"/>
              <a:gd name="connsiteY29" fmla="*/ 151 h 802662"/>
              <a:gd name="connsiteX30" fmla="*/ 60741 w 937653"/>
              <a:gd name="connsiteY30" fmla="*/ 19482 h 802662"/>
              <a:gd name="connsiteX31" fmla="*/ 20119 w 937653"/>
              <a:gd name="connsiteY31" fmla="*/ 63059 h 802662"/>
              <a:gd name="connsiteX32" fmla="*/ 1271 w 937653"/>
              <a:gd name="connsiteY32" fmla="*/ 136133 h 802662"/>
              <a:gd name="connsiteX33" fmla="*/ 2272 w 937653"/>
              <a:gd name="connsiteY33" fmla="*/ 296515 h 802662"/>
              <a:gd name="connsiteX34" fmla="*/ 6790 w 937653"/>
              <a:gd name="connsiteY34"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374112 w 937653"/>
              <a:gd name="connsiteY9" fmla="*/ 257065 h 802662"/>
              <a:gd name="connsiteX10" fmla="*/ 374384 w 937653"/>
              <a:gd name="connsiteY10" fmla="*/ 257408 h 802662"/>
              <a:gd name="connsiteX11" fmla="*/ 692511 w 937653"/>
              <a:gd name="connsiteY11" fmla="*/ 436889 h 802662"/>
              <a:gd name="connsiteX12" fmla="*/ 804216 w 937653"/>
              <a:gd name="connsiteY12" fmla="*/ 501794 h 802662"/>
              <a:gd name="connsiteX13" fmla="*/ 820371 w 937653"/>
              <a:gd name="connsiteY13" fmla="*/ 529776 h 802662"/>
              <a:gd name="connsiteX14" fmla="*/ 820348 w 937653"/>
              <a:gd name="connsiteY14" fmla="*/ 533389 h 802662"/>
              <a:gd name="connsiteX15" fmla="*/ 819906 w 937653"/>
              <a:gd name="connsiteY15" fmla="*/ 531529 h 802662"/>
              <a:gd name="connsiteX16" fmla="*/ 822658 w 937653"/>
              <a:gd name="connsiteY16" fmla="*/ 768852 h 802662"/>
              <a:gd name="connsiteX17" fmla="*/ 827176 w 937653"/>
              <a:gd name="connsiteY17" fmla="*/ 782012 h 802662"/>
              <a:gd name="connsiteX18" fmla="*/ 880155 w 937653"/>
              <a:gd name="connsiteY18" fmla="*/ 802662 h 802662"/>
              <a:gd name="connsiteX19" fmla="*/ 937652 w 937653"/>
              <a:gd name="connsiteY19" fmla="*/ 768852 h 802662"/>
              <a:gd name="connsiteX20" fmla="*/ 937653 w 937653"/>
              <a:gd name="connsiteY20" fmla="*/ 553293 h 802662"/>
              <a:gd name="connsiteX21" fmla="*/ 935356 w 937653"/>
              <a:gd name="connsiteY21" fmla="*/ 528691 h 802662"/>
              <a:gd name="connsiteX22" fmla="*/ 933921 w 937653"/>
              <a:gd name="connsiteY22" fmla="*/ 512593 h 802662"/>
              <a:gd name="connsiteX23" fmla="*/ 916493 w 937653"/>
              <a:gd name="connsiteY23" fmla="*/ 455625 h 802662"/>
              <a:gd name="connsiteX24" fmla="*/ 862633 w 937653"/>
              <a:gd name="connsiteY24" fmla="*/ 402765 h 802662"/>
              <a:gd name="connsiteX25" fmla="*/ 410794 w 937653"/>
              <a:gd name="connsiteY25" fmla="*/ 145137 h 802662"/>
              <a:gd name="connsiteX26" fmla="*/ 401536 w 937653"/>
              <a:gd name="connsiteY26" fmla="*/ 142348 h 802662"/>
              <a:gd name="connsiteX27" fmla="*/ 165652 w 937653"/>
              <a:gd name="connsiteY27" fmla="*/ 7853 h 802662"/>
              <a:gd name="connsiteX28" fmla="*/ 120174 w 937653"/>
              <a:gd name="connsiteY28" fmla="*/ 151 h 802662"/>
              <a:gd name="connsiteX29" fmla="*/ 60741 w 937653"/>
              <a:gd name="connsiteY29" fmla="*/ 19482 h 802662"/>
              <a:gd name="connsiteX30" fmla="*/ 20119 w 937653"/>
              <a:gd name="connsiteY30" fmla="*/ 63059 h 802662"/>
              <a:gd name="connsiteX31" fmla="*/ 1271 w 937653"/>
              <a:gd name="connsiteY31" fmla="*/ 136133 h 802662"/>
              <a:gd name="connsiteX32" fmla="*/ 2272 w 937653"/>
              <a:gd name="connsiteY32" fmla="*/ 296515 h 802662"/>
              <a:gd name="connsiteX33" fmla="*/ 6790 w 937653"/>
              <a:gd name="connsiteY33"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374112 w 937653"/>
              <a:gd name="connsiteY9" fmla="*/ 257065 h 802662"/>
              <a:gd name="connsiteX10" fmla="*/ 692511 w 937653"/>
              <a:gd name="connsiteY10" fmla="*/ 436889 h 802662"/>
              <a:gd name="connsiteX11" fmla="*/ 804216 w 937653"/>
              <a:gd name="connsiteY11" fmla="*/ 501794 h 802662"/>
              <a:gd name="connsiteX12" fmla="*/ 820371 w 937653"/>
              <a:gd name="connsiteY12" fmla="*/ 529776 h 802662"/>
              <a:gd name="connsiteX13" fmla="*/ 820348 w 937653"/>
              <a:gd name="connsiteY13" fmla="*/ 533389 h 802662"/>
              <a:gd name="connsiteX14" fmla="*/ 819906 w 937653"/>
              <a:gd name="connsiteY14" fmla="*/ 531529 h 802662"/>
              <a:gd name="connsiteX15" fmla="*/ 822658 w 937653"/>
              <a:gd name="connsiteY15" fmla="*/ 768852 h 802662"/>
              <a:gd name="connsiteX16" fmla="*/ 827176 w 937653"/>
              <a:gd name="connsiteY16" fmla="*/ 782012 h 802662"/>
              <a:gd name="connsiteX17" fmla="*/ 880155 w 937653"/>
              <a:gd name="connsiteY17" fmla="*/ 802662 h 802662"/>
              <a:gd name="connsiteX18" fmla="*/ 937652 w 937653"/>
              <a:gd name="connsiteY18" fmla="*/ 768852 h 802662"/>
              <a:gd name="connsiteX19" fmla="*/ 937653 w 937653"/>
              <a:gd name="connsiteY19" fmla="*/ 553293 h 802662"/>
              <a:gd name="connsiteX20" fmla="*/ 935356 w 937653"/>
              <a:gd name="connsiteY20" fmla="*/ 528691 h 802662"/>
              <a:gd name="connsiteX21" fmla="*/ 933921 w 937653"/>
              <a:gd name="connsiteY21" fmla="*/ 512593 h 802662"/>
              <a:gd name="connsiteX22" fmla="*/ 916493 w 937653"/>
              <a:gd name="connsiteY22" fmla="*/ 455625 h 802662"/>
              <a:gd name="connsiteX23" fmla="*/ 862633 w 937653"/>
              <a:gd name="connsiteY23" fmla="*/ 402765 h 802662"/>
              <a:gd name="connsiteX24" fmla="*/ 410794 w 937653"/>
              <a:gd name="connsiteY24" fmla="*/ 145137 h 802662"/>
              <a:gd name="connsiteX25" fmla="*/ 401536 w 937653"/>
              <a:gd name="connsiteY25" fmla="*/ 142348 h 802662"/>
              <a:gd name="connsiteX26" fmla="*/ 165652 w 937653"/>
              <a:gd name="connsiteY26" fmla="*/ 7853 h 802662"/>
              <a:gd name="connsiteX27" fmla="*/ 120174 w 937653"/>
              <a:gd name="connsiteY27" fmla="*/ 151 h 802662"/>
              <a:gd name="connsiteX28" fmla="*/ 60741 w 937653"/>
              <a:gd name="connsiteY28" fmla="*/ 19482 h 802662"/>
              <a:gd name="connsiteX29" fmla="*/ 20119 w 937653"/>
              <a:gd name="connsiteY29" fmla="*/ 63059 h 802662"/>
              <a:gd name="connsiteX30" fmla="*/ 1271 w 937653"/>
              <a:gd name="connsiteY30" fmla="*/ 136133 h 802662"/>
              <a:gd name="connsiteX31" fmla="*/ 2272 w 937653"/>
              <a:gd name="connsiteY31" fmla="*/ 296515 h 802662"/>
              <a:gd name="connsiteX32" fmla="*/ 6790 w 937653"/>
              <a:gd name="connsiteY32"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692511 w 937653"/>
              <a:gd name="connsiteY9" fmla="*/ 436889 h 802662"/>
              <a:gd name="connsiteX10" fmla="*/ 804216 w 937653"/>
              <a:gd name="connsiteY10" fmla="*/ 501794 h 802662"/>
              <a:gd name="connsiteX11" fmla="*/ 820371 w 937653"/>
              <a:gd name="connsiteY11" fmla="*/ 529776 h 802662"/>
              <a:gd name="connsiteX12" fmla="*/ 820348 w 937653"/>
              <a:gd name="connsiteY12" fmla="*/ 533389 h 802662"/>
              <a:gd name="connsiteX13" fmla="*/ 819906 w 937653"/>
              <a:gd name="connsiteY13" fmla="*/ 531529 h 802662"/>
              <a:gd name="connsiteX14" fmla="*/ 822658 w 937653"/>
              <a:gd name="connsiteY14" fmla="*/ 768852 h 802662"/>
              <a:gd name="connsiteX15" fmla="*/ 827176 w 937653"/>
              <a:gd name="connsiteY15" fmla="*/ 782012 h 802662"/>
              <a:gd name="connsiteX16" fmla="*/ 880155 w 937653"/>
              <a:gd name="connsiteY16" fmla="*/ 802662 h 802662"/>
              <a:gd name="connsiteX17" fmla="*/ 937652 w 937653"/>
              <a:gd name="connsiteY17" fmla="*/ 768852 h 802662"/>
              <a:gd name="connsiteX18" fmla="*/ 937653 w 937653"/>
              <a:gd name="connsiteY18" fmla="*/ 553293 h 802662"/>
              <a:gd name="connsiteX19" fmla="*/ 935356 w 937653"/>
              <a:gd name="connsiteY19" fmla="*/ 528691 h 802662"/>
              <a:gd name="connsiteX20" fmla="*/ 933921 w 937653"/>
              <a:gd name="connsiteY20" fmla="*/ 512593 h 802662"/>
              <a:gd name="connsiteX21" fmla="*/ 916493 w 937653"/>
              <a:gd name="connsiteY21" fmla="*/ 455625 h 802662"/>
              <a:gd name="connsiteX22" fmla="*/ 862633 w 937653"/>
              <a:gd name="connsiteY22" fmla="*/ 402765 h 802662"/>
              <a:gd name="connsiteX23" fmla="*/ 410794 w 937653"/>
              <a:gd name="connsiteY23" fmla="*/ 145137 h 802662"/>
              <a:gd name="connsiteX24" fmla="*/ 401536 w 937653"/>
              <a:gd name="connsiteY24" fmla="*/ 142348 h 802662"/>
              <a:gd name="connsiteX25" fmla="*/ 165652 w 937653"/>
              <a:gd name="connsiteY25" fmla="*/ 7853 h 802662"/>
              <a:gd name="connsiteX26" fmla="*/ 120174 w 937653"/>
              <a:gd name="connsiteY26" fmla="*/ 151 h 802662"/>
              <a:gd name="connsiteX27" fmla="*/ 60741 w 937653"/>
              <a:gd name="connsiteY27" fmla="*/ 19482 h 802662"/>
              <a:gd name="connsiteX28" fmla="*/ 20119 w 937653"/>
              <a:gd name="connsiteY28" fmla="*/ 63059 h 802662"/>
              <a:gd name="connsiteX29" fmla="*/ 1271 w 937653"/>
              <a:gd name="connsiteY29" fmla="*/ 136133 h 802662"/>
              <a:gd name="connsiteX30" fmla="*/ 2272 w 937653"/>
              <a:gd name="connsiteY30" fmla="*/ 296515 h 802662"/>
              <a:gd name="connsiteX31" fmla="*/ 6790 w 937653"/>
              <a:gd name="connsiteY31"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804216 w 937653"/>
              <a:gd name="connsiteY9" fmla="*/ 501794 h 802662"/>
              <a:gd name="connsiteX10" fmla="*/ 820371 w 937653"/>
              <a:gd name="connsiteY10" fmla="*/ 529776 h 802662"/>
              <a:gd name="connsiteX11" fmla="*/ 820348 w 937653"/>
              <a:gd name="connsiteY11" fmla="*/ 533389 h 802662"/>
              <a:gd name="connsiteX12" fmla="*/ 819906 w 937653"/>
              <a:gd name="connsiteY12" fmla="*/ 531529 h 802662"/>
              <a:gd name="connsiteX13" fmla="*/ 822658 w 937653"/>
              <a:gd name="connsiteY13" fmla="*/ 768852 h 802662"/>
              <a:gd name="connsiteX14" fmla="*/ 827176 w 937653"/>
              <a:gd name="connsiteY14" fmla="*/ 782012 h 802662"/>
              <a:gd name="connsiteX15" fmla="*/ 880155 w 937653"/>
              <a:gd name="connsiteY15" fmla="*/ 802662 h 802662"/>
              <a:gd name="connsiteX16" fmla="*/ 937652 w 937653"/>
              <a:gd name="connsiteY16" fmla="*/ 768852 h 802662"/>
              <a:gd name="connsiteX17" fmla="*/ 937653 w 937653"/>
              <a:gd name="connsiteY17" fmla="*/ 553293 h 802662"/>
              <a:gd name="connsiteX18" fmla="*/ 935356 w 937653"/>
              <a:gd name="connsiteY18" fmla="*/ 528691 h 802662"/>
              <a:gd name="connsiteX19" fmla="*/ 933921 w 937653"/>
              <a:gd name="connsiteY19" fmla="*/ 512593 h 802662"/>
              <a:gd name="connsiteX20" fmla="*/ 916493 w 937653"/>
              <a:gd name="connsiteY20" fmla="*/ 455625 h 802662"/>
              <a:gd name="connsiteX21" fmla="*/ 862633 w 937653"/>
              <a:gd name="connsiteY21" fmla="*/ 402765 h 802662"/>
              <a:gd name="connsiteX22" fmla="*/ 410794 w 937653"/>
              <a:gd name="connsiteY22" fmla="*/ 145137 h 802662"/>
              <a:gd name="connsiteX23" fmla="*/ 401536 w 937653"/>
              <a:gd name="connsiteY23" fmla="*/ 142348 h 802662"/>
              <a:gd name="connsiteX24" fmla="*/ 165652 w 937653"/>
              <a:gd name="connsiteY24" fmla="*/ 7853 h 802662"/>
              <a:gd name="connsiteX25" fmla="*/ 120174 w 937653"/>
              <a:gd name="connsiteY25" fmla="*/ 151 h 802662"/>
              <a:gd name="connsiteX26" fmla="*/ 60741 w 937653"/>
              <a:gd name="connsiteY26" fmla="*/ 19482 h 802662"/>
              <a:gd name="connsiteX27" fmla="*/ 20119 w 937653"/>
              <a:gd name="connsiteY27" fmla="*/ 63059 h 802662"/>
              <a:gd name="connsiteX28" fmla="*/ 1271 w 937653"/>
              <a:gd name="connsiteY28" fmla="*/ 136133 h 802662"/>
              <a:gd name="connsiteX29" fmla="*/ 2272 w 937653"/>
              <a:gd name="connsiteY29" fmla="*/ 296515 h 802662"/>
              <a:gd name="connsiteX30" fmla="*/ 6790 w 937653"/>
              <a:gd name="connsiteY30"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804216 w 937653"/>
              <a:gd name="connsiteY9" fmla="*/ 501794 h 802662"/>
              <a:gd name="connsiteX10" fmla="*/ 820371 w 937653"/>
              <a:gd name="connsiteY10" fmla="*/ 529776 h 802662"/>
              <a:gd name="connsiteX11" fmla="*/ 820348 w 937653"/>
              <a:gd name="connsiteY11" fmla="*/ 533389 h 802662"/>
              <a:gd name="connsiteX12" fmla="*/ 819906 w 937653"/>
              <a:gd name="connsiteY12" fmla="*/ 531529 h 802662"/>
              <a:gd name="connsiteX13" fmla="*/ 822658 w 937653"/>
              <a:gd name="connsiteY13" fmla="*/ 768852 h 802662"/>
              <a:gd name="connsiteX14" fmla="*/ 827176 w 937653"/>
              <a:gd name="connsiteY14" fmla="*/ 782012 h 802662"/>
              <a:gd name="connsiteX15" fmla="*/ 880155 w 937653"/>
              <a:gd name="connsiteY15" fmla="*/ 802662 h 802662"/>
              <a:gd name="connsiteX16" fmla="*/ 937652 w 937653"/>
              <a:gd name="connsiteY16" fmla="*/ 768852 h 802662"/>
              <a:gd name="connsiteX17" fmla="*/ 937653 w 937653"/>
              <a:gd name="connsiteY17" fmla="*/ 553293 h 802662"/>
              <a:gd name="connsiteX18" fmla="*/ 935356 w 937653"/>
              <a:gd name="connsiteY18" fmla="*/ 528691 h 802662"/>
              <a:gd name="connsiteX19" fmla="*/ 933921 w 937653"/>
              <a:gd name="connsiteY19" fmla="*/ 512593 h 802662"/>
              <a:gd name="connsiteX20" fmla="*/ 916493 w 937653"/>
              <a:gd name="connsiteY20" fmla="*/ 455625 h 802662"/>
              <a:gd name="connsiteX21" fmla="*/ 862633 w 937653"/>
              <a:gd name="connsiteY21" fmla="*/ 402765 h 802662"/>
              <a:gd name="connsiteX22" fmla="*/ 410794 w 937653"/>
              <a:gd name="connsiteY22" fmla="*/ 145137 h 802662"/>
              <a:gd name="connsiteX23" fmla="*/ 165652 w 937653"/>
              <a:gd name="connsiteY23" fmla="*/ 7853 h 802662"/>
              <a:gd name="connsiteX24" fmla="*/ 120174 w 937653"/>
              <a:gd name="connsiteY24" fmla="*/ 151 h 802662"/>
              <a:gd name="connsiteX25" fmla="*/ 60741 w 937653"/>
              <a:gd name="connsiteY25" fmla="*/ 19482 h 802662"/>
              <a:gd name="connsiteX26" fmla="*/ 20119 w 937653"/>
              <a:gd name="connsiteY26" fmla="*/ 63059 h 802662"/>
              <a:gd name="connsiteX27" fmla="*/ 1271 w 937653"/>
              <a:gd name="connsiteY27" fmla="*/ 136133 h 802662"/>
              <a:gd name="connsiteX28" fmla="*/ 2272 w 937653"/>
              <a:gd name="connsiteY28" fmla="*/ 296515 h 802662"/>
              <a:gd name="connsiteX29" fmla="*/ 6790 w 937653"/>
              <a:gd name="connsiteY29" fmla="*/ 309675 h 802662"/>
              <a:gd name="connsiteX0" fmla="*/ 6790 w 937653"/>
              <a:gd name="connsiteY0" fmla="*/ 309675 h 802662"/>
              <a:gd name="connsiteX1" fmla="*/ 59769 w 937653"/>
              <a:gd name="connsiteY1" fmla="*/ 330325 h 802662"/>
              <a:gd name="connsiteX2" fmla="*/ 117266 w 937653"/>
              <a:gd name="connsiteY2" fmla="*/ 296515 h 802662"/>
              <a:gd name="connsiteX3" fmla="*/ 117267 w 937653"/>
              <a:gd name="connsiteY3" fmla="*/ 148715 h 802662"/>
              <a:gd name="connsiteX4" fmla="*/ 116218 w 937653"/>
              <a:gd name="connsiteY4" fmla="*/ 145659 h 802662"/>
              <a:gd name="connsiteX5" fmla="*/ 116241 w 937653"/>
              <a:gd name="connsiteY5" fmla="*/ 137210 h 802662"/>
              <a:gd name="connsiteX6" fmla="*/ 129242 w 937653"/>
              <a:gd name="connsiteY6" fmla="*/ 120124 h 802662"/>
              <a:gd name="connsiteX7" fmla="*/ 135463 w 937653"/>
              <a:gd name="connsiteY7" fmla="*/ 118377 h 802662"/>
              <a:gd name="connsiteX8" fmla="*/ 135559 w 937653"/>
              <a:gd name="connsiteY8" fmla="*/ 118488 h 802662"/>
              <a:gd name="connsiteX9" fmla="*/ 804216 w 937653"/>
              <a:gd name="connsiteY9" fmla="*/ 501794 h 802662"/>
              <a:gd name="connsiteX10" fmla="*/ 820371 w 937653"/>
              <a:gd name="connsiteY10" fmla="*/ 529776 h 802662"/>
              <a:gd name="connsiteX11" fmla="*/ 820348 w 937653"/>
              <a:gd name="connsiteY11" fmla="*/ 533389 h 802662"/>
              <a:gd name="connsiteX12" fmla="*/ 819906 w 937653"/>
              <a:gd name="connsiteY12" fmla="*/ 531529 h 802662"/>
              <a:gd name="connsiteX13" fmla="*/ 822658 w 937653"/>
              <a:gd name="connsiteY13" fmla="*/ 768852 h 802662"/>
              <a:gd name="connsiteX14" fmla="*/ 827176 w 937653"/>
              <a:gd name="connsiteY14" fmla="*/ 782012 h 802662"/>
              <a:gd name="connsiteX15" fmla="*/ 880155 w 937653"/>
              <a:gd name="connsiteY15" fmla="*/ 802662 h 802662"/>
              <a:gd name="connsiteX16" fmla="*/ 937652 w 937653"/>
              <a:gd name="connsiteY16" fmla="*/ 768852 h 802662"/>
              <a:gd name="connsiteX17" fmla="*/ 937653 w 937653"/>
              <a:gd name="connsiteY17" fmla="*/ 553293 h 802662"/>
              <a:gd name="connsiteX18" fmla="*/ 935356 w 937653"/>
              <a:gd name="connsiteY18" fmla="*/ 528691 h 802662"/>
              <a:gd name="connsiteX19" fmla="*/ 933921 w 937653"/>
              <a:gd name="connsiteY19" fmla="*/ 512593 h 802662"/>
              <a:gd name="connsiteX20" fmla="*/ 916493 w 937653"/>
              <a:gd name="connsiteY20" fmla="*/ 455625 h 802662"/>
              <a:gd name="connsiteX21" fmla="*/ 862633 w 937653"/>
              <a:gd name="connsiteY21" fmla="*/ 402765 h 802662"/>
              <a:gd name="connsiteX22" fmla="*/ 165652 w 937653"/>
              <a:gd name="connsiteY22" fmla="*/ 7853 h 802662"/>
              <a:gd name="connsiteX23" fmla="*/ 120174 w 937653"/>
              <a:gd name="connsiteY23" fmla="*/ 151 h 802662"/>
              <a:gd name="connsiteX24" fmla="*/ 60741 w 937653"/>
              <a:gd name="connsiteY24" fmla="*/ 19482 h 802662"/>
              <a:gd name="connsiteX25" fmla="*/ 20119 w 937653"/>
              <a:gd name="connsiteY25" fmla="*/ 63059 h 802662"/>
              <a:gd name="connsiteX26" fmla="*/ 1271 w 937653"/>
              <a:gd name="connsiteY26" fmla="*/ 136133 h 802662"/>
              <a:gd name="connsiteX27" fmla="*/ 2272 w 937653"/>
              <a:gd name="connsiteY27" fmla="*/ 296515 h 802662"/>
              <a:gd name="connsiteX28" fmla="*/ 6790 w 937653"/>
              <a:gd name="connsiteY28" fmla="*/ 309675 h 802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37653" h="802662">
                <a:moveTo>
                  <a:pt x="6790" y="309675"/>
                </a:moveTo>
                <a:cubicBezTo>
                  <a:pt x="15519" y="321810"/>
                  <a:pt x="35953" y="330325"/>
                  <a:pt x="59769" y="330325"/>
                </a:cubicBezTo>
                <a:cubicBezTo>
                  <a:pt x="91524" y="330325"/>
                  <a:pt x="117266" y="315188"/>
                  <a:pt x="117266" y="296515"/>
                </a:cubicBezTo>
                <a:cubicBezTo>
                  <a:pt x="117266" y="247248"/>
                  <a:pt x="117267" y="197982"/>
                  <a:pt x="117267" y="148715"/>
                </a:cubicBezTo>
                <a:lnTo>
                  <a:pt x="116218" y="145659"/>
                </a:lnTo>
                <a:cubicBezTo>
                  <a:pt x="116226" y="142843"/>
                  <a:pt x="116233" y="140026"/>
                  <a:pt x="116241" y="137210"/>
                </a:cubicBezTo>
                <a:cubicBezTo>
                  <a:pt x="117002" y="125799"/>
                  <a:pt x="122527" y="122008"/>
                  <a:pt x="129242" y="120124"/>
                </a:cubicBezTo>
                <a:lnTo>
                  <a:pt x="135463" y="118377"/>
                </a:lnTo>
                <a:lnTo>
                  <a:pt x="135559" y="118488"/>
                </a:lnTo>
                <a:lnTo>
                  <a:pt x="804216" y="501794"/>
                </a:lnTo>
                <a:cubicBezTo>
                  <a:pt x="817237" y="512327"/>
                  <a:pt x="817759" y="513233"/>
                  <a:pt x="820371" y="529776"/>
                </a:cubicBezTo>
                <a:cubicBezTo>
                  <a:pt x="820363" y="530980"/>
                  <a:pt x="820356" y="532185"/>
                  <a:pt x="820348" y="533389"/>
                </a:cubicBezTo>
                <a:lnTo>
                  <a:pt x="819906" y="531529"/>
                </a:lnTo>
                <a:cubicBezTo>
                  <a:pt x="820823" y="610637"/>
                  <a:pt x="821741" y="689744"/>
                  <a:pt x="822658" y="768852"/>
                </a:cubicBezTo>
                <a:cubicBezTo>
                  <a:pt x="822658" y="773520"/>
                  <a:pt x="824267" y="777967"/>
                  <a:pt x="827176" y="782012"/>
                </a:cubicBezTo>
                <a:cubicBezTo>
                  <a:pt x="835905" y="794147"/>
                  <a:pt x="856339" y="802662"/>
                  <a:pt x="880155" y="802662"/>
                </a:cubicBezTo>
                <a:cubicBezTo>
                  <a:pt x="911910" y="802662"/>
                  <a:pt x="937652" y="787525"/>
                  <a:pt x="937652" y="768852"/>
                </a:cubicBezTo>
                <a:cubicBezTo>
                  <a:pt x="937652" y="696999"/>
                  <a:pt x="937653" y="625146"/>
                  <a:pt x="937653" y="553293"/>
                </a:cubicBezTo>
                <a:lnTo>
                  <a:pt x="935356" y="528691"/>
                </a:lnTo>
                <a:cubicBezTo>
                  <a:pt x="934734" y="521908"/>
                  <a:pt x="937065" y="524771"/>
                  <a:pt x="933921" y="512593"/>
                </a:cubicBezTo>
                <a:cubicBezTo>
                  <a:pt x="933190" y="497708"/>
                  <a:pt x="932742" y="484546"/>
                  <a:pt x="916493" y="455625"/>
                </a:cubicBezTo>
                <a:cubicBezTo>
                  <a:pt x="894826" y="417064"/>
                  <a:pt x="881585" y="417874"/>
                  <a:pt x="862633" y="402765"/>
                </a:cubicBezTo>
                <a:lnTo>
                  <a:pt x="165652" y="7853"/>
                </a:lnTo>
                <a:cubicBezTo>
                  <a:pt x="141098" y="-2938"/>
                  <a:pt x="137384" y="735"/>
                  <a:pt x="120174" y="151"/>
                </a:cubicBezTo>
                <a:cubicBezTo>
                  <a:pt x="97227" y="-629"/>
                  <a:pt x="83728" y="9650"/>
                  <a:pt x="60741" y="19482"/>
                </a:cubicBezTo>
                <a:cubicBezTo>
                  <a:pt x="48216" y="27558"/>
                  <a:pt x="37041" y="34526"/>
                  <a:pt x="20119" y="63059"/>
                </a:cubicBezTo>
                <a:cubicBezTo>
                  <a:pt x="-2442" y="101103"/>
                  <a:pt x="4880" y="112164"/>
                  <a:pt x="1271" y="136133"/>
                </a:cubicBezTo>
                <a:cubicBezTo>
                  <a:pt x="-1704" y="175042"/>
                  <a:pt x="1352" y="267591"/>
                  <a:pt x="2272" y="296515"/>
                </a:cubicBezTo>
                <a:cubicBezTo>
                  <a:pt x="2272" y="301183"/>
                  <a:pt x="3881" y="305631"/>
                  <a:pt x="6790" y="309675"/>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78" name="Freeform: Shape 377">
            <a:extLst>
              <a:ext uri="{FF2B5EF4-FFF2-40B4-BE49-F238E27FC236}">
                <a16:creationId xmlns:a16="http://schemas.microsoft.com/office/drawing/2014/main" id="{D5A7C6AE-D44A-49BF-B386-1353C48373CD}"/>
              </a:ext>
            </a:extLst>
          </p:cNvPr>
          <p:cNvSpPr/>
          <p:nvPr/>
        </p:nvSpPr>
        <p:spPr bwMode="gray">
          <a:xfrm>
            <a:off x="4049610" y="2626979"/>
            <a:ext cx="545949" cy="2911961"/>
          </a:xfrm>
          <a:custGeom>
            <a:avLst/>
            <a:gdLst>
              <a:gd name="connsiteX0" fmla="*/ 0 w 761638"/>
              <a:gd name="connsiteY0" fmla="*/ 0 h 4062395"/>
              <a:gd name="connsiteX1" fmla="*/ 760827 w 761638"/>
              <a:gd name="connsiteY1" fmla="*/ 440200 h 4062395"/>
              <a:gd name="connsiteX2" fmla="*/ 761638 w 761638"/>
              <a:gd name="connsiteY2" fmla="*/ 1319196 h 4062395"/>
              <a:gd name="connsiteX3" fmla="*/ 760975 w 761638"/>
              <a:gd name="connsiteY3" fmla="*/ 1318812 h 4062395"/>
              <a:gd name="connsiteX4" fmla="*/ 761638 w 761638"/>
              <a:gd name="connsiteY4" fmla="*/ 2037653 h 4062395"/>
              <a:gd name="connsiteX5" fmla="*/ 760992 w 761638"/>
              <a:gd name="connsiteY5" fmla="*/ 2037280 h 4062395"/>
              <a:gd name="connsiteX6" fmla="*/ 761638 w 761638"/>
              <a:gd name="connsiteY6" fmla="*/ 2737449 h 4062395"/>
              <a:gd name="connsiteX7" fmla="*/ 761035 w 761638"/>
              <a:gd name="connsiteY7" fmla="*/ 2737100 h 4062395"/>
              <a:gd name="connsiteX8" fmla="*/ 761638 w 761638"/>
              <a:gd name="connsiteY8" fmla="*/ 3390592 h 4062395"/>
              <a:gd name="connsiteX9" fmla="*/ 761018 w 761638"/>
              <a:gd name="connsiteY9" fmla="*/ 3390233 h 4062395"/>
              <a:gd name="connsiteX10" fmla="*/ 761638 w 761638"/>
              <a:gd name="connsiteY10" fmla="*/ 4062395 h 4062395"/>
              <a:gd name="connsiteX11" fmla="*/ 811 w 761638"/>
              <a:gd name="connsiteY11" fmla="*/ 3622195 h 4062395"/>
              <a:gd name="connsiteX12" fmla="*/ 0 w 761638"/>
              <a:gd name="connsiteY12" fmla="*/ 2743199 h 4062395"/>
              <a:gd name="connsiteX13" fmla="*/ 620 w 761638"/>
              <a:gd name="connsiteY13" fmla="*/ 2743558 h 4062395"/>
              <a:gd name="connsiteX14" fmla="*/ 0 w 761638"/>
              <a:gd name="connsiteY14" fmla="*/ 2071396 h 4062395"/>
              <a:gd name="connsiteX15" fmla="*/ 603 w 761638"/>
              <a:gd name="connsiteY15" fmla="*/ 2071745 h 4062395"/>
              <a:gd name="connsiteX16" fmla="*/ 0 w 761638"/>
              <a:gd name="connsiteY16" fmla="*/ 1418253 h 4062395"/>
              <a:gd name="connsiteX17" fmla="*/ 646 w 761638"/>
              <a:gd name="connsiteY17" fmla="*/ 1418627 h 4062395"/>
              <a:gd name="connsiteX18" fmla="*/ 0 w 761638"/>
              <a:gd name="connsiteY18" fmla="*/ 718457 h 4062395"/>
              <a:gd name="connsiteX19" fmla="*/ 663 w 761638"/>
              <a:gd name="connsiteY19" fmla="*/ 718841 h 4062395"/>
              <a:gd name="connsiteX0" fmla="*/ 0 w 761638"/>
              <a:gd name="connsiteY0" fmla="*/ 0 h 4062395"/>
              <a:gd name="connsiteX1" fmla="*/ 760827 w 761638"/>
              <a:gd name="connsiteY1" fmla="*/ 440200 h 4062395"/>
              <a:gd name="connsiteX2" fmla="*/ 761638 w 761638"/>
              <a:gd name="connsiteY2" fmla="*/ 1319196 h 4062395"/>
              <a:gd name="connsiteX3" fmla="*/ 761638 w 761638"/>
              <a:gd name="connsiteY3" fmla="*/ 2037653 h 4062395"/>
              <a:gd name="connsiteX4" fmla="*/ 760992 w 761638"/>
              <a:gd name="connsiteY4" fmla="*/ 2037280 h 4062395"/>
              <a:gd name="connsiteX5" fmla="*/ 761638 w 761638"/>
              <a:gd name="connsiteY5" fmla="*/ 2737449 h 4062395"/>
              <a:gd name="connsiteX6" fmla="*/ 761035 w 761638"/>
              <a:gd name="connsiteY6" fmla="*/ 2737100 h 4062395"/>
              <a:gd name="connsiteX7" fmla="*/ 761638 w 761638"/>
              <a:gd name="connsiteY7" fmla="*/ 3390592 h 4062395"/>
              <a:gd name="connsiteX8" fmla="*/ 761018 w 761638"/>
              <a:gd name="connsiteY8" fmla="*/ 3390233 h 4062395"/>
              <a:gd name="connsiteX9" fmla="*/ 761638 w 761638"/>
              <a:gd name="connsiteY9" fmla="*/ 4062395 h 4062395"/>
              <a:gd name="connsiteX10" fmla="*/ 811 w 761638"/>
              <a:gd name="connsiteY10" fmla="*/ 3622195 h 4062395"/>
              <a:gd name="connsiteX11" fmla="*/ 0 w 761638"/>
              <a:gd name="connsiteY11" fmla="*/ 2743199 h 4062395"/>
              <a:gd name="connsiteX12" fmla="*/ 620 w 761638"/>
              <a:gd name="connsiteY12" fmla="*/ 2743558 h 4062395"/>
              <a:gd name="connsiteX13" fmla="*/ 0 w 761638"/>
              <a:gd name="connsiteY13" fmla="*/ 2071396 h 4062395"/>
              <a:gd name="connsiteX14" fmla="*/ 603 w 761638"/>
              <a:gd name="connsiteY14" fmla="*/ 2071745 h 4062395"/>
              <a:gd name="connsiteX15" fmla="*/ 0 w 761638"/>
              <a:gd name="connsiteY15" fmla="*/ 1418253 h 4062395"/>
              <a:gd name="connsiteX16" fmla="*/ 646 w 761638"/>
              <a:gd name="connsiteY16" fmla="*/ 1418627 h 4062395"/>
              <a:gd name="connsiteX17" fmla="*/ 0 w 761638"/>
              <a:gd name="connsiteY17" fmla="*/ 718457 h 4062395"/>
              <a:gd name="connsiteX18" fmla="*/ 663 w 761638"/>
              <a:gd name="connsiteY18" fmla="*/ 718841 h 4062395"/>
              <a:gd name="connsiteX19" fmla="*/ 0 w 761638"/>
              <a:gd name="connsiteY19" fmla="*/ 0 h 4062395"/>
              <a:gd name="connsiteX0" fmla="*/ 0 w 817449"/>
              <a:gd name="connsiteY0" fmla="*/ 0 h 4062395"/>
              <a:gd name="connsiteX1" fmla="*/ 760827 w 817449"/>
              <a:gd name="connsiteY1" fmla="*/ 440200 h 4062395"/>
              <a:gd name="connsiteX2" fmla="*/ 761638 w 817449"/>
              <a:gd name="connsiteY2" fmla="*/ 2037653 h 4062395"/>
              <a:gd name="connsiteX3" fmla="*/ 760992 w 817449"/>
              <a:gd name="connsiteY3" fmla="*/ 2037280 h 4062395"/>
              <a:gd name="connsiteX4" fmla="*/ 761638 w 817449"/>
              <a:gd name="connsiteY4" fmla="*/ 2737449 h 4062395"/>
              <a:gd name="connsiteX5" fmla="*/ 761035 w 817449"/>
              <a:gd name="connsiteY5" fmla="*/ 2737100 h 4062395"/>
              <a:gd name="connsiteX6" fmla="*/ 761638 w 817449"/>
              <a:gd name="connsiteY6" fmla="*/ 3390592 h 4062395"/>
              <a:gd name="connsiteX7" fmla="*/ 761018 w 817449"/>
              <a:gd name="connsiteY7" fmla="*/ 3390233 h 4062395"/>
              <a:gd name="connsiteX8" fmla="*/ 761638 w 817449"/>
              <a:gd name="connsiteY8" fmla="*/ 4062395 h 4062395"/>
              <a:gd name="connsiteX9" fmla="*/ 811 w 817449"/>
              <a:gd name="connsiteY9" fmla="*/ 3622195 h 4062395"/>
              <a:gd name="connsiteX10" fmla="*/ 0 w 817449"/>
              <a:gd name="connsiteY10" fmla="*/ 2743199 h 4062395"/>
              <a:gd name="connsiteX11" fmla="*/ 620 w 817449"/>
              <a:gd name="connsiteY11" fmla="*/ 2743558 h 4062395"/>
              <a:gd name="connsiteX12" fmla="*/ 0 w 817449"/>
              <a:gd name="connsiteY12" fmla="*/ 2071396 h 4062395"/>
              <a:gd name="connsiteX13" fmla="*/ 603 w 817449"/>
              <a:gd name="connsiteY13" fmla="*/ 2071745 h 4062395"/>
              <a:gd name="connsiteX14" fmla="*/ 0 w 817449"/>
              <a:gd name="connsiteY14" fmla="*/ 1418253 h 4062395"/>
              <a:gd name="connsiteX15" fmla="*/ 646 w 817449"/>
              <a:gd name="connsiteY15" fmla="*/ 1418627 h 4062395"/>
              <a:gd name="connsiteX16" fmla="*/ 0 w 817449"/>
              <a:gd name="connsiteY16" fmla="*/ 718457 h 4062395"/>
              <a:gd name="connsiteX17" fmla="*/ 663 w 817449"/>
              <a:gd name="connsiteY17" fmla="*/ 718841 h 4062395"/>
              <a:gd name="connsiteX18" fmla="*/ 0 w 817449"/>
              <a:gd name="connsiteY18" fmla="*/ 0 h 4062395"/>
              <a:gd name="connsiteX0" fmla="*/ 0 w 817449"/>
              <a:gd name="connsiteY0" fmla="*/ 0 h 4062395"/>
              <a:gd name="connsiteX1" fmla="*/ 760827 w 817449"/>
              <a:gd name="connsiteY1" fmla="*/ 440200 h 4062395"/>
              <a:gd name="connsiteX2" fmla="*/ 761638 w 817449"/>
              <a:gd name="connsiteY2" fmla="*/ 2037653 h 4062395"/>
              <a:gd name="connsiteX3" fmla="*/ 761638 w 817449"/>
              <a:gd name="connsiteY3" fmla="*/ 2737449 h 4062395"/>
              <a:gd name="connsiteX4" fmla="*/ 761035 w 817449"/>
              <a:gd name="connsiteY4" fmla="*/ 2737100 h 4062395"/>
              <a:gd name="connsiteX5" fmla="*/ 761638 w 817449"/>
              <a:gd name="connsiteY5" fmla="*/ 3390592 h 4062395"/>
              <a:gd name="connsiteX6" fmla="*/ 761018 w 817449"/>
              <a:gd name="connsiteY6" fmla="*/ 3390233 h 4062395"/>
              <a:gd name="connsiteX7" fmla="*/ 761638 w 817449"/>
              <a:gd name="connsiteY7" fmla="*/ 4062395 h 4062395"/>
              <a:gd name="connsiteX8" fmla="*/ 811 w 817449"/>
              <a:gd name="connsiteY8" fmla="*/ 3622195 h 4062395"/>
              <a:gd name="connsiteX9" fmla="*/ 0 w 817449"/>
              <a:gd name="connsiteY9" fmla="*/ 2743199 h 4062395"/>
              <a:gd name="connsiteX10" fmla="*/ 620 w 817449"/>
              <a:gd name="connsiteY10" fmla="*/ 2743558 h 4062395"/>
              <a:gd name="connsiteX11" fmla="*/ 0 w 817449"/>
              <a:gd name="connsiteY11" fmla="*/ 2071396 h 4062395"/>
              <a:gd name="connsiteX12" fmla="*/ 603 w 817449"/>
              <a:gd name="connsiteY12" fmla="*/ 2071745 h 4062395"/>
              <a:gd name="connsiteX13" fmla="*/ 0 w 817449"/>
              <a:gd name="connsiteY13" fmla="*/ 1418253 h 4062395"/>
              <a:gd name="connsiteX14" fmla="*/ 646 w 817449"/>
              <a:gd name="connsiteY14" fmla="*/ 1418627 h 4062395"/>
              <a:gd name="connsiteX15" fmla="*/ 0 w 817449"/>
              <a:gd name="connsiteY15" fmla="*/ 718457 h 4062395"/>
              <a:gd name="connsiteX16" fmla="*/ 663 w 817449"/>
              <a:gd name="connsiteY16" fmla="*/ 718841 h 4062395"/>
              <a:gd name="connsiteX17" fmla="*/ 0 w 817449"/>
              <a:gd name="connsiteY17" fmla="*/ 0 h 4062395"/>
              <a:gd name="connsiteX0" fmla="*/ 0 w 817447"/>
              <a:gd name="connsiteY0" fmla="*/ 0 h 4062395"/>
              <a:gd name="connsiteX1" fmla="*/ 760827 w 817447"/>
              <a:gd name="connsiteY1" fmla="*/ 440200 h 4062395"/>
              <a:gd name="connsiteX2" fmla="*/ 761638 w 817447"/>
              <a:gd name="connsiteY2" fmla="*/ 2737449 h 4062395"/>
              <a:gd name="connsiteX3" fmla="*/ 761035 w 817447"/>
              <a:gd name="connsiteY3" fmla="*/ 2737100 h 4062395"/>
              <a:gd name="connsiteX4" fmla="*/ 761638 w 817447"/>
              <a:gd name="connsiteY4" fmla="*/ 3390592 h 4062395"/>
              <a:gd name="connsiteX5" fmla="*/ 761018 w 817447"/>
              <a:gd name="connsiteY5" fmla="*/ 3390233 h 4062395"/>
              <a:gd name="connsiteX6" fmla="*/ 761638 w 817447"/>
              <a:gd name="connsiteY6" fmla="*/ 4062395 h 4062395"/>
              <a:gd name="connsiteX7" fmla="*/ 811 w 817447"/>
              <a:gd name="connsiteY7" fmla="*/ 3622195 h 4062395"/>
              <a:gd name="connsiteX8" fmla="*/ 0 w 817447"/>
              <a:gd name="connsiteY8" fmla="*/ 2743199 h 4062395"/>
              <a:gd name="connsiteX9" fmla="*/ 620 w 817447"/>
              <a:gd name="connsiteY9" fmla="*/ 2743558 h 4062395"/>
              <a:gd name="connsiteX10" fmla="*/ 0 w 817447"/>
              <a:gd name="connsiteY10" fmla="*/ 2071396 h 4062395"/>
              <a:gd name="connsiteX11" fmla="*/ 603 w 817447"/>
              <a:gd name="connsiteY11" fmla="*/ 2071745 h 4062395"/>
              <a:gd name="connsiteX12" fmla="*/ 0 w 817447"/>
              <a:gd name="connsiteY12" fmla="*/ 1418253 h 4062395"/>
              <a:gd name="connsiteX13" fmla="*/ 646 w 817447"/>
              <a:gd name="connsiteY13" fmla="*/ 1418627 h 4062395"/>
              <a:gd name="connsiteX14" fmla="*/ 0 w 817447"/>
              <a:gd name="connsiteY14" fmla="*/ 718457 h 4062395"/>
              <a:gd name="connsiteX15" fmla="*/ 663 w 817447"/>
              <a:gd name="connsiteY15" fmla="*/ 718841 h 4062395"/>
              <a:gd name="connsiteX16" fmla="*/ 0 w 817447"/>
              <a:gd name="connsiteY16" fmla="*/ 0 h 4062395"/>
              <a:gd name="connsiteX0" fmla="*/ 0 w 817447"/>
              <a:gd name="connsiteY0" fmla="*/ 0 h 4062395"/>
              <a:gd name="connsiteX1" fmla="*/ 760827 w 817447"/>
              <a:gd name="connsiteY1" fmla="*/ 440200 h 4062395"/>
              <a:gd name="connsiteX2" fmla="*/ 761638 w 817447"/>
              <a:gd name="connsiteY2" fmla="*/ 2737449 h 4062395"/>
              <a:gd name="connsiteX3" fmla="*/ 761638 w 817447"/>
              <a:gd name="connsiteY3" fmla="*/ 3390592 h 4062395"/>
              <a:gd name="connsiteX4" fmla="*/ 761018 w 817447"/>
              <a:gd name="connsiteY4" fmla="*/ 3390233 h 4062395"/>
              <a:gd name="connsiteX5" fmla="*/ 761638 w 817447"/>
              <a:gd name="connsiteY5" fmla="*/ 4062395 h 4062395"/>
              <a:gd name="connsiteX6" fmla="*/ 811 w 817447"/>
              <a:gd name="connsiteY6" fmla="*/ 3622195 h 4062395"/>
              <a:gd name="connsiteX7" fmla="*/ 0 w 817447"/>
              <a:gd name="connsiteY7" fmla="*/ 2743199 h 4062395"/>
              <a:gd name="connsiteX8" fmla="*/ 620 w 817447"/>
              <a:gd name="connsiteY8" fmla="*/ 2743558 h 4062395"/>
              <a:gd name="connsiteX9" fmla="*/ 0 w 817447"/>
              <a:gd name="connsiteY9" fmla="*/ 2071396 h 4062395"/>
              <a:gd name="connsiteX10" fmla="*/ 603 w 817447"/>
              <a:gd name="connsiteY10" fmla="*/ 2071745 h 4062395"/>
              <a:gd name="connsiteX11" fmla="*/ 0 w 817447"/>
              <a:gd name="connsiteY11" fmla="*/ 1418253 h 4062395"/>
              <a:gd name="connsiteX12" fmla="*/ 646 w 817447"/>
              <a:gd name="connsiteY12" fmla="*/ 1418627 h 4062395"/>
              <a:gd name="connsiteX13" fmla="*/ 0 w 817447"/>
              <a:gd name="connsiteY13" fmla="*/ 718457 h 4062395"/>
              <a:gd name="connsiteX14" fmla="*/ 663 w 817447"/>
              <a:gd name="connsiteY14" fmla="*/ 718841 h 4062395"/>
              <a:gd name="connsiteX15" fmla="*/ 0 w 817447"/>
              <a:gd name="connsiteY15" fmla="*/ 0 h 4062395"/>
              <a:gd name="connsiteX0" fmla="*/ 0 w 817448"/>
              <a:gd name="connsiteY0" fmla="*/ 0 h 4062395"/>
              <a:gd name="connsiteX1" fmla="*/ 760827 w 817448"/>
              <a:gd name="connsiteY1" fmla="*/ 440200 h 4062395"/>
              <a:gd name="connsiteX2" fmla="*/ 761638 w 817448"/>
              <a:gd name="connsiteY2" fmla="*/ 3390592 h 4062395"/>
              <a:gd name="connsiteX3" fmla="*/ 761018 w 817448"/>
              <a:gd name="connsiteY3" fmla="*/ 3390233 h 4062395"/>
              <a:gd name="connsiteX4" fmla="*/ 761638 w 817448"/>
              <a:gd name="connsiteY4" fmla="*/ 4062395 h 4062395"/>
              <a:gd name="connsiteX5" fmla="*/ 811 w 817448"/>
              <a:gd name="connsiteY5" fmla="*/ 3622195 h 4062395"/>
              <a:gd name="connsiteX6" fmla="*/ 0 w 817448"/>
              <a:gd name="connsiteY6" fmla="*/ 2743199 h 4062395"/>
              <a:gd name="connsiteX7" fmla="*/ 620 w 817448"/>
              <a:gd name="connsiteY7" fmla="*/ 2743558 h 4062395"/>
              <a:gd name="connsiteX8" fmla="*/ 0 w 817448"/>
              <a:gd name="connsiteY8" fmla="*/ 2071396 h 4062395"/>
              <a:gd name="connsiteX9" fmla="*/ 603 w 817448"/>
              <a:gd name="connsiteY9" fmla="*/ 2071745 h 4062395"/>
              <a:gd name="connsiteX10" fmla="*/ 0 w 817448"/>
              <a:gd name="connsiteY10" fmla="*/ 1418253 h 4062395"/>
              <a:gd name="connsiteX11" fmla="*/ 646 w 817448"/>
              <a:gd name="connsiteY11" fmla="*/ 1418627 h 4062395"/>
              <a:gd name="connsiteX12" fmla="*/ 0 w 817448"/>
              <a:gd name="connsiteY12" fmla="*/ 718457 h 4062395"/>
              <a:gd name="connsiteX13" fmla="*/ 663 w 817448"/>
              <a:gd name="connsiteY13" fmla="*/ 718841 h 4062395"/>
              <a:gd name="connsiteX14" fmla="*/ 0 w 817448"/>
              <a:gd name="connsiteY14" fmla="*/ 0 h 4062395"/>
              <a:gd name="connsiteX0" fmla="*/ 0 w 817448"/>
              <a:gd name="connsiteY0" fmla="*/ 0 h 4062395"/>
              <a:gd name="connsiteX1" fmla="*/ 760827 w 817448"/>
              <a:gd name="connsiteY1" fmla="*/ 440200 h 4062395"/>
              <a:gd name="connsiteX2" fmla="*/ 761638 w 817448"/>
              <a:gd name="connsiteY2" fmla="*/ 3390592 h 4062395"/>
              <a:gd name="connsiteX3" fmla="*/ 761638 w 817448"/>
              <a:gd name="connsiteY3" fmla="*/ 4062395 h 4062395"/>
              <a:gd name="connsiteX4" fmla="*/ 811 w 817448"/>
              <a:gd name="connsiteY4" fmla="*/ 3622195 h 4062395"/>
              <a:gd name="connsiteX5" fmla="*/ 0 w 817448"/>
              <a:gd name="connsiteY5" fmla="*/ 2743199 h 4062395"/>
              <a:gd name="connsiteX6" fmla="*/ 620 w 817448"/>
              <a:gd name="connsiteY6" fmla="*/ 2743558 h 4062395"/>
              <a:gd name="connsiteX7" fmla="*/ 0 w 817448"/>
              <a:gd name="connsiteY7" fmla="*/ 2071396 h 4062395"/>
              <a:gd name="connsiteX8" fmla="*/ 603 w 817448"/>
              <a:gd name="connsiteY8" fmla="*/ 2071745 h 4062395"/>
              <a:gd name="connsiteX9" fmla="*/ 0 w 817448"/>
              <a:gd name="connsiteY9" fmla="*/ 1418253 h 4062395"/>
              <a:gd name="connsiteX10" fmla="*/ 646 w 817448"/>
              <a:gd name="connsiteY10" fmla="*/ 1418627 h 4062395"/>
              <a:gd name="connsiteX11" fmla="*/ 0 w 817448"/>
              <a:gd name="connsiteY11" fmla="*/ 718457 h 4062395"/>
              <a:gd name="connsiteX12" fmla="*/ 663 w 817448"/>
              <a:gd name="connsiteY12" fmla="*/ 718841 h 4062395"/>
              <a:gd name="connsiteX13" fmla="*/ 0 w 817448"/>
              <a:gd name="connsiteY13" fmla="*/ 0 h 4062395"/>
              <a:gd name="connsiteX0" fmla="*/ 0 w 856336"/>
              <a:gd name="connsiteY0" fmla="*/ 0 h 4062395"/>
              <a:gd name="connsiteX1" fmla="*/ 760827 w 856336"/>
              <a:gd name="connsiteY1" fmla="*/ 440200 h 4062395"/>
              <a:gd name="connsiteX2" fmla="*/ 761638 w 856336"/>
              <a:gd name="connsiteY2" fmla="*/ 4062395 h 4062395"/>
              <a:gd name="connsiteX3" fmla="*/ 811 w 856336"/>
              <a:gd name="connsiteY3" fmla="*/ 3622195 h 4062395"/>
              <a:gd name="connsiteX4" fmla="*/ 0 w 856336"/>
              <a:gd name="connsiteY4" fmla="*/ 2743199 h 4062395"/>
              <a:gd name="connsiteX5" fmla="*/ 620 w 856336"/>
              <a:gd name="connsiteY5" fmla="*/ 2743558 h 4062395"/>
              <a:gd name="connsiteX6" fmla="*/ 0 w 856336"/>
              <a:gd name="connsiteY6" fmla="*/ 2071396 h 4062395"/>
              <a:gd name="connsiteX7" fmla="*/ 603 w 856336"/>
              <a:gd name="connsiteY7" fmla="*/ 2071745 h 4062395"/>
              <a:gd name="connsiteX8" fmla="*/ 0 w 856336"/>
              <a:gd name="connsiteY8" fmla="*/ 1418253 h 4062395"/>
              <a:gd name="connsiteX9" fmla="*/ 646 w 856336"/>
              <a:gd name="connsiteY9" fmla="*/ 1418627 h 4062395"/>
              <a:gd name="connsiteX10" fmla="*/ 0 w 856336"/>
              <a:gd name="connsiteY10" fmla="*/ 718457 h 4062395"/>
              <a:gd name="connsiteX11" fmla="*/ 663 w 856336"/>
              <a:gd name="connsiteY11" fmla="*/ 718841 h 4062395"/>
              <a:gd name="connsiteX12" fmla="*/ 0 w 856336"/>
              <a:gd name="connsiteY12" fmla="*/ 0 h 4062395"/>
              <a:gd name="connsiteX0" fmla="*/ 0 w 817815"/>
              <a:gd name="connsiteY0" fmla="*/ 0 h 4062395"/>
              <a:gd name="connsiteX1" fmla="*/ 760827 w 817815"/>
              <a:gd name="connsiteY1" fmla="*/ 440200 h 4062395"/>
              <a:gd name="connsiteX2" fmla="*/ 761638 w 817815"/>
              <a:gd name="connsiteY2" fmla="*/ 4062395 h 4062395"/>
              <a:gd name="connsiteX3" fmla="*/ 811 w 817815"/>
              <a:gd name="connsiteY3" fmla="*/ 3622195 h 4062395"/>
              <a:gd name="connsiteX4" fmla="*/ 0 w 817815"/>
              <a:gd name="connsiteY4" fmla="*/ 2743199 h 4062395"/>
              <a:gd name="connsiteX5" fmla="*/ 620 w 817815"/>
              <a:gd name="connsiteY5" fmla="*/ 2743558 h 4062395"/>
              <a:gd name="connsiteX6" fmla="*/ 0 w 817815"/>
              <a:gd name="connsiteY6" fmla="*/ 2071396 h 4062395"/>
              <a:gd name="connsiteX7" fmla="*/ 603 w 817815"/>
              <a:gd name="connsiteY7" fmla="*/ 2071745 h 4062395"/>
              <a:gd name="connsiteX8" fmla="*/ 0 w 817815"/>
              <a:gd name="connsiteY8" fmla="*/ 1418253 h 4062395"/>
              <a:gd name="connsiteX9" fmla="*/ 646 w 817815"/>
              <a:gd name="connsiteY9" fmla="*/ 1418627 h 4062395"/>
              <a:gd name="connsiteX10" fmla="*/ 0 w 817815"/>
              <a:gd name="connsiteY10" fmla="*/ 718457 h 4062395"/>
              <a:gd name="connsiteX11" fmla="*/ 663 w 817815"/>
              <a:gd name="connsiteY11" fmla="*/ 718841 h 4062395"/>
              <a:gd name="connsiteX12" fmla="*/ 0 w 817815"/>
              <a:gd name="connsiteY12" fmla="*/ 0 h 4062395"/>
              <a:gd name="connsiteX0" fmla="*/ 0 w 761638"/>
              <a:gd name="connsiteY0" fmla="*/ 0 h 4062395"/>
              <a:gd name="connsiteX1" fmla="*/ 760827 w 761638"/>
              <a:gd name="connsiteY1" fmla="*/ 440200 h 4062395"/>
              <a:gd name="connsiteX2" fmla="*/ 761638 w 761638"/>
              <a:gd name="connsiteY2" fmla="*/ 4062395 h 4062395"/>
              <a:gd name="connsiteX3" fmla="*/ 811 w 761638"/>
              <a:gd name="connsiteY3" fmla="*/ 3622195 h 4062395"/>
              <a:gd name="connsiteX4" fmla="*/ 0 w 761638"/>
              <a:gd name="connsiteY4" fmla="*/ 2743199 h 4062395"/>
              <a:gd name="connsiteX5" fmla="*/ 620 w 761638"/>
              <a:gd name="connsiteY5" fmla="*/ 2743558 h 4062395"/>
              <a:gd name="connsiteX6" fmla="*/ 0 w 761638"/>
              <a:gd name="connsiteY6" fmla="*/ 2071396 h 4062395"/>
              <a:gd name="connsiteX7" fmla="*/ 603 w 761638"/>
              <a:gd name="connsiteY7" fmla="*/ 2071745 h 4062395"/>
              <a:gd name="connsiteX8" fmla="*/ 0 w 761638"/>
              <a:gd name="connsiteY8" fmla="*/ 1418253 h 4062395"/>
              <a:gd name="connsiteX9" fmla="*/ 646 w 761638"/>
              <a:gd name="connsiteY9" fmla="*/ 1418627 h 4062395"/>
              <a:gd name="connsiteX10" fmla="*/ 0 w 761638"/>
              <a:gd name="connsiteY10" fmla="*/ 718457 h 4062395"/>
              <a:gd name="connsiteX11" fmla="*/ 663 w 761638"/>
              <a:gd name="connsiteY11" fmla="*/ 718841 h 4062395"/>
              <a:gd name="connsiteX12" fmla="*/ 0 w 761638"/>
              <a:gd name="connsiteY12" fmla="*/ 0 h 4062395"/>
              <a:gd name="connsiteX0" fmla="*/ 0 w 761638"/>
              <a:gd name="connsiteY0" fmla="*/ 0 h 4062395"/>
              <a:gd name="connsiteX1" fmla="*/ 760827 w 761638"/>
              <a:gd name="connsiteY1" fmla="*/ 440200 h 4062395"/>
              <a:gd name="connsiteX2" fmla="*/ 761638 w 761638"/>
              <a:gd name="connsiteY2" fmla="*/ 4062395 h 4062395"/>
              <a:gd name="connsiteX3" fmla="*/ 811 w 761638"/>
              <a:gd name="connsiteY3" fmla="*/ 3622195 h 4062395"/>
              <a:gd name="connsiteX4" fmla="*/ 0 w 761638"/>
              <a:gd name="connsiteY4" fmla="*/ 2743199 h 4062395"/>
              <a:gd name="connsiteX5" fmla="*/ 0 w 761638"/>
              <a:gd name="connsiteY5" fmla="*/ 2071396 h 4062395"/>
              <a:gd name="connsiteX6" fmla="*/ 603 w 761638"/>
              <a:gd name="connsiteY6" fmla="*/ 2071745 h 4062395"/>
              <a:gd name="connsiteX7" fmla="*/ 0 w 761638"/>
              <a:gd name="connsiteY7" fmla="*/ 1418253 h 4062395"/>
              <a:gd name="connsiteX8" fmla="*/ 646 w 761638"/>
              <a:gd name="connsiteY8" fmla="*/ 1418627 h 4062395"/>
              <a:gd name="connsiteX9" fmla="*/ 0 w 761638"/>
              <a:gd name="connsiteY9" fmla="*/ 718457 h 4062395"/>
              <a:gd name="connsiteX10" fmla="*/ 663 w 761638"/>
              <a:gd name="connsiteY10" fmla="*/ 718841 h 4062395"/>
              <a:gd name="connsiteX11" fmla="*/ 0 w 761638"/>
              <a:gd name="connsiteY11" fmla="*/ 0 h 4062395"/>
              <a:gd name="connsiteX0" fmla="*/ 55809 w 817447"/>
              <a:gd name="connsiteY0" fmla="*/ 0 h 4062395"/>
              <a:gd name="connsiteX1" fmla="*/ 816636 w 817447"/>
              <a:gd name="connsiteY1" fmla="*/ 440200 h 4062395"/>
              <a:gd name="connsiteX2" fmla="*/ 817447 w 817447"/>
              <a:gd name="connsiteY2" fmla="*/ 4062395 h 4062395"/>
              <a:gd name="connsiteX3" fmla="*/ 56620 w 817447"/>
              <a:gd name="connsiteY3" fmla="*/ 3622195 h 4062395"/>
              <a:gd name="connsiteX4" fmla="*/ 55809 w 817447"/>
              <a:gd name="connsiteY4" fmla="*/ 2071396 h 4062395"/>
              <a:gd name="connsiteX5" fmla="*/ 56412 w 817447"/>
              <a:gd name="connsiteY5" fmla="*/ 2071745 h 4062395"/>
              <a:gd name="connsiteX6" fmla="*/ 55809 w 817447"/>
              <a:gd name="connsiteY6" fmla="*/ 1418253 h 4062395"/>
              <a:gd name="connsiteX7" fmla="*/ 56455 w 817447"/>
              <a:gd name="connsiteY7" fmla="*/ 1418627 h 4062395"/>
              <a:gd name="connsiteX8" fmla="*/ 55809 w 817447"/>
              <a:gd name="connsiteY8" fmla="*/ 718457 h 4062395"/>
              <a:gd name="connsiteX9" fmla="*/ 56472 w 817447"/>
              <a:gd name="connsiteY9" fmla="*/ 718841 h 4062395"/>
              <a:gd name="connsiteX10" fmla="*/ 55809 w 817447"/>
              <a:gd name="connsiteY10" fmla="*/ 0 h 4062395"/>
              <a:gd name="connsiteX0" fmla="*/ 55809 w 817447"/>
              <a:gd name="connsiteY0" fmla="*/ 0 h 4062395"/>
              <a:gd name="connsiteX1" fmla="*/ 816636 w 817447"/>
              <a:gd name="connsiteY1" fmla="*/ 440200 h 4062395"/>
              <a:gd name="connsiteX2" fmla="*/ 817447 w 817447"/>
              <a:gd name="connsiteY2" fmla="*/ 4062395 h 4062395"/>
              <a:gd name="connsiteX3" fmla="*/ 56620 w 817447"/>
              <a:gd name="connsiteY3" fmla="*/ 3622195 h 4062395"/>
              <a:gd name="connsiteX4" fmla="*/ 55809 w 817447"/>
              <a:gd name="connsiteY4" fmla="*/ 2071396 h 4062395"/>
              <a:gd name="connsiteX5" fmla="*/ 55809 w 817447"/>
              <a:gd name="connsiteY5" fmla="*/ 1418253 h 4062395"/>
              <a:gd name="connsiteX6" fmla="*/ 56455 w 817447"/>
              <a:gd name="connsiteY6" fmla="*/ 1418627 h 4062395"/>
              <a:gd name="connsiteX7" fmla="*/ 55809 w 817447"/>
              <a:gd name="connsiteY7" fmla="*/ 718457 h 4062395"/>
              <a:gd name="connsiteX8" fmla="*/ 56472 w 817447"/>
              <a:gd name="connsiteY8" fmla="*/ 718841 h 4062395"/>
              <a:gd name="connsiteX9" fmla="*/ 55809 w 817447"/>
              <a:gd name="connsiteY9" fmla="*/ 0 h 4062395"/>
              <a:gd name="connsiteX0" fmla="*/ 55811 w 817449"/>
              <a:gd name="connsiteY0" fmla="*/ 0 h 4062395"/>
              <a:gd name="connsiteX1" fmla="*/ 816638 w 817449"/>
              <a:gd name="connsiteY1" fmla="*/ 440200 h 4062395"/>
              <a:gd name="connsiteX2" fmla="*/ 817449 w 817449"/>
              <a:gd name="connsiteY2" fmla="*/ 4062395 h 4062395"/>
              <a:gd name="connsiteX3" fmla="*/ 56622 w 817449"/>
              <a:gd name="connsiteY3" fmla="*/ 3622195 h 4062395"/>
              <a:gd name="connsiteX4" fmla="*/ 55811 w 817449"/>
              <a:gd name="connsiteY4" fmla="*/ 1418253 h 4062395"/>
              <a:gd name="connsiteX5" fmla="*/ 56457 w 817449"/>
              <a:gd name="connsiteY5" fmla="*/ 1418627 h 4062395"/>
              <a:gd name="connsiteX6" fmla="*/ 55811 w 817449"/>
              <a:gd name="connsiteY6" fmla="*/ 718457 h 4062395"/>
              <a:gd name="connsiteX7" fmla="*/ 56474 w 817449"/>
              <a:gd name="connsiteY7" fmla="*/ 718841 h 4062395"/>
              <a:gd name="connsiteX8" fmla="*/ 55811 w 817449"/>
              <a:gd name="connsiteY8" fmla="*/ 0 h 4062395"/>
              <a:gd name="connsiteX0" fmla="*/ 55811 w 817449"/>
              <a:gd name="connsiteY0" fmla="*/ 0 h 4062395"/>
              <a:gd name="connsiteX1" fmla="*/ 816638 w 817449"/>
              <a:gd name="connsiteY1" fmla="*/ 440200 h 4062395"/>
              <a:gd name="connsiteX2" fmla="*/ 817449 w 817449"/>
              <a:gd name="connsiteY2" fmla="*/ 4062395 h 4062395"/>
              <a:gd name="connsiteX3" fmla="*/ 56622 w 817449"/>
              <a:gd name="connsiteY3" fmla="*/ 3622195 h 4062395"/>
              <a:gd name="connsiteX4" fmla="*/ 55811 w 817449"/>
              <a:gd name="connsiteY4" fmla="*/ 1418253 h 4062395"/>
              <a:gd name="connsiteX5" fmla="*/ 55811 w 817449"/>
              <a:gd name="connsiteY5" fmla="*/ 718457 h 4062395"/>
              <a:gd name="connsiteX6" fmla="*/ 56474 w 817449"/>
              <a:gd name="connsiteY6" fmla="*/ 718841 h 4062395"/>
              <a:gd name="connsiteX7" fmla="*/ 55811 w 817449"/>
              <a:gd name="connsiteY7" fmla="*/ 0 h 4062395"/>
              <a:gd name="connsiteX0" fmla="*/ 55812 w 817450"/>
              <a:gd name="connsiteY0" fmla="*/ 0 h 4062395"/>
              <a:gd name="connsiteX1" fmla="*/ 816639 w 817450"/>
              <a:gd name="connsiteY1" fmla="*/ 440200 h 4062395"/>
              <a:gd name="connsiteX2" fmla="*/ 817450 w 817450"/>
              <a:gd name="connsiteY2" fmla="*/ 4062395 h 4062395"/>
              <a:gd name="connsiteX3" fmla="*/ 56623 w 817450"/>
              <a:gd name="connsiteY3" fmla="*/ 3622195 h 4062395"/>
              <a:gd name="connsiteX4" fmla="*/ 55812 w 817450"/>
              <a:gd name="connsiteY4" fmla="*/ 718457 h 4062395"/>
              <a:gd name="connsiteX5" fmla="*/ 56475 w 817450"/>
              <a:gd name="connsiteY5" fmla="*/ 718841 h 4062395"/>
              <a:gd name="connsiteX6" fmla="*/ 55812 w 817450"/>
              <a:gd name="connsiteY6" fmla="*/ 0 h 4062395"/>
              <a:gd name="connsiteX0" fmla="*/ 55812 w 817450"/>
              <a:gd name="connsiteY0" fmla="*/ 0 h 4062395"/>
              <a:gd name="connsiteX1" fmla="*/ 816639 w 817450"/>
              <a:gd name="connsiteY1" fmla="*/ 440200 h 4062395"/>
              <a:gd name="connsiteX2" fmla="*/ 817450 w 817450"/>
              <a:gd name="connsiteY2" fmla="*/ 4062395 h 4062395"/>
              <a:gd name="connsiteX3" fmla="*/ 56623 w 817450"/>
              <a:gd name="connsiteY3" fmla="*/ 3622195 h 4062395"/>
              <a:gd name="connsiteX4" fmla="*/ 55812 w 817450"/>
              <a:gd name="connsiteY4" fmla="*/ 718457 h 4062395"/>
              <a:gd name="connsiteX5" fmla="*/ 55812 w 817450"/>
              <a:gd name="connsiteY5" fmla="*/ 0 h 4062395"/>
              <a:gd name="connsiteX0" fmla="*/ 94698 w 856336"/>
              <a:gd name="connsiteY0" fmla="*/ 0 h 4062395"/>
              <a:gd name="connsiteX1" fmla="*/ 855525 w 856336"/>
              <a:gd name="connsiteY1" fmla="*/ 440200 h 4062395"/>
              <a:gd name="connsiteX2" fmla="*/ 856336 w 856336"/>
              <a:gd name="connsiteY2" fmla="*/ 4062395 h 4062395"/>
              <a:gd name="connsiteX3" fmla="*/ 95509 w 856336"/>
              <a:gd name="connsiteY3" fmla="*/ 3622195 h 4062395"/>
              <a:gd name="connsiteX4" fmla="*/ 94698 w 856336"/>
              <a:gd name="connsiteY4" fmla="*/ 0 h 4062395"/>
              <a:gd name="connsiteX0" fmla="*/ 56178 w 817816"/>
              <a:gd name="connsiteY0" fmla="*/ 0 h 4062395"/>
              <a:gd name="connsiteX1" fmla="*/ 817005 w 817816"/>
              <a:gd name="connsiteY1" fmla="*/ 440200 h 4062395"/>
              <a:gd name="connsiteX2" fmla="*/ 817816 w 817816"/>
              <a:gd name="connsiteY2" fmla="*/ 4062395 h 4062395"/>
              <a:gd name="connsiteX3" fmla="*/ 56989 w 817816"/>
              <a:gd name="connsiteY3" fmla="*/ 3622195 h 4062395"/>
              <a:gd name="connsiteX4" fmla="*/ 56178 w 817816"/>
              <a:gd name="connsiteY4" fmla="*/ 0 h 4062395"/>
              <a:gd name="connsiteX0" fmla="*/ 0 w 761638"/>
              <a:gd name="connsiteY0" fmla="*/ 0 h 4062395"/>
              <a:gd name="connsiteX1" fmla="*/ 760827 w 761638"/>
              <a:gd name="connsiteY1" fmla="*/ 440200 h 4062395"/>
              <a:gd name="connsiteX2" fmla="*/ 761638 w 761638"/>
              <a:gd name="connsiteY2" fmla="*/ 4062395 h 4062395"/>
              <a:gd name="connsiteX3" fmla="*/ 811 w 761638"/>
              <a:gd name="connsiteY3" fmla="*/ 3622195 h 4062395"/>
              <a:gd name="connsiteX4" fmla="*/ 0 w 761638"/>
              <a:gd name="connsiteY4" fmla="*/ 0 h 4062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8" h="4062395">
                <a:moveTo>
                  <a:pt x="0" y="0"/>
                </a:moveTo>
                <a:lnTo>
                  <a:pt x="760827" y="440200"/>
                </a:lnTo>
                <a:cubicBezTo>
                  <a:pt x="761232" y="2251297"/>
                  <a:pt x="761232" y="2251297"/>
                  <a:pt x="761638" y="4062395"/>
                </a:cubicBezTo>
                <a:lnTo>
                  <a:pt x="811" y="3622195"/>
                </a:lnTo>
                <a:cubicBezTo>
                  <a:pt x="405" y="1811097"/>
                  <a:pt x="405" y="1811097"/>
                  <a:pt x="0" y="0"/>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77" name="Freeform: Shape 376">
            <a:extLst>
              <a:ext uri="{FF2B5EF4-FFF2-40B4-BE49-F238E27FC236}">
                <a16:creationId xmlns:a16="http://schemas.microsoft.com/office/drawing/2014/main" id="{5EC55699-0C31-4305-802E-A2E9F4555078}"/>
              </a:ext>
            </a:extLst>
          </p:cNvPr>
          <p:cNvSpPr/>
          <p:nvPr/>
        </p:nvSpPr>
        <p:spPr bwMode="gray">
          <a:xfrm>
            <a:off x="4595505" y="2626979"/>
            <a:ext cx="545949" cy="2911961"/>
          </a:xfrm>
          <a:custGeom>
            <a:avLst/>
            <a:gdLst>
              <a:gd name="connsiteX0" fmla="*/ 761638 w 761638"/>
              <a:gd name="connsiteY0" fmla="*/ 0 h 4062395"/>
              <a:gd name="connsiteX1" fmla="*/ 760975 w 761638"/>
              <a:gd name="connsiteY1" fmla="*/ 718841 h 4062395"/>
              <a:gd name="connsiteX2" fmla="*/ 761638 w 761638"/>
              <a:gd name="connsiteY2" fmla="*/ 718457 h 4062395"/>
              <a:gd name="connsiteX3" fmla="*/ 760992 w 761638"/>
              <a:gd name="connsiteY3" fmla="*/ 1418627 h 4062395"/>
              <a:gd name="connsiteX4" fmla="*/ 761638 w 761638"/>
              <a:gd name="connsiteY4" fmla="*/ 1418253 h 4062395"/>
              <a:gd name="connsiteX5" fmla="*/ 761035 w 761638"/>
              <a:gd name="connsiteY5" fmla="*/ 2071745 h 4062395"/>
              <a:gd name="connsiteX6" fmla="*/ 761638 w 761638"/>
              <a:gd name="connsiteY6" fmla="*/ 2071396 h 4062395"/>
              <a:gd name="connsiteX7" fmla="*/ 761018 w 761638"/>
              <a:gd name="connsiteY7" fmla="*/ 2743558 h 4062395"/>
              <a:gd name="connsiteX8" fmla="*/ 761638 w 761638"/>
              <a:gd name="connsiteY8" fmla="*/ 2743199 h 4062395"/>
              <a:gd name="connsiteX9" fmla="*/ 760827 w 761638"/>
              <a:gd name="connsiteY9" fmla="*/ 3622195 h 4062395"/>
              <a:gd name="connsiteX10" fmla="*/ 0 w 761638"/>
              <a:gd name="connsiteY10" fmla="*/ 4062395 h 4062395"/>
              <a:gd name="connsiteX11" fmla="*/ 620 w 761638"/>
              <a:gd name="connsiteY11" fmla="*/ 3390233 h 4062395"/>
              <a:gd name="connsiteX12" fmla="*/ 0 w 761638"/>
              <a:gd name="connsiteY12" fmla="*/ 3390592 h 4062395"/>
              <a:gd name="connsiteX13" fmla="*/ 603 w 761638"/>
              <a:gd name="connsiteY13" fmla="*/ 2737100 h 4062395"/>
              <a:gd name="connsiteX14" fmla="*/ 0 w 761638"/>
              <a:gd name="connsiteY14" fmla="*/ 2737449 h 4062395"/>
              <a:gd name="connsiteX15" fmla="*/ 646 w 761638"/>
              <a:gd name="connsiteY15" fmla="*/ 2037279 h 4062395"/>
              <a:gd name="connsiteX16" fmla="*/ 0 w 761638"/>
              <a:gd name="connsiteY16" fmla="*/ 2037653 h 4062395"/>
              <a:gd name="connsiteX17" fmla="*/ 663 w 761638"/>
              <a:gd name="connsiteY17" fmla="*/ 1318812 h 4062395"/>
              <a:gd name="connsiteX18" fmla="*/ 0 w 761638"/>
              <a:gd name="connsiteY18" fmla="*/ 1319196 h 4062395"/>
              <a:gd name="connsiteX19" fmla="*/ 811 w 761638"/>
              <a:gd name="connsiteY19" fmla="*/ 440200 h 4062395"/>
              <a:gd name="connsiteX0" fmla="*/ 761638 w 761638"/>
              <a:gd name="connsiteY0" fmla="*/ 0 h 4062395"/>
              <a:gd name="connsiteX1" fmla="*/ 760975 w 761638"/>
              <a:gd name="connsiteY1" fmla="*/ 718841 h 4062395"/>
              <a:gd name="connsiteX2" fmla="*/ 760992 w 761638"/>
              <a:gd name="connsiteY2" fmla="*/ 1418627 h 4062395"/>
              <a:gd name="connsiteX3" fmla="*/ 761638 w 761638"/>
              <a:gd name="connsiteY3" fmla="*/ 1418253 h 4062395"/>
              <a:gd name="connsiteX4" fmla="*/ 761035 w 761638"/>
              <a:gd name="connsiteY4" fmla="*/ 2071745 h 4062395"/>
              <a:gd name="connsiteX5" fmla="*/ 761638 w 761638"/>
              <a:gd name="connsiteY5" fmla="*/ 2071396 h 4062395"/>
              <a:gd name="connsiteX6" fmla="*/ 761018 w 761638"/>
              <a:gd name="connsiteY6" fmla="*/ 2743558 h 4062395"/>
              <a:gd name="connsiteX7" fmla="*/ 761638 w 761638"/>
              <a:gd name="connsiteY7" fmla="*/ 2743199 h 4062395"/>
              <a:gd name="connsiteX8" fmla="*/ 760827 w 761638"/>
              <a:gd name="connsiteY8" fmla="*/ 3622195 h 4062395"/>
              <a:gd name="connsiteX9" fmla="*/ 0 w 761638"/>
              <a:gd name="connsiteY9" fmla="*/ 4062395 h 4062395"/>
              <a:gd name="connsiteX10" fmla="*/ 620 w 761638"/>
              <a:gd name="connsiteY10" fmla="*/ 3390233 h 4062395"/>
              <a:gd name="connsiteX11" fmla="*/ 0 w 761638"/>
              <a:gd name="connsiteY11" fmla="*/ 3390592 h 4062395"/>
              <a:gd name="connsiteX12" fmla="*/ 603 w 761638"/>
              <a:gd name="connsiteY12" fmla="*/ 2737100 h 4062395"/>
              <a:gd name="connsiteX13" fmla="*/ 0 w 761638"/>
              <a:gd name="connsiteY13" fmla="*/ 2737449 h 4062395"/>
              <a:gd name="connsiteX14" fmla="*/ 646 w 761638"/>
              <a:gd name="connsiteY14" fmla="*/ 2037279 h 4062395"/>
              <a:gd name="connsiteX15" fmla="*/ 0 w 761638"/>
              <a:gd name="connsiteY15" fmla="*/ 2037653 h 4062395"/>
              <a:gd name="connsiteX16" fmla="*/ 663 w 761638"/>
              <a:gd name="connsiteY16" fmla="*/ 1318812 h 4062395"/>
              <a:gd name="connsiteX17" fmla="*/ 0 w 761638"/>
              <a:gd name="connsiteY17" fmla="*/ 1319196 h 4062395"/>
              <a:gd name="connsiteX18" fmla="*/ 811 w 761638"/>
              <a:gd name="connsiteY18" fmla="*/ 440200 h 4062395"/>
              <a:gd name="connsiteX19" fmla="*/ 761638 w 761638"/>
              <a:gd name="connsiteY19" fmla="*/ 0 h 4062395"/>
              <a:gd name="connsiteX0" fmla="*/ 761638 w 761638"/>
              <a:gd name="connsiteY0" fmla="*/ 0 h 4062395"/>
              <a:gd name="connsiteX1" fmla="*/ 760992 w 761638"/>
              <a:gd name="connsiteY1" fmla="*/ 1418627 h 4062395"/>
              <a:gd name="connsiteX2" fmla="*/ 761638 w 761638"/>
              <a:gd name="connsiteY2" fmla="*/ 1418253 h 4062395"/>
              <a:gd name="connsiteX3" fmla="*/ 761035 w 761638"/>
              <a:gd name="connsiteY3" fmla="*/ 2071745 h 4062395"/>
              <a:gd name="connsiteX4" fmla="*/ 761638 w 761638"/>
              <a:gd name="connsiteY4" fmla="*/ 2071396 h 4062395"/>
              <a:gd name="connsiteX5" fmla="*/ 761018 w 761638"/>
              <a:gd name="connsiteY5" fmla="*/ 2743558 h 4062395"/>
              <a:gd name="connsiteX6" fmla="*/ 761638 w 761638"/>
              <a:gd name="connsiteY6" fmla="*/ 2743199 h 4062395"/>
              <a:gd name="connsiteX7" fmla="*/ 760827 w 761638"/>
              <a:gd name="connsiteY7" fmla="*/ 3622195 h 4062395"/>
              <a:gd name="connsiteX8" fmla="*/ 0 w 761638"/>
              <a:gd name="connsiteY8" fmla="*/ 4062395 h 4062395"/>
              <a:gd name="connsiteX9" fmla="*/ 620 w 761638"/>
              <a:gd name="connsiteY9" fmla="*/ 3390233 h 4062395"/>
              <a:gd name="connsiteX10" fmla="*/ 0 w 761638"/>
              <a:gd name="connsiteY10" fmla="*/ 3390592 h 4062395"/>
              <a:gd name="connsiteX11" fmla="*/ 603 w 761638"/>
              <a:gd name="connsiteY11" fmla="*/ 2737100 h 4062395"/>
              <a:gd name="connsiteX12" fmla="*/ 0 w 761638"/>
              <a:gd name="connsiteY12" fmla="*/ 2737449 h 4062395"/>
              <a:gd name="connsiteX13" fmla="*/ 646 w 761638"/>
              <a:gd name="connsiteY13" fmla="*/ 2037279 h 4062395"/>
              <a:gd name="connsiteX14" fmla="*/ 0 w 761638"/>
              <a:gd name="connsiteY14" fmla="*/ 2037653 h 4062395"/>
              <a:gd name="connsiteX15" fmla="*/ 663 w 761638"/>
              <a:gd name="connsiteY15" fmla="*/ 1318812 h 4062395"/>
              <a:gd name="connsiteX16" fmla="*/ 0 w 761638"/>
              <a:gd name="connsiteY16" fmla="*/ 1319196 h 4062395"/>
              <a:gd name="connsiteX17" fmla="*/ 811 w 761638"/>
              <a:gd name="connsiteY17" fmla="*/ 440200 h 4062395"/>
              <a:gd name="connsiteX18" fmla="*/ 761638 w 761638"/>
              <a:gd name="connsiteY18" fmla="*/ 0 h 4062395"/>
              <a:gd name="connsiteX0" fmla="*/ 761638 w 761638"/>
              <a:gd name="connsiteY0" fmla="*/ 0 h 4062395"/>
              <a:gd name="connsiteX1" fmla="*/ 760992 w 761638"/>
              <a:gd name="connsiteY1" fmla="*/ 1418627 h 4062395"/>
              <a:gd name="connsiteX2" fmla="*/ 761638 w 761638"/>
              <a:gd name="connsiteY2" fmla="*/ 1418253 h 4062395"/>
              <a:gd name="connsiteX3" fmla="*/ 761035 w 761638"/>
              <a:gd name="connsiteY3" fmla="*/ 2071745 h 4062395"/>
              <a:gd name="connsiteX4" fmla="*/ 761638 w 761638"/>
              <a:gd name="connsiteY4" fmla="*/ 2071396 h 4062395"/>
              <a:gd name="connsiteX5" fmla="*/ 761018 w 761638"/>
              <a:gd name="connsiteY5" fmla="*/ 2743558 h 4062395"/>
              <a:gd name="connsiteX6" fmla="*/ 761638 w 761638"/>
              <a:gd name="connsiteY6" fmla="*/ 2743199 h 4062395"/>
              <a:gd name="connsiteX7" fmla="*/ 760827 w 761638"/>
              <a:gd name="connsiteY7" fmla="*/ 3622195 h 4062395"/>
              <a:gd name="connsiteX8" fmla="*/ 0 w 761638"/>
              <a:gd name="connsiteY8" fmla="*/ 4062395 h 4062395"/>
              <a:gd name="connsiteX9" fmla="*/ 620 w 761638"/>
              <a:gd name="connsiteY9" fmla="*/ 3390233 h 4062395"/>
              <a:gd name="connsiteX10" fmla="*/ 0 w 761638"/>
              <a:gd name="connsiteY10" fmla="*/ 3390592 h 4062395"/>
              <a:gd name="connsiteX11" fmla="*/ 603 w 761638"/>
              <a:gd name="connsiteY11" fmla="*/ 2737100 h 4062395"/>
              <a:gd name="connsiteX12" fmla="*/ 0 w 761638"/>
              <a:gd name="connsiteY12" fmla="*/ 2737449 h 4062395"/>
              <a:gd name="connsiteX13" fmla="*/ 646 w 761638"/>
              <a:gd name="connsiteY13" fmla="*/ 2037279 h 4062395"/>
              <a:gd name="connsiteX14" fmla="*/ 0 w 761638"/>
              <a:gd name="connsiteY14" fmla="*/ 2037653 h 4062395"/>
              <a:gd name="connsiteX15" fmla="*/ 663 w 761638"/>
              <a:gd name="connsiteY15" fmla="*/ 1318812 h 4062395"/>
              <a:gd name="connsiteX16" fmla="*/ 811 w 761638"/>
              <a:gd name="connsiteY16" fmla="*/ 440200 h 4062395"/>
              <a:gd name="connsiteX17" fmla="*/ 761638 w 761638"/>
              <a:gd name="connsiteY17" fmla="*/ 0 h 4062395"/>
              <a:gd name="connsiteX0" fmla="*/ 761638 w 761638"/>
              <a:gd name="connsiteY0" fmla="*/ 0 h 4062395"/>
              <a:gd name="connsiteX1" fmla="*/ 760992 w 761638"/>
              <a:gd name="connsiteY1" fmla="*/ 1418627 h 4062395"/>
              <a:gd name="connsiteX2" fmla="*/ 761638 w 761638"/>
              <a:gd name="connsiteY2" fmla="*/ 1418253 h 4062395"/>
              <a:gd name="connsiteX3" fmla="*/ 761035 w 761638"/>
              <a:gd name="connsiteY3" fmla="*/ 2071745 h 4062395"/>
              <a:gd name="connsiteX4" fmla="*/ 761638 w 761638"/>
              <a:gd name="connsiteY4" fmla="*/ 2071396 h 4062395"/>
              <a:gd name="connsiteX5" fmla="*/ 761018 w 761638"/>
              <a:gd name="connsiteY5" fmla="*/ 2743558 h 4062395"/>
              <a:gd name="connsiteX6" fmla="*/ 761638 w 761638"/>
              <a:gd name="connsiteY6" fmla="*/ 2743199 h 4062395"/>
              <a:gd name="connsiteX7" fmla="*/ 760827 w 761638"/>
              <a:gd name="connsiteY7" fmla="*/ 3622195 h 4062395"/>
              <a:gd name="connsiteX8" fmla="*/ 0 w 761638"/>
              <a:gd name="connsiteY8" fmla="*/ 4062395 h 4062395"/>
              <a:gd name="connsiteX9" fmla="*/ 620 w 761638"/>
              <a:gd name="connsiteY9" fmla="*/ 3390233 h 4062395"/>
              <a:gd name="connsiteX10" fmla="*/ 0 w 761638"/>
              <a:gd name="connsiteY10" fmla="*/ 3390592 h 4062395"/>
              <a:gd name="connsiteX11" fmla="*/ 603 w 761638"/>
              <a:gd name="connsiteY11" fmla="*/ 2737100 h 4062395"/>
              <a:gd name="connsiteX12" fmla="*/ 0 w 761638"/>
              <a:gd name="connsiteY12" fmla="*/ 2737449 h 4062395"/>
              <a:gd name="connsiteX13" fmla="*/ 646 w 761638"/>
              <a:gd name="connsiteY13" fmla="*/ 2037279 h 4062395"/>
              <a:gd name="connsiteX14" fmla="*/ 0 w 761638"/>
              <a:gd name="connsiteY14" fmla="*/ 2037653 h 4062395"/>
              <a:gd name="connsiteX15" fmla="*/ 811 w 761638"/>
              <a:gd name="connsiteY15" fmla="*/ 440200 h 4062395"/>
              <a:gd name="connsiteX16" fmla="*/ 761638 w 761638"/>
              <a:gd name="connsiteY16" fmla="*/ 0 h 4062395"/>
              <a:gd name="connsiteX0" fmla="*/ 761638 w 761638"/>
              <a:gd name="connsiteY0" fmla="*/ 0 h 4062395"/>
              <a:gd name="connsiteX1" fmla="*/ 760992 w 761638"/>
              <a:gd name="connsiteY1" fmla="*/ 1418627 h 4062395"/>
              <a:gd name="connsiteX2" fmla="*/ 761638 w 761638"/>
              <a:gd name="connsiteY2" fmla="*/ 1418253 h 4062395"/>
              <a:gd name="connsiteX3" fmla="*/ 761035 w 761638"/>
              <a:gd name="connsiteY3" fmla="*/ 2071745 h 4062395"/>
              <a:gd name="connsiteX4" fmla="*/ 761638 w 761638"/>
              <a:gd name="connsiteY4" fmla="*/ 2071396 h 4062395"/>
              <a:gd name="connsiteX5" fmla="*/ 761018 w 761638"/>
              <a:gd name="connsiteY5" fmla="*/ 2743558 h 4062395"/>
              <a:gd name="connsiteX6" fmla="*/ 761638 w 761638"/>
              <a:gd name="connsiteY6" fmla="*/ 2743199 h 4062395"/>
              <a:gd name="connsiteX7" fmla="*/ 760827 w 761638"/>
              <a:gd name="connsiteY7" fmla="*/ 3622195 h 4062395"/>
              <a:gd name="connsiteX8" fmla="*/ 0 w 761638"/>
              <a:gd name="connsiteY8" fmla="*/ 4062395 h 4062395"/>
              <a:gd name="connsiteX9" fmla="*/ 620 w 761638"/>
              <a:gd name="connsiteY9" fmla="*/ 3390233 h 4062395"/>
              <a:gd name="connsiteX10" fmla="*/ 0 w 761638"/>
              <a:gd name="connsiteY10" fmla="*/ 3390592 h 4062395"/>
              <a:gd name="connsiteX11" fmla="*/ 603 w 761638"/>
              <a:gd name="connsiteY11" fmla="*/ 2737100 h 4062395"/>
              <a:gd name="connsiteX12" fmla="*/ 0 w 761638"/>
              <a:gd name="connsiteY12" fmla="*/ 2737449 h 4062395"/>
              <a:gd name="connsiteX13" fmla="*/ 646 w 761638"/>
              <a:gd name="connsiteY13" fmla="*/ 2037279 h 4062395"/>
              <a:gd name="connsiteX14" fmla="*/ 811 w 761638"/>
              <a:gd name="connsiteY14" fmla="*/ 440200 h 4062395"/>
              <a:gd name="connsiteX15" fmla="*/ 761638 w 761638"/>
              <a:gd name="connsiteY15" fmla="*/ 0 h 4062395"/>
              <a:gd name="connsiteX0" fmla="*/ 817447 w 817447"/>
              <a:gd name="connsiteY0" fmla="*/ 0 h 4062395"/>
              <a:gd name="connsiteX1" fmla="*/ 816801 w 817447"/>
              <a:gd name="connsiteY1" fmla="*/ 1418627 h 4062395"/>
              <a:gd name="connsiteX2" fmla="*/ 817447 w 817447"/>
              <a:gd name="connsiteY2" fmla="*/ 1418253 h 4062395"/>
              <a:gd name="connsiteX3" fmla="*/ 816844 w 817447"/>
              <a:gd name="connsiteY3" fmla="*/ 2071745 h 4062395"/>
              <a:gd name="connsiteX4" fmla="*/ 817447 w 817447"/>
              <a:gd name="connsiteY4" fmla="*/ 2071396 h 4062395"/>
              <a:gd name="connsiteX5" fmla="*/ 816827 w 817447"/>
              <a:gd name="connsiteY5" fmla="*/ 2743558 h 4062395"/>
              <a:gd name="connsiteX6" fmla="*/ 817447 w 817447"/>
              <a:gd name="connsiteY6" fmla="*/ 2743199 h 4062395"/>
              <a:gd name="connsiteX7" fmla="*/ 816636 w 817447"/>
              <a:gd name="connsiteY7" fmla="*/ 3622195 h 4062395"/>
              <a:gd name="connsiteX8" fmla="*/ 55809 w 817447"/>
              <a:gd name="connsiteY8" fmla="*/ 4062395 h 4062395"/>
              <a:gd name="connsiteX9" fmla="*/ 56429 w 817447"/>
              <a:gd name="connsiteY9" fmla="*/ 3390233 h 4062395"/>
              <a:gd name="connsiteX10" fmla="*/ 55809 w 817447"/>
              <a:gd name="connsiteY10" fmla="*/ 3390592 h 4062395"/>
              <a:gd name="connsiteX11" fmla="*/ 56412 w 817447"/>
              <a:gd name="connsiteY11" fmla="*/ 2737100 h 4062395"/>
              <a:gd name="connsiteX12" fmla="*/ 55809 w 817447"/>
              <a:gd name="connsiteY12" fmla="*/ 2737449 h 4062395"/>
              <a:gd name="connsiteX13" fmla="*/ 56620 w 817447"/>
              <a:gd name="connsiteY13" fmla="*/ 440200 h 4062395"/>
              <a:gd name="connsiteX14" fmla="*/ 817447 w 817447"/>
              <a:gd name="connsiteY14" fmla="*/ 0 h 4062395"/>
              <a:gd name="connsiteX0" fmla="*/ 817447 w 817447"/>
              <a:gd name="connsiteY0" fmla="*/ 0 h 4062395"/>
              <a:gd name="connsiteX1" fmla="*/ 816801 w 817447"/>
              <a:gd name="connsiteY1" fmla="*/ 1418627 h 4062395"/>
              <a:gd name="connsiteX2" fmla="*/ 816844 w 817447"/>
              <a:gd name="connsiteY2" fmla="*/ 2071745 h 4062395"/>
              <a:gd name="connsiteX3" fmla="*/ 817447 w 817447"/>
              <a:gd name="connsiteY3" fmla="*/ 2071396 h 4062395"/>
              <a:gd name="connsiteX4" fmla="*/ 816827 w 817447"/>
              <a:gd name="connsiteY4" fmla="*/ 2743558 h 4062395"/>
              <a:gd name="connsiteX5" fmla="*/ 817447 w 817447"/>
              <a:gd name="connsiteY5" fmla="*/ 2743199 h 4062395"/>
              <a:gd name="connsiteX6" fmla="*/ 816636 w 817447"/>
              <a:gd name="connsiteY6" fmla="*/ 3622195 h 4062395"/>
              <a:gd name="connsiteX7" fmla="*/ 55809 w 817447"/>
              <a:gd name="connsiteY7" fmla="*/ 4062395 h 4062395"/>
              <a:gd name="connsiteX8" fmla="*/ 56429 w 817447"/>
              <a:gd name="connsiteY8" fmla="*/ 3390233 h 4062395"/>
              <a:gd name="connsiteX9" fmla="*/ 55809 w 817447"/>
              <a:gd name="connsiteY9" fmla="*/ 3390592 h 4062395"/>
              <a:gd name="connsiteX10" fmla="*/ 56412 w 817447"/>
              <a:gd name="connsiteY10" fmla="*/ 2737100 h 4062395"/>
              <a:gd name="connsiteX11" fmla="*/ 55809 w 817447"/>
              <a:gd name="connsiteY11" fmla="*/ 2737449 h 4062395"/>
              <a:gd name="connsiteX12" fmla="*/ 56620 w 817447"/>
              <a:gd name="connsiteY12" fmla="*/ 440200 h 4062395"/>
              <a:gd name="connsiteX13" fmla="*/ 817447 w 817447"/>
              <a:gd name="connsiteY13" fmla="*/ 0 h 4062395"/>
              <a:gd name="connsiteX0" fmla="*/ 817447 w 873603"/>
              <a:gd name="connsiteY0" fmla="*/ 0 h 4062395"/>
              <a:gd name="connsiteX1" fmla="*/ 816844 w 873603"/>
              <a:gd name="connsiteY1" fmla="*/ 2071745 h 4062395"/>
              <a:gd name="connsiteX2" fmla="*/ 817447 w 873603"/>
              <a:gd name="connsiteY2" fmla="*/ 2071396 h 4062395"/>
              <a:gd name="connsiteX3" fmla="*/ 816827 w 873603"/>
              <a:gd name="connsiteY3" fmla="*/ 2743558 h 4062395"/>
              <a:gd name="connsiteX4" fmla="*/ 817447 w 873603"/>
              <a:gd name="connsiteY4" fmla="*/ 2743199 h 4062395"/>
              <a:gd name="connsiteX5" fmla="*/ 816636 w 873603"/>
              <a:gd name="connsiteY5" fmla="*/ 3622195 h 4062395"/>
              <a:gd name="connsiteX6" fmla="*/ 55809 w 873603"/>
              <a:gd name="connsiteY6" fmla="*/ 4062395 h 4062395"/>
              <a:gd name="connsiteX7" fmla="*/ 56429 w 873603"/>
              <a:gd name="connsiteY7" fmla="*/ 3390233 h 4062395"/>
              <a:gd name="connsiteX8" fmla="*/ 55809 w 873603"/>
              <a:gd name="connsiteY8" fmla="*/ 3390592 h 4062395"/>
              <a:gd name="connsiteX9" fmla="*/ 56412 w 873603"/>
              <a:gd name="connsiteY9" fmla="*/ 2737100 h 4062395"/>
              <a:gd name="connsiteX10" fmla="*/ 55809 w 873603"/>
              <a:gd name="connsiteY10" fmla="*/ 2737449 h 4062395"/>
              <a:gd name="connsiteX11" fmla="*/ 56620 w 873603"/>
              <a:gd name="connsiteY11" fmla="*/ 440200 h 4062395"/>
              <a:gd name="connsiteX12" fmla="*/ 817447 w 873603"/>
              <a:gd name="connsiteY12" fmla="*/ 0 h 4062395"/>
              <a:gd name="connsiteX0" fmla="*/ 761638 w 817794"/>
              <a:gd name="connsiteY0" fmla="*/ 0 h 4062395"/>
              <a:gd name="connsiteX1" fmla="*/ 761035 w 817794"/>
              <a:gd name="connsiteY1" fmla="*/ 2071745 h 4062395"/>
              <a:gd name="connsiteX2" fmla="*/ 761638 w 817794"/>
              <a:gd name="connsiteY2" fmla="*/ 2071396 h 4062395"/>
              <a:gd name="connsiteX3" fmla="*/ 761018 w 817794"/>
              <a:gd name="connsiteY3" fmla="*/ 2743558 h 4062395"/>
              <a:gd name="connsiteX4" fmla="*/ 761638 w 817794"/>
              <a:gd name="connsiteY4" fmla="*/ 2743199 h 4062395"/>
              <a:gd name="connsiteX5" fmla="*/ 760827 w 817794"/>
              <a:gd name="connsiteY5" fmla="*/ 3622195 h 4062395"/>
              <a:gd name="connsiteX6" fmla="*/ 0 w 817794"/>
              <a:gd name="connsiteY6" fmla="*/ 4062395 h 4062395"/>
              <a:gd name="connsiteX7" fmla="*/ 620 w 817794"/>
              <a:gd name="connsiteY7" fmla="*/ 3390233 h 4062395"/>
              <a:gd name="connsiteX8" fmla="*/ 0 w 817794"/>
              <a:gd name="connsiteY8" fmla="*/ 3390592 h 4062395"/>
              <a:gd name="connsiteX9" fmla="*/ 603 w 817794"/>
              <a:gd name="connsiteY9" fmla="*/ 2737100 h 4062395"/>
              <a:gd name="connsiteX10" fmla="*/ 811 w 817794"/>
              <a:gd name="connsiteY10" fmla="*/ 440200 h 4062395"/>
              <a:gd name="connsiteX11" fmla="*/ 761638 w 817794"/>
              <a:gd name="connsiteY11" fmla="*/ 0 h 4062395"/>
              <a:gd name="connsiteX0" fmla="*/ 761638 w 817794"/>
              <a:gd name="connsiteY0" fmla="*/ 0 h 4062395"/>
              <a:gd name="connsiteX1" fmla="*/ 761035 w 817794"/>
              <a:gd name="connsiteY1" fmla="*/ 2071745 h 4062395"/>
              <a:gd name="connsiteX2" fmla="*/ 761638 w 817794"/>
              <a:gd name="connsiteY2" fmla="*/ 2071396 h 4062395"/>
              <a:gd name="connsiteX3" fmla="*/ 761018 w 817794"/>
              <a:gd name="connsiteY3" fmla="*/ 2743558 h 4062395"/>
              <a:gd name="connsiteX4" fmla="*/ 761638 w 817794"/>
              <a:gd name="connsiteY4" fmla="*/ 2743199 h 4062395"/>
              <a:gd name="connsiteX5" fmla="*/ 760827 w 817794"/>
              <a:gd name="connsiteY5" fmla="*/ 3622195 h 4062395"/>
              <a:gd name="connsiteX6" fmla="*/ 0 w 817794"/>
              <a:gd name="connsiteY6" fmla="*/ 4062395 h 4062395"/>
              <a:gd name="connsiteX7" fmla="*/ 620 w 817794"/>
              <a:gd name="connsiteY7" fmla="*/ 3390233 h 4062395"/>
              <a:gd name="connsiteX8" fmla="*/ 0 w 817794"/>
              <a:gd name="connsiteY8" fmla="*/ 3390592 h 4062395"/>
              <a:gd name="connsiteX9" fmla="*/ 811 w 817794"/>
              <a:gd name="connsiteY9" fmla="*/ 440200 h 4062395"/>
              <a:gd name="connsiteX10" fmla="*/ 761638 w 817794"/>
              <a:gd name="connsiteY10" fmla="*/ 0 h 4062395"/>
              <a:gd name="connsiteX0" fmla="*/ 761638 w 817794"/>
              <a:gd name="connsiteY0" fmla="*/ 0 h 4062395"/>
              <a:gd name="connsiteX1" fmla="*/ 761035 w 817794"/>
              <a:gd name="connsiteY1" fmla="*/ 2071745 h 4062395"/>
              <a:gd name="connsiteX2" fmla="*/ 761018 w 817794"/>
              <a:gd name="connsiteY2" fmla="*/ 2743558 h 4062395"/>
              <a:gd name="connsiteX3" fmla="*/ 761638 w 817794"/>
              <a:gd name="connsiteY3" fmla="*/ 2743199 h 4062395"/>
              <a:gd name="connsiteX4" fmla="*/ 760827 w 817794"/>
              <a:gd name="connsiteY4" fmla="*/ 3622195 h 4062395"/>
              <a:gd name="connsiteX5" fmla="*/ 0 w 817794"/>
              <a:gd name="connsiteY5" fmla="*/ 4062395 h 4062395"/>
              <a:gd name="connsiteX6" fmla="*/ 620 w 817794"/>
              <a:gd name="connsiteY6" fmla="*/ 3390233 h 4062395"/>
              <a:gd name="connsiteX7" fmla="*/ 0 w 817794"/>
              <a:gd name="connsiteY7" fmla="*/ 3390592 h 4062395"/>
              <a:gd name="connsiteX8" fmla="*/ 811 w 817794"/>
              <a:gd name="connsiteY8" fmla="*/ 440200 h 4062395"/>
              <a:gd name="connsiteX9" fmla="*/ 761638 w 817794"/>
              <a:gd name="connsiteY9" fmla="*/ 0 h 4062395"/>
              <a:gd name="connsiteX0" fmla="*/ 761638 w 817789"/>
              <a:gd name="connsiteY0" fmla="*/ 0 h 4062395"/>
              <a:gd name="connsiteX1" fmla="*/ 761018 w 817789"/>
              <a:gd name="connsiteY1" fmla="*/ 2743558 h 4062395"/>
              <a:gd name="connsiteX2" fmla="*/ 761638 w 817789"/>
              <a:gd name="connsiteY2" fmla="*/ 2743199 h 4062395"/>
              <a:gd name="connsiteX3" fmla="*/ 760827 w 817789"/>
              <a:gd name="connsiteY3" fmla="*/ 3622195 h 4062395"/>
              <a:gd name="connsiteX4" fmla="*/ 0 w 817789"/>
              <a:gd name="connsiteY4" fmla="*/ 4062395 h 4062395"/>
              <a:gd name="connsiteX5" fmla="*/ 620 w 817789"/>
              <a:gd name="connsiteY5" fmla="*/ 3390233 h 4062395"/>
              <a:gd name="connsiteX6" fmla="*/ 0 w 817789"/>
              <a:gd name="connsiteY6" fmla="*/ 3390592 h 4062395"/>
              <a:gd name="connsiteX7" fmla="*/ 811 w 817789"/>
              <a:gd name="connsiteY7" fmla="*/ 440200 h 4062395"/>
              <a:gd name="connsiteX8" fmla="*/ 761638 w 817789"/>
              <a:gd name="connsiteY8" fmla="*/ 0 h 4062395"/>
              <a:gd name="connsiteX0" fmla="*/ 761638 w 817789"/>
              <a:gd name="connsiteY0" fmla="*/ 0 h 4062395"/>
              <a:gd name="connsiteX1" fmla="*/ 761018 w 817789"/>
              <a:gd name="connsiteY1" fmla="*/ 2743558 h 4062395"/>
              <a:gd name="connsiteX2" fmla="*/ 760827 w 817789"/>
              <a:gd name="connsiteY2" fmla="*/ 3622195 h 4062395"/>
              <a:gd name="connsiteX3" fmla="*/ 0 w 817789"/>
              <a:gd name="connsiteY3" fmla="*/ 4062395 h 4062395"/>
              <a:gd name="connsiteX4" fmla="*/ 620 w 817789"/>
              <a:gd name="connsiteY4" fmla="*/ 3390233 h 4062395"/>
              <a:gd name="connsiteX5" fmla="*/ 0 w 817789"/>
              <a:gd name="connsiteY5" fmla="*/ 3390592 h 4062395"/>
              <a:gd name="connsiteX6" fmla="*/ 811 w 817789"/>
              <a:gd name="connsiteY6" fmla="*/ 440200 h 4062395"/>
              <a:gd name="connsiteX7" fmla="*/ 761638 w 817789"/>
              <a:gd name="connsiteY7" fmla="*/ 0 h 4062395"/>
              <a:gd name="connsiteX0" fmla="*/ 761638 w 856336"/>
              <a:gd name="connsiteY0" fmla="*/ 0 h 4062395"/>
              <a:gd name="connsiteX1" fmla="*/ 760827 w 856336"/>
              <a:gd name="connsiteY1" fmla="*/ 3622195 h 4062395"/>
              <a:gd name="connsiteX2" fmla="*/ 0 w 856336"/>
              <a:gd name="connsiteY2" fmla="*/ 4062395 h 4062395"/>
              <a:gd name="connsiteX3" fmla="*/ 620 w 856336"/>
              <a:gd name="connsiteY3" fmla="*/ 3390233 h 4062395"/>
              <a:gd name="connsiteX4" fmla="*/ 0 w 856336"/>
              <a:gd name="connsiteY4" fmla="*/ 3390592 h 4062395"/>
              <a:gd name="connsiteX5" fmla="*/ 811 w 856336"/>
              <a:gd name="connsiteY5" fmla="*/ 440200 h 4062395"/>
              <a:gd name="connsiteX6" fmla="*/ 761638 w 856336"/>
              <a:gd name="connsiteY6" fmla="*/ 0 h 4062395"/>
              <a:gd name="connsiteX0" fmla="*/ 761638 w 856336"/>
              <a:gd name="connsiteY0" fmla="*/ 0 h 4062395"/>
              <a:gd name="connsiteX1" fmla="*/ 760827 w 856336"/>
              <a:gd name="connsiteY1" fmla="*/ 3622195 h 4062395"/>
              <a:gd name="connsiteX2" fmla="*/ 0 w 856336"/>
              <a:gd name="connsiteY2" fmla="*/ 4062395 h 4062395"/>
              <a:gd name="connsiteX3" fmla="*/ 620 w 856336"/>
              <a:gd name="connsiteY3" fmla="*/ 3390233 h 4062395"/>
              <a:gd name="connsiteX4" fmla="*/ 811 w 856336"/>
              <a:gd name="connsiteY4" fmla="*/ 440200 h 4062395"/>
              <a:gd name="connsiteX5" fmla="*/ 761638 w 856336"/>
              <a:gd name="connsiteY5" fmla="*/ 0 h 4062395"/>
              <a:gd name="connsiteX0" fmla="*/ 856336 w 951034"/>
              <a:gd name="connsiteY0" fmla="*/ 0 h 4062395"/>
              <a:gd name="connsiteX1" fmla="*/ 855525 w 951034"/>
              <a:gd name="connsiteY1" fmla="*/ 3622195 h 4062395"/>
              <a:gd name="connsiteX2" fmla="*/ 94698 w 951034"/>
              <a:gd name="connsiteY2" fmla="*/ 4062395 h 4062395"/>
              <a:gd name="connsiteX3" fmla="*/ 95509 w 951034"/>
              <a:gd name="connsiteY3" fmla="*/ 440200 h 4062395"/>
              <a:gd name="connsiteX4" fmla="*/ 856336 w 951034"/>
              <a:gd name="connsiteY4" fmla="*/ 0 h 4062395"/>
              <a:gd name="connsiteX0" fmla="*/ 817366 w 912064"/>
              <a:gd name="connsiteY0" fmla="*/ 0 h 4062395"/>
              <a:gd name="connsiteX1" fmla="*/ 816555 w 912064"/>
              <a:gd name="connsiteY1" fmla="*/ 3622195 h 4062395"/>
              <a:gd name="connsiteX2" fmla="*/ 55728 w 912064"/>
              <a:gd name="connsiteY2" fmla="*/ 4062395 h 4062395"/>
              <a:gd name="connsiteX3" fmla="*/ 56539 w 912064"/>
              <a:gd name="connsiteY3" fmla="*/ 440200 h 4062395"/>
              <a:gd name="connsiteX4" fmla="*/ 817366 w 912064"/>
              <a:gd name="connsiteY4" fmla="*/ 0 h 4062395"/>
              <a:gd name="connsiteX0" fmla="*/ 817366 w 873543"/>
              <a:gd name="connsiteY0" fmla="*/ 0 h 4062395"/>
              <a:gd name="connsiteX1" fmla="*/ 816555 w 873543"/>
              <a:gd name="connsiteY1" fmla="*/ 3622195 h 4062395"/>
              <a:gd name="connsiteX2" fmla="*/ 55728 w 873543"/>
              <a:gd name="connsiteY2" fmla="*/ 4062395 h 4062395"/>
              <a:gd name="connsiteX3" fmla="*/ 56539 w 873543"/>
              <a:gd name="connsiteY3" fmla="*/ 440200 h 4062395"/>
              <a:gd name="connsiteX4" fmla="*/ 817366 w 873543"/>
              <a:gd name="connsiteY4" fmla="*/ 0 h 4062395"/>
              <a:gd name="connsiteX0" fmla="*/ 817366 w 817366"/>
              <a:gd name="connsiteY0" fmla="*/ 0 h 4062395"/>
              <a:gd name="connsiteX1" fmla="*/ 816555 w 817366"/>
              <a:gd name="connsiteY1" fmla="*/ 3622195 h 4062395"/>
              <a:gd name="connsiteX2" fmla="*/ 55728 w 817366"/>
              <a:gd name="connsiteY2" fmla="*/ 4062395 h 4062395"/>
              <a:gd name="connsiteX3" fmla="*/ 56539 w 817366"/>
              <a:gd name="connsiteY3" fmla="*/ 440200 h 4062395"/>
              <a:gd name="connsiteX4" fmla="*/ 817366 w 817366"/>
              <a:gd name="connsiteY4" fmla="*/ 0 h 4062395"/>
              <a:gd name="connsiteX0" fmla="*/ 761638 w 761638"/>
              <a:gd name="connsiteY0" fmla="*/ 0 h 4062395"/>
              <a:gd name="connsiteX1" fmla="*/ 760827 w 761638"/>
              <a:gd name="connsiteY1" fmla="*/ 3622195 h 4062395"/>
              <a:gd name="connsiteX2" fmla="*/ 0 w 761638"/>
              <a:gd name="connsiteY2" fmla="*/ 4062395 h 4062395"/>
              <a:gd name="connsiteX3" fmla="*/ 811 w 761638"/>
              <a:gd name="connsiteY3" fmla="*/ 440200 h 4062395"/>
              <a:gd name="connsiteX4" fmla="*/ 761638 w 761638"/>
              <a:gd name="connsiteY4" fmla="*/ 0 h 4062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1638" h="4062395">
                <a:moveTo>
                  <a:pt x="761638" y="0"/>
                </a:moveTo>
                <a:cubicBezTo>
                  <a:pt x="761232" y="1811097"/>
                  <a:pt x="761232" y="1811097"/>
                  <a:pt x="760827" y="3622195"/>
                </a:cubicBezTo>
                <a:lnTo>
                  <a:pt x="0" y="4062395"/>
                </a:lnTo>
                <a:cubicBezTo>
                  <a:pt x="405" y="2251297"/>
                  <a:pt x="405" y="2251297"/>
                  <a:pt x="811" y="440200"/>
                </a:cubicBezTo>
                <a:lnTo>
                  <a:pt x="761638" y="0"/>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1" name="Diamond 360">
            <a:extLst>
              <a:ext uri="{FF2B5EF4-FFF2-40B4-BE49-F238E27FC236}">
                <a16:creationId xmlns:a16="http://schemas.microsoft.com/office/drawing/2014/main" id="{17F657FE-480D-4E28-9CDF-5B2A537FA4D6}"/>
              </a:ext>
            </a:extLst>
          </p:cNvPr>
          <p:cNvSpPr/>
          <p:nvPr/>
        </p:nvSpPr>
        <p:spPr bwMode="gray">
          <a:xfrm>
            <a:off x="4049895" y="2313335"/>
            <a:ext cx="1091897" cy="629065"/>
          </a:xfrm>
          <a:prstGeom prst="diamond">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nvGrpSpPr>
          <p:cNvPr id="362" name="Group 361">
            <a:extLst>
              <a:ext uri="{FF2B5EF4-FFF2-40B4-BE49-F238E27FC236}">
                <a16:creationId xmlns:a16="http://schemas.microsoft.com/office/drawing/2014/main" id="{41BFEB7E-EAC0-403B-BCA5-B22DB8EEAD24}"/>
              </a:ext>
            </a:extLst>
          </p:cNvPr>
          <p:cNvGrpSpPr/>
          <p:nvPr/>
        </p:nvGrpSpPr>
        <p:grpSpPr bwMode="gray">
          <a:xfrm>
            <a:off x="4218228" y="1951610"/>
            <a:ext cx="754947" cy="870434"/>
            <a:chOff x="4415972" y="177612"/>
            <a:chExt cx="3041468" cy="3506727"/>
          </a:xfrm>
        </p:grpSpPr>
        <p:sp>
          <p:nvSpPr>
            <p:cNvPr id="363" name="Rectangle 25">
              <a:extLst>
                <a:ext uri="{FF2B5EF4-FFF2-40B4-BE49-F238E27FC236}">
                  <a16:creationId xmlns:a16="http://schemas.microsoft.com/office/drawing/2014/main" id="{DF38EBD2-4FA0-4799-9344-2383561BE61B}"/>
                </a:ext>
              </a:extLst>
            </p:cNvPr>
            <p:cNvSpPr/>
            <p:nvPr/>
          </p:nvSpPr>
          <p:spPr bwMode="gray">
            <a:xfrm>
              <a:off x="4415972" y="1051037"/>
              <a:ext cx="1520338" cy="2633302"/>
            </a:xfrm>
            <a:custGeom>
              <a:avLst/>
              <a:gdLst/>
              <a:ahLst/>
              <a:cxnLst/>
              <a:rect l="l" t="t" r="r" b="b"/>
              <a:pathLst>
                <a:path w="1520338" h="2633302">
                  <a:moveTo>
                    <a:pt x="0" y="0"/>
                  </a:moveTo>
                  <a:lnTo>
                    <a:pt x="1518719" y="878702"/>
                  </a:lnTo>
                  <a:lnTo>
                    <a:pt x="1520338" y="2633302"/>
                  </a:lnTo>
                  <a:lnTo>
                    <a:pt x="1619" y="175460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4" name="Rectangle 26">
              <a:extLst>
                <a:ext uri="{FF2B5EF4-FFF2-40B4-BE49-F238E27FC236}">
                  <a16:creationId xmlns:a16="http://schemas.microsoft.com/office/drawing/2014/main" id="{E96494AB-8F3F-4C4B-9E45-D34702564F3E}"/>
                </a:ext>
              </a:extLst>
            </p:cNvPr>
            <p:cNvSpPr/>
            <p:nvPr/>
          </p:nvSpPr>
          <p:spPr bwMode="gray">
            <a:xfrm>
              <a:off x="5936162" y="1051037"/>
              <a:ext cx="1520338" cy="2633302"/>
            </a:xfrm>
            <a:custGeom>
              <a:avLst/>
              <a:gdLst/>
              <a:ahLst/>
              <a:cxnLst/>
              <a:rect l="l" t="t" r="r" b="b"/>
              <a:pathLst>
                <a:path w="1520338" h="2633302">
                  <a:moveTo>
                    <a:pt x="1520338" y="0"/>
                  </a:moveTo>
                  <a:lnTo>
                    <a:pt x="1518719" y="1754600"/>
                  </a:lnTo>
                  <a:lnTo>
                    <a:pt x="0" y="2633302"/>
                  </a:lnTo>
                  <a:lnTo>
                    <a:pt x="1619" y="878702"/>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5" name="Diamond 364">
              <a:extLst>
                <a:ext uri="{FF2B5EF4-FFF2-40B4-BE49-F238E27FC236}">
                  <a16:creationId xmlns:a16="http://schemas.microsoft.com/office/drawing/2014/main" id="{050F6900-4B4A-4761-A4F5-C3B41296D5B7}"/>
                </a:ext>
              </a:extLst>
            </p:cNvPr>
            <p:cNvSpPr/>
            <p:nvPr/>
          </p:nvSpPr>
          <p:spPr bwMode="gray">
            <a:xfrm>
              <a:off x="4416765" y="177612"/>
              <a:ext cx="3040675" cy="1751796"/>
            </a:xfrm>
            <a:prstGeom prst="diamond">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
        <p:nvSpPr>
          <p:cNvPr id="380" name="Freeform: Shape 379">
            <a:extLst>
              <a:ext uri="{FF2B5EF4-FFF2-40B4-BE49-F238E27FC236}">
                <a16:creationId xmlns:a16="http://schemas.microsoft.com/office/drawing/2014/main" id="{082CEC5C-D4BC-4523-B3F7-CD11243815F8}"/>
              </a:ext>
            </a:extLst>
          </p:cNvPr>
          <p:cNvSpPr/>
          <p:nvPr/>
        </p:nvSpPr>
        <p:spPr bwMode="gray">
          <a:xfrm rot="10800000" flipV="1">
            <a:off x="3041301" y="3117197"/>
            <a:ext cx="495248" cy="1111525"/>
          </a:xfrm>
          <a:custGeom>
            <a:avLst/>
            <a:gdLst>
              <a:gd name="connsiteX0" fmla="*/ 556057 w 690906"/>
              <a:gd name="connsiteY0" fmla="*/ 10 h 1550657"/>
              <a:gd name="connsiteX1" fmla="*/ 524561 w 690906"/>
              <a:gd name="connsiteY1" fmla="*/ 7854 h 1550657"/>
              <a:gd name="connsiteX2" fmla="*/ 507631 w 690906"/>
              <a:gd name="connsiteY2" fmla="*/ 16277 h 1550657"/>
              <a:gd name="connsiteX3" fmla="*/ 496750 w 690906"/>
              <a:gd name="connsiteY3" fmla="*/ 18402 h 1550657"/>
              <a:gd name="connsiteX4" fmla="*/ 496749 w 690906"/>
              <a:gd name="connsiteY4" fmla="*/ 18403 h 1550657"/>
              <a:gd name="connsiteX5" fmla="*/ 496386 w 690906"/>
              <a:gd name="connsiteY5" fmla="*/ 18821 h 1550657"/>
              <a:gd name="connsiteX6" fmla="*/ 72724 w 690906"/>
              <a:gd name="connsiteY6" fmla="*/ 265481 h 1550657"/>
              <a:gd name="connsiteX7" fmla="*/ 18864 w 690906"/>
              <a:gd name="connsiteY7" fmla="*/ 318341 h 1550657"/>
              <a:gd name="connsiteX8" fmla="*/ 1435 w 690906"/>
              <a:gd name="connsiteY8" fmla="*/ 375310 h 1550657"/>
              <a:gd name="connsiteX9" fmla="*/ 33 w 690906"/>
              <a:gd name="connsiteY9" fmla="*/ 391221 h 1550657"/>
              <a:gd name="connsiteX10" fmla="*/ 0 w 690906"/>
              <a:gd name="connsiteY10" fmla="*/ 391408 h 1550657"/>
              <a:gd name="connsiteX11" fmla="*/ 252 w 690906"/>
              <a:gd name="connsiteY11" fmla="*/ 956472 h 1550657"/>
              <a:gd name="connsiteX12" fmla="*/ 2509 w 690906"/>
              <a:gd name="connsiteY12" fmla="*/ 963045 h 1550657"/>
              <a:gd name="connsiteX13" fmla="*/ 2508 w 690906"/>
              <a:gd name="connsiteY13" fmla="*/ 1516847 h 1550657"/>
              <a:gd name="connsiteX14" fmla="*/ 60005 w 690906"/>
              <a:gd name="connsiteY14" fmla="*/ 1550657 h 1550657"/>
              <a:gd name="connsiteX15" fmla="*/ 117502 w 690906"/>
              <a:gd name="connsiteY15" fmla="*/ 1516847 h 1550657"/>
              <a:gd name="connsiteX16" fmla="*/ 117503 w 690906"/>
              <a:gd name="connsiteY16" fmla="*/ 871441 h 1550657"/>
              <a:gd name="connsiteX17" fmla="*/ 115661 w 690906"/>
              <a:gd name="connsiteY17" fmla="*/ 866076 h 1550657"/>
              <a:gd name="connsiteX18" fmla="*/ 115450 w 690906"/>
              <a:gd name="connsiteY18" fmla="*/ 394246 h 1550657"/>
              <a:gd name="connsiteX19" fmla="*/ 115008 w 690906"/>
              <a:gd name="connsiteY19" fmla="*/ 396106 h 1550657"/>
              <a:gd name="connsiteX20" fmla="*/ 114985 w 690906"/>
              <a:gd name="connsiteY20" fmla="*/ 392492 h 1550657"/>
              <a:gd name="connsiteX21" fmla="*/ 131140 w 690906"/>
              <a:gd name="connsiteY21" fmla="*/ 364510 h 1550657"/>
              <a:gd name="connsiteX22" fmla="*/ 554655 w 690906"/>
              <a:gd name="connsiteY22" fmla="*/ 118489 h 1550657"/>
              <a:gd name="connsiteX23" fmla="*/ 554752 w 690906"/>
              <a:gd name="connsiteY23" fmla="*/ 118378 h 1550657"/>
              <a:gd name="connsiteX24" fmla="*/ 560971 w 690906"/>
              <a:gd name="connsiteY24" fmla="*/ 120124 h 1550657"/>
              <a:gd name="connsiteX25" fmla="*/ 573973 w 690906"/>
              <a:gd name="connsiteY25" fmla="*/ 137210 h 1550657"/>
              <a:gd name="connsiteX26" fmla="*/ 575276 w 690906"/>
              <a:gd name="connsiteY26" fmla="*/ 626995 h 1550657"/>
              <a:gd name="connsiteX27" fmla="*/ 579812 w 690906"/>
              <a:gd name="connsiteY27" fmla="*/ 640207 h 1550657"/>
              <a:gd name="connsiteX28" fmla="*/ 582689 w 690906"/>
              <a:gd name="connsiteY28" fmla="*/ 642717 h 1550657"/>
              <a:gd name="connsiteX29" fmla="*/ 588637 w 690906"/>
              <a:gd name="connsiteY29" fmla="*/ 648483 h 1550657"/>
              <a:gd name="connsiteX30" fmla="*/ 590346 w 690906"/>
              <a:gd name="connsiteY30" fmla="*/ 649395 h 1550657"/>
              <a:gd name="connsiteX31" fmla="*/ 592183 w 690906"/>
              <a:gd name="connsiteY31" fmla="*/ 650997 h 1550657"/>
              <a:gd name="connsiteX32" fmla="*/ 596684 w 690906"/>
              <a:gd name="connsiteY32" fmla="*/ 652782 h 1550657"/>
              <a:gd name="connsiteX33" fmla="*/ 600907 w 690906"/>
              <a:gd name="connsiteY33" fmla="*/ 655038 h 1550657"/>
              <a:gd name="connsiteX34" fmla="*/ 606021 w 690906"/>
              <a:gd name="connsiteY34" fmla="*/ 656483 h 1550657"/>
              <a:gd name="connsiteX35" fmla="*/ 610532 w 690906"/>
              <a:gd name="connsiteY35" fmla="*/ 658272 h 1550657"/>
              <a:gd name="connsiteX36" fmla="*/ 613662 w 690906"/>
              <a:gd name="connsiteY36" fmla="*/ 658643 h 1550657"/>
              <a:gd name="connsiteX37" fmla="*/ 616015 w 690906"/>
              <a:gd name="connsiteY37" fmla="*/ 659309 h 1550657"/>
              <a:gd name="connsiteX38" fmla="*/ 628960 w 690906"/>
              <a:gd name="connsiteY38" fmla="*/ 660460 h 1550657"/>
              <a:gd name="connsiteX39" fmla="*/ 633000 w 690906"/>
              <a:gd name="connsiteY39" fmla="*/ 660939 h 1550657"/>
              <a:gd name="connsiteX40" fmla="*/ 635967 w 690906"/>
              <a:gd name="connsiteY40" fmla="*/ 660587 h 1550657"/>
              <a:gd name="connsiteX41" fmla="*/ 650347 w 690906"/>
              <a:gd name="connsiteY41" fmla="*/ 659309 h 1550657"/>
              <a:gd name="connsiteX42" fmla="*/ 652961 w 690906"/>
              <a:gd name="connsiteY42" fmla="*/ 658570 h 1550657"/>
              <a:gd name="connsiteX43" fmla="*/ 655471 w 690906"/>
              <a:gd name="connsiteY43" fmla="*/ 658272 h 1550657"/>
              <a:gd name="connsiteX44" fmla="*/ 659086 w 690906"/>
              <a:gd name="connsiteY44" fmla="*/ 656838 h 1550657"/>
              <a:gd name="connsiteX45" fmla="*/ 665455 w 690906"/>
              <a:gd name="connsiteY45" fmla="*/ 655038 h 1550657"/>
              <a:gd name="connsiteX46" fmla="*/ 670713 w 690906"/>
              <a:gd name="connsiteY46" fmla="*/ 652229 h 1550657"/>
              <a:gd name="connsiteX47" fmla="*/ 673819 w 690906"/>
              <a:gd name="connsiteY47" fmla="*/ 650998 h 1550657"/>
              <a:gd name="connsiteX48" fmla="*/ 675086 w 690906"/>
              <a:gd name="connsiteY48" fmla="*/ 649892 h 1550657"/>
              <a:gd name="connsiteX49" fmla="*/ 677725 w 690906"/>
              <a:gd name="connsiteY49" fmla="*/ 648483 h 1550657"/>
              <a:gd name="connsiteX50" fmla="*/ 686370 w 690906"/>
              <a:gd name="connsiteY50" fmla="*/ 640103 h 1550657"/>
              <a:gd name="connsiteX51" fmla="*/ 690906 w 690906"/>
              <a:gd name="connsiteY51" fmla="*/ 626890 h 1550657"/>
              <a:gd name="connsiteX52" fmla="*/ 690726 w 690906"/>
              <a:gd name="connsiteY52" fmla="*/ 626366 h 1550657"/>
              <a:gd name="connsiteX53" fmla="*/ 688942 w 690906"/>
              <a:gd name="connsiteY53" fmla="*/ 136133 h 1550657"/>
              <a:gd name="connsiteX54" fmla="*/ 670094 w 690906"/>
              <a:gd name="connsiteY54" fmla="*/ 63059 h 1550657"/>
              <a:gd name="connsiteX55" fmla="*/ 629472 w 690906"/>
              <a:gd name="connsiteY55" fmla="*/ 19482 h 1550657"/>
              <a:gd name="connsiteX56" fmla="*/ 570039 w 690906"/>
              <a:gd name="connsiteY56" fmla="*/ 151 h 1550657"/>
              <a:gd name="connsiteX57" fmla="*/ 556057 w 690906"/>
              <a:gd name="connsiteY57" fmla="*/ 10 h 1550657"/>
              <a:gd name="connsiteX0" fmla="*/ 556057 w 690906"/>
              <a:gd name="connsiteY0" fmla="*/ 10 h 1550657"/>
              <a:gd name="connsiteX1" fmla="*/ 524561 w 690906"/>
              <a:gd name="connsiteY1" fmla="*/ 7854 h 1550657"/>
              <a:gd name="connsiteX2" fmla="*/ 507631 w 690906"/>
              <a:gd name="connsiteY2" fmla="*/ 16277 h 1550657"/>
              <a:gd name="connsiteX3" fmla="*/ 496750 w 690906"/>
              <a:gd name="connsiteY3" fmla="*/ 18402 h 1550657"/>
              <a:gd name="connsiteX4" fmla="*/ 496749 w 690906"/>
              <a:gd name="connsiteY4" fmla="*/ 18403 h 1550657"/>
              <a:gd name="connsiteX5" fmla="*/ 496386 w 690906"/>
              <a:gd name="connsiteY5" fmla="*/ 18821 h 1550657"/>
              <a:gd name="connsiteX6" fmla="*/ 72724 w 690906"/>
              <a:gd name="connsiteY6" fmla="*/ 265481 h 1550657"/>
              <a:gd name="connsiteX7" fmla="*/ 18864 w 690906"/>
              <a:gd name="connsiteY7" fmla="*/ 318341 h 1550657"/>
              <a:gd name="connsiteX8" fmla="*/ 1435 w 690906"/>
              <a:gd name="connsiteY8" fmla="*/ 375310 h 1550657"/>
              <a:gd name="connsiteX9" fmla="*/ 33 w 690906"/>
              <a:gd name="connsiteY9" fmla="*/ 391221 h 1550657"/>
              <a:gd name="connsiteX10" fmla="*/ 0 w 690906"/>
              <a:gd name="connsiteY10" fmla="*/ 391408 h 1550657"/>
              <a:gd name="connsiteX11" fmla="*/ 252 w 690906"/>
              <a:gd name="connsiteY11" fmla="*/ 956472 h 1550657"/>
              <a:gd name="connsiteX12" fmla="*/ 2508 w 690906"/>
              <a:gd name="connsiteY12" fmla="*/ 1516847 h 1550657"/>
              <a:gd name="connsiteX13" fmla="*/ 60005 w 690906"/>
              <a:gd name="connsiteY13" fmla="*/ 1550657 h 1550657"/>
              <a:gd name="connsiteX14" fmla="*/ 117502 w 690906"/>
              <a:gd name="connsiteY14" fmla="*/ 1516847 h 1550657"/>
              <a:gd name="connsiteX15" fmla="*/ 117503 w 690906"/>
              <a:gd name="connsiteY15" fmla="*/ 871441 h 1550657"/>
              <a:gd name="connsiteX16" fmla="*/ 115661 w 690906"/>
              <a:gd name="connsiteY16" fmla="*/ 866076 h 1550657"/>
              <a:gd name="connsiteX17" fmla="*/ 115450 w 690906"/>
              <a:gd name="connsiteY17" fmla="*/ 394246 h 1550657"/>
              <a:gd name="connsiteX18" fmla="*/ 115008 w 690906"/>
              <a:gd name="connsiteY18" fmla="*/ 396106 h 1550657"/>
              <a:gd name="connsiteX19" fmla="*/ 114985 w 690906"/>
              <a:gd name="connsiteY19" fmla="*/ 392492 h 1550657"/>
              <a:gd name="connsiteX20" fmla="*/ 131140 w 690906"/>
              <a:gd name="connsiteY20" fmla="*/ 364510 h 1550657"/>
              <a:gd name="connsiteX21" fmla="*/ 554655 w 690906"/>
              <a:gd name="connsiteY21" fmla="*/ 118489 h 1550657"/>
              <a:gd name="connsiteX22" fmla="*/ 554752 w 690906"/>
              <a:gd name="connsiteY22" fmla="*/ 118378 h 1550657"/>
              <a:gd name="connsiteX23" fmla="*/ 560971 w 690906"/>
              <a:gd name="connsiteY23" fmla="*/ 120124 h 1550657"/>
              <a:gd name="connsiteX24" fmla="*/ 573973 w 690906"/>
              <a:gd name="connsiteY24" fmla="*/ 137210 h 1550657"/>
              <a:gd name="connsiteX25" fmla="*/ 575276 w 690906"/>
              <a:gd name="connsiteY25" fmla="*/ 626995 h 1550657"/>
              <a:gd name="connsiteX26" fmla="*/ 579812 w 690906"/>
              <a:gd name="connsiteY26" fmla="*/ 640207 h 1550657"/>
              <a:gd name="connsiteX27" fmla="*/ 582689 w 690906"/>
              <a:gd name="connsiteY27" fmla="*/ 642717 h 1550657"/>
              <a:gd name="connsiteX28" fmla="*/ 588637 w 690906"/>
              <a:gd name="connsiteY28" fmla="*/ 648483 h 1550657"/>
              <a:gd name="connsiteX29" fmla="*/ 590346 w 690906"/>
              <a:gd name="connsiteY29" fmla="*/ 649395 h 1550657"/>
              <a:gd name="connsiteX30" fmla="*/ 592183 w 690906"/>
              <a:gd name="connsiteY30" fmla="*/ 650997 h 1550657"/>
              <a:gd name="connsiteX31" fmla="*/ 596684 w 690906"/>
              <a:gd name="connsiteY31" fmla="*/ 652782 h 1550657"/>
              <a:gd name="connsiteX32" fmla="*/ 600907 w 690906"/>
              <a:gd name="connsiteY32" fmla="*/ 655038 h 1550657"/>
              <a:gd name="connsiteX33" fmla="*/ 606021 w 690906"/>
              <a:gd name="connsiteY33" fmla="*/ 656483 h 1550657"/>
              <a:gd name="connsiteX34" fmla="*/ 610532 w 690906"/>
              <a:gd name="connsiteY34" fmla="*/ 658272 h 1550657"/>
              <a:gd name="connsiteX35" fmla="*/ 613662 w 690906"/>
              <a:gd name="connsiteY35" fmla="*/ 658643 h 1550657"/>
              <a:gd name="connsiteX36" fmla="*/ 616015 w 690906"/>
              <a:gd name="connsiteY36" fmla="*/ 659309 h 1550657"/>
              <a:gd name="connsiteX37" fmla="*/ 628960 w 690906"/>
              <a:gd name="connsiteY37" fmla="*/ 660460 h 1550657"/>
              <a:gd name="connsiteX38" fmla="*/ 633000 w 690906"/>
              <a:gd name="connsiteY38" fmla="*/ 660939 h 1550657"/>
              <a:gd name="connsiteX39" fmla="*/ 635967 w 690906"/>
              <a:gd name="connsiteY39" fmla="*/ 660587 h 1550657"/>
              <a:gd name="connsiteX40" fmla="*/ 650347 w 690906"/>
              <a:gd name="connsiteY40" fmla="*/ 659309 h 1550657"/>
              <a:gd name="connsiteX41" fmla="*/ 652961 w 690906"/>
              <a:gd name="connsiteY41" fmla="*/ 658570 h 1550657"/>
              <a:gd name="connsiteX42" fmla="*/ 655471 w 690906"/>
              <a:gd name="connsiteY42" fmla="*/ 658272 h 1550657"/>
              <a:gd name="connsiteX43" fmla="*/ 659086 w 690906"/>
              <a:gd name="connsiteY43" fmla="*/ 656838 h 1550657"/>
              <a:gd name="connsiteX44" fmla="*/ 665455 w 690906"/>
              <a:gd name="connsiteY44" fmla="*/ 655038 h 1550657"/>
              <a:gd name="connsiteX45" fmla="*/ 670713 w 690906"/>
              <a:gd name="connsiteY45" fmla="*/ 652229 h 1550657"/>
              <a:gd name="connsiteX46" fmla="*/ 673819 w 690906"/>
              <a:gd name="connsiteY46" fmla="*/ 650998 h 1550657"/>
              <a:gd name="connsiteX47" fmla="*/ 675086 w 690906"/>
              <a:gd name="connsiteY47" fmla="*/ 649892 h 1550657"/>
              <a:gd name="connsiteX48" fmla="*/ 677725 w 690906"/>
              <a:gd name="connsiteY48" fmla="*/ 648483 h 1550657"/>
              <a:gd name="connsiteX49" fmla="*/ 686370 w 690906"/>
              <a:gd name="connsiteY49" fmla="*/ 640103 h 1550657"/>
              <a:gd name="connsiteX50" fmla="*/ 690906 w 690906"/>
              <a:gd name="connsiteY50" fmla="*/ 626890 h 1550657"/>
              <a:gd name="connsiteX51" fmla="*/ 690726 w 690906"/>
              <a:gd name="connsiteY51" fmla="*/ 626366 h 1550657"/>
              <a:gd name="connsiteX52" fmla="*/ 688942 w 690906"/>
              <a:gd name="connsiteY52" fmla="*/ 136133 h 1550657"/>
              <a:gd name="connsiteX53" fmla="*/ 670094 w 690906"/>
              <a:gd name="connsiteY53" fmla="*/ 63059 h 1550657"/>
              <a:gd name="connsiteX54" fmla="*/ 629472 w 690906"/>
              <a:gd name="connsiteY54" fmla="*/ 19482 h 1550657"/>
              <a:gd name="connsiteX55" fmla="*/ 570039 w 690906"/>
              <a:gd name="connsiteY55" fmla="*/ 151 h 1550657"/>
              <a:gd name="connsiteX56" fmla="*/ 556057 w 690906"/>
              <a:gd name="connsiteY56" fmla="*/ 10 h 1550657"/>
              <a:gd name="connsiteX0" fmla="*/ 556057 w 690906"/>
              <a:gd name="connsiteY0" fmla="*/ 10 h 1550657"/>
              <a:gd name="connsiteX1" fmla="*/ 524561 w 690906"/>
              <a:gd name="connsiteY1" fmla="*/ 7854 h 1550657"/>
              <a:gd name="connsiteX2" fmla="*/ 507631 w 690906"/>
              <a:gd name="connsiteY2" fmla="*/ 16277 h 1550657"/>
              <a:gd name="connsiteX3" fmla="*/ 496750 w 690906"/>
              <a:gd name="connsiteY3" fmla="*/ 18402 h 1550657"/>
              <a:gd name="connsiteX4" fmla="*/ 496749 w 690906"/>
              <a:gd name="connsiteY4" fmla="*/ 18403 h 1550657"/>
              <a:gd name="connsiteX5" fmla="*/ 496386 w 690906"/>
              <a:gd name="connsiteY5" fmla="*/ 18821 h 1550657"/>
              <a:gd name="connsiteX6" fmla="*/ 72724 w 690906"/>
              <a:gd name="connsiteY6" fmla="*/ 265481 h 1550657"/>
              <a:gd name="connsiteX7" fmla="*/ 18864 w 690906"/>
              <a:gd name="connsiteY7" fmla="*/ 318341 h 1550657"/>
              <a:gd name="connsiteX8" fmla="*/ 1435 w 690906"/>
              <a:gd name="connsiteY8" fmla="*/ 375310 h 1550657"/>
              <a:gd name="connsiteX9" fmla="*/ 33 w 690906"/>
              <a:gd name="connsiteY9" fmla="*/ 391221 h 1550657"/>
              <a:gd name="connsiteX10" fmla="*/ 0 w 690906"/>
              <a:gd name="connsiteY10" fmla="*/ 391408 h 1550657"/>
              <a:gd name="connsiteX11" fmla="*/ 2508 w 690906"/>
              <a:gd name="connsiteY11" fmla="*/ 1516847 h 1550657"/>
              <a:gd name="connsiteX12" fmla="*/ 60005 w 690906"/>
              <a:gd name="connsiteY12" fmla="*/ 1550657 h 1550657"/>
              <a:gd name="connsiteX13" fmla="*/ 117502 w 690906"/>
              <a:gd name="connsiteY13" fmla="*/ 1516847 h 1550657"/>
              <a:gd name="connsiteX14" fmla="*/ 117503 w 690906"/>
              <a:gd name="connsiteY14" fmla="*/ 871441 h 1550657"/>
              <a:gd name="connsiteX15" fmla="*/ 115661 w 690906"/>
              <a:gd name="connsiteY15" fmla="*/ 866076 h 1550657"/>
              <a:gd name="connsiteX16" fmla="*/ 115450 w 690906"/>
              <a:gd name="connsiteY16" fmla="*/ 394246 h 1550657"/>
              <a:gd name="connsiteX17" fmla="*/ 115008 w 690906"/>
              <a:gd name="connsiteY17" fmla="*/ 396106 h 1550657"/>
              <a:gd name="connsiteX18" fmla="*/ 114985 w 690906"/>
              <a:gd name="connsiteY18" fmla="*/ 392492 h 1550657"/>
              <a:gd name="connsiteX19" fmla="*/ 131140 w 690906"/>
              <a:gd name="connsiteY19" fmla="*/ 364510 h 1550657"/>
              <a:gd name="connsiteX20" fmla="*/ 554655 w 690906"/>
              <a:gd name="connsiteY20" fmla="*/ 118489 h 1550657"/>
              <a:gd name="connsiteX21" fmla="*/ 554752 w 690906"/>
              <a:gd name="connsiteY21" fmla="*/ 118378 h 1550657"/>
              <a:gd name="connsiteX22" fmla="*/ 560971 w 690906"/>
              <a:gd name="connsiteY22" fmla="*/ 120124 h 1550657"/>
              <a:gd name="connsiteX23" fmla="*/ 573973 w 690906"/>
              <a:gd name="connsiteY23" fmla="*/ 137210 h 1550657"/>
              <a:gd name="connsiteX24" fmla="*/ 575276 w 690906"/>
              <a:gd name="connsiteY24" fmla="*/ 626995 h 1550657"/>
              <a:gd name="connsiteX25" fmla="*/ 579812 w 690906"/>
              <a:gd name="connsiteY25" fmla="*/ 640207 h 1550657"/>
              <a:gd name="connsiteX26" fmla="*/ 582689 w 690906"/>
              <a:gd name="connsiteY26" fmla="*/ 642717 h 1550657"/>
              <a:gd name="connsiteX27" fmla="*/ 588637 w 690906"/>
              <a:gd name="connsiteY27" fmla="*/ 648483 h 1550657"/>
              <a:gd name="connsiteX28" fmla="*/ 590346 w 690906"/>
              <a:gd name="connsiteY28" fmla="*/ 649395 h 1550657"/>
              <a:gd name="connsiteX29" fmla="*/ 592183 w 690906"/>
              <a:gd name="connsiteY29" fmla="*/ 650997 h 1550657"/>
              <a:gd name="connsiteX30" fmla="*/ 596684 w 690906"/>
              <a:gd name="connsiteY30" fmla="*/ 652782 h 1550657"/>
              <a:gd name="connsiteX31" fmla="*/ 600907 w 690906"/>
              <a:gd name="connsiteY31" fmla="*/ 655038 h 1550657"/>
              <a:gd name="connsiteX32" fmla="*/ 606021 w 690906"/>
              <a:gd name="connsiteY32" fmla="*/ 656483 h 1550657"/>
              <a:gd name="connsiteX33" fmla="*/ 610532 w 690906"/>
              <a:gd name="connsiteY33" fmla="*/ 658272 h 1550657"/>
              <a:gd name="connsiteX34" fmla="*/ 613662 w 690906"/>
              <a:gd name="connsiteY34" fmla="*/ 658643 h 1550657"/>
              <a:gd name="connsiteX35" fmla="*/ 616015 w 690906"/>
              <a:gd name="connsiteY35" fmla="*/ 659309 h 1550657"/>
              <a:gd name="connsiteX36" fmla="*/ 628960 w 690906"/>
              <a:gd name="connsiteY36" fmla="*/ 660460 h 1550657"/>
              <a:gd name="connsiteX37" fmla="*/ 633000 w 690906"/>
              <a:gd name="connsiteY37" fmla="*/ 660939 h 1550657"/>
              <a:gd name="connsiteX38" fmla="*/ 635967 w 690906"/>
              <a:gd name="connsiteY38" fmla="*/ 660587 h 1550657"/>
              <a:gd name="connsiteX39" fmla="*/ 650347 w 690906"/>
              <a:gd name="connsiteY39" fmla="*/ 659309 h 1550657"/>
              <a:gd name="connsiteX40" fmla="*/ 652961 w 690906"/>
              <a:gd name="connsiteY40" fmla="*/ 658570 h 1550657"/>
              <a:gd name="connsiteX41" fmla="*/ 655471 w 690906"/>
              <a:gd name="connsiteY41" fmla="*/ 658272 h 1550657"/>
              <a:gd name="connsiteX42" fmla="*/ 659086 w 690906"/>
              <a:gd name="connsiteY42" fmla="*/ 656838 h 1550657"/>
              <a:gd name="connsiteX43" fmla="*/ 665455 w 690906"/>
              <a:gd name="connsiteY43" fmla="*/ 655038 h 1550657"/>
              <a:gd name="connsiteX44" fmla="*/ 670713 w 690906"/>
              <a:gd name="connsiteY44" fmla="*/ 652229 h 1550657"/>
              <a:gd name="connsiteX45" fmla="*/ 673819 w 690906"/>
              <a:gd name="connsiteY45" fmla="*/ 650998 h 1550657"/>
              <a:gd name="connsiteX46" fmla="*/ 675086 w 690906"/>
              <a:gd name="connsiteY46" fmla="*/ 649892 h 1550657"/>
              <a:gd name="connsiteX47" fmla="*/ 677725 w 690906"/>
              <a:gd name="connsiteY47" fmla="*/ 648483 h 1550657"/>
              <a:gd name="connsiteX48" fmla="*/ 686370 w 690906"/>
              <a:gd name="connsiteY48" fmla="*/ 640103 h 1550657"/>
              <a:gd name="connsiteX49" fmla="*/ 690906 w 690906"/>
              <a:gd name="connsiteY49" fmla="*/ 626890 h 1550657"/>
              <a:gd name="connsiteX50" fmla="*/ 690726 w 690906"/>
              <a:gd name="connsiteY50" fmla="*/ 626366 h 1550657"/>
              <a:gd name="connsiteX51" fmla="*/ 688942 w 690906"/>
              <a:gd name="connsiteY51" fmla="*/ 136133 h 1550657"/>
              <a:gd name="connsiteX52" fmla="*/ 670094 w 690906"/>
              <a:gd name="connsiteY52" fmla="*/ 63059 h 1550657"/>
              <a:gd name="connsiteX53" fmla="*/ 629472 w 690906"/>
              <a:gd name="connsiteY53" fmla="*/ 19482 h 1550657"/>
              <a:gd name="connsiteX54" fmla="*/ 570039 w 690906"/>
              <a:gd name="connsiteY54" fmla="*/ 151 h 1550657"/>
              <a:gd name="connsiteX55" fmla="*/ 556057 w 690906"/>
              <a:gd name="connsiteY55" fmla="*/ 10 h 1550657"/>
              <a:gd name="connsiteX0" fmla="*/ 556057 w 690906"/>
              <a:gd name="connsiteY0" fmla="*/ 10 h 1550657"/>
              <a:gd name="connsiteX1" fmla="*/ 524561 w 690906"/>
              <a:gd name="connsiteY1" fmla="*/ 7854 h 1550657"/>
              <a:gd name="connsiteX2" fmla="*/ 507631 w 690906"/>
              <a:gd name="connsiteY2" fmla="*/ 16277 h 1550657"/>
              <a:gd name="connsiteX3" fmla="*/ 496750 w 690906"/>
              <a:gd name="connsiteY3" fmla="*/ 18402 h 1550657"/>
              <a:gd name="connsiteX4" fmla="*/ 496749 w 690906"/>
              <a:gd name="connsiteY4" fmla="*/ 18403 h 1550657"/>
              <a:gd name="connsiteX5" fmla="*/ 496386 w 690906"/>
              <a:gd name="connsiteY5" fmla="*/ 18821 h 1550657"/>
              <a:gd name="connsiteX6" fmla="*/ 72724 w 690906"/>
              <a:gd name="connsiteY6" fmla="*/ 265481 h 1550657"/>
              <a:gd name="connsiteX7" fmla="*/ 18864 w 690906"/>
              <a:gd name="connsiteY7" fmla="*/ 318341 h 1550657"/>
              <a:gd name="connsiteX8" fmla="*/ 1435 w 690906"/>
              <a:gd name="connsiteY8" fmla="*/ 375310 h 1550657"/>
              <a:gd name="connsiteX9" fmla="*/ 33 w 690906"/>
              <a:gd name="connsiteY9" fmla="*/ 391221 h 1550657"/>
              <a:gd name="connsiteX10" fmla="*/ 0 w 690906"/>
              <a:gd name="connsiteY10" fmla="*/ 391408 h 1550657"/>
              <a:gd name="connsiteX11" fmla="*/ 2508 w 690906"/>
              <a:gd name="connsiteY11" fmla="*/ 1516847 h 1550657"/>
              <a:gd name="connsiteX12" fmla="*/ 60005 w 690906"/>
              <a:gd name="connsiteY12" fmla="*/ 1550657 h 1550657"/>
              <a:gd name="connsiteX13" fmla="*/ 117502 w 690906"/>
              <a:gd name="connsiteY13" fmla="*/ 1516847 h 1550657"/>
              <a:gd name="connsiteX14" fmla="*/ 117503 w 690906"/>
              <a:gd name="connsiteY14" fmla="*/ 871441 h 1550657"/>
              <a:gd name="connsiteX15" fmla="*/ 115450 w 690906"/>
              <a:gd name="connsiteY15" fmla="*/ 394246 h 1550657"/>
              <a:gd name="connsiteX16" fmla="*/ 115008 w 690906"/>
              <a:gd name="connsiteY16" fmla="*/ 396106 h 1550657"/>
              <a:gd name="connsiteX17" fmla="*/ 114985 w 690906"/>
              <a:gd name="connsiteY17" fmla="*/ 392492 h 1550657"/>
              <a:gd name="connsiteX18" fmla="*/ 131140 w 690906"/>
              <a:gd name="connsiteY18" fmla="*/ 364510 h 1550657"/>
              <a:gd name="connsiteX19" fmla="*/ 554655 w 690906"/>
              <a:gd name="connsiteY19" fmla="*/ 118489 h 1550657"/>
              <a:gd name="connsiteX20" fmla="*/ 554752 w 690906"/>
              <a:gd name="connsiteY20" fmla="*/ 118378 h 1550657"/>
              <a:gd name="connsiteX21" fmla="*/ 560971 w 690906"/>
              <a:gd name="connsiteY21" fmla="*/ 120124 h 1550657"/>
              <a:gd name="connsiteX22" fmla="*/ 573973 w 690906"/>
              <a:gd name="connsiteY22" fmla="*/ 137210 h 1550657"/>
              <a:gd name="connsiteX23" fmla="*/ 575276 w 690906"/>
              <a:gd name="connsiteY23" fmla="*/ 626995 h 1550657"/>
              <a:gd name="connsiteX24" fmla="*/ 579812 w 690906"/>
              <a:gd name="connsiteY24" fmla="*/ 640207 h 1550657"/>
              <a:gd name="connsiteX25" fmla="*/ 582689 w 690906"/>
              <a:gd name="connsiteY25" fmla="*/ 642717 h 1550657"/>
              <a:gd name="connsiteX26" fmla="*/ 588637 w 690906"/>
              <a:gd name="connsiteY26" fmla="*/ 648483 h 1550657"/>
              <a:gd name="connsiteX27" fmla="*/ 590346 w 690906"/>
              <a:gd name="connsiteY27" fmla="*/ 649395 h 1550657"/>
              <a:gd name="connsiteX28" fmla="*/ 592183 w 690906"/>
              <a:gd name="connsiteY28" fmla="*/ 650997 h 1550657"/>
              <a:gd name="connsiteX29" fmla="*/ 596684 w 690906"/>
              <a:gd name="connsiteY29" fmla="*/ 652782 h 1550657"/>
              <a:gd name="connsiteX30" fmla="*/ 600907 w 690906"/>
              <a:gd name="connsiteY30" fmla="*/ 655038 h 1550657"/>
              <a:gd name="connsiteX31" fmla="*/ 606021 w 690906"/>
              <a:gd name="connsiteY31" fmla="*/ 656483 h 1550657"/>
              <a:gd name="connsiteX32" fmla="*/ 610532 w 690906"/>
              <a:gd name="connsiteY32" fmla="*/ 658272 h 1550657"/>
              <a:gd name="connsiteX33" fmla="*/ 613662 w 690906"/>
              <a:gd name="connsiteY33" fmla="*/ 658643 h 1550657"/>
              <a:gd name="connsiteX34" fmla="*/ 616015 w 690906"/>
              <a:gd name="connsiteY34" fmla="*/ 659309 h 1550657"/>
              <a:gd name="connsiteX35" fmla="*/ 628960 w 690906"/>
              <a:gd name="connsiteY35" fmla="*/ 660460 h 1550657"/>
              <a:gd name="connsiteX36" fmla="*/ 633000 w 690906"/>
              <a:gd name="connsiteY36" fmla="*/ 660939 h 1550657"/>
              <a:gd name="connsiteX37" fmla="*/ 635967 w 690906"/>
              <a:gd name="connsiteY37" fmla="*/ 660587 h 1550657"/>
              <a:gd name="connsiteX38" fmla="*/ 650347 w 690906"/>
              <a:gd name="connsiteY38" fmla="*/ 659309 h 1550657"/>
              <a:gd name="connsiteX39" fmla="*/ 652961 w 690906"/>
              <a:gd name="connsiteY39" fmla="*/ 658570 h 1550657"/>
              <a:gd name="connsiteX40" fmla="*/ 655471 w 690906"/>
              <a:gd name="connsiteY40" fmla="*/ 658272 h 1550657"/>
              <a:gd name="connsiteX41" fmla="*/ 659086 w 690906"/>
              <a:gd name="connsiteY41" fmla="*/ 656838 h 1550657"/>
              <a:gd name="connsiteX42" fmla="*/ 665455 w 690906"/>
              <a:gd name="connsiteY42" fmla="*/ 655038 h 1550657"/>
              <a:gd name="connsiteX43" fmla="*/ 670713 w 690906"/>
              <a:gd name="connsiteY43" fmla="*/ 652229 h 1550657"/>
              <a:gd name="connsiteX44" fmla="*/ 673819 w 690906"/>
              <a:gd name="connsiteY44" fmla="*/ 650998 h 1550657"/>
              <a:gd name="connsiteX45" fmla="*/ 675086 w 690906"/>
              <a:gd name="connsiteY45" fmla="*/ 649892 h 1550657"/>
              <a:gd name="connsiteX46" fmla="*/ 677725 w 690906"/>
              <a:gd name="connsiteY46" fmla="*/ 648483 h 1550657"/>
              <a:gd name="connsiteX47" fmla="*/ 686370 w 690906"/>
              <a:gd name="connsiteY47" fmla="*/ 640103 h 1550657"/>
              <a:gd name="connsiteX48" fmla="*/ 690906 w 690906"/>
              <a:gd name="connsiteY48" fmla="*/ 626890 h 1550657"/>
              <a:gd name="connsiteX49" fmla="*/ 690726 w 690906"/>
              <a:gd name="connsiteY49" fmla="*/ 626366 h 1550657"/>
              <a:gd name="connsiteX50" fmla="*/ 688942 w 690906"/>
              <a:gd name="connsiteY50" fmla="*/ 136133 h 1550657"/>
              <a:gd name="connsiteX51" fmla="*/ 670094 w 690906"/>
              <a:gd name="connsiteY51" fmla="*/ 63059 h 1550657"/>
              <a:gd name="connsiteX52" fmla="*/ 629472 w 690906"/>
              <a:gd name="connsiteY52" fmla="*/ 19482 h 1550657"/>
              <a:gd name="connsiteX53" fmla="*/ 570039 w 690906"/>
              <a:gd name="connsiteY53" fmla="*/ 151 h 1550657"/>
              <a:gd name="connsiteX54" fmla="*/ 556057 w 690906"/>
              <a:gd name="connsiteY54" fmla="*/ 10 h 1550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690906" h="1550657">
                <a:moveTo>
                  <a:pt x="556057" y="10"/>
                </a:moveTo>
                <a:cubicBezTo>
                  <a:pt x="548038" y="-106"/>
                  <a:pt x="540931" y="660"/>
                  <a:pt x="524561" y="7854"/>
                </a:cubicBezTo>
                <a:lnTo>
                  <a:pt x="507631" y="16277"/>
                </a:lnTo>
                <a:lnTo>
                  <a:pt x="496750" y="18402"/>
                </a:lnTo>
                <a:lnTo>
                  <a:pt x="496749" y="18403"/>
                </a:lnTo>
                <a:lnTo>
                  <a:pt x="496386" y="18821"/>
                </a:lnTo>
                <a:lnTo>
                  <a:pt x="72724" y="265481"/>
                </a:lnTo>
                <a:cubicBezTo>
                  <a:pt x="53772" y="280591"/>
                  <a:pt x="40530" y="279780"/>
                  <a:pt x="18864" y="318341"/>
                </a:cubicBezTo>
                <a:cubicBezTo>
                  <a:pt x="2614" y="347262"/>
                  <a:pt x="2167" y="360425"/>
                  <a:pt x="1435" y="375310"/>
                </a:cubicBezTo>
                <a:lnTo>
                  <a:pt x="33" y="391221"/>
                </a:lnTo>
                <a:cubicBezTo>
                  <a:pt x="22" y="391283"/>
                  <a:pt x="11" y="391346"/>
                  <a:pt x="0" y="391408"/>
                </a:cubicBezTo>
                <a:lnTo>
                  <a:pt x="2508" y="1516847"/>
                </a:lnTo>
                <a:cubicBezTo>
                  <a:pt x="2508" y="1535520"/>
                  <a:pt x="28250" y="1550657"/>
                  <a:pt x="60005" y="1550657"/>
                </a:cubicBezTo>
                <a:cubicBezTo>
                  <a:pt x="91760" y="1550657"/>
                  <a:pt x="117502" y="1535520"/>
                  <a:pt x="117502" y="1516847"/>
                </a:cubicBezTo>
                <a:cubicBezTo>
                  <a:pt x="117502" y="1301712"/>
                  <a:pt x="117503" y="1086576"/>
                  <a:pt x="117503" y="871441"/>
                </a:cubicBezTo>
                <a:cubicBezTo>
                  <a:pt x="116819" y="712376"/>
                  <a:pt x="116134" y="553311"/>
                  <a:pt x="115450" y="394246"/>
                </a:cubicBezTo>
                <a:lnTo>
                  <a:pt x="115008" y="396106"/>
                </a:lnTo>
                <a:cubicBezTo>
                  <a:pt x="115000" y="394901"/>
                  <a:pt x="114993" y="393697"/>
                  <a:pt x="114985" y="392492"/>
                </a:cubicBezTo>
                <a:cubicBezTo>
                  <a:pt x="117598" y="375949"/>
                  <a:pt x="118119" y="375044"/>
                  <a:pt x="131140" y="364510"/>
                </a:cubicBezTo>
                <a:lnTo>
                  <a:pt x="554655" y="118489"/>
                </a:lnTo>
                <a:cubicBezTo>
                  <a:pt x="554687" y="118452"/>
                  <a:pt x="554720" y="118415"/>
                  <a:pt x="554752" y="118378"/>
                </a:cubicBezTo>
                <a:lnTo>
                  <a:pt x="560971" y="120124"/>
                </a:lnTo>
                <a:cubicBezTo>
                  <a:pt x="567687" y="122009"/>
                  <a:pt x="573211" y="125799"/>
                  <a:pt x="573973" y="137210"/>
                </a:cubicBezTo>
                <a:cubicBezTo>
                  <a:pt x="574407" y="300472"/>
                  <a:pt x="574842" y="463733"/>
                  <a:pt x="575276" y="626995"/>
                </a:cubicBezTo>
                <a:cubicBezTo>
                  <a:pt x="575275" y="631682"/>
                  <a:pt x="576890" y="636147"/>
                  <a:pt x="579812" y="640207"/>
                </a:cubicBezTo>
                <a:lnTo>
                  <a:pt x="582689" y="642717"/>
                </a:lnTo>
                <a:lnTo>
                  <a:pt x="588637" y="648483"/>
                </a:lnTo>
                <a:lnTo>
                  <a:pt x="590346" y="649395"/>
                </a:lnTo>
                <a:lnTo>
                  <a:pt x="592183" y="650997"/>
                </a:lnTo>
                <a:lnTo>
                  <a:pt x="596684" y="652782"/>
                </a:lnTo>
                <a:lnTo>
                  <a:pt x="600907" y="655038"/>
                </a:lnTo>
                <a:lnTo>
                  <a:pt x="606021" y="656483"/>
                </a:lnTo>
                <a:lnTo>
                  <a:pt x="610532" y="658272"/>
                </a:lnTo>
                <a:lnTo>
                  <a:pt x="613662" y="658643"/>
                </a:lnTo>
                <a:lnTo>
                  <a:pt x="616015" y="659309"/>
                </a:lnTo>
                <a:lnTo>
                  <a:pt x="628960" y="660460"/>
                </a:lnTo>
                <a:lnTo>
                  <a:pt x="633000" y="660939"/>
                </a:lnTo>
                <a:lnTo>
                  <a:pt x="635967" y="660587"/>
                </a:lnTo>
                <a:lnTo>
                  <a:pt x="650347" y="659309"/>
                </a:lnTo>
                <a:lnTo>
                  <a:pt x="652961" y="658570"/>
                </a:lnTo>
                <a:lnTo>
                  <a:pt x="655471" y="658272"/>
                </a:lnTo>
                <a:lnTo>
                  <a:pt x="659086" y="656838"/>
                </a:lnTo>
                <a:lnTo>
                  <a:pt x="665455" y="655038"/>
                </a:lnTo>
                <a:lnTo>
                  <a:pt x="670713" y="652229"/>
                </a:lnTo>
                <a:lnTo>
                  <a:pt x="673819" y="650998"/>
                </a:lnTo>
                <a:lnTo>
                  <a:pt x="675086" y="649892"/>
                </a:lnTo>
                <a:lnTo>
                  <a:pt x="677725" y="648483"/>
                </a:lnTo>
                <a:cubicBezTo>
                  <a:pt x="681254" y="645968"/>
                  <a:pt x="684179" y="643149"/>
                  <a:pt x="686370" y="640103"/>
                </a:cubicBezTo>
                <a:cubicBezTo>
                  <a:pt x="689291" y="636042"/>
                  <a:pt x="690906" y="631577"/>
                  <a:pt x="690906" y="626890"/>
                </a:cubicBezTo>
                <a:lnTo>
                  <a:pt x="690726" y="626366"/>
                </a:lnTo>
                <a:cubicBezTo>
                  <a:pt x="690131" y="462955"/>
                  <a:pt x="689537" y="299544"/>
                  <a:pt x="688942" y="136133"/>
                </a:cubicBezTo>
                <a:cubicBezTo>
                  <a:pt x="685333" y="112166"/>
                  <a:pt x="692656" y="101103"/>
                  <a:pt x="670094" y="63059"/>
                </a:cubicBezTo>
                <a:cubicBezTo>
                  <a:pt x="653173" y="34526"/>
                  <a:pt x="641998" y="27558"/>
                  <a:pt x="629472" y="19482"/>
                </a:cubicBezTo>
                <a:cubicBezTo>
                  <a:pt x="606485" y="9651"/>
                  <a:pt x="592988" y="-628"/>
                  <a:pt x="570039" y="151"/>
                </a:cubicBezTo>
                <a:cubicBezTo>
                  <a:pt x="564303" y="346"/>
                  <a:pt x="560066" y="68"/>
                  <a:pt x="556057" y="10"/>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22" name="Freeform: Shape 421">
            <a:extLst>
              <a:ext uri="{FF2B5EF4-FFF2-40B4-BE49-F238E27FC236}">
                <a16:creationId xmlns:a16="http://schemas.microsoft.com/office/drawing/2014/main" id="{4AD288CD-1ECB-4EB1-A64F-D3097A17E0F4}"/>
              </a:ext>
            </a:extLst>
          </p:cNvPr>
          <p:cNvSpPr/>
          <p:nvPr/>
        </p:nvSpPr>
        <p:spPr bwMode="gray">
          <a:xfrm>
            <a:off x="4751312" y="4484631"/>
            <a:ext cx="179498" cy="418640"/>
          </a:xfrm>
          <a:custGeom>
            <a:avLst/>
            <a:gdLst>
              <a:gd name="connsiteX0" fmla="*/ 0 w 250412"/>
              <a:gd name="connsiteY0" fmla="*/ 0 h 584033"/>
              <a:gd name="connsiteX1" fmla="*/ 250007 w 250412"/>
              <a:gd name="connsiteY1" fmla="*/ 144649 h 584033"/>
              <a:gd name="connsiteX2" fmla="*/ 250412 w 250412"/>
              <a:gd name="connsiteY2" fmla="*/ 584033 h 584033"/>
              <a:gd name="connsiteX3" fmla="*/ 406 w 250412"/>
              <a:gd name="connsiteY3" fmla="*/ 439384 h 584033"/>
            </a:gdLst>
            <a:ahLst/>
            <a:cxnLst>
              <a:cxn ang="0">
                <a:pos x="connsiteX0" y="connsiteY0"/>
              </a:cxn>
              <a:cxn ang="0">
                <a:pos x="connsiteX1" y="connsiteY1"/>
              </a:cxn>
              <a:cxn ang="0">
                <a:pos x="connsiteX2" y="connsiteY2"/>
              </a:cxn>
              <a:cxn ang="0">
                <a:pos x="connsiteX3" y="connsiteY3"/>
              </a:cxn>
            </a:cxnLst>
            <a:rect l="l" t="t" r="r" b="b"/>
            <a:pathLst>
              <a:path w="250412" h="584033">
                <a:moveTo>
                  <a:pt x="0" y="0"/>
                </a:moveTo>
                <a:lnTo>
                  <a:pt x="250007" y="144649"/>
                </a:lnTo>
                <a:lnTo>
                  <a:pt x="250412" y="584033"/>
                </a:lnTo>
                <a:lnTo>
                  <a:pt x="406" y="439384"/>
                </a:lnTo>
                <a:close/>
              </a:path>
            </a:pathLst>
          </a:custGeom>
          <a:solidFill>
            <a:schemeClr val="accent5"/>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15" name="Rectangle 26">
            <a:extLst>
              <a:ext uri="{FF2B5EF4-FFF2-40B4-BE49-F238E27FC236}">
                <a16:creationId xmlns:a16="http://schemas.microsoft.com/office/drawing/2014/main" id="{FF5DFA85-20E5-44B9-B7E8-01428468BD65}"/>
              </a:ext>
            </a:extLst>
          </p:cNvPr>
          <p:cNvSpPr/>
          <p:nvPr/>
        </p:nvSpPr>
        <p:spPr bwMode="gray">
          <a:xfrm>
            <a:off x="4929444" y="4430588"/>
            <a:ext cx="272903" cy="472683"/>
          </a:xfrm>
          <a:custGeom>
            <a:avLst/>
            <a:gdLst/>
            <a:ahLst/>
            <a:cxnLst/>
            <a:rect l="l" t="t" r="r" b="b"/>
            <a:pathLst>
              <a:path w="1520338" h="2633302">
                <a:moveTo>
                  <a:pt x="1520338" y="0"/>
                </a:moveTo>
                <a:lnTo>
                  <a:pt x="1518719" y="1754600"/>
                </a:lnTo>
                <a:lnTo>
                  <a:pt x="0" y="2633302"/>
                </a:lnTo>
                <a:lnTo>
                  <a:pt x="1619" y="878702"/>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21" name="Freeform: Shape 420">
            <a:extLst>
              <a:ext uri="{FF2B5EF4-FFF2-40B4-BE49-F238E27FC236}">
                <a16:creationId xmlns:a16="http://schemas.microsoft.com/office/drawing/2014/main" id="{A47AB4D0-6139-401F-9502-8D2516CDE9E0}"/>
              </a:ext>
            </a:extLst>
          </p:cNvPr>
          <p:cNvSpPr/>
          <p:nvPr/>
        </p:nvSpPr>
        <p:spPr bwMode="gray">
          <a:xfrm>
            <a:off x="4751455" y="4329214"/>
            <a:ext cx="451336" cy="259507"/>
          </a:xfrm>
          <a:custGeom>
            <a:avLst/>
            <a:gdLst>
              <a:gd name="connsiteX0" fmla="*/ 380720 w 629646"/>
              <a:gd name="connsiteY0" fmla="*/ 0 h 438682"/>
              <a:gd name="connsiteX1" fmla="*/ 629646 w 629646"/>
              <a:gd name="connsiteY1" fmla="*/ 143412 h 438682"/>
              <a:gd name="connsiteX2" fmla="*/ 250178 w 629646"/>
              <a:gd name="connsiteY2" fmla="*/ 362031 h 438682"/>
              <a:gd name="connsiteX3" fmla="*/ 381973 w 629646"/>
              <a:gd name="connsiteY3" fmla="*/ 437961 h 438682"/>
              <a:gd name="connsiteX4" fmla="*/ 380720 w 629646"/>
              <a:gd name="connsiteY4" fmla="*/ 438682 h 438682"/>
              <a:gd name="connsiteX5" fmla="*/ 0 w 629646"/>
              <a:gd name="connsiteY5" fmla="*/ 219341 h 438682"/>
              <a:gd name="connsiteX0" fmla="*/ 380720 w 629646"/>
              <a:gd name="connsiteY0" fmla="*/ 0 h 437961"/>
              <a:gd name="connsiteX1" fmla="*/ 629646 w 629646"/>
              <a:gd name="connsiteY1" fmla="*/ 143412 h 437961"/>
              <a:gd name="connsiteX2" fmla="*/ 250178 w 629646"/>
              <a:gd name="connsiteY2" fmla="*/ 362031 h 437961"/>
              <a:gd name="connsiteX3" fmla="*/ 381973 w 629646"/>
              <a:gd name="connsiteY3" fmla="*/ 437961 h 437961"/>
              <a:gd name="connsiteX4" fmla="*/ 0 w 629646"/>
              <a:gd name="connsiteY4" fmla="*/ 219341 h 437961"/>
              <a:gd name="connsiteX5" fmla="*/ 380720 w 629646"/>
              <a:gd name="connsiteY5" fmla="*/ 0 h 437961"/>
              <a:gd name="connsiteX0" fmla="*/ 380720 w 629646"/>
              <a:gd name="connsiteY0" fmla="*/ 0 h 362031"/>
              <a:gd name="connsiteX1" fmla="*/ 629646 w 629646"/>
              <a:gd name="connsiteY1" fmla="*/ 143412 h 362031"/>
              <a:gd name="connsiteX2" fmla="*/ 250178 w 629646"/>
              <a:gd name="connsiteY2" fmla="*/ 362031 h 362031"/>
              <a:gd name="connsiteX3" fmla="*/ 0 w 629646"/>
              <a:gd name="connsiteY3" fmla="*/ 219341 h 362031"/>
              <a:gd name="connsiteX4" fmla="*/ 380720 w 629646"/>
              <a:gd name="connsiteY4" fmla="*/ 0 h 3620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646" h="362031">
                <a:moveTo>
                  <a:pt x="380720" y="0"/>
                </a:moveTo>
                <a:lnTo>
                  <a:pt x="629646" y="143412"/>
                </a:lnTo>
                <a:lnTo>
                  <a:pt x="250178" y="362031"/>
                </a:lnTo>
                <a:lnTo>
                  <a:pt x="0" y="219341"/>
                </a:lnTo>
                <a:lnTo>
                  <a:pt x="380720" y="0"/>
                </a:lnTo>
                <a:close/>
              </a:path>
            </a:pathLst>
          </a:custGeom>
          <a:solidFill>
            <a:schemeClr val="accent5"/>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31" name="Freeform: Shape 430">
            <a:extLst>
              <a:ext uri="{FF2B5EF4-FFF2-40B4-BE49-F238E27FC236}">
                <a16:creationId xmlns:a16="http://schemas.microsoft.com/office/drawing/2014/main" id="{8535B20A-2A73-475C-9596-43A1496D0433}"/>
              </a:ext>
            </a:extLst>
          </p:cNvPr>
          <p:cNvSpPr/>
          <p:nvPr/>
        </p:nvSpPr>
        <p:spPr bwMode="gray">
          <a:xfrm rot="3600000" flipV="1">
            <a:off x="5784771" y="3103212"/>
            <a:ext cx="251206" cy="1780263"/>
          </a:xfrm>
          <a:custGeom>
            <a:avLst/>
            <a:gdLst>
              <a:gd name="connsiteX0" fmla="*/ 3147 w 350451"/>
              <a:gd name="connsiteY0" fmla="*/ 2371814 h 2483595"/>
              <a:gd name="connsiteX1" fmla="*/ 12285 w 350451"/>
              <a:gd name="connsiteY1" fmla="*/ 2382307 h 2483595"/>
              <a:gd name="connsiteX2" fmla="*/ 150680 w 350451"/>
              <a:gd name="connsiteY2" fmla="*/ 2463365 h 2483595"/>
              <a:gd name="connsiteX3" fmla="*/ 223388 w 350451"/>
              <a:gd name="connsiteY3" fmla="*/ 2483579 h 2483595"/>
              <a:gd name="connsiteX4" fmla="*/ 281437 w 350451"/>
              <a:gd name="connsiteY4" fmla="*/ 2470187 h 2483595"/>
              <a:gd name="connsiteX5" fmla="*/ 327895 w 350451"/>
              <a:gd name="connsiteY5" fmla="*/ 2428383 h 2483595"/>
              <a:gd name="connsiteX6" fmla="*/ 343964 w 350451"/>
              <a:gd name="connsiteY6" fmla="*/ 2385146 h 2483595"/>
              <a:gd name="connsiteX7" fmla="*/ 349605 w 350451"/>
              <a:gd name="connsiteY7" fmla="*/ 1688507 h 2483595"/>
              <a:gd name="connsiteX8" fmla="*/ 350191 w 350451"/>
              <a:gd name="connsiteY8" fmla="*/ 1686801 h 2483595"/>
              <a:gd name="connsiteX9" fmla="*/ 350191 w 350451"/>
              <a:gd name="connsiteY9" fmla="*/ 1616143 h 2483595"/>
              <a:gd name="connsiteX10" fmla="*/ 350451 w 350451"/>
              <a:gd name="connsiteY10" fmla="*/ 1584087 h 2483595"/>
              <a:gd name="connsiteX11" fmla="*/ 350191 w 350451"/>
              <a:gd name="connsiteY11" fmla="*/ 1580586 h 2483595"/>
              <a:gd name="connsiteX12" fmla="*/ 350192 w 350451"/>
              <a:gd name="connsiteY12" fmla="*/ 0 h 2483595"/>
              <a:gd name="connsiteX13" fmla="*/ 235198 w 350451"/>
              <a:gd name="connsiteY13" fmla="*/ 66533 h 2483595"/>
              <a:gd name="connsiteX14" fmla="*/ 235197 w 350451"/>
              <a:gd name="connsiteY14" fmla="*/ 1677193 h 2483595"/>
              <a:gd name="connsiteX15" fmla="*/ 233105 w 350451"/>
              <a:gd name="connsiteY15" fmla="*/ 2355890 h 2483595"/>
              <a:gd name="connsiteX16" fmla="*/ 233153 w 350451"/>
              <a:gd name="connsiteY16" fmla="*/ 2356029 h 2483595"/>
              <a:gd name="connsiteX17" fmla="*/ 228529 w 350451"/>
              <a:gd name="connsiteY17" fmla="*/ 2360543 h 2483595"/>
              <a:gd name="connsiteX18" fmla="*/ 207232 w 350451"/>
              <a:gd name="connsiteY18" fmla="*/ 2363259 h 2483595"/>
              <a:gd name="connsiteX19" fmla="*/ 199903 w 350451"/>
              <a:gd name="connsiteY19" fmla="*/ 2359054 h 2483595"/>
              <a:gd name="connsiteX20" fmla="*/ 197781 w 350451"/>
              <a:gd name="connsiteY20" fmla="*/ 2356618 h 2483595"/>
              <a:gd name="connsiteX21" fmla="*/ 69782 w 350451"/>
              <a:gd name="connsiteY21" fmla="*/ 2282719 h 2483595"/>
              <a:gd name="connsiteX22" fmla="*/ 11753 w 350451"/>
              <a:gd name="connsiteY22" fmla="*/ 2315608 h 2483595"/>
              <a:gd name="connsiteX23" fmla="*/ 3147 w 350451"/>
              <a:gd name="connsiteY23" fmla="*/ 2371814 h 248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0451" h="2483595">
                <a:moveTo>
                  <a:pt x="3147" y="2371814"/>
                </a:moveTo>
                <a:cubicBezTo>
                  <a:pt x="5195" y="2376355"/>
                  <a:pt x="8243" y="2379973"/>
                  <a:pt x="12285" y="2382307"/>
                </a:cubicBezTo>
                <a:cubicBezTo>
                  <a:pt x="36874" y="2397565"/>
                  <a:pt x="115496" y="2446486"/>
                  <a:pt x="150680" y="2463365"/>
                </a:cubicBezTo>
                <a:cubicBezTo>
                  <a:pt x="173242" y="2472223"/>
                  <a:pt x="179160" y="2484095"/>
                  <a:pt x="223388" y="2483579"/>
                </a:cubicBezTo>
                <a:cubicBezTo>
                  <a:pt x="256559" y="2483190"/>
                  <a:pt x="268181" y="2476996"/>
                  <a:pt x="281437" y="2470187"/>
                </a:cubicBezTo>
                <a:cubicBezTo>
                  <a:pt x="301446" y="2455196"/>
                  <a:pt x="317097" y="2448645"/>
                  <a:pt x="327895" y="2428383"/>
                </a:cubicBezTo>
                <a:cubicBezTo>
                  <a:pt x="335994" y="2413186"/>
                  <a:pt x="341032" y="2411806"/>
                  <a:pt x="343964" y="2385146"/>
                </a:cubicBezTo>
                <a:lnTo>
                  <a:pt x="349605" y="1688507"/>
                </a:lnTo>
                <a:lnTo>
                  <a:pt x="350191" y="1686801"/>
                </a:lnTo>
                <a:lnTo>
                  <a:pt x="350191" y="1616143"/>
                </a:lnTo>
                <a:lnTo>
                  <a:pt x="350451" y="1584087"/>
                </a:lnTo>
                <a:lnTo>
                  <a:pt x="350191" y="1580586"/>
                </a:lnTo>
                <a:lnTo>
                  <a:pt x="350192" y="0"/>
                </a:lnTo>
                <a:lnTo>
                  <a:pt x="235198" y="66533"/>
                </a:lnTo>
                <a:lnTo>
                  <a:pt x="235197" y="1677193"/>
                </a:lnTo>
                <a:lnTo>
                  <a:pt x="233105" y="2355890"/>
                </a:lnTo>
                <a:lnTo>
                  <a:pt x="233153" y="2356029"/>
                </a:lnTo>
                <a:lnTo>
                  <a:pt x="228529" y="2360543"/>
                </a:lnTo>
                <a:cubicBezTo>
                  <a:pt x="223540" y="2365416"/>
                  <a:pt x="217495" y="2368306"/>
                  <a:pt x="207232" y="2363259"/>
                </a:cubicBezTo>
                <a:cubicBezTo>
                  <a:pt x="204789" y="2361858"/>
                  <a:pt x="202346" y="2360456"/>
                  <a:pt x="199903" y="2359054"/>
                </a:cubicBezTo>
                <a:lnTo>
                  <a:pt x="197781" y="2356618"/>
                </a:lnTo>
                <a:cubicBezTo>
                  <a:pt x="155115" y="2331985"/>
                  <a:pt x="112449" y="2307352"/>
                  <a:pt x="69782" y="2282719"/>
                </a:cubicBezTo>
                <a:cubicBezTo>
                  <a:pt x="53611" y="2273382"/>
                  <a:pt x="27631" y="2288107"/>
                  <a:pt x="11753" y="2315608"/>
                </a:cubicBezTo>
                <a:cubicBezTo>
                  <a:pt x="-155" y="2336233"/>
                  <a:pt x="-2997" y="2358187"/>
                  <a:pt x="3147" y="2371814"/>
                </a:cubicBezTo>
                <a:close/>
              </a:path>
            </a:pathLst>
          </a:custGeom>
          <a:gradFill flip="none" rotWithShape="1">
            <a:gsLst>
              <a:gs pos="76000">
                <a:schemeClr val="accent2">
                  <a:lumMod val="0"/>
                  <a:lumOff val="100000"/>
                </a:schemeClr>
              </a:gs>
              <a:gs pos="89000">
                <a:schemeClr val="accent4"/>
              </a:gs>
            </a:gsLst>
            <a:lin ang="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34" name="Freeform: Shape 433">
            <a:extLst>
              <a:ext uri="{FF2B5EF4-FFF2-40B4-BE49-F238E27FC236}">
                <a16:creationId xmlns:a16="http://schemas.microsoft.com/office/drawing/2014/main" id="{E8CC5810-2D89-49F1-B2C6-A8CC4EE6A9D8}"/>
              </a:ext>
            </a:extLst>
          </p:cNvPr>
          <p:cNvSpPr/>
          <p:nvPr/>
        </p:nvSpPr>
        <p:spPr bwMode="gray">
          <a:xfrm rot="3600000" flipV="1">
            <a:off x="6143126" y="2575710"/>
            <a:ext cx="251206" cy="2608055"/>
          </a:xfrm>
          <a:custGeom>
            <a:avLst/>
            <a:gdLst>
              <a:gd name="connsiteX0" fmla="*/ 3147 w 350450"/>
              <a:gd name="connsiteY0" fmla="*/ 3526644 h 3638425"/>
              <a:gd name="connsiteX1" fmla="*/ 12285 w 350450"/>
              <a:gd name="connsiteY1" fmla="*/ 3537137 h 3638425"/>
              <a:gd name="connsiteX2" fmla="*/ 150679 w 350450"/>
              <a:gd name="connsiteY2" fmla="*/ 3618195 h 3638425"/>
              <a:gd name="connsiteX3" fmla="*/ 223387 w 350450"/>
              <a:gd name="connsiteY3" fmla="*/ 3638409 h 3638425"/>
              <a:gd name="connsiteX4" fmla="*/ 281437 w 350450"/>
              <a:gd name="connsiteY4" fmla="*/ 3625018 h 3638425"/>
              <a:gd name="connsiteX5" fmla="*/ 327895 w 350450"/>
              <a:gd name="connsiteY5" fmla="*/ 3583213 h 3638425"/>
              <a:gd name="connsiteX6" fmla="*/ 343964 w 350450"/>
              <a:gd name="connsiteY6" fmla="*/ 3539977 h 3638425"/>
              <a:gd name="connsiteX7" fmla="*/ 349604 w 350450"/>
              <a:gd name="connsiteY7" fmla="*/ 2843339 h 3638425"/>
              <a:gd name="connsiteX8" fmla="*/ 350190 w 350450"/>
              <a:gd name="connsiteY8" fmla="*/ 2841632 h 3638425"/>
              <a:gd name="connsiteX9" fmla="*/ 350191 w 350450"/>
              <a:gd name="connsiteY9" fmla="*/ 2770971 h 3638425"/>
              <a:gd name="connsiteX10" fmla="*/ 350450 w 350450"/>
              <a:gd name="connsiteY10" fmla="*/ 2738917 h 3638425"/>
              <a:gd name="connsiteX11" fmla="*/ 350190 w 350450"/>
              <a:gd name="connsiteY11" fmla="*/ 2735415 h 3638425"/>
              <a:gd name="connsiteX12" fmla="*/ 350191 w 350450"/>
              <a:gd name="connsiteY12" fmla="*/ 0 h 3638425"/>
              <a:gd name="connsiteX13" fmla="*/ 235197 w 350450"/>
              <a:gd name="connsiteY13" fmla="*/ 66534 h 3638425"/>
              <a:gd name="connsiteX14" fmla="*/ 235196 w 350450"/>
              <a:gd name="connsiteY14" fmla="*/ 2832002 h 3638425"/>
              <a:gd name="connsiteX15" fmla="*/ 233104 w 350450"/>
              <a:gd name="connsiteY15" fmla="*/ 3510720 h 3638425"/>
              <a:gd name="connsiteX16" fmla="*/ 233153 w 350450"/>
              <a:gd name="connsiteY16" fmla="*/ 3510860 h 3638425"/>
              <a:gd name="connsiteX17" fmla="*/ 228529 w 350450"/>
              <a:gd name="connsiteY17" fmla="*/ 3515373 h 3638425"/>
              <a:gd name="connsiteX18" fmla="*/ 207232 w 350450"/>
              <a:gd name="connsiteY18" fmla="*/ 3518090 h 3638425"/>
              <a:gd name="connsiteX19" fmla="*/ 199903 w 350450"/>
              <a:gd name="connsiteY19" fmla="*/ 3513885 h 3638425"/>
              <a:gd name="connsiteX20" fmla="*/ 197781 w 350450"/>
              <a:gd name="connsiteY20" fmla="*/ 3511448 h 3638425"/>
              <a:gd name="connsiteX21" fmla="*/ 69782 w 350450"/>
              <a:gd name="connsiteY21" fmla="*/ 3437549 h 3638425"/>
              <a:gd name="connsiteX22" fmla="*/ 11753 w 350450"/>
              <a:gd name="connsiteY22" fmla="*/ 3470438 h 3638425"/>
              <a:gd name="connsiteX23" fmla="*/ 3147 w 350450"/>
              <a:gd name="connsiteY23" fmla="*/ 3526644 h 363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0450" h="3638425">
                <a:moveTo>
                  <a:pt x="3147" y="3526644"/>
                </a:moveTo>
                <a:cubicBezTo>
                  <a:pt x="5195" y="3531186"/>
                  <a:pt x="8242" y="3534803"/>
                  <a:pt x="12285" y="3537137"/>
                </a:cubicBezTo>
                <a:cubicBezTo>
                  <a:pt x="36874" y="3552396"/>
                  <a:pt x="115496" y="3601317"/>
                  <a:pt x="150679" y="3618195"/>
                </a:cubicBezTo>
                <a:cubicBezTo>
                  <a:pt x="173242" y="3627054"/>
                  <a:pt x="179160" y="3638926"/>
                  <a:pt x="223387" y="3638409"/>
                </a:cubicBezTo>
                <a:cubicBezTo>
                  <a:pt x="256559" y="3638021"/>
                  <a:pt x="268181" y="3631827"/>
                  <a:pt x="281437" y="3625018"/>
                </a:cubicBezTo>
                <a:cubicBezTo>
                  <a:pt x="301445" y="3610026"/>
                  <a:pt x="317097" y="3603476"/>
                  <a:pt x="327895" y="3583213"/>
                </a:cubicBezTo>
                <a:cubicBezTo>
                  <a:pt x="335994" y="3568017"/>
                  <a:pt x="341032" y="3566637"/>
                  <a:pt x="343964" y="3539977"/>
                </a:cubicBezTo>
                <a:lnTo>
                  <a:pt x="349604" y="2843339"/>
                </a:lnTo>
                <a:lnTo>
                  <a:pt x="350190" y="2841632"/>
                </a:lnTo>
                <a:lnTo>
                  <a:pt x="350191" y="2770971"/>
                </a:lnTo>
                <a:lnTo>
                  <a:pt x="350450" y="2738917"/>
                </a:lnTo>
                <a:lnTo>
                  <a:pt x="350190" y="2735415"/>
                </a:lnTo>
                <a:lnTo>
                  <a:pt x="350191" y="0"/>
                </a:lnTo>
                <a:lnTo>
                  <a:pt x="235197" y="66534"/>
                </a:lnTo>
                <a:lnTo>
                  <a:pt x="235196" y="2832002"/>
                </a:lnTo>
                <a:lnTo>
                  <a:pt x="233104" y="3510720"/>
                </a:lnTo>
                <a:lnTo>
                  <a:pt x="233153" y="3510860"/>
                </a:lnTo>
                <a:lnTo>
                  <a:pt x="228529" y="3515373"/>
                </a:lnTo>
                <a:cubicBezTo>
                  <a:pt x="223540" y="3520247"/>
                  <a:pt x="217494" y="3523136"/>
                  <a:pt x="207232" y="3518090"/>
                </a:cubicBezTo>
                <a:cubicBezTo>
                  <a:pt x="204789" y="3516689"/>
                  <a:pt x="202346" y="3515286"/>
                  <a:pt x="199903" y="3513885"/>
                </a:cubicBezTo>
                <a:lnTo>
                  <a:pt x="197781" y="3511448"/>
                </a:lnTo>
                <a:cubicBezTo>
                  <a:pt x="155115" y="3486815"/>
                  <a:pt x="112448" y="3462182"/>
                  <a:pt x="69782" y="3437549"/>
                </a:cubicBezTo>
                <a:cubicBezTo>
                  <a:pt x="53611" y="3428213"/>
                  <a:pt x="27631" y="3442938"/>
                  <a:pt x="11753" y="3470438"/>
                </a:cubicBezTo>
                <a:cubicBezTo>
                  <a:pt x="-155" y="3491063"/>
                  <a:pt x="-2998" y="3513017"/>
                  <a:pt x="3147" y="3526644"/>
                </a:cubicBezTo>
                <a:close/>
              </a:path>
            </a:pathLst>
          </a:custGeom>
          <a:gradFill flip="none" rotWithShape="1">
            <a:gsLst>
              <a:gs pos="76000">
                <a:schemeClr val="accent2">
                  <a:lumMod val="0"/>
                  <a:lumOff val="100000"/>
                </a:schemeClr>
              </a:gs>
              <a:gs pos="89000">
                <a:schemeClr val="accent4"/>
              </a:gs>
            </a:gsLst>
            <a:lin ang="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36" name="Freeform: Shape 435">
            <a:extLst>
              <a:ext uri="{FF2B5EF4-FFF2-40B4-BE49-F238E27FC236}">
                <a16:creationId xmlns:a16="http://schemas.microsoft.com/office/drawing/2014/main" id="{23D88317-6A56-4DE9-95E7-F23FB6FB04D4}"/>
              </a:ext>
            </a:extLst>
          </p:cNvPr>
          <p:cNvSpPr/>
          <p:nvPr/>
        </p:nvSpPr>
        <p:spPr bwMode="gray">
          <a:xfrm rot="18000000" flipH="1" flipV="1">
            <a:off x="5012437" y="4384615"/>
            <a:ext cx="1121447" cy="835592"/>
          </a:xfrm>
          <a:custGeom>
            <a:avLst/>
            <a:gdLst>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1295087 w 1564500"/>
              <a:gd name="connsiteY28" fmla="*/ 788237 h 1165711"/>
              <a:gd name="connsiteX29" fmla="*/ 1295085 w 1564500"/>
              <a:gd name="connsiteY29" fmla="*/ 788234 h 1165711"/>
              <a:gd name="connsiteX30" fmla="*/ 1271428 w 1564500"/>
              <a:gd name="connsiteY30" fmla="*/ 774576 h 1165711"/>
              <a:gd name="connsiteX31" fmla="*/ 756089 w 1564500"/>
              <a:gd name="connsiteY31" fmla="*/ 483173 h 1165711"/>
              <a:gd name="connsiteX32" fmla="*/ 717631 w 1564500"/>
              <a:gd name="connsiteY32" fmla="*/ 456589 h 1165711"/>
              <a:gd name="connsiteX33" fmla="*/ 710789 w 1564500"/>
              <a:gd name="connsiteY33" fmla="*/ 450892 h 1165711"/>
              <a:gd name="connsiteX34" fmla="*/ 304839 w 1564500"/>
              <a:gd name="connsiteY34" fmla="*/ 216517 h 1165711"/>
              <a:gd name="connsiteX35" fmla="*/ 303119 w 1564500"/>
              <a:gd name="connsiteY35" fmla="*/ 214541 h 1165711"/>
              <a:gd name="connsiteX36" fmla="*/ 135559 w 1564500"/>
              <a:gd name="connsiteY36" fmla="*/ 118488 h 1165711"/>
              <a:gd name="connsiteX37" fmla="*/ 135463 w 1564500"/>
              <a:gd name="connsiteY37" fmla="*/ 118377 h 1165711"/>
              <a:gd name="connsiteX38" fmla="*/ 129242 w 1564500"/>
              <a:gd name="connsiteY38" fmla="*/ 120124 h 1165711"/>
              <a:gd name="connsiteX39" fmla="*/ 116241 w 1564500"/>
              <a:gd name="connsiteY39" fmla="*/ 137210 h 1165711"/>
              <a:gd name="connsiteX40" fmla="*/ 116218 w 1564500"/>
              <a:gd name="connsiteY40" fmla="*/ 145659 h 1165711"/>
              <a:gd name="connsiteX41" fmla="*/ 117267 w 1564500"/>
              <a:gd name="connsiteY41" fmla="*/ 148715 h 1165711"/>
              <a:gd name="connsiteX42" fmla="*/ 117266 w 1564500"/>
              <a:gd name="connsiteY42" fmla="*/ 296515 h 1165711"/>
              <a:gd name="connsiteX43" fmla="*/ 59769 w 1564500"/>
              <a:gd name="connsiteY43" fmla="*/ 330325 h 1165711"/>
              <a:gd name="connsiteX44" fmla="*/ 6790 w 1564500"/>
              <a:gd name="connsiteY44"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1295087 w 1564500"/>
              <a:gd name="connsiteY28" fmla="*/ 788237 h 1165711"/>
              <a:gd name="connsiteX29" fmla="*/ 1295085 w 1564500"/>
              <a:gd name="connsiteY29" fmla="*/ 788234 h 1165711"/>
              <a:gd name="connsiteX30" fmla="*/ 1271428 w 1564500"/>
              <a:gd name="connsiteY30" fmla="*/ 774576 h 1165711"/>
              <a:gd name="connsiteX31" fmla="*/ 756089 w 1564500"/>
              <a:gd name="connsiteY31" fmla="*/ 483173 h 1165711"/>
              <a:gd name="connsiteX32" fmla="*/ 717631 w 1564500"/>
              <a:gd name="connsiteY32" fmla="*/ 456589 h 1165711"/>
              <a:gd name="connsiteX33" fmla="*/ 304839 w 1564500"/>
              <a:gd name="connsiteY33" fmla="*/ 216517 h 1165711"/>
              <a:gd name="connsiteX34" fmla="*/ 303119 w 1564500"/>
              <a:gd name="connsiteY34" fmla="*/ 214541 h 1165711"/>
              <a:gd name="connsiteX35" fmla="*/ 135559 w 1564500"/>
              <a:gd name="connsiteY35" fmla="*/ 118488 h 1165711"/>
              <a:gd name="connsiteX36" fmla="*/ 135463 w 1564500"/>
              <a:gd name="connsiteY36" fmla="*/ 118377 h 1165711"/>
              <a:gd name="connsiteX37" fmla="*/ 129242 w 1564500"/>
              <a:gd name="connsiteY37" fmla="*/ 120124 h 1165711"/>
              <a:gd name="connsiteX38" fmla="*/ 116241 w 1564500"/>
              <a:gd name="connsiteY38" fmla="*/ 137210 h 1165711"/>
              <a:gd name="connsiteX39" fmla="*/ 116218 w 1564500"/>
              <a:gd name="connsiteY39" fmla="*/ 145659 h 1165711"/>
              <a:gd name="connsiteX40" fmla="*/ 117267 w 1564500"/>
              <a:gd name="connsiteY40" fmla="*/ 148715 h 1165711"/>
              <a:gd name="connsiteX41" fmla="*/ 117266 w 1564500"/>
              <a:gd name="connsiteY41" fmla="*/ 296515 h 1165711"/>
              <a:gd name="connsiteX42" fmla="*/ 59769 w 1564500"/>
              <a:gd name="connsiteY42" fmla="*/ 330325 h 1165711"/>
              <a:gd name="connsiteX43" fmla="*/ 6790 w 1564500"/>
              <a:gd name="connsiteY43"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1295087 w 1564500"/>
              <a:gd name="connsiteY28" fmla="*/ 788237 h 1165711"/>
              <a:gd name="connsiteX29" fmla="*/ 1295085 w 1564500"/>
              <a:gd name="connsiteY29" fmla="*/ 788234 h 1165711"/>
              <a:gd name="connsiteX30" fmla="*/ 1271428 w 1564500"/>
              <a:gd name="connsiteY30" fmla="*/ 774576 h 1165711"/>
              <a:gd name="connsiteX31" fmla="*/ 756089 w 1564500"/>
              <a:gd name="connsiteY31" fmla="*/ 483173 h 1165711"/>
              <a:gd name="connsiteX32" fmla="*/ 304839 w 1564500"/>
              <a:gd name="connsiteY32" fmla="*/ 216517 h 1165711"/>
              <a:gd name="connsiteX33" fmla="*/ 303119 w 1564500"/>
              <a:gd name="connsiteY33" fmla="*/ 214541 h 1165711"/>
              <a:gd name="connsiteX34" fmla="*/ 135559 w 1564500"/>
              <a:gd name="connsiteY34" fmla="*/ 118488 h 1165711"/>
              <a:gd name="connsiteX35" fmla="*/ 135463 w 1564500"/>
              <a:gd name="connsiteY35" fmla="*/ 118377 h 1165711"/>
              <a:gd name="connsiteX36" fmla="*/ 129242 w 1564500"/>
              <a:gd name="connsiteY36" fmla="*/ 120124 h 1165711"/>
              <a:gd name="connsiteX37" fmla="*/ 116241 w 1564500"/>
              <a:gd name="connsiteY37" fmla="*/ 137210 h 1165711"/>
              <a:gd name="connsiteX38" fmla="*/ 116218 w 1564500"/>
              <a:gd name="connsiteY38" fmla="*/ 145659 h 1165711"/>
              <a:gd name="connsiteX39" fmla="*/ 117267 w 1564500"/>
              <a:gd name="connsiteY39" fmla="*/ 148715 h 1165711"/>
              <a:gd name="connsiteX40" fmla="*/ 117266 w 1564500"/>
              <a:gd name="connsiteY40" fmla="*/ 296515 h 1165711"/>
              <a:gd name="connsiteX41" fmla="*/ 59769 w 1564500"/>
              <a:gd name="connsiteY41" fmla="*/ 330325 h 1165711"/>
              <a:gd name="connsiteX42" fmla="*/ 6790 w 1564500"/>
              <a:gd name="connsiteY42"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1295087 w 1564500"/>
              <a:gd name="connsiteY28" fmla="*/ 788237 h 1165711"/>
              <a:gd name="connsiteX29" fmla="*/ 1295085 w 1564500"/>
              <a:gd name="connsiteY29" fmla="*/ 788234 h 1165711"/>
              <a:gd name="connsiteX30" fmla="*/ 1271428 w 1564500"/>
              <a:gd name="connsiteY30" fmla="*/ 774576 h 1165711"/>
              <a:gd name="connsiteX31" fmla="*/ 304839 w 1564500"/>
              <a:gd name="connsiteY31" fmla="*/ 216517 h 1165711"/>
              <a:gd name="connsiteX32" fmla="*/ 303119 w 1564500"/>
              <a:gd name="connsiteY32" fmla="*/ 214541 h 1165711"/>
              <a:gd name="connsiteX33" fmla="*/ 135559 w 1564500"/>
              <a:gd name="connsiteY33" fmla="*/ 118488 h 1165711"/>
              <a:gd name="connsiteX34" fmla="*/ 135463 w 1564500"/>
              <a:gd name="connsiteY34" fmla="*/ 118377 h 1165711"/>
              <a:gd name="connsiteX35" fmla="*/ 129242 w 1564500"/>
              <a:gd name="connsiteY35" fmla="*/ 120124 h 1165711"/>
              <a:gd name="connsiteX36" fmla="*/ 116241 w 1564500"/>
              <a:gd name="connsiteY36" fmla="*/ 137210 h 1165711"/>
              <a:gd name="connsiteX37" fmla="*/ 116218 w 1564500"/>
              <a:gd name="connsiteY37" fmla="*/ 145659 h 1165711"/>
              <a:gd name="connsiteX38" fmla="*/ 117267 w 1564500"/>
              <a:gd name="connsiteY38" fmla="*/ 148715 h 1165711"/>
              <a:gd name="connsiteX39" fmla="*/ 117266 w 1564500"/>
              <a:gd name="connsiteY39" fmla="*/ 296515 h 1165711"/>
              <a:gd name="connsiteX40" fmla="*/ 59769 w 1564500"/>
              <a:gd name="connsiteY40" fmla="*/ 330325 h 1165711"/>
              <a:gd name="connsiteX41" fmla="*/ 6790 w 1564500"/>
              <a:gd name="connsiteY41"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1295087 w 1564500"/>
              <a:gd name="connsiteY28" fmla="*/ 788237 h 1165711"/>
              <a:gd name="connsiteX29" fmla="*/ 1295085 w 1564500"/>
              <a:gd name="connsiteY29" fmla="*/ 788234 h 1165711"/>
              <a:gd name="connsiteX30" fmla="*/ 304839 w 1564500"/>
              <a:gd name="connsiteY30" fmla="*/ 216517 h 1165711"/>
              <a:gd name="connsiteX31" fmla="*/ 303119 w 1564500"/>
              <a:gd name="connsiteY31" fmla="*/ 214541 h 1165711"/>
              <a:gd name="connsiteX32" fmla="*/ 135559 w 1564500"/>
              <a:gd name="connsiteY32" fmla="*/ 118488 h 1165711"/>
              <a:gd name="connsiteX33" fmla="*/ 135463 w 1564500"/>
              <a:gd name="connsiteY33" fmla="*/ 118377 h 1165711"/>
              <a:gd name="connsiteX34" fmla="*/ 129242 w 1564500"/>
              <a:gd name="connsiteY34" fmla="*/ 120124 h 1165711"/>
              <a:gd name="connsiteX35" fmla="*/ 116241 w 1564500"/>
              <a:gd name="connsiteY35" fmla="*/ 137210 h 1165711"/>
              <a:gd name="connsiteX36" fmla="*/ 116218 w 1564500"/>
              <a:gd name="connsiteY36" fmla="*/ 145659 h 1165711"/>
              <a:gd name="connsiteX37" fmla="*/ 117267 w 1564500"/>
              <a:gd name="connsiteY37" fmla="*/ 148715 h 1165711"/>
              <a:gd name="connsiteX38" fmla="*/ 117266 w 1564500"/>
              <a:gd name="connsiteY38" fmla="*/ 296515 h 1165711"/>
              <a:gd name="connsiteX39" fmla="*/ 59769 w 1564500"/>
              <a:gd name="connsiteY39" fmla="*/ 330325 h 1165711"/>
              <a:gd name="connsiteX40" fmla="*/ 6790 w 1564500"/>
              <a:gd name="connsiteY40"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1295087 w 1564500"/>
              <a:gd name="connsiteY28" fmla="*/ 788237 h 1165711"/>
              <a:gd name="connsiteX29" fmla="*/ 304839 w 1564500"/>
              <a:gd name="connsiteY29" fmla="*/ 216517 h 1165711"/>
              <a:gd name="connsiteX30" fmla="*/ 303119 w 1564500"/>
              <a:gd name="connsiteY30" fmla="*/ 214541 h 1165711"/>
              <a:gd name="connsiteX31" fmla="*/ 135559 w 1564500"/>
              <a:gd name="connsiteY31" fmla="*/ 118488 h 1165711"/>
              <a:gd name="connsiteX32" fmla="*/ 135463 w 1564500"/>
              <a:gd name="connsiteY32" fmla="*/ 118377 h 1165711"/>
              <a:gd name="connsiteX33" fmla="*/ 129242 w 1564500"/>
              <a:gd name="connsiteY33" fmla="*/ 120124 h 1165711"/>
              <a:gd name="connsiteX34" fmla="*/ 116241 w 1564500"/>
              <a:gd name="connsiteY34" fmla="*/ 137210 h 1165711"/>
              <a:gd name="connsiteX35" fmla="*/ 116218 w 1564500"/>
              <a:gd name="connsiteY35" fmla="*/ 145659 h 1165711"/>
              <a:gd name="connsiteX36" fmla="*/ 117267 w 1564500"/>
              <a:gd name="connsiteY36" fmla="*/ 148715 h 1165711"/>
              <a:gd name="connsiteX37" fmla="*/ 117266 w 1564500"/>
              <a:gd name="connsiteY37" fmla="*/ 296515 h 1165711"/>
              <a:gd name="connsiteX38" fmla="*/ 59769 w 1564500"/>
              <a:gd name="connsiteY38" fmla="*/ 330325 h 1165711"/>
              <a:gd name="connsiteX39" fmla="*/ 6790 w 1564500"/>
              <a:gd name="connsiteY39"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304839 w 1564500"/>
              <a:gd name="connsiteY28" fmla="*/ 216517 h 1165711"/>
              <a:gd name="connsiteX29" fmla="*/ 303119 w 1564500"/>
              <a:gd name="connsiteY29" fmla="*/ 214541 h 1165711"/>
              <a:gd name="connsiteX30" fmla="*/ 135559 w 1564500"/>
              <a:gd name="connsiteY30" fmla="*/ 118488 h 1165711"/>
              <a:gd name="connsiteX31" fmla="*/ 135463 w 1564500"/>
              <a:gd name="connsiteY31" fmla="*/ 118377 h 1165711"/>
              <a:gd name="connsiteX32" fmla="*/ 129242 w 1564500"/>
              <a:gd name="connsiteY32" fmla="*/ 120124 h 1165711"/>
              <a:gd name="connsiteX33" fmla="*/ 116241 w 1564500"/>
              <a:gd name="connsiteY33" fmla="*/ 137210 h 1165711"/>
              <a:gd name="connsiteX34" fmla="*/ 116218 w 1564500"/>
              <a:gd name="connsiteY34" fmla="*/ 145659 h 1165711"/>
              <a:gd name="connsiteX35" fmla="*/ 117267 w 1564500"/>
              <a:gd name="connsiteY35" fmla="*/ 148715 h 1165711"/>
              <a:gd name="connsiteX36" fmla="*/ 117266 w 1564500"/>
              <a:gd name="connsiteY36" fmla="*/ 296515 h 1165711"/>
              <a:gd name="connsiteX37" fmla="*/ 59769 w 1564500"/>
              <a:gd name="connsiteY37" fmla="*/ 330325 h 1165711"/>
              <a:gd name="connsiteX38" fmla="*/ 6790 w 1564500"/>
              <a:gd name="connsiteY38"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304839 w 1564500"/>
              <a:gd name="connsiteY27" fmla="*/ 216517 h 1165711"/>
              <a:gd name="connsiteX28" fmla="*/ 303119 w 1564500"/>
              <a:gd name="connsiteY28" fmla="*/ 214541 h 1165711"/>
              <a:gd name="connsiteX29" fmla="*/ 135559 w 1564500"/>
              <a:gd name="connsiteY29" fmla="*/ 118488 h 1165711"/>
              <a:gd name="connsiteX30" fmla="*/ 135463 w 1564500"/>
              <a:gd name="connsiteY30" fmla="*/ 118377 h 1165711"/>
              <a:gd name="connsiteX31" fmla="*/ 129242 w 1564500"/>
              <a:gd name="connsiteY31" fmla="*/ 120124 h 1165711"/>
              <a:gd name="connsiteX32" fmla="*/ 116241 w 1564500"/>
              <a:gd name="connsiteY32" fmla="*/ 137210 h 1165711"/>
              <a:gd name="connsiteX33" fmla="*/ 116218 w 1564500"/>
              <a:gd name="connsiteY33" fmla="*/ 145659 h 1165711"/>
              <a:gd name="connsiteX34" fmla="*/ 117267 w 1564500"/>
              <a:gd name="connsiteY34" fmla="*/ 148715 h 1165711"/>
              <a:gd name="connsiteX35" fmla="*/ 117266 w 1564500"/>
              <a:gd name="connsiteY35" fmla="*/ 296515 h 1165711"/>
              <a:gd name="connsiteX36" fmla="*/ 59769 w 1564500"/>
              <a:gd name="connsiteY36" fmla="*/ 330325 h 1165711"/>
              <a:gd name="connsiteX37" fmla="*/ 6790 w 1564500"/>
              <a:gd name="connsiteY37"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489480 w 1564500"/>
              <a:gd name="connsiteY13" fmla="*/ 765814 h 1165711"/>
              <a:gd name="connsiteX14" fmla="*/ 1543340 w 1564500"/>
              <a:gd name="connsiteY14" fmla="*/ 818674 h 1165711"/>
              <a:gd name="connsiteX15" fmla="*/ 1560768 w 1564500"/>
              <a:gd name="connsiteY15" fmla="*/ 875642 h 1165711"/>
              <a:gd name="connsiteX16" fmla="*/ 1562203 w 1564500"/>
              <a:gd name="connsiteY16" fmla="*/ 891740 h 1165711"/>
              <a:gd name="connsiteX17" fmla="*/ 1564500 w 1564500"/>
              <a:gd name="connsiteY17" fmla="*/ 916342 h 1165711"/>
              <a:gd name="connsiteX18" fmla="*/ 1564499 w 1564500"/>
              <a:gd name="connsiteY18" fmla="*/ 1131901 h 1165711"/>
              <a:gd name="connsiteX19" fmla="*/ 1507002 w 1564500"/>
              <a:gd name="connsiteY19" fmla="*/ 1165711 h 1165711"/>
              <a:gd name="connsiteX20" fmla="*/ 1454023 w 1564500"/>
              <a:gd name="connsiteY20" fmla="*/ 1145061 h 1165711"/>
              <a:gd name="connsiteX21" fmla="*/ 1449505 w 1564500"/>
              <a:gd name="connsiteY21" fmla="*/ 1131901 h 1165711"/>
              <a:gd name="connsiteX22" fmla="*/ 1446753 w 1564500"/>
              <a:gd name="connsiteY22" fmla="*/ 894578 h 1165711"/>
              <a:gd name="connsiteX23" fmla="*/ 1447195 w 1564500"/>
              <a:gd name="connsiteY23" fmla="*/ 896438 h 1165711"/>
              <a:gd name="connsiteX24" fmla="*/ 1447218 w 1564500"/>
              <a:gd name="connsiteY24" fmla="*/ 892825 h 1165711"/>
              <a:gd name="connsiteX25" fmla="*/ 1431063 w 1564500"/>
              <a:gd name="connsiteY25" fmla="*/ 864843 h 1165711"/>
              <a:gd name="connsiteX26" fmla="*/ 304839 w 1564500"/>
              <a:gd name="connsiteY26" fmla="*/ 216517 h 1165711"/>
              <a:gd name="connsiteX27" fmla="*/ 303119 w 1564500"/>
              <a:gd name="connsiteY27" fmla="*/ 214541 h 1165711"/>
              <a:gd name="connsiteX28" fmla="*/ 135559 w 1564500"/>
              <a:gd name="connsiteY28" fmla="*/ 118488 h 1165711"/>
              <a:gd name="connsiteX29" fmla="*/ 135463 w 1564500"/>
              <a:gd name="connsiteY29" fmla="*/ 118377 h 1165711"/>
              <a:gd name="connsiteX30" fmla="*/ 129242 w 1564500"/>
              <a:gd name="connsiteY30" fmla="*/ 120124 h 1165711"/>
              <a:gd name="connsiteX31" fmla="*/ 116241 w 1564500"/>
              <a:gd name="connsiteY31" fmla="*/ 137210 h 1165711"/>
              <a:gd name="connsiteX32" fmla="*/ 116218 w 1564500"/>
              <a:gd name="connsiteY32" fmla="*/ 145659 h 1165711"/>
              <a:gd name="connsiteX33" fmla="*/ 117267 w 1564500"/>
              <a:gd name="connsiteY33" fmla="*/ 148715 h 1165711"/>
              <a:gd name="connsiteX34" fmla="*/ 117266 w 1564500"/>
              <a:gd name="connsiteY34" fmla="*/ 296515 h 1165711"/>
              <a:gd name="connsiteX35" fmla="*/ 59769 w 1564500"/>
              <a:gd name="connsiteY35" fmla="*/ 330325 h 1165711"/>
              <a:gd name="connsiteX36" fmla="*/ 6790 w 1564500"/>
              <a:gd name="connsiteY36"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1489480 w 1564500"/>
              <a:gd name="connsiteY12" fmla="*/ 765814 h 1165711"/>
              <a:gd name="connsiteX13" fmla="*/ 1543340 w 1564500"/>
              <a:gd name="connsiteY13" fmla="*/ 818674 h 1165711"/>
              <a:gd name="connsiteX14" fmla="*/ 1560768 w 1564500"/>
              <a:gd name="connsiteY14" fmla="*/ 875642 h 1165711"/>
              <a:gd name="connsiteX15" fmla="*/ 1562203 w 1564500"/>
              <a:gd name="connsiteY15" fmla="*/ 891740 h 1165711"/>
              <a:gd name="connsiteX16" fmla="*/ 1564500 w 1564500"/>
              <a:gd name="connsiteY16" fmla="*/ 916342 h 1165711"/>
              <a:gd name="connsiteX17" fmla="*/ 1564499 w 1564500"/>
              <a:gd name="connsiteY17" fmla="*/ 1131901 h 1165711"/>
              <a:gd name="connsiteX18" fmla="*/ 1507002 w 1564500"/>
              <a:gd name="connsiteY18" fmla="*/ 1165711 h 1165711"/>
              <a:gd name="connsiteX19" fmla="*/ 1454023 w 1564500"/>
              <a:gd name="connsiteY19" fmla="*/ 1145061 h 1165711"/>
              <a:gd name="connsiteX20" fmla="*/ 1449505 w 1564500"/>
              <a:gd name="connsiteY20" fmla="*/ 1131901 h 1165711"/>
              <a:gd name="connsiteX21" fmla="*/ 1446753 w 1564500"/>
              <a:gd name="connsiteY21" fmla="*/ 894578 h 1165711"/>
              <a:gd name="connsiteX22" fmla="*/ 1447195 w 1564500"/>
              <a:gd name="connsiteY22" fmla="*/ 896438 h 1165711"/>
              <a:gd name="connsiteX23" fmla="*/ 1447218 w 1564500"/>
              <a:gd name="connsiteY23" fmla="*/ 892825 h 1165711"/>
              <a:gd name="connsiteX24" fmla="*/ 1431063 w 1564500"/>
              <a:gd name="connsiteY24" fmla="*/ 864843 h 1165711"/>
              <a:gd name="connsiteX25" fmla="*/ 304839 w 1564500"/>
              <a:gd name="connsiteY25" fmla="*/ 216517 h 1165711"/>
              <a:gd name="connsiteX26" fmla="*/ 303119 w 1564500"/>
              <a:gd name="connsiteY26" fmla="*/ 214541 h 1165711"/>
              <a:gd name="connsiteX27" fmla="*/ 135559 w 1564500"/>
              <a:gd name="connsiteY27" fmla="*/ 118488 h 1165711"/>
              <a:gd name="connsiteX28" fmla="*/ 135463 w 1564500"/>
              <a:gd name="connsiteY28" fmla="*/ 118377 h 1165711"/>
              <a:gd name="connsiteX29" fmla="*/ 129242 w 1564500"/>
              <a:gd name="connsiteY29" fmla="*/ 120124 h 1165711"/>
              <a:gd name="connsiteX30" fmla="*/ 116241 w 1564500"/>
              <a:gd name="connsiteY30" fmla="*/ 137210 h 1165711"/>
              <a:gd name="connsiteX31" fmla="*/ 116218 w 1564500"/>
              <a:gd name="connsiteY31" fmla="*/ 145659 h 1165711"/>
              <a:gd name="connsiteX32" fmla="*/ 117267 w 1564500"/>
              <a:gd name="connsiteY32" fmla="*/ 148715 h 1165711"/>
              <a:gd name="connsiteX33" fmla="*/ 117266 w 1564500"/>
              <a:gd name="connsiteY33" fmla="*/ 296515 h 1165711"/>
              <a:gd name="connsiteX34" fmla="*/ 59769 w 1564500"/>
              <a:gd name="connsiteY34" fmla="*/ 330325 h 1165711"/>
              <a:gd name="connsiteX35" fmla="*/ 6790 w 1564500"/>
              <a:gd name="connsiteY35"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1489480 w 1564500"/>
              <a:gd name="connsiteY11" fmla="*/ 765814 h 1165711"/>
              <a:gd name="connsiteX12" fmla="*/ 1543340 w 1564500"/>
              <a:gd name="connsiteY12" fmla="*/ 818674 h 1165711"/>
              <a:gd name="connsiteX13" fmla="*/ 1560768 w 1564500"/>
              <a:gd name="connsiteY13" fmla="*/ 875642 h 1165711"/>
              <a:gd name="connsiteX14" fmla="*/ 1562203 w 1564500"/>
              <a:gd name="connsiteY14" fmla="*/ 891740 h 1165711"/>
              <a:gd name="connsiteX15" fmla="*/ 1564500 w 1564500"/>
              <a:gd name="connsiteY15" fmla="*/ 916342 h 1165711"/>
              <a:gd name="connsiteX16" fmla="*/ 1564499 w 1564500"/>
              <a:gd name="connsiteY16" fmla="*/ 1131901 h 1165711"/>
              <a:gd name="connsiteX17" fmla="*/ 1507002 w 1564500"/>
              <a:gd name="connsiteY17" fmla="*/ 1165711 h 1165711"/>
              <a:gd name="connsiteX18" fmla="*/ 1454023 w 1564500"/>
              <a:gd name="connsiteY18" fmla="*/ 1145061 h 1165711"/>
              <a:gd name="connsiteX19" fmla="*/ 1449505 w 1564500"/>
              <a:gd name="connsiteY19" fmla="*/ 1131901 h 1165711"/>
              <a:gd name="connsiteX20" fmla="*/ 1446753 w 1564500"/>
              <a:gd name="connsiteY20" fmla="*/ 894578 h 1165711"/>
              <a:gd name="connsiteX21" fmla="*/ 1447195 w 1564500"/>
              <a:gd name="connsiteY21" fmla="*/ 896438 h 1165711"/>
              <a:gd name="connsiteX22" fmla="*/ 1447218 w 1564500"/>
              <a:gd name="connsiteY22" fmla="*/ 892825 h 1165711"/>
              <a:gd name="connsiteX23" fmla="*/ 1431063 w 1564500"/>
              <a:gd name="connsiteY23" fmla="*/ 864843 h 1165711"/>
              <a:gd name="connsiteX24" fmla="*/ 304839 w 1564500"/>
              <a:gd name="connsiteY24" fmla="*/ 216517 h 1165711"/>
              <a:gd name="connsiteX25" fmla="*/ 303119 w 1564500"/>
              <a:gd name="connsiteY25" fmla="*/ 214541 h 1165711"/>
              <a:gd name="connsiteX26" fmla="*/ 135559 w 1564500"/>
              <a:gd name="connsiteY26" fmla="*/ 118488 h 1165711"/>
              <a:gd name="connsiteX27" fmla="*/ 135463 w 1564500"/>
              <a:gd name="connsiteY27" fmla="*/ 118377 h 1165711"/>
              <a:gd name="connsiteX28" fmla="*/ 129242 w 1564500"/>
              <a:gd name="connsiteY28" fmla="*/ 120124 h 1165711"/>
              <a:gd name="connsiteX29" fmla="*/ 116241 w 1564500"/>
              <a:gd name="connsiteY29" fmla="*/ 137210 h 1165711"/>
              <a:gd name="connsiteX30" fmla="*/ 116218 w 1564500"/>
              <a:gd name="connsiteY30" fmla="*/ 145659 h 1165711"/>
              <a:gd name="connsiteX31" fmla="*/ 117267 w 1564500"/>
              <a:gd name="connsiteY31" fmla="*/ 148715 h 1165711"/>
              <a:gd name="connsiteX32" fmla="*/ 117266 w 1564500"/>
              <a:gd name="connsiteY32" fmla="*/ 296515 h 1165711"/>
              <a:gd name="connsiteX33" fmla="*/ 59769 w 1564500"/>
              <a:gd name="connsiteY33" fmla="*/ 330325 h 1165711"/>
              <a:gd name="connsiteX34" fmla="*/ 6790 w 1564500"/>
              <a:gd name="connsiteY34"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1489480 w 1564500"/>
              <a:gd name="connsiteY10" fmla="*/ 765814 h 1165711"/>
              <a:gd name="connsiteX11" fmla="*/ 1543340 w 1564500"/>
              <a:gd name="connsiteY11" fmla="*/ 818674 h 1165711"/>
              <a:gd name="connsiteX12" fmla="*/ 1560768 w 1564500"/>
              <a:gd name="connsiteY12" fmla="*/ 875642 h 1165711"/>
              <a:gd name="connsiteX13" fmla="*/ 1562203 w 1564500"/>
              <a:gd name="connsiteY13" fmla="*/ 891740 h 1165711"/>
              <a:gd name="connsiteX14" fmla="*/ 1564500 w 1564500"/>
              <a:gd name="connsiteY14" fmla="*/ 916342 h 1165711"/>
              <a:gd name="connsiteX15" fmla="*/ 1564499 w 1564500"/>
              <a:gd name="connsiteY15" fmla="*/ 1131901 h 1165711"/>
              <a:gd name="connsiteX16" fmla="*/ 1507002 w 1564500"/>
              <a:gd name="connsiteY16" fmla="*/ 1165711 h 1165711"/>
              <a:gd name="connsiteX17" fmla="*/ 1454023 w 1564500"/>
              <a:gd name="connsiteY17" fmla="*/ 1145061 h 1165711"/>
              <a:gd name="connsiteX18" fmla="*/ 1449505 w 1564500"/>
              <a:gd name="connsiteY18" fmla="*/ 1131901 h 1165711"/>
              <a:gd name="connsiteX19" fmla="*/ 1446753 w 1564500"/>
              <a:gd name="connsiteY19" fmla="*/ 894578 h 1165711"/>
              <a:gd name="connsiteX20" fmla="*/ 1447195 w 1564500"/>
              <a:gd name="connsiteY20" fmla="*/ 896438 h 1165711"/>
              <a:gd name="connsiteX21" fmla="*/ 1447218 w 1564500"/>
              <a:gd name="connsiteY21" fmla="*/ 892825 h 1165711"/>
              <a:gd name="connsiteX22" fmla="*/ 1431063 w 1564500"/>
              <a:gd name="connsiteY22" fmla="*/ 864843 h 1165711"/>
              <a:gd name="connsiteX23" fmla="*/ 304839 w 1564500"/>
              <a:gd name="connsiteY23" fmla="*/ 216517 h 1165711"/>
              <a:gd name="connsiteX24" fmla="*/ 303119 w 1564500"/>
              <a:gd name="connsiteY24" fmla="*/ 214541 h 1165711"/>
              <a:gd name="connsiteX25" fmla="*/ 135559 w 1564500"/>
              <a:gd name="connsiteY25" fmla="*/ 118488 h 1165711"/>
              <a:gd name="connsiteX26" fmla="*/ 135463 w 1564500"/>
              <a:gd name="connsiteY26" fmla="*/ 118377 h 1165711"/>
              <a:gd name="connsiteX27" fmla="*/ 129242 w 1564500"/>
              <a:gd name="connsiteY27" fmla="*/ 120124 h 1165711"/>
              <a:gd name="connsiteX28" fmla="*/ 116241 w 1564500"/>
              <a:gd name="connsiteY28" fmla="*/ 137210 h 1165711"/>
              <a:gd name="connsiteX29" fmla="*/ 116218 w 1564500"/>
              <a:gd name="connsiteY29" fmla="*/ 145659 h 1165711"/>
              <a:gd name="connsiteX30" fmla="*/ 117267 w 1564500"/>
              <a:gd name="connsiteY30" fmla="*/ 148715 h 1165711"/>
              <a:gd name="connsiteX31" fmla="*/ 117266 w 1564500"/>
              <a:gd name="connsiteY31" fmla="*/ 296515 h 1165711"/>
              <a:gd name="connsiteX32" fmla="*/ 59769 w 1564500"/>
              <a:gd name="connsiteY32" fmla="*/ 330325 h 1165711"/>
              <a:gd name="connsiteX33" fmla="*/ 6790 w 1564500"/>
              <a:gd name="connsiteY33"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1489480 w 1564500"/>
              <a:gd name="connsiteY9" fmla="*/ 765814 h 1165711"/>
              <a:gd name="connsiteX10" fmla="*/ 1543340 w 1564500"/>
              <a:gd name="connsiteY10" fmla="*/ 818674 h 1165711"/>
              <a:gd name="connsiteX11" fmla="*/ 1560768 w 1564500"/>
              <a:gd name="connsiteY11" fmla="*/ 875642 h 1165711"/>
              <a:gd name="connsiteX12" fmla="*/ 1562203 w 1564500"/>
              <a:gd name="connsiteY12" fmla="*/ 891740 h 1165711"/>
              <a:gd name="connsiteX13" fmla="*/ 1564500 w 1564500"/>
              <a:gd name="connsiteY13" fmla="*/ 916342 h 1165711"/>
              <a:gd name="connsiteX14" fmla="*/ 1564499 w 1564500"/>
              <a:gd name="connsiteY14" fmla="*/ 1131901 h 1165711"/>
              <a:gd name="connsiteX15" fmla="*/ 1507002 w 1564500"/>
              <a:gd name="connsiteY15" fmla="*/ 1165711 h 1165711"/>
              <a:gd name="connsiteX16" fmla="*/ 1454023 w 1564500"/>
              <a:gd name="connsiteY16" fmla="*/ 1145061 h 1165711"/>
              <a:gd name="connsiteX17" fmla="*/ 1449505 w 1564500"/>
              <a:gd name="connsiteY17" fmla="*/ 1131901 h 1165711"/>
              <a:gd name="connsiteX18" fmla="*/ 1446753 w 1564500"/>
              <a:gd name="connsiteY18" fmla="*/ 894578 h 1165711"/>
              <a:gd name="connsiteX19" fmla="*/ 1447195 w 1564500"/>
              <a:gd name="connsiteY19" fmla="*/ 896438 h 1165711"/>
              <a:gd name="connsiteX20" fmla="*/ 1447218 w 1564500"/>
              <a:gd name="connsiteY20" fmla="*/ 892825 h 1165711"/>
              <a:gd name="connsiteX21" fmla="*/ 1431063 w 1564500"/>
              <a:gd name="connsiteY21" fmla="*/ 864843 h 1165711"/>
              <a:gd name="connsiteX22" fmla="*/ 304839 w 1564500"/>
              <a:gd name="connsiteY22" fmla="*/ 216517 h 1165711"/>
              <a:gd name="connsiteX23" fmla="*/ 303119 w 1564500"/>
              <a:gd name="connsiteY23" fmla="*/ 214541 h 1165711"/>
              <a:gd name="connsiteX24" fmla="*/ 135559 w 1564500"/>
              <a:gd name="connsiteY24" fmla="*/ 118488 h 1165711"/>
              <a:gd name="connsiteX25" fmla="*/ 135463 w 1564500"/>
              <a:gd name="connsiteY25" fmla="*/ 118377 h 1165711"/>
              <a:gd name="connsiteX26" fmla="*/ 129242 w 1564500"/>
              <a:gd name="connsiteY26" fmla="*/ 120124 h 1165711"/>
              <a:gd name="connsiteX27" fmla="*/ 116241 w 1564500"/>
              <a:gd name="connsiteY27" fmla="*/ 137210 h 1165711"/>
              <a:gd name="connsiteX28" fmla="*/ 116218 w 1564500"/>
              <a:gd name="connsiteY28" fmla="*/ 145659 h 1165711"/>
              <a:gd name="connsiteX29" fmla="*/ 117267 w 1564500"/>
              <a:gd name="connsiteY29" fmla="*/ 148715 h 1165711"/>
              <a:gd name="connsiteX30" fmla="*/ 117266 w 1564500"/>
              <a:gd name="connsiteY30" fmla="*/ 296515 h 1165711"/>
              <a:gd name="connsiteX31" fmla="*/ 59769 w 1564500"/>
              <a:gd name="connsiteY31" fmla="*/ 330325 h 1165711"/>
              <a:gd name="connsiteX32" fmla="*/ 6790 w 1564500"/>
              <a:gd name="connsiteY32"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79509 w 1564500"/>
              <a:gd name="connsiteY9" fmla="*/ 253652 h 1165711"/>
              <a:gd name="connsiteX10" fmla="*/ 1489480 w 1564500"/>
              <a:gd name="connsiteY10" fmla="*/ 765814 h 1165711"/>
              <a:gd name="connsiteX11" fmla="*/ 1543340 w 1564500"/>
              <a:gd name="connsiteY11" fmla="*/ 818674 h 1165711"/>
              <a:gd name="connsiteX12" fmla="*/ 1560768 w 1564500"/>
              <a:gd name="connsiteY12" fmla="*/ 875642 h 1165711"/>
              <a:gd name="connsiteX13" fmla="*/ 1562203 w 1564500"/>
              <a:gd name="connsiteY13" fmla="*/ 891740 h 1165711"/>
              <a:gd name="connsiteX14" fmla="*/ 1564500 w 1564500"/>
              <a:gd name="connsiteY14" fmla="*/ 916342 h 1165711"/>
              <a:gd name="connsiteX15" fmla="*/ 1564499 w 1564500"/>
              <a:gd name="connsiteY15" fmla="*/ 1131901 h 1165711"/>
              <a:gd name="connsiteX16" fmla="*/ 1507002 w 1564500"/>
              <a:gd name="connsiteY16" fmla="*/ 1165711 h 1165711"/>
              <a:gd name="connsiteX17" fmla="*/ 1454023 w 1564500"/>
              <a:gd name="connsiteY17" fmla="*/ 1145061 h 1165711"/>
              <a:gd name="connsiteX18" fmla="*/ 1449505 w 1564500"/>
              <a:gd name="connsiteY18" fmla="*/ 1131901 h 1165711"/>
              <a:gd name="connsiteX19" fmla="*/ 1446753 w 1564500"/>
              <a:gd name="connsiteY19" fmla="*/ 894578 h 1165711"/>
              <a:gd name="connsiteX20" fmla="*/ 1447195 w 1564500"/>
              <a:gd name="connsiteY20" fmla="*/ 896438 h 1165711"/>
              <a:gd name="connsiteX21" fmla="*/ 1447218 w 1564500"/>
              <a:gd name="connsiteY21" fmla="*/ 892825 h 1165711"/>
              <a:gd name="connsiteX22" fmla="*/ 1431063 w 1564500"/>
              <a:gd name="connsiteY22" fmla="*/ 864843 h 1165711"/>
              <a:gd name="connsiteX23" fmla="*/ 304839 w 1564500"/>
              <a:gd name="connsiteY23" fmla="*/ 216517 h 1165711"/>
              <a:gd name="connsiteX24" fmla="*/ 303119 w 1564500"/>
              <a:gd name="connsiteY24" fmla="*/ 214541 h 1165711"/>
              <a:gd name="connsiteX25" fmla="*/ 135559 w 1564500"/>
              <a:gd name="connsiteY25" fmla="*/ 118488 h 1165711"/>
              <a:gd name="connsiteX26" fmla="*/ 135463 w 1564500"/>
              <a:gd name="connsiteY26" fmla="*/ 118377 h 1165711"/>
              <a:gd name="connsiteX27" fmla="*/ 129242 w 1564500"/>
              <a:gd name="connsiteY27" fmla="*/ 120124 h 1165711"/>
              <a:gd name="connsiteX28" fmla="*/ 116241 w 1564500"/>
              <a:gd name="connsiteY28" fmla="*/ 137210 h 1165711"/>
              <a:gd name="connsiteX29" fmla="*/ 116218 w 1564500"/>
              <a:gd name="connsiteY29" fmla="*/ 145659 h 1165711"/>
              <a:gd name="connsiteX30" fmla="*/ 117267 w 1564500"/>
              <a:gd name="connsiteY30" fmla="*/ 148715 h 1165711"/>
              <a:gd name="connsiteX31" fmla="*/ 117266 w 1564500"/>
              <a:gd name="connsiteY31" fmla="*/ 296515 h 1165711"/>
              <a:gd name="connsiteX32" fmla="*/ 59769 w 1564500"/>
              <a:gd name="connsiteY32" fmla="*/ 330325 h 1165711"/>
              <a:gd name="connsiteX33" fmla="*/ 6790 w 1564500"/>
              <a:gd name="connsiteY33"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1489480 w 1564500"/>
              <a:gd name="connsiteY9" fmla="*/ 765814 h 1165711"/>
              <a:gd name="connsiteX10" fmla="*/ 1543340 w 1564500"/>
              <a:gd name="connsiteY10" fmla="*/ 818674 h 1165711"/>
              <a:gd name="connsiteX11" fmla="*/ 1560768 w 1564500"/>
              <a:gd name="connsiteY11" fmla="*/ 875642 h 1165711"/>
              <a:gd name="connsiteX12" fmla="*/ 1562203 w 1564500"/>
              <a:gd name="connsiteY12" fmla="*/ 891740 h 1165711"/>
              <a:gd name="connsiteX13" fmla="*/ 1564500 w 1564500"/>
              <a:gd name="connsiteY13" fmla="*/ 916342 h 1165711"/>
              <a:gd name="connsiteX14" fmla="*/ 1564499 w 1564500"/>
              <a:gd name="connsiteY14" fmla="*/ 1131901 h 1165711"/>
              <a:gd name="connsiteX15" fmla="*/ 1507002 w 1564500"/>
              <a:gd name="connsiteY15" fmla="*/ 1165711 h 1165711"/>
              <a:gd name="connsiteX16" fmla="*/ 1454023 w 1564500"/>
              <a:gd name="connsiteY16" fmla="*/ 1145061 h 1165711"/>
              <a:gd name="connsiteX17" fmla="*/ 1449505 w 1564500"/>
              <a:gd name="connsiteY17" fmla="*/ 1131901 h 1165711"/>
              <a:gd name="connsiteX18" fmla="*/ 1446753 w 1564500"/>
              <a:gd name="connsiteY18" fmla="*/ 894578 h 1165711"/>
              <a:gd name="connsiteX19" fmla="*/ 1447195 w 1564500"/>
              <a:gd name="connsiteY19" fmla="*/ 896438 h 1165711"/>
              <a:gd name="connsiteX20" fmla="*/ 1447218 w 1564500"/>
              <a:gd name="connsiteY20" fmla="*/ 892825 h 1165711"/>
              <a:gd name="connsiteX21" fmla="*/ 1431063 w 1564500"/>
              <a:gd name="connsiteY21" fmla="*/ 864843 h 1165711"/>
              <a:gd name="connsiteX22" fmla="*/ 304839 w 1564500"/>
              <a:gd name="connsiteY22" fmla="*/ 216517 h 1165711"/>
              <a:gd name="connsiteX23" fmla="*/ 303119 w 1564500"/>
              <a:gd name="connsiteY23" fmla="*/ 214541 h 1165711"/>
              <a:gd name="connsiteX24" fmla="*/ 135559 w 1564500"/>
              <a:gd name="connsiteY24" fmla="*/ 118488 h 1165711"/>
              <a:gd name="connsiteX25" fmla="*/ 135463 w 1564500"/>
              <a:gd name="connsiteY25" fmla="*/ 118377 h 1165711"/>
              <a:gd name="connsiteX26" fmla="*/ 129242 w 1564500"/>
              <a:gd name="connsiteY26" fmla="*/ 120124 h 1165711"/>
              <a:gd name="connsiteX27" fmla="*/ 116241 w 1564500"/>
              <a:gd name="connsiteY27" fmla="*/ 137210 h 1165711"/>
              <a:gd name="connsiteX28" fmla="*/ 116218 w 1564500"/>
              <a:gd name="connsiteY28" fmla="*/ 145659 h 1165711"/>
              <a:gd name="connsiteX29" fmla="*/ 117267 w 1564500"/>
              <a:gd name="connsiteY29" fmla="*/ 148715 h 1165711"/>
              <a:gd name="connsiteX30" fmla="*/ 117266 w 1564500"/>
              <a:gd name="connsiteY30" fmla="*/ 296515 h 1165711"/>
              <a:gd name="connsiteX31" fmla="*/ 59769 w 1564500"/>
              <a:gd name="connsiteY31" fmla="*/ 330325 h 1165711"/>
              <a:gd name="connsiteX32" fmla="*/ 6790 w 1564500"/>
              <a:gd name="connsiteY32"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1489480 w 1564500"/>
              <a:gd name="connsiteY8" fmla="*/ 765814 h 1165711"/>
              <a:gd name="connsiteX9" fmla="*/ 1543340 w 1564500"/>
              <a:gd name="connsiteY9" fmla="*/ 818674 h 1165711"/>
              <a:gd name="connsiteX10" fmla="*/ 1560768 w 1564500"/>
              <a:gd name="connsiteY10" fmla="*/ 875642 h 1165711"/>
              <a:gd name="connsiteX11" fmla="*/ 1562203 w 1564500"/>
              <a:gd name="connsiteY11" fmla="*/ 891740 h 1165711"/>
              <a:gd name="connsiteX12" fmla="*/ 1564500 w 1564500"/>
              <a:gd name="connsiteY12" fmla="*/ 916342 h 1165711"/>
              <a:gd name="connsiteX13" fmla="*/ 1564499 w 1564500"/>
              <a:gd name="connsiteY13" fmla="*/ 1131901 h 1165711"/>
              <a:gd name="connsiteX14" fmla="*/ 1507002 w 1564500"/>
              <a:gd name="connsiteY14" fmla="*/ 1165711 h 1165711"/>
              <a:gd name="connsiteX15" fmla="*/ 1454023 w 1564500"/>
              <a:gd name="connsiteY15" fmla="*/ 1145061 h 1165711"/>
              <a:gd name="connsiteX16" fmla="*/ 1449505 w 1564500"/>
              <a:gd name="connsiteY16" fmla="*/ 1131901 h 1165711"/>
              <a:gd name="connsiteX17" fmla="*/ 1446753 w 1564500"/>
              <a:gd name="connsiteY17" fmla="*/ 894578 h 1165711"/>
              <a:gd name="connsiteX18" fmla="*/ 1447195 w 1564500"/>
              <a:gd name="connsiteY18" fmla="*/ 896438 h 1165711"/>
              <a:gd name="connsiteX19" fmla="*/ 1447218 w 1564500"/>
              <a:gd name="connsiteY19" fmla="*/ 892825 h 1165711"/>
              <a:gd name="connsiteX20" fmla="*/ 1431063 w 1564500"/>
              <a:gd name="connsiteY20" fmla="*/ 864843 h 1165711"/>
              <a:gd name="connsiteX21" fmla="*/ 304839 w 1564500"/>
              <a:gd name="connsiteY21" fmla="*/ 216517 h 1165711"/>
              <a:gd name="connsiteX22" fmla="*/ 303119 w 1564500"/>
              <a:gd name="connsiteY22" fmla="*/ 214541 h 1165711"/>
              <a:gd name="connsiteX23" fmla="*/ 135559 w 1564500"/>
              <a:gd name="connsiteY23" fmla="*/ 118488 h 1165711"/>
              <a:gd name="connsiteX24" fmla="*/ 135463 w 1564500"/>
              <a:gd name="connsiteY24" fmla="*/ 118377 h 1165711"/>
              <a:gd name="connsiteX25" fmla="*/ 129242 w 1564500"/>
              <a:gd name="connsiteY25" fmla="*/ 120124 h 1165711"/>
              <a:gd name="connsiteX26" fmla="*/ 116241 w 1564500"/>
              <a:gd name="connsiteY26" fmla="*/ 137210 h 1165711"/>
              <a:gd name="connsiteX27" fmla="*/ 116218 w 1564500"/>
              <a:gd name="connsiteY27" fmla="*/ 145659 h 1165711"/>
              <a:gd name="connsiteX28" fmla="*/ 117267 w 1564500"/>
              <a:gd name="connsiteY28" fmla="*/ 148715 h 1165711"/>
              <a:gd name="connsiteX29" fmla="*/ 117266 w 1564500"/>
              <a:gd name="connsiteY29" fmla="*/ 296515 h 1165711"/>
              <a:gd name="connsiteX30" fmla="*/ 59769 w 1564500"/>
              <a:gd name="connsiteY30" fmla="*/ 330325 h 1165711"/>
              <a:gd name="connsiteX31" fmla="*/ 6790 w 1564500"/>
              <a:gd name="connsiteY31"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1489480 w 1564500"/>
              <a:gd name="connsiteY7" fmla="*/ 765814 h 1165711"/>
              <a:gd name="connsiteX8" fmla="*/ 1543340 w 1564500"/>
              <a:gd name="connsiteY8" fmla="*/ 818674 h 1165711"/>
              <a:gd name="connsiteX9" fmla="*/ 1560768 w 1564500"/>
              <a:gd name="connsiteY9" fmla="*/ 875642 h 1165711"/>
              <a:gd name="connsiteX10" fmla="*/ 1562203 w 1564500"/>
              <a:gd name="connsiteY10" fmla="*/ 891740 h 1165711"/>
              <a:gd name="connsiteX11" fmla="*/ 1564500 w 1564500"/>
              <a:gd name="connsiteY11" fmla="*/ 916342 h 1165711"/>
              <a:gd name="connsiteX12" fmla="*/ 1564499 w 1564500"/>
              <a:gd name="connsiteY12" fmla="*/ 1131901 h 1165711"/>
              <a:gd name="connsiteX13" fmla="*/ 1507002 w 1564500"/>
              <a:gd name="connsiteY13" fmla="*/ 1165711 h 1165711"/>
              <a:gd name="connsiteX14" fmla="*/ 1454023 w 1564500"/>
              <a:gd name="connsiteY14" fmla="*/ 1145061 h 1165711"/>
              <a:gd name="connsiteX15" fmla="*/ 1449505 w 1564500"/>
              <a:gd name="connsiteY15" fmla="*/ 1131901 h 1165711"/>
              <a:gd name="connsiteX16" fmla="*/ 1446753 w 1564500"/>
              <a:gd name="connsiteY16" fmla="*/ 894578 h 1165711"/>
              <a:gd name="connsiteX17" fmla="*/ 1447195 w 1564500"/>
              <a:gd name="connsiteY17" fmla="*/ 896438 h 1165711"/>
              <a:gd name="connsiteX18" fmla="*/ 1447218 w 1564500"/>
              <a:gd name="connsiteY18" fmla="*/ 892825 h 1165711"/>
              <a:gd name="connsiteX19" fmla="*/ 1431063 w 1564500"/>
              <a:gd name="connsiteY19" fmla="*/ 864843 h 1165711"/>
              <a:gd name="connsiteX20" fmla="*/ 304839 w 1564500"/>
              <a:gd name="connsiteY20" fmla="*/ 216517 h 1165711"/>
              <a:gd name="connsiteX21" fmla="*/ 303119 w 1564500"/>
              <a:gd name="connsiteY21" fmla="*/ 214541 h 1165711"/>
              <a:gd name="connsiteX22" fmla="*/ 135559 w 1564500"/>
              <a:gd name="connsiteY22" fmla="*/ 118488 h 1165711"/>
              <a:gd name="connsiteX23" fmla="*/ 135463 w 1564500"/>
              <a:gd name="connsiteY23" fmla="*/ 118377 h 1165711"/>
              <a:gd name="connsiteX24" fmla="*/ 129242 w 1564500"/>
              <a:gd name="connsiteY24" fmla="*/ 120124 h 1165711"/>
              <a:gd name="connsiteX25" fmla="*/ 116241 w 1564500"/>
              <a:gd name="connsiteY25" fmla="*/ 137210 h 1165711"/>
              <a:gd name="connsiteX26" fmla="*/ 116218 w 1564500"/>
              <a:gd name="connsiteY26" fmla="*/ 145659 h 1165711"/>
              <a:gd name="connsiteX27" fmla="*/ 117267 w 1564500"/>
              <a:gd name="connsiteY27" fmla="*/ 148715 h 1165711"/>
              <a:gd name="connsiteX28" fmla="*/ 117266 w 1564500"/>
              <a:gd name="connsiteY28" fmla="*/ 296515 h 1165711"/>
              <a:gd name="connsiteX29" fmla="*/ 59769 w 1564500"/>
              <a:gd name="connsiteY29" fmla="*/ 330325 h 1165711"/>
              <a:gd name="connsiteX30" fmla="*/ 6790 w 1564500"/>
              <a:gd name="connsiteY30"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1489480 w 1564500"/>
              <a:gd name="connsiteY7" fmla="*/ 765814 h 1165711"/>
              <a:gd name="connsiteX8" fmla="*/ 1543340 w 1564500"/>
              <a:gd name="connsiteY8" fmla="*/ 818674 h 1165711"/>
              <a:gd name="connsiteX9" fmla="*/ 1560768 w 1564500"/>
              <a:gd name="connsiteY9" fmla="*/ 875642 h 1165711"/>
              <a:gd name="connsiteX10" fmla="*/ 1562203 w 1564500"/>
              <a:gd name="connsiteY10" fmla="*/ 891740 h 1165711"/>
              <a:gd name="connsiteX11" fmla="*/ 1564500 w 1564500"/>
              <a:gd name="connsiteY11" fmla="*/ 916342 h 1165711"/>
              <a:gd name="connsiteX12" fmla="*/ 1564499 w 1564500"/>
              <a:gd name="connsiteY12" fmla="*/ 1131901 h 1165711"/>
              <a:gd name="connsiteX13" fmla="*/ 1507002 w 1564500"/>
              <a:gd name="connsiteY13" fmla="*/ 1165711 h 1165711"/>
              <a:gd name="connsiteX14" fmla="*/ 1454023 w 1564500"/>
              <a:gd name="connsiteY14" fmla="*/ 1145061 h 1165711"/>
              <a:gd name="connsiteX15" fmla="*/ 1449505 w 1564500"/>
              <a:gd name="connsiteY15" fmla="*/ 1131901 h 1165711"/>
              <a:gd name="connsiteX16" fmla="*/ 1446753 w 1564500"/>
              <a:gd name="connsiteY16" fmla="*/ 894578 h 1165711"/>
              <a:gd name="connsiteX17" fmla="*/ 1447195 w 1564500"/>
              <a:gd name="connsiteY17" fmla="*/ 896438 h 1165711"/>
              <a:gd name="connsiteX18" fmla="*/ 1447218 w 1564500"/>
              <a:gd name="connsiteY18" fmla="*/ 892825 h 1165711"/>
              <a:gd name="connsiteX19" fmla="*/ 1431063 w 1564500"/>
              <a:gd name="connsiteY19" fmla="*/ 864843 h 1165711"/>
              <a:gd name="connsiteX20" fmla="*/ 304839 w 1564500"/>
              <a:gd name="connsiteY20" fmla="*/ 216517 h 1165711"/>
              <a:gd name="connsiteX21" fmla="*/ 135559 w 1564500"/>
              <a:gd name="connsiteY21" fmla="*/ 118488 h 1165711"/>
              <a:gd name="connsiteX22" fmla="*/ 135463 w 1564500"/>
              <a:gd name="connsiteY22" fmla="*/ 118377 h 1165711"/>
              <a:gd name="connsiteX23" fmla="*/ 129242 w 1564500"/>
              <a:gd name="connsiteY23" fmla="*/ 120124 h 1165711"/>
              <a:gd name="connsiteX24" fmla="*/ 116241 w 1564500"/>
              <a:gd name="connsiteY24" fmla="*/ 137210 h 1165711"/>
              <a:gd name="connsiteX25" fmla="*/ 116218 w 1564500"/>
              <a:gd name="connsiteY25" fmla="*/ 145659 h 1165711"/>
              <a:gd name="connsiteX26" fmla="*/ 117267 w 1564500"/>
              <a:gd name="connsiteY26" fmla="*/ 148715 h 1165711"/>
              <a:gd name="connsiteX27" fmla="*/ 117266 w 1564500"/>
              <a:gd name="connsiteY27" fmla="*/ 296515 h 1165711"/>
              <a:gd name="connsiteX28" fmla="*/ 59769 w 1564500"/>
              <a:gd name="connsiteY28" fmla="*/ 330325 h 1165711"/>
              <a:gd name="connsiteX29" fmla="*/ 6790 w 1564500"/>
              <a:gd name="connsiteY29"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1489480 w 1564500"/>
              <a:gd name="connsiteY7" fmla="*/ 765814 h 1165711"/>
              <a:gd name="connsiteX8" fmla="*/ 1543340 w 1564500"/>
              <a:gd name="connsiteY8" fmla="*/ 818674 h 1165711"/>
              <a:gd name="connsiteX9" fmla="*/ 1560768 w 1564500"/>
              <a:gd name="connsiteY9" fmla="*/ 875642 h 1165711"/>
              <a:gd name="connsiteX10" fmla="*/ 1562203 w 1564500"/>
              <a:gd name="connsiteY10" fmla="*/ 891740 h 1165711"/>
              <a:gd name="connsiteX11" fmla="*/ 1564500 w 1564500"/>
              <a:gd name="connsiteY11" fmla="*/ 916342 h 1165711"/>
              <a:gd name="connsiteX12" fmla="*/ 1564499 w 1564500"/>
              <a:gd name="connsiteY12" fmla="*/ 1131901 h 1165711"/>
              <a:gd name="connsiteX13" fmla="*/ 1507002 w 1564500"/>
              <a:gd name="connsiteY13" fmla="*/ 1165711 h 1165711"/>
              <a:gd name="connsiteX14" fmla="*/ 1454023 w 1564500"/>
              <a:gd name="connsiteY14" fmla="*/ 1145061 h 1165711"/>
              <a:gd name="connsiteX15" fmla="*/ 1449505 w 1564500"/>
              <a:gd name="connsiteY15" fmla="*/ 1131901 h 1165711"/>
              <a:gd name="connsiteX16" fmla="*/ 1446753 w 1564500"/>
              <a:gd name="connsiteY16" fmla="*/ 894578 h 1165711"/>
              <a:gd name="connsiteX17" fmla="*/ 1447195 w 1564500"/>
              <a:gd name="connsiteY17" fmla="*/ 896438 h 1165711"/>
              <a:gd name="connsiteX18" fmla="*/ 1447218 w 1564500"/>
              <a:gd name="connsiteY18" fmla="*/ 892825 h 1165711"/>
              <a:gd name="connsiteX19" fmla="*/ 1431063 w 1564500"/>
              <a:gd name="connsiteY19" fmla="*/ 864843 h 1165711"/>
              <a:gd name="connsiteX20" fmla="*/ 135559 w 1564500"/>
              <a:gd name="connsiteY20" fmla="*/ 118488 h 1165711"/>
              <a:gd name="connsiteX21" fmla="*/ 135463 w 1564500"/>
              <a:gd name="connsiteY21" fmla="*/ 118377 h 1165711"/>
              <a:gd name="connsiteX22" fmla="*/ 129242 w 1564500"/>
              <a:gd name="connsiteY22" fmla="*/ 120124 h 1165711"/>
              <a:gd name="connsiteX23" fmla="*/ 116241 w 1564500"/>
              <a:gd name="connsiteY23" fmla="*/ 137210 h 1165711"/>
              <a:gd name="connsiteX24" fmla="*/ 116218 w 1564500"/>
              <a:gd name="connsiteY24" fmla="*/ 145659 h 1165711"/>
              <a:gd name="connsiteX25" fmla="*/ 117267 w 1564500"/>
              <a:gd name="connsiteY25" fmla="*/ 148715 h 1165711"/>
              <a:gd name="connsiteX26" fmla="*/ 117266 w 1564500"/>
              <a:gd name="connsiteY26" fmla="*/ 296515 h 1165711"/>
              <a:gd name="connsiteX27" fmla="*/ 59769 w 1564500"/>
              <a:gd name="connsiteY27" fmla="*/ 330325 h 1165711"/>
              <a:gd name="connsiteX28" fmla="*/ 6790 w 1564500"/>
              <a:gd name="connsiteY28" fmla="*/ 309675 h 1165711"/>
              <a:gd name="connsiteX0" fmla="*/ 6790 w 1564499"/>
              <a:gd name="connsiteY0" fmla="*/ 309675 h 1165711"/>
              <a:gd name="connsiteX1" fmla="*/ 2272 w 1564499"/>
              <a:gd name="connsiteY1" fmla="*/ 296515 h 1165711"/>
              <a:gd name="connsiteX2" fmla="*/ 1271 w 1564499"/>
              <a:gd name="connsiteY2" fmla="*/ 136133 h 1165711"/>
              <a:gd name="connsiteX3" fmla="*/ 20119 w 1564499"/>
              <a:gd name="connsiteY3" fmla="*/ 63059 h 1165711"/>
              <a:gd name="connsiteX4" fmla="*/ 60741 w 1564499"/>
              <a:gd name="connsiteY4" fmla="*/ 19482 h 1165711"/>
              <a:gd name="connsiteX5" fmla="*/ 120174 w 1564499"/>
              <a:gd name="connsiteY5" fmla="*/ 151 h 1165711"/>
              <a:gd name="connsiteX6" fmla="*/ 165652 w 1564499"/>
              <a:gd name="connsiteY6" fmla="*/ 7853 h 1165711"/>
              <a:gd name="connsiteX7" fmla="*/ 1489480 w 1564499"/>
              <a:gd name="connsiteY7" fmla="*/ 765814 h 1165711"/>
              <a:gd name="connsiteX8" fmla="*/ 1543340 w 1564499"/>
              <a:gd name="connsiteY8" fmla="*/ 818674 h 1165711"/>
              <a:gd name="connsiteX9" fmla="*/ 1560768 w 1564499"/>
              <a:gd name="connsiteY9" fmla="*/ 875642 h 1165711"/>
              <a:gd name="connsiteX10" fmla="*/ 1562203 w 1564499"/>
              <a:gd name="connsiteY10" fmla="*/ 891740 h 1165711"/>
              <a:gd name="connsiteX11" fmla="*/ 1564499 w 1564499"/>
              <a:gd name="connsiteY11" fmla="*/ 1131901 h 1165711"/>
              <a:gd name="connsiteX12" fmla="*/ 1507002 w 1564499"/>
              <a:gd name="connsiteY12" fmla="*/ 1165711 h 1165711"/>
              <a:gd name="connsiteX13" fmla="*/ 1454023 w 1564499"/>
              <a:gd name="connsiteY13" fmla="*/ 1145061 h 1165711"/>
              <a:gd name="connsiteX14" fmla="*/ 1449505 w 1564499"/>
              <a:gd name="connsiteY14" fmla="*/ 1131901 h 1165711"/>
              <a:gd name="connsiteX15" fmla="*/ 1446753 w 1564499"/>
              <a:gd name="connsiteY15" fmla="*/ 894578 h 1165711"/>
              <a:gd name="connsiteX16" fmla="*/ 1447195 w 1564499"/>
              <a:gd name="connsiteY16" fmla="*/ 896438 h 1165711"/>
              <a:gd name="connsiteX17" fmla="*/ 1447218 w 1564499"/>
              <a:gd name="connsiteY17" fmla="*/ 892825 h 1165711"/>
              <a:gd name="connsiteX18" fmla="*/ 1431063 w 1564499"/>
              <a:gd name="connsiteY18" fmla="*/ 864843 h 1165711"/>
              <a:gd name="connsiteX19" fmla="*/ 135559 w 1564499"/>
              <a:gd name="connsiteY19" fmla="*/ 118488 h 1165711"/>
              <a:gd name="connsiteX20" fmla="*/ 135463 w 1564499"/>
              <a:gd name="connsiteY20" fmla="*/ 118377 h 1165711"/>
              <a:gd name="connsiteX21" fmla="*/ 129242 w 1564499"/>
              <a:gd name="connsiteY21" fmla="*/ 120124 h 1165711"/>
              <a:gd name="connsiteX22" fmla="*/ 116241 w 1564499"/>
              <a:gd name="connsiteY22" fmla="*/ 137210 h 1165711"/>
              <a:gd name="connsiteX23" fmla="*/ 116218 w 1564499"/>
              <a:gd name="connsiteY23" fmla="*/ 145659 h 1165711"/>
              <a:gd name="connsiteX24" fmla="*/ 117267 w 1564499"/>
              <a:gd name="connsiteY24" fmla="*/ 148715 h 1165711"/>
              <a:gd name="connsiteX25" fmla="*/ 117266 w 1564499"/>
              <a:gd name="connsiteY25" fmla="*/ 296515 h 1165711"/>
              <a:gd name="connsiteX26" fmla="*/ 59769 w 1564499"/>
              <a:gd name="connsiteY26" fmla="*/ 330325 h 1165711"/>
              <a:gd name="connsiteX27" fmla="*/ 6790 w 1564499"/>
              <a:gd name="connsiteY27" fmla="*/ 309675 h 116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64499" h="1165711">
                <a:moveTo>
                  <a:pt x="6790" y="309675"/>
                </a:moveTo>
                <a:cubicBezTo>
                  <a:pt x="3881" y="305631"/>
                  <a:pt x="2272" y="301183"/>
                  <a:pt x="2272" y="296515"/>
                </a:cubicBezTo>
                <a:cubicBezTo>
                  <a:pt x="1352" y="267591"/>
                  <a:pt x="-1704" y="175042"/>
                  <a:pt x="1271" y="136133"/>
                </a:cubicBezTo>
                <a:cubicBezTo>
                  <a:pt x="4880" y="112164"/>
                  <a:pt x="-2442" y="101103"/>
                  <a:pt x="20119" y="63059"/>
                </a:cubicBezTo>
                <a:cubicBezTo>
                  <a:pt x="37041" y="34526"/>
                  <a:pt x="48216" y="27558"/>
                  <a:pt x="60741" y="19482"/>
                </a:cubicBezTo>
                <a:cubicBezTo>
                  <a:pt x="83728" y="9650"/>
                  <a:pt x="97227" y="-629"/>
                  <a:pt x="120174" y="151"/>
                </a:cubicBezTo>
                <a:cubicBezTo>
                  <a:pt x="137384" y="735"/>
                  <a:pt x="141098" y="-2938"/>
                  <a:pt x="165652" y="7853"/>
                </a:cubicBezTo>
                <a:lnTo>
                  <a:pt x="1489480" y="765814"/>
                </a:lnTo>
                <a:cubicBezTo>
                  <a:pt x="1508432" y="780923"/>
                  <a:pt x="1521673" y="780113"/>
                  <a:pt x="1543340" y="818674"/>
                </a:cubicBezTo>
                <a:cubicBezTo>
                  <a:pt x="1559589" y="847595"/>
                  <a:pt x="1560037" y="860757"/>
                  <a:pt x="1560768" y="875642"/>
                </a:cubicBezTo>
                <a:cubicBezTo>
                  <a:pt x="1563912" y="887820"/>
                  <a:pt x="1561581" y="884957"/>
                  <a:pt x="1562203" y="891740"/>
                </a:cubicBezTo>
                <a:cubicBezTo>
                  <a:pt x="1562968" y="971794"/>
                  <a:pt x="1563734" y="1051847"/>
                  <a:pt x="1564499" y="1131901"/>
                </a:cubicBezTo>
                <a:cubicBezTo>
                  <a:pt x="1564499" y="1150574"/>
                  <a:pt x="1538757" y="1165711"/>
                  <a:pt x="1507002" y="1165711"/>
                </a:cubicBezTo>
                <a:cubicBezTo>
                  <a:pt x="1483186" y="1165711"/>
                  <a:pt x="1462752" y="1157196"/>
                  <a:pt x="1454023" y="1145061"/>
                </a:cubicBezTo>
                <a:cubicBezTo>
                  <a:pt x="1451114" y="1141016"/>
                  <a:pt x="1449505" y="1136569"/>
                  <a:pt x="1449505" y="1131901"/>
                </a:cubicBezTo>
                <a:cubicBezTo>
                  <a:pt x="1448588" y="1052793"/>
                  <a:pt x="1447670" y="973686"/>
                  <a:pt x="1446753" y="894578"/>
                </a:cubicBezTo>
                <a:lnTo>
                  <a:pt x="1447195" y="896438"/>
                </a:lnTo>
                <a:cubicBezTo>
                  <a:pt x="1447203" y="895234"/>
                  <a:pt x="1447210" y="894029"/>
                  <a:pt x="1447218" y="892825"/>
                </a:cubicBezTo>
                <a:cubicBezTo>
                  <a:pt x="1444606" y="876282"/>
                  <a:pt x="1444084" y="875376"/>
                  <a:pt x="1431063" y="864843"/>
                </a:cubicBezTo>
                <a:lnTo>
                  <a:pt x="135559" y="118488"/>
                </a:lnTo>
                <a:lnTo>
                  <a:pt x="135463" y="118377"/>
                </a:lnTo>
                <a:lnTo>
                  <a:pt x="129242" y="120124"/>
                </a:lnTo>
                <a:cubicBezTo>
                  <a:pt x="122527" y="122008"/>
                  <a:pt x="117002" y="125799"/>
                  <a:pt x="116241" y="137210"/>
                </a:cubicBezTo>
                <a:cubicBezTo>
                  <a:pt x="116233" y="140026"/>
                  <a:pt x="116226" y="142843"/>
                  <a:pt x="116218" y="145659"/>
                </a:cubicBezTo>
                <a:lnTo>
                  <a:pt x="117267" y="148715"/>
                </a:lnTo>
                <a:cubicBezTo>
                  <a:pt x="117267" y="197982"/>
                  <a:pt x="117266" y="247248"/>
                  <a:pt x="117266" y="296515"/>
                </a:cubicBezTo>
                <a:cubicBezTo>
                  <a:pt x="117266" y="315188"/>
                  <a:pt x="91524" y="330325"/>
                  <a:pt x="59769" y="330325"/>
                </a:cubicBezTo>
                <a:cubicBezTo>
                  <a:pt x="35953" y="330325"/>
                  <a:pt x="15519" y="321810"/>
                  <a:pt x="6790" y="309675"/>
                </a:cubicBezTo>
                <a:close/>
              </a:path>
            </a:pathLst>
          </a:custGeom>
          <a:gradFill flip="none" rotWithShape="1">
            <a:gsLst>
              <a:gs pos="44000">
                <a:schemeClr val="accent2">
                  <a:lumMod val="0"/>
                  <a:lumOff val="100000"/>
                </a:schemeClr>
              </a:gs>
              <a:gs pos="41000">
                <a:schemeClr val="accent4"/>
              </a:gs>
            </a:gsLst>
            <a:lin ang="72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35" name="Freeform: Shape 434">
            <a:extLst>
              <a:ext uri="{FF2B5EF4-FFF2-40B4-BE49-F238E27FC236}">
                <a16:creationId xmlns:a16="http://schemas.microsoft.com/office/drawing/2014/main" id="{A231248F-BA01-4E8A-87A6-190746C1E181}"/>
              </a:ext>
            </a:extLst>
          </p:cNvPr>
          <p:cNvSpPr/>
          <p:nvPr/>
        </p:nvSpPr>
        <p:spPr bwMode="gray">
          <a:xfrm rot="18000000" flipH="1" flipV="1">
            <a:off x="5012437" y="4291760"/>
            <a:ext cx="1121447" cy="835592"/>
          </a:xfrm>
          <a:custGeom>
            <a:avLst/>
            <a:gdLst>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1295087 w 1564500"/>
              <a:gd name="connsiteY28" fmla="*/ 788237 h 1165711"/>
              <a:gd name="connsiteX29" fmla="*/ 1295085 w 1564500"/>
              <a:gd name="connsiteY29" fmla="*/ 788234 h 1165711"/>
              <a:gd name="connsiteX30" fmla="*/ 1271428 w 1564500"/>
              <a:gd name="connsiteY30" fmla="*/ 774576 h 1165711"/>
              <a:gd name="connsiteX31" fmla="*/ 756089 w 1564500"/>
              <a:gd name="connsiteY31" fmla="*/ 483173 h 1165711"/>
              <a:gd name="connsiteX32" fmla="*/ 717631 w 1564500"/>
              <a:gd name="connsiteY32" fmla="*/ 456589 h 1165711"/>
              <a:gd name="connsiteX33" fmla="*/ 710789 w 1564500"/>
              <a:gd name="connsiteY33" fmla="*/ 450892 h 1165711"/>
              <a:gd name="connsiteX34" fmla="*/ 304839 w 1564500"/>
              <a:gd name="connsiteY34" fmla="*/ 216517 h 1165711"/>
              <a:gd name="connsiteX35" fmla="*/ 303119 w 1564500"/>
              <a:gd name="connsiteY35" fmla="*/ 214541 h 1165711"/>
              <a:gd name="connsiteX36" fmla="*/ 135559 w 1564500"/>
              <a:gd name="connsiteY36" fmla="*/ 118488 h 1165711"/>
              <a:gd name="connsiteX37" fmla="*/ 135463 w 1564500"/>
              <a:gd name="connsiteY37" fmla="*/ 118377 h 1165711"/>
              <a:gd name="connsiteX38" fmla="*/ 129242 w 1564500"/>
              <a:gd name="connsiteY38" fmla="*/ 120124 h 1165711"/>
              <a:gd name="connsiteX39" fmla="*/ 116241 w 1564500"/>
              <a:gd name="connsiteY39" fmla="*/ 137210 h 1165711"/>
              <a:gd name="connsiteX40" fmla="*/ 116218 w 1564500"/>
              <a:gd name="connsiteY40" fmla="*/ 145659 h 1165711"/>
              <a:gd name="connsiteX41" fmla="*/ 117267 w 1564500"/>
              <a:gd name="connsiteY41" fmla="*/ 148715 h 1165711"/>
              <a:gd name="connsiteX42" fmla="*/ 117266 w 1564500"/>
              <a:gd name="connsiteY42" fmla="*/ 296515 h 1165711"/>
              <a:gd name="connsiteX43" fmla="*/ 59769 w 1564500"/>
              <a:gd name="connsiteY43" fmla="*/ 330325 h 1165711"/>
              <a:gd name="connsiteX44" fmla="*/ 6790 w 1564500"/>
              <a:gd name="connsiteY44"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1295087 w 1564500"/>
              <a:gd name="connsiteY28" fmla="*/ 788237 h 1165711"/>
              <a:gd name="connsiteX29" fmla="*/ 1295085 w 1564500"/>
              <a:gd name="connsiteY29" fmla="*/ 788234 h 1165711"/>
              <a:gd name="connsiteX30" fmla="*/ 1271428 w 1564500"/>
              <a:gd name="connsiteY30" fmla="*/ 774576 h 1165711"/>
              <a:gd name="connsiteX31" fmla="*/ 756089 w 1564500"/>
              <a:gd name="connsiteY31" fmla="*/ 483173 h 1165711"/>
              <a:gd name="connsiteX32" fmla="*/ 717631 w 1564500"/>
              <a:gd name="connsiteY32" fmla="*/ 456589 h 1165711"/>
              <a:gd name="connsiteX33" fmla="*/ 304839 w 1564500"/>
              <a:gd name="connsiteY33" fmla="*/ 216517 h 1165711"/>
              <a:gd name="connsiteX34" fmla="*/ 303119 w 1564500"/>
              <a:gd name="connsiteY34" fmla="*/ 214541 h 1165711"/>
              <a:gd name="connsiteX35" fmla="*/ 135559 w 1564500"/>
              <a:gd name="connsiteY35" fmla="*/ 118488 h 1165711"/>
              <a:gd name="connsiteX36" fmla="*/ 135463 w 1564500"/>
              <a:gd name="connsiteY36" fmla="*/ 118377 h 1165711"/>
              <a:gd name="connsiteX37" fmla="*/ 129242 w 1564500"/>
              <a:gd name="connsiteY37" fmla="*/ 120124 h 1165711"/>
              <a:gd name="connsiteX38" fmla="*/ 116241 w 1564500"/>
              <a:gd name="connsiteY38" fmla="*/ 137210 h 1165711"/>
              <a:gd name="connsiteX39" fmla="*/ 116218 w 1564500"/>
              <a:gd name="connsiteY39" fmla="*/ 145659 h 1165711"/>
              <a:gd name="connsiteX40" fmla="*/ 117267 w 1564500"/>
              <a:gd name="connsiteY40" fmla="*/ 148715 h 1165711"/>
              <a:gd name="connsiteX41" fmla="*/ 117266 w 1564500"/>
              <a:gd name="connsiteY41" fmla="*/ 296515 h 1165711"/>
              <a:gd name="connsiteX42" fmla="*/ 59769 w 1564500"/>
              <a:gd name="connsiteY42" fmla="*/ 330325 h 1165711"/>
              <a:gd name="connsiteX43" fmla="*/ 6790 w 1564500"/>
              <a:gd name="connsiteY43"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1295087 w 1564500"/>
              <a:gd name="connsiteY28" fmla="*/ 788237 h 1165711"/>
              <a:gd name="connsiteX29" fmla="*/ 1295085 w 1564500"/>
              <a:gd name="connsiteY29" fmla="*/ 788234 h 1165711"/>
              <a:gd name="connsiteX30" fmla="*/ 1271428 w 1564500"/>
              <a:gd name="connsiteY30" fmla="*/ 774576 h 1165711"/>
              <a:gd name="connsiteX31" fmla="*/ 756089 w 1564500"/>
              <a:gd name="connsiteY31" fmla="*/ 483173 h 1165711"/>
              <a:gd name="connsiteX32" fmla="*/ 304839 w 1564500"/>
              <a:gd name="connsiteY32" fmla="*/ 216517 h 1165711"/>
              <a:gd name="connsiteX33" fmla="*/ 303119 w 1564500"/>
              <a:gd name="connsiteY33" fmla="*/ 214541 h 1165711"/>
              <a:gd name="connsiteX34" fmla="*/ 135559 w 1564500"/>
              <a:gd name="connsiteY34" fmla="*/ 118488 h 1165711"/>
              <a:gd name="connsiteX35" fmla="*/ 135463 w 1564500"/>
              <a:gd name="connsiteY35" fmla="*/ 118377 h 1165711"/>
              <a:gd name="connsiteX36" fmla="*/ 129242 w 1564500"/>
              <a:gd name="connsiteY36" fmla="*/ 120124 h 1165711"/>
              <a:gd name="connsiteX37" fmla="*/ 116241 w 1564500"/>
              <a:gd name="connsiteY37" fmla="*/ 137210 h 1165711"/>
              <a:gd name="connsiteX38" fmla="*/ 116218 w 1564500"/>
              <a:gd name="connsiteY38" fmla="*/ 145659 h 1165711"/>
              <a:gd name="connsiteX39" fmla="*/ 117267 w 1564500"/>
              <a:gd name="connsiteY39" fmla="*/ 148715 h 1165711"/>
              <a:gd name="connsiteX40" fmla="*/ 117266 w 1564500"/>
              <a:gd name="connsiteY40" fmla="*/ 296515 h 1165711"/>
              <a:gd name="connsiteX41" fmla="*/ 59769 w 1564500"/>
              <a:gd name="connsiteY41" fmla="*/ 330325 h 1165711"/>
              <a:gd name="connsiteX42" fmla="*/ 6790 w 1564500"/>
              <a:gd name="connsiteY42"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1295087 w 1564500"/>
              <a:gd name="connsiteY28" fmla="*/ 788237 h 1165711"/>
              <a:gd name="connsiteX29" fmla="*/ 1295085 w 1564500"/>
              <a:gd name="connsiteY29" fmla="*/ 788234 h 1165711"/>
              <a:gd name="connsiteX30" fmla="*/ 1271428 w 1564500"/>
              <a:gd name="connsiteY30" fmla="*/ 774576 h 1165711"/>
              <a:gd name="connsiteX31" fmla="*/ 304839 w 1564500"/>
              <a:gd name="connsiteY31" fmla="*/ 216517 h 1165711"/>
              <a:gd name="connsiteX32" fmla="*/ 303119 w 1564500"/>
              <a:gd name="connsiteY32" fmla="*/ 214541 h 1165711"/>
              <a:gd name="connsiteX33" fmla="*/ 135559 w 1564500"/>
              <a:gd name="connsiteY33" fmla="*/ 118488 h 1165711"/>
              <a:gd name="connsiteX34" fmla="*/ 135463 w 1564500"/>
              <a:gd name="connsiteY34" fmla="*/ 118377 h 1165711"/>
              <a:gd name="connsiteX35" fmla="*/ 129242 w 1564500"/>
              <a:gd name="connsiteY35" fmla="*/ 120124 h 1165711"/>
              <a:gd name="connsiteX36" fmla="*/ 116241 w 1564500"/>
              <a:gd name="connsiteY36" fmla="*/ 137210 h 1165711"/>
              <a:gd name="connsiteX37" fmla="*/ 116218 w 1564500"/>
              <a:gd name="connsiteY37" fmla="*/ 145659 h 1165711"/>
              <a:gd name="connsiteX38" fmla="*/ 117267 w 1564500"/>
              <a:gd name="connsiteY38" fmla="*/ 148715 h 1165711"/>
              <a:gd name="connsiteX39" fmla="*/ 117266 w 1564500"/>
              <a:gd name="connsiteY39" fmla="*/ 296515 h 1165711"/>
              <a:gd name="connsiteX40" fmla="*/ 59769 w 1564500"/>
              <a:gd name="connsiteY40" fmla="*/ 330325 h 1165711"/>
              <a:gd name="connsiteX41" fmla="*/ 6790 w 1564500"/>
              <a:gd name="connsiteY41"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1295087 w 1564500"/>
              <a:gd name="connsiteY28" fmla="*/ 788237 h 1165711"/>
              <a:gd name="connsiteX29" fmla="*/ 1295085 w 1564500"/>
              <a:gd name="connsiteY29" fmla="*/ 788234 h 1165711"/>
              <a:gd name="connsiteX30" fmla="*/ 304839 w 1564500"/>
              <a:gd name="connsiteY30" fmla="*/ 216517 h 1165711"/>
              <a:gd name="connsiteX31" fmla="*/ 303119 w 1564500"/>
              <a:gd name="connsiteY31" fmla="*/ 214541 h 1165711"/>
              <a:gd name="connsiteX32" fmla="*/ 135559 w 1564500"/>
              <a:gd name="connsiteY32" fmla="*/ 118488 h 1165711"/>
              <a:gd name="connsiteX33" fmla="*/ 135463 w 1564500"/>
              <a:gd name="connsiteY33" fmla="*/ 118377 h 1165711"/>
              <a:gd name="connsiteX34" fmla="*/ 129242 w 1564500"/>
              <a:gd name="connsiteY34" fmla="*/ 120124 h 1165711"/>
              <a:gd name="connsiteX35" fmla="*/ 116241 w 1564500"/>
              <a:gd name="connsiteY35" fmla="*/ 137210 h 1165711"/>
              <a:gd name="connsiteX36" fmla="*/ 116218 w 1564500"/>
              <a:gd name="connsiteY36" fmla="*/ 145659 h 1165711"/>
              <a:gd name="connsiteX37" fmla="*/ 117267 w 1564500"/>
              <a:gd name="connsiteY37" fmla="*/ 148715 h 1165711"/>
              <a:gd name="connsiteX38" fmla="*/ 117266 w 1564500"/>
              <a:gd name="connsiteY38" fmla="*/ 296515 h 1165711"/>
              <a:gd name="connsiteX39" fmla="*/ 59769 w 1564500"/>
              <a:gd name="connsiteY39" fmla="*/ 330325 h 1165711"/>
              <a:gd name="connsiteX40" fmla="*/ 6790 w 1564500"/>
              <a:gd name="connsiteY40"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1295087 w 1564500"/>
              <a:gd name="connsiteY28" fmla="*/ 788237 h 1165711"/>
              <a:gd name="connsiteX29" fmla="*/ 304839 w 1564500"/>
              <a:gd name="connsiteY29" fmla="*/ 216517 h 1165711"/>
              <a:gd name="connsiteX30" fmla="*/ 303119 w 1564500"/>
              <a:gd name="connsiteY30" fmla="*/ 214541 h 1165711"/>
              <a:gd name="connsiteX31" fmla="*/ 135559 w 1564500"/>
              <a:gd name="connsiteY31" fmla="*/ 118488 h 1165711"/>
              <a:gd name="connsiteX32" fmla="*/ 135463 w 1564500"/>
              <a:gd name="connsiteY32" fmla="*/ 118377 h 1165711"/>
              <a:gd name="connsiteX33" fmla="*/ 129242 w 1564500"/>
              <a:gd name="connsiteY33" fmla="*/ 120124 h 1165711"/>
              <a:gd name="connsiteX34" fmla="*/ 116241 w 1564500"/>
              <a:gd name="connsiteY34" fmla="*/ 137210 h 1165711"/>
              <a:gd name="connsiteX35" fmla="*/ 116218 w 1564500"/>
              <a:gd name="connsiteY35" fmla="*/ 145659 h 1165711"/>
              <a:gd name="connsiteX36" fmla="*/ 117267 w 1564500"/>
              <a:gd name="connsiteY36" fmla="*/ 148715 h 1165711"/>
              <a:gd name="connsiteX37" fmla="*/ 117266 w 1564500"/>
              <a:gd name="connsiteY37" fmla="*/ 296515 h 1165711"/>
              <a:gd name="connsiteX38" fmla="*/ 59769 w 1564500"/>
              <a:gd name="connsiteY38" fmla="*/ 330325 h 1165711"/>
              <a:gd name="connsiteX39" fmla="*/ 6790 w 1564500"/>
              <a:gd name="connsiteY39"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1295851 w 1564500"/>
              <a:gd name="connsiteY27" fmla="*/ 788386 h 1165711"/>
              <a:gd name="connsiteX28" fmla="*/ 304839 w 1564500"/>
              <a:gd name="connsiteY28" fmla="*/ 216517 h 1165711"/>
              <a:gd name="connsiteX29" fmla="*/ 303119 w 1564500"/>
              <a:gd name="connsiteY29" fmla="*/ 214541 h 1165711"/>
              <a:gd name="connsiteX30" fmla="*/ 135559 w 1564500"/>
              <a:gd name="connsiteY30" fmla="*/ 118488 h 1165711"/>
              <a:gd name="connsiteX31" fmla="*/ 135463 w 1564500"/>
              <a:gd name="connsiteY31" fmla="*/ 118377 h 1165711"/>
              <a:gd name="connsiteX32" fmla="*/ 129242 w 1564500"/>
              <a:gd name="connsiteY32" fmla="*/ 120124 h 1165711"/>
              <a:gd name="connsiteX33" fmla="*/ 116241 w 1564500"/>
              <a:gd name="connsiteY33" fmla="*/ 137210 h 1165711"/>
              <a:gd name="connsiteX34" fmla="*/ 116218 w 1564500"/>
              <a:gd name="connsiteY34" fmla="*/ 145659 h 1165711"/>
              <a:gd name="connsiteX35" fmla="*/ 117267 w 1564500"/>
              <a:gd name="connsiteY35" fmla="*/ 148715 h 1165711"/>
              <a:gd name="connsiteX36" fmla="*/ 117266 w 1564500"/>
              <a:gd name="connsiteY36" fmla="*/ 296515 h 1165711"/>
              <a:gd name="connsiteX37" fmla="*/ 59769 w 1564500"/>
              <a:gd name="connsiteY37" fmla="*/ 330325 h 1165711"/>
              <a:gd name="connsiteX38" fmla="*/ 6790 w 1564500"/>
              <a:gd name="connsiteY38"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315384 w 1564500"/>
              <a:gd name="connsiteY13" fmla="*/ 667170 h 1165711"/>
              <a:gd name="connsiteX14" fmla="*/ 1489480 w 1564500"/>
              <a:gd name="connsiteY14" fmla="*/ 765814 h 1165711"/>
              <a:gd name="connsiteX15" fmla="*/ 1543340 w 1564500"/>
              <a:gd name="connsiteY15" fmla="*/ 818674 h 1165711"/>
              <a:gd name="connsiteX16" fmla="*/ 1560768 w 1564500"/>
              <a:gd name="connsiteY16" fmla="*/ 875642 h 1165711"/>
              <a:gd name="connsiteX17" fmla="*/ 1562203 w 1564500"/>
              <a:gd name="connsiteY17" fmla="*/ 891740 h 1165711"/>
              <a:gd name="connsiteX18" fmla="*/ 1564500 w 1564500"/>
              <a:gd name="connsiteY18" fmla="*/ 916342 h 1165711"/>
              <a:gd name="connsiteX19" fmla="*/ 1564499 w 1564500"/>
              <a:gd name="connsiteY19" fmla="*/ 1131901 h 1165711"/>
              <a:gd name="connsiteX20" fmla="*/ 1507002 w 1564500"/>
              <a:gd name="connsiteY20" fmla="*/ 1165711 h 1165711"/>
              <a:gd name="connsiteX21" fmla="*/ 1454023 w 1564500"/>
              <a:gd name="connsiteY21" fmla="*/ 1145061 h 1165711"/>
              <a:gd name="connsiteX22" fmla="*/ 1449505 w 1564500"/>
              <a:gd name="connsiteY22" fmla="*/ 1131901 h 1165711"/>
              <a:gd name="connsiteX23" fmla="*/ 1446753 w 1564500"/>
              <a:gd name="connsiteY23" fmla="*/ 894578 h 1165711"/>
              <a:gd name="connsiteX24" fmla="*/ 1447195 w 1564500"/>
              <a:gd name="connsiteY24" fmla="*/ 896438 h 1165711"/>
              <a:gd name="connsiteX25" fmla="*/ 1447218 w 1564500"/>
              <a:gd name="connsiteY25" fmla="*/ 892825 h 1165711"/>
              <a:gd name="connsiteX26" fmla="*/ 1431063 w 1564500"/>
              <a:gd name="connsiteY26" fmla="*/ 864843 h 1165711"/>
              <a:gd name="connsiteX27" fmla="*/ 304839 w 1564500"/>
              <a:gd name="connsiteY27" fmla="*/ 216517 h 1165711"/>
              <a:gd name="connsiteX28" fmla="*/ 303119 w 1564500"/>
              <a:gd name="connsiteY28" fmla="*/ 214541 h 1165711"/>
              <a:gd name="connsiteX29" fmla="*/ 135559 w 1564500"/>
              <a:gd name="connsiteY29" fmla="*/ 118488 h 1165711"/>
              <a:gd name="connsiteX30" fmla="*/ 135463 w 1564500"/>
              <a:gd name="connsiteY30" fmla="*/ 118377 h 1165711"/>
              <a:gd name="connsiteX31" fmla="*/ 129242 w 1564500"/>
              <a:gd name="connsiteY31" fmla="*/ 120124 h 1165711"/>
              <a:gd name="connsiteX32" fmla="*/ 116241 w 1564500"/>
              <a:gd name="connsiteY32" fmla="*/ 137210 h 1165711"/>
              <a:gd name="connsiteX33" fmla="*/ 116218 w 1564500"/>
              <a:gd name="connsiteY33" fmla="*/ 145659 h 1165711"/>
              <a:gd name="connsiteX34" fmla="*/ 117267 w 1564500"/>
              <a:gd name="connsiteY34" fmla="*/ 148715 h 1165711"/>
              <a:gd name="connsiteX35" fmla="*/ 117266 w 1564500"/>
              <a:gd name="connsiteY35" fmla="*/ 296515 h 1165711"/>
              <a:gd name="connsiteX36" fmla="*/ 59769 w 1564500"/>
              <a:gd name="connsiteY36" fmla="*/ 330325 h 1165711"/>
              <a:gd name="connsiteX37" fmla="*/ 6790 w 1564500"/>
              <a:gd name="connsiteY37"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889371 w 1564500"/>
              <a:gd name="connsiteY12" fmla="*/ 421212 h 1165711"/>
              <a:gd name="connsiteX13" fmla="*/ 1489480 w 1564500"/>
              <a:gd name="connsiteY13" fmla="*/ 765814 h 1165711"/>
              <a:gd name="connsiteX14" fmla="*/ 1543340 w 1564500"/>
              <a:gd name="connsiteY14" fmla="*/ 818674 h 1165711"/>
              <a:gd name="connsiteX15" fmla="*/ 1560768 w 1564500"/>
              <a:gd name="connsiteY15" fmla="*/ 875642 h 1165711"/>
              <a:gd name="connsiteX16" fmla="*/ 1562203 w 1564500"/>
              <a:gd name="connsiteY16" fmla="*/ 891740 h 1165711"/>
              <a:gd name="connsiteX17" fmla="*/ 1564500 w 1564500"/>
              <a:gd name="connsiteY17" fmla="*/ 916342 h 1165711"/>
              <a:gd name="connsiteX18" fmla="*/ 1564499 w 1564500"/>
              <a:gd name="connsiteY18" fmla="*/ 1131901 h 1165711"/>
              <a:gd name="connsiteX19" fmla="*/ 1507002 w 1564500"/>
              <a:gd name="connsiteY19" fmla="*/ 1165711 h 1165711"/>
              <a:gd name="connsiteX20" fmla="*/ 1454023 w 1564500"/>
              <a:gd name="connsiteY20" fmla="*/ 1145061 h 1165711"/>
              <a:gd name="connsiteX21" fmla="*/ 1449505 w 1564500"/>
              <a:gd name="connsiteY21" fmla="*/ 1131901 h 1165711"/>
              <a:gd name="connsiteX22" fmla="*/ 1446753 w 1564500"/>
              <a:gd name="connsiteY22" fmla="*/ 894578 h 1165711"/>
              <a:gd name="connsiteX23" fmla="*/ 1447195 w 1564500"/>
              <a:gd name="connsiteY23" fmla="*/ 896438 h 1165711"/>
              <a:gd name="connsiteX24" fmla="*/ 1447218 w 1564500"/>
              <a:gd name="connsiteY24" fmla="*/ 892825 h 1165711"/>
              <a:gd name="connsiteX25" fmla="*/ 1431063 w 1564500"/>
              <a:gd name="connsiteY25" fmla="*/ 864843 h 1165711"/>
              <a:gd name="connsiteX26" fmla="*/ 304839 w 1564500"/>
              <a:gd name="connsiteY26" fmla="*/ 216517 h 1165711"/>
              <a:gd name="connsiteX27" fmla="*/ 303119 w 1564500"/>
              <a:gd name="connsiteY27" fmla="*/ 214541 h 1165711"/>
              <a:gd name="connsiteX28" fmla="*/ 135559 w 1564500"/>
              <a:gd name="connsiteY28" fmla="*/ 118488 h 1165711"/>
              <a:gd name="connsiteX29" fmla="*/ 135463 w 1564500"/>
              <a:gd name="connsiteY29" fmla="*/ 118377 h 1165711"/>
              <a:gd name="connsiteX30" fmla="*/ 129242 w 1564500"/>
              <a:gd name="connsiteY30" fmla="*/ 120124 h 1165711"/>
              <a:gd name="connsiteX31" fmla="*/ 116241 w 1564500"/>
              <a:gd name="connsiteY31" fmla="*/ 137210 h 1165711"/>
              <a:gd name="connsiteX32" fmla="*/ 116218 w 1564500"/>
              <a:gd name="connsiteY32" fmla="*/ 145659 h 1165711"/>
              <a:gd name="connsiteX33" fmla="*/ 117267 w 1564500"/>
              <a:gd name="connsiteY33" fmla="*/ 148715 h 1165711"/>
              <a:gd name="connsiteX34" fmla="*/ 117266 w 1564500"/>
              <a:gd name="connsiteY34" fmla="*/ 296515 h 1165711"/>
              <a:gd name="connsiteX35" fmla="*/ 59769 w 1564500"/>
              <a:gd name="connsiteY35" fmla="*/ 330325 h 1165711"/>
              <a:gd name="connsiteX36" fmla="*/ 6790 w 1564500"/>
              <a:gd name="connsiteY36"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888544 w 1564500"/>
              <a:gd name="connsiteY11" fmla="*/ 420401 h 1165711"/>
              <a:gd name="connsiteX12" fmla="*/ 1489480 w 1564500"/>
              <a:gd name="connsiteY12" fmla="*/ 765814 h 1165711"/>
              <a:gd name="connsiteX13" fmla="*/ 1543340 w 1564500"/>
              <a:gd name="connsiteY13" fmla="*/ 818674 h 1165711"/>
              <a:gd name="connsiteX14" fmla="*/ 1560768 w 1564500"/>
              <a:gd name="connsiteY14" fmla="*/ 875642 h 1165711"/>
              <a:gd name="connsiteX15" fmla="*/ 1562203 w 1564500"/>
              <a:gd name="connsiteY15" fmla="*/ 891740 h 1165711"/>
              <a:gd name="connsiteX16" fmla="*/ 1564500 w 1564500"/>
              <a:gd name="connsiteY16" fmla="*/ 916342 h 1165711"/>
              <a:gd name="connsiteX17" fmla="*/ 1564499 w 1564500"/>
              <a:gd name="connsiteY17" fmla="*/ 1131901 h 1165711"/>
              <a:gd name="connsiteX18" fmla="*/ 1507002 w 1564500"/>
              <a:gd name="connsiteY18" fmla="*/ 1165711 h 1165711"/>
              <a:gd name="connsiteX19" fmla="*/ 1454023 w 1564500"/>
              <a:gd name="connsiteY19" fmla="*/ 1145061 h 1165711"/>
              <a:gd name="connsiteX20" fmla="*/ 1449505 w 1564500"/>
              <a:gd name="connsiteY20" fmla="*/ 1131901 h 1165711"/>
              <a:gd name="connsiteX21" fmla="*/ 1446753 w 1564500"/>
              <a:gd name="connsiteY21" fmla="*/ 894578 h 1165711"/>
              <a:gd name="connsiteX22" fmla="*/ 1447195 w 1564500"/>
              <a:gd name="connsiteY22" fmla="*/ 896438 h 1165711"/>
              <a:gd name="connsiteX23" fmla="*/ 1447218 w 1564500"/>
              <a:gd name="connsiteY23" fmla="*/ 892825 h 1165711"/>
              <a:gd name="connsiteX24" fmla="*/ 1431063 w 1564500"/>
              <a:gd name="connsiteY24" fmla="*/ 864843 h 1165711"/>
              <a:gd name="connsiteX25" fmla="*/ 304839 w 1564500"/>
              <a:gd name="connsiteY25" fmla="*/ 216517 h 1165711"/>
              <a:gd name="connsiteX26" fmla="*/ 303119 w 1564500"/>
              <a:gd name="connsiteY26" fmla="*/ 214541 h 1165711"/>
              <a:gd name="connsiteX27" fmla="*/ 135559 w 1564500"/>
              <a:gd name="connsiteY27" fmla="*/ 118488 h 1165711"/>
              <a:gd name="connsiteX28" fmla="*/ 135463 w 1564500"/>
              <a:gd name="connsiteY28" fmla="*/ 118377 h 1165711"/>
              <a:gd name="connsiteX29" fmla="*/ 129242 w 1564500"/>
              <a:gd name="connsiteY29" fmla="*/ 120124 h 1165711"/>
              <a:gd name="connsiteX30" fmla="*/ 116241 w 1564500"/>
              <a:gd name="connsiteY30" fmla="*/ 137210 h 1165711"/>
              <a:gd name="connsiteX31" fmla="*/ 116218 w 1564500"/>
              <a:gd name="connsiteY31" fmla="*/ 145659 h 1165711"/>
              <a:gd name="connsiteX32" fmla="*/ 117267 w 1564500"/>
              <a:gd name="connsiteY32" fmla="*/ 148715 h 1165711"/>
              <a:gd name="connsiteX33" fmla="*/ 117266 w 1564500"/>
              <a:gd name="connsiteY33" fmla="*/ 296515 h 1165711"/>
              <a:gd name="connsiteX34" fmla="*/ 59769 w 1564500"/>
              <a:gd name="connsiteY34" fmla="*/ 330325 h 1165711"/>
              <a:gd name="connsiteX35" fmla="*/ 6790 w 1564500"/>
              <a:gd name="connsiteY35"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862633 w 1564500"/>
              <a:gd name="connsiteY10" fmla="*/ 402765 h 1165711"/>
              <a:gd name="connsiteX11" fmla="*/ 1489480 w 1564500"/>
              <a:gd name="connsiteY11" fmla="*/ 765814 h 1165711"/>
              <a:gd name="connsiteX12" fmla="*/ 1543340 w 1564500"/>
              <a:gd name="connsiteY12" fmla="*/ 818674 h 1165711"/>
              <a:gd name="connsiteX13" fmla="*/ 1560768 w 1564500"/>
              <a:gd name="connsiteY13" fmla="*/ 875642 h 1165711"/>
              <a:gd name="connsiteX14" fmla="*/ 1562203 w 1564500"/>
              <a:gd name="connsiteY14" fmla="*/ 891740 h 1165711"/>
              <a:gd name="connsiteX15" fmla="*/ 1564500 w 1564500"/>
              <a:gd name="connsiteY15" fmla="*/ 916342 h 1165711"/>
              <a:gd name="connsiteX16" fmla="*/ 1564499 w 1564500"/>
              <a:gd name="connsiteY16" fmla="*/ 1131901 h 1165711"/>
              <a:gd name="connsiteX17" fmla="*/ 1507002 w 1564500"/>
              <a:gd name="connsiteY17" fmla="*/ 1165711 h 1165711"/>
              <a:gd name="connsiteX18" fmla="*/ 1454023 w 1564500"/>
              <a:gd name="connsiteY18" fmla="*/ 1145061 h 1165711"/>
              <a:gd name="connsiteX19" fmla="*/ 1449505 w 1564500"/>
              <a:gd name="connsiteY19" fmla="*/ 1131901 h 1165711"/>
              <a:gd name="connsiteX20" fmla="*/ 1446753 w 1564500"/>
              <a:gd name="connsiteY20" fmla="*/ 894578 h 1165711"/>
              <a:gd name="connsiteX21" fmla="*/ 1447195 w 1564500"/>
              <a:gd name="connsiteY21" fmla="*/ 896438 h 1165711"/>
              <a:gd name="connsiteX22" fmla="*/ 1447218 w 1564500"/>
              <a:gd name="connsiteY22" fmla="*/ 892825 h 1165711"/>
              <a:gd name="connsiteX23" fmla="*/ 1431063 w 1564500"/>
              <a:gd name="connsiteY23" fmla="*/ 864843 h 1165711"/>
              <a:gd name="connsiteX24" fmla="*/ 304839 w 1564500"/>
              <a:gd name="connsiteY24" fmla="*/ 216517 h 1165711"/>
              <a:gd name="connsiteX25" fmla="*/ 303119 w 1564500"/>
              <a:gd name="connsiteY25" fmla="*/ 214541 h 1165711"/>
              <a:gd name="connsiteX26" fmla="*/ 135559 w 1564500"/>
              <a:gd name="connsiteY26" fmla="*/ 118488 h 1165711"/>
              <a:gd name="connsiteX27" fmla="*/ 135463 w 1564500"/>
              <a:gd name="connsiteY27" fmla="*/ 118377 h 1165711"/>
              <a:gd name="connsiteX28" fmla="*/ 129242 w 1564500"/>
              <a:gd name="connsiteY28" fmla="*/ 120124 h 1165711"/>
              <a:gd name="connsiteX29" fmla="*/ 116241 w 1564500"/>
              <a:gd name="connsiteY29" fmla="*/ 137210 h 1165711"/>
              <a:gd name="connsiteX30" fmla="*/ 116218 w 1564500"/>
              <a:gd name="connsiteY30" fmla="*/ 145659 h 1165711"/>
              <a:gd name="connsiteX31" fmla="*/ 117267 w 1564500"/>
              <a:gd name="connsiteY31" fmla="*/ 148715 h 1165711"/>
              <a:gd name="connsiteX32" fmla="*/ 117266 w 1564500"/>
              <a:gd name="connsiteY32" fmla="*/ 296515 h 1165711"/>
              <a:gd name="connsiteX33" fmla="*/ 59769 w 1564500"/>
              <a:gd name="connsiteY33" fmla="*/ 330325 h 1165711"/>
              <a:gd name="connsiteX34" fmla="*/ 6790 w 1564500"/>
              <a:gd name="connsiteY34"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82534 w 1564500"/>
              <a:gd name="connsiteY9" fmla="*/ 244060 h 1165711"/>
              <a:gd name="connsiteX10" fmla="*/ 1489480 w 1564500"/>
              <a:gd name="connsiteY10" fmla="*/ 765814 h 1165711"/>
              <a:gd name="connsiteX11" fmla="*/ 1543340 w 1564500"/>
              <a:gd name="connsiteY11" fmla="*/ 818674 h 1165711"/>
              <a:gd name="connsiteX12" fmla="*/ 1560768 w 1564500"/>
              <a:gd name="connsiteY12" fmla="*/ 875642 h 1165711"/>
              <a:gd name="connsiteX13" fmla="*/ 1562203 w 1564500"/>
              <a:gd name="connsiteY13" fmla="*/ 891740 h 1165711"/>
              <a:gd name="connsiteX14" fmla="*/ 1564500 w 1564500"/>
              <a:gd name="connsiteY14" fmla="*/ 916342 h 1165711"/>
              <a:gd name="connsiteX15" fmla="*/ 1564499 w 1564500"/>
              <a:gd name="connsiteY15" fmla="*/ 1131901 h 1165711"/>
              <a:gd name="connsiteX16" fmla="*/ 1507002 w 1564500"/>
              <a:gd name="connsiteY16" fmla="*/ 1165711 h 1165711"/>
              <a:gd name="connsiteX17" fmla="*/ 1454023 w 1564500"/>
              <a:gd name="connsiteY17" fmla="*/ 1145061 h 1165711"/>
              <a:gd name="connsiteX18" fmla="*/ 1449505 w 1564500"/>
              <a:gd name="connsiteY18" fmla="*/ 1131901 h 1165711"/>
              <a:gd name="connsiteX19" fmla="*/ 1446753 w 1564500"/>
              <a:gd name="connsiteY19" fmla="*/ 894578 h 1165711"/>
              <a:gd name="connsiteX20" fmla="*/ 1447195 w 1564500"/>
              <a:gd name="connsiteY20" fmla="*/ 896438 h 1165711"/>
              <a:gd name="connsiteX21" fmla="*/ 1447218 w 1564500"/>
              <a:gd name="connsiteY21" fmla="*/ 892825 h 1165711"/>
              <a:gd name="connsiteX22" fmla="*/ 1431063 w 1564500"/>
              <a:gd name="connsiteY22" fmla="*/ 864843 h 1165711"/>
              <a:gd name="connsiteX23" fmla="*/ 304839 w 1564500"/>
              <a:gd name="connsiteY23" fmla="*/ 216517 h 1165711"/>
              <a:gd name="connsiteX24" fmla="*/ 303119 w 1564500"/>
              <a:gd name="connsiteY24" fmla="*/ 214541 h 1165711"/>
              <a:gd name="connsiteX25" fmla="*/ 135559 w 1564500"/>
              <a:gd name="connsiteY25" fmla="*/ 118488 h 1165711"/>
              <a:gd name="connsiteX26" fmla="*/ 135463 w 1564500"/>
              <a:gd name="connsiteY26" fmla="*/ 118377 h 1165711"/>
              <a:gd name="connsiteX27" fmla="*/ 129242 w 1564500"/>
              <a:gd name="connsiteY27" fmla="*/ 120124 h 1165711"/>
              <a:gd name="connsiteX28" fmla="*/ 116241 w 1564500"/>
              <a:gd name="connsiteY28" fmla="*/ 137210 h 1165711"/>
              <a:gd name="connsiteX29" fmla="*/ 116218 w 1564500"/>
              <a:gd name="connsiteY29" fmla="*/ 145659 h 1165711"/>
              <a:gd name="connsiteX30" fmla="*/ 117267 w 1564500"/>
              <a:gd name="connsiteY30" fmla="*/ 148715 h 1165711"/>
              <a:gd name="connsiteX31" fmla="*/ 117266 w 1564500"/>
              <a:gd name="connsiteY31" fmla="*/ 296515 h 1165711"/>
              <a:gd name="connsiteX32" fmla="*/ 59769 w 1564500"/>
              <a:gd name="connsiteY32" fmla="*/ 330325 h 1165711"/>
              <a:gd name="connsiteX33" fmla="*/ 6790 w 1564500"/>
              <a:gd name="connsiteY33"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1489480 w 1564500"/>
              <a:gd name="connsiteY9" fmla="*/ 765814 h 1165711"/>
              <a:gd name="connsiteX10" fmla="*/ 1543340 w 1564500"/>
              <a:gd name="connsiteY10" fmla="*/ 818674 h 1165711"/>
              <a:gd name="connsiteX11" fmla="*/ 1560768 w 1564500"/>
              <a:gd name="connsiteY11" fmla="*/ 875642 h 1165711"/>
              <a:gd name="connsiteX12" fmla="*/ 1562203 w 1564500"/>
              <a:gd name="connsiteY12" fmla="*/ 891740 h 1165711"/>
              <a:gd name="connsiteX13" fmla="*/ 1564500 w 1564500"/>
              <a:gd name="connsiteY13" fmla="*/ 916342 h 1165711"/>
              <a:gd name="connsiteX14" fmla="*/ 1564499 w 1564500"/>
              <a:gd name="connsiteY14" fmla="*/ 1131901 h 1165711"/>
              <a:gd name="connsiteX15" fmla="*/ 1507002 w 1564500"/>
              <a:gd name="connsiteY15" fmla="*/ 1165711 h 1165711"/>
              <a:gd name="connsiteX16" fmla="*/ 1454023 w 1564500"/>
              <a:gd name="connsiteY16" fmla="*/ 1145061 h 1165711"/>
              <a:gd name="connsiteX17" fmla="*/ 1449505 w 1564500"/>
              <a:gd name="connsiteY17" fmla="*/ 1131901 h 1165711"/>
              <a:gd name="connsiteX18" fmla="*/ 1446753 w 1564500"/>
              <a:gd name="connsiteY18" fmla="*/ 894578 h 1165711"/>
              <a:gd name="connsiteX19" fmla="*/ 1447195 w 1564500"/>
              <a:gd name="connsiteY19" fmla="*/ 896438 h 1165711"/>
              <a:gd name="connsiteX20" fmla="*/ 1447218 w 1564500"/>
              <a:gd name="connsiteY20" fmla="*/ 892825 h 1165711"/>
              <a:gd name="connsiteX21" fmla="*/ 1431063 w 1564500"/>
              <a:gd name="connsiteY21" fmla="*/ 864843 h 1165711"/>
              <a:gd name="connsiteX22" fmla="*/ 304839 w 1564500"/>
              <a:gd name="connsiteY22" fmla="*/ 216517 h 1165711"/>
              <a:gd name="connsiteX23" fmla="*/ 303119 w 1564500"/>
              <a:gd name="connsiteY23" fmla="*/ 214541 h 1165711"/>
              <a:gd name="connsiteX24" fmla="*/ 135559 w 1564500"/>
              <a:gd name="connsiteY24" fmla="*/ 118488 h 1165711"/>
              <a:gd name="connsiteX25" fmla="*/ 135463 w 1564500"/>
              <a:gd name="connsiteY25" fmla="*/ 118377 h 1165711"/>
              <a:gd name="connsiteX26" fmla="*/ 129242 w 1564500"/>
              <a:gd name="connsiteY26" fmla="*/ 120124 h 1165711"/>
              <a:gd name="connsiteX27" fmla="*/ 116241 w 1564500"/>
              <a:gd name="connsiteY27" fmla="*/ 137210 h 1165711"/>
              <a:gd name="connsiteX28" fmla="*/ 116218 w 1564500"/>
              <a:gd name="connsiteY28" fmla="*/ 145659 h 1165711"/>
              <a:gd name="connsiteX29" fmla="*/ 117267 w 1564500"/>
              <a:gd name="connsiteY29" fmla="*/ 148715 h 1165711"/>
              <a:gd name="connsiteX30" fmla="*/ 117266 w 1564500"/>
              <a:gd name="connsiteY30" fmla="*/ 296515 h 1165711"/>
              <a:gd name="connsiteX31" fmla="*/ 59769 w 1564500"/>
              <a:gd name="connsiteY31" fmla="*/ 330325 h 1165711"/>
              <a:gd name="connsiteX32" fmla="*/ 6790 w 1564500"/>
              <a:gd name="connsiteY32"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579509 w 1564500"/>
              <a:gd name="connsiteY9" fmla="*/ 253652 h 1165711"/>
              <a:gd name="connsiteX10" fmla="*/ 1489480 w 1564500"/>
              <a:gd name="connsiteY10" fmla="*/ 765814 h 1165711"/>
              <a:gd name="connsiteX11" fmla="*/ 1543340 w 1564500"/>
              <a:gd name="connsiteY11" fmla="*/ 818674 h 1165711"/>
              <a:gd name="connsiteX12" fmla="*/ 1560768 w 1564500"/>
              <a:gd name="connsiteY12" fmla="*/ 875642 h 1165711"/>
              <a:gd name="connsiteX13" fmla="*/ 1562203 w 1564500"/>
              <a:gd name="connsiteY13" fmla="*/ 891740 h 1165711"/>
              <a:gd name="connsiteX14" fmla="*/ 1564500 w 1564500"/>
              <a:gd name="connsiteY14" fmla="*/ 916342 h 1165711"/>
              <a:gd name="connsiteX15" fmla="*/ 1564499 w 1564500"/>
              <a:gd name="connsiteY15" fmla="*/ 1131901 h 1165711"/>
              <a:gd name="connsiteX16" fmla="*/ 1507002 w 1564500"/>
              <a:gd name="connsiteY16" fmla="*/ 1165711 h 1165711"/>
              <a:gd name="connsiteX17" fmla="*/ 1454023 w 1564500"/>
              <a:gd name="connsiteY17" fmla="*/ 1145061 h 1165711"/>
              <a:gd name="connsiteX18" fmla="*/ 1449505 w 1564500"/>
              <a:gd name="connsiteY18" fmla="*/ 1131901 h 1165711"/>
              <a:gd name="connsiteX19" fmla="*/ 1446753 w 1564500"/>
              <a:gd name="connsiteY19" fmla="*/ 894578 h 1165711"/>
              <a:gd name="connsiteX20" fmla="*/ 1447195 w 1564500"/>
              <a:gd name="connsiteY20" fmla="*/ 896438 h 1165711"/>
              <a:gd name="connsiteX21" fmla="*/ 1447218 w 1564500"/>
              <a:gd name="connsiteY21" fmla="*/ 892825 h 1165711"/>
              <a:gd name="connsiteX22" fmla="*/ 1431063 w 1564500"/>
              <a:gd name="connsiteY22" fmla="*/ 864843 h 1165711"/>
              <a:gd name="connsiteX23" fmla="*/ 304839 w 1564500"/>
              <a:gd name="connsiteY23" fmla="*/ 216517 h 1165711"/>
              <a:gd name="connsiteX24" fmla="*/ 303119 w 1564500"/>
              <a:gd name="connsiteY24" fmla="*/ 214541 h 1165711"/>
              <a:gd name="connsiteX25" fmla="*/ 135559 w 1564500"/>
              <a:gd name="connsiteY25" fmla="*/ 118488 h 1165711"/>
              <a:gd name="connsiteX26" fmla="*/ 135463 w 1564500"/>
              <a:gd name="connsiteY26" fmla="*/ 118377 h 1165711"/>
              <a:gd name="connsiteX27" fmla="*/ 129242 w 1564500"/>
              <a:gd name="connsiteY27" fmla="*/ 120124 h 1165711"/>
              <a:gd name="connsiteX28" fmla="*/ 116241 w 1564500"/>
              <a:gd name="connsiteY28" fmla="*/ 137210 h 1165711"/>
              <a:gd name="connsiteX29" fmla="*/ 116218 w 1564500"/>
              <a:gd name="connsiteY29" fmla="*/ 145659 h 1165711"/>
              <a:gd name="connsiteX30" fmla="*/ 117267 w 1564500"/>
              <a:gd name="connsiteY30" fmla="*/ 148715 h 1165711"/>
              <a:gd name="connsiteX31" fmla="*/ 117266 w 1564500"/>
              <a:gd name="connsiteY31" fmla="*/ 296515 h 1165711"/>
              <a:gd name="connsiteX32" fmla="*/ 59769 w 1564500"/>
              <a:gd name="connsiteY32" fmla="*/ 330325 h 1165711"/>
              <a:gd name="connsiteX33" fmla="*/ 6790 w 1564500"/>
              <a:gd name="connsiteY33"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362336 w 1564500"/>
              <a:gd name="connsiteY8" fmla="*/ 116929 h 1165711"/>
              <a:gd name="connsiteX9" fmla="*/ 1489480 w 1564500"/>
              <a:gd name="connsiteY9" fmla="*/ 765814 h 1165711"/>
              <a:gd name="connsiteX10" fmla="*/ 1543340 w 1564500"/>
              <a:gd name="connsiteY10" fmla="*/ 818674 h 1165711"/>
              <a:gd name="connsiteX11" fmla="*/ 1560768 w 1564500"/>
              <a:gd name="connsiteY11" fmla="*/ 875642 h 1165711"/>
              <a:gd name="connsiteX12" fmla="*/ 1562203 w 1564500"/>
              <a:gd name="connsiteY12" fmla="*/ 891740 h 1165711"/>
              <a:gd name="connsiteX13" fmla="*/ 1564500 w 1564500"/>
              <a:gd name="connsiteY13" fmla="*/ 916342 h 1165711"/>
              <a:gd name="connsiteX14" fmla="*/ 1564499 w 1564500"/>
              <a:gd name="connsiteY14" fmla="*/ 1131901 h 1165711"/>
              <a:gd name="connsiteX15" fmla="*/ 1507002 w 1564500"/>
              <a:gd name="connsiteY15" fmla="*/ 1165711 h 1165711"/>
              <a:gd name="connsiteX16" fmla="*/ 1454023 w 1564500"/>
              <a:gd name="connsiteY16" fmla="*/ 1145061 h 1165711"/>
              <a:gd name="connsiteX17" fmla="*/ 1449505 w 1564500"/>
              <a:gd name="connsiteY17" fmla="*/ 1131901 h 1165711"/>
              <a:gd name="connsiteX18" fmla="*/ 1446753 w 1564500"/>
              <a:gd name="connsiteY18" fmla="*/ 894578 h 1165711"/>
              <a:gd name="connsiteX19" fmla="*/ 1447195 w 1564500"/>
              <a:gd name="connsiteY19" fmla="*/ 896438 h 1165711"/>
              <a:gd name="connsiteX20" fmla="*/ 1447218 w 1564500"/>
              <a:gd name="connsiteY20" fmla="*/ 892825 h 1165711"/>
              <a:gd name="connsiteX21" fmla="*/ 1431063 w 1564500"/>
              <a:gd name="connsiteY21" fmla="*/ 864843 h 1165711"/>
              <a:gd name="connsiteX22" fmla="*/ 304839 w 1564500"/>
              <a:gd name="connsiteY22" fmla="*/ 216517 h 1165711"/>
              <a:gd name="connsiteX23" fmla="*/ 303119 w 1564500"/>
              <a:gd name="connsiteY23" fmla="*/ 214541 h 1165711"/>
              <a:gd name="connsiteX24" fmla="*/ 135559 w 1564500"/>
              <a:gd name="connsiteY24" fmla="*/ 118488 h 1165711"/>
              <a:gd name="connsiteX25" fmla="*/ 135463 w 1564500"/>
              <a:gd name="connsiteY25" fmla="*/ 118377 h 1165711"/>
              <a:gd name="connsiteX26" fmla="*/ 129242 w 1564500"/>
              <a:gd name="connsiteY26" fmla="*/ 120124 h 1165711"/>
              <a:gd name="connsiteX27" fmla="*/ 116241 w 1564500"/>
              <a:gd name="connsiteY27" fmla="*/ 137210 h 1165711"/>
              <a:gd name="connsiteX28" fmla="*/ 116218 w 1564500"/>
              <a:gd name="connsiteY28" fmla="*/ 145659 h 1165711"/>
              <a:gd name="connsiteX29" fmla="*/ 117267 w 1564500"/>
              <a:gd name="connsiteY29" fmla="*/ 148715 h 1165711"/>
              <a:gd name="connsiteX30" fmla="*/ 117266 w 1564500"/>
              <a:gd name="connsiteY30" fmla="*/ 296515 h 1165711"/>
              <a:gd name="connsiteX31" fmla="*/ 59769 w 1564500"/>
              <a:gd name="connsiteY31" fmla="*/ 330325 h 1165711"/>
              <a:gd name="connsiteX32" fmla="*/ 6790 w 1564500"/>
              <a:gd name="connsiteY32"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355964 w 1564500"/>
              <a:gd name="connsiteY7" fmla="*/ 115685 h 1165711"/>
              <a:gd name="connsiteX8" fmla="*/ 1489480 w 1564500"/>
              <a:gd name="connsiteY8" fmla="*/ 765814 h 1165711"/>
              <a:gd name="connsiteX9" fmla="*/ 1543340 w 1564500"/>
              <a:gd name="connsiteY9" fmla="*/ 818674 h 1165711"/>
              <a:gd name="connsiteX10" fmla="*/ 1560768 w 1564500"/>
              <a:gd name="connsiteY10" fmla="*/ 875642 h 1165711"/>
              <a:gd name="connsiteX11" fmla="*/ 1562203 w 1564500"/>
              <a:gd name="connsiteY11" fmla="*/ 891740 h 1165711"/>
              <a:gd name="connsiteX12" fmla="*/ 1564500 w 1564500"/>
              <a:gd name="connsiteY12" fmla="*/ 916342 h 1165711"/>
              <a:gd name="connsiteX13" fmla="*/ 1564499 w 1564500"/>
              <a:gd name="connsiteY13" fmla="*/ 1131901 h 1165711"/>
              <a:gd name="connsiteX14" fmla="*/ 1507002 w 1564500"/>
              <a:gd name="connsiteY14" fmla="*/ 1165711 h 1165711"/>
              <a:gd name="connsiteX15" fmla="*/ 1454023 w 1564500"/>
              <a:gd name="connsiteY15" fmla="*/ 1145061 h 1165711"/>
              <a:gd name="connsiteX16" fmla="*/ 1449505 w 1564500"/>
              <a:gd name="connsiteY16" fmla="*/ 1131901 h 1165711"/>
              <a:gd name="connsiteX17" fmla="*/ 1446753 w 1564500"/>
              <a:gd name="connsiteY17" fmla="*/ 894578 h 1165711"/>
              <a:gd name="connsiteX18" fmla="*/ 1447195 w 1564500"/>
              <a:gd name="connsiteY18" fmla="*/ 896438 h 1165711"/>
              <a:gd name="connsiteX19" fmla="*/ 1447218 w 1564500"/>
              <a:gd name="connsiteY19" fmla="*/ 892825 h 1165711"/>
              <a:gd name="connsiteX20" fmla="*/ 1431063 w 1564500"/>
              <a:gd name="connsiteY20" fmla="*/ 864843 h 1165711"/>
              <a:gd name="connsiteX21" fmla="*/ 304839 w 1564500"/>
              <a:gd name="connsiteY21" fmla="*/ 216517 h 1165711"/>
              <a:gd name="connsiteX22" fmla="*/ 303119 w 1564500"/>
              <a:gd name="connsiteY22" fmla="*/ 214541 h 1165711"/>
              <a:gd name="connsiteX23" fmla="*/ 135559 w 1564500"/>
              <a:gd name="connsiteY23" fmla="*/ 118488 h 1165711"/>
              <a:gd name="connsiteX24" fmla="*/ 135463 w 1564500"/>
              <a:gd name="connsiteY24" fmla="*/ 118377 h 1165711"/>
              <a:gd name="connsiteX25" fmla="*/ 129242 w 1564500"/>
              <a:gd name="connsiteY25" fmla="*/ 120124 h 1165711"/>
              <a:gd name="connsiteX26" fmla="*/ 116241 w 1564500"/>
              <a:gd name="connsiteY26" fmla="*/ 137210 h 1165711"/>
              <a:gd name="connsiteX27" fmla="*/ 116218 w 1564500"/>
              <a:gd name="connsiteY27" fmla="*/ 145659 h 1165711"/>
              <a:gd name="connsiteX28" fmla="*/ 117267 w 1564500"/>
              <a:gd name="connsiteY28" fmla="*/ 148715 h 1165711"/>
              <a:gd name="connsiteX29" fmla="*/ 117266 w 1564500"/>
              <a:gd name="connsiteY29" fmla="*/ 296515 h 1165711"/>
              <a:gd name="connsiteX30" fmla="*/ 59769 w 1564500"/>
              <a:gd name="connsiteY30" fmla="*/ 330325 h 1165711"/>
              <a:gd name="connsiteX31" fmla="*/ 6790 w 1564500"/>
              <a:gd name="connsiteY31"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1489480 w 1564500"/>
              <a:gd name="connsiteY7" fmla="*/ 765814 h 1165711"/>
              <a:gd name="connsiteX8" fmla="*/ 1543340 w 1564500"/>
              <a:gd name="connsiteY8" fmla="*/ 818674 h 1165711"/>
              <a:gd name="connsiteX9" fmla="*/ 1560768 w 1564500"/>
              <a:gd name="connsiteY9" fmla="*/ 875642 h 1165711"/>
              <a:gd name="connsiteX10" fmla="*/ 1562203 w 1564500"/>
              <a:gd name="connsiteY10" fmla="*/ 891740 h 1165711"/>
              <a:gd name="connsiteX11" fmla="*/ 1564500 w 1564500"/>
              <a:gd name="connsiteY11" fmla="*/ 916342 h 1165711"/>
              <a:gd name="connsiteX12" fmla="*/ 1564499 w 1564500"/>
              <a:gd name="connsiteY12" fmla="*/ 1131901 h 1165711"/>
              <a:gd name="connsiteX13" fmla="*/ 1507002 w 1564500"/>
              <a:gd name="connsiteY13" fmla="*/ 1165711 h 1165711"/>
              <a:gd name="connsiteX14" fmla="*/ 1454023 w 1564500"/>
              <a:gd name="connsiteY14" fmla="*/ 1145061 h 1165711"/>
              <a:gd name="connsiteX15" fmla="*/ 1449505 w 1564500"/>
              <a:gd name="connsiteY15" fmla="*/ 1131901 h 1165711"/>
              <a:gd name="connsiteX16" fmla="*/ 1446753 w 1564500"/>
              <a:gd name="connsiteY16" fmla="*/ 894578 h 1165711"/>
              <a:gd name="connsiteX17" fmla="*/ 1447195 w 1564500"/>
              <a:gd name="connsiteY17" fmla="*/ 896438 h 1165711"/>
              <a:gd name="connsiteX18" fmla="*/ 1447218 w 1564500"/>
              <a:gd name="connsiteY18" fmla="*/ 892825 h 1165711"/>
              <a:gd name="connsiteX19" fmla="*/ 1431063 w 1564500"/>
              <a:gd name="connsiteY19" fmla="*/ 864843 h 1165711"/>
              <a:gd name="connsiteX20" fmla="*/ 304839 w 1564500"/>
              <a:gd name="connsiteY20" fmla="*/ 216517 h 1165711"/>
              <a:gd name="connsiteX21" fmla="*/ 303119 w 1564500"/>
              <a:gd name="connsiteY21" fmla="*/ 214541 h 1165711"/>
              <a:gd name="connsiteX22" fmla="*/ 135559 w 1564500"/>
              <a:gd name="connsiteY22" fmla="*/ 118488 h 1165711"/>
              <a:gd name="connsiteX23" fmla="*/ 135463 w 1564500"/>
              <a:gd name="connsiteY23" fmla="*/ 118377 h 1165711"/>
              <a:gd name="connsiteX24" fmla="*/ 129242 w 1564500"/>
              <a:gd name="connsiteY24" fmla="*/ 120124 h 1165711"/>
              <a:gd name="connsiteX25" fmla="*/ 116241 w 1564500"/>
              <a:gd name="connsiteY25" fmla="*/ 137210 h 1165711"/>
              <a:gd name="connsiteX26" fmla="*/ 116218 w 1564500"/>
              <a:gd name="connsiteY26" fmla="*/ 145659 h 1165711"/>
              <a:gd name="connsiteX27" fmla="*/ 117267 w 1564500"/>
              <a:gd name="connsiteY27" fmla="*/ 148715 h 1165711"/>
              <a:gd name="connsiteX28" fmla="*/ 117266 w 1564500"/>
              <a:gd name="connsiteY28" fmla="*/ 296515 h 1165711"/>
              <a:gd name="connsiteX29" fmla="*/ 59769 w 1564500"/>
              <a:gd name="connsiteY29" fmla="*/ 330325 h 1165711"/>
              <a:gd name="connsiteX30" fmla="*/ 6790 w 1564500"/>
              <a:gd name="connsiteY30"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1489480 w 1564500"/>
              <a:gd name="connsiteY7" fmla="*/ 765814 h 1165711"/>
              <a:gd name="connsiteX8" fmla="*/ 1543340 w 1564500"/>
              <a:gd name="connsiteY8" fmla="*/ 818674 h 1165711"/>
              <a:gd name="connsiteX9" fmla="*/ 1560768 w 1564500"/>
              <a:gd name="connsiteY9" fmla="*/ 875642 h 1165711"/>
              <a:gd name="connsiteX10" fmla="*/ 1562203 w 1564500"/>
              <a:gd name="connsiteY10" fmla="*/ 891740 h 1165711"/>
              <a:gd name="connsiteX11" fmla="*/ 1564500 w 1564500"/>
              <a:gd name="connsiteY11" fmla="*/ 916342 h 1165711"/>
              <a:gd name="connsiteX12" fmla="*/ 1564499 w 1564500"/>
              <a:gd name="connsiteY12" fmla="*/ 1131901 h 1165711"/>
              <a:gd name="connsiteX13" fmla="*/ 1507002 w 1564500"/>
              <a:gd name="connsiteY13" fmla="*/ 1165711 h 1165711"/>
              <a:gd name="connsiteX14" fmla="*/ 1454023 w 1564500"/>
              <a:gd name="connsiteY14" fmla="*/ 1145061 h 1165711"/>
              <a:gd name="connsiteX15" fmla="*/ 1449505 w 1564500"/>
              <a:gd name="connsiteY15" fmla="*/ 1131901 h 1165711"/>
              <a:gd name="connsiteX16" fmla="*/ 1446753 w 1564500"/>
              <a:gd name="connsiteY16" fmla="*/ 894578 h 1165711"/>
              <a:gd name="connsiteX17" fmla="*/ 1447195 w 1564500"/>
              <a:gd name="connsiteY17" fmla="*/ 896438 h 1165711"/>
              <a:gd name="connsiteX18" fmla="*/ 1447218 w 1564500"/>
              <a:gd name="connsiteY18" fmla="*/ 892825 h 1165711"/>
              <a:gd name="connsiteX19" fmla="*/ 1431063 w 1564500"/>
              <a:gd name="connsiteY19" fmla="*/ 864843 h 1165711"/>
              <a:gd name="connsiteX20" fmla="*/ 304839 w 1564500"/>
              <a:gd name="connsiteY20" fmla="*/ 216517 h 1165711"/>
              <a:gd name="connsiteX21" fmla="*/ 135559 w 1564500"/>
              <a:gd name="connsiteY21" fmla="*/ 118488 h 1165711"/>
              <a:gd name="connsiteX22" fmla="*/ 135463 w 1564500"/>
              <a:gd name="connsiteY22" fmla="*/ 118377 h 1165711"/>
              <a:gd name="connsiteX23" fmla="*/ 129242 w 1564500"/>
              <a:gd name="connsiteY23" fmla="*/ 120124 h 1165711"/>
              <a:gd name="connsiteX24" fmla="*/ 116241 w 1564500"/>
              <a:gd name="connsiteY24" fmla="*/ 137210 h 1165711"/>
              <a:gd name="connsiteX25" fmla="*/ 116218 w 1564500"/>
              <a:gd name="connsiteY25" fmla="*/ 145659 h 1165711"/>
              <a:gd name="connsiteX26" fmla="*/ 117267 w 1564500"/>
              <a:gd name="connsiteY26" fmla="*/ 148715 h 1165711"/>
              <a:gd name="connsiteX27" fmla="*/ 117266 w 1564500"/>
              <a:gd name="connsiteY27" fmla="*/ 296515 h 1165711"/>
              <a:gd name="connsiteX28" fmla="*/ 59769 w 1564500"/>
              <a:gd name="connsiteY28" fmla="*/ 330325 h 1165711"/>
              <a:gd name="connsiteX29" fmla="*/ 6790 w 1564500"/>
              <a:gd name="connsiteY29" fmla="*/ 309675 h 1165711"/>
              <a:gd name="connsiteX0" fmla="*/ 6790 w 1564500"/>
              <a:gd name="connsiteY0" fmla="*/ 309675 h 1165711"/>
              <a:gd name="connsiteX1" fmla="*/ 2272 w 1564500"/>
              <a:gd name="connsiteY1" fmla="*/ 296515 h 1165711"/>
              <a:gd name="connsiteX2" fmla="*/ 1271 w 1564500"/>
              <a:gd name="connsiteY2" fmla="*/ 136133 h 1165711"/>
              <a:gd name="connsiteX3" fmla="*/ 20119 w 1564500"/>
              <a:gd name="connsiteY3" fmla="*/ 63059 h 1165711"/>
              <a:gd name="connsiteX4" fmla="*/ 60741 w 1564500"/>
              <a:gd name="connsiteY4" fmla="*/ 19482 h 1165711"/>
              <a:gd name="connsiteX5" fmla="*/ 120174 w 1564500"/>
              <a:gd name="connsiteY5" fmla="*/ 151 h 1165711"/>
              <a:gd name="connsiteX6" fmla="*/ 165652 w 1564500"/>
              <a:gd name="connsiteY6" fmla="*/ 7853 h 1165711"/>
              <a:gd name="connsiteX7" fmla="*/ 1489480 w 1564500"/>
              <a:gd name="connsiteY7" fmla="*/ 765814 h 1165711"/>
              <a:gd name="connsiteX8" fmla="*/ 1543340 w 1564500"/>
              <a:gd name="connsiteY8" fmla="*/ 818674 h 1165711"/>
              <a:gd name="connsiteX9" fmla="*/ 1560768 w 1564500"/>
              <a:gd name="connsiteY9" fmla="*/ 875642 h 1165711"/>
              <a:gd name="connsiteX10" fmla="*/ 1562203 w 1564500"/>
              <a:gd name="connsiteY10" fmla="*/ 891740 h 1165711"/>
              <a:gd name="connsiteX11" fmla="*/ 1564500 w 1564500"/>
              <a:gd name="connsiteY11" fmla="*/ 916342 h 1165711"/>
              <a:gd name="connsiteX12" fmla="*/ 1564499 w 1564500"/>
              <a:gd name="connsiteY12" fmla="*/ 1131901 h 1165711"/>
              <a:gd name="connsiteX13" fmla="*/ 1507002 w 1564500"/>
              <a:gd name="connsiteY13" fmla="*/ 1165711 h 1165711"/>
              <a:gd name="connsiteX14" fmla="*/ 1454023 w 1564500"/>
              <a:gd name="connsiteY14" fmla="*/ 1145061 h 1165711"/>
              <a:gd name="connsiteX15" fmla="*/ 1449505 w 1564500"/>
              <a:gd name="connsiteY15" fmla="*/ 1131901 h 1165711"/>
              <a:gd name="connsiteX16" fmla="*/ 1446753 w 1564500"/>
              <a:gd name="connsiteY16" fmla="*/ 894578 h 1165711"/>
              <a:gd name="connsiteX17" fmla="*/ 1447195 w 1564500"/>
              <a:gd name="connsiteY17" fmla="*/ 896438 h 1165711"/>
              <a:gd name="connsiteX18" fmla="*/ 1447218 w 1564500"/>
              <a:gd name="connsiteY18" fmla="*/ 892825 h 1165711"/>
              <a:gd name="connsiteX19" fmla="*/ 1431063 w 1564500"/>
              <a:gd name="connsiteY19" fmla="*/ 864843 h 1165711"/>
              <a:gd name="connsiteX20" fmla="*/ 135559 w 1564500"/>
              <a:gd name="connsiteY20" fmla="*/ 118488 h 1165711"/>
              <a:gd name="connsiteX21" fmla="*/ 135463 w 1564500"/>
              <a:gd name="connsiteY21" fmla="*/ 118377 h 1165711"/>
              <a:gd name="connsiteX22" fmla="*/ 129242 w 1564500"/>
              <a:gd name="connsiteY22" fmla="*/ 120124 h 1165711"/>
              <a:gd name="connsiteX23" fmla="*/ 116241 w 1564500"/>
              <a:gd name="connsiteY23" fmla="*/ 137210 h 1165711"/>
              <a:gd name="connsiteX24" fmla="*/ 116218 w 1564500"/>
              <a:gd name="connsiteY24" fmla="*/ 145659 h 1165711"/>
              <a:gd name="connsiteX25" fmla="*/ 117267 w 1564500"/>
              <a:gd name="connsiteY25" fmla="*/ 148715 h 1165711"/>
              <a:gd name="connsiteX26" fmla="*/ 117266 w 1564500"/>
              <a:gd name="connsiteY26" fmla="*/ 296515 h 1165711"/>
              <a:gd name="connsiteX27" fmla="*/ 59769 w 1564500"/>
              <a:gd name="connsiteY27" fmla="*/ 330325 h 1165711"/>
              <a:gd name="connsiteX28" fmla="*/ 6790 w 1564500"/>
              <a:gd name="connsiteY28" fmla="*/ 309675 h 1165711"/>
              <a:gd name="connsiteX0" fmla="*/ 6790 w 1564499"/>
              <a:gd name="connsiteY0" fmla="*/ 309675 h 1165711"/>
              <a:gd name="connsiteX1" fmla="*/ 2272 w 1564499"/>
              <a:gd name="connsiteY1" fmla="*/ 296515 h 1165711"/>
              <a:gd name="connsiteX2" fmla="*/ 1271 w 1564499"/>
              <a:gd name="connsiteY2" fmla="*/ 136133 h 1165711"/>
              <a:gd name="connsiteX3" fmla="*/ 20119 w 1564499"/>
              <a:gd name="connsiteY3" fmla="*/ 63059 h 1165711"/>
              <a:gd name="connsiteX4" fmla="*/ 60741 w 1564499"/>
              <a:gd name="connsiteY4" fmla="*/ 19482 h 1165711"/>
              <a:gd name="connsiteX5" fmla="*/ 120174 w 1564499"/>
              <a:gd name="connsiteY5" fmla="*/ 151 h 1165711"/>
              <a:gd name="connsiteX6" fmla="*/ 165652 w 1564499"/>
              <a:gd name="connsiteY6" fmla="*/ 7853 h 1165711"/>
              <a:gd name="connsiteX7" fmla="*/ 1489480 w 1564499"/>
              <a:gd name="connsiteY7" fmla="*/ 765814 h 1165711"/>
              <a:gd name="connsiteX8" fmla="*/ 1543340 w 1564499"/>
              <a:gd name="connsiteY8" fmla="*/ 818674 h 1165711"/>
              <a:gd name="connsiteX9" fmla="*/ 1560768 w 1564499"/>
              <a:gd name="connsiteY9" fmla="*/ 875642 h 1165711"/>
              <a:gd name="connsiteX10" fmla="*/ 1562203 w 1564499"/>
              <a:gd name="connsiteY10" fmla="*/ 891740 h 1165711"/>
              <a:gd name="connsiteX11" fmla="*/ 1564499 w 1564499"/>
              <a:gd name="connsiteY11" fmla="*/ 1131901 h 1165711"/>
              <a:gd name="connsiteX12" fmla="*/ 1507002 w 1564499"/>
              <a:gd name="connsiteY12" fmla="*/ 1165711 h 1165711"/>
              <a:gd name="connsiteX13" fmla="*/ 1454023 w 1564499"/>
              <a:gd name="connsiteY13" fmla="*/ 1145061 h 1165711"/>
              <a:gd name="connsiteX14" fmla="*/ 1449505 w 1564499"/>
              <a:gd name="connsiteY14" fmla="*/ 1131901 h 1165711"/>
              <a:gd name="connsiteX15" fmla="*/ 1446753 w 1564499"/>
              <a:gd name="connsiteY15" fmla="*/ 894578 h 1165711"/>
              <a:gd name="connsiteX16" fmla="*/ 1447195 w 1564499"/>
              <a:gd name="connsiteY16" fmla="*/ 896438 h 1165711"/>
              <a:gd name="connsiteX17" fmla="*/ 1447218 w 1564499"/>
              <a:gd name="connsiteY17" fmla="*/ 892825 h 1165711"/>
              <a:gd name="connsiteX18" fmla="*/ 1431063 w 1564499"/>
              <a:gd name="connsiteY18" fmla="*/ 864843 h 1165711"/>
              <a:gd name="connsiteX19" fmla="*/ 135559 w 1564499"/>
              <a:gd name="connsiteY19" fmla="*/ 118488 h 1165711"/>
              <a:gd name="connsiteX20" fmla="*/ 135463 w 1564499"/>
              <a:gd name="connsiteY20" fmla="*/ 118377 h 1165711"/>
              <a:gd name="connsiteX21" fmla="*/ 129242 w 1564499"/>
              <a:gd name="connsiteY21" fmla="*/ 120124 h 1165711"/>
              <a:gd name="connsiteX22" fmla="*/ 116241 w 1564499"/>
              <a:gd name="connsiteY22" fmla="*/ 137210 h 1165711"/>
              <a:gd name="connsiteX23" fmla="*/ 116218 w 1564499"/>
              <a:gd name="connsiteY23" fmla="*/ 145659 h 1165711"/>
              <a:gd name="connsiteX24" fmla="*/ 117267 w 1564499"/>
              <a:gd name="connsiteY24" fmla="*/ 148715 h 1165711"/>
              <a:gd name="connsiteX25" fmla="*/ 117266 w 1564499"/>
              <a:gd name="connsiteY25" fmla="*/ 296515 h 1165711"/>
              <a:gd name="connsiteX26" fmla="*/ 59769 w 1564499"/>
              <a:gd name="connsiteY26" fmla="*/ 330325 h 1165711"/>
              <a:gd name="connsiteX27" fmla="*/ 6790 w 1564499"/>
              <a:gd name="connsiteY27" fmla="*/ 309675 h 1165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64499" h="1165711">
                <a:moveTo>
                  <a:pt x="6790" y="309675"/>
                </a:moveTo>
                <a:cubicBezTo>
                  <a:pt x="3881" y="305631"/>
                  <a:pt x="2272" y="301183"/>
                  <a:pt x="2272" y="296515"/>
                </a:cubicBezTo>
                <a:cubicBezTo>
                  <a:pt x="1352" y="267591"/>
                  <a:pt x="-1704" y="175042"/>
                  <a:pt x="1271" y="136133"/>
                </a:cubicBezTo>
                <a:cubicBezTo>
                  <a:pt x="4880" y="112164"/>
                  <a:pt x="-2442" y="101103"/>
                  <a:pt x="20119" y="63059"/>
                </a:cubicBezTo>
                <a:cubicBezTo>
                  <a:pt x="37041" y="34526"/>
                  <a:pt x="48216" y="27558"/>
                  <a:pt x="60741" y="19482"/>
                </a:cubicBezTo>
                <a:cubicBezTo>
                  <a:pt x="83728" y="9650"/>
                  <a:pt x="97227" y="-629"/>
                  <a:pt x="120174" y="151"/>
                </a:cubicBezTo>
                <a:cubicBezTo>
                  <a:pt x="137384" y="735"/>
                  <a:pt x="141098" y="-2938"/>
                  <a:pt x="165652" y="7853"/>
                </a:cubicBezTo>
                <a:lnTo>
                  <a:pt x="1489480" y="765814"/>
                </a:lnTo>
                <a:cubicBezTo>
                  <a:pt x="1508432" y="780923"/>
                  <a:pt x="1521673" y="780113"/>
                  <a:pt x="1543340" y="818674"/>
                </a:cubicBezTo>
                <a:cubicBezTo>
                  <a:pt x="1559589" y="847595"/>
                  <a:pt x="1560037" y="860757"/>
                  <a:pt x="1560768" y="875642"/>
                </a:cubicBezTo>
                <a:cubicBezTo>
                  <a:pt x="1563912" y="887820"/>
                  <a:pt x="1561581" y="884957"/>
                  <a:pt x="1562203" y="891740"/>
                </a:cubicBezTo>
                <a:cubicBezTo>
                  <a:pt x="1562968" y="971794"/>
                  <a:pt x="1563734" y="1051847"/>
                  <a:pt x="1564499" y="1131901"/>
                </a:cubicBezTo>
                <a:cubicBezTo>
                  <a:pt x="1564499" y="1150574"/>
                  <a:pt x="1538757" y="1165711"/>
                  <a:pt x="1507002" y="1165711"/>
                </a:cubicBezTo>
                <a:cubicBezTo>
                  <a:pt x="1483186" y="1165711"/>
                  <a:pt x="1462752" y="1157196"/>
                  <a:pt x="1454023" y="1145061"/>
                </a:cubicBezTo>
                <a:cubicBezTo>
                  <a:pt x="1451114" y="1141016"/>
                  <a:pt x="1449505" y="1136569"/>
                  <a:pt x="1449505" y="1131901"/>
                </a:cubicBezTo>
                <a:cubicBezTo>
                  <a:pt x="1448588" y="1052793"/>
                  <a:pt x="1447670" y="973686"/>
                  <a:pt x="1446753" y="894578"/>
                </a:cubicBezTo>
                <a:lnTo>
                  <a:pt x="1447195" y="896438"/>
                </a:lnTo>
                <a:cubicBezTo>
                  <a:pt x="1447203" y="895234"/>
                  <a:pt x="1447210" y="894029"/>
                  <a:pt x="1447218" y="892825"/>
                </a:cubicBezTo>
                <a:cubicBezTo>
                  <a:pt x="1444606" y="876282"/>
                  <a:pt x="1444084" y="875376"/>
                  <a:pt x="1431063" y="864843"/>
                </a:cubicBezTo>
                <a:lnTo>
                  <a:pt x="135559" y="118488"/>
                </a:lnTo>
                <a:lnTo>
                  <a:pt x="135463" y="118377"/>
                </a:lnTo>
                <a:lnTo>
                  <a:pt x="129242" y="120124"/>
                </a:lnTo>
                <a:cubicBezTo>
                  <a:pt x="122527" y="122008"/>
                  <a:pt x="117002" y="125799"/>
                  <a:pt x="116241" y="137210"/>
                </a:cubicBezTo>
                <a:cubicBezTo>
                  <a:pt x="116233" y="140026"/>
                  <a:pt x="116226" y="142843"/>
                  <a:pt x="116218" y="145659"/>
                </a:cubicBezTo>
                <a:lnTo>
                  <a:pt x="117267" y="148715"/>
                </a:lnTo>
                <a:cubicBezTo>
                  <a:pt x="117267" y="197982"/>
                  <a:pt x="117266" y="247248"/>
                  <a:pt x="117266" y="296515"/>
                </a:cubicBezTo>
                <a:cubicBezTo>
                  <a:pt x="117266" y="315188"/>
                  <a:pt x="91524" y="330325"/>
                  <a:pt x="59769" y="330325"/>
                </a:cubicBezTo>
                <a:cubicBezTo>
                  <a:pt x="35953" y="330325"/>
                  <a:pt x="15519" y="321810"/>
                  <a:pt x="6790" y="309675"/>
                </a:cubicBezTo>
                <a:close/>
              </a:path>
            </a:pathLst>
          </a:custGeom>
          <a:gradFill flip="none" rotWithShape="1">
            <a:gsLst>
              <a:gs pos="44000">
                <a:schemeClr val="accent2">
                  <a:lumMod val="0"/>
                  <a:lumOff val="100000"/>
                </a:schemeClr>
              </a:gs>
              <a:gs pos="41000">
                <a:schemeClr val="accent4"/>
              </a:gs>
            </a:gsLst>
            <a:lin ang="72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 name="Title 2">
            <a:extLst>
              <a:ext uri="{FF2B5EF4-FFF2-40B4-BE49-F238E27FC236}">
                <a16:creationId xmlns:a16="http://schemas.microsoft.com/office/drawing/2014/main" id="{F65A7F2E-1AC1-410B-9C62-D682526EBA26}"/>
              </a:ext>
            </a:extLst>
          </p:cNvPr>
          <p:cNvSpPr>
            <a:spLocks noGrp="1"/>
          </p:cNvSpPr>
          <p:nvPr>
            <p:ph type="title"/>
          </p:nvPr>
        </p:nvSpPr>
        <p:spPr bwMode="gray">
          <a:xfrm>
            <a:off x="333264" y="682313"/>
            <a:ext cx="11520000" cy="396000"/>
          </a:xfrm>
        </p:spPr>
        <p:txBody>
          <a:bodyPr/>
          <a:lstStyle/>
          <a:p>
            <a:r>
              <a:rPr lang="de-DE" dirty="0"/>
              <a:t>Air </a:t>
            </a:r>
            <a:r>
              <a:rPr lang="de-DE" dirty="0" err="1"/>
              <a:t>separation</a:t>
            </a:r>
            <a:endParaRPr lang="de-DE" dirty="0"/>
          </a:p>
        </p:txBody>
      </p:sp>
      <p:sp>
        <p:nvSpPr>
          <p:cNvPr id="7" name="Subtitle 6">
            <a:extLst>
              <a:ext uri="{FF2B5EF4-FFF2-40B4-BE49-F238E27FC236}">
                <a16:creationId xmlns:a16="http://schemas.microsoft.com/office/drawing/2014/main" id="{E8581665-9AEE-4C39-8A02-93CF730711B5}"/>
              </a:ext>
            </a:extLst>
          </p:cNvPr>
          <p:cNvSpPr>
            <a:spLocks noGrp="1"/>
          </p:cNvSpPr>
          <p:nvPr>
            <p:ph type="subTitle" idx="13"/>
          </p:nvPr>
        </p:nvSpPr>
        <p:spPr bwMode="gray"/>
        <p:txBody>
          <a:bodyPr/>
          <a:lstStyle/>
          <a:p>
            <a:r>
              <a:rPr lang="de-DE" dirty="0" err="1"/>
              <a:t>Process</a:t>
            </a:r>
            <a:r>
              <a:rPr lang="de-DE" dirty="0"/>
              <a:t> </a:t>
            </a:r>
            <a:r>
              <a:rPr lang="de-DE" dirty="0" err="1"/>
              <a:t>overview</a:t>
            </a:r>
            <a:endParaRPr lang="de-DE" dirty="0"/>
          </a:p>
        </p:txBody>
      </p:sp>
      <p:sp>
        <p:nvSpPr>
          <p:cNvPr id="2" name="Date Placeholder 1">
            <a:extLst>
              <a:ext uri="{FF2B5EF4-FFF2-40B4-BE49-F238E27FC236}">
                <a16:creationId xmlns:a16="http://schemas.microsoft.com/office/drawing/2014/main" id="{F7BDA541-0DB6-4215-8195-F2DC70799DF5}"/>
              </a:ext>
            </a:extLst>
          </p:cNvPr>
          <p:cNvSpPr>
            <a:spLocks noGrp="1"/>
          </p:cNvSpPr>
          <p:nvPr>
            <p:ph type="dt" sz="half" idx="14"/>
          </p:nvPr>
        </p:nvSpPr>
        <p:spPr bwMode="gray"/>
        <p:txBody>
          <a:bodyPr/>
          <a:lstStyle/>
          <a:p>
            <a:fld id="{F35369BC-71D3-44DA-ADAB-7CE21F1C8A88}" type="datetime4">
              <a:rPr lang="en-US" smtClean="0"/>
              <a:t>September 8, 2019</a:t>
            </a:fld>
            <a:endParaRPr lang="en-US" dirty="0"/>
          </a:p>
        </p:txBody>
      </p:sp>
      <p:sp>
        <p:nvSpPr>
          <p:cNvPr id="13" name="Footer Placeholder 12">
            <a:extLst>
              <a:ext uri="{FF2B5EF4-FFF2-40B4-BE49-F238E27FC236}">
                <a16:creationId xmlns:a16="http://schemas.microsoft.com/office/drawing/2014/main" id="{48E8E7D1-4A0A-404C-8057-5B0FB3A390FF}"/>
              </a:ext>
            </a:extLst>
          </p:cNvPr>
          <p:cNvSpPr>
            <a:spLocks noGrp="1"/>
          </p:cNvSpPr>
          <p:nvPr>
            <p:ph type="ftr" sz="quarter" idx="15"/>
          </p:nvPr>
        </p:nvSpPr>
        <p:spPr bwMode="gray"/>
        <p:txBody>
          <a:bodyPr/>
          <a:lstStyle/>
          <a:p>
            <a:pPr lvl="8"/>
            <a:endParaRPr lang="en-US" dirty="0"/>
          </a:p>
        </p:txBody>
      </p:sp>
      <p:sp>
        <p:nvSpPr>
          <p:cNvPr id="14" name="Slide Number Placeholder 13">
            <a:extLst>
              <a:ext uri="{FF2B5EF4-FFF2-40B4-BE49-F238E27FC236}">
                <a16:creationId xmlns:a16="http://schemas.microsoft.com/office/drawing/2014/main" id="{7786A89A-01D3-422E-ABFE-A191B97AA21C}"/>
              </a:ext>
            </a:extLst>
          </p:cNvPr>
          <p:cNvSpPr>
            <a:spLocks noGrp="1"/>
          </p:cNvSpPr>
          <p:nvPr>
            <p:ph type="sldNum" sz="quarter" idx="16"/>
          </p:nvPr>
        </p:nvSpPr>
        <p:spPr bwMode="gray"/>
        <p:txBody>
          <a:bodyPr/>
          <a:lstStyle/>
          <a:p>
            <a:r>
              <a:rPr lang="en-US"/>
              <a:t>Slide </a:t>
            </a:r>
            <a:fld id="{619F89D8-7AE3-494A-97F3-03D680869632}" type="slidenum">
              <a:rPr lang="en-US" smtClean="0"/>
              <a:pPr/>
              <a:t>29</a:t>
            </a:fld>
            <a:endParaRPr lang="en-US" dirty="0"/>
          </a:p>
        </p:txBody>
      </p:sp>
      <p:grpSp>
        <p:nvGrpSpPr>
          <p:cNvPr id="611" name="Group 610">
            <a:extLst>
              <a:ext uri="{FF2B5EF4-FFF2-40B4-BE49-F238E27FC236}">
                <a16:creationId xmlns:a16="http://schemas.microsoft.com/office/drawing/2014/main" id="{05DB9930-3D8B-4676-A2B4-D7EC5BEC1917}"/>
              </a:ext>
            </a:extLst>
          </p:cNvPr>
          <p:cNvGrpSpPr/>
          <p:nvPr/>
        </p:nvGrpSpPr>
        <p:grpSpPr bwMode="gray">
          <a:xfrm>
            <a:off x="9524465" y="2916477"/>
            <a:ext cx="2342282" cy="1862681"/>
            <a:chOff x="7601011" y="3249006"/>
            <a:chExt cx="2342282" cy="1862681"/>
          </a:xfrm>
        </p:grpSpPr>
        <p:sp>
          <p:nvSpPr>
            <p:cNvPr id="610" name="Freeform: Shape 609">
              <a:extLst>
                <a:ext uri="{FF2B5EF4-FFF2-40B4-BE49-F238E27FC236}">
                  <a16:creationId xmlns:a16="http://schemas.microsoft.com/office/drawing/2014/main" id="{A72F5D50-CBF3-4BBB-92AA-8B4FA6EA0C34}"/>
                </a:ext>
              </a:extLst>
            </p:cNvPr>
            <p:cNvSpPr/>
            <p:nvPr/>
          </p:nvSpPr>
          <p:spPr bwMode="gray">
            <a:xfrm rot="18000000">
              <a:off x="7475765" y="3437044"/>
              <a:ext cx="634159" cy="258083"/>
            </a:xfrm>
            <a:custGeom>
              <a:avLst/>
              <a:gdLst>
                <a:gd name="connsiteX0" fmla="*/ 1 w 666684"/>
                <a:gd name="connsiteY0" fmla="*/ 251989 h 271320"/>
                <a:gd name="connsiteX1" fmla="*/ 1 w 666684"/>
                <a:gd name="connsiteY1" fmla="*/ 251980 h 271320"/>
                <a:gd name="connsiteX2" fmla="*/ 0 w 666684"/>
                <a:gd name="connsiteY2" fmla="*/ 251984 h 271320"/>
                <a:gd name="connsiteX3" fmla="*/ 661514 w 666684"/>
                <a:gd name="connsiteY3" fmla="*/ 213219 h 271320"/>
                <a:gd name="connsiteX4" fmla="*/ 659911 w 666684"/>
                <a:gd name="connsiteY4" fmla="*/ 201201 h 271320"/>
                <a:gd name="connsiteX5" fmla="*/ 333342 w 666684"/>
                <a:gd name="connsiteY5" fmla="*/ 0 h 271320"/>
                <a:gd name="connsiteX6" fmla="*/ 6773 w 666684"/>
                <a:gd name="connsiteY6" fmla="*/ 201201 h 271320"/>
                <a:gd name="connsiteX7" fmla="*/ 5166 w 666684"/>
                <a:gd name="connsiteY7" fmla="*/ 213245 h 271320"/>
                <a:gd name="connsiteX8" fmla="*/ 6773 w 666684"/>
                <a:gd name="connsiteY8" fmla="*/ 203953 h 271320"/>
                <a:gd name="connsiteX9" fmla="*/ 333343 w 666684"/>
                <a:gd name="connsiteY9" fmla="*/ 48773 h 271320"/>
                <a:gd name="connsiteX10" fmla="*/ 659911 w 666684"/>
                <a:gd name="connsiteY10" fmla="*/ 203953 h 271320"/>
                <a:gd name="connsiteX11" fmla="*/ 666684 w 666684"/>
                <a:gd name="connsiteY11" fmla="*/ 271316 h 271320"/>
                <a:gd name="connsiteX12" fmla="*/ 666684 w 666684"/>
                <a:gd name="connsiteY12" fmla="*/ 271313 h 271320"/>
                <a:gd name="connsiteX13" fmla="*/ 666684 w 666684"/>
                <a:gd name="connsiteY13" fmla="*/ 271320 h 271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684" h="271320">
                  <a:moveTo>
                    <a:pt x="1" y="251989"/>
                  </a:moveTo>
                  <a:lnTo>
                    <a:pt x="1" y="251980"/>
                  </a:lnTo>
                  <a:lnTo>
                    <a:pt x="0" y="251984"/>
                  </a:lnTo>
                  <a:close/>
                  <a:moveTo>
                    <a:pt x="661514" y="213219"/>
                  </a:moveTo>
                  <a:lnTo>
                    <a:pt x="659911" y="201201"/>
                  </a:lnTo>
                  <a:cubicBezTo>
                    <a:pt x="628828" y="86376"/>
                    <a:pt x="494429" y="0"/>
                    <a:pt x="333342" y="0"/>
                  </a:cubicBezTo>
                  <a:cubicBezTo>
                    <a:pt x="172255" y="0"/>
                    <a:pt x="37855" y="86376"/>
                    <a:pt x="6773" y="201201"/>
                  </a:cubicBezTo>
                  <a:lnTo>
                    <a:pt x="5166" y="213245"/>
                  </a:lnTo>
                  <a:lnTo>
                    <a:pt x="6773" y="203953"/>
                  </a:lnTo>
                  <a:cubicBezTo>
                    <a:pt x="37856" y="115391"/>
                    <a:pt x="172255" y="48773"/>
                    <a:pt x="333343" y="48773"/>
                  </a:cubicBezTo>
                  <a:cubicBezTo>
                    <a:pt x="494430" y="48773"/>
                    <a:pt x="628829" y="115391"/>
                    <a:pt x="659911" y="203953"/>
                  </a:cubicBezTo>
                  <a:close/>
                  <a:moveTo>
                    <a:pt x="666684" y="271316"/>
                  </a:moveTo>
                  <a:lnTo>
                    <a:pt x="666684" y="271313"/>
                  </a:lnTo>
                  <a:lnTo>
                    <a:pt x="666684" y="27132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41" name="Diamond 266">
              <a:extLst>
                <a:ext uri="{FF2B5EF4-FFF2-40B4-BE49-F238E27FC236}">
                  <a16:creationId xmlns:a16="http://schemas.microsoft.com/office/drawing/2014/main" id="{D73F6B32-AE7F-4273-B344-316227DE5A71}"/>
                </a:ext>
              </a:extLst>
            </p:cNvPr>
            <p:cNvSpPr/>
            <p:nvPr/>
          </p:nvSpPr>
          <p:spPr bwMode="gray">
            <a:xfrm flipH="1">
              <a:off x="8307377" y="3990977"/>
              <a:ext cx="420712" cy="312973"/>
            </a:xfrm>
            <a:custGeom>
              <a:avLst/>
              <a:gdLst/>
              <a:ahLst/>
              <a:cxnLst/>
              <a:rect l="l" t="t" r="r" b="b"/>
              <a:pathLst>
                <a:path w="608439" h="452624">
                  <a:moveTo>
                    <a:pt x="0" y="0"/>
                  </a:moveTo>
                  <a:lnTo>
                    <a:pt x="439173" y="253016"/>
                  </a:lnTo>
                  <a:lnTo>
                    <a:pt x="439173" y="253465"/>
                  </a:lnTo>
                  <a:lnTo>
                    <a:pt x="608439" y="350982"/>
                  </a:lnTo>
                  <a:lnTo>
                    <a:pt x="608439" y="452624"/>
                  </a:lnTo>
                  <a:lnTo>
                    <a:pt x="169266" y="199608"/>
                  </a:lnTo>
                  <a:lnTo>
                    <a:pt x="169266" y="199160"/>
                  </a:lnTo>
                  <a:lnTo>
                    <a:pt x="0" y="101642"/>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nvGrpSpPr>
            <p:cNvPr id="442" name="Group 441">
              <a:extLst>
                <a:ext uri="{FF2B5EF4-FFF2-40B4-BE49-F238E27FC236}">
                  <a16:creationId xmlns:a16="http://schemas.microsoft.com/office/drawing/2014/main" id="{3D4DAE26-6606-4F0F-A7CE-C49E7070E85F}"/>
                </a:ext>
              </a:extLst>
            </p:cNvPr>
            <p:cNvGrpSpPr/>
            <p:nvPr/>
          </p:nvGrpSpPr>
          <p:grpSpPr bwMode="gray">
            <a:xfrm flipH="1">
              <a:off x="7642153" y="3606871"/>
              <a:ext cx="473994" cy="344847"/>
              <a:chOff x="2600959" y="8072958"/>
              <a:chExt cx="1749096" cy="1272530"/>
            </a:xfrm>
            <a:solidFill>
              <a:schemeClr val="tx1">
                <a:lumMod val="50000"/>
                <a:lumOff val="50000"/>
              </a:schemeClr>
            </a:solidFill>
          </p:grpSpPr>
          <p:sp>
            <p:nvSpPr>
              <p:cNvPr id="521" name="Freeform: Shape 520">
                <a:extLst>
                  <a:ext uri="{FF2B5EF4-FFF2-40B4-BE49-F238E27FC236}">
                    <a16:creationId xmlns:a16="http://schemas.microsoft.com/office/drawing/2014/main" id="{935AA3C9-1588-4D16-B081-40EB3C0D3FBA}"/>
                  </a:ext>
                </a:extLst>
              </p:cNvPr>
              <p:cNvSpPr/>
              <p:nvPr/>
            </p:nvSpPr>
            <p:spPr bwMode="gray">
              <a:xfrm flipH="1">
                <a:off x="4154622" y="8973547"/>
                <a:ext cx="195433" cy="371941"/>
              </a:xfrm>
              <a:custGeom>
                <a:avLst/>
                <a:gdLst>
                  <a:gd name="connsiteX0" fmla="*/ 0 w 195433"/>
                  <a:gd name="connsiteY0" fmla="*/ 0 h 371941"/>
                  <a:gd name="connsiteX1" fmla="*/ 0 w 195433"/>
                  <a:gd name="connsiteY1" fmla="*/ 259349 h 371941"/>
                  <a:gd name="connsiteX2" fmla="*/ 195433 w 195433"/>
                  <a:gd name="connsiteY2" fmla="*/ 371941 h 371941"/>
                  <a:gd name="connsiteX3" fmla="*/ 195433 w 195433"/>
                  <a:gd name="connsiteY3" fmla="*/ 112592 h 371941"/>
                </a:gdLst>
                <a:ahLst/>
                <a:cxnLst>
                  <a:cxn ang="0">
                    <a:pos x="connsiteX0" y="connsiteY0"/>
                  </a:cxn>
                  <a:cxn ang="0">
                    <a:pos x="connsiteX1" y="connsiteY1"/>
                  </a:cxn>
                  <a:cxn ang="0">
                    <a:pos x="connsiteX2" y="connsiteY2"/>
                  </a:cxn>
                  <a:cxn ang="0">
                    <a:pos x="connsiteX3" y="connsiteY3"/>
                  </a:cxn>
                </a:cxnLst>
                <a:rect l="l" t="t" r="r" b="b"/>
                <a:pathLst>
                  <a:path w="195433" h="371941">
                    <a:moveTo>
                      <a:pt x="0" y="0"/>
                    </a:moveTo>
                    <a:lnTo>
                      <a:pt x="0" y="259349"/>
                    </a:lnTo>
                    <a:lnTo>
                      <a:pt x="195433" y="371941"/>
                    </a:lnTo>
                    <a:lnTo>
                      <a:pt x="195433" y="112592"/>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22" name="Freeform: Shape 521">
                <a:extLst>
                  <a:ext uri="{FF2B5EF4-FFF2-40B4-BE49-F238E27FC236}">
                    <a16:creationId xmlns:a16="http://schemas.microsoft.com/office/drawing/2014/main" id="{AE61C9BE-44D3-4BE8-9167-87B54771D28D}"/>
                  </a:ext>
                </a:extLst>
              </p:cNvPr>
              <p:cNvSpPr/>
              <p:nvPr/>
            </p:nvSpPr>
            <p:spPr bwMode="gray">
              <a:xfrm>
                <a:off x="2600959" y="8072958"/>
                <a:ext cx="1748084" cy="1010420"/>
              </a:xfrm>
              <a:custGeom>
                <a:avLst/>
                <a:gdLst>
                  <a:gd name="connsiteX0" fmla="*/ 195445 w 1748084"/>
                  <a:gd name="connsiteY0" fmla="*/ 0 h 1010420"/>
                  <a:gd name="connsiteX1" fmla="*/ 1748084 w 1748084"/>
                  <a:gd name="connsiteY1" fmla="*/ 899990 h 1010420"/>
                  <a:gd name="connsiteX2" fmla="*/ 1556403 w 1748084"/>
                  <a:gd name="connsiteY2" fmla="*/ 1010420 h 1010420"/>
                  <a:gd name="connsiteX3" fmla="*/ 431897 w 1748084"/>
                  <a:gd name="connsiteY3" fmla="*/ 362568 h 1010420"/>
                  <a:gd name="connsiteX4" fmla="*/ 432889 w 1748084"/>
                  <a:gd name="connsiteY4" fmla="*/ 361996 h 1010420"/>
                  <a:gd name="connsiteX5" fmla="*/ 0 w 1748084"/>
                  <a:gd name="connsiteY5" fmla="*/ 112599 h 1010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8084" h="1010420">
                    <a:moveTo>
                      <a:pt x="195445" y="0"/>
                    </a:moveTo>
                    <a:lnTo>
                      <a:pt x="1748084" y="899990"/>
                    </a:lnTo>
                    <a:lnTo>
                      <a:pt x="1556403" y="1010420"/>
                    </a:lnTo>
                    <a:lnTo>
                      <a:pt x="431897" y="362568"/>
                    </a:lnTo>
                    <a:lnTo>
                      <a:pt x="432889" y="361996"/>
                    </a:lnTo>
                    <a:lnTo>
                      <a:pt x="0" y="112599"/>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23" name="Diamond 266">
                <a:extLst>
                  <a:ext uri="{FF2B5EF4-FFF2-40B4-BE49-F238E27FC236}">
                    <a16:creationId xmlns:a16="http://schemas.microsoft.com/office/drawing/2014/main" id="{6A016A23-F2DE-4ABF-8AD4-53EEFC0E227E}"/>
                  </a:ext>
                </a:extLst>
              </p:cNvPr>
              <p:cNvSpPr/>
              <p:nvPr/>
            </p:nvSpPr>
            <p:spPr bwMode="gray">
              <a:xfrm>
                <a:off x="2601370" y="8189732"/>
                <a:ext cx="1552481" cy="1154909"/>
              </a:xfrm>
              <a:custGeom>
                <a:avLst/>
                <a:gdLst/>
                <a:ahLst/>
                <a:cxnLst/>
                <a:rect l="l" t="t" r="r" b="b"/>
                <a:pathLst>
                  <a:path w="608439" h="452624">
                    <a:moveTo>
                      <a:pt x="0" y="0"/>
                    </a:moveTo>
                    <a:lnTo>
                      <a:pt x="439173" y="253016"/>
                    </a:lnTo>
                    <a:lnTo>
                      <a:pt x="439173" y="253465"/>
                    </a:lnTo>
                    <a:lnTo>
                      <a:pt x="608439" y="350982"/>
                    </a:lnTo>
                    <a:lnTo>
                      <a:pt x="608439" y="452624"/>
                    </a:lnTo>
                    <a:lnTo>
                      <a:pt x="169266" y="199608"/>
                    </a:lnTo>
                    <a:lnTo>
                      <a:pt x="169266" y="199160"/>
                    </a:lnTo>
                    <a:lnTo>
                      <a:pt x="0" y="101642"/>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
          <p:nvSpPr>
            <p:cNvPr id="443" name="Freeform: Shape 442">
              <a:extLst>
                <a:ext uri="{FF2B5EF4-FFF2-40B4-BE49-F238E27FC236}">
                  <a16:creationId xmlns:a16="http://schemas.microsoft.com/office/drawing/2014/main" id="{636A5E67-E969-42D3-803F-BAE4753D2C96}"/>
                </a:ext>
              </a:extLst>
            </p:cNvPr>
            <p:cNvSpPr/>
            <p:nvPr/>
          </p:nvSpPr>
          <p:spPr bwMode="gray">
            <a:xfrm>
              <a:off x="7695924" y="3872190"/>
              <a:ext cx="612083" cy="431611"/>
            </a:xfrm>
            <a:custGeom>
              <a:avLst/>
              <a:gdLst>
                <a:gd name="connsiteX0" fmla="*/ 818263 w 1760909"/>
                <a:gd name="connsiteY0" fmla="*/ 84169 h 785410"/>
                <a:gd name="connsiteX1" fmla="*/ 818263 w 1760909"/>
                <a:gd name="connsiteY1" fmla="*/ 242335 h 785410"/>
                <a:gd name="connsiteX2" fmla="*/ 1760909 w 1760909"/>
                <a:gd name="connsiteY2" fmla="*/ 785410 h 785410"/>
                <a:gd name="connsiteX3" fmla="*/ 1760909 w 1760909"/>
                <a:gd name="connsiteY3" fmla="*/ 627244 h 785410"/>
                <a:gd name="connsiteX4" fmla="*/ 0 w 1760909"/>
                <a:gd name="connsiteY4" fmla="*/ 0 h 785410"/>
                <a:gd name="connsiteX5" fmla="*/ 0 w 1760909"/>
                <a:gd name="connsiteY5" fmla="*/ 83533 h 785410"/>
                <a:gd name="connsiteX6" fmla="*/ 647376 w 1760909"/>
                <a:gd name="connsiteY6" fmla="*/ 456497 h 785410"/>
                <a:gd name="connsiteX7" fmla="*/ 647376 w 1760909"/>
                <a:gd name="connsiteY7" fmla="*/ 372965 h 785410"/>
                <a:gd name="connsiteX0" fmla="*/ 818263 w 1760909"/>
                <a:gd name="connsiteY0" fmla="*/ 84169 h 627244"/>
                <a:gd name="connsiteX1" fmla="*/ 818263 w 1760909"/>
                <a:gd name="connsiteY1" fmla="*/ 242335 h 627244"/>
                <a:gd name="connsiteX2" fmla="*/ 1760909 w 1760909"/>
                <a:gd name="connsiteY2" fmla="*/ 627244 h 627244"/>
                <a:gd name="connsiteX3" fmla="*/ 818263 w 1760909"/>
                <a:gd name="connsiteY3" fmla="*/ 84169 h 627244"/>
                <a:gd name="connsiteX4" fmla="*/ 0 w 1760909"/>
                <a:gd name="connsiteY4" fmla="*/ 0 h 627244"/>
                <a:gd name="connsiteX5" fmla="*/ 0 w 1760909"/>
                <a:gd name="connsiteY5" fmla="*/ 83533 h 627244"/>
                <a:gd name="connsiteX6" fmla="*/ 647376 w 1760909"/>
                <a:gd name="connsiteY6" fmla="*/ 456497 h 627244"/>
                <a:gd name="connsiteX7" fmla="*/ 647376 w 1760909"/>
                <a:gd name="connsiteY7" fmla="*/ 372965 h 627244"/>
                <a:gd name="connsiteX8" fmla="*/ 0 w 1760909"/>
                <a:gd name="connsiteY8" fmla="*/ 0 h 627244"/>
                <a:gd name="connsiteX0" fmla="*/ 818263 w 818263"/>
                <a:gd name="connsiteY0" fmla="*/ 84169 h 456497"/>
                <a:gd name="connsiteX1" fmla="*/ 818263 w 818263"/>
                <a:gd name="connsiteY1" fmla="*/ 242335 h 456497"/>
                <a:gd name="connsiteX2" fmla="*/ 818263 w 818263"/>
                <a:gd name="connsiteY2" fmla="*/ 84169 h 456497"/>
                <a:gd name="connsiteX3" fmla="*/ 0 w 818263"/>
                <a:gd name="connsiteY3" fmla="*/ 0 h 456497"/>
                <a:gd name="connsiteX4" fmla="*/ 0 w 818263"/>
                <a:gd name="connsiteY4" fmla="*/ 83533 h 456497"/>
                <a:gd name="connsiteX5" fmla="*/ 647376 w 818263"/>
                <a:gd name="connsiteY5" fmla="*/ 456497 h 456497"/>
                <a:gd name="connsiteX6" fmla="*/ 647376 w 818263"/>
                <a:gd name="connsiteY6" fmla="*/ 372965 h 456497"/>
                <a:gd name="connsiteX7" fmla="*/ 0 w 818263"/>
                <a:gd name="connsiteY7" fmla="*/ 0 h 456497"/>
                <a:gd name="connsiteX0" fmla="*/ 0 w 647376"/>
                <a:gd name="connsiteY0" fmla="*/ 0 h 456497"/>
                <a:gd name="connsiteX1" fmla="*/ 0 w 647376"/>
                <a:gd name="connsiteY1" fmla="*/ 83533 h 456497"/>
                <a:gd name="connsiteX2" fmla="*/ 647376 w 647376"/>
                <a:gd name="connsiteY2" fmla="*/ 456497 h 456497"/>
                <a:gd name="connsiteX3" fmla="*/ 647376 w 647376"/>
                <a:gd name="connsiteY3" fmla="*/ 372965 h 456497"/>
                <a:gd name="connsiteX4" fmla="*/ 0 w 647376"/>
                <a:gd name="connsiteY4" fmla="*/ 0 h 4564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376" h="456497">
                  <a:moveTo>
                    <a:pt x="0" y="0"/>
                  </a:moveTo>
                  <a:lnTo>
                    <a:pt x="0" y="83533"/>
                  </a:lnTo>
                  <a:lnTo>
                    <a:pt x="647376" y="456497"/>
                  </a:lnTo>
                  <a:lnTo>
                    <a:pt x="647376" y="372965"/>
                  </a:lnTo>
                  <a:lnTo>
                    <a:pt x="0"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44" name="Freeform: Shape 443">
              <a:extLst>
                <a:ext uri="{FF2B5EF4-FFF2-40B4-BE49-F238E27FC236}">
                  <a16:creationId xmlns:a16="http://schemas.microsoft.com/office/drawing/2014/main" id="{916A6754-C50C-4F0D-89AA-30C66D38FAC9}"/>
                </a:ext>
              </a:extLst>
            </p:cNvPr>
            <p:cNvSpPr/>
            <p:nvPr/>
          </p:nvSpPr>
          <p:spPr bwMode="gray">
            <a:xfrm>
              <a:off x="8646204" y="4421721"/>
              <a:ext cx="714631" cy="488632"/>
            </a:xfrm>
            <a:custGeom>
              <a:avLst/>
              <a:gdLst>
                <a:gd name="connsiteX0" fmla="*/ 0 w 755837"/>
                <a:gd name="connsiteY0" fmla="*/ 0 h 516806"/>
                <a:gd name="connsiteX1" fmla="*/ 0 w 755837"/>
                <a:gd name="connsiteY1" fmla="*/ 81355 h 516806"/>
                <a:gd name="connsiteX2" fmla="*/ 755837 w 755837"/>
                <a:gd name="connsiteY2" fmla="*/ 516806 h 516806"/>
                <a:gd name="connsiteX3" fmla="*/ 755837 w 755837"/>
                <a:gd name="connsiteY3" fmla="*/ 435451 h 516806"/>
              </a:gdLst>
              <a:ahLst/>
              <a:cxnLst>
                <a:cxn ang="0">
                  <a:pos x="connsiteX0" y="connsiteY0"/>
                </a:cxn>
                <a:cxn ang="0">
                  <a:pos x="connsiteX1" y="connsiteY1"/>
                </a:cxn>
                <a:cxn ang="0">
                  <a:pos x="connsiteX2" y="connsiteY2"/>
                </a:cxn>
                <a:cxn ang="0">
                  <a:pos x="connsiteX3" y="connsiteY3"/>
                </a:cxn>
              </a:cxnLst>
              <a:rect l="l" t="t" r="r" b="b"/>
              <a:pathLst>
                <a:path w="755837" h="516806">
                  <a:moveTo>
                    <a:pt x="0" y="0"/>
                  </a:moveTo>
                  <a:lnTo>
                    <a:pt x="0" y="81355"/>
                  </a:lnTo>
                  <a:lnTo>
                    <a:pt x="755837" y="516806"/>
                  </a:lnTo>
                  <a:lnTo>
                    <a:pt x="755837" y="435451"/>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nvGrpSpPr>
            <p:cNvPr id="451" name="Group 450">
              <a:extLst>
                <a:ext uri="{FF2B5EF4-FFF2-40B4-BE49-F238E27FC236}">
                  <a16:creationId xmlns:a16="http://schemas.microsoft.com/office/drawing/2014/main" id="{3BB53246-49AB-4618-BF77-D73ABD663692}"/>
                </a:ext>
              </a:extLst>
            </p:cNvPr>
            <p:cNvGrpSpPr/>
            <p:nvPr/>
          </p:nvGrpSpPr>
          <p:grpSpPr bwMode="gray">
            <a:xfrm flipH="1">
              <a:off x="7689554" y="3703630"/>
              <a:ext cx="932053" cy="678751"/>
              <a:chOff x="-5700252" y="-8726792"/>
              <a:chExt cx="5559405" cy="4048536"/>
            </a:xfrm>
            <a:solidFill>
              <a:schemeClr val="bg1"/>
            </a:solidFill>
          </p:grpSpPr>
          <p:grpSp>
            <p:nvGrpSpPr>
              <p:cNvPr id="500" name="Group 499">
                <a:extLst>
                  <a:ext uri="{FF2B5EF4-FFF2-40B4-BE49-F238E27FC236}">
                    <a16:creationId xmlns:a16="http://schemas.microsoft.com/office/drawing/2014/main" id="{DAA402D4-EDD3-456D-B10F-EB14D1837D09}"/>
                  </a:ext>
                </a:extLst>
              </p:cNvPr>
              <p:cNvGrpSpPr/>
              <p:nvPr/>
            </p:nvGrpSpPr>
            <p:grpSpPr bwMode="gray">
              <a:xfrm>
                <a:off x="-1461212" y="-7232175"/>
                <a:ext cx="1207803" cy="1409495"/>
                <a:chOff x="-955977" y="1450890"/>
                <a:chExt cx="974463" cy="1137189"/>
              </a:xfrm>
              <a:grpFill/>
            </p:grpSpPr>
            <p:sp>
              <p:nvSpPr>
                <p:cNvPr id="513" name="Can 250">
                  <a:extLst>
                    <a:ext uri="{FF2B5EF4-FFF2-40B4-BE49-F238E27FC236}">
                      <a16:creationId xmlns:a16="http://schemas.microsoft.com/office/drawing/2014/main" id="{65B28904-58A4-45D1-B40F-2047CE94680F}"/>
                    </a:ext>
                  </a:extLst>
                </p:cNvPr>
                <p:cNvSpPr/>
                <p:nvPr/>
              </p:nvSpPr>
              <p:spPr bwMode="gray">
                <a:xfrm rot="7200000">
                  <a:off x="-994540" y="1489453"/>
                  <a:ext cx="1051590" cy="974463"/>
                </a:xfrm>
                <a:custGeom>
                  <a:avLst/>
                  <a:gdLst/>
                  <a:ahLst/>
                  <a:cxnLst/>
                  <a:rect l="l" t="t" r="r" b="b"/>
                  <a:pathLst>
                    <a:path w="1051590" h="974463">
                      <a:moveTo>
                        <a:pt x="26803" y="782904"/>
                      </a:moveTo>
                      <a:cubicBezTo>
                        <a:pt x="15200" y="766861"/>
                        <a:pt x="5815" y="750136"/>
                        <a:pt x="0" y="732407"/>
                      </a:cubicBezTo>
                      <a:lnTo>
                        <a:pt x="0" y="307507"/>
                      </a:lnTo>
                      <a:cubicBezTo>
                        <a:pt x="0" y="137676"/>
                        <a:pt x="235406" y="0"/>
                        <a:pt x="525795" y="0"/>
                      </a:cubicBezTo>
                      <a:cubicBezTo>
                        <a:pt x="816184" y="0"/>
                        <a:pt x="1051590" y="137676"/>
                        <a:pt x="1051590" y="307507"/>
                      </a:cubicBezTo>
                      <a:lnTo>
                        <a:pt x="1051590" y="693518"/>
                      </a:lnTo>
                      <a:cubicBezTo>
                        <a:pt x="1025926" y="851621"/>
                        <a:pt x="797964" y="974463"/>
                        <a:pt x="520942" y="974463"/>
                      </a:cubicBezTo>
                      <a:cubicBezTo>
                        <a:pt x="298807" y="974463"/>
                        <a:pt x="108215" y="895475"/>
                        <a:pt x="26803" y="782904"/>
                      </a:cubicBezTo>
                      <a:close/>
                    </a:path>
                  </a:pathLst>
                </a:custGeom>
                <a:gradFill flip="none" rotWithShape="1">
                  <a:gsLst>
                    <a:gs pos="21000">
                      <a:schemeClr val="accent2">
                        <a:lumMod val="0"/>
                        <a:lumOff val="100000"/>
                      </a:schemeClr>
                    </a:gs>
                    <a:gs pos="89000">
                      <a:schemeClr val="accent4"/>
                    </a:gs>
                  </a:gsLst>
                  <a:lin ang="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14" name="Oval 91">
                  <a:extLst>
                    <a:ext uri="{FF2B5EF4-FFF2-40B4-BE49-F238E27FC236}">
                      <a16:creationId xmlns:a16="http://schemas.microsoft.com/office/drawing/2014/main" id="{FFAB851E-9370-4AF3-B4A9-BDDF7AC3F816}"/>
                    </a:ext>
                  </a:extLst>
                </p:cNvPr>
                <p:cNvSpPr/>
                <p:nvPr/>
              </p:nvSpPr>
              <p:spPr bwMode="gray">
                <a:xfrm rot="1800000">
                  <a:off x="-611201" y="1548927"/>
                  <a:ext cx="611065" cy="1039152"/>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15" name="Oval 91">
                  <a:extLst>
                    <a:ext uri="{FF2B5EF4-FFF2-40B4-BE49-F238E27FC236}">
                      <a16:creationId xmlns:a16="http://schemas.microsoft.com/office/drawing/2014/main" id="{8DC84803-2943-4233-8E4B-3AEAC4C1B2DC}"/>
                    </a:ext>
                  </a:extLst>
                </p:cNvPr>
                <p:cNvSpPr/>
                <p:nvPr/>
              </p:nvSpPr>
              <p:spPr bwMode="gray">
                <a:xfrm rot="1800000">
                  <a:off x="-478698" y="1774257"/>
                  <a:ext cx="346058" cy="588492"/>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grpSp>
            <p:nvGrpSpPr>
              <p:cNvPr id="501" name="Group 500">
                <a:extLst>
                  <a:ext uri="{FF2B5EF4-FFF2-40B4-BE49-F238E27FC236}">
                    <a16:creationId xmlns:a16="http://schemas.microsoft.com/office/drawing/2014/main" id="{BCD20AC1-4EFD-47CD-827F-D65B4A22EE8C}"/>
                  </a:ext>
                </a:extLst>
              </p:cNvPr>
              <p:cNvGrpSpPr/>
              <p:nvPr/>
            </p:nvGrpSpPr>
            <p:grpSpPr bwMode="gray">
              <a:xfrm>
                <a:off x="-2460956" y="-6662207"/>
                <a:ext cx="1207803" cy="1409495"/>
                <a:chOff x="-955977" y="1450890"/>
                <a:chExt cx="974463" cy="1137189"/>
              </a:xfrm>
              <a:grpFill/>
            </p:grpSpPr>
            <p:sp>
              <p:nvSpPr>
                <p:cNvPr id="510" name="Can 250">
                  <a:extLst>
                    <a:ext uri="{FF2B5EF4-FFF2-40B4-BE49-F238E27FC236}">
                      <a16:creationId xmlns:a16="http://schemas.microsoft.com/office/drawing/2014/main" id="{361134D2-B4D2-4DBF-87B7-6B7EA5CBA0FA}"/>
                    </a:ext>
                  </a:extLst>
                </p:cNvPr>
                <p:cNvSpPr/>
                <p:nvPr/>
              </p:nvSpPr>
              <p:spPr bwMode="gray">
                <a:xfrm rot="7200000">
                  <a:off x="-994540" y="1489453"/>
                  <a:ext cx="1051590" cy="974463"/>
                </a:xfrm>
                <a:custGeom>
                  <a:avLst/>
                  <a:gdLst/>
                  <a:ahLst/>
                  <a:cxnLst/>
                  <a:rect l="l" t="t" r="r" b="b"/>
                  <a:pathLst>
                    <a:path w="1051590" h="974463">
                      <a:moveTo>
                        <a:pt x="26803" y="782904"/>
                      </a:moveTo>
                      <a:cubicBezTo>
                        <a:pt x="15200" y="766861"/>
                        <a:pt x="5815" y="750136"/>
                        <a:pt x="0" y="732407"/>
                      </a:cubicBezTo>
                      <a:lnTo>
                        <a:pt x="0" y="307507"/>
                      </a:lnTo>
                      <a:cubicBezTo>
                        <a:pt x="0" y="137676"/>
                        <a:pt x="235406" y="0"/>
                        <a:pt x="525795" y="0"/>
                      </a:cubicBezTo>
                      <a:cubicBezTo>
                        <a:pt x="816184" y="0"/>
                        <a:pt x="1051590" y="137676"/>
                        <a:pt x="1051590" y="307507"/>
                      </a:cubicBezTo>
                      <a:lnTo>
                        <a:pt x="1051590" y="693518"/>
                      </a:lnTo>
                      <a:cubicBezTo>
                        <a:pt x="1025926" y="851621"/>
                        <a:pt x="797964" y="974463"/>
                        <a:pt x="520942" y="974463"/>
                      </a:cubicBezTo>
                      <a:cubicBezTo>
                        <a:pt x="298807" y="974463"/>
                        <a:pt x="108215" y="895475"/>
                        <a:pt x="26803" y="782904"/>
                      </a:cubicBezTo>
                      <a:close/>
                    </a:path>
                  </a:pathLst>
                </a:custGeom>
                <a:gradFill flip="none" rotWithShape="1">
                  <a:gsLst>
                    <a:gs pos="21000">
                      <a:schemeClr val="accent2">
                        <a:lumMod val="0"/>
                        <a:lumOff val="100000"/>
                      </a:schemeClr>
                    </a:gs>
                    <a:gs pos="89000">
                      <a:schemeClr val="accent4"/>
                    </a:gs>
                  </a:gsLst>
                  <a:lin ang="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11" name="Oval 91">
                  <a:extLst>
                    <a:ext uri="{FF2B5EF4-FFF2-40B4-BE49-F238E27FC236}">
                      <a16:creationId xmlns:a16="http://schemas.microsoft.com/office/drawing/2014/main" id="{A6E8A52C-F402-4CC5-BA10-5B0964F66F48}"/>
                    </a:ext>
                  </a:extLst>
                </p:cNvPr>
                <p:cNvSpPr/>
                <p:nvPr/>
              </p:nvSpPr>
              <p:spPr bwMode="gray">
                <a:xfrm rot="1800000">
                  <a:off x="-611201" y="1548927"/>
                  <a:ext cx="611065" cy="1039152"/>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12" name="Oval 91">
                  <a:extLst>
                    <a:ext uri="{FF2B5EF4-FFF2-40B4-BE49-F238E27FC236}">
                      <a16:creationId xmlns:a16="http://schemas.microsoft.com/office/drawing/2014/main" id="{21328BA2-EF2F-4E7D-84DF-0D266C8AEC85}"/>
                    </a:ext>
                  </a:extLst>
                </p:cNvPr>
                <p:cNvSpPr/>
                <p:nvPr/>
              </p:nvSpPr>
              <p:spPr bwMode="gray">
                <a:xfrm rot="1800000">
                  <a:off x="-478698" y="1774257"/>
                  <a:ext cx="346058" cy="588492"/>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grpSp>
            <p:nvGrpSpPr>
              <p:cNvPr id="502" name="Group 501">
                <a:extLst>
                  <a:ext uri="{FF2B5EF4-FFF2-40B4-BE49-F238E27FC236}">
                    <a16:creationId xmlns:a16="http://schemas.microsoft.com/office/drawing/2014/main" id="{633819B0-5F31-4A3B-8B8E-4F284A717F46}"/>
                  </a:ext>
                </a:extLst>
              </p:cNvPr>
              <p:cNvGrpSpPr/>
              <p:nvPr/>
            </p:nvGrpSpPr>
            <p:grpSpPr bwMode="gray">
              <a:xfrm>
                <a:off x="-3478138" y="-6087751"/>
                <a:ext cx="1207803" cy="1409495"/>
                <a:chOff x="-955977" y="1450890"/>
                <a:chExt cx="974463" cy="1137189"/>
              </a:xfrm>
              <a:grpFill/>
            </p:grpSpPr>
            <p:sp>
              <p:nvSpPr>
                <p:cNvPr id="507" name="Can 250">
                  <a:extLst>
                    <a:ext uri="{FF2B5EF4-FFF2-40B4-BE49-F238E27FC236}">
                      <a16:creationId xmlns:a16="http://schemas.microsoft.com/office/drawing/2014/main" id="{A5D7C346-E463-4FA3-9CD3-4BA486D2A9EE}"/>
                    </a:ext>
                  </a:extLst>
                </p:cNvPr>
                <p:cNvSpPr/>
                <p:nvPr/>
              </p:nvSpPr>
              <p:spPr bwMode="gray">
                <a:xfrm rot="7200000">
                  <a:off x="-994540" y="1489453"/>
                  <a:ext cx="1051590" cy="974463"/>
                </a:xfrm>
                <a:custGeom>
                  <a:avLst/>
                  <a:gdLst/>
                  <a:ahLst/>
                  <a:cxnLst/>
                  <a:rect l="l" t="t" r="r" b="b"/>
                  <a:pathLst>
                    <a:path w="1051590" h="974463">
                      <a:moveTo>
                        <a:pt x="26803" y="782904"/>
                      </a:moveTo>
                      <a:cubicBezTo>
                        <a:pt x="15200" y="766861"/>
                        <a:pt x="5815" y="750136"/>
                        <a:pt x="0" y="732407"/>
                      </a:cubicBezTo>
                      <a:lnTo>
                        <a:pt x="0" y="307507"/>
                      </a:lnTo>
                      <a:cubicBezTo>
                        <a:pt x="0" y="137676"/>
                        <a:pt x="235406" y="0"/>
                        <a:pt x="525795" y="0"/>
                      </a:cubicBezTo>
                      <a:cubicBezTo>
                        <a:pt x="816184" y="0"/>
                        <a:pt x="1051590" y="137676"/>
                        <a:pt x="1051590" y="307507"/>
                      </a:cubicBezTo>
                      <a:lnTo>
                        <a:pt x="1051590" y="693518"/>
                      </a:lnTo>
                      <a:cubicBezTo>
                        <a:pt x="1025926" y="851621"/>
                        <a:pt x="797964" y="974463"/>
                        <a:pt x="520942" y="974463"/>
                      </a:cubicBezTo>
                      <a:cubicBezTo>
                        <a:pt x="298807" y="974463"/>
                        <a:pt x="108215" y="895475"/>
                        <a:pt x="26803" y="782904"/>
                      </a:cubicBezTo>
                      <a:close/>
                    </a:path>
                  </a:pathLst>
                </a:custGeom>
                <a:gradFill flip="none" rotWithShape="1">
                  <a:gsLst>
                    <a:gs pos="21000">
                      <a:schemeClr val="accent2">
                        <a:lumMod val="0"/>
                        <a:lumOff val="100000"/>
                      </a:schemeClr>
                    </a:gs>
                    <a:gs pos="89000">
                      <a:schemeClr val="accent4"/>
                    </a:gs>
                  </a:gsLst>
                  <a:lin ang="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08" name="Oval 91">
                  <a:extLst>
                    <a:ext uri="{FF2B5EF4-FFF2-40B4-BE49-F238E27FC236}">
                      <a16:creationId xmlns:a16="http://schemas.microsoft.com/office/drawing/2014/main" id="{AFB3CA47-52BA-41E6-A0B8-C7D9AF0AA789}"/>
                    </a:ext>
                  </a:extLst>
                </p:cNvPr>
                <p:cNvSpPr/>
                <p:nvPr/>
              </p:nvSpPr>
              <p:spPr bwMode="gray">
                <a:xfrm rot="1800000">
                  <a:off x="-611201" y="1548927"/>
                  <a:ext cx="611065" cy="1039152"/>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09" name="Oval 91">
                  <a:extLst>
                    <a:ext uri="{FF2B5EF4-FFF2-40B4-BE49-F238E27FC236}">
                      <a16:creationId xmlns:a16="http://schemas.microsoft.com/office/drawing/2014/main" id="{5E9B9B2E-21FC-4A0D-8995-18932BD30A12}"/>
                    </a:ext>
                  </a:extLst>
                </p:cNvPr>
                <p:cNvSpPr/>
                <p:nvPr/>
              </p:nvSpPr>
              <p:spPr bwMode="gray">
                <a:xfrm rot="1800000">
                  <a:off x="-478698" y="1774257"/>
                  <a:ext cx="346058" cy="588492"/>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
            <p:nvSpPr>
              <p:cNvPr id="503" name="Rectangle 82">
                <a:extLst>
                  <a:ext uri="{FF2B5EF4-FFF2-40B4-BE49-F238E27FC236}">
                    <a16:creationId xmlns:a16="http://schemas.microsoft.com/office/drawing/2014/main" id="{9EB5275C-201A-4AA5-9B75-6EC86DD682F8}"/>
                  </a:ext>
                </a:extLst>
              </p:cNvPr>
              <p:cNvSpPr/>
              <p:nvPr/>
            </p:nvSpPr>
            <p:spPr bwMode="gray">
              <a:xfrm>
                <a:off x="-5700252" y="-8726792"/>
                <a:ext cx="5400525" cy="3086867"/>
              </a:xfrm>
              <a:custGeom>
                <a:avLst/>
                <a:gdLst>
                  <a:gd name="connsiteX0" fmla="*/ 3472374 w 5400525"/>
                  <a:gd name="connsiteY0" fmla="*/ 0 h 3086867"/>
                  <a:gd name="connsiteX1" fmla="*/ 5400525 w 5400525"/>
                  <a:gd name="connsiteY1" fmla="*/ 1079500 h 3086867"/>
                  <a:gd name="connsiteX2" fmla="*/ 4819596 w 5400525"/>
                  <a:gd name="connsiteY2" fmla="*/ 1413767 h 3086867"/>
                  <a:gd name="connsiteX3" fmla="*/ 1915451 w 5400525"/>
                  <a:gd name="connsiteY3" fmla="*/ 3086867 h 3086867"/>
                  <a:gd name="connsiteX4" fmla="*/ 0 w 5400525"/>
                  <a:gd name="connsiteY4" fmla="*/ 1992835 h 3086867"/>
                  <a:gd name="connsiteX5" fmla="*/ 582180 w 5400525"/>
                  <a:gd name="connsiteY5" fmla="*/ 1659303 h 3086867"/>
                  <a:gd name="connsiteX6" fmla="*/ 579120 w 5400525"/>
                  <a:gd name="connsiteY6" fmla="*/ 1657555 h 3086867"/>
                  <a:gd name="connsiteX7" fmla="*/ 3472374 w 5400525"/>
                  <a:gd name="connsiteY7" fmla="*/ 0 h 3086867"/>
                  <a:gd name="connsiteX0" fmla="*/ 3472374 w 5400525"/>
                  <a:gd name="connsiteY0" fmla="*/ 0 h 3086867"/>
                  <a:gd name="connsiteX1" fmla="*/ 5400525 w 5400525"/>
                  <a:gd name="connsiteY1" fmla="*/ 1079500 h 3086867"/>
                  <a:gd name="connsiteX2" fmla="*/ 1915451 w 5400525"/>
                  <a:gd name="connsiteY2" fmla="*/ 3086867 h 3086867"/>
                  <a:gd name="connsiteX3" fmla="*/ 0 w 5400525"/>
                  <a:gd name="connsiteY3" fmla="*/ 1992835 h 3086867"/>
                  <a:gd name="connsiteX4" fmla="*/ 582180 w 5400525"/>
                  <a:gd name="connsiteY4" fmla="*/ 1659303 h 3086867"/>
                  <a:gd name="connsiteX5" fmla="*/ 579120 w 5400525"/>
                  <a:gd name="connsiteY5" fmla="*/ 1657555 h 3086867"/>
                  <a:gd name="connsiteX6" fmla="*/ 3472374 w 5400525"/>
                  <a:gd name="connsiteY6" fmla="*/ 0 h 3086867"/>
                  <a:gd name="connsiteX0" fmla="*/ 3472374 w 5400525"/>
                  <a:gd name="connsiteY0" fmla="*/ 0 h 3086867"/>
                  <a:gd name="connsiteX1" fmla="*/ 5400525 w 5400525"/>
                  <a:gd name="connsiteY1" fmla="*/ 1079500 h 3086867"/>
                  <a:gd name="connsiteX2" fmla="*/ 1915451 w 5400525"/>
                  <a:gd name="connsiteY2" fmla="*/ 3086867 h 3086867"/>
                  <a:gd name="connsiteX3" fmla="*/ 0 w 5400525"/>
                  <a:gd name="connsiteY3" fmla="*/ 1992835 h 3086867"/>
                  <a:gd name="connsiteX4" fmla="*/ 582180 w 5400525"/>
                  <a:gd name="connsiteY4" fmla="*/ 1659303 h 3086867"/>
                  <a:gd name="connsiteX5" fmla="*/ 3472374 w 5400525"/>
                  <a:gd name="connsiteY5" fmla="*/ 0 h 3086867"/>
                  <a:gd name="connsiteX0" fmla="*/ 3472374 w 5400525"/>
                  <a:gd name="connsiteY0" fmla="*/ 0 h 3086867"/>
                  <a:gd name="connsiteX1" fmla="*/ 5400525 w 5400525"/>
                  <a:gd name="connsiteY1" fmla="*/ 1079500 h 3086867"/>
                  <a:gd name="connsiteX2" fmla="*/ 1915451 w 5400525"/>
                  <a:gd name="connsiteY2" fmla="*/ 3086867 h 3086867"/>
                  <a:gd name="connsiteX3" fmla="*/ 0 w 5400525"/>
                  <a:gd name="connsiteY3" fmla="*/ 1992835 h 3086867"/>
                  <a:gd name="connsiteX4" fmla="*/ 3472374 w 5400525"/>
                  <a:gd name="connsiteY4" fmla="*/ 0 h 3086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525" h="3086867">
                    <a:moveTo>
                      <a:pt x="3472374" y="0"/>
                    </a:moveTo>
                    <a:lnTo>
                      <a:pt x="5400525" y="1079500"/>
                    </a:lnTo>
                    <a:lnTo>
                      <a:pt x="1915451" y="3086867"/>
                    </a:lnTo>
                    <a:lnTo>
                      <a:pt x="0" y="1992835"/>
                    </a:lnTo>
                    <a:lnTo>
                      <a:pt x="3472374"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p>
            </p:txBody>
          </p:sp>
          <p:sp>
            <p:nvSpPr>
              <p:cNvPr id="504" name="Rectangle 83">
                <a:extLst>
                  <a:ext uri="{FF2B5EF4-FFF2-40B4-BE49-F238E27FC236}">
                    <a16:creationId xmlns:a16="http://schemas.microsoft.com/office/drawing/2014/main" id="{70377045-DDEE-4D9C-BDD7-CD0DD16C7D20}"/>
                  </a:ext>
                </a:extLst>
              </p:cNvPr>
              <p:cNvSpPr/>
              <p:nvPr/>
            </p:nvSpPr>
            <p:spPr bwMode="gray">
              <a:xfrm flipV="1">
                <a:off x="-547857" y="-7502412"/>
                <a:ext cx="407010" cy="575124"/>
              </a:xfrm>
              <a:custGeom>
                <a:avLst/>
                <a:gdLst/>
                <a:ahLst/>
                <a:cxnLst/>
                <a:rect l="l" t="t" r="r" b="b"/>
                <a:pathLst>
                  <a:path w="407010" h="575124">
                    <a:moveTo>
                      <a:pt x="0" y="575124"/>
                    </a:moveTo>
                    <a:lnTo>
                      <a:pt x="316126" y="398405"/>
                    </a:lnTo>
                    <a:lnTo>
                      <a:pt x="407010" y="4729"/>
                    </a:lnTo>
                    <a:lnTo>
                      <a:pt x="401996" y="0"/>
                    </a:lnTo>
                    <a:lnTo>
                      <a:pt x="80204" y="182276"/>
                    </a:lnTo>
                    <a:lnTo>
                      <a:pt x="589" y="563748"/>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05" name="Rectangle 83">
                <a:extLst>
                  <a:ext uri="{FF2B5EF4-FFF2-40B4-BE49-F238E27FC236}">
                    <a16:creationId xmlns:a16="http://schemas.microsoft.com/office/drawing/2014/main" id="{351DE1F8-7DAF-40CA-BAD8-F6F79A890A7B}"/>
                  </a:ext>
                </a:extLst>
              </p:cNvPr>
              <p:cNvSpPr/>
              <p:nvPr/>
            </p:nvSpPr>
            <p:spPr bwMode="gray">
              <a:xfrm>
                <a:off x="-3650644" y="-5764710"/>
                <a:ext cx="403638" cy="580812"/>
              </a:xfrm>
              <a:custGeom>
                <a:avLst/>
                <a:gdLst/>
                <a:ahLst/>
                <a:cxnLst/>
                <a:rect l="l" t="t" r="r" b="b"/>
                <a:pathLst>
                  <a:path w="403638" h="580812">
                    <a:moveTo>
                      <a:pt x="83355" y="0"/>
                    </a:moveTo>
                    <a:lnTo>
                      <a:pt x="403638" y="181421"/>
                    </a:lnTo>
                    <a:lnTo>
                      <a:pt x="320283" y="580812"/>
                    </a:lnTo>
                    <a:lnTo>
                      <a:pt x="0" y="399391"/>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06" name="Rectangle 82">
                <a:extLst>
                  <a:ext uri="{FF2B5EF4-FFF2-40B4-BE49-F238E27FC236}">
                    <a16:creationId xmlns:a16="http://schemas.microsoft.com/office/drawing/2014/main" id="{00F35ABF-8318-4F39-9E3D-59BF31920BCC}"/>
                  </a:ext>
                </a:extLst>
              </p:cNvPr>
              <p:cNvSpPr/>
              <p:nvPr/>
            </p:nvSpPr>
            <p:spPr bwMode="gray">
              <a:xfrm>
                <a:off x="-3566160" y="-7502776"/>
                <a:ext cx="3333910" cy="1924936"/>
              </a:xfrm>
              <a:custGeom>
                <a:avLst/>
                <a:gdLst>
                  <a:gd name="connsiteX0" fmla="*/ 3014715 w 3334005"/>
                  <a:gd name="connsiteY0" fmla="*/ 0 h 1899432"/>
                  <a:gd name="connsiteX1" fmla="*/ 3334005 w 3334005"/>
                  <a:gd name="connsiteY1" fmla="*/ 182366 h 1899432"/>
                  <a:gd name="connsiteX2" fmla="*/ 1336472 w 3334005"/>
                  <a:gd name="connsiteY2" fmla="*/ 1324976 h 1899432"/>
                  <a:gd name="connsiteX3" fmla="*/ 1330014 w 3334005"/>
                  <a:gd name="connsiteY3" fmla="*/ 1321288 h 1899432"/>
                  <a:gd name="connsiteX4" fmla="*/ 319290 w 3334005"/>
                  <a:gd name="connsiteY4" fmla="*/ 1899432 h 1899432"/>
                  <a:gd name="connsiteX5" fmla="*/ 0 w 3334005"/>
                  <a:gd name="connsiteY5" fmla="*/ 1717066 h 1899432"/>
                  <a:gd name="connsiteX6" fmla="*/ 1997533 w 3334005"/>
                  <a:gd name="connsiteY6" fmla="*/ 574456 h 1899432"/>
                  <a:gd name="connsiteX7" fmla="*/ 3014715 w 3334005"/>
                  <a:gd name="connsiteY7" fmla="*/ 0 h 1899432"/>
                  <a:gd name="connsiteX0" fmla="*/ 3014715 w 3334005"/>
                  <a:gd name="connsiteY0" fmla="*/ 0 h 1899432"/>
                  <a:gd name="connsiteX1" fmla="*/ 3334005 w 3334005"/>
                  <a:gd name="connsiteY1" fmla="*/ 182366 h 1899432"/>
                  <a:gd name="connsiteX2" fmla="*/ 1336472 w 3334005"/>
                  <a:gd name="connsiteY2" fmla="*/ 1324976 h 1899432"/>
                  <a:gd name="connsiteX3" fmla="*/ 1330014 w 3334005"/>
                  <a:gd name="connsiteY3" fmla="*/ 1321288 h 1899432"/>
                  <a:gd name="connsiteX4" fmla="*/ 319290 w 3334005"/>
                  <a:gd name="connsiteY4" fmla="*/ 1899432 h 1899432"/>
                  <a:gd name="connsiteX5" fmla="*/ 0 w 3334005"/>
                  <a:gd name="connsiteY5" fmla="*/ 1717066 h 1899432"/>
                  <a:gd name="connsiteX6" fmla="*/ 3014715 w 3334005"/>
                  <a:gd name="connsiteY6" fmla="*/ 0 h 1899432"/>
                  <a:gd name="connsiteX0" fmla="*/ 3014715 w 3334005"/>
                  <a:gd name="connsiteY0" fmla="*/ 0 h 1899432"/>
                  <a:gd name="connsiteX1" fmla="*/ 3334005 w 3334005"/>
                  <a:gd name="connsiteY1" fmla="*/ 182366 h 1899432"/>
                  <a:gd name="connsiteX2" fmla="*/ 1330014 w 3334005"/>
                  <a:gd name="connsiteY2" fmla="*/ 1321288 h 1899432"/>
                  <a:gd name="connsiteX3" fmla="*/ 319290 w 3334005"/>
                  <a:gd name="connsiteY3" fmla="*/ 1899432 h 1899432"/>
                  <a:gd name="connsiteX4" fmla="*/ 0 w 3334005"/>
                  <a:gd name="connsiteY4" fmla="*/ 1717066 h 1899432"/>
                  <a:gd name="connsiteX5" fmla="*/ 3014715 w 3334005"/>
                  <a:gd name="connsiteY5" fmla="*/ 0 h 1899432"/>
                  <a:gd name="connsiteX0" fmla="*/ 3014715 w 3334005"/>
                  <a:gd name="connsiteY0" fmla="*/ 0 h 1899432"/>
                  <a:gd name="connsiteX1" fmla="*/ 3334005 w 3334005"/>
                  <a:gd name="connsiteY1" fmla="*/ 182366 h 1899432"/>
                  <a:gd name="connsiteX2" fmla="*/ 1330014 w 3334005"/>
                  <a:gd name="connsiteY2" fmla="*/ 1321288 h 1899432"/>
                  <a:gd name="connsiteX3" fmla="*/ 1318355 w 3334005"/>
                  <a:gd name="connsiteY3" fmla="*/ 1345816 h 1899432"/>
                  <a:gd name="connsiteX4" fmla="*/ 319290 w 3334005"/>
                  <a:gd name="connsiteY4" fmla="*/ 1899432 h 1899432"/>
                  <a:gd name="connsiteX5" fmla="*/ 0 w 3334005"/>
                  <a:gd name="connsiteY5" fmla="*/ 1717066 h 1899432"/>
                  <a:gd name="connsiteX6" fmla="*/ 3014715 w 3334005"/>
                  <a:gd name="connsiteY6" fmla="*/ 0 h 1899432"/>
                  <a:gd name="connsiteX0" fmla="*/ 3014715 w 3334005"/>
                  <a:gd name="connsiteY0" fmla="*/ 0 h 1899432"/>
                  <a:gd name="connsiteX1" fmla="*/ 3334005 w 3334005"/>
                  <a:gd name="connsiteY1" fmla="*/ 182366 h 1899432"/>
                  <a:gd name="connsiteX2" fmla="*/ 1330014 w 3334005"/>
                  <a:gd name="connsiteY2" fmla="*/ 1321288 h 1899432"/>
                  <a:gd name="connsiteX3" fmla="*/ 319290 w 3334005"/>
                  <a:gd name="connsiteY3" fmla="*/ 1899432 h 1899432"/>
                  <a:gd name="connsiteX4" fmla="*/ 0 w 3334005"/>
                  <a:gd name="connsiteY4" fmla="*/ 1717066 h 1899432"/>
                  <a:gd name="connsiteX5" fmla="*/ 3014715 w 3334005"/>
                  <a:gd name="connsiteY5" fmla="*/ 0 h 1899432"/>
                  <a:gd name="connsiteX0" fmla="*/ 3014715 w 3334005"/>
                  <a:gd name="connsiteY0" fmla="*/ 0 h 1899432"/>
                  <a:gd name="connsiteX1" fmla="*/ 3334005 w 3334005"/>
                  <a:gd name="connsiteY1" fmla="*/ 182366 h 1899432"/>
                  <a:gd name="connsiteX2" fmla="*/ 319290 w 3334005"/>
                  <a:gd name="connsiteY2" fmla="*/ 1899432 h 1899432"/>
                  <a:gd name="connsiteX3" fmla="*/ 0 w 3334005"/>
                  <a:gd name="connsiteY3" fmla="*/ 1717066 h 1899432"/>
                  <a:gd name="connsiteX4" fmla="*/ 3014715 w 3334005"/>
                  <a:gd name="connsiteY4" fmla="*/ 0 h 1899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4005" h="1899432">
                    <a:moveTo>
                      <a:pt x="3014715" y="0"/>
                    </a:moveTo>
                    <a:lnTo>
                      <a:pt x="3334005" y="182366"/>
                    </a:lnTo>
                    <a:lnTo>
                      <a:pt x="319290" y="1899432"/>
                    </a:lnTo>
                    <a:lnTo>
                      <a:pt x="0" y="1717066"/>
                    </a:lnTo>
                    <a:lnTo>
                      <a:pt x="3014715"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grpSp>
          <p:nvGrpSpPr>
            <p:cNvPr id="452" name="Group 451">
              <a:extLst>
                <a:ext uri="{FF2B5EF4-FFF2-40B4-BE49-F238E27FC236}">
                  <a16:creationId xmlns:a16="http://schemas.microsoft.com/office/drawing/2014/main" id="{0F12F5D4-1C94-4065-90FE-5C7CDEB2FFC3}"/>
                </a:ext>
              </a:extLst>
            </p:cNvPr>
            <p:cNvGrpSpPr/>
            <p:nvPr/>
          </p:nvGrpSpPr>
          <p:grpSpPr bwMode="gray">
            <a:xfrm flipH="1">
              <a:off x="8650116" y="4498895"/>
              <a:ext cx="202492" cy="236307"/>
              <a:chOff x="-955977" y="1450890"/>
              <a:chExt cx="974463" cy="1137189"/>
            </a:xfrm>
            <a:solidFill>
              <a:schemeClr val="bg1"/>
            </a:solidFill>
          </p:grpSpPr>
          <p:sp>
            <p:nvSpPr>
              <p:cNvPr id="497" name="Can 250">
                <a:extLst>
                  <a:ext uri="{FF2B5EF4-FFF2-40B4-BE49-F238E27FC236}">
                    <a16:creationId xmlns:a16="http://schemas.microsoft.com/office/drawing/2014/main" id="{3702E234-5B2E-41ED-B6F0-48E4AA90F810}"/>
                  </a:ext>
                </a:extLst>
              </p:cNvPr>
              <p:cNvSpPr/>
              <p:nvPr/>
            </p:nvSpPr>
            <p:spPr bwMode="gray">
              <a:xfrm rot="7200000">
                <a:off x="-994540" y="1489453"/>
                <a:ext cx="1051590" cy="974463"/>
              </a:xfrm>
              <a:custGeom>
                <a:avLst/>
                <a:gdLst/>
                <a:ahLst/>
                <a:cxnLst/>
                <a:rect l="l" t="t" r="r" b="b"/>
                <a:pathLst>
                  <a:path w="1051590" h="974463">
                    <a:moveTo>
                      <a:pt x="26803" y="782904"/>
                    </a:moveTo>
                    <a:cubicBezTo>
                      <a:pt x="15200" y="766861"/>
                      <a:pt x="5815" y="750136"/>
                      <a:pt x="0" y="732407"/>
                    </a:cubicBezTo>
                    <a:lnTo>
                      <a:pt x="0" y="307507"/>
                    </a:lnTo>
                    <a:cubicBezTo>
                      <a:pt x="0" y="137676"/>
                      <a:pt x="235406" y="0"/>
                      <a:pt x="525795" y="0"/>
                    </a:cubicBezTo>
                    <a:cubicBezTo>
                      <a:pt x="816184" y="0"/>
                      <a:pt x="1051590" y="137676"/>
                      <a:pt x="1051590" y="307507"/>
                    </a:cubicBezTo>
                    <a:lnTo>
                      <a:pt x="1051590" y="693518"/>
                    </a:lnTo>
                    <a:cubicBezTo>
                      <a:pt x="1025926" y="851621"/>
                      <a:pt x="797964" y="974463"/>
                      <a:pt x="520942" y="974463"/>
                    </a:cubicBezTo>
                    <a:cubicBezTo>
                      <a:pt x="298807" y="974463"/>
                      <a:pt x="108215" y="895475"/>
                      <a:pt x="26803" y="782904"/>
                    </a:cubicBezTo>
                    <a:close/>
                  </a:path>
                </a:pathLst>
              </a:custGeom>
              <a:gradFill flip="none" rotWithShape="1">
                <a:gsLst>
                  <a:gs pos="21000">
                    <a:schemeClr val="accent2">
                      <a:lumMod val="0"/>
                      <a:lumOff val="100000"/>
                    </a:schemeClr>
                  </a:gs>
                  <a:gs pos="89000">
                    <a:schemeClr val="accent4"/>
                  </a:gs>
                </a:gsLst>
                <a:lin ang="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98" name="Oval 91">
                <a:extLst>
                  <a:ext uri="{FF2B5EF4-FFF2-40B4-BE49-F238E27FC236}">
                    <a16:creationId xmlns:a16="http://schemas.microsoft.com/office/drawing/2014/main" id="{AAB2C00B-29F6-426E-B7D9-AEE8CEE6CE5D}"/>
                  </a:ext>
                </a:extLst>
              </p:cNvPr>
              <p:cNvSpPr/>
              <p:nvPr/>
            </p:nvSpPr>
            <p:spPr bwMode="gray">
              <a:xfrm rot="1800000">
                <a:off x="-611201" y="1548927"/>
                <a:ext cx="611063" cy="1039152"/>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99" name="Oval 91">
                <a:extLst>
                  <a:ext uri="{FF2B5EF4-FFF2-40B4-BE49-F238E27FC236}">
                    <a16:creationId xmlns:a16="http://schemas.microsoft.com/office/drawing/2014/main" id="{FAEB993F-A89A-4892-94AB-E2B3DC530804}"/>
                  </a:ext>
                </a:extLst>
              </p:cNvPr>
              <p:cNvSpPr/>
              <p:nvPr/>
            </p:nvSpPr>
            <p:spPr bwMode="gray">
              <a:xfrm rot="1800000">
                <a:off x="-478698" y="1774257"/>
                <a:ext cx="346058" cy="588492"/>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grpSp>
          <p:nvGrpSpPr>
            <p:cNvPr id="453" name="Group 452">
              <a:extLst>
                <a:ext uri="{FF2B5EF4-FFF2-40B4-BE49-F238E27FC236}">
                  <a16:creationId xmlns:a16="http://schemas.microsoft.com/office/drawing/2014/main" id="{1EE92F8C-2158-4E9E-8093-5AD870D3EF12}"/>
                </a:ext>
              </a:extLst>
            </p:cNvPr>
            <p:cNvGrpSpPr/>
            <p:nvPr/>
          </p:nvGrpSpPr>
          <p:grpSpPr bwMode="gray">
            <a:xfrm flipH="1">
              <a:off x="8817726" y="4594453"/>
              <a:ext cx="202492" cy="236307"/>
              <a:chOff x="-955977" y="1450890"/>
              <a:chExt cx="974463" cy="1137189"/>
            </a:xfrm>
            <a:solidFill>
              <a:schemeClr val="bg1"/>
            </a:solidFill>
          </p:grpSpPr>
          <p:sp>
            <p:nvSpPr>
              <p:cNvPr id="494" name="Can 250">
                <a:extLst>
                  <a:ext uri="{FF2B5EF4-FFF2-40B4-BE49-F238E27FC236}">
                    <a16:creationId xmlns:a16="http://schemas.microsoft.com/office/drawing/2014/main" id="{31AC5D5B-D45B-46F6-B826-BC425A310453}"/>
                  </a:ext>
                </a:extLst>
              </p:cNvPr>
              <p:cNvSpPr/>
              <p:nvPr/>
            </p:nvSpPr>
            <p:spPr bwMode="gray">
              <a:xfrm rot="7200000">
                <a:off x="-994540" y="1489453"/>
                <a:ext cx="1051590" cy="974463"/>
              </a:xfrm>
              <a:custGeom>
                <a:avLst/>
                <a:gdLst/>
                <a:ahLst/>
                <a:cxnLst/>
                <a:rect l="l" t="t" r="r" b="b"/>
                <a:pathLst>
                  <a:path w="1051590" h="974463">
                    <a:moveTo>
                      <a:pt x="26803" y="782904"/>
                    </a:moveTo>
                    <a:cubicBezTo>
                      <a:pt x="15200" y="766861"/>
                      <a:pt x="5815" y="750136"/>
                      <a:pt x="0" y="732407"/>
                    </a:cubicBezTo>
                    <a:lnTo>
                      <a:pt x="0" y="307507"/>
                    </a:lnTo>
                    <a:cubicBezTo>
                      <a:pt x="0" y="137676"/>
                      <a:pt x="235406" y="0"/>
                      <a:pt x="525795" y="0"/>
                    </a:cubicBezTo>
                    <a:cubicBezTo>
                      <a:pt x="816184" y="0"/>
                      <a:pt x="1051590" y="137676"/>
                      <a:pt x="1051590" y="307507"/>
                    </a:cubicBezTo>
                    <a:lnTo>
                      <a:pt x="1051590" y="693518"/>
                    </a:lnTo>
                    <a:cubicBezTo>
                      <a:pt x="1025926" y="851621"/>
                      <a:pt x="797964" y="974463"/>
                      <a:pt x="520942" y="974463"/>
                    </a:cubicBezTo>
                    <a:cubicBezTo>
                      <a:pt x="298807" y="974463"/>
                      <a:pt x="108215" y="895475"/>
                      <a:pt x="26803" y="782904"/>
                    </a:cubicBezTo>
                    <a:close/>
                  </a:path>
                </a:pathLst>
              </a:custGeom>
              <a:gradFill flip="none" rotWithShape="1">
                <a:gsLst>
                  <a:gs pos="21000">
                    <a:schemeClr val="accent2">
                      <a:lumMod val="0"/>
                      <a:lumOff val="100000"/>
                    </a:schemeClr>
                  </a:gs>
                  <a:gs pos="89000">
                    <a:schemeClr val="accent4"/>
                  </a:gs>
                </a:gsLst>
                <a:lin ang="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95" name="Oval 91">
                <a:extLst>
                  <a:ext uri="{FF2B5EF4-FFF2-40B4-BE49-F238E27FC236}">
                    <a16:creationId xmlns:a16="http://schemas.microsoft.com/office/drawing/2014/main" id="{6214464C-DDC2-4BE9-BC76-1D624E3A9379}"/>
                  </a:ext>
                </a:extLst>
              </p:cNvPr>
              <p:cNvSpPr/>
              <p:nvPr/>
            </p:nvSpPr>
            <p:spPr bwMode="gray">
              <a:xfrm rot="1800000">
                <a:off x="-611201" y="1548927"/>
                <a:ext cx="611065" cy="1039152"/>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96" name="Oval 91">
                <a:extLst>
                  <a:ext uri="{FF2B5EF4-FFF2-40B4-BE49-F238E27FC236}">
                    <a16:creationId xmlns:a16="http://schemas.microsoft.com/office/drawing/2014/main" id="{B933E29D-1900-4A5C-AD71-31995F6F043A}"/>
                  </a:ext>
                </a:extLst>
              </p:cNvPr>
              <p:cNvSpPr/>
              <p:nvPr/>
            </p:nvSpPr>
            <p:spPr bwMode="gray">
              <a:xfrm rot="1800000">
                <a:off x="-478698" y="1774257"/>
                <a:ext cx="346058" cy="588492"/>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grpSp>
          <p:nvGrpSpPr>
            <p:cNvPr id="454" name="Group 453">
              <a:extLst>
                <a:ext uri="{FF2B5EF4-FFF2-40B4-BE49-F238E27FC236}">
                  <a16:creationId xmlns:a16="http://schemas.microsoft.com/office/drawing/2014/main" id="{5DD651D6-C2BC-4A58-9828-846AB0F43A7A}"/>
                </a:ext>
              </a:extLst>
            </p:cNvPr>
            <p:cNvGrpSpPr/>
            <p:nvPr/>
          </p:nvGrpSpPr>
          <p:grpSpPr bwMode="gray">
            <a:xfrm flipH="1">
              <a:off x="9019239" y="4240262"/>
              <a:ext cx="402572" cy="289051"/>
              <a:chOff x="-584151" y="4455040"/>
              <a:chExt cx="2401212" cy="1724102"/>
            </a:xfrm>
            <a:solidFill>
              <a:schemeClr val="bg1"/>
            </a:solidFill>
          </p:grpSpPr>
          <p:sp>
            <p:nvSpPr>
              <p:cNvPr id="492" name="Rectangle 83">
                <a:extLst>
                  <a:ext uri="{FF2B5EF4-FFF2-40B4-BE49-F238E27FC236}">
                    <a16:creationId xmlns:a16="http://schemas.microsoft.com/office/drawing/2014/main" id="{8708AFFD-EA2E-4E34-A241-80BD21AB94CE}"/>
                  </a:ext>
                </a:extLst>
              </p:cNvPr>
              <p:cNvSpPr/>
              <p:nvPr/>
            </p:nvSpPr>
            <p:spPr bwMode="gray">
              <a:xfrm>
                <a:off x="-584151" y="5598330"/>
                <a:ext cx="403638" cy="580812"/>
              </a:xfrm>
              <a:custGeom>
                <a:avLst/>
                <a:gdLst/>
                <a:ahLst/>
                <a:cxnLst/>
                <a:rect l="l" t="t" r="r" b="b"/>
                <a:pathLst>
                  <a:path w="403638" h="580812">
                    <a:moveTo>
                      <a:pt x="83355" y="0"/>
                    </a:moveTo>
                    <a:lnTo>
                      <a:pt x="403638" y="181421"/>
                    </a:lnTo>
                    <a:lnTo>
                      <a:pt x="320283" y="580812"/>
                    </a:lnTo>
                    <a:lnTo>
                      <a:pt x="0" y="399391"/>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93" name="Rectangle 82">
                <a:extLst>
                  <a:ext uri="{FF2B5EF4-FFF2-40B4-BE49-F238E27FC236}">
                    <a16:creationId xmlns:a16="http://schemas.microsoft.com/office/drawing/2014/main" id="{67D83DF5-96E3-466F-A7C0-64FF2F4020AC}"/>
                  </a:ext>
                </a:extLst>
              </p:cNvPr>
              <p:cNvSpPr/>
              <p:nvPr/>
            </p:nvSpPr>
            <p:spPr bwMode="gray">
              <a:xfrm>
                <a:off x="-499762" y="4455040"/>
                <a:ext cx="2316823" cy="1324976"/>
              </a:xfrm>
              <a:custGeom>
                <a:avLst/>
                <a:gdLst>
                  <a:gd name="connsiteX0" fmla="*/ 1997533 w 2316823"/>
                  <a:gd name="connsiteY0" fmla="*/ 0 h 1324976"/>
                  <a:gd name="connsiteX1" fmla="*/ 2316823 w 2316823"/>
                  <a:gd name="connsiteY1" fmla="*/ 182366 h 1324976"/>
                  <a:gd name="connsiteX2" fmla="*/ 1319034 w 2316823"/>
                  <a:gd name="connsiteY2" fmla="*/ 755008 h 1324976"/>
                  <a:gd name="connsiteX3" fmla="*/ 319290 w 2316823"/>
                  <a:gd name="connsiteY3" fmla="*/ 1324976 h 1324976"/>
                  <a:gd name="connsiteX4" fmla="*/ 0 w 2316823"/>
                  <a:gd name="connsiteY4" fmla="*/ 1142610 h 1324976"/>
                  <a:gd name="connsiteX5" fmla="*/ 997789 w 2316823"/>
                  <a:gd name="connsiteY5" fmla="*/ 569968 h 1324976"/>
                  <a:gd name="connsiteX6" fmla="*/ 1001104 w 2316823"/>
                  <a:gd name="connsiteY6" fmla="*/ 571862 h 1324976"/>
                  <a:gd name="connsiteX7" fmla="*/ 1997533 w 2316823"/>
                  <a:gd name="connsiteY7"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997789 w 2316823"/>
                  <a:gd name="connsiteY4" fmla="*/ 569968 h 1324976"/>
                  <a:gd name="connsiteX5" fmla="*/ 1001104 w 2316823"/>
                  <a:gd name="connsiteY5" fmla="*/ 571862 h 1324976"/>
                  <a:gd name="connsiteX6" fmla="*/ 1997533 w 2316823"/>
                  <a:gd name="connsiteY6"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997789 w 2316823"/>
                  <a:gd name="connsiteY4" fmla="*/ 569968 h 1324976"/>
                  <a:gd name="connsiteX5" fmla="*/ 1997533 w 2316823"/>
                  <a:gd name="connsiteY5"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997789 w 2316823"/>
                  <a:gd name="connsiteY4" fmla="*/ 569968 h 1324976"/>
                  <a:gd name="connsiteX5" fmla="*/ 1017922 w 2316823"/>
                  <a:gd name="connsiteY5" fmla="*/ 555872 h 1324976"/>
                  <a:gd name="connsiteX6" fmla="*/ 1997533 w 2316823"/>
                  <a:gd name="connsiteY6"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997789 w 2316823"/>
                  <a:gd name="connsiteY4" fmla="*/ 569968 h 1324976"/>
                  <a:gd name="connsiteX5" fmla="*/ 1997533 w 2316823"/>
                  <a:gd name="connsiteY5"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1997533 w 2316823"/>
                  <a:gd name="connsiteY4"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993538 w 2316823"/>
                  <a:gd name="connsiteY4" fmla="*/ 568064 h 1324976"/>
                  <a:gd name="connsiteX5" fmla="*/ 1997533 w 2316823"/>
                  <a:gd name="connsiteY5"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1997533 w 2316823"/>
                  <a:gd name="connsiteY4" fmla="*/ 0 h 132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6823" h="1324976">
                    <a:moveTo>
                      <a:pt x="1997533" y="0"/>
                    </a:moveTo>
                    <a:lnTo>
                      <a:pt x="2316823" y="182366"/>
                    </a:lnTo>
                    <a:lnTo>
                      <a:pt x="319290" y="1324976"/>
                    </a:lnTo>
                    <a:lnTo>
                      <a:pt x="0" y="1142610"/>
                    </a:lnTo>
                    <a:lnTo>
                      <a:pt x="1997533"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
          <p:nvSpPr>
            <p:cNvPr id="455" name="Rectangle 82">
              <a:extLst>
                <a:ext uri="{FF2B5EF4-FFF2-40B4-BE49-F238E27FC236}">
                  <a16:creationId xmlns:a16="http://schemas.microsoft.com/office/drawing/2014/main" id="{931C8E73-8EA2-47AF-84A9-4451556AE924}"/>
                </a:ext>
              </a:extLst>
            </p:cNvPr>
            <p:cNvSpPr/>
            <p:nvPr/>
          </p:nvSpPr>
          <p:spPr bwMode="gray">
            <a:xfrm flipH="1">
              <a:off x="8657881" y="4248317"/>
              <a:ext cx="905417" cy="517524"/>
            </a:xfrm>
            <a:custGeom>
              <a:avLst/>
              <a:gdLst>
                <a:gd name="connsiteX0" fmla="*/ 3472374 w 5400525"/>
                <a:gd name="connsiteY0" fmla="*/ 0 h 3086867"/>
                <a:gd name="connsiteX1" fmla="*/ 5400525 w 5400525"/>
                <a:gd name="connsiteY1" fmla="*/ 1079500 h 3086867"/>
                <a:gd name="connsiteX2" fmla="*/ 4819596 w 5400525"/>
                <a:gd name="connsiteY2" fmla="*/ 1413767 h 3086867"/>
                <a:gd name="connsiteX3" fmla="*/ 1915451 w 5400525"/>
                <a:gd name="connsiteY3" fmla="*/ 3086867 h 3086867"/>
                <a:gd name="connsiteX4" fmla="*/ 0 w 5400525"/>
                <a:gd name="connsiteY4" fmla="*/ 1992835 h 3086867"/>
                <a:gd name="connsiteX5" fmla="*/ 582180 w 5400525"/>
                <a:gd name="connsiteY5" fmla="*/ 1659303 h 3086867"/>
                <a:gd name="connsiteX6" fmla="*/ 579120 w 5400525"/>
                <a:gd name="connsiteY6" fmla="*/ 1657555 h 3086867"/>
                <a:gd name="connsiteX7" fmla="*/ 3472374 w 5400525"/>
                <a:gd name="connsiteY7" fmla="*/ 0 h 3086867"/>
                <a:gd name="connsiteX0" fmla="*/ 3472374 w 5400525"/>
                <a:gd name="connsiteY0" fmla="*/ 0 h 3086867"/>
                <a:gd name="connsiteX1" fmla="*/ 5400525 w 5400525"/>
                <a:gd name="connsiteY1" fmla="*/ 1079500 h 3086867"/>
                <a:gd name="connsiteX2" fmla="*/ 1915451 w 5400525"/>
                <a:gd name="connsiteY2" fmla="*/ 3086867 h 3086867"/>
                <a:gd name="connsiteX3" fmla="*/ 0 w 5400525"/>
                <a:gd name="connsiteY3" fmla="*/ 1992835 h 3086867"/>
                <a:gd name="connsiteX4" fmla="*/ 582180 w 5400525"/>
                <a:gd name="connsiteY4" fmla="*/ 1659303 h 3086867"/>
                <a:gd name="connsiteX5" fmla="*/ 579120 w 5400525"/>
                <a:gd name="connsiteY5" fmla="*/ 1657555 h 3086867"/>
                <a:gd name="connsiteX6" fmla="*/ 3472374 w 5400525"/>
                <a:gd name="connsiteY6" fmla="*/ 0 h 3086867"/>
                <a:gd name="connsiteX0" fmla="*/ 3472374 w 5400525"/>
                <a:gd name="connsiteY0" fmla="*/ 0 h 3086867"/>
                <a:gd name="connsiteX1" fmla="*/ 5400525 w 5400525"/>
                <a:gd name="connsiteY1" fmla="*/ 1079500 h 3086867"/>
                <a:gd name="connsiteX2" fmla="*/ 1915451 w 5400525"/>
                <a:gd name="connsiteY2" fmla="*/ 3086867 h 3086867"/>
                <a:gd name="connsiteX3" fmla="*/ 0 w 5400525"/>
                <a:gd name="connsiteY3" fmla="*/ 1992835 h 3086867"/>
                <a:gd name="connsiteX4" fmla="*/ 582180 w 5400525"/>
                <a:gd name="connsiteY4" fmla="*/ 1659303 h 3086867"/>
                <a:gd name="connsiteX5" fmla="*/ 3472374 w 5400525"/>
                <a:gd name="connsiteY5" fmla="*/ 0 h 3086867"/>
                <a:gd name="connsiteX0" fmla="*/ 3472374 w 5400525"/>
                <a:gd name="connsiteY0" fmla="*/ 0 h 3086867"/>
                <a:gd name="connsiteX1" fmla="*/ 5400525 w 5400525"/>
                <a:gd name="connsiteY1" fmla="*/ 1079500 h 3086867"/>
                <a:gd name="connsiteX2" fmla="*/ 1915451 w 5400525"/>
                <a:gd name="connsiteY2" fmla="*/ 3086867 h 3086867"/>
                <a:gd name="connsiteX3" fmla="*/ 0 w 5400525"/>
                <a:gd name="connsiteY3" fmla="*/ 1992835 h 3086867"/>
                <a:gd name="connsiteX4" fmla="*/ 3472374 w 5400525"/>
                <a:gd name="connsiteY4" fmla="*/ 0 h 3086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525" h="3086867">
                  <a:moveTo>
                    <a:pt x="3472374" y="0"/>
                  </a:moveTo>
                  <a:lnTo>
                    <a:pt x="5400525" y="1079500"/>
                  </a:lnTo>
                  <a:lnTo>
                    <a:pt x="1915451" y="3086867"/>
                  </a:lnTo>
                  <a:lnTo>
                    <a:pt x="0" y="1992835"/>
                  </a:lnTo>
                  <a:lnTo>
                    <a:pt x="3472374"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p>
          </p:txBody>
        </p:sp>
        <p:sp>
          <p:nvSpPr>
            <p:cNvPr id="456" name="Can 370">
              <a:extLst>
                <a:ext uri="{FF2B5EF4-FFF2-40B4-BE49-F238E27FC236}">
                  <a16:creationId xmlns:a16="http://schemas.microsoft.com/office/drawing/2014/main" id="{61E5BBD7-42B5-427C-AE26-80F266A9B88C}"/>
                </a:ext>
              </a:extLst>
            </p:cNvPr>
            <p:cNvSpPr/>
            <p:nvPr/>
          </p:nvSpPr>
          <p:spPr bwMode="gray">
            <a:xfrm rot="7200000" flipH="1">
              <a:off x="8184659" y="3068518"/>
              <a:ext cx="641568" cy="1808863"/>
            </a:xfrm>
            <a:prstGeom prst="can">
              <a:avLst>
                <a:gd name="adj" fmla="val 58804"/>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57" name="Rectangle 295">
              <a:extLst>
                <a:ext uri="{FF2B5EF4-FFF2-40B4-BE49-F238E27FC236}">
                  <a16:creationId xmlns:a16="http://schemas.microsoft.com/office/drawing/2014/main" id="{ECD2D564-A8ED-4EA4-992D-B6849EF82A4E}"/>
                </a:ext>
              </a:extLst>
            </p:cNvPr>
            <p:cNvSpPr/>
            <p:nvPr/>
          </p:nvSpPr>
          <p:spPr bwMode="gray">
            <a:xfrm flipH="1">
              <a:off x="8967147" y="3931253"/>
              <a:ext cx="185153" cy="155107"/>
            </a:xfrm>
            <a:custGeom>
              <a:avLst/>
              <a:gdLst/>
              <a:ahLst/>
              <a:cxnLst/>
              <a:rect l="l" t="t" r="r" b="b"/>
              <a:pathLst>
                <a:path w="1100522" h="921931">
                  <a:moveTo>
                    <a:pt x="0" y="0"/>
                  </a:moveTo>
                  <a:lnTo>
                    <a:pt x="1100522" y="631529"/>
                  </a:lnTo>
                  <a:lnTo>
                    <a:pt x="1100522" y="921931"/>
                  </a:lnTo>
                  <a:lnTo>
                    <a:pt x="1081473" y="910662"/>
                  </a:lnTo>
                  <a:cubicBezTo>
                    <a:pt x="787483" y="542523"/>
                    <a:pt x="427317" y="312217"/>
                    <a:pt x="112351" y="280633"/>
                  </a:cubicBezTo>
                  <a:cubicBezTo>
                    <a:pt x="78120" y="277200"/>
                    <a:pt x="44424" y="276114"/>
                    <a:pt x="11409" y="277627"/>
                  </a:cubicBezTo>
                  <a:lnTo>
                    <a:pt x="0" y="270878"/>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58" name="Rectangle 83">
              <a:extLst>
                <a:ext uri="{FF2B5EF4-FFF2-40B4-BE49-F238E27FC236}">
                  <a16:creationId xmlns:a16="http://schemas.microsoft.com/office/drawing/2014/main" id="{7CCDC2B3-4688-45BF-8A4A-D0AF7CA98315}"/>
                </a:ext>
              </a:extLst>
            </p:cNvPr>
            <p:cNvSpPr/>
            <p:nvPr/>
          </p:nvSpPr>
          <p:spPr bwMode="gray">
            <a:xfrm flipH="1" flipV="1">
              <a:off x="8631244" y="4453590"/>
              <a:ext cx="68236" cy="96421"/>
            </a:xfrm>
            <a:custGeom>
              <a:avLst/>
              <a:gdLst/>
              <a:ahLst/>
              <a:cxnLst/>
              <a:rect l="l" t="t" r="r" b="b"/>
              <a:pathLst>
                <a:path w="407010" h="575124">
                  <a:moveTo>
                    <a:pt x="0" y="575124"/>
                  </a:moveTo>
                  <a:lnTo>
                    <a:pt x="316126" y="398405"/>
                  </a:lnTo>
                  <a:lnTo>
                    <a:pt x="407010" y="4729"/>
                  </a:lnTo>
                  <a:lnTo>
                    <a:pt x="401996" y="0"/>
                  </a:lnTo>
                  <a:lnTo>
                    <a:pt x="80204" y="182276"/>
                  </a:lnTo>
                  <a:lnTo>
                    <a:pt x="589" y="563748"/>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nvGrpSpPr>
            <p:cNvPr id="459" name="Group 458">
              <a:extLst>
                <a:ext uri="{FF2B5EF4-FFF2-40B4-BE49-F238E27FC236}">
                  <a16:creationId xmlns:a16="http://schemas.microsoft.com/office/drawing/2014/main" id="{7EADBEF8-564D-4447-BBC1-BB5B1C442DFC}"/>
                </a:ext>
              </a:extLst>
            </p:cNvPr>
            <p:cNvGrpSpPr/>
            <p:nvPr/>
          </p:nvGrpSpPr>
          <p:grpSpPr bwMode="gray">
            <a:xfrm flipH="1">
              <a:off x="8646567" y="4453528"/>
              <a:ext cx="402572" cy="289051"/>
              <a:chOff x="-584151" y="4455040"/>
              <a:chExt cx="2401212" cy="1724102"/>
            </a:xfrm>
            <a:solidFill>
              <a:schemeClr val="bg1"/>
            </a:solidFill>
          </p:grpSpPr>
          <p:sp>
            <p:nvSpPr>
              <p:cNvPr id="490" name="Rectangle 83">
                <a:extLst>
                  <a:ext uri="{FF2B5EF4-FFF2-40B4-BE49-F238E27FC236}">
                    <a16:creationId xmlns:a16="http://schemas.microsoft.com/office/drawing/2014/main" id="{9C5BBFA4-0E2A-4D9B-96A3-4A0E3963ED64}"/>
                  </a:ext>
                </a:extLst>
              </p:cNvPr>
              <p:cNvSpPr/>
              <p:nvPr/>
            </p:nvSpPr>
            <p:spPr bwMode="gray">
              <a:xfrm>
                <a:off x="-584151" y="5598330"/>
                <a:ext cx="403638" cy="580812"/>
              </a:xfrm>
              <a:custGeom>
                <a:avLst/>
                <a:gdLst/>
                <a:ahLst/>
                <a:cxnLst/>
                <a:rect l="l" t="t" r="r" b="b"/>
                <a:pathLst>
                  <a:path w="403638" h="580812">
                    <a:moveTo>
                      <a:pt x="83355" y="0"/>
                    </a:moveTo>
                    <a:lnTo>
                      <a:pt x="403638" y="181421"/>
                    </a:lnTo>
                    <a:lnTo>
                      <a:pt x="320283" y="580812"/>
                    </a:lnTo>
                    <a:lnTo>
                      <a:pt x="0" y="399391"/>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91" name="Rectangle 82">
                <a:extLst>
                  <a:ext uri="{FF2B5EF4-FFF2-40B4-BE49-F238E27FC236}">
                    <a16:creationId xmlns:a16="http://schemas.microsoft.com/office/drawing/2014/main" id="{D28C8FB8-F197-4174-A1C1-E42F77729FAA}"/>
                  </a:ext>
                </a:extLst>
              </p:cNvPr>
              <p:cNvSpPr/>
              <p:nvPr/>
            </p:nvSpPr>
            <p:spPr bwMode="gray">
              <a:xfrm>
                <a:off x="-499762" y="4455040"/>
                <a:ext cx="2316823" cy="1324976"/>
              </a:xfrm>
              <a:custGeom>
                <a:avLst/>
                <a:gdLst>
                  <a:gd name="connsiteX0" fmla="*/ 1997533 w 2316823"/>
                  <a:gd name="connsiteY0" fmla="*/ 0 h 1324976"/>
                  <a:gd name="connsiteX1" fmla="*/ 2316823 w 2316823"/>
                  <a:gd name="connsiteY1" fmla="*/ 182366 h 1324976"/>
                  <a:gd name="connsiteX2" fmla="*/ 1319034 w 2316823"/>
                  <a:gd name="connsiteY2" fmla="*/ 755008 h 1324976"/>
                  <a:gd name="connsiteX3" fmla="*/ 319290 w 2316823"/>
                  <a:gd name="connsiteY3" fmla="*/ 1324976 h 1324976"/>
                  <a:gd name="connsiteX4" fmla="*/ 0 w 2316823"/>
                  <a:gd name="connsiteY4" fmla="*/ 1142610 h 1324976"/>
                  <a:gd name="connsiteX5" fmla="*/ 997789 w 2316823"/>
                  <a:gd name="connsiteY5" fmla="*/ 569968 h 1324976"/>
                  <a:gd name="connsiteX6" fmla="*/ 1001104 w 2316823"/>
                  <a:gd name="connsiteY6" fmla="*/ 571862 h 1324976"/>
                  <a:gd name="connsiteX7" fmla="*/ 1997533 w 2316823"/>
                  <a:gd name="connsiteY7"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997789 w 2316823"/>
                  <a:gd name="connsiteY4" fmla="*/ 569968 h 1324976"/>
                  <a:gd name="connsiteX5" fmla="*/ 1001104 w 2316823"/>
                  <a:gd name="connsiteY5" fmla="*/ 571862 h 1324976"/>
                  <a:gd name="connsiteX6" fmla="*/ 1997533 w 2316823"/>
                  <a:gd name="connsiteY6"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997789 w 2316823"/>
                  <a:gd name="connsiteY4" fmla="*/ 569968 h 1324976"/>
                  <a:gd name="connsiteX5" fmla="*/ 1997533 w 2316823"/>
                  <a:gd name="connsiteY5"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997789 w 2316823"/>
                  <a:gd name="connsiteY4" fmla="*/ 569968 h 1324976"/>
                  <a:gd name="connsiteX5" fmla="*/ 1017922 w 2316823"/>
                  <a:gd name="connsiteY5" fmla="*/ 555872 h 1324976"/>
                  <a:gd name="connsiteX6" fmla="*/ 1997533 w 2316823"/>
                  <a:gd name="connsiteY6"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997789 w 2316823"/>
                  <a:gd name="connsiteY4" fmla="*/ 569968 h 1324976"/>
                  <a:gd name="connsiteX5" fmla="*/ 1997533 w 2316823"/>
                  <a:gd name="connsiteY5"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1997533 w 2316823"/>
                  <a:gd name="connsiteY4"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993538 w 2316823"/>
                  <a:gd name="connsiteY4" fmla="*/ 568064 h 1324976"/>
                  <a:gd name="connsiteX5" fmla="*/ 1997533 w 2316823"/>
                  <a:gd name="connsiteY5" fmla="*/ 0 h 1324976"/>
                  <a:gd name="connsiteX0" fmla="*/ 1997533 w 2316823"/>
                  <a:gd name="connsiteY0" fmla="*/ 0 h 1324976"/>
                  <a:gd name="connsiteX1" fmla="*/ 2316823 w 2316823"/>
                  <a:gd name="connsiteY1" fmla="*/ 182366 h 1324976"/>
                  <a:gd name="connsiteX2" fmla="*/ 319290 w 2316823"/>
                  <a:gd name="connsiteY2" fmla="*/ 1324976 h 1324976"/>
                  <a:gd name="connsiteX3" fmla="*/ 0 w 2316823"/>
                  <a:gd name="connsiteY3" fmla="*/ 1142610 h 1324976"/>
                  <a:gd name="connsiteX4" fmla="*/ 1997533 w 2316823"/>
                  <a:gd name="connsiteY4" fmla="*/ 0 h 1324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6823" h="1324976">
                    <a:moveTo>
                      <a:pt x="1997533" y="0"/>
                    </a:moveTo>
                    <a:lnTo>
                      <a:pt x="2316823" y="182366"/>
                    </a:lnTo>
                    <a:lnTo>
                      <a:pt x="319290" y="1324976"/>
                    </a:lnTo>
                    <a:lnTo>
                      <a:pt x="0" y="1142610"/>
                    </a:lnTo>
                    <a:lnTo>
                      <a:pt x="1997533"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
          <p:nvSpPr>
            <p:cNvPr id="478" name="Freeform: Shape 477">
              <a:extLst>
                <a:ext uri="{FF2B5EF4-FFF2-40B4-BE49-F238E27FC236}">
                  <a16:creationId xmlns:a16="http://schemas.microsoft.com/office/drawing/2014/main" id="{6F62F2C4-CB83-457F-BD0C-557B29796AD8}"/>
                </a:ext>
              </a:extLst>
            </p:cNvPr>
            <p:cNvSpPr/>
            <p:nvPr/>
          </p:nvSpPr>
          <p:spPr bwMode="gray">
            <a:xfrm flipH="1">
              <a:off x="7797770" y="3270968"/>
              <a:ext cx="1354953" cy="767732"/>
            </a:xfrm>
            <a:custGeom>
              <a:avLst/>
              <a:gdLst>
                <a:gd name="connsiteX0" fmla="*/ 1216991 w 1433080"/>
                <a:gd name="connsiteY0" fmla="*/ 0 h 811999"/>
                <a:gd name="connsiteX1" fmla="*/ 1433080 w 1433080"/>
                <a:gd name="connsiteY1" fmla="*/ 120980 h 811999"/>
                <a:gd name="connsiteX2" fmla="*/ 198814 w 1433080"/>
                <a:gd name="connsiteY2" fmla="*/ 811999 h 811999"/>
                <a:gd name="connsiteX3" fmla="*/ 0 w 1433080"/>
                <a:gd name="connsiteY3" fmla="*/ 698444 h 811999"/>
              </a:gdLst>
              <a:ahLst/>
              <a:cxnLst>
                <a:cxn ang="0">
                  <a:pos x="connsiteX0" y="connsiteY0"/>
                </a:cxn>
                <a:cxn ang="0">
                  <a:pos x="connsiteX1" y="connsiteY1"/>
                </a:cxn>
                <a:cxn ang="0">
                  <a:pos x="connsiteX2" y="connsiteY2"/>
                </a:cxn>
                <a:cxn ang="0">
                  <a:pos x="connsiteX3" y="connsiteY3"/>
                </a:cxn>
              </a:cxnLst>
              <a:rect l="l" t="t" r="r" b="b"/>
              <a:pathLst>
                <a:path w="1433080" h="811999">
                  <a:moveTo>
                    <a:pt x="1216991" y="0"/>
                  </a:moveTo>
                  <a:lnTo>
                    <a:pt x="1433080" y="120980"/>
                  </a:lnTo>
                  <a:lnTo>
                    <a:pt x="198814" y="811999"/>
                  </a:lnTo>
                  <a:lnTo>
                    <a:pt x="0" y="698444"/>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dirty="0"/>
            </a:p>
          </p:txBody>
        </p:sp>
        <p:sp>
          <p:nvSpPr>
            <p:cNvPr id="479" name="Oval 91">
              <a:extLst>
                <a:ext uri="{FF2B5EF4-FFF2-40B4-BE49-F238E27FC236}">
                  <a16:creationId xmlns:a16="http://schemas.microsoft.com/office/drawing/2014/main" id="{2A4F0FD7-D818-4504-B795-552B725B8341}"/>
                </a:ext>
              </a:extLst>
            </p:cNvPr>
            <p:cNvSpPr/>
            <p:nvPr/>
          </p:nvSpPr>
          <p:spPr bwMode="gray">
            <a:xfrm rot="16200000">
              <a:off x="8842457" y="3797943"/>
              <a:ext cx="88149" cy="149903"/>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80" name="Oval 91">
              <a:extLst>
                <a:ext uri="{FF2B5EF4-FFF2-40B4-BE49-F238E27FC236}">
                  <a16:creationId xmlns:a16="http://schemas.microsoft.com/office/drawing/2014/main" id="{F2678389-554A-4E24-8A07-F900CA6816C4}"/>
                </a:ext>
              </a:extLst>
            </p:cNvPr>
            <p:cNvSpPr/>
            <p:nvPr/>
          </p:nvSpPr>
          <p:spPr bwMode="gray">
            <a:xfrm rot="16200000">
              <a:off x="8584913" y="3649762"/>
              <a:ext cx="88149" cy="149903"/>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81" name="Oval 91">
              <a:extLst>
                <a:ext uri="{FF2B5EF4-FFF2-40B4-BE49-F238E27FC236}">
                  <a16:creationId xmlns:a16="http://schemas.microsoft.com/office/drawing/2014/main" id="{828B81C4-D804-41D9-8ED5-B8C8A3DEEB85}"/>
                </a:ext>
              </a:extLst>
            </p:cNvPr>
            <p:cNvSpPr/>
            <p:nvPr/>
          </p:nvSpPr>
          <p:spPr bwMode="gray">
            <a:xfrm rot="16200000">
              <a:off x="8327369" y="3503570"/>
              <a:ext cx="88149" cy="149903"/>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82" name="Oval 91">
              <a:extLst>
                <a:ext uri="{FF2B5EF4-FFF2-40B4-BE49-F238E27FC236}">
                  <a16:creationId xmlns:a16="http://schemas.microsoft.com/office/drawing/2014/main" id="{C180B9ED-0162-445A-819E-99676327BE3E}"/>
                </a:ext>
              </a:extLst>
            </p:cNvPr>
            <p:cNvSpPr/>
            <p:nvPr/>
          </p:nvSpPr>
          <p:spPr bwMode="gray">
            <a:xfrm rot="16200000">
              <a:off x="8069825" y="3355765"/>
              <a:ext cx="88149" cy="149903"/>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83" name="Freeform: Shape 482">
              <a:extLst>
                <a:ext uri="{FF2B5EF4-FFF2-40B4-BE49-F238E27FC236}">
                  <a16:creationId xmlns:a16="http://schemas.microsoft.com/office/drawing/2014/main" id="{4451CB86-5037-4FA5-AF1F-0E957E81B628}"/>
                </a:ext>
              </a:extLst>
            </p:cNvPr>
            <p:cNvSpPr/>
            <p:nvPr/>
          </p:nvSpPr>
          <p:spPr bwMode="gray">
            <a:xfrm flipH="1">
              <a:off x="7797771" y="3384064"/>
              <a:ext cx="1167102" cy="702118"/>
            </a:xfrm>
            <a:custGeom>
              <a:avLst/>
              <a:gdLst>
                <a:gd name="connsiteX0" fmla="*/ 1234397 w 1234397"/>
                <a:gd name="connsiteY0" fmla="*/ 0 h 742602"/>
                <a:gd name="connsiteX1" fmla="*/ 1234397 w 1234397"/>
                <a:gd name="connsiteY1" fmla="*/ 49165 h 742602"/>
                <a:gd name="connsiteX2" fmla="*/ 0 w 1234397"/>
                <a:gd name="connsiteY2" fmla="*/ 742602 h 742602"/>
                <a:gd name="connsiteX3" fmla="*/ 0 w 1234397"/>
                <a:gd name="connsiteY3" fmla="*/ 693437 h 742602"/>
              </a:gdLst>
              <a:ahLst/>
              <a:cxnLst>
                <a:cxn ang="0">
                  <a:pos x="connsiteX0" y="connsiteY0"/>
                </a:cxn>
                <a:cxn ang="0">
                  <a:pos x="connsiteX1" y="connsiteY1"/>
                </a:cxn>
                <a:cxn ang="0">
                  <a:pos x="connsiteX2" y="connsiteY2"/>
                </a:cxn>
                <a:cxn ang="0">
                  <a:pos x="connsiteX3" y="connsiteY3"/>
                </a:cxn>
              </a:cxnLst>
              <a:rect l="l" t="t" r="r" b="b"/>
              <a:pathLst>
                <a:path w="1234397" h="742602">
                  <a:moveTo>
                    <a:pt x="1234397" y="0"/>
                  </a:moveTo>
                  <a:lnTo>
                    <a:pt x="1234397" y="49165"/>
                  </a:lnTo>
                  <a:lnTo>
                    <a:pt x="0" y="742602"/>
                  </a:lnTo>
                  <a:lnTo>
                    <a:pt x="0" y="693437"/>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84" name="Freeform: Shape 483">
              <a:extLst>
                <a:ext uri="{FF2B5EF4-FFF2-40B4-BE49-F238E27FC236}">
                  <a16:creationId xmlns:a16="http://schemas.microsoft.com/office/drawing/2014/main" id="{1D127E85-EB38-4F3E-B320-F94036736619}"/>
                </a:ext>
              </a:extLst>
            </p:cNvPr>
            <p:cNvSpPr/>
            <p:nvPr/>
          </p:nvSpPr>
          <p:spPr bwMode="gray">
            <a:xfrm>
              <a:off x="9038921" y="4698199"/>
              <a:ext cx="123615" cy="153997"/>
            </a:xfrm>
            <a:custGeom>
              <a:avLst/>
              <a:gdLst>
                <a:gd name="connsiteX0" fmla="*/ 0 w 130743"/>
                <a:gd name="connsiteY0" fmla="*/ 0 h 162876"/>
                <a:gd name="connsiteX1" fmla="*/ 0 w 130743"/>
                <a:gd name="connsiteY1" fmla="*/ 87245 h 162876"/>
                <a:gd name="connsiteX2" fmla="*/ 130743 w 130743"/>
                <a:gd name="connsiteY2" fmla="*/ 162876 h 162876"/>
                <a:gd name="connsiteX3" fmla="*/ 130743 w 130743"/>
                <a:gd name="connsiteY3" fmla="*/ 75632 h 162876"/>
              </a:gdLst>
              <a:ahLst/>
              <a:cxnLst>
                <a:cxn ang="0">
                  <a:pos x="connsiteX0" y="connsiteY0"/>
                </a:cxn>
                <a:cxn ang="0">
                  <a:pos x="connsiteX1" y="connsiteY1"/>
                </a:cxn>
                <a:cxn ang="0">
                  <a:pos x="connsiteX2" y="connsiteY2"/>
                </a:cxn>
                <a:cxn ang="0">
                  <a:pos x="connsiteX3" y="connsiteY3"/>
                </a:cxn>
              </a:cxnLst>
              <a:rect l="l" t="t" r="r" b="b"/>
              <a:pathLst>
                <a:path w="130743" h="162876">
                  <a:moveTo>
                    <a:pt x="0" y="0"/>
                  </a:moveTo>
                  <a:lnTo>
                    <a:pt x="0" y="87245"/>
                  </a:lnTo>
                  <a:lnTo>
                    <a:pt x="130743" y="162876"/>
                  </a:lnTo>
                  <a:lnTo>
                    <a:pt x="130743" y="75632"/>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85" name="Freeform: Shape 484">
              <a:extLst>
                <a:ext uri="{FF2B5EF4-FFF2-40B4-BE49-F238E27FC236}">
                  <a16:creationId xmlns:a16="http://schemas.microsoft.com/office/drawing/2014/main" id="{0486FCDD-D9CC-4F7B-A5A8-CE0D81749BCF}"/>
                </a:ext>
              </a:extLst>
            </p:cNvPr>
            <p:cNvSpPr/>
            <p:nvPr/>
          </p:nvSpPr>
          <p:spPr bwMode="gray">
            <a:xfrm flipH="1">
              <a:off x="9038979" y="4673630"/>
              <a:ext cx="166308" cy="95813"/>
            </a:xfrm>
            <a:custGeom>
              <a:avLst/>
              <a:gdLst>
                <a:gd name="connsiteX0" fmla="*/ 151057 w 429893"/>
                <a:gd name="connsiteY0" fmla="*/ 130288 h 247669"/>
                <a:gd name="connsiteX1" fmla="*/ 203745 w 429893"/>
                <a:gd name="connsiteY1" fmla="*/ 160643 h 247669"/>
                <a:gd name="connsiteX2" fmla="*/ 52688 w 429893"/>
                <a:gd name="connsiteY2" fmla="*/ 247669 h 247669"/>
                <a:gd name="connsiteX3" fmla="*/ 0 w 429893"/>
                <a:gd name="connsiteY3" fmla="*/ 217315 h 247669"/>
                <a:gd name="connsiteX4" fmla="*/ 377205 w 429893"/>
                <a:gd name="connsiteY4" fmla="*/ 0 h 247669"/>
                <a:gd name="connsiteX5" fmla="*/ 429893 w 429893"/>
                <a:gd name="connsiteY5" fmla="*/ 30355 h 247669"/>
                <a:gd name="connsiteX6" fmla="*/ 204328 w 429893"/>
                <a:gd name="connsiteY6" fmla="*/ 160307 h 247669"/>
                <a:gd name="connsiteX7" fmla="*/ 204328 w 429893"/>
                <a:gd name="connsiteY7" fmla="*/ 99598 h 247669"/>
                <a:gd name="connsiteX0" fmla="*/ 151057 w 377205"/>
                <a:gd name="connsiteY0" fmla="*/ 130288 h 247669"/>
                <a:gd name="connsiteX1" fmla="*/ 203745 w 377205"/>
                <a:gd name="connsiteY1" fmla="*/ 160643 h 247669"/>
                <a:gd name="connsiteX2" fmla="*/ 52688 w 377205"/>
                <a:gd name="connsiteY2" fmla="*/ 247669 h 247669"/>
                <a:gd name="connsiteX3" fmla="*/ 0 w 377205"/>
                <a:gd name="connsiteY3" fmla="*/ 217315 h 247669"/>
                <a:gd name="connsiteX4" fmla="*/ 151057 w 377205"/>
                <a:gd name="connsiteY4" fmla="*/ 130288 h 247669"/>
                <a:gd name="connsiteX5" fmla="*/ 377205 w 377205"/>
                <a:gd name="connsiteY5" fmla="*/ 0 h 247669"/>
                <a:gd name="connsiteX6" fmla="*/ 204328 w 377205"/>
                <a:gd name="connsiteY6" fmla="*/ 160307 h 247669"/>
                <a:gd name="connsiteX7" fmla="*/ 204328 w 377205"/>
                <a:gd name="connsiteY7" fmla="*/ 99598 h 247669"/>
                <a:gd name="connsiteX8" fmla="*/ 377205 w 377205"/>
                <a:gd name="connsiteY8" fmla="*/ 0 h 247669"/>
                <a:gd name="connsiteX0" fmla="*/ 151057 w 377205"/>
                <a:gd name="connsiteY0" fmla="*/ 130288 h 247669"/>
                <a:gd name="connsiteX1" fmla="*/ 316818 w 377205"/>
                <a:gd name="connsiteY1" fmla="*/ 28242 h 247669"/>
                <a:gd name="connsiteX2" fmla="*/ 203745 w 377205"/>
                <a:gd name="connsiteY2" fmla="*/ 160643 h 247669"/>
                <a:gd name="connsiteX3" fmla="*/ 52688 w 377205"/>
                <a:gd name="connsiteY3" fmla="*/ 247669 h 247669"/>
                <a:gd name="connsiteX4" fmla="*/ 0 w 377205"/>
                <a:gd name="connsiteY4" fmla="*/ 217315 h 247669"/>
                <a:gd name="connsiteX5" fmla="*/ 151057 w 377205"/>
                <a:gd name="connsiteY5" fmla="*/ 130288 h 247669"/>
                <a:gd name="connsiteX6" fmla="*/ 377205 w 377205"/>
                <a:gd name="connsiteY6" fmla="*/ 0 h 247669"/>
                <a:gd name="connsiteX7" fmla="*/ 204328 w 377205"/>
                <a:gd name="connsiteY7" fmla="*/ 160307 h 247669"/>
                <a:gd name="connsiteX8" fmla="*/ 204328 w 377205"/>
                <a:gd name="connsiteY8" fmla="*/ 99598 h 247669"/>
                <a:gd name="connsiteX9" fmla="*/ 377205 w 377205"/>
                <a:gd name="connsiteY9" fmla="*/ 0 h 247669"/>
                <a:gd name="connsiteX0" fmla="*/ 151057 w 377205"/>
                <a:gd name="connsiteY0" fmla="*/ 130288 h 247669"/>
                <a:gd name="connsiteX1" fmla="*/ 203745 w 377205"/>
                <a:gd name="connsiteY1" fmla="*/ 160643 h 247669"/>
                <a:gd name="connsiteX2" fmla="*/ 52688 w 377205"/>
                <a:gd name="connsiteY2" fmla="*/ 247669 h 247669"/>
                <a:gd name="connsiteX3" fmla="*/ 0 w 377205"/>
                <a:gd name="connsiteY3" fmla="*/ 217315 h 247669"/>
                <a:gd name="connsiteX4" fmla="*/ 151057 w 377205"/>
                <a:gd name="connsiteY4" fmla="*/ 130288 h 247669"/>
                <a:gd name="connsiteX5" fmla="*/ 377205 w 377205"/>
                <a:gd name="connsiteY5" fmla="*/ 0 h 247669"/>
                <a:gd name="connsiteX6" fmla="*/ 204328 w 377205"/>
                <a:gd name="connsiteY6" fmla="*/ 160307 h 247669"/>
                <a:gd name="connsiteX7" fmla="*/ 204328 w 377205"/>
                <a:gd name="connsiteY7" fmla="*/ 99598 h 247669"/>
                <a:gd name="connsiteX8" fmla="*/ 377205 w 377205"/>
                <a:gd name="connsiteY8" fmla="*/ 0 h 247669"/>
                <a:gd name="connsiteX0" fmla="*/ 151057 w 377205"/>
                <a:gd name="connsiteY0" fmla="*/ 130288 h 247669"/>
                <a:gd name="connsiteX1" fmla="*/ 321898 w 377205"/>
                <a:gd name="connsiteY1" fmla="*/ 30782 h 247669"/>
                <a:gd name="connsiteX2" fmla="*/ 203745 w 377205"/>
                <a:gd name="connsiteY2" fmla="*/ 160643 h 247669"/>
                <a:gd name="connsiteX3" fmla="*/ 52688 w 377205"/>
                <a:gd name="connsiteY3" fmla="*/ 247669 h 247669"/>
                <a:gd name="connsiteX4" fmla="*/ 0 w 377205"/>
                <a:gd name="connsiteY4" fmla="*/ 217315 h 247669"/>
                <a:gd name="connsiteX5" fmla="*/ 151057 w 377205"/>
                <a:gd name="connsiteY5" fmla="*/ 130288 h 247669"/>
                <a:gd name="connsiteX6" fmla="*/ 377205 w 377205"/>
                <a:gd name="connsiteY6" fmla="*/ 0 h 247669"/>
                <a:gd name="connsiteX7" fmla="*/ 204328 w 377205"/>
                <a:gd name="connsiteY7" fmla="*/ 160307 h 247669"/>
                <a:gd name="connsiteX8" fmla="*/ 204328 w 377205"/>
                <a:gd name="connsiteY8" fmla="*/ 99598 h 247669"/>
                <a:gd name="connsiteX9" fmla="*/ 377205 w 377205"/>
                <a:gd name="connsiteY9" fmla="*/ 0 h 247669"/>
                <a:gd name="connsiteX0" fmla="*/ 151057 w 377205"/>
                <a:gd name="connsiteY0" fmla="*/ 130288 h 247669"/>
                <a:gd name="connsiteX1" fmla="*/ 203745 w 377205"/>
                <a:gd name="connsiteY1" fmla="*/ 160643 h 247669"/>
                <a:gd name="connsiteX2" fmla="*/ 52688 w 377205"/>
                <a:gd name="connsiteY2" fmla="*/ 247669 h 247669"/>
                <a:gd name="connsiteX3" fmla="*/ 0 w 377205"/>
                <a:gd name="connsiteY3" fmla="*/ 217315 h 247669"/>
                <a:gd name="connsiteX4" fmla="*/ 151057 w 377205"/>
                <a:gd name="connsiteY4" fmla="*/ 130288 h 247669"/>
                <a:gd name="connsiteX5" fmla="*/ 377205 w 377205"/>
                <a:gd name="connsiteY5" fmla="*/ 0 h 247669"/>
                <a:gd name="connsiteX6" fmla="*/ 204328 w 377205"/>
                <a:gd name="connsiteY6" fmla="*/ 160307 h 247669"/>
                <a:gd name="connsiteX7" fmla="*/ 204328 w 377205"/>
                <a:gd name="connsiteY7" fmla="*/ 99598 h 247669"/>
                <a:gd name="connsiteX8" fmla="*/ 377205 w 377205"/>
                <a:gd name="connsiteY8" fmla="*/ 0 h 247669"/>
                <a:gd name="connsiteX0" fmla="*/ 151057 w 377205"/>
                <a:gd name="connsiteY0" fmla="*/ 130288 h 247669"/>
                <a:gd name="connsiteX1" fmla="*/ 324438 w 377205"/>
                <a:gd name="connsiteY1" fmla="*/ 25702 h 247669"/>
                <a:gd name="connsiteX2" fmla="*/ 203745 w 377205"/>
                <a:gd name="connsiteY2" fmla="*/ 160643 h 247669"/>
                <a:gd name="connsiteX3" fmla="*/ 52688 w 377205"/>
                <a:gd name="connsiteY3" fmla="*/ 247669 h 247669"/>
                <a:gd name="connsiteX4" fmla="*/ 0 w 377205"/>
                <a:gd name="connsiteY4" fmla="*/ 217315 h 247669"/>
                <a:gd name="connsiteX5" fmla="*/ 151057 w 377205"/>
                <a:gd name="connsiteY5" fmla="*/ 130288 h 247669"/>
                <a:gd name="connsiteX6" fmla="*/ 377205 w 377205"/>
                <a:gd name="connsiteY6" fmla="*/ 0 h 247669"/>
                <a:gd name="connsiteX7" fmla="*/ 204328 w 377205"/>
                <a:gd name="connsiteY7" fmla="*/ 160307 h 247669"/>
                <a:gd name="connsiteX8" fmla="*/ 204328 w 377205"/>
                <a:gd name="connsiteY8" fmla="*/ 99598 h 247669"/>
                <a:gd name="connsiteX9" fmla="*/ 377205 w 377205"/>
                <a:gd name="connsiteY9" fmla="*/ 0 h 247669"/>
                <a:gd name="connsiteX0" fmla="*/ 151057 w 377205"/>
                <a:gd name="connsiteY0" fmla="*/ 130288 h 247669"/>
                <a:gd name="connsiteX1" fmla="*/ 203745 w 377205"/>
                <a:gd name="connsiteY1" fmla="*/ 160643 h 247669"/>
                <a:gd name="connsiteX2" fmla="*/ 52688 w 377205"/>
                <a:gd name="connsiteY2" fmla="*/ 247669 h 247669"/>
                <a:gd name="connsiteX3" fmla="*/ 0 w 377205"/>
                <a:gd name="connsiteY3" fmla="*/ 217315 h 247669"/>
                <a:gd name="connsiteX4" fmla="*/ 151057 w 377205"/>
                <a:gd name="connsiteY4" fmla="*/ 130288 h 247669"/>
                <a:gd name="connsiteX5" fmla="*/ 377205 w 377205"/>
                <a:gd name="connsiteY5" fmla="*/ 0 h 247669"/>
                <a:gd name="connsiteX6" fmla="*/ 204328 w 377205"/>
                <a:gd name="connsiteY6" fmla="*/ 160307 h 247669"/>
                <a:gd name="connsiteX7" fmla="*/ 204328 w 377205"/>
                <a:gd name="connsiteY7" fmla="*/ 99598 h 247669"/>
                <a:gd name="connsiteX8" fmla="*/ 377205 w 377205"/>
                <a:gd name="connsiteY8" fmla="*/ 0 h 247669"/>
                <a:gd name="connsiteX0" fmla="*/ 151057 w 295925"/>
                <a:gd name="connsiteY0" fmla="*/ 153148 h 270529"/>
                <a:gd name="connsiteX1" fmla="*/ 203745 w 295925"/>
                <a:gd name="connsiteY1" fmla="*/ 183503 h 270529"/>
                <a:gd name="connsiteX2" fmla="*/ 52688 w 295925"/>
                <a:gd name="connsiteY2" fmla="*/ 270529 h 270529"/>
                <a:gd name="connsiteX3" fmla="*/ 0 w 295925"/>
                <a:gd name="connsiteY3" fmla="*/ 240175 h 270529"/>
                <a:gd name="connsiteX4" fmla="*/ 151057 w 295925"/>
                <a:gd name="connsiteY4" fmla="*/ 153148 h 270529"/>
                <a:gd name="connsiteX5" fmla="*/ 295925 w 295925"/>
                <a:gd name="connsiteY5" fmla="*/ 0 h 270529"/>
                <a:gd name="connsiteX6" fmla="*/ 204328 w 295925"/>
                <a:gd name="connsiteY6" fmla="*/ 183167 h 270529"/>
                <a:gd name="connsiteX7" fmla="*/ 204328 w 295925"/>
                <a:gd name="connsiteY7" fmla="*/ 122458 h 270529"/>
                <a:gd name="connsiteX8" fmla="*/ 295925 w 295925"/>
                <a:gd name="connsiteY8" fmla="*/ 0 h 270529"/>
                <a:gd name="connsiteX0" fmla="*/ 151057 w 295925"/>
                <a:gd name="connsiteY0" fmla="*/ 153148 h 270529"/>
                <a:gd name="connsiteX1" fmla="*/ 260938 w 295925"/>
                <a:gd name="connsiteY1" fmla="*/ 33322 h 270529"/>
                <a:gd name="connsiteX2" fmla="*/ 203745 w 295925"/>
                <a:gd name="connsiteY2" fmla="*/ 183503 h 270529"/>
                <a:gd name="connsiteX3" fmla="*/ 52688 w 295925"/>
                <a:gd name="connsiteY3" fmla="*/ 270529 h 270529"/>
                <a:gd name="connsiteX4" fmla="*/ 0 w 295925"/>
                <a:gd name="connsiteY4" fmla="*/ 240175 h 270529"/>
                <a:gd name="connsiteX5" fmla="*/ 151057 w 295925"/>
                <a:gd name="connsiteY5" fmla="*/ 153148 h 270529"/>
                <a:gd name="connsiteX6" fmla="*/ 295925 w 295925"/>
                <a:gd name="connsiteY6" fmla="*/ 0 h 270529"/>
                <a:gd name="connsiteX7" fmla="*/ 204328 w 295925"/>
                <a:gd name="connsiteY7" fmla="*/ 183167 h 270529"/>
                <a:gd name="connsiteX8" fmla="*/ 204328 w 295925"/>
                <a:gd name="connsiteY8" fmla="*/ 122458 h 270529"/>
                <a:gd name="connsiteX9" fmla="*/ 295925 w 295925"/>
                <a:gd name="connsiteY9" fmla="*/ 0 h 270529"/>
                <a:gd name="connsiteX0" fmla="*/ 151057 w 295925"/>
                <a:gd name="connsiteY0" fmla="*/ 153148 h 270529"/>
                <a:gd name="connsiteX1" fmla="*/ 203745 w 295925"/>
                <a:gd name="connsiteY1" fmla="*/ 183503 h 270529"/>
                <a:gd name="connsiteX2" fmla="*/ 52688 w 295925"/>
                <a:gd name="connsiteY2" fmla="*/ 270529 h 270529"/>
                <a:gd name="connsiteX3" fmla="*/ 0 w 295925"/>
                <a:gd name="connsiteY3" fmla="*/ 240175 h 270529"/>
                <a:gd name="connsiteX4" fmla="*/ 151057 w 295925"/>
                <a:gd name="connsiteY4" fmla="*/ 153148 h 270529"/>
                <a:gd name="connsiteX5" fmla="*/ 295925 w 295925"/>
                <a:gd name="connsiteY5" fmla="*/ 0 h 270529"/>
                <a:gd name="connsiteX6" fmla="*/ 204328 w 295925"/>
                <a:gd name="connsiteY6" fmla="*/ 183167 h 270529"/>
                <a:gd name="connsiteX7" fmla="*/ 204328 w 295925"/>
                <a:gd name="connsiteY7" fmla="*/ 122458 h 270529"/>
                <a:gd name="connsiteX8" fmla="*/ 295925 w 295925"/>
                <a:gd name="connsiteY8" fmla="*/ 0 h 270529"/>
                <a:gd name="connsiteX0" fmla="*/ 151057 w 334025"/>
                <a:gd name="connsiteY0" fmla="*/ 122668 h 240049"/>
                <a:gd name="connsiteX1" fmla="*/ 203745 w 334025"/>
                <a:gd name="connsiteY1" fmla="*/ 153023 h 240049"/>
                <a:gd name="connsiteX2" fmla="*/ 52688 w 334025"/>
                <a:gd name="connsiteY2" fmla="*/ 240049 h 240049"/>
                <a:gd name="connsiteX3" fmla="*/ 0 w 334025"/>
                <a:gd name="connsiteY3" fmla="*/ 209695 h 240049"/>
                <a:gd name="connsiteX4" fmla="*/ 151057 w 334025"/>
                <a:gd name="connsiteY4" fmla="*/ 122668 h 240049"/>
                <a:gd name="connsiteX5" fmla="*/ 334025 w 334025"/>
                <a:gd name="connsiteY5" fmla="*/ 0 h 240049"/>
                <a:gd name="connsiteX6" fmla="*/ 204328 w 334025"/>
                <a:gd name="connsiteY6" fmla="*/ 152687 h 240049"/>
                <a:gd name="connsiteX7" fmla="*/ 204328 w 334025"/>
                <a:gd name="connsiteY7" fmla="*/ 91978 h 240049"/>
                <a:gd name="connsiteX8" fmla="*/ 334025 w 334025"/>
                <a:gd name="connsiteY8" fmla="*/ 0 h 240049"/>
                <a:gd name="connsiteX0" fmla="*/ 151057 w 204328"/>
                <a:gd name="connsiteY0" fmla="*/ 30690 h 148071"/>
                <a:gd name="connsiteX1" fmla="*/ 203745 w 204328"/>
                <a:gd name="connsiteY1" fmla="*/ 61045 h 148071"/>
                <a:gd name="connsiteX2" fmla="*/ 52688 w 204328"/>
                <a:gd name="connsiteY2" fmla="*/ 148071 h 148071"/>
                <a:gd name="connsiteX3" fmla="*/ 0 w 204328"/>
                <a:gd name="connsiteY3" fmla="*/ 117717 h 148071"/>
                <a:gd name="connsiteX4" fmla="*/ 151057 w 204328"/>
                <a:gd name="connsiteY4" fmla="*/ 30690 h 148071"/>
                <a:gd name="connsiteX5" fmla="*/ 204328 w 204328"/>
                <a:gd name="connsiteY5" fmla="*/ 0 h 148071"/>
                <a:gd name="connsiteX6" fmla="*/ 204328 w 204328"/>
                <a:gd name="connsiteY6" fmla="*/ 60709 h 148071"/>
                <a:gd name="connsiteX7" fmla="*/ 204328 w 204328"/>
                <a:gd name="connsiteY7" fmla="*/ 0 h 148071"/>
                <a:gd name="connsiteX0" fmla="*/ 151057 w 203745"/>
                <a:gd name="connsiteY0" fmla="*/ 0 h 117381"/>
                <a:gd name="connsiteX1" fmla="*/ 203745 w 203745"/>
                <a:gd name="connsiteY1" fmla="*/ 30355 h 117381"/>
                <a:gd name="connsiteX2" fmla="*/ 52688 w 203745"/>
                <a:gd name="connsiteY2" fmla="*/ 117381 h 117381"/>
                <a:gd name="connsiteX3" fmla="*/ 0 w 203745"/>
                <a:gd name="connsiteY3" fmla="*/ 87027 h 117381"/>
                <a:gd name="connsiteX4" fmla="*/ 151057 w 203745"/>
                <a:gd name="connsiteY4" fmla="*/ 0 h 1173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745" h="117381">
                  <a:moveTo>
                    <a:pt x="151057" y="0"/>
                  </a:moveTo>
                  <a:lnTo>
                    <a:pt x="203745" y="30355"/>
                  </a:lnTo>
                  <a:lnTo>
                    <a:pt x="52688" y="117381"/>
                  </a:lnTo>
                  <a:lnTo>
                    <a:pt x="0" y="87027"/>
                  </a:lnTo>
                  <a:lnTo>
                    <a:pt x="151057"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09" name="Oval 386">
              <a:extLst>
                <a:ext uri="{FF2B5EF4-FFF2-40B4-BE49-F238E27FC236}">
                  <a16:creationId xmlns:a16="http://schemas.microsoft.com/office/drawing/2014/main" id="{6916B17C-4BCC-40DD-8AD1-316F5DA79549}"/>
                </a:ext>
              </a:extLst>
            </p:cNvPr>
            <p:cNvSpPr/>
            <p:nvPr/>
          </p:nvSpPr>
          <p:spPr bwMode="gray">
            <a:xfrm rot="7200000" flipH="1">
              <a:off x="8834949" y="4125328"/>
              <a:ext cx="634159" cy="442945"/>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63000">
                  <a:schemeClr val="accent2">
                    <a:lumMod val="0"/>
                    <a:lumOff val="100000"/>
                  </a:schemeClr>
                </a:gs>
                <a:gs pos="96000">
                  <a:schemeClr val="accent4"/>
                </a:gs>
              </a:gsLst>
              <a:path path="circle">
                <a:fillToRect l="100000" t="100000"/>
              </a:path>
              <a:tileRect r="-100000" b="-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45" name="Freeform: Shape 444">
              <a:extLst>
                <a:ext uri="{FF2B5EF4-FFF2-40B4-BE49-F238E27FC236}">
                  <a16:creationId xmlns:a16="http://schemas.microsoft.com/office/drawing/2014/main" id="{3230C6EB-D4DB-4CA0-989C-83BD3235C61A}"/>
                </a:ext>
              </a:extLst>
            </p:cNvPr>
            <p:cNvSpPr/>
            <p:nvPr/>
          </p:nvSpPr>
          <p:spPr bwMode="gray">
            <a:xfrm flipH="1">
              <a:off x="9817161" y="4380886"/>
              <a:ext cx="40892" cy="158224"/>
            </a:xfrm>
            <a:custGeom>
              <a:avLst/>
              <a:gdLst>
                <a:gd name="connsiteX0" fmla="*/ 0 w 43250"/>
                <a:gd name="connsiteY0" fmla="*/ 0 h 167347"/>
                <a:gd name="connsiteX1" fmla="*/ 43250 w 43250"/>
                <a:gd name="connsiteY1" fmla="*/ 24918 h 167347"/>
                <a:gd name="connsiteX2" fmla="*/ 43250 w 43250"/>
                <a:gd name="connsiteY2" fmla="*/ 167347 h 167347"/>
                <a:gd name="connsiteX3" fmla="*/ 0 w 43250"/>
                <a:gd name="connsiteY3" fmla="*/ 142753 h 167347"/>
              </a:gdLst>
              <a:ahLst/>
              <a:cxnLst>
                <a:cxn ang="0">
                  <a:pos x="connsiteX0" y="connsiteY0"/>
                </a:cxn>
                <a:cxn ang="0">
                  <a:pos x="connsiteX1" y="connsiteY1"/>
                </a:cxn>
                <a:cxn ang="0">
                  <a:pos x="connsiteX2" y="connsiteY2"/>
                </a:cxn>
                <a:cxn ang="0">
                  <a:pos x="connsiteX3" y="connsiteY3"/>
                </a:cxn>
              </a:cxnLst>
              <a:rect l="l" t="t" r="r" b="b"/>
              <a:pathLst>
                <a:path w="43250" h="167347">
                  <a:moveTo>
                    <a:pt x="0" y="0"/>
                  </a:moveTo>
                  <a:lnTo>
                    <a:pt x="43250" y="24918"/>
                  </a:lnTo>
                  <a:lnTo>
                    <a:pt x="43250" y="167347"/>
                  </a:lnTo>
                  <a:lnTo>
                    <a:pt x="0" y="142753"/>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46" name="Freeform: Shape 445">
              <a:extLst>
                <a:ext uri="{FF2B5EF4-FFF2-40B4-BE49-F238E27FC236}">
                  <a16:creationId xmlns:a16="http://schemas.microsoft.com/office/drawing/2014/main" id="{9053B187-4B6E-4793-984E-1C37A5F001AD}"/>
                </a:ext>
              </a:extLst>
            </p:cNvPr>
            <p:cNvSpPr/>
            <p:nvPr/>
          </p:nvSpPr>
          <p:spPr bwMode="gray">
            <a:xfrm flipH="1">
              <a:off x="9802778" y="4380886"/>
              <a:ext cx="55275" cy="49828"/>
            </a:xfrm>
            <a:custGeom>
              <a:avLst/>
              <a:gdLst>
                <a:gd name="connsiteX0" fmla="*/ 0 w 58462"/>
                <a:gd name="connsiteY0" fmla="*/ 0 h 52701"/>
                <a:gd name="connsiteX1" fmla="*/ 58462 w 58462"/>
                <a:gd name="connsiteY1" fmla="*/ 33682 h 52701"/>
                <a:gd name="connsiteX2" fmla="*/ 58462 w 58462"/>
                <a:gd name="connsiteY2" fmla="*/ 52701 h 52701"/>
                <a:gd name="connsiteX3" fmla="*/ 0 w 58462"/>
                <a:gd name="connsiteY3" fmla="*/ 19019 h 52701"/>
              </a:gdLst>
              <a:ahLst/>
              <a:cxnLst>
                <a:cxn ang="0">
                  <a:pos x="connsiteX0" y="connsiteY0"/>
                </a:cxn>
                <a:cxn ang="0">
                  <a:pos x="connsiteX1" y="connsiteY1"/>
                </a:cxn>
                <a:cxn ang="0">
                  <a:pos x="connsiteX2" y="connsiteY2"/>
                </a:cxn>
                <a:cxn ang="0">
                  <a:pos x="connsiteX3" y="connsiteY3"/>
                </a:cxn>
              </a:cxnLst>
              <a:rect l="l" t="t" r="r" b="b"/>
              <a:pathLst>
                <a:path w="58462" h="52701">
                  <a:moveTo>
                    <a:pt x="0" y="0"/>
                  </a:moveTo>
                  <a:lnTo>
                    <a:pt x="58462" y="33682"/>
                  </a:lnTo>
                  <a:lnTo>
                    <a:pt x="58462" y="52701"/>
                  </a:lnTo>
                  <a:lnTo>
                    <a:pt x="0" y="19019"/>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nvGrpSpPr>
            <p:cNvPr id="447" name="Group 446">
              <a:extLst>
                <a:ext uri="{FF2B5EF4-FFF2-40B4-BE49-F238E27FC236}">
                  <a16:creationId xmlns:a16="http://schemas.microsoft.com/office/drawing/2014/main" id="{CDD9DE66-F7F8-4B5C-9F50-7B7022C7F62F}"/>
                </a:ext>
              </a:extLst>
            </p:cNvPr>
            <p:cNvGrpSpPr/>
            <p:nvPr/>
          </p:nvGrpSpPr>
          <p:grpSpPr bwMode="gray">
            <a:xfrm flipH="1">
              <a:off x="9651803" y="4658549"/>
              <a:ext cx="202492" cy="236308"/>
              <a:chOff x="306141" y="7594689"/>
              <a:chExt cx="214168" cy="249933"/>
            </a:xfrm>
          </p:grpSpPr>
          <p:sp>
            <p:nvSpPr>
              <p:cNvPr id="518" name="Can 250">
                <a:extLst>
                  <a:ext uri="{FF2B5EF4-FFF2-40B4-BE49-F238E27FC236}">
                    <a16:creationId xmlns:a16="http://schemas.microsoft.com/office/drawing/2014/main" id="{4B735AE1-9035-435C-A1A8-28A2FEB0C20E}"/>
                  </a:ext>
                </a:extLst>
              </p:cNvPr>
              <p:cNvSpPr/>
              <p:nvPr/>
            </p:nvSpPr>
            <p:spPr bwMode="gray">
              <a:xfrm rot="7200000">
                <a:off x="297665" y="7603165"/>
                <a:ext cx="231119" cy="214168"/>
              </a:xfrm>
              <a:custGeom>
                <a:avLst/>
                <a:gdLst/>
                <a:ahLst/>
                <a:cxnLst/>
                <a:rect l="l" t="t" r="r" b="b"/>
                <a:pathLst>
                  <a:path w="1051590" h="974463">
                    <a:moveTo>
                      <a:pt x="26803" y="782904"/>
                    </a:moveTo>
                    <a:cubicBezTo>
                      <a:pt x="15200" y="766861"/>
                      <a:pt x="5815" y="750136"/>
                      <a:pt x="0" y="732407"/>
                    </a:cubicBezTo>
                    <a:lnTo>
                      <a:pt x="0" y="307507"/>
                    </a:lnTo>
                    <a:cubicBezTo>
                      <a:pt x="0" y="137676"/>
                      <a:pt x="235406" y="0"/>
                      <a:pt x="525795" y="0"/>
                    </a:cubicBezTo>
                    <a:cubicBezTo>
                      <a:pt x="816184" y="0"/>
                      <a:pt x="1051590" y="137676"/>
                      <a:pt x="1051590" y="307507"/>
                    </a:cubicBezTo>
                    <a:lnTo>
                      <a:pt x="1051590" y="693518"/>
                    </a:lnTo>
                    <a:cubicBezTo>
                      <a:pt x="1025926" y="851621"/>
                      <a:pt x="797964" y="974463"/>
                      <a:pt x="520942" y="974463"/>
                    </a:cubicBezTo>
                    <a:cubicBezTo>
                      <a:pt x="298807" y="974463"/>
                      <a:pt x="108215" y="895475"/>
                      <a:pt x="26803" y="782904"/>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19" name="Oval 91">
                <a:extLst>
                  <a:ext uri="{FF2B5EF4-FFF2-40B4-BE49-F238E27FC236}">
                    <a16:creationId xmlns:a16="http://schemas.microsoft.com/office/drawing/2014/main" id="{C18F05DD-3AD6-41FF-8DAB-BD1499C5B9A4}"/>
                  </a:ext>
                </a:extLst>
              </p:cNvPr>
              <p:cNvSpPr/>
              <p:nvPr/>
            </p:nvSpPr>
            <p:spPr bwMode="gray">
              <a:xfrm rot="1800000">
                <a:off x="381915" y="7616237"/>
                <a:ext cx="134300" cy="228385"/>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20" name="Oval 91">
                <a:extLst>
                  <a:ext uri="{FF2B5EF4-FFF2-40B4-BE49-F238E27FC236}">
                    <a16:creationId xmlns:a16="http://schemas.microsoft.com/office/drawing/2014/main" id="{2F8F0E23-3FCE-432D-BF67-5FE82CE7E341}"/>
                  </a:ext>
                </a:extLst>
              </p:cNvPr>
              <p:cNvSpPr/>
              <p:nvPr/>
            </p:nvSpPr>
            <p:spPr bwMode="gray">
              <a:xfrm rot="1800000">
                <a:off x="411037" y="7665760"/>
                <a:ext cx="76057" cy="129339"/>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grpSp>
          <p:nvGrpSpPr>
            <p:cNvPr id="448" name="Group 447">
              <a:extLst>
                <a:ext uri="{FF2B5EF4-FFF2-40B4-BE49-F238E27FC236}">
                  <a16:creationId xmlns:a16="http://schemas.microsoft.com/office/drawing/2014/main" id="{573C70E7-545C-421D-9691-DA54ECA4DE35}"/>
                </a:ext>
              </a:extLst>
            </p:cNvPr>
            <p:cNvGrpSpPr/>
            <p:nvPr/>
          </p:nvGrpSpPr>
          <p:grpSpPr bwMode="gray">
            <a:xfrm flipH="1">
              <a:off x="9553980" y="4546523"/>
              <a:ext cx="339363" cy="253107"/>
              <a:chOff x="-3373399" y="6296225"/>
              <a:chExt cx="2024198" cy="1509701"/>
            </a:xfrm>
            <a:solidFill>
              <a:schemeClr val="bg1"/>
            </a:solidFill>
          </p:grpSpPr>
          <p:sp>
            <p:nvSpPr>
              <p:cNvPr id="516" name="Rectangle 82">
                <a:extLst>
                  <a:ext uri="{FF2B5EF4-FFF2-40B4-BE49-F238E27FC236}">
                    <a16:creationId xmlns:a16="http://schemas.microsoft.com/office/drawing/2014/main" id="{50E2A2F2-6C06-4687-8F15-5B6F898CFFA2}"/>
                  </a:ext>
                </a:extLst>
              </p:cNvPr>
              <p:cNvSpPr/>
              <p:nvPr/>
            </p:nvSpPr>
            <p:spPr bwMode="gray">
              <a:xfrm>
                <a:off x="-3289011" y="6296225"/>
                <a:ext cx="1939810" cy="1110575"/>
              </a:xfrm>
              <a:custGeom>
                <a:avLst/>
                <a:gdLst/>
                <a:ahLst/>
                <a:cxnLst/>
                <a:rect l="l" t="t" r="r" b="b"/>
                <a:pathLst>
                  <a:path w="1939810" h="1110575">
                    <a:moveTo>
                      <a:pt x="1617338" y="0"/>
                    </a:moveTo>
                    <a:lnTo>
                      <a:pt x="1939810" y="180540"/>
                    </a:lnTo>
                    <a:lnTo>
                      <a:pt x="319290" y="1110575"/>
                    </a:lnTo>
                    <a:lnTo>
                      <a:pt x="0" y="928209"/>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17" name="Rectangle 83">
                <a:extLst>
                  <a:ext uri="{FF2B5EF4-FFF2-40B4-BE49-F238E27FC236}">
                    <a16:creationId xmlns:a16="http://schemas.microsoft.com/office/drawing/2014/main" id="{0045923E-E905-484F-B820-9C66ED84AA62}"/>
                  </a:ext>
                </a:extLst>
              </p:cNvPr>
              <p:cNvSpPr/>
              <p:nvPr/>
            </p:nvSpPr>
            <p:spPr bwMode="gray">
              <a:xfrm>
                <a:off x="-3373399" y="7225114"/>
                <a:ext cx="403638" cy="580812"/>
              </a:xfrm>
              <a:custGeom>
                <a:avLst/>
                <a:gdLst/>
                <a:ahLst/>
                <a:cxnLst/>
                <a:rect l="l" t="t" r="r" b="b"/>
                <a:pathLst>
                  <a:path w="403638" h="580812">
                    <a:moveTo>
                      <a:pt x="83355" y="0"/>
                    </a:moveTo>
                    <a:lnTo>
                      <a:pt x="403638" y="181421"/>
                    </a:lnTo>
                    <a:lnTo>
                      <a:pt x="320283" y="580812"/>
                    </a:lnTo>
                    <a:lnTo>
                      <a:pt x="0" y="399391"/>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
          <p:nvSpPr>
            <p:cNvPr id="449" name="Freeform: Shape 448">
              <a:extLst>
                <a:ext uri="{FF2B5EF4-FFF2-40B4-BE49-F238E27FC236}">
                  <a16:creationId xmlns:a16="http://schemas.microsoft.com/office/drawing/2014/main" id="{0118F5EE-39BB-4ED9-AE3A-AA6F5D45229D}"/>
                </a:ext>
              </a:extLst>
            </p:cNvPr>
            <p:cNvSpPr/>
            <p:nvPr/>
          </p:nvSpPr>
          <p:spPr bwMode="gray">
            <a:xfrm flipH="1">
              <a:off x="9514727" y="4605302"/>
              <a:ext cx="321713" cy="377969"/>
            </a:xfrm>
            <a:custGeom>
              <a:avLst/>
              <a:gdLst>
                <a:gd name="connsiteX0" fmla="*/ 0 w 340263"/>
                <a:gd name="connsiteY0" fmla="*/ 0 h 399763"/>
                <a:gd name="connsiteX1" fmla="*/ 340263 w 340263"/>
                <a:gd name="connsiteY1" fmla="*/ 196033 h 399763"/>
                <a:gd name="connsiteX2" fmla="*/ 340263 w 340263"/>
                <a:gd name="connsiteY2" fmla="*/ 213178 h 399763"/>
                <a:gd name="connsiteX3" fmla="*/ 340263 w 340263"/>
                <a:gd name="connsiteY3" fmla="*/ 382618 h 399763"/>
                <a:gd name="connsiteX4" fmla="*/ 340263 w 340263"/>
                <a:gd name="connsiteY4" fmla="*/ 399763 h 399763"/>
                <a:gd name="connsiteX5" fmla="*/ 0 w 340263"/>
                <a:gd name="connsiteY5" fmla="*/ 206281 h 399763"/>
                <a:gd name="connsiteX6" fmla="*/ 0 w 340263"/>
                <a:gd name="connsiteY6" fmla="*/ 189136 h 399763"/>
                <a:gd name="connsiteX7" fmla="*/ 0 w 340263"/>
                <a:gd name="connsiteY7" fmla="*/ 17145 h 399763"/>
                <a:gd name="connsiteX0" fmla="*/ 0 w 340263"/>
                <a:gd name="connsiteY0" fmla="*/ 0 h 399763"/>
                <a:gd name="connsiteX1" fmla="*/ 340263 w 340263"/>
                <a:gd name="connsiteY1" fmla="*/ 196033 h 399763"/>
                <a:gd name="connsiteX2" fmla="*/ 340263 w 340263"/>
                <a:gd name="connsiteY2" fmla="*/ 213178 h 399763"/>
                <a:gd name="connsiteX3" fmla="*/ 340263 w 340263"/>
                <a:gd name="connsiteY3" fmla="*/ 382618 h 399763"/>
                <a:gd name="connsiteX4" fmla="*/ 340263 w 340263"/>
                <a:gd name="connsiteY4" fmla="*/ 399763 h 399763"/>
                <a:gd name="connsiteX5" fmla="*/ 0 w 340263"/>
                <a:gd name="connsiteY5" fmla="*/ 206281 h 399763"/>
                <a:gd name="connsiteX6" fmla="*/ 0 w 340263"/>
                <a:gd name="connsiteY6" fmla="*/ 189136 h 399763"/>
                <a:gd name="connsiteX7" fmla="*/ 0 w 340263"/>
                <a:gd name="connsiteY7" fmla="*/ 0 h 399763"/>
                <a:gd name="connsiteX0" fmla="*/ 0 w 340263"/>
                <a:gd name="connsiteY0" fmla="*/ 0 h 399763"/>
                <a:gd name="connsiteX1" fmla="*/ 340263 w 340263"/>
                <a:gd name="connsiteY1" fmla="*/ 196033 h 399763"/>
                <a:gd name="connsiteX2" fmla="*/ 340263 w 340263"/>
                <a:gd name="connsiteY2" fmla="*/ 213178 h 399763"/>
                <a:gd name="connsiteX3" fmla="*/ 340263 w 340263"/>
                <a:gd name="connsiteY3" fmla="*/ 382618 h 399763"/>
                <a:gd name="connsiteX4" fmla="*/ 340263 w 340263"/>
                <a:gd name="connsiteY4" fmla="*/ 399763 h 399763"/>
                <a:gd name="connsiteX5" fmla="*/ 0 w 340263"/>
                <a:gd name="connsiteY5" fmla="*/ 206281 h 399763"/>
                <a:gd name="connsiteX6" fmla="*/ 0 w 340263"/>
                <a:gd name="connsiteY6" fmla="*/ 0 h 399763"/>
                <a:gd name="connsiteX0" fmla="*/ 0 w 340263"/>
                <a:gd name="connsiteY0" fmla="*/ 0 h 399763"/>
                <a:gd name="connsiteX1" fmla="*/ 340263 w 340263"/>
                <a:gd name="connsiteY1" fmla="*/ 196033 h 399763"/>
                <a:gd name="connsiteX2" fmla="*/ 340263 w 340263"/>
                <a:gd name="connsiteY2" fmla="*/ 213178 h 399763"/>
                <a:gd name="connsiteX3" fmla="*/ 340263 w 340263"/>
                <a:gd name="connsiteY3" fmla="*/ 399763 h 399763"/>
                <a:gd name="connsiteX4" fmla="*/ 0 w 340263"/>
                <a:gd name="connsiteY4" fmla="*/ 206281 h 399763"/>
                <a:gd name="connsiteX5" fmla="*/ 0 w 340263"/>
                <a:gd name="connsiteY5" fmla="*/ 0 h 399763"/>
                <a:gd name="connsiteX0" fmla="*/ 0 w 340263"/>
                <a:gd name="connsiteY0" fmla="*/ 0 h 399763"/>
                <a:gd name="connsiteX1" fmla="*/ 340263 w 340263"/>
                <a:gd name="connsiteY1" fmla="*/ 196033 h 399763"/>
                <a:gd name="connsiteX2" fmla="*/ 340263 w 340263"/>
                <a:gd name="connsiteY2" fmla="*/ 399763 h 399763"/>
                <a:gd name="connsiteX3" fmla="*/ 0 w 340263"/>
                <a:gd name="connsiteY3" fmla="*/ 206281 h 399763"/>
                <a:gd name="connsiteX4" fmla="*/ 0 w 340263"/>
                <a:gd name="connsiteY4" fmla="*/ 0 h 39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263" h="399763">
                  <a:moveTo>
                    <a:pt x="0" y="0"/>
                  </a:moveTo>
                  <a:lnTo>
                    <a:pt x="340263" y="196033"/>
                  </a:lnTo>
                  <a:lnTo>
                    <a:pt x="340263" y="399763"/>
                  </a:lnTo>
                  <a:lnTo>
                    <a:pt x="0" y="206281"/>
                  </a:lnTo>
                  <a:lnTo>
                    <a:pt x="0" y="0"/>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50" name="Can 250">
              <a:extLst>
                <a:ext uri="{FF2B5EF4-FFF2-40B4-BE49-F238E27FC236}">
                  <a16:creationId xmlns:a16="http://schemas.microsoft.com/office/drawing/2014/main" id="{188EDDD7-A9A3-4B28-8AC2-D2A3B4DBF520}"/>
                </a:ext>
              </a:extLst>
            </p:cNvPr>
            <p:cNvSpPr/>
            <p:nvPr/>
          </p:nvSpPr>
          <p:spPr bwMode="gray">
            <a:xfrm rot="14400000" flipH="1">
              <a:off x="9277339" y="4875202"/>
              <a:ext cx="218519" cy="202492"/>
            </a:xfrm>
            <a:custGeom>
              <a:avLst/>
              <a:gdLst/>
              <a:ahLst/>
              <a:cxnLst/>
              <a:rect l="l" t="t" r="r" b="b"/>
              <a:pathLst>
                <a:path w="1051590" h="974463">
                  <a:moveTo>
                    <a:pt x="26803" y="782904"/>
                  </a:moveTo>
                  <a:cubicBezTo>
                    <a:pt x="15200" y="766861"/>
                    <a:pt x="5815" y="750136"/>
                    <a:pt x="0" y="732407"/>
                  </a:cubicBezTo>
                  <a:lnTo>
                    <a:pt x="0" y="307507"/>
                  </a:lnTo>
                  <a:cubicBezTo>
                    <a:pt x="0" y="137676"/>
                    <a:pt x="235406" y="0"/>
                    <a:pt x="525795" y="0"/>
                  </a:cubicBezTo>
                  <a:cubicBezTo>
                    <a:pt x="816184" y="0"/>
                    <a:pt x="1051590" y="137676"/>
                    <a:pt x="1051590" y="307507"/>
                  </a:cubicBezTo>
                  <a:lnTo>
                    <a:pt x="1051590" y="693518"/>
                  </a:lnTo>
                  <a:cubicBezTo>
                    <a:pt x="1025926" y="851621"/>
                    <a:pt x="797964" y="974463"/>
                    <a:pt x="520942" y="974463"/>
                  </a:cubicBezTo>
                  <a:cubicBezTo>
                    <a:pt x="298807" y="974463"/>
                    <a:pt x="108215" y="895475"/>
                    <a:pt x="26803" y="782904"/>
                  </a:cubicBezTo>
                  <a:close/>
                </a:path>
              </a:pathLst>
            </a:custGeom>
            <a:gradFill flip="none" rotWithShape="1">
              <a:gsLst>
                <a:gs pos="21000">
                  <a:schemeClr val="accent2">
                    <a:lumMod val="0"/>
                    <a:lumOff val="100000"/>
                  </a:schemeClr>
                </a:gs>
                <a:gs pos="89000">
                  <a:schemeClr val="accent4"/>
                </a:gs>
              </a:gsLst>
              <a:lin ang="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60" name="Freeform: Shape 459">
              <a:extLst>
                <a:ext uri="{FF2B5EF4-FFF2-40B4-BE49-F238E27FC236}">
                  <a16:creationId xmlns:a16="http://schemas.microsoft.com/office/drawing/2014/main" id="{B46D4FDF-5826-4999-85A9-54EA2E3BD929}"/>
                </a:ext>
              </a:extLst>
            </p:cNvPr>
            <p:cNvSpPr/>
            <p:nvPr/>
          </p:nvSpPr>
          <p:spPr bwMode="gray">
            <a:xfrm flipH="1">
              <a:off x="9207785" y="4259510"/>
              <a:ext cx="591937" cy="336905"/>
            </a:xfrm>
            <a:custGeom>
              <a:avLst/>
              <a:gdLst>
                <a:gd name="connsiteX0" fmla="*/ 285099 w 626068"/>
                <a:gd name="connsiteY0" fmla="*/ 0 h 356331"/>
                <a:gd name="connsiteX1" fmla="*/ 532631 w 626068"/>
                <a:gd name="connsiteY1" fmla="*/ 138584 h 356331"/>
                <a:gd name="connsiteX2" fmla="*/ 626068 w 626068"/>
                <a:gd name="connsiteY2" fmla="*/ 191952 h 356331"/>
                <a:gd name="connsiteX3" fmla="*/ 339648 w 626068"/>
                <a:gd name="connsiteY3" fmla="*/ 356331 h 356331"/>
                <a:gd name="connsiteX4" fmla="*/ 0 w 626068"/>
                <a:gd name="connsiteY4" fmla="*/ 162337 h 356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6068" h="356331">
                  <a:moveTo>
                    <a:pt x="285099" y="0"/>
                  </a:moveTo>
                  <a:lnTo>
                    <a:pt x="532631" y="138584"/>
                  </a:lnTo>
                  <a:lnTo>
                    <a:pt x="626068" y="191952"/>
                  </a:lnTo>
                  <a:lnTo>
                    <a:pt x="339648" y="356331"/>
                  </a:lnTo>
                  <a:lnTo>
                    <a:pt x="0" y="162337"/>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61" name="Rectangle 83">
              <a:extLst>
                <a:ext uri="{FF2B5EF4-FFF2-40B4-BE49-F238E27FC236}">
                  <a16:creationId xmlns:a16="http://schemas.microsoft.com/office/drawing/2014/main" id="{D4F5097E-A259-4AEF-9456-93510624F12F}"/>
                </a:ext>
              </a:extLst>
            </p:cNvPr>
            <p:cNvSpPr/>
            <p:nvPr/>
          </p:nvSpPr>
          <p:spPr bwMode="gray">
            <a:xfrm flipH="1">
              <a:off x="9494033" y="4433751"/>
              <a:ext cx="334872" cy="345028"/>
            </a:xfrm>
            <a:custGeom>
              <a:avLst/>
              <a:gdLst>
                <a:gd name="connsiteX0" fmla="*/ 0 w 1900836"/>
                <a:gd name="connsiteY0" fmla="*/ 0 h 1112785"/>
                <a:gd name="connsiteX1" fmla="*/ 1900836 w 1900836"/>
                <a:gd name="connsiteY1" fmla="*/ 0 h 1112785"/>
                <a:gd name="connsiteX2" fmla="*/ 1900836 w 1900836"/>
                <a:gd name="connsiteY2" fmla="*/ 1112785 h 1112785"/>
                <a:gd name="connsiteX3" fmla="*/ 0 w 1900836"/>
                <a:gd name="connsiteY3" fmla="*/ 1112785 h 1112785"/>
                <a:gd name="connsiteX4" fmla="*/ 0 w 1900836"/>
                <a:gd name="connsiteY4" fmla="*/ 0 h 1112785"/>
                <a:gd name="connsiteX0" fmla="*/ 0 w 1919886"/>
                <a:gd name="connsiteY0" fmla="*/ 0 h 2202445"/>
                <a:gd name="connsiteX1" fmla="*/ 1900836 w 1919886"/>
                <a:gd name="connsiteY1" fmla="*/ 0 h 2202445"/>
                <a:gd name="connsiteX2" fmla="*/ 1919886 w 1919886"/>
                <a:gd name="connsiteY2" fmla="*/ 2202445 h 2202445"/>
                <a:gd name="connsiteX3" fmla="*/ 0 w 1919886"/>
                <a:gd name="connsiteY3" fmla="*/ 1112785 h 2202445"/>
                <a:gd name="connsiteX4" fmla="*/ 0 w 1919886"/>
                <a:gd name="connsiteY4" fmla="*/ 0 h 2202445"/>
                <a:gd name="connsiteX0" fmla="*/ 0 w 2156106"/>
                <a:gd name="connsiteY0" fmla="*/ 0 h 2202445"/>
                <a:gd name="connsiteX1" fmla="*/ 2156106 w 2156106"/>
                <a:gd name="connsiteY1" fmla="*/ 1070610 h 2202445"/>
                <a:gd name="connsiteX2" fmla="*/ 1919886 w 2156106"/>
                <a:gd name="connsiteY2" fmla="*/ 2202445 h 2202445"/>
                <a:gd name="connsiteX3" fmla="*/ 0 w 2156106"/>
                <a:gd name="connsiteY3" fmla="*/ 1112785 h 2202445"/>
                <a:gd name="connsiteX4" fmla="*/ 0 w 2156106"/>
                <a:gd name="connsiteY4" fmla="*/ 0 h 2202445"/>
                <a:gd name="connsiteX0" fmla="*/ 232410 w 2156106"/>
                <a:gd name="connsiteY0" fmla="*/ 0 h 2221495"/>
                <a:gd name="connsiteX1" fmla="*/ 2156106 w 2156106"/>
                <a:gd name="connsiteY1" fmla="*/ 1089660 h 2221495"/>
                <a:gd name="connsiteX2" fmla="*/ 1919886 w 2156106"/>
                <a:gd name="connsiteY2" fmla="*/ 2221495 h 2221495"/>
                <a:gd name="connsiteX3" fmla="*/ 0 w 2156106"/>
                <a:gd name="connsiteY3" fmla="*/ 1131835 h 2221495"/>
                <a:gd name="connsiteX4" fmla="*/ 232410 w 2156106"/>
                <a:gd name="connsiteY4" fmla="*/ 0 h 222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106" h="2221495">
                  <a:moveTo>
                    <a:pt x="232410" y="0"/>
                  </a:moveTo>
                  <a:lnTo>
                    <a:pt x="2156106" y="1089660"/>
                  </a:lnTo>
                  <a:lnTo>
                    <a:pt x="1919886" y="2221495"/>
                  </a:lnTo>
                  <a:lnTo>
                    <a:pt x="0" y="1131835"/>
                  </a:lnTo>
                  <a:lnTo>
                    <a:pt x="232410"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62" name="Freeform: Shape 461">
              <a:extLst>
                <a:ext uri="{FF2B5EF4-FFF2-40B4-BE49-F238E27FC236}">
                  <a16:creationId xmlns:a16="http://schemas.microsoft.com/office/drawing/2014/main" id="{CB701A49-9D0E-4A31-A114-A4AF1BCA401E}"/>
                </a:ext>
              </a:extLst>
            </p:cNvPr>
            <p:cNvSpPr/>
            <p:nvPr/>
          </p:nvSpPr>
          <p:spPr bwMode="gray">
            <a:xfrm>
              <a:off x="9208169" y="4441522"/>
              <a:ext cx="305866" cy="541749"/>
            </a:xfrm>
            <a:custGeom>
              <a:avLst/>
              <a:gdLst>
                <a:gd name="connsiteX0" fmla="*/ 0 w 323502"/>
                <a:gd name="connsiteY0" fmla="*/ 0 h 572986"/>
                <a:gd name="connsiteX1" fmla="*/ 0 w 323502"/>
                <a:gd name="connsiteY1" fmla="*/ 182880 h 572986"/>
                <a:gd name="connsiteX2" fmla="*/ 0 w 323502"/>
                <a:gd name="connsiteY2" fmla="*/ 206155 h 572986"/>
                <a:gd name="connsiteX3" fmla="*/ 0 w 323502"/>
                <a:gd name="connsiteY3" fmla="*/ 389035 h 572986"/>
                <a:gd name="connsiteX4" fmla="*/ 323502 w 323502"/>
                <a:gd name="connsiteY4" fmla="*/ 572986 h 572986"/>
                <a:gd name="connsiteX5" fmla="*/ 323502 w 323502"/>
                <a:gd name="connsiteY5" fmla="*/ 390106 h 572986"/>
                <a:gd name="connsiteX6" fmla="*/ 323502 w 323502"/>
                <a:gd name="connsiteY6" fmla="*/ 369256 h 572986"/>
                <a:gd name="connsiteX7" fmla="*/ 323502 w 323502"/>
                <a:gd name="connsiteY7" fmla="*/ 186376 h 572986"/>
                <a:gd name="connsiteX0" fmla="*/ 0 w 323502"/>
                <a:gd name="connsiteY0" fmla="*/ 0 h 572986"/>
                <a:gd name="connsiteX1" fmla="*/ 0 w 323502"/>
                <a:gd name="connsiteY1" fmla="*/ 182880 h 572986"/>
                <a:gd name="connsiteX2" fmla="*/ 0 w 323502"/>
                <a:gd name="connsiteY2" fmla="*/ 206155 h 572986"/>
                <a:gd name="connsiteX3" fmla="*/ 0 w 323502"/>
                <a:gd name="connsiteY3" fmla="*/ 389035 h 572986"/>
                <a:gd name="connsiteX4" fmla="*/ 323502 w 323502"/>
                <a:gd name="connsiteY4" fmla="*/ 572986 h 572986"/>
                <a:gd name="connsiteX5" fmla="*/ 323502 w 323502"/>
                <a:gd name="connsiteY5" fmla="*/ 390106 h 572986"/>
                <a:gd name="connsiteX6" fmla="*/ 323502 w 323502"/>
                <a:gd name="connsiteY6" fmla="*/ 369256 h 572986"/>
                <a:gd name="connsiteX7" fmla="*/ 323502 w 323502"/>
                <a:gd name="connsiteY7" fmla="*/ 186376 h 572986"/>
                <a:gd name="connsiteX8" fmla="*/ 291427 w 323502"/>
                <a:gd name="connsiteY8" fmla="*/ 161195 h 572986"/>
                <a:gd name="connsiteX9" fmla="*/ 0 w 323502"/>
                <a:gd name="connsiteY9" fmla="*/ 0 h 572986"/>
                <a:gd name="connsiteX0" fmla="*/ 0 w 323502"/>
                <a:gd name="connsiteY0" fmla="*/ 0 h 572986"/>
                <a:gd name="connsiteX1" fmla="*/ 0 w 323502"/>
                <a:gd name="connsiteY1" fmla="*/ 182880 h 572986"/>
                <a:gd name="connsiteX2" fmla="*/ 0 w 323502"/>
                <a:gd name="connsiteY2" fmla="*/ 206155 h 572986"/>
                <a:gd name="connsiteX3" fmla="*/ 0 w 323502"/>
                <a:gd name="connsiteY3" fmla="*/ 389035 h 572986"/>
                <a:gd name="connsiteX4" fmla="*/ 323502 w 323502"/>
                <a:gd name="connsiteY4" fmla="*/ 572986 h 572986"/>
                <a:gd name="connsiteX5" fmla="*/ 323502 w 323502"/>
                <a:gd name="connsiteY5" fmla="*/ 390106 h 572986"/>
                <a:gd name="connsiteX6" fmla="*/ 323502 w 323502"/>
                <a:gd name="connsiteY6" fmla="*/ 369256 h 572986"/>
                <a:gd name="connsiteX7" fmla="*/ 291427 w 323502"/>
                <a:gd name="connsiteY7" fmla="*/ 161195 h 572986"/>
                <a:gd name="connsiteX8" fmla="*/ 0 w 323502"/>
                <a:gd name="connsiteY8" fmla="*/ 0 h 572986"/>
                <a:gd name="connsiteX0" fmla="*/ 0 w 323502"/>
                <a:gd name="connsiteY0" fmla="*/ 0 h 572986"/>
                <a:gd name="connsiteX1" fmla="*/ 0 w 323502"/>
                <a:gd name="connsiteY1" fmla="*/ 182880 h 572986"/>
                <a:gd name="connsiteX2" fmla="*/ 0 w 323502"/>
                <a:gd name="connsiteY2" fmla="*/ 206155 h 572986"/>
                <a:gd name="connsiteX3" fmla="*/ 0 w 323502"/>
                <a:gd name="connsiteY3" fmla="*/ 389035 h 572986"/>
                <a:gd name="connsiteX4" fmla="*/ 323502 w 323502"/>
                <a:gd name="connsiteY4" fmla="*/ 572986 h 572986"/>
                <a:gd name="connsiteX5" fmla="*/ 323502 w 323502"/>
                <a:gd name="connsiteY5" fmla="*/ 390106 h 572986"/>
                <a:gd name="connsiteX6" fmla="*/ 323502 w 323502"/>
                <a:gd name="connsiteY6" fmla="*/ 369256 h 572986"/>
                <a:gd name="connsiteX7" fmla="*/ 285712 w 323502"/>
                <a:gd name="connsiteY7" fmla="*/ 161195 h 572986"/>
                <a:gd name="connsiteX8" fmla="*/ 0 w 323502"/>
                <a:gd name="connsiteY8" fmla="*/ 0 h 572986"/>
                <a:gd name="connsiteX0" fmla="*/ 0 w 323502"/>
                <a:gd name="connsiteY0" fmla="*/ 0 h 572986"/>
                <a:gd name="connsiteX1" fmla="*/ 0 w 323502"/>
                <a:gd name="connsiteY1" fmla="*/ 182880 h 572986"/>
                <a:gd name="connsiteX2" fmla="*/ 0 w 323502"/>
                <a:gd name="connsiteY2" fmla="*/ 206155 h 572986"/>
                <a:gd name="connsiteX3" fmla="*/ 0 w 323502"/>
                <a:gd name="connsiteY3" fmla="*/ 389035 h 572986"/>
                <a:gd name="connsiteX4" fmla="*/ 323502 w 323502"/>
                <a:gd name="connsiteY4" fmla="*/ 572986 h 572986"/>
                <a:gd name="connsiteX5" fmla="*/ 323502 w 323502"/>
                <a:gd name="connsiteY5" fmla="*/ 369256 h 572986"/>
                <a:gd name="connsiteX6" fmla="*/ 285712 w 323502"/>
                <a:gd name="connsiteY6" fmla="*/ 161195 h 572986"/>
                <a:gd name="connsiteX7" fmla="*/ 0 w 323502"/>
                <a:gd name="connsiteY7" fmla="*/ 0 h 572986"/>
                <a:gd name="connsiteX0" fmla="*/ 0 w 323502"/>
                <a:gd name="connsiteY0" fmla="*/ 0 h 572986"/>
                <a:gd name="connsiteX1" fmla="*/ 0 w 323502"/>
                <a:gd name="connsiteY1" fmla="*/ 182880 h 572986"/>
                <a:gd name="connsiteX2" fmla="*/ 0 w 323502"/>
                <a:gd name="connsiteY2" fmla="*/ 389035 h 572986"/>
                <a:gd name="connsiteX3" fmla="*/ 323502 w 323502"/>
                <a:gd name="connsiteY3" fmla="*/ 572986 h 572986"/>
                <a:gd name="connsiteX4" fmla="*/ 323502 w 323502"/>
                <a:gd name="connsiteY4" fmla="*/ 369256 h 572986"/>
                <a:gd name="connsiteX5" fmla="*/ 285712 w 323502"/>
                <a:gd name="connsiteY5" fmla="*/ 161195 h 572986"/>
                <a:gd name="connsiteX6" fmla="*/ 0 w 323502"/>
                <a:gd name="connsiteY6" fmla="*/ 0 h 572986"/>
                <a:gd name="connsiteX0" fmla="*/ 0 w 323502"/>
                <a:gd name="connsiteY0" fmla="*/ 0 h 572986"/>
                <a:gd name="connsiteX1" fmla="*/ 0 w 323502"/>
                <a:gd name="connsiteY1" fmla="*/ 389035 h 572986"/>
                <a:gd name="connsiteX2" fmla="*/ 323502 w 323502"/>
                <a:gd name="connsiteY2" fmla="*/ 572986 h 572986"/>
                <a:gd name="connsiteX3" fmla="*/ 323502 w 323502"/>
                <a:gd name="connsiteY3" fmla="*/ 369256 h 572986"/>
                <a:gd name="connsiteX4" fmla="*/ 285712 w 323502"/>
                <a:gd name="connsiteY4" fmla="*/ 161195 h 572986"/>
                <a:gd name="connsiteX5" fmla="*/ 0 w 323502"/>
                <a:gd name="connsiteY5" fmla="*/ 0 h 572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3502" h="572986">
                  <a:moveTo>
                    <a:pt x="0" y="0"/>
                  </a:moveTo>
                  <a:lnTo>
                    <a:pt x="0" y="389035"/>
                  </a:lnTo>
                  <a:lnTo>
                    <a:pt x="323502" y="572986"/>
                  </a:lnTo>
                  <a:lnTo>
                    <a:pt x="323502" y="369256"/>
                  </a:lnTo>
                  <a:lnTo>
                    <a:pt x="285712" y="161195"/>
                  </a:lnTo>
                  <a:lnTo>
                    <a:pt x="0"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72" name="Freeform: Shape 471">
              <a:extLst>
                <a:ext uri="{FF2B5EF4-FFF2-40B4-BE49-F238E27FC236}">
                  <a16:creationId xmlns:a16="http://schemas.microsoft.com/office/drawing/2014/main" id="{85C36C3B-7A3A-43F0-BE6A-34F344FB7DC3}"/>
                </a:ext>
              </a:extLst>
            </p:cNvPr>
            <p:cNvSpPr/>
            <p:nvPr/>
          </p:nvSpPr>
          <p:spPr bwMode="gray">
            <a:xfrm>
              <a:off x="9313552" y="4500978"/>
              <a:ext cx="200483" cy="482293"/>
            </a:xfrm>
            <a:custGeom>
              <a:avLst/>
              <a:gdLst>
                <a:gd name="connsiteX0" fmla="*/ 0 w 212043"/>
                <a:gd name="connsiteY0" fmla="*/ 0 h 510102"/>
                <a:gd name="connsiteX1" fmla="*/ 0 w 212043"/>
                <a:gd name="connsiteY1" fmla="*/ 389530 h 510102"/>
                <a:gd name="connsiteX2" fmla="*/ 212043 w 212043"/>
                <a:gd name="connsiteY2" fmla="*/ 510102 h 510102"/>
                <a:gd name="connsiteX3" fmla="*/ 212043 w 212043"/>
                <a:gd name="connsiteY3" fmla="*/ 306372 h 510102"/>
                <a:gd name="connsiteX4" fmla="*/ 174253 w 212043"/>
                <a:gd name="connsiteY4" fmla="*/ 98311 h 510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043" h="510102">
                  <a:moveTo>
                    <a:pt x="0" y="0"/>
                  </a:moveTo>
                  <a:lnTo>
                    <a:pt x="0" y="389530"/>
                  </a:lnTo>
                  <a:lnTo>
                    <a:pt x="212043" y="510102"/>
                  </a:lnTo>
                  <a:lnTo>
                    <a:pt x="212043" y="306372"/>
                  </a:lnTo>
                  <a:lnTo>
                    <a:pt x="174253" y="98311"/>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63" name="Freeform: Shape 462">
              <a:extLst>
                <a:ext uri="{FF2B5EF4-FFF2-40B4-BE49-F238E27FC236}">
                  <a16:creationId xmlns:a16="http://schemas.microsoft.com/office/drawing/2014/main" id="{CFC0D788-90BE-4474-9A56-ECB430A3734E}"/>
                </a:ext>
              </a:extLst>
            </p:cNvPr>
            <p:cNvSpPr/>
            <p:nvPr/>
          </p:nvSpPr>
          <p:spPr bwMode="gray">
            <a:xfrm>
              <a:off x="9327044" y="4526511"/>
              <a:ext cx="168559" cy="242883"/>
            </a:xfrm>
            <a:custGeom>
              <a:avLst/>
              <a:gdLst>
                <a:gd name="connsiteX0" fmla="*/ 0 w 178278"/>
                <a:gd name="connsiteY0" fmla="*/ 0 h 256888"/>
                <a:gd name="connsiteX1" fmla="*/ 0 w 178278"/>
                <a:gd name="connsiteY1" fmla="*/ 156306 h 256888"/>
                <a:gd name="connsiteX2" fmla="*/ 178278 w 178278"/>
                <a:gd name="connsiteY2" fmla="*/ 256888 h 256888"/>
                <a:gd name="connsiteX3" fmla="*/ 146647 w 178278"/>
                <a:gd name="connsiteY3" fmla="*/ 82736 h 256888"/>
              </a:gdLst>
              <a:ahLst/>
              <a:cxnLst>
                <a:cxn ang="0">
                  <a:pos x="connsiteX0" y="connsiteY0"/>
                </a:cxn>
                <a:cxn ang="0">
                  <a:pos x="connsiteX1" y="connsiteY1"/>
                </a:cxn>
                <a:cxn ang="0">
                  <a:pos x="connsiteX2" y="connsiteY2"/>
                </a:cxn>
                <a:cxn ang="0">
                  <a:pos x="connsiteX3" y="connsiteY3"/>
                </a:cxn>
              </a:cxnLst>
              <a:rect l="l" t="t" r="r" b="b"/>
              <a:pathLst>
                <a:path w="178278" h="256888">
                  <a:moveTo>
                    <a:pt x="0" y="0"/>
                  </a:moveTo>
                  <a:lnTo>
                    <a:pt x="0" y="156306"/>
                  </a:lnTo>
                  <a:lnTo>
                    <a:pt x="178278" y="256888"/>
                  </a:lnTo>
                  <a:lnTo>
                    <a:pt x="146647" y="82736"/>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64" name="Freeform: Shape 463">
              <a:extLst>
                <a:ext uri="{FF2B5EF4-FFF2-40B4-BE49-F238E27FC236}">
                  <a16:creationId xmlns:a16="http://schemas.microsoft.com/office/drawing/2014/main" id="{3010579C-81BA-4E57-A79D-83812ED75A11}"/>
                </a:ext>
              </a:extLst>
            </p:cNvPr>
            <p:cNvSpPr/>
            <p:nvPr/>
          </p:nvSpPr>
          <p:spPr bwMode="gray">
            <a:xfrm flipH="1">
              <a:off x="9601475" y="4675665"/>
              <a:ext cx="148218" cy="257372"/>
            </a:xfrm>
            <a:custGeom>
              <a:avLst/>
              <a:gdLst>
                <a:gd name="connsiteX0" fmla="*/ 0 w 156764"/>
                <a:gd name="connsiteY0" fmla="*/ 0 h 272212"/>
                <a:gd name="connsiteX1" fmla="*/ 156764 w 156764"/>
                <a:gd name="connsiteY1" fmla="*/ 90316 h 272212"/>
                <a:gd name="connsiteX2" fmla="*/ 156764 w 156764"/>
                <a:gd name="connsiteY2" fmla="*/ 272212 h 272212"/>
                <a:gd name="connsiteX3" fmla="*/ 0 w 156764"/>
                <a:gd name="connsiteY3" fmla="*/ 183072 h 272212"/>
              </a:gdLst>
              <a:ahLst/>
              <a:cxnLst>
                <a:cxn ang="0">
                  <a:pos x="connsiteX0" y="connsiteY0"/>
                </a:cxn>
                <a:cxn ang="0">
                  <a:pos x="connsiteX1" y="connsiteY1"/>
                </a:cxn>
                <a:cxn ang="0">
                  <a:pos x="connsiteX2" y="connsiteY2"/>
                </a:cxn>
                <a:cxn ang="0">
                  <a:pos x="connsiteX3" y="connsiteY3"/>
                </a:cxn>
              </a:cxnLst>
              <a:rect l="l" t="t" r="r" b="b"/>
              <a:pathLst>
                <a:path w="156764" h="272212">
                  <a:moveTo>
                    <a:pt x="0" y="0"/>
                  </a:moveTo>
                  <a:lnTo>
                    <a:pt x="156764" y="90316"/>
                  </a:lnTo>
                  <a:lnTo>
                    <a:pt x="156764" y="272212"/>
                  </a:lnTo>
                  <a:lnTo>
                    <a:pt x="0" y="183072"/>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65" name="Freeform: Shape 464">
              <a:extLst>
                <a:ext uri="{FF2B5EF4-FFF2-40B4-BE49-F238E27FC236}">
                  <a16:creationId xmlns:a16="http://schemas.microsoft.com/office/drawing/2014/main" id="{8CCFE646-1D72-449D-B2FD-D90393CEC5B5}"/>
                </a:ext>
              </a:extLst>
            </p:cNvPr>
            <p:cNvSpPr/>
            <p:nvPr/>
          </p:nvSpPr>
          <p:spPr bwMode="gray">
            <a:xfrm flipH="1">
              <a:off x="9766082" y="4765474"/>
              <a:ext cx="56938" cy="74190"/>
            </a:xfrm>
            <a:custGeom>
              <a:avLst/>
              <a:gdLst>
                <a:gd name="connsiteX0" fmla="*/ 0 w 60221"/>
                <a:gd name="connsiteY0" fmla="*/ 0 h 78468"/>
                <a:gd name="connsiteX1" fmla="*/ 60221 w 60221"/>
                <a:gd name="connsiteY1" fmla="*/ 34695 h 78468"/>
                <a:gd name="connsiteX2" fmla="*/ 60221 w 60221"/>
                <a:gd name="connsiteY2" fmla="*/ 78468 h 78468"/>
                <a:gd name="connsiteX3" fmla="*/ 0 w 60221"/>
                <a:gd name="connsiteY3" fmla="*/ 44224 h 78468"/>
              </a:gdLst>
              <a:ahLst/>
              <a:cxnLst>
                <a:cxn ang="0">
                  <a:pos x="connsiteX0" y="connsiteY0"/>
                </a:cxn>
                <a:cxn ang="0">
                  <a:pos x="connsiteX1" y="connsiteY1"/>
                </a:cxn>
                <a:cxn ang="0">
                  <a:pos x="connsiteX2" y="connsiteY2"/>
                </a:cxn>
                <a:cxn ang="0">
                  <a:pos x="connsiteX3" y="connsiteY3"/>
                </a:cxn>
              </a:cxnLst>
              <a:rect l="l" t="t" r="r" b="b"/>
              <a:pathLst>
                <a:path w="60221" h="78468">
                  <a:moveTo>
                    <a:pt x="0" y="0"/>
                  </a:moveTo>
                  <a:lnTo>
                    <a:pt x="60221" y="34695"/>
                  </a:lnTo>
                  <a:lnTo>
                    <a:pt x="60221" y="78468"/>
                  </a:lnTo>
                  <a:lnTo>
                    <a:pt x="0" y="44224"/>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66" name="Freeform: Shape 465">
              <a:extLst>
                <a:ext uri="{FF2B5EF4-FFF2-40B4-BE49-F238E27FC236}">
                  <a16:creationId xmlns:a16="http://schemas.microsoft.com/office/drawing/2014/main" id="{7364CA99-F2A1-4B39-93E8-14426AD266FC}"/>
                </a:ext>
              </a:extLst>
            </p:cNvPr>
            <p:cNvSpPr/>
            <p:nvPr/>
          </p:nvSpPr>
          <p:spPr bwMode="gray">
            <a:xfrm flipH="1">
              <a:off x="9528148" y="4901504"/>
              <a:ext cx="56938" cy="74190"/>
            </a:xfrm>
            <a:custGeom>
              <a:avLst/>
              <a:gdLst>
                <a:gd name="connsiteX0" fmla="*/ 0 w 60221"/>
                <a:gd name="connsiteY0" fmla="*/ 0 h 78468"/>
                <a:gd name="connsiteX1" fmla="*/ 60221 w 60221"/>
                <a:gd name="connsiteY1" fmla="*/ 34695 h 78468"/>
                <a:gd name="connsiteX2" fmla="*/ 60221 w 60221"/>
                <a:gd name="connsiteY2" fmla="*/ 78468 h 78468"/>
                <a:gd name="connsiteX3" fmla="*/ 0 w 60221"/>
                <a:gd name="connsiteY3" fmla="*/ 44224 h 78468"/>
              </a:gdLst>
              <a:ahLst/>
              <a:cxnLst>
                <a:cxn ang="0">
                  <a:pos x="connsiteX0" y="connsiteY0"/>
                </a:cxn>
                <a:cxn ang="0">
                  <a:pos x="connsiteX1" y="connsiteY1"/>
                </a:cxn>
                <a:cxn ang="0">
                  <a:pos x="connsiteX2" y="connsiteY2"/>
                </a:cxn>
                <a:cxn ang="0">
                  <a:pos x="connsiteX3" y="connsiteY3"/>
                </a:cxn>
              </a:cxnLst>
              <a:rect l="l" t="t" r="r" b="b"/>
              <a:pathLst>
                <a:path w="60221" h="78468">
                  <a:moveTo>
                    <a:pt x="0" y="0"/>
                  </a:moveTo>
                  <a:lnTo>
                    <a:pt x="60221" y="34695"/>
                  </a:lnTo>
                  <a:lnTo>
                    <a:pt x="60221" y="78468"/>
                  </a:lnTo>
                  <a:lnTo>
                    <a:pt x="0" y="44224"/>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67" name="Rectangle 83">
              <a:extLst>
                <a:ext uri="{FF2B5EF4-FFF2-40B4-BE49-F238E27FC236}">
                  <a16:creationId xmlns:a16="http://schemas.microsoft.com/office/drawing/2014/main" id="{B8F6AA8F-425A-4772-B5D1-BF69C199CF40}"/>
                </a:ext>
              </a:extLst>
            </p:cNvPr>
            <p:cNvSpPr/>
            <p:nvPr/>
          </p:nvSpPr>
          <p:spPr bwMode="gray">
            <a:xfrm flipH="1">
              <a:off x="9476895" y="4413685"/>
              <a:ext cx="361478" cy="372441"/>
            </a:xfrm>
            <a:custGeom>
              <a:avLst/>
              <a:gdLst>
                <a:gd name="connsiteX0" fmla="*/ 0 w 1900836"/>
                <a:gd name="connsiteY0" fmla="*/ 0 h 1112785"/>
                <a:gd name="connsiteX1" fmla="*/ 1900836 w 1900836"/>
                <a:gd name="connsiteY1" fmla="*/ 0 h 1112785"/>
                <a:gd name="connsiteX2" fmla="*/ 1900836 w 1900836"/>
                <a:gd name="connsiteY2" fmla="*/ 1112785 h 1112785"/>
                <a:gd name="connsiteX3" fmla="*/ 0 w 1900836"/>
                <a:gd name="connsiteY3" fmla="*/ 1112785 h 1112785"/>
                <a:gd name="connsiteX4" fmla="*/ 0 w 1900836"/>
                <a:gd name="connsiteY4" fmla="*/ 0 h 1112785"/>
                <a:gd name="connsiteX0" fmla="*/ 0 w 1919886"/>
                <a:gd name="connsiteY0" fmla="*/ 0 h 2202445"/>
                <a:gd name="connsiteX1" fmla="*/ 1900836 w 1919886"/>
                <a:gd name="connsiteY1" fmla="*/ 0 h 2202445"/>
                <a:gd name="connsiteX2" fmla="*/ 1919886 w 1919886"/>
                <a:gd name="connsiteY2" fmla="*/ 2202445 h 2202445"/>
                <a:gd name="connsiteX3" fmla="*/ 0 w 1919886"/>
                <a:gd name="connsiteY3" fmla="*/ 1112785 h 2202445"/>
                <a:gd name="connsiteX4" fmla="*/ 0 w 1919886"/>
                <a:gd name="connsiteY4" fmla="*/ 0 h 2202445"/>
                <a:gd name="connsiteX0" fmla="*/ 0 w 2156106"/>
                <a:gd name="connsiteY0" fmla="*/ 0 h 2202445"/>
                <a:gd name="connsiteX1" fmla="*/ 2156106 w 2156106"/>
                <a:gd name="connsiteY1" fmla="*/ 1070610 h 2202445"/>
                <a:gd name="connsiteX2" fmla="*/ 1919886 w 2156106"/>
                <a:gd name="connsiteY2" fmla="*/ 2202445 h 2202445"/>
                <a:gd name="connsiteX3" fmla="*/ 0 w 2156106"/>
                <a:gd name="connsiteY3" fmla="*/ 1112785 h 2202445"/>
                <a:gd name="connsiteX4" fmla="*/ 0 w 2156106"/>
                <a:gd name="connsiteY4" fmla="*/ 0 h 2202445"/>
                <a:gd name="connsiteX0" fmla="*/ 232410 w 2156106"/>
                <a:gd name="connsiteY0" fmla="*/ 0 h 2221495"/>
                <a:gd name="connsiteX1" fmla="*/ 2156106 w 2156106"/>
                <a:gd name="connsiteY1" fmla="*/ 1089660 h 2221495"/>
                <a:gd name="connsiteX2" fmla="*/ 1919886 w 2156106"/>
                <a:gd name="connsiteY2" fmla="*/ 2221495 h 2221495"/>
                <a:gd name="connsiteX3" fmla="*/ 0 w 2156106"/>
                <a:gd name="connsiteY3" fmla="*/ 1131835 h 2221495"/>
                <a:gd name="connsiteX4" fmla="*/ 232410 w 2156106"/>
                <a:gd name="connsiteY4" fmla="*/ 0 h 2221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106" h="2221495">
                  <a:moveTo>
                    <a:pt x="232410" y="0"/>
                  </a:moveTo>
                  <a:lnTo>
                    <a:pt x="2156106" y="1089660"/>
                  </a:lnTo>
                  <a:lnTo>
                    <a:pt x="1919886" y="2221495"/>
                  </a:lnTo>
                  <a:lnTo>
                    <a:pt x="0" y="1131835"/>
                  </a:lnTo>
                  <a:lnTo>
                    <a:pt x="232410" y="0"/>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68" name="Freeform: Shape 467">
              <a:extLst>
                <a:ext uri="{FF2B5EF4-FFF2-40B4-BE49-F238E27FC236}">
                  <a16:creationId xmlns:a16="http://schemas.microsoft.com/office/drawing/2014/main" id="{6AD687DB-75BB-4281-9C67-DCA8B7288BA6}"/>
                </a:ext>
              </a:extLst>
            </p:cNvPr>
            <p:cNvSpPr/>
            <p:nvPr/>
          </p:nvSpPr>
          <p:spPr bwMode="gray">
            <a:xfrm flipH="1">
              <a:off x="9492090" y="4433487"/>
              <a:ext cx="335715" cy="345615"/>
            </a:xfrm>
            <a:custGeom>
              <a:avLst/>
              <a:gdLst>
                <a:gd name="connsiteX0" fmla="*/ 38839 w 355072"/>
                <a:gd name="connsiteY0" fmla="*/ 0 h 365543"/>
                <a:gd name="connsiteX1" fmla="*/ 355072 w 355072"/>
                <a:gd name="connsiteY1" fmla="*/ 179128 h 365543"/>
                <a:gd name="connsiteX2" fmla="*/ 316166 w 355072"/>
                <a:gd name="connsiteY2" fmla="*/ 365543 h 365543"/>
                <a:gd name="connsiteX3" fmla="*/ 0 w 355072"/>
                <a:gd name="connsiteY3" fmla="*/ 186098 h 365543"/>
              </a:gdLst>
              <a:ahLst/>
              <a:cxnLst>
                <a:cxn ang="0">
                  <a:pos x="connsiteX0" y="connsiteY0"/>
                </a:cxn>
                <a:cxn ang="0">
                  <a:pos x="connsiteX1" y="connsiteY1"/>
                </a:cxn>
                <a:cxn ang="0">
                  <a:pos x="connsiteX2" y="connsiteY2"/>
                </a:cxn>
                <a:cxn ang="0">
                  <a:pos x="connsiteX3" y="connsiteY3"/>
                </a:cxn>
              </a:cxnLst>
              <a:rect l="l" t="t" r="r" b="b"/>
              <a:pathLst>
                <a:path w="355072" h="365543">
                  <a:moveTo>
                    <a:pt x="38839" y="0"/>
                  </a:moveTo>
                  <a:lnTo>
                    <a:pt x="355072" y="179128"/>
                  </a:lnTo>
                  <a:lnTo>
                    <a:pt x="316166" y="365543"/>
                  </a:lnTo>
                  <a:lnTo>
                    <a:pt x="0" y="186098"/>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69" name="Freeform: Shape 468">
              <a:extLst>
                <a:ext uri="{FF2B5EF4-FFF2-40B4-BE49-F238E27FC236}">
                  <a16:creationId xmlns:a16="http://schemas.microsoft.com/office/drawing/2014/main" id="{B9BC529E-F346-4B87-AA12-D0AD6648B93F}"/>
                </a:ext>
              </a:extLst>
            </p:cNvPr>
            <p:cNvSpPr/>
            <p:nvPr/>
          </p:nvSpPr>
          <p:spPr bwMode="gray">
            <a:xfrm flipH="1">
              <a:off x="9418468" y="4604186"/>
              <a:ext cx="40892" cy="158224"/>
            </a:xfrm>
            <a:custGeom>
              <a:avLst/>
              <a:gdLst>
                <a:gd name="connsiteX0" fmla="*/ 0 w 43250"/>
                <a:gd name="connsiteY0" fmla="*/ 0 h 167347"/>
                <a:gd name="connsiteX1" fmla="*/ 43250 w 43250"/>
                <a:gd name="connsiteY1" fmla="*/ 24918 h 167347"/>
                <a:gd name="connsiteX2" fmla="*/ 43250 w 43250"/>
                <a:gd name="connsiteY2" fmla="*/ 167347 h 167347"/>
                <a:gd name="connsiteX3" fmla="*/ 0 w 43250"/>
                <a:gd name="connsiteY3" fmla="*/ 142753 h 167347"/>
              </a:gdLst>
              <a:ahLst/>
              <a:cxnLst>
                <a:cxn ang="0">
                  <a:pos x="connsiteX0" y="connsiteY0"/>
                </a:cxn>
                <a:cxn ang="0">
                  <a:pos x="connsiteX1" y="connsiteY1"/>
                </a:cxn>
                <a:cxn ang="0">
                  <a:pos x="connsiteX2" y="connsiteY2"/>
                </a:cxn>
                <a:cxn ang="0">
                  <a:pos x="connsiteX3" y="connsiteY3"/>
                </a:cxn>
              </a:cxnLst>
              <a:rect l="l" t="t" r="r" b="b"/>
              <a:pathLst>
                <a:path w="43250" h="167347">
                  <a:moveTo>
                    <a:pt x="0" y="0"/>
                  </a:moveTo>
                  <a:lnTo>
                    <a:pt x="43250" y="24918"/>
                  </a:lnTo>
                  <a:lnTo>
                    <a:pt x="43250" y="167347"/>
                  </a:lnTo>
                  <a:lnTo>
                    <a:pt x="0" y="142753"/>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70" name="Freeform: Shape 469">
              <a:extLst>
                <a:ext uri="{FF2B5EF4-FFF2-40B4-BE49-F238E27FC236}">
                  <a16:creationId xmlns:a16="http://schemas.microsoft.com/office/drawing/2014/main" id="{024754B8-34C6-4C08-BB30-33D56D5CBFB1}"/>
                </a:ext>
              </a:extLst>
            </p:cNvPr>
            <p:cNvSpPr/>
            <p:nvPr/>
          </p:nvSpPr>
          <p:spPr bwMode="gray">
            <a:xfrm flipH="1">
              <a:off x="9420388" y="4594337"/>
              <a:ext cx="55275" cy="49828"/>
            </a:xfrm>
            <a:custGeom>
              <a:avLst/>
              <a:gdLst>
                <a:gd name="connsiteX0" fmla="*/ 0 w 58462"/>
                <a:gd name="connsiteY0" fmla="*/ 0 h 52701"/>
                <a:gd name="connsiteX1" fmla="*/ 58462 w 58462"/>
                <a:gd name="connsiteY1" fmla="*/ 33682 h 52701"/>
                <a:gd name="connsiteX2" fmla="*/ 58462 w 58462"/>
                <a:gd name="connsiteY2" fmla="*/ 52701 h 52701"/>
                <a:gd name="connsiteX3" fmla="*/ 0 w 58462"/>
                <a:gd name="connsiteY3" fmla="*/ 19019 h 52701"/>
              </a:gdLst>
              <a:ahLst/>
              <a:cxnLst>
                <a:cxn ang="0">
                  <a:pos x="connsiteX0" y="connsiteY0"/>
                </a:cxn>
                <a:cxn ang="0">
                  <a:pos x="connsiteX1" y="connsiteY1"/>
                </a:cxn>
                <a:cxn ang="0">
                  <a:pos x="connsiteX2" y="connsiteY2"/>
                </a:cxn>
                <a:cxn ang="0">
                  <a:pos x="connsiteX3" y="connsiteY3"/>
                </a:cxn>
              </a:cxnLst>
              <a:rect l="l" t="t" r="r" b="b"/>
              <a:pathLst>
                <a:path w="58462" h="52701">
                  <a:moveTo>
                    <a:pt x="0" y="0"/>
                  </a:moveTo>
                  <a:lnTo>
                    <a:pt x="58462" y="33682"/>
                  </a:lnTo>
                  <a:lnTo>
                    <a:pt x="58462" y="52701"/>
                  </a:lnTo>
                  <a:lnTo>
                    <a:pt x="0" y="19019"/>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nvGrpSpPr>
            <p:cNvPr id="471" name="Group 470">
              <a:extLst>
                <a:ext uri="{FF2B5EF4-FFF2-40B4-BE49-F238E27FC236}">
                  <a16:creationId xmlns:a16="http://schemas.microsoft.com/office/drawing/2014/main" id="{E27E521B-06FF-428B-ADE0-0C960B23C6F6}"/>
                </a:ext>
              </a:extLst>
            </p:cNvPr>
            <p:cNvGrpSpPr/>
            <p:nvPr/>
          </p:nvGrpSpPr>
          <p:grpSpPr bwMode="gray">
            <a:xfrm flipH="1">
              <a:off x="9469299" y="4766840"/>
              <a:ext cx="473994" cy="344847"/>
              <a:chOff x="2600959" y="8072958"/>
              <a:chExt cx="1749096" cy="1272530"/>
            </a:xfrm>
            <a:solidFill>
              <a:schemeClr val="bg1"/>
            </a:solidFill>
          </p:grpSpPr>
          <p:sp>
            <p:nvSpPr>
              <p:cNvPr id="487" name="Freeform: Shape 486">
                <a:extLst>
                  <a:ext uri="{FF2B5EF4-FFF2-40B4-BE49-F238E27FC236}">
                    <a16:creationId xmlns:a16="http://schemas.microsoft.com/office/drawing/2014/main" id="{55B8E387-5796-42AD-9073-17EC589ABCE3}"/>
                  </a:ext>
                </a:extLst>
              </p:cNvPr>
              <p:cNvSpPr/>
              <p:nvPr/>
            </p:nvSpPr>
            <p:spPr bwMode="gray">
              <a:xfrm flipH="1">
                <a:off x="4154622" y="8973547"/>
                <a:ext cx="195433" cy="371941"/>
              </a:xfrm>
              <a:custGeom>
                <a:avLst/>
                <a:gdLst>
                  <a:gd name="connsiteX0" fmla="*/ 0 w 195433"/>
                  <a:gd name="connsiteY0" fmla="*/ 0 h 371941"/>
                  <a:gd name="connsiteX1" fmla="*/ 0 w 195433"/>
                  <a:gd name="connsiteY1" fmla="*/ 259349 h 371941"/>
                  <a:gd name="connsiteX2" fmla="*/ 195433 w 195433"/>
                  <a:gd name="connsiteY2" fmla="*/ 371941 h 371941"/>
                  <a:gd name="connsiteX3" fmla="*/ 195433 w 195433"/>
                  <a:gd name="connsiteY3" fmla="*/ 112592 h 371941"/>
                </a:gdLst>
                <a:ahLst/>
                <a:cxnLst>
                  <a:cxn ang="0">
                    <a:pos x="connsiteX0" y="connsiteY0"/>
                  </a:cxn>
                  <a:cxn ang="0">
                    <a:pos x="connsiteX1" y="connsiteY1"/>
                  </a:cxn>
                  <a:cxn ang="0">
                    <a:pos x="connsiteX2" y="connsiteY2"/>
                  </a:cxn>
                  <a:cxn ang="0">
                    <a:pos x="connsiteX3" y="connsiteY3"/>
                  </a:cxn>
                </a:cxnLst>
                <a:rect l="l" t="t" r="r" b="b"/>
                <a:pathLst>
                  <a:path w="195433" h="371941">
                    <a:moveTo>
                      <a:pt x="0" y="0"/>
                    </a:moveTo>
                    <a:lnTo>
                      <a:pt x="0" y="259349"/>
                    </a:lnTo>
                    <a:lnTo>
                      <a:pt x="195433" y="371941"/>
                    </a:lnTo>
                    <a:lnTo>
                      <a:pt x="195433" y="112592"/>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88" name="Freeform: Shape 487">
                <a:extLst>
                  <a:ext uri="{FF2B5EF4-FFF2-40B4-BE49-F238E27FC236}">
                    <a16:creationId xmlns:a16="http://schemas.microsoft.com/office/drawing/2014/main" id="{DA72C83A-9DC7-4EAF-A8D6-D9E623D3570F}"/>
                  </a:ext>
                </a:extLst>
              </p:cNvPr>
              <p:cNvSpPr/>
              <p:nvPr/>
            </p:nvSpPr>
            <p:spPr bwMode="gray">
              <a:xfrm>
                <a:off x="2600959" y="8072958"/>
                <a:ext cx="1748084" cy="1010420"/>
              </a:xfrm>
              <a:custGeom>
                <a:avLst/>
                <a:gdLst>
                  <a:gd name="connsiteX0" fmla="*/ 195445 w 1748084"/>
                  <a:gd name="connsiteY0" fmla="*/ 0 h 1010420"/>
                  <a:gd name="connsiteX1" fmla="*/ 1748084 w 1748084"/>
                  <a:gd name="connsiteY1" fmla="*/ 899990 h 1010420"/>
                  <a:gd name="connsiteX2" fmla="*/ 1556403 w 1748084"/>
                  <a:gd name="connsiteY2" fmla="*/ 1010420 h 1010420"/>
                  <a:gd name="connsiteX3" fmla="*/ 431897 w 1748084"/>
                  <a:gd name="connsiteY3" fmla="*/ 362568 h 1010420"/>
                  <a:gd name="connsiteX4" fmla="*/ 432889 w 1748084"/>
                  <a:gd name="connsiteY4" fmla="*/ 361996 h 1010420"/>
                  <a:gd name="connsiteX5" fmla="*/ 0 w 1748084"/>
                  <a:gd name="connsiteY5" fmla="*/ 112599 h 1010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8084" h="1010420">
                    <a:moveTo>
                      <a:pt x="195445" y="0"/>
                    </a:moveTo>
                    <a:lnTo>
                      <a:pt x="1748084" y="899990"/>
                    </a:lnTo>
                    <a:lnTo>
                      <a:pt x="1556403" y="1010420"/>
                    </a:lnTo>
                    <a:lnTo>
                      <a:pt x="431897" y="362568"/>
                    </a:lnTo>
                    <a:lnTo>
                      <a:pt x="432889" y="361996"/>
                    </a:lnTo>
                    <a:lnTo>
                      <a:pt x="0" y="112599"/>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89" name="Diamond 266">
                <a:extLst>
                  <a:ext uri="{FF2B5EF4-FFF2-40B4-BE49-F238E27FC236}">
                    <a16:creationId xmlns:a16="http://schemas.microsoft.com/office/drawing/2014/main" id="{037AB8B7-1554-4AB3-813F-ADF1DA7ECF10}"/>
                  </a:ext>
                </a:extLst>
              </p:cNvPr>
              <p:cNvSpPr/>
              <p:nvPr/>
            </p:nvSpPr>
            <p:spPr bwMode="gray">
              <a:xfrm>
                <a:off x="2601370" y="8189732"/>
                <a:ext cx="1552481" cy="1154909"/>
              </a:xfrm>
              <a:custGeom>
                <a:avLst/>
                <a:gdLst/>
                <a:ahLst/>
                <a:cxnLst/>
                <a:rect l="l" t="t" r="r" b="b"/>
                <a:pathLst>
                  <a:path w="608439" h="452624">
                    <a:moveTo>
                      <a:pt x="0" y="0"/>
                    </a:moveTo>
                    <a:lnTo>
                      <a:pt x="439173" y="253016"/>
                    </a:lnTo>
                    <a:lnTo>
                      <a:pt x="439173" y="253465"/>
                    </a:lnTo>
                    <a:lnTo>
                      <a:pt x="608439" y="350982"/>
                    </a:lnTo>
                    <a:lnTo>
                      <a:pt x="608439" y="452624"/>
                    </a:lnTo>
                    <a:lnTo>
                      <a:pt x="169266" y="199608"/>
                    </a:lnTo>
                    <a:lnTo>
                      <a:pt x="169266" y="199160"/>
                    </a:lnTo>
                    <a:lnTo>
                      <a:pt x="0" y="101642"/>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
          <p:nvSpPr>
            <p:cNvPr id="473" name="Rectangle 83">
              <a:extLst>
                <a:ext uri="{FF2B5EF4-FFF2-40B4-BE49-F238E27FC236}">
                  <a16:creationId xmlns:a16="http://schemas.microsoft.com/office/drawing/2014/main" id="{D936683B-4AD8-427D-AFAE-8D9852E5DCC7}"/>
                </a:ext>
              </a:extLst>
            </p:cNvPr>
            <p:cNvSpPr/>
            <p:nvPr/>
          </p:nvSpPr>
          <p:spPr bwMode="gray">
            <a:xfrm flipH="1" flipV="1">
              <a:off x="9266482" y="4821882"/>
              <a:ext cx="68236" cy="96421"/>
            </a:xfrm>
            <a:custGeom>
              <a:avLst/>
              <a:gdLst/>
              <a:ahLst/>
              <a:cxnLst/>
              <a:rect l="l" t="t" r="r" b="b"/>
              <a:pathLst>
                <a:path w="407010" h="575124">
                  <a:moveTo>
                    <a:pt x="0" y="575124"/>
                  </a:moveTo>
                  <a:lnTo>
                    <a:pt x="316126" y="398405"/>
                  </a:lnTo>
                  <a:lnTo>
                    <a:pt x="407010" y="4729"/>
                  </a:lnTo>
                  <a:lnTo>
                    <a:pt x="401996" y="0"/>
                  </a:lnTo>
                  <a:lnTo>
                    <a:pt x="80204" y="182276"/>
                  </a:lnTo>
                  <a:lnTo>
                    <a:pt x="589" y="563748"/>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74" name="Rectangle 83">
              <a:extLst>
                <a:ext uri="{FF2B5EF4-FFF2-40B4-BE49-F238E27FC236}">
                  <a16:creationId xmlns:a16="http://schemas.microsoft.com/office/drawing/2014/main" id="{770A2EB7-FB02-4AE2-9B53-F1B867B3CAA0}"/>
                </a:ext>
              </a:extLst>
            </p:cNvPr>
            <p:cNvSpPr/>
            <p:nvPr/>
          </p:nvSpPr>
          <p:spPr bwMode="gray">
            <a:xfrm flipH="1">
              <a:off x="9449095" y="4917941"/>
              <a:ext cx="67671" cy="97375"/>
            </a:xfrm>
            <a:custGeom>
              <a:avLst/>
              <a:gdLst/>
              <a:ahLst/>
              <a:cxnLst/>
              <a:rect l="l" t="t" r="r" b="b"/>
              <a:pathLst>
                <a:path w="403638" h="580812">
                  <a:moveTo>
                    <a:pt x="83355" y="0"/>
                  </a:moveTo>
                  <a:lnTo>
                    <a:pt x="403638" y="181421"/>
                  </a:lnTo>
                  <a:lnTo>
                    <a:pt x="320283" y="580812"/>
                  </a:lnTo>
                  <a:lnTo>
                    <a:pt x="0" y="399391"/>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75" name="Rectangle 82">
              <a:extLst>
                <a:ext uri="{FF2B5EF4-FFF2-40B4-BE49-F238E27FC236}">
                  <a16:creationId xmlns:a16="http://schemas.microsoft.com/office/drawing/2014/main" id="{416E48A3-D095-4960-B399-B63EA4021C62}"/>
                </a:ext>
              </a:extLst>
            </p:cNvPr>
            <p:cNvSpPr/>
            <p:nvPr/>
          </p:nvSpPr>
          <p:spPr bwMode="gray">
            <a:xfrm flipH="1">
              <a:off x="9281805" y="4821822"/>
              <a:ext cx="220813" cy="126579"/>
            </a:xfrm>
            <a:custGeom>
              <a:avLst/>
              <a:gdLst/>
              <a:ahLst/>
              <a:cxnLst/>
              <a:rect l="l" t="t" r="r" b="b"/>
              <a:pathLst>
                <a:path w="1317079" h="755008">
                  <a:moveTo>
                    <a:pt x="997789" y="0"/>
                  </a:moveTo>
                  <a:lnTo>
                    <a:pt x="1317079" y="182366"/>
                  </a:lnTo>
                  <a:lnTo>
                    <a:pt x="319290" y="755008"/>
                  </a:lnTo>
                  <a:lnTo>
                    <a:pt x="0" y="572642"/>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76" name="Oval 91">
              <a:extLst>
                <a:ext uri="{FF2B5EF4-FFF2-40B4-BE49-F238E27FC236}">
                  <a16:creationId xmlns:a16="http://schemas.microsoft.com/office/drawing/2014/main" id="{FC2C0870-D2DA-48F0-AC1E-5BF47AAAF9DF}"/>
                </a:ext>
              </a:extLst>
            </p:cNvPr>
            <p:cNvSpPr/>
            <p:nvPr/>
          </p:nvSpPr>
          <p:spPr bwMode="gray">
            <a:xfrm rot="19800000" flipH="1">
              <a:off x="9289223" y="4887561"/>
              <a:ext cx="126978" cy="215934"/>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77" name="Oval 91">
              <a:extLst>
                <a:ext uri="{FF2B5EF4-FFF2-40B4-BE49-F238E27FC236}">
                  <a16:creationId xmlns:a16="http://schemas.microsoft.com/office/drawing/2014/main" id="{A0F2CD8F-B793-40DD-9CD7-770E9AEA7DAB}"/>
                </a:ext>
              </a:extLst>
            </p:cNvPr>
            <p:cNvSpPr/>
            <p:nvPr/>
          </p:nvSpPr>
          <p:spPr bwMode="gray">
            <a:xfrm rot="19800000" flipH="1">
              <a:off x="9316756" y="4934384"/>
              <a:ext cx="71911" cy="122288"/>
            </a:xfrm>
            <a:custGeom>
              <a:avLst/>
              <a:gdLst>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9 w 621057"/>
                <a:gd name="connsiteY8" fmla="*/ 345337 h 1056145"/>
                <a:gd name="connsiteX9" fmla="*/ 310528 w 621057"/>
                <a:gd name="connsiteY9" fmla="*/ 0 h 1056145"/>
                <a:gd name="connsiteX10" fmla="*/ 189656 w 621057"/>
                <a:gd name="connsiteY10"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720387 h 1056145"/>
                <a:gd name="connsiteX5" fmla="*/ 310529 w 621057"/>
                <a:gd name="connsiteY5" fmla="*/ 1056145 h 1056145"/>
                <a:gd name="connsiteX6" fmla="*/ 621057 w 621057"/>
                <a:gd name="connsiteY6" fmla="*/ 528073 h 1056145"/>
                <a:gd name="connsiteX7" fmla="*/ 310529 w 621057"/>
                <a:gd name="connsiteY7" fmla="*/ 0 h 1056145"/>
                <a:gd name="connsiteX8" fmla="*/ 310528 w 621057"/>
                <a:gd name="connsiteY8" fmla="*/ 0 h 1056145"/>
                <a:gd name="connsiteX9" fmla="*/ 189656 w 621057"/>
                <a:gd name="connsiteY9"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8 w 621057"/>
                <a:gd name="connsiteY3" fmla="*/ 720388 h 1056145"/>
                <a:gd name="connsiteX4" fmla="*/ 310529 w 621057"/>
                <a:gd name="connsiteY4" fmla="*/ 1056145 h 1056145"/>
                <a:gd name="connsiteX5" fmla="*/ 621057 w 621057"/>
                <a:gd name="connsiteY5" fmla="*/ 528073 h 1056145"/>
                <a:gd name="connsiteX6" fmla="*/ 310529 w 621057"/>
                <a:gd name="connsiteY6" fmla="*/ 0 h 1056145"/>
                <a:gd name="connsiteX7" fmla="*/ 310528 w 621057"/>
                <a:gd name="connsiteY7" fmla="*/ 0 h 1056145"/>
                <a:gd name="connsiteX8" fmla="*/ 189656 w 621057"/>
                <a:gd name="connsiteY8" fmla="*/ 41499 h 1056145"/>
                <a:gd name="connsiteX0" fmla="*/ 189656 w 621057"/>
                <a:gd name="connsiteY0" fmla="*/ 41499 h 1056145"/>
                <a:gd name="connsiteX1" fmla="*/ 0 w 621057"/>
                <a:gd name="connsiteY1" fmla="*/ 528073 h 1056145"/>
                <a:gd name="connsiteX2" fmla="*/ 310528 w 621057"/>
                <a:gd name="connsiteY2" fmla="*/ 1056145 h 1056145"/>
                <a:gd name="connsiteX3" fmla="*/ 310529 w 621057"/>
                <a:gd name="connsiteY3" fmla="*/ 1056145 h 1056145"/>
                <a:gd name="connsiteX4" fmla="*/ 621057 w 621057"/>
                <a:gd name="connsiteY4" fmla="*/ 528073 h 1056145"/>
                <a:gd name="connsiteX5" fmla="*/ 310529 w 621057"/>
                <a:gd name="connsiteY5" fmla="*/ 0 h 1056145"/>
                <a:gd name="connsiteX6" fmla="*/ 310528 w 621057"/>
                <a:gd name="connsiteY6" fmla="*/ 0 h 1056145"/>
                <a:gd name="connsiteX7" fmla="*/ 189656 w 621057"/>
                <a:gd name="connsiteY7" fmla="*/ 41499 h 1056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057" h="1056145">
                  <a:moveTo>
                    <a:pt x="189656" y="41499"/>
                  </a:moveTo>
                  <a:cubicBezTo>
                    <a:pt x="78203" y="121664"/>
                    <a:pt x="0" y="309338"/>
                    <a:pt x="0" y="528073"/>
                  </a:cubicBezTo>
                  <a:cubicBezTo>
                    <a:pt x="0" y="819719"/>
                    <a:pt x="139028" y="1056145"/>
                    <a:pt x="310528" y="1056145"/>
                  </a:cubicBezTo>
                  <a:lnTo>
                    <a:pt x="310529" y="1056145"/>
                  </a:lnTo>
                  <a:cubicBezTo>
                    <a:pt x="482029" y="1056145"/>
                    <a:pt x="621057" y="819719"/>
                    <a:pt x="621057" y="528073"/>
                  </a:cubicBezTo>
                  <a:cubicBezTo>
                    <a:pt x="621057" y="236426"/>
                    <a:pt x="482029" y="0"/>
                    <a:pt x="310529" y="0"/>
                  </a:cubicBezTo>
                  <a:lnTo>
                    <a:pt x="310528" y="0"/>
                  </a:lnTo>
                  <a:cubicBezTo>
                    <a:pt x="267653" y="0"/>
                    <a:pt x="226807" y="14777"/>
                    <a:pt x="189656" y="41499"/>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86" name="Freeform: Shape 485">
              <a:extLst>
                <a:ext uri="{FF2B5EF4-FFF2-40B4-BE49-F238E27FC236}">
                  <a16:creationId xmlns:a16="http://schemas.microsoft.com/office/drawing/2014/main" id="{0BFCB148-8CCF-4340-8370-63DA5545DF1B}"/>
                </a:ext>
              </a:extLst>
            </p:cNvPr>
            <p:cNvSpPr/>
            <p:nvPr/>
          </p:nvSpPr>
          <p:spPr bwMode="gray">
            <a:xfrm flipH="1">
              <a:off x="9162119" y="4744510"/>
              <a:ext cx="43182" cy="107844"/>
            </a:xfrm>
            <a:custGeom>
              <a:avLst/>
              <a:gdLst>
                <a:gd name="connsiteX0" fmla="*/ 0 w 177801"/>
                <a:gd name="connsiteY0" fmla="*/ 0 h 444042"/>
                <a:gd name="connsiteX1" fmla="*/ 177801 w 177801"/>
                <a:gd name="connsiteY1" fmla="*/ 102434 h 444042"/>
                <a:gd name="connsiteX2" fmla="*/ 177801 w 177801"/>
                <a:gd name="connsiteY2" fmla="*/ 444042 h 444042"/>
                <a:gd name="connsiteX3" fmla="*/ 0 w 177801"/>
                <a:gd name="connsiteY3" fmla="*/ 341608 h 444042"/>
              </a:gdLst>
              <a:ahLst/>
              <a:cxnLst>
                <a:cxn ang="0">
                  <a:pos x="connsiteX0" y="connsiteY0"/>
                </a:cxn>
                <a:cxn ang="0">
                  <a:pos x="connsiteX1" y="connsiteY1"/>
                </a:cxn>
                <a:cxn ang="0">
                  <a:pos x="connsiteX2" y="connsiteY2"/>
                </a:cxn>
                <a:cxn ang="0">
                  <a:pos x="connsiteX3" y="connsiteY3"/>
                </a:cxn>
              </a:cxnLst>
              <a:rect l="l" t="t" r="r" b="b"/>
              <a:pathLst>
                <a:path w="177801" h="444042">
                  <a:moveTo>
                    <a:pt x="0" y="0"/>
                  </a:moveTo>
                  <a:lnTo>
                    <a:pt x="177801" y="102434"/>
                  </a:lnTo>
                  <a:lnTo>
                    <a:pt x="177801" y="444042"/>
                  </a:lnTo>
                  <a:lnTo>
                    <a:pt x="0" y="341608"/>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
        <p:nvSpPr>
          <p:cNvPr id="614" name="Inhaltsplatzhalter 5">
            <a:extLst>
              <a:ext uri="{FF2B5EF4-FFF2-40B4-BE49-F238E27FC236}">
                <a16:creationId xmlns:a16="http://schemas.microsoft.com/office/drawing/2014/main" id="{C10AD6C0-A9EF-44E5-8DA6-4B2E4F4EA90A}"/>
              </a:ext>
            </a:extLst>
          </p:cNvPr>
          <p:cNvSpPr txBox="1">
            <a:spLocks/>
          </p:cNvSpPr>
          <p:nvPr/>
        </p:nvSpPr>
        <p:spPr bwMode="gray">
          <a:xfrm flipH="1">
            <a:off x="1310647" y="3594461"/>
            <a:ext cx="1051661" cy="575020"/>
          </a:xfrm>
          <a:prstGeom prst="rect">
            <a:avLst/>
          </a:prstGeom>
          <a:noFill/>
          <a:ln cap="rnd">
            <a:noFill/>
          </a:ln>
          <a:effectLst/>
          <a:scene3d>
            <a:camera prst="orthographicFront">
              <a:rot lat="0" lon="0" rev="0"/>
            </a:camera>
            <a:lightRig rig="threePt" dir="t"/>
          </a:scene3d>
        </p:spPr>
        <p:txBody>
          <a:bodyPr wrap="square" lIns="0" tIns="0" rIns="0" bIns="0" numCol="1" spcCol="72000" rtlCol="0" anchor="ctr">
            <a:noAutofit/>
            <a:scene3d>
              <a:camera prst="isometricLeftDown"/>
              <a:lightRig rig="threePt" dir="t"/>
            </a:scene3d>
          </a:bodyPr>
          <a:lstStyle>
            <a:defPPr>
              <a:defRPr lang="en-US"/>
            </a:defPPr>
            <a:lvl1pPr>
              <a:lnSpc>
                <a:spcPct val="100000"/>
              </a:lnSpc>
              <a:spcBef>
                <a:spcPts val="0"/>
              </a:spcBef>
              <a:defRPr sz="1400" b="1">
                <a:ea typeface="Verdana" panose="020B0604030504040204" pitchFamily="34" charset="0"/>
              </a:defRPr>
            </a:lvl1pPr>
            <a:lvl2pPr marL="180018" lvl="1" indent="-180018" defTabSz="914491">
              <a:spcBef>
                <a:spcPts val="600"/>
              </a:spcBef>
              <a:buFont typeface="ABBvoiceOffice" panose="020D0603020503020204" pitchFamily="34" charset="0"/>
              <a:buChar char="–"/>
              <a:defRPr sz="8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t>2 </a:t>
            </a:r>
          </a:p>
          <a:p>
            <a:r>
              <a:rPr lang="en-US" dirty="0">
                <a:solidFill>
                  <a:schemeClr val="bg2"/>
                </a:solidFill>
              </a:rPr>
              <a:t>Precooled with water</a:t>
            </a:r>
          </a:p>
        </p:txBody>
      </p:sp>
      <p:sp>
        <p:nvSpPr>
          <p:cNvPr id="615" name="Inhaltsplatzhalter 5">
            <a:extLst>
              <a:ext uri="{FF2B5EF4-FFF2-40B4-BE49-F238E27FC236}">
                <a16:creationId xmlns:a16="http://schemas.microsoft.com/office/drawing/2014/main" id="{70A69BBF-EF3C-45AD-BEA8-BEEC11E6352C}"/>
              </a:ext>
            </a:extLst>
          </p:cNvPr>
          <p:cNvSpPr txBox="1">
            <a:spLocks/>
          </p:cNvSpPr>
          <p:nvPr/>
        </p:nvSpPr>
        <p:spPr bwMode="gray">
          <a:xfrm flipH="1">
            <a:off x="1927688" y="2034886"/>
            <a:ext cx="1587693" cy="712800"/>
          </a:xfrm>
          <a:prstGeom prst="rect">
            <a:avLst/>
          </a:prstGeom>
          <a:noFill/>
          <a:ln cap="rnd">
            <a:noFill/>
          </a:ln>
          <a:effectLst/>
          <a:scene3d>
            <a:camera prst="orthographicFront">
              <a:rot lat="0" lon="0" rev="0"/>
            </a:camera>
            <a:lightRig rig="threePt" dir="t"/>
          </a:scene3d>
        </p:spPr>
        <p:txBody>
          <a:bodyPr wrap="square" lIns="0" tIns="0" rIns="0" bIns="0" numCol="1" spcCol="72000" rtlCol="0" anchor="ctr">
            <a:noAutofit/>
            <a:scene3d>
              <a:camera prst="isometricLeftDown"/>
              <a:lightRig rig="threePt" dir="t"/>
            </a:scene3d>
          </a:bodyPr>
          <a:lstStyle>
            <a:defPPr>
              <a:defRPr lang="en-US"/>
            </a:defPPr>
            <a:lvl1pPr>
              <a:lnSpc>
                <a:spcPct val="100000"/>
              </a:lnSpc>
              <a:spcBef>
                <a:spcPts val="0"/>
              </a:spcBef>
              <a:defRPr sz="1400" b="1">
                <a:ea typeface="Verdana" panose="020B0604030504040204" pitchFamily="34" charset="0"/>
              </a:defRPr>
            </a:lvl1pPr>
            <a:lvl2pPr marL="180018" lvl="1" indent="-180018" defTabSz="914491">
              <a:spcBef>
                <a:spcPts val="600"/>
              </a:spcBef>
              <a:buFont typeface="ABBvoiceOffice" panose="020D0603020503020204" pitchFamily="34" charset="0"/>
              <a:buChar char="–"/>
              <a:defRPr sz="8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r"/>
            <a:r>
              <a:rPr lang="en-US" dirty="0"/>
              <a:t>3 </a:t>
            </a:r>
          </a:p>
          <a:p>
            <a:pPr algn="r"/>
            <a:r>
              <a:rPr lang="en-US" dirty="0">
                <a:solidFill>
                  <a:schemeClr val="bg2"/>
                </a:solidFill>
              </a:rPr>
              <a:t>Impurities removed from air</a:t>
            </a:r>
          </a:p>
        </p:txBody>
      </p:sp>
      <p:sp>
        <p:nvSpPr>
          <p:cNvPr id="616" name="Inhaltsplatzhalter 5">
            <a:extLst>
              <a:ext uri="{FF2B5EF4-FFF2-40B4-BE49-F238E27FC236}">
                <a16:creationId xmlns:a16="http://schemas.microsoft.com/office/drawing/2014/main" id="{367535E5-38FD-4951-A5A3-87C7CB38AC52}"/>
              </a:ext>
            </a:extLst>
          </p:cNvPr>
          <p:cNvSpPr txBox="1">
            <a:spLocks/>
          </p:cNvSpPr>
          <p:nvPr/>
        </p:nvSpPr>
        <p:spPr bwMode="gray">
          <a:xfrm flipH="1">
            <a:off x="1184060" y="5235511"/>
            <a:ext cx="2518094" cy="713201"/>
          </a:xfrm>
          <a:prstGeom prst="rect">
            <a:avLst/>
          </a:prstGeom>
          <a:noFill/>
          <a:ln cap="rnd">
            <a:noFill/>
          </a:ln>
          <a:effectLst/>
          <a:scene3d>
            <a:camera prst="orthographicFront">
              <a:rot lat="0" lon="0" rev="0"/>
            </a:camera>
            <a:lightRig rig="threePt" dir="t"/>
          </a:scene3d>
        </p:spPr>
        <p:txBody>
          <a:bodyPr wrap="square" lIns="0" tIns="0" rIns="0" bIns="0" numCol="1" spcCol="72000" rtlCol="0" anchor="ctr">
            <a:noAutofit/>
            <a:scene3d>
              <a:camera prst="isometricLeftDown"/>
              <a:lightRig rig="threePt" dir="t"/>
            </a:scene3d>
          </a:bodyPr>
          <a:lstStyle>
            <a:defPPr>
              <a:defRPr lang="en-US"/>
            </a:defPPr>
            <a:lvl1pPr>
              <a:lnSpc>
                <a:spcPct val="100000"/>
              </a:lnSpc>
              <a:spcBef>
                <a:spcPts val="0"/>
              </a:spcBef>
              <a:defRPr sz="1400" b="1">
                <a:ea typeface="Verdana" panose="020B0604030504040204" pitchFamily="34" charset="0"/>
              </a:defRPr>
            </a:lvl1pPr>
            <a:lvl2pPr marL="180018" lvl="1" indent="-180018" defTabSz="914491">
              <a:spcBef>
                <a:spcPts val="600"/>
              </a:spcBef>
              <a:buFont typeface="ABBvoiceOffice" panose="020D0603020503020204" pitchFamily="34" charset="0"/>
              <a:buChar char="–"/>
              <a:defRPr sz="8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r"/>
            <a:r>
              <a:rPr lang="en-US" dirty="0"/>
              <a:t>4 </a:t>
            </a:r>
          </a:p>
          <a:p>
            <a:pPr algn="r"/>
            <a:r>
              <a:rPr lang="en-US" dirty="0">
                <a:solidFill>
                  <a:schemeClr val="bg2"/>
                </a:solidFill>
              </a:rPr>
              <a:t>Main heat exchanger cools air down to approx. -175 °C</a:t>
            </a:r>
          </a:p>
        </p:txBody>
      </p:sp>
      <p:sp>
        <p:nvSpPr>
          <p:cNvPr id="617" name="Inhaltsplatzhalter 5">
            <a:extLst>
              <a:ext uri="{FF2B5EF4-FFF2-40B4-BE49-F238E27FC236}">
                <a16:creationId xmlns:a16="http://schemas.microsoft.com/office/drawing/2014/main" id="{21465C97-1D85-455E-BBD7-28CA99CE8857}"/>
              </a:ext>
            </a:extLst>
          </p:cNvPr>
          <p:cNvSpPr txBox="1">
            <a:spLocks/>
          </p:cNvSpPr>
          <p:nvPr/>
        </p:nvSpPr>
        <p:spPr bwMode="gray">
          <a:xfrm flipH="1">
            <a:off x="5986918" y="5235511"/>
            <a:ext cx="3324549" cy="713201"/>
          </a:xfrm>
          <a:prstGeom prst="rect">
            <a:avLst/>
          </a:prstGeom>
          <a:noFill/>
          <a:ln cap="rnd">
            <a:noFill/>
          </a:ln>
          <a:effectLst/>
          <a:scene3d>
            <a:camera prst="orthographicFront">
              <a:rot lat="0" lon="0" rev="0"/>
            </a:camera>
            <a:lightRig rig="threePt" dir="t"/>
          </a:scene3d>
        </p:spPr>
        <p:txBody>
          <a:bodyPr wrap="square" lIns="0" tIns="0" rIns="0" bIns="0" numCol="1" spcCol="72000" rtlCol="0" anchor="ctr">
            <a:noAutofit/>
            <a:scene3d>
              <a:camera prst="isometricLeftDown"/>
              <a:lightRig rig="threePt" dir="t"/>
            </a:scene3d>
          </a:bodyPr>
          <a:lstStyle>
            <a:defPPr>
              <a:defRPr lang="en-US"/>
            </a:defPPr>
            <a:lvl1pPr>
              <a:lnSpc>
                <a:spcPct val="100000"/>
              </a:lnSpc>
              <a:spcBef>
                <a:spcPts val="0"/>
              </a:spcBef>
              <a:defRPr sz="1400" b="1">
                <a:ea typeface="Verdana" panose="020B0604030504040204" pitchFamily="34" charset="0"/>
              </a:defRPr>
            </a:lvl1pPr>
            <a:lvl2pPr marL="180018" lvl="1" indent="-180018" defTabSz="914491">
              <a:spcBef>
                <a:spcPts val="600"/>
              </a:spcBef>
              <a:buFont typeface="ABBvoiceOffice" panose="020D0603020503020204" pitchFamily="34" charset="0"/>
              <a:buChar char="–"/>
              <a:defRPr sz="8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t>5</a:t>
            </a:r>
          </a:p>
          <a:p>
            <a:r>
              <a:rPr lang="en-US" dirty="0">
                <a:solidFill>
                  <a:schemeClr val="bg2"/>
                </a:solidFill>
              </a:rPr>
              <a:t>Through physical separation process at low temperature pure nitrogen occurs at top &amp; pure oxygen at bottom</a:t>
            </a:r>
          </a:p>
          <a:p>
            <a:endParaRPr lang="en-US" dirty="0"/>
          </a:p>
        </p:txBody>
      </p:sp>
      <p:sp>
        <p:nvSpPr>
          <p:cNvPr id="619" name="Inhaltsplatzhalter 5">
            <a:extLst>
              <a:ext uri="{FF2B5EF4-FFF2-40B4-BE49-F238E27FC236}">
                <a16:creationId xmlns:a16="http://schemas.microsoft.com/office/drawing/2014/main" id="{873F62E5-EA7E-4A2E-B119-79F279EEDD0B}"/>
              </a:ext>
            </a:extLst>
          </p:cNvPr>
          <p:cNvSpPr txBox="1">
            <a:spLocks/>
          </p:cNvSpPr>
          <p:nvPr/>
        </p:nvSpPr>
        <p:spPr bwMode="gray">
          <a:xfrm flipH="1">
            <a:off x="7785291" y="2034886"/>
            <a:ext cx="2416144" cy="713201"/>
          </a:xfrm>
          <a:prstGeom prst="rect">
            <a:avLst/>
          </a:prstGeom>
          <a:noFill/>
          <a:ln cap="rnd">
            <a:noFill/>
          </a:ln>
          <a:effectLst/>
          <a:scene3d>
            <a:camera prst="orthographicFront">
              <a:rot lat="0" lon="0" rev="0"/>
            </a:camera>
            <a:lightRig rig="threePt" dir="t"/>
          </a:scene3d>
        </p:spPr>
        <p:txBody>
          <a:bodyPr wrap="square" lIns="0" tIns="0" rIns="0" bIns="0" numCol="1" spcCol="72000" rtlCol="0" anchor="ctr">
            <a:noAutofit/>
            <a:scene3d>
              <a:camera prst="isometricLeftDown"/>
              <a:lightRig rig="threePt" dir="t"/>
            </a:scene3d>
          </a:bodyPr>
          <a:lstStyle>
            <a:defPPr>
              <a:defRPr lang="en-US"/>
            </a:defPPr>
            <a:lvl1pPr>
              <a:lnSpc>
                <a:spcPct val="100000"/>
              </a:lnSpc>
              <a:spcBef>
                <a:spcPts val="0"/>
              </a:spcBef>
              <a:defRPr sz="1400" b="1">
                <a:ea typeface="Verdana" panose="020B0604030504040204" pitchFamily="34" charset="0"/>
              </a:defRPr>
            </a:lvl1pPr>
            <a:lvl2pPr marL="180018" lvl="1" indent="-180018" defTabSz="914491">
              <a:spcBef>
                <a:spcPts val="600"/>
              </a:spcBef>
              <a:buFont typeface="ABBvoiceOffice" panose="020D0603020503020204" pitchFamily="34" charset="0"/>
              <a:buChar char="–"/>
              <a:defRPr sz="8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t>6 </a:t>
            </a:r>
          </a:p>
          <a:p>
            <a:r>
              <a:rPr lang="en-US" dirty="0">
                <a:solidFill>
                  <a:schemeClr val="bg2"/>
                </a:solidFill>
              </a:rPr>
              <a:t>Gaseous oxygen &amp; nitrogen via pipeline to customers</a:t>
            </a:r>
          </a:p>
        </p:txBody>
      </p:sp>
      <p:sp>
        <p:nvSpPr>
          <p:cNvPr id="620" name="Inhaltsplatzhalter 5">
            <a:extLst>
              <a:ext uri="{FF2B5EF4-FFF2-40B4-BE49-F238E27FC236}">
                <a16:creationId xmlns:a16="http://schemas.microsoft.com/office/drawing/2014/main" id="{45BC9B29-A10A-4A49-94F9-8600C8BDA186}"/>
              </a:ext>
            </a:extLst>
          </p:cNvPr>
          <p:cNvSpPr txBox="1">
            <a:spLocks/>
          </p:cNvSpPr>
          <p:nvPr/>
        </p:nvSpPr>
        <p:spPr bwMode="gray">
          <a:xfrm flipH="1">
            <a:off x="8547710" y="4139949"/>
            <a:ext cx="1503968" cy="713201"/>
          </a:xfrm>
          <a:prstGeom prst="rect">
            <a:avLst/>
          </a:prstGeom>
          <a:noFill/>
          <a:ln cap="rnd">
            <a:noFill/>
          </a:ln>
          <a:effectLst/>
          <a:scene3d>
            <a:camera prst="orthographicFront">
              <a:rot lat="0" lon="0" rev="0"/>
            </a:camera>
            <a:lightRig rig="threePt" dir="t"/>
          </a:scene3d>
        </p:spPr>
        <p:txBody>
          <a:bodyPr wrap="square" lIns="0" tIns="0" rIns="0" bIns="0" numCol="1" spcCol="72000" rtlCol="0" anchor="ctr">
            <a:noAutofit/>
            <a:scene3d>
              <a:camera prst="isometricLeftDown"/>
              <a:lightRig rig="threePt" dir="t"/>
            </a:scene3d>
          </a:bodyPr>
          <a:lstStyle>
            <a:defPPr>
              <a:defRPr lang="en-US"/>
            </a:defPPr>
            <a:lvl1pPr algn="ctr">
              <a:lnSpc>
                <a:spcPct val="100000"/>
              </a:lnSpc>
              <a:spcBef>
                <a:spcPts val="0"/>
              </a:spcBef>
              <a:defRPr sz="1400" b="1">
                <a:ea typeface="Verdana" panose="020B0604030504040204" pitchFamily="34" charset="0"/>
              </a:defRPr>
            </a:lvl1pPr>
            <a:lvl2pPr marL="180018" lvl="1" indent="-180018" defTabSz="914491">
              <a:spcBef>
                <a:spcPts val="600"/>
              </a:spcBef>
              <a:buFont typeface="ABBvoiceOffice" panose="020D0603020503020204" pitchFamily="34" charset="0"/>
              <a:buChar char="–"/>
              <a:defRPr sz="8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dirty="0"/>
              <a:t>7 </a:t>
            </a:r>
          </a:p>
          <a:p>
            <a:pPr algn="l"/>
            <a:r>
              <a:rPr lang="en-US" dirty="0">
                <a:solidFill>
                  <a:schemeClr val="bg2"/>
                </a:solidFill>
              </a:rPr>
              <a:t>Liquid gases each temporarily stored in tanks</a:t>
            </a:r>
          </a:p>
          <a:p>
            <a:pPr lvl="1"/>
            <a:endParaRPr lang="en-US" dirty="0"/>
          </a:p>
        </p:txBody>
      </p:sp>
      <p:sp>
        <p:nvSpPr>
          <p:cNvPr id="621" name="Inhaltsplatzhalter 5">
            <a:extLst>
              <a:ext uri="{FF2B5EF4-FFF2-40B4-BE49-F238E27FC236}">
                <a16:creationId xmlns:a16="http://schemas.microsoft.com/office/drawing/2014/main" id="{149FFA07-467B-457E-AB8E-6251F8EDC76D}"/>
              </a:ext>
            </a:extLst>
          </p:cNvPr>
          <p:cNvSpPr txBox="1">
            <a:spLocks/>
          </p:cNvSpPr>
          <p:nvPr/>
        </p:nvSpPr>
        <p:spPr bwMode="gray">
          <a:xfrm flipH="1">
            <a:off x="10722381" y="2556686"/>
            <a:ext cx="1276362" cy="713201"/>
          </a:xfrm>
          <a:prstGeom prst="rect">
            <a:avLst/>
          </a:prstGeom>
          <a:noFill/>
          <a:ln cap="rnd">
            <a:noFill/>
          </a:ln>
          <a:effectLst/>
          <a:scene3d>
            <a:camera prst="orthographicFront">
              <a:rot lat="0" lon="0" rev="0"/>
            </a:camera>
            <a:lightRig rig="threePt" dir="t"/>
          </a:scene3d>
        </p:spPr>
        <p:txBody>
          <a:bodyPr wrap="square" lIns="0" tIns="0" rIns="0" bIns="0" numCol="1" spcCol="72000" rtlCol="0" anchor="ctr">
            <a:noAutofit/>
            <a:scene3d>
              <a:camera prst="isometricLeftDown"/>
              <a:lightRig rig="threePt" dir="t"/>
            </a:scene3d>
          </a:bodyPr>
          <a:lstStyle>
            <a:defPPr>
              <a:defRPr lang="en-US"/>
            </a:defPPr>
            <a:lvl1pPr>
              <a:lnSpc>
                <a:spcPct val="100000"/>
              </a:lnSpc>
              <a:spcBef>
                <a:spcPts val="0"/>
              </a:spcBef>
              <a:defRPr sz="1400" b="1">
                <a:ea typeface="Verdana" panose="020B0604030504040204" pitchFamily="34" charset="0"/>
              </a:defRPr>
            </a:lvl1pPr>
            <a:lvl2pPr marL="180018" lvl="1" indent="-180018" defTabSz="914491">
              <a:spcBef>
                <a:spcPts val="600"/>
              </a:spcBef>
              <a:buFont typeface="ABBvoiceOffice" panose="020D0603020503020204" pitchFamily="34" charset="0"/>
              <a:buChar char="–"/>
              <a:defRPr sz="8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t>8 </a:t>
            </a:r>
          </a:p>
          <a:p>
            <a:r>
              <a:rPr lang="en-US" dirty="0">
                <a:solidFill>
                  <a:schemeClr val="bg2"/>
                </a:solidFill>
              </a:rPr>
              <a:t>Transported to customers</a:t>
            </a:r>
          </a:p>
        </p:txBody>
      </p:sp>
      <p:cxnSp>
        <p:nvCxnSpPr>
          <p:cNvPr id="634" name="Straight Connector 633">
            <a:extLst>
              <a:ext uri="{FF2B5EF4-FFF2-40B4-BE49-F238E27FC236}">
                <a16:creationId xmlns:a16="http://schemas.microsoft.com/office/drawing/2014/main" id="{918D44E3-C18C-44F5-A2DC-7C620CA2CC96}"/>
              </a:ext>
            </a:extLst>
          </p:cNvPr>
          <p:cNvCxnSpPr>
            <a:cxnSpLocks/>
          </p:cNvCxnSpPr>
          <p:nvPr/>
        </p:nvCxnSpPr>
        <p:spPr bwMode="gray">
          <a:xfrm flipV="1">
            <a:off x="3788014" y="5019965"/>
            <a:ext cx="0" cy="851245"/>
          </a:xfrm>
          <a:prstGeom prst="line">
            <a:avLst/>
          </a:prstGeom>
          <a:ln w="1270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640" name="Straight Connector 639">
            <a:extLst>
              <a:ext uri="{FF2B5EF4-FFF2-40B4-BE49-F238E27FC236}">
                <a16:creationId xmlns:a16="http://schemas.microsoft.com/office/drawing/2014/main" id="{6B5D74B1-B48A-4FAD-B169-6DBFD0820FC1}"/>
              </a:ext>
            </a:extLst>
          </p:cNvPr>
          <p:cNvCxnSpPr>
            <a:cxnSpLocks/>
          </p:cNvCxnSpPr>
          <p:nvPr/>
        </p:nvCxnSpPr>
        <p:spPr bwMode="gray">
          <a:xfrm>
            <a:off x="3602035" y="2254711"/>
            <a:ext cx="0" cy="1870482"/>
          </a:xfrm>
          <a:prstGeom prst="line">
            <a:avLst/>
          </a:prstGeom>
          <a:ln w="12700">
            <a:solidFill>
              <a:schemeClr val="tx1"/>
            </a:solidFill>
            <a:tailEnd type="oval" w="sm" len="sm"/>
          </a:ln>
        </p:spPr>
        <p:style>
          <a:lnRef idx="1">
            <a:schemeClr val="accent1"/>
          </a:lnRef>
          <a:fillRef idx="0">
            <a:schemeClr val="accent1"/>
          </a:fillRef>
          <a:effectRef idx="0">
            <a:schemeClr val="accent1"/>
          </a:effectRef>
          <a:fontRef idx="minor">
            <a:schemeClr val="tx1"/>
          </a:fontRef>
        </p:style>
      </p:cxnSp>
      <p:cxnSp>
        <p:nvCxnSpPr>
          <p:cNvPr id="673" name="Straight Connector 672">
            <a:extLst>
              <a:ext uri="{FF2B5EF4-FFF2-40B4-BE49-F238E27FC236}">
                <a16:creationId xmlns:a16="http://schemas.microsoft.com/office/drawing/2014/main" id="{754B38F6-130A-4DB3-A3F9-6035F54405D9}"/>
              </a:ext>
            </a:extLst>
          </p:cNvPr>
          <p:cNvCxnSpPr>
            <a:cxnSpLocks/>
          </p:cNvCxnSpPr>
          <p:nvPr/>
        </p:nvCxnSpPr>
        <p:spPr bwMode="gray">
          <a:xfrm>
            <a:off x="4765974" y="5205296"/>
            <a:ext cx="1162386" cy="0"/>
          </a:xfrm>
          <a:prstGeom prst="line">
            <a:avLst/>
          </a:prstGeom>
          <a:ln w="12700" cap="rnd">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677" name="Straight Connector 676">
            <a:extLst>
              <a:ext uri="{FF2B5EF4-FFF2-40B4-BE49-F238E27FC236}">
                <a16:creationId xmlns:a16="http://schemas.microsoft.com/office/drawing/2014/main" id="{CE010A71-28AB-4130-B370-8544584130ED}"/>
              </a:ext>
            </a:extLst>
          </p:cNvPr>
          <p:cNvCxnSpPr>
            <a:cxnSpLocks/>
          </p:cNvCxnSpPr>
          <p:nvPr/>
        </p:nvCxnSpPr>
        <p:spPr bwMode="gray">
          <a:xfrm>
            <a:off x="6588077" y="4119360"/>
            <a:ext cx="1885363" cy="0"/>
          </a:xfrm>
          <a:prstGeom prst="line">
            <a:avLst/>
          </a:prstGeom>
          <a:ln w="12700" cap="rnd">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693" name="Oval 692">
            <a:extLst>
              <a:ext uri="{FF2B5EF4-FFF2-40B4-BE49-F238E27FC236}">
                <a16:creationId xmlns:a16="http://schemas.microsoft.com/office/drawing/2014/main" id="{1EBC9CA1-134B-4974-A014-CFFC0FF0E7E5}"/>
              </a:ext>
            </a:extLst>
          </p:cNvPr>
          <p:cNvSpPr/>
          <p:nvPr/>
        </p:nvSpPr>
        <p:spPr bwMode="gray">
          <a:xfrm>
            <a:off x="4194894" y="2934949"/>
            <a:ext cx="255380" cy="255380"/>
          </a:xfrm>
          <a:prstGeom prst="ellipse">
            <a:avLst/>
          </a:prstGeom>
          <a:solidFill>
            <a:schemeClr val="bg2">
              <a:lumMod val="60000"/>
              <a:lumOff val="40000"/>
            </a:schemeClr>
          </a:solidFill>
          <a:ln>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200" b="1" dirty="0"/>
              <a:t>N</a:t>
            </a:r>
            <a:r>
              <a:rPr lang="de-DE" sz="1200" b="1" baseline="-25000" dirty="0"/>
              <a:t>2</a:t>
            </a:r>
          </a:p>
        </p:txBody>
      </p:sp>
      <p:sp>
        <p:nvSpPr>
          <p:cNvPr id="694" name="Oval 693">
            <a:extLst>
              <a:ext uri="{FF2B5EF4-FFF2-40B4-BE49-F238E27FC236}">
                <a16:creationId xmlns:a16="http://schemas.microsoft.com/office/drawing/2014/main" id="{9E1E92E1-261C-4BF2-9C76-1A385BB296CE}"/>
              </a:ext>
            </a:extLst>
          </p:cNvPr>
          <p:cNvSpPr/>
          <p:nvPr/>
        </p:nvSpPr>
        <p:spPr bwMode="gray">
          <a:xfrm>
            <a:off x="4194894" y="4932185"/>
            <a:ext cx="255380" cy="255380"/>
          </a:xfrm>
          <a:prstGeom prst="ellipse">
            <a:avLst/>
          </a:prstGeom>
          <a:solidFill>
            <a:schemeClr val="bg2">
              <a:lumMod val="75000"/>
            </a:schemeClr>
          </a:solidFill>
          <a:ln>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200" b="1" dirty="0"/>
              <a:t>O</a:t>
            </a:r>
            <a:r>
              <a:rPr lang="de-DE" sz="1200" b="1" baseline="-25000" dirty="0"/>
              <a:t>2</a:t>
            </a:r>
          </a:p>
        </p:txBody>
      </p:sp>
      <p:sp>
        <p:nvSpPr>
          <p:cNvPr id="695" name="Oval 694">
            <a:extLst>
              <a:ext uri="{FF2B5EF4-FFF2-40B4-BE49-F238E27FC236}">
                <a16:creationId xmlns:a16="http://schemas.microsoft.com/office/drawing/2014/main" id="{C7146F9C-F410-4925-956D-F163B248E0CE}"/>
              </a:ext>
            </a:extLst>
          </p:cNvPr>
          <p:cNvSpPr/>
          <p:nvPr/>
        </p:nvSpPr>
        <p:spPr bwMode="gray">
          <a:xfrm>
            <a:off x="4194894" y="3955269"/>
            <a:ext cx="255380" cy="255380"/>
          </a:xfrm>
          <a:prstGeom prst="ellipse">
            <a:avLst/>
          </a:prstGeom>
          <a:solidFill>
            <a:schemeClr val="bg2"/>
          </a:solidFill>
          <a:ln>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e-DE" sz="1200" b="1" dirty="0"/>
              <a:t>Ar</a:t>
            </a:r>
            <a:endParaRPr lang="de-DE" sz="1200" b="1" baseline="-25000" dirty="0"/>
          </a:p>
        </p:txBody>
      </p:sp>
      <p:cxnSp>
        <p:nvCxnSpPr>
          <p:cNvPr id="697" name="Straight Arrow Connector 696">
            <a:extLst>
              <a:ext uri="{FF2B5EF4-FFF2-40B4-BE49-F238E27FC236}">
                <a16:creationId xmlns:a16="http://schemas.microsoft.com/office/drawing/2014/main" id="{921B2588-86EA-4FAF-A8F9-74580A1E17FE}"/>
              </a:ext>
            </a:extLst>
          </p:cNvPr>
          <p:cNvCxnSpPr>
            <a:cxnSpLocks/>
            <a:stCxn id="695" idx="0"/>
            <a:endCxn id="693" idx="4"/>
          </p:cNvCxnSpPr>
          <p:nvPr/>
        </p:nvCxnSpPr>
        <p:spPr bwMode="gray">
          <a:xfrm flipV="1">
            <a:off x="4322584" y="3190329"/>
            <a:ext cx="0" cy="764940"/>
          </a:xfrm>
          <a:prstGeom prst="straightConnector1">
            <a:avLst/>
          </a:prstGeom>
          <a:ln w="12700">
            <a:solidFill>
              <a:schemeClr val="bg2"/>
            </a:solidFill>
            <a:headEnd type="none"/>
            <a:tailEnd type="arrow"/>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cxnSp>
        <p:nvCxnSpPr>
          <p:cNvPr id="699" name="Straight Arrow Connector 698">
            <a:extLst>
              <a:ext uri="{FF2B5EF4-FFF2-40B4-BE49-F238E27FC236}">
                <a16:creationId xmlns:a16="http://schemas.microsoft.com/office/drawing/2014/main" id="{92799567-AAA3-4FDF-BE83-E9904533E8E2}"/>
              </a:ext>
            </a:extLst>
          </p:cNvPr>
          <p:cNvCxnSpPr>
            <a:cxnSpLocks/>
            <a:stCxn id="695" idx="4"/>
            <a:endCxn id="694" idx="0"/>
          </p:cNvCxnSpPr>
          <p:nvPr/>
        </p:nvCxnSpPr>
        <p:spPr bwMode="gray">
          <a:xfrm>
            <a:off x="4322584" y="4210649"/>
            <a:ext cx="0" cy="721536"/>
          </a:xfrm>
          <a:prstGeom prst="straightConnector1">
            <a:avLst/>
          </a:prstGeom>
          <a:ln w="12700">
            <a:solidFill>
              <a:schemeClr val="bg2">
                <a:lumMod val="75000"/>
              </a:schemeClr>
            </a:solidFill>
            <a:headEnd type="none"/>
            <a:tailEnd type="arrow"/>
          </a:ln>
          <a:scene3d>
            <a:camera prst="isometricLeftDown"/>
            <a:lightRig rig="threePt" dir="t"/>
          </a:scene3d>
        </p:spPr>
        <p:style>
          <a:lnRef idx="1">
            <a:schemeClr val="accent1"/>
          </a:lnRef>
          <a:fillRef idx="0">
            <a:schemeClr val="accent1"/>
          </a:fillRef>
          <a:effectRef idx="0">
            <a:schemeClr val="accent1"/>
          </a:effectRef>
          <a:fontRef idx="minor">
            <a:schemeClr val="tx1"/>
          </a:fontRef>
        </p:style>
      </p:cxnSp>
      <p:grpSp>
        <p:nvGrpSpPr>
          <p:cNvPr id="709" name="Group 708">
            <a:extLst>
              <a:ext uri="{FF2B5EF4-FFF2-40B4-BE49-F238E27FC236}">
                <a16:creationId xmlns:a16="http://schemas.microsoft.com/office/drawing/2014/main" id="{6C950ADE-F212-4213-B584-39C9DB28C127}"/>
              </a:ext>
            </a:extLst>
          </p:cNvPr>
          <p:cNvGrpSpPr/>
          <p:nvPr/>
        </p:nvGrpSpPr>
        <p:grpSpPr bwMode="gray">
          <a:xfrm>
            <a:off x="7978936" y="1930377"/>
            <a:ext cx="417600" cy="297691"/>
            <a:chOff x="7922964" y="1996310"/>
            <a:chExt cx="417600" cy="297691"/>
          </a:xfrm>
        </p:grpSpPr>
        <p:sp>
          <p:nvSpPr>
            <p:cNvPr id="710" name="Freeform: Shape 709">
              <a:extLst>
                <a:ext uri="{FF2B5EF4-FFF2-40B4-BE49-F238E27FC236}">
                  <a16:creationId xmlns:a16="http://schemas.microsoft.com/office/drawing/2014/main" id="{8DB22D77-B523-4F0A-9EC8-F1274620926A}"/>
                </a:ext>
              </a:extLst>
            </p:cNvPr>
            <p:cNvSpPr/>
            <p:nvPr/>
          </p:nvSpPr>
          <p:spPr bwMode="gray">
            <a:xfrm flipH="1">
              <a:off x="7922964" y="2208175"/>
              <a:ext cx="78700" cy="39918"/>
            </a:xfrm>
            <a:custGeom>
              <a:avLst/>
              <a:gdLst>
                <a:gd name="connsiteX0" fmla="*/ 70115 w 78700"/>
                <a:gd name="connsiteY0" fmla="*/ 0 h 39918"/>
                <a:gd name="connsiteX1" fmla="*/ 0 w 78700"/>
                <a:gd name="connsiteY1" fmla="*/ 0 h 39918"/>
                <a:gd name="connsiteX2" fmla="*/ 743 w 78700"/>
                <a:gd name="connsiteY2" fmla="*/ 1795 h 39918"/>
                <a:gd name="connsiteX3" fmla="*/ 743 w 78700"/>
                <a:gd name="connsiteY3" fmla="*/ 38124 h 39918"/>
                <a:gd name="connsiteX4" fmla="*/ 0 w 78700"/>
                <a:gd name="connsiteY4" fmla="*/ 39918 h 39918"/>
                <a:gd name="connsiteX5" fmla="*/ 70115 w 78700"/>
                <a:gd name="connsiteY5" fmla="*/ 39918 h 39918"/>
                <a:gd name="connsiteX6" fmla="*/ 78700 w 78700"/>
                <a:gd name="connsiteY6" fmla="*/ 31333 h 39918"/>
                <a:gd name="connsiteX7" fmla="*/ 78700 w 78700"/>
                <a:gd name="connsiteY7" fmla="*/ 8586 h 39918"/>
                <a:gd name="connsiteX8" fmla="*/ 70115 w 78700"/>
                <a:gd name="connsiteY8" fmla="*/ 0 h 3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700" h="39918">
                  <a:moveTo>
                    <a:pt x="70115" y="0"/>
                  </a:moveTo>
                  <a:lnTo>
                    <a:pt x="0" y="0"/>
                  </a:lnTo>
                  <a:lnTo>
                    <a:pt x="743" y="1795"/>
                  </a:lnTo>
                  <a:lnTo>
                    <a:pt x="743" y="38124"/>
                  </a:lnTo>
                  <a:lnTo>
                    <a:pt x="0" y="39918"/>
                  </a:lnTo>
                  <a:lnTo>
                    <a:pt x="70115" y="39918"/>
                  </a:lnTo>
                  <a:cubicBezTo>
                    <a:pt x="74856" y="39918"/>
                    <a:pt x="78700" y="36074"/>
                    <a:pt x="78700" y="31333"/>
                  </a:cubicBezTo>
                  <a:lnTo>
                    <a:pt x="78700" y="8586"/>
                  </a:lnTo>
                  <a:cubicBezTo>
                    <a:pt x="78700" y="3844"/>
                    <a:pt x="74856" y="0"/>
                    <a:pt x="70115" y="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p>
              <a:pPr algn="ctr">
                <a:spcBef>
                  <a:spcPts val="1100"/>
                </a:spcBef>
                <a:buClr>
                  <a:schemeClr val="tx2"/>
                </a:buClr>
                <a:buSzPct val="70000"/>
                <a:buFont typeface="Wingdings" pitchFamily="2" charset="2"/>
                <a:buNone/>
              </a:pPr>
              <a:endParaRPr lang="en-US">
                <a:solidFill>
                  <a:schemeClr val="bg1"/>
                </a:solidFill>
                <a:latin typeface="Arial" pitchFamily="34" charset="0"/>
                <a:cs typeface="Arial" pitchFamily="34" charset="0"/>
              </a:endParaRPr>
            </a:p>
          </p:txBody>
        </p:sp>
        <p:sp>
          <p:nvSpPr>
            <p:cNvPr id="711" name="Freeform: Shape 710">
              <a:extLst>
                <a:ext uri="{FF2B5EF4-FFF2-40B4-BE49-F238E27FC236}">
                  <a16:creationId xmlns:a16="http://schemas.microsoft.com/office/drawing/2014/main" id="{C623D736-FA8D-4D6A-90F3-A7A514269F47}"/>
                </a:ext>
              </a:extLst>
            </p:cNvPr>
            <p:cNvSpPr/>
            <p:nvPr/>
          </p:nvSpPr>
          <p:spPr bwMode="gray">
            <a:xfrm flipH="1">
              <a:off x="8000921" y="2100416"/>
              <a:ext cx="261687" cy="193585"/>
            </a:xfrm>
            <a:custGeom>
              <a:avLst/>
              <a:gdLst>
                <a:gd name="connsiteX0" fmla="*/ 717294 w 1182763"/>
                <a:gd name="connsiteY0" fmla="*/ 0 h 874956"/>
                <a:gd name="connsiteX1" fmla="*/ 465470 w 1182763"/>
                <a:gd name="connsiteY1" fmla="*/ 0 h 874956"/>
                <a:gd name="connsiteX2" fmla="*/ 396845 w 1182763"/>
                <a:gd name="connsiteY2" fmla="*/ 68625 h 874956"/>
                <a:gd name="connsiteX3" fmla="*/ 396845 w 1182763"/>
                <a:gd name="connsiteY3" fmla="*/ 382717 h 874956"/>
                <a:gd name="connsiteX4" fmla="*/ 112438 w 1182763"/>
                <a:gd name="connsiteY4" fmla="*/ 382717 h 874956"/>
                <a:gd name="connsiteX5" fmla="*/ 0 w 1182763"/>
                <a:gd name="connsiteY5" fmla="*/ 495155 h 874956"/>
                <a:gd name="connsiteX6" fmla="*/ 0 w 1182763"/>
                <a:gd name="connsiteY6" fmla="*/ 659353 h 874956"/>
                <a:gd name="connsiteX7" fmla="*/ 112438 w 1182763"/>
                <a:gd name="connsiteY7" fmla="*/ 771791 h 874956"/>
                <a:gd name="connsiteX8" fmla="*/ 396845 w 1182763"/>
                <a:gd name="connsiteY8" fmla="*/ 771791 h 874956"/>
                <a:gd name="connsiteX9" fmla="*/ 396845 w 1182763"/>
                <a:gd name="connsiteY9" fmla="*/ 806331 h 874956"/>
                <a:gd name="connsiteX10" fmla="*/ 465470 w 1182763"/>
                <a:gd name="connsiteY10" fmla="*/ 874956 h 874956"/>
                <a:gd name="connsiteX11" fmla="*/ 717294 w 1182763"/>
                <a:gd name="connsiteY11" fmla="*/ 874956 h 874956"/>
                <a:gd name="connsiteX12" fmla="*/ 785919 w 1182763"/>
                <a:gd name="connsiteY12" fmla="*/ 806331 h 874956"/>
                <a:gd name="connsiteX13" fmla="*/ 785919 w 1182763"/>
                <a:gd name="connsiteY13" fmla="*/ 771791 h 874956"/>
                <a:gd name="connsiteX14" fmla="*/ 1070325 w 1182763"/>
                <a:gd name="connsiteY14" fmla="*/ 771791 h 874956"/>
                <a:gd name="connsiteX15" fmla="*/ 1182763 w 1182763"/>
                <a:gd name="connsiteY15" fmla="*/ 659353 h 874956"/>
                <a:gd name="connsiteX16" fmla="*/ 1182763 w 1182763"/>
                <a:gd name="connsiteY16" fmla="*/ 495155 h 874956"/>
                <a:gd name="connsiteX17" fmla="*/ 1070325 w 1182763"/>
                <a:gd name="connsiteY17" fmla="*/ 382717 h 874956"/>
                <a:gd name="connsiteX18" fmla="*/ 785919 w 1182763"/>
                <a:gd name="connsiteY18" fmla="*/ 382717 h 874956"/>
                <a:gd name="connsiteX19" fmla="*/ 785919 w 1182763"/>
                <a:gd name="connsiteY19" fmla="*/ 68625 h 874956"/>
                <a:gd name="connsiteX20" fmla="*/ 717294 w 1182763"/>
                <a:gd name="connsiteY20" fmla="*/ 0 h 87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82763" h="874956">
                  <a:moveTo>
                    <a:pt x="717294" y="0"/>
                  </a:moveTo>
                  <a:lnTo>
                    <a:pt x="465470" y="0"/>
                  </a:lnTo>
                  <a:cubicBezTo>
                    <a:pt x="427569" y="0"/>
                    <a:pt x="396845" y="30724"/>
                    <a:pt x="396845" y="68625"/>
                  </a:cubicBezTo>
                  <a:lnTo>
                    <a:pt x="396845" y="382717"/>
                  </a:lnTo>
                  <a:lnTo>
                    <a:pt x="112438" y="382717"/>
                  </a:lnTo>
                  <a:cubicBezTo>
                    <a:pt x="50340" y="382717"/>
                    <a:pt x="0" y="433057"/>
                    <a:pt x="0" y="495155"/>
                  </a:cubicBezTo>
                  <a:lnTo>
                    <a:pt x="0" y="659353"/>
                  </a:lnTo>
                  <a:cubicBezTo>
                    <a:pt x="0" y="721451"/>
                    <a:pt x="50340" y="771791"/>
                    <a:pt x="112438" y="771791"/>
                  </a:cubicBezTo>
                  <a:lnTo>
                    <a:pt x="396845" y="771791"/>
                  </a:lnTo>
                  <a:lnTo>
                    <a:pt x="396845" y="806331"/>
                  </a:lnTo>
                  <a:cubicBezTo>
                    <a:pt x="396845" y="844232"/>
                    <a:pt x="427569" y="874956"/>
                    <a:pt x="465470" y="874956"/>
                  </a:cubicBezTo>
                  <a:lnTo>
                    <a:pt x="717294" y="874956"/>
                  </a:lnTo>
                  <a:cubicBezTo>
                    <a:pt x="755195" y="874956"/>
                    <a:pt x="785919" y="844232"/>
                    <a:pt x="785919" y="806331"/>
                  </a:cubicBezTo>
                  <a:lnTo>
                    <a:pt x="785919" y="771791"/>
                  </a:lnTo>
                  <a:lnTo>
                    <a:pt x="1070325" y="771791"/>
                  </a:lnTo>
                  <a:cubicBezTo>
                    <a:pt x="1132423" y="771791"/>
                    <a:pt x="1182763" y="721451"/>
                    <a:pt x="1182763" y="659353"/>
                  </a:cubicBezTo>
                  <a:lnTo>
                    <a:pt x="1182763" y="495155"/>
                  </a:lnTo>
                  <a:cubicBezTo>
                    <a:pt x="1182763" y="433057"/>
                    <a:pt x="1132423" y="382717"/>
                    <a:pt x="1070325" y="382717"/>
                  </a:cubicBezTo>
                  <a:lnTo>
                    <a:pt x="785919" y="382717"/>
                  </a:lnTo>
                  <a:lnTo>
                    <a:pt x="785919" y="68625"/>
                  </a:lnTo>
                  <a:cubicBezTo>
                    <a:pt x="785919" y="30724"/>
                    <a:pt x="755195" y="0"/>
                    <a:pt x="717294" y="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p>
              <a:pPr algn="ctr">
                <a:spcBef>
                  <a:spcPts val="1100"/>
                </a:spcBef>
                <a:buClr>
                  <a:schemeClr val="tx2"/>
                </a:buClr>
                <a:buSzPct val="70000"/>
                <a:buFont typeface="Wingdings" pitchFamily="2" charset="2"/>
                <a:buNone/>
              </a:pPr>
              <a:endParaRPr lang="en-US">
                <a:solidFill>
                  <a:schemeClr val="bg1"/>
                </a:solidFill>
                <a:latin typeface="Arial" pitchFamily="34" charset="0"/>
                <a:cs typeface="Arial" pitchFamily="34" charset="0"/>
              </a:endParaRPr>
            </a:p>
          </p:txBody>
        </p:sp>
        <p:cxnSp>
          <p:nvCxnSpPr>
            <p:cNvPr id="712" name="Straight Connector 711">
              <a:extLst>
                <a:ext uri="{FF2B5EF4-FFF2-40B4-BE49-F238E27FC236}">
                  <a16:creationId xmlns:a16="http://schemas.microsoft.com/office/drawing/2014/main" id="{D646622B-86B8-422A-AC0E-F5C41A8D3D98}"/>
                </a:ext>
              </a:extLst>
            </p:cNvPr>
            <p:cNvCxnSpPr>
              <a:cxnSpLocks/>
            </p:cNvCxnSpPr>
            <p:nvPr/>
          </p:nvCxnSpPr>
          <p:spPr bwMode="gray">
            <a:xfrm>
              <a:off x="8131764" y="2012602"/>
              <a:ext cx="0" cy="48488"/>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3" name="Straight Connector 712">
              <a:extLst>
                <a:ext uri="{FF2B5EF4-FFF2-40B4-BE49-F238E27FC236}">
                  <a16:creationId xmlns:a16="http://schemas.microsoft.com/office/drawing/2014/main" id="{DC7182B0-D051-4801-A914-C0B42FAD1223}"/>
                </a:ext>
              </a:extLst>
            </p:cNvPr>
            <p:cNvCxnSpPr>
              <a:cxnSpLocks/>
            </p:cNvCxnSpPr>
            <p:nvPr/>
          </p:nvCxnSpPr>
          <p:spPr bwMode="gray">
            <a:xfrm>
              <a:off x="8091837" y="2076538"/>
              <a:ext cx="7985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4" name="Straight Connector 713">
              <a:extLst>
                <a:ext uri="{FF2B5EF4-FFF2-40B4-BE49-F238E27FC236}">
                  <a16:creationId xmlns:a16="http://schemas.microsoft.com/office/drawing/2014/main" id="{0FD4DB1C-DC59-47EF-ACA2-23CA348511A7}"/>
                </a:ext>
              </a:extLst>
            </p:cNvPr>
            <p:cNvCxnSpPr>
              <a:cxnSpLocks/>
            </p:cNvCxnSpPr>
            <p:nvPr/>
          </p:nvCxnSpPr>
          <p:spPr bwMode="gray">
            <a:xfrm>
              <a:off x="8064418" y="1996310"/>
              <a:ext cx="134693"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5" name="Straight Connector 714">
              <a:extLst>
                <a:ext uri="{FF2B5EF4-FFF2-40B4-BE49-F238E27FC236}">
                  <a16:creationId xmlns:a16="http://schemas.microsoft.com/office/drawing/2014/main" id="{FD015CA0-50F7-4B3C-8AEC-BA68F795A01B}"/>
                </a:ext>
              </a:extLst>
            </p:cNvPr>
            <p:cNvCxnSpPr>
              <a:cxnSpLocks/>
            </p:cNvCxnSpPr>
            <p:nvPr/>
          </p:nvCxnSpPr>
          <p:spPr bwMode="gray">
            <a:xfrm>
              <a:off x="8035351" y="2185093"/>
              <a:ext cx="0" cy="86083"/>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6" name="Straight Connector 715">
              <a:extLst>
                <a:ext uri="{FF2B5EF4-FFF2-40B4-BE49-F238E27FC236}">
                  <a16:creationId xmlns:a16="http://schemas.microsoft.com/office/drawing/2014/main" id="{AFEC70A5-428F-473E-87B6-CF9DA4A97A16}"/>
                </a:ext>
              </a:extLst>
            </p:cNvPr>
            <p:cNvCxnSpPr>
              <a:cxnSpLocks/>
            </p:cNvCxnSpPr>
            <p:nvPr/>
          </p:nvCxnSpPr>
          <p:spPr bwMode="gray">
            <a:xfrm>
              <a:off x="8228177" y="2185093"/>
              <a:ext cx="0" cy="86083"/>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17" name="Straight Connector 716">
              <a:extLst>
                <a:ext uri="{FF2B5EF4-FFF2-40B4-BE49-F238E27FC236}">
                  <a16:creationId xmlns:a16="http://schemas.microsoft.com/office/drawing/2014/main" id="{FAD539FC-CAFF-45D4-A3A4-93E4FAB02093}"/>
                </a:ext>
              </a:extLst>
            </p:cNvPr>
            <p:cNvCxnSpPr>
              <a:cxnSpLocks/>
            </p:cNvCxnSpPr>
            <p:nvPr/>
          </p:nvCxnSpPr>
          <p:spPr bwMode="gray">
            <a:xfrm>
              <a:off x="8088723" y="2125715"/>
              <a:ext cx="86083"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718" name="Freeform: Shape 717">
              <a:extLst>
                <a:ext uri="{FF2B5EF4-FFF2-40B4-BE49-F238E27FC236}">
                  <a16:creationId xmlns:a16="http://schemas.microsoft.com/office/drawing/2014/main" id="{49B99BAB-6381-429B-AF16-3E03B78EE905}"/>
                </a:ext>
              </a:extLst>
            </p:cNvPr>
            <p:cNvSpPr/>
            <p:nvPr/>
          </p:nvSpPr>
          <p:spPr bwMode="gray">
            <a:xfrm>
              <a:off x="8261865" y="2208175"/>
              <a:ext cx="78699" cy="39918"/>
            </a:xfrm>
            <a:custGeom>
              <a:avLst/>
              <a:gdLst>
                <a:gd name="connsiteX0" fmla="*/ 0 w 78699"/>
                <a:gd name="connsiteY0" fmla="*/ 0 h 39918"/>
                <a:gd name="connsiteX1" fmla="*/ 70114 w 78699"/>
                <a:gd name="connsiteY1" fmla="*/ 0 h 39918"/>
                <a:gd name="connsiteX2" fmla="*/ 78699 w 78699"/>
                <a:gd name="connsiteY2" fmla="*/ 8586 h 39918"/>
                <a:gd name="connsiteX3" fmla="*/ 78699 w 78699"/>
                <a:gd name="connsiteY3" fmla="*/ 31333 h 39918"/>
                <a:gd name="connsiteX4" fmla="*/ 70114 w 78699"/>
                <a:gd name="connsiteY4" fmla="*/ 39918 h 39918"/>
                <a:gd name="connsiteX5" fmla="*/ 0 w 78699"/>
                <a:gd name="connsiteY5" fmla="*/ 39918 h 39918"/>
                <a:gd name="connsiteX6" fmla="*/ 743 w 78699"/>
                <a:gd name="connsiteY6" fmla="*/ 38124 h 39918"/>
                <a:gd name="connsiteX7" fmla="*/ 743 w 78699"/>
                <a:gd name="connsiteY7" fmla="*/ 1795 h 3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99" h="39918">
                  <a:moveTo>
                    <a:pt x="0" y="0"/>
                  </a:moveTo>
                  <a:lnTo>
                    <a:pt x="70114" y="0"/>
                  </a:lnTo>
                  <a:cubicBezTo>
                    <a:pt x="74855" y="0"/>
                    <a:pt x="78699" y="3844"/>
                    <a:pt x="78699" y="8586"/>
                  </a:cubicBezTo>
                  <a:lnTo>
                    <a:pt x="78699" y="31333"/>
                  </a:lnTo>
                  <a:cubicBezTo>
                    <a:pt x="78699" y="36074"/>
                    <a:pt x="74855" y="39918"/>
                    <a:pt x="70114" y="39918"/>
                  </a:cubicBezTo>
                  <a:lnTo>
                    <a:pt x="0" y="39918"/>
                  </a:lnTo>
                  <a:lnTo>
                    <a:pt x="743" y="38124"/>
                  </a:lnTo>
                  <a:lnTo>
                    <a:pt x="743" y="1795"/>
                  </a:ln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p>
              <a:pPr algn="ctr">
                <a:spcBef>
                  <a:spcPts val="1100"/>
                </a:spcBef>
                <a:buClr>
                  <a:schemeClr val="tx2"/>
                </a:buClr>
                <a:buSzPct val="70000"/>
                <a:buFont typeface="Wingdings" pitchFamily="2" charset="2"/>
                <a:buNone/>
              </a:pPr>
              <a:endParaRPr lang="en-US">
                <a:solidFill>
                  <a:schemeClr val="bg1"/>
                </a:solidFill>
                <a:latin typeface="Arial" pitchFamily="34" charset="0"/>
                <a:cs typeface="Arial" pitchFamily="34" charset="0"/>
              </a:endParaRPr>
            </a:p>
          </p:txBody>
        </p:sp>
      </p:grpSp>
      <p:grpSp>
        <p:nvGrpSpPr>
          <p:cNvPr id="720" name="Group 719">
            <a:extLst>
              <a:ext uri="{FF2B5EF4-FFF2-40B4-BE49-F238E27FC236}">
                <a16:creationId xmlns:a16="http://schemas.microsoft.com/office/drawing/2014/main" id="{4A766EDA-688B-4283-AD56-C68711ACB3E9}"/>
              </a:ext>
            </a:extLst>
          </p:cNvPr>
          <p:cNvGrpSpPr/>
          <p:nvPr/>
        </p:nvGrpSpPr>
        <p:grpSpPr bwMode="gray">
          <a:xfrm>
            <a:off x="3214700" y="5054855"/>
            <a:ext cx="320666" cy="371297"/>
            <a:chOff x="5589588" y="4000500"/>
            <a:chExt cx="361950" cy="419100"/>
          </a:xfrm>
        </p:grpSpPr>
        <p:sp>
          <p:nvSpPr>
            <p:cNvPr id="721" name="Line 422">
              <a:extLst>
                <a:ext uri="{FF2B5EF4-FFF2-40B4-BE49-F238E27FC236}">
                  <a16:creationId xmlns:a16="http://schemas.microsoft.com/office/drawing/2014/main" id="{237F264C-038B-430D-9FB8-F5A2EB05FBC0}"/>
                </a:ext>
              </a:extLst>
            </p:cNvPr>
            <p:cNvSpPr>
              <a:spLocks noChangeShapeType="1"/>
            </p:cNvSpPr>
            <p:nvPr/>
          </p:nvSpPr>
          <p:spPr bwMode="gray">
            <a:xfrm>
              <a:off x="5770563" y="4000500"/>
              <a:ext cx="0" cy="41910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22" name="Line 423">
              <a:extLst>
                <a:ext uri="{FF2B5EF4-FFF2-40B4-BE49-F238E27FC236}">
                  <a16:creationId xmlns:a16="http://schemas.microsoft.com/office/drawing/2014/main" id="{BB78807C-2042-4DB3-954A-0A25F5196B0E}"/>
                </a:ext>
              </a:extLst>
            </p:cNvPr>
            <p:cNvSpPr>
              <a:spLocks noChangeShapeType="1"/>
            </p:cNvSpPr>
            <p:nvPr/>
          </p:nvSpPr>
          <p:spPr bwMode="gray">
            <a:xfrm>
              <a:off x="5589588" y="4105275"/>
              <a:ext cx="361950" cy="2095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23" name="Line 424">
              <a:extLst>
                <a:ext uri="{FF2B5EF4-FFF2-40B4-BE49-F238E27FC236}">
                  <a16:creationId xmlns:a16="http://schemas.microsoft.com/office/drawing/2014/main" id="{C5CC433A-F0A4-4E79-A4AA-9250B021ECBB}"/>
                </a:ext>
              </a:extLst>
            </p:cNvPr>
            <p:cNvSpPr>
              <a:spLocks noChangeShapeType="1"/>
            </p:cNvSpPr>
            <p:nvPr/>
          </p:nvSpPr>
          <p:spPr bwMode="gray">
            <a:xfrm flipV="1">
              <a:off x="5589588" y="4105275"/>
              <a:ext cx="361950" cy="2095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24" name="Freeform 425">
              <a:extLst>
                <a:ext uri="{FF2B5EF4-FFF2-40B4-BE49-F238E27FC236}">
                  <a16:creationId xmlns:a16="http://schemas.microsoft.com/office/drawing/2014/main" id="{57193334-632F-47CB-8942-2B1DD4809D4B}"/>
                </a:ext>
              </a:extLst>
            </p:cNvPr>
            <p:cNvSpPr>
              <a:spLocks/>
            </p:cNvSpPr>
            <p:nvPr/>
          </p:nvSpPr>
          <p:spPr bwMode="gray">
            <a:xfrm>
              <a:off x="5703888" y="4029075"/>
              <a:ext cx="133350" cy="47625"/>
            </a:xfrm>
            <a:custGeom>
              <a:avLst/>
              <a:gdLst>
                <a:gd name="T0" fmla="*/ 0 w 84"/>
                <a:gd name="T1" fmla="*/ 0 h 30"/>
                <a:gd name="T2" fmla="*/ 42 w 84"/>
                <a:gd name="T3" fmla="*/ 30 h 30"/>
                <a:gd name="T4" fmla="*/ 84 w 84"/>
                <a:gd name="T5" fmla="*/ 0 h 30"/>
              </a:gdLst>
              <a:ahLst/>
              <a:cxnLst>
                <a:cxn ang="0">
                  <a:pos x="T0" y="T1"/>
                </a:cxn>
                <a:cxn ang="0">
                  <a:pos x="T2" y="T3"/>
                </a:cxn>
                <a:cxn ang="0">
                  <a:pos x="T4" y="T5"/>
                </a:cxn>
              </a:cxnLst>
              <a:rect l="0" t="0" r="r" b="b"/>
              <a:pathLst>
                <a:path w="84" h="30">
                  <a:moveTo>
                    <a:pt x="0" y="0"/>
                  </a:moveTo>
                  <a:lnTo>
                    <a:pt x="42" y="30"/>
                  </a:lnTo>
                  <a:lnTo>
                    <a:pt x="84"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25" name="Freeform 426">
              <a:extLst>
                <a:ext uri="{FF2B5EF4-FFF2-40B4-BE49-F238E27FC236}">
                  <a16:creationId xmlns:a16="http://schemas.microsoft.com/office/drawing/2014/main" id="{67803547-2697-46C4-8227-08BF055340CD}"/>
                </a:ext>
              </a:extLst>
            </p:cNvPr>
            <p:cNvSpPr>
              <a:spLocks/>
            </p:cNvSpPr>
            <p:nvPr/>
          </p:nvSpPr>
          <p:spPr bwMode="gray">
            <a:xfrm>
              <a:off x="5703888" y="4352925"/>
              <a:ext cx="133350" cy="38100"/>
            </a:xfrm>
            <a:custGeom>
              <a:avLst/>
              <a:gdLst>
                <a:gd name="T0" fmla="*/ 84 w 84"/>
                <a:gd name="T1" fmla="*/ 24 h 24"/>
                <a:gd name="T2" fmla="*/ 42 w 84"/>
                <a:gd name="T3" fmla="*/ 0 h 24"/>
                <a:gd name="T4" fmla="*/ 0 w 84"/>
                <a:gd name="T5" fmla="*/ 24 h 24"/>
              </a:gdLst>
              <a:ahLst/>
              <a:cxnLst>
                <a:cxn ang="0">
                  <a:pos x="T0" y="T1"/>
                </a:cxn>
                <a:cxn ang="0">
                  <a:pos x="T2" y="T3"/>
                </a:cxn>
                <a:cxn ang="0">
                  <a:pos x="T4" y="T5"/>
                </a:cxn>
              </a:cxnLst>
              <a:rect l="0" t="0" r="r" b="b"/>
              <a:pathLst>
                <a:path w="84" h="24">
                  <a:moveTo>
                    <a:pt x="84" y="24"/>
                  </a:moveTo>
                  <a:lnTo>
                    <a:pt x="42" y="0"/>
                  </a:lnTo>
                  <a:lnTo>
                    <a:pt x="0" y="24"/>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26" name="Freeform 427">
              <a:extLst>
                <a:ext uri="{FF2B5EF4-FFF2-40B4-BE49-F238E27FC236}">
                  <a16:creationId xmlns:a16="http://schemas.microsoft.com/office/drawing/2014/main" id="{7069FBF7-2DED-404C-A42D-3E570953BE10}"/>
                </a:ext>
              </a:extLst>
            </p:cNvPr>
            <p:cNvSpPr>
              <a:spLocks/>
            </p:cNvSpPr>
            <p:nvPr/>
          </p:nvSpPr>
          <p:spPr bwMode="gray">
            <a:xfrm>
              <a:off x="5589588" y="4067175"/>
              <a:ext cx="66675" cy="114300"/>
            </a:xfrm>
            <a:custGeom>
              <a:avLst/>
              <a:gdLst>
                <a:gd name="T0" fmla="*/ 0 w 42"/>
                <a:gd name="T1" fmla="*/ 72 h 72"/>
                <a:gd name="T2" fmla="*/ 42 w 42"/>
                <a:gd name="T3" fmla="*/ 48 h 72"/>
                <a:gd name="T4" fmla="*/ 42 w 42"/>
                <a:gd name="T5" fmla="*/ 0 h 72"/>
              </a:gdLst>
              <a:ahLst/>
              <a:cxnLst>
                <a:cxn ang="0">
                  <a:pos x="T0" y="T1"/>
                </a:cxn>
                <a:cxn ang="0">
                  <a:pos x="T2" y="T3"/>
                </a:cxn>
                <a:cxn ang="0">
                  <a:pos x="T4" y="T5"/>
                </a:cxn>
              </a:cxnLst>
              <a:rect l="0" t="0" r="r" b="b"/>
              <a:pathLst>
                <a:path w="42" h="72">
                  <a:moveTo>
                    <a:pt x="0" y="72"/>
                  </a:moveTo>
                  <a:lnTo>
                    <a:pt x="42" y="48"/>
                  </a:lnTo>
                  <a:lnTo>
                    <a:pt x="42"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27" name="Freeform 428">
              <a:extLst>
                <a:ext uri="{FF2B5EF4-FFF2-40B4-BE49-F238E27FC236}">
                  <a16:creationId xmlns:a16="http://schemas.microsoft.com/office/drawing/2014/main" id="{8A24ABDC-3733-40E1-A0DB-8E928AE73D80}"/>
                </a:ext>
              </a:extLst>
            </p:cNvPr>
            <p:cNvSpPr>
              <a:spLocks/>
            </p:cNvSpPr>
            <p:nvPr/>
          </p:nvSpPr>
          <p:spPr bwMode="gray">
            <a:xfrm>
              <a:off x="5589588" y="4238625"/>
              <a:ext cx="66675" cy="114300"/>
            </a:xfrm>
            <a:custGeom>
              <a:avLst/>
              <a:gdLst>
                <a:gd name="T0" fmla="*/ 42 w 42"/>
                <a:gd name="T1" fmla="*/ 72 h 72"/>
                <a:gd name="T2" fmla="*/ 42 w 42"/>
                <a:gd name="T3" fmla="*/ 24 h 72"/>
                <a:gd name="T4" fmla="*/ 0 w 42"/>
                <a:gd name="T5" fmla="*/ 0 h 72"/>
              </a:gdLst>
              <a:ahLst/>
              <a:cxnLst>
                <a:cxn ang="0">
                  <a:pos x="T0" y="T1"/>
                </a:cxn>
                <a:cxn ang="0">
                  <a:pos x="T2" y="T3"/>
                </a:cxn>
                <a:cxn ang="0">
                  <a:pos x="T4" y="T5"/>
                </a:cxn>
              </a:cxnLst>
              <a:rect l="0" t="0" r="r" b="b"/>
              <a:pathLst>
                <a:path w="42" h="72">
                  <a:moveTo>
                    <a:pt x="42" y="72"/>
                  </a:moveTo>
                  <a:lnTo>
                    <a:pt x="42" y="24"/>
                  </a:lnTo>
                  <a:lnTo>
                    <a:pt x="0"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28" name="Freeform 429">
              <a:extLst>
                <a:ext uri="{FF2B5EF4-FFF2-40B4-BE49-F238E27FC236}">
                  <a16:creationId xmlns:a16="http://schemas.microsoft.com/office/drawing/2014/main" id="{CB6583AF-9785-4AB9-A8C1-49466EBEB90A}"/>
                </a:ext>
              </a:extLst>
            </p:cNvPr>
            <p:cNvSpPr>
              <a:spLocks/>
            </p:cNvSpPr>
            <p:nvPr/>
          </p:nvSpPr>
          <p:spPr bwMode="gray">
            <a:xfrm>
              <a:off x="5884863" y="4238625"/>
              <a:ext cx="66675" cy="114300"/>
            </a:xfrm>
            <a:custGeom>
              <a:avLst/>
              <a:gdLst>
                <a:gd name="T0" fmla="*/ 42 w 42"/>
                <a:gd name="T1" fmla="*/ 0 h 72"/>
                <a:gd name="T2" fmla="*/ 0 w 42"/>
                <a:gd name="T3" fmla="*/ 24 h 72"/>
                <a:gd name="T4" fmla="*/ 0 w 42"/>
                <a:gd name="T5" fmla="*/ 72 h 72"/>
              </a:gdLst>
              <a:ahLst/>
              <a:cxnLst>
                <a:cxn ang="0">
                  <a:pos x="T0" y="T1"/>
                </a:cxn>
                <a:cxn ang="0">
                  <a:pos x="T2" y="T3"/>
                </a:cxn>
                <a:cxn ang="0">
                  <a:pos x="T4" y="T5"/>
                </a:cxn>
              </a:cxnLst>
              <a:rect l="0" t="0" r="r" b="b"/>
              <a:pathLst>
                <a:path w="42" h="72">
                  <a:moveTo>
                    <a:pt x="42" y="0"/>
                  </a:moveTo>
                  <a:lnTo>
                    <a:pt x="0" y="24"/>
                  </a:lnTo>
                  <a:lnTo>
                    <a:pt x="0" y="72"/>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729" name="Freeform 430">
              <a:extLst>
                <a:ext uri="{FF2B5EF4-FFF2-40B4-BE49-F238E27FC236}">
                  <a16:creationId xmlns:a16="http://schemas.microsoft.com/office/drawing/2014/main" id="{4281D4F2-6ED5-4250-93B5-00420C7DEE4A}"/>
                </a:ext>
              </a:extLst>
            </p:cNvPr>
            <p:cNvSpPr>
              <a:spLocks/>
            </p:cNvSpPr>
            <p:nvPr/>
          </p:nvSpPr>
          <p:spPr bwMode="gray">
            <a:xfrm>
              <a:off x="5884863" y="4067175"/>
              <a:ext cx="66675" cy="114300"/>
            </a:xfrm>
            <a:custGeom>
              <a:avLst/>
              <a:gdLst>
                <a:gd name="T0" fmla="*/ 0 w 42"/>
                <a:gd name="T1" fmla="*/ 0 h 72"/>
                <a:gd name="T2" fmla="*/ 0 w 42"/>
                <a:gd name="T3" fmla="*/ 48 h 72"/>
                <a:gd name="T4" fmla="*/ 42 w 42"/>
                <a:gd name="T5" fmla="*/ 72 h 72"/>
              </a:gdLst>
              <a:ahLst/>
              <a:cxnLst>
                <a:cxn ang="0">
                  <a:pos x="T0" y="T1"/>
                </a:cxn>
                <a:cxn ang="0">
                  <a:pos x="T2" y="T3"/>
                </a:cxn>
                <a:cxn ang="0">
                  <a:pos x="T4" y="T5"/>
                </a:cxn>
              </a:cxnLst>
              <a:rect l="0" t="0" r="r" b="b"/>
              <a:pathLst>
                <a:path w="42" h="72">
                  <a:moveTo>
                    <a:pt x="0" y="0"/>
                  </a:moveTo>
                  <a:lnTo>
                    <a:pt x="0" y="48"/>
                  </a:lnTo>
                  <a:lnTo>
                    <a:pt x="42" y="72"/>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730" name="Group 729">
            <a:extLst>
              <a:ext uri="{FF2B5EF4-FFF2-40B4-BE49-F238E27FC236}">
                <a16:creationId xmlns:a16="http://schemas.microsoft.com/office/drawing/2014/main" id="{F1DEDEC8-F379-4897-8165-98BFABC2A5A5}"/>
              </a:ext>
            </a:extLst>
          </p:cNvPr>
          <p:cNvGrpSpPr/>
          <p:nvPr/>
        </p:nvGrpSpPr>
        <p:grpSpPr bwMode="gray">
          <a:xfrm>
            <a:off x="8714543" y="3756141"/>
            <a:ext cx="174484" cy="372526"/>
            <a:chOff x="3298870" y="3291617"/>
            <a:chExt cx="193727" cy="413612"/>
          </a:xfrm>
        </p:grpSpPr>
        <p:grpSp>
          <p:nvGrpSpPr>
            <p:cNvPr id="731" name="Group 730">
              <a:extLst>
                <a:ext uri="{FF2B5EF4-FFF2-40B4-BE49-F238E27FC236}">
                  <a16:creationId xmlns:a16="http://schemas.microsoft.com/office/drawing/2014/main" id="{D7A7DA74-5C47-4735-A328-D6823884A48A}"/>
                </a:ext>
              </a:extLst>
            </p:cNvPr>
            <p:cNvGrpSpPr/>
            <p:nvPr/>
          </p:nvGrpSpPr>
          <p:grpSpPr bwMode="gray">
            <a:xfrm>
              <a:off x="3298870" y="3291617"/>
              <a:ext cx="193727" cy="413612"/>
              <a:chOff x="3265190" y="2377954"/>
              <a:chExt cx="621667" cy="1327275"/>
            </a:xfrm>
          </p:grpSpPr>
          <p:sp>
            <p:nvSpPr>
              <p:cNvPr id="737" name="Freeform: Shape 736">
                <a:extLst>
                  <a:ext uri="{FF2B5EF4-FFF2-40B4-BE49-F238E27FC236}">
                    <a16:creationId xmlns:a16="http://schemas.microsoft.com/office/drawing/2014/main" id="{505CE097-35B7-4A15-ADD1-175773949AAD}"/>
                  </a:ext>
                </a:extLst>
              </p:cNvPr>
              <p:cNvSpPr/>
              <p:nvPr/>
            </p:nvSpPr>
            <p:spPr bwMode="gray">
              <a:xfrm rot="16200000">
                <a:off x="3119191" y="2523953"/>
                <a:ext cx="913663" cy="621665"/>
              </a:xfrm>
              <a:custGeom>
                <a:avLst/>
                <a:gdLst>
                  <a:gd name="connsiteX0" fmla="*/ 913663 w 913663"/>
                  <a:gd name="connsiteY0" fmla="*/ 310831 h 621665"/>
                  <a:gd name="connsiteX1" fmla="*/ 845100 w 913663"/>
                  <a:gd name="connsiteY1" fmla="*/ 621662 h 621665"/>
                  <a:gd name="connsiteX2" fmla="*/ 798352 w 913663"/>
                  <a:gd name="connsiteY2" fmla="*/ 621662 h 621665"/>
                  <a:gd name="connsiteX3" fmla="*/ 798352 w 913663"/>
                  <a:gd name="connsiteY3" fmla="*/ 621665 h 621665"/>
                  <a:gd name="connsiteX4" fmla="*/ 0 w 913663"/>
                  <a:gd name="connsiteY4" fmla="*/ 621665 h 621665"/>
                  <a:gd name="connsiteX5" fmla="*/ 0 w 913663"/>
                  <a:gd name="connsiteY5" fmla="*/ 3 h 621665"/>
                  <a:gd name="connsiteX6" fmla="*/ 776538 w 913663"/>
                  <a:gd name="connsiteY6" fmla="*/ 3 h 621665"/>
                  <a:gd name="connsiteX7" fmla="*/ 776538 w 913663"/>
                  <a:gd name="connsiteY7" fmla="*/ 0 h 621665"/>
                  <a:gd name="connsiteX8" fmla="*/ 845101 w 913663"/>
                  <a:gd name="connsiteY8" fmla="*/ 0 h 621665"/>
                  <a:gd name="connsiteX9" fmla="*/ 913663 w 913663"/>
                  <a:gd name="connsiteY9" fmla="*/ 310831 h 621665"/>
                  <a:gd name="connsiteX0" fmla="*/ 913663 w 913663"/>
                  <a:gd name="connsiteY0" fmla="*/ 310831 h 621665"/>
                  <a:gd name="connsiteX1" fmla="*/ 845100 w 913663"/>
                  <a:gd name="connsiteY1" fmla="*/ 621662 h 621665"/>
                  <a:gd name="connsiteX2" fmla="*/ 798352 w 913663"/>
                  <a:gd name="connsiteY2" fmla="*/ 621662 h 621665"/>
                  <a:gd name="connsiteX3" fmla="*/ 0 w 913663"/>
                  <a:gd name="connsiteY3" fmla="*/ 621665 h 621665"/>
                  <a:gd name="connsiteX4" fmla="*/ 0 w 913663"/>
                  <a:gd name="connsiteY4" fmla="*/ 3 h 621665"/>
                  <a:gd name="connsiteX5" fmla="*/ 776538 w 913663"/>
                  <a:gd name="connsiteY5" fmla="*/ 3 h 621665"/>
                  <a:gd name="connsiteX6" fmla="*/ 776538 w 913663"/>
                  <a:gd name="connsiteY6" fmla="*/ 0 h 621665"/>
                  <a:gd name="connsiteX7" fmla="*/ 845101 w 913663"/>
                  <a:gd name="connsiteY7" fmla="*/ 0 h 621665"/>
                  <a:gd name="connsiteX8" fmla="*/ 913663 w 913663"/>
                  <a:gd name="connsiteY8" fmla="*/ 310831 h 621665"/>
                  <a:gd name="connsiteX0" fmla="*/ 913663 w 913663"/>
                  <a:gd name="connsiteY0" fmla="*/ 310831 h 621665"/>
                  <a:gd name="connsiteX1" fmla="*/ 845100 w 913663"/>
                  <a:gd name="connsiteY1" fmla="*/ 621662 h 621665"/>
                  <a:gd name="connsiteX2" fmla="*/ 0 w 913663"/>
                  <a:gd name="connsiteY2" fmla="*/ 621665 h 621665"/>
                  <a:gd name="connsiteX3" fmla="*/ 0 w 913663"/>
                  <a:gd name="connsiteY3" fmla="*/ 3 h 621665"/>
                  <a:gd name="connsiteX4" fmla="*/ 776538 w 913663"/>
                  <a:gd name="connsiteY4" fmla="*/ 3 h 621665"/>
                  <a:gd name="connsiteX5" fmla="*/ 776538 w 913663"/>
                  <a:gd name="connsiteY5" fmla="*/ 0 h 621665"/>
                  <a:gd name="connsiteX6" fmla="*/ 845101 w 913663"/>
                  <a:gd name="connsiteY6" fmla="*/ 0 h 621665"/>
                  <a:gd name="connsiteX7" fmla="*/ 913663 w 913663"/>
                  <a:gd name="connsiteY7" fmla="*/ 310831 h 621665"/>
                  <a:gd name="connsiteX0" fmla="*/ 913663 w 913663"/>
                  <a:gd name="connsiteY0" fmla="*/ 310831 h 621665"/>
                  <a:gd name="connsiteX1" fmla="*/ 845100 w 913663"/>
                  <a:gd name="connsiteY1" fmla="*/ 621662 h 621665"/>
                  <a:gd name="connsiteX2" fmla="*/ 0 w 913663"/>
                  <a:gd name="connsiteY2" fmla="*/ 621665 h 621665"/>
                  <a:gd name="connsiteX3" fmla="*/ 0 w 913663"/>
                  <a:gd name="connsiteY3" fmla="*/ 3 h 621665"/>
                  <a:gd name="connsiteX4" fmla="*/ 776538 w 913663"/>
                  <a:gd name="connsiteY4" fmla="*/ 3 h 621665"/>
                  <a:gd name="connsiteX5" fmla="*/ 845101 w 913663"/>
                  <a:gd name="connsiteY5" fmla="*/ 0 h 621665"/>
                  <a:gd name="connsiteX6" fmla="*/ 913663 w 913663"/>
                  <a:gd name="connsiteY6" fmla="*/ 310831 h 621665"/>
                  <a:gd name="connsiteX0" fmla="*/ 913663 w 913663"/>
                  <a:gd name="connsiteY0" fmla="*/ 310831 h 621665"/>
                  <a:gd name="connsiteX1" fmla="*/ 845100 w 913663"/>
                  <a:gd name="connsiteY1" fmla="*/ 621662 h 621665"/>
                  <a:gd name="connsiteX2" fmla="*/ 0 w 913663"/>
                  <a:gd name="connsiteY2" fmla="*/ 621665 h 621665"/>
                  <a:gd name="connsiteX3" fmla="*/ 0 w 913663"/>
                  <a:gd name="connsiteY3" fmla="*/ 3 h 621665"/>
                  <a:gd name="connsiteX4" fmla="*/ 845101 w 913663"/>
                  <a:gd name="connsiteY4" fmla="*/ 0 h 621665"/>
                  <a:gd name="connsiteX5" fmla="*/ 913663 w 913663"/>
                  <a:gd name="connsiteY5" fmla="*/ 310831 h 621665"/>
                  <a:gd name="connsiteX0" fmla="*/ 913886 w 913886"/>
                  <a:gd name="connsiteY0" fmla="*/ 310831 h 621665"/>
                  <a:gd name="connsiteX1" fmla="*/ 845323 w 913886"/>
                  <a:gd name="connsiteY1" fmla="*/ 621662 h 621665"/>
                  <a:gd name="connsiteX2" fmla="*/ 223 w 913886"/>
                  <a:gd name="connsiteY2" fmla="*/ 621665 h 621665"/>
                  <a:gd name="connsiteX3" fmla="*/ 0 w 913886"/>
                  <a:gd name="connsiteY3" fmla="*/ 300970 h 621665"/>
                  <a:gd name="connsiteX4" fmla="*/ 223 w 913886"/>
                  <a:gd name="connsiteY4" fmla="*/ 3 h 621665"/>
                  <a:gd name="connsiteX5" fmla="*/ 845324 w 913886"/>
                  <a:gd name="connsiteY5" fmla="*/ 0 h 621665"/>
                  <a:gd name="connsiteX6" fmla="*/ 913886 w 913886"/>
                  <a:gd name="connsiteY6" fmla="*/ 310831 h 621665"/>
                  <a:gd name="connsiteX0" fmla="*/ 0 w 913886"/>
                  <a:gd name="connsiteY0" fmla="*/ 300970 h 621665"/>
                  <a:gd name="connsiteX1" fmla="*/ 223 w 913886"/>
                  <a:gd name="connsiteY1" fmla="*/ 3 h 621665"/>
                  <a:gd name="connsiteX2" fmla="*/ 845324 w 913886"/>
                  <a:gd name="connsiteY2" fmla="*/ 0 h 621665"/>
                  <a:gd name="connsiteX3" fmla="*/ 913886 w 913886"/>
                  <a:gd name="connsiteY3" fmla="*/ 310831 h 621665"/>
                  <a:gd name="connsiteX4" fmla="*/ 845323 w 913886"/>
                  <a:gd name="connsiteY4" fmla="*/ 621662 h 621665"/>
                  <a:gd name="connsiteX5" fmla="*/ 223 w 913886"/>
                  <a:gd name="connsiteY5" fmla="*/ 621665 h 621665"/>
                  <a:gd name="connsiteX6" fmla="*/ 91440 w 913886"/>
                  <a:gd name="connsiteY6" fmla="*/ 392410 h 621665"/>
                  <a:gd name="connsiteX0" fmla="*/ 5 w 913668"/>
                  <a:gd name="connsiteY0" fmla="*/ 3 h 621665"/>
                  <a:gd name="connsiteX1" fmla="*/ 845106 w 913668"/>
                  <a:gd name="connsiteY1" fmla="*/ 0 h 621665"/>
                  <a:gd name="connsiteX2" fmla="*/ 913668 w 913668"/>
                  <a:gd name="connsiteY2" fmla="*/ 310831 h 621665"/>
                  <a:gd name="connsiteX3" fmla="*/ 845105 w 913668"/>
                  <a:gd name="connsiteY3" fmla="*/ 621662 h 621665"/>
                  <a:gd name="connsiteX4" fmla="*/ 5 w 913668"/>
                  <a:gd name="connsiteY4" fmla="*/ 621665 h 621665"/>
                  <a:gd name="connsiteX5" fmla="*/ 91222 w 913668"/>
                  <a:gd name="connsiteY5" fmla="*/ 392410 h 621665"/>
                  <a:gd name="connsiteX0" fmla="*/ 0 w 913663"/>
                  <a:gd name="connsiteY0" fmla="*/ 3 h 621665"/>
                  <a:gd name="connsiteX1" fmla="*/ 845101 w 913663"/>
                  <a:gd name="connsiteY1" fmla="*/ 0 h 621665"/>
                  <a:gd name="connsiteX2" fmla="*/ 913663 w 913663"/>
                  <a:gd name="connsiteY2" fmla="*/ 310831 h 621665"/>
                  <a:gd name="connsiteX3" fmla="*/ 845100 w 913663"/>
                  <a:gd name="connsiteY3" fmla="*/ 621662 h 621665"/>
                  <a:gd name="connsiteX4" fmla="*/ 0 w 913663"/>
                  <a:gd name="connsiteY4" fmla="*/ 621665 h 6216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663" h="621665">
                    <a:moveTo>
                      <a:pt x="0" y="3"/>
                    </a:moveTo>
                    <a:lnTo>
                      <a:pt x="845101" y="0"/>
                    </a:lnTo>
                    <a:cubicBezTo>
                      <a:pt x="882967" y="0"/>
                      <a:pt x="913663" y="139164"/>
                      <a:pt x="913663" y="310831"/>
                    </a:cubicBezTo>
                    <a:cubicBezTo>
                      <a:pt x="913663" y="482498"/>
                      <a:pt x="882967" y="621662"/>
                      <a:pt x="845100" y="621662"/>
                    </a:cubicBezTo>
                    <a:lnTo>
                      <a:pt x="0" y="621665"/>
                    </a:ln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cxnSp>
            <p:nvCxnSpPr>
              <p:cNvPr id="738" name="Straight Connector 737">
                <a:extLst>
                  <a:ext uri="{FF2B5EF4-FFF2-40B4-BE49-F238E27FC236}">
                    <a16:creationId xmlns:a16="http://schemas.microsoft.com/office/drawing/2014/main" id="{8BC58C79-0E8D-459D-BFA7-F13C86B44ABD}"/>
                  </a:ext>
                </a:extLst>
              </p:cNvPr>
              <p:cNvCxnSpPr/>
              <p:nvPr/>
            </p:nvCxnSpPr>
            <p:spPr bwMode="gray">
              <a:xfrm>
                <a:off x="3886857" y="3017821"/>
                <a:ext cx="0" cy="687408"/>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9" name="Straight Connector 738">
                <a:extLst>
                  <a:ext uri="{FF2B5EF4-FFF2-40B4-BE49-F238E27FC236}">
                    <a16:creationId xmlns:a16="http://schemas.microsoft.com/office/drawing/2014/main" id="{5370B0C1-C9CA-4395-BC83-6B06110AB96D}"/>
                  </a:ext>
                </a:extLst>
              </p:cNvPr>
              <p:cNvCxnSpPr/>
              <p:nvPr/>
            </p:nvCxnSpPr>
            <p:spPr bwMode="gray">
              <a:xfrm>
                <a:off x="3265191" y="3017821"/>
                <a:ext cx="0" cy="687408"/>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40" name="Straight Connector 739">
                <a:extLst>
                  <a:ext uri="{FF2B5EF4-FFF2-40B4-BE49-F238E27FC236}">
                    <a16:creationId xmlns:a16="http://schemas.microsoft.com/office/drawing/2014/main" id="{F6F9ECAD-5731-4697-81A9-16A5A17090E1}"/>
                  </a:ext>
                </a:extLst>
              </p:cNvPr>
              <p:cNvCxnSpPr>
                <a:cxnSpLocks/>
              </p:cNvCxnSpPr>
              <p:nvPr/>
            </p:nvCxnSpPr>
            <p:spPr bwMode="gray">
              <a:xfrm>
                <a:off x="3771677" y="3415896"/>
                <a:ext cx="115180" cy="120939"/>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741" name="Freeform: Shape 740">
                <a:extLst>
                  <a:ext uri="{FF2B5EF4-FFF2-40B4-BE49-F238E27FC236}">
                    <a16:creationId xmlns:a16="http://schemas.microsoft.com/office/drawing/2014/main" id="{AFC49047-AD50-4907-807B-14F1159FC844}"/>
                  </a:ext>
                </a:extLst>
              </p:cNvPr>
              <p:cNvSpPr/>
              <p:nvPr/>
            </p:nvSpPr>
            <p:spPr bwMode="gray">
              <a:xfrm>
                <a:off x="3265191" y="3281801"/>
                <a:ext cx="621660" cy="233659"/>
              </a:xfrm>
              <a:custGeom>
                <a:avLst/>
                <a:gdLst>
                  <a:gd name="connsiteX0" fmla="*/ 260382 w 547200"/>
                  <a:gd name="connsiteY0" fmla="*/ 0 h 209016"/>
                  <a:gd name="connsiteX1" fmla="*/ 547200 w 547200"/>
                  <a:gd name="connsiteY1" fmla="*/ 3768 h 209016"/>
                  <a:gd name="connsiteX2" fmla="*/ 547200 w 547200"/>
                  <a:gd name="connsiteY2" fmla="*/ 67271 h 209016"/>
                  <a:gd name="connsiteX3" fmla="*/ 328220 w 547200"/>
                  <a:gd name="connsiteY3" fmla="*/ 209016 h 209016"/>
                  <a:gd name="connsiteX4" fmla="*/ 218980 w 547200"/>
                  <a:gd name="connsiteY4" fmla="*/ 209016 h 209016"/>
                  <a:gd name="connsiteX5" fmla="*/ 0 w 547200"/>
                  <a:gd name="connsiteY5" fmla="*/ 67271 h 209016"/>
                  <a:gd name="connsiteX6" fmla="*/ 0 w 547200"/>
                  <a:gd name="connsiteY6" fmla="*/ 3768 h 209016"/>
                  <a:gd name="connsiteX0" fmla="*/ 260382 w 547200"/>
                  <a:gd name="connsiteY0" fmla="*/ 0 h 209016"/>
                  <a:gd name="connsiteX1" fmla="*/ 547200 w 547200"/>
                  <a:gd name="connsiteY1" fmla="*/ 3768 h 209016"/>
                  <a:gd name="connsiteX2" fmla="*/ 547200 w 547200"/>
                  <a:gd name="connsiteY2" fmla="*/ 67271 h 209016"/>
                  <a:gd name="connsiteX3" fmla="*/ 328220 w 547200"/>
                  <a:gd name="connsiteY3" fmla="*/ 209016 h 209016"/>
                  <a:gd name="connsiteX4" fmla="*/ 218980 w 547200"/>
                  <a:gd name="connsiteY4" fmla="*/ 209016 h 209016"/>
                  <a:gd name="connsiteX5" fmla="*/ 0 w 547200"/>
                  <a:gd name="connsiteY5" fmla="*/ 67271 h 209016"/>
                  <a:gd name="connsiteX6" fmla="*/ 0 w 547200"/>
                  <a:gd name="connsiteY6" fmla="*/ 3768 h 209016"/>
                  <a:gd name="connsiteX7" fmla="*/ 351822 w 547200"/>
                  <a:gd name="connsiteY7" fmla="*/ 91440 h 209016"/>
                  <a:gd name="connsiteX0" fmla="*/ 260382 w 547200"/>
                  <a:gd name="connsiteY0" fmla="*/ 0 h 209016"/>
                  <a:gd name="connsiteX1" fmla="*/ 547200 w 547200"/>
                  <a:gd name="connsiteY1" fmla="*/ 3768 h 209016"/>
                  <a:gd name="connsiteX2" fmla="*/ 547200 w 547200"/>
                  <a:gd name="connsiteY2" fmla="*/ 67271 h 209016"/>
                  <a:gd name="connsiteX3" fmla="*/ 328220 w 547200"/>
                  <a:gd name="connsiteY3" fmla="*/ 209016 h 209016"/>
                  <a:gd name="connsiteX4" fmla="*/ 218980 w 547200"/>
                  <a:gd name="connsiteY4" fmla="*/ 209016 h 209016"/>
                  <a:gd name="connsiteX5" fmla="*/ 0 w 547200"/>
                  <a:gd name="connsiteY5" fmla="*/ 67271 h 209016"/>
                  <a:gd name="connsiteX6" fmla="*/ 0 w 547200"/>
                  <a:gd name="connsiteY6" fmla="*/ 3768 h 209016"/>
                  <a:gd name="connsiteX0" fmla="*/ 547200 w 547200"/>
                  <a:gd name="connsiteY0" fmla="*/ 0 h 205248"/>
                  <a:gd name="connsiteX1" fmla="*/ 547200 w 547200"/>
                  <a:gd name="connsiteY1" fmla="*/ 63503 h 205248"/>
                  <a:gd name="connsiteX2" fmla="*/ 328220 w 547200"/>
                  <a:gd name="connsiteY2" fmla="*/ 205248 h 205248"/>
                  <a:gd name="connsiteX3" fmla="*/ 218980 w 547200"/>
                  <a:gd name="connsiteY3" fmla="*/ 205248 h 205248"/>
                  <a:gd name="connsiteX4" fmla="*/ 0 w 547200"/>
                  <a:gd name="connsiteY4" fmla="*/ 63503 h 205248"/>
                  <a:gd name="connsiteX5" fmla="*/ 0 w 547200"/>
                  <a:gd name="connsiteY5" fmla="*/ 0 h 205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200" h="205248">
                    <a:moveTo>
                      <a:pt x="547200" y="0"/>
                    </a:moveTo>
                    <a:lnTo>
                      <a:pt x="547200" y="63503"/>
                    </a:lnTo>
                    <a:lnTo>
                      <a:pt x="328220" y="205248"/>
                    </a:lnTo>
                    <a:lnTo>
                      <a:pt x="218980" y="205248"/>
                    </a:lnTo>
                    <a:lnTo>
                      <a:pt x="0" y="63503"/>
                    </a:lnTo>
                    <a:lnTo>
                      <a:pt x="0" y="0"/>
                    </a:lnTo>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742" name="Straight Connector 741">
                <a:extLst>
                  <a:ext uri="{FF2B5EF4-FFF2-40B4-BE49-F238E27FC236}">
                    <a16:creationId xmlns:a16="http://schemas.microsoft.com/office/drawing/2014/main" id="{80804F42-F9B0-468A-8874-5F1737F54A5C}"/>
                  </a:ext>
                </a:extLst>
              </p:cNvPr>
              <p:cNvCxnSpPr>
                <a:cxnSpLocks/>
              </p:cNvCxnSpPr>
              <p:nvPr/>
            </p:nvCxnSpPr>
            <p:spPr bwMode="gray">
              <a:xfrm flipH="1">
                <a:off x="3265191" y="3415896"/>
                <a:ext cx="115180" cy="120939"/>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cxnSp>
          <p:nvCxnSpPr>
            <p:cNvPr id="732" name="Straight Connector 731">
              <a:extLst>
                <a:ext uri="{FF2B5EF4-FFF2-40B4-BE49-F238E27FC236}">
                  <a16:creationId xmlns:a16="http://schemas.microsoft.com/office/drawing/2014/main" id="{D05EFD03-1B1E-4AA1-B942-CA474BF57C20}"/>
                </a:ext>
              </a:extLst>
            </p:cNvPr>
            <p:cNvCxnSpPr>
              <a:cxnSpLocks/>
            </p:cNvCxnSpPr>
            <p:nvPr/>
          </p:nvCxnSpPr>
          <p:spPr bwMode="gray">
            <a:xfrm>
              <a:off x="3298871" y="3317525"/>
              <a:ext cx="19372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3" name="Straight Connector 732">
              <a:extLst>
                <a:ext uri="{FF2B5EF4-FFF2-40B4-BE49-F238E27FC236}">
                  <a16:creationId xmlns:a16="http://schemas.microsoft.com/office/drawing/2014/main" id="{39E689C4-3335-47E7-908D-55E646879DA8}"/>
                </a:ext>
              </a:extLst>
            </p:cNvPr>
            <p:cNvCxnSpPr>
              <a:cxnSpLocks/>
            </p:cNvCxnSpPr>
            <p:nvPr/>
          </p:nvCxnSpPr>
          <p:spPr bwMode="gray">
            <a:xfrm>
              <a:off x="3298871" y="3385087"/>
              <a:ext cx="19372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4" name="Straight Connector 733">
              <a:extLst>
                <a:ext uri="{FF2B5EF4-FFF2-40B4-BE49-F238E27FC236}">
                  <a16:creationId xmlns:a16="http://schemas.microsoft.com/office/drawing/2014/main" id="{C5A0449B-B31D-46D2-A51A-DFF8AE20DCA9}"/>
                </a:ext>
              </a:extLst>
            </p:cNvPr>
            <p:cNvCxnSpPr>
              <a:cxnSpLocks/>
            </p:cNvCxnSpPr>
            <p:nvPr/>
          </p:nvCxnSpPr>
          <p:spPr bwMode="gray">
            <a:xfrm>
              <a:off x="3298871" y="3587773"/>
              <a:ext cx="19372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5" name="Straight Connector 734">
              <a:extLst>
                <a:ext uri="{FF2B5EF4-FFF2-40B4-BE49-F238E27FC236}">
                  <a16:creationId xmlns:a16="http://schemas.microsoft.com/office/drawing/2014/main" id="{E8E814C7-D953-400B-8BB4-9FBD156B1F2B}"/>
                </a:ext>
              </a:extLst>
            </p:cNvPr>
            <p:cNvCxnSpPr>
              <a:cxnSpLocks/>
            </p:cNvCxnSpPr>
            <p:nvPr/>
          </p:nvCxnSpPr>
          <p:spPr bwMode="gray">
            <a:xfrm>
              <a:off x="3298871" y="3452649"/>
              <a:ext cx="19372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36" name="Straight Connector 735">
              <a:extLst>
                <a:ext uri="{FF2B5EF4-FFF2-40B4-BE49-F238E27FC236}">
                  <a16:creationId xmlns:a16="http://schemas.microsoft.com/office/drawing/2014/main" id="{829A3157-7AD8-4783-A2DA-FBFFA8374B49}"/>
                </a:ext>
              </a:extLst>
            </p:cNvPr>
            <p:cNvCxnSpPr>
              <a:cxnSpLocks/>
            </p:cNvCxnSpPr>
            <p:nvPr/>
          </p:nvCxnSpPr>
          <p:spPr bwMode="gray">
            <a:xfrm>
              <a:off x="3298871" y="3520211"/>
              <a:ext cx="19372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743" name="Group 742">
            <a:extLst>
              <a:ext uri="{FF2B5EF4-FFF2-40B4-BE49-F238E27FC236}">
                <a16:creationId xmlns:a16="http://schemas.microsoft.com/office/drawing/2014/main" id="{B48051A2-EF12-4774-B607-AF469737CCCF}"/>
              </a:ext>
            </a:extLst>
          </p:cNvPr>
          <p:cNvGrpSpPr/>
          <p:nvPr/>
        </p:nvGrpSpPr>
        <p:grpSpPr bwMode="gray">
          <a:xfrm>
            <a:off x="6162171" y="4889217"/>
            <a:ext cx="272094" cy="316036"/>
            <a:chOff x="9608763" y="3239368"/>
            <a:chExt cx="793331" cy="921450"/>
          </a:xfrm>
        </p:grpSpPr>
        <p:grpSp>
          <p:nvGrpSpPr>
            <p:cNvPr id="744" name="Group 743">
              <a:extLst>
                <a:ext uri="{FF2B5EF4-FFF2-40B4-BE49-F238E27FC236}">
                  <a16:creationId xmlns:a16="http://schemas.microsoft.com/office/drawing/2014/main" id="{6A6FD7F6-E989-4D2A-832E-9277A1E35E0F}"/>
                </a:ext>
              </a:extLst>
            </p:cNvPr>
            <p:cNvGrpSpPr/>
            <p:nvPr/>
          </p:nvGrpSpPr>
          <p:grpSpPr bwMode="gray">
            <a:xfrm>
              <a:off x="9608763" y="3239368"/>
              <a:ext cx="747796" cy="921450"/>
              <a:chOff x="9563228" y="3226528"/>
              <a:chExt cx="747796" cy="921450"/>
            </a:xfrm>
          </p:grpSpPr>
          <p:cxnSp>
            <p:nvCxnSpPr>
              <p:cNvPr id="746" name="Straight Connector 745">
                <a:extLst>
                  <a:ext uri="{FF2B5EF4-FFF2-40B4-BE49-F238E27FC236}">
                    <a16:creationId xmlns:a16="http://schemas.microsoft.com/office/drawing/2014/main" id="{15DF5D63-677B-4A38-AE5B-9FAE8465F272}"/>
                  </a:ext>
                </a:extLst>
              </p:cNvPr>
              <p:cNvCxnSpPr/>
              <p:nvPr/>
            </p:nvCxnSpPr>
            <p:spPr bwMode="gray">
              <a:xfrm>
                <a:off x="10084275" y="3302564"/>
                <a:ext cx="152069"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47" name="Straight Connector 746">
                <a:extLst>
                  <a:ext uri="{FF2B5EF4-FFF2-40B4-BE49-F238E27FC236}">
                    <a16:creationId xmlns:a16="http://schemas.microsoft.com/office/drawing/2014/main" id="{4166D789-1E91-44D7-937A-B551D4F50750}"/>
                  </a:ext>
                </a:extLst>
              </p:cNvPr>
              <p:cNvCxnSpPr/>
              <p:nvPr/>
            </p:nvCxnSpPr>
            <p:spPr bwMode="gray">
              <a:xfrm>
                <a:off x="10084275" y="3472126"/>
                <a:ext cx="152069"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748" name="Group 747">
                <a:extLst>
                  <a:ext uri="{FF2B5EF4-FFF2-40B4-BE49-F238E27FC236}">
                    <a16:creationId xmlns:a16="http://schemas.microsoft.com/office/drawing/2014/main" id="{536D6839-3CFC-486A-B9DF-830C96C8ABD8}"/>
                  </a:ext>
                </a:extLst>
              </p:cNvPr>
              <p:cNvGrpSpPr/>
              <p:nvPr/>
            </p:nvGrpSpPr>
            <p:grpSpPr bwMode="gray">
              <a:xfrm>
                <a:off x="10016491" y="3641089"/>
                <a:ext cx="287638" cy="337927"/>
                <a:chOff x="10084275" y="3641089"/>
                <a:chExt cx="152069" cy="337927"/>
              </a:xfrm>
            </p:grpSpPr>
            <p:cxnSp>
              <p:nvCxnSpPr>
                <p:cNvPr id="760" name="Straight Connector 759">
                  <a:extLst>
                    <a:ext uri="{FF2B5EF4-FFF2-40B4-BE49-F238E27FC236}">
                      <a16:creationId xmlns:a16="http://schemas.microsoft.com/office/drawing/2014/main" id="{EA5363C9-3A79-4AAF-AFB8-45502DA16BE3}"/>
                    </a:ext>
                  </a:extLst>
                </p:cNvPr>
                <p:cNvCxnSpPr/>
                <p:nvPr/>
              </p:nvCxnSpPr>
              <p:spPr bwMode="gray">
                <a:xfrm>
                  <a:off x="10084275" y="3641089"/>
                  <a:ext cx="152069"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1" name="Straight Connector 760">
                  <a:extLst>
                    <a:ext uri="{FF2B5EF4-FFF2-40B4-BE49-F238E27FC236}">
                      <a16:creationId xmlns:a16="http://schemas.microsoft.com/office/drawing/2014/main" id="{8BFFEAAD-3A70-4C00-A82B-660E93EC9697}"/>
                    </a:ext>
                  </a:extLst>
                </p:cNvPr>
                <p:cNvCxnSpPr/>
                <p:nvPr/>
              </p:nvCxnSpPr>
              <p:spPr bwMode="gray">
                <a:xfrm>
                  <a:off x="10084275" y="3810053"/>
                  <a:ext cx="152069"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62" name="Straight Connector 761">
                  <a:extLst>
                    <a:ext uri="{FF2B5EF4-FFF2-40B4-BE49-F238E27FC236}">
                      <a16:creationId xmlns:a16="http://schemas.microsoft.com/office/drawing/2014/main" id="{12A78A2B-4A56-44CA-85D5-6CEDFE3B33A4}"/>
                    </a:ext>
                  </a:extLst>
                </p:cNvPr>
                <p:cNvCxnSpPr/>
                <p:nvPr/>
              </p:nvCxnSpPr>
              <p:spPr bwMode="gray">
                <a:xfrm>
                  <a:off x="10084275" y="3979016"/>
                  <a:ext cx="152069"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cxnSp>
            <p:nvCxnSpPr>
              <p:cNvPr id="749" name="Straight Connector 748">
                <a:extLst>
                  <a:ext uri="{FF2B5EF4-FFF2-40B4-BE49-F238E27FC236}">
                    <a16:creationId xmlns:a16="http://schemas.microsoft.com/office/drawing/2014/main" id="{4BB1118E-F714-4F4C-8816-0DD00ADC9443}"/>
                  </a:ext>
                </a:extLst>
              </p:cNvPr>
              <p:cNvCxnSpPr/>
              <p:nvPr/>
            </p:nvCxnSpPr>
            <p:spPr bwMode="gray">
              <a:xfrm>
                <a:off x="10084275" y="4147978"/>
                <a:ext cx="152069"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750" name="Freeform: Shape 749">
                <a:extLst>
                  <a:ext uri="{FF2B5EF4-FFF2-40B4-BE49-F238E27FC236}">
                    <a16:creationId xmlns:a16="http://schemas.microsoft.com/office/drawing/2014/main" id="{1F7AC71B-E4F4-47A5-81BD-4E66F083A4E6}"/>
                  </a:ext>
                </a:extLst>
              </p:cNvPr>
              <p:cNvSpPr/>
              <p:nvPr/>
            </p:nvSpPr>
            <p:spPr bwMode="gray">
              <a:xfrm flipH="1">
                <a:off x="9650944" y="3233948"/>
                <a:ext cx="239313" cy="914029"/>
              </a:xfrm>
              <a:custGeom>
                <a:avLst/>
                <a:gdLst>
                  <a:gd name="connsiteX0" fmla="*/ 239313 w 239313"/>
                  <a:gd name="connsiteY0" fmla="*/ 837138 h 914029"/>
                  <a:gd name="connsiteX1" fmla="*/ 0 w 239313"/>
                  <a:gd name="connsiteY1" fmla="*/ 837138 h 914029"/>
                  <a:gd name="connsiteX2" fmla="*/ 0 w 239313"/>
                  <a:gd name="connsiteY2" fmla="*/ 914029 h 914029"/>
                  <a:gd name="connsiteX3" fmla="*/ 239313 w 239313"/>
                  <a:gd name="connsiteY3" fmla="*/ 914029 h 914029"/>
                  <a:gd name="connsiteX4" fmla="*/ 154279 w 239313"/>
                  <a:gd name="connsiteY4" fmla="*/ 0 h 914029"/>
                  <a:gd name="connsiteX5" fmla="*/ 84972 w 239313"/>
                  <a:gd name="connsiteY5" fmla="*/ 0 h 914029"/>
                  <a:gd name="connsiteX6" fmla="*/ 55690 w 239313"/>
                  <a:gd name="connsiteY6" fmla="*/ 23653 h 914029"/>
                  <a:gd name="connsiteX7" fmla="*/ 55423 w 239313"/>
                  <a:gd name="connsiteY7" fmla="*/ 23653 h 914029"/>
                  <a:gd name="connsiteX8" fmla="*/ 55423 w 239313"/>
                  <a:gd name="connsiteY8" fmla="*/ 23869 h 914029"/>
                  <a:gd name="connsiteX9" fmla="*/ 55423 w 239313"/>
                  <a:gd name="connsiteY9" fmla="*/ 425756 h 914029"/>
                  <a:gd name="connsiteX10" fmla="*/ 56762 w 239313"/>
                  <a:gd name="connsiteY10" fmla="*/ 425756 h 914029"/>
                  <a:gd name="connsiteX11" fmla="*/ 56762 w 239313"/>
                  <a:gd name="connsiteY11" fmla="*/ 428578 h 914029"/>
                  <a:gd name="connsiteX12" fmla="*/ 0 w 239313"/>
                  <a:gd name="connsiteY12" fmla="*/ 523643 h 914029"/>
                  <a:gd name="connsiteX13" fmla="*/ 0 w 239313"/>
                  <a:gd name="connsiteY13" fmla="*/ 525298 h 914029"/>
                  <a:gd name="connsiteX14" fmla="*/ 0 w 239313"/>
                  <a:gd name="connsiteY14" fmla="*/ 591803 h 914029"/>
                  <a:gd name="connsiteX15" fmla="*/ 239313 w 239313"/>
                  <a:gd name="connsiteY15" fmla="*/ 591803 h 914029"/>
                  <a:gd name="connsiteX16" fmla="*/ 239313 w 239313"/>
                  <a:gd name="connsiteY16" fmla="*/ 525298 h 914029"/>
                  <a:gd name="connsiteX17" fmla="*/ 239313 w 239313"/>
                  <a:gd name="connsiteY17" fmla="*/ 523643 h 914029"/>
                  <a:gd name="connsiteX18" fmla="*/ 182551 w 239313"/>
                  <a:gd name="connsiteY18" fmla="*/ 428578 h 914029"/>
                  <a:gd name="connsiteX19" fmla="*/ 182551 w 239313"/>
                  <a:gd name="connsiteY19" fmla="*/ 425756 h 914029"/>
                  <a:gd name="connsiteX20" fmla="*/ 183828 w 239313"/>
                  <a:gd name="connsiteY20" fmla="*/ 425756 h 914029"/>
                  <a:gd name="connsiteX21" fmla="*/ 183828 w 239313"/>
                  <a:gd name="connsiteY21" fmla="*/ 23869 h 914029"/>
                  <a:gd name="connsiteX22" fmla="*/ 183828 w 239313"/>
                  <a:gd name="connsiteY22" fmla="*/ 23653 h 914029"/>
                  <a:gd name="connsiteX23" fmla="*/ 183561 w 239313"/>
                  <a:gd name="connsiteY23" fmla="*/ 23653 h 914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9313" h="914029">
                    <a:moveTo>
                      <a:pt x="239313" y="837138"/>
                    </a:moveTo>
                    <a:lnTo>
                      <a:pt x="0" y="837138"/>
                    </a:lnTo>
                    <a:lnTo>
                      <a:pt x="0" y="914029"/>
                    </a:lnTo>
                    <a:lnTo>
                      <a:pt x="239313" y="914029"/>
                    </a:lnTo>
                    <a:close/>
                    <a:moveTo>
                      <a:pt x="154279" y="0"/>
                    </a:moveTo>
                    <a:lnTo>
                      <a:pt x="84972" y="0"/>
                    </a:lnTo>
                    <a:lnTo>
                      <a:pt x="55690" y="23653"/>
                    </a:lnTo>
                    <a:lnTo>
                      <a:pt x="55423" y="23653"/>
                    </a:lnTo>
                    <a:lnTo>
                      <a:pt x="55423" y="23869"/>
                    </a:lnTo>
                    <a:lnTo>
                      <a:pt x="55423" y="425756"/>
                    </a:lnTo>
                    <a:lnTo>
                      <a:pt x="56762" y="425756"/>
                    </a:lnTo>
                    <a:lnTo>
                      <a:pt x="56762" y="428578"/>
                    </a:lnTo>
                    <a:lnTo>
                      <a:pt x="0" y="523643"/>
                    </a:lnTo>
                    <a:lnTo>
                      <a:pt x="0" y="525298"/>
                    </a:lnTo>
                    <a:lnTo>
                      <a:pt x="0" y="591803"/>
                    </a:lnTo>
                    <a:lnTo>
                      <a:pt x="239313" y="591803"/>
                    </a:lnTo>
                    <a:lnTo>
                      <a:pt x="239313" y="525298"/>
                    </a:lnTo>
                    <a:lnTo>
                      <a:pt x="239313" y="523643"/>
                    </a:lnTo>
                    <a:lnTo>
                      <a:pt x="182551" y="428578"/>
                    </a:lnTo>
                    <a:lnTo>
                      <a:pt x="182551" y="425756"/>
                    </a:lnTo>
                    <a:lnTo>
                      <a:pt x="183828" y="425756"/>
                    </a:lnTo>
                    <a:lnTo>
                      <a:pt x="183828" y="23869"/>
                    </a:lnTo>
                    <a:lnTo>
                      <a:pt x="183828" y="23653"/>
                    </a:lnTo>
                    <a:lnTo>
                      <a:pt x="183561" y="23653"/>
                    </a:ln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solidFill>
                    <a:schemeClr val="tx1"/>
                  </a:solidFill>
                </a:endParaRPr>
              </a:p>
            </p:txBody>
          </p:sp>
          <p:cxnSp>
            <p:nvCxnSpPr>
              <p:cNvPr id="751" name="Straight Connector 750">
                <a:extLst>
                  <a:ext uri="{FF2B5EF4-FFF2-40B4-BE49-F238E27FC236}">
                    <a16:creationId xmlns:a16="http://schemas.microsoft.com/office/drawing/2014/main" id="{E2848F2A-6259-4C89-8E84-896E54E35ADA}"/>
                  </a:ext>
                </a:extLst>
              </p:cNvPr>
              <p:cNvCxnSpPr/>
              <p:nvPr/>
            </p:nvCxnSpPr>
            <p:spPr bwMode="gray">
              <a:xfrm>
                <a:off x="9706531" y="3257601"/>
                <a:ext cx="128138" cy="215"/>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2" name="Straight Connector 751">
                <a:extLst>
                  <a:ext uri="{FF2B5EF4-FFF2-40B4-BE49-F238E27FC236}">
                    <a16:creationId xmlns:a16="http://schemas.microsoft.com/office/drawing/2014/main" id="{7CE14F51-E77B-4034-B500-FE4F9C1588C0}"/>
                  </a:ext>
                </a:extLst>
              </p:cNvPr>
              <p:cNvCxnSpPr/>
              <p:nvPr/>
            </p:nvCxnSpPr>
            <p:spPr bwMode="gray">
              <a:xfrm>
                <a:off x="9706531" y="3358072"/>
                <a:ext cx="128138" cy="215"/>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3" name="Straight Connector 752">
                <a:extLst>
                  <a:ext uri="{FF2B5EF4-FFF2-40B4-BE49-F238E27FC236}">
                    <a16:creationId xmlns:a16="http://schemas.microsoft.com/office/drawing/2014/main" id="{2DC9CFCE-261A-4369-9405-80C75F3427BA}"/>
                  </a:ext>
                </a:extLst>
              </p:cNvPr>
              <p:cNvCxnSpPr/>
              <p:nvPr/>
            </p:nvCxnSpPr>
            <p:spPr bwMode="gray">
              <a:xfrm>
                <a:off x="9706531" y="3458544"/>
                <a:ext cx="128138" cy="215"/>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4" name="Straight Connector 753">
                <a:extLst>
                  <a:ext uri="{FF2B5EF4-FFF2-40B4-BE49-F238E27FC236}">
                    <a16:creationId xmlns:a16="http://schemas.microsoft.com/office/drawing/2014/main" id="{2BCB09F8-8788-4EF0-9C60-60B736366604}"/>
                  </a:ext>
                </a:extLst>
              </p:cNvPr>
              <p:cNvCxnSpPr/>
              <p:nvPr/>
            </p:nvCxnSpPr>
            <p:spPr bwMode="gray">
              <a:xfrm>
                <a:off x="9706531" y="3559016"/>
                <a:ext cx="128138" cy="215"/>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5" name="Straight Connector 754">
                <a:extLst>
                  <a:ext uri="{FF2B5EF4-FFF2-40B4-BE49-F238E27FC236}">
                    <a16:creationId xmlns:a16="http://schemas.microsoft.com/office/drawing/2014/main" id="{BEBCA345-37D6-4345-ACA4-79624250ADB2}"/>
                  </a:ext>
                </a:extLst>
              </p:cNvPr>
              <p:cNvCxnSpPr>
                <a:cxnSpLocks/>
              </p:cNvCxnSpPr>
              <p:nvPr/>
            </p:nvCxnSpPr>
            <p:spPr bwMode="gray">
              <a:xfrm>
                <a:off x="9655141" y="3659711"/>
                <a:ext cx="230918"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756" name="Freeform: Shape 755">
                <a:extLst>
                  <a:ext uri="{FF2B5EF4-FFF2-40B4-BE49-F238E27FC236}">
                    <a16:creationId xmlns:a16="http://schemas.microsoft.com/office/drawing/2014/main" id="{40842377-0C38-4F52-A4EE-BEAB6BC46EA3}"/>
                  </a:ext>
                </a:extLst>
              </p:cNvPr>
              <p:cNvSpPr/>
              <p:nvPr/>
            </p:nvSpPr>
            <p:spPr bwMode="gray">
              <a:xfrm flipH="1">
                <a:off x="10013770" y="3226528"/>
                <a:ext cx="297254" cy="921450"/>
              </a:xfrm>
              <a:custGeom>
                <a:avLst/>
                <a:gdLst>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8708 w 297254"/>
                  <a:gd name="connsiteY12" fmla="*/ 257973 h 921450"/>
                  <a:gd name="connsiteX13" fmla="*/ 226749 w 297254"/>
                  <a:gd name="connsiteY13" fmla="*/ 254635 h 921450"/>
                  <a:gd name="connsiteX14" fmla="*/ 226749 w 297254"/>
                  <a:gd name="connsiteY14" fmla="*/ 76034 h 921450"/>
                  <a:gd name="connsiteX15" fmla="*/ 150714 w 297254"/>
                  <a:gd name="connsiteY15"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6749 w 297254"/>
                  <a:gd name="connsiteY12" fmla="*/ 254635 h 921450"/>
                  <a:gd name="connsiteX13" fmla="*/ 226749 w 297254"/>
                  <a:gd name="connsiteY13" fmla="*/ 76034 h 921450"/>
                  <a:gd name="connsiteX14" fmla="*/ 150714 w 297254"/>
                  <a:gd name="connsiteY14"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0 w 297254"/>
                  <a:gd name="connsiteY7" fmla="*/ 921450 h 921450"/>
                  <a:gd name="connsiteX8" fmla="*/ 297254 w 297254"/>
                  <a:gd name="connsiteY8" fmla="*/ 921450 h 921450"/>
                  <a:gd name="connsiteX9" fmla="*/ 297254 w 297254"/>
                  <a:gd name="connsiteY9" fmla="*/ 374772 h 921450"/>
                  <a:gd name="connsiteX10" fmla="*/ 297254 w 297254"/>
                  <a:gd name="connsiteY10" fmla="*/ 372716 h 921450"/>
                  <a:gd name="connsiteX11" fmla="*/ 226749 w 297254"/>
                  <a:gd name="connsiteY11" fmla="*/ 254635 h 921450"/>
                  <a:gd name="connsiteX12" fmla="*/ 226749 w 297254"/>
                  <a:gd name="connsiteY12" fmla="*/ 76034 h 921450"/>
                  <a:gd name="connsiteX13" fmla="*/ 150714 w 297254"/>
                  <a:gd name="connsiteY13" fmla="*/ 0 h 92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7254" h="921450">
                    <a:moveTo>
                      <a:pt x="150714" y="0"/>
                    </a:moveTo>
                    <a:lnTo>
                      <a:pt x="148627" y="421"/>
                    </a:lnTo>
                    <a:lnTo>
                      <a:pt x="146540" y="0"/>
                    </a:lnTo>
                    <a:cubicBezTo>
                      <a:pt x="104547" y="0"/>
                      <a:pt x="70505" y="34042"/>
                      <a:pt x="70505" y="76034"/>
                    </a:cubicBezTo>
                    <a:lnTo>
                      <a:pt x="70505" y="254635"/>
                    </a:lnTo>
                    <a:lnTo>
                      <a:pt x="0" y="372716"/>
                    </a:lnTo>
                    <a:lnTo>
                      <a:pt x="0" y="374772"/>
                    </a:lnTo>
                    <a:lnTo>
                      <a:pt x="0" y="921450"/>
                    </a:lnTo>
                    <a:lnTo>
                      <a:pt x="297254" y="921450"/>
                    </a:lnTo>
                    <a:lnTo>
                      <a:pt x="297254" y="374772"/>
                    </a:lnTo>
                    <a:lnTo>
                      <a:pt x="297254" y="372716"/>
                    </a:lnTo>
                    <a:lnTo>
                      <a:pt x="226749" y="254635"/>
                    </a:lnTo>
                    <a:lnTo>
                      <a:pt x="226749" y="76034"/>
                    </a:lnTo>
                    <a:cubicBezTo>
                      <a:pt x="226749" y="34042"/>
                      <a:pt x="192707" y="0"/>
                      <a:pt x="150714" y="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sp>
            <p:nvSpPr>
              <p:cNvPr id="757" name="Rectangle 756">
                <a:extLst>
                  <a:ext uri="{FF2B5EF4-FFF2-40B4-BE49-F238E27FC236}">
                    <a16:creationId xmlns:a16="http://schemas.microsoft.com/office/drawing/2014/main" id="{02C70195-F537-46EF-A446-5A49FD3BEC07}"/>
                  </a:ext>
                </a:extLst>
              </p:cNvPr>
              <p:cNvSpPr/>
              <p:nvPr/>
            </p:nvSpPr>
            <p:spPr bwMode="gray">
              <a:xfrm flipH="1">
                <a:off x="9620244" y="3825751"/>
                <a:ext cx="300713" cy="245335"/>
              </a:xfrm>
              <a:prstGeom prst="rect">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758" name="Straight Connector 757">
                <a:extLst>
                  <a:ext uri="{FF2B5EF4-FFF2-40B4-BE49-F238E27FC236}">
                    <a16:creationId xmlns:a16="http://schemas.microsoft.com/office/drawing/2014/main" id="{BC6E5532-4FC6-4D71-9D97-2A21BC849783}"/>
                  </a:ext>
                </a:extLst>
              </p:cNvPr>
              <p:cNvCxnSpPr/>
              <p:nvPr/>
            </p:nvCxnSpPr>
            <p:spPr bwMode="gray">
              <a:xfrm>
                <a:off x="9563228" y="3825751"/>
                <a:ext cx="41474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59" name="Straight Connector 758">
                <a:extLst>
                  <a:ext uri="{FF2B5EF4-FFF2-40B4-BE49-F238E27FC236}">
                    <a16:creationId xmlns:a16="http://schemas.microsoft.com/office/drawing/2014/main" id="{B59C10AC-052F-48FA-A759-293B3A67C828}"/>
                  </a:ext>
                </a:extLst>
              </p:cNvPr>
              <p:cNvCxnSpPr>
                <a:cxnSpLocks/>
              </p:cNvCxnSpPr>
              <p:nvPr/>
            </p:nvCxnSpPr>
            <p:spPr bwMode="gray">
              <a:xfrm flipH="1">
                <a:off x="9563228" y="4071086"/>
                <a:ext cx="41474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cxnSp>
          <p:nvCxnSpPr>
            <p:cNvPr id="745" name="Straight Connector 744">
              <a:extLst>
                <a:ext uri="{FF2B5EF4-FFF2-40B4-BE49-F238E27FC236}">
                  <a16:creationId xmlns:a16="http://schemas.microsoft.com/office/drawing/2014/main" id="{58854B07-4B71-4230-A199-186A11A2A95E}"/>
                </a:ext>
              </a:extLst>
            </p:cNvPr>
            <p:cNvCxnSpPr>
              <a:cxnSpLocks/>
            </p:cNvCxnSpPr>
            <p:nvPr/>
          </p:nvCxnSpPr>
          <p:spPr bwMode="gray">
            <a:xfrm>
              <a:off x="9608763" y="4160818"/>
              <a:ext cx="793331"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763" name="Group 762">
            <a:extLst>
              <a:ext uri="{FF2B5EF4-FFF2-40B4-BE49-F238E27FC236}">
                <a16:creationId xmlns:a16="http://schemas.microsoft.com/office/drawing/2014/main" id="{23C9ECB4-A750-450F-993B-19A9C238D046}"/>
              </a:ext>
            </a:extLst>
          </p:cNvPr>
          <p:cNvGrpSpPr/>
          <p:nvPr/>
        </p:nvGrpSpPr>
        <p:grpSpPr bwMode="gray">
          <a:xfrm>
            <a:off x="468111" y="3944989"/>
            <a:ext cx="334586" cy="303677"/>
            <a:chOff x="10276401" y="2217421"/>
            <a:chExt cx="1069368" cy="970579"/>
          </a:xfrm>
        </p:grpSpPr>
        <p:sp>
          <p:nvSpPr>
            <p:cNvPr id="764" name="Rectangle 763">
              <a:extLst>
                <a:ext uri="{FF2B5EF4-FFF2-40B4-BE49-F238E27FC236}">
                  <a16:creationId xmlns:a16="http://schemas.microsoft.com/office/drawing/2014/main" id="{4243AF54-C6B6-4E03-98B9-E1FD1B58E079}"/>
                </a:ext>
              </a:extLst>
            </p:cNvPr>
            <p:cNvSpPr/>
            <p:nvPr/>
          </p:nvSpPr>
          <p:spPr bwMode="gray">
            <a:xfrm rot="16200000">
              <a:off x="10479673" y="2194789"/>
              <a:ext cx="661802" cy="777718"/>
            </a:xfrm>
            <a:prstGeom prst="rect">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0" tIns="0" rIns="0" bIns="0" rtlCol="0" anchor="ctr"/>
            <a:lstStyle/>
            <a:p>
              <a:pPr algn="ctr">
                <a:spcBef>
                  <a:spcPts val="1100"/>
                </a:spcBef>
                <a:buClr>
                  <a:schemeClr val="tx2"/>
                </a:buClr>
                <a:buSzPct val="70000"/>
                <a:buFont typeface="Wingdings" pitchFamily="2" charset="2"/>
                <a:buNone/>
              </a:pPr>
              <a:endParaRPr lang="en-US">
                <a:solidFill>
                  <a:schemeClr val="bg1"/>
                </a:solidFill>
                <a:latin typeface="Arial" pitchFamily="34" charset="0"/>
                <a:cs typeface="Arial" pitchFamily="34" charset="0"/>
              </a:endParaRPr>
            </a:p>
          </p:txBody>
        </p:sp>
        <p:sp>
          <p:nvSpPr>
            <p:cNvPr id="767" name="Flowchart: Delay 766">
              <a:extLst>
                <a:ext uri="{FF2B5EF4-FFF2-40B4-BE49-F238E27FC236}">
                  <a16:creationId xmlns:a16="http://schemas.microsoft.com/office/drawing/2014/main" id="{5C67360D-B161-4437-AE28-702D2207396C}"/>
                </a:ext>
              </a:extLst>
            </p:cNvPr>
            <p:cNvSpPr/>
            <p:nvPr/>
          </p:nvSpPr>
          <p:spPr bwMode="gray">
            <a:xfrm>
              <a:off x="11199791" y="2252746"/>
              <a:ext cx="145978" cy="661803"/>
            </a:xfrm>
            <a:prstGeom prst="flowChartDelay">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0" tIns="0" rIns="0" bIns="0" rtlCol="0" anchor="ctr"/>
            <a:lstStyle/>
            <a:p>
              <a:pPr algn="ctr">
                <a:spcBef>
                  <a:spcPts val="1100"/>
                </a:spcBef>
                <a:buClr>
                  <a:schemeClr val="tx2"/>
                </a:buClr>
                <a:buSzPct val="70000"/>
                <a:buFont typeface="Wingdings" pitchFamily="2" charset="2"/>
                <a:buNone/>
              </a:pPr>
              <a:endParaRPr lang="en-US">
                <a:solidFill>
                  <a:schemeClr val="bg1"/>
                </a:solidFill>
                <a:latin typeface="Arial" pitchFamily="34" charset="0"/>
                <a:cs typeface="Arial" pitchFamily="34" charset="0"/>
              </a:endParaRPr>
            </a:p>
          </p:txBody>
        </p:sp>
        <p:sp>
          <p:nvSpPr>
            <p:cNvPr id="768" name="Flowchart: Delay 767">
              <a:extLst>
                <a:ext uri="{FF2B5EF4-FFF2-40B4-BE49-F238E27FC236}">
                  <a16:creationId xmlns:a16="http://schemas.microsoft.com/office/drawing/2014/main" id="{24A51327-4BD3-471F-82FD-B9B8A6492C25}"/>
                </a:ext>
              </a:extLst>
            </p:cNvPr>
            <p:cNvSpPr/>
            <p:nvPr/>
          </p:nvSpPr>
          <p:spPr bwMode="gray">
            <a:xfrm flipH="1">
              <a:off x="10276401" y="2252746"/>
              <a:ext cx="145978" cy="661803"/>
            </a:xfrm>
            <a:prstGeom prst="flowChartDelay">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0" tIns="0" rIns="0" bIns="0" rtlCol="0" anchor="ctr"/>
            <a:lstStyle/>
            <a:p>
              <a:pPr algn="ctr">
                <a:spcBef>
                  <a:spcPts val="1100"/>
                </a:spcBef>
                <a:buClr>
                  <a:schemeClr val="tx2"/>
                </a:buClr>
                <a:buSzPct val="70000"/>
                <a:buFont typeface="Wingdings" pitchFamily="2" charset="2"/>
                <a:buNone/>
              </a:pPr>
              <a:endParaRPr lang="en-US">
                <a:solidFill>
                  <a:schemeClr val="bg1"/>
                </a:solidFill>
                <a:latin typeface="Arial" pitchFamily="34" charset="0"/>
                <a:cs typeface="Arial" pitchFamily="34" charset="0"/>
              </a:endParaRPr>
            </a:p>
          </p:txBody>
        </p:sp>
        <p:cxnSp>
          <p:nvCxnSpPr>
            <p:cNvPr id="769" name="Straight Connector 768">
              <a:extLst>
                <a:ext uri="{FF2B5EF4-FFF2-40B4-BE49-F238E27FC236}">
                  <a16:creationId xmlns:a16="http://schemas.microsoft.com/office/drawing/2014/main" id="{14032E4E-1C46-47A2-AC56-B74B9E67DB5E}"/>
                </a:ext>
              </a:extLst>
            </p:cNvPr>
            <p:cNvCxnSpPr>
              <a:cxnSpLocks/>
            </p:cNvCxnSpPr>
            <p:nvPr/>
          </p:nvCxnSpPr>
          <p:spPr bwMode="gray">
            <a:xfrm>
              <a:off x="10421715" y="2217421"/>
              <a:ext cx="0" cy="73245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0" name="Straight Connector 769">
              <a:extLst>
                <a:ext uri="{FF2B5EF4-FFF2-40B4-BE49-F238E27FC236}">
                  <a16:creationId xmlns:a16="http://schemas.microsoft.com/office/drawing/2014/main" id="{FBC8798F-4EB9-4C6F-970D-DFE6FB190372}"/>
                </a:ext>
              </a:extLst>
            </p:cNvPr>
            <p:cNvCxnSpPr>
              <a:cxnSpLocks/>
            </p:cNvCxnSpPr>
            <p:nvPr/>
          </p:nvCxnSpPr>
          <p:spPr bwMode="gray">
            <a:xfrm>
              <a:off x="10680954" y="2217421"/>
              <a:ext cx="0" cy="73245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1" name="Straight Connector 770">
              <a:extLst>
                <a:ext uri="{FF2B5EF4-FFF2-40B4-BE49-F238E27FC236}">
                  <a16:creationId xmlns:a16="http://schemas.microsoft.com/office/drawing/2014/main" id="{DEE9455B-C13D-4EC5-834F-DBEE5F95D5AB}"/>
                </a:ext>
              </a:extLst>
            </p:cNvPr>
            <p:cNvCxnSpPr>
              <a:cxnSpLocks/>
            </p:cNvCxnSpPr>
            <p:nvPr/>
          </p:nvCxnSpPr>
          <p:spPr bwMode="gray">
            <a:xfrm>
              <a:off x="11199433" y="2217421"/>
              <a:ext cx="0" cy="73245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2" name="Straight Connector 771">
              <a:extLst>
                <a:ext uri="{FF2B5EF4-FFF2-40B4-BE49-F238E27FC236}">
                  <a16:creationId xmlns:a16="http://schemas.microsoft.com/office/drawing/2014/main" id="{3C7F939C-F046-45D9-91A1-DC55942FFA25}"/>
                </a:ext>
              </a:extLst>
            </p:cNvPr>
            <p:cNvCxnSpPr>
              <a:cxnSpLocks/>
            </p:cNvCxnSpPr>
            <p:nvPr/>
          </p:nvCxnSpPr>
          <p:spPr bwMode="gray">
            <a:xfrm>
              <a:off x="10940193" y="2217421"/>
              <a:ext cx="0" cy="73245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773" name="Group 772">
              <a:extLst>
                <a:ext uri="{FF2B5EF4-FFF2-40B4-BE49-F238E27FC236}">
                  <a16:creationId xmlns:a16="http://schemas.microsoft.com/office/drawing/2014/main" id="{8D18C91B-9B23-4E9D-9810-1434CF4A3ACA}"/>
                </a:ext>
              </a:extLst>
            </p:cNvPr>
            <p:cNvGrpSpPr/>
            <p:nvPr/>
          </p:nvGrpSpPr>
          <p:grpSpPr bwMode="gray">
            <a:xfrm>
              <a:off x="10421715" y="2916308"/>
              <a:ext cx="777718" cy="271692"/>
              <a:chOff x="10421715" y="2455546"/>
              <a:chExt cx="777718" cy="732454"/>
            </a:xfrm>
          </p:grpSpPr>
          <p:cxnSp>
            <p:nvCxnSpPr>
              <p:cNvPr id="774" name="Straight Connector 773">
                <a:extLst>
                  <a:ext uri="{FF2B5EF4-FFF2-40B4-BE49-F238E27FC236}">
                    <a16:creationId xmlns:a16="http://schemas.microsoft.com/office/drawing/2014/main" id="{39D41525-F8BF-4C7C-83CC-EF084C6D1D93}"/>
                  </a:ext>
                </a:extLst>
              </p:cNvPr>
              <p:cNvCxnSpPr>
                <a:cxnSpLocks/>
              </p:cNvCxnSpPr>
              <p:nvPr/>
            </p:nvCxnSpPr>
            <p:spPr bwMode="gray">
              <a:xfrm>
                <a:off x="10421715" y="2455546"/>
                <a:ext cx="0" cy="73245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5" name="Straight Connector 774">
                <a:extLst>
                  <a:ext uri="{FF2B5EF4-FFF2-40B4-BE49-F238E27FC236}">
                    <a16:creationId xmlns:a16="http://schemas.microsoft.com/office/drawing/2014/main" id="{BEA9889C-360D-436F-8A33-436115E05638}"/>
                  </a:ext>
                </a:extLst>
              </p:cNvPr>
              <p:cNvCxnSpPr>
                <a:cxnSpLocks/>
              </p:cNvCxnSpPr>
              <p:nvPr/>
            </p:nvCxnSpPr>
            <p:spPr bwMode="gray">
              <a:xfrm>
                <a:off x="11199433" y="2455546"/>
                <a:ext cx="0" cy="732454"/>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grpSp>
        <p:nvGrpSpPr>
          <p:cNvPr id="776" name="Group 775">
            <a:extLst>
              <a:ext uri="{FF2B5EF4-FFF2-40B4-BE49-F238E27FC236}">
                <a16:creationId xmlns:a16="http://schemas.microsoft.com/office/drawing/2014/main" id="{61E467A5-4A5B-449C-A8AC-E8B2E78D0817}"/>
              </a:ext>
            </a:extLst>
          </p:cNvPr>
          <p:cNvGrpSpPr/>
          <p:nvPr/>
        </p:nvGrpSpPr>
        <p:grpSpPr bwMode="gray">
          <a:xfrm>
            <a:off x="2898098" y="1912033"/>
            <a:ext cx="423135" cy="316035"/>
            <a:chOff x="11062364" y="4858591"/>
            <a:chExt cx="1088518" cy="698534"/>
          </a:xfrm>
        </p:grpSpPr>
        <p:grpSp>
          <p:nvGrpSpPr>
            <p:cNvPr id="777" name="Group 776">
              <a:extLst>
                <a:ext uri="{FF2B5EF4-FFF2-40B4-BE49-F238E27FC236}">
                  <a16:creationId xmlns:a16="http://schemas.microsoft.com/office/drawing/2014/main" id="{34039BD8-A382-4458-A04F-D1222B8160C3}"/>
                </a:ext>
              </a:extLst>
            </p:cNvPr>
            <p:cNvGrpSpPr/>
            <p:nvPr/>
          </p:nvGrpSpPr>
          <p:grpSpPr bwMode="gray">
            <a:xfrm>
              <a:off x="11062364" y="4858591"/>
              <a:ext cx="247650" cy="698534"/>
              <a:chOff x="11050905" y="4858591"/>
              <a:chExt cx="247650" cy="698534"/>
            </a:xfrm>
          </p:grpSpPr>
          <p:sp>
            <p:nvSpPr>
              <p:cNvPr id="792" name="Rectangle: Rounded Corners 1043">
                <a:extLst>
                  <a:ext uri="{FF2B5EF4-FFF2-40B4-BE49-F238E27FC236}">
                    <a16:creationId xmlns:a16="http://schemas.microsoft.com/office/drawing/2014/main" id="{94BE1747-B001-47D5-B9CB-C44AD4C51A22}"/>
                  </a:ext>
                </a:extLst>
              </p:cNvPr>
              <p:cNvSpPr/>
              <p:nvPr/>
            </p:nvSpPr>
            <p:spPr bwMode="gray">
              <a:xfrm>
                <a:off x="11072536" y="4858591"/>
                <a:ext cx="204388" cy="652815"/>
              </a:xfrm>
              <a:custGeom>
                <a:avLst/>
                <a:gdLst>
                  <a:gd name="connsiteX0" fmla="*/ 0 w 204388"/>
                  <a:gd name="connsiteY0" fmla="*/ 31525 h 698535"/>
                  <a:gd name="connsiteX1" fmla="*/ 31525 w 204388"/>
                  <a:gd name="connsiteY1" fmla="*/ 0 h 698535"/>
                  <a:gd name="connsiteX2" fmla="*/ 172863 w 204388"/>
                  <a:gd name="connsiteY2" fmla="*/ 0 h 698535"/>
                  <a:gd name="connsiteX3" fmla="*/ 204388 w 204388"/>
                  <a:gd name="connsiteY3" fmla="*/ 31525 h 698535"/>
                  <a:gd name="connsiteX4" fmla="*/ 204388 w 204388"/>
                  <a:gd name="connsiteY4" fmla="*/ 667010 h 698535"/>
                  <a:gd name="connsiteX5" fmla="*/ 172863 w 204388"/>
                  <a:gd name="connsiteY5" fmla="*/ 698535 h 698535"/>
                  <a:gd name="connsiteX6" fmla="*/ 31525 w 204388"/>
                  <a:gd name="connsiteY6" fmla="*/ 698535 h 698535"/>
                  <a:gd name="connsiteX7" fmla="*/ 0 w 204388"/>
                  <a:gd name="connsiteY7" fmla="*/ 667010 h 698535"/>
                  <a:gd name="connsiteX8" fmla="*/ 0 w 204388"/>
                  <a:gd name="connsiteY8" fmla="*/ 31525 h 698535"/>
                  <a:gd name="connsiteX0" fmla="*/ 0 w 204388"/>
                  <a:gd name="connsiteY0" fmla="*/ 31525 h 726160"/>
                  <a:gd name="connsiteX1" fmla="*/ 31525 w 204388"/>
                  <a:gd name="connsiteY1" fmla="*/ 0 h 726160"/>
                  <a:gd name="connsiteX2" fmla="*/ 172863 w 204388"/>
                  <a:gd name="connsiteY2" fmla="*/ 0 h 726160"/>
                  <a:gd name="connsiteX3" fmla="*/ 204388 w 204388"/>
                  <a:gd name="connsiteY3" fmla="*/ 31525 h 726160"/>
                  <a:gd name="connsiteX4" fmla="*/ 204388 w 204388"/>
                  <a:gd name="connsiteY4" fmla="*/ 667010 h 726160"/>
                  <a:gd name="connsiteX5" fmla="*/ 31525 w 204388"/>
                  <a:gd name="connsiteY5" fmla="*/ 698535 h 726160"/>
                  <a:gd name="connsiteX6" fmla="*/ 0 w 204388"/>
                  <a:gd name="connsiteY6" fmla="*/ 667010 h 726160"/>
                  <a:gd name="connsiteX7" fmla="*/ 0 w 204388"/>
                  <a:gd name="connsiteY7" fmla="*/ 31525 h 726160"/>
                  <a:gd name="connsiteX0" fmla="*/ 0 w 204388"/>
                  <a:gd name="connsiteY0" fmla="*/ 31525 h 746445"/>
                  <a:gd name="connsiteX1" fmla="*/ 31525 w 204388"/>
                  <a:gd name="connsiteY1" fmla="*/ 0 h 746445"/>
                  <a:gd name="connsiteX2" fmla="*/ 172863 w 204388"/>
                  <a:gd name="connsiteY2" fmla="*/ 0 h 746445"/>
                  <a:gd name="connsiteX3" fmla="*/ 204388 w 204388"/>
                  <a:gd name="connsiteY3" fmla="*/ 31525 h 746445"/>
                  <a:gd name="connsiteX4" fmla="*/ 204388 w 204388"/>
                  <a:gd name="connsiteY4" fmla="*/ 667010 h 746445"/>
                  <a:gd name="connsiteX5" fmla="*/ 0 w 204388"/>
                  <a:gd name="connsiteY5" fmla="*/ 667010 h 746445"/>
                  <a:gd name="connsiteX6" fmla="*/ 0 w 204388"/>
                  <a:gd name="connsiteY6" fmla="*/ 31525 h 746445"/>
                  <a:gd name="connsiteX0" fmla="*/ 0 w 204388"/>
                  <a:gd name="connsiteY0" fmla="*/ 31525 h 714082"/>
                  <a:gd name="connsiteX1" fmla="*/ 31525 w 204388"/>
                  <a:gd name="connsiteY1" fmla="*/ 0 h 714082"/>
                  <a:gd name="connsiteX2" fmla="*/ 172863 w 204388"/>
                  <a:gd name="connsiteY2" fmla="*/ 0 h 714082"/>
                  <a:gd name="connsiteX3" fmla="*/ 204388 w 204388"/>
                  <a:gd name="connsiteY3" fmla="*/ 31525 h 714082"/>
                  <a:gd name="connsiteX4" fmla="*/ 204388 w 204388"/>
                  <a:gd name="connsiteY4" fmla="*/ 667010 h 714082"/>
                  <a:gd name="connsiteX5" fmla="*/ 0 w 204388"/>
                  <a:gd name="connsiteY5" fmla="*/ 667010 h 714082"/>
                  <a:gd name="connsiteX6" fmla="*/ 0 w 204388"/>
                  <a:gd name="connsiteY6" fmla="*/ 31525 h 714082"/>
                  <a:gd name="connsiteX0" fmla="*/ 0 w 204388"/>
                  <a:gd name="connsiteY0" fmla="*/ 31525 h 667010"/>
                  <a:gd name="connsiteX1" fmla="*/ 31525 w 204388"/>
                  <a:gd name="connsiteY1" fmla="*/ 0 h 667010"/>
                  <a:gd name="connsiteX2" fmla="*/ 172863 w 204388"/>
                  <a:gd name="connsiteY2" fmla="*/ 0 h 667010"/>
                  <a:gd name="connsiteX3" fmla="*/ 204388 w 204388"/>
                  <a:gd name="connsiteY3" fmla="*/ 31525 h 667010"/>
                  <a:gd name="connsiteX4" fmla="*/ 204388 w 204388"/>
                  <a:gd name="connsiteY4" fmla="*/ 667010 h 667010"/>
                  <a:gd name="connsiteX5" fmla="*/ 0 w 204388"/>
                  <a:gd name="connsiteY5" fmla="*/ 667010 h 667010"/>
                  <a:gd name="connsiteX6" fmla="*/ 0 w 204388"/>
                  <a:gd name="connsiteY6" fmla="*/ 31525 h 66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388" h="667010">
                    <a:moveTo>
                      <a:pt x="0" y="31525"/>
                    </a:moveTo>
                    <a:cubicBezTo>
                      <a:pt x="0" y="14114"/>
                      <a:pt x="14114" y="0"/>
                      <a:pt x="31525" y="0"/>
                    </a:cubicBezTo>
                    <a:lnTo>
                      <a:pt x="172863" y="0"/>
                    </a:lnTo>
                    <a:cubicBezTo>
                      <a:pt x="190274" y="0"/>
                      <a:pt x="204388" y="14114"/>
                      <a:pt x="204388" y="31525"/>
                    </a:cubicBezTo>
                    <a:lnTo>
                      <a:pt x="204388" y="667010"/>
                    </a:lnTo>
                    <a:lnTo>
                      <a:pt x="0" y="667010"/>
                    </a:lnTo>
                    <a:lnTo>
                      <a:pt x="0" y="31525"/>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793" name="Straight Connector 792">
                <a:extLst>
                  <a:ext uri="{FF2B5EF4-FFF2-40B4-BE49-F238E27FC236}">
                    <a16:creationId xmlns:a16="http://schemas.microsoft.com/office/drawing/2014/main" id="{70155DE1-34BA-400A-BE79-58C2329E7919}"/>
                  </a:ext>
                </a:extLst>
              </p:cNvPr>
              <p:cNvCxnSpPr>
                <a:cxnSpLocks/>
              </p:cNvCxnSpPr>
              <p:nvPr/>
            </p:nvCxnSpPr>
            <p:spPr bwMode="gray">
              <a:xfrm>
                <a:off x="11072536" y="4893951"/>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794" name="Straight Connector 793">
                <a:extLst>
                  <a:ext uri="{FF2B5EF4-FFF2-40B4-BE49-F238E27FC236}">
                    <a16:creationId xmlns:a16="http://schemas.microsoft.com/office/drawing/2014/main" id="{A23254D3-5C72-4FCB-B78D-823567986EF1}"/>
                  </a:ext>
                </a:extLst>
              </p:cNvPr>
              <p:cNvCxnSpPr>
                <a:cxnSpLocks/>
              </p:cNvCxnSpPr>
              <p:nvPr/>
            </p:nvCxnSpPr>
            <p:spPr bwMode="gray">
              <a:xfrm>
                <a:off x="11072536" y="5003171"/>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795" name="Straight Connector 794">
                <a:extLst>
                  <a:ext uri="{FF2B5EF4-FFF2-40B4-BE49-F238E27FC236}">
                    <a16:creationId xmlns:a16="http://schemas.microsoft.com/office/drawing/2014/main" id="{7806F0A2-5365-4937-A8AB-5C71AD5C8E34}"/>
                  </a:ext>
                </a:extLst>
              </p:cNvPr>
              <p:cNvCxnSpPr>
                <a:cxnSpLocks/>
              </p:cNvCxnSpPr>
              <p:nvPr/>
            </p:nvCxnSpPr>
            <p:spPr bwMode="gray">
              <a:xfrm>
                <a:off x="11072536" y="5130230"/>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796" name="Straight Connector 795">
                <a:extLst>
                  <a:ext uri="{FF2B5EF4-FFF2-40B4-BE49-F238E27FC236}">
                    <a16:creationId xmlns:a16="http://schemas.microsoft.com/office/drawing/2014/main" id="{25FC0369-5D5E-4B80-98A5-A85C87D068A6}"/>
                  </a:ext>
                </a:extLst>
              </p:cNvPr>
              <p:cNvCxnSpPr>
                <a:cxnSpLocks/>
              </p:cNvCxnSpPr>
              <p:nvPr/>
            </p:nvCxnSpPr>
            <p:spPr bwMode="gray">
              <a:xfrm>
                <a:off x="11072536" y="5257289"/>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797" name="Straight Connector 796">
                <a:extLst>
                  <a:ext uri="{FF2B5EF4-FFF2-40B4-BE49-F238E27FC236}">
                    <a16:creationId xmlns:a16="http://schemas.microsoft.com/office/drawing/2014/main" id="{560535DC-CB98-42AF-8561-026368A00693}"/>
                  </a:ext>
                </a:extLst>
              </p:cNvPr>
              <p:cNvCxnSpPr>
                <a:cxnSpLocks/>
              </p:cNvCxnSpPr>
              <p:nvPr/>
            </p:nvCxnSpPr>
            <p:spPr bwMode="gray">
              <a:xfrm>
                <a:off x="11072536" y="5384348"/>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798" name="Rectangle 797">
                <a:extLst>
                  <a:ext uri="{FF2B5EF4-FFF2-40B4-BE49-F238E27FC236}">
                    <a16:creationId xmlns:a16="http://schemas.microsoft.com/office/drawing/2014/main" id="{538AF265-FDF5-4918-8B9E-F952380A137D}"/>
                  </a:ext>
                </a:extLst>
              </p:cNvPr>
              <p:cNvSpPr/>
              <p:nvPr/>
            </p:nvSpPr>
            <p:spPr bwMode="gray">
              <a:xfrm>
                <a:off x="11050905" y="5511406"/>
                <a:ext cx="247650" cy="45719"/>
              </a:xfrm>
              <a:prstGeom prst="rect">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778" name="Group 777">
              <a:extLst>
                <a:ext uri="{FF2B5EF4-FFF2-40B4-BE49-F238E27FC236}">
                  <a16:creationId xmlns:a16="http://schemas.microsoft.com/office/drawing/2014/main" id="{0F7C807A-1348-4359-AEEC-4C25DCE5A2E9}"/>
                </a:ext>
              </a:extLst>
            </p:cNvPr>
            <p:cNvGrpSpPr/>
            <p:nvPr/>
          </p:nvGrpSpPr>
          <p:grpSpPr bwMode="gray">
            <a:xfrm>
              <a:off x="11342110" y="5224577"/>
              <a:ext cx="247650" cy="332548"/>
              <a:chOff x="11336655" y="5224577"/>
              <a:chExt cx="247650" cy="332548"/>
            </a:xfrm>
          </p:grpSpPr>
          <p:sp>
            <p:nvSpPr>
              <p:cNvPr id="787" name="Freeform: Shape 786">
                <a:extLst>
                  <a:ext uri="{FF2B5EF4-FFF2-40B4-BE49-F238E27FC236}">
                    <a16:creationId xmlns:a16="http://schemas.microsoft.com/office/drawing/2014/main" id="{8DA13463-2C99-4528-AC3F-BDC022403D1B}"/>
                  </a:ext>
                </a:extLst>
              </p:cNvPr>
              <p:cNvSpPr/>
              <p:nvPr/>
            </p:nvSpPr>
            <p:spPr bwMode="gray">
              <a:xfrm>
                <a:off x="11358286" y="5224577"/>
                <a:ext cx="204388" cy="332548"/>
              </a:xfrm>
              <a:custGeom>
                <a:avLst/>
                <a:gdLst>
                  <a:gd name="connsiteX0" fmla="*/ 31525 w 204388"/>
                  <a:gd name="connsiteY0" fmla="*/ 0 h 332548"/>
                  <a:gd name="connsiteX1" fmla="*/ 172863 w 204388"/>
                  <a:gd name="connsiteY1" fmla="*/ 0 h 332548"/>
                  <a:gd name="connsiteX2" fmla="*/ 204388 w 204388"/>
                  <a:gd name="connsiteY2" fmla="*/ 30854 h 332548"/>
                  <a:gd name="connsiteX3" fmla="*/ 204388 w 204388"/>
                  <a:gd name="connsiteY3" fmla="*/ 332548 h 332548"/>
                  <a:gd name="connsiteX4" fmla="*/ 0 w 204388"/>
                  <a:gd name="connsiteY4" fmla="*/ 332548 h 332548"/>
                  <a:gd name="connsiteX5" fmla="*/ 0 w 204388"/>
                  <a:gd name="connsiteY5" fmla="*/ 30854 h 332548"/>
                  <a:gd name="connsiteX6" fmla="*/ 31525 w 204388"/>
                  <a:gd name="connsiteY6" fmla="*/ 0 h 332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4388" h="332548">
                    <a:moveTo>
                      <a:pt x="31525" y="0"/>
                    </a:moveTo>
                    <a:lnTo>
                      <a:pt x="172863" y="0"/>
                    </a:lnTo>
                    <a:cubicBezTo>
                      <a:pt x="190274" y="0"/>
                      <a:pt x="204388" y="13814"/>
                      <a:pt x="204388" y="30854"/>
                    </a:cubicBezTo>
                    <a:lnTo>
                      <a:pt x="204388" y="332548"/>
                    </a:lnTo>
                    <a:lnTo>
                      <a:pt x="0" y="332548"/>
                    </a:lnTo>
                    <a:lnTo>
                      <a:pt x="0" y="30854"/>
                    </a:lnTo>
                    <a:cubicBezTo>
                      <a:pt x="0" y="13814"/>
                      <a:pt x="14114" y="0"/>
                      <a:pt x="31525" y="0"/>
                    </a:cubicBez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cxnSp>
            <p:nvCxnSpPr>
              <p:cNvPr id="788" name="Straight Connector 787">
                <a:extLst>
                  <a:ext uri="{FF2B5EF4-FFF2-40B4-BE49-F238E27FC236}">
                    <a16:creationId xmlns:a16="http://schemas.microsoft.com/office/drawing/2014/main" id="{D74EB40D-4628-4413-A5F6-37E5130F8994}"/>
                  </a:ext>
                </a:extLst>
              </p:cNvPr>
              <p:cNvCxnSpPr>
                <a:cxnSpLocks/>
              </p:cNvCxnSpPr>
              <p:nvPr/>
            </p:nvCxnSpPr>
            <p:spPr bwMode="gray">
              <a:xfrm>
                <a:off x="11358286" y="5259937"/>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789" name="Straight Connector 788">
                <a:extLst>
                  <a:ext uri="{FF2B5EF4-FFF2-40B4-BE49-F238E27FC236}">
                    <a16:creationId xmlns:a16="http://schemas.microsoft.com/office/drawing/2014/main" id="{0B73245B-666A-403A-A17F-A673C7D13FBF}"/>
                  </a:ext>
                </a:extLst>
              </p:cNvPr>
              <p:cNvCxnSpPr>
                <a:cxnSpLocks/>
              </p:cNvCxnSpPr>
              <p:nvPr/>
            </p:nvCxnSpPr>
            <p:spPr bwMode="gray">
              <a:xfrm>
                <a:off x="11358286" y="5359000"/>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790" name="Straight Connector 789">
                <a:extLst>
                  <a:ext uri="{FF2B5EF4-FFF2-40B4-BE49-F238E27FC236}">
                    <a16:creationId xmlns:a16="http://schemas.microsoft.com/office/drawing/2014/main" id="{055B01F8-3029-4926-B958-FB808AEB3C54}"/>
                  </a:ext>
                </a:extLst>
              </p:cNvPr>
              <p:cNvCxnSpPr>
                <a:cxnSpLocks/>
              </p:cNvCxnSpPr>
              <p:nvPr/>
            </p:nvCxnSpPr>
            <p:spPr bwMode="gray">
              <a:xfrm>
                <a:off x="11358286" y="5458063"/>
                <a:ext cx="204388"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791" name="Straight Connector 790">
                <a:extLst>
                  <a:ext uri="{FF2B5EF4-FFF2-40B4-BE49-F238E27FC236}">
                    <a16:creationId xmlns:a16="http://schemas.microsoft.com/office/drawing/2014/main" id="{CF6A03CB-EB04-49E6-9EFC-9DD4DE84A3AC}"/>
                  </a:ext>
                </a:extLst>
              </p:cNvPr>
              <p:cNvCxnSpPr/>
              <p:nvPr/>
            </p:nvCxnSpPr>
            <p:spPr bwMode="gray">
              <a:xfrm>
                <a:off x="11336655" y="5557125"/>
                <a:ext cx="247650"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sp>
          <p:nvSpPr>
            <p:cNvPr id="779" name="Freeform: Shape 778">
              <a:extLst>
                <a:ext uri="{FF2B5EF4-FFF2-40B4-BE49-F238E27FC236}">
                  <a16:creationId xmlns:a16="http://schemas.microsoft.com/office/drawing/2014/main" id="{4A2F4E73-578D-4F59-A131-6160F5762936}"/>
                </a:ext>
              </a:extLst>
            </p:cNvPr>
            <p:cNvSpPr/>
            <p:nvPr/>
          </p:nvSpPr>
          <p:spPr bwMode="gray">
            <a:xfrm>
              <a:off x="11627816" y="5387340"/>
              <a:ext cx="490185" cy="140002"/>
            </a:xfrm>
            <a:custGeom>
              <a:avLst/>
              <a:gdLst>
                <a:gd name="connsiteX0" fmla="*/ 35538 w 490185"/>
                <a:gd name="connsiteY0" fmla="*/ 0 h 140002"/>
                <a:gd name="connsiteX1" fmla="*/ 454647 w 490185"/>
                <a:gd name="connsiteY1" fmla="*/ 0 h 140002"/>
                <a:gd name="connsiteX2" fmla="*/ 490185 w 490185"/>
                <a:gd name="connsiteY2" fmla="*/ 35538 h 140002"/>
                <a:gd name="connsiteX3" fmla="*/ 490185 w 490185"/>
                <a:gd name="connsiteY3" fmla="*/ 104464 h 140002"/>
                <a:gd name="connsiteX4" fmla="*/ 454647 w 490185"/>
                <a:gd name="connsiteY4" fmla="*/ 140002 h 140002"/>
                <a:gd name="connsiteX5" fmla="*/ 454642 w 490185"/>
                <a:gd name="connsiteY5" fmla="*/ 140002 h 140002"/>
                <a:gd name="connsiteX6" fmla="*/ 454642 w 490185"/>
                <a:gd name="connsiteY6" fmla="*/ 124066 h 140002"/>
                <a:gd name="connsiteX7" fmla="*/ 408923 w 490185"/>
                <a:gd name="connsiteY7" fmla="*/ 124066 h 140002"/>
                <a:gd name="connsiteX8" fmla="*/ 408923 w 490185"/>
                <a:gd name="connsiteY8" fmla="*/ 140002 h 140002"/>
                <a:gd name="connsiteX9" fmla="*/ 81262 w 490185"/>
                <a:gd name="connsiteY9" fmla="*/ 140002 h 140002"/>
                <a:gd name="connsiteX10" fmla="*/ 81262 w 490185"/>
                <a:gd name="connsiteY10" fmla="*/ 124066 h 140002"/>
                <a:gd name="connsiteX11" fmla="*/ 35543 w 490185"/>
                <a:gd name="connsiteY11" fmla="*/ 124066 h 140002"/>
                <a:gd name="connsiteX12" fmla="*/ 35543 w 490185"/>
                <a:gd name="connsiteY12" fmla="*/ 140002 h 140002"/>
                <a:gd name="connsiteX13" fmla="*/ 35538 w 490185"/>
                <a:gd name="connsiteY13" fmla="*/ 140002 h 140002"/>
                <a:gd name="connsiteX14" fmla="*/ 0 w 490185"/>
                <a:gd name="connsiteY14" fmla="*/ 104464 h 140002"/>
                <a:gd name="connsiteX15" fmla="*/ 0 w 490185"/>
                <a:gd name="connsiteY15" fmla="*/ 35538 h 140002"/>
                <a:gd name="connsiteX16" fmla="*/ 35538 w 490185"/>
                <a:gd name="connsiteY16" fmla="*/ 0 h 140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0185" h="140002">
                  <a:moveTo>
                    <a:pt x="35538" y="0"/>
                  </a:moveTo>
                  <a:lnTo>
                    <a:pt x="454647" y="0"/>
                  </a:lnTo>
                  <a:cubicBezTo>
                    <a:pt x="474274" y="0"/>
                    <a:pt x="490185" y="15911"/>
                    <a:pt x="490185" y="35538"/>
                  </a:cubicBezTo>
                  <a:lnTo>
                    <a:pt x="490185" y="104464"/>
                  </a:lnTo>
                  <a:cubicBezTo>
                    <a:pt x="490185" y="124091"/>
                    <a:pt x="474274" y="140002"/>
                    <a:pt x="454647" y="140002"/>
                  </a:cubicBezTo>
                  <a:lnTo>
                    <a:pt x="454642" y="140002"/>
                  </a:lnTo>
                  <a:lnTo>
                    <a:pt x="454642" y="124066"/>
                  </a:lnTo>
                  <a:lnTo>
                    <a:pt x="408923" y="124066"/>
                  </a:lnTo>
                  <a:lnTo>
                    <a:pt x="408923" y="140002"/>
                  </a:lnTo>
                  <a:lnTo>
                    <a:pt x="81262" y="140002"/>
                  </a:lnTo>
                  <a:lnTo>
                    <a:pt x="81262" y="124066"/>
                  </a:lnTo>
                  <a:lnTo>
                    <a:pt x="35543" y="124066"/>
                  </a:lnTo>
                  <a:lnTo>
                    <a:pt x="35543" y="140002"/>
                  </a:lnTo>
                  <a:lnTo>
                    <a:pt x="35538" y="140002"/>
                  </a:lnTo>
                  <a:cubicBezTo>
                    <a:pt x="15911" y="140002"/>
                    <a:pt x="0" y="124091"/>
                    <a:pt x="0" y="104464"/>
                  </a:cubicBezTo>
                  <a:lnTo>
                    <a:pt x="0" y="35538"/>
                  </a:lnTo>
                  <a:cubicBezTo>
                    <a:pt x="0" y="15911"/>
                    <a:pt x="15911" y="0"/>
                    <a:pt x="35538" y="0"/>
                  </a:cubicBez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780" name="Freeform: Shape 779">
              <a:extLst>
                <a:ext uri="{FF2B5EF4-FFF2-40B4-BE49-F238E27FC236}">
                  <a16:creationId xmlns:a16="http://schemas.microsoft.com/office/drawing/2014/main" id="{C0AC5BB9-7C5A-405E-BB93-3AF8995B366A}"/>
                </a:ext>
              </a:extLst>
            </p:cNvPr>
            <p:cNvSpPr/>
            <p:nvPr/>
          </p:nvSpPr>
          <p:spPr bwMode="gray">
            <a:xfrm>
              <a:off x="12118001" y="5430565"/>
              <a:ext cx="32881" cy="53552"/>
            </a:xfrm>
            <a:custGeom>
              <a:avLst/>
              <a:gdLst>
                <a:gd name="connsiteX0" fmla="*/ 0 w 32881"/>
                <a:gd name="connsiteY0" fmla="*/ 0 h 75232"/>
                <a:gd name="connsiteX1" fmla="*/ 16220 w 32881"/>
                <a:gd name="connsiteY1" fmla="*/ 0 h 75232"/>
                <a:gd name="connsiteX2" fmla="*/ 32881 w 32881"/>
                <a:gd name="connsiteY2" fmla="*/ 16661 h 75232"/>
                <a:gd name="connsiteX3" fmla="*/ 32881 w 32881"/>
                <a:gd name="connsiteY3" fmla="*/ 58571 h 75232"/>
                <a:gd name="connsiteX4" fmla="*/ 16220 w 32881"/>
                <a:gd name="connsiteY4" fmla="*/ 75232 h 75232"/>
                <a:gd name="connsiteX5" fmla="*/ 0 w 32881"/>
                <a:gd name="connsiteY5" fmla="*/ 75232 h 75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81" h="75232">
                  <a:moveTo>
                    <a:pt x="0" y="0"/>
                  </a:moveTo>
                  <a:lnTo>
                    <a:pt x="16220" y="0"/>
                  </a:lnTo>
                  <a:cubicBezTo>
                    <a:pt x="25422" y="0"/>
                    <a:pt x="32881" y="7459"/>
                    <a:pt x="32881" y="16661"/>
                  </a:cubicBezTo>
                  <a:lnTo>
                    <a:pt x="32881" y="58571"/>
                  </a:lnTo>
                  <a:cubicBezTo>
                    <a:pt x="32881" y="67773"/>
                    <a:pt x="25422" y="75232"/>
                    <a:pt x="16220" y="75232"/>
                  </a:cubicBezTo>
                  <a:lnTo>
                    <a:pt x="0" y="75232"/>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781" name="Arc 780">
              <a:extLst>
                <a:ext uri="{FF2B5EF4-FFF2-40B4-BE49-F238E27FC236}">
                  <a16:creationId xmlns:a16="http://schemas.microsoft.com/office/drawing/2014/main" id="{E94FE8CB-C334-476B-BA7C-F467BF992D98}"/>
                </a:ext>
              </a:extLst>
            </p:cNvPr>
            <p:cNvSpPr/>
            <p:nvPr/>
          </p:nvSpPr>
          <p:spPr bwMode="gray">
            <a:xfrm flipH="1">
              <a:off x="11678526" y="5305312"/>
              <a:ext cx="28935" cy="28934"/>
            </a:xfrm>
            <a:prstGeom prst="arc">
              <a:avLst>
                <a:gd name="adj1" fmla="val 11037066"/>
                <a:gd name="adj2" fmla="val 16279283"/>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a:p>
          </p:txBody>
        </p:sp>
        <p:cxnSp>
          <p:nvCxnSpPr>
            <p:cNvPr id="782" name="Straight Connector 781">
              <a:extLst>
                <a:ext uri="{FF2B5EF4-FFF2-40B4-BE49-F238E27FC236}">
                  <a16:creationId xmlns:a16="http://schemas.microsoft.com/office/drawing/2014/main" id="{5631137C-99AC-4526-8F1A-0E1522358A28}"/>
                </a:ext>
              </a:extLst>
            </p:cNvPr>
            <p:cNvCxnSpPr>
              <a:cxnSpLocks/>
            </p:cNvCxnSpPr>
            <p:nvPr/>
          </p:nvCxnSpPr>
          <p:spPr bwMode="gray">
            <a:xfrm>
              <a:off x="11707470" y="5318668"/>
              <a:ext cx="0" cy="6568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83" name="Straight Connector 782">
              <a:extLst>
                <a:ext uri="{FF2B5EF4-FFF2-40B4-BE49-F238E27FC236}">
                  <a16:creationId xmlns:a16="http://schemas.microsoft.com/office/drawing/2014/main" id="{7653C2DC-1311-4B5F-8EA7-C1DDB3B91261}"/>
                </a:ext>
              </a:extLst>
            </p:cNvPr>
            <p:cNvCxnSpPr>
              <a:cxnSpLocks/>
            </p:cNvCxnSpPr>
            <p:nvPr/>
          </p:nvCxnSpPr>
          <p:spPr bwMode="gray">
            <a:xfrm flipH="1">
              <a:off x="11569788" y="5305312"/>
              <a:ext cx="12337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784" name="Group 783">
              <a:extLst>
                <a:ext uri="{FF2B5EF4-FFF2-40B4-BE49-F238E27FC236}">
                  <a16:creationId xmlns:a16="http://schemas.microsoft.com/office/drawing/2014/main" id="{7850B9EA-FC0F-4D9B-B18A-4074CDF7FA80}"/>
                </a:ext>
              </a:extLst>
            </p:cNvPr>
            <p:cNvGrpSpPr/>
            <p:nvPr/>
          </p:nvGrpSpPr>
          <p:grpSpPr bwMode="gray">
            <a:xfrm>
              <a:off x="11663359" y="5511406"/>
              <a:ext cx="419099" cy="45719"/>
              <a:chOff x="11675709" y="5511406"/>
              <a:chExt cx="419099" cy="45719"/>
            </a:xfrm>
          </p:grpSpPr>
          <p:sp>
            <p:nvSpPr>
              <p:cNvPr id="785" name="Rectangle 784">
                <a:extLst>
                  <a:ext uri="{FF2B5EF4-FFF2-40B4-BE49-F238E27FC236}">
                    <a16:creationId xmlns:a16="http://schemas.microsoft.com/office/drawing/2014/main" id="{BC8C1972-4BE8-4269-B6EC-BAB884A8B915}"/>
                  </a:ext>
                </a:extLst>
              </p:cNvPr>
              <p:cNvSpPr/>
              <p:nvPr/>
            </p:nvSpPr>
            <p:spPr bwMode="gray">
              <a:xfrm>
                <a:off x="11675709" y="5511406"/>
                <a:ext cx="45719" cy="45719"/>
              </a:xfrm>
              <a:prstGeom prst="rect">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6" name="Rectangle 785">
                <a:extLst>
                  <a:ext uri="{FF2B5EF4-FFF2-40B4-BE49-F238E27FC236}">
                    <a16:creationId xmlns:a16="http://schemas.microsoft.com/office/drawing/2014/main" id="{5E4F627B-4492-4808-B58F-7EBC4B1DAEFE}"/>
                  </a:ext>
                </a:extLst>
              </p:cNvPr>
              <p:cNvSpPr/>
              <p:nvPr/>
            </p:nvSpPr>
            <p:spPr bwMode="gray">
              <a:xfrm>
                <a:off x="12049089" y="5511406"/>
                <a:ext cx="45719" cy="45719"/>
              </a:xfrm>
              <a:prstGeom prst="rect">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799" name="Group 798">
            <a:extLst>
              <a:ext uri="{FF2B5EF4-FFF2-40B4-BE49-F238E27FC236}">
                <a16:creationId xmlns:a16="http://schemas.microsoft.com/office/drawing/2014/main" id="{CDB097FE-ABE4-428B-85BE-8F9C7351969E}"/>
              </a:ext>
            </a:extLst>
          </p:cNvPr>
          <p:cNvGrpSpPr/>
          <p:nvPr/>
        </p:nvGrpSpPr>
        <p:grpSpPr bwMode="gray">
          <a:xfrm>
            <a:off x="1476836" y="3259840"/>
            <a:ext cx="320666" cy="371297"/>
            <a:chOff x="5589588" y="4000500"/>
            <a:chExt cx="361950" cy="419100"/>
          </a:xfrm>
        </p:grpSpPr>
        <p:sp>
          <p:nvSpPr>
            <p:cNvPr id="800" name="Line 422">
              <a:extLst>
                <a:ext uri="{FF2B5EF4-FFF2-40B4-BE49-F238E27FC236}">
                  <a16:creationId xmlns:a16="http://schemas.microsoft.com/office/drawing/2014/main" id="{373B8CE5-330B-40F5-8737-148D2814ABEF}"/>
                </a:ext>
              </a:extLst>
            </p:cNvPr>
            <p:cNvSpPr>
              <a:spLocks noChangeShapeType="1"/>
            </p:cNvSpPr>
            <p:nvPr/>
          </p:nvSpPr>
          <p:spPr bwMode="gray">
            <a:xfrm>
              <a:off x="5770563" y="4000500"/>
              <a:ext cx="0" cy="41910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01" name="Line 423">
              <a:extLst>
                <a:ext uri="{FF2B5EF4-FFF2-40B4-BE49-F238E27FC236}">
                  <a16:creationId xmlns:a16="http://schemas.microsoft.com/office/drawing/2014/main" id="{D8DFEB49-CDF1-41BE-8380-76B4F8A86518}"/>
                </a:ext>
              </a:extLst>
            </p:cNvPr>
            <p:cNvSpPr>
              <a:spLocks noChangeShapeType="1"/>
            </p:cNvSpPr>
            <p:nvPr/>
          </p:nvSpPr>
          <p:spPr bwMode="gray">
            <a:xfrm>
              <a:off x="5589588" y="4105275"/>
              <a:ext cx="361950" cy="2095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02" name="Line 424">
              <a:extLst>
                <a:ext uri="{FF2B5EF4-FFF2-40B4-BE49-F238E27FC236}">
                  <a16:creationId xmlns:a16="http://schemas.microsoft.com/office/drawing/2014/main" id="{3CAEB158-B78D-47C9-BABD-704C617251C3}"/>
                </a:ext>
              </a:extLst>
            </p:cNvPr>
            <p:cNvSpPr>
              <a:spLocks noChangeShapeType="1"/>
            </p:cNvSpPr>
            <p:nvPr/>
          </p:nvSpPr>
          <p:spPr bwMode="gray">
            <a:xfrm flipV="1">
              <a:off x="5589588" y="4105275"/>
              <a:ext cx="361950" cy="2095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03" name="Freeform 425">
              <a:extLst>
                <a:ext uri="{FF2B5EF4-FFF2-40B4-BE49-F238E27FC236}">
                  <a16:creationId xmlns:a16="http://schemas.microsoft.com/office/drawing/2014/main" id="{63160A3B-F14E-44A6-B276-DBCCE9A1EEBA}"/>
                </a:ext>
              </a:extLst>
            </p:cNvPr>
            <p:cNvSpPr>
              <a:spLocks/>
            </p:cNvSpPr>
            <p:nvPr/>
          </p:nvSpPr>
          <p:spPr bwMode="gray">
            <a:xfrm>
              <a:off x="5703888" y="4029075"/>
              <a:ext cx="133350" cy="47625"/>
            </a:xfrm>
            <a:custGeom>
              <a:avLst/>
              <a:gdLst>
                <a:gd name="T0" fmla="*/ 0 w 84"/>
                <a:gd name="T1" fmla="*/ 0 h 30"/>
                <a:gd name="T2" fmla="*/ 42 w 84"/>
                <a:gd name="T3" fmla="*/ 30 h 30"/>
                <a:gd name="T4" fmla="*/ 84 w 84"/>
                <a:gd name="T5" fmla="*/ 0 h 30"/>
              </a:gdLst>
              <a:ahLst/>
              <a:cxnLst>
                <a:cxn ang="0">
                  <a:pos x="T0" y="T1"/>
                </a:cxn>
                <a:cxn ang="0">
                  <a:pos x="T2" y="T3"/>
                </a:cxn>
                <a:cxn ang="0">
                  <a:pos x="T4" y="T5"/>
                </a:cxn>
              </a:cxnLst>
              <a:rect l="0" t="0" r="r" b="b"/>
              <a:pathLst>
                <a:path w="84" h="30">
                  <a:moveTo>
                    <a:pt x="0" y="0"/>
                  </a:moveTo>
                  <a:lnTo>
                    <a:pt x="42" y="30"/>
                  </a:lnTo>
                  <a:lnTo>
                    <a:pt x="84"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04" name="Freeform 426">
              <a:extLst>
                <a:ext uri="{FF2B5EF4-FFF2-40B4-BE49-F238E27FC236}">
                  <a16:creationId xmlns:a16="http://schemas.microsoft.com/office/drawing/2014/main" id="{39076537-D9F8-4C84-B0E6-43548701A045}"/>
                </a:ext>
              </a:extLst>
            </p:cNvPr>
            <p:cNvSpPr>
              <a:spLocks/>
            </p:cNvSpPr>
            <p:nvPr/>
          </p:nvSpPr>
          <p:spPr bwMode="gray">
            <a:xfrm>
              <a:off x="5703888" y="4352925"/>
              <a:ext cx="133350" cy="38100"/>
            </a:xfrm>
            <a:custGeom>
              <a:avLst/>
              <a:gdLst>
                <a:gd name="T0" fmla="*/ 84 w 84"/>
                <a:gd name="T1" fmla="*/ 24 h 24"/>
                <a:gd name="T2" fmla="*/ 42 w 84"/>
                <a:gd name="T3" fmla="*/ 0 h 24"/>
                <a:gd name="T4" fmla="*/ 0 w 84"/>
                <a:gd name="T5" fmla="*/ 24 h 24"/>
              </a:gdLst>
              <a:ahLst/>
              <a:cxnLst>
                <a:cxn ang="0">
                  <a:pos x="T0" y="T1"/>
                </a:cxn>
                <a:cxn ang="0">
                  <a:pos x="T2" y="T3"/>
                </a:cxn>
                <a:cxn ang="0">
                  <a:pos x="T4" y="T5"/>
                </a:cxn>
              </a:cxnLst>
              <a:rect l="0" t="0" r="r" b="b"/>
              <a:pathLst>
                <a:path w="84" h="24">
                  <a:moveTo>
                    <a:pt x="84" y="24"/>
                  </a:moveTo>
                  <a:lnTo>
                    <a:pt x="42" y="0"/>
                  </a:lnTo>
                  <a:lnTo>
                    <a:pt x="0" y="24"/>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05" name="Freeform 427">
              <a:extLst>
                <a:ext uri="{FF2B5EF4-FFF2-40B4-BE49-F238E27FC236}">
                  <a16:creationId xmlns:a16="http://schemas.microsoft.com/office/drawing/2014/main" id="{71724413-52E7-4BD1-817A-C1547ECF9379}"/>
                </a:ext>
              </a:extLst>
            </p:cNvPr>
            <p:cNvSpPr>
              <a:spLocks/>
            </p:cNvSpPr>
            <p:nvPr/>
          </p:nvSpPr>
          <p:spPr bwMode="gray">
            <a:xfrm>
              <a:off x="5589588" y="4067175"/>
              <a:ext cx="66675" cy="114300"/>
            </a:xfrm>
            <a:custGeom>
              <a:avLst/>
              <a:gdLst>
                <a:gd name="T0" fmla="*/ 0 w 42"/>
                <a:gd name="T1" fmla="*/ 72 h 72"/>
                <a:gd name="T2" fmla="*/ 42 w 42"/>
                <a:gd name="T3" fmla="*/ 48 h 72"/>
                <a:gd name="T4" fmla="*/ 42 w 42"/>
                <a:gd name="T5" fmla="*/ 0 h 72"/>
              </a:gdLst>
              <a:ahLst/>
              <a:cxnLst>
                <a:cxn ang="0">
                  <a:pos x="T0" y="T1"/>
                </a:cxn>
                <a:cxn ang="0">
                  <a:pos x="T2" y="T3"/>
                </a:cxn>
                <a:cxn ang="0">
                  <a:pos x="T4" y="T5"/>
                </a:cxn>
              </a:cxnLst>
              <a:rect l="0" t="0" r="r" b="b"/>
              <a:pathLst>
                <a:path w="42" h="72">
                  <a:moveTo>
                    <a:pt x="0" y="72"/>
                  </a:moveTo>
                  <a:lnTo>
                    <a:pt x="42" y="48"/>
                  </a:lnTo>
                  <a:lnTo>
                    <a:pt x="42"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06" name="Freeform 428">
              <a:extLst>
                <a:ext uri="{FF2B5EF4-FFF2-40B4-BE49-F238E27FC236}">
                  <a16:creationId xmlns:a16="http://schemas.microsoft.com/office/drawing/2014/main" id="{1D3152C8-1387-4534-94B4-E264E93E0B6B}"/>
                </a:ext>
              </a:extLst>
            </p:cNvPr>
            <p:cNvSpPr>
              <a:spLocks/>
            </p:cNvSpPr>
            <p:nvPr/>
          </p:nvSpPr>
          <p:spPr bwMode="gray">
            <a:xfrm>
              <a:off x="5589588" y="4238625"/>
              <a:ext cx="66675" cy="114300"/>
            </a:xfrm>
            <a:custGeom>
              <a:avLst/>
              <a:gdLst>
                <a:gd name="T0" fmla="*/ 42 w 42"/>
                <a:gd name="T1" fmla="*/ 72 h 72"/>
                <a:gd name="T2" fmla="*/ 42 w 42"/>
                <a:gd name="T3" fmla="*/ 24 h 72"/>
                <a:gd name="T4" fmla="*/ 0 w 42"/>
                <a:gd name="T5" fmla="*/ 0 h 72"/>
              </a:gdLst>
              <a:ahLst/>
              <a:cxnLst>
                <a:cxn ang="0">
                  <a:pos x="T0" y="T1"/>
                </a:cxn>
                <a:cxn ang="0">
                  <a:pos x="T2" y="T3"/>
                </a:cxn>
                <a:cxn ang="0">
                  <a:pos x="T4" y="T5"/>
                </a:cxn>
              </a:cxnLst>
              <a:rect l="0" t="0" r="r" b="b"/>
              <a:pathLst>
                <a:path w="42" h="72">
                  <a:moveTo>
                    <a:pt x="42" y="72"/>
                  </a:moveTo>
                  <a:lnTo>
                    <a:pt x="42" y="24"/>
                  </a:lnTo>
                  <a:lnTo>
                    <a:pt x="0"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07" name="Freeform 429">
              <a:extLst>
                <a:ext uri="{FF2B5EF4-FFF2-40B4-BE49-F238E27FC236}">
                  <a16:creationId xmlns:a16="http://schemas.microsoft.com/office/drawing/2014/main" id="{0139EEE9-280E-4EC5-84AE-040EE0F0281F}"/>
                </a:ext>
              </a:extLst>
            </p:cNvPr>
            <p:cNvSpPr>
              <a:spLocks/>
            </p:cNvSpPr>
            <p:nvPr/>
          </p:nvSpPr>
          <p:spPr bwMode="gray">
            <a:xfrm>
              <a:off x="5884863" y="4238625"/>
              <a:ext cx="66675" cy="114300"/>
            </a:xfrm>
            <a:custGeom>
              <a:avLst/>
              <a:gdLst>
                <a:gd name="T0" fmla="*/ 42 w 42"/>
                <a:gd name="T1" fmla="*/ 0 h 72"/>
                <a:gd name="T2" fmla="*/ 0 w 42"/>
                <a:gd name="T3" fmla="*/ 24 h 72"/>
                <a:gd name="T4" fmla="*/ 0 w 42"/>
                <a:gd name="T5" fmla="*/ 72 h 72"/>
              </a:gdLst>
              <a:ahLst/>
              <a:cxnLst>
                <a:cxn ang="0">
                  <a:pos x="T0" y="T1"/>
                </a:cxn>
                <a:cxn ang="0">
                  <a:pos x="T2" y="T3"/>
                </a:cxn>
                <a:cxn ang="0">
                  <a:pos x="T4" y="T5"/>
                </a:cxn>
              </a:cxnLst>
              <a:rect l="0" t="0" r="r" b="b"/>
              <a:pathLst>
                <a:path w="42" h="72">
                  <a:moveTo>
                    <a:pt x="42" y="0"/>
                  </a:moveTo>
                  <a:lnTo>
                    <a:pt x="0" y="24"/>
                  </a:lnTo>
                  <a:lnTo>
                    <a:pt x="0" y="72"/>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808" name="Freeform 430">
              <a:extLst>
                <a:ext uri="{FF2B5EF4-FFF2-40B4-BE49-F238E27FC236}">
                  <a16:creationId xmlns:a16="http://schemas.microsoft.com/office/drawing/2014/main" id="{864FC6B1-5D49-4A2A-A92C-91D77A825128}"/>
                </a:ext>
              </a:extLst>
            </p:cNvPr>
            <p:cNvSpPr>
              <a:spLocks/>
            </p:cNvSpPr>
            <p:nvPr/>
          </p:nvSpPr>
          <p:spPr bwMode="gray">
            <a:xfrm>
              <a:off x="5884863" y="4067175"/>
              <a:ext cx="66675" cy="114300"/>
            </a:xfrm>
            <a:custGeom>
              <a:avLst/>
              <a:gdLst>
                <a:gd name="T0" fmla="*/ 0 w 42"/>
                <a:gd name="T1" fmla="*/ 0 h 72"/>
                <a:gd name="T2" fmla="*/ 0 w 42"/>
                <a:gd name="T3" fmla="*/ 48 h 72"/>
                <a:gd name="T4" fmla="*/ 42 w 42"/>
                <a:gd name="T5" fmla="*/ 72 h 72"/>
              </a:gdLst>
              <a:ahLst/>
              <a:cxnLst>
                <a:cxn ang="0">
                  <a:pos x="T0" y="T1"/>
                </a:cxn>
                <a:cxn ang="0">
                  <a:pos x="T2" y="T3"/>
                </a:cxn>
                <a:cxn ang="0">
                  <a:pos x="T4" y="T5"/>
                </a:cxn>
              </a:cxnLst>
              <a:rect l="0" t="0" r="r" b="b"/>
              <a:pathLst>
                <a:path w="42" h="72">
                  <a:moveTo>
                    <a:pt x="0" y="0"/>
                  </a:moveTo>
                  <a:lnTo>
                    <a:pt x="0" y="48"/>
                  </a:lnTo>
                  <a:lnTo>
                    <a:pt x="42" y="72"/>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813" name="Group 812">
            <a:extLst>
              <a:ext uri="{FF2B5EF4-FFF2-40B4-BE49-F238E27FC236}">
                <a16:creationId xmlns:a16="http://schemas.microsoft.com/office/drawing/2014/main" id="{7B2723E1-E8F1-4FDB-AC71-244FDEE7E443}"/>
              </a:ext>
            </a:extLst>
          </p:cNvPr>
          <p:cNvGrpSpPr/>
          <p:nvPr/>
        </p:nvGrpSpPr>
        <p:grpSpPr bwMode="gray">
          <a:xfrm>
            <a:off x="10895736" y="2554831"/>
            <a:ext cx="413711" cy="190814"/>
            <a:chOff x="4519647" y="2366529"/>
            <a:chExt cx="413711" cy="190814"/>
          </a:xfrm>
        </p:grpSpPr>
        <p:sp>
          <p:nvSpPr>
            <p:cNvPr id="814" name="Rectangle 26">
              <a:extLst>
                <a:ext uri="{FF2B5EF4-FFF2-40B4-BE49-F238E27FC236}">
                  <a16:creationId xmlns:a16="http://schemas.microsoft.com/office/drawing/2014/main" id="{54F71A4C-F038-49ED-8E7C-26F4004DE444}"/>
                </a:ext>
              </a:extLst>
            </p:cNvPr>
            <p:cNvSpPr/>
            <p:nvPr/>
          </p:nvSpPr>
          <p:spPr bwMode="gray">
            <a:xfrm>
              <a:off x="4759905" y="2428143"/>
              <a:ext cx="173453" cy="89622"/>
            </a:xfrm>
            <a:custGeom>
              <a:avLst/>
              <a:gdLst/>
              <a:ahLst/>
              <a:cxnLst/>
              <a:rect l="l" t="t" r="r" b="b"/>
              <a:pathLst>
                <a:path w="653899" h="337865">
                  <a:moveTo>
                    <a:pt x="299916" y="40642"/>
                  </a:moveTo>
                  <a:lnTo>
                    <a:pt x="299916" y="161188"/>
                  </a:lnTo>
                  <a:lnTo>
                    <a:pt x="597382" y="161188"/>
                  </a:lnTo>
                  <a:lnTo>
                    <a:pt x="597382" y="155351"/>
                  </a:lnTo>
                  <a:lnTo>
                    <a:pt x="482673" y="40642"/>
                  </a:lnTo>
                  <a:close/>
                  <a:moveTo>
                    <a:pt x="250746" y="0"/>
                  </a:moveTo>
                  <a:lnTo>
                    <a:pt x="506245" y="0"/>
                  </a:lnTo>
                  <a:lnTo>
                    <a:pt x="653899" y="147654"/>
                  </a:lnTo>
                  <a:lnTo>
                    <a:pt x="653899" y="236370"/>
                  </a:lnTo>
                  <a:lnTo>
                    <a:pt x="653899" y="316381"/>
                  </a:lnTo>
                  <a:lnTo>
                    <a:pt x="653899" y="337865"/>
                  </a:lnTo>
                  <a:lnTo>
                    <a:pt x="604867" y="337865"/>
                  </a:lnTo>
                  <a:cubicBezTo>
                    <a:pt x="588978" y="307199"/>
                    <a:pt x="556685" y="287118"/>
                    <a:pt x="519702" y="287118"/>
                  </a:cubicBezTo>
                  <a:cubicBezTo>
                    <a:pt x="482719" y="287118"/>
                    <a:pt x="450427" y="307199"/>
                    <a:pt x="434537" y="337865"/>
                  </a:cubicBezTo>
                  <a:lnTo>
                    <a:pt x="205785" y="337865"/>
                  </a:lnTo>
                  <a:cubicBezTo>
                    <a:pt x="189896" y="307199"/>
                    <a:pt x="157603" y="287118"/>
                    <a:pt x="120620" y="287118"/>
                  </a:cubicBezTo>
                  <a:cubicBezTo>
                    <a:pt x="83637" y="287118"/>
                    <a:pt x="51345" y="307199"/>
                    <a:pt x="35455" y="337865"/>
                  </a:cubicBezTo>
                  <a:lnTo>
                    <a:pt x="0" y="337865"/>
                  </a:lnTo>
                  <a:lnTo>
                    <a:pt x="0" y="236370"/>
                  </a:lnTo>
                  <a:lnTo>
                    <a:pt x="250746" y="236370"/>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815" name="Rectangle: Rounded Corners 814">
              <a:extLst>
                <a:ext uri="{FF2B5EF4-FFF2-40B4-BE49-F238E27FC236}">
                  <a16:creationId xmlns:a16="http://schemas.microsoft.com/office/drawing/2014/main" id="{D91C54D1-7B9B-415B-92EF-2434328E0DFD}"/>
                </a:ext>
              </a:extLst>
            </p:cNvPr>
            <p:cNvSpPr/>
            <p:nvPr/>
          </p:nvSpPr>
          <p:spPr bwMode="gray">
            <a:xfrm>
              <a:off x="4519647" y="2366529"/>
              <a:ext cx="277143" cy="97271"/>
            </a:xfrm>
            <a:prstGeom prst="roundRect">
              <a:avLst>
                <a:gd name="adj" fmla="val 42167"/>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816" name="Rectangle 26">
              <a:extLst>
                <a:ext uri="{FF2B5EF4-FFF2-40B4-BE49-F238E27FC236}">
                  <a16:creationId xmlns:a16="http://schemas.microsoft.com/office/drawing/2014/main" id="{C8E0C0DF-9A0E-4C8D-AD2F-3936BCFDFFC0}"/>
                </a:ext>
              </a:extLst>
            </p:cNvPr>
            <p:cNvSpPr/>
            <p:nvPr/>
          </p:nvSpPr>
          <p:spPr bwMode="gray">
            <a:xfrm>
              <a:off x="4546317" y="2490843"/>
              <a:ext cx="131884" cy="26923"/>
            </a:xfrm>
            <a:custGeom>
              <a:avLst/>
              <a:gdLst/>
              <a:ahLst/>
              <a:cxnLst/>
              <a:rect l="l" t="t" r="r" b="b"/>
              <a:pathLst>
                <a:path w="497189" h="101495">
                  <a:moveTo>
                    <a:pt x="0" y="0"/>
                  </a:moveTo>
                  <a:lnTo>
                    <a:pt x="495777" y="0"/>
                  </a:lnTo>
                  <a:lnTo>
                    <a:pt x="497189" y="180"/>
                  </a:lnTo>
                  <a:lnTo>
                    <a:pt x="497189" y="101495"/>
                  </a:lnTo>
                  <a:lnTo>
                    <a:pt x="447529" y="101495"/>
                  </a:lnTo>
                  <a:cubicBezTo>
                    <a:pt x="431639" y="70828"/>
                    <a:pt x="399347" y="50747"/>
                    <a:pt x="362363" y="50747"/>
                  </a:cubicBezTo>
                  <a:cubicBezTo>
                    <a:pt x="325380" y="50747"/>
                    <a:pt x="293087" y="70828"/>
                    <a:pt x="277197" y="101495"/>
                  </a:cubicBezTo>
                  <a:lnTo>
                    <a:pt x="219992" y="101495"/>
                  </a:lnTo>
                  <a:cubicBezTo>
                    <a:pt x="204102" y="70828"/>
                    <a:pt x="171809" y="50747"/>
                    <a:pt x="134826" y="50747"/>
                  </a:cubicBezTo>
                  <a:cubicBezTo>
                    <a:pt x="97843" y="50747"/>
                    <a:pt x="65550" y="70828"/>
                    <a:pt x="49660" y="101495"/>
                  </a:cubicBezTo>
                  <a:lnTo>
                    <a:pt x="0" y="101495"/>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817" name="Flowchart: Connector 816">
              <a:extLst>
                <a:ext uri="{FF2B5EF4-FFF2-40B4-BE49-F238E27FC236}">
                  <a16:creationId xmlns:a16="http://schemas.microsoft.com/office/drawing/2014/main" id="{194E32FF-F37E-44A9-B33B-D115865D6808}"/>
                </a:ext>
              </a:extLst>
            </p:cNvPr>
            <p:cNvSpPr/>
            <p:nvPr/>
          </p:nvSpPr>
          <p:spPr bwMode="gray">
            <a:xfrm>
              <a:off x="4555562"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818" name="Flowchart: Connector 817">
              <a:extLst>
                <a:ext uri="{FF2B5EF4-FFF2-40B4-BE49-F238E27FC236}">
                  <a16:creationId xmlns:a16="http://schemas.microsoft.com/office/drawing/2014/main" id="{879C2939-D10D-43FB-A89F-5EA6FC5423EC}"/>
                </a:ext>
              </a:extLst>
            </p:cNvPr>
            <p:cNvSpPr/>
            <p:nvPr/>
          </p:nvSpPr>
          <p:spPr bwMode="gray">
            <a:xfrm>
              <a:off x="4615918"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819" name="Flowchart: Connector 818">
              <a:extLst>
                <a:ext uri="{FF2B5EF4-FFF2-40B4-BE49-F238E27FC236}">
                  <a16:creationId xmlns:a16="http://schemas.microsoft.com/office/drawing/2014/main" id="{46EAC529-58F1-4E4A-94AF-E77D512DB6A8}"/>
                </a:ext>
              </a:extLst>
            </p:cNvPr>
            <p:cNvSpPr/>
            <p:nvPr/>
          </p:nvSpPr>
          <p:spPr bwMode="gray">
            <a:xfrm>
              <a:off x="4765381"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820" name="Flowchart: Connector 819">
              <a:extLst>
                <a:ext uri="{FF2B5EF4-FFF2-40B4-BE49-F238E27FC236}">
                  <a16:creationId xmlns:a16="http://schemas.microsoft.com/office/drawing/2014/main" id="{8C2C78F8-6F74-43C0-AD5A-049F36C5B266}"/>
                </a:ext>
              </a:extLst>
            </p:cNvPr>
            <p:cNvSpPr/>
            <p:nvPr/>
          </p:nvSpPr>
          <p:spPr bwMode="gray">
            <a:xfrm>
              <a:off x="4871242"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sp>
          <p:nvSpPr>
            <p:cNvPr id="821" name="Right Triangle 820">
              <a:extLst>
                <a:ext uri="{FF2B5EF4-FFF2-40B4-BE49-F238E27FC236}">
                  <a16:creationId xmlns:a16="http://schemas.microsoft.com/office/drawing/2014/main" id="{9A4E1C6A-3E09-400E-B64A-9CED79DF030B}"/>
                </a:ext>
              </a:extLst>
            </p:cNvPr>
            <p:cNvSpPr/>
            <p:nvPr/>
          </p:nvSpPr>
          <p:spPr bwMode="gray">
            <a:xfrm>
              <a:off x="4827463" y="2379102"/>
              <a:ext cx="45583" cy="36551"/>
            </a:xfrm>
            <a:prstGeom prst="rtTriangl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de-DE">
                <a:solidFill>
                  <a:schemeClr val="tx1"/>
                </a:solidFill>
              </a:endParaRPr>
            </a:p>
          </p:txBody>
        </p:sp>
      </p:grpSp>
      <p:cxnSp>
        <p:nvCxnSpPr>
          <p:cNvPr id="844" name="Straight Connector 843">
            <a:extLst>
              <a:ext uri="{FF2B5EF4-FFF2-40B4-BE49-F238E27FC236}">
                <a16:creationId xmlns:a16="http://schemas.microsoft.com/office/drawing/2014/main" id="{2585CF48-B963-40DC-8E11-CEE60088BC2D}"/>
              </a:ext>
            </a:extLst>
          </p:cNvPr>
          <p:cNvCxnSpPr>
            <a:cxnSpLocks/>
          </p:cNvCxnSpPr>
          <p:nvPr/>
        </p:nvCxnSpPr>
        <p:spPr bwMode="gray">
          <a:xfrm flipV="1">
            <a:off x="7674184" y="2132545"/>
            <a:ext cx="0" cy="878879"/>
          </a:xfrm>
          <a:prstGeom prst="line">
            <a:avLst/>
          </a:prstGeom>
          <a:ln w="12700" cap="rnd">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849" name="Straight Connector 848">
            <a:extLst>
              <a:ext uri="{FF2B5EF4-FFF2-40B4-BE49-F238E27FC236}">
                <a16:creationId xmlns:a16="http://schemas.microsoft.com/office/drawing/2014/main" id="{4140464B-5BDC-4E33-8354-57485D8C2FF7}"/>
              </a:ext>
            </a:extLst>
          </p:cNvPr>
          <p:cNvCxnSpPr>
            <a:cxnSpLocks/>
          </p:cNvCxnSpPr>
          <p:nvPr/>
        </p:nvCxnSpPr>
        <p:spPr bwMode="gray">
          <a:xfrm flipV="1">
            <a:off x="10618552" y="2651529"/>
            <a:ext cx="0" cy="759721"/>
          </a:xfrm>
          <a:prstGeom prst="line">
            <a:avLst/>
          </a:prstGeom>
          <a:ln w="12700" cap="rnd">
            <a:solidFill>
              <a:schemeClr val="tx1"/>
            </a:solidFill>
            <a:headEnd type="oval" w="sm" len="sm"/>
            <a:tailEnd type="none" w="sm" len="sm"/>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190613969"/>
      </p:ext>
    </p:extLst>
  </p:cSld>
  <p:clrMapOvr>
    <a:masterClrMapping/>
  </p:clrMapOvr>
  <mc:AlternateContent xmlns:mc="http://schemas.openxmlformats.org/markup-compatibility/2006" xmlns:p14="http://schemas.microsoft.com/office/powerpoint/2010/main">
    <mc:Choice Requires="p14">
      <p:transition spd="med" p14:dur="700" advTm="90845">
        <p:fade/>
      </p:transition>
    </mc:Choice>
    <mc:Fallback xmlns="">
      <p:transition spd="med" advTm="90845">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ABE69-73DE-49F2-9EAC-AABF832ACA65}"/>
              </a:ext>
            </a:extLst>
          </p:cNvPr>
          <p:cNvSpPr>
            <a:spLocks noGrp="1"/>
          </p:cNvSpPr>
          <p:nvPr>
            <p:ph type="ctrTitle"/>
          </p:nvPr>
        </p:nvSpPr>
        <p:spPr/>
        <p:txBody>
          <a:bodyPr/>
          <a:lstStyle/>
          <a:p>
            <a:r>
              <a:rPr lang="de-DE" dirty="0"/>
              <a:t>Pure </a:t>
            </a:r>
            <a:r>
              <a:rPr lang="de-DE" dirty="0" err="1"/>
              <a:t>class</a:t>
            </a:r>
            <a:r>
              <a:rPr lang="de-DE" dirty="0"/>
              <a:t> </a:t>
            </a:r>
            <a:r>
              <a:rPr lang="de-DE" dirty="0" err="1"/>
              <a:t>for</a:t>
            </a:r>
            <a:r>
              <a:rPr lang="de-DE" dirty="0"/>
              <a:t> </a:t>
            </a:r>
            <a:r>
              <a:rPr lang="de-DE" dirty="0" err="1"/>
              <a:t>industrial</a:t>
            </a:r>
            <a:r>
              <a:rPr lang="de-DE" dirty="0"/>
              <a:t> gas</a:t>
            </a:r>
            <a:endParaRPr lang="en-US" dirty="0"/>
          </a:p>
        </p:txBody>
      </p:sp>
      <p:sp>
        <p:nvSpPr>
          <p:cNvPr id="3" name="Subtitle 2">
            <a:extLst>
              <a:ext uri="{FF2B5EF4-FFF2-40B4-BE49-F238E27FC236}">
                <a16:creationId xmlns:a16="http://schemas.microsoft.com/office/drawing/2014/main" id="{E17C4001-558D-412A-ACD3-299DE7F71B1C}"/>
              </a:ext>
            </a:extLst>
          </p:cNvPr>
          <p:cNvSpPr>
            <a:spLocks noGrp="1"/>
          </p:cNvSpPr>
          <p:nvPr>
            <p:ph type="subTitle" idx="1"/>
          </p:nvPr>
        </p:nvSpPr>
        <p:spPr/>
        <p:txBody>
          <a:bodyPr/>
          <a:lstStyle/>
          <a:p>
            <a:r>
              <a:rPr lang="de-DE" dirty="0"/>
              <a:t>Market </a:t>
            </a:r>
            <a:r>
              <a:rPr lang="de-DE" dirty="0" err="1"/>
              <a:t>leading</a:t>
            </a:r>
            <a:r>
              <a:rPr lang="de-DE" dirty="0"/>
              <a:t> gas </a:t>
            </a:r>
            <a:r>
              <a:rPr lang="de-DE" dirty="0" err="1"/>
              <a:t>analyzer</a:t>
            </a:r>
            <a:r>
              <a:rPr lang="de-DE" dirty="0"/>
              <a:t> </a:t>
            </a:r>
            <a:r>
              <a:rPr lang="de-DE" dirty="0" err="1"/>
              <a:t>solutions</a:t>
            </a:r>
            <a:endParaRPr lang="en-US" dirty="0"/>
          </a:p>
        </p:txBody>
      </p:sp>
    </p:spTree>
    <p:extLst>
      <p:ext uri="{BB962C8B-B14F-4D97-AF65-F5344CB8AC3E}">
        <p14:creationId xmlns:p14="http://schemas.microsoft.com/office/powerpoint/2010/main" val="940994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hteck 87">
            <a:extLst>
              <a:ext uri="{FF2B5EF4-FFF2-40B4-BE49-F238E27FC236}">
                <a16:creationId xmlns:a16="http://schemas.microsoft.com/office/drawing/2014/main" id="{A032DF71-228C-45D1-BCC2-06BB2BB4AD72}"/>
              </a:ext>
            </a:extLst>
          </p:cNvPr>
          <p:cNvSpPr/>
          <p:nvPr/>
        </p:nvSpPr>
        <p:spPr bwMode="gray">
          <a:xfrm>
            <a:off x="1539241" y="1941220"/>
            <a:ext cx="9050410" cy="3981449"/>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en-US" sz="1400" dirty="0">
              <a:solidFill>
                <a:schemeClr val="bg1"/>
              </a:solidFill>
            </a:endParaRPr>
          </a:p>
        </p:txBody>
      </p:sp>
      <p:sp>
        <p:nvSpPr>
          <p:cNvPr id="294" name="Freeform: Shape 293">
            <a:extLst>
              <a:ext uri="{FF2B5EF4-FFF2-40B4-BE49-F238E27FC236}">
                <a16:creationId xmlns:a16="http://schemas.microsoft.com/office/drawing/2014/main" id="{84C9CD34-F4AA-467A-8CEE-26DCF94670C1}"/>
              </a:ext>
            </a:extLst>
          </p:cNvPr>
          <p:cNvSpPr/>
          <p:nvPr/>
        </p:nvSpPr>
        <p:spPr bwMode="gray">
          <a:xfrm>
            <a:off x="3703185" y="3010450"/>
            <a:ext cx="835200" cy="1973608"/>
          </a:xfrm>
          <a:custGeom>
            <a:avLst/>
            <a:gdLst>
              <a:gd name="connsiteX0" fmla="*/ 0 w 835200"/>
              <a:gd name="connsiteY0" fmla="*/ 0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35200" h="1973608">
                <a:moveTo>
                  <a:pt x="0" y="0"/>
                </a:moveTo>
                <a:lnTo>
                  <a:pt x="208800" y="0"/>
                </a:lnTo>
                <a:lnTo>
                  <a:pt x="417600" y="0"/>
                </a:lnTo>
                <a:lnTo>
                  <a:pt x="626400" y="0"/>
                </a:lnTo>
                <a:lnTo>
                  <a:pt x="835200" y="0"/>
                </a:lnTo>
                <a:lnTo>
                  <a:pt x="835200" y="197361"/>
                </a:lnTo>
                <a:lnTo>
                  <a:pt x="835200" y="197362"/>
                </a:lnTo>
                <a:lnTo>
                  <a:pt x="835200" y="394723"/>
                </a:lnTo>
                <a:lnTo>
                  <a:pt x="835200" y="592083"/>
                </a:lnTo>
                <a:lnTo>
                  <a:pt x="835200" y="592085"/>
                </a:lnTo>
                <a:lnTo>
                  <a:pt x="835200" y="789444"/>
                </a:lnTo>
                <a:lnTo>
                  <a:pt x="835200" y="789445"/>
                </a:lnTo>
                <a:lnTo>
                  <a:pt x="835200" y="986804"/>
                </a:lnTo>
                <a:lnTo>
                  <a:pt x="835200" y="986806"/>
                </a:lnTo>
                <a:lnTo>
                  <a:pt x="835200" y="1184165"/>
                </a:lnTo>
                <a:lnTo>
                  <a:pt x="835200" y="1184166"/>
                </a:lnTo>
                <a:lnTo>
                  <a:pt x="835200" y="1381525"/>
                </a:lnTo>
                <a:lnTo>
                  <a:pt x="835200" y="1381527"/>
                </a:lnTo>
                <a:lnTo>
                  <a:pt x="835200" y="1578886"/>
                </a:lnTo>
                <a:lnTo>
                  <a:pt x="835200" y="1578887"/>
                </a:lnTo>
                <a:lnTo>
                  <a:pt x="835200" y="1776246"/>
                </a:lnTo>
                <a:lnTo>
                  <a:pt x="835200" y="1776248"/>
                </a:lnTo>
                <a:lnTo>
                  <a:pt x="835200" y="1973608"/>
                </a:lnTo>
                <a:lnTo>
                  <a:pt x="626400" y="1973608"/>
                </a:lnTo>
                <a:lnTo>
                  <a:pt x="417600" y="1973608"/>
                </a:lnTo>
                <a:lnTo>
                  <a:pt x="208800" y="1973608"/>
                </a:lnTo>
                <a:lnTo>
                  <a:pt x="0" y="1973608"/>
                </a:lnTo>
                <a:lnTo>
                  <a:pt x="0" y="1776248"/>
                </a:lnTo>
                <a:lnTo>
                  <a:pt x="0" y="1776246"/>
                </a:lnTo>
                <a:lnTo>
                  <a:pt x="0" y="1578887"/>
                </a:lnTo>
                <a:lnTo>
                  <a:pt x="0" y="1578886"/>
                </a:lnTo>
                <a:lnTo>
                  <a:pt x="0" y="1381527"/>
                </a:lnTo>
                <a:lnTo>
                  <a:pt x="0" y="1381525"/>
                </a:lnTo>
                <a:lnTo>
                  <a:pt x="0" y="1184166"/>
                </a:lnTo>
                <a:lnTo>
                  <a:pt x="0" y="1184165"/>
                </a:lnTo>
                <a:lnTo>
                  <a:pt x="0" y="986806"/>
                </a:lnTo>
                <a:lnTo>
                  <a:pt x="0" y="986804"/>
                </a:lnTo>
                <a:lnTo>
                  <a:pt x="0" y="789445"/>
                </a:lnTo>
                <a:lnTo>
                  <a:pt x="0" y="789444"/>
                </a:lnTo>
                <a:lnTo>
                  <a:pt x="0" y="592085"/>
                </a:lnTo>
                <a:lnTo>
                  <a:pt x="0" y="592083"/>
                </a:lnTo>
                <a:lnTo>
                  <a:pt x="0" y="394723"/>
                </a:lnTo>
                <a:lnTo>
                  <a:pt x="0" y="197362"/>
                </a:lnTo>
                <a:lnTo>
                  <a:pt x="0" y="197361"/>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Autofit/>
          </a:bodyPr>
          <a:lstStyle/>
          <a:p>
            <a:pPr algn="ctr">
              <a:spcBef>
                <a:spcPts val="300"/>
              </a:spcBef>
              <a:buClr>
                <a:srgbClr val="002897"/>
              </a:buClr>
              <a:buSzPct val="70000"/>
            </a:pPr>
            <a:r>
              <a:rPr lang="en-US" sz="1000" b="1" dirty="0">
                <a:solidFill>
                  <a:schemeClr val="tx1"/>
                </a:solidFill>
              </a:rPr>
              <a:t>Main heat exchangers</a:t>
            </a:r>
          </a:p>
        </p:txBody>
      </p:sp>
      <p:sp>
        <p:nvSpPr>
          <p:cNvPr id="3" name="Title 2">
            <a:extLst>
              <a:ext uri="{FF2B5EF4-FFF2-40B4-BE49-F238E27FC236}">
                <a16:creationId xmlns:a16="http://schemas.microsoft.com/office/drawing/2014/main" id="{14BF9A95-AB6C-403B-A30F-9CBCD12CDD2C}"/>
              </a:ext>
            </a:extLst>
          </p:cNvPr>
          <p:cNvSpPr>
            <a:spLocks noGrp="1"/>
          </p:cNvSpPr>
          <p:nvPr>
            <p:ph type="title"/>
          </p:nvPr>
        </p:nvSpPr>
        <p:spPr bwMode="gray"/>
        <p:txBody>
          <a:bodyPr/>
          <a:lstStyle/>
          <a:p>
            <a:r>
              <a:rPr lang="en-US" dirty="0"/>
              <a:t>Air separation unit (ASU)</a:t>
            </a:r>
          </a:p>
        </p:txBody>
      </p:sp>
      <p:sp>
        <p:nvSpPr>
          <p:cNvPr id="7" name="Subtitle 6">
            <a:extLst>
              <a:ext uri="{FF2B5EF4-FFF2-40B4-BE49-F238E27FC236}">
                <a16:creationId xmlns:a16="http://schemas.microsoft.com/office/drawing/2014/main" id="{123C95C5-490C-45FE-8B01-E8869099AE0A}"/>
              </a:ext>
            </a:extLst>
          </p:cNvPr>
          <p:cNvSpPr>
            <a:spLocks noGrp="1"/>
          </p:cNvSpPr>
          <p:nvPr>
            <p:ph type="subTitle" idx="13"/>
          </p:nvPr>
        </p:nvSpPr>
        <p:spPr bwMode="gray"/>
        <p:txBody>
          <a:bodyPr/>
          <a:lstStyle/>
          <a:p>
            <a:r>
              <a:rPr lang="en-US" dirty="0"/>
              <a:t>Typical process flow / measuring points</a:t>
            </a:r>
          </a:p>
        </p:txBody>
      </p:sp>
      <p:sp>
        <p:nvSpPr>
          <p:cNvPr id="106" name="Rectangle 105">
            <a:extLst>
              <a:ext uri="{FF2B5EF4-FFF2-40B4-BE49-F238E27FC236}">
                <a16:creationId xmlns:a16="http://schemas.microsoft.com/office/drawing/2014/main" id="{44067D5B-02E2-49A1-9A51-49E37CCB81F1}"/>
              </a:ext>
            </a:extLst>
          </p:cNvPr>
          <p:cNvSpPr/>
          <p:nvPr/>
        </p:nvSpPr>
        <p:spPr bwMode="gray">
          <a:xfrm>
            <a:off x="7497148" y="2388709"/>
            <a:ext cx="66696" cy="666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109" name="Group 108">
            <a:extLst>
              <a:ext uri="{FF2B5EF4-FFF2-40B4-BE49-F238E27FC236}">
                <a16:creationId xmlns:a16="http://schemas.microsoft.com/office/drawing/2014/main" id="{EC2CEC65-4C7E-4556-9899-5DDB60C15937}"/>
              </a:ext>
            </a:extLst>
          </p:cNvPr>
          <p:cNvGrpSpPr/>
          <p:nvPr/>
        </p:nvGrpSpPr>
        <p:grpSpPr bwMode="gray">
          <a:xfrm>
            <a:off x="2128656" y="5340510"/>
            <a:ext cx="420370" cy="475766"/>
            <a:chOff x="15525750" y="3407016"/>
            <a:chExt cx="420370" cy="475766"/>
          </a:xfrm>
        </p:grpSpPr>
        <p:sp>
          <p:nvSpPr>
            <p:cNvPr id="110" name="Rectangle 109">
              <a:extLst>
                <a:ext uri="{FF2B5EF4-FFF2-40B4-BE49-F238E27FC236}">
                  <a16:creationId xmlns:a16="http://schemas.microsoft.com/office/drawing/2014/main" id="{ACD56EB5-A9D8-46DF-9499-FF1EFC076CF7}"/>
                </a:ext>
              </a:extLst>
            </p:cNvPr>
            <p:cNvSpPr/>
            <p:nvPr/>
          </p:nvSpPr>
          <p:spPr bwMode="gray">
            <a:xfrm>
              <a:off x="15525750" y="3407016"/>
              <a:ext cx="420370" cy="310736"/>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en-US" sz="1000" dirty="0">
                <a:solidFill>
                  <a:schemeClr val="tx1"/>
                </a:solidFill>
              </a:endParaRPr>
            </a:p>
          </p:txBody>
        </p:sp>
        <p:cxnSp>
          <p:nvCxnSpPr>
            <p:cNvPr id="111" name="Straight Connector 110">
              <a:extLst>
                <a:ext uri="{FF2B5EF4-FFF2-40B4-BE49-F238E27FC236}">
                  <a16:creationId xmlns:a16="http://schemas.microsoft.com/office/drawing/2014/main" id="{17EF461F-DB5C-4337-8A86-DE4829D4EF06}"/>
                </a:ext>
              </a:extLst>
            </p:cNvPr>
            <p:cNvCxnSpPr>
              <a:stCxn id="110" idx="0"/>
              <a:endCxn id="110" idx="2"/>
            </p:cNvCxnSpPr>
            <p:nvPr/>
          </p:nvCxnSpPr>
          <p:spPr bwMode="gray">
            <a:xfrm>
              <a:off x="15735935" y="3407016"/>
              <a:ext cx="0" cy="310736"/>
            </a:xfrm>
            <a:prstGeom prst="line">
              <a:avLst/>
            </a:prstGeom>
            <a:ln w="12700">
              <a:noFill/>
              <a:prstDash val="dash"/>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B31E09E2-3B83-4DCB-A030-D1EB45DEF2E1}"/>
                </a:ext>
              </a:extLst>
            </p:cNvPr>
            <p:cNvSpPr/>
            <p:nvPr/>
          </p:nvSpPr>
          <p:spPr bwMode="gray">
            <a:xfrm>
              <a:off x="15525750" y="3717752"/>
              <a:ext cx="42037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en-US" sz="1000" dirty="0">
                  <a:solidFill>
                    <a:schemeClr val="tx1"/>
                  </a:solidFill>
                </a:rPr>
                <a:t>Filter</a:t>
              </a:r>
            </a:p>
          </p:txBody>
        </p:sp>
      </p:grpSp>
      <p:grpSp>
        <p:nvGrpSpPr>
          <p:cNvPr id="113" name="Group 112">
            <a:extLst>
              <a:ext uri="{FF2B5EF4-FFF2-40B4-BE49-F238E27FC236}">
                <a16:creationId xmlns:a16="http://schemas.microsoft.com/office/drawing/2014/main" id="{6DDECFFA-5B48-434A-8AA1-C4BEC0373CAA}"/>
              </a:ext>
            </a:extLst>
          </p:cNvPr>
          <p:cNvGrpSpPr/>
          <p:nvPr/>
        </p:nvGrpSpPr>
        <p:grpSpPr bwMode="gray">
          <a:xfrm>
            <a:off x="1777384" y="4317112"/>
            <a:ext cx="518858" cy="475767"/>
            <a:chOff x="13626402" y="3811749"/>
            <a:chExt cx="518858" cy="475767"/>
          </a:xfrm>
        </p:grpSpPr>
        <p:sp>
          <p:nvSpPr>
            <p:cNvPr id="114" name="Oval 113">
              <a:extLst>
                <a:ext uri="{FF2B5EF4-FFF2-40B4-BE49-F238E27FC236}">
                  <a16:creationId xmlns:a16="http://schemas.microsoft.com/office/drawing/2014/main" id="{ED903F86-2A0D-4204-B394-22BD03769BBA}"/>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en-US" sz="1000" dirty="0">
                <a:solidFill>
                  <a:schemeClr val="tx1"/>
                </a:solidFill>
              </a:endParaRPr>
            </a:p>
          </p:txBody>
        </p:sp>
        <p:sp>
          <p:nvSpPr>
            <p:cNvPr id="115" name="Freeform: Shape 114">
              <a:extLst>
                <a:ext uri="{FF2B5EF4-FFF2-40B4-BE49-F238E27FC236}">
                  <a16:creationId xmlns:a16="http://schemas.microsoft.com/office/drawing/2014/main" id="{AEFEA0B0-D874-4272-9FFE-683A11D83564}"/>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en-US" sz="1000" dirty="0">
                <a:solidFill>
                  <a:schemeClr val="tx1"/>
                </a:solidFill>
              </a:endParaRPr>
            </a:p>
          </p:txBody>
        </p:sp>
        <p:sp>
          <p:nvSpPr>
            <p:cNvPr id="116" name="Rectangle 115">
              <a:extLst>
                <a:ext uri="{FF2B5EF4-FFF2-40B4-BE49-F238E27FC236}">
                  <a16:creationId xmlns:a16="http://schemas.microsoft.com/office/drawing/2014/main" id="{90E0FAB3-576F-4B0F-828D-AB13E60BC956}"/>
                </a:ext>
              </a:extLst>
            </p:cNvPr>
            <p:cNvSpPr/>
            <p:nvPr/>
          </p:nvSpPr>
          <p:spPr bwMode="gray">
            <a:xfrm>
              <a:off x="13626402" y="4122486"/>
              <a:ext cx="518858"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en-US" sz="1000" dirty="0">
                  <a:solidFill>
                    <a:schemeClr val="tx1"/>
                  </a:solidFill>
                </a:rPr>
                <a:t>Cooler</a:t>
              </a:r>
            </a:p>
          </p:txBody>
        </p:sp>
      </p:grpSp>
      <p:grpSp>
        <p:nvGrpSpPr>
          <p:cNvPr id="117" name="Group 116">
            <a:extLst>
              <a:ext uri="{FF2B5EF4-FFF2-40B4-BE49-F238E27FC236}">
                <a16:creationId xmlns:a16="http://schemas.microsoft.com/office/drawing/2014/main" id="{1ADF1348-C2BD-47BF-B345-9AB7E3E7FE1C}"/>
              </a:ext>
            </a:extLst>
          </p:cNvPr>
          <p:cNvGrpSpPr/>
          <p:nvPr/>
        </p:nvGrpSpPr>
        <p:grpSpPr bwMode="gray">
          <a:xfrm>
            <a:off x="2662229" y="5340510"/>
            <a:ext cx="843866" cy="475764"/>
            <a:chOff x="12657918" y="3811752"/>
            <a:chExt cx="843866" cy="475764"/>
          </a:xfrm>
        </p:grpSpPr>
        <p:sp>
          <p:nvSpPr>
            <p:cNvPr id="118" name="Trapezoid 117">
              <a:extLst>
                <a:ext uri="{FF2B5EF4-FFF2-40B4-BE49-F238E27FC236}">
                  <a16:creationId xmlns:a16="http://schemas.microsoft.com/office/drawing/2014/main" id="{EAD494A9-09F4-4F1D-BFF7-9E1ECFCDD055}"/>
                </a:ext>
              </a:extLst>
            </p:cNvPr>
            <p:cNvSpPr/>
            <p:nvPr/>
          </p:nvSpPr>
          <p:spPr bwMode="gray">
            <a:xfrm rot="5400000">
              <a:off x="12924484" y="3847225"/>
              <a:ext cx="310734" cy="239787"/>
            </a:xfrm>
            <a:prstGeom prst="trapezoid">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en-US" sz="1000" dirty="0">
                <a:solidFill>
                  <a:schemeClr val="tx1"/>
                </a:solidFill>
              </a:endParaRPr>
            </a:p>
          </p:txBody>
        </p:sp>
        <p:sp>
          <p:nvSpPr>
            <p:cNvPr id="119" name="Rectangle 118">
              <a:extLst>
                <a:ext uri="{FF2B5EF4-FFF2-40B4-BE49-F238E27FC236}">
                  <a16:creationId xmlns:a16="http://schemas.microsoft.com/office/drawing/2014/main" id="{811C8DE1-2AC3-4DE6-8130-693035F44113}"/>
                </a:ext>
              </a:extLst>
            </p:cNvPr>
            <p:cNvSpPr/>
            <p:nvPr/>
          </p:nvSpPr>
          <p:spPr bwMode="gray">
            <a:xfrm>
              <a:off x="12657918" y="4122486"/>
              <a:ext cx="843866"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en-US" sz="1000" dirty="0">
                  <a:solidFill>
                    <a:schemeClr val="tx1"/>
                  </a:solidFill>
                </a:rPr>
                <a:t>Compressor</a:t>
              </a:r>
            </a:p>
          </p:txBody>
        </p:sp>
      </p:grpSp>
      <p:sp>
        <p:nvSpPr>
          <p:cNvPr id="123" name="Rechteck 87">
            <a:extLst>
              <a:ext uri="{FF2B5EF4-FFF2-40B4-BE49-F238E27FC236}">
                <a16:creationId xmlns:a16="http://schemas.microsoft.com/office/drawing/2014/main" id="{2A470419-279C-425B-B068-DF5B66487473}"/>
              </a:ext>
            </a:extLst>
          </p:cNvPr>
          <p:cNvSpPr/>
          <p:nvPr/>
        </p:nvSpPr>
        <p:spPr bwMode="gray">
          <a:xfrm>
            <a:off x="336000" y="3076376"/>
            <a:ext cx="1067402" cy="309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r">
              <a:spcBef>
                <a:spcPts val="300"/>
              </a:spcBef>
              <a:buClr>
                <a:srgbClr val="002897"/>
              </a:buClr>
              <a:buSzPct val="70000"/>
            </a:pPr>
            <a:r>
              <a:rPr lang="en-US" sz="1000" dirty="0">
                <a:solidFill>
                  <a:schemeClr val="tx1"/>
                </a:solidFill>
              </a:rPr>
              <a:t>Local pipeline users</a:t>
            </a:r>
            <a:endParaRPr lang="en-US" sz="1000" baseline="-25000" dirty="0">
              <a:solidFill>
                <a:schemeClr val="tx1"/>
              </a:solidFill>
            </a:endParaRPr>
          </a:p>
        </p:txBody>
      </p:sp>
      <p:sp>
        <p:nvSpPr>
          <p:cNvPr id="124" name="Rechteck 87">
            <a:extLst>
              <a:ext uri="{FF2B5EF4-FFF2-40B4-BE49-F238E27FC236}">
                <a16:creationId xmlns:a16="http://schemas.microsoft.com/office/drawing/2014/main" id="{AC57F793-226B-4517-8182-7F1D21037F39}"/>
              </a:ext>
            </a:extLst>
          </p:cNvPr>
          <p:cNvSpPr/>
          <p:nvPr/>
        </p:nvSpPr>
        <p:spPr bwMode="gray">
          <a:xfrm>
            <a:off x="336000" y="5340510"/>
            <a:ext cx="1067402" cy="309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r">
              <a:spcBef>
                <a:spcPts val="300"/>
              </a:spcBef>
              <a:buClr>
                <a:srgbClr val="002897"/>
              </a:buClr>
              <a:buSzPct val="70000"/>
            </a:pPr>
            <a:r>
              <a:rPr lang="en-US" sz="1000" dirty="0">
                <a:solidFill>
                  <a:schemeClr val="tx1"/>
                </a:solidFill>
              </a:rPr>
              <a:t>Air</a:t>
            </a:r>
            <a:endParaRPr lang="en-US" sz="1000" baseline="-25000" dirty="0">
              <a:solidFill>
                <a:schemeClr val="tx1"/>
              </a:solidFill>
            </a:endParaRPr>
          </a:p>
        </p:txBody>
      </p:sp>
      <p:sp>
        <p:nvSpPr>
          <p:cNvPr id="125" name="Rectangle 124">
            <a:extLst>
              <a:ext uri="{FF2B5EF4-FFF2-40B4-BE49-F238E27FC236}">
                <a16:creationId xmlns:a16="http://schemas.microsoft.com/office/drawing/2014/main" id="{99BF2179-6062-47DB-8733-781E4281C021}"/>
              </a:ext>
            </a:extLst>
          </p:cNvPr>
          <p:cNvSpPr/>
          <p:nvPr/>
        </p:nvSpPr>
        <p:spPr bwMode="gray">
          <a:xfrm>
            <a:off x="9116364" y="1962150"/>
            <a:ext cx="420370" cy="300356"/>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en-US" sz="1000" b="1" dirty="0">
                <a:solidFill>
                  <a:schemeClr val="tx1"/>
                </a:solidFill>
              </a:rPr>
              <a:t>LIN</a:t>
            </a:r>
          </a:p>
        </p:txBody>
      </p:sp>
      <p:sp>
        <p:nvSpPr>
          <p:cNvPr id="126" name="Rectangle 125">
            <a:extLst>
              <a:ext uri="{FF2B5EF4-FFF2-40B4-BE49-F238E27FC236}">
                <a16:creationId xmlns:a16="http://schemas.microsoft.com/office/drawing/2014/main" id="{B11B04C4-6F23-4B12-989B-BD7C3D67F1E3}"/>
              </a:ext>
            </a:extLst>
          </p:cNvPr>
          <p:cNvSpPr/>
          <p:nvPr/>
        </p:nvSpPr>
        <p:spPr bwMode="gray">
          <a:xfrm>
            <a:off x="9120503" y="4459991"/>
            <a:ext cx="420370" cy="300356"/>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en-US" sz="1000" b="1" dirty="0">
                <a:solidFill>
                  <a:schemeClr val="tx1"/>
                </a:solidFill>
              </a:rPr>
              <a:t>LOX</a:t>
            </a:r>
          </a:p>
        </p:txBody>
      </p:sp>
      <p:sp>
        <p:nvSpPr>
          <p:cNvPr id="127" name="Rectangle 126">
            <a:extLst>
              <a:ext uri="{FF2B5EF4-FFF2-40B4-BE49-F238E27FC236}">
                <a16:creationId xmlns:a16="http://schemas.microsoft.com/office/drawing/2014/main" id="{6E5FF70F-0A44-47AE-AB15-0875AF8D8E93}"/>
              </a:ext>
            </a:extLst>
          </p:cNvPr>
          <p:cNvSpPr/>
          <p:nvPr/>
        </p:nvSpPr>
        <p:spPr bwMode="gray">
          <a:xfrm>
            <a:off x="9129674" y="2764012"/>
            <a:ext cx="420370" cy="300356"/>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en-US" sz="1000" b="1" dirty="0">
                <a:solidFill>
                  <a:schemeClr val="tx1"/>
                </a:solidFill>
              </a:rPr>
              <a:t>LAR</a:t>
            </a:r>
          </a:p>
        </p:txBody>
      </p:sp>
      <p:sp>
        <p:nvSpPr>
          <p:cNvPr id="128" name="Rectangle: Rounded Corners 127">
            <a:extLst>
              <a:ext uri="{FF2B5EF4-FFF2-40B4-BE49-F238E27FC236}">
                <a16:creationId xmlns:a16="http://schemas.microsoft.com/office/drawing/2014/main" id="{F19F1F41-484F-4E26-BDBB-4BB13EFFCFF0}"/>
              </a:ext>
            </a:extLst>
          </p:cNvPr>
          <p:cNvSpPr/>
          <p:nvPr/>
        </p:nvSpPr>
        <p:spPr bwMode="gray">
          <a:xfrm>
            <a:off x="2271843" y="3859016"/>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en-US" sz="1000" b="1" dirty="0">
                <a:solidFill>
                  <a:schemeClr val="tx1"/>
                </a:solidFill>
              </a:rPr>
              <a:t>GOX</a:t>
            </a:r>
          </a:p>
        </p:txBody>
      </p:sp>
      <p:sp>
        <p:nvSpPr>
          <p:cNvPr id="129" name="Rectangle: Rounded Corners 128">
            <a:extLst>
              <a:ext uri="{FF2B5EF4-FFF2-40B4-BE49-F238E27FC236}">
                <a16:creationId xmlns:a16="http://schemas.microsoft.com/office/drawing/2014/main" id="{9B216444-0C64-4034-BC95-502EDF73165C}"/>
              </a:ext>
            </a:extLst>
          </p:cNvPr>
          <p:cNvSpPr/>
          <p:nvPr/>
        </p:nvSpPr>
        <p:spPr bwMode="gray">
          <a:xfrm>
            <a:off x="2271843" y="2947671"/>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en-US" sz="1000" b="1" dirty="0">
                <a:solidFill>
                  <a:schemeClr val="tx1"/>
                </a:solidFill>
              </a:rPr>
              <a:t>GAN</a:t>
            </a:r>
          </a:p>
        </p:txBody>
      </p:sp>
      <p:grpSp>
        <p:nvGrpSpPr>
          <p:cNvPr id="130" name="Group 129">
            <a:extLst>
              <a:ext uri="{FF2B5EF4-FFF2-40B4-BE49-F238E27FC236}">
                <a16:creationId xmlns:a16="http://schemas.microsoft.com/office/drawing/2014/main" id="{6F7302E4-E71D-4E7F-8558-6664778163C4}"/>
              </a:ext>
            </a:extLst>
          </p:cNvPr>
          <p:cNvGrpSpPr/>
          <p:nvPr/>
        </p:nvGrpSpPr>
        <p:grpSpPr bwMode="gray">
          <a:xfrm>
            <a:off x="5159590" y="2784627"/>
            <a:ext cx="835604" cy="1476000"/>
            <a:chOff x="5356744" y="2912763"/>
            <a:chExt cx="835604" cy="2001035"/>
          </a:xfrm>
        </p:grpSpPr>
        <p:sp>
          <p:nvSpPr>
            <p:cNvPr id="131" name="Rectangle: Rounded Corners 130">
              <a:extLst>
                <a:ext uri="{FF2B5EF4-FFF2-40B4-BE49-F238E27FC236}">
                  <a16:creationId xmlns:a16="http://schemas.microsoft.com/office/drawing/2014/main" id="{A7D80365-986F-4A0C-8F81-4683F37724A6}"/>
                </a:ext>
              </a:extLst>
            </p:cNvPr>
            <p:cNvSpPr/>
            <p:nvPr/>
          </p:nvSpPr>
          <p:spPr bwMode="gray">
            <a:xfrm>
              <a:off x="5357148" y="2912763"/>
              <a:ext cx="835200" cy="2001035"/>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anchor="ctr" anchorCtr="0"/>
            <a:lstStyle/>
            <a:p>
              <a:pPr algn="ctr">
                <a:spcBef>
                  <a:spcPts val="300"/>
                </a:spcBef>
                <a:buClr>
                  <a:srgbClr val="002897"/>
                </a:buClr>
                <a:buSzPct val="70000"/>
              </a:pPr>
              <a:endParaRPr lang="en-US" sz="1000" b="1" dirty="0">
                <a:solidFill>
                  <a:schemeClr val="tx1"/>
                </a:solidFill>
              </a:endParaRPr>
            </a:p>
          </p:txBody>
        </p:sp>
        <p:sp>
          <p:nvSpPr>
            <p:cNvPr id="134" name="Rectangle 133">
              <a:extLst>
                <a:ext uri="{FF2B5EF4-FFF2-40B4-BE49-F238E27FC236}">
                  <a16:creationId xmlns:a16="http://schemas.microsoft.com/office/drawing/2014/main" id="{F100A50B-FA6E-41ED-B7B0-255F2DE0AF58}"/>
                </a:ext>
              </a:extLst>
            </p:cNvPr>
            <p:cNvSpPr/>
            <p:nvPr/>
          </p:nvSpPr>
          <p:spPr bwMode="gray">
            <a:xfrm>
              <a:off x="5356744" y="3660544"/>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135" name="Rectangle 134">
              <a:extLst>
                <a:ext uri="{FF2B5EF4-FFF2-40B4-BE49-F238E27FC236}">
                  <a16:creationId xmlns:a16="http://schemas.microsoft.com/office/drawing/2014/main" id="{F017EEE0-5217-426C-AE3C-B0E7B15F426D}"/>
                </a:ext>
              </a:extLst>
            </p:cNvPr>
            <p:cNvSpPr/>
            <p:nvPr/>
          </p:nvSpPr>
          <p:spPr bwMode="gray">
            <a:xfrm>
              <a:off x="5356744" y="3786913"/>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136" name="Rectangle 135">
              <a:extLst>
                <a:ext uri="{FF2B5EF4-FFF2-40B4-BE49-F238E27FC236}">
                  <a16:creationId xmlns:a16="http://schemas.microsoft.com/office/drawing/2014/main" id="{A8BD6ABD-CD82-4C2D-A056-EFA7682C1C72}"/>
                </a:ext>
              </a:extLst>
            </p:cNvPr>
            <p:cNvSpPr/>
            <p:nvPr/>
          </p:nvSpPr>
          <p:spPr bwMode="gray">
            <a:xfrm>
              <a:off x="5356744" y="3913282"/>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137" name="Rectangle 136">
              <a:extLst>
                <a:ext uri="{FF2B5EF4-FFF2-40B4-BE49-F238E27FC236}">
                  <a16:creationId xmlns:a16="http://schemas.microsoft.com/office/drawing/2014/main" id="{7A09C1BA-4E0E-468D-AF60-DD52CFC38FD8}"/>
                </a:ext>
              </a:extLst>
            </p:cNvPr>
            <p:cNvSpPr/>
            <p:nvPr/>
          </p:nvSpPr>
          <p:spPr bwMode="gray">
            <a:xfrm>
              <a:off x="5356744" y="4039651"/>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138" name="Rectangle 137">
              <a:extLst>
                <a:ext uri="{FF2B5EF4-FFF2-40B4-BE49-F238E27FC236}">
                  <a16:creationId xmlns:a16="http://schemas.microsoft.com/office/drawing/2014/main" id="{303AFC0E-299E-4F2C-B90D-7E69EA2B1B0F}"/>
                </a:ext>
              </a:extLst>
            </p:cNvPr>
            <p:cNvSpPr/>
            <p:nvPr/>
          </p:nvSpPr>
          <p:spPr bwMode="gray">
            <a:xfrm>
              <a:off x="5356744" y="4166020"/>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139" name="Rectangle 138">
              <a:extLst>
                <a:ext uri="{FF2B5EF4-FFF2-40B4-BE49-F238E27FC236}">
                  <a16:creationId xmlns:a16="http://schemas.microsoft.com/office/drawing/2014/main" id="{73B64F73-5E30-4ECF-ABF3-D327C196A091}"/>
                </a:ext>
              </a:extLst>
            </p:cNvPr>
            <p:cNvSpPr/>
            <p:nvPr/>
          </p:nvSpPr>
          <p:spPr bwMode="gray">
            <a:xfrm>
              <a:off x="5356744" y="4292389"/>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142" name="Rectangle 141">
              <a:extLst>
                <a:ext uri="{FF2B5EF4-FFF2-40B4-BE49-F238E27FC236}">
                  <a16:creationId xmlns:a16="http://schemas.microsoft.com/office/drawing/2014/main" id="{7113F025-0FD4-4B69-B1E3-1F61E7D4477B}"/>
                </a:ext>
              </a:extLst>
            </p:cNvPr>
            <p:cNvSpPr/>
            <p:nvPr/>
          </p:nvSpPr>
          <p:spPr bwMode="gray">
            <a:xfrm>
              <a:off x="5356744" y="3407805"/>
              <a:ext cx="835200" cy="126369"/>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133" name="Rectangle 132">
              <a:extLst>
                <a:ext uri="{FF2B5EF4-FFF2-40B4-BE49-F238E27FC236}">
                  <a16:creationId xmlns:a16="http://schemas.microsoft.com/office/drawing/2014/main" id="{AFC4450E-9736-4B0F-B536-929E70C095A9}"/>
                </a:ext>
              </a:extLst>
            </p:cNvPr>
            <p:cNvSpPr/>
            <p:nvPr/>
          </p:nvSpPr>
          <p:spPr bwMode="gray">
            <a:xfrm>
              <a:off x="5356744" y="3534175"/>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r>
                <a:rPr lang="en-US" sz="1000" b="1" dirty="0">
                  <a:solidFill>
                    <a:schemeClr val="tx1"/>
                  </a:solidFill>
                </a:rPr>
                <a:t>Low pressure distillation column</a:t>
              </a:r>
            </a:p>
          </p:txBody>
        </p:sp>
      </p:grpSp>
      <p:grpSp>
        <p:nvGrpSpPr>
          <p:cNvPr id="143" name="Group 142">
            <a:extLst>
              <a:ext uri="{FF2B5EF4-FFF2-40B4-BE49-F238E27FC236}">
                <a16:creationId xmlns:a16="http://schemas.microsoft.com/office/drawing/2014/main" id="{63ED53C6-4CA4-4B06-971A-020DCB3EEC91}"/>
              </a:ext>
            </a:extLst>
          </p:cNvPr>
          <p:cNvGrpSpPr/>
          <p:nvPr/>
        </p:nvGrpSpPr>
        <p:grpSpPr bwMode="gray">
          <a:xfrm>
            <a:off x="7191147" y="2581238"/>
            <a:ext cx="678698" cy="1716001"/>
            <a:chOff x="5356744" y="2465873"/>
            <a:chExt cx="835604" cy="2447925"/>
          </a:xfrm>
        </p:grpSpPr>
        <p:sp>
          <p:nvSpPr>
            <p:cNvPr id="144" name="Rectangle: Rounded Corners 143">
              <a:extLst>
                <a:ext uri="{FF2B5EF4-FFF2-40B4-BE49-F238E27FC236}">
                  <a16:creationId xmlns:a16="http://schemas.microsoft.com/office/drawing/2014/main" id="{0922E5C3-719D-4D91-B72F-1728EF89B78E}"/>
                </a:ext>
              </a:extLst>
            </p:cNvPr>
            <p:cNvSpPr/>
            <p:nvPr/>
          </p:nvSpPr>
          <p:spPr bwMode="gray">
            <a:xfrm>
              <a:off x="5357148" y="2465873"/>
              <a:ext cx="835200" cy="2447925"/>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en-US" sz="1000" dirty="0">
                <a:solidFill>
                  <a:schemeClr val="tx1"/>
                </a:solidFill>
              </a:endParaRPr>
            </a:p>
          </p:txBody>
        </p:sp>
        <p:sp>
          <p:nvSpPr>
            <p:cNvPr id="145" name="Rectangle 144">
              <a:extLst>
                <a:ext uri="{FF2B5EF4-FFF2-40B4-BE49-F238E27FC236}">
                  <a16:creationId xmlns:a16="http://schemas.microsoft.com/office/drawing/2014/main" id="{8BADE2DB-3574-45D7-AFD9-08033BD3E783}"/>
                </a:ext>
              </a:extLst>
            </p:cNvPr>
            <p:cNvSpPr/>
            <p:nvPr/>
          </p:nvSpPr>
          <p:spPr bwMode="gray">
            <a:xfrm>
              <a:off x="5356744" y="2916882"/>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46" name="Rectangle 145">
              <a:extLst>
                <a:ext uri="{FF2B5EF4-FFF2-40B4-BE49-F238E27FC236}">
                  <a16:creationId xmlns:a16="http://schemas.microsoft.com/office/drawing/2014/main" id="{9B95A037-64CD-4AAB-B49C-35C2FD51ABF7}"/>
                </a:ext>
              </a:extLst>
            </p:cNvPr>
            <p:cNvSpPr/>
            <p:nvPr/>
          </p:nvSpPr>
          <p:spPr bwMode="gray">
            <a:xfrm>
              <a:off x="5356744" y="3071473"/>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47" name="Rectangle 146">
              <a:extLst>
                <a:ext uri="{FF2B5EF4-FFF2-40B4-BE49-F238E27FC236}">
                  <a16:creationId xmlns:a16="http://schemas.microsoft.com/office/drawing/2014/main" id="{C86C0152-5714-4EAF-ADB8-A01EBDA8CE70}"/>
                </a:ext>
              </a:extLst>
            </p:cNvPr>
            <p:cNvSpPr/>
            <p:nvPr/>
          </p:nvSpPr>
          <p:spPr bwMode="gray">
            <a:xfrm>
              <a:off x="5356744" y="3226064"/>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48" name="Rectangle 147">
              <a:extLst>
                <a:ext uri="{FF2B5EF4-FFF2-40B4-BE49-F238E27FC236}">
                  <a16:creationId xmlns:a16="http://schemas.microsoft.com/office/drawing/2014/main" id="{BBE8304B-DA07-4DF9-9BB4-F0BCF783C031}"/>
                </a:ext>
              </a:extLst>
            </p:cNvPr>
            <p:cNvSpPr/>
            <p:nvPr/>
          </p:nvSpPr>
          <p:spPr bwMode="gray">
            <a:xfrm>
              <a:off x="5356744" y="3380655"/>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49" name="Rectangle 148">
              <a:extLst>
                <a:ext uri="{FF2B5EF4-FFF2-40B4-BE49-F238E27FC236}">
                  <a16:creationId xmlns:a16="http://schemas.microsoft.com/office/drawing/2014/main" id="{CEC59683-7EA3-46E4-9813-C39032853A0A}"/>
                </a:ext>
              </a:extLst>
            </p:cNvPr>
            <p:cNvSpPr/>
            <p:nvPr/>
          </p:nvSpPr>
          <p:spPr bwMode="gray">
            <a:xfrm>
              <a:off x="5356744" y="3535246"/>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50" name="Rectangle 149">
              <a:extLst>
                <a:ext uri="{FF2B5EF4-FFF2-40B4-BE49-F238E27FC236}">
                  <a16:creationId xmlns:a16="http://schemas.microsoft.com/office/drawing/2014/main" id="{8A0BA9CC-AD77-480D-8CE3-5B3F9E770522}"/>
                </a:ext>
              </a:extLst>
            </p:cNvPr>
            <p:cNvSpPr/>
            <p:nvPr/>
          </p:nvSpPr>
          <p:spPr bwMode="gray">
            <a:xfrm>
              <a:off x="5356744" y="3689837"/>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51" name="Rectangle 150">
              <a:extLst>
                <a:ext uri="{FF2B5EF4-FFF2-40B4-BE49-F238E27FC236}">
                  <a16:creationId xmlns:a16="http://schemas.microsoft.com/office/drawing/2014/main" id="{E4F37FB5-7EC1-4BD1-9606-2B418F6B7511}"/>
                </a:ext>
              </a:extLst>
            </p:cNvPr>
            <p:cNvSpPr/>
            <p:nvPr/>
          </p:nvSpPr>
          <p:spPr bwMode="gray">
            <a:xfrm>
              <a:off x="5356744" y="3844428"/>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52" name="Rectangle 151">
              <a:extLst>
                <a:ext uri="{FF2B5EF4-FFF2-40B4-BE49-F238E27FC236}">
                  <a16:creationId xmlns:a16="http://schemas.microsoft.com/office/drawing/2014/main" id="{A5F2FD71-9C47-4B7F-B74C-A58F372F8810}"/>
                </a:ext>
              </a:extLst>
            </p:cNvPr>
            <p:cNvSpPr/>
            <p:nvPr/>
          </p:nvSpPr>
          <p:spPr bwMode="gray">
            <a:xfrm>
              <a:off x="5356744" y="3999019"/>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53" name="Rectangle 152">
              <a:extLst>
                <a:ext uri="{FF2B5EF4-FFF2-40B4-BE49-F238E27FC236}">
                  <a16:creationId xmlns:a16="http://schemas.microsoft.com/office/drawing/2014/main" id="{B6C848E6-D194-49CA-A24D-F6BFFF161336}"/>
                </a:ext>
              </a:extLst>
            </p:cNvPr>
            <p:cNvSpPr/>
            <p:nvPr/>
          </p:nvSpPr>
          <p:spPr bwMode="gray">
            <a:xfrm>
              <a:off x="5356744" y="4153610"/>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54" name="Rectangle 153">
              <a:extLst>
                <a:ext uri="{FF2B5EF4-FFF2-40B4-BE49-F238E27FC236}">
                  <a16:creationId xmlns:a16="http://schemas.microsoft.com/office/drawing/2014/main" id="{02BFBC3E-D7C7-4FFA-867A-F1629842D2DC}"/>
                </a:ext>
              </a:extLst>
            </p:cNvPr>
            <p:cNvSpPr/>
            <p:nvPr/>
          </p:nvSpPr>
          <p:spPr bwMode="gray">
            <a:xfrm>
              <a:off x="5356744" y="4308201"/>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55" name="Rectangle 154">
              <a:extLst>
                <a:ext uri="{FF2B5EF4-FFF2-40B4-BE49-F238E27FC236}">
                  <a16:creationId xmlns:a16="http://schemas.microsoft.com/office/drawing/2014/main" id="{BD568D9E-D0C1-41D5-8923-0E64C0359F7B}"/>
                </a:ext>
              </a:extLst>
            </p:cNvPr>
            <p:cNvSpPr/>
            <p:nvPr/>
          </p:nvSpPr>
          <p:spPr bwMode="gray">
            <a:xfrm>
              <a:off x="5356744" y="3380655"/>
              <a:ext cx="835200" cy="61836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r>
                <a:rPr lang="en-US" sz="1000" b="1" dirty="0">
                  <a:solidFill>
                    <a:schemeClr val="tx1"/>
                  </a:solidFill>
                </a:rPr>
                <a:t>Crude </a:t>
              </a:r>
              <a:br>
                <a:rPr lang="en-US" sz="1000" b="1" dirty="0">
                  <a:solidFill>
                    <a:schemeClr val="tx1"/>
                  </a:solidFill>
                </a:rPr>
              </a:br>
              <a:r>
                <a:rPr lang="en-US" sz="1000" b="1" dirty="0">
                  <a:solidFill>
                    <a:schemeClr val="tx1"/>
                  </a:solidFill>
                </a:rPr>
                <a:t>argon column</a:t>
              </a:r>
            </a:p>
          </p:txBody>
        </p:sp>
      </p:grpSp>
      <p:grpSp>
        <p:nvGrpSpPr>
          <p:cNvPr id="156" name="Group 155">
            <a:extLst>
              <a:ext uri="{FF2B5EF4-FFF2-40B4-BE49-F238E27FC236}">
                <a16:creationId xmlns:a16="http://schemas.microsoft.com/office/drawing/2014/main" id="{C1FAA911-7EA3-4FC3-B4B5-079BCB5EC991}"/>
              </a:ext>
            </a:extLst>
          </p:cNvPr>
          <p:cNvGrpSpPr/>
          <p:nvPr/>
        </p:nvGrpSpPr>
        <p:grpSpPr bwMode="gray">
          <a:xfrm>
            <a:off x="8388848" y="2581238"/>
            <a:ext cx="521970" cy="1184743"/>
            <a:chOff x="5356744" y="2465873"/>
            <a:chExt cx="835604" cy="2447925"/>
          </a:xfrm>
        </p:grpSpPr>
        <p:sp>
          <p:nvSpPr>
            <p:cNvPr id="157" name="Rectangle: Rounded Corners 156">
              <a:extLst>
                <a:ext uri="{FF2B5EF4-FFF2-40B4-BE49-F238E27FC236}">
                  <a16:creationId xmlns:a16="http://schemas.microsoft.com/office/drawing/2014/main" id="{71F3ED38-4979-4D73-B1DE-C83117648A4E}"/>
                </a:ext>
              </a:extLst>
            </p:cNvPr>
            <p:cNvSpPr/>
            <p:nvPr/>
          </p:nvSpPr>
          <p:spPr bwMode="gray">
            <a:xfrm>
              <a:off x="5357148" y="2465873"/>
              <a:ext cx="835200" cy="2447925"/>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en-US" sz="1000" dirty="0">
                <a:solidFill>
                  <a:schemeClr val="tx1"/>
                </a:solidFill>
              </a:endParaRPr>
            </a:p>
          </p:txBody>
        </p:sp>
        <p:sp>
          <p:nvSpPr>
            <p:cNvPr id="158" name="Rectangle 157">
              <a:extLst>
                <a:ext uri="{FF2B5EF4-FFF2-40B4-BE49-F238E27FC236}">
                  <a16:creationId xmlns:a16="http://schemas.microsoft.com/office/drawing/2014/main" id="{CB9EADE3-6E54-4E1D-822F-5E44DBC66F57}"/>
                </a:ext>
              </a:extLst>
            </p:cNvPr>
            <p:cNvSpPr/>
            <p:nvPr/>
          </p:nvSpPr>
          <p:spPr bwMode="gray">
            <a:xfrm>
              <a:off x="5356744" y="2916882"/>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59" name="Rectangle 158">
              <a:extLst>
                <a:ext uri="{FF2B5EF4-FFF2-40B4-BE49-F238E27FC236}">
                  <a16:creationId xmlns:a16="http://schemas.microsoft.com/office/drawing/2014/main" id="{619EFE8A-11BA-4CE6-BB65-2A4829801B17}"/>
                </a:ext>
              </a:extLst>
            </p:cNvPr>
            <p:cNvSpPr/>
            <p:nvPr/>
          </p:nvSpPr>
          <p:spPr bwMode="gray">
            <a:xfrm>
              <a:off x="5356744" y="3071473"/>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60" name="Rectangle 159">
              <a:extLst>
                <a:ext uri="{FF2B5EF4-FFF2-40B4-BE49-F238E27FC236}">
                  <a16:creationId xmlns:a16="http://schemas.microsoft.com/office/drawing/2014/main" id="{BCFCCF73-6A05-4BA5-B432-120EC07A709C}"/>
                </a:ext>
              </a:extLst>
            </p:cNvPr>
            <p:cNvSpPr/>
            <p:nvPr/>
          </p:nvSpPr>
          <p:spPr bwMode="gray">
            <a:xfrm>
              <a:off x="5356744" y="3226064"/>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61" name="Rectangle 160">
              <a:extLst>
                <a:ext uri="{FF2B5EF4-FFF2-40B4-BE49-F238E27FC236}">
                  <a16:creationId xmlns:a16="http://schemas.microsoft.com/office/drawing/2014/main" id="{AF179B29-A64E-4CA7-B452-4F47DB95722C}"/>
                </a:ext>
              </a:extLst>
            </p:cNvPr>
            <p:cNvSpPr/>
            <p:nvPr/>
          </p:nvSpPr>
          <p:spPr bwMode="gray">
            <a:xfrm>
              <a:off x="5356744" y="3380655"/>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62" name="Rectangle 161">
              <a:extLst>
                <a:ext uri="{FF2B5EF4-FFF2-40B4-BE49-F238E27FC236}">
                  <a16:creationId xmlns:a16="http://schemas.microsoft.com/office/drawing/2014/main" id="{0B72C1CB-8255-44BF-A552-EBCF4C36F555}"/>
                </a:ext>
              </a:extLst>
            </p:cNvPr>
            <p:cNvSpPr/>
            <p:nvPr/>
          </p:nvSpPr>
          <p:spPr bwMode="gray">
            <a:xfrm>
              <a:off x="5356744" y="3535246"/>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63" name="Rectangle 162">
              <a:extLst>
                <a:ext uri="{FF2B5EF4-FFF2-40B4-BE49-F238E27FC236}">
                  <a16:creationId xmlns:a16="http://schemas.microsoft.com/office/drawing/2014/main" id="{A721A0D3-EC81-469E-ACBF-BD497166E0BD}"/>
                </a:ext>
              </a:extLst>
            </p:cNvPr>
            <p:cNvSpPr/>
            <p:nvPr/>
          </p:nvSpPr>
          <p:spPr bwMode="gray">
            <a:xfrm>
              <a:off x="5356744" y="3689837"/>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64" name="Rectangle 163">
              <a:extLst>
                <a:ext uri="{FF2B5EF4-FFF2-40B4-BE49-F238E27FC236}">
                  <a16:creationId xmlns:a16="http://schemas.microsoft.com/office/drawing/2014/main" id="{5408909D-7B10-47A3-833D-A843DFD86344}"/>
                </a:ext>
              </a:extLst>
            </p:cNvPr>
            <p:cNvSpPr/>
            <p:nvPr/>
          </p:nvSpPr>
          <p:spPr bwMode="gray">
            <a:xfrm>
              <a:off x="5356744" y="3844428"/>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65" name="Rectangle 164">
              <a:extLst>
                <a:ext uri="{FF2B5EF4-FFF2-40B4-BE49-F238E27FC236}">
                  <a16:creationId xmlns:a16="http://schemas.microsoft.com/office/drawing/2014/main" id="{2D624F0C-CC26-4606-8355-853A98C0153D}"/>
                </a:ext>
              </a:extLst>
            </p:cNvPr>
            <p:cNvSpPr/>
            <p:nvPr/>
          </p:nvSpPr>
          <p:spPr bwMode="gray">
            <a:xfrm>
              <a:off x="5356744" y="3999019"/>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66" name="Rectangle 165">
              <a:extLst>
                <a:ext uri="{FF2B5EF4-FFF2-40B4-BE49-F238E27FC236}">
                  <a16:creationId xmlns:a16="http://schemas.microsoft.com/office/drawing/2014/main" id="{DDC122D1-0813-4D65-A419-4B08608D0A7C}"/>
                </a:ext>
              </a:extLst>
            </p:cNvPr>
            <p:cNvSpPr/>
            <p:nvPr/>
          </p:nvSpPr>
          <p:spPr bwMode="gray">
            <a:xfrm>
              <a:off x="5356744" y="4153610"/>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67" name="Rectangle 166">
              <a:extLst>
                <a:ext uri="{FF2B5EF4-FFF2-40B4-BE49-F238E27FC236}">
                  <a16:creationId xmlns:a16="http://schemas.microsoft.com/office/drawing/2014/main" id="{91432A98-31F0-42CD-978F-8CDEA4957574}"/>
                </a:ext>
              </a:extLst>
            </p:cNvPr>
            <p:cNvSpPr/>
            <p:nvPr/>
          </p:nvSpPr>
          <p:spPr bwMode="gray">
            <a:xfrm>
              <a:off x="5356744" y="4308201"/>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en-US" sz="1000" dirty="0">
                <a:solidFill>
                  <a:schemeClr val="tx1"/>
                </a:solidFill>
              </a:endParaRPr>
            </a:p>
          </p:txBody>
        </p:sp>
        <p:sp>
          <p:nvSpPr>
            <p:cNvPr id="168" name="Rectangle 167">
              <a:extLst>
                <a:ext uri="{FF2B5EF4-FFF2-40B4-BE49-F238E27FC236}">
                  <a16:creationId xmlns:a16="http://schemas.microsoft.com/office/drawing/2014/main" id="{05FB2857-0D89-42AA-8B8B-4934D5D3C15A}"/>
                </a:ext>
              </a:extLst>
            </p:cNvPr>
            <p:cNvSpPr/>
            <p:nvPr/>
          </p:nvSpPr>
          <p:spPr bwMode="gray">
            <a:xfrm>
              <a:off x="5356744" y="3380655"/>
              <a:ext cx="835200" cy="61836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r>
                <a:rPr lang="en-US" sz="1000" b="1" dirty="0">
                  <a:solidFill>
                    <a:schemeClr val="tx1"/>
                  </a:solidFill>
                </a:rPr>
                <a:t>Pure </a:t>
              </a:r>
              <a:br>
                <a:rPr lang="en-US" sz="1000" b="1" dirty="0">
                  <a:solidFill>
                    <a:schemeClr val="tx1"/>
                  </a:solidFill>
                </a:rPr>
              </a:br>
              <a:r>
                <a:rPr lang="en-US" sz="1000" b="1" dirty="0">
                  <a:solidFill>
                    <a:schemeClr val="tx1"/>
                  </a:solidFill>
                </a:rPr>
                <a:t>argon column</a:t>
              </a:r>
            </a:p>
          </p:txBody>
        </p:sp>
      </p:grpSp>
      <p:grpSp>
        <p:nvGrpSpPr>
          <p:cNvPr id="170" name="Group 169">
            <a:extLst>
              <a:ext uri="{FF2B5EF4-FFF2-40B4-BE49-F238E27FC236}">
                <a16:creationId xmlns:a16="http://schemas.microsoft.com/office/drawing/2014/main" id="{5BD63FA0-6998-44CF-9D8B-55539C129FBA}"/>
              </a:ext>
            </a:extLst>
          </p:cNvPr>
          <p:cNvGrpSpPr/>
          <p:nvPr/>
        </p:nvGrpSpPr>
        <p:grpSpPr bwMode="gray">
          <a:xfrm>
            <a:off x="3948450" y="4317112"/>
            <a:ext cx="309600" cy="310736"/>
            <a:chOff x="4578676" y="4910525"/>
            <a:chExt cx="309600" cy="310736"/>
          </a:xfrm>
        </p:grpSpPr>
        <p:sp>
          <p:nvSpPr>
            <p:cNvPr id="171" name="Oval 170">
              <a:extLst>
                <a:ext uri="{FF2B5EF4-FFF2-40B4-BE49-F238E27FC236}">
                  <a16:creationId xmlns:a16="http://schemas.microsoft.com/office/drawing/2014/main" id="{ACA59266-5A97-4DBC-8383-8622F9C05A0A}"/>
                </a:ext>
              </a:extLst>
            </p:cNvPr>
            <p:cNvSpPr/>
            <p:nvPr/>
          </p:nvSpPr>
          <p:spPr bwMode="gray">
            <a:xfrm>
              <a:off x="4578676" y="4910525"/>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en-US" sz="1000" dirty="0">
                <a:solidFill>
                  <a:schemeClr val="tx1"/>
                </a:solidFill>
              </a:endParaRPr>
            </a:p>
          </p:txBody>
        </p:sp>
        <p:sp>
          <p:nvSpPr>
            <p:cNvPr id="172" name="Freeform: Shape 171">
              <a:extLst>
                <a:ext uri="{FF2B5EF4-FFF2-40B4-BE49-F238E27FC236}">
                  <a16:creationId xmlns:a16="http://schemas.microsoft.com/office/drawing/2014/main" id="{EFFAE13A-E550-4668-8BC1-C0E69BD8F72C}"/>
                </a:ext>
              </a:extLst>
            </p:cNvPr>
            <p:cNvSpPr/>
            <p:nvPr/>
          </p:nvSpPr>
          <p:spPr bwMode="gray">
            <a:xfrm>
              <a:off x="4578676" y="5001457"/>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en-US" sz="1000" dirty="0">
                <a:solidFill>
                  <a:schemeClr val="tx1"/>
                </a:solidFill>
              </a:endParaRPr>
            </a:p>
          </p:txBody>
        </p:sp>
      </p:grpSp>
      <p:grpSp>
        <p:nvGrpSpPr>
          <p:cNvPr id="173" name="Group 172">
            <a:extLst>
              <a:ext uri="{FF2B5EF4-FFF2-40B4-BE49-F238E27FC236}">
                <a16:creationId xmlns:a16="http://schemas.microsoft.com/office/drawing/2014/main" id="{3A9D2D12-77EF-4DF5-9C4E-9D5EF31FA188}"/>
              </a:ext>
            </a:extLst>
          </p:cNvPr>
          <p:cNvGrpSpPr/>
          <p:nvPr/>
        </p:nvGrpSpPr>
        <p:grpSpPr bwMode="gray">
          <a:xfrm>
            <a:off x="3948450" y="3405542"/>
            <a:ext cx="309600" cy="310736"/>
            <a:chOff x="4578676" y="4910525"/>
            <a:chExt cx="309600" cy="310736"/>
          </a:xfrm>
        </p:grpSpPr>
        <p:sp>
          <p:nvSpPr>
            <p:cNvPr id="174" name="Oval 173">
              <a:extLst>
                <a:ext uri="{FF2B5EF4-FFF2-40B4-BE49-F238E27FC236}">
                  <a16:creationId xmlns:a16="http://schemas.microsoft.com/office/drawing/2014/main" id="{15E06361-DAE5-4603-8D12-D4616C1D8C35}"/>
                </a:ext>
              </a:extLst>
            </p:cNvPr>
            <p:cNvSpPr/>
            <p:nvPr/>
          </p:nvSpPr>
          <p:spPr bwMode="gray">
            <a:xfrm>
              <a:off x="4578676" y="4910525"/>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en-US" sz="1000" dirty="0">
                <a:solidFill>
                  <a:schemeClr val="tx1"/>
                </a:solidFill>
              </a:endParaRPr>
            </a:p>
          </p:txBody>
        </p:sp>
        <p:sp>
          <p:nvSpPr>
            <p:cNvPr id="175" name="Freeform: Shape 174">
              <a:extLst>
                <a:ext uri="{FF2B5EF4-FFF2-40B4-BE49-F238E27FC236}">
                  <a16:creationId xmlns:a16="http://schemas.microsoft.com/office/drawing/2014/main" id="{0D57CB17-934B-4252-BFCB-EA1E11B55359}"/>
                </a:ext>
              </a:extLst>
            </p:cNvPr>
            <p:cNvSpPr/>
            <p:nvPr/>
          </p:nvSpPr>
          <p:spPr bwMode="gray">
            <a:xfrm>
              <a:off x="4578676" y="5001457"/>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en-US" sz="1000" dirty="0">
                <a:solidFill>
                  <a:schemeClr val="tx1"/>
                </a:solidFill>
              </a:endParaRPr>
            </a:p>
          </p:txBody>
        </p:sp>
      </p:grpSp>
      <p:grpSp>
        <p:nvGrpSpPr>
          <p:cNvPr id="176" name="Group 175">
            <a:extLst>
              <a:ext uri="{FF2B5EF4-FFF2-40B4-BE49-F238E27FC236}">
                <a16:creationId xmlns:a16="http://schemas.microsoft.com/office/drawing/2014/main" id="{B350A1DA-77FD-4A29-92D9-97A5837B8724}"/>
              </a:ext>
            </a:extLst>
          </p:cNvPr>
          <p:cNvGrpSpPr/>
          <p:nvPr/>
        </p:nvGrpSpPr>
        <p:grpSpPr bwMode="gray">
          <a:xfrm>
            <a:off x="3948450" y="3857517"/>
            <a:ext cx="309600" cy="310736"/>
            <a:chOff x="4578676" y="4910525"/>
            <a:chExt cx="309600" cy="310736"/>
          </a:xfrm>
        </p:grpSpPr>
        <p:sp>
          <p:nvSpPr>
            <p:cNvPr id="177" name="Oval 176">
              <a:extLst>
                <a:ext uri="{FF2B5EF4-FFF2-40B4-BE49-F238E27FC236}">
                  <a16:creationId xmlns:a16="http://schemas.microsoft.com/office/drawing/2014/main" id="{C7922257-76F6-4022-9E27-B1C95D790B68}"/>
                </a:ext>
              </a:extLst>
            </p:cNvPr>
            <p:cNvSpPr/>
            <p:nvPr/>
          </p:nvSpPr>
          <p:spPr bwMode="gray">
            <a:xfrm>
              <a:off x="4578676" y="4910525"/>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en-US" sz="1000" dirty="0">
                <a:solidFill>
                  <a:schemeClr val="tx1"/>
                </a:solidFill>
              </a:endParaRPr>
            </a:p>
          </p:txBody>
        </p:sp>
        <p:sp>
          <p:nvSpPr>
            <p:cNvPr id="178" name="Freeform: Shape 177">
              <a:extLst>
                <a:ext uri="{FF2B5EF4-FFF2-40B4-BE49-F238E27FC236}">
                  <a16:creationId xmlns:a16="http://schemas.microsoft.com/office/drawing/2014/main" id="{A571587A-86B4-434D-B761-118D0F8C67C7}"/>
                </a:ext>
              </a:extLst>
            </p:cNvPr>
            <p:cNvSpPr/>
            <p:nvPr/>
          </p:nvSpPr>
          <p:spPr bwMode="gray">
            <a:xfrm>
              <a:off x="4578676" y="5001457"/>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en-US" sz="1000" dirty="0">
                <a:solidFill>
                  <a:schemeClr val="tx1"/>
                </a:solidFill>
              </a:endParaRPr>
            </a:p>
          </p:txBody>
        </p:sp>
      </p:grpSp>
      <p:cxnSp>
        <p:nvCxnSpPr>
          <p:cNvPr id="182" name="Straight Connector 181">
            <a:extLst>
              <a:ext uri="{FF2B5EF4-FFF2-40B4-BE49-F238E27FC236}">
                <a16:creationId xmlns:a16="http://schemas.microsoft.com/office/drawing/2014/main" id="{9BA728B0-2B73-4919-BF12-F9CD29FAEE2B}"/>
              </a:ext>
            </a:extLst>
          </p:cNvPr>
          <p:cNvCxnSpPr>
            <a:cxnSpLocks/>
            <a:stCxn id="124" idx="3"/>
            <a:endCxn id="110" idx="1"/>
          </p:cNvCxnSpPr>
          <p:nvPr/>
        </p:nvCxnSpPr>
        <p:spPr bwMode="gray">
          <a:xfrm>
            <a:off x="1403402" y="5495310"/>
            <a:ext cx="725254" cy="568"/>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0DF11321-975F-4D9F-B2A5-A36B91C597D0}"/>
              </a:ext>
            </a:extLst>
          </p:cNvPr>
          <p:cNvCxnSpPr>
            <a:cxnSpLocks/>
            <a:stCxn id="110" idx="3"/>
            <a:endCxn id="118" idx="2"/>
          </p:cNvCxnSpPr>
          <p:nvPr/>
        </p:nvCxnSpPr>
        <p:spPr bwMode="gray">
          <a:xfrm flipV="1">
            <a:off x="2549026" y="5495877"/>
            <a:ext cx="415243" cy="1"/>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4" name="Connector: Elbow 183">
            <a:extLst>
              <a:ext uri="{FF2B5EF4-FFF2-40B4-BE49-F238E27FC236}">
                <a16:creationId xmlns:a16="http://schemas.microsoft.com/office/drawing/2014/main" id="{AA8AD045-1380-4F12-A91E-1428D28D5461}"/>
              </a:ext>
            </a:extLst>
          </p:cNvPr>
          <p:cNvCxnSpPr>
            <a:cxnSpLocks/>
            <a:stCxn id="118" idx="0"/>
            <a:endCxn id="114" idx="2"/>
          </p:cNvCxnSpPr>
          <p:nvPr/>
        </p:nvCxnSpPr>
        <p:spPr bwMode="gray">
          <a:xfrm flipH="1" flipV="1">
            <a:off x="1882013" y="4472480"/>
            <a:ext cx="1322043" cy="1023397"/>
          </a:xfrm>
          <a:prstGeom prst="bentConnector5">
            <a:avLst>
              <a:gd name="adj1" fmla="val -17291"/>
              <a:gd name="adj2" fmla="val 27419"/>
              <a:gd name="adj3" fmla="val 11729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7972CE59-95D5-4092-B8EA-614B0036C9FD}"/>
              </a:ext>
            </a:extLst>
          </p:cNvPr>
          <p:cNvCxnSpPr>
            <a:cxnSpLocks/>
            <a:stCxn id="115" idx="5"/>
            <a:endCxn id="121" idx="1"/>
          </p:cNvCxnSpPr>
          <p:nvPr/>
        </p:nvCxnSpPr>
        <p:spPr bwMode="gray">
          <a:xfrm>
            <a:off x="2191613" y="4468968"/>
            <a:ext cx="260956" cy="2013"/>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6F7BD0EB-DC62-4E01-81FE-FB7085AAD26B}"/>
              </a:ext>
            </a:extLst>
          </p:cNvPr>
          <p:cNvCxnSpPr>
            <a:cxnSpLocks/>
            <a:stCxn id="121" idx="3"/>
            <a:endCxn id="171" idx="2"/>
          </p:cNvCxnSpPr>
          <p:nvPr/>
        </p:nvCxnSpPr>
        <p:spPr bwMode="gray">
          <a:xfrm>
            <a:off x="3111699" y="4470981"/>
            <a:ext cx="836751" cy="1499"/>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C83A2530-EF2B-4B34-B6C3-6C7AC3B7E8CF}"/>
              </a:ext>
            </a:extLst>
          </p:cNvPr>
          <p:cNvCxnSpPr>
            <a:cxnSpLocks/>
            <a:stCxn id="177" idx="2"/>
            <a:endCxn id="128" idx="3"/>
          </p:cNvCxnSpPr>
          <p:nvPr/>
        </p:nvCxnSpPr>
        <p:spPr bwMode="gray">
          <a:xfrm flipH="1">
            <a:off x="2930973" y="4012885"/>
            <a:ext cx="1017477"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EBA2B541-8A0F-496A-A222-1E41FDE51E11}"/>
              </a:ext>
            </a:extLst>
          </p:cNvPr>
          <p:cNvCxnSpPr>
            <a:cxnSpLocks/>
            <a:stCxn id="172" idx="5"/>
            <a:endCxn id="316" idx="1"/>
          </p:cNvCxnSpPr>
          <p:nvPr/>
        </p:nvCxnSpPr>
        <p:spPr bwMode="gray">
          <a:xfrm>
            <a:off x="4258050" y="4468968"/>
            <a:ext cx="901540" cy="830796"/>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9" name="Connector: Elbow 188">
            <a:extLst>
              <a:ext uri="{FF2B5EF4-FFF2-40B4-BE49-F238E27FC236}">
                <a16:creationId xmlns:a16="http://schemas.microsoft.com/office/drawing/2014/main" id="{2D91CDA4-368F-44D7-B0AD-4068C357573B}"/>
              </a:ext>
            </a:extLst>
          </p:cNvPr>
          <p:cNvCxnSpPr>
            <a:cxnSpLocks/>
            <a:stCxn id="142" idx="1"/>
            <a:endCxn id="175" idx="5"/>
          </p:cNvCxnSpPr>
          <p:nvPr/>
        </p:nvCxnSpPr>
        <p:spPr bwMode="gray">
          <a:xfrm rot="10800000" flipV="1">
            <a:off x="4258050" y="3196384"/>
            <a:ext cx="901540" cy="361013"/>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1" name="Connector: Elbow 190">
            <a:extLst>
              <a:ext uri="{FF2B5EF4-FFF2-40B4-BE49-F238E27FC236}">
                <a16:creationId xmlns:a16="http://schemas.microsoft.com/office/drawing/2014/main" id="{10E381FC-EBCC-4237-A121-8E5D1A75AFAB}"/>
              </a:ext>
            </a:extLst>
          </p:cNvPr>
          <p:cNvCxnSpPr>
            <a:cxnSpLocks/>
            <a:stCxn id="135" idx="1"/>
            <a:endCxn id="44" idx="3"/>
          </p:cNvCxnSpPr>
          <p:nvPr/>
        </p:nvCxnSpPr>
        <p:spPr bwMode="gray">
          <a:xfrm rot="10800000" flipV="1">
            <a:off x="4527550" y="3476022"/>
            <a:ext cx="632040" cy="752987"/>
          </a:xfrm>
          <a:prstGeom prst="bentConnector3">
            <a:avLst>
              <a:gd name="adj1" fmla="val 1624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2" name="Connector: Elbow 191">
            <a:extLst>
              <a:ext uri="{FF2B5EF4-FFF2-40B4-BE49-F238E27FC236}">
                <a16:creationId xmlns:a16="http://schemas.microsoft.com/office/drawing/2014/main" id="{2F853545-6BDD-4B43-81BE-556FD0411184}"/>
              </a:ext>
            </a:extLst>
          </p:cNvPr>
          <p:cNvCxnSpPr>
            <a:cxnSpLocks/>
            <a:stCxn id="309" idx="2"/>
            <a:endCxn id="180" idx="2"/>
          </p:cNvCxnSpPr>
          <p:nvPr/>
        </p:nvCxnSpPr>
        <p:spPr bwMode="gray">
          <a:xfrm rot="5400000" flipH="1" flipV="1">
            <a:off x="5641377" y="5008811"/>
            <a:ext cx="732137" cy="859705"/>
          </a:xfrm>
          <a:prstGeom prst="bentConnector3">
            <a:avLst>
              <a:gd name="adj1" fmla="val -7286"/>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3" name="Connector: Elbow 192">
            <a:extLst>
              <a:ext uri="{FF2B5EF4-FFF2-40B4-BE49-F238E27FC236}">
                <a16:creationId xmlns:a16="http://schemas.microsoft.com/office/drawing/2014/main" id="{AC6FE1D2-4092-409F-B166-2B0F70418320}"/>
              </a:ext>
            </a:extLst>
          </p:cNvPr>
          <p:cNvCxnSpPr>
            <a:cxnSpLocks/>
            <a:stCxn id="181" idx="1"/>
            <a:endCxn id="133" idx="3"/>
          </p:cNvCxnSpPr>
          <p:nvPr/>
        </p:nvCxnSpPr>
        <p:spPr bwMode="gray">
          <a:xfrm rot="16200000" flipV="1">
            <a:off x="5738127" y="3546263"/>
            <a:ext cx="955837" cy="442509"/>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4" name="Connector: Elbow 193">
            <a:extLst>
              <a:ext uri="{FF2B5EF4-FFF2-40B4-BE49-F238E27FC236}">
                <a16:creationId xmlns:a16="http://schemas.microsoft.com/office/drawing/2014/main" id="{A289E990-7C4B-466D-9605-69D63D89AA6F}"/>
              </a:ext>
            </a:extLst>
          </p:cNvPr>
          <p:cNvCxnSpPr>
            <a:cxnSpLocks/>
            <a:stCxn id="157" idx="0"/>
            <a:endCxn id="142" idx="3"/>
          </p:cNvCxnSpPr>
          <p:nvPr/>
        </p:nvCxnSpPr>
        <p:spPr bwMode="gray">
          <a:xfrm rot="16200000" flipH="1" flipV="1">
            <a:off x="7014801" y="1561226"/>
            <a:ext cx="615147" cy="2655169"/>
          </a:xfrm>
          <a:prstGeom prst="bentConnector4">
            <a:avLst>
              <a:gd name="adj1" fmla="val -22297"/>
              <a:gd name="adj2" fmla="val 77297"/>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5" name="Connector: Elbow 194">
            <a:extLst>
              <a:ext uri="{FF2B5EF4-FFF2-40B4-BE49-F238E27FC236}">
                <a16:creationId xmlns:a16="http://schemas.microsoft.com/office/drawing/2014/main" id="{E27968EC-098A-4E35-B0AF-5A828A58A8C9}"/>
              </a:ext>
            </a:extLst>
          </p:cNvPr>
          <p:cNvCxnSpPr>
            <a:cxnSpLocks/>
            <a:stCxn id="157" idx="2"/>
            <a:endCxn id="127" idx="1"/>
          </p:cNvCxnSpPr>
          <p:nvPr/>
        </p:nvCxnSpPr>
        <p:spPr bwMode="gray">
          <a:xfrm rot="5400000" flipH="1" flipV="1">
            <a:off x="8463920" y="3100228"/>
            <a:ext cx="851791" cy="479715"/>
          </a:xfrm>
          <a:prstGeom prst="bentConnector4">
            <a:avLst>
              <a:gd name="adj1" fmla="val -26838"/>
              <a:gd name="adj2" fmla="val 77189"/>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96" name="Rectangle 195">
            <a:extLst>
              <a:ext uri="{FF2B5EF4-FFF2-40B4-BE49-F238E27FC236}">
                <a16:creationId xmlns:a16="http://schemas.microsoft.com/office/drawing/2014/main" id="{447D1BEB-A46B-442D-A010-769FA440400B}"/>
              </a:ext>
            </a:extLst>
          </p:cNvPr>
          <p:cNvSpPr/>
          <p:nvPr/>
        </p:nvSpPr>
        <p:spPr bwMode="gray">
          <a:xfrm>
            <a:off x="9610024" y="2914268"/>
            <a:ext cx="66696" cy="666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cxnSp>
        <p:nvCxnSpPr>
          <p:cNvPr id="197" name="Connector: Elbow 196">
            <a:extLst>
              <a:ext uri="{FF2B5EF4-FFF2-40B4-BE49-F238E27FC236}">
                <a16:creationId xmlns:a16="http://schemas.microsoft.com/office/drawing/2014/main" id="{3D4457F7-A0A5-4CB1-BB8D-DD792BF4B69B}"/>
              </a:ext>
            </a:extLst>
          </p:cNvPr>
          <p:cNvCxnSpPr>
            <a:cxnSpLocks/>
            <a:stCxn id="196" idx="0"/>
            <a:endCxn id="235" idx="3"/>
          </p:cNvCxnSpPr>
          <p:nvPr/>
        </p:nvCxnSpPr>
        <p:spPr bwMode="gray">
          <a:xfrm rot="16200000" flipV="1">
            <a:off x="5982490" y="-746614"/>
            <a:ext cx="618536" cy="6703228"/>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8" name="Connector: Elbow 197">
            <a:extLst>
              <a:ext uri="{FF2B5EF4-FFF2-40B4-BE49-F238E27FC236}">
                <a16:creationId xmlns:a16="http://schemas.microsoft.com/office/drawing/2014/main" id="{69CF4F97-6CFC-4435-91CA-19D4C9F0CD97}"/>
              </a:ext>
            </a:extLst>
          </p:cNvPr>
          <p:cNvCxnSpPr>
            <a:cxnSpLocks/>
            <a:stCxn id="235" idx="1"/>
            <a:endCxn id="123" idx="3"/>
          </p:cNvCxnSpPr>
          <p:nvPr/>
        </p:nvCxnSpPr>
        <p:spPr bwMode="gray">
          <a:xfrm rot="10800000" flipV="1">
            <a:off x="1403402" y="2295732"/>
            <a:ext cx="877612" cy="935444"/>
          </a:xfrm>
          <a:prstGeom prst="bentConnector3">
            <a:avLst>
              <a:gd name="adj1" fmla="val 5065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9" name="Connector: Elbow 198">
            <a:extLst>
              <a:ext uri="{FF2B5EF4-FFF2-40B4-BE49-F238E27FC236}">
                <a16:creationId xmlns:a16="http://schemas.microsoft.com/office/drawing/2014/main" id="{42605D93-01F1-4F0C-9198-18AA1B218F0F}"/>
              </a:ext>
            </a:extLst>
          </p:cNvPr>
          <p:cNvCxnSpPr>
            <a:cxnSpLocks/>
            <a:stCxn id="129" idx="1"/>
            <a:endCxn id="123" idx="3"/>
          </p:cNvCxnSpPr>
          <p:nvPr/>
        </p:nvCxnSpPr>
        <p:spPr bwMode="gray">
          <a:xfrm rot="10800000" flipV="1">
            <a:off x="1403403" y="3101540"/>
            <a:ext cx="868441" cy="129636"/>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0" name="Connector: Elbow 199">
            <a:extLst>
              <a:ext uri="{FF2B5EF4-FFF2-40B4-BE49-F238E27FC236}">
                <a16:creationId xmlns:a16="http://schemas.microsoft.com/office/drawing/2014/main" id="{BD52C3DD-1938-49DA-978E-8893C5C11325}"/>
              </a:ext>
            </a:extLst>
          </p:cNvPr>
          <p:cNvCxnSpPr>
            <a:cxnSpLocks/>
            <a:stCxn id="128" idx="1"/>
            <a:endCxn id="123" idx="3"/>
          </p:cNvCxnSpPr>
          <p:nvPr/>
        </p:nvCxnSpPr>
        <p:spPr bwMode="gray">
          <a:xfrm rot="10800000">
            <a:off x="1403403" y="3231177"/>
            <a:ext cx="868441" cy="781709"/>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1" name="Connector: Elbow 200">
            <a:extLst>
              <a:ext uri="{FF2B5EF4-FFF2-40B4-BE49-F238E27FC236}">
                <a16:creationId xmlns:a16="http://schemas.microsoft.com/office/drawing/2014/main" id="{9A9551DA-4EC8-49D3-80E5-D058C23B3F00}"/>
              </a:ext>
            </a:extLst>
          </p:cNvPr>
          <p:cNvCxnSpPr>
            <a:cxnSpLocks/>
            <a:stCxn id="127" idx="3"/>
            <a:endCxn id="202" idx="1"/>
          </p:cNvCxnSpPr>
          <p:nvPr/>
        </p:nvCxnSpPr>
        <p:spPr bwMode="gray">
          <a:xfrm>
            <a:off x="9550044" y="2914190"/>
            <a:ext cx="1184443" cy="1123952"/>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02" name="Rechteck 87">
            <a:extLst>
              <a:ext uri="{FF2B5EF4-FFF2-40B4-BE49-F238E27FC236}">
                <a16:creationId xmlns:a16="http://schemas.microsoft.com/office/drawing/2014/main" id="{B17A9835-02FE-4C5F-9E95-9FD841B34DDD}"/>
              </a:ext>
            </a:extLst>
          </p:cNvPr>
          <p:cNvSpPr/>
          <p:nvPr/>
        </p:nvSpPr>
        <p:spPr bwMode="gray">
          <a:xfrm>
            <a:off x="10734487" y="3883342"/>
            <a:ext cx="1118777" cy="309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spcBef>
                <a:spcPts val="300"/>
              </a:spcBef>
              <a:buClr>
                <a:srgbClr val="002897"/>
              </a:buClr>
              <a:buSzPct val="70000"/>
            </a:pPr>
            <a:r>
              <a:rPr lang="en-US" sz="1000" dirty="0">
                <a:solidFill>
                  <a:schemeClr val="tx1"/>
                </a:solidFill>
              </a:rPr>
              <a:t>Truck loading area/ customers</a:t>
            </a:r>
            <a:endParaRPr lang="en-US" sz="1000" baseline="-25000" dirty="0">
              <a:solidFill>
                <a:schemeClr val="tx1"/>
              </a:solidFill>
            </a:endParaRPr>
          </a:p>
        </p:txBody>
      </p:sp>
      <p:cxnSp>
        <p:nvCxnSpPr>
          <p:cNvPr id="203" name="Connector: Elbow 202">
            <a:extLst>
              <a:ext uri="{FF2B5EF4-FFF2-40B4-BE49-F238E27FC236}">
                <a16:creationId xmlns:a16="http://schemas.microsoft.com/office/drawing/2014/main" id="{40B1AE70-6F65-4A43-A166-62FA4D6A4B3A}"/>
              </a:ext>
            </a:extLst>
          </p:cNvPr>
          <p:cNvCxnSpPr>
            <a:cxnSpLocks/>
            <a:stCxn id="126" idx="3"/>
            <a:endCxn id="202" idx="1"/>
          </p:cNvCxnSpPr>
          <p:nvPr/>
        </p:nvCxnSpPr>
        <p:spPr bwMode="gray">
          <a:xfrm flipV="1">
            <a:off x="9540873" y="4038142"/>
            <a:ext cx="1193614" cy="572027"/>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4" name="Connector: Elbow 203">
            <a:extLst>
              <a:ext uri="{FF2B5EF4-FFF2-40B4-BE49-F238E27FC236}">
                <a16:creationId xmlns:a16="http://schemas.microsoft.com/office/drawing/2014/main" id="{DC5E3355-6BB0-4CE1-99D7-E11EE5A7F0C7}"/>
              </a:ext>
            </a:extLst>
          </p:cNvPr>
          <p:cNvCxnSpPr>
            <a:cxnSpLocks/>
            <a:stCxn id="125" idx="3"/>
            <a:endCxn id="202" idx="1"/>
          </p:cNvCxnSpPr>
          <p:nvPr/>
        </p:nvCxnSpPr>
        <p:spPr bwMode="gray">
          <a:xfrm>
            <a:off x="9536734" y="2112328"/>
            <a:ext cx="1197753" cy="1925814"/>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05" name="Rectangle 204">
            <a:extLst>
              <a:ext uri="{FF2B5EF4-FFF2-40B4-BE49-F238E27FC236}">
                <a16:creationId xmlns:a16="http://schemas.microsoft.com/office/drawing/2014/main" id="{F0F5E643-02EB-4A2A-A00F-B1D5FA0238BB}"/>
              </a:ext>
            </a:extLst>
          </p:cNvPr>
          <p:cNvSpPr/>
          <p:nvPr/>
        </p:nvSpPr>
        <p:spPr bwMode="gray">
          <a:xfrm>
            <a:off x="6404304" y="3630242"/>
            <a:ext cx="66696" cy="666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06" name="Rectangle 205">
            <a:extLst>
              <a:ext uri="{FF2B5EF4-FFF2-40B4-BE49-F238E27FC236}">
                <a16:creationId xmlns:a16="http://schemas.microsoft.com/office/drawing/2014/main" id="{D33C8A4D-67CE-4736-807A-B2D00BAE1B43}"/>
              </a:ext>
            </a:extLst>
          </p:cNvPr>
          <p:cNvSpPr/>
          <p:nvPr/>
        </p:nvSpPr>
        <p:spPr bwMode="gray">
          <a:xfrm>
            <a:off x="6404304" y="3817885"/>
            <a:ext cx="66696" cy="666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08" name="Rectangle 207">
            <a:extLst>
              <a:ext uri="{FF2B5EF4-FFF2-40B4-BE49-F238E27FC236}">
                <a16:creationId xmlns:a16="http://schemas.microsoft.com/office/drawing/2014/main" id="{AE5659BD-1F52-4286-B581-675A4E15BDB9}"/>
              </a:ext>
            </a:extLst>
          </p:cNvPr>
          <p:cNvSpPr/>
          <p:nvPr/>
        </p:nvSpPr>
        <p:spPr bwMode="gray">
          <a:xfrm>
            <a:off x="4904962" y="4198055"/>
            <a:ext cx="66696" cy="666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cxnSp>
        <p:nvCxnSpPr>
          <p:cNvPr id="209" name="Connector: Elbow 208">
            <a:extLst>
              <a:ext uri="{FF2B5EF4-FFF2-40B4-BE49-F238E27FC236}">
                <a16:creationId xmlns:a16="http://schemas.microsoft.com/office/drawing/2014/main" id="{583E2CEF-3367-4A4F-89E3-2E9788D68554}"/>
              </a:ext>
            </a:extLst>
          </p:cNvPr>
          <p:cNvCxnSpPr>
            <a:cxnSpLocks/>
            <a:endCxn id="125" idx="1"/>
          </p:cNvCxnSpPr>
          <p:nvPr/>
        </p:nvCxnSpPr>
        <p:spPr bwMode="gray">
          <a:xfrm flipV="1">
            <a:off x="5919306" y="2112328"/>
            <a:ext cx="3197058" cy="872138"/>
          </a:xfrm>
          <a:prstGeom prst="bentConnector3">
            <a:avLst>
              <a:gd name="adj1" fmla="val 1639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0" name="Connector: Elbow 209">
            <a:extLst>
              <a:ext uri="{FF2B5EF4-FFF2-40B4-BE49-F238E27FC236}">
                <a16:creationId xmlns:a16="http://schemas.microsoft.com/office/drawing/2014/main" id="{2DD81BE3-2FD5-4827-B0D1-DD903D01A4E5}"/>
              </a:ext>
            </a:extLst>
          </p:cNvPr>
          <p:cNvCxnSpPr>
            <a:cxnSpLocks/>
            <a:endCxn id="126" idx="1"/>
          </p:cNvCxnSpPr>
          <p:nvPr/>
        </p:nvCxnSpPr>
        <p:spPr bwMode="gray">
          <a:xfrm>
            <a:off x="5911949" y="4066894"/>
            <a:ext cx="3208554" cy="543275"/>
          </a:xfrm>
          <a:prstGeom prst="bentConnector3">
            <a:avLst>
              <a:gd name="adj1" fmla="val 5589"/>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1" name="Connector: Elbow 210">
            <a:extLst>
              <a:ext uri="{FF2B5EF4-FFF2-40B4-BE49-F238E27FC236}">
                <a16:creationId xmlns:a16="http://schemas.microsoft.com/office/drawing/2014/main" id="{B3A27BCD-4571-44FE-9425-A1DCBBA85C1E}"/>
              </a:ext>
            </a:extLst>
          </p:cNvPr>
          <p:cNvCxnSpPr>
            <a:cxnSpLocks/>
            <a:stCxn id="144" idx="2"/>
            <a:endCxn id="139" idx="3"/>
          </p:cNvCxnSpPr>
          <p:nvPr/>
        </p:nvCxnSpPr>
        <p:spPr bwMode="gray">
          <a:xfrm rot="5400000" flipH="1">
            <a:off x="6538541" y="3305120"/>
            <a:ext cx="448368" cy="1535870"/>
          </a:xfrm>
          <a:prstGeom prst="bentConnector4">
            <a:avLst>
              <a:gd name="adj1" fmla="val -50985"/>
              <a:gd name="adj2" fmla="val 38096"/>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2" name="Connector: Elbow 211">
            <a:extLst>
              <a:ext uri="{FF2B5EF4-FFF2-40B4-BE49-F238E27FC236}">
                <a16:creationId xmlns:a16="http://schemas.microsoft.com/office/drawing/2014/main" id="{F360274B-5C1C-443C-9CD4-27F87225C2AE}"/>
              </a:ext>
            </a:extLst>
          </p:cNvPr>
          <p:cNvCxnSpPr>
            <a:cxnSpLocks/>
            <a:stCxn id="137" idx="3"/>
            <a:endCxn id="153" idx="1"/>
          </p:cNvCxnSpPr>
          <p:nvPr/>
        </p:nvCxnSpPr>
        <p:spPr bwMode="gray">
          <a:xfrm>
            <a:off x="5994790" y="3662447"/>
            <a:ext cx="1196357" cy="156083"/>
          </a:xfrm>
          <a:prstGeom prst="bentConnector3">
            <a:avLst>
              <a:gd name="adj1" fmla="val 44825"/>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213" name="Group 212">
            <a:extLst>
              <a:ext uri="{FF2B5EF4-FFF2-40B4-BE49-F238E27FC236}">
                <a16:creationId xmlns:a16="http://schemas.microsoft.com/office/drawing/2014/main" id="{F09FB3C9-EDDA-499B-90E8-84AFF4B6425B}"/>
              </a:ext>
            </a:extLst>
          </p:cNvPr>
          <p:cNvGrpSpPr/>
          <p:nvPr/>
        </p:nvGrpSpPr>
        <p:grpSpPr bwMode="gray">
          <a:xfrm>
            <a:off x="10782218" y="3655348"/>
            <a:ext cx="413711" cy="190814"/>
            <a:chOff x="4519647" y="2366529"/>
            <a:chExt cx="413711" cy="190814"/>
          </a:xfrm>
        </p:grpSpPr>
        <p:sp>
          <p:nvSpPr>
            <p:cNvPr id="214" name="Rectangle 26">
              <a:extLst>
                <a:ext uri="{FF2B5EF4-FFF2-40B4-BE49-F238E27FC236}">
                  <a16:creationId xmlns:a16="http://schemas.microsoft.com/office/drawing/2014/main" id="{9DCCDAAE-72BE-4B3F-88ED-FD200B97B42A}"/>
                </a:ext>
              </a:extLst>
            </p:cNvPr>
            <p:cNvSpPr/>
            <p:nvPr/>
          </p:nvSpPr>
          <p:spPr bwMode="gray">
            <a:xfrm>
              <a:off x="4759905" y="2428143"/>
              <a:ext cx="173453" cy="89622"/>
            </a:xfrm>
            <a:custGeom>
              <a:avLst/>
              <a:gdLst/>
              <a:ahLst/>
              <a:cxnLst/>
              <a:rect l="l" t="t" r="r" b="b"/>
              <a:pathLst>
                <a:path w="653899" h="337865">
                  <a:moveTo>
                    <a:pt x="299916" y="40642"/>
                  </a:moveTo>
                  <a:lnTo>
                    <a:pt x="299916" y="161188"/>
                  </a:lnTo>
                  <a:lnTo>
                    <a:pt x="597382" y="161188"/>
                  </a:lnTo>
                  <a:lnTo>
                    <a:pt x="597382" y="155351"/>
                  </a:lnTo>
                  <a:lnTo>
                    <a:pt x="482673" y="40642"/>
                  </a:lnTo>
                  <a:close/>
                  <a:moveTo>
                    <a:pt x="250746" y="0"/>
                  </a:moveTo>
                  <a:lnTo>
                    <a:pt x="506245" y="0"/>
                  </a:lnTo>
                  <a:lnTo>
                    <a:pt x="653899" y="147654"/>
                  </a:lnTo>
                  <a:lnTo>
                    <a:pt x="653899" y="236370"/>
                  </a:lnTo>
                  <a:lnTo>
                    <a:pt x="653899" y="316381"/>
                  </a:lnTo>
                  <a:lnTo>
                    <a:pt x="653899" y="337865"/>
                  </a:lnTo>
                  <a:lnTo>
                    <a:pt x="604867" y="337865"/>
                  </a:lnTo>
                  <a:cubicBezTo>
                    <a:pt x="588978" y="307199"/>
                    <a:pt x="556685" y="287118"/>
                    <a:pt x="519702" y="287118"/>
                  </a:cubicBezTo>
                  <a:cubicBezTo>
                    <a:pt x="482719" y="287118"/>
                    <a:pt x="450427" y="307199"/>
                    <a:pt x="434537" y="337865"/>
                  </a:cubicBezTo>
                  <a:lnTo>
                    <a:pt x="205785" y="337865"/>
                  </a:lnTo>
                  <a:cubicBezTo>
                    <a:pt x="189896" y="307199"/>
                    <a:pt x="157603" y="287118"/>
                    <a:pt x="120620" y="287118"/>
                  </a:cubicBezTo>
                  <a:cubicBezTo>
                    <a:pt x="83637" y="287118"/>
                    <a:pt x="51345" y="307199"/>
                    <a:pt x="35455" y="337865"/>
                  </a:cubicBezTo>
                  <a:lnTo>
                    <a:pt x="0" y="337865"/>
                  </a:lnTo>
                  <a:lnTo>
                    <a:pt x="0" y="236370"/>
                  </a:lnTo>
                  <a:lnTo>
                    <a:pt x="250746" y="236370"/>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endParaRPr>
            </a:p>
          </p:txBody>
        </p:sp>
        <p:sp>
          <p:nvSpPr>
            <p:cNvPr id="215" name="Rectangle: Rounded Corners 214">
              <a:extLst>
                <a:ext uri="{FF2B5EF4-FFF2-40B4-BE49-F238E27FC236}">
                  <a16:creationId xmlns:a16="http://schemas.microsoft.com/office/drawing/2014/main" id="{EBE08CE3-0A98-46EE-A886-1E87DCEC1761}"/>
                </a:ext>
              </a:extLst>
            </p:cNvPr>
            <p:cNvSpPr/>
            <p:nvPr/>
          </p:nvSpPr>
          <p:spPr bwMode="gray">
            <a:xfrm>
              <a:off x="4519647" y="2366529"/>
              <a:ext cx="277143" cy="97271"/>
            </a:xfrm>
            <a:prstGeom prst="roundRect">
              <a:avLst>
                <a:gd name="adj" fmla="val 42167"/>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endParaRPr>
            </a:p>
          </p:txBody>
        </p:sp>
        <p:sp>
          <p:nvSpPr>
            <p:cNvPr id="216" name="Rectangle 26">
              <a:extLst>
                <a:ext uri="{FF2B5EF4-FFF2-40B4-BE49-F238E27FC236}">
                  <a16:creationId xmlns:a16="http://schemas.microsoft.com/office/drawing/2014/main" id="{797FC4A9-0E33-499D-9619-CFF15A39403B}"/>
                </a:ext>
              </a:extLst>
            </p:cNvPr>
            <p:cNvSpPr/>
            <p:nvPr/>
          </p:nvSpPr>
          <p:spPr bwMode="gray">
            <a:xfrm>
              <a:off x="4546317" y="2490843"/>
              <a:ext cx="131884" cy="26923"/>
            </a:xfrm>
            <a:custGeom>
              <a:avLst/>
              <a:gdLst/>
              <a:ahLst/>
              <a:cxnLst/>
              <a:rect l="l" t="t" r="r" b="b"/>
              <a:pathLst>
                <a:path w="497189" h="101495">
                  <a:moveTo>
                    <a:pt x="0" y="0"/>
                  </a:moveTo>
                  <a:lnTo>
                    <a:pt x="495777" y="0"/>
                  </a:lnTo>
                  <a:lnTo>
                    <a:pt x="497189" y="180"/>
                  </a:lnTo>
                  <a:lnTo>
                    <a:pt x="497189" y="101495"/>
                  </a:lnTo>
                  <a:lnTo>
                    <a:pt x="447529" y="101495"/>
                  </a:lnTo>
                  <a:cubicBezTo>
                    <a:pt x="431639" y="70828"/>
                    <a:pt x="399347" y="50747"/>
                    <a:pt x="362363" y="50747"/>
                  </a:cubicBezTo>
                  <a:cubicBezTo>
                    <a:pt x="325380" y="50747"/>
                    <a:pt x="293087" y="70828"/>
                    <a:pt x="277197" y="101495"/>
                  </a:cubicBezTo>
                  <a:lnTo>
                    <a:pt x="219992" y="101495"/>
                  </a:lnTo>
                  <a:cubicBezTo>
                    <a:pt x="204102" y="70828"/>
                    <a:pt x="171809" y="50747"/>
                    <a:pt x="134826" y="50747"/>
                  </a:cubicBezTo>
                  <a:cubicBezTo>
                    <a:pt x="97843" y="50747"/>
                    <a:pt x="65550" y="70828"/>
                    <a:pt x="49660" y="101495"/>
                  </a:cubicBezTo>
                  <a:lnTo>
                    <a:pt x="0" y="101495"/>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endParaRPr>
            </a:p>
          </p:txBody>
        </p:sp>
        <p:sp>
          <p:nvSpPr>
            <p:cNvPr id="217" name="Flowchart: Connector 216">
              <a:extLst>
                <a:ext uri="{FF2B5EF4-FFF2-40B4-BE49-F238E27FC236}">
                  <a16:creationId xmlns:a16="http://schemas.microsoft.com/office/drawing/2014/main" id="{EBC69908-10F9-432E-9303-D9E808B6095D}"/>
                </a:ext>
              </a:extLst>
            </p:cNvPr>
            <p:cNvSpPr/>
            <p:nvPr/>
          </p:nvSpPr>
          <p:spPr bwMode="gray">
            <a:xfrm>
              <a:off x="4555562"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endParaRPr>
            </a:p>
          </p:txBody>
        </p:sp>
        <p:sp>
          <p:nvSpPr>
            <p:cNvPr id="218" name="Flowchart: Connector 217">
              <a:extLst>
                <a:ext uri="{FF2B5EF4-FFF2-40B4-BE49-F238E27FC236}">
                  <a16:creationId xmlns:a16="http://schemas.microsoft.com/office/drawing/2014/main" id="{485925AA-0FAA-4E26-BB3B-0C8AFE22466B}"/>
                </a:ext>
              </a:extLst>
            </p:cNvPr>
            <p:cNvSpPr/>
            <p:nvPr/>
          </p:nvSpPr>
          <p:spPr bwMode="gray">
            <a:xfrm>
              <a:off x="4615918"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endParaRPr>
            </a:p>
          </p:txBody>
        </p:sp>
        <p:sp>
          <p:nvSpPr>
            <p:cNvPr id="219" name="Flowchart: Connector 218">
              <a:extLst>
                <a:ext uri="{FF2B5EF4-FFF2-40B4-BE49-F238E27FC236}">
                  <a16:creationId xmlns:a16="http://schemas.microsoft.com/office/drawing/2014/main" id="{C84D63F9-0404-465D-AD8B-A62209B59011}"/>
                </a:ext>
              </a:extLst>
            </p:cNvPr>
            <p:cNvSpPr/>
            <p:nvPr/>
          </p:nvSpPr>
          <p:spPr bwMode="gray">
            <a:xfrm>
              <a:off x="4765381"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endParaRPr>
            </a:p>
          </p:txBody>
        </p:sp>
        <p:sp>
          <p:nvSpPr>
            <p:cNvPr id="220" name="Flowchart: Connector 219">
              <a:extLst>
                <a:ext uri="{FF2B5EF4-FFF2-40B4-BE49-F238E27FC236}">
                  <a16:creationId xmlns:a16="http://schemas.microsoft.com/office/drawing/2014/main" id="{7788BCB2-A9EA-487E-B82E-ADF5DB543C83}"/>
                </a:ext>
              </a:extLst>
            </p:cNvPr>
            <p:cNvSpPr/>
            <p:nvPr/>
          </p:nvSpPr>
          <p:spPr bwMode="gray">
            <a:xfrm>
              <a:off x="4871242"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endParaRPr>
            </a:p>
          </p:txBody>
        </p:sp>
        <p:sp>
          <p:nvSpPr>
            <p:cNvPr id="221" name="Right Triangle 220">
              <a:extLst>
                <a:ext uri="{FF2B5EF4-FFF2-40B4-BE49-F238E27FC236}">
                  <a16:creationId xmlns:a16="http://schemas.microsoft.com/office/drawing/2014/main" id="{3E4DC84D-2976-496E-8D4D-8B1DA4FB26CF}"/>
                </a:ext>
              </a:extLst>
            </p:cNvPr>
            <p:cNvSpPr/>
            <p:nvPr/>
          </p:nvSpPr>
          <p:spPr bwMode="gray">
            <a:xfrm>
              <a:off x="4827463" y="2379102"/>
              <a:ext cx="45583" cy="36551"/>
            </a:xfrm>
            <a:prstGeom prst="rtTriangl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chemeClr val="tx1"/>
                </a:solidFill>
              </a:endParaRPr>
            </a:p>
          </p:txBody>
        </p:sp>
      </p:grpSp>
      <p:grpSp>
        <p:nvGrpSpPr>
          <p:cNvPr id="222" name="Group 221">
            <a:extLst>
              <a:ext uri="{FF2B5EF4-FFF2-40B4-BE49-F238E27FC236}">
                <a16:creationId xmlns:a16="http://schemas.microsoft.com/office/drawing/2014/main" id="{2A9DE3E7-210D-4A3B-B6BD-E131303823FC}"/>
              </a:ext>
            </a:extLst>
          </p:cNvPr>
          <p:cNvGrpSpPr/>
          <p:nvPr/>
        </p:nvGrpSpPr>
        <p:grpSpPr bwMode="gray">
          <a:xfrm>
            <a:off x="948923" y="2728454"/>
            <a:ext cx="417600" cy="297691"/>
            <a:chOff x="7922964" y="1996310"/>
            <a:chExt cx="417600" cy="297691"/>
          </a:xfrm>
        </p:grpSpPr>
        <p:sp>
          <p:nvSpPr>
            <p:cNvPr id="223" name="Freeform: Shape 222">
              <a:extLst>
                <a:ext uri="{FF2B5EF4-FFF2-40B4-BE49-F238E27FC236}">
                  <a16:creationId xmlns:a16="http://schemas.microsoft.com/office/drawing/2014/main" id="{E25C1FE2-131A-42A4-BEF4-244481063AEA}"/>
                </a:ext>
              </a:extLst>
            </p:cNvPr>
            <p:cNvSpPr/>
            <p:nvPr/>
          </p:nvSpPr>
          <p:spPr bwMode="gray">
            <a:xfrm flipH="1">
              <a:off x="7922964" y="2208175"/>
              <a:ext cx="78700" cy="39918"/>
            </a:xfrm>
            <a:custGeom>
              <a:avLst/>
              <a:gdLst>
                <a:gd name="connsiteX0" fmla="*/ 70115 w 78700"/>
                <a:gd name="connsiteY0" fmla="*/ 0 h 39918"/>
                <a:gd name="connsiteX1" fmla="*/ 0 w 78700"/>
                <a:gd name="connsiteY1" fmla="*/ 0 h 39918"/>
                <a:gd name="connsiteX2" fmla="*/ 743 w 78700"/>
                <a:gd name="connsiteY2" fmla="*/ 1795 h 39918"/>
                <a:gd name="connsiteX3" fmla="*/ 743 w 78700"/>
                <a:gd name="connsiteY3" fmla="*/ 38124 h 39918"/>
                <a:gd name="connsiteX4" fmla="*/ 0 w 78700"/>
                <a:gd name="connsiteY4" fmla="*/ 39918 h 39918"/>
                <a:gd name="connsiteX5" fmla="*/ 70115 w 78700"/>
                <a:gd name="connsiteY5" fmla="*/ 39918 h 39918"/>
                <a:gd name="connsiteX6" fmla="*/ 78700 w 78700"/>
                <a:gd name="connsiteY6" fmla="*/ 31333 h 39918"/>
                <a:gd name="connsiteX7" fmla="*/ 78700 w 78700"/>
                <a:gd name="connsiteY7" fmla="*/ 8586 h 39918"/>
                <a:gd name="connsiteX8" fmla="*/ 70115 w 78700"/>
                <a:gd name="connsiteY8" fmla="*/ 0 h 3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700" h="39918">
                  <a:moveTo>
                    <a:pt x="70115" y="0"/>
                  </a:moveTo>
                  <a:lnTo>
                    <a:pt x="0" y="0"/>
                  </a:lnTo>
                  <a:lnTo>
                    <a:pt x="743" y="1795"/>
                  </a:lnTo>
                  <a:lnTo>
                    <a:pt x="743" y="38124"/>
                  </a:lnTo>
                  <a:lnTo>
                    <a:pt x="0" y="39918"/>
                  </a:lnTo>
                  <a:lnTo>
                    <a:pt x="70115" y="39918"/>
                  </a:lnTo>
                  <a:cubicBezTo>
                    <a:pt x="74856" y="39918"/>
                    <a:pt x="78700" y="36074"/>
                    <a:pt x="78700" y="31333"/>
                  </a:cubicBezTo>
                  <a:lnTo>
                    <a:pt x="78700" y="8586"/>
                  </a:lnTo>
                  <a:cubicBezTo>
                    <a:pt x="78700" y="3844"/>
                    <a:pt x="74856" y="0"/>
                    <a:pt x="70115" y="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p>
              <a:pPr algn="ctr">
                <a:spcBef>
                  <a:spcPts val="1100"/>
                </a:spcBef>
                <a:buClr>
                  <a:schemeClr val="tx2"/>
                </a:buClr>
                <a:buSzPct val="70000"/>
                <a:buFont typeface="Wingdings" pitchFamily="2" charset="2"/>
                <a:buNone/>
              </a:pPr>
              <a:endParaRPr lang="en-US" dirty="0">
                <a:solidFill>
                  <a:schemeClr val="bg1"/>
                </a:solidFill>
                <a:latin typeface="Arial" pitchFamily="34" charset="0"/>
                <a:cs typeface="Arial" pitchFamily="34" charset="0"/>
              </a:endParaRPr>
            </a:p>
          </p:txBody>
        </p:sp>
        <p:sp>
          <p:nvSpPr>
            <p:cNvPr id="224" name="Freeform: Shape 223">
              <a:extLst>
                <a:ext uri="{FF2B5EF4-FFF2-40B4-BE49-F238E27FC236}">
                  <a16:creationId xmlns:a16="http://schemas.microsoft.com/office/drawing/2014/main" id="{CBD9B796-26DB-49BC-9467-DC538512279A}"/>
                </a:ext>
              </a:extLst>
            </p:cNvPr>
            <p:cNvSpPr/>
            <p:nvPr/>
          </p:nvSpPr>
          <p:spPr bwMode="gray">
            <a:xfrm flipH="1">
              <a:off x="8000921" y="2100416"/>
              <a:ext cx="261687" cy="193585"/>
            </a:xfrm>
            <a:custGeom>
              <a:avLst/>
              <a:gdLst>
                <a:gd name="connsiteX0" fmla="*/ 717294 w 1182763"/>
                <a:gd name="connsiteY0" fmla="*/ 0 h 874956"/>
                <a:gd name="connsiteX1" fmla="*/ 465470 w 1182763"/>
                <a:gd name="connsiteY1" fmla="*/ 0 h 874956"/>
                <a:gd name="connsiteX2" fmla="*/ 396845 w 1182763"/>
                <a:gd name="connsiteY2" fmla="*/ 68625 h 874956"/>
                <a:gd name="connsiteX3" fmla="*/ 396845 w 1182763"/>
                <a:gd name="connsiteY3" fmla="*/ 382717 h 874956"/>
                <a:gd name="connsiteX4" fmla="*/ 112438 w 1182763"/>
                <a:gd name="connsiteY4" fmla="*/ 382717 h 874956"/>
                <a:gd name="connsiteX5" fmla="*/ 0 w 1182763"/>
                <a:gd name="connsiteY5" fmla="*/ 495155 h 874956"/>
                <a:gd name="connsiteX6" fmla="*/ 0 w 1182763"/>
                <a:gd name="connsiteY6" fmla="*/ 659353 h 874956"/>
                <a:gd name="connsiteX7" fmla="*/ 112438 w 1182763"/>
                <a:gd name="connsiteY7" fmla="*/ 771791 h 874956"/>
                <a:gd name="connsiteX8" fmla="*/ 396845 w 1182763"/>
                <a:gd name="connsiteY8" fmla="*/ 771791 h 874956"/>
                <a:gd name="connsiteX9" fmla="*/ 396845 w 1182763"/>
                <a:gd name="connsiteY9" fmla="*/ 806331 h 874956"/>
                <a:gd name="connsiteX10" fmla="*/ 465470 w 1182763"/>
                <a:gd name="connsiteY10" fmla="*/ 874956 h 874956"/>
                <a:gd name="connsiteX11" fmla="*/ 717294 w 1182763"/>
                <a:gd name="connsiteY11" fmla="*/ 874956 h 874956"/>
                <a:gd name="connsiteX12" fmla="*/ 785919 w 1182763"/>
                <a:gd name="connsiteY12" fmla="*/ 806331 h 874956"/>
                <a:gd name="connsiteX13" fmla="*/ 785919 w 1182763"/>
                <a:gd name="connsiteY13" fmla="*/ 771791 h 874956"/>
                <a:gd name="connsiteX14" fmla="*/ 1070325 w 1182763"/>
                <a:gd name="connsiteY14" fmla="*/ 771791 h 874956"/>
                <a:gd name="connsiteX15" fmla="*/ 1182763 w 1182763"/>
                <a:gd name="connsiteY15" fmla="*/ 659353 h 874956"/>
                <a:gd name="connsiteX16" fmla="*/ 1182763 w 1182763"/>
                <a:gd name="connsiteY16" fmla="*/ 495155 h 874956"/>
                <a:gd name="connsiteX17" fmla="*/ 1070325 w 1182763"/>
                <a:gd name="connsiteY17" fmla="*/ 382717 h 874956"/>
                <a:gd name="connsiteX18" fmla="*/ 785919 w 1182763"/>
                <a:gd name="connsiteY18" fmla="*/ 382717 h 874956"/>
                <a:gd name="connsiteX19" fmla="*/ 785919 w 1182763"/>
                <a:gd name="connsiteY19" fmla="*/ 68625 h 874956"/>
                <a:gd name="connsiteX20" fmla="*/ 717294 w 1182763"/>
                <a:gd name="connsiteY20" fmla="*/ 0 h 87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82763" h="874956">
                  <a:moveTo>
                    <a:pt x="717294" y="0"/>
                  </a:moveTo>
                  <a:lnTo>
                    <a:pt x="465470" y="0"/>
                  </a:lnTo>
                  <a:cubicBezTo>
                    <a:pt x="427569" y="0"/>
                    <a:pt x="396845" y="30724"/>
                    <a:pt x="396845" y="68625"/>
                  </a:cubicBezTo>
                  <a:lnTo>
                    <a:pt x="396845" y="382717"/>
                  </a:lnTo>
                  <a:lnTo>
                    <a:pt x="112438" y="382717"/>
                  </a:lnTo>
                  <a:cubicBezTo>
                    <a:pt x="50340" y="382717"/>
                    <a:pt x="0" y="433057"/>
                    <a:pt x="0" y="495155"/>
                  </a:cubicBezTo>
                  <a:lnTo>
                    <a:pt x="0" y="659353"/>
                  </a:lnTo>
                  <a:cubicBezTo>
                    <a:pt x="0" y="721451"/>
                    <a:pt x="50340" y="771791"/>
                    <a:pt x="112438" y="771791"/>
                  </a:cubicBezTo>
                  <a:lnTo>
                    <a:pt x="396845" y="771791"/>
                  </a:lnTo>
                  <a:lnTo>
                    <a:pt x="396845" y="806331"/>
                  </a:lnTo>
                  <a:cubicBezTo>
                    <a:pt x="396845" y="844232"/>
                    <a:pt x="427569" y="874956"/>
                    <a:pt x="465470" y="874956"/>
                  </a:cubicBezTo>
                  <a:lnTo>
                    <a:pt x="717294" y="874956"/>
                  </a:lnTo>
                  <a:cubicBezTo>
                    <a:pt x="755195" y="874956"/>
                    <a:pt x="785919" y="844232"/>
                    <a:pt x="785919" y="806331"/>
                  </a:cubicBezTo>
                  <a:lnTo>
                    <a:pt x="785919" y="771791"/>
                  </a:lnTo>
                  <a:lnTo>
                    <a:pt x="1070325" y="771791"/>
                  </a:lnTo>
                  <a:cubicBezTo>
                    <a:pt x="1132423" y="771791"/>
                    <a:pt x="1182763" y="721451"/>
                    <a:pt x="1182763" y="659353"/>
                  </a:cubicBezTo>
                  <a:lnTo>
                    <a:pt x="1182763" y="495155"/>
                  </a:lnTo>
                  <a:cubicBezTo>
                    <a:pt x="1182763" y="433057"/>
                    <a:pt x="1132423" y="382717"/>
                    <a:pt x="1070325" y="382717"/>
                  </a:cubicBezTo>
                  <a:lnTo>
                    <a:pt x="785919" y="382717"/>
                  </a:lnTo>
                  <a:lnTo>
                    <a:pt x="785919" y="68625"/>
                  </a:lnTo>
                  <a:cubicBezTo>
                    <a:pt x="785919" y="30724"/>
                    <a:pt x="755195" y="0"/>
                    <a:pt x="717294" y="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p>
              <a:pPr algn="ctr">
                <a:spcBef>
                  <a:spcPts val="1100"/>
                </a:spcBef>
                <a:buClr>
                  <a:schemeClr val="tx2"/>
                </a:buClr>
                <a:buSzPct val="70000"/>
                <a:buFont typeface="Wingdings" pitchFamily="2" charset="2"/>
                <a:buNone/>
              </a:pPr>
              <a:endParaRPr lang="en-US" dirty="0">
                <a:solidFill>
                  <a:schemeClr val="bg1"/>
                </a:solidFill>
                <a:latin typeface="Arial" pitchFamily="34" charset="0"/>
                <a:cs typeface="Arial" pitchFamily="34" charset="0"/>
              </a:endParaRPr>
            </a:p>
          </p:txBody>
        </p:sp>
        <p:cxnSp>
          <p:nvCxnSpPr>
            <p:cNvPr id="225" name="Straight Connector 224">
              <a:extLst>
                <a:ext uri="{FF2B5EF4-FFF2-40B4-BE49-F238E27FC236}">
                  <a16:creationId xmlns:a16="http://schemas.microsoft.com/office/drawing/2014/main" id="{D7B99CF9-EE42-41B3-9875-37F5D15EA8DC}"/>
                </a:ext>
              </a:extLst>
            </p:cNvPr>
            <p:cNvCxnSpPr>
              <a:cxnSpLocks/>
            </p:cNvCxnSpPr>
            <p:nvPr/>
          </p:nvCxnSpPr>
          <p:spPr bwMode="gray">
            <a:xfrm>
              <a:off x="8131764" y="2012602"/>
              <a:ext cx="0" cy="48488"/>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6" name="Straight Connector 225">
              <a:extLst>
                <a:ext uri="{FF2B5EF4-FFF2-40B4-BE49-F238E27FC236}">
                  <a16:creationId xmlns:a16="http://schemas.microsoft.com/office/drawing/2014/main" id="{DBD67668-A710-42D3-9210-F3D6026A11D0}"/>
                </a:ext>
              </a:extLst>
            </p:cNvPr>
            <p:cNvCxnSpPr>
              <a:cxnSpLocks/>
            </p:cNvCxnSpPr>
            <p:nvPr/>
          </p:nvCxnSpPr>
          <p:spPr bwMode="gray">
            <a:xfrm>
              <a:off x="8091837" y="2076538"/>
              <a:ext cx="79855"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7" name="Straight Connector 226">
              <a:extLst>
                <a:ext uri="{FF2B5EF4-FFF2-40B4-BE49-F238E27FC236}">
                  <a16:creationId xmlns:a16="http://schemas.microsoft.com/office/drawing/2014/main" id="{43A5950B-6007-4AAF-A77D-BDB28F2E15BB}"/>
                </a:ext>
              </a:extLst>
            </p:cNvPr>
            <p:cNvCxnSpPr>
              <a:cxnSpLocks/>
            </p:cNvCxnSpPr>
            <p:nvPr/>
          </p:nvCxnSpPr>
          <p:spPr bwMode="gray">
            <a:xfrm>
              <a:off x="8064418" y="1996310"/>
              <a:ext cx="134693"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8" name="Straight Connector 227">
              <a:extLst>
                <a:ext uri="{FF2B5EF4-FFF2-40B4-BE49-F238E27FC236}">
                  <a16:creationId xmlns:a16="http://schemas.microsoft.com/office/drawing/2014/main" id="{999A561F-77ED-42AD-BA2E-59C6ADD603CF}"/>
                </a:ext>
              </a:extLst>
            </p:cNvPr>
            <p:cNvCxnSpPr>
              <a:cxnSpLocks/>
            </p:cNvCxnSpPr>
            <p:nvPr/>
          </p:nvCxnSpPr>
          <p:spPr bwMode="gray">
            <a:xfrm>
              <a:off x="8035351" y="2185093"/>
              <a:ext cx="0" cy="86083"/>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29" name="Straight Connector 228">
              <a:extLst>
                <a:ext uri="{FF2B5EF4-FFF2-40B4-BE49-F238E27FC236}">
                  <a16:creationId xmlns:a16="http://schemas.microsoft.com/office/drawing/2014/main" id="{B99B279D-39DB-43DD-B684-82347BE74812}"/>
                </a:ext>
              </a:extLst>
            </p:cNvPr>
            <p:cNvCxnSpPr>
              <a:cxnSpLocks/>
            </p:cNvCxnSpPr>
            <p:nvPr/>
          </p:nvCxnSpPr>
          <p:spPr bwMode="gray">
            <a:xfrm>
              <a:off x="8228177" y="2185093"/>
              <a:ext cx="0" cy="86083"/>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30" name="Straight Connector 229">
              <a:extLst>
                <a:ext uri="{FF2B5EF4-FFF2-40B4-BE49-F238E27FC236}">
                  <a16:creationId xmlns:a16="http://schemas.microsoft.com/office/drawing/2014/main" id="{AE451D69-2BB1-45CE-81B4-4D6A498A5D7E}"/>
                </a:ext>
              </a:extLst>
            </p:cNvPr>
            <p:cNvCxnSpPr>
              <a:cxnSpLocks/>
            </p:cNvCxnSpPr>
            <p:nvPr/>
          </p:nvCxnSpPr>
          <p:spPr bwMode="gray">
            <a:xfrm>
              <a:off x="8088723" y="2125715"/>
              <a:ext cx="86083"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31" name="Freeform: Shape 230">
              <a:extLst>
                <a:ext uri="{FF2B5EF4-FFF2-40B4-BE49-F238E27FC236}">
                  <a16:creationId xmlns:a16="http://schemas.microsoft.com/office/drawing/2014/main" id="{892FC391-5931-4355-8926-1D5CA8C234D4}"/>
                </a:ext>
              </a:extLst>
            </p:cNvPr>
            <p:cNvSpPr/>
            <p:nvPr/>
          </p:nvSpPr>
          <p:spPr bwMode="gray">
            <a:xfrm>
              <a:off x="8261865" y="2208175"/>
              <a:ext cx="78699" cy="39918"/>
            </a:xfrm>
            <a:custGeom>
              <a:avLst/>
              <a:gdLst>
                <a:gd name="connsiteX0" fmla="*/ 0 w 78699"/>
                <a:gd name="connsiteY0" fmla="*/ 0 h 39918"/>
                <a:gd name="connsiteX1" fmla="*/ 70114 w 78699"/>
                <a:gd name="connsiteY1" fmla="*/ 0 h 39918"/>
                <a:gd name="connsiteX2" fmla="*/ 78699 w 78699"/>
                <a:gd name="connsiteY2" fmla="*/ 8586 h 39918"/>
                <a:gd name="connsiteX3" fmla="*/ 78699 w 78699"/>
                <a:gd name="connsiteY3" fmla="*/ 31333 h 39918"/>
                <a:gd name="connsiteX4" fmla="*/ 70114 w 78699"/>
                <a:gd name="connsiteY4" fmla="*/ 39918 h 39918"/>
                <a:gd name="connsiteX5" fmla="*/ 0 w 78699"/>
                <a:gd name="connsiteY5" fmla="*/ 39918 h 39918"/>
                <a:gd name="connsiteX6" fmla="*/ 743 w 78699"/>
                <a:gd name="connsiteY6" fmla="*/ 38124 h 39918"/>
                <a:gd name="connsiteX7" fmla="*/ 743 w 78699"/>
                <a:gd name="connsiteY7" fmla="*/ 1795 h 3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99" h="39918">
                  <a:moveTo>
                    <a:pt x="0" y="0"/>
                  </a:moveTo>
                  <a:lnTo>
                    <a:pt x="70114" y="0"/>
                  </a:lnTo>
                  <a:cubicBezTo>
                    <a:pt x="74855" y="0"/>
                    <a:pt x="78699" y="3844"/>
                    <a:pt x="78699" y="8586"/>
                  </a:cubicBezTo>
                  <a:lnTo>
                    <a:pt x="78699" y="31333"/>
                  </a:lnTo>
                  <a:cubicBezTo>
                    <a:pt x="78699" y="36074"/>
                    <a:pt x="74855" y="39918"/>
                    <a:pt x="70114" y="39918"/>
                  </a:cubicBezTo>
                  <a:lnTo>
                    <a:pt x="0" y="39918"/>
                  </a:lnTo>
                  <a:lnTo>
                    <a:pt x="743" y="38124"/>
                  </a:lnTo>
                  <a:lnTo>
                    <a:pt x="743" y="1795"/>
                  </a:ln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p>
              <a:pPr algn="ctr">
                <a:spcBef>
                  <a:spcPts val="1100"/>
                </a:spcBef>
                <a:buClr>
                  <a:schemeClr val="tx2"/>
                </a:buClr>
                <a:buSzPct val="70000"/>
                <a:buFont typeface="Wingdings" pitchFamily="2" charset="2"/>
                <a:buNone/>
              </a:pPr>
              <a:endParaRPr lang="en-US" dirty="0">
                <a:solidFill>
                  <a:schemeClr val="bg1"/>
                </a:solidFill>
                <a:latin typeface="Arial" pitchFamily="34" charset="0"/>
                <a:cs typeface="Arial" pitchFamily="34" charset="0"/>
              </a:endParaRPr>
            </a:p>
          </p:txBody>
        </p:sp>
      </p:grpSp>
      <p:cxnSp>
        <p:nvCxnSpPr>
          <p:cNvPr id="232" name="Straight Connector 231">
            <a:extLst>
              <a:ext uri="{FF2B5EF4-FFF2-40B4-BE49-F238E27FC236}">
                <a16:creationId xmlns:a16="http://schemas.microsoft.com/office/drawing/2014/main" id="{87181975-F61D-47FA-967C-BBD9A5D10A0C}"/>
              </a:ext>
            </a:extLst>
          </p:cNvPr>
          <p:cNvCxnSpPr>
            <a:cxnSpLocks/>
            <a:stCxn id="144" idx="0"/>
          </p:cNvCxnSpPr>
          <p:nvPr/>
        </p:nvCxnSpPr>
        <p:spPr bwMode="gray">
          <a:xfrm flipH="1" flipV="1">
            <a:off x="7530334" y="2455406"/>
            <a:ext cx="326" cy="125832"/>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233" name="Group 232">
            <a:extLst>
              <a:ext uri="{FF2B5EF4-FFF2-40B4-BE49-F238E27FC236}">
                <a16:creationId xmlns:a16="http://schemas.microsoft.com/office/drawing/2014/main" id="{29A61E40-FFA3-49CE-8063-5066A4566459}"/>
              </a:ext>
            </a:extLst>
          </p:cNvPr>
          <p:cNvGrpSpPr/>
          <p:nvPr/>
        </p:nvGrpSpPr>
        <p:grpSpPr bwMode="gray">
          <a:xfrm>
            <a:off x="2129343" y="2141863"/>
            <a:ext cx="962472" cy="474352"/>
            <a:chOff x="2129343" y="2600950"/>
            <a:chExt cx="962472" cy="474352"/>
          </a:xfrm>
        </p:grpSpPr>
        <p:sp>
          <p:nvSpPr>
            <p:cNvPr id="234" name="Rectangle 233">
              <a:extLst>
                <a:ext uri="{FF2B5EF4-FFF2-40B4-BE49-F238E27FC236}">
                  <a16:creationId xmlns:a16="http://schemas.microsoft.com/office/drawing/2014/main" id="{30186EE9-F04B-49F3-BE12-3AE880289BCA}"/>
                </a:ext>
              </a:extLst>
            </p:cNvPr>
            <p:cNvSpPr/>
            <p:nvPr/>
          </p:nvSpPr>
          <p:spPr bwMode="gray">
            <a:xfrm>
              <a:off x="2129343" y="2910272"/>
              <a:ext cx="962472"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en-US" sz="1000" dirty="0">
                  <a:solidFill>
                    <a:schemeClr val="tx1"/>
                  </a:solidFill>
                </a:rPr>
                <a:t>Product compression</a:t>
              </a:r>
            </a:p>
          </p:txBody>
        </p:sp>
        <p:sp>
          <p:nvSpPr>
            <p:cNvPr id="235" name="Rectangle: Rounded Corners 234">
              <a:extLst>
                <a:ext uri="{FF2B5EF4-FFF2-40B4-BE49-F238E27FC236}">
                  <a16:creationId xmlns:a16="http://schemas.microsoft.com/office/drawing/2014/main" id="{FDC97E5A-D71A-48E7-92CF-73081CC8EB81}"/>
                </a:ext>
              </a:extLst>
            </p:cNvPr>
            <p:cNvSpPr/>
            <p:nvPr/>
          </p:nvSpPr>
          <p:spPr bwMode="gray">
            <a:xfrm>
              <a:off x="2281014" y="2600950"/>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en-US" sz="1000" b="1" dirty="0">
                  <a:solidFill>
                    <a:schemeClr val="tx1"/>
                  </a:solidFill>
                </a:rPr>
                <a:t>GAR</a:t>
              </a:r>
            </a:p>
          </p:txBody>
        </p:sp>
      </p:grpSp>
      <p:sp>
        <p:nvSpPr>
          <p:cNvPr id="236" name="Rectangle 235">
            <a:extLst>
              <a:ext uri="{FF2B5EF4-FFF2-40B4-BE49-F238E27FC236}">
                <a16:creationId xmlns:a16="http://schemas.microsoft.com/office/drawing/2014/main" id="{A615C5B2-2D15-4FAF-BDBC-6B1D8482BB2D}"/>
              </a:ext>
            </a:extLst>
          </p:cNvPr>
          <p:cNvSpPr>
            <a:spLocks/>
          </p:cNvSpPr>
          <p:nvPr/>
        </p:nvSpPr>
        <p:spPr bwMode="gray">
          <a:xfrm>
            <a:off x="9752580" y="3073529"/>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N</a:t>
            </a:r>
            <a:r>
              <a:rPr lang="en-US" sz="500" b="1" baseline="-25000" dirty="0">
                <a:solidFill>
                  <a:schemeClr val="bg1"/>
                </a:solidFill>
              </a:rPr>
              <a:t>2</a:t>
            </a:r>
            <a:endParaRPr lang="en-US" sz="500" b="1" dirty="0">
              <a:solidFill>
                <a:schemeClr val="bg1"/>
              </a:solidFill>
            </a:endParaRPr>
          </a:p>
        </p:txBody>
      </p:sp>
      <p:sp>
        <p:nvSpPr>
          <p:cNvPr id="237" name="Rectangle 236">
            <a:extLst>
              <a:ext uri="{FF2B5EF4-FFF2-40B4-BE49-F238E27FC236}">
                <a16:creationId xmlns:a16="http://schemas.microsoft.com/office/drawing/2014/main" id="{0D1B695A-2B59-43B4-B8B7-1917C2C0DE75}"/>
              </a:ext>
            </a:extLst>
          </p:cNvPr>
          <p:cNvSpPr>
            <a:spLocks/>
          </p:cNvSpPr>
          <p:nvPr/>
        </p:nvSpPr>
        <p:spPr bwMode="gray">
          <a:xfrm>
            <a:off x="9052529" y="3511584"/>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N</a:t>
            </a:r>
            <a:r>
              <a:rPr lang="en-US" sz="500" b="1" baseline="-25000" dirty="0">
                <a:solidFill>
                  <a:schemeClr val="bg1"/>
                </a:solidFill>
              </a:rPr>
              <a:t>2</a:t>
            </a:r>
            <a:endParaRPr lang="en-US" sz="500" b="1" dirty="0">
              <a:solidFill>
                <a:schemeClr val="bg1"/>
              </a:solidFill>
            </a:endParaRPr>
          </a:p>
        </p:txBody>
      </p:sp>
      <p:sp>
        <p:nvSpPr>
          <p:cNvPr id="238" name="Rectangle 237">
            <a:extLst>
              <a:ext uri="{FF2B5EF4-FFF2-40B4-BE49-F238E27FC236}">
                <a16:creationId xmlns:a16="http://schemas.microsoft.com/office/drawing/2014/main" id="{99C26252-D018-4F9C-8836-2315366F10E0}"/>
              </a:ext>
            </a:extLst>
          </p:cNvPr>
          <p:cNvSpPr>
            <a:spLocks/>
          </p:cNvSpPr>
          <p:nvPr/>
        </p:nvSpPr>
        <p:spPr bwMode="gray">
          <a:xfrm>
            <a:off x="7926249" y="3037952"/>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N</a:t>
            </a:r>
            <a:r>
              <a:rPr lang="en-US" sz="500" b="1" baseline="-25000" dirty="0">
                <a:solidFill>
                  <a:schemeClr val="bg1"/>
                </a:solidFill>
              </a:rPr>
              <a:t>2</a:t>
            </a:r>
            <a:endParaRPr lang="en-US" sz="500" b="1" dirty="0">
              <a:solidFill>
                <a:schemeClr val="bg1"/>
              </a:solidFill>
            </a:endParaRPr>
          </a:p>
        </p:txBody>
      </p:sp>
      <p:sp>
        <p:nvSpPr>
          <p:cNvPr id="239" name="Rectangle 238">
            <a:extLst>
              <a:ext uri="{FF2B5EF4-FFF2-40B4-BE49-F238E27FC236}">
                <a16:creationId xmlns:a16="http://schemas.microsoft.com/office/drawing/2014/main" id="{67F04075-3717-41EF-BD7F-1BF9E11D412E}"/>
              </a:ext>
            </a:extLst>
          </p:cNvPr>
          <p:cNvSpPr>
            <a:spLocks/>
          </p:cNvSpPr>
          <p:nvPr/>
        </p:nvSpPr>
        <p:spPr bwMode="gray">
          <a:xfrm>
            <a:off x="6594245" y="3653377"/>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N</a:t>
            </a:r>
            <a:r>
              <a:rPr lang="en-US" sz="500" b="1" baseline="-25000" dirty="0">
                <a:solidFill>
                  <a:schemeClr val="bg1"/>
                </a:solidFill>
              </a:rPr>
              <a:t>2</a:t>
            </a:r>
            <a:endParaRPr lang="en-US" sz="500" b="1" dirty="0">
              <a:solidFill>
                <a:schemeClr val="bg1"/>
              </a:solidFill>
            </a:endParaRPr>
          </a:p>
        </p:txBody>
      </p:sp>
      <p:sp>
        <p:nvSpPr>
          <p:cNvPr id="245" name="Rectangle 244">
            <a:extLst>
              <a:ext uri="{FF2B5EF4-FFF2-40B4-BE49-F238E27FC236}">
                <a16:creationId xmlns:a16="http://schemas.microsoft.com/office/drawing/2014/main" id="{7FD4814F-8CC4-4E06-A06F-D8E49E2F5D5D}"/>
              </a:ext>
            </a:extLst>
          </p:cNvPr>
          <p:cNvSpPr>
            <a:spLocks/>
          </p:cNvSpPr>
          <p:nvPr/>
        </p:nvSpPr>
        <p:spPr bwMode="gray">
          <a:xfrm>
            <a:off x="7926249" y="2909360"/>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err="1">
                <a:solidFill>
                  <a:schemeClr val="bg1"/>
                </a:solidFill>
              </a:rPr>
              <a:t>Ar</a:t>
            </a:r>
            <a:endParaRPr lang="en-US" sz="500" b="1" dirty="0">
              <a:solidFill>
                <a:schemeClr val="bg1"/>
              </a:solidFill>
            </a:endParaRPr>
          </a:p>
        </p:txBody>
      </p:sp>
      <p:sp>
        <p:nvSpPr>
          <p:cNvPr id="246" name="Rectangle 245">
            <a:extLst>
              <a:ext uri="{FF2B5EF4-FFF2-40B4-BE49-F238E27FC236}">
                <a16:creationId xmlns:a16="http://schemas.microsoft.com/office/drawing/2014/main" id="{F9FB703B-EC01-4065-BA28-CCA282692E0C}"/>
              </a:ext>
            </a:extLst>
          </p:cNvPr>
          <p:cNvSpPr>
            <a:spLocks/>
          </p:cNvSpPr>
          <p:nvPr/>
        </p:nvSpPr>
        <p:spPr bwMode="gray">
          <a:xfrm>
            <a:off x="6594245" y="3524779"/>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err="1">
                <a:solidFill>
                  <a:schemeClr val="bg1"/>
                </a:solidFill>
              </a:rPr>
              <a:t>Ar</a:t>
            </a:r>
            <a:endParaRPr lang="en-US" sz="500" b="1" dirty="0">
              <a:solidFill>
                <a:schemeClr val="bg1"/>
              </a:solidFill>
            </a:endParaRPr>
          </a:p>
        </p:txBody>
      </p:sp>
      <p:sp>
        <p:nvSpPr>
          <p:cNvPr id="247" name="Rectangle 246">
            <a:extLst>
              <a:ext uri="{FF2B5EF4-FFF2-40B4-BE49-F238E27FC236}">
                <a16:creationId xmlns:a16="http://schemas.microsoft.com/office/drawing/2014/main" id="{EA1FC29F-DDE9-44A7-B9BF-31C9F33C98FD}"/>
              </a:ext>
            </a:extLst>
          </p:cNvPr>
          <p:cNvSpPr>
            <a:spLocks/>
          </p:cNvSpPr>
          <p:nvPr/>
        </p:nvSpPr>
        <p:spPr bwMode="gray">
          <a:xfrm>
            <a:off x="9052529" y="3382447"/>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err="1">
                <a:solidFill>
                  <a:schemeClr val="bg1"/>
                </a:solidFill>
              </a:rPr>
              <a:t>Ar</a:t>
            </a:r>
            <a:endParaRPr lang="en-US" sz="500" b="1" dirty="0">
              <a:solidFill>
                <a:schemeClr val="bg1"/>
              </a:solidFill>
            </a:endParaRPr>
          </a:p>
        </p:txBody>
      </p:sp>
      <p:sp>
        <p:nvSpPr>
          <p:cNvPr id="248" name="Rectangle 247">
            <a:extLst>
              <a:ext uri="{FF2B5EF4-FFF2-40B4-BE49-F238E27FC236}">
                <a16:creationId xmlns:a16="http://schemas.microsoft.com/office/drawing/2014/main" id="{17E7EC28-5C5F-4DC2-AEC4-D2F56517DF06}"/>
              </a:ext>
            </a:extLst>
          </p:cNvPr>
          <p:cNvSpPr>
            <a:spLocks/>
          </p:cNvSpPr>
          <p:nvPr/>
        </p:nvSpPr>
        <p:spPr bwMode="gray">
          <a:xfrm>
            <a:off x="9752580" y="3202666"/>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err="1">
                <a:solidFill>
                  <a:schemeClr val="bg1"/>
                </a:solidFill>
              </a:rPr>
              <a:t>Ar</a:t>
            </a:r>
            <a:endParaRPr lang="en-US" sz="500" b="1" dirty="0">
              <a:solidFill>
                <a:schemeClr val="bg1"/>
              </a:solidFill>
            </a:endParaRPr>
          </a:p>
        </p:txBody>
      </p:sp>
      <p:sp>
        <p:nvSpPr>
          <p:cNvPr id="251" name="Rectangle 250">
            <a:extLst>
              <a:ext uri="{FF2B5EF4-FFF2-40B4-BE49-F238E27FC236}">
                <a16:creationId xmlns:a16="http://schemas.microsoft.com/office/drawing/2014/main" id="{38A168CB-FFFC-4EBD-B011-CED33765DF6D}"/>
              </a:ext>
            </a:extLst>
          </p:cNvPr>
          <p:cNvSpPr>
            <a:spLocks/>
          </p:cNvSpPr>
          <p:nvPr/>
        </p:nvSpPr>
        <p:spPr bwMode="gray">
          <a:xfrm>
            <a:off x="7926249" y="2780768"/>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O</a:t>
            </a:r>
            <a:r>
              <a:rPr lang="en-US" sz="500" b="1" baseline="-25000" dirty="0">
                <a:solidFill>
                  <a:schemeClr val="bg1"/>
                </a:solidFill>
              </a:rPr>
              <a:t>2 </a:t>
            </a:r>
            <a:r>
              <a:rPr lang="en-US" sz="500" b="1" dirty="0">
                <a:solidFill>
                  <a:schemeClr val="bg1"/>
                </a:solidFill>
              </a:rPr>
              <a:t>ppm</a:t>
            </a:r>
          </a:p>
        </p:txBody>
      </p:sp>
      <p:sp>
        <p:nvSpPr>
          <p:cNvPr id="252" name="Rectangle 251">
            <a:extLst>
              <a:ext uri="{FF2B5EF4-FFF2-40B4-BE49-F238E27FC236}">
                <a16:creationId xmlns:a16="http://schemas.microsoft.com/office/drawing/2014/main" id="{C21EB7B9-B6C9-49A4-B36E-37B60671EF6E}"/>
              </a:ext>
            </a:extLst>
          </p:cNvPr>
          <p:cNvSpPr>
            <a:spLocks/>
          </p:cNvSpPr>
          <p:nvPr/>
        </p:nvSpPr>
        <p:spPr bwMode="gray">
          <a:xfrm>
            <a:off x="9052529" y="3253310"/>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O</a:t>
            </a:r>
            <a:r>
              <a:rPr lang="en-US" sz="500" b="1" baseline="-25000" dirty="0">
                <a:solidFill>
                  <a:schemeClr val="bg1"/>
                </a:solidFill>
              </a:rPr>
              <a:t>2 </a:t>
            </a:r>
            <a:r>
              <a:rPr lang="en-US" sz="500" b="1" dirty="0">
                <a:solidFill>
                  <a:schemeClr val="bg1"/>
                </a:solidFill>
              </a:rPr>
              <a:t>ppm</a:t>
            </a:r>
          </a:p>
        </p:txBody>
      </p:sp>
      <p:sp>
        <p:nvSpPr>
          <p:cNvPr id="253" name="Rectangle 252">
            <a:extLst>
              <a:ext uri="{FF2B5EF4-FFF2-40B4-BE49-F238E27FC236}">
                <a16:creationId xmlns:a16="http://schemas.microsoft.com/office/drawing/2014/main" id="{95474264-0D38-40C7-AA14-12AF0D49F413}"/>
              </a:ext>
            </a:extLst>
          </p:cNvPr>
          <p:cNvSpPr>
            <a:spLocks/>
          </p:cNvSpPr>
          <p:nvPr/>
        </p:nvSpPr>
        <p:spPr bwMode="gray">
          <a:xfrm>
            <a:off x="9752580" y="2944392"/>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O</a:t>
            </a:r>
            <a:r>
              <a:rPr lang="en-US" sz="500" b="1" baseline="-25000" dirty="0">
                <a:solidFill>
                  <a:schemeClr val="bg1"/>
                </a:solidFill>
              </a:rPr>
              <a:t>2 </a:t>
            </a:r>
            <a:r>
              <a:rPr lang="en-US" sz="500" b="1" dirty="0">
                <a:solidFill>
                  <a:schemeClr val="bg1"/>
                </a:solidFill>
              </a:rPr>
              <a:t>ppm</a:t>
            </a:r>
          </a:p>
        </p:txBody>
      </p:sp>
      <p:sp>
        <p:nvSpPr>
          <p:cNvPr id="254" name="Rectangle 253">
            <a:extLst>
              <a:ext uri="{FF2B5EF4-FFF2-40B4-BE49-F238E27FC236}">
                <a16:creationId xmlns:a16="http://schemas.microsoft.com/office/drawing/2014/main" id="{8EF887ED-31F6-4173-9424-CF6BA719D7AF}"/>
              </a:ext>
            </a:extLst>
          </p:cNvPr>
          <p:cNvSpPr>
            <a:spLocks/>
          </p:cNvSpPr>
          <p:nvPr/>
        </p:nvSpPr>
        <p:spPr bwMode="gray">
          <a:xfrm>
            <a:off x="10178847" y="1981741"/>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O</a:t>
            </a:r>
            <a:r>
              <a:rPr lang="en-US" sz="500" b="1" baseline="-25000" dirty="0">
                <a:solidFill>
                  <a:schemeClr val="bg1"/>
                </a:solidFill>
              </a:rPr>
              <a:t>2 </a:t>
            </a:r>
            <a:r>
              <a:rPr lang="en-US" sz="500" b="1" dirty="0">
                <a:solidFill>
                  <a:schemeClr val="bg1"/>
                </a:solidFill>
              </a:rPr>
              <a:t>ppm</a:t>
            </a:r>
          </a:p>
        </p:txBody>
      </p:sp>
      <p:sp>
        <p:nvSpPr>
          <p:cNvPr id="255" name="Rectangle 254">
            <a:extLst>
              <a:ext uri="{FF2B5EF4-FFF2-40B4-BE49-F238E27FC236}">
                <a16:creationId xmlns:a16="http://schemas.microsoft.com/office/drawing/2014/main" id="{65D24A09-2E0E-4FBF-A39B-6043FBC931E6}"/>
              </a:ext>
            </a:extLst>
          </p:cNvPr>
          <p:cNvSpPr>
            <a:spLocks/>
          </p:cNvSpPr>
          <p:nvPr/>
        </p:nvSpPr>
        <p:spPr bwMode="gray">
          <a:xfrm>
            <a:off x="7985473" y="1981741"/>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O</a:t>
            </a:r>
            <a:r>
              <a:rPr lang="en-US" sz="500" b="1" baseline="-25000" dirty="0">
                <a:solidFill>
                  <a:schemeClr val="bg1"/>
                </a:solidFill>
              </a:rPr>
              <a:t>2 </a:t>
            </a:r>
            <a:r>
              <a:rPr lang="en-US" sz="500" b="1" dirty="0">
                <a:solidFill>
                  <a:schemeClr val="bg1"/>
                </a:solidFill>
              </a:rPr>
              <a:t>ppm</a:t>
            </a:r>
          </a:p>
        </p:txBody>
      </p:sp>
      <p:sp>
        <p:nvSpPr>
          <p:cNvPr id="256" name="Rectangle 255">
            <a:extLst>
              <a:ext uri="{FF2B5EF4-FFF2-40B4-BE49-F238E27FC236}">
                <a16:creationId xmlns:a16="http://schemas.microsoft.com/office/drawing/2014/main" id="{3CC1AE00-4DA6-4044-87A9-99F100130BF4}"/>
              </a:ext>
            </a:extLst>
          </p:cNvPr>
          <p:cNvSpPr>
            <a:spLocks/>
          </p:cNvSpPr>
          <p:nvPr/>
        </p:nvSpPr>
        <p:spPr bwMode="gray">
          <a:xfrm>
            <a:off x="10178847" y="2112515"/>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Impurities</a:t>
            </a:r>
          </a:p>
        </p:txBody>
      </p:sp>
      <p:sp>
        <p:nvSpPr>
          <p:cNvPr id="257" name="Rectangle 256">
            <a:extLst>
              <a:ext uri="{FF2B5EF4-FFF2-40B4-BE49-F238E27FC236}">
                <a16:creationId xmlns:a16="http://schemas.microsoft.com/office/drawing/2014/main" id="{C76BD43B-3DDE-45A6-8ACE-2707482D1119}"/>
              </a:ext>
            </a:extLst>
          </p:cNvPr>
          <p:cNvSpPr>
            <a:spLocks/>
          </p:cNvSpPr>
          <p:nvPr/>
        </p:nvSpPr>
        <p:spPr bwMode="gray">
          <a:xfrm>
            <a:off x="8374345" y="1981741"/>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Impurities</a:t>
            </a:r>
          </a:p>
        </p:txBody>
      </p:sp>
      <p:sp>
        <p:nvSpPr>
          <p:cNvPr id="258" name="Rectangle 257">
            <a:extLst>
              <a:ext uri="{FF2B5EF4-FFF2-40B4-BE49-F238E27FC236}">
                <a16:creationId xmlns:a16="http://schemas.microsoft.com/office/drawing/2014/main" id="{D4EF0665-444E-4957-9C86-A2F52EACC7EE}"/>
              </a:ext>
            </a:extLst>
          </p:cNvPr>
          <p:cNvSpPr>
            <a:spLocks/>
          </p:cNvSpPr>
          <p:nvPr/>
        </p:nvSpPr>
        <p:spPr bwMode="gray">
          <a:xfrm>
            <a:off x="9603836" y="4390749"/>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Impurities</a:t>
            </a:r>
          </a:p>
        </p:txBody>
      </p:sp>
      <p:sp>
        <p:nvSpPr>
          <p:cNvPr id="259" name="Rectangle 258">
            <a:extLst>
              <a:ext uri="{FF2B5EF4-FFF2-40B4-BE49-F238E27FC236}">
                <a16:creationId xmlns:a16="http://schemas.microsoft.com/office/drawing/2014/main" id="{133CD969-BA04-4AFD-AAC0-B1411257D219}"/>
              </a:ext>
            </a:extLst>
          </p:cNvPr>
          <p:cNvSpPr>
            <a:spLocks/>
          </p:cNvSpPr>
          <p:nvPr/>
        </p:nvSpPr>
        <p:spPr bwMode="gray">
          <a:xfrm>
            <a:off x="8650568" y="4390749"/>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Impurities</a:t>
            </a:r>
          </a:p>
        </p:txBody>
      </p:sp>
      <p:sp>
        <p:nvSpPr>
          <p:cNvPr id="260" name="Rectangle 259">
            <a:extLst>
              <a:ext uri="{FF2B5EF4-FFF2-40B4-BE49-F238E27FC236}">
                <a16:creationId xmlns:a16="http://schemas.microsoft.com/office/drawing/2014/main" id="{FEEF9603-C5E4-4A43-85F3-2B32E03A7DDC}"/>
              </a:ext>
            </a:extLst>
          </p:cNvPr>
          <p:cNvSpPr>
            <a:spLocks/>
          </p:cNvSpPr>
          <p:nvPr/>
        </p:nvSpPr>
        <p:spPr bwMode="gray">
          <a:xfrm>
            <a:off x="9752580" y="3331636"/>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Impurities</a:t>
            </a:r>
          </a:p>
        </p:txBody>
      </p:sp>
      <p:sp>
        <p:nvSpPr>
          <p:cNvPr id="261" name="Rectangle 260">
            <a:extLst>
              <a:ext uri="{FF2B5EF4-FFF2-40B4-BE49-F238E27FC236}">
                <a16:creationId xmlns:a16="http://schemas.microsoft.com/office/drawing/2014/main" id="{F261DA93-37F1-4B9F-AE71-5188531E63DE}"/>
              </a:ext>
            </a:extLst>
          </p:cNvPr>
          <p:cNvSpPr>
            <a:spLocks/>
          </p:cNvSpPr>
          <p:nvPr/>
        </p:nvSpPr>
        <p:spPr bwMode="gray">
          <a:xfrm>
            <a:off x="9052529" y="3640556"/>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Impurities</a:t>
            </a:r>
          </a:p>
        </p:txBody>
      </p:sp>
      <p:sp>
        <p:nvSpPr>
          <p:cNvPr id="262" name="Rectangle 261">
            <a:extLst>
              <a:ext uri="{FF2B5EF4-FFF2-40B4-BE49-F238E27FC236}">
                <a16:creationId xmlns:a16="http://schemas.microsoft.com/office/drawing/2014/main" id="{FFDF6B96-BADC-4854-92C9-A53725B61095}"/>
              </a:ext>
            </a:extLst>
          </p:cNvPr>
          <p:cNvSpPr>
            <a:spLocks/>
          </p:cNvSpPr>
          <p:nvPr/>
        </p:nvSpPr>
        <p:spPr bwMode="gray">
          <a:xfrm>
            <a:off x="6594245" y="3396182"/>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t>O</a:t>
            </a:r>
            <a:r>
              <a:rPr lang="en-US" sz="500" b="1" baseline="-25000" dirty="0"/>
              <a:t>2 </a:t>
            </a:r>
            <a:r>
              <a:rPr lang="en-US" sz="500" b="1" dirty="0"/>
              <a:t>%</a:t>
            </a:r>
          </a:p>
        </p:txBody>
      </p:sp>
      <p:sp>
        <p:nvSpPr>
          <p:cNvPr id="263" name="Rectangle 262">
            <a:extLst>
              <a:ext uri="{FF2B5EF4-FFF2-40B4-BE49-F238E27FC236}">
                <a16:creationId xmlns:a16="http://schemas.microsoft.com/office/drawing/2014/main" id="{FC84B07A-A3F6-431E-9453-F7D4F2D3DAC0}"/>
              </a:ext>
            </a:extLst>
          </p:cNvPr>
          <p:cNvSpPr>
            <a:spLocks/>
          </p:cNvSpPr>
          <p:nvPr/>
        </p:nvSpPr>
        <p:spPr bwMode="gray">
          <a:xfrm>
            <a:off x="4656885" y="3758059"/>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t>O</a:t>
            </a:r>
            <a:r>
              <a:rPr lang="en-US" sz="500" b="1" baseline="-25000" dirty="0"/>
              <a:t>2 </a:t>
            </a:r>
            <a:r>
              <a:rPr lang="en-US" sz="500" b="1" dirty="0"/>
              <a:t>%</a:t>
            </a:r>
          </a:p>
        </p:txBody>
      </p:sp>
      <p:sp>
        <p:nvSpPr>
          <p:cNvPr id="264" name="Rectangle 263">
            <a:extLst>
              <a:ext uri="{FF2B5EF4-FFF2-40B4-BE49-F238E27FC236}">
                <a16:creationId xmlns:a16="http://schemas.microsoft.com/office/drawing/2014/main" id="{D227AF56-4761-437D-927D-032F1BF137FE}"/>
              </a:ext>
            </a:extLst>
          </p:cNvPr>
          <p:cNvSpPr>
            <a:spLocks/>
          </p:cNvSpPr>
          <p:nvPr/>
        </p:nvSpPr>
        <p:spPr bwMode="gray">
          <a:xfrm>
            <a:off x="6470228" y="4110482"/>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t>O</a:t>
            </a:r>
            <a:r>
              <a:rPr lang="en-US" sz="500" b="1" baseline="-25000" dirty="0"/>
              <a:t>2 </a:t>
            </a:r>
            <a:r>
              <a:rPr lang="en-US" sz="500" b="1" dirty="0"/>
              <a:t>%</a:t>
            </a:r>
          </a:p>
        </p:txBody>
      </p:sp>
      <p:sp>
        <p:nvSpPr>
          <p:cNvPr id="265" name="Rectangle 264">
            <a:extLst>
              <a:ext uri="{FF2B5EF4-FFF2-40B4-BE49-F238E27FC236}">
                <a16:creationId xmlns:a16="http://schemas.microsoft.com/office/drawing/2014/main" id="{E68AC768-C93F-4854-8CE0-0FEC0536B4C0}"/>
              </a:ext>
            </a:extLst>
          </p:cNvPr>
          <p:cNvSpPr>
            <a:spLocks/>
          </p:cNvSpPr>
          <p:nvPr/>
        </p:nvSpPr>
        <p:spPr bwMode="gray">
          <a:xfrm>
            <a:off x="3275301" y="2833792"/>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O</a:t>
            </a:r>
            <a:r>
              <a:rPr lang="en-US" sz="500" b="1" baseline="-25000" dirty="0">
                <a:solidFill>
                  <a:schemeClr val="bg1"/>
                </a:solidFill>
              </a:rPr>
              <a:t>2 </a:t>
            </a:r>
            <a:r>
              <a:rPr lang="en-US" sz="500" b="1" dirty="0">
                <a:solidFill>
                  <a:schemeClr val="bg1"/>
                </a:solidFill>
              </a:rPr>
              <a:t>ppm</a:t>
            </a:r>
          </a:p>
        </p:txBody>
      </p:sp>
      <p:sp>
        <p:nvSpPr>
          <p:cNvPr id="266" name="Rectangle 265">
            <a:extLst>
              <a:ext uri="{FF2B5EF4-FFF2-40B4-BE49-F238E27FC236}">
                <a16:creationId xmlns:a16="http://schemas.microsoft.com/office/drawing/2014/main" id="{7CD10935-2250-4B56-A60E-3622439E535C}"/>
              </a:ext>
            </a:extLst>
          </p:cNvPr>
          <p:cNvSpPr>
            <a:spLocks/>
          </p:cNvSpPr>
          <p:nvPr/>
        </p:nvSpPr>
        <p:spPr bwMode="gray">
          <a:xfrm>
            <a:off x="3131187" y="2158477"/>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O</a:t>
            </a:r>
            <a:r>
              <a:rPr lang="en-US" sz="500" b="1" baseline="-25000" dirty="0">
                <a:solidFill>
                  <a:schemeClr val="bg1"/>
                </a:solidFill>
              </a:rPr>
              <a:t>2 </a:t>
            </a:r>
            <a:r>
              <a:rPr lang="en-US" sz="500" b="1" dirty="0">
                <a:solidFill>
                  <a:schemeClr val="bg1"/>
                </a:solidFill>
              </a:rPr>
              <a:t>ppm</a:t>
            </a:r>
          </a:p>
        </p:txBody>
      </p:sp>
      <p:sp>
        <p:nvSpPr>
          <p:cNvPr id="267" name="Rectangle 266">
            <a:extLst>
              <a:ext uri="{FF2B5EF4-FFF2-40B4-BE49-F238E27FC236}">
                <a16:creationId xmlns:a16="http://schemas.microsoft.com/office/drawing/2014/main" id="{F2F8554C-6ABF-49EA-8ACB-AB64103D5598}"/>
              </a:ext>
            </a:extLst>
          </p:cNvPr>
          <p:cNvSpPr>
            <a:spLocks/>
          </p:cNvSpPr>
          <p:nvPr/>
        </p:nvSpPr>
        <p:spPr bwMode="gray">
          <a:xfrm>
            <a:off x="3508702" y="2158477"/>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err="1">
                <a:solidFill>
                  <a:schemeClr val="bg1"/>
                </a:solidFill>
              </a:rPr>
              <a:t>Ar</a:t>
            </a:r>
            <a:endParaRPr lang="en-US" sz="500" b="1" dirty="0">
              <a:solidFill>
                <a:schemeClr val="bg1"/>
              </a:solidFill>
            </a:endParaRPr>
          </a:p>
        </p:txBody>
      </p:sp>
      <p:sp>
        <p:nvSpPr>
          <p:cNvPr id="268" name="Rectangle 267">
            <a:extLst>
              <a:ext uri="{FF2B5EF4-FFF2-40B4-BE49-F238E27FC236}">
                <a16:creationId xmlns:a16="http://schemas.microsoft.com/office/drawing/2014/main" id="{9F37509F-DC44-4634-96C6-C1569520C9EB}"/>
              </a:ext>
            </a:extLst>
          </p:cNvPr>
          <p:cNvSpPr>
            <a:spLocks/>
          </p:cNvSpPr>
          <p:nvPr/>
        </p:nvSpPr>
        <p:spPr bwMode="gray">
          <a:xfrm>
            <a:off x="3886216" y="2158477"/>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Impurities</a:t>
            </a:r>
          </a:p>
        </p:txBody>
      </p:sp>
      <p:sp>
        <p:nvSpPr>
          <p:cNvPr id="271" name="Rectangle 270">
            <a:extLst>
              <a:ext uri="{FF2B5EF4-FFF2-40B4-BE49-F238E27FC236}">
                <a16:creationId xmlns:a16="http://schemas.microsoft.com/office/drawing/2014/main" id="{6AF50905-A75D-46F7-A396-2887EAEB801E}"/>
              </a:ext>
            </a:extLst>
          </p:cNvPr>
          <p:cNvSpPr>
            <a:spLocks/>
          </p:cNvSpPr>
          <p:nvPr/>
        </p:nvSpPr>
        <p:spPr bwMode="gray">
          <a:xfrm>
            <a:off x="3074381" y="3878695"/>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Impurities</a:t>
            </a:r>
          </a:p>
        </p:txBody>
      </p:sp>
      <p:sp>
        <p:nvSpPr>
          <p:cNvPr id="272" name="Rectangle 271">
            <a:extLst>
              <a:ext uri="{FF2B5EF4-FFF2-40B4-BE49-F238E27FC236}">
                <a16:creationId xmlns:a16="http://schemas.microsoft.com/office/drawing/2014/main" id="{4A02A6E3-919F-4673-8AC3-D637DB96B8A8}"/>
              </a:ext>
            </a:extLst>
          </p:cNvPr>
          <p:cNvSpPr>
            <a:spLocks/>
          </p:cNvSpPr>
          <p:nvPr/>
        </p:nvSpPr>
        <p:spPr bwMode="gray">
          <a:xfrm>
            <a:off x="3074381" y="3493410"/>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t>O</a:t>
            </a:r>
            <a:r>
              <a:rPr lang="en-US" sz="500" b="1" baseline="-25000" dirty="0"/>
              <a:t>2 </a:t>
            </a:r>
            <a:r>
              <a:rPr lang="en-US" sz="500" b="1" dirty="0"/>
              <a:t>%</a:t>
            </a:r>
          </a:p>
        </p:txBody>
      </p:sp>
      <p:sp>
        <p:nvSpPr>
          <p:cNvPr id="276" name="Rectangle 275">
            <a:extLst>
              <a:ext uri="{FF2B5EF4-FFF2-40B4-BE49-F238E27FC236}">
                <a16:creationId xmlns:a16="http://schemas.microsoft.com/office/drawing/2014/main" id="{1188C2B1-0D77-4E31-8EE6-1E7834760027}"/>
              </a:ext>
            </a:extLst>
          </p:cNvPr>
          <p:cNvSpPr>
            <a:spLocks/>
          </p:cNvSpPr>
          <p:nvPr/>
        </p:nvSpPr>
        <p:spPr bwMode="gray">
          <a:xfrm>
            <a:off x="3462217" y="5298192"/>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THC</a:t>
            </a:r>
          </a:p>
        </p:txBody>
      </p:sp>
      <p:sp>
        <p:nvSpPr>
          <p:cNvPr id="277" name="Rectangle 276">
            <a:extLst>
              <a:ext uri="{FF2B5EF4-FFF2-40B4-BE49-F238E27FC236}">
                <a16:creationId xmlns:a16="http://schemas.microsoft.com/office/drawing/2014/main" id="{F38CE21A-AB82-4A02-952A-5C305F536651}"/>
              </a:ext>
            </a:extLst>
          </p:cNvPr>
          <p:cNvSpPr>
            <a:spLocks/>
          </p:cNvSpPr>
          <p:nvPr/>
        </p:nvSpPr>
        <p:spPr bwMode="gray">
          <a:xfrm>
            <a:off x="3074381" y="3626180"/>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THC</a:t>
            </a:r>
          </a:p>
        </p:txBody>
      </p:sp>
      <p:sp>
        <p:nvSpPr>
          <p:cNvPr id="278" name="Rectangle 277">
            <a:extLst>
              <a:ext uri="{FF2B5EF4-FFF2-40B4-BE49-F238E27FC236}">
                <a16:creationId xmlns:a16="http://schemas.microsoft.com/office/drawing/2014/main" id="{C16B6757-77DF-44FC-8EAB-1BE281C18270}"/>
              </a:ext>
            </a:extLst>
          </p:cNvPr>
          <p:cNvSpPr>
            <a:spLocks/>
          </p:cNvSpPr>
          <p:nvPr/>
        </p:nvSpPr>
        <p:spPr bwMode="gray">
          <a:xfrm>
            <a:off x="3253529" y="4635180"/>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CO</a:t>
            </a:r>
            <a:r>
              <a:rPr lang="en-US" sz="500" b="1" baseline="-25000" dirty="0">
                <a:solidFill>
                  <a:schemeClr val="bg1"/>
                </a:solidFill>
              </a:rPr>
              <a:t>2</a:t>
            </a:r>
            <a:endParaRPr lang="en-US" sz="500" b="1" dirty="0">
              <a:solidFill>
                <a:schemeClr val="bg1"/>
              </a:solidFill>
            </a:endParaRPr>
          </a:p>
        </p:txBody>
      </p:sp>
      <p:sp>
        <p:nvSpPr>
          <p:cNvPr id="279" name="Rectangle 278">
            <a:extLst>
              <a:ext uri="{FF2B5EF4-FFF2-40B4-BE49-F238E27FC236}">
                <a16:creationId xmlns:a16="http://schemas.microsoft.com/office/drawing/2014/main" id="{8592B5A9-772A-4DF3-A590-3D1E9D4B8557}"/>
              </a:ext>
            </a:extLst>
          </p:cNvPr>
          <p:cNvSpPr>
            <a:spLocks/>
          </p:cNvSpPr>
          <p:nvPr/>
        </p:nvSpPr>
        <p:spPr bwMode="gray">
          <a:xfrm>
            <a:off x="3074381" y="3752438"/>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CO</a:t>
            </a:r>
            <a:r>
              <a:rPr lang="en-US" sz="500" b="1" baseline="-25000" dirty="0">
                <a:solidFill>
                  <a:schemeClr val="bg1"/>
                </a:solidFill>
              </a:rPr>
              <a:t>2</a:t>
            </a:r>
            <a:endParaRPr lang="en-US" sz="500" b="1" dirty="0">
              <a:solidFill>
                <a:schemeClr val="bg1"/>
              </a:solidFill>
            </a:endParaRPr>
          </a:p>
        </p:txBody>
      </p:sp>
      <p:cxnSp>
        <p:nvCxnSpPr>
          <p:cNvPr id="280" name="Connector: Elbow 279">
            <a:extLst>
              <a:ext uri="{FF2B5EF4-FFF2-40B4-BE49-F238E27FC236}">
                <a16:creationId xmlns:a16="http://schemas.microsoft.com/office/drawing/2014/main" id="{523043F4-4866-47D8-9796-C4D81B6FAFD9}"/>
              </a:ext>
            </a:extLst>
          </p:cNvPr>
          <p:cNvCxnSpPr>
            <a:cxnSpLocks/>
            <a:stCxn id="174" idx="2"/>
            <a:endCxn id="129" idx="3"/>
          </p:cNvCxnSpPr>
          <p:nvPr/>
        </p:nvCxnSpPr>
        <p:spPr bwMode="gray">
          <a:xfrm rot="10800000">
            <a:off x="2930974" y="3101540"/>
            <a:ext cx="1017477" cy="459370"/>
          </a:xfrm>
          <a:prstGeom prst="bentConnector3">
            <a:avLst>
              <a:gd name="adj1" fmla="val 3315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1" name="Connector: Elbow 280">
            <a:extLst>
              <a:ext uri="{FF2B5EF4-FFF2-40B4-BE49-F238E27FC236}">
                <a16:creationId xmlns:a16="http://schemas.microsoft.com/office/drawing/2014/main" id="{DFCB9EF0-3F26-4CDF-A0B2-E4C8558B81C6}"/>
              </a:ext>
            </a:extLst>
          </p:cNvPr>
          <p:cNvCxnSpPr>
            <a:cxnSpLocks/>
            <a:stCxn id="155" idx="3"/>
            <a:endCxn id="168" idx="1"/>
          </p:cNvCxnSpPr>
          <p:nvPr/>
        </p:nvCxnSpPr>
        <p:spPr bwMode="gray">
          <a:xfrm flipV="1">
            <a:off x="7869517" y="3173611"/>
            <a:ext cx="519331" cy="265629"/>
          </a:xfrm>
          <a:prstGeom prst="bentConnector3">
            <a:avLst>
              <a:gd name="adj1" fmla="val 1087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82" name="Rectangle 281">
            <a:extLst>
              <a:ext uri="{FF2B5EF4-FFF2-40B4-BE49-F238E27FC236}">
                <a16:creationId xmlns:a16="http://schemas.microsoft.com/office/drawing/2014/main" id="{7581D5D2-21B4-4A2F-9707-E4F098A45EBA}"/>
              </a:ext>
            </a:extLst>
          </p:cNvPr>
          <p:cNvSpPr>
            <a:spLocks/>
          </p:cNvSpPr>
          <p:nvPr/>
        </p:nvSpPr>
        <p:spPr bwMode="gray">
          <a:xfrm>
            <a:off x="3253529" y="4506818"/>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THC</a:t>
            </a:r>
          </a:p>
        </p:txBody>
      </p:sp>
      <p:sp>
        <p:nvSpPr>
          <p:cNvPr id="284" name="Rectangle 283">
            <a:extLst>
              <a:ext uri="{FF2B5EF4-FFF2-40B4-BE49-F238E27FC236}">
                <a16:creationId xmlns:a16="http://schemas.microsoft.com/office/drawing/2014/main" id="{06CCEF7A-89C9-4298-9EC1-63391D2BB494}"/>
              </a:ext>
            </a:extLst>
          </p:cNvPr>
          <p:cNvSpPr>
            <a:spLocks/>
          </p:cNvSpPr>
          <p:nvPr/>
        </p:nvSpPr>
        <p:spPr bwMode="gray">
          <a:xfrm>
            <a:off x="9603836" y="4247452"/>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O</a:t>
            </a:r>
            <a:r>
              <a:rPr lang="en-US" sz="500" b="1" baseline="-25000" dirty="0">
                <a:solidFill>
                  <a:schemeClr val="bg1"/>
                </a:solidFill>
              </a:rPr>
              <a:t>2 </a:t>
            </a:r>
            <a:r>
              <a:rPr lang="en-US" sz="500" b="1" dirty="0">
                <a:solidFill>
                  <a:schemeClr val="bg1"/>
                </a:solidFill>
              </a:rPr>
              <a:t>%</a:t>
            </a:r>
          </a:p>
        </p:txBody>
      </p:sp>
      <p:sp>
        <p:nvSpPr>
          <p:cNvPr id="285" name="Rectangle 284">
            <a:extLst>
              <a:ext uri="{FF2B5EF4-FFF2-40B4-BE49-F238E27FC236}">
                <a16:creationId xmlns:a16="http://schemas.microsoft.com/office/drawing/2014/main" id="{450D51F1-93B6-4213-BAD8-BAF295E172D5}"/>
              </a:ext>
            </a:extLst>
          </p:cNvPr>
          <p:cNvSpPr>
            <a:spLocks/>
          </p:cNvSpPr>
          <p:nvPr/>
        </p:nvSpPr>
        <p:spPr bwMode="gray">
          <a:xfrm>
            <a:off x="8648520" y="4247452"/>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O</a:t>
            </a:r>
            <a:r>
              <a:rPr lang="en-US" sz="500" b="1" baseline="-25000" dirty="0">
                <a:solidFill>
                  <a:schemeClr val="bg1"/>
                </a:solidFill>
              </a:rPr>
              <a:t>2 </a:t>
            </a:r>
            <a:r>
              <a:rPr lang="en-US" sz="500" b="1" dirty="0">
                <a:solidFill>
                  <a:schemeClr val="bg1"/>
                </a:solidFill>
              </a:rPr>
              <a:t>%</a:t>
            </a:r>
          </a:p>
        </p:txBody>
      </p:sp>
      <p:graphicFrame>
        <p:nvGraphicFramePr>
          <p:cNvPr id="286" name="Content Placeholder 7">
            <a:extLst>
              <a:ext uri="{FF2B5EF4-FFF2-40B4-BE49-F238E27FC236}">
                <a16:creationId xmlns:a16="http://schemas.microsoft.com/office/drawing/2014/main" id="{5EEC55AA-4B23-434D-8D67-ADEE622EE15F}"/>
              </a:ext>
            </a:extLst>
          </p:cNvPr>
          <p:cNvGraphicFramePr>
            <a:graphicFrameLocks/>
          </p:cNvGraphicFramePr>
          <p:nvPr>
            <p:extLst/>
          </p:nvPr>
        </p:nvGraphicFramePr>
        <p:xfrm>
          <a:off x="9056135" y="5306981"/>
          <a:ext cx="1585279" cy="673200"/>
        </p:xfrm>
        <a:graphic>
          <a:graphicData uri="http://schemas.openxmlformats.org/drawingml/2006/table">
            <a:tbl>
              <a:tblPr firstRow="1" bandRow="1">
                <a:tableStyleId>{16D9F66E-5EB9-4882-86FB-DCBF35E3C3E4}</a:tableStyleId>
              </a:tblPr>
              <a:tblGrid>
                <a:gridCol w="414943">
                  <a:extLst>
                    <a:ext uri="{9D8B030D-6E8A-4147-A177-3AD203B41FA5}">
                      <a16:colId xmlns:a16="http://schemas.microsoft.com/office/drawing/2014/main" val="1559770323"/>
                    </a:ext>
                  </a:extLst>
                </a:gridCol>
                <a:gridCol w="1170336">
                  <a:extLst>
                    <a:ext uri="{9D8B030D-6E8A-4147-A177-3AD203B41FA5}">
                      <a16:colId xmlns:a16="http://schemas.microsoft.com/office/drawing/2014/main" val="1785848533"/>
                    </a:ext>
                  </a:extLst>
                </a:gridCol>
              </a:tblGrid>
              <a:tr h="170161">
                <a:tc>
                  <a:txBody>
                    <a:bodyPr/>
                    <a:lstStyle/>
                    <a:p>
                      <a:r>
                        <a:rPr lang="de-DE" sz="1000" b="1" dirty="0">
                          <a:solidFill>
                            <a:schemeClr val="tx1"/>
                          </a:solidFill>
                        </a:rPr>
                        <a:t>GAR</a:t>
                      </a:r>
                    </a:p>
                  </a:txBody>
                  <a:tcPr marL="36000" marR="36000" marT="36000" marB="36000">
                    <a:lnL w="9525" cap="flat" cmpd="sng" algn="ctr">
                      <a:solidFill>
                        <a:schemeClr val="accent4"/>
                      </a:solidFill>
                      <a:prstDash val="solid"/>
                      <a:round/>
                      <a:headEnd type="none" w="med" len="med"/>
                      <a:tailEnd type="none" w="med" len="med"/>
                    </a:lnL>
                    <a:lnR w="12700" cmpd="sng">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b="0" dirty="0"/>
                        <a:t>Gaseous Argon</a:t>
                      </a:r>
                    </a:p>
                  </a:txBody>
                  <a:tcPr marL="36000" marR="36000" marT="36000" marB="36000">
                    <a:lnL w="12700" cmpd="sng">
                      <a:noFill/>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7580464"/>
                  </a:ext>
                </a:extLst>
              </a:tr>
              <a:tr h="170161">
                <a:tc>
                  <a:txBody>
                    <a:bodyPr/>
                    <a:lstStyle/>
                    <a:p>
                      <a:r>
                        <a:rPr lang="de-DE" sz="1000" b="1" dirty="0">
                          <a:solidFill>
                            <a:schemeClr val="tx1"/>
                          </a:solidFill>
                        </a:rPr>
                        <a:t>GOX</a:t>
                      </a:r>
                    </a:p>
                  </a:txBody>
                  <a:tcPr marL="36000" marR="36000" marT="36000" marB="36000">
                    <a:lnL w="9525" cap="flat" cmpd="sng" algn="ctr">
                      <a:solidFill>
                        <a:schemeClr val="accent4"/>
                      </a:solidFill>
                      <a:prstDash val="solid"/>
                      <a:round/>
                      <a:headEnd type="none" w="med" len="med"/>
                      <a:tailEnd type="none" w="med" len="med"/>
                    </a:lnL>
                    <a:lnR w="12700" cmpd="sng">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b="0" dirty="0"/>
                        <a:t>Gaseous Oxygen</a:t>
                      </a:r>
                    </a:p>
                  </a:txBody>
                  <a:tcPr marL="36000" marR="36000" marT="36000" marB="36000">
                    <a:lnL w="12700" cmpd="sng">
                      <a:noFill/>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6300133"/>
                  </a:ext>
                </a:extLst>
              </a:tr>
              <a:tr h="170161">
                <a:tc>
                  <a:txBody>
                    <a:bodyPr/>
                    <a:lstStyle/>
                    <a:p>
                      <a:r>
                        <a:rPr lang="de-DE" sz="1000" b="1" dirty="0">
                          <a:solidFill>
                            <a:schemeClr val="tx1"/>
                          </a:solidFill>
                        </a:rPr>
                        <a:t>GAN</a:t>
                      </a:r>
                    </a:p>
                  </a:txBody>
                  <a:tcPr marL="36000" marR="36000" marT="36000" marB="36000">
                    <a:lnL w="9525" cap="flat" cmpd="sng" algn="ctr">
                      <a:solidFill>
                        <a:schemeClr val="accent4"/>
                      </a:solidFill>
                      <a:prstDash val="solid"/>
                      <a:round/>
                      <a:headEnd type="none" w="med" len="med"/>
                      <a:tailEnd type="none" w="med" len="med"/>
                    </a:lnL>
                    <a:lnR w="12700" cmpd="sng">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b="0" dirty="0"/>
                        <a:t>Gaseous Nitrogen</a:t>
                      </a:r>
                    </a:p>
                  </a:txBody>
                  <a:tcPr marL="36000" marR="36000" marT="36000" marB="36000">
                    <a:lnL w="12700" cmpd="sng">
                      <a:noFill/>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33483031"/>
                  </a:ext>
                </a:extLst>
              </a:tr>
            </a:tbl>
          </a:graphicData>
        </a:graphic>
      </p:graphicFrame>
      <p:sp>
        <p:nvSpPr>
          <p:cNvPr id="2" name="Date Placeholder 1">
            <a:extLst>
              <a:ext uri="{FF2B5EF4-FFF2-40B4-BE49-F238E27FC236}">
                <a16:creationId xmlns:a16="http://schemas.microsoft.com/office/drawing/2014/main" id="{BA6DBC63-FCE9-4DF4-A860-2150EAC644D0}"/>
              </a:ext>
            </a:extLst>
          </p:cNvPr>
          <p:cNvSpPr>
            <a:spLocks noGrp="1"/>
          </p:cNvSpPr>
          <p:nvPr>
            <p:ph type="dt" sz="half" idx="14"/>
          </p:nvPr>
        </p:nvSpPr>
        <p:spPr bwMode="gray"/>
        <p:txBody>
          <a:bodyPr/>
          <a:lstStyle/>
          <a:p>
            <a:fld id="{82EDCCEB-0416-4E92-8A94-502D05F6DBFF}" type="datetime4">
              <a:rPr lang="en-US" smtClean="0"/>
              <a:t>September 8, 2019</a:t>
            </a:fld>
            <a:endParaRPr lang="en-US" dirty="0"/>
          </a:p>
        </p:txBody>
      </p:sp>
      <p:sp>
        <p:nvSpPr>
          <p:cNvPr id="4" name="Footer Placeholder 3">
            <a:extLst>
              <a:ext uri="{FF2B5EF4-FFF2-40B4-BE49-F238E27FC236}">
                <a16:creationId xmlns:a16="http://schemas.microsoft.com/office/drawing/2014/main" id="{A69F8E79-7F71-4716-B7D9-9C1B8739B068}"/>
              </a:ext>
            </a:extLst>
          </p:cNvPr>
          <p:cNvSpPr>
            <a:spLocks noGrp="1"/>
          </p:cNvSpPr>
          <p:nvPr>
            <p:ph type="ftr" sz="quarter" idx="15"/>
          </p:nvPr>
        </p:nvSpPr>
        <p:spPr bwMode="gray"/>
        <p:txBody>
          <a:bodyPr/>
          <a:lstStyle/>
          <a:p>
            <a:pPr lvl="8"/>
            <a:r>
              <a:rPr lang="de-DE" dirty="0"/>
              <a:t>* PPU – </a:t>
            </a:r>
            <a:r>
              <a:rPr lang="de-DE" dirty="0" err="1"/>
              <a:t>Pre</a:t>
            </a:r>
            <a:r>
              <a:rPr lang="de-DE" dirty="0"/>
              <a:t> </a:t>
            </a:r>
            <a:r>
              <a:rPr lang="de-DE" dirty="0" err="1"/>
              <a:t>Purification</a:t>
            </a:r>
            <a:r>
              <a:rPr lang="de-DE" dirty="0"/>
              <a:t> Unit</a:t>
            </a:r>
            <a:endParaRPr lang="en-US" dirty="0"/>
          </a:p>
        </p:txBody>
      </p:sp>
      <p:sp>
        <p:nvSpPr>
          <p:cNvPr id="5" name="Slide Number Placeholder 4">
            <a:extLst>
              <a:ext uri="{FF2B5EF4-FFF2-40B4-BE49-F238E27FC236}">
                <a16:creationId xmlns:a16="http://schemas.microsoft.com/office/drawing/2014/main" id="{BBE9B027-D992-49B2-9CE2-03873CB383BC}"/>
              </a:ext>
            </a:extLst>
          </p:cNvPr>
          <p:cNvSpPr>
            <a:spLocks noGrp="1"/>
          </p:cNvSpPr>
          <p:nvPr>
            <p:ph type="sldNum" sz="quarter" idx="16"/>
          </p:nvPr>
        </p:nvSpPr>
        <p:spPr bwMode="gray"/>
        <p:txBody>
          <a:bodyPr/>
          <a:lstStyle/>
          <a:p>
            <a:r>
              <a:rPr lang="en-US" dirty="0"/>
              <a:t>Slide </a:t>
            </a:r>
            <a:fld id="{619F89D8-7AE3-494A-97F3-03D680869632}" type="slidenum">
              <a:rPr lang="en-US" smtClean="0"/>
              <a:pPr/>
              <a:t>30</a:t>
            </a:fld>
            <a:endParaRPr lang="en-US" dirty="0"/>
          </a:p>
        </p:txBody>
      </p:sp>
      <p:sp>
        <p:nvSpPr>
          <p:cNvPr id="287" name="Oval 286">
            <a:extLst>
              <a:ext uri="{FF2B5EF4-FFF2-40B4-BE49-F238E27FC236}">
                <a16:creationId xmlns:a16="http://schemas.microsoft.com/office/drawing/2014/main" id="{BAC87738-DCB3-4A85-8DC6-B9D853AFB073}"/>
              </a:ext>
            </a:extLst>
          </p:cNvPr>
          <p:cNvSpPr/>
          <p:nvPr/>
        </p:nvSpPr>
        <p:spPr bwMode="gray">
          <a:xfrm>
            <a:off x="3220035" y="5267871"/>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1</a:t>
            </a:r>
          </a:p>
        </p:txBody>
      </p:sp>
      <p:sp>
        <p:nvSpPr>
          <p:cNvPr id="288" name="Oval 287">
            <a:extLst>
              <a:ext uri="{FF2B5EF4-FFF2-40B4-BE49-F238E27FC236}">
                <a16:creationId xmlns:a16="http://schemas.microsoft.com/office/drawing/2014/main" id="{C5F346E8-5434-4D5D-88A9-97253618F18C}"/>
              </a:ext>
            </a:extLst>
          </p:cNvPr>
          <p:cNvSpPr/>
          <p:nvPr/>
        </p:nvSpPr>
        <p:spPr bwMode="gray">
          <a:xfrm>
            <a:off x="3344898" y="4279295"/>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2</a:t>
            </a:r>
          </a:p>
        </p:txBody>
      </p:sp>
      <p:sp>
        <p:nvSpPr>
          <p:cNvPr id="289" name="Oval 288">
            <a:extLst>
              <a:ext uri="{FF2B5EF4-FFF2-40B4-BE49-F238E27FC236}">
                <a16:creationId xmlns:a16="http://schemas.microsoft.com/office/drawing/2014/main" id="{47526D73-9153-4699-ABE3-485414C64E92}"/>
              </a:ext>
            </a:extLst>
          </p:cNvPr>
          <p:cNvSpPr/>
          <p:nvPr/>
        </p:nvSpPr>
        <p:spPr bwMode="gray">
          <a:xfrm>
            <a:off x="3170799" y="4031499"/>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3</a:t>
            </a:r>
          </a:p>
        </p:txBody>
      </p:sp>
      <p:sp>
        <p:nvSpPr>
          <p:cNvPr id="290" name="Oval 289">
            <a:extLst>
              <a:ext uri="{FF2B5EF4-FFF2-40B4-BE49-F238E27FC236}">
                <a16:creationId xmlns:a16="http://schemas.microsoft.com/office/drawing/2014/main" id="{D2C3BAF0-E2DC-432F-9DB5-2B3F71CB960D}"/>
              </a:ext>
            </a:extLst>
          </p:cNvPr>
          <p:cNvSpPr/>
          <p:nvPr/>
        </p:nvSpPr>
        <p:spPr bwMode="gray">
          <a:xfrm>
            <a:off x="4820938" y="3547175"/>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5</a:t>
            </a:r>
          </a:p>
        </p:txBody>
      </p:sp>
      <p:sp>
        <p:nvSpPr>
          <p:cNvPr id="291" name="Oval 290">
            <a:extLst>
              <a:ext uri="{FF2B5EF4-FFF2-40B4-BE49-F238E27FC236}">
                <a16:creationId xmlns:a16="http://schemas.microsoft.com/office/drawing/2014/main" id="{2A4C8E3F-7E70-499C-AB9D-845C26019C89}"/>
              </a:ext>
            </a:extLst>
          </p:cNvPr>
          <p:cNvSpPr/>
          <p:nvPr/>
        </p:nvSpPr>
        <p:spPr bwMode="gray">
          <a:xfrm>
            <a:off x="3359237" y="3128409"/>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4</a:t>
            </a:r>
          </a:p>
        </p:txBody>
      </p:sp>
      <p:sp>
        <p:nvSpPr>
          <p:cNvPr id="292" name="Oval 291">
            <a:extLst>
              <a:ext uri="{FF2B5EF4-FFF2-40B4-BE49-F238E27FC236}">
                <a16:creationId xmlns:a16="http://schemas.microsoft.com/office/drawing/2014/main" id="{D9BAC2E1-4F65-4143-B96B-C3683E5164B3}"/>
              </a:ext>
            </a:extLst>
          </p:cNvPr>
          <p:cNvSpPr/>
          <p:nvPr/>
        </p:nvSpPr>
        <p:spPr bwMode="gray">
          <a:xfrm>
            <a:off x="6216878" y="4074278"/>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8</a:t>
            </a:r>
          </a:p>
        </p:txBody>
      </p:sp>
      <p:sp>
        <p:nvSpPr>
          <p:cNvPr id="295" name="Oval 294">
            <a:extLst>
              <a:ext uri="{FF2B5EF4-FFF2-40B4-BE49-F238E27FC236}">
                <a16:creationId xmlns:a16="http://schemas.microsoft.com/office/drawing/2014/main" id="{09AD337A-6026-43F5-9661-D843E92D3842}"/>
              </a:ext>
            </a:extLst>
          </p:cNvPr>
          <p:cNvSpPr/>
          <p:nvPr/>
        </p:nvSpPr>
        <p:spPr bwMode="gray">
          <a:xfrm>
            <a:off x="9793908" y="2026280"/>
            <a:ext cx="291256" cy="161439"/>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de-DE" sz="1200" b="1" dirty="0">
                <a:solidFill>
                  <a:schemeClr val="bg1"/>
                </a:solidFill>
              </a:rPr>
              <a:t>1</a:t>
            </a:r>
            <a:r>
              <a:rPr lang="en-US" sz="1200" b="1" dirty="0">
                <a:solidFill>
                  <a:schemeClr val="bg1"/>
                </a:solidFill>
              </a:rPr>
              <a:t>0</a:t>
            </a:r>
          </a:p>
        </p:txBody>
      </p:sp>
      <p:sp>
        <p:nvSpPr>
          <p:cNvPr id="296" name="Oval 295">
            <a:extLst>
              <a:ext uri="{FF2B5EF4-FFF2-40B4-BE49-F238E27FC236}">
                <a16:creationId xmlns:a16="http://schemas.microsoft.com/office/drawing/2014/main" id="{7E39272B-D5C7-44CE-B3C7-A25BB770BC48}"/>
              </a:ext>
            </a:extLst>
          </p:cNvPr>
          <p:cNvSpPr/>
          <p:nvPr/>
        </p:nvSpPr>
        <p:spPr bwMode="gray">
          <a:xfrm>
            <a:off x="8767531" y="2026280"/>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9</a:t>
            </a:r>
          </a:p>
        </p:txBody>
      </p:sp>
      <p:sp>
        <p:nvSpPr>
          <p:cNvPr id="297" name="Oval 296">
            <a:extLst>
              <a:ext uri="{FF2B5EF4-FFF2-40B4-BE49-F238E27FC236}">
                <a16:creationId xmlns:a16="http://schemas.microsoft.com/office/drawing/2014/main" id="{85724417-99D3-4312-8AC9-F9B95D2B06C1}"/>
              </a:ext>
            </a:extLst>
          </p:cNvPr>
          <p:cNvSpPr/>
          <p:nvPr/>
        </p:nvSpPr>
        <p:spPr bwMode="gray">
          <a:xfrm>
            <a:off x="9650808" y="4536119"/>
            <a:ext cx="291256" cy="17780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bg1"/>
                </a:solidFill>
              </a:rPr>
              <a:t>12</a:t>
            </a:r>
          </a:p>
        </p:txBody>
      </p:sp>
      <p:sp>
        <p:nvSpPr>
          <p:cNvPr id="301" name="Oval 300">
            <a:extLst>
              <a:ext uri="{FF2B5EF4-FFF2-40B4-BE49-F238E27FC236}">
                <a16:creationId xmlns:a16="http://schemas.microsoft.com/office/drawing/2014/main" id="{B6CBFF29-8D3E-4864-8DA6-309FA29783BA}"/>
              </a:ext>
            </a:extLst>
          </p:cNvPr>
          <p:cNvSpPr/>
          <p:nvPr/>
        </p:nvSpPr>
        <p:spPr bwMode="gray">
          <a:xfrm>
            <a:off x="9084710" y="3787542"/>
            <a:ext cx="291256" cy="17780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bg1"/>
                </a:solidFill>
              </a:rPr>
              <a:t>15</a:t>
            </a:r>
          </a:p>
        </p:txBody>
      </p:sp>
      <p:sp>
        <p:nvSpPr>
          <p:cNvPr id="302" name="Oval 301">
            <a:extLst>
              <a:ext uri="{FF2B5EF4-FFF2-40B4-BE49-F238E27FC236}">
                <a16:creationId xmlns:a16="http://schemas.microsoft.com/office/drawing/2014/main" id="{D18A4F02-AB20-4B17-B633-A22F67E1E0FB}"/>
              </a:ext>
            </a:extLst>
          </p:cNvPr>
          <p:cNvSpPr/>
          <p:nvPr/>
        </p:nvSpPr>
        <p:spPr bwMode="gray">
          <a:xfrm>
            <a:off x="6981261" y="3560253"/>
            <a:ext cx="291256" cy="17780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bg1"/>
                </a:solidFill>
              </a:rPr>
              <a:t>13</a:t>
            </a:r>
          </a:p>
        </p:txBody>
      </p:sp>
      <p:sp>
        <p:nvSpPr>
          <p:cNvPr id="303" name="Oval 302">
            <a:extLst>
              <a:ext uri="{FF2B5EF4-FFF2-40B4-BE49-F238E27FC236}">
                <a16:creationId xmlns:a16="http://schemas.microsoft.com/office/drawing/2014/main" id="{EFCFDFBA-069C-497C-9FE4-D4F2860F9001}"/>
              </a:ext>
            </a:extLst>
          </p:cNvPr>
          <p:cNvSpPr/>
          <p:nvPr/>
        </p:nvSpPr>
        <p:spPr bwMode="gray">
          <a:xfrm>
            <a:off x="7969022" y="3212820"/>
            <a:ext cx="291256" cy="17780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bg1"/>
                </a:solidFill>
              </a:rPr>
              <a:t>14</a:t>
            </a:r>
          </a:p>
        </p:txBody>
      </p:sp>
      <p:sp>
        <p:nvSpPr>
          <p:cNvPr id="304" name="Oval 303">
            <a:extLst>
              <a:ext uri="{FF2B5EF4-FFF2-40B4-BE49-F238E27FC236}">
                <a16:creationId xmlns:a16="http://schemas.microsoft.com/office/drawing/2014/main" id="{F38102C0-2A0C-460D-BF8D-FEE68F5DB620}"/>
              </a:ext>
            </a:extLst>
          </p:cNvPr>
          <p:cNvSpPr/>
          <p:nvPr/>
        </p:nvSpPr>
        <p:spPr bwMode="gray">
          <a:xfrm>
            <a:off x="9793908" y="2701313"/>
            <a:ext cx="291256" cy="17780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bg1"/>
                </a:solidFill>
              </a:rPr>
              <a:t>16</a:t>
            </a:r>
          </a:p>
        </p:txBody>
      </p:sp>
      <p:sp>
        <p:nvSpPr>
          <p:cNvPr id="305" name="Oval 304">
            <a:extLst>
              <a:ext uri="{FF2B5EF4-FFF2-40B4-BE49-F238E27FC236}">
                <a16:creationId xmlns:a16="http://schemas.microsoft.com/office/drawing/2014/main" id="{EC8534ED-781B-4BBA-AAE8-F78BE669C38F}"/>
              </a:ext>
            </a:extLst>
          </p:cNvPr>
          <p:cNvSpPr/>
          <p:nvPr/>
        </p:nvSpPr>
        <p:spPr bwMode="gray">
          <a:xfrm>
            <a:off x="3165559" y="2322778"/>
            <a:ext cx="291256" cy="17780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bg1"/>
                </a:solidFill>
              </a:rPr>
              <a:t>17</a:t>
            </a:r>
          </a:p>
        </p:txBody>
      </p:sp>
      <p:sp>
        <p:nvSpPr>
          <p:cNvPr id="306" name="Rectangle 305">
            <a:extLst>
              <a:ext uri="{FF2B5EF4-FFF2-40B4-BE49-F238E27FC236}">
                <a16:creationId xmlns:a16="http://schemas.microsoft.com/office/drawing/2014/main" id="{6D07815D-0CA7-4A47-9DDF-A8613337CFF7}"/>
              </a:ext>
            </a:extLst>
          </p:cNvPr>
          <p:cNvSpPr>
            <a:spLocks/>
          </p:cNvSpPr>
          <p:nvPr/>
        </p:nvSpPr>
        <p:spPr bwMode="gray">
          <a:xfrm>
            <a:off x="3281211" y="2964302"/>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Impurities</a:t>
            </a:r>
          </a:p>
        </p:txBody>
      </p:sp>
      <p:sp>
        <p:nvSpPr>
          <p:cNvPr id="269" name="Oval 268">
            <a:extLst>
              <a:ext uri="{FF2B5EF4-FFF2-40B4-BE49-F238E27FC236}">
                <a16:creationId xmlns:a16="http://schemas.microsoft.com/office/drawing/2014/main" id="{D678366B-F2E9-4F7E-A1BE-3FEA77794935}"/>
              </a:ext>
            </a:extLst>
          </p:cNvPr>
          <p:cNvSpPr/>
          <p:nvPr/>
        </p:nvSpPr>
        <p:spPr bwMode="gray">
          <a:xfrm>
            <a:off x="5699283" y="3917329"/>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rPr>
              <a:t>6</a:t>
            </a:r>
          </a:p>
        </p:txBody>
      </p:sp>
      <p:sp>
        <p:nvSpPr>
          <p:cNvPr id="283" name="Oval 282">
            <a:extLst>
              <a:ext uri="{FF2B5EF4-FFF2-40B4-BE49-F238E27FC236}">
                <a16:creationId xmlns:a16="http://schemas.microsoft.com/office/drawing/2014/main" id="{4A468340-5E16-4501-BFB6-FCC001F85733}"/>
              </a:ext>
            </a:extLst>
          </p:cNvPr>
          <p:cNvSpPr/>
          <p:nvPr/>
        </p:nvSpPr>
        <p:spPr bwMode="gray">
          <a:xfrm>
            <a:off x="8691208" y="4536119"/>
            <a:ext cx="291256" cy="177804"/>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bg1"/>
                </a:solidFill>
              </a:rPr>
              <a:t>11</a:t>
            </a:r>
          </a:p>
        </p:txBody>
      </p:sp>
      <p:grpSp>
        <p:nvGrpSpPr>
          <p:cNvPr id="308" name="Group 307">
            <a:extLst>
              <a:ext uri="{FF2B5EF4-FFF2-40B4-BE49-F238E27FC236}">
                <a16:creationId xmlns:a16="http://schemas.microsoft.com/office/drawing/2014/main" id="{709C5BC0-4698-4F2E-94A7-B1010D2CF70D}"/>
              </a:ext>
            </a:extLst>
          </p:cNvPr>
          <p:cNvGrpSpPr/>
          <p:nvPr/>
        </p:nvGrpSpPr>
        <p:grpSpPr bwMode="gray">
          <a:xfrm>
            <a:off x="5159590" y="4328732"/>
            <a:ext cx="835604" cy="1476000"/>
            <a:chOff x="5356744" y="2912763"/>
            <a:chExt cx="835604" cy="2001035"/>
          </a:xfrm>
        </p:grpSpPr>
        <p:sp>
          <p:nvSpPr>
            <p:cNvPr id="309" name="Rectangle: Rounded Corners 308">
              <a:extLst>
                <a:ext uri="{FF2B5EF4-FFF2-40B4-BE49-F238E27FC236}">
                  <a16:creationId xmlns:a16="http://schemas.microsoft.com/office/drawing/2014/main" id="{230B0953-22B3-4BA6-B27D-FFE1B684094F}"/>
                </a:ext>
              </a:extLst>
            </p:cNvPr>
            <p:cNvSpPr/>
            <p:nvPr/>
          </p:nvSpPr>
          <p:spPr bwMode="gray">
            <a:xfrm>
              <a:off x="5357148" y="2912763"/>
              <a:ext cx="835200" cy="2001035"/>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anchor="ctr" anchorCtr="0"/>
            <a:lstStyle/>
            <a:p>
              <a:pPr algn="ctr">
                <a:spcBef>
                  <a:spcPts val="300"/>
                </a:spcBef>
                <a:buClr>
                  <a:srgbClr val="002897"/>
                </a:buClr>
                <a:buSzPct val="70000"/>
              </a:pPr>
              <a:endParaRPr lang="en-US" sz="1000" b="1" dirty="0">
                <a:solidFill>
                  <a:schemeClr val="tx1"/>
                </a:solidFill>
              </a:endParaRPr>
            </a:p>
          </p:txBody>
        </p:sp>
        <p:sp>
          <p:nvSpPr>
            <p:cNvPr id="310" name="Rectangle 309">
              <a:extLst>
                <a:ext uri="{FF2B5EF4-FFF2-40B4-BE49-F238E27FC236}">
                  <a16:creationId xmlns:a16="http://schemas.microsoft.com/office/drawing/2014/main" id="{665E2306-57B2-486E-A811-6BAD48381DF8}"/>
                </a:ext>
              </a:extLst>
            </p:cNvPr>
            <p:cNvSpPr/>
            <p:nvPr/>
          </p:nvSpPr>
          <p:spPr bwMode="gray">
            <a:xfrm>
              <a:off x="5356744" y="3407805"/>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311" name="Rectangle 310">
              <a:extLst>
                <a:ext uri="{FF2B5EF4-FFF2-40B4-BE49-F238E27FC236}">
                  <a16:creationId xmlns:a16="http://schemas.microsoft.com/office/drawing/2014/main" id="{BE8F549E-A1AE-4AE1-A964-769D0FA5E704}"/>
                </a:ext>
              </a:extLst>
            </p:cNvPr>
            <p:cNvSpPr/>
            <p:nvPr/>
          </p:nvSpPr>
          <p:spPr bwMode="gray">
            <a:xfrm>
              <a:off x="5356744" y="3534175"/>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312" name="Rectangle 311">
              <a:extLst>
                <a:ext uri="{FF2B5EF4-FFF2-40B4-BE49-F238E27FC236}">
                  <a16:creationId xmlns:a16="http://schemas.microsoft.com/office/drawing/2014/main" id="{CCF735B8-6957-4810-A756-FB04AD41ED82}"/>
                </a:ext>
              </a:extLst>
            </p:cNvPr>
            <p:cNvSpPr/>
            <p:nvPr/>
          </p:nvSpPr>
          <p:spPr bwMode="gray">
            <a:xfrm>
              <a:off x="5356744" y="3660544"/>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314" name="Rectangle 313">
              <a:extLst>
                <a:ext uri="{FF2B5EF4-FFF2-40B4-BE49-F238E27FC236}">
                  <a16:creationId xmlns:a16="http://schemas.microsoft.com/office/drawing/2014/main" id="{1BFF147F-93DD-4DB4-8137-260C9BF8CC97}"/>
                </a:ext>
              </a:extLst>
            </p:cNvPr>
            <p:cNvSpPr/>
            <p:nvPr/>
          </p:nvSpPr>
          <p:spPr bwMode="gray">
            <a:xfrm>
              <a:off x="5356744" y="3913282"/>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315" name="Rectangle 314">
              <a:extLst>
                <a:ext uri="{FF2B5EF4-FFF2-40B4-BE49-F238E27FC236}">
                  <a16:creationId xmlns:a16="http://schemas.microsoft.com/office/drawing/2014/main" id="{E27CD810-EE58-47D7-82BE-0C08DAA46427}"/>
                </a:ext>
              </a:extLst>
            </p:cNvPr>
            <p:cNvSpPr/>
            <p:nvPr/>
          </p:nvSpPr>
          <p:spPr bwMode="gray">
            <a:xfrm>
              <a:off x="5356744" y="4039651"/>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316" name="Rectangle 315">
              <a:extLst>
                <a:ext uri="{FF2B5EF4-FFF2-40B4-BE49-F238E27FC236}">
                  <a16:creationId xmlns:a16="http://schemas.microsoft.com/office/drawing/2014/main" id="{E4A7906E-273F-4F16-880E-7BA102C2B67D}"/>
                </a:ext>
              </a:extLst>
            </p:cNvPr>
            <p:cNvSpPr/>
            <p:nvPr/>
          </p:nvSpPr>
          <p:spPr bwMode="gray">
            <a:xfrm>
              <a:off x="5356744" y="4166020"/>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317" name="Rectangle 316">
              <a:extLst>
                <a:ext uri="{FF2B5EF4-FFF2-40B4-BE49-F238E27FC236}">
                  <a16:creationId xmlns:a16="http://schemas.microsoft.com/office/drawing/2014/main" id="{0D4C05D8-2424-44B9-BD74-7E732A220485}"/>
                </a:ext>
              </a:extLst>
            </p:cNvPr>
            <p:cNvSpPr/>
            <p:nvPr/>
          </p:nvSpPr>
          <p:spPr bwMode="gray">
            <a:xfrm>
              <a:off x="5356744" y="4292389"/>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endParaRPr lang="en-US" sz="1000" b="1" dirty="0">
                <a:solidFill>
                  <a:schemeClr val="tx1"/>
                </a:solidFill>
              </a:endParaRPr>
            </a:p>
          </p:txBody>
        </p:sp>
        <p:sp>
          <p:nvSpPr>
            <p:cNvPr id="313" name="Rectangle 312">
              <a:extLst>
                <a:ext uri="{FF2B5EF4-FFF2-40B4-BE49-F238E27FC236}">
                  <a16:creationId xmlns:a16="http://schemas.microsoft.com/office/drawing/2014/main" id="{DFCD43F8-95BA-4D38-B23A-217685FE4ED6}"/>
                </a:ext>
              </a:extLst>
            </p:cNvPr>
            <p:cNvSpPr/>
            <p:nvPr/>
          </p:nvSpPr>
          <p:spPr bwMode="gray">
            <a:xfrm>
              <a:off x="5356744" y="3786913"/>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spcBef>
                  <a:spcPts val="300"/>
                </a:spcBef>
                <a:buClr>
                  <a:srgbClr val="002897"/>
                </a:buClr>
                <a:buSzPct val="70000"/>
              </a:pPr>
              <a:r>
                <a:rPr lang="en-US" sz="1000" b="1" dirty="0">
                  <a:solidFill>
                    <a:schemeClr val="tx1"/>
                  </a:solidFill>
                </a:rPr>
                <a:t>High pressure distillation column</a:t>
              </a:r>
            </a:p>
          </p:txBody>
        </p:sp>
      </p:grpSp>
      <p:cxnSp>
        <p:nvCxnSpPr>
          <p:cNvPr id="31" name="Straight Connector 30">
            <a:extLst>
              <a:ext uri="{FF2B5EF4-FFF2-40B4-BE49-F238E27FC236}">
                <a16:creationId xmlns:a16="http://schemas.microsoft.com/office/drawing/2014/main" id="{14ED5272-1C22-45F9-B8D1-390961E83B36}"/>
              </a:ext>
            </a:extLst>
          </p:cNvPr>
          <p:cNvCxnSpPr>
            <a:stCxn id="131" idx="2"/>
            <a:endCxn id="309" idx="0"/>
          </p:cNvCxnSpPr>
          <p:nvPr/>
        </p:nvCxnSpPr>
        <p:spPr bwMode="gray">
          <a:xfrm>
            <a:off x="5577594" y="4260627"/>
            <a:ext cx="0" cy="68105"/>
          </a:xfrm>
          <a:prstGeom prst="line">
            <a:avLst/>
          </a:prstGeom>
          <a:ln w="12700">
            <a:solidFill>
              <a:schemeClr val="bg2"/>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grpSp>
        <p:nvGrpSpPr>
          <p:cNvPr id="298" name="Group 297">
            <a:extLst>
              <a:ext uri="{FF2B5EF4-FFF2-40B4-BE49-F238E27FC236}">
                <a16:creationId xmlns:a16="http://schemas.microsoft.com/office/drawing/2014/main" id="{17D005C5-B8F5-44AC-91D7-D4E797179412}"/>
              </a:ext>
            </a:extLst>
          </p:cNvPr>
          <p:cNvGrpSpPr/>
          <p:nvPr/>
        </p:nvGrpSpPr>
        <p:grpSpPr bwMode="gray">
          <a:xfrm>
            <a:off x="5422592" y="4139311"/>
            <a:ext cx="309600" cy="310736"/>
            <a:chOff x="13731031" y="3811749"/>
            <a:chExt cx="309600" cy="310736"/>
          </a:xfrm>
        </p:grpSpPr>
        <p:sp>
          <p:nvSpPr>
            <p:cNvPr id="299" name="Oval 298">
              <a:extLst>
                <a:ext uri="{FF2B5EF4-FFF2-40B4-BE49-F238E27FC236}">
                  <a16:creationId xmlns:a16="http://schemas.microsoft.com/office/drawing/2014/main" id="{39FC1027-9BA8-45ED-9354-829C17C58BE2}"/>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en-US" sz="1000" dirty="0">
                <a:solidFill>
                  <a:schemeClr val="tx1"/>
                </a:solidFill>
              </a:endParaRPr>
            </a:p>
          </p:txBody>
        </p:sp>
        <p:sp>
          <p:nvSpPr>
            <p:cNvPr id="300" name="Freeform: Shape 299">
              <a:extLst>
                <a:ext uri="{FF2B5EF4-FFF2-40B4-BE49-F238E27FC236}">
                  <a16:creationId xmlns:a16="http://schemas.microsoft.com/office/drawing/2014/main" id="{00BDE813-F7B4-48B5-A736-66830C5AC6C2}"/>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en-US" sz="1000" dirty="0">
                <a:solidFill>
                  <a:schemeClr val="tx1"/>
                </a:solidFill>
              </a:endParaRPr>
            </a:p>
          </p:txBody>
        </p:sp>
      </p:grpSp>
      <p:sp>
        <p:nvSpPr>
          <p:cNvPr id="307" name="Rectangle 306">
            <a:extLst>
              <a:ext uri="{FF2B5EF4-FFF2-40B4-BE49-F238E27FC236}">
                <a16:creationId xmlns:a16="http://schemas.microsoft.com/office/drawing/2014/main" id="{AF8BDA8A-4A91-4D38-8526-0127A945C572}"/>
              </a:ext>
            </a:extLst>
          </p:cNvPr>
          <p:cNvSpPr/>
          <p:nvPr/>
        </p:nvSpPr>
        <p:spPr bwMode="gray">
          <a:xfrm>
            <a:off x="1619598" y="5046930"/>
            <a:ext cx="66696" cy="666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179" name="Group 178">
            <a:extLst>
              <a:ext uri="{FF2B5EF4-FFF2-40B4-BE49-F238E27FC236}">
                <a16:creationId xmlns:a16="http://schemas.microsoft.com/office/drawing/2014/main" id="{200AABDA-F1E1-4815-BBAB-E022C095D06B}"/>
              </a:ext>
            </a:extLst>
          </p:cNvPr>
          <p:cNvGrpSpPr/>
          <p:nvPr/>
        </p:nvGrpSpPr>
        <p:grpSpPr bwMode="gray">
          <a:xfrm>
            <a:off x="6016099" y="4245436"/>
            <a:ext cx="842400" cy="827159"/>
            <a:chOff x="3496037" y="4559133"/>
            <a:chExt cx="842400" cy="827159"/>
          </a:xfrm>
        </p:grpSpPr>
        <p:sp>
          <p:nvSpPr>
            <p:cNvPr id="180" name="Rectangle 179">
              <a:extLst>
                <a:ext uri="{FF2B5EF4-FFF2-40B4-BE49-F238E27FC236}">
                  <a16:creationId xmlns:a16="http://schemas.microsoft.com/office/drawing/2014/main" id="{BA4C4103-6911-4223-880A-DF3610D3BC2A}"/>
                </a:ext>
              </a:extLst>
            </p:cNvPr>
            <p:cNvSpPr/>
            <p:nvPr/>
          </p:nvSpPr>
          <p:spPr bwMode="gray">
            <a:xfrm>
              <a:off x="3496037" y="5221262"/>
              <a:ext cx="84240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en-US" sz="1000" dirty="0">
                  <a:solidFill>
                    <a:schemeClr val="tx1"/>
                  </a:solidFill>
                </a:rPr>
                <a:t>HC removal</a:t>
              </a:r>
            </a:p>
          </p:txBody>
        </p:sp>
        <p:sp>
          <p:nvSpPr>
            <p:cNvPr id="181" name="Rectangle: Rounded Corners 180">
              <a:extLst>
                <a:ext uri="{FF2B5EF4-FFF2-40B4-BE49-F238E27FC236}">
                  <a16:creationId xmlns:a16="http://schemas.microsoft.com/office/drawing/2014/main" id="{7787BBD5-16BF-4DEB-950C-2179151BD42F}"/>
                </a:ext>
              </a:extLst>
            </p:cNvPr>
            <p:cNvSpPr/>
            <p:nvPr/>
          </p:nvSpPr>
          <p:spPr bwMode="gray">
            <a:xfrm rot="5400000">
              <a:off x="3587672" y="4734829"/>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en-US" sz="1000" dirty="0">
                <a:solidFill>
                  <a:schemeClr val="tx1"/>
                </a:solidFill>
              </a:endParaRPr>
            </a:p>
          </p:txBody>
        </p:sp>
      </p:grpSp>
      <p:sp>
        <p:nvSpPr>
          <p:cNvPr id="241" name="Rechteck 87">
            <a:extLst>
              <a:ext uri="{FF2B5EF4-FFF2-40B4-BE49-F238E27FC236}">
                <a16:creationId xmlns:a16="http://schemas.microsoft.com/office/drawing/2014/main" id="{79A2E11B-3333-46BA-A6E3-3893AF7DB748}"/>
              </a:ext>
            </a:extLst>
          </p:cNvPr>
          <p:cNvSpPr/>
          <p:nvPr/>
        </p:nvSpPr>
        <p:spPr bwMode="gray">
          <a:xfrm>
            <a:off x="416688" y="4924226"/>
            <a:ext cx="986713" cy="309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r">
              <a:spcBef>
                <a:spcPts val="300"/>
              </a:spcBef>
              <a:buClr>
                <a:srgbClr val="002897"/>
              </a:buClr>
              <a:buSzPct val="70000"/>
            </a:pPr>
            <a:r>
              <a:rPr lang="en-US" sz="1000" dirty="0">
                <a:solidFill>
                  <a:schemeClr val="tx1"/>
                </a:solidFill>
              </a:rPr>
              <a:t>Waste nitrogen vent to atmosphere</a:t>
            </a:r>
            <a:endParaRPr lang="en-US" sz="1000" baseline="-25000" dirty="0">
              <a:solidFill>
                <a:schemeClr val="tx1"/>
              </a:solidFill>
            </a:endParaRPr>
          </a:p>
        </p:txBody>
      </p:sp>
      <p:cxnSp>
        <p:nvCxnSpPr>
          <p:cNvPr id="242" name="Connector: Elbow 241">
            <a:extLst>
              <a:ext uri="{FF2B5EF4-FFF2-40B4-BE49-F238E27FC236}">
                <a16:creationId xmlns:a16="http://schemas.microsoft.com/office/drawing/2014/main" id="{82A8B5BF-36D6-4DBF-B017-EA43C57D4B59}"/>
              </a:ext>
            </a:extLst>
          </p:cNvPr>
          <p:cNvCxnSpPr>
            <a:cxnSpLocks/>
            <a:stCxn id="121" idx="2"/>
            <a:endCxn id="241" idx="3"/>
          </p:cNvCxnSpPr>
          <p:nvPr/>
        </p:nvCxnSpPr>
        <p:spPr bwMode="gray">
          <a:xfrm rot="5400000">
            <a:off x="1865680" y="4162572"/>
            <a:ext cx="454176" cy="1378733"/>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3E57963B-9CC5-4DB0-BD22-D7D3CC5160BB}"/>
              </a:ext>
            </a:extLst>
          </p:cNvPr>
          <p:cNvSpPr/>
          <p:nvPr/>
        </p:nvSpPr>
        <p:spPr bwMode="gray">
          <a:xfrm>
            <a:off x="3712314" y="4168253"/>
            <a:ext cx="815236" cy="121513"/>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Autofit/>
          </a:bodyPr>
          <a:lstStyle/>
          <a:p>
            <a:pPr algn="ctr">
              <a:spcBef>
                <a:spcPts val="300"/>
              </a:spcBef>
              <a:buClr>
                <a:srgbClr val="002897"/>
              </a:buClr>
              <a:buSzPct val="70000"/>
            </a:pPr>
            <a:endParaRPr lang="de-DE" sz="1000" b="1" dirty="0" err="1">
              <a:solidFill>
                <a:schemeClr val="tx1"/>
              </a:solidFill>
            </a:endParaRPr>
          </a:p>
        </p:txBody>
      </p:sp>
      <p:cxnSp>
        <p:nvCxnSpPr>
          <p:cNvPr id="48" name="Straight Connector 47">
            <a:extLst>
              <a:ext uri="{FF2B5EF4-FFF2-40B4-BE49-F238E27FC236}">
                <a16:creationId xmlns:a16="http://schemas.microsoft.com/office/drawing/2014/main" id="{9D24BD9F-B3F2-4DDC-A76E-E7135B4CFB1B}"/>
              </a:ext>
            </a:extLst>
          </p:cNvPr>
          <p:cNvCxnSpPr>
            <a:cxnSpLocks/>
            <a:stCxn id="44" idx="1"/>
            <a:endCxn id="44" idx="3"/>
          </p:cNvCxnSpPr>
          <p:nvPr/>
        </p:nvCxnSpPr>
        <p:spPr bwMode="gray">
          <a:xfrm>
            <a:off x="3712314" y="4229010"/>
            <a:ext cx="815236"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190" name="Connector: Elbow 189">
            <a:extLst>
              <a:ext uri="{FF2B5EF4-FFF2-40B4-BE49-F238E27FC236}">
                <a16:creationId xmlns:a16="http://schemas.microsoft.com/office/drawing/2014/main" id="{40C2150A-3513-448A-BAED-F57194B48EAA}"/>
              </a:ext>
            </a:extLst>
          </p:cNvPr>
          <p:cNvCxnSpPr>
            <a:cxnSpLocks/>
            <a:stCxn id="311" idx="1"/>
            <a:endCxn id="177" idx="6"/>
          </p:cNvCxnSpPr>
          <p:nvPr/>
        </p:nvCxnSpPr>
        <p:spPr bwMode="gray">
          <a:xfrm rot="10800000">
            <a:off x="4258050" y="4012886"/>
            <a:ext cx="901540" cy="820819"/>
          </a:xfrm>
          <a:prstGeom prst="bentConnector3">
            <a:avLst>
              <a:gd name="adj1" fmla="val 2464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07" name="Rectangle 206">
            <a:extLst>
              <a:ext uri="{FF2B5EF4-FFF2-40B4-BE49-F238E27FC236}">
                <a16:creationId xmlns:a16="http://schemas.microsoft.com/office/drawing/2014/main" id="{8C82D276-D672-494C-8594-82526E8E53CA}"/>
              </a:ext>
            </a:extLst>
          </p:cNvPr>
          <p:cNvSpPr/>
          <p:nvPr/>
        </p:nvSpPr>
        <p:spPr bwMode="gray">
          <a:xfrm>
            <a:off x="2756679" y="4695132"/>
            <a:ext cx="45719" cy="115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75" name="Rectangle 274">
            <a:extLst>
              <a:ext uri="{FF2B5EF4-FFF2-40B4-BE49-F238E27FC236}">
                <a16:creationId xmlns:a16="http://schemas.microsoft.com/office/drawing/2014/main" id="{048A6F91-A776-40BC-8520-D9BEC0B16B99}"/>
              </a:ext>
            </a:extLst>
          </p:cNvPr>
          <p:cNvSpPr/>
          <p:nvPr/>
        </p:nvSpPr>
        <p:spPr bwMode="gray">
          <a:xfrm>
            <a:off x="2756679" y="4840390"/>
            <a:ext cx="45719" cy="1152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nvGrpSpPr>
          <p:cNvPr id="120" name="Group 119">
            <a:extLst>
              <a:ext uri="{FF2B5EF4-FFF2-40B4-BE49-F238E27FC236}">
                <a16:creationId xmlns:a16="http://schemas.microsoft.com/office/drawing/2014/main" id="{3F56C9F2-BDD5-4BA0-88AB-8162F9CE3719}"/>
              </a:ext>
            </a:extLst>
          </p:cNvPr>
          <p:cNvGrpSpPr/>
          <p:nvPr/>
        </p:nvGrpSpPr>
        <p:grpSpPr bwMode="gray">
          <a:xfrm>
            <a:off x="2243218" y="4317112"/>
            <a:ext cx="1077832" cy="475767"/>
            <a:chOff x="3378321" y="4910525"/>
            <a:chExt cx="1077832" cy="475767"/>
          </a:xfrm>
        </p:grpSpPr>
        <p:sp>
          <p:nvSpPr>
            <p:cNvPr id="121" name="Rectangle: Rounded Corners 120">
              <a:extLst>
                <a:ext uri="{FF2B5EF4-FFF2-40B4-BE49-F238E27FC236}">
                  <a16:creationId xmlns:a16="http://schemas.microsoft.com/office/drawing/2014/main" id="{9E18F53D-7B9E-4AAD-BC0F-FF74D536C26C}"/>
                </a:ext>
              </a:extLst>
            </p:cNvPr>
            <p:cNvSpPr/>
            <p:nvPr/>
          </p:nvSpPr>
          <p:spPr bwMode="gray">
            <a:xfrm>
              <a:off x="3587672" y="4910525"/>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r>
                <a:rPr lang="en-US" sz="1000" b="1" dirty="0">
                  <a:solidFill>
                    <a:schemeClr val="tx1"/>
                  </a:solidFill>
                </a:rPr>
                <a:t>PPU*</a:t>
              </a:r>
            </a:p>
          </p:txBody>
        </p:sp>
        <p:sp>
          <p:nvSpPr>
            <p:cNvPr id="122" name="Rectangle 121">
              <a:extLst>
                <a:ext uri="{FF2B5EF4-FFF2-40B4-BE49-F238E27FC236}">
                  <a16:creationId xmlns:a16="http://schemas.microsoft.com/office/drawing/2014/main" id="{467C0982-6C72-49D6-A3D8-5A92281F1EB6}"/>
                </a:ext>
              </a:extLst>
            </p:cNvPr>
            <p:cNvSpPr/>
            <p:nvPr/>
          </p:nvSpPr>
          <p:spPr bwMode="gray">
            <a:xfrm>
              <a:off x="3378321" y="5221262"/>
              <a:ext cx="1077832"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en-US" sz="1000" dirty="0">
                  <a:solidFill>
                    <a:schemeClr val="tx1"/>
                  </a:solidFill>
                </a:rPr>
                <a:t>Molecular sieve </a:t>
              </a:r>
              <a:r>
                <a:rPr lang="en-US" sz="1000" dirty="0" err="1">
                  <a:solidFill>
                    <a:schemeClr val="tx1"/>
                  </a:solidFill>
                </a:rPr>
                <a:t>adsorber</a:t>
              </a:r>
              <a:endParaRPr lang="en-US" sz="1000" dirty="0">
                <a:solidFill>
                  <a:schemeClr val="tx1"/>
                </a:solidFill>
              </a:endParaRPr>
            </a:p>
          </p:txBody>
        </p:sp>
      </p:grpSp>
      <p:sp>
        <p:nvSpPr>
          <p:cNvPr id="293" name="Rectangle 292">
            <a:extLst>
              <a:ext uri="{FF2B5EF4-FFF2-40B4-BE49-F238E27FC236}">
                <a16:creationId xmlns:a16="http://schemas.microsoft.com/office/drawing/2014/main" id="{4227A7B4-693D-42ED-8FB3-E6239DF90756}"/>
              </a:ext>
            </a:extLst>
          </p:cNvPr>
          <p:cNvSpPr/>
          <p:nvPr/>
        </p:nvSpPr>
        <p:spPr bwMode="gray">
          <a:xfrm>
            <a:off x="6136762" y="4578802"/>
            <a:ext cx="66696" cy="666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cxnSp>
        <p:nvCxnSpPr>
          <p:cNvPr id="318" name="Connector: Elbow 317">
            <a:extLst>
              <a:ext uri="{FF2B5EF4-FFF2-40B4-BE49-F238E27FC236}">
                <a16:creationId xmlns:a16="http://schemas.microsoft.com/office/drawing/2014/main" id="{54DFB5D2-621C-4F70-A021-C2B8C5EAC3E7}"/>
              </a:ext>
            </a:extLst>
          </p:cNvPr>
          <p:cNvCxnSpPr>
            <a:cxnSpLocks/>
            <a:stCxn id="44" idx="1"/>
            <a:endCxn id="121" idx="0"/>
          </p:cNvCxnSpPr>
          <p:nvPr/>
        </p:nvCxnSpPr>
        <p:spPr bwMode="gray">
          <a:xfrm rot="10800000" flipV="1">
            <a:off x="2782134" y="4229010"/>
            <a:ext cx="930180" cy="88102"/>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319" name="Rectangle 318">
            <a:extLst>
              <a:ext uri="{FF2B5EF4-FFF2-40B4-BE49-F238E27FC236}">
                <a16:creationId xmlns:a16="http://schemas.microsoft.com/office/drawing/2014/main" id="{71AAB4F2-6575-4F69-8D85-8D499AE428B4}"/>
              </a:ext>
            </a:extLst>
          </p:cNvPr>
          <p:cNvSpPr>
            <a:spLocks/>
          </p:cNvSpPr>
          <p:nvPr/>
        </p:nvSpPr>
        <p:spPr bwMode="gray">
          <a:xfrm>
            <a:off x="5311435" y="3998322"/>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THC</a:t>
            </a:r>
          </a:p>
        </p:txBody>
      </p:sp>
      <p:sp>
        <p:nvSpPr>
          <p:cNvPr id="320" name="Rectangle 319">
            <a:extLst>
              <a:ext uri="{FF2B5EF4-FFF2-40B4-BE49-F238E27FC236}">
                <a16:creationId xmlns:a16="http://schemas.microsoft.com/office/drawing/2014/main" id="{DC2212CC-FF8A-41DA-867C-E7D7E0569DDC}"/>
              </a:ext>
            </a:extLst>
          </p:cNvPr>
          <p:cNvSpPr>
            <a:spLocks/>
          </p:cNvSpPr>
          <p:nvPr/>
        </p:nvSpPr>
        <p:spPr bwMode="gray">
          <a:xfrm>
            <a:off x="5311435" y="3742341"/>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t>O</a:t>
            </a:r>
            <a:r>
              <a:rPr lang="en-US" sz="500" b="1" baseline="-25000" dirty="0"/>
              <a:t>2 </a:t>
            </a:r>
            <a:r>
              <a:rPr lang="en-US" sz="500" b="1" dirty="0"/>
              <a:t>%</a:t>
            </a:r>
          </a:p>
        </p:txBody>
      </p:sp>
      <p:sp>
        <p:nvSpPr>
          <p:cNvPr id="321" name="Rectangle 320">
            <a:extLst>
              <a:ext uri="{FF2B5EF4-FFF2-40B4-BE49-F238E27FC236}">
                <a16:creationId xmlns:a16="http://schemas.microsoft.com/office/drawing/2014/main" id="{4483D783-B2EF-400B-AC6F-2B19BAE53856}"/>
              </a:ext>
            </a:extLst>
          </p:cNvPr>
          <p:cNvSpPr>
            <a:spLocks/>
          </p:cNvSpPr>
          <p:nvPr/>
        </p:nvSpPr>
        <p:spPr bwMode="gray">
          <a:xfrm>
            <a:off x="5311435" y="3875111"/>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CO</a:t>
            </a:r>
            <a:r>
              <a:rPr lang="en-US" sz="500" b="1" baseline="-25000" dirty="0">
                <a:solidFill>
                  <a:schemeClr val="bg1"/>
                </a:solidFill>
              </a:rPr>
              <a:t>2</a:t>
            </a:r>
            <a:endParaRPr lang="en-US" sz="500" b="1" dirty="0">
              <a:solidFill>
                <a:schemeClr val="bg1"/>
              </a:solidFill>
            </a:endParaRPr>
          </a:p>
        </p:txBody>
      </p:sp>
      <p:sp>
        <p:nvSpPr>
          <p:cNvPr id="323" name="Oval 322">
            <a:extLst>
              <a:ext uri="{FF2B5EF4-FFF2-40B4-BE49-F238E27FC236}">
                <a16:creationId xmlns:a16="http://schemas.microsoft.com/office/drawing/2014/main" id="{E65EA3E1-45D9-4CCB-BC4F-BA34767CD8B6}"/>
              </a:ext>
            </a:extLst>
          </p:cNvPr>
          <p:cNvSpPr/>
          <p:nvPr/>
        </p:nvSpPr>
        <p:spPr bwMode="gray">
          <a:xfrm>
            <a:off x="5489099" y="2435406"/>
            <a:ext cx="186711" cy="140882"/>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b="1" dirty="0">
                <a:solidFill>
                  <a:schemeClr val="bg1"/>
                </a:solidFill>
              </a:rPr>
              <a:t>7</a:t>
            </a:r>
          </a:p>
        </p:txBody>
      </p:sp>
      <p:sp>
        <p:nvSpPr>
          <p:cNvPr id="324" name="Rectangle 323">
            <a:extLst>
              <a:ext uri="{FF2B5EF4-FFF2-40B4-BE49-F238E27FC236}">
                <a16:creationId xmlns:a16="http://schemas.microsoft.com/office/drawing/2014/main" id="{FAA6998E-44F9-45A3-AD4E-0BDF7880931E}"/>
              </a:ext>
            </a:extLst>
          </p:cNvPr>
          <p:cNvSpPr>
            <a:spLocks/>
          </p:cNvSpPr>
          <p:nvPr/>
        </p:nvSpPr>
        <p:spPr bwMode="gray">
          <a:xfrm>
            <a:off x="5749734" y="2473816"/>
            <a:ext cx="360000" cy="10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500" b="1" dirty="0">
                <a:solidFill>
                  <a:schemeClr val="bg1"/>
                </a:solidFill>
              </a:rPr>
              <a:t>O</a:t>
            </a:r>
            <a:r>
              <a:rPr lang="en-US" sz="500" b="1" baseline="-25000" dirty="0">
                <a:solidFill>
                  <a:schemeClr val="bg1"/>
                </a:solidFill>
              </a:rPr>
              <a:t>2 </a:t>
            </a:r>
            <a:r>
              <a:rPr lang="en-US" sz="500" b="1" dirty="0">
                <a:solidFill>
                  <a:schemeClr val="bg1"/>
                </a:solidFill>
              </a:rPr>
              <a:t>ppm</a:t>
            </a:r>
          </a:p>
        </p:txBody>
      </p:sp>
      <p:graphicFrame>
        <p:nvGraphicFramePr>
          <p:cNvPr id="325" name="Content Placeholder 7">
            <a:extLst>
              <a:ext uri="{FF2B5EF4-FFF2-40B4-BE49-F238E27FC236}">
                <a16:creationId xmlns:a16="http://schemas.microsoft.com/office/drawing/2014/main" id="{67D26664-9540-4A57-95C9-0D41388047C5}"/>
              </a:ext>
            </a:extLst>
          </p:cNvPr>
          <p:cNvGraphicFramePr>
            <a:graphicFrameLocks/>
          </p:cNvGraphicFramePr>
          <p:nvPr>
            <p:extLst/>
          </p:nvPr>
        </p:nvGraphicFramePr>
        <p:xfrm>
          <a:off x="7437409" y="5306981"/>
          <a:ext cx="1585279" cy="673200"/>
        </p:xfrm>
        <a:graphic>
          <a:graphicData uri="http://schemas.openxmlformats.org/drawingml/2006/table">
            <a:tbl>
              <a:tblPr firstRow="1" bandRow="1">
                <a:tableStyleId>{16D9F66E-5EB9-4882-86FB-DCBF35E3C3E4}</a:tableStyleId>
              </a:tblPr>
              <a:tblGrid>
                <a:gridCol w="414943">
                  <a:extLst>
                    <a:ext uri="{9D8B030D-6E8A-4147-A177-3AD203B41FA5}">
                      <a16:colId xmlns:a16="http://schemas.microsoft.com/office/drawing/2014/main" val="1559770323"/>
                    </a:ext>
                  </a:extLst>
                </a:gridCol>
                <a:gridCol w="1170336">
                  <a:extLst>
                    <a:ext uri="{9D8B030D-6E8A-4147-A177-3AD203B41FA5}">
                      <a16:colId xmlns:a16="http://schemas.microsoft.com/office/drawing/2014/main" val="1785848533"/>
                    </a:ext>
                  </a:extLst>
                </a:gridCol>
              </a:tblGrid>
              <a:tr h="170161">
                <a:tc>
                  <a:txBody>
                    <a:bodyPr/>
                    <a:lstStyle/>
                    <a:p>
                      <a:r>
                        <a:rPr lang="de-DE" sz="1000" b="1" dirty="0">
                          <a:solidFill>
                            <a:schemeClr val="tx1"/>
                          </a:solidFill>
                        </a:rPr>
                        <a:t>LAR</a:t>
                      </a:r>
                    </a:p>
                  </a:txBody>
                  <a:tcPr marL="36000" marR="36000" marT="36000" marB="36000">
                    <a:lnL w="9525" cap="flat" cmpd="sng" algn="ctr">
                      <a:solidFill>
                        <a:schemeClr val="accent4"/>
                      </a:solidFill>
                      <a:prstDash val="solid"/>
                      <a:round/>
                      <a:headEnd type="none" w="med" len="med"/>
                      <a:tailEnd type="none" w="med" len="med"/>
                    </a:lnL>
                    <a:lnR w="12700" cmpd="sng">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b="0" dirty="0"/>
                        <a:t>Liquid Argon</a:t>
                      </a:r>
                    </a:p>
                  </a:txBody>
                  <a:tcPr marL="36000" marR="36000" marT="36000" marB="36000">
                    <a:lnL w="12700" cmpd="sng">
                      <a:noFill/>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9803160"/>
                  </a:ext>
                </a:extLst>
              </a:tr>
              <a:tr h="170161">
                <a:tc>
                  <a:txBody>
                    <a:bodyPr/>
                    <a:lstStyle/>
                    <a:p>
                      <a:r>
                        <a:rPr lang="de-DE" sz="1000" b="1" dirty="0">
                          <a:solidFill>
                            <a:schemeClr val="tx1"/>
                          </a:solidFill>
                        </a:rPr>
                        <a:t>LOX</a:t>
                      </a:r>
                    </a:p>
                  </a:txBody>
                  <a:tcPr marL="36000" marR="36000" marT="36000" marB="36000">
                    <a:lnL w="9525" cap="flat" cmpd="sng" algn="ctr">
                      <a:solidFill>
                        <a:schemeClr val="accent4"/>
                      </a:solidFill>
                      <a:prstDash val="solid"/>
                      <a:round/>
                      <a:headEnd type="none" w="med" len="med"/>
                      <a:tailEnd type="none" w="med" len="med"/>
                    </a:lnL>
                    <a:lnR w="12700" cmpd="sng">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b="0" dirty="0"/>
                        <a:t>Liquid Oxygen</a:t>
                      </a:r>
                    </a:p>
                  </a:txBody>
                  <a:tcPr marL="36000" marR="36000" marT="36000" marB="36000">
                    <a:lnL w="12700" cmpd="sng">
                      <a:noFill/>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9402274"/>
                  </a:ext>
                </a:extLst>
              </a:tr>
              <a:tr h="170161">
                <a:tc>
                  <a:txBody>
                    <a:bodyPr/>
                    <a:lstStyle/>
                    <a:p>
                      <a:r>
                        <a:rPr lang="de-DE" sz="1000" b="1" dirty="0">
                          <a:solidFill>
                            <a:schemeClr val="tx1"/>
                          </a:solidFill>
                        </a:rPr>
                        <a:t>LIN</a:t>
                      </a:r>
                    </a:p>
                  </a:txBody>
                  <a:tcPr marL="36000" marR="36000" marT="36000" marB="36000">
                    <a:lnL w="9525" cap="flat" cmpd="sng" algn="ctr">
                      <a:solidFill>
                        <a:schemeClr val="accent4"/>
                      </a:solidFill>
                      <a:prstDash val="solid"/>
                      <a:round/>
                      <a:headEnd type="none" w="med" len="med"/>
                      <a:tailEnd type="none" w="med" len="med"/>
                    </a:lnL>
                    <a:lnR w="12700" cmpd="sng">
                      <a:noFill/>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000" b="0" dirty="0"/>
                        <a:t>Liquid Nitrogen</a:t>
                      </a:r>
                    </a:p>
                  </a:txBody>
                  <a:tcPr marL="36000" marR="36000" marT="36000" marB="36000">
                    <a:lnL w="12700" cmpd="sng">
                      <a:noFill/>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10996"/>
                  </a:ext>
                </a:extLst>
              </a:tr>
            </a:tbl>
          </a:graphicData>
        </a:graphic>
      </p:graphicFrame>
      <p:sp>
        <p:nvSpPr>
          <p:cNvPr id="326" name="Rectangle 325">
            <a:extLst>
              <a:ext uri="{FF2B5EF4-FFF2-40B4-BE49-F238E27FC236}">
                <a16:creationId xmlns:a16="http://schemas.microsoft.com/office/drawing/2014/main" id="{D7460848-8BF6-47DE-AAC5-B5B5A9156F62}"/>
              </a:ext>
            </a:extLst>
          </p:cNvPr>
          <p:cNvSpPr/>
          <p:nvPr/>
        </p:nvSpPr>
        <p:spPr bwMode="gray">
          <a:xfrm>
            <a:off x="6136762" y="3815214"/>
            <a:ext cx="66696" cy="666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7" name="Rectangle 326">
            <a:extLst>
              <a:ext uri="{FF2B5EF4-FFF2-40B4-BE49-F238E27FC236}">
                <a16:creationId xmlns:a16="http://schemas.microsoft.com/office/drawing/2014/main" id="{8C26899D-5CEF-4D22-AD5E-DD51D3221D1C}"/>
              </a:ext>
            </a:extLst>
          </p:cNvPr>
          <p:cNvSpPr/>
          <p:nvPr/>
        </p:nvSpPr>
        <p:spPr bwMode="gray">
          <a:xfrm>
            <a:off x="6136762" y="3629477"/>
            <a:ext cx="66696" cy="666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8" name="Rectangle 327">
            <a:extLst>
              <a:ext uri="{FF2B5EF4-FFF2-40B4-BE49-F238E27FC236}">
                <a16:creationId xmlns:a16="http://schemas.microsoft.com/office/drawing/2014/main" id="{37E5195B-B637-42F2-9583-2C3BEF1A7EF4}"/>
              </a:ext>
            </a:extLst>
          </p:cNvPr>
          <p:cNvSpPr/>
          <p:nvPr/>
        </p:nvSpPr>
        <p:spPr bwMode="gray">
          <a:xfrm>
            <a:off x="6136762" y="3255621"/>
            <a:ext cx="66696" cy="666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29" name="Rectangle 328">
            <a:extLst>
              <a:ext uri="{FF2B5EF4-FFF2-40B4-BE49-F238E27FC236}">
                <a16:creationId xmlns:a16="http://schemas.microsoft.com/office/drawing/2014/main" id="{7804B072-B436-4531-BE34-FEE3F19D23C7}"/>
              </a:ext>
            </a:extLst>
          </p:cNvPr>
          <p:cNvSpPr/>
          <p:nvPr/>
        </p:nvSpPr>
        <p:spPr bwMode="gray">
          <a:xfrm>
            <a:off x="6136762" y="3165134"/>
            <a:ext cx="66696" cy="666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30" name="Rectangle 329">
            <a:extLst>
              <a:ext uri="{FF2B5EF4-FFF2-40B4-BE49-F238E27FC236}">
                <a16:creationId xmlns:a16="http://schemas.microsoft.com/office/drawing/2014/main" id="{5E81F180-0F4A-4C1A-8C74-5866A964DBF8}"/>
              </a:ext>
            </a:extLst>
          </p:cNvPr>
          <p:cNvSpPr/>
          <p:nvPr/>
        </p:nvSpPr>
        <p:spPr bwMode="gray">
          <a:xfrm>
            <a:off x="6136762" y="2950821"/>
            <a:ext cx="66696" cy="6669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cxnSp>
        <p:nvCxnSpPr>
          <p:cNvPr id="322" name="Connector: Elbow 321">
            <a:extLst>
              <a:ext uri="{FF2B5EF4-FFF2-40B4-BE49-F238E27FC236}">
                <a16:creationId xmlns:a16="http://schemas.microsoft.com/office/drawing/2014/main" id="{86B640C3-C90B-441B-AFB4-C75C14F01F8C}"/>
              </a:ext>
            </a:extLst>
          </p:cNvPr>
          <p:cNvCxnSpPr>
            <a:cxnSpLocks/>
            <a:stCxn id="310" idx="3"/>
            <a:endCxn id="131" idx="0"/>
          </p:cNvCxnSpPr>
          <p:nvPr/>
        </p:nvCxnSpPr>
        <p:spPr bwMode="gray">
          <a:xfrm flipH="1" flipV="1">
            <a:off x="5577594" y="2784627"/>
            <a:ext cx="417196" cy="1955864"/>
          </a:xfrm>
          <a:prstGeom prst="bentConnector4">
            <a:avLst>
              <a:gd name="adj1" fmla="val -42106"/>
              <a:gd name="adj2" fmla="val 10701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69907964"/>
      </p:ext>
    </p:extLst>
  </p:cSld>
  <p:clrMapOvr>
    <a:masterClrMapping/>
  </p:clrMapOvr>
  <mc:AlternateContent xmlns:mc="http://schemas.openxmlformats.org/markup-compatibility/2006" xmlns:p14="http://schemas.microsoft.com/office/powerpoint/2010/main">
    <mc:Choice Requires="p14">
      <p:transition spd="med" p14:dur="700" advTm="70961">
        <p:fade/>
      </p:transition>
    </mc:Choice>
    <mc:Fallback xmlns="">
      <p:transition spd="med" advTm="70961">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168447-CD78-4F8A-AB4E-AC87144E559D}"/>
              </a:ext>
            </a:extLst>
          </p:cNvPr>
          <p:cNvSpPr>
            <a:spLocks noGrp="1"/>
          </p:cNvSpPr>
          <p:nvPr>
            <p:ph type="title"/>
          </p:nvPr>
        </p:nvSpPr>
        <p:spPr bwMode="gray">
          <a:xfrm>
            <a:off x="333264" y="682313"/>
            <a:ext cx="11520000" cy="396000"/>
          </a:xfrm>
        </p:spPr>
        <p:txBody>
          <a:bodyPr/>
          <a:lstStyle/>
          <a:p>
            <a:r>
              <a:rPr lang="en-US"/>
              <a:t>Air separation</a:t>
            </a:r>
          </a:p>
        </p:txBody>
      </p:sp>
      <p:sp>
        <p:nvSpPr>
          <p:cNvPr id="7" name="Subtitle 6">
            <a:extLst>
              <a:ext uri="{FF2B5EF4-FFF2-40B4-BE49-F238E27FC236}">
                <a16:creationId xmlns:a16="http://schemas.microsoft.com/office/drawing/2014/main" id="{09CF7B58-7315-43E5-8590-7A47B8C7E10E}"/>
              </a:ext>
            </a:extLst>
          </p:cNvPr>
          <p:cNvSpPr>
            <a:spLocks noGrp="1"/>
          </p:cNvSpPr>
          <p:nvPr>
            <p:ph type="subTitle" idx="13"/>
          </p:nvPr>
        </p:nvSpPr>
        <p:spPr bwMode="gray"/>
        <p:txBody>
          <a:bodyPr/>
          <a:lstStyle/>
          <a:p>
            <a:r>
              <a:rPr lang="en-US"/>
              <a:t>Measuring points and ABB offering</a:t>
            </a:r>
          </a:p>
        </p:txBody>
      </p:sp>
      <p:graphicFrame>
        <p:nvGraphicFramePr>
          <p:cNvPr id="8" name="Group 324">
            <a:extLst>
              <a:ext uri="{FF2B5EF4-FFF2-40B4-BE49-F238E27FC236}">
                <a16:creationId xmlns:a16="http://schemas.microsoft.com/office/drawing/2014/main" id="{DC6804CB-0604-42F3-9226-1A6ADDF3BDDA}"/>
              </a:ext>
            </a:extLst>
          </p:cNvPr>
          <p:cNvGraphicFramePr>
            <a:graphicFrameLocks noGrp="1"/>
          </p:cNvGraphicFramePr>
          <p:nvPr>
            <p:ph sz="quarter" idx="4294967295"/>
            <p:extLst>
              <p:ext uri="{D42A27DB-BD31-4B8C-83A1-F6EECF244321}">
                <p14:modId xmlns:p14="http://schemas.microsoft.com/office/powerpoint/2010/main" val="124973417"/>
              </p:ext>
            </p:extLst>
          </p:nvPr>
        </p:nvGraphicFramePr>
        <p:xfrm>
          <a:off x="333264" y="1933575"/>
          <a:ext cx="11544001" cy="3985818"/>
        </p:xfrm>
        <a:graphic>
          <a:graphicData uri="http://schemas.openxmlformats.org/drawingml/2006/table">
            <a:tbl>
              <a:tblPr/>
              <a:tblGrid>
                <a:gridCol w="324000">
                  <a:extLst>
                    <a:ext uri="{9D8B030D-6E8A-4147-A177-3AD203B41FA5}">
                      <a16:colId xmlns:a16="http://schemas.microsoft.com/office/drawing/2014/main" val="3252492988"/>
                    </a:ext>
                  </a:extLst>
                </a:gridCol>
                <a:gridCol w="899393">
                  <a:extLst>
                    <a:ext uri="{9D8B030D-6E8A-4147-A177-3AD203B41FA5}">
                      <a16:colId xmlns:a16="http://schemas.microsoft.com/office/drawing/2014/main" val="3417312483"/>
                    </a:ext>
                  </a:extLst>
                </a:gridCol>
                <a:gridCol w="2304607">
                  <a:extLst>
                    <a:ext uri="{9D8B030D-6E8A-4147-A177-3AD203B41FA5}">
                      <a16:colId xmlns:a16="http://schemas.microsoft.com/office/drawing/2014/main" val="1152078815"/>
                    </a:ext>
                  </a:extLst>
                </a:gridCol>
                <a:gridCol w="1296000">
                  <a:extLst>
                    <a:ext uri="{9D8B030D-6E8A-4147-A177-3AD203B41FA5}">
                      <a16:colId xmlns:a16="http://schemas.microsoft.com/office/drawing/2014/main" val="2636926498"/>
                    </a:ext>
                  </a:extLst>
                </a:gridCol>
                <a:gridCol w="1368000">
                  <a:extLst>
                    <a:ext uri="{9D8B030D-6E8A-4147-A177-3AD203B41FA5}">
                      <a16:colId xmlns:a16="http://schemas.microsoft.com/office/drawing/2014/main" val="2883535249"/>
                    </a:ext>
                  </a:extLst>
                </a:gridCol>
                <a:gridCol w="504000">
                  <a:extLst>
                    <a:ext uri="{9D8B030D-6E8A-4147-A177-3AD203B41FA5}">
                      <a16:colId xmlns:a16="http://schemas.microsoft.com/office/drawing/2014/main" val="824351"/>
                    </a:ext>
                  </a:extLst>
                </a:gridCol>
                <a:gridCol w="755906">
                  <a:extLst>
                    <a:ext uri="{9D8B030D-6E8A-4147-A177-3AD203B41FA5}">
                      <a16:colId xmlns:a16="http://schemas.microsoft.com/office/drawing/2014/main" val="777153526"/>
                    </a:ext>
                  </a:extLst>
                </a:gridCol>
                <a:gridCol w="504000">
                  <a:extLst>
                    <a:ext uri="{9D8B030D-6E8A-4147-A177-3AD203B41FA5}">
                      <a16:colId xmlns:a16="http://schemas.microsoft.com/office/drawing/2014/main" val="982511522"/>
                    </a:ext>
                  </a:extLst>
                </a:gridCol>
                <a:gridCol w="755906">
                  <a:extLst>
                    <a:ext uri="{9D8B030D-6E8A-4147-A177-3AD203B41FA5}">
                      <a16:colId xmlns:a16="http://schemas.microsoft.com/office/drawing/2014/main" val="3615050244"/>
                    </a:ext>
                  </a:extLst>
                </a:gridCol>
                <a:gridCol w="504000">
                  <a:extLst>
                    <a:ext uri="{9D8B030D-6E8A-4147-A177-3AD203B41FA5}">
                      <a16:colId xmlns:a16="http://schemas.microsoft.com/office/drawing/2014/main" val="3683230069"/>
                    </a:ext>
                  </a:extLst>
                </a:gridCol>
                <a:gridCol w="755906">
                  <a:extLst>
                    <a:ext uri="{9D8B030D-6E8A-4147-A177-3AD203B41FA5}">
                      <a16:colId xmlns:a16="http://schemas.microsoft.com/office/drawing/2014/main" val="1784338821"/>
                    </a:ext>
                  </a:extLst>
                </a:gridCol>
                <a:gridCol w="1572283">
                  <a:extLst>
                    <a:ext uri="{9D8B030D-6E8A-4147-A177-3AD203B41FA5}">
                      <a16:colId xmlns:a16="http://schemas.microsoft.com/office/drawing/2014/main" val="3567483753"/>
                    </a:ext>
                  </a:extLst>
                </a:gridCol>
              </a:tblGrid>
              <a:tr h="252000">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t>
                      </a:r>
                    </a:p>
                  </a:txBody>
                  <a:tcPr marL="0" marR="0" marT="36000" marB="36000" horzOverflow="overflow">
                    <a:lnL cap="flat">
                      <a:noFill/>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Purpose</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pplication</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Components</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Ranges</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gridSpan="6">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Principles</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tc>
                <a:tc hMerge="1">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CH" altLang="en-US" sz="1400" b="0" i="0" u="none" strike="noStrike" cap="none" normalizeH="0" baseline="0" dirty="0">
                        <a:ln>
                          <a:noFill/>
                        </a:ln>
                        <a:solidFill>
                          <a:schemeClr val="bg2"/>
                        </a:solidFill>
                        <a:effectLst/>
                        <a:latin typeface="Times New Roman" panose="02020603050405020304" pitchFamily="18" charset="0"/>
                        <a:cs typeface="Arial" panose="020B0604020202020204" pitchFamily="34" charset="0"/>
                      </a:endParaRPr>
                    </a:p>
                  </a:txBody>
                  <a:tcPr marL="0" marR="0" marT="36000" marB="36000"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CH" altLang="en-US" sz="1400" b="0" i="0" u="none" strike="noStrike" cap="none" normalizeH="0" baseline="0" dirty="0">
                        <a:ln>
                          <a:noFill/>
                        </a:ln>
                        <a:solidFill>
                          <a:schemeClr val="bg2"/>
                        </a:solidFill>
                        <a:effectLst/>
                        <a:latin typeface="Times New Roman" panose="02020603050405020304" pitchFamily="18" charset="0"/>
                        <a:cs typeface="Arial" panose="020B0604020202020204" pitchFamily="34" charset="0"/>
                      </a:endParaRPr>
                    </a:p>
                  </a:txBody>
                  <a:tcPr marL="0" marR="0" marT="36000" marB="36000"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nalyzers</a:t>
                      </a:r>
                    </a:p>
                  </a:txBody>
                  <a:tcPr marL="0" marR="0" marT="36000" marB="36000"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70671138"/>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1</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Safe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Air feed THC</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THC* in air</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 / 10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FID</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Fidas24</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3254574409"/>
                  </a:ext>
                </a:extLst>
              </a:tr>
              <a:tr h="453258">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Safe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THC / CO</a:t>
                      </a:r>
                      <a:r>
                        <a:rPr kumimoji="0" lang="en-US" altLang="en-US" sz="1200" b="0" i="0" u="none" strike="noStrike" cap="none" normalizeH="0" baseline="-2500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 impurities</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THC in air</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air</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 / 100 ppm</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FID</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NDIR</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Fidas24</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Uras26</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32769597"/>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3</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Gaseous Oxygen (GOX)</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purity</a:t>
                      </a:r>
                      <a:endPar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THC in 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98 – 100 vol%</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 ppm</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rPr>
                        <a:t>PMD</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FID</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NDIR</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Magnos28</a:t>
                      </a:r>
                    </a:p>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Fidas24</a:t>
                      </a:r>
                    </a:p>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Uras26</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898803511"/>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4</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Gaseous Nitrogen (GAN)</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N</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p>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N</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 / 10 ppm</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Zirconia</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NDIR</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ZO23</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Uras26</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99789432"/>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5</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Waste Nitrogen vent</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N</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5 / 20 v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rPr>
                        <a:t>PMD</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Magnos28</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18023465"/>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6</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 / Safe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ryogenic Distillation</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N</a:t>
                      </a:r>
                      <a:r>
                        <a:rPr kumimoji="0" lang="en-US" altLang="en-US" sz="1200" b="0" i="0" u="none" strike="noStrike" cap="none" normalizeH="0" baseline="-2500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O to avoid plugging)</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purity</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a:t>
                      </a:r>
                      <a:r>
                        <a:rPr kumimoji="0" lang="en-US" altLang="en-US" sz="1200" b="0" i="0" u="none" strike="noStrike" kern="1200"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O</a:t>
                      </a:r>
                      <a:r>
                        <a:rPr kumimoji="0" lang="en-US" altLang="en-US" sz="1200" b="0" i="0" u="none" strike="noStrike" kern="1200"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N</a:t>
                      </a:r>
                      <a:r>
                        <a:rPr kumimoji="0" lang="en-US" altLang="en-US" sz="1200" b="0" i="0" u="none" strike="noStrike" kern="1200"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 in O</a:t>
                      </a:r>
                      <a:r>
                        <a:rPr kumimoji="0" lang="en-US" altLang="en-US" sz="1200" b="0" i="0" u="none" strike="noStrike" kern="1200"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THC in O</a:t>
                      </a:r>
                      <a:r>
                        <a:rPr kumimoji="0" lang="en-US" altLang="en-US" sz="1200" b="0" i="0" u="none" strike="noStrike" kern="1200"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98 – 100 vol%</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10 ppm</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100 ppm</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50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rPr>
                        <a:t>PMD</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rPr>
                        <a:t>NDIR</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rPr>
                        <a:t>FID</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Magnos28</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Uras26</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Fidas24</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40310977"/>
                  </a:ext>
                </a:extLst>
              </a:tr>
              <a:tr h="286253">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de-DE"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7</a:t>
                      </a:r>
                      <a:endPar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de-DE"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endPar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de-DE"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Nitrogen </a:t>
                      </a:r>
                      <a:r>
                        <a:rPr kumimoji="0" lang="de-DE" altLang="en-US" sz="1200" b="0" i="0" u="none" strike="noStrike" cap="none" normalizeH="0" baseline="0" noProof="0" dirty="0" err="1">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re-processing</a:t>
                      </a:r>
                      <a:endPar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dirty="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dirty="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 in N</a:t>
                      </a:r>
                      <a:r>
                        <a:rPr kumimoji="0" lang="en-US" altLang="en-US" sz="1200" b="0" i="0" u="none" strike="noStrike" cap="none" normalizeH="0" baseline="-25000" noProof="0" dirty="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de-DE" altLang="en-US" sz="1200" b="0" i="0" u="none" strike="noStrike" kern="1200"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0 ppm</a:t>
                      </a:r>
                      <a:endParaRPr kumimoji="0" lang="en-US" altLang="en-US" sz="1200" b="0" i="0" u="none" strike="noStrike" kern="1200"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de-DE" altLang="en-US" sz="1200" b="0" i="0" u="none" strike="noStrike" cap="none" normalizeH="0" baseline="0" noProof="0" dirty="0" err="1">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Zirconia</a:t>
                      </a:r>
                      <a:endParaRPr kumimoji="0" lang="en-US" altLang="en-US" sz="1200" b="0"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de-DE"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ZO23</a:t>
                      </a: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2093628007"/>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DE"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8</a:t>
                      </a:r>
                      <a:endPar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Safe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Oxygen re-processing</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0 v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rPr>
                        <a:t>PMD</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Magnos28</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819933144"/>
                  </a:ext>
                </a:extLst>
              </a:tr>
            </a:tbl>
          </a:graphicData>
        </a:graphic>
      </p:graphicFrame>
      <p:grpSp>
        <p:nvGrpSpPr>
          <p:cNvPr id="23" name="Group 22">
            <a:extLst>
              <a:ext uri="{FF2B5EF4-FFF2-40B4-BE49-F238E27FC236}">
                <a16:creationId xmlns:a16="http://schemas.microsoft.com/office/drawing/2014/main" id="{C48B2949-E647-4C81-8A07-8DDED96D4D44}"/>
              </a:ext>
            </a:extLst>
          </p:cNvPr>
          <p:cNvGrpSpPr/>
          <p:nvPr/>
        </p:nvGrpSpPr>
        <p:grpSpPr bwMode="gray">
          <a:xfrm>
            <a:off x="7833727" y="2681995"/>
            <a:ext cx="310194" cy="293095"/>
            <a:chOff x="-640260" y="1957916"/>
            <a:chExt cx="355290" cy="335706"/>
          </a:xfrm>
          <a:noFill/>
        </p:grpSpPr>
        <p:sp>
          <p:nvSpPr>
            <p:cNvPr id="24" name="Rectangle 17">
              <a:extLst>
                <a:ext uri="{FF2B5EF4-FFF2-40B4-BE49-F238E27FC236}">
                  <a16:creationId xmlns:a16="http://schemas.microsoft.com/office/drawing/2014/main" id="{B7BC8C4F-E134-4D20-8630-0FF8C0BB4345}"/>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5" name="Rectangle 16">
              <a:extLst>
                <a:ext uri="{FF2B5EF4-FFF2-40B4-BE49-F238E27FC236}">
                  <a16:creationId xmlns:a16="http://schemas.microsoft.com/office/drawing/2014/main" id="{AEC7A76B-1402-47FC-AC02-AB2B64F9F6D2}"/>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26" name="Straight Connector 25">
              <a:extLst>
                <a:ext uri="{FF2B5EF4-FFF2-40B4-BE49-F238E27FC236}">
                  <a16:creationId xmlns:a16="http://schemas.microsoft.com/office/drawing/2014/main" id="{78528004-7DA1-4F05-90D1-B4E109931D6C}"/>
                </a:ext>
              </a:extLst>
            </p:cNvPr>
            <p:cNvCxnSpPr/>
            <p:nvPr/>
          </p:nvCxnSpPr>
          <p:spPr bwMode="gray">
            <a:xfrm rot="5400000" flipH="1">
              <a:off x="-481603" y="1981616"/>
              <a:ext cx="47400" cy="0"/>
            </a:xfrm>
            <a:prstGeom prst="line">
              <a:avLst/>
            </a:prstGeom>
            <a:grpFill/>
            <a:ln w="12700">
              <a:solidFill>
                <a:schemeClr val="bg2"/>
              </a:solidFill>
              <a:prstDash val="solid"/>
              <a:round/>
              <a:headEnd/>
              <a:tailEnd/>
            </a:ln>
          </p:spPr>
        </p:cxnSp>
        <p:cxnSp>
          <p:nvCxnSpPr>
            <p:cNvPr id="27" name="Straight Connector 26">
              <a:extLst>
                <a:ext uri="{FF2B5EF4-FFF2-40B4-BE49-F238E27FC236}">
                  <a16:creationId xmlns:a16="http://schemas.microsoft.com/office/drawing/2014/main" id="{40FD7A0B-7936-461F-96C6-3470BD75A71F}"/>
                </a:ext>
              </a:extLst>
            </p:cNvPr>
            <p:cNvCxnSpPr/>
            <p:nvPr/>
          </p:nvCxnSpPr>
          <p:spPr bwMode="gray">
            <a:xfrm rot="5400000" flipH="1">
              <a:off x="-481603" y="2269922"/>
              <a:ext cx="47400" cy="0"/>
            </a:xfrm>
            <a:prstGeom prst="line">
              <a:avLst/>
            </a:prstGeom>
            <a:grpFill/>
            <a:ln w="12700">
              <a:solidFill>
                <a:schemeClr val="bg2"/>
              </a:solidFill>
              <a:prstDash val="solid"/>
              <a:round/>
              <a:headEnd/>
              <a:tailEnd/>
            </a:ln>
          </p:spPr>
        </p:cxnSp>
        <p:cxnSp>
          <p:nvCxnSpPr>
            <p:cNvPr id="28" name="Straight Connector 27">
              <a:extLst>
                <a:ext uri="{FF2B5EF4-FFF2-40B4-BE49-F238E27FC236}">
                  <a16:creationId xmlns:a16="http://schemas.microsoft.com/office/drawing/2014/main" id="{60337418-E685-4AAD-9487-889C59DE8535}"/>
                </a:ext>
              </a:extLst>
            </p:cNvPr>
            <p:cNvCxnSpPr/>
            <p:nvPr/>
          </p:nvCxnSpPr>
          <p:spPr bwMode="gray">
            <a:xfrm rot="2503489" flipH="1">
              <a:off x="-370223" y="2225091"/>
              <a:ext cx="47400" cy="0"/>
            </a:xfrm>
            <a:prstGeom prst="line">
              <a:avLst/>
            </a:prstGeom>
            <a:grpFill/>
            <a:ln w="12700">
              <a:solidFill>
                <a:schemeClr val="bg2"/>
              </a:solidFill>
              <a:prstDash val="solid"/>
              <a:round/>
              <a:headEnd/>
              <a:tailEnd/>
            </a:ln>
          </p:spPr>
        </p:cxnSp>
        <p:cxnSp>
          <p:nvCxnSpPr>
            <p:cNvPr id="29" name="Straight Connector 28">
              <a:extLst>
                <a:ext uri="{FF2B5EF4-FFF2-40B4-BE49-F238E27FC236}">
                  <a16:creationId xmlns:a16="http://schemas.microsoft.com/office/drawing/2014/main" id="{8B4AE9FE-FD4B-4B61-9335-154E81AF3A49}"/>
                </a:ext>
              </a:extLst>
            </p:cNvPr>
            <p:cNvCxnSpPr/>
            <p:nvPr/>
          </p:nvCxnSpPr>
          <p:spPr bwMode="gray">
            <a:xfrm rot="8296511">
              <a:off x="-370223" y="2026447"/>
              <a:ext cx="47400" cy="0"/>
            </a:xfrm>
            <a:prstGeom prst="line">
              <a:avLst/>
            </a:prstGeom>
            <a:grpFill/>
            <a:ln w="12700">
              <a:solidFill>
                <a:schemeClr val="bg2"/>
              </a:solidFill>
              <a:prstDash val="solid"/>
              <a:round/>
              <a:headEnd/>
              <a:tailEnd/>
            </a:ln>
          </p:spPr>
        </p:cxnSp>
        <p:cxnSp>
          <p:nvCxnSpPr>
            <p:cNvPr id="30" name="Straight Connector 29">
              <a:extLst>
                <a:ext uri="{FF2B5EF4-FFF2-40B4-BE49-F238E27FC236}">
                  <a16:creationId xmlns:a16="http://schemas.microsoft.com/office/drawing/2014/main" id="{40FF7B8F-6DAC-4353-B71C-9234E853FFF1}"/>
                </a:ext>
              </a:extLst>
            </p:cNvPr>
            <p:cNvCxnSpPr/>
            <p:nvPr/>
          </p:nvCxnSpPr>
          <p:spPr bwMode="gray">
            <a:xfrm rot="10800000">
              <a:off x="-332370" y="2125769"/>
              <a:ext cx="47400" cy="0"/>
            </a:xfrm>
            <a:prstGeom prst="line">
              <a:avLst/>
            </a:prstGeom>
            <a:grpFill/>
            <a:ln w="12700">
              <a:solidFill>
                <a:schemeClr val="bg2"/>
              </a:solidFill>
              <a:prstDash val="solid"/>
              <a:round/>
              <a:headEnd/>
              <a:tailEnd/>
            </a:ln>
          </p:spPr>
        </p:cxnSp>
        <p:grpSp>
          <p:nvGrpSpPr>
            <p:cNvPr id="31" name="Group 30">
              <a:extLst>
                <a:ext uri="{FF2B5EF4-FFF2-40B4-BE49-F238E27FC236}">
                  <a16:creationId xmlns:a16="http://schemas.microsoft.com/office/drawing/2014/main" id="{3CB09CE4-0B32-4C05-A8B6-A0ED7FC2ACC2}"/>
                </a:ext>
              </a:extLst>
            </p:cNvPr>
            <p:cNvGrpSpPr/>
            <p:nvPr/>
          </p:nvGrpSpPr>
          <p:grpSpPr bwMode="gray">
            <a:xfrm>
              <a:off x="-507951" y="2088033"/>
              <a:ext cx="84957" cy="65573"/>
              <a:chOff x="-2412348" y="2111699"/>
              <a:chExt cx="717156" cy="553527"/>
            </a:xfrm>
            <a:grpFill/>
          </p:grpSpPr>
          <p:sp>
            <p:nvSpPr>
              <p:cNvPr id="32" name="Parallelogram 1029">
                <a:extLst>
                  <a:ext uri="{FF2B5EF4-FFF2-40B4-BE49-F238E27FC236}">
                    <a16:creationId xmlns:a16="http://schemas.microsoft.com/office/drawing/2014/main" id="{528EBDCC-138D-4264-B8DD-7717F20279C6}"/>
                  </a:ext>
                </a:extLst>
              </p:cNvPr>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3" name="Rectangle 32">
                <a:extLst>
                  <a:ext uri="{FF2B5EF4-FFF2-40B4-BE49-F238E27FC236}">
                    <a16:creationId xmlns:a16="http://schemas.microsoft.com/office/drawing/2014/main" id="{5A651FC0-123B-4F20-B8B0-DA521616040B}"/>
                  </a:ext>
                </a:extLst>
              </p:cNvPr>
              <p:cNvSpPr/>
              <p:nvPr/>
            </p:nvSpPr>
            <p:spPr bwMode="gray">
              <a:xfrm>
                <a:off x="-2412348" y="2111699"/>
                <a:ext cx="83823" cy="553527"/>
              </a:xfrm>
              <a:prstGeom prst="rect">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34" name="Group 33">
            <a:extLst>
              <a:ext uri="{FF2B5EF4-FFF2-40B4-BE49-F238E27FC236}">
                <a16:creationId xmlns:a16="http://schemas.microsoft.com/office/drawing/2014/main" id="{BFD98087-40CA-4EC1-9557-46AED934604B}"/>
              </a:ext>
            </a:extLst>
          </p:cNvPr>
          <p:cNvGrpSpPr/>
          <p:nvPr/>
        </p:nvGrpSpPr>
        <p:grpSpPr bwMode="gray">
          <a:xfrm>
            <a:off x="6532847" y="2331333"/>
            <a:ext cx="229982" cy="210020"/>
            <a:chOff x="-967926" y="3169597"/>
            <a:chExt cx="575910" cy="644168"/>
          </a:xfrm>
          <a:noFill/>
        </p:grpSpPr>
        <p:sp>
          <p:nvSpPr>
            <p:cNvPr id="35" name="Freeform 67">
              <a:extLst>
                <a:ext uri="{FF2B5EF4-FFF2-40B4-BE49-F238E27FC236}">
                  <a16:creationId xmlns:a16="http://schemas.microsoft.com/office/drawing/2014/main" id="{D8165711-624E-4D4F-9952-07B41335CFE0}"/>
                </a:ext>
              </a:extLst>
            </p:cNvPr>
            <p:cNvSpPr/>
            <p:nvPr/>
          </p:nvSpPr>
          <p:spPr bwMode="gray">
            <a:xfrm>
              <a:off x="-967926" y="3169597"/>
              <a:ext cx="575910" cy="644168"/>
            </a:xfrm>
            <a:custGeom>
              <a:avLst/>
              <a:gdLst>
                <a:gd name="connsiteX0" fmla="*/ 394445 w 915582"/>
                <a:gd name="connsiteY0" fmla="*/ 1530534 h 1530534"/>
                <a:gd name="connsiteX1" fmla="*/ 2559 w 915582"/>
                <a:gd name="connsiteY1" fmla="*/ 937681 h 1530534"/>
                <a:gd name="connsiteX2" fmla="*/ 223623 w 915582"/>
                <a:gd name="connsiteY2" fmla="*/ 596037 h 1530534"/>
                <a:gd name="connsiteX3" fmla="*/ 193478 w 915582"/>
                <a:gd name="connsiteY3" fmla="*/ 3184 h 1530534"/>
                <a:gd name="connsiteX4" fmla="*/ 906911 w 915582"/>
                <a:gd name="connsiteY4" fmla="*/ 877391 h 1530534"/>
                <a:gd name="connsiteX5" fmla="*/ 525073 w 915582"/>
                <a:gd name="connsiteY5" fmla="*/ 1530534 h 1530534"/>
                <a:gd name="connsiteX0" fmla="*/ 63771 w 1112883"/>
                <a:gd name="connsiteY0" fmla="*/ 1460487 h 1530534"/>
                <a:gd name="connsiteX1" fmla="*/ 199860 w 1112883"/>
                <a:gd name="connsiteY1" fmla="*/ 937681 h 1530534"/>
                <a:gd name="connsiteX2" fmla="*/ 420924 w 1112883"/>
                <a:gd name="connsiteY2" fmla="*/ 596037 h 1530534"/>
                <a:gd name="connsiteX3" fmla="*/ 390779 w 1112883"/>
                <a:gd name="connsiteY3" fmla="*/ 3184 h 1530534"/>
                <a:gd name="connsiteX4" fmla="*/ 1104212 w 1112883"/>
                <a:gd name="connsiteY4" fmla="*/ 877391 h 1530534"/>
                <a:gd name="connsiteX5" fmla="*/ 722374 w 1112883"/>
                <a:gd name="connsiteY5" fmla="*/ 1530534 h 1530534"/>
                <a:gd name="connsiteX0" fmla="*/ 63772 w 1109482"/>
                <a:gd name="connsiteY0" fmla="*/ 1460487 h 1514369"/>
                <a:gd name="connsiteX1" fmla="*/ 199861 w 1109482"/>
                <a:gd name="connsiteY1" fmla="*/ 937681 h 1514369"/>
                <a:gd name="connsiteX2" fmla="*/ 420925 w 1109482"/>
                <a:gd name="connsiteY2" fmla="*/ 596037 h 1514369"/>
                <a:gd name="connsiteX3" fmla="*/ 390780 w 1109482"/>
                <a:gd name="connsiteY3" fmla="*/ 3184 h 1514369"/>
                <a:gd name="connsiteX4" fmla="*/ 1104213 w 1109482"/>
                <a:gd name="connsiteY4" fmla="*/ 877391 h 1514369"/>
                <a:gd name="connsiteX5" fmla="*/ 548092 w 1109482"/>
                <a:gd name="connsiteY5" fmla="*/ 1514369 h 1514369"/>
                <a:gd name="connsiteX0" fmla="*/ 63772 w 874709"/>
                <a:gd name="connsiteY0" fmla="*/ 1460715 h 1514597"/>
                <a:gd name="connsiteX1" fmla="*/ 199861 w 874709"/>
                <a:gd name="connsiteY1" fmla="*/ 937909 h 1514597"/>
                <a:gd name="connsiteX2" fmla="*/ 420925 w 874709"/>
                <a:gd name="connsiteY2" fmla="*/ 596265 h 1514597"/>
                <a:gd name="connsiteX3" fmla="*/ 390780 w 874709"/>
                <a:gd name="connsiteY3" fmla="*/ 3412 h 1514597"/>
                <a:gd name="connsiteX4" fmla="*/ 863293 w 874709"/>
                <a:gd name="connsiteY4" fmla="*/ 888395 h 1514597"/>
                <a:gd name="connsiteX5" fmla="*/ 548092 w 874709"/>
                <a:gd name="connsiteY5" fmla="*/ 1514597 h 1514597"/>
                <a:gd name="connsiteX0" fmla="*/ 191224 w 1002160"/>
                <a:gd name="connsiteY0" fmla="*/ 1460745 h 1514627"/>
                <a:gd name="connsiteX1" fmla="*/ 24880 w 1002160"/>
                <a:gd name="connsiteY1" fmla="*/ 964881 h 1514627"/>
                <a:gd name="connsiteX2" fmla="*/ 548377 w 1002160"/>
                <a:gd name="connsiteY2" fmla="*/ 596295 h 1514627"/>
                <a:gd name="connsiteX3" fmla="*/ 518232 w 1002160"/>
                <a:gd name="connsiteY3" fmla="*/ 3442 h 1514627"/>
                <a:gd name="connsiteX4" fmla="*/ 990745 w 1002160"/>
                <a:gd name="connsiteY4" fmla="*/ 888425 h 1514627"/>
                <a:gd name="connsiteX5" fmla="*/ 675544 w 1002160"/>
                <a:gd name="connsiteY5" fmla="*/ 1514627 h 1514627"/>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72063 h 1525945"/>
                <a:gd name="connsiteX1" fmla="*/ 6383 w 983663"/>
                <a:gd name="connsiteY1" fmla="*/ 976199 h 1525945"/>
                <a:gd name="connsiteX2" fmla="*/ 268455 w 983663"/>
                <a:gd name="connsiteY2" fmla="*/ 532179 h 1525945"/>
                <a:gd name="connsiteX3" fmla="*/ 499735 w 983663"/>
                <a:gd name="connsiteY3" fmla="*/ 14760 h 1525945"/>
                <a:gd name="connsiteX4" fmla="*/ 972248 w 983663"/>
                <a:gd name="connsiteY4" fmla="*/ 899743 h 1525945"/>
                <a:gd name="connsiteX5" fmla="*/ 657047 w 983663"/>
                <a:gd name="connsiteY5" fmla="*/ 1525945 h 1525945"/>
                <a:gd name="connsiteX0" fmla="*/ 172727 w 983663"/>
                <a:gd name="connsiteY0" fmla="*/ 1456181 h 1510063"/>
                <a:gd name="connsiteX1" fmla="*/ 6383 w 983663"/>
                <a:gd name="connsiteY1" fmla="*/ 960317 h 1510063"/>
                <a:gd name="connsiteX2" fmla="*/ 268455 w 983663"/>
                <a:gd name="connsiteY2" fmla="*/ 516297 h 1510063"/>
                <a:gd name="connsiteX3" fmla="*/ 443349 w 983663"/>
                <a:gd name="connsiteY3" fmla="*/ 15043 h 1510063"/>
                <a:gd name="connsiteX4" fmla="*/ 972248 w 983663"/>
                <a:gd name="connsiteY4" fmla="*/ 883861 h 1510063"/>
                <a:gd name="connsiteX5" fmla="*/ 657047 w 983663"/>
                <a:gd name="connsiteY5" fmla="*/ 1510063 h 1510063"/>
                <a:gd name="connsiteX0" fmla="*/ 171348 w 982284"/>
                <a:gd name="connsiteY0" fmla="*/ 1447162 h 1501044"/>
                <a:gd name="connsiteX1" fmla="*/ 5004 w 982284"/>
                <a:gd name="connsiteY1" fmla="*/ 951298 h 1501044"/>
                <a:gd name="connsiteX2" fmla="*/ 246573 w 982284"/>
                <a:gd name="connsiteY2" fmla="*/ 512666 h 1501044"/>
                <a:gd name="connsiteX3" fmla="*/ 441970 w 982284"/>
                <a:gd name="connsiteY3" fmla="*/ 6024 h 1501044"/>
                <a:gd name="connsiteX4" fmla="*/ 970869 w 982284"/>
                <a:gd name="connsiteY4" fmla="*/ 874842 h 1501044"/>
                <a:gd name="connsiteX5" fmla="*/ 655668 w 982284"/>
                <a:gd name="connsiteY5" fmla="*/ 1501044 h 1501044"/>
                <a:gd name="connsiteX0" fmla="*/ 171348 w 982284"/>
                <a:gd name="connsiteY0" fmla="*/ 1457131 h 1511013"/>
                <a:gd name="connsiteX1" fmla="*/ 5004 w 982284"/>
                <a:gd name="connsiteY1" fmla="*/ 961267 h 1511013"/>
                <a:gd name="connsiteX2" fmla="*/ 246573 w 982284"/>
                <a:gd name="connsiteY2" fmla="*/ 522635 h 1511013"/>
                <a:gd name="connsiteX3" fmla="*/ 441970 w 982284"/>
                <a:gd name="connsiteY3" fmla="*/ 15993 h 1511013"/>
                <a:gd name="connsiteX4" fmla="*/ 970869 w 982284"/>
                <a:gd name="connsiteY4" fmla="*/ 884811 h 1511013"/>
                <a:gd name="connsiteX5" fmla="*/ 655668 w 982284"/>
                <a:gd name="connsiteY5" fmla="*/ 1511013 h 1511013"/>
                <a:gd name="connsiteX0" fmla="*/ 184998 w 995934"/>
                <a:gd name="connsiteY0" fmla="*/ 1441330 h 1495212"/>
                <a:gd name="connsiteX1" fmla="*/ 18654 w 995934"/>
                <a:gd name="connsiteY1" fmla="*/ 945466 h 1495212"/>
                <a:gd name="connsiteX2" fmla="*/ 455620 w 995934"/>
                <a:gd name="connsiteY2" fmla="*/ 192 h 1495212"/>
                <a:gd name="connsiteX3" fmla="*/ 984519 w 995934"/>
                <a:gd name="connsiteY3" fmla="*/ 869010 h 1495212"/>
                <a:gd name="connsiteX4" fmla="*/ 669318 w 995934"/>
                <a:gd name="connsiteY4" fmla="*/ 1495212 h 1495212"/>
                <a:gd name="connsiteX0" fmla="*/ 184998 w 995934"/>
                <a:gd name="connsiteY0" fmla="*/ 1462589 h 1516471"/>
                <a:gd name="connsiteX1" fmla="*/ 18654 w 995934"/>
                <a:gd name="connsiteY1" fmla="*/ 966725 h 1516471"/>
                <a:gd name="connsiteX2" fmla="*/ 455620 w 995934"/>
                <a:gd name="connsiteY2" fmla="*/ 21451 h 1516471"/>
                <a:gd name="connsiteX3" fmla="*/ 984519 w 995934"/>
                <a:gd name="connsiteY3" fmla="*/ 890269 h 1516471"/>
                <a:gd name="connsiteX4" fmla="*/ 669318 w 995934"/>
                <a:gd name="connsiteY4" fmla="*/ 1516471 h 1516471"/>
                <a:gd name="connsiteX0" fmla="*/ 178447 w 989383"/>
                <a:gd name="connsiteY0" fmla="*/ 1462589 h 1516471"/>
                <a:gd name="connsiteX1" fmla="*/ 12103 w 989383"/>
                <a:gd name="connsiteY1" fmla="*/ 966725 h 1516471"/>
                <a:gd name="connsiteX2" fmla="*/ 449069 w 989383"/>
                <a:gd name="connsiteY2" fmla="*/ 21451 h 1516471"/>
                <a:gd name="connsiteX3" fmla="*/ 977968 w 989383"/>
                <a:gd name="connsiteY3" fmla="*/ 890269 h 1516471"/>
                <a:gd name="connsiteX4" fmla="*/ 662767 w 989383"/>
                <a:gd name="connsiteY4" fmla="*/ 1516471 h 1516471"/>
                <a:gd name="connsiteX0" fmla="*/ 172077 w 983013"/>
                <a:gd name="connsiteY0" fmla="*/ 1462589 h 1516471"/>
                <a:gd name="connsiteX1" fmla="*/ 5733 w 983013"/>
                <a:gd name="connsiteY1" fmla="*/ 966725 h 1516471"/>
                <a:gd name="connsiteX2" fmla="*/ 442699 w 983013"/>
                <a:gd name="connsiteY2" fmla="*/ 21451 h 1516471"/>
                <a:gd name="connsiteX3" fmla="*/ 971598 w 983013"/>
                <a:gd name="connsiteY3" fmla="*/ 890269 h 1516471"/>
                <a:gd name="connsiteX4" fmla="*/ 656397 w 983013"/>
                <a:gd name="connsiteY4" fmla="*/ 1516471 h 1516471"/>
                <a:gd name="connsiteX0" fmla="*/ 167713 w 978649"/>
                <a:gd name="connsiteY0" fmla="*/ 1462589 h 1516471"/>
                <a:gd name="connsiteX1" fmla="*/ 1369 w 978649"/>
                <a:gd name="connsiteY1" fmla="*/ 966725 h 1516471"/>
                <a:gd name="connsiteX2" fmla="*/ 438335 w 978649"/>
                <a:gd name="connsiteY2" fmla="*/ 21451 h 1516471"/>
                <a:gd name="connsiteX3" fmla="*/ 967234 w 978649"/>
                <a:gd name="connsiteY3" fmla="*/ 890269 h 1516471"/>
                <a:gd name="connsiteX4" fmla="*/ 652033 w 978649"/>
                <a:gd name="connsiteY4" fmla="*/ 1516471 h 1516471"/>
                <a:gd name="connsiteX0" fmla="*/ 194053 w 984485"/>
                <a:gd name="connsiteY0" fmla="*/ 1489530 h 1516471"/>
                <a:gd name="connsiteX1" fmla="*/ 7205 w 984485"/>
                <a:gd name="connsiteY1" fmla="*/ 966725 h 1516471"/>
                <a:gd name="connsiteX2" fmla="*/ 444171 w 984485"/>
                <a:gd name="connsiteY2" fmla="*/ 21451 h 1516471"/>
                <a:gd name="connsiteX3" fmla="*/ 973070 w 984485"/>
                <a:gd name="connsiteY3" fmla="*/ 890269 h 1516471"/>
                <a:gd name="connsiteX4" fmla="*/ 657869 w 984485"/>
                <a:gd name="connsiteY4" fmla="*/ 1516471 h 1516471"/>
                <a:gd name="connsiteX0" fmla="*/ 194054 w 983258"/>
                <a:gd name="connsiteY0" fmla="*/ 1489530 h 1489530"/>
                <a:gd name="connsiteX1" fmla="*/ 7206 w 983258"/>
                <a:gd name="connsiteY1" fmla="*/ 966725 h 1489530"/>
                <a:gd name="connsiteX2" fmla="*/ 444172 w 983258"/>
                <a:gd name="connsiteY2" fmla="*/ 21451 h 1489530"/>
                <a:gd name="connsiteX3" fmla="*/ 973071 w 983258"/>
                <a:gd name="connsiteY3" fmla="*/ 890269 h 1489530"/>
                <a:gd name="connsiteX4" fmla="*/ 632240 w 983258"/>
                <a:gd name="connsiteY4" fmla="*/ 1489530 h 1489530"/>
                <a:gd name="connsiteX0" fmla="*/ 194054 w 958856"/>
                <a:gd name="connsiteY0" fmla="*/ 1468401 h 1468401"/>
                <a:gd name="connsiteX1" fmla="*/ 7206 w 958856"/>
                <a:gd name="connsiteY1" fmla="*/ 945596 h 1468401"/>
                <a:gd name="connsiteX2" fmla="*/ 444172 w 958856"/>
                <a:gd name="connsiteY2" fmla="*/ 322 h 1468401"/>
                <a:gd name="connsiteX3" fmla="*/ 947441 w 958856"/>
                <a:gd name="connsiteY3" fmla="*/ 847587 h 1468401"/>
                <a:gd name="connsiteX4" fmla="*/ 632240 w 958856"/>
                <a:gd name="connsiteY4" fmla="*/ 1468401 h 1468401"/>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466 h 1473466"/>
                <a:gd name="connsiteX1" fmla="*/ 6054 w 957704"/>
                <a:gd name="connsiteY1" fmla="*/ 950661 h 1473466"/>
                <a:gd name="connsiteX2" fmla="*/ 417391 w 957704"/>
                <a:gd name="connsiteY2" fmla="*/ -1 h 1473466"/>
                <a:gd name="connsiteX3" fmla="*/ 946289 w 957704"/>
                <a:gd name="connsiteY3" fmla="*/ 852652 h 1473466"/>
                <a:gd name="connsiteX4" fmla="*/ 631088 w 957704"/>
                <a:gd name="connsiteY4" fmla="*/ 1473466 h 1473466"/>
                <a:gd name="connsiteX0" fmla="*/ 192902 w 943205"/>
                <a:gd name="connsiteY0" fmla="*/ 1473467 h 1473467"/>
                <a:gd name="connsiteX1" fmla="*/ 6054 w 943205"/>
                <a:gd name="connsiteY1" fmla="*/ 950662 h 1473467"/>
                <a:gd name="connsiteX2" fmla="*/ 417391 w 943205"/>
                <a:gd name="connsiteY2" fmla="*/ 0 h 1473467"/>
                <a:gd name="connsiteX3" fmla="*/ 930912 w 943205"/>
                <a:gd name="connsiteY3" fmla="*/ 852653 h 1473467"/>
                <a:gd name="connsiteX4" fmla="*/ 631088 w 943205"/>
                <a:gd name="connsiteY4" fmla="*/ 1473467 h 1473467"/>
                <a:gd name="connsiteX0" fmla="*/ 190405 w 940708"/>
                <a:gd name="connsiteY0" fmla="*/ 1495020 h 1495020"/>
                <a:gd name="connsiteX1" fmla="*/ 3557 w 940708"/>
                <a:gd name="connsiteY1" fmla="*/ 972215 h 1495020"/>
                <a:gd name="connsiteX2" fmla="*/ 353382 w 940708"/>
                <a:gd name="connsiteY2" fmla="*/ 0 h 1495020"/>
                <a:gd name="connsiteX3" fmla="*/ 928415 w 940708"/>
                <a:gd name="connsiteY3" fmla="*/ 874206 h 1495020"/>
                <a:gd name="connsiteX4" fmla="*/ 628591 w 940708"/>
                <a:gd name="connsiteY4" fmla="*/ 1495020 h 1495020"/>
                <a:gd name="connsiteX0" fmla="*/ 281357 w 1031660"/>
                <a:gd name="connsiteY0" fmla="*/ 1495020 h 1495020"/>
                <a:gd name="connsiteX1" fmla="*/ 2242 w 1031660"/>
                <a:gd name="connsiteY1" fmla="*/ 934498 h 1495020"/>
                <a:gd name="connsiteX2" fmla="*/ 444334 w 1031660"/>
                <a:gd name="connsiteY2" fmla="*/ 0 h 1495020"/>
                <a:gd name="connsiteX3" fmla="*/ 1019367 w 1031660"/>
                <a:gd name="connsiteY3" fmla="*/ 874206 h 1495020"/>
                <a:gd name="connsiteX4" fmla="*/ 719543 w 1031660"/>
                <a:gd name="connsiteY4" fmla="*/ 1495020 h 1495020"/>
                <a:gd name="connsiteX0" fmla="*/ 280647 w 1030950"/>
                <a:gd name="connsiteY0" fmla="*/ 1495020 h 1495020"/>
                <a:gd name="connsiteX1" fmla="*/ 1532 w 1030950"/>
                <a:gd name="connsiteY1" fmla="*/ 934498 h 1495020"/>
                <a:gd name="connsiteX2" fmla="*/ 443624 w 1030950"/>
                <a:gd name="connsiteY2" fmla="*/ 0 h 1495020"/>
                <a:gd name="connsiteX3" fmla="*/ 1018657 w 1030950"/>
                <a:gd name="connsiteY3" fmla="*/ 874206 h 1495020"/>
                <a:gd name="connsiteX4" fmla="*/ 718833 w 1030950"/>
                <a:gd name="connsiteY4" fmla="*/ 1495020 h 1495020"/>
                <a:gd name="connsiteX0" fmla="*/ 298745 w 1031106"/>
                <a:gd name="connsiteY0" fmla="*/ 1503102 h 1503102"/>
                <a:gd name="connsiteX1" fmla="*/ 1688 w 1031106"/>
                <a:gd name="connsiteY1" fmla="*/ 934498 h 1503102"/>
                <a:gd name="connsiteX2" fmla="*/ 443780 w 1031106"/>
                <a:gd name="connsiteY2" fmla="*/ 0 h 1503102"/>
                <a:gd name="connsiteX3" fmla="*/ 1018813 w 1031106"/>
                <a:gd name="connsiteY3" fmla="*/ 874206 h 1503102"/>
                <a:gd name="connsiteX4" fmla="*/ 718989 w 1031106"/>
                <a:gd name="connsiteY4" fmla="*/ 1495020 h 1503102"/>
                <a:gd name="connsiteX0" fmla="*/ 299147 w 1031508"/>
                <a:gd name="connsiteY0" fmla="*/ 1503102 h 1503102"/>
                <a:gd name="connsiteX1" fmla="*/ 2090 w 1031508"/>
                <a:gd name="connsiteY1" fmla="*/ 934498 h 1503102"/>
                <a:gd name="connsiteX2" fmla="*/ 444182 w 1031508"/>
                <a:gd name="connsiteY2" fmla="*/ 0 h 1503102"/>
                <a:gd name="connsiteX3" fmla="*/ 1019215 w 1031508"/>
                <a:gd name="connsiteY3" fmla="*/ 874206 h 1503102"/>
                <a:gd name="connsiteX4" fmla="*/ 719391 w 1031508"/>
                <a:gd name="connsiteY4" fmla="*/ 1495020 h 1503102"/>
                <a:gd name="connsiteX0" fmla="*/ 301686 w 1034047"/>
                <a:gd name="connsiteY0" fmla="*/ 1503102 h 1503102"/>
                <a:gd name="connsiteX1" fmla="*/ 2065 w 1034047"/>
                <a:gd name="connsiteY1" fmla="*/ 972215 h 1503102"/>
                <a:gd name="connsiteX2" fmla="*/ 446721 w 1034047"/>
                <a:gd name="connsiteY2" fmla="*/ 0 h 1503102"/>
                <a:gd name="connsiteX3" fmla="*/ 1021754 w 1034047"/>
                <a:gd name="connsiteY3" fmla="*/ 874206 h 1503102"/>
                <a:gd name="connsiteX4" fmla="*/ 721930 w 1034047"/>
                <a:gd name="connsiteY4" fmla="*/ 1495020 h 1503102"/>
                <a:gd name="connsiteX0" fmla="*/ 316925 w 1049286"/>
                <a:gd name="connsiteY0" fmla="*/ 1503102 h 1503102"/>
                <a:gd name="connsiteX1" fmla="*/ 1926 w 1049286"/>
                <a:gd name="connsiteY1" fmla="*/ 988380 h 1503102"/>
                <a:gd name="connsiteX2" fmla="*/ 461960 w 1049286"/>
                <a:gd name="connsiteY2" fmla="*/ 0 h 1503102"/>
                <a:gd name="connsiteX3" fmla="*/ 1036993 w 1049286"/>
                <a:gd name="connsiteY3" fmla="*/ 874206 h 1503102"/>
                <a:gd name="connsiteX4" fmla="*/ 737169 w 1049286"/>
                <a:gd name="connsiteY4" fmla="*/ 1495020 h 1503102"/>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936" h="1434920">
                  <a:moveTo>
                    <a:pt x="316575" y="1434920"/>
                  </a:moveTo>
                  <a:cubicBezTo>
                    <a:pt x="186127" y="1313356"/>
                    <a:pt x="-20068" y="1159351"/>
                    <a:pt x="1576" y="920198"/>
                  </a:cubicBezTo>
                  <a:cubicBezTo>
                    <a:pt x="23220" y="681045"/>
                    <a:pt x="453766" y="420451"/>
                    <a:pt x="446440" y="0"/>
                  </a:cubicBezTo>
                  <a:cubicBezTo>
                    <a:pt x="674910" y="255427"/>
                    <a:pt x="981377" y="551466"/>
                    <a:pt x="1036643" y="806024"/>
                  </a:cubicBezTo>
                  <a:cubicBezTo>
                    <a:pt x="1091909" y="1060582"/>
                    <a:pt x="955371" y="1227545"/>
                    <a:pt x="736819" y="1426838"/>
                  </a:cubicBezTo>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6" name="Freeform 68">
              <a:extLst>
                <a:ext uri="{FF2B5EF4-FFF2-40B4-BE49-F238E27FC236}">
                  <a16:creationId xmlns:a16="http://schemas.microsoft.com/office/drawing/2014/main" id="{4BEBCD3F-B23D-4CAB-968C-93E244251763}"/>
                </a:ext>
              </a:extLst>
            </p:cNvPr>
            <p:cNvSpPr/>
            <p:nvPr/>
          </p:nvSpPr>
          <p:spPr bwMode="gray">
            <a:xfrm>
              <a:off x="-886112" y="3346900"/>
              <a:ext cx="408180" cy="466865"/>
            </a:xfrm>
            <a:custGeom>
              <a:avLst/>
              <a:gdLst>
                <a:gd name="connsiteX0" fmla="*/ 312344 w 730519"/>
                <a:gd name="connsiteY0" fmla="*/ 1257698 h 1257698"/>
                <a:gd name="connsiteX1" fmla="*/ 845 w 730519"/>
                <a:gd name="connsiteY1" fmla="*/ 745232 h 1257698"/>
                <a:gd name="connsiteX2" fmla="*/ 221909 w 730519"/>
                <a:gd name="connsiteY2" fmla="*/ 443782 h 1257698"/>
                <a:gd name="connsiteX3" fmla="*/ 272151 w 730519"/>
                <a:gd name="connsiteY3" fmla="*/ 1654 h 1257698"/>
                <a:gd name="connsiteX4" fmla="*/ 724326 w 730519"/>
                <a:gd name="connsiteY4" fmla="*/ 614604 h 1257698"/>
                <a:gd name="connsiteX5" fmla="*/ 493214 w 730519"/>
                <a:gd name="connsiteY5" fmla="*/ 1257698 h 1257698"/>
                <a:gd name="connsiteX0" fmla="*/ 236291 w 654466"/>
                <a:gd name="connsiteY0" fmla="*/ 1257760 h 1257760"/>
                <a:gd name="connsiteX1" fmla="*/ 1236 w 654466"/>
                <a:gd name="connsiteY1" fmla="*/ 826117 h 1257760"/>
                <a:gd name="connsiteX2" fmla="*/ 145856 w 654466"/>
                <a:gd name="connsiteY2" fmla="*/ 443844 h 1257760"/>
                <a:gd name="connsiteX3" fmla="*/ 196098 w 654466"/>
                <a:gd name="connsiteY3" fmla="*/ 1716 h 1257760"/>
                <a:gd name="connsiteX4" fmla="*/ 648273 w 654466"/>
                <a:gd name="connsiteY4" fmla="*/ 614666 h 1257760"/>
                <a:gd name="connsiteX5" fmla="*/ 417161 w 654466"/>
                <a:gd name="connsiteY5" fmla="*/ 1257760 h 1257760"/>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2938 h 1212938"/>
                <a:gd name="connsiteX1" fmla="*/ 1566 w 654796"/>
                <a:gd name="connsiteY1" fmla="*/ 781295 h 1212938"/>
                <a:gd name="connsiteX2" fmla="*/ 146186 w 654796"/>
                <a:gd name="connsiteY2" fmla="*/ 399022 h 1212938"/>
                <a:gd name="connsiteX3" fmla="*/ 376615 w 654796"/>
                <a:gd name="connsiteY3" fmla="*/ -1 h 1212938"/>
                <a:gd name="connsiteX4" fmla="*/ 648603 w 654796"/>
                <a:gd name="connsiteY4" fmla="*/ 569844 h 1212938"/>
                <a:gd name="connsiteX5" fmla="*/ 417491 w 654796"/>
                <a:gd name="connsiteY5" fmla="*/ 1212938 h 1212938"/>
                <a:gd name="connsiteX0" fmla="*/ 236621 w 654796"/>
                <a:gd name="connsiteY0" fmla="*/ 1212939 h 1212939"/>
                <a:gd name="connsiteX1" fmla="*/ 1566 w 654796"/>
                <a:gd name="connsiteY1" fmla="*/ 781296 h 1212939"/>
                <a:gd name="connsiteX2" fmla="*/ 146186 w 654796"/>
                <a:gd name="connsiteY2" fmla="*/ 399023 h 1212939"/>
                <a:gd name="connsiteX3" fmla="*/ 376615 w 654796"/>
                <a:gd name="connsiteY3" fmla="*/ 0 h 1212939"/>
                <a:gd name="connsiteX4" fmla="*/ 648603 w 654796"/>
                <a:gd name="connsiteY4" fmla="*/ 569845 h 1212939"/>
                <a:gd name="connsiteX5" fmla="*/ 417491 w 654796"/>
                <a:gd name="connsiteY5" fmla="*/ 1212939 h 1212939"/>
                <a:gd name="connsiteX0" fmla="*/ 236621 w 691880"/>
                <a:gd name="connsiteY0" fmla="*/ 1212939 h 1212939"/>
                <a:gd name="connsiteX1" fmla="*/ 1566 w 691880"/>
                <a:gd name="connsiteY1" fmla="*/ 781296 h 1212939"/>
                <a:gd name="connsiteX2" fmla="*/ 146186 w 691880"/>
                <a:gd name="connsiteY2" fmla="*/ 399023 h 1212939"/>
                <a:gd name="connsiteX3" fmla="*/ 376615 w 691880"/>
                <a:gd name="connsiteY3" fmla="*/ 0 h 1212939"/>
                <a:gd name="connsiteX4" fmla="*/ 686825 w 691880"/>
                <a:gd name="connsiteY4" fmla="*/ 666832 h 1212939"/>
                <a:gd name="connsiteX5" fmla="*/ 417491 w 691880"/>
                <a:gd name="connsiteY5" fmla="*/ 1212939 h 1212939"/>
                <a:gd name="connsiteX0" fmla="*/ 236621 w 701317"/>
                <a:gd name="connsiteY0" fmla="*/ 1212939 h 1212939"/>
                <a:gd name="connsiteX1" fmla="*/ 1566 w 701317"/>
                <a:gd name="connsiteY1" fmla="*/ 781296 h 1212939"/>
                <a:gd name="connsiteX2" fmla="*/ 146186 w 701317"/>
                <a:gd name="connsiteY2" fmla="*/ 399023 h 1212939"/>
                <a:gd name="connsiteX3" fmla="*/ 376615 w 701317"/>
                <a:gd name="connsiteY3" fmla="*/ 0 h 1212939"/>
                <a:gd name="connsiteX4" fmla="*/ 686825 w 701317"/>
                <a:gd name="connsiteY4" fmla="*/ 666832 h 1212939"/>
                <a:gd name="connsiteX5" fmla="*/ 559456 w 701317"/>
                <a:gd name="connsiteY5" fmla="*/ 1185998 h 1212939"/>
                <a:gd name="connsiteX0" fmla="*/ 236621 w 739946"/>
                <a:gd name="connsiteY0" fmla="*/ 1212939 h 1212939"/>
                <a:gd name="connsiteX1" fmla="*/ 1566 w 739946"/>
                <a:gd name="connsiteY1" fmla="*/ 781296 h 1212939"/>
                <a:gd name="connsiteX2" fmla="*/ 146186 w 739946"/>
                <a:gd name="connsiteY2" fmla="*/ 399023 h 1212939"/>
                <a:gd name="connsiteX3" fmla="*/ 376615 w 739946"/>
                <a:gd name="connsiteY3" fmla="*/ 0 h 1212939"/>
                <a:gd name="connsiteX4" fmla="*/ 730507 w 739946"/>
                <a:gd name="connsiteY4" fmla="*/ 634503 h 1212939"/>
                <a:gd name="connsiteX5" fmla="*/ 559456 w 739946"/>
                <a:gd name="connsiteY5" fmla="*/ 1185998 h 1212939"/>
                <a:gd name="connsiteX0" fmla="*/ 236572 w 739897"/>
                <a:gd name="connsiteY0" fmla="*/ 1164445 h 1164445"/>
                <a:gd name="connsiteX1" fmla="*/ 1517 w 739897"/>
                <a:gd name="connsiteY1" fmla="*/ 732802 h 1164445"/>
                <a:gd name="connsiteX2" fmla="*/ 146137 w 739897"/>
                <a:gd name="connsiteY2" fmla="*/ 350529 h 1164445"/>
                <a:gd name="connsiteX3" fmla="*/ 354725 w 739897"/>
                <a:gd name="connsiteY3" fmla="*/ 0 h 1164445"/>
                <a:gd name="connsiteX4" fmla="*/ 730458 w 739897"/>
                <a:gd name="connsiteY4" fmla="*/ 586009 h 1164445"/>
                <a:gd name="connsiteX5" fmla="*/ 559407 w 739897"/>
                <a:gd name="connsiteY5"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42766 w 746091"/>
                <a:gd name="connsiteY0" fmla="*/ 1164445 h 1164445"/>
                <a:gd name="connsiteX1" fmla="*/ 2250 w 746091"/>
                <a:gd name="connsiteY1" fmla="*/ 700472 h 1164445"/>
                <a:gd name="connsiteX2" fmla="*/ 360919 w 746091"/>
                <a:gd name="connsiteY2" fmla="*/ 0 h 1164445"/>
                <a:gd name="connsiteX3" fmla="*/ 736652 w 746091"/>
                <a:gd name="connsiteY3" fmla="*/ 586009 h 1164445"/>
                <a:gd name="connsiteX4" fmla="*/ 565601 w 746091"/>
                <a:gd name="connsiteY4" fmla="*/ 1137504 h 1164445"/>
                <a:gd name="connsiteX0" fmla="*/ 182965 w 751812"/>
                <a:gd name="connsiteY0" fmla="*/ 1148280 h 1148280"/>
                <a:gd name="connsiteX1" fmla="*/ 7971 w 751812"/>
                <a:gd name="connsiteY1" fmla="*/ 700472 h 1148280"/>
                <a:gd name="connsiteX2" fmla="*/ 366640 w 751812"/>
                <a:gd name="connsiteY2" fmla="*/ 0 h 1148280"/>
                <a:gd name="connsiteX3" fmla="*/ 742373 w 751812"/>
                <a:gd name="connsiteY3" fmla="*/ 586009 h 1148280"/>
                <a:gd name="connsiteX4" fmla="*/ 571322 w 751812"/>
                <a:gd name="connsiteY4" fmla="*/ 1137504 h 1148280"/>
                <a:gd name="connsiteX0" fmla="*/ 205889 w 748841"/>
                <a:gd name="connsiteY0" fmla="*/ 1142892 h 1142892"/>
                <a:gd name="connsiteX1" fmla="*/ 5000 w 748841"/>
                <a:gd name="connsiteY1" fmla="*/ 700472 h 1142892"/>
                <a:gd name="connsiteX2" fmla="*/ 363669 w 748841"/>
                <a:gd name="connsiteY2" fmla="*/ 0 h 1142892"/>
                <a:gd name="connsiteX3" fmla="*/ 739402 w 748841"/>
                <a:gd name="connsiteY3" fmla="*/ 586009 h 1142892"/>
                <a:gd name="connsiteX4" fmla="*/ 568351 w 748841"/>
                <a:gd name="connsiteY4" fmla="*/ 1137504 h 1142892"/>
                <a:gd name="connsiteX0" fmla="*/ 187451 w 751119"/>
                <a:gd name="connsiteY0" fmla="*/ 1142892 h 1142892"/>
                <a:gd name="connsiteX1" fmla="*/ 7278 w 751119"/>
                <a:gd name="connsiteY1" fmla="*/ 700472 h 1142892"/>
                <a:gd name="connsiteX2" fmla="*/ 365947 w 751119"/>
                <a:gd name="connsiteY2" fmla="*/ 0 h 1142892"/>
                <a:gd name="connsiteX3" fmla="*/ 741680 w 751119"/>
                <a:gd name="connsiteY3" fmla="*/ 586009 h 1142892"/>
                <a:gd name="connsiteX4" fmla="*/ 570629 w 751119"/>
                <a:gd name="connsiteY4" fmla="*/ 1137504 h 1142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119" h="1142892">
                  <a:moveTo>
                    <a:pt x="187451" y="1142892"/>
                  </a:moveTo>
                  <a:cubicBezTo>
                    <a:pt x="39237" y="954485"/>
                    <a:pt x="-22471" y="890954"/>
                    <a:pt x="7278" y="700472"/>
                  </a:cubicBezTo>
                  <a:cubicBezTo>
                    <a:pt x="37027" y="509990"/>
                    <a:pt x="320900" y="272324"/>
                    <a:pt x="365947" y="0"/>
                  </a:cubicBezTo>
                  <a:cubicBezTo>
                    <a:pt x="504285" y="195504"/>
                    <a:pt x="704836" y="376668"/>
                    <a:pt x="741680" y="586009"/>
                  </a:cubicBezTo>
                  <a:cubicBezTo>
                    <a:pt x="778524" y="795350"/>
                    <a:pt x="704607" y="920627"/>
                    <a:pt x="570629" y="1137504"/>
                  </a:cubicBezTo>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7" name="Freeform 69">
              <a:extLst>
                <a:ext uri="{FF2B5EF4-FFF2-40B4-BE49-F238E27FC236}">
                  <a16:creationId xmlns:a16="http://schemas.microsoft.com/office/drawing/2014/main" id="{1F6EB91B-BA81-4501-BE26-E4BB38E34EFE}"/>
                </a:ext>
              </a:extLst>
            </p:cNvPr>
            <p:cNvSpPr/>
            <p:nvPr/>
          </p:nvSpPr>
          <p:spPr bwMode="gray">
            <a:xfrm>
              <a:off x="-820606" y="3535648"/>
              <a:ext cx="273691" cy="278112"/>
            </a:xfrm>
            <a:custGeom>
              <a:avLst/>
              <a:gdLst>
                <a:gd name="connsiteX0" fmla="*/ 95316 w 319358"/>
                <a:gd name="connsiteY0" fmla="*/ 870562 h 870562"/>
                <a:gd name="connsiteX1" fmla="*/ 66 w 319358"/>
                <a:gd name="connsiteY1" fmla="*/ 483212 h 870562"/>
                <a:gd name="connsiteX2" fmla="*/ 108016 w 319358"/>
                <a:gd name="connsiteY2" fmla="*/ 324462 h 870562"/>
                <a:gd name="connsiteX3" fmla="*/ 165166 w 319358"/>
                <a:gd name="connsiteY3" fmla="*/ 612 h 870562"/>
                <a:gd name="connsiteX4" fmla="*/ 317566 w 319358"/>
                <a:gd name="connsiteY4" fmla="*/ 413362 h 870562"/>
                <a:gd name="connsiteX5" fmla="*/ 235016 w 319358"/>
                <a:gd name="connsiteY5" fmla="*/ 864212 h 870562"/>
                <a:gd name="connsiteX0" fmla="*/ 95316 w 342347"/>
                <a:gd name="connsiteY0" fmla="*/ 870562 h 870562"/>
                <a:gd name="connsiteX1" fmla="*/ 66 w 342347"/>
                <a:gd name="connsiteY1" fmla="*/ 483212 h 870562"/>
                <a:gd name="connsiteX2" fmla="*/ 108016 w 342347"/>
                <a:gd name="connsiteY2" fmla="*/ 324462 h 870562"/>
                <a:gd name="connsiteX3" fmla="*/ 165166 w 342347"/>
                <a:gd name="connsiteY3" fmla="*/ 612 h 870562"/>
                <a:gd name="connsiteX4" fmla="*/ 317566 w 342347"/>
                <a:gd name="connsiteY4" fmla="*/ 413362 h 870562"/>
                <a:gd name="connsiteX5" fmla="*/ 319044 w 342347"/>
                <a:gd name="connsiteY5" fmla="*/ 842659 h 870562"/>
                <a:gd name="connsiteX0" fmla="*/ 95316 w 371927"/>
                <a:gd name="connsiteY0" fmla="*/ 870562 h 870562"/>
                <a:gd name="connsiteX1" fmla="*/ 66 w 371927"/>
                <a:gd name="connsiteY1" fmla="*/ 483212 h 870562"/>
                <a:gd name="connsiteX2" fmla="*/ 108016 w 371927"/>
                <a:gd name="connsiteY2" fmla="*/ 324462 h 870562"/>
                <a:gd name="connsiteX3" fmla="*/ 165166 w 371927"/>
                <a:gd name="connsiteY3" fmla="*/ 612 h 870562"/>
                <a:gd name="connsiteX4" fmla="*/ 367982 w 371927"/>
                <a:gd name="connsiteY4" fmla="*/ 413363 h 870562"/>
                <a:gd name="connsiteX5" fmla="*/ 319044 w 371927"/>
                <a:gd name="connsiteY5" fmla="*/ 842659 h 870562"/>
                <a:gd name="connsiteX0" fmla="*/ 95316 w 371927"/>
                <a:gd name="connsiteY0" fmla="*/ 827551 h 827551"/>
                <a:gd name="connsiteX1" fmla="*/ 66 w 371927"/>
                <a:gd name="connsiteY1" fmla="*/ 440201 h 827551"/>
                <a:gd name="connsiteX2" fmla="*/ 108016 w 371927"/>
                <a:gd name="connsiteY2" fmla="*/ 281451 h 827551"/>
                <a:gd name="connsiteX3" fmla="*/ 205499 w 371927"/>
                <a:gd name="connsiteY3" fmla="*/ 707 h 827551"/>
                <a:gd name="connsiteX4" fmla="*/ 367982 w 371927"/>
                <a:gd name="connsiteY4" fmla="*/ 370352 h 827551"/>
                <a:gd name="connsiteX5" fmla="*/ 319044 w 371927"/>
                <a:gd name="connsiteY5" fmla="*/ 799648 h 827551"/>
                <a:gd name="connsiteX0" fmla="*/ 98435 w 375046"/>
                <a:gd name="connsiteY0" fmla="*/ 826844 h 826844"/>
                <a:gd name="connsiteX1" fmla="*/ 3185 w 375046"/>
                <a:gd name="connsiteY1" fmla="*/ 439494 h 826844"/>
                <a:gd name="connsiteX2" fmla="*/ 208618 w 375046"/>
                <a:gd name="connsiteY2" fmla="*/ 0 h 826844"/>
                <a:gd name="connsiteX3" fmla="*/ 371101 w 375046"/>
                <a:gd name="connsiteY3" fmla="*/ 369645 h 826844"/>
                <a:gd name="connsiteX4" fmla="*/ 322163 w 375046"/>
                <a:gd name="connsiteY4" fmla="*/ 798941 h 826844"/>
                <a:gd name="connsiteX0" fmla="*/ 47224 w 323835"/>
                <a:gd name="connsiteY0" fmla="*/ 826845 h 826845"/>
                <a:gd name="connsiteX1" fmla="*/ 9112 w 323835"/>
                <a:gd name="connsiteY1" fmla="*/ 374836 h 826845"/>
                <a:gd name="connsiteX2" fmla="*/ 157407 w 323835"/>
                <a:gd name="connsiteY2" fmla="*/ 1 h 826845"/>
                <a:gd name="connsiteX3" fmla="*/ 319890 w 323835"/>
                <a:gd name="connsiteY3" fmla="*/ 369646 h 826845"/>
                <a:gd name="connsiteX4" fmla="*/ 270952 w 323835"/>
                <a:gd name="connsiteY4" fmla="*/ 798942 h 826845"/>
                <a:gd name="connsiteX0" fmla="*/ 48467 w 325078"/>
                <a:gd name="connsiteY0" fmla="*/ 810682 h 810682"/>
                <a:gd name="connsiteX1" fmla="*/ 10355 w 325078"/>
                <a:gd name="connsiteY1" fmla="*/ 358673 h 810682"/>
                <a:gd name="connsiteX2" fmla="*/ 175456 w 325078"/>
                <a:gd name="connsiteY2" fmla="*/ 3 h 810682"/>
                <a:gd name="connsiteX3" fmla="*/ 321133 w 325078"/>
                <a:gd name="connsiteY3" fmla="*/ 353483 h 810682"/>
                <a:gd name="connsiteX4" fmla="*/ 272195 w 325078"/>
                <a:gd name="connsiteY4" fmla="*/ 782779 h 810682"/>
                <a:gd name="connsiteX0" fmla="*/ 55744 w 322272"/>
                <a:gd name="connsiteY0" fmla="*/ 805294 h 805294"/>
                <a:gd name="connsiteX1" fmla="*/ 7549 w 322272"/>
                <a:gd name="connsiteY1" fmla="*/ 358673 h 805294"/>
                <a:gd name="connsiteX2" fmla="*/ 172650 w 322272"/>
                <a:gd name="connsiteY2" fmla="*/ 3 h 805294"/>
                <a:gd name="connsiteX3" fmla="*/ 318327 w 322272"/>
                <a:gd name="connsiteY3" fmla="*/ 353483 h 805294"/>
                <a:gd name="connsiteX4" fmla="*/ 269389 w 322272"/>
                <a:gd name="connsiteY4" fmla="*/ 782779 h 805294"/>
                <a:gd name="connsiteX0" fmla="*/ 55744 w 321540"/>
                <a:gd name="connsiteY0" fmla="*/ 805294 h 805294"/>
                <a:gd name="connsiteX1" fmla="*/ 7549 w 321540"/>
                <a:gd name="connsiteY1" fmla="*/ 358673 h 805294"/>
                <a:gd name="connsiteX2" fmla="*/ 172650 w 321540"/>
                <a:gd name="connsiteY2" fmla="*/ 3 h 805294"/>
                <a:gd name="connsiteX3" fmla="*/ 318327 w 321540"/>
                <a:gd name="connsiteY3" fmla="*/ 353483 h 805294"/>
                <a:gd name="connsiteX4" fmla="*/ 262564 w 321540"/>
                <a:gd name="connsiteY4" fmla="*/ 798944 h 805294"/>
                <a:gd name="connsiteX0" fmla="*/ 55744 w 321540"/>
                <a:gd name="connsiteY0" fmla="*/ 789129 h 798944"/>
                <a:gd name="connsiteX1" fmla="*/ 7549 w 321540"/>
                <a:gd name="connsiteY1" fmla="*/ 358673 h 798944"/>
                <a:gd name="connsiteX2" fmla="*/ 172650 w 321540"/>
                <a:gd name="connsiteY2" fmla="*/ 3 h 798944"/>
                <a:gd name="connsiteX3" fmla="*/ 318327 w 321540"/>
                <a:gd name="connsiteY3" fmla="*/ 353483 h 798944"/>
                <a:gd name="connsiteX4" fmla="*/ 262564 w 321540"/>
                <a:gd name="connsiteY4" fmla="*/ 798944 h 798944"/>
                <a:gd name="connsiteX0" fmla="*/ 55744 w 322748"/>
                <a:gd name="connsiteY0" fmla="*/ 789129 h 789129"/>
                <a:gd name="connsiteX1" fmla="*/ 7549 w 322748"/>
                <a:gd name="connsiteY1" fmla="*/ 358673 h 789129"/>
                <a:gd name="connsiteX2" fmla="*/ 172650 w 322748"/>
                <a:gd name="connsiteY2" fmla="*/ 3 h 789129"/>
                <a:gd name="connsiteX3" fmla="*/ 318327 w 322748"/>
                <a:gd name="connsiteY3" fmla="*/ 353483 h 789129"/>
                <a:gd name="connsiteX4" fmla="*/ 272801 w 322748"/>
                <a:gd name="connsiteY4" fmla="*/ 782779 h 789129"/>
                <a:gd name="connsiteX0" fmla="*/ 61546 w 328550"/>
                <a:gd name="connsiteY0" fmla="*/ 789600 h 789600"/>
                <a:gd name="connsiteX1" fmla="*/ 6527 w 328550"/>
                <a:gd name="connsiteY1" fmla="*/ 426496 h 789600"/>
                <a:gd name="connsiteX2" fmla="*/ 178452 w 328550"/>
                <a:gd name="connsiteY2" fmla="*/ 474 h 789600"/>
                <a:gd name="connsiteX3" fmla="*/ 324129 w 328550"/>
                <a:gd name="connsiteY3" fmla="*/ 353954 h 789600"/>
                <a:gd name="connsiteX4" fmla="*/ 278603 w 328550"/>
                <a:gd name="connsiteY4" fmla="*/ 783250 h 789600"/>
                <a:gd name="connsiteX0" fmla="*/ 61546 w 331487"/>
                <a:gd name="connsiteY0" fmla="*/ 789171 h 789171"/>
                <a:gd name="connsiteX1" fmla="*/ 6527 w 331487"/>
                <a:gd name="connsiteY1" fmla="*/ 426067 h 789171"/>
                <a:gd name="connsiteX2" fmla="*/ 178452 w 331487"/>
                <a:gd name="connsiteY2" fmla="*/ 45 h 789171"/>
                <a:gd name="connsiteX3" fmla="*/ 327542 w 331487"/>
                <a:gd name="connsiteY3" fmla="*/ 402018 h 789171"/>
                <a:gd name="connsiteX4" fmla="*/ 278603 w 331487"/>
                <a:gd name="connsiteY4" fmla="*/ 782821 h 789171"/>
                <a:gd name="connsiteX0" fmla="*/ 61895 w 331836"/>
                <a:gd name="connsiteY0" fmla="*/ 724528 h 724528"/>
                <a:gd name="connsiteX1" fmla="*/ 6876 w 331836"/>
                <a:gd name="connsiteY1" fmla="*/ 361424 h 724528"/>
                <a:gd name="connsiteX2" fmla="*/ 183919 w 331836"/>
                <a:gd name="connsiteY2" fmla="*/ 61 h 724528"/>
                <a:gd name="connsiteX3" fmla="*/ 327891 w 331836"/>
                <a:gd name="connsiteY3" fmla="*/ 337375 h 724528"/>
                <a:gd name="connsiteX4" fmla="*/ 278952 w 331836"/>
                <a:gd name="connsiteY4" fmla="*/ 718178 h 72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36" h="724528">
                  <a:moveTo>
                    <a:pt x="61895" y="724528"/>
                  </a:moveTo>
                  <a:cubicBezTo>
                    <a:pt x="13211" y="576361"/>
                    <a:pt x="-13461" y="482169"/>
                    <a:pt x="6876" y="361424"/>
                  </a:cubicBezTo>
                  <a:cubicBezTo>
                    <a:pt x="27213" y="240680"/>
                    <a:pt x="130417" y="4069"/>
                    <a:pt x="183919" y="61"/>
                  </a:cubicBezTo>
                  <a:cubicBezTo>
                    <a:pt x="237422" y="-3947"/>
                    <a:pt x="316249" y="193442"/>
                    <a:pt x="327891" y="337375"/>
                  </a:cubicBezTo>
                  <a:cubicBezTo>
                    <a:pt x="339533" y="481308"/>
                    <a:pt x="326048" y="564719"/>
                    <a:pt x="278952" y="718178"/>
                  </a:cubicBezTo>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48" name="Rectangle 2">
            <a:extLst>
              <a:ext uri="{FF2B5EF4-FFF2-40B4-BE49-F238E27FC236}">
                <a16:creationId xmlns:a16="http://schemas.microsoft.com/office/drawing/2014/main" id="{A7D6BB0A-0323-46A2-AB63-5CB413C20A2E}"/>
              </a:ext>
            </a:extLst>
          </p:cNvPr>
          <p:cNvSpPr/>
          <p:nvPr/>
        </p:nvSpPr>
        <p:spPr bwMode="gray">
          <a:xfrm rot="10800000" flipH="1">
            <a:off x="6494475" y="3804671"/>
            <a:ext cx="306725" cy="173762"/>
          </a:xfrm>
          <a:custGeom>
            <a:avLst/>
            <a:gdLst/>
            <a:ahLst/>
            <a:cxnLst/>
            <a:rect l="l" t="t" r="r" b="b"/>
            <a:pathLst>
              <a:path w="420238" h="218437">
                <a:moveTo>
                  <a:pt x="0" y="218437"/>
                </a:moveTo>
                <a:lnTo>
                  <a:pt x="420238" y="218437"/>
                </a:lnTo>
                <a:lnTo>
                  <a:pt x="420238" y="0"/>
                </a:lnTo>
                <a:lnTo>
                  <a:pt x="0" y="0"/>
                </a:lnTo>
                <a:lnTo>
                  <a:pt x="0" y="49819"/>
                </a:lnTo>
                <a:lnTo>
                  <a:pt x="360926" y="49819"/>
                </a:lnTo>
                <a:lnTo>
                  <a:pt x="360926" y="168619"/>
                </a:lnTo>
                <a:lnTo>
                  <a:pt x="0" y="168619"/>
                </a:lnTo>
                <a:close/>
              </a:path>
            </a:pathLst>
          </a:custGeom>
          <a:noFill/>
          <a:ln w="12700">
            <a:solidFill>
              <a:schemeClr val="bg2"/>
            </a:solidFill>
            <a:prstDash val="sysDash"/>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52" name="Group 51">
            <a:extLst>
              <a:ext uri="{FF2B5EF4-FFF2-40B4-BE49-F238E27FC236}">
                <a16:creationId xmlns:a16="http://schemas.microsoft.com/office/drawing/2014/main" id="{00815343-D10D-4BCD-8D2D-DCDC8DCEB57C}"/>
              </a:ext>
            </a:extLst>
          </p:cNvPr>
          <p:cNvGrpSpPr/>
          <p:nvPr/>
        </p:nvGrpSpPr>
        <p:grpSpPr bwMode="gray">
          <a:xfrm>
            <a:off x="6468109" y="3315519"/>
            <a:ext cx="369623" cy="113826"/>
            <a:chOff x="5561561" y="3580012"/>
            <a:chExt cx="1068879" cy="329166"/>
          </a:xfrm>
          <a:noFill/>
        </p:grpSpPr>
        <p:sp>
          <p:nvSpPr>
            <p:cNvPr id="53" name="Oval 52">
              <a:extLst>
                <a:ext uri="{FF2B5EF4-FFF2-40B4-BE49-F238E27FC236}">
                  <a16:creationId xmlns:a16="http://schemas.microsoft.com/office/drawing/2014/main" id="{30331341-62A8-4F7F-B905-50F0AAD330C0}"/>
                </a:ext>
              </a:extLst>
            </p:cNvPr>
            <p:cNvSpPr/>
            <p:nvPr/>
          </p:nvSpPr>
          <p:spPr bwMode="gray">
            <a:xfrm>
              <a:off x="5561561"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54" name="Oval 53">
              <a:extLst>
                <a:ext uri="{FF2B5EF4-FFF2-40B4-BE49-F238E27FC236}">
                  <a16:creationId xmlns:a16="http://schemas.microsoft.com/office/drawing/2014/main" id="{AABF0FBB-1E4D-4AE9-A77B-2E97101E60DC}"/>
                </a:ext>
              </a:extLst>
            </p:cNvPr>
            <p:cNvSpPr/>
            <p:nvPr/>
          </p:nvSpPr>
          <p:spPr bwMode="gray">
            <a:xfrm>
              <a:off x="6301274"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55" name="Straight Connector 54">
              <a:extLst>
                <a:ext uri="{FF2B5EF4-FFF2-40B4-BE49-F238E27FC236}">
                  <a16:creationId xmlns:a16="http://schemas.microsoft.com/office/drawing/2014/main" id="{26022712-203F-46C7-9E95-D811E691F478}"/>
                </a:ext>
              </a:extLst>
            </p:cNvPr>
            <p:cNvCxnSpPr>
              <a:stCxn id="53" idx="6"/>
              <a:endCxn id="54" idx="2"/>
            </p:cNvCxnSpPr>
            <p:nvPr/>
          </p:nvCxnSpPr>
          <p:spPr bwMode="gray">
            <a:xfrm>
              <a:off x="5890727" y="3744595"/>
              <a:ext cx="410547" cy="0"/>
            </a:xfrm>
            <a:prstGeom prst="line">
              <a:avLst/>
            </a:prstGeom>
            <a:grpFill/>
            <a:ln w="12700">
              <a:solidFill>
                <a:schemeClr val="bg2"/>
              </a:solidFill>
              <a:prstDash val="solid"/>
              <a:round/>
              <a:headEnd/>
              <a:tailEnd/>
            </a:ln>
          </p:spPr>
        </p:cxnSp>
        <p:cxnSp>
          <p:nvCxnSpPr>
            <p:cNvPr id="56" name="Straight Connector 55">
              <a:extLst>
                <a:ext uri="{FF2B5EF4-FFF2-40B4-BE49-F238E27FC236}">
                  <a16:creationId xmlns:a16="http://schemas.microsoft.com/office/drawing/2014/main" id="{3E04B58E-9342-42EB-A8E2-67B749DB0588}"/>
                </a:ext>
              </a:extLst>
            </p:cNvPr>
            <p:cNvCxnSpPr/>
            <p:nvPr/>
          </p:nvCxnSpPr>
          <p:spPr bwMode="gray">
            <a:xfrm>
              <a:off x="6062617" y="3669857"/>
              <a:ext cx="66766" cy="149477"/>
            </a:xfrm>
            <a:prstGeom prst="line">
              <a:avLst/>
            </a:prstGeom>
            <a:grpFill/>
            <a:ln w="12700">
              <a:solidFill>
                <a:schemeClr val="bg2"/>
              </a:solidFill>
              <a:prstDash val="solid"/>
              <a:round/>
              <a:headEnd/>
              <a:tailEnd/>
            </a:ln>
          </p:spPr>
        </p:cxnSp>
      </p:grpSp>
      <p:grpSp>
        <p:nvGrpSpPr>
          <p:cNvPr id="57" name="Group 56">
            <a:extLst>
              <a:ext uri="{FF2B5EF4-FFF2-40B4-BE49-F238E27FC236}">
                <a16:creationId xmlns:a16="http://schemas.microsoft.com/office/drawing/2014/main" id="{145948D3-A55B-4E3D-9C8E-855C11436D38}"/>
              </a:ext>
            </a:extLst>
          </p:cNvPr>
          <p:cNvGrpSpPr/>
          <p:nvPr/>
        </p:nvGrpSpPr>
        <p:grpSpPr bwMode="gray">
          <a:xfrm>
            <a:off x="6463025" y="4219038"/>
            <a:ext cx="369623" cy="113826"/>
            <a:chOff x="5561561" y="3580012"/>
            <a:chExt cx="1068879" cy="329166"/>
          </a:xfrm>
          <a:noFill/>
        </p:grpSpPr>
        <p:sp>
          <p:nvSpPr>
            <p:cNvPr id="58" name="Oval 57">
              <a:extLst>
                <a:ext uri="{FF2B5EF4-FFF2-40B4-BE49-F238E27FC236}">
                  <a16:creationId xmlns:a16="http://schemas.microsoft.com/office/drawing/2014/main" id="{44D67AEF-5071-4543-BB71-65832DED8E6C}"/>
                </a:ext>
              </a:extLst>
            </p:cNvPr>
            <p:cNvSpPr/>
            <p:nvPr/>
          </p:nvSpPr>
          <p:spPr bwMode="gray">
            <a:xfrm>
              <a:off x="5561561"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59" name="Oval 58">
              <a:extLst>
                <a:ext uri="{FF2B5EF4-FFF2-40B4-BE49-F238E27FC236}">
                  <a16:creationId xmlns:a16="http://schemas.microsoft.com/office/drawing/2014/main" id="{74120715-AB8D-4571-A7C7-87D7274BFDC3}"/>
                </a:ext>
              </a:extLst>
            </p:cNvPr>
            <p:cNvSpPr/>
            <p:nvPr/>
          </p:nvSpPr>
          <p:spPr bwMode="gray">
            <a:xfrm>
              <a:off x="6301274"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60" name="Straight Connector 59">
              <a:extLst>
                <a:ext uri="{FF2B5EF4-FFF2-40B4-BE49-F238E27FC236}">
                  <a16:creationId xmlns:a16="http://schemas.microsoft.com/office/drawing/2014/main" id="{91396243-4A8D-4C9D-87E9-189E42286EDD}"/>
                </a:ext>
              </a:extLst>
            </p:cNvPr>
            <p:cNvCxnSpPr>
              <a:stCxn id="58" idx="6"/>
              <a:endCxn id="59" idx="2"/>
            </p:cNvCxnSpPr>
            <p:nvPr/>
          </p:nvCxnSpPr>
          <p:spPr bwMode="gray">
            <a:xfrm>
              <a:off x="5890727" y="3744595"/>
              <a:ext cx="410547" cy="0"/>
            </a:xfrm>
            <a:prstGeom prst="line">
              <a:avLst/>
            </a:prstGeom>
            <a:grpFill/>
            <a:ln w="12700">
              <a:solidFill>
                <a:schemeClr val="bg2"/>
              </a:solidFill>
              <a:prstDash val="solid"/>
              <a:round/>
              <a:headEnd/>
              <a:tailEnd/>
            </a:ln>
          </p:spPr>
        </p:cxnSp>
        <p:cxnSp>
          <p:nvCxnSpPr>
            <p:cNvPr id="61" name="Straight Connector 60">
              <a:extLst>
                <a:ext uri="{FF2B5EF4-FFF2-40B4-BE49-F238E27FC236}">
                  <a16:creationId xmlns:a16="http://schemas.microsoft.com/office/drawing/2014/main" id="{29AA1AE2-6155-4CD2-AC8E-E7CAAC3ADF82}"/>
                </a:ext>
              </a:extLst>
            </p:cNvPr>
            <p:cNvCxnSpPr/>
            <p:nvPr/>
          </p:nvCxnSpPr>
          <p:spPr bwMode="gray">
            <a:xfrm>
              <a:off x="6062617" y="3669857"/>
              <a:ext cx="66766" cy="149477"/>
            </a:xfrm>
            <a:prstGeom prst="line">
              <a:avLst/>
            </a:prstGeom>
            <a:grpFill/>
            <a:ln w="12700">
              <a:solidFill>
                <a:schemeClr val="bg2"/>
              </a:solidFill>
              <a:prstDash val="solid"/>
              <a:round/>
              <a:headEnd/>
              <a:tailEnd/>
            </a:ln>
          </p:spPr>
        </p:cxnSp>
      </p:grpSp>
      <p:sp>
        <p:nvSpPr>
          <p:cNvPr id="2" name="Date Placeholder 1">
            <a:extLst>
              <a:ext uri="{FF2B5EF4-FFF2-40B4-BE49-F238E27FC236}">
                <a16:creationId xmlns:a16="http://schemas.microsoft.com/office/drawing/2014/main" id="{A33D8556-BB43-471A-B444-EF673DCC1B03}"/>
              </a:ext>
            </a:extLst>
          </p:cNvPr>
          <p:cNvSpPr>
            <a:spLocks noGrp="1"/>
          </p:cNvSpPr>
          <p:nvPr>
            <p:ph type="dt" sz="half" idx="14"/>
          </p:nvPr>
        </p:nvSpPr>
        <p:spPr bwMode="gray"/>
        <p:txBody>
          <a:bodyPr/>
          <a:lstStyle/>
          <a:p>
            <a:fld id="{25150489-AA4E-4345-9853-598A514D4B7E}" type="datetime4">
              <a:rPr lang="en-US" smtClean="0"/>
              <a:t>September 8, 2019</a:t>
            </a:fld>
            <a:endParaRPr lang="en-US"/>
          </a:p>
        </p:txBody>
      </p:sp>
      <p:sp>
        <p:nvSpPr>
          <p:cNvPr id="77" name="Slide Number Placeholder 76">
            <a:extLst>
              <a:ext uri="{FF2B5EF4-FFF2-40B4-BE49-F238E27FC236}">
                <a16:creationId xmlns:a16="http://schemas.microsoft.com/office/drawing/2014/main" id="{80837501-02ED-401C-AEF4-932D0EC1A8FD}"/>
              </a:ext>
            </a:extLst>
          </p:cNvPr>
          <p:cNvSpPr>
            <a:spLocks noGrp="1"/>
          </p:cNvSpPr>
          <p:nvPr>
            <p:ph type="sldNum" sz="quarter" idx="16"/>
          </p:nvPr>
        </p:nvSpPr>
        <p:spPr bwMode="gray"/>
        <p:txBody>
          <a:bodyPr/>
          <a:lstStyle/>
          <a:p>
            <a:r>
              <a:rPr lang="en-US"/>
              <a:t>Slide </a:t>
            </a:r>
            <a:fld id="{619F89D8-7AE3-494A-97F3-03D680869632}" type="slidenum">
              <a:rPr lang="en-US" smtClean="0"/>
              <a:pPr/>
              <a:t>31</a:t>
            </a:fld>
            <a:endParaRPr lang="en-US"/>
          </a:p>
        </p:txBody>
      </p:sp>
      <p:sp>
        <p:nvSpPr>
          <p:cNvPr id="78" name="Footer Placeholder 77">
            <a:extLst>
              <a:ext uri="{FF2B5EF4-FFF2-40B4-BE49-F238E27FC236}">
                <a16:creationId xmlns:a16="http://schemas.microsoft.com/office/drawing/2014/main" id="{FF3B893F-4E82-4EC2-B899-A02D7304B9C9}"/>
              </a:ext>
            </a:extLst>
          </p:cNvPr>
          <p:cNvSpPr>
            <a:spLocks noGrp="1"/>
          </p:cNvSpPr>
          <p:nvPr>
            <p:ph type="ftr" sz="quarter" idx="15"/>
          </p:nvPr>
        </p:nvSpPr>
        <p:spPr bwMode="gray"/>
        <p:txBody>
          <a:bodyPr/>
          <a:lstStyle/>
          <a:p>
            <a:pPr lvl="8"/>
            <a:r>
              <a:rPr lang="en-US"/>
              <a:t>* THC - Total hydrocarbons</a:t>
            </a:r>
          </a:p>
        </p:txBody>
      </p:sp>
      <p:grpSp>
        <p:nvGrpSpPr>
          <p:cNvPr id="76" name="Group 75">
            <a:extLst>
              <a:ext uri="{FF2B5EF4-FFF2-40B4-BE49-F238E27FC236}">
                <a16:creationId xmlns:a16="http://schemas.microsoft.com/office/drawing/2014/main" id="{BD28A91F-6A2B-4BE3-A610-499D08E37A8A}"/>
              </a:ext>
            </a:extLst>
          </p:cNvPr>
          <p:cNvGrpSpPr/>
          <p:nvPr/>
        </p:nvGrpSpPr>
        <p:grpSpPr bwMode="gray">
          <a:xfrm>
            <a:off x="6536766" y="2716085"/>
            <a:ext cx="229982" cy="210020"/>
            <a:chOff x="-967926" y="3169597"/>
            <a:chExt cx="575910" cy="644168"/>
          </a:xfrm>
          <a:noFill/>
        </p:grpSpPr>
        <p:sp>
          <p:nvSpPr>
            <p:cNvPr id="79" name="Freeform 67">
              <a:extLst>
                <a:ext uri="{FF2B5EF4-FFF2-40B4-BE49-F238E27FC236}">
                  <a16:creationId xmlns:a16="http://schemas.microsoft.com/office/drawing/2014/main" id="{3F13C157-D481-4AEF-8235-2DB03E0BE8D8}"/>
                </a:ext>
              </a:extLst>
            </p:cNvPr>
            <p:cNvSpPr/>
            <p:nvPr/>
          </p:nvSpPr>
          <p:spPr bwMode="gray">
            <a:xfrm>
              <a:off x="-967926" y="3169597"/>
              <a:ext cx="575910" cy="644168"/>
            </a:xfrm>
            <a:custGeom>
              <a:avLst/>
              <a:gdLst>
                <a:gd name="connsiteX0" fmla="*/ 394445 w 915582"/>
                <a:gd name="connsiteY0" fmla="*/ 1530534 h 1530534"/>
                <a:gd name="connsiteX1" fmla="*/ 2559 w 915582"/>
                <a:gd name="connsiteY1" fmla="*/ 937681 h 1530534"/>
                <a:gd name="connsiteX2" fmla="*/ 223623 w 915582"/>
                <a:gd name="connsiteY2" fmla="*/ 596037 h 1530534"/>
                <a:gd name="connsiteX3" fmla="*/ 193478 w 915582"/>
                <a:gd name="connsiteY3" fmla="*/ 3184 h 1530534"/>
                <a:gd name="connsiteX4" fmla="*/ 906911 w 915582"/>
                <a:gd name="connsiteY4" fmla="*/ 877391 h 1530534"/>
                <a:gd name="connsiteX5" fmla="*/ 525073 w 915582"/>
                <a:gd name="connsiteY5" fmla="*/ 1530534 h 1530534"/>
                <a:gd name="connsiteX0" fmla="*/ 63771 w 1112883"/>
                <a:gd name="connsiteY0" fmla="*/ 1460487 h 1530534"/>
                <a:gd name="connsiteX1" fmla="*/ 199860 w 1112883"/>
                <a:gd name="connsiteY1" fmla="*/ 937681 h 1530534"/>
                <a:gd name="connsiteX2" fmla="*/ 420924 w 1112883"/>
                <a:gd name="connsiteY2" fmla="*/ 596037 h 1530534"/>
                <a:gd name="connsiteX3" fmla="*/ 390779 w 1112883"/>
                <a:gd name="connsiteY3" fmla="*/ 3184 h 1530534"/>
                <a:gd name="connsiteX4" fmla="*/ 1104212 w 1112883"/>
                <a:gd name="connsiteY4" fmla="*/ 877391 h 1530534"/>
                <a:gd name="connsiteX5" fmla="*/ 722374 w 1112883"/>
                <a:gd name="connsiteY5" fmla="*/ 1530534 h 1530534"/>
                <a:gd name="connsiteX0" fmla="*/ 63772 w 1109482"/>
                <a:gd name="connsiteY0" fmla="*/ 1460487 h 1514369"/>
                <a:gd name="connsiteX1" fmla="*/ 199861 w 1109482"/>
                <a:gd name="connsiteY1" fmla="*/ 937681 h 1514369"/>
                <a:gd name="connsiteX2" fmla="*/ 420925 w 1109482"/>
                <a:gd name="connsiteY2" fmla="*/ 596037 h 1514369"/>
                <a:gd name="connsiteX3" fmla="*/ 390780 w 1109482"/>
                <a:gd name="connsiteY3" fmla="*/ 3184 h 1514369"/>
                <a:gd name="connsiteX4" fmla="*/ 1104213 w 1109482"/>
                <a:gd name="connsiteY4" fmla="*/ 877391 h 1514369"/>
                <a:gd name="connsiteX5" fmla="*/ 548092 w 1109482"/>
                <a:gd name="connsiteY5" fmla="*/ 1514369 h 1514369"/>
                <a:gd name="connsiteX0" fmla="*/ 63772 w 874709"/>
                <a:gd name="connsiteY0" fmla="*/ 1460715 h 1514597"/>
                <a:gd name="connsiteX1" fmla="*/ 199861 w 874709"/>
                <a:gd name="connsiteY1" fmla="*/ 937909 h 1514597"/>
                <a:gd name="connsiteX2" fmla="*/ 420925 w 874709"/>
                <a:gd name="connsiteY2" fmla="*/ 596265 h 1514597"/>
                <a:gd name="connsiteX3" fmla="*/ 390780 w 874709"/>
                <a:gd name="connsiteY3" fmla="*/ 3412 h 1514597"/>
                <a:gd name="connsiteX4" fmla="*/ 863293 w 874709"/>
                <a:gd name="connsiteY4" fmla="*/ 888395 h 1514597"/>
                <a:gd name="connsiteX5" fmla="*/ 548092 w 874709"/>
                <a:gd name="connsiteY5" fmla="*/ 1514597 h 1514597"/>
                <a:gd name="connsiteX0" fmla="*/ 191224 w 1002160"/>
                <a:gd name="connsiteY0" fmla="*/ 1460745 h 1514627"/>
                <a:gd name="connsiteX1" fmla="*/ 24880 w 1002160"/>
                <a:gd name="connsiteY1" fmla="*/ 964881 h 1514627"/>
                <a:gd name="connsiteX2" fmla="*/ 548377 w 1002160"/>
                <a:gd name="connsiteY2" fmla="*/ 596295 h 1514627"/>
                <a:gd name="connsiteX3" fmla="*/ 518232 w 1002160"/>
                <a:gd name="connsiteY3" fmla="*/ 3442 h 1514627"/>
                <a:gd name="connsiteX4" fmla="*/ 990745 w 1002160"/>
                <a:gd name="connsiteY4" fmla="*/ 888425 h 1514627"/>
                <a:gd name="connsiteX5" fmla="*/ 675544 w 1002160"/>
                <a:gd name="connsiteY5" fmla="*/ 1514627 h 1514627"/>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72063 h 1525945"/>
                <a:gd name="connsiteX1" fmla="*/ 6383 w 983663"/>
                <a:gd name="connsiteY1" fmla="*/ 976199 h 1525945"/>
                <a:gd name="connsiteX2" fmla="*/ 268455 w 983663"/>
                <a:gd name="connsiteY2" fmla="*/ 532179 h 1525945"/>
                <a:gd name="connsiteX3" fmla="*/ 499735 w 983663"/>
                <a:gd name="connsiteY3" fmla="*/ 14760 h 1525945"/>
                <a:gd name="connsiteX4" fmla="*/ 972248 w 983663"/>
                <a:gd name="connsiteY4" fmla="*/ 899743 h 1525945"/>
                <a:gd name="connsiteX5" fmla="*/ 657047 w 983663"/>
                <a:gd name="connsiteY5" fmla="*/ 1525945 h 1525945"/>
                <a:gd name="connsiteX0" fmla="*/ 172727 w 983663"/>
                <a:gd name="connsiteY0" fmla="*/ 1456181 h 1510063"/>
                <a:gd name="connsiteX1" fmla="*/ 6383 w 983663"/>
                <a:gd name="connsiteY1" fmla="*/ 960317 h 1510063"/>
                <a:gd name="connsiteX2" fmla="*/ 268455 w 983663"/>
                <a:gd name="connsiteY2" fmla="*/ 516297 h 1510063"/>
                <a:gd name="connsiteX3" fmla="*/ 443349 w 983663"/>
                <a:gd name="connsiteY3" fmla="*/ 15043 h 1510063"/>
                <a:gd name="connsiteX4" fmla="*/ 972248 w 983663"/>
                <a:gd name="connsiteY4" fmla="*/ 883861 h 1510063"/>
                <a:gd name="connsiteX5" fmla="*/ 657047 w 983663"/>
                <a:gd name="connsiteY5" fmla="*/ 1510063 h 1510063"/>
                <a:gd name="connsiteX0" fmla="*/ 171348 w 982284"/>
                <a:gd name="connsiteY0" fmla="*/ 1447162 h 1501044"/>
                <a:gd name="connsiteX1" fmla="*/ 5004 w 982284"/>
                <a:gd name="connsiteY1" fmla="*/ 951298 h 1501044"/>
                <a:gd name="connsiteX2" fmla="*/ 246573 w 982284"/>
                <a:gd name="connsiteY2" fmla="*/ 512666 h 1501044"/>
                <a:gd name="connsiteX3" fmla="*/ 441970 w 982284"/>
                <a:gd name="connsiteY3" fmla="*/ 6024 h 1501044"/>
                <a:gd name="connsiteX4" fmla="*/ 970869 w 982284"/>
                <a:gd name="connsiteY4" fmla="*/ 874842 h 1501044"/>
                <a:gd name="connsiteX5" fmla="*/ 655668 w 982284"/>
                <a:gd name="connsiteY5" fmla="*/ 1501044 h 1501044"/>
                <a:gd name="connsiteX0" fmla="*/ 171348 w 982284"/>
                <a:gd name="connsiteY0" fmla="*/ 1457131 h 1511013"/>
                <a:gd name="connsiteX1" fmla="*/ 5004 w 982284"/>
                <a:gd name="connsiteY1" fmla="*/ 961267 h 1511013"/>
                <a:gd name="connsiteX2" fmla="*/ 246573 w 982284"/>
                <a:gd name="connsiteY2" fmla="*/ 522635 h 1511013"/>
                <a:gd name="connsiteX3" fmla="*/ 441970 w 982284"/>
                <a:gd name="connsiteY3" fmla="*/ 15993 h 1511013"/>
                <a:gd name="connsiteX4" fmla="*/ 970869 w 982284"/>
                <a:gd name="connsiteY4" fmla="*/ 884811 h 1511013"/>
                <a:gd name="connsiteX5" fmla="*/ 655668 w 982284"/>
                <a:gd name="connsiteY5" fmla="*/ 1511013 h 1511013"/>
                <a:gd name="connsiteX0" fmla="*/ 184998 w 995934"/>
                <a:gd name="connsiteY0" fmla="*/ 1441330 h 1495212"/>
                <a:gd name="connsiteX1" fmla="*/ 18654 w 995934"/>
                <a:gd name="connsiteY1" fmla="*/ 945466 h 1495212"/>
                <a:gd name="connsiteX2" fmla="*/ 455620 w 995934"/>
                <a:gd name="connsiteY2" fmla="*/ 192 h 1495212"/>
                <a:gd name="connsiteX3" fmla="*/ 984519 w 995934"/>
                <a:gd name="connsiteY3" fmla="*/ 869010 h 1495212"/>
                <a:gd name="connsiteX4" fmla="*/ 669318 w 995934"/>
                <a:gd name="connsiteY4" fmla="*/ 1495212 h 1495212"/>
                <a:gd name="connsiteX0" fmla="*/ 184998 w 995934"/>
                <a:gd name="connsiteY0" fmla="*/ 1462589 h 1516471"/>
                <a:gd name="connsiteX1" fmla="*/ 18654 w 995934"/>
                <a:gd name="connsiteY1" fmla="*/ 966725 h 1516471"/>
                <a:gd name="connsiteX2" fmla="*/ 455620 w 995934"/>
                <a:gd name="connsiteY2" fmla="*/ 21451 h 1516471"/>
                <a:gd name="connsiteX3" fmla="*/ 984519 w 995934"/>
                <a:gd name="connsiteY3" fmla="*/ 890269 h 1516471"/>
                <a:gd name="connsiteX4" fmla="*/ 669318 w 995934"/>
                <a:gd name="connsiteY4" fmla="*/ 1516471 h 1516471"/>
                <a:gd name="connsiteX0" fmla="*/ 178447 w 989383"/>
                <a:gd name="connsiteY0" fmla="*/ 1462589 h 1516471"/>
                <a:gd name="connsiteX1" fmla="*/ 12103 w 989383"/>
                <a:gd name="connsiteY1" fmla="*/ 966725 h 1516471"/>
                <a:gd name="connsiteX2" fmla="*/ 449069 w 989383"/>
                <a:gd name="connsiteY2" fmla="*/ 21451 h 1516471"/>
                <a:gd name="connsiteX3" fmla="*/ 977968 w 989383"/>
                <a:gd name="connsiteY3" fmla="*/ 890269 h 1516471"/>
                <a:gd name="connsiteX4" fmla="*/ 662767 w 989383"/>
                <a:gd name="connsiteY4" fmla="*/ 1516471 h 1516471"/>
                <a:gd name="connsiteX0" fmla="*/ 172077 w 983013"/>
                <a:gd name="connsiteY0" fmla="*/ 1462589 h 1516471"/>
                <a:gd name="connsiteX1" fmla="*/ 5733 w 983013"/>
                <a:gd name="connsiteY1" fmla="*/ 966725 h 1516471"/>
                <a:gd name="connsiteX2" fmla="*/ 442699 w 983013"/>
                <a:gd name="connsiteY2" fmla="*/ 21451 h 1516471"/>
                <a:gd name="connsiteX3" fmla="*/ 971598 w 983013"/>
                <a:gd name="connsiteY3" fmla="*/ 890269 h 1516471"/>
                <a:gd name="connsiteX4" fmla="*/ 656397 w 983013"/>
                <a:gd name="connsiteY4" fmla="*/ 1516471 h 1516471"/>
                <a:gd name="connsiteX0" fmla="*/ 167713 w 978649"/>
                <a:gd name="connsiteY0" fmla="*/ 1462589 h 1516471"/>
                <a:gd name="connsiteX1" fmla="*/ 1369 w 978649"/>
                <a:gd name="connsiteY1" fmla="*/ 966725 h 1516471"/>
                <a:gd name="connsiteX2" fmla="*/ 438335 w 978649"/>
                <a:gd name="connsiteY2" fmla="*/ 21451 h 1516471"/>
                <a:gd name="connsiteX3" fmla="*/ 967234 w 978649"/>
                <a:gd name="connsiteY3" fmla="*/ 890269 h 1516471"/>
                <a:gd name="connsiteX4" fmla="*/ 652033 w 978649"/>
                <a:gd name="connsiteY4" fmla="*/ 1516471 h 1516471"/>
                <a:gd name="connsiteX0" fmla="*/ 194053 w 984485"/>
                <a:gd name="connsiteY0" fmla="*/ 1489530 h 1516471"/>
                <a:gd name="connsiteX1" fmla="*/ 7205 w 984485"/>
                <a:gd name="connsiteY1" fmla="*/ 966725 h 1516471"/>
                <a:gd name="connsiteX2" fmla="*/ 444171 w 984485"/>
                <a:gd name="connsiteY2" fmla="*/ 21451 h 1516471"/>
                <a:gd name="connsiteX3" fmla="*/ 973070 w 984485"/>
                <a:gd name="connsiteY3" fmla="*/ 890269 h 1516471"/>
                <a:gd name="connsiteX4" fmla="*/ 657869 w 984485"/>
                <a:gd name="connsiteY4" fmla="*/ 1516471 h 1516471"/>
                <a:gd name="connsiteX0" fmla="*/ 194054 w 983258"/>
                <a:gd name="connsiteY0" fmla="*/ 1489530 h 1489530"/>
                <a:gd name="connsiteX1" fmla="*/ 7206 w 983258"/>
                <a:gd name="connsiteY1" fmla="*/ 966725 h 1489530"/>
                <a:gd name="connsiteX2" fmla="*/ 444172 w 983258"/>
                <a:gd name="connsiteY2" fmla="*/ 21451 h 1489530"/>
                <a:gd name="connsiteX3" fmla="*/ 973071 w 983258"/>
                <a:gd name="connsiteY3" fmla="*/ 890269 h 1489530"/>
                <a:gd name="connsiteX4" fmla="*/ 632240 w 983258"/>
                <a:gd name="connsiteY4" fmla="*/ 1489530 h 1489530"/>
                <a:gd name="connsiteX0" fmla="*/ 194054 w 958856"/>
                <a:gd name="connsiteY0" fmla="*/ 1468401 h 1468401"/>
                <a:gd name="connsiteX1" fmla="*/ 7206 w 958856"/>
                <a:gd name="connsiteY1" fmla="*/ 945596 h 1468401"/>
                <a:gd name="connsiteX2" fmla="*/ 444172 w 958856"/>
                <a:gd name="connsiteY2" fmla="*/ 322 h 1468401"/>
                <a:gd name="connsiteX3" fmla="*/ 947441 w 958856"/>
                <a:gd name="connsiteY3" fmla="*/ 847587 h 1468401"/>
                <a:gd name="connsiteX4" fmla="*/ 632240 w 958856"/>
                <a:gd name="connsiteY4" fmla="*/ 1468401 h 1468401"/>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466 h 1473466"/>
                <a:gd name="connsiteX1" fmla="*/ 6054 w 957704"/>
                <a:gd name="connsiteY1" fmla="*/ 950661 h 1473466"/>
                <a:gd name="connsiteX2" fmla="*/ 417391 w 957704"/>
                <a:gd name="connsiteY2" fmla="*/ -1 h 1473466"/>
                <a:gd name="connsiteX3" fmla="*/ 946289 w 957704"/>
                <a:gd name="connsiteY3" fmla="*/ 852652 h 1473466"/>
                <a:gd name="connsiteX4" fmla="*/ 631088 w 957704"/>
                <a:gd name="connsiteY4" fmla="*/ 1473466 h 1473466"/>
                <a:gd name="connsiteX0" fmla="*/ 192902 w 943205"/>
                <a:gd name="connsiteY0" fmla="*/ 1473467 h 1473467"/>
                <a:gd name="connsiteX1" fmla="*/ 6054 w 943205"/>
                <a:gd name="connsiteY1" fmla="*/ 950662 h 1473467"/>
                <a:gd name="connsiteX2" fmla="*/ 417391 w 943205"/>
                <a:gd name="connsiteY2" fmla="*/ 0 h 1473467"/>
                <a:gd name="connsiteX3" fmla="*/ 930912 w 943205"/>
                <a:gd name="connsiteY3" fmla="*/ 852653 h 1473467"/>
                <a:gd name="connsiteX4" fmla="*/ 631088 w 943205"/>
                <a:gd name="connsiteY4" fmla="*/ 1473467 h 1473467"/>
                <a:gd name="connsiteX0" fmla="*/ 190405 w 940708"/>
                <a:gd name="connsiteY0" fmla="*/ 1495020 h 1495020"/>
                <a:gd name="connsiteX1" fmla="*/ 3557 w 940708"/>
                <a:gd name="connsiteY1" fmla="*/ 972215 h 1495020"/>
                <a:gd name="connsiteX2" fmla="*/ 353382 w 940708"/>
                <a:gd name="connsiteY2" fmla="*/ 0 h 1495020"/>
                <a:gd name="connsiteX3" fmla="*/ 928415 w 940708"/>
                <a:gd name="connsiteY3" fmla="*/ 874206 h 1495020"/>
                <a:gd name="connsiteX4" fmla="*/ 628591 w 940708"/>
                <a:gd name="connsiteY4" fmla="*/ 1495020 h 1495020"/>
                <a:gd name="connsiteX0" fmla="*/ 281357 w 1031660"/>
                <a:gd name="connsiteY0" fmla="*/ 1495020 h 1495020"/>
                <a:gd name="connsiteX1" fmla="*/ 2242 w 1031660"/>
                <a:gd name="connsiteY1" fmla="*/ 934498 h 1495020"/>
                <a:gd name="connsiteX2" fmla="*/ 444334 w 1031660"/>
                <a:gd name="connsiteY2" fmla="*/ 0 h 1495020"/>
                <a:gd name="connsiteX3" fmla="*/ 1019367 w 1031660"/>
                <a:gd name="connsiteY3" fmla="*/ 874206 h 1495020"/>
                <a:gd name="connsiteX4" fmla="*/ 719543 w 1031660"/>
                <a:gd name="connsiteY4" fmla="*/ 1495020 h 1495020"/>
                <a:gd name="connsiteX0" fmla="*/ 280647 w 1030950"/>
                <a:gd name="connsiteY0" fmla="*/ 1495020 h 1495020"/>
                <a:gd name="connsiteX1" fmla="*/ 1532 w 1030950"/>
                <a:gd name="connsiteY1" fmla="*/ 934498 h 1495020"/>
                <a:gd name="connsiteX2" fmla="*/ 443624 w 1030950"/>
                <a:gd name="connsiteY2" fmla="*/ 0 h 1495020"/>
                <a:gd name="connsiteX3" fmla="*/ 1018657 w 1030950"/>
                <a:gd name="connsiteY3" fmla="*/ 874206 h 1495020"/>
                <a:gd name="connsiteX4" fmla="*/ 718833 w 1030950"/>
                <a:gd name="connsiteY4" fmla="*/ 1495020 h 1495020"/>
                <a:gd name="connsiteX0" fmla="*/ 298745 w 1031106"/>
                <a:gd name="connsiteY0" fmla="*/ 1503102 h 1503102"/>
                <a:gd name="connsiteX1" fmla="*/ 1688 w 1031106"/>
                <a:gd name="connsiteY1" fmla="*/ 934498 h 1503102"/>
                <a:gd name="connsiteX2" fmla="*/ 443780 w 1031106"/>
                <a:gd name="connsiteY2" fmla="*/ 0 h 1503102"/>
                <a:gd name="connsiteX3" fmla="*/ 1018813 w 1031106"/>
                <a:gd name="connsiteY3" fmla="*/ 874206 h 1503102"/>
                <a:gd name="connsiteX4" fmla="*/ 718989 w 1031106"/>
                <a:gd name="connsiteY4" fmla="*/ 1495020 h 1503102"/>
                <a:gd name="connsiteX0" fmla="*/ 299147 w 1031508"/>
                <a:gd name="connsiteY0" fmla="*/ 1503102 h 1503102"/>
                <a:gd name="connsiteX1" fmla="*/ 2090 w 1031508"/>
                <a:gd name="connsiteY1" fmla="*/ 934498 h 1503102"/>
                <a:gd name="connsiteX2" fmla="*/ 444182 w 1031508"/>
                <a:gd name="connsiteY2" fmla="*/ 0 h 1503102"/>
                <a:gd name="connsiteX3" fmla="*/ 1019215 w 1031508"/>
                <a:gd name="connsiteY3" fmla="*/ 874206 h 1503102"/>
                <a:gd name="connsiteX4" fmla="*/ 719391 w 1031508"/>
                <a:gd name="connsiteY4" fmla="*/ 1495020 h 1503102"/>
                <a:gd name="connsiteX0" fmla="*/ 301686 w 1034047"/>
                <a:gd name="connsiteY0" fmla="*/ 1503102 h 1503102"/>
                <a:gd name="connsiteX1" fmla="*/ 2065 w 1034047"/>
                <a:gd name="connsiteY1" fmla="*/ 972215 h 1503102"/>
                <a:gd name="connsiteX2" fmla="*/ 446721 w 1034047"/>
                <a:gd name="connsiteY2" fmla="*/ 0 h 1503102"/>
                <a:gd name="connsiteX3" fmla="*/ 1021754 w 1034047"/>
                <a:gd name="connsiteY3" fmla="*/ 874206 h 1503102"/>
                <a:gd name="connsiteX4" fmla="*/ 721930 w 1034047"/>
                <a:gd name="connsiteY4" fmla="*/ 1495020 h 1503102"/>
                <a:gd name="connsiteX0" fmla="*/ 316925 w 1049286"/>
                <a:gd name="connsiteY0" fmla="*/ 1503102 h 1503102"/>
                <a:gd name="connsiteX1" fmla="*/ 1926 w 1049286"/>
                <a:gd name="connsiteY1" fmla="*/ 988380 h 1503102"/>
                <a:gd name="connsiteX2" fmla="*/ 461960 w 1049286"/>
                <a:gd name="connsiteY2" fmla="*/ 0 h 1503102"/>
                <a:gd name="connsiteX3" fmla="*/ 1036993 w 1049286"/>
                <a:gd name="connsiteY3" fmla="*/ 874206 h 1503102"/>
                <a:gd name="connsiteX4" fmla="*/ 737169 w 1049286"/>
                <a:gd name="connsiteY4" fmla="*/ 1495020 h 1503102"/>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936" h="1434920">
                  <a:moveTo>
                    <a:pt x="316575" y="1434920"/>
                  </a:moveTo>
                  <a:cubicBezTo>
                    <a:pt x="186127" y="1313356"/>
                    <a:pt x="-20068" y="1159351"/>
                    <a:pt x="1576" y="920198"/>
                  </a:cubicBezTo>
                  <a:cubicBezTo>
                    <a:pt x="23220" y="681045"/>
                    <a:pt x="453766" y="420451"/>
                    <a:pt x="446440" y="0"/>
                  </a:cubicBezTo>
                  <a:cubicBezTo>
                    <a:pt x="674910" y="255427"/>
                    <a:pt x="981377" y="551466"/>
                    <a:pt x="1036643" y="806024"/>
                  </a:cubicBezTo>
                  <a:cubicBezTo>
                    <a:pt x="1091909" y="1060582"/>
                    <a:pt x="955371" y="1227545"/>
                    <a:pt x="736819" y="1426838"/>
                  </a:cubicBezTo>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80" name="Freeform 68">
              <a:extLst>
                <a:ext uri="{FF2B5EF4-FFF2-40B4-BE49-F238E27FC236}">
                  <a16:creationId xmlns:a16="http://schemas.microsoft.com/office/drawing/2014/main" id="{92B0857D-FEDA-429B-8FA5-4762CCA799BC}"/>
                </a:ext>
              </a:extLst>
            </p:cNvPr>
            <p:cNvSpPr/>
            <p:nvPr/>
          </p:nvSpPr>
          <p:spPr bwMode="gray">
            <a:xfrm>
              <a:off x="-886112" y="3346900"/>
              <a:ext cx="408180" cy="466865"/>
            </a:xfrm>
            <a:custGeom>
              <a:avLst/>
              <a:gdLst>
                <a:gd name="connsiteX0" fmla="*/ 312344 w 730519"/>
                <a:gd name="connsiteY0" fmla="*/ 1257698 h 1257698"/>
                <a:gd name="connsiteX1" fmla="*/ 845 w 730519"/>
                <a:gd name="connsiteY1" fmla="*/ 745232 h 1257698"/>
                <a:gd name="connsiteX2" fmla="*/ 221909 w 730519"/>
                <a:gd name="connsiteY2" fmla="*/ 443782 h 1257698"/>
                <a:gd name="connsiteX3" fmla="*/ 272151 w 730519"/>
                <a:gd name="connsiteY3" fmla="*/ 1654 h 1257698"/>
                <a:gd name="connsiteX4" fmla="*/ 724326 w 730519"/>
                <a:gd name="connsiteY4" fmla="*/ 614604 h 1257698"/>
                <a:gd name="connsiteX5" fmla="*/ 493214 w 730519"/>
                <a:gd name="connsiteY5" fmla="*/ 1257698 h 1257698"/>
                <a:gd name="connsiteX0" fmla="*/ 236291 w 654466"/>
                <a:gd name="connsiteY0" fmla="*/ 1257760 h 1257760"/>
                <a:gd name="connsiteX1" fmla="*/ 1236 w 654466"/>
                <a:gd name="connsiteY1" fmla="*/ 826117 h 1257760"/>
                <a:gd name="connsiteX2" fmla="*/ 145856 w 654466"/>
                <a:gd name="connsiteY2" fmla="*/ 443844 h 1257760"/>
                <a:gd name="connsiteX3" fmla="*/ 196098 w 654466"/>
                <a:gd name="connsiteY3" fmla="*/ 1716 h 1257760"/>
                <a:gd name="connsiteX4" fmla="*/ 648273 w 654466"/>
                <a:gd name="connsiteY4" fmla="*/ 614666 h 1257760"/>
                <a:gd name="connsiteX5" fmla="*/ 417161 w 654466"/>
                <a:gd name="connsiteY5" fmla="*/ 1257760 h 1257760"/>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2938 h 1212938"/>
                <a:gd name="connsiteX1" fmla="*/ 1566 w 654796"/>
                <a:gd name="connsiteY1" fmla="*/ 781295 h 1212938"/>
                <a:gd name="connsiteX2" fmla="*/ 146186 w 654796"/>
                <a:gd name="connsiteY2" fmla="*/ 399022 h 1212938"/>
                <a:gd name="connsiteX3" fmla="*/ 376615 w 654796"/>
                <a:gd name="connsiteY3" fmla="*/ -1 h 1212938"/>
                <a:gd name="connsiteX4" fmla="*/ 648603 w 654796"/>
                <a:gd name="connsiteY4" fmla="*/ 569844 h 1212938"/>
                <a:gd name="connsiteX5" fmla="*/ 417491 w 654796"/>
                <a:gd name="connsiteY5" fmla="*/ 1212938 h 1212938"/>
                <a:gd name="connsiteX0" fmla="*/ 236621 w 654796"/>
                <a:gd name="connsiteY0" fmla="*/ 1212939 h 1212939"/>
                <a:gd name="connsiteX1" fmla="*/ 1566 w 654796"/>
                <a:gd name="connsiteY1" fmla="*/ 781296 h 1212939"/>
                <a:gd name="connsiteX2" fmla="*/ 146186 w 654796"/>
                <a:gd name="connsiteY2" fmla="*/ 399023 h 1212939"/>
                <a:gd name="connsiteX3" fmla="*/ 376615 w 654796"/>
                <a:gd name="connsiteY3" fmla="*/ 0 h 1212939"/>
                <a:gd name="connsiteX4" fmla="*/ 648603 w 654796"/>
                <a:gd name="connsiteY4" fmla="*/ 569845 h 1212939"/>
                <a:gd name="connsiteX5" fmla="*/ 417491 w 654796"/>
                <a:gd name="connsiteY5" fmla="*/ 1212939 h 1212939"/>
                <a:gd name="connsiteX0" fmla="*/ 236621 w 691880"/>
                <a:gd name="connsiteY0" fmla="*/ 1212939 h 1212939"/>
                <a:gd name="connsiteX1" fmla="*/ 1566 w 691880"/>
                <a:gd name="connsiteY1" fmla="*/ 781296 h 1212939"/>
                <a:gd name="connsiteX2" fmla="*/ 146186 w 691880"/>
                <a:gd name="connsiteY2" fmla="*/ 399023 h 1212939"/>
                <a:gd name="connsiteX3" fmla="*/ 376615 w 691880"/>
                <a:gd name="connsiteY3" fmla="*/ 0 h 1212939"/>
                <a:gd name="connsiteX4" fmla="*/ 686825 w 691880"/>
                <a:gd name="connsiteY4" fmla="*/ 666832 h 1212939"/>
                <a:gd name="connsiteX5" fmla="*/ 417491 w 691880"/>
                <a:gd name="connsiteY5" fmla="*/ 1212939 h 1212939"/>
                <a:gd name="connsiteX0" fmla="*/ 236621 w 701317"/>
                <a:gd name="connsiteY0" fmla="*/ 1212939 h 1212939"/>
                <a:gd name="connsiteX1" fmla="*/ 1566 w 701317"/>
                <a:gd name="connsiteY1" fmla="*/ 781296 h 1212939"/>
                <a:gd name="connsiteX2" fmla="*/ 146186 w 701317"/>
                <a:gd name="connsiteY2" fmla="*/ 399023 h 1212939"/>
                <a:gd name="connsiteX3" fmla="*/ 376615 w 701317"/>
                <a:gd name="connsiteY3" fmla="*/ 0 h 1212939"/>
                <a:gd name="connsiteX4" fmla="*/ 686825 w 701317"/>
                <a:gd name="connsiteY4" fmla="*/ 666832 h 1212939"/>
                <a:gd name="connsiteX5" fmla="*/ 559456 w 701317"/>
                <a:gd name="connsiteY5" fmla="*/ 1185998 h 1212939"/>
                <a:gd name="connsiteX0" fmla="*/ 236621 w 739946"/>
                <a:gd name="connsiteY0" fmla="*/ 1212939 h 1212939"/>
                <a:gd name="connsiteX1" fmla="*/ 1566 w 739946"/>
                <a:gd name="connsiteY1" fmla="*/ 781296 h 1212939"/>
                <a:gd name="connsiteX2" fmla="*/ 146186 w 739946"/>
                <a:gd name="connsiteY2" fmla="*/ 399023 h 1212939"/>
                <a:gd name="connsiteX3" fmla="*/ 376615 w 739946"/>
                <a:gd name="connsiteY3" fmla="*/ 0 h 1212939"/>
                <a:gd name="connsiteX4" fmla="*/ 730507 w 739946"/>
                <a:gd name="connsiteY4" fmla="*/ 634503 h 1212939"/>
                <a:gd name="connsiteX5" fmla="*/ 559456 w 739946"/>
                <a:gd name="connsiteY5" fmla="*/ 1185998 h 1212939"/>
                <a:gd name="connsiteX0" fmla="*/ 236572 w 739897"/>
                <a:gd name="connsiteY0" fmla="*/ 1164445 h 1164445"/>
                <a:gd name="connsiteX1" fmla="*/ 1517 w 739897"/>
                <a:gd name="connsiteY1" fmla="*/ 732802 h 1164445"/>
                <a:gd name="connsiteX2" fmla="*/ 146137 w 739897"/>
                <a:gd name="connsiteY2" fmla="*/ 350529 h 1164445"/>
                <a:gd name="connsiteX3" fmla="*/ 354725 w 739897"/>
                <a:gd name="connsiteY3" fmla="*/ 0 h 1164445"/>
                <a:gd name="connsiteX4" fmla="*/ 730458 w 739897"/>
                <a:gd name="connsiteY4" fmla="*/ 586009 h 1164445"/>
                <a:gd name="connsiteX5" fmla="*/ 559407 w 739897"/>
                <a:gd name="connsiteY5"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42766 w 746091"/>
                <a:gd name="connsiteY0" fmla="*/ 1164445 h 1164445"/>
                <a:gd name="connsiteX1" fmla="*/ 2250 w 746091"/>
                <a:gd name="connsiteY1" fmla="*/ 700472 h 1164445"/>
                <a:gd name="connsiteX2" fmla="*/ 360919 w 746091"/>
                <a:gd name="connsiteY2" fmla="*/ 0 h 1164445"/>
                <a:gd name="connsiteX3" fmla="*/ 736652 w 746091"/>
                <a:gd name="connsiteY3" fmla="*/ 586009 h 1164445"/>
                <a:gd name="connsiteX4" fmla="*/ 565601 w 746091"/>
                <a:gd name="connsiteY4" fmla="*/ 1137504 h 1164445"/>
                <a:gd name="connsiteX0" fmla="*/ 182965 w 751812"/>
                <a:gd name="connsiteY0" fmla="*/ 1148280 h 1148280"/>
                <a:gd name="connsiteX1" fmla="*/ 7971 w 751812"/>
                <a:gd name="connsiteY1" fmla="*/ 700472 h 1148280"/>
                <a:gd name="connsiteX2" fmla="*/ 366640 w 751812"/>
                <a:gd name="connsiteY2" fmla="*/ 0 h 1148280"/>
                <a:gd name="connsiteX3" fmla="*/ 742373 w 751812"/>
                <a:gd name="connsiteY3" fmla="*/ 586009 h 1148280"/>
                <a:gd name="connsiteX4" fmla="*/ 571322 w 751812"/>
                <a:gd name="connsiteY4" fmla="*/ 1137504 h 1148280"/>
                <a:gd name="connsiteX0" fmla="*/ 205889 w 748841"/>
                <a:gd name="connsiteY0" fmla="*/ 1142892 h 1142892"/>
                <a:gd name="connsiteX1" fmla="*/ 5000 w 748841"/>
                <a:gd name="connsiteY1" fmla="*/ 700472 h 1142892"/>
                <a:gd name="connsiteX2" fmla="*/ 363669 w 748841"/>
                <a:gd name="connsiteY2" fmla="*/ 0 h 1142892"/>
                <a:gd name="connsiteX3" fmla="*/ 739402 w 748841"/>
                <a:gd name="connsiteY3" fmla="*/ 586009 h 1142892"/>
                <a:gd name="connsiteX4" fmla="*/ 568351 w 748841"/>
                <a:gd name="connsiteY4" fmla="*/ 1137504 h 1142892"/>
                <a:gd name="connsiteX0" fmla="*/ 187451 w 751119"/>
                <a:gd name="connsiteY0" fmla="*/ 1142892 h 1142892"/>
                <a:gd name="connsiteX1" fmla="*/ 7278 w 751119"/>
                <a:gd name="connsiteY1" fmla="*/ 700472 h 1142892"/>
                <a:gd name="connsiteX2" fmla="*/ 365947 w 751119"/>
                <a:gd name="connsiteY2" fmla="*/ 0 h 1142892"/>
                <a:gd name="connsiteX3" fmla="*/ 741680 w 751119"/>
                <a:gd name="connsiteY3" fmla="*/ 586009 h 1142892"/>
                <a:gd name="connsiteX4" fmla="*/ 570629 w 751119"/>
                <a:gd name="connsiteY4" fmla="*/ 1137504 h 1142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119" h="1142892">
                  <a:moveTo>
                    <a:pt x="187451" y="1142892"/>
                  </a:moveTo>
                  <a:cubicBezTo>
                    <a:pt x="39237" y="954485"/>
                    <a:pt x="-22471" y="890954"/>
                    <a:pt x="7278" y="700472"/>
                  </a:cubicBezTo>
                  <a:cubicBezTo>
                    <a:pt x="37027" y="509990"/>
                    <a:pt x="320900" y="272324"/>
                    <a:pt x="365947" y="0"/>
                  </a:cubicBezTo>
                  <a:cubicBezTo>
                    <a:pt x="504285" y="195504"/>
                    <a:pt x="704836" y="376668"/>
                    <a:pt x="741680" y="586009"/>
                  </a:cubicBezTo>
                  <a:cubicBezTo>
                    <a:pt x="778524" y="795350"/>
                    <a:pt x="704607" y="920627"/>
                    <a:pt x="570629" y="1137504"/>
                  </a:cubicBezTo>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81" name="Freeform 69">
              <a:extLst>
                <a:ext uri="{FF2B5EF4-FFF2-40B4-BE49-F238E27FC236}">
                  <a16:creationId xmlns:a16="http://schemas.microsoft.com/office/drawing/2014/main" id="{0EAE9562-B567-46E6-A4EF-9344C4D3C3DE}"/>
                </a:ext>
              </a:extLst>
            </p:cNvPr>
            <p:cNvSpPr/>
            <p:nvPr/>
          </p:nvSpPr>
          <p:spPr bwMode="gray">
            <a:xfrm>
              <a:off x="-820606" y="3535648"/>
              <a:ext cx="273691" cy="278112"/>
            </a:xfrm>
            <a:custGeom>
              <a:avLst/>
              <a:gdLst>
                <a:gd name="connsiteX0" fmla="*/ 95316 w 319358"/>
                <a:gd name="connsiteY0" fmla="*/ 870562 h 870562"/>
                <a:gd name="connsiteX1" fmla="*/ 66 w 319358"/>
                <a:gd name="connsiteY1" fmla="*/ 483212 h 870562"/>
                <a:gd name="connsiteX2" fmla="*/ 108016 w 319358"/>
                <a:gd name="connsiteY2" fmla="*/ 324462 h 870562"/>
                <a:gd name="connsiteX3" fmla="*/ 165166 w 319358"/>
                <a:gd name="connsiteY3" fmla="*/ 612 h 870562"/>
                <a:gd name="connsiteX4" fmla="*/ 317566 w 319358"/>
                <a:gd name="connsiteY4" fmla="*/ 413362 h 870562"/>
                <a:gd name="connsiteX5" fmla="*/ 235016 w 319358"/>
                <a:gd name="connsiteY5" fmla="*/ 864212 h 870562"/>
                <a:gd name="connsiteX0" fmla="*/ 95316 w 342347"/>
                <a:gd name="connsiteY0" fmla="*/ 870562 h 870562"/>
                <a:gd name="connsiteX1" fmla="*/ 66 w 342347"/>
                <a:gd name="connsiteY1" fmla="*/ 483212 h 870562"/>
                <a:gd name="connsiteX2" fmla="*/ 108016 w 342347"/>
                <a:gd name="connsiteY2" fmla="*/ 324462 h 870562"/>
                <a:gd name="connsiteX3" fmla="*/ 165166 w 342347"/>
                <a:gd name="connsiteY3" fmla="*/ 612 h 870562"/>
                <a:gd name="connsiteX4" fmla="*/ 317566 w 342347"/>
                <a:gd name="connsiteY4" fmla="*/ 413362 h 870562"/>
                <a:gd name="connsiteX5" fmla="*/ 319044 w 342347"/>
                <a:gd name="connsiteY5" fmla="*/ 842659 h 870562"/>
                <a:gd name="connsiteX0" fmla="*/ 95316 w 371927"/>
                <a:gd name="connsiteY0" fmla="*/ 870562 h 870562"/>
                <a:gd name="connsiteX1" fmla="*/ 66 w 371927"/>
                <a:gd name="connsiteY1" fmla="*/ 483212 h 870562"/>
                <a:gd name="connsiteX2" fmla="*/ 108016 w 371927"/>
                <a:gd name="connsiteY2" fmla="*/ 324462 h 870562"/>
                <a:gd name="connsiteX3" fmla="*/ 165166 w 371927"/>
                <a:gd name="connsiteY3" fmla="*/ 612 h 870562"/>
                <a:gd name="connsiteX4" fmla="*/ 367982 w 371927"/>
                <a:gd name="connsiteY4" fmla="*/ 413363 h 870562"/>
                <a:gd name="connsiteX5" fmla="*/ 319044 w 371927"/>
                <a:gd name="connsiteY5" fmla="*/ 842659 h 870562"/>
                <a:gd name="connsiteX0" fmla="*/ 95316 w 371927"/>
                <a:gd name="connsiteY0" fmla="*/ 827551 h 827551"/>
                <a:gd name="connsiteX1" fmla="*/ 66 w 371927"/>
                <a:gd name="connsiteY1" fmla="*/ 440201 h 827551"/>
                <a:gd name="connsiteX2" fmla="*/ 108016 w 371927"/>
                <a:gd name="connsiteY2" fmla="*/ 281451 h 827551"/>
                <a:gd name="connsiteX3" fmla="*/ 205499 w 371927"/>
                <a:gd name="connsiteY3" fmla="*/ 707 h 827551"/>
                <a:gd name="connsiteX4" fmla="*/ 367982 w 371927"/>
                <a:gd name="connsiteY4" fmla="*/ 370352 h 827551"/>
                <a:gd name="connsiteX5" fmla="*/ 319044 w 371927"/>
                <a:gd name="connsiteY5" fmla="*/ 799648 h 827551"/>
                <a:gd name="connsiteX0" fmla="*/ 98435 w 375046"/>
                <a:gd name="connsiteY0" fmla="*/ 826844 h 826844"/>
                <a:gd name="connsiteX1" fmla="*/ 3185 w 375046"/>
                <a:gd name="connsiteY1" fmla="*/ 439494 h 826844"/>
                <a:gd name="connsiteX2" fmla="*/ 208618 w 375046"/>
                <a:gd name="connsiteY2" fmla="*/ 0 h 826844"/>
                <a:gd name="connsiteX3" fmla="*/ 371101 w 375046"/>
                <a:gd name="connsiteY3" fmla="*/ 369645 h 826844"/>
                <a:gd name="connsiteX4" fmla="*/ 322163 w 375046"/>
                <a:gd name="connsiteY4" fmla="*/ 798941 h 826844"/>
                <a:gd name="connsiteX0" fmla="*/ 47224 w 323835"/>
                <a:gd name="connsiteY0" fmla="*/ 826845 h 826845"/>
                <a:gd name="connsiteX1" fmla="*/ 9112 w 323835"/>
                <a:gd name="connsiteY1" fmla="*/ 374836 h 826845"/>
                <a:gd name="connsiteX2" fmla="*/ 157407 w 323835"/>
                <a:gd name="connsiteY2" fmla="*/ 1 h 826845"/>
                <a:gd name="connsiteX3" fmla="*/ 319890 w 323835"/>
                <a:gd name="connsiteY3" fmla="*/ 369646 h 826845"/>
                <a:gd name="connsiteX4" fmla="*/ 270952 w 323835"/>
                <a:gd name="connsiteY4" fmla="*/ 798942 h 826845"/>
                <a:gd name="connsiteX0" fmla="*/ 48467 w 325078"/>
                <a:gd name="connsiteY0" fmla="*/ 810682 h 810682"/>
                <a:gd name="connsiteX1" fmla="*/ 10355 w 325078"/>
                <a:gd name="connsiteY1" fmla="*/ 358673 h 810682"/>
                <a:gd name="connsiteX2" fmla="*/ 175456 w 325078"/>
                <a:gd name="connsiteY2" fmla="*/ 3 h 810682"/>
                <a:gd name="connsiteX3" fmla="*/ 321133 w 325078"/>
                <a:gd name="connsiteY3" fmla="*/ 353483 h 810682"/>
                <a:gd name="connsiteX4" fmla="*/ 272195 w 325078"/>
                <a:gd name="connsiteY4" fmla="*/ 782779 h 810682"/>
                <a:gd name="connsiteX0" fmla="*/ 55744 w 322272"/>
                <a:gd name="connsiteY0" fmla="*/ 805294 h 805294"/>
                <a:gd name="connsiteX1" fmla="*/ 7549 w 322272"/>
                <a:gd name="connsiteY1" fmla="*/ 358673 h 805294"/>
                <a:gd name="connsiteX2" fmla="*/ 172650 w 322272"/>
                <a:gd name="connsiteY2" fmla="*/ 3 h 805294"/>
                <a:gd name="connsiteX3" fmla="*/ 318327 w 322272"/>
                <a:gd name="connsiteY3" fmla="*/ 353483 h 805294"/>
                <a:gd name="connsiteX4" fmla="*/ 269389 w 322272"/>
                <a:gd name="connsiteY4" fmla="*/ 782779 h 805294"/>
                <a:gd name="connsiteX0" fmla="*/ 55744 w 321540"/>
                <a:gd name="connsiteY0" fmla="*/ 805294 h 805294"/>
                <a:gd name="connsiteX1" fmla="*/ 7549 w 321540"/>
                <a:gd name="connsiteY1" fmla="*/ 358673 h 805294"/>
                <a:gd name="connsiteX2" fmla="*/ 172650 w 321540"/>
                <a:gd name="connsiteY2" fmla="*/ 3 h 805294"/>
                <a:gd name="connsiteX3" fmla="*/ 318327 w 321540"/>
                <a:gd name="connsiteY3" fmla="*/ 353483 h 805294"/>
                <a:gd name="connsiteX4" fmla="*/ 262564 w 321540"/>
                <a:gd name="connsiteY4" fmla="*/ 798944 h 805294"/>
                <a:gd name="connsiteX0" fmla="*/ 55744 w 321540"/>
                <a:gd name="connsiteY0" fmla="*/ 789129 h 798944"/>
                <a:gd name="connsiteX1" fmla="*/ 7549 w 321540"/>
                <a:gd name="connsiteY1" fmla="*/ 358673 h 798944"/>
                <a:gd name="connsiteX2" fmla="*/ 172650 w 321540"/>
                <a:gd name="connsiteY2" fmla="*/ 3 h 798944"/>
                <a:gd name="connsiteX3" fmla="*/ 318327 w 321540"/>
                <a:gd name="connsiteY3" fmla="*/ 353483 h 798944"/>
                <a:gd name="connsiteX4" fmla="*/ 262564 w 321540"/>
                <a:gd name="connsiteY4" fmla="*/ 798944 h 798944"/>
                <a:gd name="connsiteX0" fmla="*/ 55744 w 322748"/>
                <a:gd name="connsiteY0" fmla="*/ 789129 h 789129"/>
                <a:gd name="connsiteX1" fmla="*/ 7549 w 322748"/>
                <a:gd name="connsiteY1" fmla="*/ 358673 h 789129"/>
                <a:gd name="connsiteX2" fmla="*/ 172650 w 322748"/>
                <a:gd name="connsiteY2" fmla="*/ 3 h 789129"/>
                <a:gd name="connsiteX3" fmla="*/ 318327 w 322748"/>
                <a:gd name="connsiteY3" fmla="*/ 353483 h 789129"/>
                <a:gd name="connsiteX4" fmla="*/ 272801 w 322748"/>
                <a:gd name="connsiteY4" fmla="*/ 782779 h 789129"/>
                <a:gd name="connsiteX0" fmla="*/ 61546 w 328550"/>
                <a:gd name="connsiteY0" fmla="*/ 789600 h 789600"/>
                <a:gd name="connsiteX1" fmla="*/ 6527 w 328550"/>
                <a:gd name="connsiteY1" fmla="*/ 426496 h 789600"/>
                <a:gd name="connsiteX2" fmla="*/ 178452 w 328550"/>
                <a:gd name="connsiteY2" fmla="*/ 474 h 789600"/>
                <a:gd name="connsiteX3" fmla="*/ 324129 w 328550"/>
                <a:gd name="connsiteY3" fmla="*/ 353954 h 789600"/>
                <a:gd name="connsiteX4" fmla="*/ 278603 w 328550"/>
                <a:gd name="connsiteY4" fmla="*/ 783250 h 789600"/>
                <a:gd name="connsiteX0" fmla="*/ 61546 w 331487"/>
                <a:gd name="connsiteY0" fmla="*/ 789171 h 789171"/>
                <a:gd name="connsiteX1" fmla="*/ 6527 w 331487"/>
                <a:gd name="connsiteY1" fmla="*/ 426067 h 789171"/>
                <a:gd name="connsiteX2" fmla="*/ 178452 w 331487"/>
                <a:gd name="connsiteY2" fmla="*/ 45 h 789171"/>
                <a:gd name="connsiteX3" fmla="*/ 327542 w 331487"/>
                <a:gd name="connsiteY3" fmla="*/ 402018 h 789171"/>
                <a:gd name="connsiteX4" fmla="*/ 278603 w 331487"/>
                <a:gd name="connsiteY4" fmla="*/ 782821 h 789171"/>
                <a:gd name="connsiteX0" fmla="*/ 61895 w 331836"/>
                <a:gd name="connsiteY0" fmla="*/ 724528 h 724528"/>
                <a:gd name="connsiteX1" fmla="*/ 6876 w 331836"/>
                <a:gd name="connsiteY1" fmla="*/ 361424 h 724528"/>
                <a:gd name="connsiteX2" fmla="*/ 183919 w 331836"/>
                <a:gd name="connsiteY2" fmla="*/ 61 h 724528"/>
                <a:gd name="connsiteX3" fmla="*/ 327891 w 331836"/>
                <a:gd name="connsiteY3" fmla="*/ 337375 h 724528"/>
                <a:gd name="connsiteX4" fmla="*/ 278952 w 331836"/>
                <a:gd name="connsiteY4" fmla="*/ 718178 h 72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36" h="724528">
                  <a:moveTo>
                    <a:pt x="61895" y="724528"/>
                  </a:moveTo>
                  <a:cubicBezTo>
                    <a:pt x="13211" y="576361"/>
                    <a:pt x="-13461" y="482169"/>
                    <a:pt x="6876" y="361424"/>
                  </a:cubicBezTo>
                  <a:cubicBezTo>
                    <a:pt x="27213" y="240680"/>
                    <a:pt x="130417" y="4069"/>
                    <a:pt x="183919" y="61"/>
                  </a:cubicBezTo>
                  <a:cubicBezTo>
                    <a:pt x="237422" y="-3947"/>
                    <a:pt x="316249" y="193442"/>
                    <a:pt x="327891" y="337375"/>
                  </a:cubicBezTo>
                  <a:cubicBezTo>
                    <a:pt x="339533" y="481308"/>
                    <a:pt x="326048" y="564719"/>
                    <a:pt x="278952" y="718178"/>
                  </a:cubicBezTo>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nvGrpSpPr>
          <p:cNvPr id="82" name="Group 81">
            <a:extLst>
              <a:ext uri="{FF2B5EF4-FFF2-40B4-BE49-F238E27FC236}">
                <a16:creationId xmlns:a16="http://schemas.microsoft.com/office/drawing/2014/main" id="{48C2A725-F99D-4AF3-977F-CD4DE6BADA66}"/>
              </a:ext>
            </a:extLst>
          </p:cNvPr>
          <p:cNvGrpSpPr/>
          <p:nvPr/>
        </p:nvGrpSpPr>
        <p:grpSpPr bwMode="gray">
          <a:xfrm>
            <a:off x="9205263" y="3225884"/>
            <a:ext cx="310194" cy="293095"/>
            <a:chOff x="-640260" y="1957916"/>
            <a:chExt cx="355290" cy="335706"/>
          </a:xfrm>
          <a:noFill/>
        </p:grpSpPr>
        <p:sp>
          <p:nvSpPr>
            <p:cNvPr id="83" name="Rectangle 17">
              <a:extLst>
                <a:ext uri="{FF2B5EF4-FFF2-40B4-BE49-F238E27FC236}">
                  <a16:creationId xmlns:a16="http://schemas.microsoft.com/office/drawing/2014/main" id="{6D11C79A-E2D1-429F-8F36-B1C96AA62322}"/>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84" name="Rectangle 16">
              <a:extLst>
                <a:ext uri="{FF2B5EF4-FFF2-40B4-BE49-F238E27FC236}">
                  <a16:creationId xmlns:a16="http://schemas.microsoft.com/office/drawing/2014/main" id="{BA17B356-64E8-4662-9C6B-C521CA8FEAC2}"/>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85" name="Straight Connector 84">
              <a:extLst>
                <a:ext uri="{FF2B5EF4-FFF2-40B4-BE49-F238E27FC236}">
                  <a16:creationId xmlns:a16="http://schemas.microsoft.com/office/drawing/2014/main" id="{373EBE2B-412E-4FC3-BDCD-BD0D3BBCA3E1}"/>
                </a:ext>
              </a:extLst>
            </p:cNvPr>
            <p:cNvCxnSpPr/>
            <p:nvPr/>
          </p:nvCxnSpPr>
          <p:spPr bwMode="gray">
            <a:xfrm rot="5400000" flipH="1">
              <a:off x="-481603" y="1981616"/>
              <a:ext cx="47400" cy="0"/>
            </a:xfrm>
            <a:prstGeom prst="line">
              <a:avLst/>
            </a:prstGeom>
            <a:grpFill/>
            <a:ln w="12700">
              <a:solidFill>
                <a:schemeClr val="bg2"/>
              </a:solidFill>
              <a:prstDash val="solid"/>
              <a:round/>
              <a:headEnd/>
              <a:tailEnd/>
            </a:ln>
          </p:spPr>
        </p:cxnSp>
        <p:cxnSp>
          <p:nvCxnSpPr>
            <p:cNvPr id="86" name="Straight Connector 85">
              <a:extLst>
                <a:ext uri="{FF2B5EF4-FFF2-40B4-BE49-F238E27FC236}">
                  <a16:creationId xmlns:a16="http://schemas.microsoft.com/office/drawing/2014/main" id="{25094C4D-1C38-40FF-AB3C-BE4BFB90252E}"/>
                </a:ext>
              </a:extLst>
            </p:cNvPr>
            <p:cNvCxnSpPr/>
            <p:nvPr/>
          </p:nvCxnSpPr>
          <p:spPr bwMode="gray">
            <a:xfrm rot="5400000" flipH="1">
              <a:off x="-481603" y="2269922"/>
              <a:ext cx="47400" cy="0"/>
            </a:xfrm>
            <a:prstGeom prst="line">
              <a:avLst/>
            </a:prstGeom>
            <a:grpFill/>
            <a:ln w="12700">
              <a:solidFill>
                <a:schemeClr val="bg2"/>
              </a:solidFill>
              <a:prstDash val="solid"/>
              <a:round/>
              <a:headEnd/>
              <a:tailEnd/>
            </a:ln>
          </p:spPr>
        </p:cxnSp>
        <p:cxnSp>
          <p:nvCxnSpPr>
            <p:cNvPr id="87" name="Straight Connector 86">
              <a:extLst>
                <a:ext uri="{FF2B5EF4-FFF2-40B4-BE49-F238E27FC236}">
                  <a16:creationId xmlns:a16="http://schemas.microsoft.com/office/drawing/2014/main" id="{B5C0D9B1-EA9B-4EFC-88C8-01C2FD94C741}"/>
                </a:ext>
              </a:extLst>
            </p:cNvPr>
            <p:cNvCxnSpPr/>
            <p:nvPr/>
          </p:nvCxnSpPr>
          <p:spPr bwMode="gray">
            <a:xfrm rot="2503489" flipH="1">
              <a:off x="-370223" y="2225091"/>
              <a:ext cx="47400" cy="0"/>
            </a:xfrm>
            <a:prstGeom prst="line">
              <a:avLst/>
            </a:prstGeom>
            <a:grpFill/>
            <a:ln w="12700">
              <a:solidFill>
                <a:schemeClr val="bg2"/>
              </a:solidFill>
              <a:prstDash val="solid"/>
              <a:round/>
              <a:headEnd/>
              <a:tailEnd/>
            </a:ln>
          </p:spPr>
        </p:cxnSp>
        <p:cxnSp>
          <p:nvCxnSpPr>
            <p:cNvPr id="88" name="Straight Connector 87">
              <a:extLst>
                <a:ext uri="{FF2B5EF4-FFF2-40B4-BE49-F238E27FC236}">
                  <a16:creationId xmlns:a16="http://schemas.microsoft.com/office/drawing/2014/main" id="{F3E0B518-46A2-48EF-B3B3-4F1FA5CEC67E}"/>
                </a:ext>
              </a:extLst>
            </p:cNvPr>
            <p:cNvCxnSpPr/>
            <p:nvPr/>
          </p:nvCxnSpPr>
          <p:spPr bwMode="gray">
            <a:xfrm rot="8296511">
              <a:off x="-370223" y="2026447"/>
              <a:ext cx="47400" cy="0"/>
            </a:xfrm>
            <a:prstGeom prst="line">
              <a:avLst/>
            </a:prstGeom>
            <a:grpFill/>
            <a:ln w="12700">
              <a:solidFill>
                <a:schemeClr val="bg2"/>
              </a:solidFill>
              <a:prstDash val="solid"/>
              <a:round/>
              <a:headEnd/>
              <a:tailEnd/>
            </a:ln>
          </p:spPr>
        </p:cxnSp>
        <p:cxnSp>
          <p:nvCxnSpPr>
            <p:cNvPr id="89" name="Straight Connector 88">
              <a:extLst>
                <a:ext uri="{FF2B5EF4-FFF2-40B4-BE49-F238E27FC236}">
                  <a16:creationId xmlns:a16="http://schemas.microsoft.com/office/drawing/2014/main" id="{7DF7490E-BBD7-4262-8963-E8DDFA536CEA}"/>
                </a:ext>
              </a:extLst>
            </p:cNvPr>
            <p:cNvCxnSpPr/>
            <p:nvPr/>
          </p:nvCxnSpPr>
          <p:spPr bwMode="gray">
            <a:xfrm rot="10800000">
              <a:off x="-332370" y="2125769"/>
              <a:ext cx="47400" cy="0"/>
            </a:xfrm>
            <a:prstGeom prst="line">
              <a:avLst/>
            </a:prstGeom>
            <a:grpFill/>
            <a:ln w="12700">
              <a:solidFill>
                <a:schemeClr val="bg2"/>
              </a:solidFill>
              <a:prstDash val="solid"/>
              <a:round/>
              <a:headEnd/>
              <a:tailEnd/>
            </a:ln>
          </p:spPr>
        </p:cxnSp>
        <p:grpSp>
          <p:nvGrpSpPr>
            <p:cNvPr id="90" name="Group 89">
              <a:extLst>
                <a:ext uri="{FF2B5EF4-FFF2-40B4-BE49-F238E27FC236}">
                  <a16:creationId xmlns:a16="http://schemas.microsoft.com/office/drawing/2014/main" id="{012C7DC1-0E4D-487B-989D-83643BAD573F}"/>
                </a:ext>
              </a:extLst>
            </p:cNvPr>
            <p:cNvGrpSpPr/>
            <p:nvPr/>
          </p:nvGrpSpPr>
          <p:grpSpPr bwMode="gray">
            <a:xfrm>
              <a:off x="-507951" y="2088033"/>
              <a:ext cx="84957" cy="65573"/>
              <a:chOff x="-2412348" y="2111699"/>
              <a:chExt cx="717156" cy="553527"/>
            </a:xfrm>
            <a:grpFill/>
          </p:grpSpPr>
          <p:sp>
            <p:nvSpPr>
              <p:cNvPr id="91" name="Parallelogram 1029">
                <a:extLst>
                  <a:ext uri="{FF2B5EF4-FFF2-40B4-BE49-F238E27FC236}">
                    <a16:creationId xmlns:a16="http://schemas.microsoft.com/office/drawing/2014/main" id="{09633D17-360B-48FD-9488-83AEE95C952A}"/>
                  </a:ext>
                </a:extLst>
              </p:cNvPr>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92" name="Rectangle 91">
                <a:extLst>
                  <a:ext uri="{FF2B5EF4-FFF2-40B4-BE49-F238E27FC236}">
                    <a16:creationId xmlns:a16="http://schemas.microsoft.com/office/drawing/2014/main" id="{EA49059D-74A4-40CF-BF48-60F0058CB14E}"/>
                  </a:ext>
                </a:extLst>
              </p:cNvPr>
              <p:cNvSpPr/>
              <p:nvPr/>
            </p:nvSpPr>
            <p:spPr bwMode="gray">
              <a:xfrm>
                <a:off x="-2412348" y="2111699"/>
                <a:ext cx="83823" cy="553527"/>
              </a:xfrm>
              <a:prstGeom prst="rect">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93" name="Group 92">
            <a:extLst>
              <a:ext uri="{FF2B5EF4-FFF2-40B4-BE49-F238E27FC236}">
                <a16:creationId xmlns:a16="http://schemas.microsoft.com/office/drawing/2014/main" id="{C294170A-C515-4B0D-A574-A9CD727ECC76}"/>
              </a:ext>
            </a:extLst>
          </p:cNvPr>
          <p:cNvGrpSpPr/>
          <p:nvPr/>
        </p:nvGrpSpPr>
        <p:grpSpPr bwMode="gray">
          <a:xfrm>
            <a:off x="7873833" y="3236011"/>
            <a:ext cx="229982" cy="210020"/>
            <a:chOff x="-967926" y="3169597"/>
            <a:chExt cx="575910" cy="644168"/>
          </a:xfrm>
          <a:noFill/>
        </p:grpSpPr>
        <p:sp>
          <p:nvSpPr>
            <p:cNvPr id="94" name="Freeform 67">
              <a:extLst>
                <a:ext uri="{FF2B5EF4-FFF2-40B4-BE49-F238E27FC236}">
                  <a16:creationId xmlns:a16="http://schemas.microsoft.com/office/drawing/2014/main" id="{3B77C67F-A150-468E-B84C-9B720F95E7AA}"/>
                </a:ext>
              </a:extLst>
            </p:cNvPr>
            <p:cNvSpPr/>
            <p:nvPr/>
          </p:nvSpPr>
          <p:spPr bwMode="gray">
            <a:xfrm>
              <a:off x="-967926" y="3169597"/>
              <a:ext cx="575910" cy="644168"/>
            </a:xfrm>
            <a:custGeom>
              <a:avLst/>
              <a:gdLst>
                <a:gd name="connsiteX0" fmla="*/ 394445 w 915582"/>
                <a:gd name="connsiteY0" fmla="*/ 1530534 h 1530534"/>
                <a:gd name="connsiteX1" fmla="*/ 2559 w 915582"/>
                <a:gd name="connsiteY1" fmla="*/ 937681 h 1530534"/>
                <a:gd name="connsiteX2" fmla="*/ 223623 w 915582"/>
                <a:gd name="connsiteY2" fmla="*/ 596037 h 1530534"/>
                <a:gd name="connsiteX3" fmla="*/ 193478 w 915582"/>
                <a:gd name="connsiteY3" fmla="*/ 3184 h 1530534"/>
                <a:gd name="connsiteX4" fmla="*/ 906911 w 915582"/>
                <a:gd name="connsiteY4" fmla="*/ 877391 h 1530534"/>
                <a:gd name="connsiteX5" fmla="*/ 525073 w 915582"/>
                <a:gd name="connsiteY5" fmla="*/ 1530534 h 1530534"/>
                <a:gd name="connsiteX0" fmla="*/ 63771 w 1112883"/>
                <a:gd name="connsiteY0" fmla="*/ 1460487 h 1530534"/>
                <a:gd name="connsiteX1" fmla="*/ 199860 w 1112883"/>
                <a:gd name="connsiteY1" fmla="*/ 937681 h 1530534"/>
                <a:gd name="connsiteX2" fmla="*/ 420924 w 1112883"/>
                <a:gd name="connsiteY2" fmla="*/ 596037 h 1530534"/>
                <a:gd name="connsiteX3" fmla="*/ 390779 w 1112883"/>
                <a:gd name="connsiteY3" fmla="*/ 3184 h 1530534"/>
                <a:gd name="connsiteX4" fmla="*/ 1104212 w 1112883"/>
                <a:gd name="connsiteY4" fmla="*/ 877391 h 1530534"/>
                <a:gd name="connsiteX5" fmla="*/ 722374 w 1112883"/>
                <a:gd name="connsiteY5" fmla="*/ 1530534 h 1530534"/>
                <a:gd name="connsiteX0" fmla="*/ 63772 w 1109482"/>
                <a:gd name="connsiteY0" fmla="*/ 1460487 h 1514369"/>
                <a:gd name="connsiteX1" fmla="*/ 199861 w 1109482"/>
                <a:gd name="connsiteY1" fmla="*/ 937681 h 1514369"/>
                <a:gd name="connsiteX2" fmla="*/ 420925 w 1109482"/>
                <a:gd name="connsiteY2" fmla="*/ 596037 h 1514369"/>
                <a:gd name="connsiteX3" fmla="*/ 390780 w 1109482"/>
                <a:gd name="connsiteY3" fmla="*/ 3184 h 1514369"/>
                <a:gd name="connsiteX4" fmla="*/ 1104213 w 1109482"/>
                <a:gd name="connsiteY4" fmla="*/ 877391 h 1514369"/>
                <a:gd name="connsiteX5" fmla="*/ 548092 w 1109482"/>
                <a:gd name="connsiteY5" fmla="*/ 1514369 h 1514369"/>
                <a:gd name="connsiteX0" fmla="*/ 63772 w 874709"/>
                <a:gd name="connsiteY0" fmla="*/ 1460715 h 1514597"/>
                <a:gd name="connsiteX1" fmla="*/ 199861 w 874709"/>
                <a:gd name="connsiteY1" fmla="*/ 937909 h 1514597"/>
                <a:gd name="connsiteX2" fmla="*/ 420925 w 874709"/>
                <a:gd name="connsiteY2" fmla="*/ 596265 h 1514597"/>
                <a:gd name="connsiteX3" fmla="*/ 390780 w 874709"/>
                <a:gd name="connsiteY3" fmla="*/ 3412 h 1514597"/>
                <a:gd name="connsiteX4" fmla="*/ 863293 w 874709"/>
                <a:gd name="connsiteY4" fmla="*/ 888395 h 1514597"/>
                <a:gd name="connsiteX5" fmla="*/ 548092 w 874709"/>
                <a:gd name="connsiteY5" fmla="*/ 1514597 h 1514597"/>
                <a:gd name="connsiteX0" fmla="*/ 191224 w 1002160"/>
                <a:gd name="connsiteY0" fmla="*/ 1460745 h 1514627"/>
                <a:gd name="connsiteX1" fmla="*/ 24880 w 1002160"/>
                <a:gd name="connsiteY1" fmla="*/ 964881 h 1514627"/>
                <a:gd name="connsiteX2" fmla="*/ 548377 w 1002160"/>
                <a:gd name="connsiteY2" fmla="*/ 596295 h 1514627"/>
                <a:gd name="connsiteX3" fmla="*/ 518232 w 1002160"/>
                <a:gd name="connsiteY3" fmla="*/ 3442 h 1514627"/>
                <a:gd name="connsiteX4" fmla="*/ 990745 w 1002160"/>
                <a:gd name="connsiteY4" fmla="*/ 888425 h 1514627"/>
                <a:gd name="connsiteX5" fmla="*/ 675544 w 1002160"/>
                <a:gd name="connsiteY5" fmla="*/ 1514627 h 1514627"/>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72063 h 1525945"/>
                <a:gd name="connsiteX1" fmla="*/ 6383 w 983663"/>
                <a:gd name="connsiteY1" fmla="*/ 976199 h 1525945"/>
                <a:gd name="connsiteX2" fmla="*/ 268455 w 983663"/>
                <a:gd name="connsiteY2" fmla="*/ 532179 h 1525945"/>
                <a:gd name="connsiteX3" fmla="*/ 499735 w 983663"/>
                <a:gd name="connsiteY3" fmla="*/ 14760 h 1525945"/>
                <a:gd name="connsiteX4" fmla="*/ 972248 w 983663"/>
                <a:gd name="connsiteY4" fmla="*/ 899743 h 1525945"/>
                <a:gd name="connsiteX5" fmla="*/ 657047 w 983663"/>
                <a:gd name="connsiteY5" fmla="*/ 1525945 h 1525945"/>
                <a:gd name="connsiteX0" fmla="*/ 172727 w 983663"/>
                <a:gd name="connsiteY0" fmla="*/ 1456181 h 1510063"/>
                <a:gd name="connsiteX1" fmla="*/ 6383 w 983663"/>
                <a:gd name="connsiteY1" fmla="*/ 960317 h 1510063"/>
                <a:gd name="connsiteX2" fmla="*/ 268455 w 983663"/>
                <a:gd name="connsiteY2" fmla="*/ 516297 h 1510063"/>
                <a:gd name="connsiteX3" fmla="*/ 443349 w 983663"/>
                <a:gd name="connsiteY3" fmla="*/ 15043 h 1510063"/>
                <a:gd name="connsiteX4" fmla="*/ 972248 w 983663"/>
                <a:gd name="connsiteY4" fmla="*/ 883861 h 1510063"/>
                <a:gd name="connsiteX5" fmla="*/ 657047 w 983663"/>
                <a:gd name="connsiteY5" fmla="*/ 1510063 h 1510063"/>
                <a:gd name="connsiteX0" fmla="*/ 171348 w 982284"/>
                <a:gd name="connsiteY0" fmla="*/ 1447162 h 1501044"/>
                <a:gd name="connsiteX1" fmla="*/ 5004 w 982284"/>
                <a:gd name="connsiteY1" fmla="*/ 951298 h 1501044"/>
                <a:gd name="connsiteX2" fmla="*/ 246573 w 982284"/>
                <a:gd name="connsiteY2" fmla="*/ 512666 h 1501044"/>
                <a:gd name="connsiteX3" fmla="*/ 441970 w 982284"/>
                <a:gd name="connsiteY3" fmla="*/ 6024 h 1501044"/>
                <a:gd name="connsiteX4" fmla="*/ 970869 w 982284"/>
                <a:gd name="connsiteY4" fmla="*/ 874842 h 1501044"/>
                <a:gd name="connsiteX5" fmla="*/ 655668 w 982284"/>
                <a:gd name="connsiteY5" fmla="*/ 1501044 h 1501044"/>
                <a:gd name="connsiteX0" fmla="*/ 171348 w 982284"/>
                <a:gd name="connsiteY0" fmla="*/ 1457131 h 1511013"/>
                <a:gd name="connsiteX1" fmla="*/ 5004 w 982284"/>
                <a:gd name="connsiteY1" fmla="*/ 961267 h 1511013"/>
                <a:gd name="connsiteX2" fmla="*/ 246573 w 982284"/>
                <a:gd name="connsiteY2" fmla="*/ 522635 h 1511013"/>
                <a:gd name="connsiteX3" fmla="*/ 441970 w 982284"/>
                <a:gd name="connsiteY3" fmla="*/ 15993 h 1511013"/>
                <a:gd name="connsiteX4" fmla="*/ 970869 w 982284"/>
                <a:gd name="connsiteY4" fmla="*/ 884811 h 1511013"/>
                <a:gd name="connsiteX5" fmla="*/ 655668 w 982284"/>
                <a:gd name="connsiteY5" fmla="*/ 1511013 h 1511013"/>
                <a:gd name="connsiteX0" fmla="*/ 184998 w 995934"/>
                <a:gd name="connsiteY0" fmla="*/ 1441330 h 1495212"/>
                <a:gd name="connsiteX1" fmla="*/ 18654 w 995934"/>
                <a:gd name="connsiteY1" fmla="*/ 945466 h 1495212"/>
                <a:gd name="connsiteX2" fmla="*/ 455620 w 995934"/>
                <a:gd name="connsiteY2" fmla="*/ 192 h 1495212"/>
                <a:gd name="connsiteX3" fmla="*/ 984519 w 995934"/>
                <a:gd name="connsiteY3" fmla="*/ 869010 h 1495212"/>
                <a:gd name="connsiteX4" fmla="*/ 669318 w 995934"/>
                <a:gd name="connsiteY4" fmla="*/ 1495212 h 1495212"/>
                <a:gd name="connsiteX0" fmla="*/ 184998 w 995934"/>
                <a:gd name="connsiteY0" fmla="*/ 1462589 h 1516471"/>
                <a:gd name="connsiteX1" fmla="*/ 18654 w 995934"/>
                <a:gd name="connsiteY1" fmla="*/ 966725 h 1516471"/>
                <a:gd name="connsiteX2" fmla="*/ 455620 w 995934"/>
                <a:gd name="connsiteY2" fmla="*/ 21451 h 1516471"/>
                <a:gd name="connsiteX3" fmla="*/ 984519 w 995934"/>
                <a:gd name="connsiteY3" fmla="*/ 890269 h 1516471"/>
                <a:gd name="connsiteX4" fmla="*/ 669318 w 995934"/>
                <a:gd name="connsiteY4" fmla="*/ 1516471 h 1516471"/>
                <a:gd name="connsiteX0" fmla="*/ 178447 w 989383"/>
                <a:gd name="connsiteY0" fmla="*/ 1462589 h 1516471"/>
                <a:gd name="connsiteX1" fmla="*/ 12103 w 989383"/>
                <a:gd name="connsiteY1" fmla="*/ 966725 h 1516471"/>
                <a:gd name="connsiteX2" fmla="*/ 449069 w 989383"/>
                <a:gd name="connsiteY2" fmla="*/ 21451 h 1516471"/>
                <a:gd name="connsiteX3" fmla="*/ 977968 w 989383"/>
                <a:gd name="connsiteY3" fmla="*/ 890269 h 1516471"/>
                <a:gd name="connsiteX4" fmla="*/ 662767 w 989383"/>
                <a:gd name="connsiteY4" fmla="*/ 1516471 h 1516471"/>
                <a:gd name="connsiteX0" fmla="*/ 172077 w 983013"/>
                <a:gd name="connsiteY0" fmla="*/ 1462589 h 1516471"/>
                <a:gd name="connsiteX1" fmla="*/ 5733 w 983013"/>
                <a:gd name="connsiteY1" fmla="*/ 966725 h 1516471"/>
                <a:gd name="connsiteX2" fmla="*/ 442699 w 983013"/>
                <a:gd name="connsiteY2" fmla="*/ 21451 h 1516471"/>
                <a:gd name="connsiteX3" fmla="*/ 971598 w 983013"/>
                <a:gd name="connsiteY3" fmla="*/ 890269 h 1516471"/>
                <a:gd name="connsiteX4" fmla="*/ 656397 w 983013"/>
                <a:gd name="connsiteY4" fmla="*/ 1516471 h 1516471"/>
                <a:gd name="connsiteX0" fmla="*/ 167713 w 978649"/>
                <a:gd name="connsiteY0" fmla="*/ 1462589 h 1516471"/>
                <a:gd name="connsiteX1" fmla="*/ 1369 w 978649"/>
                <a:gd name="connsiteY1" fmla="*/ 966725 h 1516471"/>
                <a:gd name="connsiteX2" fmla="*/ 438335 w 978649"/>
                <a:gd name="connsiteY2" fmla="*/ 21451 h 1516471"/>
                <a:gd name="connsiteX3" fmla="*/ 967234 w 978649"/>
                <a:gd name="connsiteY3" fmla="*/ 890269 h 1516471"/>
                <a:gd name="connsiteX4" fmla="*/ 652033 w 978649"/>
                <a:gd name="connsiteY4" fmla="*/ 1516471 h 1516471"/>
                <a:gd name="connsiteX0" fmla="*/ 194053 w 984485"/>
                <a:gd name="connsiteY0" fmla="*/ 1489530 h 1516471"/>
                <a:gd name="connsiteX1" fmla="*/ 7205 w 984485"/>
                <a:gd name="connsiteY1" fmla="*/ 966725 h 1516471"/>
                <a:gd name="connsiteX2" fmla="*/ 444171 w 984485"/>
                <a:gd name="connsiteY2" fmla="*/ 21451 h 1516471"/>
                <a:gd name="connsiteX3" fmla="*/ 973070 w 984485"/>
                <a:gd name="connsiteY3" fmla="*/ 890269 h 1516471"/>
                <a:gd name="connsiteX4" fmla="*/ 657869 w 984485"/>
                <a:gd name="connsiteY4" fmla="*/ 1516471 h 1516471"/>
                <a:gd name="connsiteX0" fmla="*/ 194054 w 983258"/>
                <a:gd name="connsiteY0" fmla="*/ 1489530 h 1489530"/>
                <a:gd name="connsiteX1" fmla="*/ 7206 w 983258"/>
                <a:gd name="connsiteY1" fmla="*/ 966725 h 1489530"/>
                <a:gd name="connsiteX2" fmla="*/ 444172 w 983258"/>
                <a:gd name="connsiteY2" fmla="*/ 21451 h 1489530"/>
                <a:gd name="connsiteX3" fmla="*/ 973071 w 983258"/>
                <a:gd name="connsiteY3" fmla="*/ 890269 h 1489530"/>
                <a:gd name="connsiteX4" fmla="*/ 632240 w 983258"/>
                <a:gd name="connsiteY4" fmla="*/ 1489530 h 1489530"/>
                <a:gd name="connsiteX0" fmla="*/ 194054 w 958856"/>
                <a:gd name="connsiteY0" fmla="*/ 1468401 h 1468401"/>
                <a:gd name="connsiteX1" fmla="*/ 7206 w 958856"/>
                <a:gd name="connsiteY1" fmla="*/ 945596 h 1468401"/>
                <a:gd name="connsiteX2" fmla="*/ 444172 w 958856"/>
                <a:gd name="connsiteY2" fmla="*/ 322 h 1468401"/>
                <a:gd name="connsiteX3" fmla="*/ 947441 w 958856"/>
                <a:gd name="connsiteY3" fmla="*/ 847587 h 1468401"/>
                <a:gd name="connsiteX4" fmla="*/ 632240 w 958856"/>
                <a:gd name="connsiteY4" fmla="*/ 1468401 h 1468401"/>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466 h 1473466"/>
                <a:gd name="connsiteX1" fmla="*/ 6054 w 957704"/>
                <a:gd name="connsiteY1" fmla="*/ 950661 h 1473466"/>
                <a:gd name="connsiteX2" fmla="*/ 417391 w 957704"/>
                <a:gd name="connsiteY2" fmla="*/ -1 h 1473466"/>
                <a:gd name="connsiteX3" fmla="*/ 946289 w 957704"/>
                <a:gd name="connsiteY3" fmla="*/ 852652 h 1473466"/>
                <a:gd name="connsiteX4" fmla="*/ 631088 w 957704"/>
                <a:gd name="connsiteY4" fmla="*/ 1473466 h 1473466"/>
                <a:gd name="connsiteX0" fmla="*/ 192902 w 943205"/>
                <a:gd name="connsiteY0" fmla="*/ 1473467 h 1473467"/>
                <a:gd name="connsiteX1" fmla="*/ 6054 w 943205"/>
                <a:gd name="connsiteY1" fmla="*/ 950662 h 1473467"/>
                <a:gd name="connsiteX2" fmla="*/ 417391 w 943205"/>
                <a:gd name="connsiteY2" fmla="*/ 0 h 1473467"/>
                <a:gd name="connsiteX3" fmla="*/ 930912 w 943205"/>
                <a:gd name="connsiteY3" fmla="*/ 852653 h 1473467"/>
                <a:gd name="connsiteX4" fmla="*/ 631088 w 943205"/>
                <a:gd name="connsiteY4" fmla="*/ 1473467 h 1473467"/>
                <a:gd name="connsiteX0" fmla="*/ 190405 w 940708"/>
                <a:gd name="connsiteY0" fmla="*/ 1495020 h 1495020"/>
                <a:gd name="connsiteX1" fmla="*/ 3557 w 940708"/>
                <a:gd name="connsiteY1" fmla="*/ 972215 h 1495020"/>
                <a:gd name="connsiteX2" fmla="*/ 353382 w 940708"/>
                <a:gd name="connsiteY2" fmla="*/ 0 h 1495020"/>
                <a:gd name="connsiteX3" fmla="*/ 928415 w 940708"/>
                <a:gd name="connsiteY3" fmla="*/ 874206 h 1495020"/>
                <a:gd name="connsiteX4" fmla="*/ 628591 w 940708"/>
                <a:gd name="connsiteY4" fmla="*/ 1495020 h 1495020"/>
                <a:gd name="connsiteX0" fmla="*/ 281357 w 1031660"/>
                <a:gd name="connsiteY0" fmla="*/ 1495020 h 1495020"/>
                <a:gd name="connsiteX1" fmla="*/ 2242 w 1031660"/>
                <a:gd name="connsiteY1" fmla="*/ 934498 h 1495020"/>
                <a:gd name="connsiteX2" fmla="*/ 444334 w 1031660"/>
                <a:gd name="connsiteY2" fmla="*/ 0 h 1495020"/>
                <a:gd name="connsiteX3" fmla="*/ 1019367 w 1031660"/>
                <a:gd name="connsiteY3" fmla="*/ 874206 h 1495020"/>
                <a:gd name="connsiteX4" fmla="*/ 719543 w 1031660"/>
                <a:gd name="connsiteY4" fmla="*/ 1495020 h 1495020"/>
                <a:gd name="connsiteX0" fmla="*/ 280647 w 1030950"/>
                <a:gd name="connsiteY0" fmla="*/ 1495020 h 1495020"/>
                <a:gd name="connsiteX1" fmla="*/ 1532 w 1030950"/>
                <a:gd name="connsiteY1" fmla="*/ 934498 h 1495020"/>
                <a:gd name="connsiteX2" fmla="*/ 443624 w 1030950"/>
                <a:gd name="connsiteY2" fmla="*/ 0 h 1495020"/>
                <a:gd name="connsiteX3" fmla="*/ 1018657 w 1030950"/>
                <a:gd name="connsiteY3" fmla="*/ 874206 h 1495020"/>
                <a:gd name="connsiteX4" fmla="*/ 718833 w 1030950"/>
                <a:gd name="connsiteY4" fmla="*/ 1495020 h 1495020"/>
                <a:gd name="connsiteX0" fmla="*/ 298745 w 1031106"/>
                <a:gd name="connsiteY0" fmla="*/ 1503102 h 1503102"/>
                <a:gd name="connsiteX1" fmla="*/ 1688 w 1031106"/>
                <a:gd name="connsiteY1" fmla="*/ 934498 h 1503102"/>
                <a:gd name="connsiteX2" fmla="*/ 443780 w 1031106"/>
                <a:gd name="connsiteY2" fmla="*/ 0 h 1503102"/>
                <a:gd name="connsiteX3" fmla="*/ 1018813 w 1031106"/>
                <a:gd name="connsiteY3" fmla="*/ 874206 h 1503102"/>
                <a:gd name="connsiteX4" fmla="*/ 718989 w 1031106"/>
                <a:gd name="connsiteY4" fmla="*/ 1495020 h 1503102"/>
                <a:gd name="connsiteX0" fmla="*/ 299147 w 1031508"/>
                <a:gd name="connsiteY0" fmla="*/ 1503102 h 1503102"/>
                <a:gd name="connsiteX1" fmla="*/ 2090 w 1031508"/>
                <a:gd name="connsiteY1" fmla="*/ 934498 h 1503102"/>
                <a:gd name="connsiteX2" fmla="*/ 444182 w 1031508"/>
                <a:gd name="connsiteY2" fmla="*/ 0 h 1503102"/>
                <a:gd name="connsiteX3" fmla="*/ 1019215 w 1031508"/>
                <a:gd name="connsiteY3" fmla="*/ 874206 h 1503102"/>
                <a:gd name="connsiteX4" fmla="*/ 719391 w 1031508"/>
                <a:gd name="connsiteY4" fmla="*/ 1495020 h 1503102"/>
                <a:gd name="connsiteX0" fmla="*/ 301686 w 1034047"/>
                <a:gd name="connsiteY0" fmla="*/ 1503102 h 1503102"/>
                <a:gd name="connsiteX1" fmla="*/ 2065 w 1034047"/>
                <a:gd name="connsiteY1" fmla="*/ 972215 h 1503102"/>
                <a:gd name="connsiteX2" fmla="*/ 446721 w 1034047"/>
                <a:gd name="connsiteY2" fmla="*/ 0 h 1503102"/>
                <a:gd name="connsiteX3" fmla="*/ 1021754 w 1034047"/>
                <a:gd name="connsiteY3" fmla="*/ 874206 h 1503102"/>
                <a:gd name="connsiteX4" fmla="*/ 721930 w 1034047"/>
                <a:gd name="connsiteY4" fmla="*/ 1495020 h 1503102"/>
                <a:gd name="connsiteX0" fmla="*/ 316925 w 1049286"/>
                <a:gd name="connsiteY0" fmla="*/ 1503102 h 1503102"/>
                <a:gd name="connsiteX1" fmla="*/ 1926 w 1049286"/>
                <a:gd name="connsiteY1" fmla="*/ 988380 h 1503102"/>
                <a:gd name="connsiteX2" fmla="*/ 461960 w 1049286"/>
                <a:gd name="connsiteY2" fmla="*/ 0 h 1503102"/>
                <a:gd name="connsiteX3" fmla="*/ 1036993 w 1049286"/>
                <a:gd name="connsiteY3" fmla="*/ 874206 h 1503102"/>
                <a:gd name="connsiteX4" fmla="*/ 737169 w 1049286"/>
                <a:gd name="connsiteY4" fmla="*/ 1495020 h 1503102"/>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936" h="1434920">
                  <a:moveTo>
                    <a:pt x="316575" y="1434920"/>
                  </a:moveTo>
                  <a:cubicBezTo>
                    <a:pt x="186127" y="1313356"/>
                    <a:pt x="-20068" y="1159351"/>
                    <a:pt x="1576" y="920198"/>
                  </a:cubicBezTo>
                  <a:cubicBezTo>
                    <a:pt x="23220" y="681045"/>
                    <a:pt x="453766" y="420451"/>
                    <a:pt x="446440" y="0"/>
                  </a:cubicBezTo>
                  <a:cubicBezTo>
                    <a:pt x="674910" y="255427"/>
                    <a:pt x="981377" y="551466"/>
                    <a:pt x="1036643" y="806024"/>
                  </a:cubicBezTo>
                  <a:cubicBezTo>
                    <a:pt x="1091909" y="1060582"/>
                    <a:pt x="955371" y="1227545"/>
                    <a:pt x="736819" y="1426838"/>
                  </a:cubicBezTo>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95" name="Freeform 68">
              <a:extLst>
                <a:ext uri="{FF2B5EF4-FFF2-40B4-BE49-F238E27FC236}">
                  <a16:creationId xmlns:a16="http://schemas.microsoft.com/office/drawing/2014/main" id="{B2D5667C-8C7A-4B10-A201-9DA603340D9A}"/>
                </a:ext>
              </a:extLst>
            </p:cNvPr>
            <p:cNvSpPr/>
            <p:nvPr/>
          </p:nvSpPr>
          <p:spPr bwMode="gray">
            <a:xfrm>
              <a:off x="-886112" y="3346900"/>
              <a:ext cx="408180" cy="466865"/>
            </a:xfrm>
            <a:custGeom>
              <a:avLst/>
              <a:gdLst>
                <a:gd name="connsiteX0" fmla="*/ 312344 w 730519"/>
                <a:gd name="connsiteY0" fmla="*/ 1257698 h 1257698"/>
                <a:gd name="connsiteX1" fmla="*/ 845 w 730519"/>
                <a:gd name="connsiteY1" fmla="*/ 745232 h 1257698"/>
                <a:gd name="connsiteX2" fmla="*/ 221909 w 730519"/>
                <a:gd name="connsiteY2" fmla="*/ 443782 h 1257698"/>
                <a:gd name="connsiteX3" fmla="*/ 272151 w 730519"/>
                <a:gd name="connsiteY3" fmla="*/ 1654 h 1257698"/>
                <a:gd name="connsiteX4" fmla="*/ 724326 w 730519"/>
                <a:gd name="connsiteY4" fmla="*/ 614604 h 1257698"/>
                <a:gd name="connsiteX5" fmla="*/ 493214 w 730519"/>
                <a:gd name="connsiteY5" fmla="*/ 1257698 h 1257698"/>
                <a:gd name="connsiteX0" fmla="*/ 236291 w 654466"/>
                <a:gd name="connsiteY0" fmla="*/ 1257760 h 1257760"/>
                <a:gd name="connsiteX1" fmla="*/ 1236 w 654466"/>
                <a:gd name="connsiteY1" fmla="*/ 826117 h 1257760"/>
                <a:gd name="connsiteX2" fmla="*/ 145856 w 654466"/>
                <a:gd name="connsiteY2" fmla="*/ 443844 h 1257760"/>
                <a:gd name="connsiteX3" fmla="*/ 196098 w 654466"/>
                <a:gd name="connsiteY3" fmla="*/ 1716 h 1257760"/>
                <a:gd name="connsiteX4" fmla="*/ 648273 w 654466"/>
                <a:gd name="connsiteY4" fmla="*/ 614666 h 1257760"/>
                <a:gd name="connsiteX5" fmla="*/ 417161 w 654466"/>
                <a:gd name="connsiteY5" fmla="*/ 1257760 h 1257760"/>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2938 h 1212938"/>
                <a:gd name="connsiteX1" fmla="*/ 1566 w 654796"/>
                <a:gd name="connsiteY1" fmla="*/ 781295 h 1212938"/>
                <a:gd name="connsiteX2" fmla="*/ 146186 w 654796"/>
                <a:gd name="connsiteY2" fmla="*/ 399022 h 1212938"/>
                <a:gd name="connsiteX3" fmla="*/ 376615 w 654796"/>
                <a:gd name="connsiteY3" fmla="*/ -1 h 1212938"/>
                <a:gd name="connsiteX4" fmla="*/ 648603 w 654796"/>
                <a:gd name="connsiteY4" fmla="*/ 569844 h 1212938"/>
                <a:gd name="connsiteX5" fmla="*/ 417491 w 654796"/>
                <a:gd name="connsiteY5" fmla="*/ 1212938 h 1212938"/>
                <a:gd name="connsiteX0" fmla="*/ 236621 w 654796"/>
                <a:gd name="connsiteY0" fmla="*/ 1212939 h 1212939"/>
                <a:gd name="connsiteX1" fmla="*/ 1566 w 654796"/>
                <a:gd name="connsiteY1" fmla="*/ 781296 h 1212939"/>
                <a:gd name="connsiteX2" fmla="*/ 146186 w 654796"/>
                <a:gd name="connsiteY2" fmla="*/ 399023 h 1212939"/>
                <a:gd name="connsiteX3" fmla="*/ 376615 w 654796"/>
                <a:gd name="connsiteY3" fmla="*/ 0 h 1212939"/>
                <a:gd name="connsiteX4" fmla="*/ 648603 w 654796"/>
                <a:gd name="connsiteY4" fmla="*/ 569845 h 1212939"/>
                <a:gd name="connsiteX5" fmla="*/ 417491 w 654796"/>
                <a:gd name="connsiteY5" fmla="*/ 1212939 h 1212939"/>
                <a:gd name="connsiteX0" fmla="*/ 236621 w 691880"/>
                <a:gd name="connsiteY0" fmla="*/ 1212939 h 1212939"/>
                <a:gd name="connsiteX1" fmla="*/ 1566 w 691880"/>
                <a:gd name="connsiteY1" fmla="*/ 781296 h 1212939"/>
                <a:gd name="connsiteX2" fmla="*/ 146186 w 691880"/>
                <a:gd name="connsiteY2" fmla="*/ 399023 h 1212939"/>
                <a:gd name="connsiteX3" fmla="*/ 376615 w 691880"/>
                <a:gd name="connsiteY3" fmla="*/ 0 h 1212939"/>
                <a:gd name="connsiteX4" fmla="*/ 686825 w 691880"/>
                <a:gd name="connsiteY4" fmla="*/ 666832 h 1212939"/>
                <a:gd name="connsiteX5" fmla="*/ 417491 w 691880"/>
                <a:gd name="connsiteY5" fmla="*/ 1212939 h 1212939"/>
                <a:gd name="connsiteX0" fmla="*/ 236621 w 701317"/>
                <a:gd name="connsiteY0" fmla="*/ 1212939 h 1212939"/>
                <a:gd name="connsiteX1" fmla="*/ 1566 w 701317"/>
                <a:gd name="connsiteY1" fmla="*/ 781296 h 1212939"/>
                <a:gd name="connsiteX2" fmla="*/ 146186 w 701317"/>
                <a:gd name="connsiteY2" fmla="*/ 399023 h 1212939"/>
                <a:gd name="connsiteX3" fmla="*/ 376615 w 701317"/>
                <a:gd name="connsiteY3" fmla="*/ 0 h 1212939"/>
                <a:gd name="connsiteX4" fmla="*/ 686825 w 701317"/>
                <a:gd name="connsiteY4" fmla="*/ 666832 h 1212939"/>
                <a:gd name="connsiteX5" fmla="*/ 559456 w 701317"/>
                <a:gd name="connsiteY5" fmla="*/ 1185998 h 1212939"/>
                <a:gd name="connsiteX0" fmla="*/ 236621 w 739946"/>
                <a:gd name="connsiteY0" fmla="*/ 1212939 h 1212939"/>
                <a:gd name="connsiteX1" fmla="*/ 1566 w 739946"/>
                <a:gd name="connsiteY1" fmla="*/ 781296 h 1212939"/>
                <a:gd name="connsiteX2" fmla="*/ 146186 w 739946"/>
                <a:gd name="connsiteY2" fmla="*/ 399023 h 1212939"/>
                <a:gd name="connsiteX3" fmla="*/ 376615 w 739946"/>
                <a:gd name="connsiteY3" fmla="*/ 0 h 1212939"/>
                <a:gd name="connsiteX4" fmla="*/ 730507 w 739946"/>
                <a:gd name="connsiteY4" fmla="*/ 634503 h 1212939"/>
                <a:gd name="connsiteX5" fmla="*/ 559456 w 739946"/>
                <a:gd name="connsiteY5" fmla="*/ 1185998 h 1212939"/>
                <a:gd name="connsiteX0" fmla="*/ 236572 w 739897"/>
                <a:gd name="connsiteY0" fmla="*/ 1164445 h 1164445"/>
                <a:gd name="connsiteX1" fmla="*/ 1517 w 739897"/>
                <a:gd name="connsiteY1" fmla="*/ 732802 h 1164445"/>
                <a:gd name="connsiteX2" fmla="*/ 146137 w 739897"/>
                <a:gd name="connsiteY2" fmla="*/ 350529 h 1164445"/>
                <a:gd name="connsiteX3" fmla="*/ 354725 w 739897"/>
                <a:gd name="connsiteY3" fmla="*/ 0 h 1164445"/>
                <a:gd name="connsiteX4" fmla="*/ 730458 w 739897"/>
                <a:gd name="connsiteY4" fmla="*/ 586009 h 1164445"/>
                <a:gd name="connsiteX5" fmla="*/ 559407 w 739897"/>
                <a:gd name="connsiteY5"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42766 w 746091"/>
                <a:gd name="connsiteY0" fmla="*/ 1164445 h 1164445"/>
                <a:gd name="connsiteX1" fmla="*/ 2250 w 746091"/>
                <a:gd name="connsiteY1" fmla="*/ 700472 h 1164445"/>
                <a:gd name="connsiteX2" fmla="*/ 360919 w 746091"/>
                <a:gd name="connsiteY2" fmla="*/ 0 h 1164445"/>
                <a:gd name="connsiteX3" fmla="*/ 736652 w 746091"/>
                <a:gd name="connsiteY3" fmla="*/ 586009 h 1164445"/>
                <a:gd name="connsiteX4" fmla="*/ 565601 w 746091"/>
                <a:gd name="connsiteY4" fmla="*/ 1137504 h 1164445"/>
                <a:gd name="connsiteX0" fmla="*/ 182965 w 751812"/>
                <a:gd name="connsiteY0" fmla="*/ 1148280 h 1148280"/>
                <a:gd name="connsiteX1" fmla="*/ 7971 w 751812"/>
                <a:gd name="connsiteY1" fmla="*/ 700472 h 1148280"/>
                <a:gd name="connsiteX2" fmla="*/ 366640 w 751812"/>
                <a:gd name="connsiteY2" fmla="*/ 0 h 1148280"/>
                <a:gd name="connsiteX3" fmla="*/ 742373 w 751812"/>
                <a:gd name="connsiteY3" fmla="*/ 586009 h 1148280"/>
                <a:gd name="connsiteX4" fmla="*/ 571322 w 751812"/>
                <a:gd name="connsiteY4" fmla="*/ 1137504 h 1148280"/>
                <a:gd name="connsiteX0" fmla="*/ 205889 w 748841"/>
                <a:gd name="connsiteY0" fmla="*/ 1142892 h 1142892"/>
                <a:gd name="connsiteX1" fmla="*/ 5000 w 748841"/>
                <a:gd name="connsiteY1" fmla="*/ 700472 h 1142892"/>
                <a:gd name="connsiteX2" fmla="*/ 363669 w 748841"/>
                <a:gd name="connsiteY2" fmla="*/ 0 h 1142892"/>
                <a:gd name="connsiteX3" fmla="*/ 739402 w 748841"/>
                <a:gd name="connsiteY3" fmla="*/ 586009 h 1142892"/>
                <a:gd name="connsiteX4" fmla="*/ 568351 w 748841"/>
                <a:gd name="connsiteY4" fmla="*/ 1137504 h 1142892"/>
                <a:gd name="connsiteX0" fmla="*/ 187451 w 751119"/>
                <a:gd name="connsiteY0" fmla="*/ 1142892 h 1142892"/>
                <a:gd name="connsiteX1" fmla="*/ 7278 w 751119"/>
                <a:gd name="connsiteY1" fmla="*/ 700472 h 1142892"/>
                <a:gd name="connsiteX2" fmla="*/ 365947 w 751119"/>
                <a:gd name="connsiteY2" fmla="*/ 0 h 1142892"/>
                <a:gd name="connsiteX3" fmla="*/ 741680 w 751119"/>
                <a:gd name="connsiteY3" fmla="*/ 586009 h 1142892"/>
                <a:gd name="connsiteX4" fmla="*/ 570629 w 751119"/>
                <a:gd name="connsiteY4" fmla="*/ 1137504 h 1142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119" h="1142892">
                  <a:moveTo>
                    <a:pt x="187451" y="1142892"/>
                  </a:moveTo>
                  <a:cubicBezTo>
                    <a:pt x="39237" y="954485"/>
                    <a:pt x="-22471" y="890954"/>
                    <a:pt x="7278" y="700472"/>
                  </a:cubicBezTo>
                  <a:cubicBezTo>
                    <a:pt x="37027" y="509990"/>
                    <a:pt x="320900" y="272324"/>
                    <a:pt x="365947" y="0"/>
                  </a:cubicBezTo>
                  <a:cubicBezTo>
                    <a:pt x="504285" y="195504"/>
                    <a:pt x="704836" y="376668"/>
                    <a:pt x="741680" y="586009"/>
                  </a:cubicBezTo>
                  <a:cubicBezTo>
                    <a:pt x="778524" y="795350"/>
                    <a:pt x="704607" y="920627"/>
                    <a:pt x="570629" y="1137504"/>
                  </a:cubicBezTo>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96" name="Freeform 69">
              <a:extLst>
                <a:ext uri="{FF2B5EF4-FFF2-40B4-BE49-F238E27FC236}">
                  <a16:creationId xmlns:a16="http://schemas.microsoft.com/office/drawing/2014/main" id="{00B4BAAC-6F61-4FE5-9A23-48F338571C1B}"/>
                </a:ext>
              </a:extLst>
            </p:cNvPr>
            <p:cNvSpPr/>
            <p:nvPr/>
          </p:nvSpPr>
          <p:spPr bwMode="gray">
            <a:xfrm>
              <a:off x="-820606" y="3535648"/>
              <a:ext cx="273691" cy="278112"/>
            </a:xfrm>
            <a:custGeom>
              <a:avLst/>
              <a:gdLst>
                <a:gd name="connsiteX0" fmla="*/ 95316 w 319358"/>
                <a:gd name="connsiteY0" fmla="*/ 870562 h 870562"/>
                <a:gd name="connsiteX1" fmla="*/ 66 w 319358"/>
                <a:gd name="connsiteY1" fmla="*/ 483212 h 870562"/>
                <a:gd name="connsiteX2" fmla="*/ 108016 w 319358"/>
                <a:gd name="connsiteY2" fmla="*/ 324462 h 870562"/>
                <a:gd name="connsiteX3" fmla="*/ 165166 w 319358"/>
                <a:gd name="connsiteY3" fmla="*/ 612 h 870562"/>
                <a:gd name="connsiteX4" fmla="*/ 317566 w 319358"/>
                <a:gd name="connsiteY4" fmla="*/ 413362 h 870562"/>
                <a:gd name="connsiteX5" fmla="*/ 235016 w 319358"/>
                <a:gd name="connsiteY5" fmla="*/ 864212 h 870562"/>
                <a:gd name="connsiteX0" fmla="*/ 95316 w 342347"/>
                <a:gd name="connsiteY0" fmla="*/ 870562 h 870562"/>
                <a:gd name="connsiteX1" fmla="*/ 66 w 342347"/>
                <a:gd name="connsiteY1" fmla="*/ 483212 h 870562"/>
                <a:gd name="connsiteX2" fmla="*/ 108016 w 342347"/>
                <a:gd name="connsiteY2" fmla="*/ 324462 h 870562"/>
                <a:gd name="connsiteX3" fmla="*/ 165166 w 342347"/>
                <a:gd name="connsiteY3" fmla="*/ 612 h 870562"/>
                <a:gd name="connsiteX4" fmla="*/ 317566 w 342347"/>
                <a:gd name="connsiteY4" fmla="*/ 413362 h 870562"/>
                <a:gd name="connsiteX5" fmla="*/ 319044 w 342347"/>
                <a:gd name="connsiteY5" fmla="*/ 842659 h 870562"/>
                <a:gd name="connsiteX0" fmla="*/ 95316 w 371927"/>
                <a:gd name="connsiteY0" fmla="*/ 870562 h 870562"/>
                <a:gd name="connsiteX1" fmla="*/ 66 w 371927"/>
                <a:gd name="connsiteY1" fmla="*/ 483212 h 870562"/>
                <a:gd name="connsiteX2" fmla="*/ 108016 w 371927"/>
                <a:gd name="connsiteY2" fmla="*/ 324462 h 870562"/>
                <a:gd name="connsiteX3" fmla="*/ 165166 w 371927"/>
                <a:gd name="connsiteY3" fmla="*/ 612 h 870562"/>
                <a:gd name="connsiteX4" fmla="*/ 367982 w 371927"/>
                <a:gd name="connsiteY4" fmla="*/ 413363 h 870562"/>
                <a:gd name="connsiteX5" fmla="*/ 319044 w 371927"/>
                <a:gd name="connsiteY5" fmla="*/ 842659 h 870562"/>
                <a:gd name="connsiteX0" fmla="*/ 95316 w 371927"/>
                <a:gd name="connsiteY0" fmla="*/ 827551 h 827551"/>
                <a:gd name="connsiteX1" fmla="*/ 66 w 371927"/>
                <a:gd name="connsiteY1" fmla="*/ 440201 h 827551"/>
                <a:gd name="connsiteX2" fmla="*/ 108016 w 371927"/>
                <a:gd name="connsiteY2" fmla="*/ 281451 h 827551"/>
                <a:gd name="connsiteX3" fmla="*/ 205499 w 371927"/>
                <a:gd name="connsiteY3" fmla="*/ 707 h 827551"/>
                <a:gd name="connsiteX4" fmla="*/ 367982 w 371927"/>
                <a:gd name="connsiteY4" fmla="*/ 370352 h 827551"/>
                <a:gd name="connsiteX5" fmla="*/ 319044 w 371927"/>
                <a:gd name="connsiteY5" fmla="*/ 799648 h 827551"/>
                <a:gd name="connsiteX0" fmla="*/ 98435 w 375046"/>
                <a:gd name="connsiteY0" fmla="*/ 826844 h 826844"/>
                <a:gd name="connsiteX1" fmla="*/ 3185 w 375046"/>
                <a:gd name="connsiteY1" fmla="*/ 439494 h 826844"/>
                <a:gd name="connsiteX2" fmla="*/ 208618 w 375046"/>
                <a:gd name="connsiteY2" fmla="*/ 0 h 826844"/>
                <a:gd name="connsiteX3" fmla="*/ 371101 w 375046"/>
                <a:gd name="connsiteY3" fmla="*/ 369645 h 826844"/>
                <a:gd name="connsiteX4" fmla="*/ 322163 w 375046"/>
                <a:gd name="connsiteY4" fmla="*/ 798941 h 826844"/>
                <a:gd name="connsiteX0" fmla="*/ 47224 w 323835"/>
                <a:gd name="connsiteY0" fmla="*/ 826845 h 826845"/>
                <a:gd name="connsiteX1" fmla="*/ 9112 w 323835"/>
                <a:gd name="connsiteY1" fmla="*/ 374836 h 826845"/>
                <a:gd name="connsiteX2" fmla="*/ 157407 w 323835"/>
                <a:gd name="connsiteY2" fmla="*/ 1 h 826845"/>
                <a:gd name="connsiteX3" fmla="*/ 319890 w 323835"/>
                <a:gd name="connsiteY3" fmla="*/ 369646 h 826845"/>
                <a:gd name="connsiteX4" fmla="*/ 270952 w 323835"/>
                <a:gd name="connsiteY4" fmla="*/ 798942 h 826845"/>
                <a:gd name="connsiteX0" fmla="*/ 48467 w 325078"/>
                <a:gd name="connsiteY0" fmla="*/ 810682 h 810682"/>
                <a:gd name="connsiteX1" fmla="*/ 10355 w 325078"/>
                <a:gd name="connsiteY1" fmla="*/ 358673 h 810682"/>
                <a:gd name="connsiteX2" fmla="*/ 175456 w 325078"/>
                <a:gd name="connsiteY2" fmla="*/ 3 h 810682"/>
                <a:gd name="connsiteX3" fmla="*/ 321133 w 325078"/>
                <a:gd name="connsiteY3" fmla="*/ 353483 h 810682"/>
                <a:gd name="connsiteX4" fmla="*/ 272195 w 325078"/>
                <a:gd name="connsiteY4" fmla="*/ 782779 h 810682"/>
                <a:gd name="connsiteX0" fmla="*/ 55744 w 322272"/>
                <a:gd name="connsiteY0" fmla="*/ 805294 h 805294"/>
                <a:gd name="connsiteX1" fmla="*/ 7549 w 322272"/>
                <a:gd name="connsiteY1" fmla="*/ 358673 h 805294"/>
                <a:gd name="connsiteX2" fmla="*/ 172650 w 322272"/>
                <a:gd name="connsiteY2" fmla="*/ 3 h 805294"/>
                <a:gd name="connsiteX3" fmla="*/ 318327 w 322272"/>
                <a:gd name="connsiteY3" fmla="*/ 353483 h 805294"/>
                <a:gd name="connsiteX4" fmla="*/ 269389 w 322272"/>
                <a:gd name="connsiteY4" fmla="*/ 782779 h 805294"/>
                <a:gd name="connsiteX0" fmla="*/ 55744 w 321540"/>
                <a:gd name="connsiteY0" fmla="*/ 805294 h 805294"/>
                <a:gd name="connsiteX1" fmla="*/ 7549 w 321540"/>
                <a:gd name="connsiteY1" fmla="*/ 358673 h 805294"/>
                <a:gd name="connsiteX2" fmla="*/ 172650 w 321540"/>
                <a:gd name="connsiteY2" fmla="*/ 3 h 805294"/>
                <a:gd name="connsiteX3" fmla="*/ 318327 w 321540"/>
                <a:gd name="connsiteY3" fmla="*/ 353483 h 805294"/>
                <a:gd name="connsiteX4" fmla="*/ 262564 w 321540"/>
                <a:gd name="connsiteY4" fmla="*/ 798944 h 805294"/>
                <a:gd name="connsiteX0" fmla="*/ 55744 w 321540"/>
                <a:gd name="connsiteY0" fmla="*/ 789129 h 798944"/>
                <a:gd name="connsiteX1" fmla="*/ 7549 w 321540"/>
                <a:gd name="connsiteY1" fmla="*/ 358673 h 798944"/>
                <a:gd name="connsiteX2" fmla="*/ 172650 w 321540"/>
                <a:gd name="connsiteY2" fmla="*/ 3 h 798944"/>
                <a:gd name="connsiteX3" fmla="*/ 318327 w 321540"/>
                <a:gd name="connsiteY3" fmla="*/ 353483 h 798944"/>
                <a:gd name="connsiteX4" fmla="*/ 262564 w 321540"/>
                <a:gd name="connsiteY4" fmla="*/ 798944 h 798944"/>
                <a:gd name="connsiteX0" fmla="*/ 55744 w 322748"/>
                <a:gd name="connsiteY0" fmla="*/ 789129 h 789129"/>
                <a:gd name="connsiteX1" fmla="*/ 7549 w 322748"/>
                <a:gd name="connsiteY1" fmla="*/ 358673 h 789129"/>
                <a:gd name="connsiteX2" fmla="*/ 172650 w 322748"/>
                <a:gd name="connsiteY2" fmla="*/ 3 h 789129"/>
                <a:gd name="connsiteX3" fmla="*/ 318327 w 322748"/>
                <a:gd name="connsiteY3" fmla="*/ 353483 h 789129"/>
                <a:gd name="connsiteX4" fmla="*/ 272801 w 322748"/>
                <a:gd name="connsiteY4" fmla="*/ 782779 h 789129"/>
                <a:gd name="connsiteX0" fmla="*/ 61546 w 328550"/>
                <a:gd name="connsiteY0" fmla="*/ 789600 h 789600"/>
                <a:gd name="connsiteX1" fmla="*/ 6527 w 328550"/>
                <a:gd name="connsiteY1" fmla="*/ 426496 h 789600"/>
                <a:gd name="connsiteX2" fmla="*/ 178452 w 328550"/>
                <a:gd name="connsiteY2" fmla="*/ 474 h 789600"/>
                <a:gd name="connsiteX3" fmla="*/ 324129 w 328550"/>
                <a:gd name="connsiteY3" fmla="*/ 353954 h 789600"/>
                <a:gd name="connsiteX4" fmla="*/ 278603 w 328550"/>
                <a:gd name="connsiteY4" fmla="*/ 783250 h 789600"/>
                <a:gd name="connsiteX0" fmla="*/ 61546 w 331487"/>
                <a:gd name="connsiteY0" fmla="*/ 789171 h 789171"/>
                <a:gd name="connsiteX1" fmla="*/ 6527 w 331487"/>
                <a:gd name="connsiteY1" fmla="*/ 426067 h 789171"/>
                <a:gd name="connsiteX2" fmla="*/ 178452 w 331487"/>
                <a:gd name="connsiteY2" fmla="*/ 45 h 789171"/>
                <a:gd name="connsiteX3" fmla="*/ 327542 w 331487"/>
                <a:gd name="connsiteY3" fmla="*/ 402018 h 789171"/>
                <a:gd name="connsiteX4" fmla="*/ 278603 w 331487"/>
                <a:gd name="connsiteY4" fmla="*/ 782821 h 789171"/>
                <a:gd name="connsiteX0" fmla="*/ 61895 w 331836"/>
                <a:gd name="connsiteY0" fmla="*/ 724528 h 724528"/>
                <a:gd name="connsiteX1" fmla="*/ 6876 w 331836"/>
                <a:gd name="connsiteY1" fmla="*/ 361424 h 724528"/>
                <a:gd name="connsiteX2" fmla="*/ 183919 w 331836"/>
                <a:gd name="connsiteY2" fmla="*/ 61 h 724528"/>
                <a:gd name="connsiteX3" fmla="*/ 327891 w 331836"/>
                <a:gd name="connsiteY3" fmla="*/ 337375 h 724528"/>
                <a:gd name="connsiteX4" fmla="*/ 278952 w 331836"/>
                <a:gd name="connsiteY4" fmla="*/ 718178 h 72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36" h="724528">
                  <a:moveTo>
                    <a:pt x="61895" y="724528"/>
                  </a:moveTo>
                  <a:cubicBezTo>
                    <a:pt x="13211" y="576361"/>
                    <a:pt x="-13461" y="482169"/>
                    <a:pt x="6876" y="361424"/>
                  </a:cubicBezTo>
                  <a:cubicBezTo>
                    <a:pt x="27213" y="240680"/>
                    <a:pt x="130417" y="4069"/>
                    <a:pt x="183919" y="61"/>
                  </a:cubicBezTo>
                  <a:cubicBezTo>
                    <a:pt x="237422" y="-3947"/>
                    <a:pt x="316249" y="193442"/>
                    <a:pt x="327891" y="337375"/>
                  </a:cubicBezTo>
                  <a:cubicBezTo>
                    <a:pt x="339533" y="481308"/>
                    <a:pt x="326048" y="564719"/>
                    <a:pt x="278952" y="718178"/>
                  </a:cubicBezTo>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nvGrpSpPr>
          <p:cNvPr id="97" name="Group 96">
            <a:extLst>
              <a:ext uri="{FF2B5EF4-FFF2-40B4-BE49-F238E27FC236}">
                <a16:creationId xmlns:a16="http://schemas.microsoft.com/office/drawing/2014/main" id="{807D7B0C-A0CC-458F-BA62-937EB1FBA71A}"/>
              </a:ext>
            </a:extLst>
          </p:cNvPr>
          <p:cNvGrpSpPr/>
          <p:nvPr/>
        </p:nvGrpSpPr>
        <p:grpSpPr bwMode="gray">
          <a:xfrm>
            <a:off x="7845933" y="3740017"/>
            <a:ext cx="310194" cy="293095"/>
            <a:chOff x="-640260" y="1957916"/>
            <a:chExt cx="355290" cy="335706"/>
          </a:xfrm>
          <a:noFill/>
        </p:grpSpPr>
        <p:sp>
          <p:nvSpPr>
            <p:cNvPr id="98" name="Rectangle 17">
              <a:extLst>
                <a:ext uri="{FF2B5EF4-FFF2-40B4-BE49-F238E27FC236}">
                  <a16:creationId xmlns:a16="http://schemas.microsoft.com/office/drawing/2014/main" id="{DE9AB83E-A305-4D27-B22E-4D36C03A199C}"/>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99" name="Rectangle 16">
              <a:extLst>
                <a:ext uri="{FF2B5EF4-FFF2-40B4-BE49-F238E27FC236}">
                  <a16:creationId xmlns:a16="http://schemas.microsoft.com/office/drawing/2014/main" id="{5730B673-D4DA-4A7C-9260-9EA9D1C6ACD9}"/>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100" name="Straight Connector 99">
              <a:extLst>
                <a:ext uri="{FF2B5EF4-FFF2-40B4-BE49-F238E27FC236}">
                  <a16:creationId xmlns:a16="http://schemas.microsoft.com/office/drawing/2014/main" id="{AA87238B-A9DE-4E92-9EF6-4DF63C46B900}"/>
                </a:ext>
              </a:extLst>
            </p:cNvPr>
            <p:cNvCxnSpPr/>
            <p:nvPr/>
          </p:nvCxnSpPr>
          <p:spPr bwMode="gray">
            <a:xfrm rot="5400000" flipH="1">
              <a:off x="-481603" y="1981616"/>
              <a:ext cx="47400" cy="0"/>
            </a:xfrm>
            <a:prstGeom prst="line">
              <a:avLst/>
            </a:prstGeom>
            <a:grpFill/>
            <a:ln w="12700">
              <a:solidFill>
                <a:schemeClr val="bg2"/>
              </a:solidFill>
              <a:prstDash val="solid"/>
              <a:round/>
              <a:headEnd/>
              <a:tailEnd/>
            </a:ln>
          </p:spPr>
        </p:cxnSp>
        <p:cxnSp>
          <p:nvCxnSpPr>
            <p:cNvPr id="101" name="Straight Connector 100">
              <a:extLst>
                <a:ext uri="{FF2B5EF4-FFF2-40B4-BE49-F238E27FC236}">
                  <a16:creationId xmlns:a16="http://schemas.microsoft.com/office/drawing/2014/main" id="{B2D08FA8-3E9E-47E4-93C6-37ED719D58C7}"/>
                </a:ext>
              </a:extLst>
            </p:cNvPr>
            <p:cNvCxnSpPr/>
            <p:nvPr/>
          </p:nvCxnSpPr>
          <p:spPr bwMode="gray">
            <a:xfrm rot="5400000" flipH="1">
              <a:off x="-481603" y="2269922"/>
              <a:ext cx="47400" cy="0"/>
            </a:xfrm>
            <a:prstGeom prst="line">
              <a:avLst/>
            </a:prstGeom>
            <a:grpFill/>
            <a:ln w="12700">
              <a:solidFill>
                <a:schemeClr val="bg2"/>
              </a:solidFill>
              <a:prstDash val="solid"/>
              <a:round/>
              <a:headEnd/>
              <a:tailEnd/>
            </a:ln>
          </p:spPr>
        </p:cxnSp>
        <p:cxnSp>
          <p:nvCxnSpPr>
            <p:cNvPr id="102" name="Straight Connector 101">
              <a:extLst>
                <a:ext uri="{FF2B5EF4-FFF2-40B4-BE49-F238E27FC236}">
                  <a16:creationId xmlns:a16="http://schemas.microsoft.com/office/drawing/2014/main" id="{4F81EDB8-9F7C-4215-8DFB-2D3E5D886C2F}"/>
                </a:ext>
              </a:extLst>
            </p:cNvPr>
            <p:cNvCxnSpPr/>
            <p:nvPr/>
          </p:nvCxnSpPr>
          <p:spPr bwMode="gray">
            <a:xfrm rot="2503489" flipH="1">
              <a:off x="-370223" y="2225091"/>
              <a:ext cx="47400" cy="0"/>
            </a:xfrm>
            <a:prstGeom prst="line">
              <a:avLst/>
            </a:prstGeom>
            <a:grpFill/>
            <a:ln w="12700">
              <a:solidFill>
                <a:schemeClr val="bg2"/>
              </a:solidFill>
              <a:prstDash val="solid"/>
              <a:round/>
              <a:headEnd/>
              <a:tailEnd/>
            </a:ln>
          </p:spPr>
        </p:cxnSp>
        <p:cxnSp>
          <p:nvCxnSpPr>
            <p:cNvPr id="103" name="Straight Connector 102">
              <a:extLst>
                <a:ext uri="{FF2B5EF4-FFF2-40B4-BE49-F238E27FC236}">
                  <a16:creationId xmlns:a16="http://schemas.microsoft.com/office/drawing/2014/main" id="{38EDEA09-E816-4D18-9F5B-E76BDDD4A1E2}"/>
                </a:ext>
              </a:extLst>
            </p:cNvPr>
            <p:cNvCxnSpPr/>
            <p:nvPr/>
          </p:nvCxnSpPr>
          <p:spPr bwMode="gray">
            <a:xfrm rot="8296511">
              <a:off x="-370223" y="2026447"/>
              <a:ext cx="47400" cy="0"/>
            </a:xfrm>
            <a:prstGeom prst="line">
              <a:avLst/>
            </a:prstGeom>
            <a:grpFill/>
            <a:ln w="12700">
              <a:solidFill>
                <a:schemeClr val="bg2"/>
              </a:solidFill>
              <a:prstDash val="solid"/>
              <a:round/>
              <a:headEnd/>
              <a:tailEnd/>
            </a:ln>
          </p:spPr>
        </p:cxnSp>
        <p:cxnSp>
          <p:nvCxnSpPr>
            <p:cNvPr id="104" name="Straight Connector 103">
              <a:extLst>
                <a:ext uri="{FF2B5EF4-FFF2-40B4-BE49-F238E27FC236}">
                  <a16:creationId xmlns:a16="http://schemas.microsoft.com/office/drawing/2014/main" id="{38ACE0E6-5E06-4933-ACF3-36D493B1A407}"/>
                </a:ext>
              </a:extLst>
            </p:cNvPr>
            <p:cNvCxnSpPr/>
            <p:nvPr/>
          </p:nvCxnSpPr>
          <p:spPr bwMode="gray">
            <a:xfrm rot="10800000">
              <a:off x="-332370" y="2125769"/>
              <a:ext cx="47400" cy="0"/>
            </a:xfrm>
            <a:prstGeom prst="line">
              <a:avLst/>
            </a:prstGeom>
            <a:grpFill/>
            <a:ln w="12700">
              <a:solidFill>
                <a:schemeClr val="bg2"/>
              </a:solidFill>
              <a:prstDash val="solid"/>
              <a:round/>
              <a:headEnd/>
              <a:tailEnd/>
            </a:ln>
          </p:spPr>
        </p:cxnSp>
        <p:grpSp>
          <p:nvGrpSpPr>
            <p:cNvPr id="105" name="Group 104">
              <a:extLst>
                <a:ext uri="{FF2B5EF4-FFF2-40B4-BE49-F238E27FC236}">
                  <a16:creationId xmlns:a16="http://schemas.microsoft.com/office/drawing/2014/main" id="{4D9462E5-4B48-4908-AF9A-C576C2168EA8}"/>
                </a:ext>
              </a:extLst>
            </p:cNvPr>
            <p:cNvGrpSpPr/>
            <p:nvPr/>
          </p:nvGrpSpPr>
          <p:grpSpPr bwMode="gray">
            <a:xfrm>
              <a:off x="-507951" y="2088033"/>
              <a:ext cx="84957" cy="65573"/>
              <a:chOff x="-2412348" y="2111699"/>
              <a:chExt cx="717156" cy="553527"/>
            </a:xfrm>
            <a:grpFill/>
          </p:grpSpPr>
          <p:sp>
            <p:nvSpPr>
              <p:cNvPr id="106" name="Parallelogram 1029">
                <a:extLst>
                  <a:ext uri="{FF2B5EF4-FFF2-40B4-BE49-F238E27FC236}">
                    <a16:creationId xmlns:a16="http://schemas.microsoft.com/office/drawing/2014/main" id="{CF1C2559-30BB-4ED5-A551-138F60835912}"/>
                  </a:ext>
                </a:extLst>
              </p:cNvPr>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07" name="Rectangle 106">
                <a:extLst>
                  <a:ext uri="{FF2B5EF4-FFF2-40B4-BE49-F238E27FC236}">
                    <a16:creationId xmlns:a16="http://schemas.microsoft.com/office/drawing/2014/main" id="{BA611AD4-44F6-499D-9055-42FA0397E37A}"/>
                  </a:ext>
                </a:extLst>
              </p:cNvPr>
              <p:cNvSpPr/>
              <p:nvPr/>
            </p:nvSpPr>
            <p:spPr bwMode="gray">
              <a:xfrm>
                <a:off x="-2412348" y="2111699"/>
                <a:ext cx="83823" cy="553527"/>
              </a:xfrm>
              <a:prstGeom prst="rect">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108" name="Group 107">
            <a:extLst>
              <a:ext uri="{FF2B5EF4-FFF2-40B4-BE49-F238E27FC236}">
                <a16:creationId xmlns:a16="http://schemas.microsoft.com/office/drawing/2014/main" id="{010ECF57-1B5A-4613-91EF-E04356342F3A}"/>
              </a:ext>
            </a:extLst>
          </p:cNvPr>
          <p:cNvGrpSpPr/>
          <p:nvPr/>
        </p:nvGrpSpPr>
        <p:grpSpPr bwMode="gray">
          <a:xfrm>
            <a:off x="6463025" y="4794862"/>
            <a:ext cx="369623" cy="113826"/>
            <a:chOff x="5561561" y="3580012"/>
            <a:chExt cx="1068879" cy="329166"/>
          </a:xfrm>
          <a:noFill/>
        </p:grpSpPr>
        <p:sp>
          <p:nvSpPr>
            <p:cNvPr id="109" name="Oval 108">
              <a:extLst>
                <a:ext uri="{FF2B5EF4-FFF2-40B4-BE49-F238E27FC236}">
                  <a16:creationId xmlns:a16="http://schemas.microsoft.com/office/drawing/2014/main" id="{CE3811A7-5895-4980-8C8D-B3DD2EC57A32}"/>
                </a:ext>
              </a:extLst>
            </p:cNvPr>
            <p:cNvSpPr/>
            <p:nvPr/>
          </p:nvSpPr>
          <p:spPr bwMode="gray">
            <a:xfrm>
              <a:off x="5561561"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10" name="Oval 109">
              <a:extLst>
                <a:ext uri="{FF2B5EF4-FFF2-40B4-BE49-F238E27FC236}">
                  <a16:creationId xmlns:a16="http://schemas.microsoft.com/office/drawing/2014/main" id="{AC98CB82-4358-4663-8818-D35ABAAD7D53}"/>
                </a:ext>
              </a:extLst>
            </p:cNvPr>
            <p:cNvSpPr/>
            <p:nvPr/>
          </p:nvSpPr>
          <p:spPr bwMode="gray">
            <a:xfrm>
              <a:off x="6301274"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111" name="Straight Connector 110">
              <a:extLst>
                <a:ext uri="{FF2B5EF4-FFF2-40B4-BE49-F238E27FC236}">
                  <a16:creationId xmlns:a16="http://schemas.microsoft.com/office/drawing/2014/main" id="{3D551F28-38F0-41F2-B628-0EEEF8D3917D}"/>
                </a:ext>
              </a:extLst>
            </p:cNvPr>
            <p:cNvCxnSpPr>
              <a:stCxn id="109" idx="6"/>
              <a:endCxn id="110" idx="2"/>
            </p:cNvCxnSpPr>
            <p:nvPr/>
          </p:nvCxnSpPr>
          <p:spPr bwMode="gray">
            <a:xfrm>
              <a:off x="5890727" y="3744595"/>
              <a:ext cx="410547" cy="0"/>
            </a:xfrm>
            <a:prstGeom prst="line">
              <a:avLst/>
            </a:prstGeom>
            <a:grpFill/>
            <a:ln w="12700">
              <a:solidFill>
                <a:schemeClr val="bg2"/>
              </a:solidFill>
              <a:prstDash val="solid"/>
              <a:round/>
              <a:headEnd/>
              <a:tailEnd/>
            </a:ln>
          </p:spPr>
        </p:cxnSp>
        <p:cxnSp>
          <p:nvCxnSpPr>
            <p:cNvPr id="112" name="Straight Connector 111">
              <a:extLst>
                <a:ext uri="{FF2B5EF4-FFF2-40B4-BE49-F238E27FC236}">
                  <a16:creationId xmlns:a16="http://schemas.microsoft.com/office/drawing/2014/main" id="{E12D816E-E394-4152-8BA2-ADA67523134F}"/>
                </a:ext>
              </a:extLst>
            </p:cNvPr>
            <p:cNvCxnSpPr/>
            <p:nvPr/>
          </p:nvCxnSpPr>
          <p:spPr bwMode="gray">
            <a:xfrm>
              <a:off x="6062617" y="3669857"/>
              <a:ext cx="66766" cy="149477"/>
            </a:xfrm>
            <a:prstGeom prst="line">
              <a:avLst/>
            </a:prstGeom>
            <a:grpFill/>
            <a:ln w="12700">
              <a:solidFill>
                <a:schemeClr val="bg2"/>
              </a:solidFill>
              <a:prstDash val="solid"/>
              <a:round/>
              <a:headEnd/>
              <a:tailEnd/>
            </a:ln>
          </p:spPr>
        </p:cxnSp>
      </p:grpSp>
      <p:grpSp>
        <p:nvGrpSpPr>
          <p:cNvPr id="113" name="Group 112">
            <a:extLst>
              <a:ext uri="{FF2B5EF4-FFF2-40B4-BE49-F238E27FC236}">
                <a16:creationId xmlns:a16="http://schemas.microsoft.com/office/drawing/2014/main" id="{F73B413C-5FF6-40B0-9CFA-B03E3BE516E1}"/>
              </a:ext>
            </a:extLst>
          </p:cNvPr>
          <p:cNvGrpSpPr/>
          <p:nvPr/>
        </p:nvGrpSpPr>
        <p:grpSpPr bwMode="gray">
          <a:xfrm>
            <a:off x="7845933" y="4708589"/>
            <a:ext cx="310194" cy="293095"/>
            <a:chOff x="-640260" y="1957916"/>
            <a:chExt cx="355290" cy="335706"/>
          </a:xfrm>
          <a:noFill/>
        </p:grpSpPr>
        <p:sp>
          <p:nvSpPr>
            <p:cNvPr id="114" name="Rectangle 17">
              <a:extLst>
                <a:ext uri="{FF2B5EF4-FFF2-40B4-BE49-F238E27FC236}">
                  <a16:creationId xmlns:a16="http://schemas.microsoft.com/office/drawing/2014/main" id="{E86BC01F-5A32-4445-A488-5D885451BC3E}"/>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15" name="Rectangle 16">
              <a:extLst>
                <a:ext uri="{FF2B5EF4-FFF2-40B4-BE49-F238E27FC236}">
                  <a16:creationId xmlns:a16="http://schemas.microsoft.com/office/drawing/2014/main" id="{73F794FE-97BF-4B86-A4D5-3B1F92E33845}"/>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116" name="Straight Connector 115">
              <a:extLst>
                <a:ext uri="{FF2B5EF4-FFF2-40B4-BE49-F238E27FC236}">
                  <a16:creationId xmlns:a16="http://schemas.microsoft.com/office/drawing/2014/main" id="{1D47FFD4-1F77-4A4A-8596-4477C6278BC0}"/>
                </a:ext>
              </a:extLst>
            </p:cNvPr>
            <p:cNvCxnSpPr/>
            <p:nvPr/>
          </p:nvCxnSpPr>
          <p:spPr bwMode="gray">
            <a:xfrm rot="5400000" flipH="1">
              <a:off x="-481603" y="1981616"/>
              <a:ext cx="47400" cy="0"/>
            </a:xfrm>
            <a:prstGeom prst="line">
              <a:avLst/>
            </a:prstGeom>
            <a:grpFill/>
            <a:ln w="12700">
              <a:solidFill>
                <a:schemeClr val="bg2"/>
              </a:solidFill>
              <a:prstDash val="solid"/>
              <a:round/>
              <a:headEnd/>
              <a:tailEnd/>
            </a:ln>
          </p:spPr>
        </p:cxnSp>
        <p:cxnSp>
          <p:nvCxnSpPr>
            <p:cNvPr id="117" name="Straight Connector 116">
              <a:extLst>
                <a:ext uri="{FF2B5EF4-FFF2-40B4-BE49-F238E27FC236}">
                  <a16:creationId xmlns:a16="http://schemas.microsoft.com/office/drawing/2014/main" id="{A7E3EBD4-4E55-456C-BFD7-EE689EE73B75}"/>
                </a:ext>
              </a:extLst>
            </p:cNvPr>
            <p:cNvCxnSpPr/>
            <p:nvPr/>
          </p:nvCxnSpPr>
          <p:spPr bwMode="gray">
            <a:xfrm rot="5400000" flipH="1">
              <a:off x="-481603" y="2269922"/>
              <a:ext cx="47400" cy="0"/>
            </a:xfrm>
            <a:prstGeom prst="line">
              <a:avLst/>
            </a:prstGeom>
            <a:grpFill/>
            <a:ln w="12700">
              <a:solidFill>
                <a:schemeClr val="bg2"/>
              </a:solidFill>
              <a:prstDash val="solid"/>
              <a:round/>
              <a:headEnd/>
              <a:tailEnd/>
            </a:ln>
          </p:spPr>
        </p:cxnSp>
        <p:cxnSp>
          <p:nvCxnSpPr>
            <p:cNvPr id="118" name="Straight Connector 117">
              <a:extLst>
                <a:ext uri="{FF2B5EF4-FFF2-40B4-BE49-F238E27FC236}">
                  <a16:creationId xmlns:a16="http://schemas.microsoft.com/office/drawing/2014/main" id="{0B701CA4-EF2D-4B54-9942-12E0080C4609}"/>
                </a:ext>
              </a:extLst>
            </p:cNvPr>
            <p:cNvCxnSpPr/>
            <p:nvPr/>
          </p:nvCxnSpPr>
          <p:spPr bwMode="gray">
            <a:xfrm rot="2503489" flipH="1">
              <a:off x="-370223" y="2225091"/>
              <a:ext cx="47400" cy="0"/>
            </a:xfrm>
            <a:prstGeom prst="line">
              <a:avLst/>
            </a:prstGeom>
            <a:grpFill/>
            <a:ln w="12700">
              <a:solidFill>
                <a:schemeClr val="bg2"/>
              </a:solidFill>
              <a:prstDash val="solid"/>
              <a:round/>
              <a:headEnd/>
              <a:tailEnd/>
            </a:ln>
          </p:spPr>
        </p:cxnSp>
        <p:cxnSp>
          <p:nvCxnSpPr>
            <p:cNvPr id="119" name="Straight Connector 118">
              <a:extLst>
                <a:ext uri="{FF2B5EF4-FFF2-40B4-BE49-F238E27FC236}">
                  <a16:creationId xmlns:a16="http://schemas.microsoft.com/office/drawing/2014/main" id="{3E5BD958-DEFC-4776-AB02-8C119D8B01D3}"/>
                </a:ext>
              </a:extLst>
            </p:cNvPr>
            <p:cNvCxnSpPr/>
            <p:nvPr/>
          </p:nvCxnSpPr>
          <p:spPr bwMode="gray">
            <a:xfrm rot="8296511">
              <a:off x="-370223" y="2026447"/>
              <a:ext cx="47400" cy="0"/>
            </a:xfrm>
            <a:prstGeom prst="line">
              <a:avLst/>
            </a:prstGeom>
            <a:grpFill/>
            <a:ln w="12700">
              <a:solidFill>
                <a:schemeClr val="bg2"/>
              </a:solidFill>
              <a:prstDash val="solid"/>
              <a:round/>
              <a:headEnd/>
              <a:tailEnd/>
            </a:ln>
          </p:spPr>
        </p:cxnSp>
        <p:cxnSp>
          <p:nvCxnSpPr>
            <p:cNvPr id="120" name="Straight Connector 119">
              <a:extLst>
                <a:ext uri="{FF2B5EF4-FFF2-40B4-BE49-F238E27FC236}">
                  <a16:creationId xmlns:a16="http://schemas.microsoft.com/office/drawing/2014/main" id="{088F5843-8163-43F8-805F-8F0AE345B1C2}"/>
                </a:ext>
              </a:extLst>
            </p:cNvPr>
            <p:cNvCxnSpPr/>
            <p:nvPr/>
          </p:nvCxnSpPr>
          <p:spPr bwMode="gray">
            <a:xfrm rot="10800000">
              <a:off x="-332370" y="2125769"/>
              <a:ext cx="47400" cy="0"/>
            </a:xfrm>
            <a:prstGeom prst="line">
              <a:avLst/>
            </a:prstGeom>
            <a:grpFill/>
            <a:ln w="12700">
              <a:solidFill>
                <a:schemeClr val="bg2"/>
              </a:solidFill>
              <a:prstDash val="solid"/>
              <a:round/>
              <a:headEnd/>
              <a:tailEnd/>
            </a:ln>
          </p:spPr>
        </p:cxnSp>
        <p:grpSp>
          <p:nvGrpSpPr>
            <p:cNvPr id="121" name="Group 120">
              <a:extLst>
                <a:ext uri="{FF2B5EF4-FFF2-40B4-BE49-F238E27FC236}">
                  <a16:creationId xmlns:a16="http://schemas.microsoft.com/office/drawing/2014/main" id="{3AB524FE-77A8-4AA3-8D20-A5C2268850AA}"/>
                </a:ext>
              </a:extLst>
            </p:cNvPr>
            <p:cNvGrpSpPr/>
            <p:nvPr/>
          </p:nvGrpSpPr>
          <p:grpSpPr bwMode="gray">
            <a:xfrm>
              <a:off x="-507951" y="2088033"/>
              <a:ext cx="84957" cy="65573"/>
              <a:chOff x="-2412348" y="2111699"/>
              <a:chExt cx="717156" cy="553527"/>
            </a:xfrm>
            <a:grpFill/>
          </p:grpSpPr>
          <p:sp>
            <p:nvSpPr>
              <p:cNvPr id="122" name="Parallelogram 1029">
                <a:extLst>
                  <a:ext uri="{FF2B5EF4-FFF2-40B4-BE49-F238E27FC236}">
                    <a16:creationId xmlns:a16="http://schemas.microsoft.com/office/drawing/2014/main" id="{55F62EC6-FDEE-4011-8A63-3D67600FBAD9}"/>
                  </a:ext>
                </a:extLst>
              </p:cNvPr>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23" name="Rectangle 122">
                <a:extLst>
                  <a:ext uri="{FF2B5EF4-FFF2-40B4-BE49-F238E27FC236}">
                    <a16:creationId xmlns:a16="http://schemas.microsoft.com/office/drawing/2014/main" id="{1C2ABECA-259C-4689-BF95-1E79C3BD70E7}"/>
                  </a:ext>
                </a:extLst>
              </p:cNvPr>
              <p:cNvSpPr/>
              <p:nvPr/>
            </p:nvSpPr>
            <p:spPr bwMode="gray">
              <a:xfrm>
                <a:off x="-2412348" y="2111699"/>
                <a:ext cx="83823" cy="553527"/>
              </a:xfrm>
              <a:prstGeom prst="rect">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124" name="Group 123">
            <a:extLst>
              <a:ext uri="{FF2B5EF4-FFF2-40B4-BE49-F238E27FC236}">
                <a16:creationId xmlns:a16="http://schemas.microsoft.com/office/drawing/2014/main" id="{311EBEC9-529F-4089-B36A-D4FE65B15227}"/>
              </a:ext>
            </a:extLst>
          </p:cNvPr>
          <p:cNvGrpSpPr/>
          <p:nvPr/>
        </p:nvGrpSpPr>
        <p:grpSpPr bwMode="gray">
          <a:xfrm>
            <a:off x="9256767" y="4738345"/>
            <a:ext cx="229982" cy="210020"/>
            <a:chOff x="-967926" y="3169597"/>
            <a:chExt cx="575910" cy="644168"/>
          </a:xfrm>
          <a:noFill/>
        </p:grpSpPr>
        <p:sp>
          <p:nvSpPr>
            <p:cNvPr id="125" name="Freeform 67">
              <a:extLst>
                <a:ext uri="{FF2B5EF4-FFF2-40B4-BE49-F238E27FC236}">
                  <a16:creationId xmlns:a16="http://schemas.microsoft.com/office/drawing/2014/main" id="{5454CDEF-F9B7-4ED0-9669-EE3AE7CDDF0F}"/>
                </a:ext>
              </a:extLst>
            </p:cNvPr>
            <p:cNvSpPr/>
            <p:nvPr/>
          </p:nvSpPr>
          <p:spPr bwMode="gray">
            <a:xfrm>
              <a:off x="-967926" y="3169597"/>
              <a:ext cx="575910" cy="644168"/>
            </a:xfrm>
            <a:custGeom>
              <a:avLst/>
              <a:gdLst>
                <a:gd name="connsiteX0" fmla="*/ 394445 w 915582"/>
                <a:gd name="connsiteY0" fmla="*/ 1530534 h 1530534"/>
                <a:gd name="connsiteX1" fmla="*/ 2559 w 915582"/>
                <a:gd name="connsiteY1" fmla="*/ 937681 h 1530534"/>
                <a:gd name="connsiteX2" fmla="*/ 223623 w 915582"/>
                <a:gd name="connsiteY2" fmla="*/ 596037 h 1530534"/>
                <a:gd name="connsiteX3" fmla="*/ 193478 w 915582"/>
                <a:gd name="connsiteY3" fmla="*/ 3184 h 1530534"/>
                <a:gd name="connsiteX4" fmla="*/ 906911 w 915582"/>
                <a:gd name="connsiteY4" fmla="*/ 877391 h 1530534"/>
                <a:gd name="connsiteX5" fmla="*/ 525073 w 915582"/>
                <a:gd name="connsiteY5" fmla="*/ 1530534 h 1530534"/>
                <a:gd name="connsiteX0" fmla="*/ 63771 w 1112883"/>
                <a:gd name="connsiteY0" fmla="*/ 1460487 h 1530534"/>
                <a:gd name="connsiteX1" fmla="*/ 199860 w 1112883"/>
                <a:gd name="connsiteY1" fmla="*/ 937681 h 1530534"/>
                <a:gd name="connsiteX2" fmla="*/ 420924 w 1112883"/>
                <a:gd name="connsiteY2" fmla="*/ 596037 h 1530534"/>
                <a:gd name="connsiteX3" fmla="*/ 390779 w 1112883"/>
                <a:gd name="connsiteY3" fmla="*/ 3184 h 1530534"/>
                <a:gd name="connsiteX4" fmla="*/ 1104212 w 1112883"/>
                <a:gd name="connsiteY4" fmla="*/ 877391 h 1530534"/>
                <a:gd name="connsiteX5" fmla="*/ 722374 w 1112883"/>
                <a:gd name="connsiteY5" fmla="*/ 1530534 h 1530534"/>
                <a:gd name="connsiteX0" fmla="*/ 63772 w 1109482"/>
                <a:gd name="connsiteY0" fmla="*/ 1460487 h 1514369"/>
                <a:gd name="connsiteX1" fmla="*/ 199861 w 1109482"/>
                <a:gd name="connsiteY1" fmla="*/ 937681 h 1514369"/>
                <a:gd name="connsiteX2" fmla="*/ 420925 w 1109482"/>
                <a:gd name="connsiteY2" fmla="*/ 596037 h 1514369"/>
                <a:gd name="connsiteX3" fmla="*/ 390780 w 1109482"/>
                <a:gd name="connsiteY3" fmla="*/ 3184 h 1514369"/>
                <a:gd name="connsiteX4" fmla="*/ 1104213 w 1109482"/>
                <a:gd name="connsiteY4" fmla="*/ 877391 h 1514369"/>
                <a:gd name="connsiteX5" fmla="*/ 548092 w 1109482"/>
                <a:gd name="connsiteY5" fmla="*/ 1514369 h 1514369"/>
                <a:gd name="connsiteX0" fmla="*/ 63772 w 874709"/>
                <a:gd name="connsiteY0" fmla="*/ 1460715 h 1514597"/>
                <a:gd name="connsiteX1" fmla="*/ 199861 w 874709"/>
                <a:gd name="connsiteY1" fmla="*/ 937909 h 1514597"/>
                <a:gd name="connsiteX2" fmla="*/ 420925 w 874709"/>
                <a:gd name="connsiteY2" fmla="*/ 596265 h 1514597"/>
                <a:gd name="connsiteX3" fmla="*/ 390780 w 874709"/>
                <a:gd name="connsiteY3" fmla="*/ 3412 h 1514597"/>
                <a:gd name="connsiteX4" fmla="*/ 863293 w 874709"/>
                <a:gd name="connsiteY4" fmla="*/ 888395 h 1514597"/>
                <a:gd name="connsiteX5" fmla="*/ 548092 w 874709"/>
                <a:gd name="connsiteY5" fmla="*/ 1514597 h 1514597"/>
                <a:gd name="connsiteX0" fmla="*/ 191224 w 1002160"/>
                <a:gd name="connsiteY0" fmla="*/ 1460745 h 1514627"/>
                <a:gd name="connsiteX1" fmla="*/ 24880 w 1002160"/>
                <a:gd name="connsiteY1" fmla="*/ 964881 h 1514627"/>
                <a:gd name="connsiteX2" fmla="*/ 548377 w 1002160"/>
                <a:gd name="connsiteY2" fmla="*/ 596295 h 1514627"/>
                <a:gd name="connsiteX3" fmla="*/ 518232 w 1002160"/>
                <a:gd name="connsiteY3" fmla="*/ 3442 h 1514627"/>
                <a:gd name="connsiteX4" fmla="*/ 990745 w 1002160"/>
                <a:gd name="connsiteY4" fmla="*/ 888425 h 1514627"/>
                <a:gd name="connsiteX5" fmla="*/ 675544 w 1002160"/>
                <a:gd name="connsiteY5" fmla="*/ 1514627 h 1514627"/>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72063 h 1525945"/>
                <a:gd name="connsiteX1" fmla="*/ 6383 w 983663"/>
                <a:gd name="connsiteY1" fmla="*/ 976199 h 1525945"/>
                <a:gd name="connsiteX2" fmla="*/ 268455 w 983663"/>
                <a:gd name="connsiteY2" fmla="*/ 532179 h 1525945"/>
                <a:gd name="connsiteX3" fmla="*/ 499735 w 983663"/>
                <a:gd name="connsiteY3" fmla="*/ 14760 h 1525945"/>
                <a:gd name="connsiteX4" fmla="*/ 972248 w 983663"/>
                <a:gd name="connsiteY4" fmla="*/ 899743 h 1525945"/>
                <a:gd name="connsiteX5" fmla="*/ 657047 w 983663"/>
                <a:gd name="connsiteY5" fmla="*/ 1525945 h 1525945"/>
                <a:gd name="connsiteX0" fmla="*/ 172727 w 983663"/>
                <a:gd name="connsiteY0" fmla="*/ 1456181 h 1510063"/>
                <a:gd name="connsiteX1" fmla="*/ 6383 w 983663"/>
                <a:gd name="connsiteY1" fmla="*/ 960317 h 1510063"/>
                <a:gd name="connsiteX2" fmla="*/ 268455 w 983663"/>
                <a:gd name="connsiteY2" fmla="*/ 516297 h 1510063"/>
                <a:gd name="connsiteX3" fmla="*/ 443349 w 983663"/>
                <a:gd name="connsiteY3" fmla="*/ 15043 h 1510063"/>
                <a:gd name="connsiteX4" fmla="*/ 972248 w 983663"/>
                <a:gd name="connsiteY4" fmla="*/ 883861 h 1510063"/>
                <a:gd name="connsiteX5" fmla="*/ 657047 w 983663"/>
                <a:gd name="connsiteY5" fmla="*/ 1510063 h 1510063"/>
                <a:gd name="connsiteX0" fmla="*/ 171348 w 982284"/>
                <a:gd name="connsiteY0" fmla="*/ 1447162 h 1501044"/>
                <a:gd name="connsiteX1" fmla="*/ 5004 w 982284"/>
                <a:gd name="connsiteY1" fmla="*/ 951298 h 1501044"/>
                <a:gd name="connsiteX2" fmla="*/ 246573 w 982284"/>
                <a:gd name="connsiteY2" fmla="*/ 512666 h 1501044"/>
                <a:gd name="connsiteX3" fmla="*/ 441970 w 982284"/>
                <a:gd name="connsiteY3" fmla="*/ 6024 h 1501044"/>
                <a:gd name="connsiteX4" fmla="*/ 970869 w 982284"/>
                <a:gd name="connsiteY4" fmla="*/ 874842 h 1501044"/>
                <a:gd name="connsiteX5" fmla="*/ 655668 w 982284"/>
                <a:gd name="connsiteY5" fmla="*/ 1501044 h 1501044"/>
                <a:gd name="connsiteX0" fmla="*/ 171348 w 982284"/>
                <a:gd name="connsiteY0" fmla="*/ 1457131 h 1511013"/>
                <a:gd name="connsiteX1" fmla="*/ 5004 w 982284"/>
                <a:gd name="connsiteY1" fmla="*/ 961267 h 1511013"/>
                <a:gd name="connsiteX2" fmla="*/ 246573 w 982284"/>
                <a:gd name="connsiteY2" fmla="*/ 522635 h 1511013"/>
                <a:gd name="connsiteX3" fmla="*/ 441970 w 982284"/>
                <a:gd name="connsiteY3" fmla="*/ 15993 h 1511013"/>
                <a:gd name="connsiteX4" fmla="*/ 970869 w 982284"/>
                <a:gd name="connsiteY4" fmla="*/ 884811 h 1511013"/>
                <a:gd name="connsiteX5" fmla="*/ 655668 w 982284"/>
                <a:gd name="connsiteY5" fmla="*/ 1511013 h 1511013"/>
                <a:gd name="connsiteX0" fmla="*/ 184998 w 995934"/>
                <a:gd name="connsiteY0" fmla="*/ 1441330 h 1495212"/>
                <a:gd name="connsiteX1" fmla="*/ 18654 w 995934"/>
                <a:gd name="connsiteY1" fmla="*/ 945466 h 1495212"/>
                <a:gd name="connsiteX2" fmla="*/ 455620 w 995934"/>
                <a:gd name="connsiteY2" fmla="*/ 192 h 1495212"/>
                <a:gd name="connsiteX3" fmla="*/ 984519 w 995934"/>
                <a:gd name="connsiteY3" fmla="*/ 869010 h 1495212"/>
                <a:gd name="connsiteX4" fmla="*/ 669318 w 995934"/>
                <a:gd name="connsiteY4" fmla="*/ 1495212 h 1495212"/>
                <a:gd name="connsiteX0" fmla="*/ 184998 w 995934"/>
                <a:gd name="connsiteY0" fmla="*/ 1462589 h 1516471"/>
                <a:gd name="connsiteX1" fmla="*/ 18654 w 995934"/>
                <a:gd name="connsiteY1" fmla="*/ 966725 h 1516471"/>
                <a:gd name="connsiteX2" fmla="*/ 455620 w 995934"/>
                <a:gd name="connsiteY2" fmla="*/ 21451 h 1516471"/>
                <a:gd name="connsiteX3" fmla="*/ 984519 w 995934"/>
                <a:gd name="connsiteY3" fmla="*/ 890269 h 1516471"/>
                <a:gd name="connsiteX4" fmla="*/ 669318 w 995934"/>
                <a:gd name="connsiteY4" fmla="*/ 1516471 h 1516471"/>
                <a:gd name="connsiteX0" fmla="*/ 178447 w 989383"/>
                <a:gd name="connsiteY0" fmla="*/ 1462589 h 1516471"/>
                <a:gd name="connsiteX1" fmla="*/ 12103 w 989383"/>
                <a:gd name="connsiteY1" fmla="*/ 966725 h 1516471"/>
                <a:gd name="connsiteX2" fmla="*/ 449069 w 989383"/>
                <a:gd name="connsiteY2" fmla="*/ 21451 h 1516471"/>
                <a:gd name="connsiteX3" fmla="*/ 977968 w 989383"/>
                <a:gd name="connsiteY3" fmla="*/ 890269 h 1516471"/>
                <a:gd name="connsiteX4" fmla="*/ 662767 w 989383"/>
                <a:gd name="connsiteY4" fmla="*/ 1516471 h 1516471"/>
                <a:gd name="connsiteX0" fmla="*/ 172077 w 983013"/>
                <a:gd name="connsiteY0" fmla="*/ 1462589 h 1516471"/>
                <a:gd name="connsiteX1" fmla="*/ 5733 w 983013"/>
                <a:gd name="connsiteY1" fmla="*/ 966725 h 1516471"/>
                <a:gd name="connsiteX2" fmla="*/ 442699 w 983013"/>
                <a:gd name="connsiteY2" fmla="*/ 21451 h 1516471"/>
                <a:gd name="connsiteX3" fmla="*/ 971598 w 983013"/>
                <a:gd name="connsiteY3" fmla="*/ 890269 h 1516471"/>
                <a:gd name="connsiteX4" fmla="*/ 656397 w 983013"/>
                <a:gd name="connsiteY4" fmla="*/ 1516471 h 1516471"/>
                <a:gd name="connsiteX0" fmla="*/ 167713 w 978649"/>
                <a:gd name="connsiteY0" fmla="*/ 1462589 h 1516471"/>
                <a:gd name="connsiteX1" fmla="*/ 1369 w 978649"/>
                <a:gd name="connsiteY1" fmla="*/ 966725 h 1516471"/>
                <a:gd name="connsiteX2" fmla="*/ 438335 w 978649"/>
                <a:gd name="connsiteY2" fmla="*/ 21451 h 1516471"/>
                <a:gd name="connsiteX3" fmla="*/ 967234 w 978649"/>
                <a:gd name="connsiteY3" fmla="*/ 890269 h 1516471"/>
                <a:gd name="connsiteX4" fmla="*/ 652033 w 978649"/>
                <a:gd name="connsiteY4" fmla="*/ 1516471 h 1516471"/>
                <a:gd name="connsiteX0" fmla="*/ 194053 w 984485"/>
                <a:gd name="connsiteY0" fmla="*/ 1489530 h 1516471"/>
                <a:gd name="connsiteX1" fmla="*/ 7205 w 984485"/>
                <a:gd name="connsiteY1" fmla="*/ 966725 h 1516471"/>
                <a:gd name="connsiteX2" fmla="*/ 444171 w 984485"/>
                <a:gd name="connsiteY2" fmla="*/ 21451 h 1516471"/>
                <a:gd name="connsiteX3" fmla="*/ 973070 w 984485"/>
                <a:gd name="connsiteY3" fmla="*/ 890269 h 1516471"/>
                <a:gd name="connsiteX4" fmla="*/ 657869 w 984485"/>
                <a:gd name="connsiteY4" fmla="*/ 1516471 h 1516471"/>
                <a:gd name="connsiteX0" fmla="*/ 194054 w 983258"/>
                <a:gd name="connsiteY0" fmla="*/ 1489530 h 1489530"/>
                <a:gd name="connsiteX1" fmla="*/ 7206 w 983258"/>
                <a:gd name="connsiteY1" fmla="*/ 966725 h 1489530"/>
                <a:gd name="connsiteX2" fmla="*/ 444172 w 983258"/>
                <a:gd name="connsiteY2" fmla="*/ 21451 h 1489530"/>
                <a:gd name="connsiteX3" fmla="*/ 973071 w 983258"/>
                <a:gd name="connsiteY3" fmla="*/ 890269 h 1489530"/>
                <a:gd name="connsiteX4" fmla="*/ 632240 w 983258"/>
                <a:gd name="connsiteY4" fmla="*/ 1489530 h 1489530"/>
                <a:gd name="connsiteX0" fmla="*/ 194054 w 958856"/>
                <a:gd name="connsiteY0" fmla="*/ 1468401 h 1468401"/>
                <a:gd name="connsiteX1" fmla="*/ 7206 w 958856"/>
                <a:gd name="connsiteY1" fmla="*/ 945596 h 1468401"/>
                <a:gd name="connsiteX2" fmla="*/ 444172 w 958856"/>
                <a:gd name="connsiteY2" fmla="*/ 322 h 1468401"/>
                <a:gd name="connsiteX3" fmla="*/ 947441 w 958856"/>
                <a:gd name="connsiteY3" fmla="*/ 847587 h 1468401"/>
                <a:gd name="connsiteX4" fmla="*/ 632240 w 958856"/>
                <a:gd name="connsiteY4" fmla="*/ 1468401 h 1468401"/>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466 h 1473466"/>
                <a:gd name="connsiteX1" fmla="*/ 6054 w 957704"/>
                <a:gd name="connsiteY1" fmla="*/ 950661 h 1473466"/>
                <a:gd name="connsiteX2" fmla="*/ 417391 w 957704"/>
                <a:gd name="connsiteY2" fmla="*/ -1 h 1473466"/>
                <a:gd name="connsiteX3" fmla="*/ 946289 w 957704"/>
                <a:gd name="connsiteY3" fmla="*/ 852652 h 1473466"/>
                <a:gd name="connsiteX4" fmla="*/ 631088 w 957704"/>
                <a:gd name="connsiteY4" fmla="*/ 1473466 h 1473466"/>
                <a:gd name="connsiteX0" fmla="*/ 192902 w 943205"/>
                <a:gd name="connsiteY0" fmla="*/ 1473467 h 1473467"/>
                <a:gd name="connsiteX1" fmla="*/ 6054 w 943205"/>
                <a:gd name="connsiteY1" fmla="*/ 950662 h 1473467"/>
                <a:gd name="connsiteX2" fmla="*/ 417391 w 943205"/>
                <a:gd name="connsiteY2" fmla="*/ 0 h 1473467"/>
                <a:gd name="connsiteX3" fmla="*/ 930912 w 943205"/>
                <a:gd name="connsiteY3" fmla="*/ 852653 h 1473467"/>
                <a:gd name="connsiteX4" fmla="*/ 631088 w 943205"/>
                <a:gd name="connsiteY4" fmla="*/ 1473467 h 1473467"/>
                <a:gd name="connsiteX0" fmla="*/ 190405 w 940708"/>
                <a:gd name="connsiteY0" fmla="*/ 1495020 h 1495020"/>
                <a:gd name="connsiteX1" fmla="*/ 3557 w 940708"/>
                <a:gd name="connsiteY1" fmla="*/ 972215 h 1495020"/>
                <a:gd name="connsiteX2" fmla="*/ 353382 w 940708"/>
                <a:gd name="connsiteY2" fmla="*/ 0 h 1495020"/>
                <a:gd name="connsiteX3" fmla="*/ 928415 w 940708"/>
                <a:gd name="connsiteY3" fmla="*/ 874206 h 1495020"/>
                <a:gd name="connsiteX4" fmla="*/ 628591 w 940708"/>
                <a:gd name="connsiteY4" fmla="*/ 1495020 h 1495020"/>
                <a:gd name="connsiteX0" fmla="*/ 281357 w 1031660"/>
                <a:gd name="connsiteY0" fmla="*/ 1495020 h 1495020"/>
                <a:gd name="connsiteX1" fmla="*/ 2242 w 1031660"/>
                <a:gd name="connsiteY1" fmla="*/ 934498 h 1495020"/>
                <a:gd name="connsiteX2" fmla="*/ 444334 w 1031660"/>
                <a:gd name="connsiteY2" fmla="*/ 0 h 1495020"/>
                <a:gd name="connsiteX3" fmla="*/ 1019367 w 1031660"/>
                <a:gd name="connsiteY3" fmla="*/ 874206 h 1495020"/>
                <a:gd name="connsiteX4" fmla="*/ 719543 w 1031660"/>
                <a:gd name="connsiteY4" fmla="*/ 1495020 h 1495020"/>
                <a:gd name="connsiteX0" fmla="*/ 280647 w 1030950"/>
                <a:gd name="connsiteY0" fmla="*/ 1495020 h 1495020"/>
                <a:gd name="connsiteX1" fmla="*/ 1532 w 1030950"/>
                <a:gd name="connsiteY1" fmla="*/ 934498 h 1495020"/>
                <a:gd name="connsiteX2" fmla="*/ 443624 w 1030950"/>
                <a:gd name="connsiteY2" fmla="*/ 0 h 1495020"/>
                <a:gd name="connsiteX3" fmla="*/ 1018657 w 1030950"/>
                <a:gd name="connsiteY3" fmla="*/ 874206 h 1495020"/>
                <a:gd name="connsiteX4" fmla="*/ 718833 w 1030950"/>
                <a:gd name="connsiteY4" fmla="*/ 1495020 h 1495020"/>
                <a:gd name="connsiteX0" fmla="*/ 298745 w 1031106"/>
                <a:gd name="connsiteY0" fmla="*/ 1503102 h 1503102"/>
                <a:gd name="connsiteX1" fmla="*/ 1688 w 1031106"/>
                <a:gd name="connsiteY1" fmla="*/ 934498 h 1503102"/>
                <a:gd name="connsiteX2" fmla="*/ 443780 w 1031106"/>
                <a:gd name="connsiteY2" fmla="*/ 0 h 1503102"/>
                <a:gd name="connsiteX3" fmla="*/ 1018813 w 1031106"/>
                <a:gd name="connsiteY3" fmla="*/ 874206 h 1503102"/>
                <a:gd name="connsiteX4" fmla="*/ 718989 w 1031106"/>
                <a:gd name="connsiteY4" fmla="*/ 1495020 h 1503102"/>
                <a:gd name="connsiteX0" fmla="*/ 299147 w 1031508"/>
                <a:gd name="connsiteY0" fmla="*/ 1503102 h 1503102"/>
                <a:gd name="connsiteX1" fmla="*/ 2090 w 1031508"/>
                <a:gd name="connsiteY1" fmla="*/ 934498 h 1503102"/>
                <a:gd name="connsiteX2" fmla="*/ 444182 w 1031508"/>
                <a:gd name="connsiteY2" fmla="*/ 0 h 1503102"/>
                <a:gd name="connsiteX3" fmla="*/ 1019215 w 1031508"/>
                <a:gd name="connsiteY3" fmla="*/ 874206 h 1503102"/>
                <a:gd name="connsiteX4" fmla="*/ 719391 w 1031508"/>
                <a:gd name="connsiteY4" fmla="*/ 1495020 h 1503102"/>
                <a:gd name="connsiteX0" fmla="*/ 301686 w 1034047"/>
                <a:gd name="connsiteY0" fmla="*/ 1503102 h 1503102"/>
                <a:gd name="connsiteX1" fmla="*/ 2065 w 1034047"/>
                <a:gd name="connsiteY1" fmla="*/ 972215 h 1503102"/>
                <a:gd name="connsiteX2" fmla="*/ 446721 w 1034047"/>
                <a:gd name="connsiteY2" fmla="*/ 0 h 1503102"/>
                <a:gd name="connsiteX3" fmla="*/ 1021754 w 1034047"/>
                <a:gd name="connsiteY3" fmla="*/ 874206 h 1503102"/>
                <a:gd name="connsiteX4" fmla="*/ 721930 w 1034047"/>
                <a:gd name="connsiteY4" fmla="*/ 1495020 h 1503102"/>
                <a:gd name="connsiteX0" fmla="*/ 316925 w 1049286"/>
                <a:gd name="connsiteY0" fmla="*/ 1503102 h 1503102"/>
                <a:gd name="connsiteX1" fmla="*/ 1926 w 1049286"/>
                <a:gd name="connsiteY1" fmla="*/ 988380 h 1503102"/>
                <a:gd name="connsiteX2" fmla="*/ 461960 w 1049286"/>
                <a:gd name="connsiteY2" fmla="*/ 0 h 1503102"/>
                <a:gd name="connsiteX3" fmla="*/ 1036993 w 1049286"/>
                <a:gd name="connsiteY3" fmla="*/ 874206 h 1503102"/>
                <a:gd name="connsiteX4" fmla="*/ 737169 w 1049286"/>
                <a:gd name="connsiteY4" fmla="*/ 1495020 h 1503102"/>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936" h="1434920">
                  <a:moveTo>
                    <a:pt x="316575" y="1434920"/>
                  </a:moveTo>
                  <a:cubicBezTo>
                    <a:pt x="186127" y="1313356"/>
                    <a:pt x="-20068" y="1159351"/>
                    <a:pt x="1576" y="920198"/>
                  </a:cubicBezTo>
                  <a:cubicBezTo>
                    <a:pt x="23220" y="681045"/>
                    <a:pt x="453766" y="420451"/>
                    <a:pt x="446440" y="0"/>
                  </a:cubicBezTo>
                  <a:cubicBezTo>
                    <a:pt x="674910" y="255427"/>
                    <a:pt x="981377" y="551466"/>
                    <a:pt x="1036643" y="806024"/>
                  </a:cubicBezTo>
                  <a:cubicBezTo>
                    <a:pt x="1091909" y="1060582"/>
                    <a:pt x="955371" y="1227545"/>
                    <a:pt x="736819" y="1426838"/>
                  </a:cubicBezTo>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26" name="Freeform 68">
              <a:extLst>
                <a:ext uri="{FF2B5EF4-FFF2-40B4-BE49-F238E27FC236}">
                  <a16:creationId xmlns:a16="http://schemas.microsoft.com/office/drawing/2014/main" id="{4967FC26-22AC-4D4C-85FA-D15BF0A92502}"/>
                </a:ext>
              </a:extLst>
            </p:cNvPr>
            <p:cNvSpPr/>
            <p:nvPr/>
          </p:nvSpPr>
          <p:spPr bwMode="gray">
            <a:xfrm>
              <a:off x="-886112" y="3346900"/>
              <a:ext cx="408180" cy="466865"/>
            </a:xfrm>
            <a:custGeom>
              <a:avLst/>
              <a:gdLst>
                <a:gd name="connsiteX0" fmla="*/ 312344 w 730519"/>
                <a:gd name="connsiteY0" fmla="*/ 1257698 h 1257698"/>
                <a:gd name="connsiteX1" fmla="*/ 845 w 730519"/>
                <a:gd name="connsiteY1" fmla="*/ 745232 h 1257698"/>
                <a:gd name="connsiteX2" fmla="*/ 221909 w 730519"/>
                <a:gd name="connsiteY2" fmla="*/ 443782 h 1257698"/>
                <a:gd name="connsiteX3" fmla="*/ 272151 w 730519"/>
                <a:gd name="connsiteY3" fmla="*/ 1654 h 1257698"/>
                <a:gd name="connsiteX4" fmla="*/ 724326 w 730519"/>
                <a:gd name="connsiteY4" fmla="*/ 614604 h 1257698"/>
                <a:gd name="connsiteX5" fmla="*/ 493214 w 730519"/>
                <a:gd name="connsiteY5" fmla="*/ 1257698 h 1257698"/>
                <a:gd name="connsiteX0" fmla="*/ 236291 w 654466"/>
                <a:gd name="connsiteY0" fmla="*/ 1257760 h 1257760"/>
                <a:gd name="connsiteX1" fmla="*/ 1236 w 654466"/>
                <a:gd name="connsiteY1" fmla="*/ 826117 h 1257760"/>
                <a:gd name="connsiteX2" fmla="*/ 145856 w 654466"/>
                <a:gd name="connsiteY2" fmla="*/ 443844 h 1257760"/>
                <a:gd name="connsiteX3" fmla="*/ 196098 w 654466"/>
                <a:gd name="connsiteY3" fmla="*/ 1716 h 1257760"/>
                <a:gd name="connsiteX4" fmla="*/ 648273 w 654466"/>
                <a:gd name="connsiteY4" fmla="*/ 614666 h 1257760"/>
                <a:gd name="connsiteX5" fmla="*/ 417161 w 654466"/>
                <a:gd name="connsiteY5" fmla="*/ 1257760 h 1257760"/>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2938 h 1212938"/>
                <a:gd name="connsiteX1" fmla="*/ 1566 w 654796"/>
                <a:gd name="connsiteY1" fmla="*/ 781295 h 1212938"/>
                <a:gd name="connsiteX2" fmla="*/ 146186 w 654796"/>
                <a:gd name="connsiteY2" fmla="*/ 399022 h 1212938"/>
                <a:gd name="connsiteX3" fmla="*/ 376615 w 654796"/>
                <a:gd name="connsiteY3" fmla="*/ -1 h 1212938"/>
                <a:gd name="connsiteX4" fmla="*/ 648603 w 654796"/>
                <a:gd name="connsiteY4" fmla="*/ 569844 h 1212938"/>
                <a:gd name="connsiteX5" fmla="*/ 417491 w 654796"/>
                <a:gd name="connsiteY5" fmla="*/ 1212938 h 1212938"/>
                <a:gd name="connsiteX0" fmla="*/ 236621 w 654796"/>
                <a:gd name="connsiteY0" fmla="*/ 1212939 h 1212939"/>
                <a:gd name="connsiteX1" fmla="*/ 1566 w 654796"/>
                <a:gd name="connsiteY1" fmla="*/ 781296 h 1212939"/>
                <a:gd name="connsiteX2" fmla="*/ 146186 w 654796"/>
                <a:gd name="connsiteY2" fmla="*/ 399023 h 1212939"/>
                <a:gd name="connsiteX3" fmla="*/ 376615 w 654796"/>
                <a:gd name="connsiteY3" fmla="*/ 0 h 1212939"/>
                <a:gd name="connsiteX4" fmla="*/ 648603 w 654796"/>
                <a:gd name="connsiteY4" fmla="*/ 569845 h 1212939"/>
                <a:gd name="connsiteX5" fmla="*/ 417491 w 654796"/>
                <a:gd name="connsiteY5" fmla="*/ 1212939 h 1212939"/>
                <a:gd name="connsiteX0" fmla="*/ 236621 w 691880"/>
                <a:gd name="connsiteY0" fmla="*/ 1212939 h 1212939"/>
                <a:gd name="connsiteX1" fmla="*/ 1566 w 691880"/>
                <a:gd name="connsiteY1" fmla="*/ 781296 h 1212939"/>
                <a:gd name="connsiteX2" fmla="*/ 146186 w 691880"/>
                <a:gd name="connsiteY2" fmla="*/ 399023 h 1212939"/>
                <a:gd name="connsiteX3" fmla="*/ 376615 w 691880"/>
                <a:gd name="connsiteY3" fmla="*/ 0 h 1212939"/>
                <a:gd name="connsiteX4" fmla="*/ 686825 w 691880"/>
                <a:gd name="connsiteY4" fmla="*/ 666832 h 1212939"/>
                <a:gd name="connsiteX5" fmla="*/ 417491 w 691880"/>
                <a:gd name="connsiteY5" fmla="*/ 1212939 h 1212939"/>
                <a:gd name="connsiteX0" fmla="*/ 236621 w 701317"/>
                <a:gd name="connsiteY0" fmla="*/ 1212939 h 1212939"/>
                <a:gd name="connsiteX1" fmla="*/ 1566 w 701317"/>
                <a:gd name="connsiteY1" fmla="*/ 781296 h 1212939"/>
                <a:gd name="connsiteX2" fmla="*/ 146186 w 701317"/>
                <a:gd name="connsiteY2" fmla="*/ 399023 h 1212939"/>
                <a:gd name="connsiteX3" fmla="*/ 376615 w 701317"/>
                <a:gd name="connsiteY3" fmla="*/ 0 h 1212939"/>
                <a:gd name="connsiteX4" fmla="*/ 686825 w 701317"/>
                <a:gd name="connsiteY4" fmla="*/ 666832 h 1212939"/>
                <a:gd name="connsiteX5" fmla="*/ 559456 w 701317"/>
                <a:gd name="connsiteY5" fmla="*/ 1185998 h 1212939"/>
                <a:gd name="connsiteX0" fmla="*/ 236621 w 739946"/>
                <a:gd name="connsiteY0" fmla="*/ 1212939 h 1212939"/>
                <a:gd name="connsiteX1" fmla="*/ 1566 w 739946"/>
                <a:gd name="connsiteY1" fmla="*/ 781296 h 1212939"/>
                <a:gd name="connsiteX2" fmla="*/ 146186 w 739946"/>
                <a:gd name="connsiteY2" fmla="*/ 399023 h 1212939"/>
                <a:gd name="connsiteX3" fmla="*/ 376615 w 739946"/>
                <a:gd name="connsiteY3" fmla="*/ 0 h 1212939"/>
                <a:gd name="connsiteX4" fmla="*/ 730507 w 739946"/>
                <a:gd name="connsiteY4" fmla="*/ 634503 h 1212939"/>
                <a:gd name="connsiteX5" fmla="*/ 559456 w 739946"/>
                <a:gd name="connsiteY5" fmla="*/ 1185998 h 1212939"/>
                <a:gd name="connsiteX0" fmla="*/ 236572 w 739897"/>
                <a:gd name="connsiteY0" fmla="*/ 1164445 h 1164445"/>
                <a:gd name="connsiteX1" fmla="*/ 1517 w 739897"/>
                <a:gd name="connsiteY1" fmla="*/ 732802 h 1164445"/>
                <a:gd name="connsiteX2" fmla="*/ 146137 w 739897"/>
                <a:gd name="connsiteY2" fmla="*/ 350529 h 1164445"/>
                <a:gd name="connsiteX3" fmla="*/ 354725 w 739897"/>
                <a:gd name="connsiteY3" fmla="*/ 0 h 1164445"/>
                <a:gd name="connsiteX4" fmla="*/ 730458 w 739897"/>
                <a:gd name="connsiteY4" fmla="*/ 586009 h 1164445"/>
                <a:gd name="connsiteX5" fmla="*/ 559407 w 739897"/>
                <a:gd name="connsiteY5"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42766 w 746091"/>
                <a:gd name="connsiteY0" fmla="*/ 1164445 h 1164445"/>
                <a:gd name="connsiteX1" fmla="*/ 2250 w 746091"/>
                <a:gd name="connsiteY1" fmla="*/ 700472 h 1164445"/>
                <a:gd name="connsiteX2" fmla="*/ 360919 w 746091"/>
                <a:gd name="connsiteY2" fmla="*/ 0 h 1164445"/>
                <a:gd name="connsiteX3" fmla="*/ 736652 w 746091"/>
                <a:gd name="connsiteY3" fmla="*/ 586009 h 1164445"/>
                <a:gd name="connsiteX4" fmla="*/ 565601 w 746091"/>
                <a:gd name="connsiteY4" fmla="*/ 1137504 h 1164445"/>
                <a:gd name="connsiteX0" fmla="*/ 182965 w 751812"/>
                <a:gd name="connsiteY0" fmla="*/ 1148280 h 1148280"/>
                <a:gd name="connsiteX1" fmla="*/ 7971 w 751812"/>
                <a:gd name="connsiteY1" fmla="*/ 700472 h 1148280"/>
                <a:gd name="connsiteX2" fmla="*/ 366640 w 751812"/>
                <a:gd name="connsiteY2" fmla="*/ 0 h 1148280"/>
                <a:gd name="connsiteX3" fmla="*/ 742373 w 751812"/>
                <a:gd name="connsiteY3" fmla="*/ 586009 h 1148280"/>
                <a:gd name="connsiteX4" fmla="*/ 571322 w 751812"/>
                <a:gd name="connsiteY4" fmla="*/ 1137504 h 1148280"/>
                <a:gd name="connsiteX0" fmla="*/ 205889 w 748841"/>
                <a:gd name="connsiteY0" fmla="*/ 1142892 h 1142892"/>
                <a:gd name="connsiteX1" fmla="*/ 5000 w 748841"/>
                <a:gd name="connsiteY1" fmla="*/ 700472 h 1142892"/>
                <a:gd name="connsiteX2" fmla="*/ 363669 w 748841"/>
                <a:gd name="connsiteY2" fmla="*/ 0 h 1142892"/>
                <a:gd name="connsiteX3" fmla="*/ 739402 w 748841"/>
                <a:gd name="connsiteY3" fmla="*/ 586009 h 1142892"/>
                <a:gd name="connsiteX4" fmla="*/ 568351 w 748841"/>
                <a:gd name="connsiteY4" fmla="*/ 1137504 h 1142892"/>
                <a:gd name="connsiteX0" fmla="*/ 187451 w 751119"/>
                <a:gd name="connsiteY0" fmla="*/ 1142892 h 1142892"/>
                <a:gd name="connsiteX1" fmla="*/ 7278 w 751119"/>
                <a:gd name="connsiteY1" fmla="*/ 700472 h 1142892"/>
                <a:gd name="connsiteX2" fmla="*/ 365947 w 751119"/>
                <a:gd name="connsiteY2" fmla="*/ 0 h 1142892"/>
                <a:gd name="connsiteX3" fmla="*/ 741680 w 751119"/>
                <a:gd name="connsiteY3" fmla="*/ 586009 h 1142892"/>
                <a:gd name="connsiteX4" fmla="*/ 570629 w 751119"/>
                <a:gd name="connsiteY4" fmla="*/ 1137504 h 1142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119" h="1142892">
                  <a:moveTo>
                    <a:pt x="187451" y="1142892"/>
                  </a:moveTo>
                  <a:cubicBezTo>
                    <a:pt x="39237" y="954485"/>
                    <a:pt x="-22471" y="890954"/>
                    <a:pt x="7278" y="700472"/>
                  </a:cubicBezTo>
                  <a:cubicBezTo>
                    <a:pt x="37027" y="509990"/>
                    <a:pt x="320900" y="272324"/>
                    <a:pt x="365947" y="0"/>
                  </a:cubicBezTo>
                  <a:cubicBezTo>
                    <a:pt x="504285" y="195504"/>
                    <a:pt x="704836" y="376668"/>
                    <a:pt x="741680" y="586009"/>
                  </a:cubicBezTo>
                  <a:cubicBezTo>
                    <a:pt x="778524" y="795350"/>
                    <a:pt x="704607" y="920627"/>
                    <a:pt x="570629" y="1137504"/>
                  </a:cubicBezTo>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27" name="Freeform 69">
              <a:extLst>
                <a:ext uri="{FF2B5EF4-FFF2-40B4-BE49-F238E27FC236}">
                  <a16:creationId xmlns:a16="http://schemas.microsoft.com/office/drawing/2014/main" id="{CD7522A2-D00E-4ABE-9775-5188CD977C42}"/>
                </a:ext>
              </a:extLst>
            </p:cNvPr>
            <p:cNvSpPr/>
            <p:nvPr/>
          </p:nvSpPr>
          <p:spPr bwMode="gray">
            <a:xfrm>
              <a:off x="-820606" y="3535648"/>
              <a:ext cx="273691" cy="278112"/>
            </a:xfrm>
            <a:custGeom>
              <a:avLst/>
              <a:gdLst>
                <a:gd name="connsiteX0" fmla="*/ 95316 w 319358"/>
                <a:gd name="connsiteY0" fmla="*/ 870562 h 870562"/>
                <a:gd name="connsiteX1" fmla="*/ 66 w 319358"/>
                <a:gd name="connsiteY1" fmla="*/ 483212 h 870562"/>
                <a:gd name="connsiteX2" fmla="*/ 108016 w 319358"/>
                <a:gd name="connsiteY2" fmla="*/ 324462 h 870562"/>
                <a:gd name="connsiteX3" fmla="*/ 165166 w 319358"/>
                <a:gd name="connsiteY3" fmla="*/ 612 h 870562"/>
                <a:gd name="connsiteX4" fmla="*/ 317566 w 319358"/>
                <a:gd name="connsiteY4" fmla="*/ 413362 h 870562"/>
                <a:gd name="connsiteX5" fmla="*/ 235016 w 319358"/>
                <a:gd name="connsiteY5" fmla="*/ 864212 h 870562"/>
                <a:gd name="connsiteX0" fmla="*/ 95316 w 342347"/>
                <a:gd name="connsiteY0" fmla="*/ 870562 h 870562"/>
                <a:gd name="connsiteX1" fmla="*/ 66 w 342347"/>
                <a:gd name="connsiteY1" fmla="*/ 483212 h 870562"/>
                <a:gd name="connsiteX2" fmla="*/ 108016 w 342347"/>
                <a:gd name="connsiteY2" fmla="*/ 324462 h 870562"/>
                <a:gd name="connsiteX3" fmla="*/ 165166 w 342347"/>
                <a:gd name="connsiteY3" fmla="*/ 612 h 870562"/>
                <a:gd name="connsiteX4" fmla="*/ 317566 w 342347"/>
                <a:gd name="connsiteY4" fmla="*/ 413362 h 870562"/>
                <a:gd name="connsiteX5" fmla="*/ 319044 w 342347"/>
                <a:gd name="connsiteY5" fmla="*/ 842659 h 870562"/>
                <a:gd name="connsiteX0" fmla="*/ 95316 w 371927"/>
                <a:gd name="connsiteY0" fmla="*/ 870562 h 870562"/>
                <a:gd name="connsiteX1" fmla="*/ 66 w 371927"/>
                <a:gd name="connsiteY1" fmla="*/ 483212 h 870562"/>
                <a:gd name="connsiteX2" fmla="*/ 108016 w 371927"/>
                <a:gd name="connsiteY2" fmla="*/ 324462 h 870562"/>
                <a:gd name="connsiteX3" fmla="*/ 165166 w 371927"/>
                <a:gd name="connsiteY3" fmla="*/ 612 h 870562"/>
                <a:gd name="connsiteX4" fmla="*/ 367982 w 371927"/>
                <a:gd name="connsiteY4" fmla="*/ 413363 h 870562"/>
                <a:gd name="connsiteX5" fmla="*/ 319044 w 371927"/>
                <a:gd name="connsiteY5" fmla="*/ 842659 h 870562"/>
                <a:gd name="connsiteX0" fmla="*/ 95316 w 371927"/>
                <a:gd name="connsiteY0" fmla="*/ 827551 h 827551"/>
                <a:gd name="connsiteX1" fmla="*/ 66 w 371927"/>
                <a:gd name="connsiteY1" fmla="*/ 440201 h 827551"/>
                <a:gd name="connsiteX2" fmla="*/ 108016 w 371927"/>
                <a:gd name="connsiteY2" fmla="*/ 281451 h 827551"/>
                <a:gd name="connsiteX3" fmla="*/ 205499 w 371927"/>
                <a:gd name="connsiteY3" fmla="*/ 707 h 827551"/>
                <a:gd name="connsiteX4" fmla="*/ 367982 w 371927"/>
                <a:gd name="connsiteY4" fmla="*/ 370352 h 827551"/>
                <a:gd name="connsiteX5" fmla="*/ 319044 w 371927"/>
                <a:gd name="connsiteY5" fmla="*/ 799648 h 827551"/>
                <a:gd name="connsiteX0" fmla="*/ 98435 w 375046"/>
                <a:gd name="connsiteY0" fmla="*/ 826844 h 826844"/>
                <a:gd name="connsiteX1" fmla="*/ 3185 w 375046"/>
                <a:gd name="connsiteY1" fmla="*/ 439494 h 826844"/>
                <a:gd name="connsiteX2" fmla="*/ 208618 w 375046"/>
                <a:gd name="connsiteY2" fmla="*/ 0 h 826844"/>
                <a:gd name="connsiteX3" fmla="*/ 371101 w 375046"/>
                <a:gd name="connsiteY3" fmla="*/ 369645 h 826844"/>
                <a:gd name="connsiteX4" fmla="*/ 322163 w 375046"/>
                <a:gd name="connsiteY4" fmla="*/ 798941 h 826844"/>
                <a:gd name="connsiteX0" fmla="*/ 47224 w 323835"/>
                <a:gd name="connsiteY0" fmla="*/ 826845 h 826845"/>
                <a:gd name="connsiteX1" fmla="*/ 9112 w 323835"/>
                <a:gd name="connsiteY1" fmla="*/ 374836 h 826845"/>
                <a:gd name="connsiteX2" fmla="*/ 157407 w 323835"/>
                <a:gd name="connsiteY2" fmla="*/ 1 h 826845"/>
                <a:gd name="connsiteX3" fmla="*/ 319890 w 323835"/>
                <a:gd name="connsiteY3" fmla="*/ 369646 h 826845"/>
                <a:gd name="connsiteX4" fmla="*/ 270952 w 323835"/>
                <a:gd name="connsiteY4" fmla="*/ 798942 h 826845"/>
                <a:gd name="connsiteX0" fmla="*/ 48467 w 325078"/>
                <a:gd name="connsiteY0" fmla="*/ 810682 h 810682"/>
                <a:gd name="connsiteX1" fmla="*/ 10355 w 325078"/>
                <a:gd name="connsiteY1" fmla="*/ 358673 h 810682"/>
                <a:gd name="connsiteX2" fmla="*/ 175456 w 325078"/>
                <a:gd name="connsiteY2" fmla="*/ 3 h 810682"/>
                <a:gd name="connsiteX3" fmla="*/ 321133 w 325078"/>
                <a:gd name="connsiteY3" fmla="*/ 353483 h 810682"/>
                <a:gd name="connsiteX4" fmla="*/ 272195 w 325078"/>
                <a:gd name="connsiteY4" fmla="*/ 782779 h 810682"/>
                <a:gd name="connsiteX0" fmla="*/ 55744 w 322272"/>
                <a:gd name="connsiteY0" fmla="*/ 805294 h 805294"/>
                <a:gd name="connsiteX1" fmla="*/ 7549 w 322272"/>
                <a:gd name="connsiteY1" fmla="*/ 358673 h 805294"/>
                <a:gd name="connsiteX2" fmla="*/ 172650 w 322272"/>
                <a:gd name="connsiteY2" fmla="*/ 3 h 805294"/>
                <a:gd name="connsiteX3" fmla="*/ 318327 w 322272"/>
                <a:gd name="connsiteY3" fmla="*/ 353483 h 805294"/>
                <a:gd name="connsiteX4" fmla="*/ 269389 w 322272"/>
                <a:gd name="connsiteY4" fmla="*/ 782779 h 805294"/>
                <a:gd name="connsiteX0" fmla="*/ 55744 w 321540"/>
                <a:gd name="connsiteY0" fmla="*/ 805294 h 805294"/>
                <a:gd name="connsiteX1" fmla="*/ 7549 w 321540"/>
                <a:gd name="connsiteY1" fmla="*/ 358673 h 805294"/>
                <a:gd name="connsiteX2" fmla="*/ 172650 w 321540"/>
                <a:gd name="connsiteY2" fmla="*/ 3 h 805294"/>
                <a:gd name="connsiteX3" fmla="*/ 318327 w 321540"/>
                <a:gd name="connsiteY3" fmla="*/ 353483 h 805294"/>
                <a:gd name="connsiteX4" fmla="*/ 262564 w 321540"/>
                <a:gd name="connsiteY4" fmla="*/ 798944 h 805294"/>
                <a:gd name="connsiteX0" fmla="*/ 55744 w 321540"/>
                <a:gd name="connsiteY0" fmla="*/ 789129 h 798944"/>
                <a:gd name="connsiteX1" fmla="*/ 7549 w 321540"/>
                <a:gd name="connsiteY1" fmla="*/ 358673 h 798944"/>
                <a:gd name="connsiteX2" fmla="*/ 172650 w 321540"/>
                <a:gd name="connsiteY2" fmla="*/ 3 h 798944"/>
                <a:gd name="connsiteX3" fmla="*/ 318327 w 321540"/>
                <a:gd name="connsiteY3" fmla="*/ 353483 h 798944"/>
                <a:gd name="connsiteX4" fmla="*/ 262564 w 321540"/>
                <a:gd name="connsiteY4" fmla="*/ 798944 h 798944"/>
                <a:gd name="connsiteX0" fmla="*/ 55744 w 322748"/>
                <a:gd name="connsiteY0" fmla="*/ 789129 h 789129"/>
                <a:gd name="connsiteX1" fmla="*/ 7549 w 322748"/>
                <a:gd name="connsiteY1" fmla="*/ 358673 h 789129"/>
                <a:gd name="connsiteX2" fmla="*/ 172650 w 322748"/>
                <a:gd name="connsiteY2" fmla="*/ 3 h 789129"/>
                <a:gd name="connsiteX3" fmla="*/ 318327 w 322748"/>
                <a:gd name="connsiteY3" fmla="*/ 353483 h 789129"/>
                <a:gd name="connsiteX4" fmla="*/ 272801 w 322748"/>
                <a:gd name="connsiteY4" fmla="*/ 782779 h 789129"/>
                <a:gd name="connsiteX0" fmla="*/ 61546 w 328550"/>
                <a:gd name="connsiteY0" fmla="*/ 789600 h 789600"/>
                <a:gd name="connsiteX1" fmla="*/ 6527 w 328550"/>
                <a:gd name="connsiteY1" fmla="*/ 426496 h 789600"/>
                <a:gd name="connsiteX2" fmla="*/ 178452 w 328550"/>
                <a:gd name="connsiteY2" fmla="*/ 474 h 789600"/>
                <a:gd name="connsiteX3" fmla="*/ 324129 w 328550"/>
                <a:gd name="connsiteY3" fmla="*/ 353954 h 789600"/>
                <a:gd name="connsiteX4" fmla="*/ 278603 w 328550"/>
                <a:gd name="connsiteY4" fmla="*/ 783250 h 789600"/>
                <a:gd name="connsiteX0" fmla="*/ 61546 w 331487"/>
                <a:gd name="connsiteY0" fmla="*/ 789171 h 789171"/>
                <a:gd name="connsiteX1" fmla="*/ 6527 w 331487"/>
                <a:gd name="connsiteY1" fmla="*/ 426067 h 789171"/>
                <a:gd name="connsiteX2" fmla="*/ 178452 w 331487"/>
                <a:gd name="connsiteY2" fmla="*/ 45 h 789171"/>
                <a:gd name="connsiteX3" fmla="*/ 327542 w 331487"/>
                <a:gd name="connsiteY3" fmla="*/ 402018 h 789171"/>
                <a:gd name="connsiteX4" fmla="*/ 278603 w 331487"/>
                <a:gd name="connsiteY4" fmla="*/ 782821 h 789171"/>
                <a:gd name="connsiteX0" fmla="*/ 61895 w 331836"/>
                <a:gd name="connsiteY0" fmla="*/ 724528 h 724528"/>
                <a:gd name="connsiteX1" fmla="*/ 6876 w 331836"/>
                <a:gd name="connsiteY1" fmla="*/ 361424 h 724528"/>
                <a:gd name="connsiteX2" fmla="*/ 183919 w 331836"/>
                <a:gd name="connsiteY2" fmla="*/ 61 h 724528"/>
                <a:gd name="connsiteX3" fmla="*/ 327891 w 331836"/>
                <a:gd name="connsiteY3" fmla="*/ 337375 h 724528"/>
                <a:gd name="connsiteX4" fmla="*/ 278952 w 331836"/>
                <a:gd name="connsiteY4" fmla="*/ 718178 h 72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36" h="724528">
                  <a:moveTo>
                    <a:pt x="61895" y="724528"/>
                  </a:moveTo>
                  <a:cubicBezTo>
                    <a:pt x="13211" y="576361"/>
                    <a:pt x="-13461" y="482169"/>
                    <a:pt x="6876" y="361424"/>
                  </a:cubicBezTo>
                  <a:cubicBezTo>
                    <a:pt x="27213" y="240680"/>
                    <a:pt x="130417" y="4069"/>
                    <a:pt x="183919" y="61"/>
                  </a:cubicBezTo>
                  <a:cubicBezTo>
                    <a:pt x="237422" y="-3947"/>
                    <a:pt x="316249" y="193442"/>
                    <a:pt x="327891" y="337375"/>
                  </a:cubicBezTo>
                  <a:cubicBezTo>
                    <a:pt x="339533" y="481308"/>
                    <a:pt x="326048" y="564719"/>
                    <a:pt x="278952" y="718178"/>
                  </a:cubicBezTo>
                </a:path>
              </a:pathLst>
            </a:cu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nvGrpSpPr>
          <p:cNvPr id="128" name="Group 127">
            <a:extLst>
              <a:ext uri="{FF2B5EF4-FFF2-40B4-BE49-F238E27FC236}">
                <a16:creationId xmlns:a16="http://schemas.microsoft.com/office/drawing/2014/main" id="{057CFB9F-C721-4836-897B-D1D67225ABA0}"/>
              </a:ext>
            </a:extLst>
          </p:cNvPr>
          <p:cNvGrpSpPr/>
          <p:nvPr/>
        </p:nvGrpSpPr>
        <p:grpSpPr bwMode="gray">
          <a:xfrm>
            <a:off x="6463025" y="5668489"/>
            <a:ext cx="369623" cy="113826"/>
            <a:chOff x="5561561" y="3580012"/>
            <a:chExt cx="1068879" cy="329166"/>
          </a:xfrm>
          <a:noFill/>
        </p:grpSpPr>
        <p:sp>
          <p:nvSpPr>
            <p:cNvPr id="129" name="Oval 128">
              <a:extLst>
                <a:ext uri="{FF2B5EF4-FFF2-40B4-BE49-F238E27FC236}">
                  <a16:creationId xmlns:a16="http://schemas.microsoft.com/office/drawing/2014/main" id="{4D3F8AD8-F2E6-4C52-8947-6F57760D076A}"/>
                </a:ext>
              </a:extLst>
            </p:cNvPr>
            <p:cNvSpPr/>
            <p:nvPr/>
          </p:nvSpPr>
          <p:spPr bwMode="gray">
            <a:xfrm>
              <a:off x="5561561"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30" name="Oval 129">
              <a:extLst>
                <a:ext uri="{FF2B5EF4-FFF2-40B4-BE49-F238E27FC236}">
                  <a16:creationId xmlns:a16="http://schemas.microsoft.com/office/drawing/2014/main" id="{5E00B9C9-3B7D-464A-94D0-B2BE38D57355}"/>
                </a:ext>
              </a:extLst>
            </p:cNvPr>
            <p:cNvSpPr/>
            <p:nvPr/>
          </p:nvSpPr>
          <p:spPr bwMode="gray">
            <a:xfrm>
              <a:off x="6301274"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131" name="Straight Connector 130">
              <a:extLst>
                <a:ext uri="{FF2B5EF4-FFF2-40B4-BE49-F238E27FC236}">
                  <a16:creationId xmlns:a16="http://schemas.microsoft.com/office/drawing/2014/main" id="{BAB251B4-7386-4F2A-BB36-0A8D9126766B}"/>
                </a:ext>
              </a:extLst>
            </p:cNvPr>
            <p:cNvCxnSpPr>
              <a:stCxn id="129" idx="6"/>
              <a:endCxn id="130" idx="2"/>
            </p:cNvCxnSpPr>
            <p:nvPr/>
          </p:nvCxnSpPr>
          <p:spPr bwMode="gray">
            <a:xfrm>
              <a:off x="5890727" y="3744595"/>
              <a:ext cx="410547" cy="0"/>
            </a:xfrm>
            <a:prstGeom prst="line">
              <a:avLst/>
            </a:prstGeom>
            <a:grpFill/>
            <a:ln w="12700">
              <a:solidFill>
                <a:schemeClr val="bg2"/>
              </a:solidFill>
              <a:prstDash val="solid"/>
              <a:round/>
              <a:headEnd/>
              <a:tailEnd/>
            </a:ln>
          </p:spPr>
        </p:cxnSp>
        <p:cxnSp>
          <p:nvCxnSpPr>
            <p:cNvPr id="132" name="Straight Connector 131">
              <a:extLst>
                <a:ext uri="{FF2B5EF4-FFF2-40B4-BE49-F238E27FC236}">
                  <a16:creationId xmlns:a16="http://schemas.microsoft.com/office/drawing/2014/main" id="{52ADF421-3428-4E1F-886F-8A3711F2DF1E}"/>
                </a:ext>
              </a:extLst>
            </p:cNvPr>
            <p:cNvCxnSpPr/>
            <p:nvPr/>
          </p:nvCxnSpPr>
          <p:spPr bwMode="gray">
            <a:xfrm>
              <a:off x="6062617" y="3669857"/>
              <a:ext cx="66766" cy="149477"/>
            </a:xfrm>
            <a:prstGeom prst="line">
              <a:avLst/>
            </a:prstGeom>
            <a:grpFill/>
            <a:ln w="12700">
              <a:solidFill>
                <a:schemeClr val="bg2"/>
              </a:solidFill>
              <a:prstDash val="solid"/>
              <a:round/>
              <a:headEnd/>
              <a:tailEnd/>
            </a:ln>
          </p:spPr>
        </p:cxnSp>
      </p:grpSp>
      <p:sp>
        <p:nvSpPr>
          <p:cNvPr id="133" name="Rectangle 2">
            <a:extLst>
              <a:ext uri="{FF2B5EF4-FFF2-40B4-BE49-F238E27FC236}">
                <a16:creationId xmlns:a16="http://schemas.microsoft.com/office/drawing/2014/main" id="{099A4DD0-F4D6-4F11-9331-08AEAAEB6BB9}"/>
              </a:ext>
            </a:extLst>
          </p:cNvPr>
          <p:cNvSpPr/>
          <p:nvPr/>
        </p:nvSpPr>
        <p:spPr bwMode="gray">
          <a:xfrm rot="10800000" flipH="1">
            <a:off x="6499557" y="5305718"/>
            <a:ext cx="306725" cy="173762"/>
          </a:xfrm>
          <a:custGeom>
            <a:avLst/>
            <a:gdLst/>
            <a:ahLst/>
            <a:cxnLst/>
            <a:rect l="l" t="t" r="r" b="b"/>
            <a:pathLst>
              <a:path w="420238" h="218437">
                <a:moveTo>
                  <a:pt x="0" y="218437"/>
                </a:moveTo>
                <a:lnTo>
                  <a:pt x="420238" y="218437"/>
                </a:lnTo>
                <a:lnTo>
                  <a:pt x="420238" y="0"/>
                </a:lnTo>
                <a:lnTo>
                  <a:pt x="0" y="0"/>
                </a:lnTo>
                <a:lnTo>
                  <a:pt x="0" y="49819"/>
                </a:lnTo>
                <a:lnTo>
                  <a:pt x="360926" y="49819"/>
                </a:lnTo>
                <a:lnTo>
                  <a:pt x="360926" y="168619"/>
                </a:lnTo>
                <a:lnTo>
                  <a:pt x="0" y="168619"/>
                </a:lnTo>
                <a:close/>
              </a:path>
            </a:pathLst>
          </a:custGeom>
          <a:noFill/>
          <a:ln w="12700">
            <a:solidFill>
              <a:schemeClr val="bg2"/>
            </a:solidFill>
            <a:prstDash val="sysDash"/>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3181477368"/>
      </p:ext>
    </p:extLst>
  </p:cSld>
  <p:clrMapOvr>
    <a:masterClrMapping/>
  </p:clrMapOvr>
  <mc:AlternateContent xmlns:mc="http://schemas.openxmlformats.org/markup-compatibility/2006" xmlns:p14="http://schemas.microsoft.com/office/powerpoint/2010/main">
    <mc:Choice Requires="p14">
      <p:transition spd="med" p14:dur="700" advTm="49855">
        <p:fade/>
      </p:transition>
    </mc:Choice>
    <mc:Fallback xmlns="">
      <p:transition spd="med" advTm="49855">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168447-CD78-4F8A-AB4E-AC87144E559D}"/>
              </a:ext>
            </a:extLst>
          </p:cNvPr>
          <p:cNvSpPr>
            <a:spLocks noGrp="1"/>
          </p:cNvSpPr>
          <p:nvPr>
            <p:ph type="title"/>
          </p:nvPr>
        </p:nvSpPr>
        <p:spPr bwMode="gray">
          <a:xfrm>
            <a:off x="333264" y="682313"/>
            <a:ext cx="11520000" cy="396000"/>
          </a:xfrm>
        </p:spPr>
        <p:txBody>
          <a:bodyPr/>
          <a:lstStyle/>
          <a:p>
            <a:r>
              <a:rPr lang="en-US"/>
              <a:t>Air separation</a:t>
            </a:r>
          </a:p>
        </p:txBody>
      </p:sp>
      <p:sp>
        <p:nvSpPr>
          <p:cNvPr id="7" name="Subtitle 6">
            <a:extLst>
              <a:ext uri="{FF2B5EF4-FFF2-40B4-BE49-F238E27FC236}">
                <a16:creationId xmlns:a16="http://schemas.microsoft.com/office/drawing/2014/main" id="{09CF7B58-7315-43E5-8590-7A47B8C7E10E}"/>
              </a:ext>
            </a:extLst>
          </p:cNvPr>
          <p:cNvSpPr>
            <a:spLocks noGrp="1"/>
          </p:cNvSpPr>
          <p:nvPr>
            <p:ph type="subTitle" idx="13"/>
          </p:nvPr>
        </p:nvSpPr>
        <p:spPr bwMode="gray"/>
        <p:txBody>
          <a:bodyPr/>
          <a:lstStyle/>
          <a:p>
            <a:r>
              <a:rPr lang="en-US"/>
              <a:t>Measuring points and ABB offering</a:t>
            </a:r>
          </a:p>
        </p:txBody>
      </p:sp>
      <p:graphicFrame>
        <p:nvGraphicFramePr>
          <p:cNvPr id="8" name="Group 324">
            <a:extLst>
              <a:ext uri="{FF2B5EF4-FFF2-40B4-BE49-F238E27FC236}">
                <a16:creationId xmlns:a16="http://schemas.microsoft.com/office/drawing/2014/main" id="{DC6804CB-0604-42F3-9226-1A6ADDF3BDDA}"/>
              </a:ext>
            </a:extLst>
          </p:cNvPr>
          <p:cNvGraphicFramePr>
            <a:graphicFrameLocks noGrp="1"/>
          </p:cNvGraphicFramePr>
          <p:nvPr>
            <p:ph sz="quarter" idx="4294967295"/>
            <p:extLst>
              <p:ext uri="{D42A27DB-BD31-4B8C-83A1-F6EECF244321}">
                <p14:modId xmlns:p14="http://schemas.microsoft.com/office/powerpoint/2010/main" val="3563804570"/>
              </p:ext>
            </p:extLst>
          </p:nvPr>
        </p:nvGraphicFramePr>
        <p:xfrm>
          <a:off x="333264" y="1933575"/>
          <a:ext cx="11544001" cy="3589770"/>
        </p:xfrm>
        <a:graphic>
          <a:graphicData uri="http://schemas.openxmlformats.org/drawingml/2006/table">
            <a:tbl>
              <a:tblPr/>
              <a:tblGrid>
                <a:gridCol w="324000">
                  <a:extLst>
                    <a:ext uri="{9D8B030D-6E8A-4147-A177-3AD203B41FA5}">
                      <a16:colId xmlns:a16="http://schemas.microsoft.com/office/drawing/2014/main" val="3252492988"/>
                    </a:ext>
                  </a:extLst>
                </a:gridCol>
                <a:gridCol w="899393">
                  <a:extLst>
                    <a:ext uri="{9D8B030D-6E8A-4147-A177-3AD203B41FA5}">
                      <a16:colId xmlns:a16="http://schemas.microsoft.com/office/drawing/2014/main" val="3417312483"/>
                    </a:ext>
                  </a:extLst>
                </a:gridCol>
                <a:gridCol w="2304607">
                  <a:extLst>
                    <a:ext uri="{9D8B030D-6E8A-4147-A177-3AD203B41FA5}">
                      <a16:colId xmlns:a16="http://schemas.microsoft.com/office/drawing/2014/main" val="1152078815"/>
                    </a:ext>
                  </a:extLst>
                </a:gridCol>
                <a:gridCol w="1296000">
                  <a:extLst>
                    <a:ext uri="{9D8B030D-6E8A-4147-A177-3AD203B41FA5}">
                      <a16:colId xmlns:a16="http://schemas.microsoft.com/office/drawing/2014/main" val="2636926498"/>
                    </a:ext>
                  </a:extLst>
                </a:gridCol>
                <a:gridCol w="1368000">
                  <a:extLst>
                    <a:ext uri="{9D8B030D-6E8A-4147-A177-3AD203B41FA5}">
                      <a16:colId xmlns:a16="http://schemas.microsoft.com/office/drawing/2014/main" val="2883535249"/>
                    </a:ext>
                  </a:extLst>
                </a:gridCol>
                <a:gridCol w="504000">
                  <a:extLst>
                    <a:ext uri="{9D8B030D-6E8A-4147-A177-3AD203B41FA5}">
                      <a16:colId xmlns:a16="http://schemas.microsoft.com/office/drawing/2014/main" val="824351"/>
                    </a:ext>
                  </a:extLst>
                </a:gridCol>
                <a:gridCol w="755906">
                  <a:extLst>
                    <a:ext uri="{9D8B030D-6E8A-4147-A177-3AD203B41FA5}">
                      <a16:colId xmlns:a16="http://schemas.microsoft.com/office/drawing/2014/main" val="777153526"/>
                    </a:ext>
                  </a:extLst>
                </a:gridCol>
                <a:gridCol w="504000">
                  <a:extLst>
                    <a:ext uri="{9D8B030D-6E8A-4147-A177-3AD203B41FA5}">
                      <a16:colId xmlns:a16="http://schemas.microsoft.com/office/drawing/2014/main" val="982511522"/>
                    </a:ext>
                  </a:extLst>
                </a:gridCol>
                <a:gridCol w="755906">
                  <a:extLst>
                    <a:ext uri="{9D8B030D-6E8A-4147-A177-3AD203B41FA5}">
                      <a16:colId xmlns:a16="http://schemas.microsoft.com/office/drawing/2014/main" val="3615050244"/>
                    </a:ext>
                  </a:extLst>
                </a:gridCol>
                <a:gridCol w="504000">
                  <a:extLst>
                    <a:ext uri="{9D8B030D-6E8A-4147-A177-3AD203B41FA5}">
                      <a16:colId xmlns:a16="http://schemas.microsoft.com/office/drawing/2014/main" val="3683230069"/>
                    </a:ext>
                  </a:extLst>
                </a:gridCol>
                <a:gridCol w="755906">
                  <a:extLst>
                    <a:ext uri="{9D8B030D-6E8A-4147-A177-3AD203B41FA5}">
                      <a16:colId xmlns:a16="http://schemas.microsoft.com/office/drawing/2014/main" val="1784338821"/>
                    </a:ext>
                  </a:extLst>
                </a:gridCol>
                <a:gridCol w="1572283">
                  <a:extLst>
                    <a:ext uri="{9D8B030D-6E8A-4147-A177-3AD203B41FA5}">
                      <a16:colId xmlns:a16="http://schemas.microsoft.com/office/drawing/2014/main" val="3567483753"/>
                    </a:ext>
                  </a:extLst>
                </a:gridCol>
              </a:tblGrid>
              <a:tr h="252000">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t>
                      </a:r>
                    </a:p>
                  </a:txBody>
                  <a:tcPr marL="0" marR="0" marT="36000" marB="36000" horzOverflow="overflow">
                    <a:lnL cap="flat">
                      <a:noFill/>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Purpose</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pplication</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Components</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Ranges</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gridSpan="6">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Principles</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tc>
                <a:tc hMerge="1">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CH" altLang="en-US" sz="1400" b="0" i="0" u="none" strike="noStrike" cap="none" normalizeH="0" baseline="0" dirty="0">
                        <a:ln>
                          <a:noFill/>
                        </a:ln>
                        <a:solidFill>
                          <a:schemeClr val="bg2"/>
                        </a:solidFill>
                        <a:effectLst/>
                        <a:latin typeface="Times New Roman" panose="02020603050405020304" pitchFamily="18" charset="0"/>
                        <a:cs typeface="Arial" panose="020B0604020202020204" pitchFamily="34" charset="0"/>
                      </a:endParaRPr>
                    </a:p>
                  </a:txBody>
                  <a:tcPr marL="0" marR="0" marT="36000" marB="36000"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CH" altLang="en-US" sz="1400" b="0" i="0" u="none" strike="noStrike" cap="none" normalizeH="0" baseline="0" dirty="0">
                        <a:ln>
                          <a:noFill/>
                        </a:ln>
                        <a:solidFill>
                          <a:schemeClr val="bg2"/>
                        </a:solidFill>
                        <a:effectLst/>
                        <a:latin typeface="Times New Roman" panose="02020603050405020304" pitchFamily="18" charset="0"/>
                        <a:cs typeface="Arial" panose="020B0604020202020204" pitchFamily="34" charset="0"/>
                      </a:endParaRPr>
                    </a:p>
                  </a:txBody>
                  <a:tcPr marL="0" marR="0" marT="36000" marB="36000"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nalyzers</a:t>
                      </a:r>
                    </a:p>
                  </a:txBody>
                  <a:tcPr marL="0" marR="0" marT="36000" marB="36000"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70671138"/>
                  </a:ext>
                </a:extLst>
              </a:tr>
              <a:tr h="327331">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de-DE"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9</a:t>
                      </a:r>
                      <a:endPar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N</a:t>
                      </a:r>
                      <a:r>
                        <a:rPr kumimoji="0" lang="en-US" altLang="en-US" sz="1200" b="0" i="0" u="none" strike="noStrike" cap="none" normalizeH="0" baseline="-2500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 purity (LIN storage)</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 in N</a:t>
                      </a:r>
                      <a:r>
                        <a:rPr kumimoji="0" lang="en-US" altLang="en-US" sz="1200" b="0" i="0" u="none" strike="noStrike" cap="none" normalizeH="0" baseline="-25000" noProof="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 </a:t>
                      </a:r>
                      <a:endPar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3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Zirconia</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ZO23</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945484034"/>
                  </a:ext>
                </a:extLst>
              </a:tr>
              <a:tr h="347870">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de-DE"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1</a:t>
                      </a: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0</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N</a:t>
                      </a:r>
                      <a:r>
                        <a:rPr kumimoji="0" lang="en-US" altLang="en-US" sz="1200" b="0" i="0" u="none" strike="noStrike" cap="none" normalizeH="0" baseline="-2500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 purity (LIN loading)</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dirty="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dirty="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 in N</a:t>
                      </a:r>
                      <a:r>
                        <a:rPr kumimoji="0" lang="en-US" altLang="en-US" sz="1200" b="0" i="0" u="none" strike="noStrike" cap="none" normalizeH="0" baseline="-25000" noProof="0" dirty="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dirty="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 </a:t>
                      </a:r>
                      <a:endPar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3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 / 1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Zirconia</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ZO23</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485092850"/>
                  </a:ext>
                </a:extLst>
              </a:tr>
              <a:tr h="347870">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11</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 purity (LOX storage)</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 purity </a:t>
                      </a:r>
                      <a:endPar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3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98 – 100 v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PMD</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Magnos28</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3695328343"/>
                  </a:ext>
                </a:extLst>
              </a:tr>
              <a:tr h="347870">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12</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 purity (LIN loading)</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rgbClr val="000000"/>
                          </a:solidFill>
                          <a:effectLst/>
                          <a:latin typeface="ABBvoice" panose="020D0603020503020204" pitchFamily="34" charset="0"/>
                          <a:ea typeface="ABBvoice" panose="020D0603020503020204" pitchFamily="34" charset="0"/>
                          <a:cs typeface="ABBvoice" panose="020D0603020503020204" pitchFamily="34" charset="0"/>
                        </a:rPr>
                        <a:t> purity </a:t>
                      </a:r>
                      <a:endPar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3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98 – 100 v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PMD</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Magnos28</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11405109"/>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13</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Argon cleaning</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Ar</a:t>
                      </a:r>
                    </a:p>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Ar in 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kern="1200"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80 – 100 vol%</a:t>
                      </a:r>
                    </a:p>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kern="1200"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20 v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PMD</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TCD</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Magnos28</a:t>
                      </a:r>
                    </a:p>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aldos27</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3785456389"/>
                  </a:ext>
                </a:extLst>
              </a:tr>
              <a:tr h="286253">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14</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Argon cleaning</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Ar</a:t>
                      </a:r>
                    </a:p>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Ar 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kern="1200"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 / 10 ppm</a:t>
                      </a:r>
                    </a:p>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kern="1200"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90 – 100 v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Zirconia</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TCD</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ZO23</a:t>
                      </a:r>
                    </a:p>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aldos27</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740701788"/>
                  </a:ext>
                </a:extLst>
              </a:tr>
              <a:tr h="286253">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15</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Ar purity (LAR storage)</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Ar</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kern="1200"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 / 1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Zirconia</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ZO23</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2571095211"/>
                  </a:ext>
                </a:extLst>
              </a:tr>
              <a:tr h="286253">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16</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Ar purity (LAR loading)</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Ar</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kern="1200"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 / 1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Zirconia</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ZO23</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172519673"/>
                  </a:ext>
                </a:extLst>
              </a:tr>
              <a:tr h="286253">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17</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Ar purity (GAR compression)</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Ar</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kern="1200"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 / 1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Zirconia</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endPar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a:spcBef>
                          <a:spcPts val="0"/>
                        </a:spcBef>
                        <a:spcAft>
                          <a:spcPts val="0"/>
                        </a:spcAft>
                      </a:pPr>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ZO23</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221832718"/>
                  </a:ext>
                </a:extLst>
              </a:tr>
            </a:tbl>
          </a:graphicData>
        </a:graphic>
      </p:graphicFrame>
      <p:sp>
        <p:nvSpPr>
          <p:cNvPr id="48" name="Rectangle 2">
            <a:extLst>
              <a:ext uri="{FF2B5EF4-FFF2-40B4-BE49-F238E27FC236}">
                <a16:creationId xmlns:a16="http://schemas.microsoft.com/office/drawing/2014/main" id="{A7D6BB0A-0323-46A2-AB63-5CB413C20A2E}"/>
              </a:ext>
            </a:extLst>
          </p:cNvPr>
          <p:cNvSpPr/>
          <p:nvPr/>
        </p:nvSpPr>
        <p:spPr bwMode="gray">
          <a:xfrm rot="10800000" flipH="1">
            <a:off x="6506017" y="2337460"/>
            <a:ext cx="306725" cy="173762"/>
          </a:xfrm>
          <a:custGeom>
            <a:avLst/>
            <a:gdLst/>
            <a:ahLst/>
            <a:cxnLst/>
            <a:rect l="l" t="t" r="r" b="b"/>
            <a:pathLst>
              <a:path w="420238" h="218437">
                <a:moveTo>
                  <a:pt x="0" y="218437"/>
                </a:moveTo>
                <a:lnTo>
                  <a:pt x="420238" y="218437"/>
                </a:lnTo>
                <a:lnTo>
                  <a:pt x="420238" y="0"/>
                </a:lnTo>
                <a:lnTo>
                  <a:pt x="0" y="0"/>
                </a:lnTo>
                <a:lnTo>
                  <a:pt x="0" y="49819"/>
                </a:lnTo>
                <a:lnTo>
                  <a:pt x="360926" y="49819"/>
                </a:lnTo>
                <a:lnTo>
                  <a:pt x="360926" y="168619"/>
                </a:lnTo>
                <a:lnTo>
                  <a:pt x="0" y="168619"/>
                </a:lnTo>
                <a:close/>
              </a:path>
            </a:pathLst>
          </a:custGeom>
          <a:noFill/>
          <a:ln w="12700">
            <a:solidFill>
              <a:schemeClr val="bg2"/>
            </a:solidFill>
            <a:prstDash val="sysDash"/>
            <a:round/>
            <a:headEnd/>
            <a:tailEnd/>
          </a:ln>
        </p:spPr>
        <p:txBody>
          <a:bodyPr vert="horz" wrap="square" lIns="91440" tIns="45720" rIns="91440" bIns="45720" numCol="1" anchor="t" anchorCtr="0" compatLnSpc="1">
            <a:prstTxWarp prst="textNoShape">
              <a:avLst/>
            </a:prstTxWarp>
          </a:bodyPr>
          <a:lstStyle/>
          <a:p>
            <a:endParaRPr lang="en-US"/>
          </a:p>
        </p:txBody>
      </p:sp>
      <p:sp>
        <p:nvSpPr>
          <p:cNvPr id="49" name="Rectangle 77">
            <a:extLst>
              <a:ext uri="{FF2B5EF4-FFF2-40B4-BE49-F238E27FC236}">
                <a16:creationId xmlns:a16="http://schemas.microsoft.com/office/drawing/2014/main" id="{FC4825D2-6110-43B4-B5B2-4E7EA86819EA}"/>
              </a:ext>
            </a:extLst>
          </p:cNvPr>
          <p:cNvSpPr/>
          <p:nvPr/>
        </p:nvSpPr>
        <p:spPr bwMode="gray">
          <a:xfrm>
            <a:off x="7803889" y="3777148"/>
            <a:ext cx="373922" cy="191125"/>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no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2" name="Group 51">
            <a:extLst>
              <a:ext uri="{FF2B5EF4-FFF2-40B4-BE49-F238E27FC236}">
                <a16:creationId xmlns:a16="http://schemas.microsoft.com/office/drawing/2014/main" id="{00815343-D10D-4BCD-8D2D-DCDC8DCEB57C}"/>
              </a:ext>
            </a:extLst>
          </p:cNvPr>
          <p:cNvGrpSpPr/>
          <p:nvPr/>
        </p:nvGrpSpPr>
        <p:grpSpPr bwMode="gray">
          <a:xfrm>
            <a:off x="6468109" y="3052294"/>
            <a:ext cx="369623" cy="113826"/>
            <a:chOff x="5561561" y="3580012"/>
            <a:chExt cx="1068879" cy="329166"/>
          </a:xfrm>
          <a:noFill/>
        </p:grpSpPr>
        <p:sp>
          <p:nvSpPr>
            <p:cNvPr id="53" name="Oval 52">
              <a:extLst>
                <a:ext uri="{FF2B5EF4-FFF2-40B4-BE49-F238E27FC236}">
                  <a16:creationId xmlns:a16="http://schemas.microsoft.com/office/drawing/2014/main" id="{30331341-62A8-4F7F-B905-50F0AAD330C0}"/>
                </a:ext>
              </a:extLst>
            </p:cNvPr>
            <p:cNvSpPr/>
            <p:nvPr/>
          </p:nvSpPr>
          <p:spPr bwMode="gray">
            <a:xfrm>
              <a:off x="5561561"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54" name="Oval 53">
              <a:extLst>
                <a:ext uri="{FF2B5EF4-FFF2-40B4-BE49-F238E27FC236}">
                  <a16:creationId xmlns:a16="http://schemas.microsoft.com/office/drawing/2014/main" id="{AABF0FBB-1E4D-4AE9-A77B-2E97101E60DC}"/>
                </a:ext>
              </a:extLst>
            </p:cNvPr>
            <p:cNvSpPr/>
            <p:nvPr/>
          </p:nvSpPr>
          <p:spPr bwMode="gray">
            <a:xfrm>
              <a:off x="6301274"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55" name="Straight Connector 54">
              <a:extLst>
                <a:ext uri="{FF2B5EF4-FFF2-40B4-BE49-F238E27FC236}">
                  <a16:creationId xmlns:a16="http://schemas.microsoft.com/office/drawing/2014/main" id="{26022712-203F-46C7-9E95-D811E691F478}"/>
                </a:ext>
              </a:extLst>
            </p:cNvPr>
            <p:cNvCxnSpPr>
              <a:stCxn id="53" idx="6"/>
              <a:endCxn id="54" idx="2"/>
            </p:cNvCxnSpPr>
            <p:nvPr/>
          </p:nvCxnSpPr>
          <p:spPr bwMode="gray">
            <a:xfrm>
              <a:off x="5890727" y="3744595"/>
              <a:ext cx="410547" cy="0"/>
            </a:xfrm>
            <a:prstGeom prst="line">
              <a:avLst/>
            </a:prstGeom>
            <a:grpFill/>
            <a:ln w="12700">
              <a:solidFill>
                <a:schemeClr val="bg2"/>
              </a:solidFill>
              <a:prstDash val="solid"/>
              <a:round/>
              <a:headEnd/>
              <a:tailEnd/>
            </a:ln>
          </p:spPr>
        </p:cxnSp>
        <p:cxnSp>
          <p:nvCxnSpPr>
            <p:cNvPr id="56" name="Straight Connector 55">
              <a:extLst>
                <a:ext uri="{FF2B5EF4-FFF2-40B4-BE49-F238E27FC236}">
                  <a16:creationId xmlns:a16="http://schemas.microsoft.com/office/drawing/2014/main" id="{3E04B58E-9342-42EB-A8E2-67B749DB0588}"/>
                </a:ext>
              </a:extLst>
            </p:cNvPr>
            <p:cNvCxnSpPr/>
            <p:nvPr/>
          </p:nvCxnSpPr>
          <p:spPr bwMode="gray">
            <a:xfrm>
              <a:off x="6062617" y="3669857"/>
              <a:ext cx="66766" cy="149477"/>
            </a:xfrm>
            <a:prstGeom prst="line">
              <a:avLst/>
            </a:prstGeom>
            <a:grpFill/>
            <a:ln w="12700">
              <a:solidFill>
                <a:schemeClr val="bg2"/>
              </a:solidFill>
              <a:prstDash val="solid"/>
              <a:round/>
              <a:headEnd/>
              <a:tailEnd/>
            </a:ln>
          </p:spPr>
        </p:cxnSp>
      </p:grpSp>
      <p:sp>
        <p:nvSpPr>
          <p:cNvPr id="2" name="Date Placeholder 1">
            <a:extLst>
              <a:ext uri="{FF2B5EF4-FFF2-40B4-BE49-F238E27FC236}">
                <a16:creationId xmlns:a16="http://schemas.microsoft.com/office/drawing/2014/main" id="{A33D8556-BB43-471A-B444-EF673DCC1B03}"/>
              </a:ext>
            </a:extLst>
          </p:cNvPr>
          <p:cNvSpPr>
            <a:spLocks noGrp="1"/>
          </p:cNvSpPr>
          <p:nvPr>
            <p:ph type="dt" sz="half" idx="14"/>
          </p:nvPr>
        </p:nvSpPr>
        <p:spPr bwMode="gray"/>
        <p:txBody>
          <a:bodyPr/>
          <a:lstStyle/>
          <a:p>
            <a:fld id="{25150489-AA4E-4345-9853-598A514D4B7E}" type="datetime4">
              <a:rPr lang="en-US" smtClean="0"/>
              <a:t>September 8, 2019</a:t>
            </a:fld>
            <a:endParaRPr lang="en-US"/>
          </a:p>
        </p:txBody>
      </p:sp>
      <p:sp>
        <p:nvSpPr>
          <p:cNvPr id="77" name="Slide Number Placeholder 76">
            <a:extLst>
              <a:ext uri="{FF2B5EF4-FFF2-40B4-BE49-F238E27FC236}">
                <a16:creationId xmlns:a16="http://schemas.microsoft.com/office/drawing/2014/main" id="{80837501-02ED-401C-AEF4-932D0EC1A8FD}"/>
              </a:ext>
            </a:extLst>
          </p:cNvPr>
          <p:cNvSpPr>
            <a:spLocks noGrp="1"/>
          </p:cNvSpPr>
          <p:nvPr>
            <p:ph type="sldNum" sz="quarter" idx="16"/>
          </p:nvPr>
        </p:nvSpPr>
        <p:spPr bwMode="gray"/>
        <p:txBody>
          <a:bodyPr/>
          <a:lstStyle/>
          <a:p>
            <a:r>
              <a:rPr lang="en-US"/>
              <a:t>Slide </a:t>
            </a:r>
            <a:fld id="{619F89D8-7AE3-494A-97F3-03D680869632}" type="slidenum">
              <a:rPr lang="en-US" smtClean="0"/>
              <a:pPr/>
              <a:t>32</a:t>
            </a:fld>
            <a:endParaRPr lang="en-US"/>
          </a:p>
        </p:txBody>
      </p:sp>
      <p:sp>
        <p:nvSpPr>
          <p:cNvPr id="78" name="Footer Placeholder 77">
            <a:extLst>
              <a:ext uri="{FF2B5EF4-FFF2-40B4-BE49-F238E27FC236}">
                <a16:creationId xmlns:a16="http://schemas.microsoft.com/office/drawing/2014/main" id="{FF3B893F-4E82-4EC2-B899-A02D7304B9C9}"/>
              </a:ext>
            </a:extLst>
          </p:cNvPr>
          <p:cNvSpPr>
            <a:spLocks noGrp="1"/>
          </p:cNvSpPr>
          <p:nvPr>
            <p:ph type="ftr" sz="quarter" idx="15"/>
          </p:nvPr>
        </p:nvSpPr>
        <p:spPr bwMode="gray"/>
        <p:txBody>
          <a:bodyPr/>
          <a:lstStyle/>
          <a:p>
            <a:pPr lvl="8"/>
            <a:endParaRPr lang="en-US"/>
          </a:p>
        </p:txBody>
      </p:sp>
      <p:sp>
        <p:nvSpPr>
          <p:cNvPr id="133" name="Rectangle 2">
            <a:extLst>
              <a:ext uri="{FF2B5EF4-FFF2-40B4-BE49-F238E27FC236}">
                <a16:creationId xmlns:a16="http://schemas.microsoft.com/office/drawing/2014/main" id="{7AED21B6-4ADF-4947-A565-18E3A97E4E78}"/>
              </a:ext>
            </a:extLst>
          </p:cNvPr>
          <p:cNvSpPr/>
          <p:nvPr/>
        </p:nvSpPr>
        <p:spPr bwMode="gray">
          <a:xfrm rot="10800000" flipH="1">
            <a:off x="6506017" y="2686460"/>
            <a:ext cx="306725" cy="173762"/>
          </a:xfrm>
          <a:custGeom>
            <a:avLst/>
            <a:gdLst/>
            <a:ahLst/>
            <a:cxnLst/>
            <a:rect l="l" t="t" r="r" b="b"/>
            <a:pathLst>
              <a:path w="420238" h="218437">
                <a:moveTo>
                  <a:pt x="0" y="218437"/>
                </a:moveTo>
                <a:lnTo>
                  <a:pt x="420238" y="218437"/>
                </a:lnTo>
                <a:lnTo>
                  <a:pt x="420238" y="0"/>
                </a:lnTo>
                <a:lnTo>
                  <a:pt x="0" y="0"/>
                </a:lnTo>
                <a:lnTo>
                  <a:pt x="0" y="49819"/>
                </a:lnTo>
                <a:lnTo>
                  <a:pt x="360926" y="49819"/>
                </a:lnTo>
                <a:lnTo>
                  <a:pt x="360926" y="168619"/>
                </a:lnTo>
                <a:lnTo>
                  <a:pt x="0" y="168619"/>
                </a:lnTo>
                <a:close/>
              </a:path>
            </a:pathLst>
          </a:custGeom>
          <a:noFill/>
          <a:ln w="12700">
            <a:solidFill>
              <a:schemeClr val="bg2"/>
            </a:solidFill>
            <a:prstDash val="sysDash"/>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34" name="Group 133">
            <a:extLst>
              <a:ext uri="{FF2B5EF4-FFF2-40B4-BE49-F238E27FC236}">
                <a16:creationId xmlns:a16="http://schemas.microsoft.com/office/drawing/2014/main" id="{EFAEBB3E-3634-4785-BFD9-7C95B64BB7C7}"/>
              </a:ext>
            </a:extLst>
          </p:cNvPr>
          <p:cNvGrpSpPr/>
          <p:nvPr/>
        </p:nvGrpSpPr>
        <p:grpSpPr bwMode="gray">
          <a:xfrm>
            <a:off x="6468109" y="3412795"/>
            <a:ext cx="369623" cy="113826"/>
            <a:chOff x="5561561" y="3580012"/>
            <a:chExt cx="1068879" cy="329166"/>
          </a:xfrm>
          <a:noFill/>
        </p:grpSpPr>
        <p:sp>
          <p:nvSpPr>
            <p:cNvPr id="135" name="Oval 134">
              <a:extLst>
                <a:ext uri="{FF2B5EF4-FFF2-40B4-BE49-F238E27FC236}">
                  <a16:creationId xmlns:a16="http://schemas.microsoft.com/office/drawing/2014/main" id="{0C24D5A1-266B-4371-81B0-6C254F55BB2D}"/>
                </a:ext>
              </a:extLst>
            </p:cNvPr>
            <p:cNvSpPr/>
            <p:nvPr/>
          </p:nvSpPr>
          <p:spPr bwMode="gray">
            <a:xfrm>
              <a:off x="5561561"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36" name="Oval 135">
              <a:extLst>
                <a:ext uri="{FF2B5EF4-FFF2-40B4-BE49-F238E27FC236}">
                  <a16:creationId xmlns:a16="http://schemas.microsoft.com/office/drawing/2014/main" id="{88873B10-E656-438F-BBE2-4B5322D8ACD8}"/>
                </a:ext>
              </a:extLst>
            </p:cNvPr>
            <p:cNvSpPr/>
            <p:nvPr/>
          </p:nvSpPr>
          <p:spPr bwMode="gray">
            <a:xfrm>
              <a:off x="6301274"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137" name="Straight Connector 136">
              <a:extLst>
                <a:ext uri="{FF2B5EF4-FFF2-40B4-BE49-F238E27FC236}">
                  <a16:creationId xmlns:a16="http://schemas.microsoft.com/office/drawing/2014/main" id="{2A2D2312-5D2E-4EC2-AE64-0332429072E5}"/>
                </a:ext>
              </a:extLst>
            </p:cNvPr>
            <p:cNvCxnSpPr>
              <a:stCxn id="135" idx="6"/>
              <a:endCxn id="136" idx="2"/>
            </p:cNvCxnSpPr>
            <p:nvPr/>
          </p:nvCxnSpPr>
          <p:spPr bwMode="gray">
            <a:xfrm>
              <a:off x="5890727" y="3744595"/>
              <a:ext cx="410547" cy="0"/>
            </a:xfrm>
            <a:prstGeom prst="line">
              <a:avLst/>
            </a:prstGeom>
            <a:grpFill/>
            <a:ln w="12700">
              <a:solidFill>
                <a:schemeClr val="bg2"/>
              </a:solidFill>
              <a:prstDash val="solid"/>
              <a:round/>
              <a:headEnd/>
              <a:tailEnd/>
            </a:ln>
          </p:spPr>
        </p:cxnSp>
        <p:cxnSp>
          <p:nvCxnSpPr>
            <p:cNvPr id="138" name="Straight Connector 137">
              <a:extLst>
                <a:ext uri="{FF2B5EF4-FFF2-40B4-BE49-F238E27FC236}">
                  <a16:creationId xmlns:a16="http://schemas.microsoft.com/office/drawing/2014/main" id="{66C5BCD6-CA55-4FD5-BE9A-6415A2BD91B4}"/>
                </a:ext>
              </a:extLst>
            </p:cNvPr>
            <p:cNvCxnSpPr/>
            <p:nvPr/>
          </p:nvCxnSpPr>
          <p:spPr bwMode="gray">
            <a:xfrm>
              <a:off x="6062617" y="3669857"/>
              <a:ext cx="66766" cy="149477"/>
            </a:xfrm>
            <a:prstGeom prst="line">
              <a:avLst/>
            </a:prstGeom>
            <a:grpFill/>
            <a:ln w="12700">
              <a:solidFill>
                <a:schemeClr val="bg2"/>
              </a:solidFill>
              <a:prstDash val="solid"/>
              <a:round/>
              <a:headEnd/>
              <a:tailEnd/>
            </a:ln>
          </p:spPr>
        </p:cxnSp>
      </p:grpSp>
      <p:grpSp>
        <p:nvGrpSpPr>
          <p:cNvPr id="139" name="Group 138">
            <a:extLst>
              <a:ext uri="{FF2B5EF4-FFF2-40B4-BE49-F238E27FC236}">
                <a16:creationId xmlns:a16="http://schemas.microsoft.com/office/drawing/2014/main" id="{73594CD5-4AFE-4571-84B8-3A4BEE26B8A8}"/>
              </a:ext>
            </a:extLst>
          </p:cNvPr>
          <p:cNvGrpSpPr/>
          <p:nvPr/>
        </p:nvGrpSpPr>
        <p:grpSpPr bwMode="gray">
          <a:xfrm>
            <a:off x="6468109" y="3804364"/>
            <a:ext cx="369623" cy="113826"/>
            <a:chOff x="5561561" y="3580012"/>
            <a:chExt cx="1068879" cy="329166"/>
          </a:xfrm>
          <a:noFill/>
        </p:grpSpPr>
        <p:sp>
          <p:nvSpPr>
            <p:cNvPr id="140" name="Oval 139">
              <a:extLst>
                <a:ext uri="{FF2B5EF4-FFF2-40B4-BE49-F238E27FC236}">
                  <a16:creationId xmlns:a16="http://schemas.microsoft.com/office/drawing/2014/main" id="{47A3A680-ABFA-4198-9F4F-CD870C6B614E}"/>
                </a:ext>
              </a:extLst>
            </p:cNvPr>
            <p:cNvSpPr/>
            <p:nvPr/>
          </p:nvSpPr>
          <p:spPr bwMode="gray">
            <a:xfrm>
              <a:off x="5561561"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41" name="Oval 140">
              <a:extLst>
                <a:ext uri="{FF2B5EF4-FFF2-40B4-BE49-F238E27FC236}">
                  <a16:creationId xmlns:a16="http://schemas.microsoft.com/office/drawing/2014/main" id="{333EC0BB-2D6F-41B8-84C2-ABD6A9D87C5E}"/>
                </a:ext>
              </a:extLst>
            </p:cNvPr>
            <p:cNvSpPr/>
            <p:nvPr/>
          </p:nvSpPr>
          <p:spPr bwMode="gray">
            <a:xfrm>
              <a:off x="6301274" y="3580012"/>
              <a:ext cx="329166" cy="329166"/>
            </a:xfrm>
            <a:prstGeom prst="ellipse">
              <a:avLst/>
            </a:prstGeom>
            <a:grp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142" name="Straight Connector 141">
              <a:extLst>
                <a:ext uri="{FF2B5EF4-FFF2-40B4-BE49-F238E27FC236}">
                  <a16:creationId xmlns:a16="http://schemas.microsoft.com/office/drawing/2014/main" id="{82D8236F-4218-4227-AFEE-EE9DDADCCD5F}"/>
                </a:ext>
              </a:extLst>
            </p:cNvPr>
            <p:cNvCxnSpPr>
              <a:stCxn id="140" idx="6"/>
              <a:endCxn id="141" idx="2"/>
            </p:cNvCxnSpPr>
            <p:nvPr/>
          </p:nvCxnSpPr>
          <p:spPr bwMode="gray">
            <a:xfrm>
              <a:off x="5890727" y="3744595"/>
              <a:ext cx="410547" cy="0"/>
            </a:xfrm>
            <a:prstGeom prst="line">
              <a:avLst/>
            </a:prstGeom>
            <a:grpFill/>
            <a:ln w="12700">
              <a:solidFill>
                <a:schemeClr val="bg2"/>
              </a:solidFill>
              <a:prstDash val="solid"/>
              <a:round/>
              <a:headEnd/>
              <a:tailEnd/>
            </a:ln>
          </p:spPr>
        </p:cxnSp>
        <p:cxnSp>
          <p:nvCxnSpPr>
            <p:cNvPr id="143" name="Straight Connector 142">
              <a:extLst>
                <a:ext uri="{FF2B5EF4-FFF2-40B4-BE49-F238E27FC236}">
                  <a16:creationId xmlns:a16="http://schemas.microsoft.com/office/drawing/2014/main" id="{6421DF88-E9B8-4325-94EA-84C9E6CD30FB}"/>
                </a:ext>
              </a:extLst>
            </p:cNvPr>
            <p:cNvCxnSpPr/>
            <p:nvPr/>
          </p:nvCxnSpPr>
          <p:spPr bwMode="gray">
            <a:xfrm>
              <a:off x="6062617" y="3669857"/>
              <a:ext cx="66766" cy="149477"/>
            </a:xfrm>
            <a:prstGeom prst="line">
              <a:avLst/>
            </a:prstGeom>
            <a:grpFill/>
            <a:ln w="12700">
              <a:solidFill>
                <a:schemeClr val="bg2"/>
              </a:solidFill>
              <a:prstDash val="solid"/>
              <a:round/>
              <a:headEnd/>
              <a:tailEnd/>
            </a:ln>
          </p:spPr>
        </p:cxnSp>
      </p:grpSp>
      <p:sp>
        <p:nvSpPr>
          <p:cNvPr id="144" name="Rectangle 2">
            <a:extLst>
              <a:ext uri="{FF2B5EF4-FFF2-40B4-BE49-F238E27FC236}">
                <a16:creationId xmlns:a16="http://schemas.microsoft.com/office/drawing/2014/main" id="{827C5419-930B-40EE-9B0D-427C8B5EAD91}"/>
              </a:ext>
            </a:extLst>
          </p:cNvPr>
          <p:cNvSpPr/>
          <p:nvPr/>
        </p:nvSpPr>
        <p:spPr bwMode="gray">
          <a:xfrm rot="10800000" flipH="1">
            <a:off x="6506017" y="4189069"/>
            <a:ext cx="306725" cy="173762"/>
          </a:xfrm>
          <a:custGeom>
            <a:avLst/>
            <a:gdLst/>
            <a:ahLst/>
            <a:cxnLst/>
            <a:rect l="l" t="t" r="r" b="b"/>
            <a:pathLst>
              <a:path w="420238" h="218437">
                <a:moveTo>
                  <a:pt x="0" y="218437"/>
                </a:moveTo>
                <a:lnTo>
                  <a:pt x="420238" y="218437"/>
                </a:lnTo>
                <a:lnTo>
                  <a:pt x="420238" y="0"/>
                </a:lnTo>
                <a:lnTo>
                  <a:pt x="0" y="0"/>
                </a:lnTo>
                <a:lnTo>
                  <a:pt x="0" y="49819"/>
                </a:lnTo>
                <a:lnTo>
                  <a:pt x="360926" y="49819"/>
                </a:lnTo>
                <a:lnTo>
                  <a:pt x="360926" y="168619"/>
                </a:lnTo>
                <a:lnTo>
                  <a:pt x="0" y="168619"/>
                </a:lnTo>
                <a:close/>
              </a:path>
            </a:pathLst>
          </a:custGeom>
          <a:noFill/>
          <a:ln w="12700">
            <a:solidFill>
              <a:schemeClr val="bg2"/>
            </a:solidFill>
            <a:prstDash val="sysDash"/>
            <a:round/>
            <a:headEnd/>
            <a:tailEnd/>
          </a:ln>
        </p:spPr>
        <p:txBody>
          <a:bodyPr vert="horz" wrap="square" lIns="91440" tIns="45720" rIns="91440" bIns="45720" numCol="1" anchor="t" anchorCtr="0" compatLnSpc="1">
            <a:prstTxWarp prst="textNoShape">
              <a:avLst/>
            </a:prstTxWarp>
          </a:bodyPr>
          <a:lstStyle/>
          <a:p>
            <a:endParaRPr lang="en-US"/>
          </a:p>
        </p:txBody>
      </p:sp>
      <p:sp>
        <p:nvSpPr>
          <p:cNvPr id="145" name="Rectangle 77">
            <a:extLst>
              <a:ext uri="{FF2B5EF4-FFF2-40B4-BE49-F238E27FC236}">
                <a16:creationId xmlns:a16="http://schemas.microsoft.com/office/drawing/2014/main" id="{2D327163-A285-4259-AE63-F4AF9755A915}"/>
              </a:ext>
            </a:extLst>
          </p:cNvPr>
          <p:cNvSpPr/>
          <p:nvPr/>
        </p:nvSpPr>
        <p:spPr bwMode="gray">
          <a:xfrm>
            <a:off x="7803889" y="4202704"/>
            <a:ext cx="373922" cy="191125"/>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noFill/>
          <a:ln w="1270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46" name="Rectangle 2">
            <a:extLst>
              <a:ext uri="{FF2B5EF4-FFF2-40B4-BE49-F238E27FC236}">
                <a16:creationId xmlns:a16="http://schemas.microsoft.com/office/drawing/2014/main" id="{0F6B6F65-46A5-4E39-87F8-D90234F512BC}"/>
              </a:ext>
            </a:extLst>
          </p:cNvPr>
          <p:cNvSpPr/>
          <p:nvPr/>
        </p:nvSpPr>
        <p:spPr bwMode="gray">
          <a:xfrm rot="10800000" flipH="1">
            <a:off x="6506017" y="4592314"/>
            <a:ext cx="306725" cy="173762"/>
          </a:xfrm>
          <a:custGeom>
            <a:avLst/>
            <a:gdLst/>
            <a:ahLst/>
            <a:cxnLst/>
            <a:rect l="l" t="t" r="r" b="b"/>
            <a:pathLst>
              <a:path w="420238" h="218437">
                <a:moveTo>
                  <a:pt x="0" y="218437"/>
                </a:moveTo>
                <a:lnTo>
                  <a:pt x="420238" y="218437"/>
                </a:lnTo>
                <a:lnTo>
                  <a:pt x="420238" y="0"/>
                </a:lnTo>
                <a:lnTo>
                  <a:pt x="0" y="0"/>
                </a:lnTo>
                <a:lnTo>
                  <a:pt x="0" y="49819"/>
                </a:lnTo>
                <a:lnTo>
                  <a:pt x="360926" y="49819"/>
                </a:lnTo>
                <a:lnTo>
                  <a:pt x="360926" y="168619"/>
                </a:lnTo>
                <a:lnTo>
                  <a:pt x="0" y="168619"/>
                </a:lnTo>
                <a:close/>
              </a:path>
            </a:pathLst>
          </a:custGeom>
          <a:noFill/>
          <a:ln w="12700">
            <a:solidFill>
              <a:schemeClr val="bg2"/>
            </a:solidFill>
            <a:prstDash val="sysDash"/>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Rectangle 2">
            <a:extLst>
              <a:ext uri="{FF2B5EF4-FFF2-40B4-BE49-F238E27FC236}">
                <a16:creationId xmlns:a16="http://schemas.microsoft.com/office/drawing/2014/main" id="{5EEFFBBC-2F60-44A7-AB47-AE5247B3854C}"/>
              </a:ext>
            </a:extLst>
          </p:cNvPr>
          <p:cNvSpPr/>
          <p:nvPr/>
        </p:nvSpPr>
        <p:spPr bwMode="gray">
          <a:xfrm rot="10800000" flipH="1">
            <a:off x="6513436" y="4939327"/>
            <a:ext cx="306725" cy="173762"/>
          </a:xfrm>
          <a:custGeom>
            <a:avLst/>
            <a:gdLst/>
            <a:ahLst/>
            <a:cxnLst/>
            <a:rect l="l" t="t" r="r" b="b"/>
            <a:pathLst>
              <a:path w="420238" h="218437">
                <a:moveTo>
                  <a:pt x="0" y="218437"/>
                </a:moveTo>
                <a:lnTo>
                  <a:pt x="420238" y="218437"/>
                </a:lnTo>
                <a:lnTo>
                  <a:pt x="420238" y="0"/>
                </a:lnTo>
                <a:lnTo>
                  <a:pt x="0" y="0"/>
                </a:lnTo>
                <a:lnTo>
                  <a:pt x="0" y="49819"/>
                </a:lnTo>
                <a:lnTo>
                  <a:pt x="360926" y="49819"/>
                </a:lnTo>
                <a:lnTo>
                  <a:pt x="360926" y="168619"/>
                </a:lnTo>
                <a:lnTo>
                  <a:pt x="0" y="168619"/>
                </a:lnTo>
                <a:close/>
              </a:path>
            </a:pathLst>
          </a:custGeom>
          <a:noFill/>
          <a:ln w="12700">
            <a:solidFill>
              <a:schemeClr val="bg2"/>
            </a:solidFill>
            <a:prstDash val="sysDash"/>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Rectangle 2">
            <a:extLst>
              <a:ext uri="{FF2B5EF4-FFF2-40B4-BE49-F238E27FC236}">
                <a16:creationId xmlns:a16="http://schemas.microsoft.com/office/drawing/2014/main" id="{80F7D268-89E0-41F4-BD80-318BBBC4A9F7}"/>
              </a:ext>
            </a:extLst>
          </p:cNvPr>
          <p:cNvSpPr/>
          <p:nvPr/>
        </p:nvSpPr>
        <p:spPr bwMode="gray">
          <a:xfrm rot="10800000" flipH="1">
            <a:off x="6513436" y="5287542"/>
            <a:ext cx="306725" cy="173762"/>
          </a:xfrm>
          <a:custGeom>
            <a:avLst/>
            <a:gdLst/>
            <a:ahLst/>
            <a:cxnLst/>
            <a:rect l="l" t="t" r="r" b="b"/>
            <a:pathLst>
              <a:path w="420238" h="218437">
                <a:moveTo>
                  <a:pt x="0" y="218437"/>
                </a:moveTo>
                <a:lnTo>
                  <a:pt x="420238" y="218437"/>
                </a:lnTo>
                <a:lnTo>
                  <a:pt x="420238" y="0"/>
                </a:lnTo>
                <a:lnTo>
                  <a:pt x="0" y="0"/>
                </a:lnTo>
                <a:lnTo>
                  <a:pt x="0" y="49819"/>
                </a:lnTo>
                <a:lnTo>
                  <a:pt x="360926" y="49819"/>
                </a:lnTo>
                <a:lnTo>
                  <a:pt x="360926" y="168619"/>
                </a:lnTo>
                <a:lnTo>
                  <a:pt x="0" y="168619"/>
                </a:lnTo>
                <a:close/>
              </a:path>
            </a:pathLst>
          </a:custGeom>
          <a:noFill/>
          <a:ln w="12700">
            <a:solidFill>
              <a:schemeClr val="bg2"/>
            </a:solidFill>
            <a:prstDash val="sysDash"/>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1"/>
    </p:custDataLst>
    <p:extLst>
      <p:ext uri="{BB962C8B-B14F-4D97-AF65-F5344CB8AC3E}">
        <p14:creationId xmlns:p14="http://schemas.microsoft.com/office/powerpoint/2010/main" val="847921421"/>
      </p:ext>
    </p:extLst>
  </p:cSld>
  <p:clrMapOvr>
    <a:masterClrMapping/>
  </p:clrMapOvr>
  <mc:AlternateContent xmlns:mc="http://schemas.openxmlformats.org/markup-compatibility/2006" xmlns:p14="http://schemas.microsoft.com/office/powerpoint/2010/main">
    <mc:Choice Requires="p14">
      <p:transition spd="med" p14:dur="700" advTm="21969">
        <p:fade/>
      </p:transition>
    </mc:Choice>
    <mc:Fallback xmlns="">
      <p:transition spd="med" advTm="21969">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5" name="Group 144">
            <a:extLst>
              <a:ext uri="{FF2B5EF4-FFF2-40B4-BE49-F238E27FC236}">
                <a16:creationId xmlns:a16="http://schemas.microsoft.com/office/drawing/2014/main" id="{B4D26ABE-6CDA-4F23-AD40-118C3266CAB7}"/>
              </a:ext>
            </a:extLst>
          </p:cNvPr>
          <p:cNvGrpSpPr/>
          <p:nvPr/>
        </p:nvGrpSpPr>
        <p:grpSpPr bwMode="gray">
          <a:xfrm>
            <a:off x="316220" y="5448234"/>
            <a:ext cx="272178" cy="255138"/>
            <a:chOff x="13575534" y="4538167"/>
            <a:chExt cx="793153" cy="743493"/>
          </a:xfrm>
        </p:grpSpPr>
        <p:grpSp>
          <p:nvGrpSpPr>
            <p:cNvPr id="150" name="Group 149">
              <a:extLst>
                <a:ext uri="{FF2B5EF4-FFF2-40B4-BE49-F238E27FC236}">
                  <a16:creationId xmlns:a16="http://schemas.microsoft.com/office/drawing/2014/main" id="{0BBA6609-F888-4E1F-AF0B-0126DA6A52CC}"/>
                </a:ext>
              </a:extLst>
            </p:cNvPr>
            <p:cNvGrpSpPr/>
            <p:nvPr/>
          </p:nvGrpSpPr>
          <p:grpSpPr bwMode="gray">
            <a:xfrm>
              <a:off x="13639059" y="4538167"/>
              <a:ext cx="729628" cy="695884"/>
              <a:chOff x="5310618" y="2134284"/>
              <a:chExt cx="404739" cy="386021"/>
            </a:xfrm>
          </p:grpSpPr>
          <p:sp>
            <p:nvSpPr>
              <p:cNvPr id="154" name="Freeform: Shape 153">
                <a:extLst>
                  <a:ext uri="{FF2B5EF4-FFF2-40B4-BE49-F238E27FC236}">
                    <a16:creationId xmlns:a16="http://schemas.microsoft.com/office/drawing/2014/main" id="{BF1D54E9-B0CF-4282-A06C-C4F96659328D}"/>
                  </a:ext>
                </a:extLst>
              </p:cNvPr>
              <p:cNvSpPr/>
              <p:nvPr/>
            </p:nvSpPr>
            <p:spPr bwMode="gray">
              <a:xfrm>
                <a:off x="5316267" y="2134284"/>
                <a:ext cx="399090" cy="273533"/>
              </a:xfrm>
              <a:custGeom>
                <a:avLst/>
                <a:gdLst>
                  <a:gd name="connsiteX0" fmla="*/ 1093381 w 2462577"/>
                  <a:gd name="connsiteY0" fmla="*/ 0 h 1802393"/>
                  <a:gd name="connsiteX1" fmla="*/ 1640754 w 2462577"/>
                  <a:gd name="connsiteY1" fmla="*/ 362823 h 1802393"/>
                  <a:gd name="connsiteX2" fmla="*/ 1655501 w 2462577"/>
                  <a:gd name="connsiteY2" fmla="*/ 410329 h 1802393"/>
                  <a:gd name="connsiteX3" fmla="*/ 1706127 w 2462577"/>
                  <a:gd name="connsiteY3" fmla="*/ 394614 h 1802393"/>
                  <a:gd name="connsiteX4" fmla="*/ 1793034 w 2462577"/>
                  <a:gd name="connsiteY4" fmla="*/ 385853 h 1802393"/>
                  <a:gd name="connsiteX5" fmla="*/ 2224263 w 2462577"/>
                  <a:gd name="connsiteY5" fmla="*/ 817082 h 1802393"/>
                  <a:gd name="connsiteX6" fmla="*/ 2190375 w 2462577"/>
                  <a:gd name="connsiteY6" fmla="*/ 984936 h 1802393"/>
                  <a:gd name="connsiteX7" fmla="*/ 2185612 w 2462577"/>
                  <a:gd name="connsiteY7" fmla="*/ 993711 h 1802393"/>
                  <a:gd name="connsiteX8" fmla="*/ 2190745 w 2462577"/>
                  <a:gd name="connsiteY8" fmla="*/ 994229 h 1802393"/>
                  <a:gd name="connsiteX9" fmla="*/ 2462577 w 2462577"/>
                  <a:gd name="connsiteY9" fmla="*/ 1327755 h 1802393"/>
                  <a:gd name="connsiteX10" fmla="*/ 2362864 w 2462577"/>
                  <a:gd name="connsiteY10" fmla="*/ 1568484 h 1802393"/>
                  <a:gd name="connsiteX11" fmla="*/ 2313995 w 2462577"/>
                  <a:gd name="connsiteY11" fmla="*/ 1608805 h 1802393"/>
                  <a:gd name="connsiteX12" fmla="*/ 2313995 w 2462577"/>
                  <a:gd name="connsiteY12" fmla="*/ 1802393 h 1802393"/>
                  <a:gd name="connsiteX13" fmla="*/ 591875 w 2462577"/>
                  <a:gd name="connsiteY13" fmla="*/ 1802393 h 1802393"/>
                  <a:gd name="connsiteX14" fmla="*/ 591875 w 2462577"/>
                  <a:gd name="connsiteY14" fmla="*/ 1795250 h 1802393"/>
                  <a:gd name="connsiteX15" fmla="*/ 521029 w 2462577"/>
                  <a:gd name="connsiteY15" fmla="*/ 1802392 h 1802393"/>
                  <a:gd name="connsiteX16" fmla="*/ 0 w 2462577"/>
                  <a:gd name="connsiteY16" fmla="*/ 1281363 h 1802393"/>
                  <a:gd name="connsiteX17" fmla="*/ 521029 w 2462577"/>
                  <a:gd name="connsiteY17" fmla="*/ 760334 h 1802393"/>
                  <a:gd name="connsiteX18" fmla="*/ 526000 w 2462577"/>
                  <a:gd name="connsiteY18" fmla="*/ 760835 h 1802393"/>
                  <a:gd name="connsiteX19" fmla="*/ 511393 w 2462577"/>
                  <a:gd name="connsiteY19" fmla="*/ 713780 h 1802393"/>
                  <a:gd name="connsiteX20" fmla="*/ 499324 w 2462577"/>
                  <a:gd name="connsiteY20" fmla="*/ 594057 h 1802393"/>
                  <a:gd name="connsiteX21" fmla="*/ 1093381 w 2462577"/>
                  <a:gd name="connsiteY21" fmla="*/ 0 h 1802393"/>
                  <a:gd name="connsiteX0" fmla="*/ 2313995 w 2462577"/>
                  <a:gd name="connsiteY0" fmla="*/ 1802393 h 1893833"/>
                  <a:gd name="connsiteX1" fmla="*/ 591875 w 2462577"/>
                  <a:gd name="connsiteY1" fmla="*/ 1802393 h 1893833"/>
                  <a:gd name="connsiteX2" fmla="*/ 591875 w 2462577"/>
                  <a:gd name="connsiteY2" fmla="*/ 1795250 h 1893833"/>
                  <a:gd name="connsiteX3" fmla="*/ 521029 w 2462577"/>
                  <a:gd name="connsiteY3" fmla="*/ 1802392 h 1893833"/>
                  <a:gd name="connsiteX4" fmla="*/ 0 w 2462577"/>
                  <a:gd name="connsiteY4" fmla="*/ 1281363 h 1893833"/>
                  <a:gd name="connsiteX5" fmla="*/ 521029 w 2462577"/>
                  <a:gd name="connsiteY5" fmla="*/ 760334 h 1893833"/>
                  <a:gd name="connsiteX6" fmla="*/ 526000 w 2462577"/>
                  <a:gd name="connsiteY6" fmla="*/ 760835 h 1893833"/>
                  <a:gd name="connsiteX7" fmla="*/ 511393 w 2462577"/>
                  <a:gd name="connsiteY7" fmla="*/ 713780 h 1893833"/>
                  <a:gd name="connsiteX8" fmla="*/ 499324 w 2462577"/>
                  <a:gd name="connsiteY8" fmla="*/ 594057 h 1893833"/>
                  <a:gd name="connsiteX9" fmla="*/ 1093381 w 2462577"/>
                  <a:gd name="connsiteY9" fmla="*/ 0 h 1893833"/>
                  <a:gd name="connsiteX10" fmla="*/ 1640754 w 2462577"/>
                  <a:gd name="connsiteY10" fmla="*/ 362823 h 1893833"/>
                  <a:gd name="connsiteX11" fmla="*/ 1655501 w 2462577"/>
                  <a:gd name="connsiteY11" fmla="*/ 410329 h 1893833"/>
                  <a:gd name="connsiteX12" fmla="*/ 1706127 w 2462577"/>
                  <a:gd name="connsiteY12" fmla="*/ 394614 h 1893833"/>
                  <a:gd name="connsiteX13" fmla="*/ 1793034 w 2462577"/>
                  <a:gd name="connsiteY13" fmla="*/ 385853 h 1893833"/>
                  <a:gd name="connsiteX14" fmla="*/ 2224263 w 2462577"/>
                  <a:gd name="connsiteY14" fmla="*/ 817082 h 1893833"/>
                  <a:gd name="connsiteX15" fmla="*/ 2190375 w 2462577"/>
                  <a:gd name="connsiteY15" fmla="*/ 984936 h 1893833"/>
                  <a:gd name="connsiteX16" fmla="*/ 2185612 w 2462577"/>
                  <a:gd name="connsiteY16" fmla="*/ 993711 h 1893833"/>
                  <a:gd name="connsiteX17" fmla="*/ 2190745 w 2462577"/>
                  <a:gd name="connsiteY17" fmla="*/ 994229 h 1893833"/>
                  <a:gd name="connsiteX18" fmla="*/ 2462577 w 2462577"/>
                  <a:gd name="connsiteY18" fmla="*/ 1327755 h 1893833"/>
                  <a:gd name="connsiteX19" fmla="*/ 2362864 w 2462577"/>
                  <a:gd name="connsiteY19" fmla="*/ 1568484 h 1893833"/>
                  <a:gd name="connsiteX20" fmla="*/ 2313995 w 2462577"/>
                  <a:gd name="connsiteY20" fmla="*/ 1608805 h 1893833"/>
                  <a:gd name="connsiteX21" fmla="*/ 2405435 w 2462577"/>
                  <a:gd name="connsiteY21" fmla="*/ 1893833 h 1893833"/>
                  <a:gd name="connsiteX0" fmla="*/ 2313995 w 2462577"/>
                  <a:gd name="connsiteY0" fmla="*/ 1802393 h 1802393"/>
                  <a:gd name="connsiteX1" fmla="*/ 591875 w 2462577"/>
                  <a:gd name="connsiteY1" fmla="*/ 1802393 h 1802393"/>
                  <a:gd name="connsiteX2" fmla="*/ 591875 w 2462577"/>
                  <a:gd name="connsiteY2" fmla="*/ 1795250 h 1802393"/>
                  <a:gd name="connsiteX3" fmla="*/ 521029 w 2462577"/>
                  <a:gd name="connsiteY3" fmla="*/ 1802392 h 1802393"/>
                  <a:gd name="connsiteX4" fmla="*/ 0 w 2462577"/>
                  <a:gd name="connsiteY4" fmla="*/ 1281363 h 1802393"/>
                  <a:gd name="connsiteX5" fmla="*/ 521029 w 2462577"/>
                  <a:gd name="connsiteY5" fmla="*/ 760334 h 1802393"/>
                  <a:gd name="connsiteX6" fmla="*/ 526000 w 2462577"/>
                  <a:gd name="connsiteY6" fmla="*/ 760835 h 1802393"/>
                  <a:gd name="connsiteX7" fmla="*/ 511393 w 2462577"/>
                  <a:gd name="connsiteY7" fmla="*/ 713780 h 1802393"/>
                  <a:gd name="connsiteX8" fmla="*/ 499324 w 2462577"/>
                  <a:gd name="connsiteY8" fmla="*/ 594057 h 1802393"/>
                  <a:gd name="connsiteX9" fmla="*/ 1093381 w 2462577"/>
                  <a:gd name="connsiteY9" fmla="*/ 0 h 1802393"/>
                  <a:gd name="connsiteX10" fmla="*/ 1640754 w 2462577"/>
                  <a:gd name="connsiteY10" fmla="*/ 362823 h 1802393"/>
                  <a:gd name="connsiteX11" fmla="*/ 1655501 w 2462577"/>
                  <a:gd name="connsiteY11" fmla="*/ 410329 h 1802393"/>
                  <a:gd name="connsiteX12" fmla="*/ 1706127 w 2462577"/>
                  <a:gd name="connsiteY12" fmla="*/ 394614 h 1802393"/>
                  <a:gd name="connsiteX13" fmla="*/ 1793034 w 2462577"/>
                  <a:gd name="connsiteY13" fmla="*/ 385853 h 1802393"/>
                  <a:gd name="connsiteX14" fmla="*/ 2224263 w 2462577"/>
                  <a:gd name="connsiteY14" fmla="*/ 817082 h 1802393"/>
                  <a:gd name="connsiteX15" fmla="*/ 2190375 w 2462577"/>
                  <a:gd name="connsiteY15" fmla="*/ 984936 h 1802393"/>
                  <a:gd name="connsiteX16" fmla="*/ 2185612 w 2462577"/>
                  <a:gd name="connsiteY16" fmla="*/ 993711 h 1802393"/>
                  <a:gd name="connsiteX17" fmla="*/ 2190745 w 2462577"/>
                  <a:gd name="connsiteY17" fmla="*/ 994229 h 1802393"/>
                  <a:gd name="connsiteX18" fmla="*/ 2462577 w 2462577"/>
                  <a:gd name="connsiteY18" fmla="*/ 1327755 h 1802393"/>
                  <a:gd name="connsiteX19" fmla="*/ 2362864 w 2462577"/>
                  <a:gd name="connsiteY19" fmla="*/ 1568484 h 1802393"/>
                  <a:gd name="connsiteX20" fmla="*/ 2313995 w 2462577"/>
                  <a:gd name="connsiteY20" fmla="*/ 1608805 h 1802393"/>
                  <a:gd name="connsiteX0" fmla="*/ 591875 w 2462577"/>
                  <a:gd name="connsiteY0" fmla="*/ 1802393 h 1802393"/>
                  <a:gd name="connsiteX1" fmla="*/ 591875 w 2462577"/>
                  <a:gd name="connsiteY1" fmla="*/ 1795250 h 1802393"/>
                  <a:gd name="connsiteX2" fmla="*/ 521029 w 2462577"/>
                  <a:gd name="connsiteY2" fmla="*/ 1802392 h 1802393"/>
                  <a:gd name="connsiteX3" fmla="*/ 0 w 2462577"/>
                  <a:gd name="connsiteY3" fmla="*/ 1281363 h 1802393"/>
                  <a:gd name="connsiteX4" fmla="*/ 521029 w 2462577"/>
                  <a:gd name="connsiteY4" fmla="*/ 760334 h 1802393"/>
                  <a:gd name="connsiteX5" fmla="*/ 526000 w 2462577"/>
                  <a:gd name="connsiteY5" fmla="*/ 760835 h 1802393"/>
                  <a:gd name="connsiteX6" fmla="*/ 511393 w 2462577"/>
                  <a:gd name="connsiteY6" fmla="*/ 713780 h 1802393"/>
                  <a:gd name="connsiteX7" fmla="*/ 499324 w 2462577"/>
                  <a:gd name="connsiteY7" fmla="*/ 594057 h 1802393"/>
                  <a:gd name="connsiteX8" fmla="*/ 1093381 w 2462577"/>
                  <a:gd name="connsiteY8" fmla="*/ 0 h 1802393"/>
                  <a:gd name="connsiteX9" fmla="*/ 1640754 w 2462577"/>
                  <a:gd name="connsiteY9" fmla="*/ 362823 h 1802393"/>
                  <a:gd name="connsiteX10" fmla="*/ 1655501 w 2462577"/>
                  <a:gd name="connsiteY10" fmla="*/ 410329 h 1802393"/>
                  <a:gd name="connsiteX11" fmla="*/ 1706127 w 2462577"/>
                  <a:gd name="connsiteY11" fmla="*/ 394614 h 1802393"/>
                  <a:gd name="connsiteX12" fmla="*/ 1793034 w 2462577"/>
                  <a:gd name="connsiteY12" fmla="*/ 385853 h 1802393"/>
                  <a:gd name="connsiteX13" fmla="*/ 2224263 w 2462577"/>
                  <a:gd name="connsiteY13" fmla="*/ 817082 h 1802393"/>
                  <a:gd name="connsiteX14" fmla="*/ 2190375 w 2462577"/>
                  <a:gd name="connsiteY14" fmla="*/ 984936 h 1802393"/>
                  <a:gd name="connsiteX15" fmla="*/ 2185612 w 2462577"/>
                  <a:gd name="connsiteY15" fmla="*/ 993711 h 1802393"/>
                  <a:gd name="connsiteX16" fmla="*/ 2190745 w 2462577"/>
                  <a:gd name="connsiteY16" fmla="*/ 994229 h 1802393"/>
                  <a:gd name="connsiteX17" fmla="*/ 2462577 w 2462577"/>
                  <a:gd name="connsiteY17" fmla="*/ 1327755 h 1802393"/>
                  <a:gd name="connsiteX18" fmla="*/ 2362864 w 2462577"/>
                  <a:gd name="connsiteY18" fmla="*/ 1568484 h 1802393"/>
                  <a:gd name="connsiteX19" fmla="*/ 2313995 w 2462577"/>
                  <a:gd name="connsiteY19" fmla="*/ 1608805 h 1802393"/>
                  <a:gd name="connsiteX0" fmla="*/ 591875 w 2462577"/>
                  <a:gd name="connsiteY0" fmla="*/ 1802393 h 1802393"/>
                  <a:gd name="connsiteX1" fmla="*/ 591875 w 2462577"/>
                  <a:gd name="connsiteY1" fmla="*/ 1795250 h 1802393"/>
                  <a:gd name="connsiteX2" fmla="*/ 521029 w 2462577"/>
                  <a:gd name="connsiteY2" fmla="*/ 1802392 h 1802393"/>
                  <a:gd name="connsiteX3" fmla="*/ 0 w 2462577"/>
                  <a:gd name="connsiteY3" fmla="*/ 1281363 h 1802393"/>
                  <a:gd name="connsiteX4" fmla="*/ 521029 w 2462577"/>
                  <a:gd name="connsiteY4" fmla="*/ 760334 h 1802393"/>
                  <a:gd name="connsiteX5" fmla="*/ 526000 w 2462577"/>
                  <a:gd name="connsiteY5" fmla="*/ 760835 h 1802393"/>
                  <a:gd name="connsiteX6" fmla="*/ 511393 w 2462577"/>
                  <a:gd name="connsiteY6" fmla="*/ 713780 h 1802393"/>
                  <a:gd name="connsiteX7" fmla="*/ 499324 w 2462577"/>
                  <a:gd name="connsiteY7" fmla="*/ 594057 h 1802393"/>
                  <a:gd name="connsiteX8" fmla="*/ 1093381 w 2462577"/>
                  <a:gd name="connsiteY8" fmla="*/ 0 h 1802393"/>
                  <a:gd name="connsiteX9" fmla="*/ 1640754 w 2462577"/>
                  <a:gd name="connsiteY9" fmla="*/ 362823 h 1802393"/>
                  <a:gd name="connsiteX10" fmla="*/ 1655501 w 2462577"/>
                  <a:gd name="connsiteY10" fmla="*/ 410329 h 1802393"/>
                  <a:gd name="connsiteX11" fmla="*/ 1706127 w 2462577"/>
                  <a:gd name="connsiteY11" fmla="*/ 394614 h 1802393"/>
                  <a:gd name="connsiteX12" fmla="*/ 1793034 w 2462577"/>
                  <a:gd name="connsiteY12" fmla="*/ 385853 h 1802393"/>
                  <a:gd name="connsiteX13" fmla="*/ 2224263 w 2462577"/>
                  <a:gd name="connsiteY13" fmla="*/ 817082 h 1802393"/>
                  <a:gd name="connsiteX14" fmla="*/ 2190375 w 2462577"/>
                  <a:gd name="connsiteY14" fmla="*/ 984936 h 1802393"/>
                  <a:gd name="connsiteX15" fmla="*/ 2185612 w 2462577"/>
                  <a:gd name="connsiteY15" fmla="*/ 993711 h 1802393"/>
                  <a:gd name="connsiteX16" fmla="*/ 2190745 w 2462577"/>
                  <a:gd name="connsiteY16" fmla="*/ 994229 h 1802393"/>
                  <a:gd name="connsiteX17" fmla="*/ 2462577 w 2462577"/>
                  <a:gd name="connsiteY17" fmla="*/ 1327755 h 1802393"/>
                  <a:gd name="connsiteX18" fmla="*/ 2362864 w 2462577"/>
                  <a:gd name="connsiteY18" fmla="*/ 1568484 h 1802393"/>
                  <a:gd name="connsiteX0" fmla="*/ 615476 w 2486178"/>
                  <a:gd name="connsiteY0" fmla="*/ 1802393 h 1802393"/>
                  <a:gd name="connsiteX1" fmla="*/ 615476 w 2486178"/>
                  <a:gd name="connsiteY1" fmla="*/ 1795250 h 1802393"/>
                  <a:gd name="connsiteX2" fmla="*/ 544630 w 2486178"/>
                  <a:gd name="connsiteY2" fmla="*/ 1802392 h 1802393"/>
                  <a:gd name="connsiteX3" fmla="*/ 135127 w 2486178"/>
                  <a:gd name="connsiteY3" fmla="*/ 1607207 h 1802393"/>
                  <a:gd name="connsiteX4" fmla="*/ 23601 w 2486178"/>
                  <a:gd name="connsiteY4" fmla="*/ 1281363 h 1802393"/>
                  <a:gd name="connsiteX5" fmla="*/ 544630 w 2486178"/>
                  <a:gd name="connsiteY5" fmla="*/ 760334 h 1802393"/>
                  <a:gd name="connsiteX6" fmla="*/ 549601 w 2486178"/>
                  <a:gd name="connsiteY6" fmla="*/ 760835 h 1802393"/>
                  <a:gd name="connsiteX7" fmla="*/ 534994 w 2486178"/>
                  <a:gd name="connsiteY7" fmla="*/ 713780 h 1802393"/>
                  <a:gd name="connsiteX8" fmla="*/ 522925 w 2486178"/>
                  <a:gd name="connsiteY8" fmla="*/ 594057 h 1802393"/>
                  <a:gd name="connsiteX9" fmla="*/ 1116982 w 2486178"/>
                  <a:gd name="connsiteY9" fmla="*/ 0 h 1802393"/>
                  <a:gd name="connsiteX10" fmla="*/ 1664355 w 2486178"/>
                  <a:gd name="connsiteY10" fmla="*/ 362823 h 1802393"/>
                  <a:gd name="connsiteX11" fmla="*/ 1679102 w 2486178"/>
                  <a:gd name="connsiteY11" fmla="*/ 410329 h 1802393"/>
                  <a:gd name="connsiteX12" fmla="*/ 1729728 w 2486178"/>
                  <a:gd name="connsiteY12" fmla="*/ 394614 h 1802393"/>
                  <a:gd name="connsiteX13" fmla="*/ 1816635 w 2486178"/>
                  <a:gd name="connsiteY13" fmla="*/ 385853 h 1802393"/>
                  <a:gd name="connsiteX14" fmla="*/ 2247864 w 2486178"/>
                  <a:gd name="connsiteY14" fmla="*/ 817082 h 1802393"/>
                  <a:gd name="connsiteX15" fmla="*/ 2213976 w 2486178"/>
                  <a:gd name="connsiteY15" fmla="*/ 984936 h 1802393"/>
                  <a:gd name="connsiteX16" fmla="*/ 2209213 w 2486178"/>
                  <a:gd name="connsiteY16" fmla="*/ 993711 h 1802393"/>
                  <a:gd name="connsiteX17" fmla="*/ 2214346 w 2486178"/>
                  <a:gd name="connsiteY17" fmla="*/ 994229 h 1802393"/>
                  <a:gd name="connsiteX18" fmla="*/ 2486178 w 2486178"/>
                  <a:gd name="connsiteY18" fmla="*/ 1327755 h 1802393"/>
                  <a:gd name="connsiteX19" fmla="*/ 2386465 w 2486178"/>
                  <a:gd name="connsiteY19" fmla="*/ 1568484 h 1802393"/>
                  <a:gd name="connsiteX0" fmla="*/ 598395 w 2469097"/>
                  <a:gd name="connsiteY0" fmla="*/ 1802393 h 1802393"/>
                  <a:gd name="connsiteX1" fmla="*/ 598395 w 2469097"/>
                  <a:gd name="connsiteY1" fmla="*/ 1795250 h 1802393"/>
                  <a:gd name="connsiteX2" fmla="*/ 527549 w 2469097"/>
                  <a:gd name="connsiteY2" fmla="*/ 1802392 h 1802393"/>
                  <a:gd name="connsiteX3" fmla="*/ 118046 w 2469097"/>
                  <a:gd name="connsiteY3" fmla="*/ 1607207 h 1802393"/>
                  <a:gd name="connsiteX4" fmla="*/ 6520 w 2469097"/>
                  <a:gd name="connsiteY4" fmla="*/ 1281363 h 1802393"/>
                  <a:gd name="connsiteX5" fmla="*/ 527549 w 2469097"/>
                  <a:gd name="connsiteY5" fmla="*/ 760334 h 1802393"/>
                  <a:gd name="connsiteX6" fmla="*/ 532520 w 2469097"/>
                  <a:gd name="connsiteY6" fmla="*/ 760835 h 1802393"/>
                  <a:gd name="connsiteX7" fmla="*/ 517913 w 2469097"/>
                  <a:gd name="connsiteY7" fmla="*/ 713780 h 1802393"/>
                  <a:gd name="connsiteX8" fmla="*/ 505844 w 2469097"/>
                  <a:gd name="connsiteY8" fmla="*/ 594057 h 1802393"/>
                  <a:gd name="connsiteX9" fmla="*/ 1099901 w 2469097"/>
                  <a:gd name="connsiteY9" fmla="*/ 0 h 1802393"/>
                  <a:gd name="connsiteX10" fmla="*/ 1647274 w 2469097"/>
                  <a:gd name="connsiteY10" fmla="*/ 362823 h 1802393"/>
                  <a:gd name="connsiteX11" fmla="*/ 1662021 w 2469097"/>
                  <a:gd name="connsiteY11" fmla="*/ 410329 h 1802393"/>
                  <a:gd name="connsiteX12" fmla="*/ 1712647 w 2469097"/>
                  <a:gd name="connsiteY12" fmla="*/ 394614 h 1802393"/>
                  <a:gd name="connsiteX13" fmla="*/ 1799554 w 2469097"/>
                  <a:gd name="connsiteY13" fmla="*/ 385853 h 1802393"/>
                  <a:gd name="connsiteX14" fmla="*/ 2230783 w 2469097"/>
                  <a:gd name="connsiteY14" fmla="*/ 817082 h 1802393"/>
                  <a:gd name="connsiteX15" fmla="*/ 2196895 w 2469097"/>
                  <a:gd name="connsiteY15" fmla="*/ 984936 h 1802393"/>
                  <a:gd name="connsiteX16" fmla="*/ 2192132 w 2469097"/>
                  <a:gd name="connsiteY16" fmla="*/ 993711 h 1802393"/>
                  <a:gd name="connsiteX17" fmla="*/ 2197265 w 2469097"/>
                  <a:gd name="connsiteY17" fmla="*/ 994229 h 1802393"/>
                  <a:gd name="connsiteX18" fmla="*/ 2469097 w 2469097"/>
                  <a:gd name="connsiteY18" fmla="*/ 1327755 h 1802393"/>
                  <a:gd name="connsiteX19" fmla="*/ 2369384 w 2469097"/>
                  <a:gd name="connsiteY19" fmla="*/ 1568484 h 1802393"/>
                  <a:gd name="connsiteX0" fmla="*/ 596882 w 2467584"/>
                  <a:gd name="connsiteY0" fmla="*/ 1802393 h 1802393"/>
                  <a:gd name="connsiteX1" fmla="*/ 596882 w 2467584"/>
                  <a:gd name="connsiteY1" fmla="*/ 1795250 h 1802393"/>
                  <a:gd name="connsiteX2" fmla="*/ 526036 w 2467584"/>
                  <a:gd name="connsiteY2" fmla="*/ 1802392 h 1802393"/>
                  <a:gd name="connsiteX3" fmla="*/ 116533 w 2467584"/>
                  <a:gd name="connsiteY3" fmla="*/ 1607207 h 1802393"/>
                  <a:gd name="connsiteX4" fmla="*/ 5007 w 2467584"/>
                  <a:gd name="connsiteY4" fmla="*/ 1281363 h 1802393"/>
                  <a:gd name="connsiteX5" fmla="*/ 526036 w 2467584"/>
                  <a:gd name="connsiteY5" fmla="*/ 760334 h 1802393"/>
                  <a:gd name="connsiteX6" fmla="*/ 531007 w 2467584"/>
                  <a:gd name="connsiteY6" fmla="*/ 760835 h 1802393"/>
                  <a:gd name="connsiteX7" fmla="*/ 516400 w 2467584"/>
                  <a:gd name="connsiteY7" fmla="*/ 713780 h 1802393"/>
                  <a:gd name="connsiteX8" fmla="*/ 504331 w 2467584"/>
                  <a:gd name="connsiteY8" fmla="*/ 594057 h 1802393"/>
                  <a:gd name="connsiteX9" fmla="*/ 1098388 w 2467584"/>
                  <a:gd name="connsiteY9" fmla="*/ 0 h 1802393"/>
                  <a:gd name="connsiteX10" fmla="*/ 1645761 w 2467584"/>
                  <a:gd name="connsiteY10" fmla="*/ 362823 h 1802393"/>
                  <a:gd name="connsiteX11" fmla="*/ 1660508 w 2467584"/>
                  <a:gd name="connsiteY11" fmla="*/ 410329 h 1802393"/>
                  <a:gd name="connsiteX12" fmla="*/ 1711134 w 2467584"/>
                  <a:gd name="connsiteY12" fmla="*/ 394614 h 1802393"/>
                  <a:gd name="connsiteX13" fmla="*/ 1798041 w 2467584"/>
                  <a:gd name="connsiteY13" fmla="*/ 385853 h 1802393"/>
                  <a:gd name="connsiteX14" fmla="*/ 2229270 w 2467584"/>
                  <a:gd name="connsiteY14" fmla="*/ 817082 h 1802393"/>
                  <a:gd name="connsiteX15" fmla="*/ 2195382 w 2467584"/>
                  <a:gd name="connsiteY15" fmla="*/ 984936 h 1802393"/>
                  <a:gd name="connsiteX16" fmla="*/ 2190619 w 2467584"/>
                  <a:gd name="connsiteY16" fmla="*/ 993711 h 1802393"/>
                  <a:gd name="connsiteX17" fmla="*/ 2195752 w 2467584"/>
                  <a:gd name="connsiteY17" fmla="*/ 994229 h 1802393"/>
                  <a:gd name="connsiteX18" fmla="*/ 2467584 w 2467584"/>
                  <a:gd name="connsiteY18" fmla="*/ 1327755 h 1802393"/>
                  <a:gd name="connsiteX19" fmla="*/ 2367871 w 2467584"/>
                  <a:gd name="connsiteY19" fmla="*/ 1568484 h 1802393"/>
                  <a:gd name="connsiteX0" fmla="*/ 596882 w 2467584"/>
                  <a:gd name="connsiteY0" fmla="*/ 1802393 h 1802393"/>
                  <a:gd name="connsiteX1" fmla="*/ 526036 w 2467584"/>
                  <a:gd name="connsiteY1" fmla="*/ 1802392 h 1802393"/>
                  <a:gd name="connsiteX2" fmla="*/ 116533 w 2467584"/>
                  <a:gd name="connsiteY2" fmla="*/ 1607207 h 1802393"/>
                  <a:gd name="connsiteX3" fmla="*/ 5007 w 2467584"/>
                  <a:gd name="connsiteY3" fmla="*/ 1281363 h 1802393"/>
                  <a:gd name="connsiteX4" fmla="*/ 526036 w 2467584"/>
                  <a:gd name="connsiteY4" fmla="*/ 760334 h 1802393"/>
                  <a:gd name="connsiteX5" fmla="*/ 531007 w 2467584"/>
                  <a:gd name="connsiteY5" fmla="*/ 760835 h 1802393"/>
                  <a:gd name="connsiteX6" fmla="*/ 516400 w 2467584"/>
                  <a:gd name="connsiteY6" fmla="*/ 713780 h 1802393"/>
                  <a:gd name="connsiteX7" fmla="*/ 504331 w 2467584"/>
                  <a:gd name="connsiteY7" fmla="*/ 594057 h 1802393"/>
                  <a:gd name="connsiteX8" fmla="*/ 1098388 w 2467584"/>
                  <a:gd name="connsiteY8" fmla="*/ 0 h 1802393"/>
                  <a:gd name="connsiteX9" fmla="*/ 1645761 w 2467584"/>
                  <a:gd name="connsiteY9" fmla="*/ 362823 h 1802393"/>
                  <a:gd name="connsiteX10" fmla="*/ 1660508 w 2467584"/>
                  <a:gd name="connsiteY10" fmla="*/ 410329 h 1802393"/>
                  <a:gd name="connsiteX11" fmla="*/ 1711134 w 2467584"/>
                  <a:gd name="connsiteY11" fmla="*/ 394614 h 1802393"/>
                  <a:gd name="connsiteX12" fmla="*/ 1798041 w 2467584"/>
                  <a:gd name="connsiteY12" fmla="*/ 385853 h 1802393"/>
                  <a:gd name="connsiteX13" fmla="*/ 2229270 w 2467584"/>
                  <a:gd name="connsiteY13" fmla="*/ 817082 h 1802393"/>
                  <a:gd name="connsiteX14" fmla="*/ 2195382 w 2467584"/>
                  <a:gd name="connsiteY14" fmla="*/ 984936 h 1802393"/>
                  <a:gd name="connsiteX15" fmla="*/ 2190619 w 2467584"/>
                  <a:gd name="connsiteY15" fmla="*/ 993711 h 1802393"/>
                  <a:gd name="connsiteX16" fmla="*/ 2195752 w 2467584"/>
                  <a:gd name="connsiteY16" fmla="*/ 994229 h 1802393"/>
                  <a:gd name="connsiteX17" fmla="*/ 2467584 w 2467584"/>
                  <a:gd name="connsiteY17" fmla="*/ 1327755 h 1802393"/>
                  <a:gd name="connsiteX18" fmla="*/ 2367871 w 2467584"/>
                  <a:gd name="connsiteY18" fmla="*/ 1568484 h 1802393"/>
                  <a:gd name="connsiteX0" fmla="*/ 596882 w 2467584"/>
                  <a:gd name="connsiteY0" fmla="*/ 1802393 h 1802393"/>
                  <a:gd name="connsiteX1" fmla="*/ 116533 w 2467584"/>
                  <a:gd name="connsiteY1" fmla="*/ 1607207 h 1802393"/>
                  <a:gd name="connsiteX2" fmla="*/ 5007 w 2467584"/>
                  <a:gd name="connsiteY2" fmla="*/ 1281363 h 1802393"/>
                  <a:gd name="connsiteX3" fmla="*/ 526036 w 2467584"/>
                  <a:gd name="connsiteY3" fmla="*/ 760334 h 1802393"/>
                  <a:gd name="connsiteX4" fmla="*/ 531007 w 2467584"/>
                  <a:gd name="connsiteY4" fmla="*/ 760835 h 1802393"/>
                  <a:gd name="connsiteX5" fmla="*/ 516400 w 2467584"/>
                  <a:gd name="connsiteY5" fmla="*/ 713780 h 1802393"/>
                  <a:gd name="connsiteX6" fmla="*/ 504331 w 2467584"/>
                  <a:gd name="connsiteY6" fmla="*/ 594057 h 1802393"/>
                  <a:gd name="connsiteX7" fmla="*/ 1098388 w 2467584"/>
                  <a:gd name="connsiteY7" fmla="*/ 0 h 1802393"/>
                  <a:gd name="connsiteX8" fmla="*/ 1645761 w 2467584"/>
                  <a:gd name="connsiteY8" fmla="*/ 362823 h 1802393"/>
                  <a:gd name="connsiteX9" fmla="*/ 1660508 w 2467584"/>
                  <a:gd name="connsiteY9" fmla="*/ 410329 h 1802393"/>
                  <a:gd name="connsiteX10" fmla="*/ 1711134 w 2467584"/>
                  <a:gd name="connsiteY10" fmla="*/ 394614 h 1802393"/>
                  <a:gd name="connsiteX11" fmla="*/ 1798041 w 2467584"/>
                  <a:gd name="connsiteY11" fmla="*/ 385853 h 1802393"/>
                  <a:gd name="connsiteX12" fmla="*/ 2229270 w 2467584"/>
                  <a:gd name="connsiteY12" fmla="*/ 817082 h 1802393"/>
                  <a:gd name="connsiteX13" fmla="*/ 2195382 w 2467584"/>
                  <a:gd name="connsiteY13" fmla="*/ 984936 h 1802393"/>
                  <a:gd name="connsiteX14" fmla="*/ 2190619 w 2467584"/>
                  <a:gd name="connsiteY14" fmla="*/ 993711 h 1802393"/>
                  <a:gd name="connsiteX15" fmla="*/ 2195752 w 2467584"/>
                  <a:gd name="connsiteY15" fmla="*/ 994229 h 1802393"/>
                  <a:gd name="connsiteX16" fmla="*/ 2467584 w 2467584"/>
                  <a:gd name="connsiteY16" fmla="*/ 1327755 h 1802393"/>
                  <a:gd name="connsiteX17" fmla="*/ 2367871 w 2467584"/>
                  <a:gd name="connsiteY17" fmla="*/ 1568484 h 1802393"/>
                  <a:gd name="connsiteX0" fmla="*/ 116533 w 2467584"/>
                  <a:gd name="connsiteY0" fmla="*/ 1607207 h 1607207"/>
                  <a:gd name="connsiteX1" fmla="*/ 5007 w 2467584"/>
                  <a:gd name="connsiteY1" fmla="*/ 1281363 h 1607207"/>
                  <a:gd name="connsiteX2" fmla="*/ 526036 w 2467584"/>
                  <a:gd name="connsiteY2" fmla="*/ 760334 h 1607207"/>
                  <a:gd name="connsiteX3" fmla="*/ 531007 w 2467584"/>
                  <a:gd name="connsiteY3" fmla="*/ 760835 h 1607207"/>
                  <a:gd name="connsiteX4" fmla="*/ 516400 w 2467584"/>
                  <a:gd name="connsiteY4" fmla="*/ 713780 h 1607207"/>
                  <a:gd name="connsiteX5" fmla="*/ 504331 w 2467584"/>
                  <a:gd name="connsiteY5" fmla="*/ 594057 h 1607207"/>
                  <a:gd name="connsiteX6" fmla="*/ 1098388 w 2467584"/>
                  <a:gd name="connsiteY6" fmla="*/ 0 h 1607207"/>
                  <a:gd name="connsiteX7" fmla="*/ 1645761 w 2467584"/>
                  <a:gd name="connsiteY7" fmla="*/ 362823 h 1607207"/>
                  <a:gd name="connsiteX8" fmla="*/ 1660508 w 2467584"/>
                  <a:gd name="connsiteY8" fmla="*/ 410329 h 1607207"/>
                  <a:gd name="connsiteX9" fmla="*/ 1711134 w 2467584"/>
                  <a:gd name="connsiteY9" fmla="*/ 394614 h 1607207"/>
                  <a:gd name="connsiteX10" fmla="*/ 1798041 w 2467584"/>
                  <a:gd name="connsiteY10" fmla="*/ 385853 h 1607207"/>
                  <a:gd name="connsiteX11" fmla="*/ 2229270 w 2467584"/>
                  <a:gd name="connsiteY11" fmla="*/ 817082 h 1607207"/>
                  <a:gd name="connsiteX12" fmla="*/ 2195382 w 2467584"/>
                  <a:gd name="connsiteY12" fmla="*/ 984936 h 1607207"/>
                  <a:gd name="connsiteX13" fmla="*/ 2190619 w 2467584"/>
                  <a:gd name="connsiteY13" fmla="*/ 993711 h 1607207"/>
                  <a:gd name="connsiteX14" fmla="*/ 2195752 w 2467584"/>
                  <a:gd name="connsiteY14" fmla="*/ 994229 h 1607207"/>
                  <a:gd name="connsiteX15" fmla="*/ 2467584 w 2467584"/>
                  <a:gd name="connsiteY15" fmla="*/ 1327755 h 1607207"/>
                  <a:gd name="connsiteX16" fmla="*/ 2367871 w 2467584"/>
                  <a:gd name="connsiteY16" fmla="*/ 1568484 h 1607207"/>
                  <a:gd name="connsiteX0" fmla="*/ 116533 w 2467584"/>
                  <a:gd name="connsiteY0" fmla="*/ 1607207 h 1607207"/>
                  <a:gd name="connsiteX1" fmla="*/ 5007 w 2467584"/>
                  <a:gd name="connsiteY1" fmla="*/ 1281363 h 1607207"/>
                  <a:gd name="connsiteX2" fmla="*/ 526036 w 2467584"/>
                  <a:gd name="connsiteY2" fmla="*/ 760334 h 1607207"/>
                  <a:gd name="connsiteX3" fmla="*/ 531007 w 2467584"/>
                  <a:gd name="connsiteY3" fmla="*/ 760835 h 1607207"/>
                  <a:gd name="connsiteX4" fmla="*/ 516400 w 2467584"/>
                  <a:gd name="connsiteY4" fmla="*/ 713780 h 1607207"/>
                  <a:gd name="connsiteX5" fmla="*/ 504331 w 2467584"/>
                  <a:gd name="connsiteY5" fmla="*/ 594057 h 1607207"/>
                  <a:gd name="connsiteX6" fmla="*/ 1098388 w 2467584"/>
                  <a:gd name="connsiteY6" fmla="*/ 0 h 1607207"/>
                  <a:gd name="connsiteX7" fmla="*/ 1645761 w 2467584"/>
                  <a:gd name="connsiteY7" fmla="*/ 362823 h 1607207"/>
                  <a:gd name="connsiteX8" fmla="*/ 1660508 w 2467584"/>
                  <a:gd name="connsiteY8" fmla="*/ 410329 h 1607207"/>
                  <a:gd name="connsiteX9" fmla="*/ 1711134 w 2467584"/>
                  <a:gd name="connsiteY9" fmla="*/ 394614 h 1607207"/>
                  <a:gd name="connsiteX10" fmla="*/ 1798041 w 2467584"/>
                  <a:gd name="connsiteY10" fmla="*/ 385853 h 1607207"/>
                  <a:gd name="connsiteX11" fmla="*/ 2229270 w 2467584"/>
                  <a:gd name="connsiteY11" fmla="*/ 817082 h 1607207"/>
                  <a:gd name="connsiteX12" fmla="*/ 2195382 w 2467584"/>
                  <a:gd name="connsiteY12" fmla="*/ 984936 h 1607207"/>
                  <a:gd name="connsiteX13" fmla="*/ 2190619 w 2467584"/>
                  <a:gd name="connsiteY13" fmla="*/ 993711 h 1607207"/>
                  <a:gd name="connsiteX14" fmla="*/ 2195752 w 2467584"/>
                  <a:gd name="connsiteY14" fmla="*/ 994229 h 1607207"/>
                  <a:gd name="connsiteX15" fmla="*/ 2467584 w 2467584"/>
                  <a:gd name="connsiteY15" fmla="*/ 1327755 h 1607207"/>
                  <a:gd name="connsiteX16" fmla="*/ 2367871 w 2467584"/>
                  <a:gd name="connsiteY16" fmla="*/ 1568484 h 1607207"/>
                  <a:gd name="connsiteX0" fmla="*/ 5007 w 2467584"/>
                  <a:gd name="connsiteY0" fmla="*/ 1281363 h 1568484"/>
                  <a:gd name="connsiteX1" fmla="*/ 526036 w 2467584"/>
                  <a:gd name="connsiteY1" fmla="*/ 760334 h 1568484"/>
                  <a:gd name="connsiteX2" fmla="*/ 531007 w 2467584"/>
                  <a:gd name="connsiteY2" fmla="*/ 760835 h 1568484"/>
                  <a:gd name="connsiteX3" fmla="*/ 516400 w 2467584"/>
                  <a:gd name="connsiteY3" fmla="*/ 713780 h 1568484"/>
                  <a:gd name="connsiteX4" fmla="*/ 504331 w 2467584"/>
                  <a:gd name="connsiteY4" fmla="*/ 594057 h 1568484"/>
                  <a:gd name="connsiteX5" fmla="*/ 1098388 w 2467584"/>
                  <a:gd name="connsiteY5" fmla="*/ 0 h 1568484"/>
                  <a:gd name="connsiteX6" fmla="*/ 1645761 w 2467584"/>
                  <a:gd name="connsiteY6" fmla="*/ 362823 h 1568484"/>
                  <a:gd name="connsiteX7" fmla="*/ 1660508 w 2467584"/>
                  <a:gd name="connsiteY7" fmla="*/ 410329 h 1568484"/>
                  <a:gd name="connsiteX8" fmla="*/ 1711134 w 2467584"/>
                  <a:gd name="connsiteY8" fmla="*/ 394614 h 1568484"/>
                  <a:gd name="connsiteX9" fmla="*/ 1798041 w 2467584"/>
                  <a:gd name="connsiteY9" fmla="*/ 385853 h 1568484"/>
                  <a:gd name="connsiteX10" fmla="*/ 2229270 w 2467584"/>
                  <a:gd name="connsiteY10" fmla="*/ 817082 h 1568484"/>
                  <a:gd name="connsiteX11" fmla="*/ 2195382 w 2467584"/>
                  <a:gd name="connsiteY11" fmla="*/ 984936 h 1568484"/>
                  <a:gd name="connsiteX12" fmla="*/ 2190619 w 2467584"/>
                  <a:gd name="connsiteY12" fmla="*/ 993711 h 1568484"/>
                  <a:gd name="connsiteX13" fmla="*/ 2195752 w 2467584"/>
                  <a:gd name="connsiteY13" fmla="*/ 994229 h 1568484"/>
                  <a:gd name="connsiteX14" fmla="*/ 2467584 w 2467584"/>
                  <a:gd name="connsiteY14" fmla="*/ 1327755 h 1568484"/>
                  <a:gd name="connsiteX15" fmla="*/ 2367871 w 2467584"/>
                  <a:gd name="connsiteY15" fmla="*/ 1568484 h 1568484"/>
                  <a:gd name="connsiteX0" fmla="*/ 7654 w 2355931"/>
                  <a:gd name="connsiteY0" fmla="*/ 1388043 h 1568484"/>
                  <a:gd name="connsiteX1" fmla="*/ 414383 w 2355931"/>
                  <a:gd name="connsiteY1" fmla="*/ 760334 h 1568484"/>
                  <a:gd name="connsiteX2" fmla="*/ 419354 w 2355931"/>
                  <a:gd name="connsiteY2" fmla="*/ 760835 h 1568484"/>
                  <a:gd name="connsiteX3" fmla="*/ 404747 w 2355931"/>
                  <a:gd name="connsiteY3" fmla="*/ 713780 h 1568484"/>
                  <a:gd name="connsiteX4" fmla="*/ 392678 w 2355931"/>
                  <a:gd name="connsiteY4" fmla="*/ 594057 h 1568484"/>
                  <a:gd name="connsiteX5" fmla="*/ 986735 w 2355931"/>
                  <a:gd name="connsiteY5" fmla="*/ 0 h 1568484"/>
                  <a:gd name="connsiteX6" fmla="*/ 1534108 w 2355931"/>
                  <a:gd name="connsiteY6" fmla="*/ 362823 h 1568484"/>
                  <a:gd name="connsiteX7" fmla="*/ 1548855 w 2355931"/>
                  <a:gd name="connsiteY7" fmla="*/ 410329 h 1568484"/>
                  <a:gd name="connsiteX8" fmla="*/ 1599481 w 2355931"/>
                  <a:gd name="connsiteY8" fmla="*/ 394614 h 1568484"/>
                  <a:gd name="connsiteX9" fmla="*/ 1686388 w 2355931"/>
                  <a:gd name="connsiteY9" fmla="*/ 385853 h 1568484"/>
                  <a:gd name="connsiteX10" fmla="*/ 2117617 w 2355931"/>
                  <a:gd name="connsiteY10" fmla="*/ 817082 h 1568484"/>
                  <a:gd name="connsiteX11" fmla="*/ 2083729 w 2355931"/>
                  <a:gd name="connsiteY11" fmla="*/ 984936 h 1568484"/>
                  <a:gd name="connsiteX12" fmla="*/ 2078966 w 2355931"/>
                  <a:gd name="connsiteY12" fmla="*/ 993711 h 1568484"/>
                  <a:gd name="connsiteX13" fmla="*/ 2084099 w 2355931"/>
                  <a:gd name="connsiteY13" fmla="*/ 994229 h 1568484"/>
                  <a:gd name="connsiteX14" fmla="*/ 2355931 w 2355931"/>
                  <a:gd name="connsiteY14" fmla="*/ 1327755 h 1568484"/>
                  <a:gd name="connsiteX15" fmla="*/ 2256218 w 2355931"/>
                  <a:gd name="connsiteY15"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35286 w 2386470"/>
                  <a:gd name="connsiteY3" fmla="*/ 713780 h 1568484"/>
                  <a:gd name="connsiteX4" fmla="*/ 423217 w 2386470"/>
                  <a:gd name="connsiteY4" fmla="*/ 594057 h 1568484"/>
                  <a:gd name="connsiteX5" fmla="*/ 1017274 w 2386470"/>
                  <a:gd name="connsiteY5" fmla="*/ 0 h 1568484"/>
                  <a:gd name="connsiteX6" fmla="*/ 1564647 w 2386470"/>
                  <a:gd name="connsiteY6" fmla="*/ 362823 h 1568484"/>
                  <a:gd name="connsiteX7" fmla="*/ 1579394 w 2386470"/>
                  <a:gd name="connsiteY7" fmla="*/ 410329 h 1568484"/>
                  <a:gd name="connsiteX8" fmla="*/ 1630020 w 2386470"/>
                  <a:gd name="connsiteY8" fmla="*/ 394614 h 1568484"/>
                  <a:gd name="connsiteX9" fmla="*/ 1716927 w 2386470"/>
                  <a:gd name="connsiteY9" fmla="*/ 385853 h 1568484"/>
                  <a:gd name="connsiteX10" fmla="*/ 2148156 w 2386470"/>
                  <a:gd name="connsiteY10" fmla="*/ 817082 h 1568484"/>
                  <a:gd name="connsiteX11" fmla="*/ 2114268 w 2386470"/>
                  <a:gd name="connsiteY11" fmla="*/ 984936 h 1568484"/>
                  <a:gd name="connsiteX12" fmla="*/ 2109505 w 2386470"/>
                  <a:gd name="connsiteY12" fmla="*/ 993711 h 1568484"/>
                  <a:gd name="connsiteX13" fmla="*/ 2114638 w 2386470"/>
                  <a:gd name="connsiteY13" fmla="*/ 994229 h 1568484"/>
                  <a:gd name="connsiteX14" fmla="*/ 2386470 w 2386470"/>
                  <a:gd name="connsiteY14" fmla="*/ 1327755 h 1568484"/>
                  <a:gd name="connsiteX15" fmla="*/ 2286757 w 2386470"/>
                  <a:gd name="connsiteY15"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556573 w 2386470"/>
                  <a:gd name="connsiteY2" fmla="*/ 77226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47485 w 2316215"/>
                  <a:gd name="connsiteY0" fmla="*/ 1513047 h 1568484"/>
                  <a:gd name="connsiteX1" fmla="*/ 374667 w 2316215"/>
                  <a:gd name="connsiteY1" fmla="*/ 760334 h 1568484"/>
                  <a:gd name="connsiteX2" fmla="*/ 349152 w 2316215"/>
                  <a:gd name="connsiteY2" fmla="*/ 575007 h 1568484"/>
                  <a:gd name="connsiteX3" fmla="*/ 947019 w 2316215"/>
                  <a:gd name="connsiteY3" fmla="*/ 0 h 1568484"/>
                  <a:gd name="connsiteX4" fmla="*/ 1494392 w 2316215"/>
                  <a:gd name="connsiteY4" fmla="*/ 362823 h 1568484"/>
                  <a:gd name="connsiteX5" fmla="*/ 1509139 w 2316215"/>
                  <a:gd name="connsiteY5" fmla="*/ 410329 h 1568484"/>
                  <a:gd name="connsiteX6" fmla="*/ 1646672 w 2316215"/>
                  <a:gd name="connsiteY6" fmla="*/ 385853 h 1568484"/>
                  <a:gd name="connsiteX7" fmla="*/ 2077901 w 2316215"/>
                  <a:gd name="connsiteY7" fmla="*/ 817082 h 1568484"/>
                  <a:gd name="connsiteX8" fmla="*/ 2044013 w 2316215"/>
                  <a:gd name="connsiteY8" fmla="*/ 984936 h 1568484"/>
                  <a:gd name="connsiteX9" fmla="*/ 2039250 w 2316215"/>
                  <a:gd name="connsiteY9" fmla="*/ 993711 h 1568484"/>
                  <a:gd name="connsiteX10" fmla="*/ 2044383 w 2316215"/>
                  <a:gd name="connsiteY10" fmla="*/ 994229 h 1568484"/>
                  <a:gd name="connsiteX11" fmla="*/ 2316215 w 2316215"/>
                  <a:gd name="connsiteY11" fmla="*/ 1327755 h 1568484"/>
                  <a:gd name="connsiteX12" fmla="*/ 2216502 w 2316215"/>
                  <a:gd name="connsiteY12" fmla="*/ 1568484 h 1568484"/>
                  <a:gd name="connsiteX0" fmla="*/ 81035 w 2349765"/>
                  <a:gd name="connsiteY0" fmla="*/ 1513047 h 1568484"/>
                  <a:gd name="connsiteX1" fmla="*/ 408217 w 2349765"/>
                  <a:gd name="connsiteY1" fmla="*/ 760334 h 1568484"/>
                  <a:gd name="connsiteX2" fmla="*/ 382702 w 2349765"/>
                  <a:gd name="connsiteY2" fmla="*/ 575007 h 1568484"/>
                  <a:gd name="connsiteX3" fmla="*/ 980569 w 2349765"/>
                  <a:gd name="connsiteY3" fmla="*/ 0 h 1568484"/>
                  <a:gd name="connsiteX4" fmla="*/ 1527942 w 2349765"/>
                  <a:gd name="connsiteY4" fmla="*/ 362823 h 1568484"/>
                  <a:gd name="connsiteX5" fmla="*/ 1542689 w 2349765"/>
                  <a:gd name="connsiteY5" fmla="*/ 410329 h 1568484"/>
                  <a:gd name="connsiteX6" fmla="*/ 1680222 w 2349765"/>
                  <a:gd name="connsiteY6" fmla="*/ 385853 h 1568484"/>
                  <a:gd name="connsiteX7" fmla="*/ 2111451 w 2349765"/>
                  <a:gd name="connsiteY7" fmla="*/ 817082 h 1568484"/>
                  <a:gd name="connsiteX8" fmla="*/ 2077563 w 2349765"/>
                  <a:gd name="connsiteY8" fmla="*/ 984936 h 1568484"/>
                  <a:gd name="connsiteX9" fmla="*/ 2072800 w 2349765"/>
                  <a:gd name="connsiteY9" fmla="*/ 993711 h 1568484"/>
                  <a:gd name="connsiteX10" fmla="*/ 2077933 w 2349765"/>
                  <a:gd name="connsiteY10" fmla="*/ 994229 h 1568484"/>
                  <a:gd name="connsiteX11" fmla="*/ 2349765 w 2349765"/>
                  <a:gd name="connsiteY11" fmla="*/ 1327755 h 1568484"/>
                  <a:gd name="connsiteX12" fmla="*/ 2250052 w 2349765"/>
                  <a:gd name="connsiteY12" fmla="*/ 1568484 h 1568484"/>
                  <a:gd name="connsiteX0" fmla="*/ 110397 w 2379127"/>
                  <a:gd name="connsiteY0" fmla="*/ 1513047 h 1568484"/>
                  <a:gd name="connsiteX1" fmla="*/ 437579 w 2379127"/>
                  <a:gd name="connsiteY1" fmla="*/ 760334 h 1568484"/>
                  <a:gd name="connsiteX2" fmla="*/ 412064 w 2379127"/>
                  <a:gd name="connsiteY2" fmla="*/ 575007 h 1568484"/>
                  <a:gd name="connsiteX3" fmla="*/ 1009931 w 2379127"/>
                  <a:gd name="connsiteY3" fmla="*/ 0 h 1568484"/>
                  <a:gd name="connsiteX4" fmla="*/ 1557304 w 2379127"/>
                  <a:gd name="connsiteY4" fmla="*/ 362823 h 1568484"/>
                  <a:gd name="connsiteX5" fmla="*/ 1572051 w 2379127"/>
                  <a:gd name="connsiteY5" fmla="*/ 410329 h 1568484"/>
                  <a:gd name="connsiteX6" fmla="*/ 1709584 w 2379127"/>
                  <a:gd name="connsiteY6" fmla="*/ 385853 h 1568484"/>
                  <a:gd name="connsiteX7" fmla="*/ 2140813 w 2379127"/>
                  <a:gd name="connsiteY7" fmla="*/ 817082 h 1568484"/>
                  <a:gd name="connsiteX8" fmla="*/ 2106925 w 2379127"/>
                  <a:gd name="connsiteY8" fmla="*/ 984936 h 1568484"/>
                  <a:gd name="connsiteX9" fmla="*/ 2102162 w 2379127"/>
                  <a:gd name="connsiteY9" fmla="*/ 993711 h 1568484"/>
                  <a:gd name="connsiteX10" fmla="*/ 2107295 w 2379127"/>
                  <a:gd name="connsiteY10" fmla="*/ 994229 h 1568484"/>
                  <a:gd name="connsiteX11" fmla="*/ 2379127 w 2379127"/>
                  <a:gd name="connsiteY11" fmla="*/ 1327755 h 1568484"/>
                  <a:gd name="connsiteX12" fmla="*/ 2279414 w 2379127"/>
                  <a:gd name="connsiteY12" fmla="*/ 1568484 h 1568484"/>
                  <a:gd name="connsiteX0" fmla="*/ 126784 w 2395514"/>
                  <a:gd name="connsiteY0" fmla="*/ 1513047 h 1568484"/>
                  <a:gd name="connsiteX1" fmla="*/ 453966 w 2395514"/>
                  <a:gd name="connsiteY1" fmla="*/ 760334 h 1568484"/>
                  <a:gd name="connsiteX2" fmla="*/ 428451 w 2395514"/>
                  <a:gd name="connsiteY2" fmla="*/ 575007 h 1568484"/>
                  <a:gd name="connsiteX3" fmla="*/ 1026318 w 2395514"/>
                  <a:gd name="connsiteY3" fmla="*/ 0 h 1568484"/>
                  <a:gd name="connsiteX4" fmla="*/ 1573691 w 2395514"/>
                  <a:gd name="connsiteY4" fmla="*/ 362823 h 1568484"/>
                  <a:gd name="connsiteX5" fmla="*/ 1588438 w 2395514"/>
                  <a:gd name="connsiteY5" fmla="*/ 410329 h 1568484"/>
                  <a:gd name="connsiteX6" fmla="*/ 1725971 w 2395514"/>
                  <a:gd name="connsiteY6" fmla="*/ 385853 h 1568484"/>
                  <a:gd name="connsiteX7" fmla="*/ 2157200 w 2395514"/>
                  <a:gd name="connsiteY7" fmla="*/ 817082 h 1568484"/>
                  <a:gd name="connsiteX8" fmla="*/ 2123312 w 2395514"/>
                  <a:gd name="connsiteY8" fmla="*/ 984936 h 1568484"/>
                  <a:gd name="connsiteX9" fmla="*/ 2118549 w 2395514"/>
                  <a:gd name="connsiteY9" fmla="*/ 993711 h 1568484"/>
                  <a:gd name="connsiteX10" fmla="*/ 2123682 w 2395514"/>
                  <a:gd name="connsiteY10" fmla="*/ 994229 h 1568484"/>
                  <a:gd name="connsiteX11" fmla="*/ 2395514 w 2395514"/>
                  <a:gd name="connsiteY11" fmla="*/ 1327755 h 1568484"/>
                  <a:gd name="connsiteX12" fmla="*/ 2295801 w 2395514"/>
                  <a:gd name="connsiteY12" fmla="*/ 1568484 h 1568484"/>
                  <a:gd name="connsiteX0" fmla="*/ 132147 w 2378149"/>
                  <a:gd name="connsiteY0" fmla="*/ 1603960 h 1603960"/>
                  <a:gd name="connsiteX1" fmla="*/ 436601 w 2378149"/>
                  <a:gd name="connsiteY1" fmla="*/ 760334 h 1603960"/>
                  <a:gd name="connsiteX2" fmla="*/ 411086 w 2378149"/>
                  <a:gd name="connsiteY2" fmla="*/ 575007 h 1603960"/>
                  <a:gd name="connsiteX3" fmla="*/ 1008953 w 2378149"/>
                  <a:gd name="connsiteY3" fmla="*/ 0 h 1603960"/>
                  <a:gd name="connsiteX4" fmla="*/ 1556326 w 2378149"/>
                  <a:gd name="connsiteY4" fmla="*/ 362823 h 1603960"/>
                  <a:gd name="connsiteX5" fmla="*/ 1571073 w 2378149"/>
                  <a:gd name="connsiteY5" fmla="*/ 410329 h 1603960"/>
                  <a:gd name="connsiteX6" fmla="*/ 1708606 w 2378149"/>
                  <a:gd name="connsiteY6" fmla="*/ 385853 h 1603960"/>
                  <a:gd name="connsiteX7" fmla="*/ 2139835 w 2378149"/>
                  <a:gd name="connsiteY7" fmla="*/ 817082 h 1603960"/>
                  <a:gd name="connsiteX8" fmla="*/ 2105947 w 2378149"/>
                  <a:gd name="connsiteY8" fmla="*/ 984936 h 1603960"/>
                  <a:gd name="connsiteX9" fmla="*/ 2101184 w 2378149"/>
                  <a:gd name="connsiteY9" fmla="*/ 993711 h 1603960"/>
                  <a:gd name="connsiteX10" fmla="*/ 2106317 w 2378149"/>
                  <a:gd name="connsiteY10" fmla="*/ 994229 h 1603960"/>
                  <a:gd name="connsiteX11" fmla="*/ 2378149 w 2378149"/>
                  <a:gd name="connsiteY11" fmla="*/ 1327755 h 1603960"/>
                  <a:gd name="connsiteX12" fmla="*/ 2278436 w 2378149"/>
                  <a:gd name="connsiteY12" fmla="*/ 1568484 h 1603960"/>
                  <a:gd name="connsiteX0" fmla="*/ 152328 w 2398330"/>
                  <a:gd name="connsiteY0" fmla="*/ 1603960 h 1603960"/>
                  <a:gd name="connsiteX1" fmla="*/ 456782 w 2398330"/>
                  <a:gd name="connsiteY1" fmla="*/ 760334 h 1603960"/>
                  <a:gd name="connsiteX2" fmla="*/ 431267 w 2398330"/>
                  <a:gd name="connsiteY2" fmla="*/ 575007 h 1603960"/>
                  <a:gd name="connsiteX3" fmla="*/ 1029134 w 2398330"/>
                  <a:gd name="connsiteY3" fmla="*/ 0 h 1603960"/>
                  <a:gd name="connsiteX4" fmla="*/ 1576507 w 2398330"/>
                  <a:gd name="connsiteY4" fmla="*/ 362823 h 1603960"/>
                  <a:gd name="connsiteX5" fmla="*/ 1591254 w 2398330"/>
                  <a:gd name="connsiteY5" fmla="*/ 410329 h 1603960"/>
                  <a:gd name="connsiteX6" fmla="*/ 1728787 w 2398330"/>
                  <a:gd name="connsiteY6" fmla="*/ 385853 h 1603960"/>
                  <a:gd name="connsiteX7" fmla="*/ 2160016 w 2398330"/>
                  <a:gd name="connsiteY7" fmla="*/ 817082 h 1603960"/>
                  <a:gd name="connsiteX8" fmla="*/ 2126128 w 2398330"/>
                  <a:gd name="connsiteY8" fmla="*/ 984936 h 1603960"/>
                  <a:gd name="connsiteX9" fmla="*/ 2121365 w 2398330"/>
                  <a:gd name="connsiteY9" fmla="*/ 993711 h 1603960"/>
                  <a:gd name="connsiteX10" fmla="*/ 2126498 w 2398330"/>
                  <a:gd name="connsiteY10" fmla="*/ 994229 h 1603960"/>
                  <a:gd name="connsiteX11" fmla="*/ 2398330 w 2398330"/>
                  <a:gd name="connsiteY11" fmla="*/ 1327755 h 1603960"/>
                  <a:gd name="connsiteX12" fmla="*/ 2298617 w 2398330"/>
                  <a:gd name="connsiteY12" fmla="*/ 1568484 h 1603960"/>
                  <a:gd name="connsiteX0" fmla="*/ 117007 w 2363009"/>
                  <a:gd name="connsiteY0" fmla="*/ 1603960 h 1603960"/>
                  <a:gd name="connsiteX1" fmla="*/ 421461 w 2363009"/>
                  <a:gd name="connsiteY1" fmla="*/ 760334 h 1603960"/>
                  <a:gd name="connsiteX2" fmla="*/ 395946 w 2363009"/>
                  <a:gd name="connsiteY2" fmla="*/ 575007 h 1603960"/>
                  <a:gd name="connsiteX3" fmla="*/ 993813 w 2363009"/>
                  <a:gd name="connsiteY3" fmla="*/ 0 h 1603960"/>
                  <a:gd name="connsiteX4" fmla="*/ 1541186 w 2363009"/>
                  <a:gd name="connsiteY4" fmla="*/ 362823 h 1603960"/>
                  <a:gd name="connsiteX5" fmla="*/ 1555933 w 2363009"/>
                  <a:gd name="connsiteY5" fmla="*/ 410329 h 1603960"/>
                  <a:gd name="connsiteX6" fmla="*/ 1693466 w 2363009"/>
                  <a:gd name="connsiteY6" fmla="*/ 385853 h 1603960"/>
                  <a:gd name="connsiteX7" fmla="*/ 2124695 w 2363009"/>
                  <a:gd name="connsiteY7" fmla="*/ 817082 h 1603960"/>
                  <a:gd name="connsiteX8" fmla="*/ 2090807 w 2363009"/>
                  <a:gd name="connsiteY8" fmla="*/ 984936 h 1603960"/>
                  <a:gd name="connsiteX9" fmla="*/ 2086044 w 2363009"/>
                  <a:gd name="connsiteY9" fmla="*/ 993711 h 1603960"/>
                  <a:gd name="connsiteX10" fmla="*/ 2091177 w 2363009"/>
                  <a:gd name="connsiteY10" fmla="*/ 994229 h 1603960"/>
                  <a:gd name="connsiteX11" fmla="*/ 2363009 w 2363009"/>
                  <a:gd name="connsiteY11" fmla="*/ 1327755 h 1603960"/>
                  <a:gd name="connsiteX12" fmla="*/ 2263296 w 2363009"/>
                  <a:gd name="connsiteY12" fmla="*/ 1568484 h 1603960"/>
                  <a:gd name="connsiteX0" fmla="*/ 117007 w 2363009"/>
                  <a:gd name="connsiteY0" fmla="*/ 1603960 h 1603960"/>
                  <a:gd name="connsiteX1" fmla="*/ 421461 w 2363009"/>
                  <a:gd name="connsiteY1" fmla="*/ 760334 h 1603960"/>
                  <a:gd name="connsiteX2" fmla="*/ 993813 w 2363009"/>
                  <a:gd name="connsiteY2" fmla="*/ 0 h 1603960"/>
                  <a:gd name="connsiteX3" fmla="*/ 1541186 w 2363009"/>
                  <a:gd name="connsiteY3" fmla="*/ 362823 h 1603960"/>
                  <a:gd name="connsiteX4" fmla="*/ 1555933 w 2363009"/>
                  <a:gd name="connsiteY4" fmla="*/ 410329 h 1603960"/>
                  <a:gd name="connsiteX5" fmla="*/ 1693466 w 2363009"/>
                  <a:gd name="connsiteY5" fmla="*/ 385853 h 1603960"/>
                  <a:gd name="connsiteX6" fmla="*/ 2124695 w 2363009"/>
                  <a:gd name="connsiteY6" fmla="*/ 817082 h 1603960"/>
                  <a:gd name="connsiteX7" fmla="*/ 2090807 w 2363009"/>
                  <a:gd name="connsiteY7" fmla="*/ 984936 h 1603960"/>
                  <a:gd name="connsiteX8" fmla="*/ 2086044 w 2363009"/>
                  <a:gd name="connsiteY8" fmla="*/ 993711 h 1603960"/>
                  <a:gd name="connsiteX9" fmla="*/ 2091177 w 2363009"/>
                  <a:gd name="connsiteY9" fmla="*/ 994229 h 1603960"/>
                  <a:gd name="connsiteX10" fmla="*/ 2363009 w 2363009"/>
                  <a:gd name="connsiteY10" fmla="*/ 1327755 h 1603960"/>
                  <a:gd name="connsiteX11" fmla="*/ 2263296 w 2363009"/>
                  <a:gd name="connsiteY11" fmla="*/ 1568484 h 1603960"/>
                  <a:gd name="connsiteX0" fmla="*/ 106776 w 2352778"/>
                  <a:gd name="connsiteY0" fmla="*/ 1603960 h 1603960"/>
                  <a:gd name="connsiteX1" fmla="*/ 456689 w 2352778"/>
                  <a:gd name="connsiteY1" fmla="*/ 760335 h 1603960"/>
                  <a:gd name="connsiteX2" fmla="*/ 983582 w 2352778"/>
                  <a:gd name="connsiteY2" fmla="*/ 0 h 1603960"/>
                  <a:gd name="connsiteX3" fmla="*/ 1530955 w 2352778"/>
                  <a:gd name="connsiteY3" fmla="*/ 362823 h 1603960"/>
                  <a:gd name="connsiteX4" fmla="*/ 1545702 w 2352778"/>
                  <a:gd name="connsiteY4" fmla="*/ 410329 h 1603960"/>
                  <a:gd name="connsiteX5" fmla="*/ 1683235 w 2352778"/>
                  <a:gd name="connsiteY5" fmla="*/ 385853 h 1603960"/>
                  <a:gd name="connsiteX6" fmla="*/ 2114464 w 2352778"/>
                  <a:gd name="connsiteY6" fmla="*/ 817082 h 1603960"/>
                  <a:gd name="connsiteX7" fmla="*/ 2080576 w 2352778"/>
                  <a:gd name="connsiteY7" fmla="*/ 984936 h 1603960"/>
                  <a:gd name="connsiteX8" fmla="*/ 2075813 w 2352778"/>
                  <a:gd name="connsiteY8" fmla="*/ 993711 h 1603960"/>
                  <a:gd name="connsiteX9" fmla="*/ 2080946 w 2352778"/>
                  <a:gd name="connsiteY9" fmla="*/ 994229 h 1603960"/>
                  <a:gd name="connsiteX10" fmla="*/ 2352778 w 2352778"/>
                  <a:gd name="connsiteY10" fmla="*/ 1327755 h 1603960"/>
                  <a:gd name="connsiteX11" fmla="*/ 2253065 w 2352778"/>
                  <a:gd name="connsiteY11" fmla="*/ 1568484 h 1603960"/>
                  <a:gd name="connsiteX0" fmla="*/ 106776 w 2352778"/>
                  <a:gd name="connsiteY0" fmla="*/ 1603960 h 1603960"/>
                  <a:gd name="connsiteX1" fmla="*/ 456689 w 2352778"/>
                  <a:gd name="connsiteY1" fmla="*/ 760335 h 1603960"/>
                  <a:gd name="connsiteX2" fmla="*/ 983582 w 2352778"/>
                  <a:gd name="connsiteY2" fmla="*/ 0 h 1603960"/>
                  <a:gd name="connsiteX3" fmla="*/ 1530955 w 2352778"/>
                  <a:gd name="connsiteY3" fmla="*/ 362823 h 1603960"/>
                  <a:gd name="connsiteX4" fmla="*/ 1545702 w 2352778"/>
                  <a:gd name="connsiteY4" fmla="*/ 410329 h 1603960"/>
                  <a:gd name="connsiteX5" fmla="*/ 1683235 w 2352778"/>
                  <a:gd name="connsiteY5" fmla="*/ 385853 h 1603960"/>
                  <a:gd name="connsiteX6" fmla="*/ 2114464 w 2352778"/>
                  <a:gd name="connsiteY6" fmla="*/ 817082 h 1603960"/>
                  <a:gd name="connsiteX7" fmla="*/ 2080576 w 2352778"/>
                  <a:gd name="connsiteY7" fmla="*/ 984936 h 1603960"/>
                  <a:gd name="connsiteX8" fmla="*/ 2075813 w 2352778"/>
                  <a:gd name="connsiteY8" fmla="*/ 993711 h 1603960"/>
                  <a:gd name="connsiteX9" fmla="*/ 2080946 w 2352778"/>
                  <a:gd name="connsiteY9" fmla="*/ 994229 h 1603960"/>
                  <a:gd name="connsiteX10" fmla="*/ 2352778 w 2352778"/>
                  <a:gd name="connsiteY10" fmla="*/ 1327755 h 1603960"/>
                  <a:gd name="connsiteX11" fmla="*/ 2253065 w 2352778"/>
                  <a:gd name="connsiteY11" fmla="*/ 1568484 h 1603960"/>
                  <a:gd name="connsiteX0" fmla="*/ 106776 w 2352778"/>
                  <a:gd name="connsiteY0" fmla="*/ 1610605 h 1610605"/>
                  <a:gd name="connsiteX1" fmla="*/ 456689 w 2352778"/>
                  <a:gd name="connsiteY1" fmla="*/ 766980 h 1610605"/>
                  <a:gd name="connsiteX2" fmla="*/ 983582 w 2352778"/>
                  <a:gd name="connsiteY2" fmla="*/ 6645 h 1610605"/>
                  <a:gd name="connsiteX3" fmla="*/ 1530955 w 2352778"/>
                  <a:gd name="connsiteY3" fmla="*/ 369468 h 1610605"/>
                  <a:gd name="connsiteX4" fmla="*/ 1545702 w 2352778"/>
                  <a:gd name="connsiteY4" fmla="*/ 416974 h 1610605"/>
                  <a:gd name="connsiteX5" fmla="*/ 1683235 w 2352778"/>
                  <a:gd name="connsiteY5" fmla="*/ 392498 h 1610605"/>
                  <a:gd name="connsiteX6" fmla="*/ 2114464 w 2352778"/>
                  <a:gd name="connsiteY6" fmla="*/ 823727 h 1610605"/>
                  <a:gd name="connsiteX7" fmla="*/ 2080576 w 2352778"/>
                  <a:gd name="connsiteY7" fmla="*/ 991581 h 1610605"/>
                  <a:gd name="connsiteX8" fmla="*/ 2075813 w 2352778"/>
                  <a:gd name="connsiteY8" fmla="*/ 1000356 h 1610605"/>
                  <a:gd name="connsiteX9" fmla="*/ 2080946 w 2352778"/>
                  <a:gd name="connsiteY9" fmla="*/ 1000874 h 1610605"/>
                  <a:gd name="connsiteX10" fmla="*/ 2352778 w 2352778"/>
                  <a:gd name="connsiteY10" fmla="*/ 1334400 h 1610605"/>
                  <a:gd name="connsiteX11" fmla="*/ 2253065 w 2352778"/>
                  <a:gd name="connsiteY11" fmla="*/ 1575129 h 1610605"/>
                  <a:gd name="connsiteX0" fmla="*/ 106776 w 2352778"/>
                  <a:gd name="connsiteY0" fmla="*/ 1610605 h 1610605"/>
                  <a:gd name="connsiteX1" fmla="*/ 456689 w 2352778"/>
                  <a:gd name="connsiteY1" fmla="*/ 766980 h 1610605"/>
                  <a:gd name="connsiteX2" fmla="*/ 983582 w 2352778"/>
                  <a:gd name="connsiteY2" fmla="*/ 6645 h 1610605"/>
                  <a:gd name="connsiteX3" fmla="*/ 1530955 w 2352778"/>
                  <a:gd name="connsiteY3" fmla="*/ 369468 h 1610605"/>
                  <a:gd name="connsiteX4" fmla="*/ 1683235 w 2352778"/>
                  <a:gd name="connsiteY4" fmla="*/ 392498 h 1610605"/>
                  <a:gd name="connsiteX5" fmla="*/ 2114464 w 2352778"/>
                  <a:gd name="connsiteY5" fmla="*/ 823727 h 1610605"/>
                  <a:gd name="connsiteX6" fmla="*/ 2080576 w 2352778"/>
                  <a:gd name="connsiteY6" fmla="*/ 991581 h 1610605"/>
                  <a:gd name="connsiteX7" fmla="*/ 2075813 w 2352778"/>
                  <a:gd name="connsiteY7" fmla="*/ 1000356 h 1610605"/>
                  <a:gd name="connsiteX8" fmla="*/ 2080946 w 2352778"/>
                  <a:gd name="connsiteY8" fmla="*/ 1000874 h 1610605"/>
                  <a:gd name="connsiteX9" fmla="*/ 2352778 w 2352778"/>
                  <a:gd name="connsiteY9" fmla="*/ 1334400 h 1610605"/>
                  <a:gd name="connsiteX10" fmla="*/ 2253065 w 2352778"/>
                  <a:gd name="connsiteY10" fmla="*/ 1575129 h 1610605"/>
                  <a:gd name="connsiteX0" fmla="*/ 106776 w 2352778"/>
                  <a:gd name="connsiteY0" fmla="*/ 1612114 h 1612114"/>
                  <a:gd name="connsiteX1" fmla="*/ 456689 w 2352778"/>
                  <a:gd name="connsiteY1" fmla="*/ 768489 h 1612114"/>
                  <a:gd name="connsiteX2" fmla="*/ 983582 w 2352778"/>
                  <a:gd name="connsiteY2" fmla="*/ 8154 h 1612114"/>
                  <a:gd name="connsiteX3" fmla="*/ 1683235 w 2352778"/>
                  <a:gd name="connsiteY3" fmla="*/ 394007 h 1612114"/>
                  <a:gd name="connsiteX4" fmla="*/ 2114464 w 2352778"/>
                  <a:gd name="connsiteY4" fmla="*/ 825236 h 1612114"/>
                  <a:gd name="connsiteX5" fmla="*/ 2080576 w 2352778"/>
                  <a:gd name="connsiteY5" fmla="*/ 993090 h 1612114"/>
                  <a:gd name="connsiteX6" fmla="*/ 2075813 w 2352778"/>
                  <a:gd name="connsiteY6" fmla="*/ 1001865 h 1612114"/>
                  <a:gd name="connsiteX7" fmla="*/ 2080946 w 2352778"/>
                  <a:gd name="connsiteY7" fmla="*/ 1002383 h 1612114"/>
                  <a:gd name="connsiteX8" fmla="*/ 2352778 w 2352778"/>
                  <a:gd name="connsiteY8" fmla="*/ 1335909 h 1612114"/>
                  <a:gd name="connsiteX9" fmla="*/ 2253065 w 2352778"/>
                  <a:gd name="connsiteY9" fmla="*/ 1576638 h 1612114"/>
                  <a:gd name="connsiteX0" fmla="*/ 106776 w 2352778"/>
                  <a:gd name="connsiteY0" fmla="*/ 1611207 h 1611207"/>
                  <a:gd name="connsiteX1" fmla="*/ 456689 w 2352778"/>
                  <a:gd name="connsiteY1" fmla="*/ 767582 h 1611207"/>
                  <a:gd name="connsiteX2" fmla="*/ 983582 w 2352778"/>
                  <a:gd name="connsiteY2" fmla="*/ 7247 h 1611207"/>
                  <a:gd name="connsiteX3" fmla="*/ 1558230 w 2352778"/>
                  <a:gd name="connsiteY3" fmla="*/ 438554 h 1611207"/>
                  <a:gd name="connsiteX4" fmla="*/ 2114464 w 2352778"/>
                  <a:gd name="connsiteY4" fmla="*/ 824329 h 1611207"/>
                  <a:gd name="connsiteX5" fmla="*/ 2080576 w 2352778"/>
                  <a:gd name="connsiteY5" fmla="*/ 992183 h 1611207"/>
                  <a:gd name="connsiteX6" fmla="*/ 2075813 w 2352778"/>
                  <a:gd name="connsiteY6" fmla="*/ 1000958 h 1611207"/>
                  <a:gd name="connsiteX7" fmla="*/ 2080946 w 2352778"/>
                  <a:gd name="connsiteY7" fmla="*/ 1001476 h 1611207"/>
                  <a:gd name="connsiteX8" fmla="*/ 2352778 w 2352778"/>
                  <a:gd name="connsiteY8" fmla="*/ 1335002 h 1611207"/>
                  <a:gd name="connsiteX9" fmla="*/ 2253065 w 2352778"/>
                  <a:gd name="connsiteY9" fmla="*/ 1575731 h 1611207"/>
                  <a:gd name="connsiteX0" fmla="*/ 106776 w 2352778"/>
                  <a:gd name="connsiteY0" fmla="*/ 1608821 h 1608821"/>
                  <a:gd name="connsiteX1" fmla="*/ 456689 w 2352778"/>
                  <a:gd name="connsiteY1" fmla="*/ 765196 h 1608821"/>
                  <a:gd name="connsiteX2" fmla="*/ 983582 w 2352778"/>
                  <a:gd name="connsiteY2" fmla="*/ 4861 h 1608821"/>
                  <a:gd name="connsiteX3" fmla="*/ 1558230 w 2352778"/>
                  <a:gd name="connsiteY3" fmla="*/ 436168 h 1608821"/>
                  <a:gd name="connsiteX4" fmla="*/ 2114464 w 2352778"/>
                  <a:gd name="connsiteY4" fmla="*/ 821943 h 1608821"/>
                  <a:gd name="connsiteX5" fmla="*/ 2080576 w 2352778"/>
                  <a:gd name="connsiteY5" fmla="*/ 989797 h 1608821"/>
                  <a:gd name="connsiteX6" fmla="*/ 2075813 w 2352778"/>
                  <a:gd name="connsiteY6" fmla="*/ 998572 h 1608821"/>
                  <a:gd name="connsiteX7" fmla="*/ 2080946 w 2352778"/>
                  <a:gd name="connsiteY7" fmla="*/ 999090 h 1608821"/>
                  <a:gd name="connsiteX8" fmla="*/ 2352778 w 2352778"/>
                  <a:gd name="connsiteY8" fmla="*/ 1332616 h 1608821"/>
                  <a:gd name="connsiteX9" fmla="*/ 2253065 w 2352778"/>
                  <a:gd name="connsiteY9" fmla="*/ 1573345 h 1608821"/>
                  <a:gd name="connsiteX0" fmla="*/ 106776 w 2352778"/>
                  <a:gd name="connsiteY0" fmla="*/ 1608821 h 1608821"/>
                  <a:gd name="connsiteX1" fmla="*/ 456689 w 2352778"/>
                  <a:gd name="connsiteY1" fmla="*/ 765196 h 1608821"/>
                  <a:gd name="connsiteX2" fmla="*/ 983582 w 2352778"/>
                  <a:gd name="connsiteY2" fmla="*/ 4861 h 1608821"/>
                  <a:gd name="connsiteX3" fmla="*/ 1558230 w 2352778"/>
                  <a:gd name="connsiteY3" fmla="*/ 436168 h 1608821"/>
                  <a:gd name="connsiteX4" fmla="*/ 2114464 w 2352778"/>
                  <a:gd name="connsiteY4" fmla="*/ 821943 h 1608821"/>
                  <a:gd name="connsiteX5" fmla="*/ 2080576 w 2352778"/>
                  <a:gd name="connsiteY5" fmla="*/ 989797 h 1608821"/>
                  <a:gd name="connsiteX6" fmla="*/ 2075813 w 2352778"/>
                  <a:gd name="connsiteY6" fmla="*/ 998572 h 1608821"/>
                  <a:gd name="connsiteX7" fmla="*/ 2080946 w 2352778"/>
                  <a:gd name="connsiteY7" fmla="*/ 999090 h 1608821"/>
                  <a:gd name="connsiteX8" fmla="*/ 2352778 w 2352778"/>
                  <a:gd name="connsiteY8" fmla="*/ 1332616 h 1608821"/>
                  <a:gd name="connsiteX9" fmla="*/ 2253065 w 2352778"/>
                  <a:gd name="connsiteY9" fmla="*/ 1573345 h 1608821"/>
                  <a:gd name="connsiteX0" fmla="*/ 106776 w 2352778"/>
                  <a:gd name="connsiteY0" fmla="*/ 1615532 h 1615532"/>
                  <a:gd name="connsiteX1" fmla="*/ 456689 w 2352778"/>
                  <a:gd name="connsiteY1" fmla="*/ 771907 h 1615532"/>
                  <a:gd name="connsiteX2" fmla="*/ 983582 w 2352778"/>
                  <a:gd name="connsiteY2" fmla="*/ 11572 h 1615532"/>
                  <a:gd name="connsiteX3" fmla="*/ 1558230 w 2352778"/>
                  <a:gd name="connsiteY3" fmla="*/ 442879 h 1615532"/>
                  <a:gd name="connsiteX4" fmla="*/ 2114464 w 2352778"/>
                  <a:gd name="connsiteY4" fmla="*/ 828654 h 1615532"/>
                  <a:gd name="connsiteX5" fmla="*/ 2080576 w 2352778"/>
                  <a:gd name="connsiteY5" fmla="*/ 996508 h 1615532"/>
                  <a:gd name="connsiteX6" fmla="*/ 2075813 w 2352778"/>
                  <a:gd name="connsiteY6" fmla="*/ 1005283 h 1615532"/>
                  <a:gd name="connsiteX7" fmla="*/ 2080946 w 2352778"/>
                  <a:gd name="connsiteY7" fmla="*/ 1005801 h 1615532"/>
                  <a:gd name="connsiteX8" fmla="*/ 2352778 w 2352778"/>
                  <a:gd name="connsiteY8" fmla="*/ 1339327 h 1615532"/>
                  <a:gd name="connsiteX9" fmla="*/ 2253065 w 2352778"/>
                  <a:gd name="connsiteY9" fmla="*/ 1580056 h 1615532"/>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075813 w 2352778"/>
                  <a:gd name="connsiteY5" fmla="*/ 1006291 h 1616540"/>
                  <a:gd name="connsiteX6" fmla="*/ 2080946 w 2352778"/>
                  <a:gd name="connsiteY6" fmla="*/ 1006809 h 1616540"/>
                  <a:gd name="connsiteX7" fmla="*/ 2352778 w 2352778"/>
                  <a:gd name="connsiteY7" fmla="*/ 1340335 h 1616540"/>
                  <a:gd name="connsiteX8" fmla="*/ 2253065 w 2352778"/>
                  <a:gd name="connsiteY8"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075813 w 2352778"/>
                  <a:gd name="connsiteY5" fmla="*/ 1006291 h 1616540"/>
                  <a:gd name="connsiteX6" fmla="*/ 2352778 w 2352778"/>
                  <a:gd name="connsiteY6" fmla="*/ 1340335 h 1616540"/>
                  <a:gd name="connsiteX7" fmla="*/ 2253065 w 2352778"/>
                  <a:gd name="connsiteY7" fmla="*/ 1581064 h 1616540"/>
                  <a:gd name="connsiteX0" fmla="*/ 106776 w 2519017"/>
                  <a:gd name="connsiteY0" fmla="*/ 1616540 h 1616540"/>
                  <a:gd name="connsiteX1" fmla="*/ 456689 w 2519017"/>
                  <a:gd name="connsiteY1" fmla="*/ 772915 h 1616540"/>
                  <a:gd name="connsiteX2" fmla="*/ 983582 w 2519017"/>
                  <a:gd name="connsiteY2" fmla="*/ 12580 h 1616540"/>
                  <a:gd name="connsiteX3" fmla="*/ 1558230 w 2519017"/>
                  <a:gd name="connsiteY3" fmla="*/ 443887 h 1616540"/>
                  <a:gd name="connsiteX4" fmla="*/ 2080576 w 2519017"/>
                  <a:gd name="connsiteY4" fmla="*/ 997516 h 1616540"/>
                  <a:gd name="connsiteX5" fmla="*/ 2519017 w 2519017"/>
                  <a:gd name="connsiteY5" fmla="*/ 790371 h 1616540"/>
                  <a:gd name="connsiteX6" fmla="*/ 2352778 w 2519017"/>
                  <a:gd name="connsiteY6" fmla="*/ 1340335 h 1616540"/>
                  <a:gd name="connsiteX7" fmla="*/ 2253065 w 2519017"/>
                  <a:gd name="connsiteY7"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352778 w 2352778"/>
                  <a:gd name="connsiteY5" fmla="*/ 1340335 h 1616540"/>
                  <a:gd name="connsiteX6" fmla="*/ 2253065 w 2352778"/>
                  <a:gd name="connsiteY6" fmla="*/ 1581064 h 1616540"/>
                  <a:gd name="connsiteX0" fmla="*/ 106776 w 2253066"/>
                  <a:gd name="connsiteY0" fmla="*/ 1616540 h 1616540"/>
                  <a:gd name="connsiteX1" fmla="*/ 456689 w 2253066"/>
                  <a:gd name="connsiteY1" fmla="*/ 772915 h 1616540"/>
                  <a:gd name="connsiteX2" fmla="*/ 983582 w 2253066"/>
                  <a:gd name="connsiteY2" fmla="*/ 12580 h 1616540"/>
                  <a:gd name="connsiteX3" fmla="*/ 1558230 w 2253066"/>
                  <a:gd name="connsiteY3" fmla="*/ 443887 h 1616540"/>
                  <a:gd name="connsiteX4" fmla="*/ 2080576 w 2253066"/>
                  <a:gd name="connsiteY4" fmla="*/ 997516 h 1616540"/>
                  <a:gd name="connsiteX5" fmla="*/ 2253065 w 2253066"/>
                  <a:gd name="connsiteY5" fmla="*/ 1581064 h 1616540"/>
                  <a:gd name="connsiteX0" fmla="*/ 106776 w 2307178"/>
                  <a:gd name="connsiteY0" fmla="*/ 1616540 h 1616540"/>
                  <a:gd name="connsiteX1" fmla="*/ 456689 w 2307178"/>
                  <a:gd name="connsiteY1" fmla="*/ 772915 h 1616540"/>
                  <a:gd name="connsiteX2" fmla="*/ 983582 w 2307178"/>
                  <a:gd name="connsiteY2" fmla="*/ 12580 h 1616540"/>
                  <a:gd name="connsiteX3" fmla="*/ 1558230 w 2307178"/>
                  <a:gd name="connsiteY3" fmla="*/ 443887 h 1616540"/>
                  <a:gd name="connsiteX4" fmla="*/ 2080576 w 2307178"/>
                  <a:gd name="connsiteY4" fmla="*/ 997516 h 1616540"/>
                  <a:gd name="connsiteX5" fmla="*/ 2253065 w 2307178"/>
                  <a:gd name="connsiteY5" fmla="*/ 1581064 h 1616540"/>
                  <a:gd name="connsiteX0" fmla="*/ 106776 w 2403693"/>
                  <a:gd name="connsiteY0" fmla="*/ 1616540 h 1616540"/>
                  <a:gd name="connsiteX1" fmla="*/ 456689 w 2403693"/>
                  <a:gd name="connsiteY1" fmla="*/ 772915 h 1616540"/>
                  <a:gd name="connsiteX2" fmla="*/ 983582 w 2403693"/>
                  <a:gd name="connsiteY2" fmla="*/ 12580 h 1616540"/>
                  <a:gd name="connsiteX3" fmla="*/ 1558230 w 2403693"/>
                  <a:gd name="connsiteY3" fmla="*/ 443887 h 1616540"/>
                  <a:gd name="connsiteX4" fmla="*/ 2080576 w 2403693"/>
                  <a:gd name="connsiteY4" fmla="*/ 997516 h 1616540"/>
                  <a:gd name="connsiteX5" fmla="*/ 2253065 w 2403693"/>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60046 h 1660046"/>
                  <a:gd name="connsiteX1" fmla="*/ 456689 w 2380744"/>
                  <a:gd name="connsiteY1" fmla="*/ 816421 h 1660046"/>
                  <a:gd name="connsiteX2" fmla="*/ 972216 w 2380744"/>
                  <a:gd name="connsiteY2" fmla="*/ 10631 h 1660046"/>
                  <a:gd name="connsiteX3" fmla="*/ 1558230 w 2380744"/>
                  <a:gd name="connsiteY3" fmla="*/ 487393 h 1660046"/>
                  <a:gd name="connsiteX4" fmla="*/ 2080576 w 2380744"/>
                  <a:gd name="connsiteY4" fmla="*/ 1041022 h 1660046"/>
                  <a:gd name="connsiteX5" fmla="*/ 2253065 w 2380744"/>
                  <a:gd name="connsiteY5" fmla="*/ 1624570 h 1660046"/>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73898 h 1673898"/>
                  <a:gd name="connsiteX1" fmla="*/ 456689 w 2380744"/>
                  <a:gd name="connsiteY1" fmla="*/ 830273 h 1673898"/>
                  <a:gd name="connsiteX2" fmla="*/ 972216 w 2380744"/>
                  <a:gd name="connsiteY2" fmla="*/ 24483 h 1673898"/>
                  <a:gd name="connsiteX3" fmla="*/ 1558230 w 2380744"/>
                  <a:gd name="connsiteY3" fmla="*/ 501245 h 1673898"/>
                  <a:gd name="connsiteX4" fmla="*/ 2080576 w 2380744"/>
                  <a:gd name="connsiteY4" fmla="*/ 1054874 h 1673898"/>
                  <a:gd name="connsiteX5" fmla="*/ 2253065 w 2380744"/>
                  <a:gd name="connsiteY5" fmla="*/ 1638422 h 1673898"/>
                  <a:gd name="connsiteX0" fmla="*/ 106776 w 2380744"/>
                  <a:gd name="connsiteY0" fmla="*/ 1663232 h 1663232"/>
                  <a:gd name="connsiteX1" fmla="*/ 456689 w 2380744"/>
                  <a:gd name="connsiteY1" fmla="*/ 819607 h 1663232"/>
                  <a:gd name="connsiteX2" fmla="*/ 972216 w 2380744"/>
                  <a:gd name="connsiteY2" fmla="*/ 13817 h 1663232"/>
                  <a:gd name="connsiteX3" fmla="*/ 1558230 w 2380744"/>
                  <a:gd name="connsiteY3" fmla="*/ 490579 h 1663232"/>
                  <a:gd name="connsiteX4" fmla="*/ 2080576 w 2380744"/>
                  <a:gd name="connsiteY4" fmla="*/ 1044208 h 1663232"/>
                  <a:gd name="connsiteX5" fmla="*/ 2253065 w 2380744"/>
                  <a:gd name="connsiteY5" fmla="*/ 1627756 h 1663232"/>
                  <a:gd name="connsiteX0" fmla="*/ 106776 w 2380744"/>
                  <a:gd name="connsiteY0" fmla="*/ 1620102 h 1620102"/>
                  <a:gd name="connsiteX1" fmla="*/ 456689 w 2380744"/>
                  <a:gd name="connsiteY1" fmla="*/ 776477 h 1620102"/>
                  <a:gd name="connsiteX2" fmla="*/ 801754 w 2380744"/>
                  <a:gd name="connsiteY2" fmla="*/ 16142 h 1620102"/>
                  <a:gd name="connsiteX3" fmla="*/ 1558230 w 2380744"/>
                  <a:gd name="connsiteY3" fmla="*/ 447449 h 1620102"/>
                  <a:gd name="connsiteX4" fmla="*/ 2080576 w 2380744"/>
                  <a:gd name="connsiteY4" fmla="*/ 1001078 h 1620102"/>
                  <a:gd name="connsiteX5" fmla="*/ 2253065 w 2380744"/>
                  <a:gd name="connsiteY5" fmla="*/ 1584626 h 1620102"/>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0744" h="1631741">
                    <a:moveTo>
                      <a:pt x="106776" y="1631741"/>
                    </a:moveTo>
                    <a:cubicBezTo>
                      <a:pt x="-144357" y="1265410"/>
                      <a:pt x="78019" y="788118"/>
                      <a:pt x="456689" y="788116"/>
                    </a:cubicBezTo>
                    <a:cubicBezTo>
                      <a:pt x="409634" y="225321"/>
                      <a:pt x="595881" y="96234"/>
                      <a:pt x="801754" y="27781"/>
                    </a:cubicBezTo>
                    <a:cubicBezTo>
                      <a:pt x="1176640" y="-80091"/>
                      <a:pt x="1494537" y="139300"/>
                      <a:pt x="1558230" y="459088"/>
                    </a:cubicBezTo>
                    <a:cubicBezTo>
                      <a:pt x="1809250" y="361870"/>
                      <a:pt x="2210228" y="441687"/>
                      <a:pt x="2080576" y="1012717"/>
                    </a:cubicBezTo>
                    <a:cubicBezTo>
                      <a:pt x="2501723" y="1070866"/>
                      <a:pt x="2400126" y="1469935"/>
                      <a:pt x="2253065" y="1596265"/>
                    </a:cubicBez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err="1">
                  <a:solidFill>
                    <a:schemeClr val="tx1"/>
                  </a:solidFill>
                </a:endParaRPr>
              </a:p>
            </p:txBody>
          </p:sp>
          <p:sp>
            <p:nvSpPr>
              <p:cNvPr id="155" name="Line 591">
                <a:extLst>
                  <a:ext uri="{FF2B5EF4-FFF2-40B4-BE49-F238E27FC236}">
                    <a16:creationId xmlns:a16="http://schemas.microsoft.com/office/drawing/2014/main" id="{352EFA5A-8DFE-48A3-9105-32B7C32E9DA4}"/>
                  </a:ext>
                </a:extLst>
              </p:cNvPr>
              <p:cNvSpPr>
                <a:spLocks noChangeShapeType="1"/>
              </p:cNvSpPr>
              <p:nvPr/>
            </p:nvSpPr>
            <p:spPr bwMode="gray">
              <a:xfrm>
                <a:off x="5310618" y="2520305"/>
                <a:ext cx="390525" cy="0"/>
              </a:xfrm>
              <a:prstGeom prst="lin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6" name="Freeform 592">
                <a:extLst>
                  <a:ext uri="{FF2B5EF4-FFF2-40B4-BE49-F238E27FC236}">
                    <a16:creationId xmlns:a16="http://schemas.microsoft.com/office/drawing/2014/main" id="{F929A8B0-1422-425F-B700-41604F43C431}"/>
                  </a:ext>
                </a:extLst>
              </p:cNvPr>
              <p:cNvSpPr>
                <a:spLocks/>
              </p:cNvSpPr>
              <p:nvPr/>
            </p:nvSpPr>
            <p:spPr bwMode="gray">
              <a:xfrm>
                <a:off x="5358243" y="2186930"/>
                <a:ext cx="304800" cy="304800"/>
              </a:xfrm>
              <a:custGeom>
                <a:avLst/>
                <a:gdLst>
                  <a:gd name="T0" fmla="*/ 24 w 192"/>
                  <a:gd name="T1" fmla="*/ 192 h 192"/>
                  <a:gd name="T2" fmla="*/ 0 w 192"/>
                  <a:gd name="T3" fmla="*/ 156 h 192"/>
                  <a:gd name="T4" fmla="*/ 42 w 192"/>
                  <a:gd name="T5" fmla="*/ 174 h 192"/>
                  <a:gd name="T6" fmla="*/ 12 w 192"/>
                  <a:gd name="T7" fmla="*/ 81 h 192"/>
                  <a:gd name="T8" fmla="*/ 66 w 192"/>
                  <a:gd name="T9" fmla="*/ 132 h 192"/>
                  <a:gd name="T10" fmla="*/ 84 w 192"/>
                  <a:gd name="T11" fmla="*/ 0 h 192"/>
                  <a:gd name="T12" fmla="*/ 108 w 192"/>
                  <a:gd name="T13" fmla="*/ 164 h 192"/>
                  <a:gd name="T14" fmla="*/ 156 w 192"/>
                  <a:gd name="T15" fmla="*/ 96 h 192"/>
                  <a:gd name="T16" fmla="*/ 144 w 192"/>
                  <a:gd name="T17" fmla="*/ 168 h 192"/>
                  <a:gd name="T18" fmla="*/ 192 w 192"/>
                  <a:gd name="T19" fmla="*/ 144 h 192"/>
                  <a:gd name="T20" fmla="*/ 162 w 192"/>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192">
                    <a:moveTo>
                      <a:pt x="24" y="192"/>
                    </a:moveTo>
                    <a:lnTo>
                      <a:pt x="0" y="156"/>
                    </a:lnTo>
                    <a:lnTo>
                      <a:pt x="42" y="174"/>
                    </a:lnTo>
                    <a:lnTo>
                      <a:pt x="12" y="81"/>
                    </a:lnTo>
                    <a:lnTo>
                      <a:pt x="66" y="132"/>
                    </a:lnTo>
                    <a:lnTo>
                      <a:pt x="84" y="0"/>
                    </a:lnTo>
                    <a:lnTo>
                      <a:pt x="108" y="164"/>
                    </a:lnTo>
                    <a:lnTo>
                      <a:pt x="156" y="96"/>
                    </a:lnTo>
                    <a:lnTo>
                      <a:pt x="144" y="168"/>
                    </a:lnTo>
                    <a:lnTo>
                      <a:pt x="192" y="144"/>
                    </a:lnTo>
                    <a:lnTo>
                      <a:pt x="162" y="192"/>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57" name="Line 594">
                <a:extLst>
                  <a:ext uri="{FF2B5EF4-FFF2-40B4-BE49-F238E27FC236}">
                    <a16:creationId xmlns:a16="http://schemas.microsoft.com/office/drawing/2014/main" id="{52B7964D-F9C2-4F85-BFCF-1073993A2029}"/>
                  </a:ext>
                </a:extLst>
              </p:cNvPr>
              <p:cNvSpPr>
                <a:spLocks noChangeShapeType="1"/>
              </p:cNvSpPr>
              <p:nvPr/>
            </p:nvSpPr>
            <p:spPr bwMode="gray">
              <a:xfrm>
                <a:off x="5491593" y="2363143"/>
                <a:ext cx="0" cy="0"/>
              </a:xfrm>
              <a:prstGeom prst="lin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cxnSp>
          <p:nvCxnSpPr>
            <p:cNvPr id="153" name="Straight Connector 152">
              <a:extLst>
                <a:ext uri="{FF2B5EF4-FFF2-40B4-BE49-F238E27FC236}">
                  <a16:creationId xmlns:a16="http://schemas.microsoft.com/office/drawing/2014/main" id="{C9D82A85-0AF3-49AC-A7F4-A8ACF2F86EE1}"/>
                </a:ext>
              </a:extLst>
            </p:cNvPr>
            <p:cNvCxnSpPr>
              <a:cxnSpLocks/>
            </p:cNvCxnSpPr>
            <p:nvPr/>
          </p:nvCxnSpPr>
          <p:spPr bwMode="gray">
            <a:xfrm flipV="1">
              <a:off x="13575534" y="4538168"/>
              <a:ext cx="793152" cy="743492"/>
            </a:xfrm>
            <a:prstGeom prst="line">
              <a:avLst/>
            </a:prstGeom>
            <a:noFill/>
            <a:ln w="1905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grpSp>
      <p:sp>
        <p:nvSpPr>
          <p:cNvPr id="2" name="Title 1">
            <a:extLst>
              <a:ext uri="{FF2B5EF4-FFF2-40B4-BE49-F238E27FC236}">
                <a16:creationId xmlns:a16="http://schemas.microsoft.com/office/drawing/2014/main" id="{09E294C0-2AA2-4336-9C8A-A79A2F9AF378}"/>
              </a:ext>
            </a:extLst>
          </p:cNvPr>
          <p:cNvSpPr>
            <a:spLocks noGrp="1"/>
          </p:cNvSpPr>
          <p:nvPr>
            <p:ph type="title"/>
          </p:nvPr>
        </p:nvSpPr>
        <p:spPr bwMode="gray">
          <a:xfrm>
            <a:off x="333264" y="682313"/>
            <a:ext cx="11520000" cy="396000"/>
          </a:xfrm>
        </p:spPr>
        <p:txBody>
          <a:bodyPr/>
          <a:lstStyle/>
          <a:p>
            <a:r>
              <a:rPr lang="en-US" dirty="0"/>
              <a:t>Air separation unit (ASU)</a:t>
            </a:r>
          </a:p>
        </p:txBody>
      </p:sp>
      <p:sp>
        <p:nvSpPr>
          <p:cNvPr id="12" name="Date Placeholder 11">
            <a:extLst>
              <a:ext uri="{FF2B5EF4-FFF2-40B4-BE49-F238E27FC236}">
                <a16:creationId xmlns:a16="http://schemas.microsoft.com/office/drawing/2014/main" id="{562D7E5D-AD67-473F-B6DC-9773FD7DB2AA}"/>
              </a:ext>
            </a:extLst>
          </p:cNvPr>
          <p:cNvSpPr>
            <a:spLocks noGrp="1"/>
          </p:cNvSpPr>
          <p:nvPr>
            <p:ph type="dt" sz="half" idx="14"/>
          </p:nvPr>
        </p:nvSpPr>
        <p:spPr bwMode="gray"/>
        <p:txBody>
          <a:bodyPr/>
          <a:lstStyle/>
          <a:p>
            <a:fld id="{ED4418A7-E8E0-42C3-AC0C-9BF91949BA0B}" type="datetime4">
              <a:rPr lang="en-US" smtClean="0"/>
              <a:t>September 8, 2019</a:t>
            </a:fld>
            <a:endParaRPr lang="en-US"/>
          </a:p>
        </p:txBody>
      </p:sp>
      <p:sp>
        <p:nvSpPr>
          <p:cNvPr id="13" name="Footer Placeholder 12">
            <a:extLst>
              <a:ext uri="{FF2B5EF4-FFF2-40B4-BE49-F238E27FC236}">
                <a16:creationId xmlns:a16="http://schemas.microsoft.com/office/drawing/2014/main" id="{37AA1FCA-EAB2-4196-BC86-5901772B5D79}"/>
              </a:ext>
            </a:extLst>
          </p:cNvPr>
          <p:cNvSpPr>
            <a:spLocks noGrp="1"/>
          </p:cNvSpPr>
          <p:nvPr>
            <p:ph type="ftr" sz="quarter" idx="15"/>
          </p:nvPr>
        </p:nvSpPr>
        <p:spPr bwMode="gray"/>
        <p:txBody>
          <a:bodyPr/>
          <a:lstStyle/>
          <a:p>
            <a:pPr lvl="8"/>
            <a:endParaRPr lang="en-US"/>
          </a:p>
        </p:txBody>
      </p:sp>
      <p:sp>
        <p:nvSpPr>
          <p:cNvPr id="14" name="Slide Number Placeholder 13">
            <a:extLst>
              <a:ext uri="{FF2B5EF4-FFF2-40B4-BE49-F238E27FC236}">
                <a16:creationId xmlns:a16="http://schemas.microsoft.com/office/drawing/2014/main" id="{1C064040-85D2-4D92-A886-994C011766E0}"/>
              </a:ext>
            </a:extLst>
          </p:cNvPr>
          <p:cNvSpPr>
            <a:spLocks noGrp="1"/>
          </p:cNvSpPr>
          <p:nvPr>
            <p:ph type="sldNum" sz="quarter" idx="16"/>
          </p:nvPr>
        </p:nvSpPr>
        <p:spPr bwMode="gray"/>
        <p:txBody>
          <a:bodyPr/>
          <a:lstStyle/>
          <a:p>
            <a:r>
              <a:rPr lang="en-US"/>
              <a:t>Slide </a:t>
            </a:r>
            <a:fld id="{619F89D8-7AE3-494A-97F3-03D680869632}" type="slidenum">
              <a:rPr lang="en-US" smtClean="0"/>
              <a:pPr/>
              <a:t>33</a:t>
            </a:fld>
            <a:endParaRPr lang="en-US"/>
          </a:p>
        </p:txBody>
      </p:sp>
      <p:sp>
        <p:nvSpPr>
          <p:cNvPr id="15" name="Subtitle 14">
            <a:extLst>
              <a:ext uri="{FF2B5EF4-FFF2-40B4-BE49-F238E27FC236}">
                <a16:creationId xmlns:a16="http://schemas.microsoft.com/office/drawing/2014/main" id="{847F1449-65DF-4129-AFEC-044C1AA4D4D5}"/>
              </a:ext>
            </a:extLst>
          </p:cNvPr>
          <p:cNvSpPr>
            <a:spLocks noGrp="1"/>
          </p:cNvSpPr>
          <p:nvPr>
            <p:ph type="subTitle" idx="13"/>
          </p:nvPr>
        </p:nvSpPr>
        <p:spPr bwMode="gray">
          <a:xfrm>
            <a:off x="332367" y="1085213"/>
            <a:ext cx="11520000" cy="504000"/>
          </a:xfrm>
        </p:spPr>
        <p:txBody>
          <a:bodyPr>
            <a:noAutofit/>
          </a:bodyPr>
          <a:lstStyle/>
          <a:p>
            <a:r>
              <a:rPr lang="en-US" dirty="0"/>
              <a:t>Continuous &amp; accurate measurements critical for efficient ASU operations</a:t>
            </a:r>
          </a:p>
        </p:txBody>
      </p:sp>
      <p:sp>
        <p:nvSpPr>
          <p:cNvPr id="92" name="Content Placeholder 6">
            <a:extLst>
              <a:ext uri="{FF2B5EF4-FFF2-40B4-BE49-F238E27FC236}">
                <a16:creationId xmlns:a16="http://schemas.microsoft.com/office/drawing/2014/main" id="{7EB41376-1915-4A25-8AB1-D3CF368DFF40}"/>
              </a:ext>
            </a:extLst>
          </p:cNvPr>
          <p:cNvSpPr txBox="1">
            <a:spLocks/>
          </p:cNvSpPr>
          <p:nvPr/>
        </p:nvSpPr>
        <p:spPr bwMode="gray">
          <a:xfrm>
            <a:off x="2218077" y="2085142"/>
            <a:ext cx="385200" cy="385200"/>
          </a:xfrm>
          <a:prstGeom prst="ellipse">
            <a:avLst/>
          </a:prstGeom>
          <a:solidFill>
            <a:schemeClr val="tx2"/>
          </a:solidFill>
        </p:spPr>
        <p:txBody>
          <a:bodyPr anchor="ctr" anchorCtr="0"/>
          <a:lstStyle>
            <a:lvl1pPr marL="0" indent="0" algn="ctr" defTabSz="914491" rtl="0" eaLnBrk="1" latinLnBrk="0" hangingPunct="1">
              <a:spcBef>
                <a:spcPts val="0"/>
              </a:spcBef>
              <a:buFont typeface="Arial" panose="020B0604020202020204" pitchFamily="34" charset="0"/>
              <a:buNone/>
              <a:defRPr sz="2000" b="1" kern="1200">
                <a:solidFill>
                  <a:schemeClr val="bg1"/>
                </a:solidFill>
                <a:latin typeface="ABBvoice" panose="020D0603020503020204" pitchFamily="34" charset="0"/>
                <a:ea typeface="ABBvoice" panose="020D0603020503020204" pitchFamily="34" charset="0"/>
                <a:cs typeface="ABBvoice" panose="020D0603020503020204" pitchFamily="34" charset="0"/>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pl-PL"/>
              <a:t>1</a:t>
            </a:r>
            <a:endParaRPr lang="en-GB" dirty="0"/>
          </a:p>
        </p:txBody>
      </p:sp>
      <p:sp>
        <p:nvSpPr>
          <p:cNvPr id="93" name="Content Placeholder 6">
            <a:extLst>
              <a:ext uri="{FF2B5EF4-FFF2-40B4-BE49-F238E27FC236}">
                <a16:creationId xmlns:a16="http://schemas.microsoft.com/office/drawing/2014/main" id="{31B3B924-590B-4516-8D2E-07710A37B5FD}"/>
              </a:ext>
            </a:extLst>
          </p:cNvPr>
          <p:cNvSpPr txBox="1">
            <a:spLocks/>
          </p:cNvSpPr>
          <p:nvPr/>
        </p:nvSpPr>
        <p:spPr bwMode="gray">
          <a:xfrm>
            <a:off x="2218077" y="2915731"/>
            <a:ext cx="385200" cy="385200"/>
          </a:xfrm>
          <a:prstGeom prst="ellipse">
            <a:avLst/>
          </a:prstGeom>
          <a:solidFill>
            <a:schemeClr val="tx2"/>
          </a:solidFill>
        </p:spPr>
        <p:txBody>
          <a:bodyPr anchor="ctr" anchorCtr="0"/>
          <a:lstStyle>
            <a:lvl1pPr marL="0" indent="0" algn="ctr" defTabSz="914491" rtl="0" eaLnBrk="1" latinLnBrk="0" hangingPunct="1">
              <a:spcBef>
                <a:spcPts val="0"/>
              </a:spcBef>
              <a:buFont typeface="Arial" panose="020B0604020202020204" pitchFamily="34" charset="0"/>
              <a:buNone/>
              <a:defRPr sz="2000" b="1" kern="1200">
                <a:solidFill>
                  <a:schemeClr val="bg1"/>
                </a:solidFill>
                <a:latin typeface="ABBvoice" panose="020D0603020503020204" pitchFamily="34" charset="0"/>
                <a:ea typeface="ABBvoice" panose="020D0603020503020204" pitchFamily="34" charset="0"/>
                <a:cs typeface="ABBvoice" panose="020D0603020503020204" pitchFamily="34" charset="0"/>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pl-PL"/>
              <a:t>2</a:t>
            </a:r>
            <a:endParaRPr lang="en-GB" dirty="0"/>
          </a:p>
        </p:txBody>
      </p:sp>
      <p:sp>
        <p:nvSpPr>
          <p:cNvPr id="94" name="Content Placeholder 6">
            <a:extLst>
              <a:ext uri="{FF2B5EF4-FFF2-40B4-BE49-F238E27FC236}">
                <a16:creationId xmlns:a16="http://schemas.microsoft.com/office/drawing/2014/main" id="{32AFC0E3-532E-4499-B9AC-3D1F8A76C2B3}"/>
              </a:ext>
            </a:extLst>
          </p:cNvPr>
          <p:cNvSpPr txBox="1">
            <a:spLocks/>
          </p:cNvSpPr>
          <p:nvPr/>
        </p:nvSpPr>
        <p:spPr bwMode="gray">
          <a:xfrm>
            <a:off x="2218077" y="3746320"/>
            <a:ext cx="385200" cy="385200"/>
          </a:xfrm>
          <a:prstGeom prst="ellipse">
            <a:avLst/>
          </a:prstGeom>
          <a:solidFill>
            <a:schemeClr val="tx2"/>
          </a:solidFill>
        </p:spPr>
        <p:txBody>
          <a:bodyPr anchor="ctr" anchorCtr="0"/>
          <a:lstStyle>
            <a:lvl1pPr marL="0" indent="0" algn="ctr" defTabSz="914491" rtl="0" eaLnBrk="1" latinLnBrk="0" hangingPunct="1">
              <a:spcBef>
                <a:spcPts val="0"/>
              </a:spcBef>
              <a:buFont typeface="Arial" panose="020B0604020202020204" pitchFamily="34" charset="0"/>
              <a:buNone/>
              <a:defRPr sz="2000" b="1" kern="1200">
                <a:solidFill>
                  <a:schemeClr val="bg1"/>
                </a:solidFill>
                <a:latin typeface="ABBvoice" panose="020D0603020503020204" pitchFamily="34" charset="0"/>
                <a:ea typeface="ABBvoice" panose="020D0603020503020204" pitchFamily="34" charset="0"/>
                <a:cs typeface="ABBvoice" panose="020D0603020503020204" pitchFamily="34" charset="0"/>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pl-PL"/>
              <a:t>3</a:t>
            </a:r>
            <a:endParaRPr lang="en-GB" dirty="0"/>
          </a:p>
        </p:txBody>
      </p:sp>
      <p:sp>
        <p:nvSpPr>
          <p:cNvPr id="95" name="Content Placeholder 6">
            <a:extLst>
              <a:ext uri="{FF2B5EF4-FFF2-40B4-BE49-F238E27FC236}">
                <a16:creationId xmlns:a16="http://schemas.microsoft.com/office/drawing/2014/main" id="{F0748F68-C371-4155-A48E-EC0A3104BC18}"/>
              </a:ext>
            </a:extLst>
          </p:cNvPr>
          <p:cNvSpPr txBox="1">
            <a:spLocks/>
          </p:cNvSpPr>
          <p:nvPr/>
        </p:nvSpPr>
        <p:spPr bwMode="gray">
          <a:xfrm>
            <a:off x="2218077" y="4576908"/>
            <a:ext cx="385200" cy="385200"/>
          </a:xfrm>
          <a:prstGeom prst="ellipse">
            <a:avLst/>
          </a:prstGeom>
          <a:solidFill>
            <a:schemeClr val="tx2"/>
          </a:solidFill>
        </p:spPr>
        <p:txBody>
          <a:bodyPr anchor="ctr" anchorCtr="0"/>
          <a:lstStyle>
            <a:lvl1pPr marL="0" indent="0" algn="ctr" defTabSz="914491" rtl="0" eaLnBrk="1" latinLnBrk="0" hangingPunct="1">
              <a:spcBef>
                <a:spcPts val="0"/>
              </a:spcBef>
              <a:buFont typeface="Arial" panose="020B0604020202020204" pitchFamily="34" charset="0"/>
              <a:buNone/>
              <a:defRPr sz="2000" b="1" kern="1200">
                <a:solidFill>
                  <a:schemeClr val="bg1"/>
                </a:solidFill>
                <a:latin typeface="ABBvoice" panose="020D0603020503020204" pitchFamily="34" charset="0"/>
                <a:ea typeface="ABBvoice" panose="020D0603020503020204" pitchFamily="34" charset="0"/>
                <a:cs typeface="ABBvoice" panose="020D0603020503020204" pitchFamily="34" charset="0"/>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pl-PL"/>
              <a:t>4</a:t>
            </a:r>
            <a:endParaRPr lang="en-GB" dirty="0"/>
          </a:p>
        </p:txBody>
      </p:sp>
      <p:grpSp>
        <p:nvGrpSpPr>
          <p:cNvPr id="96" name="Group 95">
            <a:extLst>
              <a:ext uri="{FF2B5EF4-FFF2-40B4-BE49-F238E27FC236}">
                <a16:creationId xmlns:a16="http://schemas.microsoft.com/office/drawing/2014/main" id="{A4DD2F5D-D190-444A-B8B0-6EBF7FFCEF91}"/>
              </a:ext>
            </a:extLst>
          </p:cNvPr>
          <p:cNvGrpSpPr>
            <a:grpSpLocks noChangeAspect="1"/>
          </p:cNvGrpSpPr>
          <p:nvPr/>
        </p:nvGrpSpPr>
        <p:grpSpPr bwMode="gray">
          <a:xfrm>
            <a:off x="404895" y="3764320"/>
            <a:ext cx="107832" cy="349200"/>
            <a:chOff x="12138497" y="1918592"/>
            <a:chExt cx="372982" cy="1207856"/>
          </a:xfrm>
        </p:grpSpPr>
        <p:sp>
          <p:nvSpPr>
            <p:cNvPr id="97" name="Rectangle: Rounded Corners 49">
              <a:extLst>
                <a:ext uri="{FF2B5EF4-FFF2-40B4-BE49-F238E27FC236}">
                  <a16:creationId xmlns:a16="http://schemas.microsoft.com/office/drawing/2014/main" id="{1D54C957-3D8C-4D70-8F22-50E66AB86B2C}"/>
                </a:ext>
              </a:extLst>
            </p:cNvPr>
            <p:cNvSpPr/>
            <p:nvPr/>
          </p:nvSpPr>
          <p:spPr bwMode="gray">
            <a:xfrm>
              <a:off x="12138497" y="2204345"/>
              <a:ext cx="353215" cy="805903"/>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98" name="Freeform: Shape 97">
              <a:extLst>
                <a:ext uri="{FF2B5EF4-FFF2-40B4-BE49-F238E27FC236}">
                  <a16:creationId xmlns:a16="http://schemas.microsoft.com/office/drawing/2014/main" id="{9976171D-4D94-48E1-ABB0-BFAFCF37A052}"/>
                </a:ext>
              </a:extLst>
            </p:cNvPr>
            <p:cNvSpPr/>
            <p:nvPr/>
          </p:nvSpPr>
          <p:spPr bwMode="gray">
            <a:xfrm>
              <a:off x="12248278" y="2010593"/>
              <a:ext cx="133653" cy="200063"/>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99" name="Straight Connector 98">
              <a:extLst>
                <a:ext uri="{FF2B5EF4-FFF2-40B4-BE49-F238E27FC236}">
                  <a16:creationId xmlns:a16="http://schemas.microsoft.com/office/drawing/2014/main" id="{E964560C-4525-41B2-8706-6FF6A9AAD3B3}"/>
                </a:ext>
              </a:extLst>
            </p:cNvPr>
            <p:cNvCxnSpPr>
              <a:cxnSpLocks/>
            </p:cNvCxnSpPr>
            <p:nvPr/>
          </p:nvCxnSpPr>
          <p:spPr bwMode="gray">
            <a:xfrm>
              <a:off x="12386440" y="2112264"/>
              <a:ext cx="125039"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100" name="Rectangle: Rounded Corners 49">
              <a:extLst>
                <a:ext uri="{FF2B5EF4-FFF2-40B4-BE49-F238E27FC236}">
                  <a16:creationId xmlns:a16="http://schemas.microsoft.com/office/drawing/2014/main" id="{8D40E39C-862D-479F-9723-622203571A70}"/>
                </a:ext>
              </a:extLst>
            </p:cNvPr>
            <p:cNvSpPr/>
            <p:nvPr/>
          </p:nvSpPr>
          <p:spPr bwMode="gray">
            <a:xfrm>
              <a:off x="12138497" y="3010248"/>
              <a:ext cx="353215" cy="1162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101" name="Straight Connector 100">
              <a:extLst>
                <a:ext uri="{FF2B5EF4-FFF2-40B4-BE49-F238E27FC236}">
                  <a16:creationId xmlns:a16="http://schemas.microsoft.com/office/drawing/2014/main" id="{B37FD2C7-DE06-4233-ABF7-C3A36B5FC35D}"/>
                </a:ext>
              </a:extLst>
            </p:cNvPr>
            <p:cNvCxnSpPr>
              <a:cxnSpLocks/>
            </p:cNvCxnSpPr>
            <p:nvPr/>
          </p:nvCxnSpPr>
          <p:spPr bwMode="gray">
            <a:xfrm>
              <a:off x="12248278" y="1933121"/>
              <a:ext cx="133653"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02" name="Straight Connector 101">
              <a:extLst>
                <a:ext uri="{FF2B5EF4-FFF2-40B4-BE49-F238E27FC236}">
                  <a16:creationId xmlns:a16="http://schemas.microsoft.com/office/drawing/2014/main" id="{4DDD7D68-2A9A-4D57-88D5-A195BF42D45B}"/>
                </a:ext>
              </a:extLst>
            </p:cNvPr>
            <p:cNvCxnSpPr>
              <a:cxnSpLocks/>
            </p:cNvCxnSpPr>
            <p:nvPr/>
          </p:nvCxnSpPr>
          <p:spPr bwMode="gray">
            <a:xfrm>
              <a:off x="12315105" y="1918592"/>
              <a:ext cx="0" cy="91498"/>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03" name="Straight Connector 102">
              <a:extLst>
                <a:ext uri="{FF2B5EF4-FFF2-40B4-BE49-F238E27FC236}">
                  <a16:creationId xmlns:a16="http://schemas.microsoft.com/office/drawing/2014/main" id="{AF6663A1-C9FA-4C5E-8287-BF24A05B9F1C}"/>
                </a:ext>
              </a:extLst>
            </p:cNvPr>
            <p:cNvCxnSpPr>
              <a:cxnSpLocks/>
            </p:cNvCxnSpPr>
            <p:nvPr/>
          </p:nvCxnSpPr>
          <p:spPr bwMode="gray">
            <a:xfrm flipH="1">
              <a:off x="12187353" y="2517586"/>
              <a:ext cx="67952" cy="207103"/>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04" name="Straight Connector 103">
              <a:extLst>
                <a:ext uri="{FF2B5EF4-FFF2-40B4-BE49-F238E27FC236}">
                  <a16:creationId xmlns:a16="http://schemas.microsoft.com/office/drawing/2014/main" id="{F8158630-2054-49AE-82DB-A0D04D7AD978}"/>
                </a:ext>
              </a:extLst>
            </p:cNvPr>
            <p:cNvCxnSpPr>
              <a:cxnSpLocks/>
            </p:cNvCxnSpPr>
            <p:nvPr/>
          </p:nvCxnSpPr>
          <p:spPr bwMode="gray">
            <a:xfrm>
              <a:off x="12373023" y="2572192"/>
              <a:ext cx="0" cy="150777"/>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05" name="Straight Connector 104">
              <a:extLst>
                <a:ext uri="{FF2B5EF4-FFF2-40B4-BE49-F238E27FC236}">
                  <a16:creationId xmlns:a16="http://schemas.microsoft.com/office/drawing/2014/main" id="{61065C14-3EBE-48EA-B297-F2C9EEC809D2}"/>
                </a:ext>
              </a:extLst>
            </p:cNvPr>
            <p:cNvCxnSpPr>
              <a:cxnSpLocks/>
            </p:cNvCxnSpPr>
            <p:nvPr/>
          </p:nvCxnSpPr>
          <p:spPr bwMode="gray">
            <a:xfrm>
              <a:off x="12257776" y="2517588"/>
              <a:ext cx="62050" cy="205381"/>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106" name="Freeform: Shape 105">
              <a:extLst>
                <a:ext uri="{FF2B5EF4-FFF2-40B4-BE49-F238E27FC236}">
                  <a16:creationId xmlns:a16="http://schemas.microsoft.com/office/drawing/2014/main" id="{3BECFF8D-567E-49FB-9583-0062059454A5}"/>
                </a:ext>
              </a:extLst>
            </p:cNvPr>
            <p:cNvSpPr/>
            <p:nvPr/>
          </p:nvSpPr>
          <p:spPr bwMode="gray">
            <a:xfrm>
              <a:off x="12374211" y="2574183"/>
              <a:ext cx="58912" cy="65070"/>
            </a:xfrm>
            <a:custGeom>
              <a:avLst/>
              <a:gdLst>
                <a:gd name="connsiteX0" fmla="*/ 100969 w 100969"/>
                <a:gd name="connsiteY0" fmla="*/ 0 h 145344"/>
                <a:gd name="connsiteX1" fmla="*/ 81919 w 100969"/>
                <a:gd name="connsiteY1" fmla="*/ 1905 h 145344"/>
                <a:gd name="connsiteX2" fmla="*/ 62869 w 100969"/>
                <a:gd name="connsiteY2" fmla="*/ 9525 h 145344"/>
                <a:gd name="connsiteX3" fmla="*/ 45724 w 100969"/>
                <a:gd name="connsiteY3" fmla="*/ 17145 h 145344"/>
                <a:gd name="connsiteX4" fmla="*/ 13339 w 100969"/>
                <a:gd name="connsiteY4" fmla="*/ 47625 h 145344"/>
                <a:gd name="connsiteX5" fmla="*/ 9529 w 100969"/>
                <a:gd name="connsiteY5" fmla="*/ 55245 h 145344"/>
                <a:gd name="connsiteX6" fmla="*/ 3814 w 100969"/>
                <a:gd name="connsiteY6" fmla="*/ 64770 h 145344"/>
                <a:gd name="connsiteX7" fmla="*/ 1909 w 100969"/>
                <a:gd name="connsiteY7" fmla="*/ 97155 h 145344"/>
                <a:gd name="connsiteX8" fmla="*/ 7624 w 100969"/>
                <a:gd name="connsiteY8" fmla="*/ 129540 h 145344"/>
                <a:gd name="connsiteX9" fmla="*/ 9529 w 100969"/>
                <a:gd name="connsiteY9" fmla="*/ 139065 h 145344"/>
                <a:gd name="connsiteX10" fmla="*/ 13339 w 100969"/>
                <a:gd name="connsiteY10" fmla="*/ 144780 h 145344"/>
                <a:gd name="connsiteX11" fmla="*/ 9529 w 100969"/>
                <a:gd name="connsiteY11" fmla="*/ 144780 h 145344"/>
                <a:gd name="connsiteX0" fmla="*/ 100969 w 100969"/>
                <a:gd name="connsiteY0" fmla="*/ 0 h 144780"/>
                <a:gd name="connsiteX1" fmla="*/ 81919 w 100969"/>
                <a:gd name="connsiteY1" fmla="*/ 1905 h 144780"/>
                <a:gd name="connsiteX2" fmla="*/ 62869 w 100969"/>
                <a:gd name="connsiteY2" fmla="*/ 9525 h 144780"/>
                <a:gd name="connsiteX3" fmla="*/ 45724 w 100969"/>
                <a:gd name="connsiteY3" fmla="*/ 17145 h 144780"/>
                <a:gd name="connsiteX4" fmla="*/ 13339 w 100969"/>
                <a:gd name="connsiteY4" fmla="*/ 47625 h 144780"/>
                <a:gd name="connsiteX5" fmla="*/ 9529 w 100969"/>
                <a:gd name="connsiteY5" fmla="*/ 55245 h 144780"/>
                <a:gd name="connsiteX6" fmla="*/ 3814 w 100969"/>
                <a:gd name="connsiteY6" fmla="*/ 64770 h 144780"/>
                <a:gd name="connsiteX7" fmla="*/ 1909 w 100969"/>
                <a:gd name="connsiteY7" fmla="*/ 97155 h 144780"/>
                <a:gd name="connsiteX8" fmla="*/ 7624 w 100969"/>
                <a:gd name="connsiteY8" fmla="*/ 129540 h 144780"/>
                <a:gd name="connsiteX9" fmla="*/ 9529 w 100969"/>
                <a:gd name="connsiteY9" fmla="*/ 139065 h 144780"/>
                <a:gd name="connsiteX10" fmla="*/ 13339 w 100969"/>
                <a:gd name="connsiteY10" fmla="*/ 144780 h 144780"/>
                <a:gd name="connsiteX0" fmla="*/ 100969 w 100969"/>
                <a:gd name="connsiteY0" fmla="*/ 0 h 139065"/>
                <a:gd name="connsiteX1" fmla="*/ 81919 w 100969"/>
                <a:gd name="connsiteY1" fmla="*/ 1905 h 139065"/>
                <a:gd name="connsiteX2" fmla="*/ 62869 w 100969"/>
                <a:gd name="connsiteY2" fmla="*/ 9525 h 139065"/>
                <a:gd name="connsiteX3" fmla="*/ 45724 w 100969"/>
                <a:gd name="connsiteY3" fmla="*/ 17145 h 139065"/>
                <a:gd name="connsiteX4" fmla="*/ 13339 w 100969"/>
                <a:gd name="connsiteY4" fmla="*/ 47625 h 139065"/>
                <a:gd name="connsiteX5" fmla="*/ 9529 w 100969"/>
                <a:gd name="connsiteY5" fmla="*/ 55245 h 139065"/>
                <a:gd name="connsiteX6" fmla="*/ 3814 w 100969"/>
                <a:gd name="connsiteY6" fmla="*/ 64770 h 139065"/>
                <a:gd name="connsiteX7" fmla="*/ 1909 w 100969"/>
                <a:gd name="connsiteY7" fmla="*/ 97155 h 139065"/>
                <a:gd name="connsiteX8" fmla="*/ 7624 w 100969"/>
                <a:gd name="connsiteY8" fmla="*/ 129540 h 139065"/>
                <a:gd name="connsiteX9" fmla="*/ 9529 w 100969"/>
                <a:gd name="connsiteY9" fmla="*/ 139065 h 139065"/>
                <a:gd name="connsiteX0" fmla="*/ 100969 w 100969"/>
                <a:gd name="connsiteY0" fmla="*/ 0 h 129540"/>
                <a:gd name="connsiteX1" fmla="*/ 81919 w 100969"/>
                <a:gd name="connsiteY1" fmla="*/ 1905 h 129540"/>
                <a:gd name="connsiteX2" fmla="*/ 62869 w 100969"/>
                <a:gd name="connsiteY2" fmla="*/ 9525 h 129540"/>
                <a:gd name="connsiteX3" fmla="*/ 45724 w 100969"/>
                <a:gd name="connsiteY3" fmla="*/ 17145 h 129540"/>
                <a:gd name="connsiteX4" fmla="*/ 13339 w 100969"/>
                <a:gd name="connsiteY4" fmla="*/ 47625 h 129540"/>
                <a:gd name="connsiteX5" fmla="*/ 9529 w 100969"/>
                <a:gd name="connsiteY5" fmla="*/ 55245 h 129540"/>
                <a:gd name="connsiteX6" fmla="*/ 3814 w 100969"/>
                <a:gd name="connsiteY6" fmla="*/ 64770 h 129540"/>
                <a:gd name="connsiteX7" fmla="*/ 1909 w 100969"/>
                <a:gd name="connsiteY7" fmla="*/ 97155 h 129540"/>
                <a:gd name="connsiteX8" fmla="*/ 7624 w 100969"/>
                <a:gd name="connsiteY8" fmla="*/ 129540 h 129540"/>
                <a:gd name="connsiteX0" fmla="*/ 100969 w 100969"/>
                <a:gd name="connsiteY0" fmla="*/ 0 h 97155"/>
                <a:gd name="connsiteX1" fmla="*/ 81919 w 100969"/>
                <a:gd name="connsiteY1" fmla="*/ 1905 h 97155"/>
                <a:gd name="connsiteX2" fmla="*/ 62869 w 100969"/>
                <a:gd name="connsiteY2" fmla="*/ 9525 h 97155"/>
                <a:gd name="connsiteX3" fmla="*/ 45724 w 100969"/>
                <a:gd name="connsiteY3" fmla="*/ 17145 h 97155"/>
                <a:gd name="connsiteX4" fmla="*/ 13339 w 100969"/>
                <a:gd name="connsiteY4" fmla="*/ 47625 h 97155"/>
                <a:gd name="connsiteX5" fmla="*/ 9529 w 100969"/>
                <a:gd name="connsiteY5" fmla="*/ 55245 h 97155"/>
                <a:gd name="connsiteX6" fmla="*/ 3814 w 100969"/>
                <a:gd name="connsiteY6" fmla="*/ 64770 h 97155"/>
                <a:gd name="connsiteX7" fmla="*/ 1909 w 100969"/>
                <a:gd name="connsiteY7" fmla="*/ 97155 h 97155"/>
                <a:gd name="connsiteX0" fmla="*/ 97155 w 97155"/>
                <a:gd name="connsiteY0" fmla="*/ 0 h 64770"/>
                <a:gd name="connsiteX1" fmla="*/ 78105 w 97155"/>
                <a:gd name="connsiteY1" fmla="*/ 1905 h 64770"/>
                <a:gd name="connsiteX2" fmla="*/ 59055 w 97155"/>
                <a:gd name="connsiteY2" fmla="*/ 9525 h 64770"/>
                <a:gd name="connsiteX3" fmla="*/ 41910 w 97155"/>
                <a:gd name="connsiteY3" fmla="*/ 17145 h 64770"/>
                <a:gd name="connsiteX4" fmla="*/ 9525 w 97155"/>
                <a:gd name="connsiteY4" fmla="*/ 47625 h 64770"/>
                <a:gd name="connsiteX5" fmla="*/ 5715 w 97155"/>
                <a:gd name="connsiteY5" fmla="*/ 55245 h 64770"/>
                <a:gd name="connsiteX6" fmla="*/ 0 w 97155"/>
                <a:gd name="connsiteY6" fmla="*/ 64770 h 64770"/>
                <a:gd name="connsiteX0" fmla="*/ 91440 w 91440"/>
                <a:gd name="connsiteY0" fmla="*/ 0 h 55245"/>
                <a:gd name="connsiteX1" fmla="*/ 72390 w 91440"/>
                <a:gd name="connsiteY1" fmla="*/ 1905 h 55245"/>
                <a:gd name="connsiteX2" fmla="*/ 53340 w 91440"/>
                <a:gd name="connsiteY2" fmla="*/ 9525 h 55245"/>
                <a:gd name="connsiteX3" fmla="*/ 36195 w 91440"/>
                <a:gd name="connsiteY3" fmla="*/ 17145 h 55245"/>
                <a:gd name="connsiteX4" fmla="*/ 3810 w 91440"/>
                <a:gd name="connsiteY4" fmla="*/ 47625 h 55245"/>
                <a:gd name="connsiteX5" fmla="*/ 0 w 91440"/>
                <a:gd name="connsiteY5" fmla="*/ 55245 h 55245"/>
                <a:gd name="connsiteX0" fmla="*/ 87630 w 87630"/>
                <a:gd name="connsiteY0" fmla="*/ 0 h 47625"/>
                <a:gd name="connsiteX1" fmla="*/ 68580 w 87630"/>
                <a:gd name="connsiteY1" fmla="*/ 1905 h 47625"/>
                <a:gd name="connsiteX2" fmla="*/ 49530 w 87630"/>
                <a:gd name="connsiteY2" fmla="*/ 9525 h 47625"/>
                <a:gd name="connsiteX3" fmla="*/ 32385 w 87630"/>
                <a:gd name="connsiteY3" fmla="*/ 17145 h 47625"/>
                <a:gd name="connsiteX4" fmla="*/ 0 w 87630"/>
                <a:gd name="connsiteY4" fmla="*/ 47625 h 47625"/>
                <a:gd name="connsiteX0" fmla="*/ 87630 w 87630"/>
                <a:gd name="connsiteY0" fmla="*/ 0 h 47625"/>
                <a:gd name="connsiteX1" fmla="*/ 68580 w 87630"/>
                <a:gd name="connsiteY1" fmla="*/ 1905 h 47625"/>
                <a:gd name="connsiteX2" fmla="*/ 49530 w 87630"/>
                <a:gd name="connsiteY2" fmla="*/ 9525 h 47625"/>
                <a:gd name="connsiteX3" fmla="*/ 0 w 87630"/>
                <a:gd name="connsiteY3" fmla="*/ 47625 h 47625"/>
                <a:gd name="connsiteX0" fmla="*/ 87630 w 87630"/>
                <a:gd name="connsiteY0" fmla="*/ 2018 h 49643"/>
                <a:gd name="connsiteX1" fmla="*/ 68580 w 87630"/>
                <a:gd name="connsiteY1" fmla="*/ 3923 h 49643"/>
                <a:gd name="connsiteX2" fmla="*/ 0 w 87630"/>
                <a:gd name="connsiteY2" fmla="*/ 49643 h 49643"/>
                <a:gd name="connsiteX0" fmla="*/ 87630 w 87630"/>
                <a:gd name="connsiteY0" fmla="*/ 0 h 47625"/>
                <a:gd name="connsiteX1" fmla="*/ 31096 w 87630"/>
                <a:gd name="connsiteY1" fmla="*/ 22146 h 47625"/>
                <a:gd name="connsiteX2" fmla="*/ 0 w 87630"/>
                <a:gd name="connsiteY2" fmla="*/ 47625 h 47625"/>
                <a:gd name="connsiteX0" fmla="*/ 232360 w 232360"/>
                <a:gd name="connsiteY0" fmla="*/ 0 h 81360"/>
                <a:gd name="connsiteX1" fmla="*/ 175826 w 232360"/>
                <a:gd name="connsiteY1" fmla="*/ 22146 h 81360"/>
                <a:gd name="connsiteX2" fmla="*/ 0 w 232360"/>
                <a:gd name="connsiteY2" fmla="*/ 81360 h 81360"/>
                <a:gd name="connsiteX0" fmla="*/ 63682 w 176446"/>
                <a:gd name="connsiteY0" fmla="*/ 22955 h 60084"/>
                <a:gd name="connsiteX1" fmla="*/ 175826 w 176446"/>
                <a:gd name="connsiteY1" fmla="*/ 870 h 60084"/>
                <a:gd name="connsiteX2" fmla="*/ 0 w 176446"/>
                <a:gd name="connsiteY2" fmla="*/ 60084 h 60084"/>
                <a:gd name="connsiteX0" fmla="*/ 63682 w 63682"/>
                <a:gd name="connsiteY0" fmla="*/ 0 h 37129"/>
                <a:gd name="connsiteX1" fmla="*/ 0 w 63682"/>
                <a:gd name="connsiteY1" fmla="*/ 37129 h 37129"/>
                <a:gd name="connsiteX0" fmla="*/ 63682 w 63682"/>
                <a:gd name="connsiteY0" fmla="*/ 0 h 37129"/>
                <a:gd name="connsiteX1" fmla="*/ 0 w 63682"/>
                <a:gd name="connsiteY1" fmla="*/ 37129 h 37129"/>
                <a:gd name="connsiteX0" fmla="*/ 63682 w 63682"/>
                <a:gd name="connsiteY0" fmla="*/ 0 h 37129"/>
                <a:gd name="connsiteX1" fmla="*/ 0 w 63682"/>
                <a:gd name="connsiteY1" fmla="*/ 37129 h 37129"/>
                <a:gd name="connsiteX0" fmla="*/ 66806 w 66806"/>
                <a:gd name="connsiteY0" fmla="*/ 0 h 38628"/>
                <a:gd name="connsiteX1" fmla="*/ 0 w 66806"/>
                <a:gd name="connsiteY1" fmla="*/ 38628 h 38628"/>
                <a:gd name="connsiteX0" fmla="*/ 66806 w 66806"/>
                <a:gd name="connsiteY0" fmla="*/ 0 h 38628"/>
                <a:gd name="connsiteX1" fmla="*/ 0 w 66806"/>
                <a:gd name="connsiteY1" fmla="*/ 38628 h 38628"/>
                <a:gd name="connsiteX0" fmla="*/ 66806 w 66806"/>
                <a:gd name="connsiteY0" fmla="*/ 617 h 39245"/>
                <a:gd name="connsiteX1" fmla="*/ 0 w 66806"/>
                <a:gd name="connsiteY1" fmla="*/ 39245 h 39245"/>
                <a:gd name="connsiteX0" fmla="*/ 67847 w 67847"/>
                <a:gd name="connsiteY0" fmla="*/ 689 h 37068"/>
                <a:gd name="connsiteX1" fmla="*/ 0 w 67847"/>
                <a:gd name="connsiteY1" fmla="*/ 37068 h 37068"/>
                <a:gd name="connsiteX0" fmla="*/ 67847 w 67847"/>
                <a:gd name="connsiteY0" fmla="*/ 329 h 36708"/>
                <a:gd name="connsiteX1" fmla="*/ 0 w 67847"/>
                <a:gd name="connsiteY1" fmla="*/ 36708 h 36708"/>
                <a:gd name="connsiteX0" fmla="*/ 67847 w 67847"/>
                <a:gd name="connsiteY0" fmla="*/ 300 h 38178"/>
                <a:gd name="connsiteX1" fmla="*/ 0 w 67847"/>
                <a:gd name="connsiteY1" fmla="*/ 38178 h 38178"/>
                <a:gd name="connsiteX0" fmla="*/ 67847 w 67847"/>
                <a:gd name="connsiteY0" fmla="*/ 190 h 38068"/>
                <a:gd name="connsiteX1" fmla="*/ 0 w 67847"/>
                <a:gd name="connsiteY1" fmla="*/ 38068 h 38068"/>
                <a:gd name="connsiteX0" fmla="*/ 67847 w 67847"/>
                <a:gd name="connsiteY0" fmla="*/ 159 h 43285"/>
                <a:gd name="connsiteX1" fmla="*/ 0 w 67847"/>
                <a:gd name="connsiteY1" fmla="*/ 43285 h 43285"/>
                <a:gd name="connsiteX0" fmla="*/ 67847 w 67847"/>
                <a:gd name="connsiteY0" fmla="*/ 286 h 43412"/>
                <a:gd name="connsiteX1" fmla="*/ 0 w 67847"/>
                <a:gd name="connsiteY1" fmla="*/ 43412 h 43412"/>
                <a:gd name="connsiteX0" fmla="*/ 67847 w 67847"/>
                <a:gd name="connsiteY0" fmla="*/ 286 h 43412"/>
                <a:gd name="connsiteX1" fmla="*/ 0 w 67847"/>
                <a:gd name="connsiteY1" fmla="*/ 43412 h 43412"/>
                <a:gd name="connsiteX0" fmla="*/ 67847 w 67847"/>
                <a:gd name="connsiteY0" fmla="*/ 270 h 43396"/>
                <a:gd name="connsiteX1" fmla="*/ 0 w 67847"/>
                <a:gd name="connsiteY1" fmla="*/ 43396 h 43396"/>
              </a:gdLst>
              <a:ahLst/>
              <a:cxnLst>
                <a:cxn ang="0">
                  <a:pos x="connsiteX0" y="connsiteY0"/>
                </a:cxn>
                <a:cxn ang="0">
                  <a:pos x="connsiteX1" y="connsiteY1"/>
                </a:cxn>
              </a:cxnLst>
              <a:rect l="l" t="t" r="r" b="b"/>
              <a:pathLst>
                <a:path w="67847" h="43396">
                  <a:moveTo>
                    <a:pt x="67847" y="270"/>
                  </a:moveTo>
                  <a:cubicBezTo>
                    <a:pt x="33085" y="-2348"/>
                    <a:pt x="8622" y="14299"/>
                    <a:pt x="0" y="43396"/>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a:spAutoFit/>
            </a:bodyPr>
            <a:lstStyle/>
            <a:p>
              <a:pPr algn="ctr"/>
              <a:endParaRPr lang="de-DE">
                <a:solidFill>
                  <a:schemeClr val="tx1"/>
                </a:solidFill>
              </a:endParaRPr>
            </a:p>
          </p:txBody>
        </p:sp>
        <p:cxnSp>
          <p:nvCxnSpPr>
            <p:cNvPr id="107" name="Straight Connector 106">
              <a:extLst>
                <a:ext uri="{FF2B5EF4-FFF2-40B4-BE49-F238E27FC236}">
                  <a16:creationId xmlns:a16="http://schemas.microsoft.com/office/drawing/2014/main" id="{237E978E-E250-4ACD-8B72-78559D72A576}"/>
                </a:ext>
              </a:extLst>
            </p:cNvPr>
            <p:cNvCxnSpPr>
              <a:cxnSpLocks/>
            </p:cNvCxnSpPr>
            <p:nvPr/>
          </p:nvCxnSpPr>
          <p:spPr bwMode="gray">
            <a:xfrm flipH="1">
              <a:off x="12215921" y="2659740"/>
              <a:ext cx="74785" cy="0"/>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grpSp>
        <p:nvGrpSpPr>
          <p:cNvPr id="108" name="Group 107">
            <a:extLst>
              <a:ext uri="{FF2B5EF4-FFF2-40B4-BE49-F238E27FC236}">
                <a16:creationId xmlns:a16="http://schemas.microsoft.com/office/drawing/2014/main" id="{A088147A-4F9E-4D34-9B81-24E5D6D9A83E}"/>
              </a:ext>
            </a:extLst>
          </p:cNvPr>
          <p:cNvGrpSpPr/>
          <p:nvPr/>
        </p:nvGrpSpPr>
        <p:grpSpPr bwMode="gray">
          <a:xfrm>
            <a:off x="405119" y="2934455"/>
            <a:ext cx="107385" cy="347753"/>
            <a:chOff x="4035854" y="1946105"/>
            <a:chExt cx="107385" cy="347753"/>
          </a:xfrm>
        </p:grpSpPr>
        <p:grpSp>
          <p:nvGrpSpPr>
            <p:cNvPr id="109" name="Group 108">
              <a:extLst>
                <a:ext uri="{FF2B5EF4-FFF2-40B4-BE49-F238E27FC236}">
                  <a16:creationId xmlns:a16="http://schemas.microsoft.com/office/drawing/2014/main" id="{C689708E-31D9-4F3F-A83C-E1DB6373889A}"/>
                </a:ext>
              </a:extLst>
            </p:cNvPr>
            <p:cNvGrpSpPr/>
            <p:nvPr/>
          </p:nvGrpSpPr>
          <p:grpSpPr bwMode="gray">
            <a:xfrm>
              <a:off x="4035854" y="1946105"/>
              <a:ext cx="107385" cy="347753"/>
              <a:chOff x="4035854" y="5152292"/>
              <a:chExt cx="107385" cy="347753"/>
            </a:xfrm>
          </p:grpSpPr>
          <p:sp>
            <p:nvSpPr>
              <p:cNvPr id="113" name="Rectangle: Rounded Corners 49">
                <a:extLst>
                  <a:ext uri="{FF2B5EF4-FFF2-40B4-BE49-F238E27FC236}">
                    <a16:creationId xmlns:a16="http://schemas.microsoft.com/office/drawing/2014/main" id="{C3962B31-28E0-4EE2-99BB-923BC14C3FF3}"/>
                  </a:ext>
                </a:extLst>
              </p:cNvPr>
              <p:cNvSpPr/>
              <p:nvPr/>
            </p:nvSpPr>
            <p:spPr bwMode="gray">
              <a:xfrm>
                <a:off x="4035854" y="5234563"/>
                <a:ext cx="101694" cy="232027"/>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14" name="Freeform: Shape 113">
                <a:extLst>
                  <a:ext uri="{FF2B5EF4-FFF2-40B4-BE49-F238E27FC236}">
                    <a16:creationId xmlns:a16="http://schemas.microsoft.com/office/drawing/2014/main" id="{EC17B39D-7C8B-48B0-A08E-AAB315CF08F8}"/>
                  </a:ext>
                </a:extLst>
              </p:cNvPr>
              <p:cNvSpPr/>
              <p:nvPr/>
            </p:nvSpPr>
            <p:spPr bwMode="gray">
              <a:xfrm>
                <a:off x="4067461" y="5178780"/>
                <a:ext cx="38480" cy="57600"/>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115" name="Straight Connector 114">
                <a:extLst>
                  <a:ext uri="{FF2B5EF4-FFF2-40B4-BE49-F238E27FC236}">
                    <a16:creationId xmlns:a16="http://schemas.microsoft.com/office/drawing/2014/main" id="{3F339069-3774-4018-B8EC-8F644FDBD380}"/>
                  </a:ext>
                </a:extLst>
              </p:cNvPr>
              <p:cNvCxnSpPr>
                <a:cxnSpLocks/>
              </p:cNvCxnSpPr>
              <p:nvPr/>
            </p:nvCxnSpPr>
            <p:spPr bwMode="gray">
              <a:xfrm>
                <a:off x="4107239" y="5208052"/>
                <a:ext cx="36000"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116" name="Rectangle: Rounded Corners 49">
                <a:extLst>
                  <a:ext uri="{FF2B5EF4-FFF2-40B4-BE49-F238E27FC236}">
                    <a16:creationId xmlns:a16="http://schemas.microsoft.com/office/drawing/2014/main" id="{EE597E83-9F6E-4BA1-9D0E-DE55C80F3CC0}"/>
                  </a:ext>
                </a:extLst>
              </p:cNvPr>
              <p:cNvSpPr/>
              <p:nvPr/>
            </p:nvSpPr>
            <p:spPr bwMode="gray">
              <a:xfrm>
                <a:off x="4035854" y="5466590"/>
                <a:ext cx="101694" cy="33455"/>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117" name="Straight Connector 116">
                <a:extLst>
                  <a:ext uri="{FF2B5EF4-FFF2-40B4-BE49-F238E27FC236}">
                    <a16:creationId xmlns:a16="http://schemas.microsoft.com/office/drawing/2014/main" id="{CBCD9D70-BF19-41BC-8B1D-58D7AAA32BE4}"/>
                  </a:ext>
                </a:extLst>
              </p:cNvPr>
              <p:cNvCxnSpPr>
                <a:cxnSpLocks/>
              </p:cNvCxnSpPr>
              <p:nvPr/>
            </p:nvCxnSpPr>
            <p:spPr bwMode="gray">
              <a:xfrm>
                <a:off x="4067461" y="5156475"/>
                <a:ext cx="38480"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18" name="Straight Connector 117">
                <a:extLst>
                  <a:ext uri="{FF2B5EF4-FFF2-40B4-BE49-F238E27FC236}">
                    <a16:creationId xmlns:a16="http://schemas.microsoft.com/office/drawing/2014/main" id="{0BF499D6-E75B-4B94-81C5-1232AEC9C91E}"/>
                  </a:ext>
                </a:extLst>
              </p:cNvPr>
              <p:cNvCxnSpPr>
                <a:cxnSpLocks/>
              </p:cNvCxnSpPr>
              <p:nvPr/>
            </p:nvCxnSpPr>
            <p:spPr bwMode="gray">
              <a:xfrm>
                <a:off x="4086701" y="5152292"/>
                <a:ext cx="0" cy="26343"/>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grpSp>
          <p:nvGrpSpPr>
            <p:cNvPr id="110" name="Group 109">
              <a:extLst>
                <a:ext uri="{FF2B5EF4-FFF2-40B4-BE49-F238E27FC236}">
                  <a16:creationId xmlns:a16="http://schemas.microsoft.com/office/drawing/2014/main" id="{B72E7D1C-EA68-4AA6-A705-3C956B263555}"/>
                </a:ext>
              </a:extLst>
            </p:cNvPr>
            <p:cNvGrpSpPr/>
            <p:nvPr/>
          </p:nvGrpSpPr>
          <p:grpSpPr bwMode="gray">
            <a:xfrm>
              <a:off x="4049659" y="2108443"/>
              <a:ext cx="70641" cy="69179"/>
              <a:chOff x="4377691" y="1831150"/>
              <a:chExt cx="359926" cy="352479"/>
            </a:xfrm>
          </p:grpSpPr>
          <p:sp>
            <p:nvSpPr>
              <p:cNvPr id="111" name="Freeform: Shape 110">
                <a:extLst>
                  <a:ext uri="{FF2B5EF4-FFF2-40B4-BE49-F238E27FC236}">
                    <a16:creationId xmlns:a16="http://schemas.microsoft.com/office/drawing/2014/main" id="{DB9B457E-00A7-4281-91F5-90E440F56DBD}"/>
                  </a:ext>
                </a:extLst>
              </p:cNvPr>
              <p:cNvSpPr/>
              <p:nvPr/>
            </p:nvSpPr>
            <p:spPr bwMode="gray">
              <a:xfrm>
                <a:off x="4666311" y="2070643"/>
                <a:ext cx="71306" cy="112986"/>
              </a:xfrm>
              <a:custGeom>
                <a:avLst/>
                <a:gdLst>
                  <a:gd name="connsiteX0" fmla="*/ 0 w 89535"/>
                  <a:gd name="connsiteY0" fmla="*/ 0 h 68580"/>
                  <a:gd name="connsiteX1" fmla="*/ 89535 w 89535"/>
                  <a:gd name="connsiteY1" fmla="*/ 68580 h 68580"/>
                  <a:gd name="connsiteX0" fmla="*/ 0 w 138637"/>
                  <a:gd name="connsiteY0" fmla="*/ 0 h 362909"/>
                  <a:gd name="connsiteX1" fmla="*/ 138637 w 138637"/>
                  <a:gd name="connsiteY1" fmla="*/ 362909 h 362909"/>
                  <a:gd name="connsiteX0" fmla="*/ 0 w 138637"/>
                  <a:gd name="connsiteY0" fmla="*/ 0 h 362909"/>
                  <a:gd name="connsiteX1" fmla="*/ 67051 w 138637"/>
                  <a:gd name="connsiteY1" fmla="*/ 173432 h 362909"/>
                  <a:gd name="connsiteX2" fmla="*/ 138637 w 138637"/>
                  <a:gd name="connsiteY2" fmla="*/ 362909 h 362909"/>
                  <a:gd name="connsiteX0" fmla="*/ 0 w 138637"/>
                  <a:gd name="connsiteY0" fmla="*/ 0 h 362909"/>
                  <a:gd name="connsiteX1" fmla="*/ 136101 w 138637"/>
                  <a:gd name="connsiteY1" fmla="*/ 30554 h 362909"/>
                  <a:gd name="connsiteX2" fmla="*/ 138637 w 138637"/>
                  <a:gd name="connsiteY2" fmla="*/ 362909 h 362909"/>
                  <a:gd name="connsiteX0" fmla="*/ 0 w 138637"/>
                  <a:gd name="connsiteY0" fmla="*/ 0 h 362909"/>
                  <a:gd name="connsiteX1" fmla="*/ 136101 w 138637"/>
                  <a:gd name="connsiteY1" fmla="*/ 30554 h 362909"/>
                  <a:gd name="connsiteX2" fmla="*/ 138637 w 138637"/>
                  <a:gd name="connsiteY2" fmla="*/ 362909 h 362909"/>
                  <a:gd name="connsiteX0" fmla="*/ 0 w 140705"/>
                  <a:gd name="connsiteY0" fmla="*/ 0 h 362909"/>
                  <a:gd name="connsiteX1" fmla="*/ 140705 w 140705"/>
                  <a:gd name="connsiteY1" fmla="*/ 36269 h 362909"/>
                  <a:gd name="connsiteX2" fmla="*/ 138637 w 140705"/>
                  <a:gd name="connsiteY2" fmla="*/ 362909 h 362909"/>
                  <a:gd name="connsiteX0" fmla="*/ 0 w 140705"/>
                  <a:gd name="connsiteY0" fmla="*/ 0 h 362909"/>
                  <a:gd name="connsiteX1" fmla="*/ 140705 w 140705"/>
                  <a:gd name="connsiteY1" fmla="*/ 36269 h 362909"/>
                  <a:gd name="connsiteX2" fmla="*/ 138637 w 140705"/>
                  <a:gd name="connsiteY2" fmla="*/ 362909 h 362909"/>
                  <a:gd name="connsiteX0" fmla="*/ 0 w 160782"/>
                  <a:gd name="connsiteY0" fmla="*/ 0 h 362909"/>
                  <a:gd name="connsiteX1" fmla="*/ 140705 w 160782"/>
                  <a:gd name="connsiteY1" fmla="*/ 36269 h 362909"/>
                  <a:gd name="connsiteX2" fmla="*/ 138637 w 160782"/>
                  <a:gd name="connsiteY2" fmla="*/ 362909 h 362909"/>
                  <a:gd name="connsiteX0" fmla="*/ 0 w 160782"/>
                  <a:gd name="connsiteY0" fmla="*/ 22407 h 385316"/>
                  <a:gd name="connsiteX1" fmla="*/ 140705 w 160782"/>
                  <a:gd name="connsiteY1" fmla="*/ 58676 h 385316"/>
                  <a:gd name="connsiteX2" fmla="*/ 138637 w 160782"/>
                  <a:gd name="connsiteY2" fmla="*/ 385316 h 385316"/>
                  <a:gd name="connsiteX0" fmla="*/ 0 w 160782"/>
                  <a:gd name="connsiteY0" fmla="*/ 52045 h 414954"/>
                  <a:gd name="connsiteX1" fmla="*/ 140705 w 160782"/>
                  <a:gd name="connsiteY1" fmla="*/ 88314 h 414954"/>
                  <a:gd name="connsiteX2" fmla="*/ 138637 w 160782"/>
                  <a:gd name="connsiteY2" fmla="*/ 414954 h 414954"/>
                  <a:gd name="connsiteX0" fmla="*/ 0 w 160782"/>
                  <a:gd name="connsiteY0" fmla="*/ 57888 h 420797"/>
                  <a:gd name="connsiteX1" fmla="*/ 140705 w 160782"/>
                  <a:gd name="connsiteY1" fmla="*/ 94157 h 420797"/>
                  <a:gd name="connsiteX2" fmla="*/ 138637 w 160782"/>
                  <a:gd name="connsiteY2" fmla="*/ 420797 h 420797"/>
                  <a:gd name="connsiteX0" fmla="*/ 0 w 158143"/>
                  <a:gd name="connsiteY0" fmla="*/ 55588 h 418497"/>
                  <a:gd name="connsiteX1" fmla="*/ 137636 w 158143"/>
                  <a:gd name="connsiteY1" fmla="*/ 97572 h 418497"/>
                  <a:gd name="connsiteX2" fmla="*/ 138637 w 158143"/>
                  <a:gd name="connsiteY2" fmla="*/ 418497 h 418497"/>
                  <a:gd name="connsiteX0" fmla="*/ 0 w 138637"/>
                  <a:gd name="connsiteY0" fmla="*/ 55588 h 418497"/>
                  <a:gd name="connsiteX1" fmla="*/ 137636 w 138637"/>
                  <a:gd name="connsiteY1" fmla="*/ 97572 h 418497"/>
                  <a:gd name="connsiteX2" fmla="*/ 138637 w 138637"/>
                  <a:gd name="connsiteY2" fmla="*/ 418497 h 418497"/>
                  <a:gd name="connsiteX0" fmla="*/ 4055 w 141691"/>
                  <a:gd name="connsiteY0" fmla="*/ 55588 h 415639"/>
                  <a:gd name="connsiteX1" fmla="*/ 141691 w 141691"/>
                  <a:gd name="connsiteY1" fmla="*/ 97572 h 415639"/>
                  <a:gd name="connsiteX2" fmla="*/ 7662 w 141691"/>
                  <a:gd name="connsiteY2" fmla="*/ 415639 h 415639"/>
                  <a:gd name="connsiteX0" fmla="*/ 0 w 137636"/>
                  <a:gd name="connsiteY0" fmla="*/ 55588 h 415639"/>
                  <a:gd name="connsiteX1" fmla="*/ 137636 w 137636"/>
                  <a:gd name="connsiteY1" fmla="*/ 97572 h 415639"/>
                  <a:gd name="connsiteX2" fmla="*/ 3607 w 137636"/>
                  <a:gd name="connsiteY2" fmla="*/ 415639 h 415639"/>
                  <a:gd name="connsiteX0" fmla="*/ 0 w 137636"/>
                  <a:gd name="connsiteY0" fmla="*/ 52352 h 412403"/>
                  <a:gd name="connsiteX1" fmla="*/ 137636 w 137636"/>
                  <a:gd name="connsiteY1" fmla="*/ 102909 h 412403"/>
                  <a:gd name="connsiteX2" fmla="*/ 3607 w 137636"/>
                  <a:gd name="connsiteY2" fmla="*/ 412403 h 412403"/>
                  <a:gd name="connsiteX0" fmla="*/ 0 w 134567"/>
                  <a:gd name="connsiteY0" fmla="*/ 52352 h 412403"/>
                  <a:gd name="connsiteX1" fmla="*/ 134567 w 134567"/>
                  <a:gd name="connsiteY1" fmla="*/ 102909 h 412403"/>
                  <a:gd name="connsiteX2" fmla="*/ 3607 w 134567"/>
                  <a:gd name="connsiteY2" fmla="*/ 412403 h 412403"/>
                  <a:gd name="connsiteX0" fmla="*/ 5680 w 140250"/>
                  <a:gd name="connsiteY0" fmla="*/ 52352 h 415190"/>
                  <a:gd name="connsiteX1" fmla="*/ 140247 w 140250"/>
                  <a:gd name="connsiteY1" fmla="*/ 102909 h 415190"/>
                  <a:gd name="connsiteX2" fmla="*/ 9820 w 140250"/>
                  <a:gd name="connsiteY2" fmla="*/ 382950 h 415190"/>
                  <a:gd name="connsiteX3" fmla="*/ 9287 w 140250"/>
                  <a:gd name="connsiteY3" fmla="*/ 412403 h 415190"/>
                  <a:gd name="connsiteX0" fmla="*/ 0 w 140171"/>
                  <a:gd name="connsiteY0" fmla="*/ 52352 h 416750"/>
                  <a:gd name="connsiteX1" fmla="*/ 134567 w 140171"/>
                  <a:gd name="connsiteY1" fmla="*/ 102909 h 416750"/>
                  <a:gd name="connsiteX2" fmla="*/ 4140 w 140171"/>
                  <a:gd name="connsiteY2" fmla="*/ 382950 h 416750"/>
                  <a:gd name="connsiteX3" fmla="*/ 140171 w 140171"/>
                  <a:gd name="connsiteY3" fmla="*/ 415261 h 416750"/>
                  <a:gd name="connsiteX0" fmla="*/ 0 w 134570"/>
                  <a:gd name="connsiteY0" fmla="*/ 52352 h 566711"/>
                  <a:gd name="connsiteX1" fmla="*/ 134567 w 134570"/>
                  <a:gd name="connsiteY1" fmla="*/ 102909 h 566711"/>
                  <a:gd name="connsiteX2" fmla="*/ 4140 w 134570"/>
                  <a:gd name="connsiteY2" fmla="*/ 382950 h 566711"/>
                  <a:gd name="connsiteX3" fmla="*/ 68053 w 134570"/>
                  <a:gd name="connsiteY3" fmla="*/ 566711 h 566711"/>
                  <a:gd name="connsiteX0" fmla="*/ 746 w 135316"/>
                  <a:gd name="connsiteY0" fmla="*/ 52352 h 566711"/>
                  <a:gd name="connsiteX1" fmla="*/ 135313 w 135316"/>
                  <a:gd name="connsiteY1" fmla="*/ 102909 h 566711"/>
                  <a:gd name="connsiteX2" fmla="*/ 4886 w 135316"/>
                  <a:gd name="connsiteY2" fmla="*/ 382950 h 566711"/>
                  <a:gd name="connsiteX3" fmla="*/ 68799 w 135316"/>
                  <a:gd name="connsiteY3" fmla="*/ 566711 h 566711"/>
                  <a:gd name="connsiteX0" fmla="*/ 0 w 144776"/>
                  <a:gd name="connsiteY0" fmla="*/ 52352 h 420976"/>
                  <a:gd name="connsiteX1" fmla="*/ 134567 w 144776"/>
                  <a:gd name="connsiteY1" fmla="*/ 102909 h 420976"/>
                  <a:gd name="connsiteX2" fmla="*/ 4140 w 144776"/>
                  <a:gd name="connsiteY2" fmla="*/ 382950 h 420976"/>
                  <a:gd name="connsiteX3" fmla="*/ 144775 w 144776"/>
                  <a:gd name="connsiteY3" fmla="*/ 420976 h 420976"/>
                  <a:gd name="connsiteX0" fmla="*/ 0 w 144775"/>
                  <a:gd name="connsiteY0" fmla="*/ 52352 h 421674"/>
                  <a:gd name="connsiteX1" fmla="*/ 134567 w 144775"/>
                  <a:gd name="connsiteY1" fmla="*/ 102909 h 421674"/>
                  <a:gd name="connsiteX2" fmla="*/ 4140 w 144775"/>
                  <a:gd name="connsiteY2" fmla="*/ 382950 h 421674"/>
                  <a:gd name="connsiteX3" fmla="*/ 144775 w 144775"/>
                  <a:gd name="connsiteY3" fmla="*/ 420976 h 421674"/>
                  <a:gd name="connsiteX0" fmla="*/ 0 w 140172"/>
                  <a:gd name="connsiteY0" fmla="*/ 52352 h 417927"/>
                  <a:gd name="connsiteX1" fmla="*/ 134567 w 140172"/>
                  <a:gd name="connsiteY1" fmla="*/ 102909 h 417927"/>
                  <a:gd name="connsiteX2" fmla="*/ 4140 w 140172"/>
                  <a:gd name="connsiteY2" fmla="*/ 382950 h 417927"/>
                  <a:gd name="connsiteX3" fmla="*/ 140172 w 140172"/>
                  <a:gd name="connsiteY3" fmla="*/ 415261 h 417927"/>
                  <a:gd name="connsiteX0" fmla="*/ 1216 w 141388"/>
                  <a:gd name="connsiteY0" fmla="*/ 52352 h 430929"/>
                  <a:gd name="connsiteX1" fmla="*/ 135783 w 141388"/>
                  <a:gd name="connsiteY1" fmla="*/ 102909 h 430929"/>
                  <a:gd name="connsiteX2" fmla="*/ 3822 w 141388"/>
                  <a:gd name="connsiteY2" fmla="*/ 405811 h 430929"/>
                  <a:gd name="connsiteX3" fmla="*/ 141388 w 141388"/>
                  <a:gd name="connsiteY3" fmla="*/ 415261 h 430929"/>
                  <a:gd name="connsiteX0" fmla="*/ 0 w 140172"/>
                  <a:gd name="connsiteY0" fmla="*/ 52352 h 415261"/>
                  <a:gd name="connsiteX1" fmla="*/ 134567 w 140172"/>
                  <a:gd name="connsiteY1" fmla="*/ 102909 h 415261"/>
                  <a:gd name="connsiteX2" fmla="*/ 2606 w 140172"/>
                  <a:gd name="connsiteY2" fmla="*/ 405811 h 415261"/>
                  <a:gd name="connsiteX3" fmla="*/ 140172 w 140172"/>
                  <a:gd name="connsiteY3" fmla="*/ 415261 h 415261"/>
                  <a:gd name="connsiteX0" fmla="*/ 463 w 140635"/>
                  <a:gd name="connsiteY0" fmla="*/ 52352 h 415512"/>
                  <a:gd name="connsiteX1" fmla="*/ 135030 w 140635"/>
                  <a:gd name="connsiteY1" fmla="*/ 102909 h 415512"/>
                  <a:gd name="connsiteX2" fmla="*/ 0 w 140635"/>
                  <a:gd name="connsiteY2" fmla="*/ 414383 h 415512"/>
                  <a:gd name="connsiteX3" fmla="*/ 140635 w 140635"/>
                  <a:gd name="connsiteY3" fmla="*/ 415261 h 415512"/>
                  <a:gd name="connsiteX0" fmla="*/ 463 w 140635"/>
                  <a:gd name="connsiteY0" fmla="*/ 52352 h 415261"/>
                  <a:gd name="connsiteX1" fmla="*/ 135030 w 140635"/>
                  <a:gd name="connsiteY1" fmla="*/ 102909 h 415261"/>
                  <a:gd name="connsiteX2" fmla="*/ 0 w 140635"/>
                  <a:gd name="connsiteY2" fmla="*/ 408667 h 415261"/>
                  <a:gd name="connsiteX3" fmla="*/ 140635 w 140635"/>
                  <a:gd name="connsiteY3" fmla="*/ 415261 h 415261"/>
                  <a:gd name="connsiteX0" fmla="*/ 463 w 140635"/>
                  <a:gd name="connsiteY0" fmla="*/ 52352 h 415510"/>
                  <a:gd name="connsiteX1" fmla="*/ 135030 w 140635"/>
                  <a:gd name="connsiteY1" fmla="*/ 102909 h 415510"/>
                  <a:gd name="connsiteX2" fmla="*/ 0 w 140635"/>
                  <a:gd name="connsiteY2" fmla="*/ 414382 h 415510"/>
                  <a:gd name="connsiteX3" fmla="*/ 140635 w 140635"/>
                  <a:gd name="connsiteY3" fmla="*/ 415261 h 415510"/>
                  <a:gd name="connsiteX0" fmla="*/ 463 w 140635"/>
                  <a:gd name="connsiteY0" fmla="*/ 52352 h 415510"/>
                  <a:gd name="connsiteX1" fmla="*/ 135030 w 140635"/>
                  <a:gd name="connsiteY1" fmla="*/ 102909 h 415510"/>
                  <a:gd name="connsiteX2" fmla="*/ 0 w 140635"/>
                  <a:gd name="connsiteY2" fmla="*/ 414382 h 415510"/>
                  <a:gd name="connsiteX3" fmla="*/ 140635 w 140635"/>
                  <a:gd name="connsiteY3" fmla="*/ 415261 h 415510"/>
                  <a:gd name="connsiteX0" fmla="*/ 636 w 140808"/>
                  <a:gd name="connsiteY0" fmla="*/ 52352 h 415510"/>
                  <a:gd name="connsiteX1" fmla="*/ 135203 w 140808"/>
                  <a:gd name="connsiteY1" fmla="*/ 102909 h 415510"/>
                  <a:gd name="connsiteX2" fmla="*/ 173 w 140808"/>
                  <a:gd name="connsiteY2" fmla="*/ 414382 h 415510"/>
                  <a:gd name="connsiteX3" fmla="*/ 140808 w 140808"/>
                  <a:gd name="connsiteY3" fmla="*/ 415261 h 415510"/>
                  <a:gd name="connsiteX0" fmla="*/ 637 w 140809"/>
                  <a:gd name="connsiteY0" fmla="*/ 52352 h 415510"/>
                  <a:gd name="connsiteX1" fmla="*/ 135204 w 140809"/>
                  <a:gd name="connsiteY1" fmla="*/ 102909 h 415510"/>
                  <a:gd name="connsiteX2" fmla="*/ 174 w 140809"/>
                  <a:gd name="connsiteY2" fmla="*/ 414382 h 415510"/>
                  <a:gd name="connsiteX3" fmla="*/ 140809 w 140809"/>
                  <a:gd name="connsiteY3" fmla="*/ 415261 h 415510"/>
                  <a:gd name="connsiteX0" fmla="*/ 0 w 140172"/>
                  <a:gd name="connsiteY0" fmla="*/ 52352 h 415510"/>
                  <a:gd name="connsiteX1" fmla="*/ 134567 w 140172"/>
                  <a:gd name="connsiteY1" fmla="*/ 102909 h 415510"/>
                  <a:gd name="connsiteX2" fmla="*/ 1071 w 140172"/>
                  <a:gd name="connsiteY2" fmla="*/ 414382 h 415510"/>
                  <a:gd name="connsiteX3" fmla="*/ 140172 w 140172"/>
                  <a:gd name="connsiteY3" fmla="*/ 415261 h 415510"/>
                  <a:gd name="connsiteX0" fmla="*/ 0 w 141706"/>
                  <a:gd name="connsiteY0" fmla="*/ 52352 h 415510"/>
                  <a:gd name="connsiteX1" fmla="*/ 134567 w 141706"/>
                  <a:gd name="connsiteY1" fmla="*/ 102909 h 415510"/>
                  <a:gd name="connsiteX2" fmla="*/ 1071 w 141706"/>
                  <a:gd name="connsiteY2" fmla="*/ 414382 h 415510"/>
                  <a:gd name="connsiteX3" fmla="*/ 141706 w 141706"/>
                  <a:gd name="connsiteY3" fmla="*/ 415261 h 415510"/>
                  <a:gd name="connsiteX0" fmla="*/ 2175 w 140812"/>
                  <a:gd name="connsiteY0" fmla="*/ 52353 h 415510"/>
                  <a:gd name="connsiteX1" fmla="*/ 133673 w 140812"/>
                  <a:gd name="connsiteY1" fmla="*/ 102909 h 415510"/>
                  <a:gd name="connsiteX2" fmla="*/ 177 w 140812"/>
                  <a:gd name="connsiteY2" fmla="*/ 414382 h 415510"/>
                  <a:gd name="connsiteX3" fmla="*/ 140812 w 140812"/>
                  <a:gd name="connsiteY3" fmla="*/ 415261 h 415510"/>
                </a:gdLst>
                <a:ahLst/>
                <a:cxnLst>
                  <a:cxn ang="0">
                    <a:pos x="connsiteX0" y="connsiteY0"/>
                  </a:cxn>
                  <a:cxn ang="0">
                    <a:pos x="connsiteX1" y="connsiteY1"/>
                  </a:cxn>
                  <a:cxn ang="0">
                    <a:pos x="connsiteX2" y="connsiteY2"/>
                  </a:cxn>
                  <a:cxn ang="0">
                    <a:pos x="connsiteX3" y="connsiteY3"/>
                  </a:cxn>
                </a:cxnLst>
                <a:rect l="l" t="t" r="r" b="b"/>
                <a:pathLst>
                  <a:path w="140812" h="415510">
                    <a:moveTo>
                      <a:pt x="2175" y="52353"/>
                    </a:moveTo>
                    <a:cubicBezTo>
                      <a:pt x="36801" y="-34619"/>
                      <a:pt x="132804" y="-10148"/>
                      <a:pt x="133673" y="102909"/>
                    </a:cubicBezTo>
                    <a:cubicBezTo>
                      <a:pt x="132829" y="255166"/>
                      <a:pt x="-5616" y="171344"/>
                      <a:pt x="177" y="414382"/>
                    </a:cubicBezTo>
                    <a:cubicBezTo>
                      <a:pt x="50469" y="417385"/>
                      <a:pt x="56506" y="413209"/>
                      <a:pt x="140812" y="415261"/>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dirty="0"/>
              </a:p>
            </p:txBody>
          </p:sp>
          <p:sp>
            <p:nvSpPr>
              <p:cNvPr id="112" name="Rectangle: Rounded Corners 111">
                <a:extLst>
                  <a:ext uri="{FF2B5EF4-FFF2-40B4-BE49-F238E27FC236}">
                    <a16:creationId xmlns:a16="http://schemas.microsoft.com/office/drawing/2014/main" id="{0698C406-045C-4263-A25D-F1CB1B8E3290}"/>
                  </a:ext>
                </a:extLst>
              </p:cNvPr>
              <p:cNvSpPr/>
              <p:nvPr/>
            </p:nvSpPr>
            <p:spPr bwMode="gray">
              <a:xfrm>
                <a:off x="4377691" y="1831150"/>
                <a:ext cx="255270" cy="283400"/>
              </a:xfrm>
              <a:prstGeom prst="roundRect">
                <a:avLst>
                  <a:gd name="adj" fmla="val 50000"/>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grpSp>
      </p:grpSp>
      <p:grpSp>
        <p:nvGrpSpPr>
          <p:cNvPr id="119" name="Group 118">
            <a:extLst>
              <a:ext uri="{FF2B5EF4-FFF2-40B4-BE49-F238E27FC236}">
                <a16:creationId xmlns:a16="http://schemas.microsoft.com/office/drawing/2014/main" id="{B3838374-8C5A-4FAE-98E0-AEF47EE93902}"/>
              </a:ext>
            </a:extLst>
          </p:cNvPr>
          <p:cNvGrpSpPr>
            <a:grpSpLocks noChangeAspect="1"/>
          </p:cNvGrpSpPr>
          <p:nvPr/>
        </p:nvGrpSpPr>
        <p:grpSpPr bwMode="gray">
          <a:xfrm>
            <a:off x="404895" y="4594908"/>
            <a:ext cx="107832" cy="349200"/>
            <a:chOff x="6945796" y="424020"/>
            <a:chExt cx="369775" cy="1197468"/>
          </a:xfrm>
        </p:grpSpPr>
        <p:cxnSp>
          <p:nvCxnSpPr>
            <p:cNvPr id="120" name="Straight Connector 119">
              <a:extLst>
                <a:ext uri="{FF2B5EF4-FFF2-40B4-BE49-F238E27FC236}">
                  <a16:creationId xmlns:a16="http://schemas.microsoft.com/office/drawing/2014/main" id="{A42E0104-97F2-4236-990F-BD2DFD32A561}"/>
                </a:ext>
              </a:extLst>
            </p:cNvPr>
            <p:cNvCxnSpPr>
              <a:cxnSpLocks/>
            </p:cNvCxnSpPr>
            <p:nvPr/>
          </p:nvCxnSpPr>
          <p:spPr bwMode="gray">
            <a:xfrm>
              <a:off x="7031351" y="1002066"/>
              <a:ext cx="0" cy="202767"/>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21" name="Straight Connector 120">
              <a:extLst>
                <a:ext uri="{FF2B5EF4-FFF2-40B4-BE49-F238E27FC236}">
                  <a16:creationId xmlns:a16="http://schemas.microsoft.com/office/drawing/2014/main" id="{B2CB3E74-4060-41CF-B688-F77F9EB8C74E}"/>
                </a:ext>
              </a:extLst>
            </p:cNvPr>
            <p:cNvCxnSpPr>
              <a:cxnSpLocks/>
            </p:cNvCxnSpPr>
            <p:nvPr/>
          </p:nvCxnSpPr>
          <p:spPr bwMode="gray">
            <a:xfrm>
              <a:off x="7134901" y="1002066"/>
              <a:ext cx="0" cy="202767"/>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22" name="Straight Connector 121">
              <a:extLst>
                <a:ext uri="{FF2B5EF4-FFF2-40B4-BE49-F238E27FC236}">
                  <a16:creationId xmlns:a16="http://schemas.microsoft.com/office/drawing/2014/main" id="{4CB77ACA-82A5-428A-A75D-A0A0DBEEE258}"/>
                </a:ext>
              </a:extLst>
            </p:cNvPr>
            <p:cNvCxnSpPr>
              <a:cxnSpLocks/>
            </p:cNvCxnSpPr>
            <p:nvPr/>
          </p:nvCxnSpPr>
          <p:spPr bwMode="gray">
            <a:xfrm>
              <a:off x="7031351" y="1002066"/>
              <a:ext cx="102971" cy="202767"/>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123" name="Rectangle: Rounded Corners 49">
              <a:extLst>
                <a:ext uri="{FF2B5EF4-FFF2-40B4-BE49-F238E27FC236}">
                  <a16:creationId xmlns:a16="http://schemas.microsoft.com/office/drawing/2014/main" id="{6DAD9B5F-EE7F-47D3-B17F-C5D04AA29F6B}"/>
                </a:ext>
              </a:extLst>
            </p:cNvPr>
            <p:cNvSpPr/>
            <p:nvPr/>
          </p:nvSpPr>
          <p:spPr bwMode="gray">
            <a:xfrm>
              <a:off x="6945796" y="707314"/>
              <a:ext cx="350177" cy="798970"/>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24" name="Freeform: Shape 123">
              <a:extLst>
                <a:ext uri="{FF2B5EF4-FFF2-40B4-BE49-F238E27FC236}">
                  <a16:creationId xmlns:a16="http://schemas.microsoft.com/office/drawing/2014/main" id="{6518D902-2BE3-4D4F-ADED-9F91E9FA921F}"/>
                </a:ext>
              </a:extLst>
            </p:cNvPr>
            <p:cNvSpPr/>
            <p:nvPr/>
          </p:nvSpPr>
          <p:spPr bwMode="gray">
            <a:xfrm>
              <a:off x="7054635" y="515229"/>
              <a:ext cx="132503" cy="198343"/>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125" name="Straight Connector 124">
              <a:extLst>
                <a:ext uri="{FF2B5EF4-FFF2-40B4-BE49-F238E27FC236}">
                  <a16:creationId xmlns:a16="http://schemas.microsoft.com/office/drawing/2014/main" id="{2CFC7E45-CD52-42C0-B402-2FF7A3C4AAF0}"/>
                </a:ext>
              </a:extLst>
            </p:cNvPr>
            <p:cNvCxnSpPr>
              <a:cxnSpLocks/>
            </p:cNvCxnSpPr>
            <p:nvPr/>
          </p:nvCxnSpPr>
          <p:spPr bwMode="gray">
            <a:xfrm>
              <a:off x="7191606" y="616026"/>
              <a:ext cx="123965"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126" name="Rectangle: Rounded Corners 49">
              <a:extLst>
                <a:ext uri="{FF2B5EF4-FFF2-40B4-BE49-F238E27FC236}">
                  <a16:creationId xmlns:a16="http://schemas.microsoft.com/office/drawing/2014/main" id="{117C1C9F-1AE4-4EB3-94CB-81EE3E5F01A8}"/>
                </a:ext>
              </a:extLst>
            </p:cNvPr>
            <p:cNvSpPr/>
            <p:nvPr/>
          </p:nvSpPr>
          <p:spPr bwMode="gray">
            <a:xfrm>
              <a:off x="6945796" y="1506288"/>
              <a:ext cx="350177" cy="1152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127" name="Straight Connector 126">
              <a:extLst>
                <a:ext uri="{FF2B5EF4-FFF2-40B4-BE49-F238E27FC236}">
                  <a16:creationId xmlns:a16="http://schemas.microsoft.com/office/drawing/2014/main" id="{2C898135-46AF-47FB-B2B1-869542B0585A}"/>
                </a:ext>
              </a:extLst>
            </p:cNvPr>
            <p:cNvCxnSpPr>
              <a:cxnSpLocks/>
            </p:cNvCxnSpPr>
            <p:nvPr/>
          </p:nvCxnSpPr>
          <p:spPr bwMode="gray">
            <a:xfrm>
              <a:off x="7054635" y="438423"/>
              <a:ext cx="132503"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28" name="Straight Connector 127">
              <a:extLst>
                <a:ext uri="{FF2B5EF4-FFF2-40B4-BE49-F238E27FC236}">
                  <a16:creationId xmlns:a16="http://schemas.microsoft.com/office/drawing/2014/main" id="{75E2B86D-135B-476A-AD75-750169C0CE0E}"/>
                </a:ext>
              </a:extLst>
            </p:cNvPr>
            <p:cNvCxnSpPr>
              <a:cxnSpLocks/>
            </p:cNvCxnSpPr>
            <p:nvPr/>
          </p:nvCxnSpPr>
          <p:spPr bwMode="gray">
            <a:xfrm>
              <a:off x="7120886" y="424020"/>
              <a:ext cx="0" cy="90712"/>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129" name="Freeform: Shape 128">
              <a:extLst>
                <a:ext uri="{FF2B5EF4-FFF2-40B4-BE49-F238E27FC236}">
                  <a16:creationId xmlns:a16="http://schemas.microsoft.com/office/drawing/2014/main" id="{7B3F3726-C36E-49A6-BB6B-B3D2E51391AB}"/>
                </a:ext>
              </a:extLst>
            </p:cNvPr>
            <p:cNvSpPr>
              <a:spLocks noChangeAspect="1"/>
            </p:cNvSpPr>
            <p:nvPr/>
          </p:nvSpPr>
          <p:spPr bwMode="gray">
            <a:xfrm>
              <a:off x="7185454" y="1177039"/>
              <a:ext cx="61725" cy="97804"/>
            </a:xfrm>
            <a:custGeom>
              <a:avLst/>
              <a:gdLst>
                <a:gd name="connsiteX0" fmla="*/ 0 w 89535"/>
                <a:gd name="connsiteY0" fmla="*/ 0 h 68580"/>
                <a:gd name="connsiteX1" fmla="*/ 89535 w 89535"/>
                <a:gd name="connsiteY1" fmla="*/ 68580 h 68580"/>
                <a:gd name="connsiteX0" fmla="*/ 0 w 138637"/>
                <a:gd name="connsiteY0" fmla="*/ 0 h 362909"/>
                <a:gd name="connsiteX1" fmla="*/ 138637 w 138637"/>
                <a:gd name="connsiteY1" fmla="*/ 362909 h 362909"/>
                <a:gd name="connsiteX0" fmla="*/ 0 w 138637"/>
                <a:gd name="connsiteY0" fmla="*/ 0 h 362909"/>
                <a:gd name="connsiteX1" fmla="*/ 67051 w 138637"/>
                <a:gd name="connsiteY1" fmla="*/ 173432 h 362909"/>
                <a:gd name="connsiteX2" fmla="*/ 138637 w 138637"/>
                <a:gd name="connsiteY2" fmla="*/ 362909 h 362909"/>
                <a:gd name="connsiteX0" fmla="*/ 0 w 138637"/>
                <a:gd name="connsiteY0" fmla="*/ 0 h 362909"/>
                <a:gd name="connsiteX1" fmla="*/ 136101 w 138637"/>
                <a:gd name="connsiteY1" fmla="*/ 30554 h 362909"/>
                <a:gd name="connsiteX2" fmla="*/ 138637 w 138637"/>
                <a:gd name="connsiteY2" fmla="*/ 362909 h 362909"/>
                <a:gd name="connsiteX0" fmla="*/ 0 w 138637"/>
                <a:gd name="connsiteY0" fmla="*/ 0 h 362909"/>
                <a:gd name="connsiteX1" fmla="*/ 136101 w 138637"/>
                <a:gd name="connsiteY1" fmla="*/ 30554 h 362909"/>
                <a:gd name="connsiteX2" fmla="*/ 138637 w 138637"/>
                <a:gd name="connsiteY2" fmla="*/ 362909 h 362909"/>
                <a:gd name="connsiteX0" fmla="*/ 0 w 140705"/>
                <a:gd name="connsiteY0" fmla="*/ 0 h 362909"/>
                <a:gd name="connsiteX1" fmla="*/ 140705 w 140705"/>
                <a:gd name="connsiteY1" fmla="*/ 36269 h 362909"/>
                <a:gd name="connsiteX2" fmla="*/ 138637 w 140705"/>
                <a:gd name="connsiteY2" fmla="*/ 362909 h 362909"/>
                <a:gd name="connsiteX0" fmla="*/ 0 w 140705"/>
                <a:gd name="connsiteY0" fmla="*/ 0 h 362909"/>
                <a:gd name="connsiteX1" fmla="*/ 140705 w 140705"/>
                <a:gd name="connsiteY1" fmla="*/ 36269 h 362909"/>
                <a:gd name="connsiteX2" fmla="*/ 138637 w 140705"/>
                <a:gd name="connsiteY2" fmla="*/ 362909 h 362909"/>
                <a:gd name="connsiteX0" fmla="*/ 0 w 160782"/>
                <a:gd name="connsiteY0" fmla="*/ 0 h 362909"/>
                <a:gd name="connsiteX1" fmla="*/ 140705 w 160782"/>
                <a:gd name="connsiteY1" fmla="*/ 36269 h 362909"/>
                <a:gd name="connsiteX2" fmla="*/ 138637 w 160782"/>
                <a:gd name="connsiteY2" fmla="*/ 362909 h 362909"/>
                <a:gd name="connsiteX0" fmla="*/ 0 w 160782"/>
                <a:gd name="connsiteY0" fmla="*/ 22407 h 385316"/>
                <a:gd name="connsiteX1" fmla="*/ 140705 w 160782"/>
                <a:gd name="connsiteY1" fmla="*/ 58676 h 385316"/>
                <a:gd name="connsiteX2" fmla="*/ 138637 w 160782"/>
                <a:gd name="connsiteY2" fmla="*/ 385316 h 385316"/>
                <a:gd name="connsiteX0" fmla="*/ 0 w 160782"/>
                <a:gd name="connsiteY0" fmla="*/ 52045 h 414954"/>
                <a:gd name="connsiteX1" fmla="*/ 140705 w 160782"/>
                <a:gd name="connsiteY1" fmla="*/ 88314 h 414954"/>
                <a:gd name="connsiteX2" fmla="*/ 138637 w 160782"/>
                <a:gd name="connsiteY2" fmla="*/ 414954 h 414954"/>
                <a:gd name="connsiteX0" fmla="*/ 0 w 160782"/>
                <a:gd name="connsiteY0" fmla="*/ 57888 h 420797"/>
                <a:gd name="connsiteX1" fmla="*/ 140705 w 160782"/>
                <a:gd name="connsiteY1" fmla="*/ 94157 h 420797"/>
                <a:gd name="connsiteX2" fmla="*/ 138637 w 160782"/>
                <a:gd name="connsiteY2" fmla="*/ 420797 h 420797"/>
                <a:gd name="connsiteX0" fmla="*/ 0 w 158143"/>
                <a:gd name="connsiteY0" fmla="*/ 55588 h 418497"/>
                <a:gd name="connsiteX1" fmla="*/ 137636 w 158143"/>
                <a:gd name="connsiteY1" fmla="*/ 97572 h 418497"/>
                <a:gd name="connsiteX2" fmla="*/ 138637 w 158143"/>
                <a:gd name="connsiteY2" fmla="*/ 418497 h 418497"/>
                <a:gd name="connsiteX0" fmla="*/ 0 w 138637"/>
                <a:gd name="connsiteY0" fmla="*/ 55588 h 418497"/>
                <a:gd name="connsiteX1" fmla="*/ 137636 w 138637"/>
                <a:gd name="connsiteY1" fmla="*/ 97572 h 418497"/>
                <a:gd name="connsiteX2" fmla="*/ 138637 w 138637"/>
                <a:gd name="connsiteY2" fmla="*/ 418497 h 418497"/>
                <a:gd name="connsiteX0" fmla="*/ 4055 w 141691"/>
                <a:gd name="connsiteY0" fmla="*/ 55588 h 415639"/>
                <a:gd name="connsiteX1" fmla="*/ 141691 w 141691"/>
                <a:gd name="connsiteY1" fmla="*/ 97572 h 415639"/>
                <a:gd name="connsiteX2" fmla="*/ 7662 w 141691"/>
                <a:gd name="connsiteY2" fmla="*/ 415639 h 415639"/>
                <a:gd name="connsiteX0" fmla="*/ 0 w 137636"/>
                <a:gd name="connsiteY0" fmla="*/ 55588 h 415639"/>
                <a:gd name="connsiteX1" fmla="*/ 137636 w 137636"/>
                <a:gd name="connsiteY1" fmla="*/ 97572 h 415639"/>
                <a:gd name="connsiteX2" fmla="*/ 3607 w 137636"/>
                <a:gd name="connsiteY2" fmla="*/ 415639 h 415639"/>
                <a:gd name="connsiteX0" fmla="*/ 0 w 137636"/>
                <a:gd name="connsiteY0" fmla="*/ 52352 h 412403"/>
                <a:gd name="connsiteX1" fmla="*/ 137636 w 137636"/>
                <a:gd name="connsiteY1" fmla="*/ 102909 h 412403"/>
                <a:gd name="connsiteX2" fmla="*/ 3607 w 137636"/>
                <a:gd name="connsiteY2" fmla="*/ 412403 h 412403"/>
                <a:gd name="connsiteX0" fmla="*/ 0 w 134567"/>
                <a:gd name="connsiteY0" fmla="*/ 52352 h 412403"/>
                <a:gd name="connsiteX1" fmla="*/ 134567 w 134567"/>
                <a:gd name="connsiteY1" fmla="*/ 102909 h 412403"/>
                <a:gd name="connsiteX2" fmla="*/ 3607 w 134567"/>
                <a:gd name="connsiteY2" fmla="*/ 412403 h 412403"/>
                <a:gd name="connsiteX0" fmla="*/ 5680 w 140250"/>
                <a:gd name="connsiteY0" fmla="*/ 52352 h 415190"/>
                <a:gd name="connsiteX1" fmla="*/ 140247 w 140250"/>
                <a:gd name="connsiteY1" fmla="*/ 102909 h 415190"/>
                <a:gd name="connsiteX2" fmla="*/ 9820 w 140250"/>
                <a:gd name="connsiteY2" fmla="*/ 382950 h 415190"/>
                <a:gd name="connsiteX3" fmla="*/ 9287 w 140250"/>
                <a:gd name="connsiteY3" fmla="*/ 412403 h 415190"/>
                <a:gd name="connsiteX0" fmla="*/ 0 w 140171"/>
                <a:gd name="connsiteY0" fmla="*/ 52352 h 416750"/>
                <a:gd name="connsiteX1" fmla="*/ 134567 w 140171"/>
                <a:gd name="connsiteY1" fmla="*/ 102909 h 416750"/>
                <a:gd name="connsiteX2" fmla="*/ 4140 w 140171"/>
                <a:gd name="connsiteY2" fmla="*/ 382950 h 416750"/>
                <a:gd name="connsiteX3" fmla="*/ 140171 w 140171"/>
                <a:gd name="connsiteY3" fmla="*/ 415261 h 416750"/>
                <a:gd name="connsiteX0" fmla="*/ 0 w 134570"/>
                <a:gd name="connsiteY0" fmla="*/ 52352 h 566711"/>
                <a:gd name="connsiteX1" fmla="*/ 134567 w 134570"/>
                <a:gd name="connsiteY1" fmla="*/ 102909 h 566711"/>
                <a:gd name="connsiteX2" fmla="*/ 4140 w 134570"/>
                <a:gd name="connsiteY2" fmla="*/ 382950 h 566711"/>
                <a:gd name="connsiteX3" fmla="*/ 68053 w 134570"/>
                <a:gd name="connsiteY3" fmla="*/ 566711 h 566711"/>
                <a:gd name="connsiteX0" fmla="*/ 746 w 135316"/>
                <a:gd name="connsiteY0" fmla="*/ 52352 h 566711"/>
                <a:gd name="connsiteX1" fmla="*/ 135313 w 135316"/>
                <a:gd name="connsiteY1" fmla="*/ 102909 h 566711"/>
                <a:gd name="connsiteX2" fmla="*/ 4886 w 135316"/>
                <a:gd name="connsiteY2" fmla="*/ 382950 h 566711"/>
                <a:gd name="connsiteX3" fmla="*/ 68799 w 135316"/>
                <a:gd name="connsiteY3" fmla="*/ 566711 h 566711"/>
                <a:gd name="connsiteX0" fmla="*/ 0 w 144776"/>
                <a:gd name="connsiteY0" fmla="*/ 52352 h 420976"/>
                <a:gd name="connsiteX1" fmla="*/ 134567 w 144776"/>
                <a:gd name="connsiteY1" fmla="*/ 102909 h 420976"/>
                <a:gd name="connsiteX2" fmla="*/ 4140 w 144776"/>
                <a:gd name="connsiteY2" fmla="*/ 382950 h 420976"/>
                <a:gd name="connsiteX3" fmla="*/ 144775 w 144776"/>
                <a:gd name="connsiteY3" fmla="*/ 420976 h 420976"/>
                <a:gd name="connsiteX0" fmla="*/ 0 w 144775"/>
                <a:gd name="connsiteY0" fmla="*/ 52352 h 421674"/>
                <a:gd name="connsiteX1" fmla="*/ 134567 w 144775"/>
                <a:gd name="connsiteY1" fmla="*/ 102909 h 421674"/>
                <a:gd name="connsiteX2" fmla="*/ 4140 w 144775"/>
                <a:gd name="connsiteY2" fmla="*/ 382950 h 421674"/>
                <a:gd name="connsiteX3" fmla="*/ 144775 w 144775"/>
                <a:gd name="connsiteY3" fmla="*/ 420976 h 421674"/>
                <a:gd name="connsiteX0" fmla="*/ 0 w 140172"/>
                <a:gd name="connsiteY0" fmla="*/ 52352 h 417927"/>
                <a:gd name="connsiteX1" fmla="*/ 134567 w 140172"/>
                <a:gd name="connsiteY1" fmla="*/ 102909 h 417927"/>
                <a:gd name="connsiteX2" fmla="*/ 4140 w 140172"/>
                <a:gd name="connsiteY2" fmla="*/ 382950 h 417927"/>
                <a:gd name="connsiteX3" fmla="*/ 140172 w 140172"/>
                <a:gd name="connsiteY3" fmla="*/ 415261 h 417927"/>
                <a:gd name="connsiteX0" fmla="*/ 1216 w 141388"/>
                <a:gd name="connsiteY0" fmla="*/ 52352 h 430929"/>
                <a:gd name="connsiteX1" fmla="*/ 135783 w 141388"/>
                <a:gd name="connsiteY1" fmla="*/ 102909 h 430929"/>
                <a:gd name="connsiteX2" fmla="*/ 3822 w 141388"/>
                <a:gd name="connsiteY2" fmla="*/ 405811 h 430929"/>
                <a:gd name="connsiteX3" fmla="*/ 141388 w 141388"/>
                <a:gd name="connsiteY3" fmla="*/ 415261 h 430929"/>
                <a:gd name="connsiteX0" fmla="*/ 0 w 140172"/>
                <a:gd name="connsiteY0" fmla="*/ 52352 h 415261"/>
                <a:gd name="connsiteX1" fmla="*/ 134567 w 140172"/>
                <a:gd name="connsiteY1" fmla="*/ 102909 h 415261"/>
                <a:gd name="connsiteX2" fmla="*/ 2606 w 140172"/>
                <a:gd name="connsiteY2" fmla="*/ 405811 h 415261"/>
                <a:gd name="connsiteX3" fmla="*/ 140172 w 140172"/>
                <a:gd name="connsiteY3" fmla="*/ 415261 h 415261"/>
                <a:gd name="connsiteX0" fmla="*/ 463 w 140635"/>
                <a:gd name="connsiteY0" fmla="*/ 52352 h 415512"/>
                <a:gd name="connsiteX1" fmla="*/ 135030 w 140635"/>
                <a:gd name="connsiteY1" fmla="*/ 102909 h 415512"/>
                <a:gd name="connsiteX2" fmla="*/ 0 w 140635"/>
                <a:gd name="connsiteY2" fmla="*/ 414383 h 415512"/>
                <a:gd name="connsiteX3" fmla="*/ 140635 w 140635"/>
                <a:gd name="connsiteY3" fmla="*/ 415261 h 415512"/>
                <a:gd name="connsiteX0" fmla="*/ 463 w 140635"/>
                <a:gd name="connsiteY0" fmla="*/ 52352 h 415261"/>
                <a:gd name="connsiteX1" fmla="*/ 135030 w 140635"/>
                <a:gd name="connsiteY1" fmla="*/ 102909 h 415261"/>
                <a:gd name="connsiteX2" fmla="*/ 0 w 140635"/>
                <a:gd name="connsiteY2" fmla="*/ 408667 h 415261"/>
                <a:gd name="connsiteX3" fmla="*/ 140635 w 140635"/>
                <a:gd name="connsiteY3" fmla="*/ 415261 h 415261"/>
                <a:gd name="connsiteX0" fmla="*/ 463 w 140635"/>
                <a:gd name="connsiteY0" fmla="*/ 52352 h 415510"/>
                <a:gd name="connsiteX1" fmla="*/ 135030 w 140635"/>
                <a:gd name="connsiteY1" fmla="*/ 102909 h 415510"/>
                <a:gd name="connsiteX2" fmla="*/ 0 w 140635"/>
                <a:gd name="connsiteY2" fmla="*/ 414382 h 415510"/>
                <a:gd name="connsiteX3" fmla="*/ 140635 w 140635"/>
                <a:gd name="connsiteY3" fmla="*/ 415261 h 415510"/>
                <a:gd name="connsiteX0" fmla="*/ 463 w 140635"/>
                <a:gd name="connsiteY0" fmla="*/ 52352 h 415510"/>
                <a:gd name="connsiteX1" fmla="*/ 135030 w 140635"/>
                <a:gd name="connsiteY1" fmla="*/ 102909 h 415510"/>
                <a:gd name="connsiteX2" fmla="*/ 0 w 140635"/>
                <a:gd name="connsiteY2" fmla="*/ 414382 h 415510"/>
                <a:gd name="connsiteX3" fmla="*/ 140635 w 140635"/>
                <a:gd name="connsiteY3" fmla="*/ 415261 h 415510"/>
                <a:gd name="connsiteX0" fmla="*/ 636 w 140808"/>
                <a:gd name="connsiteY0" fmla="*/ 52352 h 415510"/>
                <a:gd name="connsiteX1" fmla="*/ 135203 w 140808"/>
                <a:gd name="connsiteY1" fmla="*/ 102909 h 415510"/>
                <a:gd name="connsiteX2" fmla="*/ 173 w 140808"/>
                <a:gd name="connsiteY2" fmla="*/ 414382 h 415510"/>
                <a:gd name="connsiteX3" fmla="*/ 140808 w 140808"/>
                <a:gd name="connsiteY3" fmla="*/ 415261 h 415510"/>
                <a:gd name="connsiteX0" fmla="*/ 637 w 140809"/>
                <a:gd name="connsiteY0" fmla="*/ 52352 h 415510"/>
                <a:gd name="connsiteX1" fmla="*/ 135204 w 140809"/>
                <a:gd name="connsiteY1" fmla="*/ 102909 h 415510"/>
                <a:gd name="connsiteX2" fmla="*/ 174 w 140809"/>
                <a:gd name="connsiteY2" fmla="*/ 414382 h 415510"/>
                <a:gd name="connsiteX3" fmla="*/ 140809 w 140809"/>
                <a:gd name="connsiteY3" fmla="*/ 415261 h 415510"/>
                <a:gd name="connsiteX0" fmla="*/ 0 w 140172"/>
                <a:gd name="connsiteY0" fmla="*/ 52352 h 415510"/>
                <a:gd name="connsiteX1" fmla="*/ 134567 w 140172"/>
                <a:gd name="connsiteY1" fmla="*/ 102909 h 415510"/>
                <a:gd name="connsiteX2" fmla="*/ 1071 w 140172"/>
                <a:gd name="connsiteY2" fmla="*/ 414382 h 415510"/>
                <a:gd name="connsiteX3" fmla="*/ 140172 w 140172"/>
                <a:gd name="connsiteY3" fmla="*/ 415261 h 415510"/>
                <a:gd name="connsiteX0" fmla="*/ 0 w 141706"/>
                <a:gd name="connsiteY0" fmla="*/ 52352 h 415510"/>
                <a:gd name="connsiteX1" fmla="*/ 134567 w 141706"/>
                <a:gd name="connsiteY1" fmla="*/ 102909 h 415510"/>
                <a:gd name="connsiteX2" fmla="*/ 1071 w 141706"/>
                <a:gd name="connsiteY2" fmla="*/ 414382 h 415510"/>
                <a:gd name="connsiteX3" fmla="*/ 141706 w 141706"/>
                <a:gd name="connsiteY3" fmla="*/ 415261 h 415510"/>
                <a:gd name="connsiteX0" fmla="*/ 2175 w 140812"/>
                <a:gd name="connsiteY0" fmla="*/ 52353 h 415510"/>
                <a:gd name="connsiteX1" fmla="*/ 133673 w 140812"/>
                <a:gd name="connsiteY1" fmla="*/ 102909 h 415510"/>
                <a:gd name="connsiteX2" fmla="*/ 177 w 140812"/>
                <a:gd name="connsiteY2" fmla="*/ 414382 h 415510"/>
                <a:gd name="connsiteX3" fmla="*/ 140812 w 140812"/>
                <a:gd name="connsiteY3" fmla="*/ 415261 h 415510"/>
              </a:gdLst>
              <a:ahLst/>
              <a:cxnLst>
                <a:cxn ang="0">
                  <a:pos x="connsiteX0" y="connsiteY0"/>
                </a:cxn>
                <a:cxn ang="0">
                  <a:pos x="connsiteX1" y="connsiteY1"/>
                </a:cxn>
                <a:cxn ang="0">
                  <a:pos x="connsiteX2" y="connsiteY2"/>
                </a:cxn>
                <a:cxn ang="0">
                  <a:pos x="connsiteX3" y="connsiteY3"/>
                </a:cxn>
              </a:cxnLst>
              <a:rect l="l" t="t" r="r" b="b"/>
              <a:pathLst>
                <a:path w="140812" h="415510">
                  <a:moveTo>
                    <a:pt x="2175" y="52353"/>
                  </a:moveTo>
                  <a:cubicBezTo>
                    <a:pt x="36801" y="-34619"/>
                    <a:pt x="132804" y="-10148"/>
                    <a:pt x="133673" y="102909"/>
                  </a:cubicBezTo>
                  <a:cubicBezTo>
                    <a:pt x="132829" y="255166"/>
                    <a:pt x="-5616" y="171344"/>
                    <a:pt x="177" y="414382"/>
                  </a:cubicBezTo>
                  <a:cubicBezTo>
                    <a:pt x="50469" y="417385"/>
                    <a:pt x="56506" y="413209"/>
                    <a:pt x="140812" y="415261"/>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dirty="0"/>
            </a:p>
          </p:txBody>
        </p:sp>
      </p:grpSp>
      <p:sp>
        <p:nvSpPr>
          <p:cNvPr id="130" name="Freeform 548">
            <a:extLst>
              <a:ext uri="{FF2B5EF4-FFF2-40B4-BE49-F238E27FC236}">
                <a16:creationId xmlns:a16="http://schemas.microsoft.com/office/drawing/2014/main" id="{61B6E476-002E-4D39-89D0-00F123BCD489}"/>
              </a:ext>
            </a:extLst>
          </p:cNvPr>
          <p:cNvSpPr>
            <a:spLocks/>
          </p:cNvSpPr>
          <p:nvPr/>
        </p:nvSpPr>
        <p:spPr bwMode="gray">
          <a:xfrm>
            <a:off x="392537" y="2110732"/>
            <a:ext cx="132548" cy="334021"/>
          </a:xfrm>
          <a:custGeom>
            <a:avLst/>
            <a:gdLst>
              <a:gd name="T0" fmla="*/ 23 w 100"/>
              <a:gd name="T1" fmla="*/ 0 h 252"/>
              <a:gd name="T2" fmla="*/ 100 w 100"/>
              <a:gd name="T3" fmla="*/ 0 h 252"/>
              <a:gd name="T4" fmla="*/ 59 w 100"/>
              <a:gd name="T5" fmla="*/ 126 h 252"/>
              <a:gd name="T6" fmla="*/ 100 w 100"/>
              <a:gd name="T7" fmla="*/ 126 h 252"/>
              <a:gd name="T8" fmla="*/ 41 w 100"/>
              <a:gd name="T9" fmla="*/ 252 h 252"/>
              <a:gd name="T10" fmla="*/ 23 w 100"/>
              <a:gd name="T11" fmla="*/ 252 h 252"/>
              <a:gd name="T12" fmla="*/ 35 w 100"/>
              <a:gd name="T13" fmla="*/ 168 h 252"/>
              <a:gd name="T14" fmla="*/ 0 w 100"/>
              <a:gd name="T15" fmla="*/ 168 h 252"/>
              <a:gd name="T16" fmla="*/ 23 w 100"/>
              <a:gd name="T1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252">
                <a:moveTo>
                  <a:pt x="23" y="0"/>
                </a:moveTo>
                <a:lnTo>
                  <a:pt x="100" y="0"/>
                </a:lnTo>
                <a:lnTo>
                  <a:pt x="59" y="126"/>
                </a:lnTo>
                <a:lnTo>
                  <a:pt x="100" y="126"/>
                </a:lnTo>
                <a:lnTo>
                  <a:pt x="41" y="252"/>
                </a:lnTo>
                <a:lnTo>
                  <a:pt x="23" y="252"/>
                </a:lnTo>
                <a:lnTo>
                  <a:pt x="35" y="168"/>
                </a:lnTo>
                <a:lnTo>
                  <a:pt x="0" y="168"/>
                </a:lnTo>
                <a:lnTo>
                  <a:pt x="23" y="0"/>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sp>
        <p:nvSpPr>
          <p:cNvPr id="72" name="Content Placeholder 3">
            <a:extLst>
              <a:ext uri="{FF2B5EF4-FFF2-40B4-BE49-F238E27FC236}">
                <a16:creationId xmlns:a16="http://schemas.microsoft.com/office/drawing/2014/main" id="{3EDA6C18-5B63-4B2E-B228-87E3CC3F9F7A}"/>
              </a:ext>
            </a:extLst>
          </p:cNvPr>
          <p:cNvSpPr txBox="1">
            <a:spLocks/>
          </p:cNvSpPr>
          <p:nvPr/>
        </p:nvSpPr>
        <p:spPr bwMode="gray">
          <a:xfrm>
            <a:off x="2818583" y="1931159"/>
            <a:ext cx="9034681" cy="693166"/>
          </a:xfrm>
          <a:prstGeom prst="rect">
            <a:avLst/>
          </a:prstGeom>
        </p:spPr>
        <p:txBody>
          <a:bodyPr lIns="0" tIns="0" rIns="0" bIns="0" anchor="ctr" anchorCtr="0"/>
          <a:lstStyle>
            <a:lvl1pPr marL="0" indent="0" algn="l" defTabSz="914491" rtl="0" eaLnBrk="1" latinLnBrk="0" hangingPunct="1">
              <a:spcBef>
                <a:spcPts val="600"/>
              </a:spcBef>
              <a:buFont typeface="Arial" panose="020B0604020202020204" pitchFamily="34" charset="0"/>
              <a:buNone/>
              <a:defRPr lang="en-US" sz="1600" b="1" kern="1200" dirty="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0"/>
              </a:spcBef>
            </a:pPr>
            <a:r>
              <a:rPr lang="en-US" sz="1400" dirty="0"/>
              <a:t>Electricity is the critical cost input</a:t>
            </a:r>
          </a:p>
          <a:p>
            <a:pPr lvl="1">
              <a:spcBef>
                <a:spcPts val="0"/>
              </a:spcBef>
            </a:pPr>
            <a:r>
              <a:rPr lang="en-US" sz="1400" dirty="0"/>
              <a:t>Over-purification consumes more power</a:t>
            </a:r>
          </a:p>
          <a:p>
            <a:pPr lvl="1">
              <a:spcBef>
                <a:spcPts val="0"/>
              </a:spcBef>
            </a:pPr>
            <a:r>
              <a:rPr lang="en-US" sz="1400" dirty="0"/>
              <a:t>Accurate measurement of final product essential for efficient operation</a:t>
            </a:r>
          </a:p>
        </p:txBody>
      </p:sp>
      <p:sp>
        <p:nvSpPr>
          <p:cNvPr id="73" name="Content Placeholder 3">
            <a:extLst>
              <a:ext uri="{FF2B5EF4-FFF2-40B4-BE49-F238E27FC236}">
                <a16:creationId xmlns:a16="http://schemas.microsoft.com/office/drawing/2014/main" id="{7D2B1D87-4188-41CA-B74D-348224E750B1}"/>
              </a:ext>
            </a:extLst>
          </p:cNvPr>
          <p:cNvSpPr txBox="1">
            <a:spLocks/>
          </p:cNvSpPr>
          <p:nvPr/>
        </p:nvSpPr>
        <p:spPr bwMode="gray">
          <a:xfrm>
            <a:off x="2818583" y="2761748"/>
            <a:ext cx="9034681" cy="693166"/>
          </a:xfrm>
          <a:prstGeom prst="rect">
            <a:avLst/>
          </a:prstGeom>
        </p:spPr>
        <p:txBody>
          <a:bodyPr lIns="0" tIns="0" rIns="0" bIns="0" anchor="ctr" anchorCtr="0"/>
          <a:lstStyle>
            <a:lvl1pPr marL="0" indent="0" algn="l" defTabSz="914491" rtl="0" eaLnBrk="1" latinLnBrk="0" hangingPunct="1">
              <a:spcBef>
                <a:spcPts val="600"/>
              </a:spcBef>
              <a:buFont typeface="Arial" panose="020B0604020202020204" pitchFamily="34" charset="0"/>
              <a:buNone/>
              <a:defRPr lang="en-US" sz="1600" b="1" kern="1200" dirty="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0"/>
              </a:spcBef>
            </a:pPr>
            <a:r>
              <a:rPr lang="en-US" sz="1400" dirty="0"/>
              <a:t>“Waste-nitrogen” is very high flowrate stream containing around 2 vol% oxygen</a:t>
            </a:r>
          </a:p>
          <a:p>
            <a:pPr lvl="1">
              <a:spcBef>
                <a:spcPts val="0"/>
              </a:spcBef>
            </a:pPr>
            <a:r>
              <a:rPr lang="en-US" sz="1400" dirty="0"/>
              <a:t>Essential to remove CO</a:t>
            </a:r>
            <a:r>
              <a:rPr lang="en-US" sz="1400" baseline="-25000" dirty="0"/>
              <a:t>2</a:t>
            </a:r>
            <a:r>
              <a:rPr lang="en-US" sz="1400" dirty="0"/>
              <a:t> and H</a:t>
            </a:r>
            <a:r>
              <a:rPr lang="en-US" sz="1400" baseline="-25000" dirty="0"/>
              <a:t>2</a:t>
            </a:r>
            <a:r>
              <a:rPr lang="en-US" sz="1400" dirty="0"/>
              <a:t>O from moisture traps but then vented to atmosphere</a:t>
            </a:r>
          </a:p>
          <a:p>
            <a:pPr lvl="1">
              <a:spcBef>
                <a:spcPts val="0"/>
              </a:spcBef>
            </a:pPr>
            <a:r>
              <a:rPr lang="en-US" sz="1400" dirty="0"/>
              <a:t>Small percentage of oxygen in “waste-nitrogen” results in loss of valuable O</a:t>
            </a:r>
            <a:r>
              <a:rPr lang="en-US" sz="1400" baseline="-25000" dirty="0"/>
              <a:t>2</a:t>
            </a:r>
            <a:r>
              <a:rPr lang="en-US" sz="1400" dirty="0"/>
              <a:t> for the ASU</a:t>
            </a:r>
          </a:p>
        </p:txBody>
      </p:sp>
      <p:sp>
        <p:nvSpPr>
          <p:cNvPr id="74" name="Content Placeholder 3">
            <a:extLst>
              <a:ext uri="{FF2B5EF4-FFF2-40B4-BE49-F238E27FC236}">
                <a16:creationId xmlns:a16="http://schemas.microsoft.com/office/drawing/2014/main" id="{5FB18BE4-FAE0-4544-B005-C15B0E2FBF91}"/>
              </a:ext>
            </a:extLst>
          </p:cNvPr>
          <p:cNvSpPr txBox="1">
            <a:spLocks/>
          </p:cNvSpPr>
          <p:nvPr/>
        </p:nvSpPr>
        <p:spPr bwMode="gray">
          <a:xfrm>
            <a:off x="2818583" y="3592337"/>
            <a:ext cx="9034681" cy="693166"/>
          </a:xfrm>
          <a:prstGeom prst="rect">
            <a:avLst/>
          </a:prstGeom>
        </p:spPr>
        <p:txBody>
          <a:bodyPr lIns="0" tIns="0" rIns="0" bIns="0" anchor="ctr" anchorCtr="0"/>
          <a:lstStyle>
            <a:lvl1pPr marL="0" indent="0" algn="l" defTabSz="914491" rtl="0" eaLnBrk="1" latinLnBrk="0" hangingPunct="1">
              <a:spcBef>
                <a:spcPts val="600"/>
              </a:spcBef>
              <a:buFont typeface="Arial" panose="020B0604020202020204" pitchFamily="34" charset="0"/>
              <a:buNone/>
              <a:defRPr lang="en-US" sz="1600" b="1" kern="1200" dirty="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0"/>
              </a:spcBef>
            </a:pPr>
            <a:r>
              <a:rPr lang="en-US" sz="1400" dirty="0"/>
              <a:t>Argon is tremendously valuable by-product from ASU</a:t>
            </a:r>
          </a:p>
          <a:p>
            <a:pPr lvl="1">
              <a:spcBef>
                <a:spcPts val="0"/>
              </a:spcBef>
            </a:pPr>
            <a:r>
              <a:rPr lang="en-US" sz="1400" dirty="0"/>
              <a:t>Successful (or unsuccessful) recovery can make or break economics of some ASUs</a:t>
            </a:r>
          </a:p>
          <a:p>
            <a:pPr lvl="1">
              <a:spcBef>
                <a:spcPts val="0"/>
              </a:spcBef>
            </a:pPr>
            <a:r>
              <a:rPr lang="en-US" sz="1400" dirty="0"/>
              <a:t>Monitoring Argon concentration in feed to argon purification column best way to maximize recovery</a:t>
            </a:r>
          </a:p>
        </p:txBody>
      </p:sp>
      <p:sp>
        <p:nvSpPr>
          <p:cNvPr id="76" name="Content Placeholder 3">
            <a:extLst>
              <a:ext uri="{FF2B5EF4-FFF2-40B4-BE49-F238E27FC236}">
                <a16:creationId xmlns:a16="http://schemas.microsoft.com/office/drawing/2014/main" id="{F1D63E0D-2A93-4F97-9588-1746DDF49411}"/>
              </a:ext>
            </a:extLst>
          </p:cNvPr>
          <p:cNvSpPr txBox="1">
            <a:spLocks/>
          </p:cNvSpPr>
          <p:nvPr/>
        </p:nvSpPr>
        <p:spPr bwMode="gray">
          <a:xfrm>
            <a:off x="651400" y="1931159"/>
            <a:ext cx="1245980" cy="693166"/>
          </a:xfrm>
          <a:prstGeom prst="rect">
            <a:avLst/>
          </a:prstGeom>
        </p:spPr>
        <p:txBody>
          <a:bodyPr lIns="0" tIns="0" rIns="0" bIns="0" anchor="ctr"/>
          <a:lstStyle>
            <a:lvl1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1pPr>
            <a:lvl2pPr marL="1588" indent="0" algn="l" defTabSz="914491" rtl="0" eaLnBrk="1" latinLnBrk="0" hangingPunct="1">
              <a:spcBef>
                <a:spcPts val="600"/>
              </a:spcBef>
              <a:buFont typeface="ABBvoiceOffice" panose="020D0603020503020204" pitchFamily="34" charset="0"/>
              <a:buNone/>
              <a:defRPr sz="1400" b="1" kern="1200">
                <a:solidFill>
                  <a:schemeClr val="tx2"/>
                </a:solidFill>
                <a:latin typeface="+mn-lt"/>
                <a:ea typeface="+mn-ea"/>
                <a:cs typeface="+mn-cs"/>
              </a:defRPr>
            </a:lvl2pPr>
            <a:lvl3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3pPr>
            <a:lvl4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4pPr>
            <a:lvl5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5pPr>
            <a:lvl6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6pPr>
            <a:lvl7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7pPr>
            <a:lvl8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8pPr>
            <a:lvl9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9pPr>
          </a:lstStyle>
          <a:p>
            <a:r>
              <a:rPr lang="en-US" dirty="0"/>
              <a:t>Power consumption &amp; oxygen purity</a:t>
            </a:r>
          </a:p>
        </p:txBody>
      </p:sp>
      <p:sp>
        <p:nvSpPr>
          <p:cNvPr id="77" name="Content Placeholder 3">
            <a:extLst>
              <a:ext uri="{FF2B5EF4-FFF2-40B4-BE49-F238E27FC236}">
                <a16:creationId xmlns:a16="http://schemas.microsoft.com/office/drawing/2014/main" id="{333A23DE-A6B3-4F95-B501-96A545907D17}"/>
              </a:ext>
            </a:extLst>
          </p:cNvPr>
          <p:cNvSpPr txBox="1">
            <a:spLocks/>
          </p:cNvSpPr>
          <p:nvPr/>
        </p:nvSpPr>
        <p:spPr bwMode="gray">
          <a:xfrm>
            <a:off x="651400" y="2761748"/>
            <a:ext cx="1245980" cy="693166"/>
          </a:xfrm>
          <a:prstGeom prst="rect">
            <a:avLst/>
          </a:prstGeom>
        </p:spPr>
        <p:txBody>
          <a:bodyPr lIns="0" tIns="0" rIns="0" bIns="0" anchor="ctr"/>
          <a:lstStyle>
            <a:lvl1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1pPr>
            <a:lvl2pPr marL="1588" indent="0" algn="l" defTabSz="914491" rtl="0" eaLnBrk="1" latinLnBrk="0" hangingPunct="1">
              <a:spcBef>
                <a:spcPts val="600"/>
              </a:spcBef>
              <a:buFont typeface="ABBvoiceOffice" panose="020D0603020503020204" pitchFamily="34" charset="0"/>
              <a:buNone/>
              <a:defRPr sz="1400" b="1" kern="1200">
                <a:solidFill>
                  <a:schemeClr val="tx2"/>
                </a:solidFill>
                <a:latin typeface="+mn-lt"/>
                <a:ea typeface="+mn-ea"/>
                <a:cs typeface="+mn-cs"/>
              </a:defRPr>
            </a:lvl2pPr>
            <a:lvl3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3pPr>
            <a:lvl4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4pPr>
            <a:lvl5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5pPr>
            <a:lvl6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6pPr>
            <a:lvl7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7pPr>
            <a:lvl8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8pPr>
            <a:lvl9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9pPr>
          </a:lstStyle>
          <a:p>
            <a:r>
              <a:rPr lang="en-US" dirty="0"/>
              <a:t>Oxygen slip</a:t>
            </a:r>
          </a:p>
        </p:txBody>
      </p:sp>
      <p:sp>
        <p:nvSpPr>
          <p:cNvPr id="78" name="Content Placeholder 3">
            <a:extLst>
              <a:ext uri="{FF2B5EF4-FFF2-40B4-BE49-F238E27FC236}">
                <a16:creationId xmlns:a16="http://schemas.microsoft.com/office/drawing/2014/main" id="{FC0B47BF-C9EF-44C8-9E3F-386288B1425C}"/>
              </a:ext>
            </a:extLst>
          </p:cNvPr>
          <p:cNvSpPr txBox="1">
            <a:spLocks/>
          </p:cNvSpPr>
          <p:nvPr/>
        </p:nvSpPr>
        <p:spPr bwMode="gray">
          <a:xfrm>
            <a:off x="651400" y="3592337"/>
            <a:ext cx="1245980" cy="693166"/>
          </a:xfrm>
          <a:prstGeom prst="rect">
            <a:avLst/>
          </a:prstGeom>
        </p:spPr>
        <p:txBody>
          <a:bodyPr lIns="0" tIns="0" rIns="0" bIns="0" anchor="ctr"/>
          <a:lstStyle>
            <a:lvl1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1pPr>
            <a:lvl2pPr marL="1588" indent="0" algn="l" defTabSz="914491" rtl="0" eaLnBrk="1" latinLnBrk="0" hangingPunct="1">
              <a:spcBef>
                <a:spcPts val="600"/>
              </a:spcBef>
              <a:buFont typeface="ABBvoiceOffice" panose="020D0603020503020204" pitchFamily="34" charset="0"/>
              <a:buNone/>
              <a:defRPr sz="1400" b="1" kern="1200">
                <a:solidFill>
                  <a:schemeClr val="tx2"/>
                </a:solidFill>
                <a:latin typeface="+mn-lt"/>
                <a:ea typeface="+mn-ea"/>
                <a:cs typeface="+mn-cs"/>
              </a:defRPr>
            </a:lvl2pPr>
            <a:lvl3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3pPr>
            <a:lvl4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4pPr>
            <a:lvl5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5pPr>
            <a:lvl6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6pPr>
            <a:lvl7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7pPr>
            <a:lvl8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8pPr>
            <a:lvl9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9pPr>
          </a:lstStyle>
          <a:p>
            <a:r>
              <a:rPr lang="en-US" dirty="0"/>
              <a:t>Argon slip</a:t>
            </a:r>
          </a:p>
        </p:txBody>
      </p:sp>
      <p:sp>
        <p:nvSpPr>
          <p:cNvPr id="79" name="Content Placeholder 3">
            <a:extLst>
              <a:ext uri="{FF2B5EF4-FFF2-40B4-BE49-F238E27FC236}">
                <a16:creationId xmlns:a16="http://schemas.microsoft.com/office/drawing/2014/main" id="{E02A5C4D-9078-4C68-9061-79DC1A96731A}"/>
              </a:ext>
            </a:extLst>
          </p:cNvPr>
          <p:cNvSpPr txBox="1">
            <a:spLocks/>
          </p:cNvSpPr>
          <p:nvPr/>
        </p:nvSpPr>
        <p:spPr bwMode="gray">
          <a:xfrm>
            <a:off x="2818583" y="4422925"/>
            <a:ext cx="9034681" cy="693166"/>
          </a:xfrm>
          <a:prstGeom prst="rect">
            <a:avLst/>
          </a:prstGeom>
        </p:spPr>
        <p:txBody>
          <a:bodyPr lIns="0" tIns="0" rIns="0" bIns="0" anchor="ctr" anchorCtr="0"/>
          <a:lstStyle>
            <a:lvl1pPr marL="0" indent="0" algn="l" defTabSz="914491" rtl="0" eaLnBrk="1" latinLnBrk="0" hangingPunct="1">
              <a:spcBef>
                <a:spcPts val="600"/>
              </a:spcBef>
              <a:buFont typeface="Arial" panose="020B0604020202020204" pitchFamily="34" charset="0"/>
              <a:buNone/>
              <a:defRPr lang="en-US" sz="1600" b="1" kern="1200" dirty="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0"/>
              </a:spcBef>
            </a:pPr>
            <a:r>
              <a:rPr lang="en-US" sz="1400" dirty="0"/>
              <a:t>Fuel-cell type oxygen analyzers are often the most hated analyzer in the instrument shack!</a:t>
            </a:r>
          </a:p>
          <a:p>
            <a:pPr lvl="1">
              <a:spcBef>
                <a:spcPts val="0"/>
              </a:spcBef>
            </a:pPr>
            <a:r>
              <a:rPr lang="en-US" sz="1400" dirty="0"/>
              <a:t>Require annual replacement, easily “poisoned” by high O</a:t>
            </a:r>
            <a:r>
              <a:rPr lang="en-US" sz="1400" baseline="-25000" dirty="0"/>
              <a:t>2</a:t>
            </a:r>
            <a:r>
              <a:rPr lang="en-US" sz="1400" dirty="0"/>
              <a:t>, take hours to stabilize after poisoning</a:t>
            </a:r>
          </a:p>
          <a:p>
            <a:pPr lvl="1">
              <a:spcBef>
                <a:spcPts val="0"/>
              </a:spcBef>
            </a:pPr>
            <a:r>
              <a:rPr lang="en-US" sz="1400" dirty="0"/>
              <a:t>During this time, ASU might have returned to stable operation and product is on spec = lost revenue!</a:t>
            </a:r>
          </a:p>
        </p:txBody>
      </p:sp>
      <p:sp>
        <p:nvSpPr>
          <p:cNvPr id="80" name="Content Placeholder 3">
            <a:extLst>
              <a:ext uri="{FF2B5EF4-FFF2-40B4-BE49-F238E27FC236}">
                <a16:creationId xmlns:a16="http://schemas.microsoft.com/office/drawing/2014/main" id="{5AC36B5E-9B11-4AF6-8ADA-83E0B9B4907B}"/>
              </a:ext>
            </a:extLst>
          </p:cNvPr>
          <p:cNvSpPr txBox="1">
            <a:spLocks/>
          </p:cNvSpPr>
          <p:nvPr/>
        </p:nvSpPr>
        <p:spPr bwMode="gray">
          <a:xfrm>
            <a:off x="651400" y="4422925"/>
            <a:ext cx="1245980" cy="693166"/>
          </a:xfrm>
          <a:prstGeom prst="rect">
            <a:avLst/>
          </a:prstGeom>
        </p:spPr>
        <p:txBody>
          <a:bodyPr lIns="0" tIns="0" rIns="0" bIns="0" anchor="ctr"/>
          <a:lstStyle>
            <a:lvl1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1pPr>
            <a:lvl2pPr marL="1588" indent="0" algn="l" defTabSz="914491" rtl="0" eaLnBrk="1" latinLnBrk="0" hangingPunct="1">
              <a:spcBef>
                <a:spcPts val="600"/>
              </a:spcBef>
              <a:buFont typeface="ABBvoiceOffice" panose="020D0603020503020204" pitchFamily="34" charset="0"/>
              <a:buNone/>
              <a:defRPr sz="1400" b="1" kern="1200">
                <a:solidFill>
                  <a:schemeClr val="tx2"/>
                </a:solidFill>
                <a:latin typeface="+mn-lt"/>
                <a:ea typeface="+mn-ea"/>
                <a:cs typeface="+mn-cs"/>
              </a:defRPr>
            </a:lvl2pPr>
            <a:lvl3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3pPr>
            <a:lvl4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4pPr>
            <a:lvl5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5pPr>
            <a:lvl6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6pPr>
            <a:lvl7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7pPr>
            <a:lvl8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8pPr>
            <a:lvl9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9pPr>
          </a:lstStyle>
          <a:p>
            <a:r>
              <a:rPr lang="en-US" dirty="0"/>
              <a:t>Nitrogen  purity</a:t>
            </a:r>
          </a:p>
        </p:txBody>
      </p:sp>
      <p:cxnSp>
        <p:nvCxnSpPr>
          <p:cNvPr id="81" name="Straight Connector 13">
            <a:extLst>
              <a:ext uri="{FF2B5EF4-FFF2-40B4-BE49-F238E27FC236}">
                <a16:creationId xmlns:a16="http://schemas.microsoft.com/office/drawing/2014/main" id="{BB8914B1-6AB1-4926-A4BC-38D53F180B92}"/>
              </a:ext>
            </a:extLst>
          </p:cNvPr>
          <p:cNvCxnSpPr/>
          <p:nvPr/>
        </p:nvCxnSpPr>
        <p:spPr bwMode="gray">
          <a:xfrm>
            <a:off x="1999567" y="2761206"/>
            <a:ext cx="0" cy="693974"/>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2" name="Straight Connector 14">
            <a:extLst>
              <a:ext uri="{FF2B5EF4-FFF2-40B4-BE49-F238E27FC236}">
                <a16:creationId xmlns:a16="http://schemas.microsoft.com/office/drawing/2014/main" id="{9CF06E5F-BD32-47F2-9F7F-BA92615B9708}"/>
              </a:ext>
            </a:extLst>
          </p:cNvPr>
          <p:cNvCxnSpPr/>
          <p:nvPr/>
        </p:nvCxnSpPr>
        <p:spPr bwMode="gray">
          <a:xfrm>
            <a:off x="1851502" y="3108193"/>
            <a:ext cx="144000"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3" name="Straight Connector 13">
            <a:extLst>
              <a:ext uri="{FF2B5EF4-FFF2-40B4-BE49-F238E27FC236}">
                <a16:creationId xmlns:a16="http://schemas.microsoft.com/office/drawing/2014/main" id="{A37BEB60-A842-4DCC-8B28-33AADF29DBE0}"/>
              </a:ext>
            </a:extLst>
          </p:cNvPr>
          <p:cNvCxnSpPr/>
          <p:nvPr/>
        </p:nvCxnSpPr>
        <p:spPr bwMode="gray">
          <a:xfrm>
            <a:off x="1999567" y="4422922"/>
            <a:ext cx="0" cy="693974"/>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4" name="Straight Connector 14">
            <a:extLst>
              <a:ext uri="{FF2B5EF4-FFF2-40B4-BE49-F238E27FC236}">
                <a16:creationId xmlns:a16="http://schemas.microsoft.com/office/drawing/2014/main" id="{3DC0BBEF-32DE-44B1-894B-90804C8BD59D}"/>
              </a:ext>
            </a:extLst>
          </p:cNvPr>
          <p:cNvCxnSpPr/>
          <p:nvPr/>
        </p:nvCxnSpPr>
        <p:spPr bwMode="gray">
          <a:xfrm>
            <a:off x="1851502" y="4769909"/>
            <a:ext cx="144000"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5" name="Straight Connector 13">
            <a:extLst>
              <a:ext uri="{FF2B5EF4-FFF2-40B4-BE49-F238E27FC236}">
                <a16:creationId xmlns:a16="http://schemas.microsoft.com/office/drawing/2014/main" id="{76BB2319-9BE4-473F-91FA-4A1E23B26200}"/>
              </a:ext>
            </a:extLst>
          </p:cNvPr>
          <p:cNvCxnSpPr/>
          <p:nvPr/>
        </p:nvCxnSpPr>
        <p:spPr bwMode="gray">
          <a:xfrm>
            <a:off x="1999567" y="1930348"/>
            <a:ext cx="0" cy="693974"/>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6" name="Straight Connector 14">
            <a:extLst>
              <a:ext uri="{FF2B5EF4-FFF2-40B4-BE49-F238E27FC236}">
                <a16:creationId xmlns:a16="http://schemas.microsoft.com/office/drawing/2014/main" id="{294364D7-0EC6-44B2-BF9A-F0094BC26429}"/>
              </a:ext>
            </a:extLst>
          </p:cNvPr>
          <p:cNvCxnSpPr/>
          <p:nvPr/>
        </p:nvCxnSpPr>
        <p:spPr bwMode="gray">
          <a:xfrm>
            <a:off x="1851502" y="2277335"/>
            <a:ext cx="144000"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7" name="Straight Connector 13">
            <a:extLst>
              <a:ext uri="{FF2B5EF4-FFF2-40B4-BE49-F238E27FC236}">
                <a16:creationId xmlns:a16="http://schemas.microsoft.com/office/drawing/2014/main" id="{FC982B0D-6B4D-40EA-8593-A528FA56E201}"/>
              </a:ext>
            </a:extLst>
          </p:cNvPr>
          <p:cNvCxnSpPr/>
          <p:nvPr/>
        </p:nvCxnSpPr>
        <p:spPr bwMode="gray">
          <a:xfrm>
            <a:off x="1999568" y="3592064"/>
            <a:ext cx="0" cy="693974"/>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8" name="Straight Connector 14">
            <a:extLst>
              <a:ext uri="{FF2B5EF4-FFF2-40B4-BE49-F238E27FC236}">
                <a16:creationId xmlns:a16="http://schemas.microsoft.com/office/drawing/2014/main" id="{6C5B9EC5-F7DE-4EC3-BA2F-55331ECC096A}"/>
              </a:ext>
            </a:extLst>
          </p:cNvPr>
          <p:cNvCxnSpPr/>
          <p:nvPr/>
        </p:nvCxnSpPr>
        <p:spPr bwMode="gray">
          <a:xfrm>
            <a:off x="1851502" y="3939051"/>
            <a:ext cx="144000"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89" name="Straight Connector 88">
            <a:extLst>
              <a:ext uri="{FF2B5EF4-FFF2-40B4-BE49-F238E27FC236}">
                <a16:creationId xmlns:a16="http://schemas.microsoft.com/office/drawing/2014/main" id="{F88DE641-E88F-4111-A767-D5FDF55BC180}"/>
              </a:ext>
            </a:extLst>
          </p:cNvPr>
          <p:cNvCxnSpPr/>
          <p:nvPr/>
        </p:nvCxnSpPr>
        <p:spPr bwMode="gray">
          <a:xfrm>
            <a:off x="2072427" y="2693033"/>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0" name="Straight Connector 89">
            <a:extLst>
              <a:ext uri="{FF2B5EF4-FFF2-40B4-BE49-F238E27FC236}">
                <a16:creationId xmlns:a16="http://schemas.microsoft.com/office/drawing/2014/main" id="{968E2833-8384-467C-BFC3-317E82A5CCD6}"/>
              </a:ext>
            </a:extLst>
          </p:cNvPr>
          <p:cNvCxnSpPr/>
          <p:nvPr/>
        </p:nvCxnSpPr>
        <p:spPr bwMode="gray">
          <a:xfrm>
            <a:off x="2072427" y="3523621"/>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1" name="Straight Connector 90">
            <a:extLst>
              <a:ext uri="{FF2B5EF4-FFF2-40B4-BE49-F238E27FC236}">
                <a16:creationId xmlns:a16="http://schemas.microsoft.com/office/drawing/2014/main" id="{5211AAF5-C90E-4626-9E4F-D4AE226ED03C}"/>
              </a:ext>
            </a:extLst>
          </p:cNvPr>
          <p:cNvCxnSpPr/>
          <p:nvPr/>
        </p:nvCxnSpPr>
        <p:spPr bwMode="gray">
          <a:xfrm>
            <a:off x="2072427" y="435420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6" name="Content Placeholder 3">
            <a:extLst>
              <a:ext uri="{FF2B5EF4-FFF2-40B4-BE49-F238E27FC236}">
                <a16:creationId xmlns:a16="http://schemas.microsoft.com/office/drawing/2014/main" id="{286A186B-54EE-488C-A4FB-989E01888F4E}"/>
              </a:ext>
            </a:extLst>
          </p:cNvPr>
          <p:cNvSpPr txBox="1">
            <a:spLocks/>
          </p:cNvSpPr>
          <p:nvPr/>
        </p:nvSpPr>
        <p:spPr bwMode="gray">
          <a:xfrm>
            <a:off x="2818583" y="5221054"/>
            <a:ext cx="9034681" cy="693166"/>
          </a:xfrm>
          <a:prstGeom prst="rect">
            <a:avLst/>
          </a:prstGeom>
        </p:spPr>
        <p:txBody>
          <a:bodyPr lIns="0" tIns="0" rIns="0" bIns="0" anchor="ctr" anchorCtr="0"/>
          <a:lstStyle>
            <a:lvl1pPr marL="0" indent="0" algn="l" defTabSz="914491" rtl="0" eaLnBrk="1" latinLnBrk="0" hangingPunct="1">
              <a:spcBef>
                <a:spcPts val="600"/>
              </a:spcBef>
              <a:buFont typeface="Arial" panose="020B0604020202020204" pitchFamily="34" charset="0"/>
              <a:buNone/>
              <a:defRPr lang="en-US" sz="1600" b="1" kern="1200" dirty="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0"/>
              </a:spcBef>
            </a:pPr>
            <a:r>
              <a:rPr lang="en-US" sz="1400" dirty="0"/>
              <a:t>Carbon dioxide and moisture would solidify at cryogenic temperatures </a:t>
            </a:r>
          </a:p>
          <a:p>
            <a:pPr lvl="1">
              <a:spcBef>
                <a:spcPts val="0"/>
              </a:spcBef>
            </a:pPr>
            <a:r>
              <a:rPr lang="en-US" sz="1400" dirty="0"/>
              <a:t>Hydrocarbons from the air can explode if they accumulate to high levels in liquid oxygen </a:t>
            </a:r>
          </a:p>
          <a:p>
            <a:pPr lvl="1">
              <a:spcBef>
                <a:spcPts val="0"/>
              </a:spcBef>
            </a:pPr>
            <a:r>
              <a:rPr lang="en-US" sz="1400" dirty="0"/>
              <a:t>“Break through” of these contaminants from the pre-purification stage is monitored continuously</a:t>
            </a:r>
          </a:p>
        </p:txBody>
      </p:sp>
      <p:sp>
        <p:nvSpPr>
          <p:cNvPr id="67" name="Content Placeholder 3">
            <a:extLst>
              <a:ext uri="{FF2B5EF4-FFF2-40B4-BE49-F238E27FC236}">
                <a16:creationId xmlns:a16="http://schemas.microsoft.com/office/drawing/2014/main" id="{D58B7B0D-1020-45B7-B4C2-DFCC95917155}"/>
              </a:ext>
            </a:extLst>
          </p:cNvPr>
          <p:cNvSpPr txBox="1">
            <a:spLocks/>
          </p:cNvSpPr>
          <p:nvPr/>
        </p:nvSpPr>
        <p:spPr bwMode="gray">
          <a:xfrm>
            <a:off x="651400" y="5221054"/>
            <a:ext cx="1245980" cy="693166"/>
          </a:xfrm>
          <a:prstGeom prst="rect">
            <a:avLst/>
          </a:prstGeom>
        </p:spPr>
        <p:txBody>
          <a:bodyPr lIns="0" tIns="0" rIns="0" bIns="0" anchor="ctr"/>
          <a:lstStyle>
            <a:lvl1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1pPr>
            <a:lvl2pPr marL="1588" indent="0" algn="l" defTabSz="914491" rtl="0" eaLnBrk="1" latinLnBrk="0" hangingPunct="1">
              <a:spcBef>
                <a:spcPts val="600"/>
              </a:spcBef>
              <a:buFont typeface="ABBvoiceOffice" panose="020D0603020503020204" pitchFamily="34" charset="0"/>
              <a:buNone/>
              <a:defRPr sz="1400" b="1" kern="1200">
                <a:solidFill>
                  <a:schemeClr val="tx2"/>
                </a:solidFill>
                <a:latin typeface="+mn-lt"/>
                <a:ea typeface="+mn-ea"/>
                <a:cs typeface="+mn-cs"/>
              </a:defRPr>
            </a:lvl2pPr>
            <a:lvl3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3pPr>
            <a:lvl4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4pPr>
            <a:lvl5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5pPr>
            <a:lvl6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6pPr>
            <a:lvl7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7pPr>
            <a:lvl8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8pPr>
            <a:lvl9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9pPr>
          </a:lstStyle>
          <a:p>
            <a:r>
              <a:rPr lang="en-US" dirty="0"/>
              <a:t>Contaminants breakthrough</a:t>
            </a:r>
          </a:p>
        </p:txBody>
      </p:sp>
      <p:cxnSp>
        <p:nvCxnSpPr>
          <p:cNvPr id="68" name="Straight Connector 13">
            <a:extLst>
              <a:ext uri="{FF2B5EF4-FFF2-40B4-BE49-F238E27FC236}">
                <a16:creationId xmlns:a16="http://schemas.microsoft.com/office/drawing/2014/main" id="{7C47A9DA-7A6C-4240-B980-9350E13EB8A7}"/>
              </a:ext>
            </a:extLst>
          </p:cNvPr>
          <p:cNvCxnSpPr/>
          <p:nvPr/>
        </p:nvCxnSpPr>
        <p:spPr bwMode="gray">
          <a:xfrm>
            <a:off x="1999567" y="5221051"/>
            <a:ext cx="0" cy="693974"/>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69" name="Straight Connector 14">
            <a:extLst>
              <a:ext uri="{FF2B5EF4-FFF2-40B4-BE49-F238E27FC236}">
                <a16:creationId xmlns:a16="http://schemas.microsoft.com/office/drawing/2014/main" id="{CF6F5F6C-8872-4986-A0E9-50EB2A268062}"/>
              </a:ext>
            </a:extLst>
          </p:cNvPr>
          <p:cNvCxnSpPr/>
          <p:nvPr/>
        </p:nvCxnSpPr>
        <p:spPr bwMode="gray">
          <a:xfrm>
            <a:off x="1851502" y="5568038"/>
            <a:ext cx="144000"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70" name="Straight Connector 69">
            <a:extLst>
              <a:ext uri="{FF2B5EF4-FFF2-40B4-BE49-F238E27FC236}">
                <a16:creationId xmlns:a16="http://schemas.microsoft.com/office/drawing/2014/main" id="{C7F962F1-058F-4CFD-AB20-1392F4A91BCA}"/>
              </a:ext>
            </a:extLst>
          </p:cNvPr>
          <p:cNvCxnSpPr/>
          <p:nvPr/>
        </p:nvCxnSpPr>
        <p:spPr bwMode="gray">
          <a:xfrm>
            <a:off x="2072427" y="5152338"/>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71" name="Content Placeholder 6">
            <a:extLst>
              <a:ext uri="{FF2B5EF4-FFF2-40B4-BE49-F238E27FC236}">
                <a16:creationId xmlns:a16="http://schemas.microsoft.com/office/drawing/2014/main" id="{8102D900-133A-4B96-A83C-493FDD3AE431}"/>
              </a:ext>
            </a:extLst>
          </p:cNvPr>
          <p:cNvSpPr txBox="1">
            <a:spLocks/>
          </p:cNvSpPr>
          <p:nvPr/>
        </p:nvSpPr>
        <p:spPr bwMode="gray">
          <a:xfrm>
            <a:off x="2218077" y="5375037"/>
            <a:ext cx="385200" cy="385200"/>
          </a:xfrm>
          <a:prstGeom prst="ellipse">
            <a:avLst/>
          </a:prstGeom>
          <a:solidFill>
            <a:schemeClr val="tx2"/>
          </a:solidFill>
        </p:spPr>
        <p:txBody>
          <a:bodyPr anchor="ctr" anchorCtr="0"/>
          <a:lstStyle>
            <a:lvl1pPr marL="0" indent="0" algn="ctr" defTabSz="914491" rtl="0" eaLnBrk="1" latinLnBrk="0" hangingPunct="1">
              <a:spcBef>
                <a:spcPts val="0"/>
              </a:spcBef>
              <a:buFont typeface="Arial" panose="020B0604020202020204" pitchFamily="34" charset="0"/>
              <a:buNone/>
              <a:defRPr sz="2000" b="1" kern="1200">
                <a:solidFill>
                  <a:schemeClr val="bg1"/>
                </a:solidFill>
                <a:latin typeface="ABBvoice" panose="020D0603020503020204" pitchFamily="34" charset="0"/>
                <a:ea typeface="ABBvoice" panose="020D0603020503020204" pitchFamily="34" charset="0"/>
                <a:cs typeface="ABBvoice" panose="020D0603020503020204" pitchFamily="34" charset="0"/>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de-DE" dirty="0"/>
              <a:t>5</a:t>
            </a:r>
            <a:endParaRPr lang="en-GB" dirty="0"/>
          </a:p>
        </p:txBody>
      </p:sp>
    </p:spTree>
    <p:custDataLst>
      <p:tags r:id="rId1"/>
    </p:custDataLst>
    <p:extLst>
      <p:ext uri="{BB962C8B-B14F-4D97-AF65-F5344CB8AC3E}">
        <p14:creationId xmlns:p14="http://schemas.microsoft.com/office/powerpoint/2010/main" val="3840184005"/>
      </p:ext>
    </p:extLst>
  </p:cSld>
  <p:clrMapOvr>
    <a:masterClrMapping/>
  </p:clrMapOvr>
  <mc:AlternateContent xmlns:mc="http://schemas.openxmlformats.org/markup-compatibility/2006" xmlns:p14="http://schemas.microsoft.com/office/powerpoint/2010/main">
    <mc:Choice Requires="p14">
      <p:transition spd="med" p14:dur="700" advTm="351556">
        <p:fade/>
      </p:transition>
    </mc:Choice>
    <mc:Fallback xmlns="">
      <p:transition spd="med" advTm="35155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1000"/>
                                        <p:tgtEl>
                                          <p:spTgt spid="92"/>
                                        </p:tgtEl>
                                      </p:cBhvr>
                                    </p:animEffect>
                                    <p:anim calcmode="lin" valueType="num">
                                      <p:cBhvr>
                                        <p:cTn id="8" dur="1000" fill="hold"/>
                                        <p:tgtEl>
                                          <p:spTgt spid="92"/>
                                        </p:tgtEl>
                                        <p:attrNameLst>
                                          <p:attrName>ppt_x</p:attrName>
                                        </p:attrNameLst>
                                      </p:cBhvr>
                                      <p:tavLst>
                                        <p:tav tm="0">
                                          <p:val>
                                            <p:strVal val="#ppt_x"/>
                                          </p:val>
                                        </p:tav>
                                        <p:tav tm="100000">
                                          <p:val>
                                            <p:strVal val="#ppt_x"/>
                                          </p:val>
                                        </p:tav>
                                      </p:tavLst>
                                    </p:anim>
                                    <p:anim calcmode="lin" valueType="num">
                                      <p:cBhvr>
                                        <p:cTn id="9" dur="1000" fill="hold"/>
                                        <p:tgtEl>
                                          <p:spTgt spid="9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30"/>
                                        </p:tgtEl>
                                        <p:attrNameLst>
                                          <p:attrName>style.visibility</p:attrName>
                                        </p:attrNameLst>
                                      </p:cBhvr>
                                      <p:to>
                                        <p:strVal val="visible"/>
                                      </p:to>
                                    </p:set>
                                    <p:animEffect transition="in" filter="fade">
                                      <p:cBhvr>
                                        <p:cTn id="12" dur="1000"/>
                                        <p:tgtEl>
                                          <p:spTgt spid="130"/>
                                        </p:tgtEl>
                                      </p:cBhvr>
                                    </p:animEffect>
                                    <p:anim calcmode="lin" valueType="num">
                                      <p:cBhvr>
                                        <p:cTn id="13" dur="1000" fill="hold"/>
                                        <p:tgtEl>
                                          <p:spTgt spid="130"/>
                                        </p:tgtEl>
                                        <p:attrNameLst>
                                          <p:attrName>ppt_x</p:attrName>
                                        </p:attrNameLst>
                                      </p:cBhvr>
                                      <p:tavLst>
                                        <p:tav tm="0">
                                          <p:val>
                                            <p:strVal val="#ppt_x"/>
                                          </p:val>
                                        </p:tav>
                                        <p:tav tm="100000">
                                          <p:val>
                                            <p:strVal val="#ppt_x"/>
                                          </p:val>
                                        </p:tav>
                                      </p:tavLst>
                                    </p:anim>
                                    <p:anim calcmode="lin" valueType="num">
                                      <p:cBhvr>
                                        <p:cTn id="14" dur="1000" fill="hold"/>
                                        <p:tgtEl>
                                          <p:spTgt spid="130"/>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1000"/>
                                        <p:tgtEl>
                                          <p:spTgt spid="72"/>
                                        </p:tgtEl>
                                      </p:cBhvr>
                                    </p:animEffect>
                                    <p:anim calcmode="lin" valueType="num">
                                      <p:cBhvr>
                                        <p:cTn id="18" dur="1000" fill="hold"/>
                                        <p:tgtEl>
                                          <p:spTgt spid="72"/>
                                        </p:tgtEl>
                                        <p:attrNameLst>
                                          <p:attrName>ppt_x</p:attrName>
                                        </p:attrNameLst>
                                      </p:cBhvr>
                                      <p:tavLst>
                                        <p:tav tm="0">
                                          <p:val>
                                            <p:strVal val="#ppt_x"/>
                                          </p:val>
                                        </p:tav>
                                        <p:tav tm="100000">
                                          <p:val>
                                            <p:strVal val="#ppt_x"/>
                                          </p:val>
                                        </p:tav>
                                      </p:tavLst>
                                    </p:anim>
                                    <p:anim calcmode="lin" valueType="num">
                                      <p:cBhvr>
                                        <p:cTn id="19" dur="1000" fill="hold"/>
                                        <p:tgtEl>
                                          <p:spTgt spid="7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76"/>
                                        </p:tgtEl>
                                        <p:attrNameLst>
                                          <p:attrName>style.visibility</p:attrName>
                                        </p:attrNameLst>
                                      </p:cBhvr>
                                      <p:to>
                                        <p:strVal val="visible"/>
                                      </p:to>
                                    </p:set>
                                    <p:animEffect transition="in" filter="fade">
                                      <p:cBhvr>
                                        <p:cTn id="22" dur="1000"/>
                                        <p:tgtEl>
                                          <p:spTgt spid="76"/>
                                        </p:tgtEl>
                                      </p:cBhvr>
                                    </p:animEffect>
                                    <p:anim calcmode="lin" valueType="num">
                                      <p:cBhvr>
                                        <p:cTn id="23" dur="1000" fill="hold"/>
                                        <p:tgtEl>
                                          <p:spTgt spid="76"/>
                                        </p:tgtEl>
                                        <p:attrNameLst>
                                          <p:attrName>ppt_x</p:attrName>
                                        </p:attrNameLst>
                                      </p:cBhvr>
                                      <p:tavLst>
                                        <p:tav tm="0">
                                          <p:val>
                                            <p:strVal val="#ppt_x"/>
                                          </p:val>
                                        </p:tav>
                                        <p:tav tm="100000">
                                          <p:val>
                                            <p:strVal val="#ppt_x"/>
                                          </p:val>
                                        </p:tav>
                                      </p:tavLst>
                                    </p:anim>
                                    <p:anim calcmode="lin" valueType="num">
                                      <p:cBhvr>
                                        <p:cTn id="24" dur="1000" fill="hold"/>
                                        <p:tgtEl>
                                          <p:spTgt spid="76"/>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1000"/>
                                        <p:tgtEl>
                                          <p:spTgt spid="85"/>
                                        </p:tgtEl>
                                      </p:cBhvr>
                                    </p:animEffect>
                                    <p:anim calcmode="lin" valueType="num">
                                      <p:cBhvr>
                                        <p:cTn id="28" dur="1000" fill="hold"/>
                                        <p:tgtEl>
                                          <p:spTgt spid="85"/>
                                        </p:tgtEl>
                                        <p:attrNameLst>
                                          <p:attrName>ppt_x</p:attrName>
                                        </p:attrNameLst>
                                      </p:cBhvr>
                                      <p:tavLst>
                                        <p:tav tm="0">
                                          <p:val>
                                            <p:strVal val="#ppt_x"/>
                                          </p:val>
                                        </p:tav>
                                        <p:tav tm="100000">
                                          <p:val>
                                            <p:strVal val="#ppt_x"/>
                                          </p:val>
                                        </p:tav>
                                      </p:tavLst>
                                    </p:anim>
                                    <p:anim calcmode="lin" valueType="num">
                                      <p:cBhvr>
                                        <p:cTn id="29" dur="1000" fill="hold"/>
                                        <p:tgtEl>
                                          <p:spTgt spid="85"/>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86"/>
                                        </p:tgtEl>
                                        <p:attrNameLst>
                                          <p:attrName>style.visibility</p:attrName>
                                        </p:attrNameLst>
                                      </p:cBhvr>
                                      <p:to>
                                        <p:strVal val="visible"/>
                                      </p:to>
                                    </p:set>
                                    <p:animEffect transition="in" filter="fade">
                                      <p:cBhvr>
                                        <p:cTn id="32" dur="1000"/>
                                        <p:tgtEl>
                                          <p:spTgt spid="86"/>
                                        </p:tgtEl>
                                      </p:cBhvr>
                                    </p:animEffect>
                                    <p:anim calcmode="lin" valueType="num">
                                      <p:cBhvr>
                                        <p:cTn id="33" dur="1000" fill="hold"/>
                                        <p:tgtEl>
                                          <p:spTgt spid="86"/>
                                        </p:tgtEl>
                                        <p:attrNameLst>
                                          <p:attrName>ppt_x</p:attrName>
                                        </p:attrNameLst>
                                      </p:cBhvr>
                                      <p:tavLst>
                                        <p:tav tm="0">
                                          <p:val>
                                            <p:strVal val="#ppt_x"/>
                                          </p:val>
                                        </p:tav>
                                        <p:tav tm="100000">
                                          <p:val>
                                            <p:strVal val="#ppt_x"/>
                                          </p:val>
                                        </p:tav>
                                      </p:tavLst>
                                    </p:anim>
                                    <p:anim calcmode="lin" valueType="num">
                                      <p:cBhvr>
                                        <p:cTn id="34" dur="1000" fill="hold"/>
                                        <p:tgtEl>
                                          <p:spTgt spid="86"/>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93"/>
                                        </p:tgtEl>
                                        <p:attrNameLst>
                                          <p:attrName>style.visibility</p:attrName>
                                        </p:attrNameLst>
                                      </p:cBhvr>
                                      <p:to>
                                        <p:strVal val="visible"/>
                                      </p:to>
                                    </p:set>
                                    <p:animEffect transition="in" filter="fade">
                                      <p:cBhvr>
                                        <p:cTn id="39" dur="1000"/>
                                        <p:tgtEl>
                                          <p:spTgt spid="93"/>
                                        </p:tgtEl>
                                      </p:cBhvr>
                                    </p:animEffect>
                                    <p:anim calcmode="lin" valueType="num">
                                      <p:cBhvr>
                                        <p:cTn id="40" dur="1000" fill="hold"/>
                                        <p:tgtEl>
                                          <p:spTgt spid="93"/>
                                        </p:tgtEl>
                                        <p:attrNameLst>
                                          <p:attrName>ppt_x</p:attrName>
                                        </p:attrNameLst>
                                      </p:cBhvr>
                                      <p:tavLst>
                                        <p:tav tm="0">
                                          <p:val>
                                            <p:strVal val="#ppt_x"/>
                                          </p:val>
                                        </p:tav>
                                        <p:tav tm="100000">
                                          <p:val>
                                            <p:strVal val="#ppt_x"/>
                                          </p:val>
                                        </p:tav>
                                      </p:tavLst>
                                    </p:anim>
                                    <p:anim calcmode="lin" valueType="num">
                                      <p:cBhvr>
                                        <p:cTn id="41" dur="1000" fill="hold"/>
                                        <p:tgtEl>
                                          <p:spTgt spid="93"/>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108"/>
                                        </p:tgtEl>
                                        <p:attrNameLst>
                                          <p:attrName>style.visibility</p:attrName>
                                        </p:attrNameLst>
                                      </p:cBhvr>
                                      <p:to>
                                        <p:strVal val="visible"/>
                                      </p:to>
                                    </p:set>
                                    <p:animEffect transition="in" filter="fade">
                                      <p:cBhvr>
                                        <p:cTn id="44" dur="1000"/>
                                        <p:tgtEl>
                                          <p:spTgt spid="108"/>
                                        </p:tgtEl>
                                      </p:cBhvr>
                                    </p:animEffect>
                                    <p:anim calcmode="lin" valueType="num">
                                      <p:cBhvr>
                                        <p:cTn id="45" dur="1000" fill="hold"/>
                                        <p:tgtEl>
                                          <p:spTgt spid="108"/>
                                        </p:tgtEl>
                                        <p:attrNameLst>
                                          <p:attrName>ppt_x</p:attrName>
                                        </p:attrNameLst>
                                      </p:cBhvr>
                                      <p:tavLst>
                                        <p:tav tm="0">
                                          <p:val>
                                            <p:strVal val="#ppt_x"/>
                                          </p:val>
                                        </p:tav>
                                        <p:tav tm="100000">
                                          <p:val>
                                            <p:strVal val="#ppt_x"/>
                                          </p:val>
                                        </p:tav>
                                      </p:tavLst>
                                    </p:anim>
                                    <p:anim calcmode="lin" valueType="num">
                                      <p:cBhvr>
                                        <p:cTn id="46" dur="1000" fill="hold"/>
                                        <p:tgtEl>
                                          <p:spTgt spid="108"/>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73"/>
                                        </p:tgtEl>
                                        <p:attrNameLst>
                                          <p:attrName>style.visibility</p:attrName>
                                        </p:attrNameLst>
                                      </p:cBhvr>
                                      <p:to>
                                        <p:strVal val="visible"/>
                                      </p:to>
                                    </p:set>
                                    <p:animEffect transition="in" filter="fade">
                                      <p:cBhvr>
                                        <p:cTn id="49" dur="1000"/>
                                        <p:tgtEl>
                                          <p:spTgt spid="73"/>
                                        </p:tgtEl>
                                      </p:cBhvr>
                                    </p:animEffect>
                                    <p:anim calcmode="lin" valueType="num">
                                      <p:cBhvr>
                                        <p:cTn id="50" dur="1000" fill="hold"/>
                                        <p:tgtEl>
                                          <p:spTgt spid="73"/>
                                        </p:tgtEl>
                                        <p:attrNameLst>
                                          <p:attrName>ppt_x</p:attrName>
                                        </p:attrNameLst>
                                      </p:cBhvr>
                                      <p:tavLst>
                                        <p:tav tm="0">
                                          <p:val>
                                            <p:strVal val="#ppt_x"/>
                                          </p:val>
                                        </p:tav>
                                        <p:tav tm="100000">
                                          <p:val>
                                            <p:strVal val="#ppt_x"/>
                                          </p:val>
                                        </p:tav>
                                      </p:tavLst>
                                    </p:anim>
                                    <p:anim calcmode="lin" valueType="num">
                                      <p:cBhvr>
                                        <p:cTn id="51" dur="1000" fill="hold"/>
                                        <p:tgtEl>
                                          <p:spTgt spid="73"/>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77"/>
                                        </p:tgtEl>
                                        <p:attrNameLst>
                                          <p:attrName>style.visibility</p:attrName>
                                        </p:attrNameLst>
                                      </p:cBhvr>
                                      <p:to>
                                        <p:strVal val="visible"/>
                                      </p:to>
                                    </p:set>
                                    <p:animEffect transition="in" filter="fade">
                                      <p:cBhvr>
                                        <p:cTn id="54" dur="1000"/>
                                        <p:tgtEl>
                                          <p:spTgt spid="77"/>
                                        </p:tgtEl>
                                      </p:cBhvr>
                                    </p:animEffect>
                                    <p:anim calcmode="lin" valueType="num">
                                      <p:cBhvr>
                                        <p:cTn id="55" dur="1000" fill="hold"/>
                                        <p:tgtEl>
                                          <p:spTgt spid="77"/>
                                        </p:tgtEl>
                                        <p:attrNameLst>
                                          <p:attrName>ppt_x</p:attrName>
                                        </p:attrNameLst>
                                      </p:cBhvr>
                                      <p:tavLst>
                                        <p:tav tm="0">
                                          <p:val>
                                            <p:strVal val="#ppt_x"/>
                                          </p:val>
                                        </p:tav>
                                        <p:tav tm="100000">
                                          <p:val>
                                            <p:strVal val="#ppt_x"/>
                                          </p:val>
                                        </p:tav>
                                      </p:tavLst>
                                    </p:anim>
                                    <p:anim calcmode="lin" valueType="num">
                                      <p:cBhvr>
                                        <p:cTn id="56" dur="1000" fill="hold"/>
                                        <p:tgtEl>
                                          <p:spTgt spid="77"/>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81"/>
                                        </p:tgtEl>
                                        <p:attrNameLst>
                                          <p:attrName>style.visibility</p:attrName>
                                        </p:attrNameLst>
                                      </p:cBhvr>
                                      <p:to>
                                        <p:strVal val="visible"/>
                                      </p:to>
                                    </p:set>
                                    <p:animEffect transition="in" filter="fade">
                                      <p:cBhvr>
                                        <p:cTn id="59" dur="1000"/>
                                        <p:tgtEl>
                                          <p:spTgt spid="81"/>
                                        </p:tgtEl>
                                      </p:cBhvr>
                                    </p:animEffect>
                                    <p:anim calcmode="lin" valueType="num">
                                      <p:cBhvr>
                                        <p:cTn id="60" dur="1000" fill="hold"/>
                                        <p:tgtEl>
                                          <p:spTgt spid="81"/>
                                        </p:tgtEl>
                                        <p:attrNameLst>
                                          <p:attrName>ppt_x</p:attrName>
                                        </p:attrNameLst>
                                      </p:cBhvr>
                                      <p:tavLst>
                                        <p:tav tm="0">
                                          <p:val>
                                            <p:strVal val="#ppt_x"/>
                                          </p:val>
                                        </p:tav>
                                        <p:tav tm="100000">
                                          <p:val>
                                            <p:strVal val="#ppt_x"/>
                                          </p:val>
                                        </p:tav>
                                      </p:tavLst>
                                    </p:anim>
                                    <p:anim calcmode="lin" valueType="num">
                                      <p:cBhvr>
                                        <p:cTn id="61" dur="1000" fill="hold"/>
                                        <p:tgtEl>
                                          <p:spTgt spid="81"/>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82"/>
                                        </p:tgtEl>
                                        <p:attrNameLst>
                                          <p:attrName>style.visibility</p:attrName>
                                        </p:attrNameLst>
                                      </p:cBhvr>
                                      <p:to>
                                        <p:strVal val="visible"/>
                                      </p:to>
                                    </p:set>
                                    <p:animEffect transition="in" filter="fade">
                                      <p:cBhvr>
                                        <p:cTn id="64" dur="1000"/>
                                        <p:tgtEl>
                                          <p:spTgt spid="82"/>
                                        </p:tgtEl>
                                      </p:cBhvr>
                                    </p:animEffect>
                                    <p:anim calcmode="lin" valueType="num">
                                      <p:cBhvr>
                                        <p:cTn id="65" dur="1000" fill="hold"/>
                                        <p:tgtEl>
                                          <p:spTgt spid="82"/>
                                        </p:tgtEl>
                                        <p:attrNameLst>
                                          <p:attrName>ppt_x</p:attrName>
                                        </p:attrNameLst>
                                      </p:cBhvr>
                                      <p:tavLst>
                                        <p:tav tm="0">
                                          <p:val>
                                            <p:strVal val="#ppt_x"/>
                                          </p:val>
                                        </p:tav>
                                        <p:tav tm="100000">
                                          <p:val>
                                            <p:strVal val="#ppt_x"/>
                                          </p:val>
                                        </p:tav>
                                      </p:tavLst>
                                    </p:anim>
                                    <p:anim calcmode="lin" valueType="num">
                                      <p:cBhvr>
                                        <p:cTn id="66" dur="1000" fill="hold"/>
                                        <p:tgtEl>
                                          <p:spTgt spid="82"/>
                                        </p:tgtEl>
                                        <p:attrNameLst>
                                          <p:attrName>ppt_y</p:attrName>
                                        </p:attrNameLst>
                                      </p:cBhvr>
                                      <p:tavLst>
                                        <p:tav tm="0">
                                          <p:val>
                                            <p:strVal val="#ppt_y+.1"/>
                                          </p:val>
                                        </p:tav>
                                        <p:tav tm="100000">
                                          <p:val>
                                            <p:strVal val="#ppt_y"/>
                                          </p:val>
                                        </p:tav>
                                      </p:tavLst>
                                    </p:anim>
                                  </p:childTnLst>
                                </p:cTn>
                              </p:par>
                              <p:par>
                                <p:cTn id="67" presetID="42" presetClass="entr" presetSubtype="0" fill="hold" nodeType="withEffect">
                                  <p:stCondLst>
                                    <p:cond delay="0"/>
                                  </p:stCondLst>
                                  <p:childTnLst>
                                    <p:set>
                                      <p:cBhvr>
                                        <p:cTn id="68" dur="1" fill="hold">
                                          <p:stCondLst>
                                            <p:cond delay="0"/>
                                          </p:stCondLst>
                                        </p:cTn>
                                        <p:tgtEl>
                                          <p:spTgt spid="89"/>
                                        </p:tgtEl>
                                        <p:attrNameLst>
                                          <p:attrName>style.visibility</p:attrName>
                                        </p:attrNameLst>
                                      </p:cBhvr>
                                      <p:to>
                                        <p:strVal val="visible"/>
                                      </p:to>
                                    </p:set>
                                    <p:animEffect transition="in" filter="fade">
                                      <p:cBhvr>
                                        <p:cTn id="69" dur="1000"/>
                                        <p:tgtEl>
                                          <p:spTgt spid="89"/>
                                        </p:tgtEl>
                                      </p:cBhvr>
                                    </p:animEffect>
                                    <p:anim calcmode="lin" valueType="num">
                                      <p:cBhvr>
                                        <p:cTn id="70" dur="1000" fill="hold"/>
                                        <p:tgtEl>
                                          <p:spTgt spid="89"/>
                                        </p:tgtEl>
                                        <p:attrNameLst>
                                          <p:attrName>ppt_x</p:attrName>
                                        </p:attrNameLst>
                                      </p:cBhvr>
                                      <p:tavLst>
                                        <p:tav tm="0">
                                          <p:val>
                                            <p:strVal val="#ppt_x"/>
                                          </p:val>
                                        </p:tav>
                                        <p:tav tm="100000">
                                          <p:val>
                                            <p:strVal val="#ppt_x"/>
                                          </p:val>
                                        </p:tav>
                                      </p:tavLst>
                                    </p:anim>
                                    <p:anim calcmode="lin" valueType="num">
                                      <p:cBhvr>
                                        <p:cTn id="71" dur="1000" fill="hold"/>
                                        <p:tgtEl>
                                          <p:spTgt spid="89"/>
                                        </p:tgtEl>
                                        <p:attrNameLst>
                                          <p:attrName>ppt_y</p:attrName>
                                        </p:attrNameLst>
                                      </p:cBhvr>
                                      <p:tavLst>
                                        <p:tav tm="0">
                                          <p:val>
                                            <p:strVal val="#ppt_y+.1"/>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42" presetClass="entr" presetSubtype="0" fill="hold" grpId="0" nodeType="clickEffect">
                                  <p:stCondLst>
                                    <p:cond delay="0"/>
                                  </p:stCondLst>
                                  <p:childTnLst>
                                    <p:set>
                                      <p:cBhvr>
                                        <p:cTn id="75" dur="1" fill="hold">
                                          <p:stCondLst>
                                            <p:cond delay="0"/>
                                          </p:stCondLst>
                                        </p:cTn>
                                        <p:tgtEl>
                                          <p:spTgt spid="94"/>
                                        </p:tgtEl>
                                        <p:attrNameLst>
                                          <p:attrName>style.visibility</p:attrName>
                                        </p:attrNameLst>
                                      </p:cBhvr>
                                      <p:to>
                                        <p:strVal val="visible"/>
                                      </p:to>
                                    </p:set>
                                    <p:animEffect transition="in" filter="fade">
                                      <p:cBhvr>
                                        <p:cTn id="76" dur="1000"/>
                                        <p:tgtEl>
                                          <p:spTgt spid="94"/>
                                        </p:tgtEl>
                                      </p:cBhvr>
                                    </p:animEffect>
                                    <p:anim calcmode="lin" valueType="num">
                                      <p:cBhvr>
                                        <p:cTn id="77" dur="1000" fill="hold"/>
                                        <p:tgtEl>
                                          <p:spTgt spid="94"/>
                                        </p:tgtEl>
                                        <p:attrNameLst>
                                          <p:attrName>ppt_x</p:attrName>
                                        </p:attrNameLst>
                                      </p:cBhvr>
                                      <p:tavLst>
                                        <p:tav tm="0">
                                          <p:val>
                                            <p:strVal val="#ppt_x"/>
                                          </p:val>
                                        </p:tav>
                                        <p:tav tm="100000">
                                          <p:val>
                                            <p:strVal val="#ppt_x"/>
                                          </p:val>
                                        </p:tav>
                                      </p:tavLst>
                                    </p:anim>
                                    <p:anim calcmode="lin" valueType="num">
                                      <p:cBhvr>
                                        <p:cTn id="78" dur="1000" fill="hold"/>
                                        <p:tgtEl>
                                          <p:spTgt spid="94"/>
                                        </p:tgtEl>
                                        <p:attrNameLst>
                                          <p:attrName>ppt_y</p:attrName>
                                        </p:attrNameLst>
                                      </p:cBhvr>
                                      <p:tavLst>
                                        <p:tav tm="0">
                                          <p:val>
                                            <p:strVal val="#ppt_y+.1"/>
                                          </p:val>
                                        </p:tav>
                                        <p:tav tm="100000">
                                          <p:val>
                                            <p:strVal val="#ppt_y"/>
                                          </p:val>
                                        </p:tav>
                                      </p:tavLst>
                                    </p:anim>
                                  </p:childTnLst>
                                </p:cTn>
                              </p:par>
                              <p:par>
                                <p:cTn id="79" presetID="42" presetClass="entr" presetSubtype="0" fill="hold" nodeType="withEffect">
                                  <p:stCondLst>
                                    <p:cond delay="0"/>
                                  </p:stCondLst>
                                  <p:childTnLst>
                                    <p:set>
                                      <p:cBhvr>
                                        <p:cTn id="80" dur="1" fill="hold">
                                          <p:stCondLst>
                                            <p:cond delay="0"/>
                                          </p:stCondLst>
                                        </p:cTn>
                                        <p:tgtEl>
                                          <p:spTgt spid="96"/>
                                        </p:tgtEl>
                                        <p:attrNameLst>
                                          <p:attrName>style.visibility</p:attrName>
                                        </p:attrNameLst>
                                      </p:cBhvr>
                                      <p:to>
                                        <p:strVal val="visible"/>
                                      </p:to>
                                    </p:set>
                                    <p:animEffect transition="in" filter="fade">
                                      <p:cBhvr>
                                        <p:cTn id="81" dur="1000"/>
                                        <p:tgtEl>
                                          <p:spTgt spid="96"/>
                                        </p:tgtEl>
                                      </p:cBhvr>
                                    </p:animEffect>
                                    <p:anim calcmode="lin" valueType="num">
                                      <p:cBhvr>
                                        <p:cTn id="82" dur="1000" fill="hold"/>
                                        <p:tgtEl>
                                          <p:spTgt spid="96"/>
                                        </p:tgtEl>
                                        <p:attrNameLst>
                                          <p:attrName>ppt_x</p:attrName>
                                        </p:attrNameLst>
                                      </p:cBhvr>
                                      <p:tavLst>
                                        <p:tav tm="0">
                                          <p:val>
                                            <p:strVal val="#ppt_x"/>
                                          </p:val>
                                        </p:tav>
                                        <p:tav tm="100000">
                                          <p:val>
                                            <p:strVal val="#ppt_x"/>
                                          </p:val>
                                        </p:tav>
                                      </p:tavLst>
                                    </p:anim>
                                    <p:anim calcmode="lin" valueType="num">
                                      <p:cBhvr>
                                        <p:cTn id="83" dur="1000" fill="hold"/>
                                        <p:tgtEl>
                                          <p:spTgt spid="96"/>
                                        </p:tgtEl>
                                        <p:attrNameLst>
                                          <p:attrName>ppt_y</p:attrName>
                                        </p:attrNameLst>
                                      </p:cBhvr>
                                      <p:tavLst>
                                        <p:tav tm="0">
                                          <p:val>
                                            <p:strVal val="#ppt_y+.1"/>
                                          </p:val>
                                        </p:tav>
                                        <p:tav tm="100000">
                                          <p:val>
                                            <p:strVal val="#ppt_y"/>
                                          </p:val>
                                        </p:tav>
                                      </p:tavLst>
                                    </p:anim>
                                  </p:childTnLst>
                                </p:cTn>
                              </p:par>
                              <p:par>
                                <p:cTn id="84" presetID="42" presetClass="entr" presetSubtype="0" fill="hold" grpId="0" nodeType="withEffect">
                                  <p:stCondLst>
                                    <p:cond delay="0"/>
                                  </p:stCondLst>
                                  <p:childTnLst>
                                    <p:set>
                                      <p:cBhvr>
                                        <p:cTn id="85" dur="1" fill="hold">
                                          <p:stCondLst>
                                            <p:cond delay="0"/>
                                          </p:stCondLst>
                                        </p:cTn>
                                        <p:tgtEl>
                                          <p:spTgt spid="78"/>
                                        </p:tgtEl>
                                        <p:attrNameLst>
                                          <p:attrName>style.visibility</p:attrName>
                                        </p:attrNameLst>
                                      </p:cBhvr>
                                      <p:to>
                                        <p:strVal val="visible"/>
                                      </p:to>
                                    </p:set>
                                    <p:animEffect transition="in" filter="fade">
                                      <p:cBhvr>
                                        <p:cTn id="86" dur="1000"/>
                                        <p:tgtEl>
                                          <p:spTgt spid="78"/>
                                        </p:tgtEl>
                                      </p:cBhvr>
                                    </p:animEffect>
                                    <p:anim calcmode="lin" valueType="num">
                                      <p:cBhvr>
                                        <p:cTn id="87" dur="1000" fill="hold"/>
                                        <p:tgtEl>
                                          <p:spTgt spid="78"/>
                                        </p:tgtEl>
                                        <p:attrNameLst>
                                          <p:attrName>ppt_x</p:attrName>
                                        </p:attrNameLst>
                                      </p:cBhvr>
                                      <p:tavLst>
                                        <p:tav tm="0">
                                          <p:val>
                                            <p:strVal val="#ppt_x"/>
                                          </p:val>
                                        </p:tav>
                                        <p:tav tm="100000">
                                          <p:val>
                                            <p:strVal val="#ppt_x"/>
                                          </p:val>
                                        </p:tav>
                                      </p:tavLst>
                                    </p:anim>
                                    <p:anim calcmode="lin" valueType="num">
                                      <p:cBhvr>
                                        <p:cTn id="88" dur="1000" fill="hold"/>
                                        <p:tgtEl>
                                          <p:spTgt spid="78"/>
                                        </p:tgtEl>
                                        <p:attrNameLst>
                                          <p:attrName>ppt_y</p:attrName>
                                        </p:attrNameLst>
                                      </p:cBhvr>
                                      <p:tavLst>
                                        <p:tav tm="0">
                                          <p:val>
                                            <p:strVal val="#ppt_y+.1"/>
                                          </p:val>
                                        </p:tav>
                                        <p:tav tm="100000">
                                          <p:val>
                                            <p:strVal val="#ppt_y"/>
                                          </p:val>
                                        </p:tav>
                                      </p:tavLst>
                                    </p:anim>
                                  </p:childTnLst>
                                </p:cTn>
                              </p:par>
                              <p:par>
                                <p:cTn id="89" presetID="42" presetClass="entr" presetSubtype="0" fill="hold" nodeType="withEffect">
                                  <p:stCondLst>
                                    <p:cond delay="0"/>
                                  </p:stCondLst>
                                  <p:childTnLst>
                                    <p:set>
                                      <p:cBhvr>
                                        <p:cTn id="90" dur="1" fill="hold">
                                          <p:stCondLst>
                                            <p:cond delay="0"/>
                                          </p:stCondLst>
                                        </p:cTn>
                                        <p:tgtEl>
                                          <p:spTgt spid="87"/>
                                        </p:tgtEl>
                                        <p:attrNameLst>
                                          <p:attrName>style.visibility</p:attrName>
                                        </p:attrNameLst>
                                      </p:cBhvr>
                                      <p:to>
                                        <p:strVal val="visible"/>
                                      </p:to>
                                    </p:set>
                                    <p:animEffect transition="in" filter="fade">
                                      <p:cBhvr>
                                        <p:cTn id="91" dur="1000"/>
                                        <p:tgtEl>
                                          <p:spTgt spid="87"/>
                                        </p:tgtEl>
                                      </p:cBhvr>
                                    </p:animEffect>
                                    <p:anim calcmode="lin" valueType="num">
                                      <p:cBhvr>
                                        <p:cTn id="92" dur="1000" fill="hold"/>
                                        <p:tgtEl>
                                          <p:spTgt spid="87"/>
                                        </p:tgtEl>
                                        <p:attrNameLst>
                                          <p:attrName>ppt_x</p:attrName>
                                        </p:attrNameLst>
                                      </p:cBhvr>
                                      <p:tavLst>
                                        <p:tav tm="0">
                                          <p:val>
                                            <p:strVal val="#ppt_x"/>
                                          </p:val>
                                        </p:tav>
                                        <p:tav tm="100000">
                                          <p:val>
                                            <p:strVal val="#ppt_x"/>
                                          </p:val>
                                        </p:tav>
                                      </p:tavLst>
                                    </p:anim>
                                    <p:anim calcmode="lin" valueType="num">
                                      <p:cBhvr>
                                        <p:cTn id="93" dur="1000" fill="hold"/>
                                        <p:tgtEl>
                                          <p:spTgt spid="87"/>
                                        </p:tgtEl>
                                        <p:attrNameLst>
                                          <p:attrName>ppt_y</p:attrName>
                                        </p:attrNameLst>
                                      </p:cBhvr>
                                      <p:tavLst>
                                        <p:tav tm="0">
                                          <p:val>
                                            <p:strVal val="#ppt_y+.1"/>
                                          </p:val>
                                        </p:tav>
                                        <p:tav tm="100000">
                                          <p:val>
                                            <p:strVal val="#ppt_y"/>
                                          </p:val>
                                        </p:tav>
                                      </p:tavLst>
                                    </p:anim>
                                  </p:childTnLst>
                                </p:cTn>
                              </p:par>
                              <p:par>
                                <p:cTn id="94" presetID="42" presetClass="entr" presetSubtype="0" fill="hold" nodeType="withEffect">
                                  <p:stCondLst>
                                    <p:cond delay="0"/>
                                  </p:stCondLst>
                                  <p:childTnLst>
                                    <p:set>
                                      <p:cBhvr>
                                        <p:cTn id="95" dur="1" fill="hold">
                                          <p:stCondLst>
                                            <p:cond delay="0"/>
                                          </p:stCondLst>
                                        </p:cTn>
                                        <p:tgtEl>
                                          <p:spTgt spid="88"/>
                                        </p:tgtEl>
                                        <p:attrNameLst>
                                          <p:attrName>style.visibility</p:attrName>
                                        </p:attrNameLst>
                                      </p:cBhvr>
                                      <p:to>
                                        <p:strVal val="visible"/>
                                      </p:to>
                                    </p:set>
                                    <p:animEffect transition="in" filter="fade">
                                      <p:cBhvr>
                                        <p:cTn id="96" dur="1000"/>
                                        <p:tgtEl>
                                          <p:spTgt spid="88"/>
                                        </p:tgtEl>
                                      </p:cBhvr>
                                    </p:animEffect>
                                    <p:anim calcmode="lin" valueType="num">
                                      <p:cBhvr>
                                        <p:cTn id="97" dur="1000" fill="hold"/>
                                        <p:tgtEl>
                                          <p:spTgt spid="88"/>
                                        </p:tgtEl>
                                        <p:attrNameLst>
                                          <p:attrName>ppt_x</p:attrName>
                                        </p:attrNameLst>
                                      </p:cBhvr>
                                      <p:tavLst>
                                        <p:tav tm="0">
                                          <p:val>
                                            <p:strVal val="#ppt_x"/>
                                          </p:val>
                                        </p:tav>
                                        <p:tav tm="100000">
                                          <p:val>
                                            <p:strVal val="#ppt_x"/>
                                          </p:val>
                                        </p:tav>
                                      </p:tavLst>
                                    </p:anim>
                                    <p:anim calcmode="lin" valueType="num">
                                      <p:cBhvr>
                                        <p:cTn id="98" dur="1000" fill="hold"/>
                                        <p:tgtEl>
                                          <p:spTgt spid="88"/>
                                        </p:tgtEl>
                                        <p:attrNameLst>
                                          <p:attrName>ppt_y</p:attrName>
                                        </p:attrNameLst>
                                      </p:cBhvr>
                                      <p:tavLst>
                                        <p:tav tm="0">
                                          <p:val>
                                            <p:strVal val="#ppt_y+.1"/>
                                          </p:val>
                                        </p:tav>
                                        <p:tav tm="100000">
                                          <p:val>
                                            <p:strVal val="#ppt_y"/>
                                          </p:val>
                                        </p:tav>
                                      </p:tavLst>
                                    </p:anim>
                                  </p:childTnLst>
                                </p:cTn>
                              </p:par>
                              <p:par>
                                <p:cTn id="99" presetID="42" presetClass="entr" presetSubtype="0" fill="hold" nodeType="withEffect">
                                  <p:stCondLst>
                                    <p:cond delay="0"/>
                                  </p:stCondLst>
                                  <p:childTnLst>
                                    <p:set>
                                      <p:cBhvr>
                                        <p:cTn id="100" dur="1" fill="hold">
                                          <p:stCondLst>
                                            <p:cond delay="0"/>
                                          </p:stCondLst>
                                        </p:cTn>
                                        <p:tgtEl>
                                          <p:spTgt spid="90"/>
                                        </p:tgtEl>
                                        <p:attrNameLst>
                                          <p:attrName>style.visibility</p:attrName>
                                        </p:attrNameLst>
                                      </p:cBhvr>
                                      <p:to>
                                        <p:strVal val="visible"/>
                                      </p:to>
                                    </p:set>
                                    <p:animEffect transition="in" filter="fade">
                                      <p:cBhvr>
                                        <p:cTn id="101" dur="1000"/>
                                        <p:tgtEl>
                                          <p:spTgt spid="90"/>
                                        </p:tgtEl>
                                      </p:cBhvr>
                                    </p:animEffect>
                                    <p:anim calcmode="lin" valueType="num">
                                      <p:cBhvr>
                                        <p:cTn id="102" dur="1000" fill="hold"/>
                                        <p:tgtEl>
                                          <p:spTgt spid="90"/>
                                        </p:tgtEl>
                                        <p:attrNameLst>
                                          <p:attrName>ppt_x</p:attrName>
                                        </p:attrNameLst>
                                      </p:cBhvr>
                                      <p:tavLst>
                                        <p:tav tm="0">
                                          <p:val>
                                            <p:strVal val="#ppt_x"/>
                                          </p:val>
                                        </p:tav>
                                        <p:tav tm="100000">
                                          <p:val>
                                            <p:strVal val="#ppt_x"/>
                                          </p:val>
                                        </p:tav>
                                      </p:tavLst>
                                    </p:anim>
                                    <p:anim calcmode="lin" valueType="num">
                                      <p:cBhvr>
                                        <p:cTn id="103" dur="1000" fill="hold"/>
                                        <p:tgtEl>
                                          <p:spTgt spid="90"/>
                                        </p:tgtEl>
                                        <p:attrNameLst>
                                          <p:attrName>ppt_y</p:attrName>
                                        </p:attrNameLst>
                                      </p:cBhvr>
                                      <p:tavLst>
                                        <p:tav tm="0">
                                          <p:val>
                                            <p:strVal val="#ppt_y+.1"/>
                                          </p:val>
                                        </p:tav>
                                        <p:tav tm="100000">
                                          <p:val>
                                            <p:strVal val="#ppt_y"/>
                                          </p:val>
                                        </p:tav>
                                      </p:tavLst>
                                    </p:anim>
                                  </p:childTnLst>
                                </p:cTn>
                              </p:par>
                              <p:par>
                                <p:cTn id="104" presetID="42" presetClass="entr" presetSubtype="0" fill="hold" grpId="0" nodeType="withEffect">
                                  <p:stCondLst>
                                    <p:cond delay="0"/>
                                  </p:stCondLst>
                                  <p:childTnLst>
                                    <p:set>
                                      <p:cBhvr>
                                        <p:cTn id="105" dur="1" fill="hold">
                                          <p:stCondLst>
                                            <p:cond delay="0"/>
                                          </p:stCondLst>
                                        </p:cTn>
                                        <p:tgtEl>
                                          <p:spTgt spid="74"/>
                                        </p:tgtEl>
                                        <p:attrNameLst>
                                          <p:attrName>style.visibility</p:attrName>
                                        </p:attrNameLst>
                                      </p:cBhvr>
                                      <p:to>
                                        <p:strVal val="visible"/>
                                      </p:to>
                                    </p:set>
                                    <p:animEffect transition="in" filter="fade">
                                      <p:cBhvr>
                                        <p:cTn id="106" dur="1000"/>
                                        <p:tgtEl>
                                          <p:spTgt spid="74"/>
                                        </p:tgtEl>
                                      </p:cBhvr>
                                    </p:animEffect>
                                    <p:anim calcmode="lin" valueType="num">
                                      <p:cBhvr>
                                        <p:cTn id="107" dur="1000" fill="hold"/>
                                        <p:tgtEl>
                                          <p:spTgt spid="74"/>
                                        </p:tgtEl>
                                        <p:attrNameLst>
                                          <p:attrName>ppt_x</p:attrName>
                                        </p:attrNameLst>
                                      </p:cBhvr>
                                      <p:tavLst>
                                        <p:tav tm="0">
                                          <p:val>
                                            <p:strVal val="#ppt_x"/>
                                          </p:val>
                                        </p:tav>
                                        <p:tav tm="100000">
                                          <p:val>
                                            <p:strVal val="#ppt_x"/>
                                          </p:val>
                                        </p:tav>
                                      </p:tavLst>
                                    </p:anim>
                                    <p:anim calcmode="lin" valueType="num">
                                      <p:cBhvr>
                                        <p:cTn id="108" dur="1000" fill="hold"/>
                                        <p:tgtEl>
                                          <p:spTgt spid="74"/>
                                        </p:tgtEl>
                                        <p:attrNameLst>
                                          <p:attrName>ppt_y</p:attrName>
                                        </p:attrNameLst>
                                      </p:cBhvr>
                                      <p:tavLst>
                                        <p:tav tm="0">
                                          <p:val>
                                            <p:strVal val="#ppt_y+.1"/>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42" presetClass="entr" presetSubtype="0" fill="hold" grpId="0" nodeType="clickEffect">
                                  <p:stCondLst>
                                    <p:cond delay="0"/>
                                  </p:stCondLst>
                                  <p:childTnLst>
                                    <p:set>
                                      <p:cBhvr>
                                        <p:cTn id="112" dur="1" fill="hold">
                                          <p:stCondLst>
                                            <p:cond delay="0"/>
                                          </p:stCondLst>
                                        </p:cTn>
                                        <p:tgtEl>
                                          <p:spTgt spid="95"/>
                                        </p:tgtEl>
                                        <p:attrNameLst>
                                          <p:attrName>style.visibility</p:attrName>
                                        </p:attrNameLst>
                                      </p:cBhvr>
                                      <p:to>
                                        <p:strVal val="visible"/>
                                      </p:to>
                                    </p:set>
                                    <p:animEffect transition="in" filter="fade">
                                      <p:cBhvr>
                                        <p:cTn id="113" dur="1000"/>
                                        <p:tgtEl>
                                          <p:spTgt spid="95"/>
                                        </p:tgtEl>
                                      </p:cBhvr>
                                    </p:animEffect>
                                    <p:anim calcmode="lin" valueType="num">
                                      <p:cBhvr>
                                        <p:cTn id="114" dur="1000" fill="hold"/>
                                        <p:tgtEl>
                                          <p:spTgt spid="95"/>
                                        </p:tgtEl>
                                        <p:attrNameLst>
                                          <p:attrName>ppt_x</p:attrName>
                                        </p:attrNameLst>
                                      </p:cBhvr>
                                      <p:tavLst>
                                        <p:tav tm="0">
                                          <p:val>
                                            <p:strVal val="#ppt_x"/>
                                          </p:val>
                                        </p:tav>
                                        <p:tav tm="100000">
                                          <p:val>
                                            <p:strVal val="#ppt_x"/>
                                          </p:val>
                                        </p:tav>
                                      </p:tavLst>
                                    </p:anim>
                                    <p:anim calcmode="lin" valueType="num">
                                      <p:cBhvr>
                                        <p:cTn id="115" dur="1000" fill="hold"/>
                                        <p:tgtEl>
                                          <p:spTgt spid="95"/>
                                        </p:tgtEl>
                                        <p:attrNameLst>
                                          <p:attrName>ppt_y</p:attrName>
                                        </p:attrNameLst>
                                      </p:cBhvr>
                                      <p:tavLst>
                                        <p:tav tm="0">
                                          <p:val>
                                            <p:strVal val="#ppt_y+.1"/>
                                          </p:val>
                                        </p:tav>
                                        <p:tav tm="100000">
                                          <p:val>
                                            <p:strVal val="#ppt_y"/>
                                          </p:val>
                                        </p:tav>
                                      </p:tavLst>
                                    </p:anim>
                                  </p:childTnLst>
                                </p:cTn>
                              </p:par>
                              <p:par>
                                <p:cTn id="116" presetID="42" presetClass="entr" presetSubtype="0" fill="hold" nodeType="withEffect">
                                  <p:stCondLst>
                                    <p:cond delay="0"/>
                                  </p:stCondLst>
                                  <p:childTnLst>
                                    <p:set>
                                      <p:cBhvr>
                                        <p:cTn id="117" dur="1" fill="hold">
                                          <p:stCondLst>
                                            <p:cond delay="0"/>
                                          </p:stCondLst>
                                        </p:cTn>
                                        <p:tgtEl>
                                          <p:spTgt spid="119"/>
                                        </p:tgtEl>
                                        <p:attrNameLst>
                                          <p:attrName>style.visibility</p:attrName>
                                        </p:attrNameLst>
                                      </p:cBhvr>
                                      <p:to>
                                        <p:strVal val="visible"/>
                                      </p:to>
                                    </p:set>
                                    <p:animEffect transition="in" filter="fade">
                                      <p:cBhvr>
                                        <p:cTn id="118" dur="1000"/>
                                        <p:tgtEl>
                                          <p:spTgt spid="119"/>
                                        </p:tgtEl>
                                      </p:cBhvr>
                                    </p:animEffect>
                                    <p:anim calcmode="lin" valueType="num">
                                      <p:cBhvr>
                                        <p:cTn id="119" dur="1000" fill="hold"/>
                                        <p:tgtEl>
                                          <p:spTgt spid="119"/>
                                        </p:tgtEl>
                                        <p:attrNameLst>
                                          <p:attrName>ppt_x</p:attrName>
                                        </p:attrNameLst>
                                      </p:cBhvr>
                                      <p:tavLst>
                                        <p:tav tm="0">
                                          <p:val>
                                            <p:strVal val="#ppt_x"/>
                                          </p:val>
                                        </p:tav>
                                        <p:tav tm="100000">
                                          <p:val>
                                            <p:strVal val="#ppt_x"/>
                                          </p:val>
                                        </p:tav>
                                      </p:tavLst>
                                    </p:anim>
                                    <p:anim calcmode="lin" valueType="num">
                                      <p:cBhvr>
                                        <p:cTn id="120" dur="1000" fill="hold"/>
                                        <p:tgtEl>
                                          <p:spTgt spid="119"/>
                                        </p:tgtEl>
                                        <p:attrNameLst>
                                          <p:attrName>ppt_y</p:attrName>
                                        </p:attrNameLst>
                                      </p:cBhvr>
                                      <p:tavLst>
                                        <p:tav tm="0">
                                          <p:val>
                                            <p:strVal val="#ppt_y+.1"/>
                                          </p:val>
                                        </p:tav>
                                        <p:tav tm="100000">
                                          <p:val>
                                            <p:strVal val="#ppt_y"/>
                                          </p:val>
                                        </p:tav>
                                      </p:tavLst>
                                    </p:anim>
                                  </p:childTnLst>
                                </p:cTn>
                              </p:par>
                              <p:par>
                                <p:cTn id="121" presetID="42" presetClass="entr" presetSubtype="0" fill="hold" grpId="0" nodeType="withEffect">
                                  <p:stCondLst>
                                    <p:cond delay="0"/>
                                  </p:stCondLst>
                                  <p:childTnLst>
                                    <p:set>
                                      <p:cBhvr>
                                        <p:cTn id="122" dur="1" fill="hold">
                                          <p:stCondLst>
                                            <p:cond delay="0"/>
                                          </p:stCondLst>
                                        </p:cTn>
                                        <p:tgtEl>
                                          <p:spTgt spid="80"/>
                                        </p:tgtEl>
                                        <p:attrNameLst>
                                          <p:attrName>style.visibility</p:attrName>
                                        </p:attrNameLst>
                                      </p:cBhvr>
                                      <p:to>
                                        <p:strVal val="visible"/>
                                      </p:to>
                                    </p:set>
                                    <p:animEffect transition="in" filter="fade">
                                      <p:cBhvr>
                                        <p:cTn id="123" dur="1000"/>
                                        <p:tgtEl>
                                          <p:spTgt spid="80"/>
                                        </p:tgtEl>
                                      </p:cBhvr>
                                    </p:animEffect>
                                    <p:anim calcmode="lin" valueType="num">
                                      <p:cBhvr>
                                        <p:cTn id="124" dur="1000" fill="hold"/>
                                        <p:tgtEl>
                                          <p:spTgt spid="80"/>
                                        </p:tgtEl>
                                        <p:attrNameLst>
                                          <p:attrName>ppt_x</p:attrName>
                                        </p:attrNameLst>
                                      </p:cBhvr>
                                      <p:tavLst>
                                        <p:tav tm="0">
                                          <p:val>
                                            <p:strVal val="#ppt_x"/>
                                          </p:val>
                                        </p:tav>
                                        <p:tav tm="100000">
                                          <p:val>
                                            <p:strVal val="#ppt_x"/>
                                          </p:val>
                                        </p:tav>
                                      </p:tavLst>
                                    </p:anim>
                                    <p:anim calcmode="lin" valueType="num">
                                      <p:cBhvr>
                                        <p:cTn id="125" dur="1000" fill="hold"/>
                                        <p:tgtEl>
                                          <p:spTgt spid="80"/>
                                        </p:tgtEl>
                                        <p:attrNameLst>
                                          <p:attrName>ppt_y</p:attrName>
                                        </p:attrNameLst>
                                      </p:cBhvr>
                                      <p:tavLst>
                                        <p:tav tm="0">
                                          <p:val>
                                            <p:strVal val="#ppt_y+.1"/>
                                          </p:val>
                                        </p:tav>
                                        <p:tav tm="100000">
                                          <p:val>
                                            <p:strVal val="#ppt_y"/>
                                          </p:val>
                                        </p:tav>
                                      </p:tavLst>
                                    </p:anim>
                                  </p:childTnLst>
                                </p:cTn>
                              </p:par>
                              <p:par>
                                <p:cTn id="126" presetID="42" presetClass="entr" presetSubtype="0" fill="hold" nodeType="withEffect">
                                  <p:stCondLst>
                                    <p:cond delay="0"/>
                                  </p:stCondLst>
                                  <p:childTnLst>
                                    <p:set>
                                      <p:cBhvr>
                                        <p:cTn id="127" dur="1" fill="hold">
                                          <p:stCondLst>
                                            <p:cond delay="0"/>
                                          </p:stCondLst>
                                        </p:cTn>
                                        <p:tgtEl>
                                          <p:spTgt spid="83"/>
                                        </p:tgtEl>
                                        <p:attrNameLst>
                                          <p:attrName>style.visibility</p:attrName>
                                        </p:attrNameLst>
                                      </p:cBhvr>
                                      <p:to>
                                        <p:strVal val="visible"/>
                                      </p:to>
                                    </p:set>
                                    <p:animEffect transition="in" filter="fade">
                                      <p:cBhvr>
                                        <p:cTn id="128" dur="1000"/>
                                        <p:tgtEl>
                                          <p:spTgt spid="83"/>
                                        </p:tgtEl>
                                      </p:cBhvr>
                                    </p:animEffect>
                                    <p:anim calcmode="lin" valueType="num">
                                      <p:cBhvr>
                                        <p:cTn id="129" dur="1000" fill="hold"/>
                                        <p:tgtEl>
                                          <p:spTgt spid="83"/>
                                        </p:tgtEl>
                                        <p:attrNameLst>
                                          <p:attrName>ppt_x</p:attrName>
                                        </p:attrNameLst>
                                      </p:cBhvr>
                                      <p:tavLst>
                                        <p:tav tm="0">
                                          <p:val>
                                            <p:strVal val="#ppt_x"/>
                                          </p:val>
                                        </p:tav>
                                        <p:tav tm="100000">
                                          <p:val>
                                            <p:strVal val="#ppt_x"/>
                                          </p:val>
                                        </p:tav>
                                      </p:tavLst>
                                    </p:anim>
                                    <p:anim calcmode="lin" valueType="num">
                                      <p:cBhvr>
                                        <p:cTn id="130" dur="1000" fill="hold"/>
                                        <p:tgtEl>
                                          <p:spTgt spid="83"/>
                                        </p:tgtEl>
                                        <p:attrNameLst>
                                          <p:attrName>ppt_y</p:attrName>
                                        </p:attrNameLst>
                                      </p:cBhvr>
                                      <p:tavLst>
                                        <p:tav tm="0">
                                          <p:val>
                                            <p:strVal val="#ppt_y+.1"/>
                                          </p:val>
                                        </p:tav>
                                        <p:tav tm="100000">
                                          <p:val>
                                            <p:strVal val="#ppt_y"/>
                                          </p:val>
                                        </p:tav>
                                      </p:tavLst>
                                    </p:anim>
                                  </p:childTnLst>
                                </p:cTn>
                              </p:par>
                              <p:par>
                                <p:cTn id="131" presetID="42" presetClass="entr" presetSubtype="0" fill="hold" nodeType="withEffect">
                                  <p:stCondLst>
                                    <p:cond delay="0"/>
                                  </p:stCondLst>
                                  <p:childTnLst>
                                    <p:set>
                                      <p:cBhvr>
                                        <p:cTn id="132" dur="1" fill="hold">
                                          <p:stCondLst>
                                            <p:cond delay="0"/>
                                          </p:stCondLst>
                                        </p:cTn>
                                        <p:tgtEl>
                                          <p:spTgt spid="84"/>
                                        </p:tgtEl>
                                        <p:attrNameLst>
                                          <p:attrName>style.visibility</p:attrName>
                                        </p:attrNameLst>
                                      </p:cBhvr>
                                      <p:to>
                                        <p:strVal val="visible"/>
                                      </p:to>
                                    </p:set>
                                    <p:animEffect transition="in" filter="fade">
                                      <p:cBhvr>
                                        <p:cTn id="133" dur="1000"/>
                                        <p:tgtEl>
                                          <p:spTgt spid="84"/>
                                        </p:tgtEl>
                                      </p:cBhvr>
                                    </p:animEffect>
                                    <p:anim calcmode="lin" valueType="num">
                                      <p:cBhvr>
                                        <p:cTn id="134" dur="1000" fill="hold"/>
                                        <p:tgtEl>
                                          <p:spTgt spid="84"/>
                                        </p:tgtEl>
                                        <p:attrNameLst>
                                          <p:attrName>ppt_x</p:attrName>
                                        </p:attrNameLst>
                                      </p:cBhvr>
                                      <p:tavLst>
                                        <p:tav tm="0">
                                          <p:val>
                                            <p:strVal val="#ppt_x"/>
                                          </p:val>
                                        </p:tav>
                                        <p:tav tm="100000">
                                          <p:val>
                                            <p:strVal val="#ppt_x"/>
                                          </p:val>
                                        </p:tav>
                                      </p:tavLst>
                                    </p:anim>
                                    <p:anim calcmode="lin" valueType="num">
                                      <p:cBhvr>
                                        <p:cTn id="135" dur="1000" fill="hold"/>
                                        <p:tgtEl>
                                          <p:spTgt spid="84"/>
                                        </p:tgtEl>
                                        <p:attrNameLst>
                                          <p:attrName>ppt_y</p:attrName>
                                        </p:attrNameLst>
                                      </p:cBhvr>
                                      <p:tavLst>
                                        <p:tav tm="0">
                                          <p:val>
                                            <p:strVal val="#ppt_y+.1"/>
                                          </p:val>
                                        </p:tav>
                                        <p:tav tm="100000">
                                          <p:val>
                                            <p:strVal val="#ppt_y"/>
                                          </p:val>
                                        </p:tav>
                                      </p:tavLst>
                                    </p:anim>
                                  </p:childTnLst>
                                </p:cTn>
                              </p:par>
                              <p:par>
                                <p:cTn id="136" presetID="42" presetClass="entr" presetSubtype="0" fill="hold" nodeType="withEffect">
                                  <p:stCondLst>
                                    <p:cond delay="0"/>
                                  </p:stCondLst>
                                  <p:childTnLst>
                                    <p:set>
                                      <p:cBhvr>
                                        <p:cTn id="137" dur="1" fill="hold">
                                          <p:stCondLst>
                                            <p:cond delay="0"/>
                                          </p:stCondLst>
                                        </p:cTn>
                                        <p:tgtEl>
                                          <p:spTgt spid="91"/>
                                        </p:tgtEl>
                                        <p:attrNameLst>
                                          <p:attrName>style.visibility</p:attrName>
                                        </p:attrNameLst>
                                      </p:cBhvr>
                                      <p:to>
                                        <p:strVal val="visible"/>
                                      </p:to>
                                    </p:set>
                                    <p:animEffect transition="in" filter="fade">
                                      <p:cBhvr>
                                        <p:cTn id="138" dur="1000"/>
                                        <p:tgtEl>
                                          <p:spTgt spid="91"/>
                                        </p:tgtEl>
                                      </p:cBhvr>
                                    </p:animEffect>
                                    <p:anim calcmode="lin" valueType="num">
                                      <p:cBhvr>
                                        <p:cTn id="139" dur="1000" fill="hold"/>
                                        <p:tgtEl>
                                          <p:spTgt spid="91"/>
                                        </p:tgtEl>
                                        <p:attrNameLst>
                                          <p:attrName>ppt_x</p:attrName>
                                        </p:attrNameLst>
                                      </p:cBhvr>
                                      <p:tavLst>
                                        <p:tav tm="0">
                                          <p:val>
                                            <p:strVal val="#ppt_x"/>
                                          </p:val>
                                        </p:tav>
                                        <p:tav tm="100000">
                                          <p:val>
                                            <p:strVal val="#ppt_x"/>
                                          </p:val>
                                        </p:tav>
                                      </p:tavLst>
                                    </p:anim>
                                    <p:anim calcmode="lin" valueType="num">
                                      <p:cBhvr>
                                        <p:cTn id="140" dur="1000" fill="hold"/>
                                        <p:tgtEl>
                                          <p:spTgt spid="91"/>
                                        </p:tgtEl>
                                        <p:attrNameLst>
                                          <p:attrName>ppt_y</p:attrName>
                                        </p:attrNameLst>
                                      </p:cBhvr>
                                      <p:tavLst>
                                        <p:tav tm="0">
                                          <p:val>
                                            <p:strVal val="#ppt_y+.1"/>
                                          </p:val>
                                        </p:tav>
                                        <p:tav tm="100000">
                                          <p:val>
                                            <p:strVal val="#ppt_y"/>
                                          </p:val>
                                        </p:tav>
                                      </p:tavLst>
                                    </p:anim>
                                  </p:childTnLst>
                                </p:cTn>
                              </p:par>
                              <p:par>
                                <p:cTn id="141" presetID="42" presetClass="entr" presetSubtype="0" fill="hold" grpId="0" nodeType="withEffect">
                                  <p:stCondLst>
                                    <p:cond delay="0"/>
                                  </p:stCondLst>
                                  <p:childTnLst>
                                    <p:set>
                                      <p:cBhvr>
                                        <p:cTn id="142" dur="1" fill="hold">
                                          <p:stCondLst>
                                            <p:cond delay="0"/>
                                          </p:stCondLst>
                                        </p:cTn>
                                        <p:tgtEl>
                                          <p:spTgt spid="79"/>
                                        </p:tgtEl>
                                        <p:attrNameLst>
                                          <p:attrName>style.visibility</p:attrName>
                                        </p:attrNameLst>
                                      </p:cBhvr>
                                      <p:to>
                                        <p:strVal val="visible"/>
                                      </p:to>
                                    </p:set>
                                    <p:animEffect transition="in" filter="fade">
                                      <p:cBhvr>
                                        <p:cTn id="143" dur="1000"/>
                                        <p:tgtEl>
                                          <p:spTgt spid="79"/>
                                        </p:tgtEl>
                                      </p:cBhvr>
                                    </p:animEffect>
                                    <p:anim calcmode="lin" valueType="num">
                                      <p:cBhvr>
                                        <p:cTn id="144" dur="1000" fill="hold"/>
                                        <p:tgtEl>
                                          <p:spTgt spid="79"/>
                                        </p:tgtEl>
                                        <p:attrNameLst>
                                          <p:attrName>ppt_x</p:attrName>
                                        </p:attrNameLst>
                                      </p:cBhvr>
                                      <p:tavLst>
                                        <p:tav tm="0">
                                          <p:val>
                                            <p:strVal val="#ppt_x"/>
                                          </p:val>
                                        </p:tav>
                                        <p:tav tm="100000">
                                          <p:val>
                                            <p:strVal val="#ppt_x"/>
                                          </p:val>
                                        </p:tav>
                                      </p:tavLst>
                                    </p:anim>
                                    <p:anim calcmode="lin" valueType="num">
                                      <p:cBhvr>
                                        <p:cTn id="145" dur="1000" fill="hold"/>
                                        <p:tgtEl>
                                          <p:spTgt spid="79"/>
                                        </p:tgtEl>
                                        <p:attrNameLst>
                                          <p:attrName>ppt_y</p:attrName>
                                        </p:attrNameLst>
                                      </p:cBhvr>
                                      <p:tavLst>
                                        <p:tav tm="0">
                                          <p:val>
                                            <p:strVal val="#ppt_y+.1"/>
                                          </p:val>
                                        </p:tav>
                                        <p:tav tm="100000">
                                          <p:val>
                                            <p:strVal val="#ppt_y"/>
                                          </p:val>
                                        </p:tav>
                                      </p:tavLst>
                                    </p:anim>
                                  </p:childTnLst>
                                </p:cTn>
                              </p:par>
                            </p:childTnLst>
                          </p:cTn>
                        </p:par>
                      </p:childTnLst>
                    </p:cTn>
                  </p:par>
                  <p:par>
                    <p:cTn id="146" fill="hold">
                      <p:stCondLst>
                        <p:cond delay="indefinite"/>
                      </p:stCondLst>
                      <p:childTnLst>
                        <p:par>
                          <p:cTn id="147" fill="hold">
                            <p:stCondLst>
                              <p:cond delay="0"/>
                            </p:stCondLst>
                            <p:childTnLst>
                              <p:par>
                                <p:cTn id="148" presetID="42" presetClass="entr" presetSubtype="0" fill="hold" grpId="0" nodeType="clickEffect">
                                  <p:stCondLst>
                                    <p:cond delay="0"/>
                                  </p:stCondLst>
                                  <p:childTnLst>
                                    <p:set>
                                      <p:cBhvr>
                                        <p:cTn id="149" dur="1" fill="hold">
                                          <p:stCondLst>
                                            <p:cond delay="0"/>
                                          </p:stCondLst>
                                        </p:cTn>
                                        <p:tgtEl>
                                          <p:spTgt spid="66"/>
                                        </p:tgtEl>
                                        <p:attrNameLst>
                                          <p:attrName>style.visibility</p:attrName>
                                        </p:attrNameLst>
                                      </p:cBhvr>
                                      <p:to>
                                        <p:strVal val="visible"/>
                                      </p:to>
                                    </p:set>
                                    <p:animEffect transition="in" filter="fade">
                                      <p:cBhvr>
                                        <p:cTn id="150" dur="1000"/>
                                        <p:tgtEl>
                                          <p:spTgt spid="66"/>
                                        </p:tgtEl>
                                      </p:cBhvr>
                                    </p:animEffect>
                                    <p:anim calcmode="lin" valueType="num">
                                      <p:cBhvr>
                                        <p:cTn id="151" dur="1000" fill="hold"/>
                                        <p:tgtEl>
                                          <p:spTgt spid="66"/>
                                        </p:tgtEl>
                                        <p:attrNameLst>
                                          <p:attrName>ppt_x</p:attrName>
                                        </p:attrNameLst>
                                      </p:cBhvr>
                                      <p:tavLst>
                                        <p:tav tm="0">
                                          <p:val>
                                            <p:strVal val="#ppt_x"/>
                                          </p:val>
                                        </p:tav>
                                        <p:tav tm="100000">
                                          <p:val>
                                            <p:strVal val="#ppt_x"/>
                                          </p:val>
                                        </p:tav>
                                      </p:tavLst>
                                    </p:anim>
                                    <p:anim calcmode="lin" valueType="num">
                                      <p:cBhvr>
                                        <p:cTn id="152" dur="1000" fill="hold"/>
                                        <p:tgtEl>
                                          <p:spTgt spid="66"/>
                                        </p:tgtEl>
                                        <p:attrNameLst>
                                          <p:attrName>ppt_y</p:attrName>
                                        </p:attrNameLst>
                                      </p:cBhvr>
                                      <p:tavLst>
                                        <p:tav tm="0">
                                          <p:val>
                                            <p:strVal val="#ppt_y+.1"/>
                                          </p:val>
                                        </p:tav>
                                        <p:tav tm="100000">
                                          <p:val>
                                            <p:strVal val="#ppt_y"/>
                                          </p:val>
                                        </p:tav>
                                      </p:tavLst>
                                    </p:anim>
                                  </p:childTnLst>
                                </p:cTn>
                              </p:par>
                              <p:par>
                                <p:cTn id="153" presetID="42" presetClass="entr" presetSubtype="0" fill="hold" grpId="0" nodeType="withEffect">
                                  <p:stCondLst>
                                    <p:cond delay="0"/>
                                  </p:stCondLst>
                                  <p:childTnLst>
                                    <p:set>
                                      <p:cBhvr>
                                        <p:cTn id="154" dur="1" fill="hold">
                                          <p:stCondLst>
                                            <p:cond delay="0"/>
                                          </p:stCondLst>
                                        </p:cTn>
                                        <p:tgtEl>
                                          <p:spTgt spid="67"/>
                                        </p:tgtEl>
                                        <p:attrNameLst>
                                          <p:attrName>style.visibility</p:attrName>
                                        </p:attrNameLst>
                                      </p:cBhvr>
                                      <p:to>
                                        <p:strVal val="visible"/>
                                      </p:to>
                                    </p:set>
                                    <p:animEffect transition="in" filter="fade">
                                      <p:cBhvr>
                                        <p:cTn id="155" dur="1000"/>
                                        <p:tgtEl>
                                          <p:spTgt spid="67"/>
                                        </p:tgtEl>
                                      </p:cBhvr>
                                    </p:animEffect>
                                    <p:anim calcmode="lin" valueType="num">
                                      <p:cBhvr>
                                        <p:cTn id="156" dur="1000" fill="hold"/>
                                        <p:tgtEl>
                                          <p:spTgt spid="67"/>
                                        </p:tgtEl>
                                        <p:attrNameLst>
                                          <p:attrName>ppt_x</p:attrName>
                                        </p:attrNameLst>
                                      </p:cBhvr>
                                      <p:tavLst>
                                        <p:tav tm="0">
                                          <p:val>
                                            <p:strVal val="#ppt_x"/>
                                          </p:val>
                                        </p:tav>
                                        <p:tav tm="100000">
                                          <p:val>
                                            <p:strVal val="#ppt_x"/>
                                          </p:val>
                                        </p:tav>
                                      </p:tavLst>
                                    </p:anim>
                                    <p:anim calcmode="lin" valueType="num">
                                      <p:cBhvr>
                                        <p:cTn id="157" dur="1000" fill="hold"/>
                                        <p:tgtEl>
                                          <p:spTgt spid="67"/>
                                        </p:tgtEl>
                                        <p:attrNameLst>
                                          <p:attrName>ppt_y</p:attrName>
                                        </p:attrNameLst>
                                      </p:cBhvr>
                                      <p:tavLst>
                                        <p:tav tm="0">
                                          <p:val>
                                            <p:strVal val="#ppt_y+.1"/>
                                          </p:val>
                                        </p:tav>
                                        <p:tav tm="100000">
                                          <p:val>
                                            <p:strVal val="#ppt_y"/>
                                          </p:val>
                                        </p:tav>
                                      </p:tavLst>
                                    </p:anim>
                                  </p:childTnLst>
                                </p:cTn>
                              </p:par>
                              <p:par>
                                <p:cTn id="158" presetID="42" presetClass="entr" presetSubtype="0" fill="hold" nodeType="withEffect">
                                  <p:stCondLst>
                                    <p:cond delay="0"/>
                                  </p:stCondLst>
                                  <p:childTnLst>
                                    <p:set>
                                      <p:cBhvr>
                                        <p:cTn id="159" dur="1" fill="hold">
                                          <p:stCondLst>
                                            <p:cond delay="0"/>
                                          </p:stCondLst>
                                        </p:cTn>
                                        <p:tgtEl>
                                          <p:spTgt spid="68"/>
                                        </p:tgtEl>
                                        <p:attrNameLst>
                                          <p:attrName>style.visibility</p:attrName>
                                        </p:attrNameLst>
                                      </p:cBhvr>
                                      <p:to>
                                        <p:strVal val="visible"/>
                                      </p:to>
                                    </p:set>
                                    <p:animEffect transition="in" filter="fade">
                                      <p:cBhvr>
                                        <p:cTn id="160" dur="1000"/>
                                        <p:tgtEl>
                                          <p:spTgt spid="68"/>
                                        </p:tgtEl>
                                      </p:cBhvr>
                                    </p:animEffect>
                                    <p:anim calcmode="lin" valueType="num">
                                      <p:cBhvr>
                                        <p:cTn id="161" dur="1000" fill="hold"/>
                                        <p:tgtEl>
                                          <p:spTgt spid="68"/>
                                        </p:tgtEl>
                                        <p:attrNameLst>
                                          <p:attrName>ppt_x</p:attrName>
                                        </p:attrNameLst>
                                      </p:cBhvr>
                                      <p:tavLst>
                                        <p:tav tm="0">
                                          <p:val>
                                            <p:strVal val="#ppt_x"/>
                                          </p:val>
                                        </p:tav>
                                        <p:tav tm="100000">
                                          <p:val>
                                            <p:strVal val="#ppt_x"/>
                                          </p:val>
                                        </p:tav>
                                      </p:tavLst>
                                    </p:anim>
                                    <p:anim calcmode="lin" valueType="num">
                                      <p:cBhvr>
                                        <p:cTn id="162" dur="1000" fill="hold"/>
                                        <p:tgtEl>
                                          <p:spTgt spid="68"/>
                                        </p:tgtEl>
                                        <p:attrNameLst>
                                          <p:attrName>ppt_y</p:attrName>
                                        </p:attrNameLst>
                                      </p:cBhvr>
                                      <p:tavLst>
                                        <p:tav tm="0">
                                          <p:val>
                                            <p:strVal val="#ppt_y+.1"/>
                                          </p:val>
                                        </p:tav>
                                        <p:tav tm="100000">
                                          <p:val>
                                            <p:strVal val="#ppt_y"/>
                                          </p:val>
                                        </p:tav>
                                      </p:tavLst>
                                    </p:anim>
                                  </p:childTnLst>
                                </p:cTn>
                              </p:par>
                              <p:par>
                                <p:cTn id="163" presetID="42" presetClass="entr" presetSubtype="0" fill="hold" nodeType="withEffect">
                                  <p:stCondLst>
                                    <p:cond delay="0"/>
                                  </p:stCondLst>
                                  <p:childTnLst>
                                    <p:set>
                                      <p:cBhvr>
                                        <p:cTn id="164" dur="1" fill="hold">
                                          <p:stCondLst>
                                            <p:cond delay="0"/>
                                          </p:stCondLst>
                                        </p:cTn>
                                        <p:tgtEl>
                                          <p:spTgt spid="69"/>
                                        </p:tgtEl>
                                        <p:attrNameLst>
                                          <p:attrName>style.visibility</p:attrName>
                                        </p:attrNameLst>
                                      </p:cBhvr>
                                      <p:to>
                                        <p:strVal val="visible"/>
                                      </p:to>
                                    </p:set>
                                    <p:animEffect transition="in" filter="fade">
                                      <p:cBhvr>
                                        <p:cTn id="165" dur="1000"/>
                                        <p:tgtEl>
                                          <p:spTgt spid="69"/>
                                        </p:tgtEl>
                                      </p:cBhvr>
                                    </p:animEffect>
                                    <p:anim calcmode="lin" valueType="num">
                                      <p:cBhvr>
                                        <p:cTn id="166" dur="1000" fill="hold"/>
                                        <p:tgtEl>
                                          <p:spTgt spid="69"/>
                                        </p:tgtEl>
                                        <p:attrNameLst>
                                          <p:attrName>ppt_x</p:attrName>
                                        </p:attrNameLst>
                                      </p:cBhvr>
                                      <p:tavLst>
                                        <p:tav tm="0">
                                          <p:val>
                                            <p:strVal val="#ppt_x"/>
                                          </p:val>
                                        </p:tav>
                                        <p:tav tm="100000">
                                          <p:val>
                                            <p:strVal val="#ppt_x"/>
                                          </p:val>
                                        </p:tav>
                                      </p:tavLst>
                                    </p:anim>
                                    <p:anim calcmode="lin" valueType="num">
                                      <p:cBhvr>
                                        <p:cTn id="167" dur="1000" fill="hold"/>
                                        <p:tgtEl>
                                          <p:spTgt spid="69"/>
                                        </p:tgtEl>
                                        <p:attrNameLst>
                                          <p:attrName>ppt_y</p:attrName>
                                        </p:attrNameLst>
                                      </p:cBhvr>
                                      <p:tavLst>
                                        <p:tav tm="0">
                                          <p:val>
                                            <p:strVal val="#ppt_y+.1"/>
                                          </p:val>
                                        </p:tav>
                                        <p:tav tm="100000">
                                          <p:val>
                                            <p:strVal val="#ppt_y"/>
                                          </p:val>
                                        </p:tav>
                                      </p:tavLst>
                                    </p:anim>
                                  </p:childTnLst>
                                </p:cTn>
                              </p:par>
                              <p:par>
                                <p:cTn id="168" presetID="42" presetClass="entr" presetSubtype="0" fill="hold" nodeType="withEffect">
                                  <p:stCondLst>
                                    <p:cond delay="0"/>
                                  </p:stCondLst>
                                  <p:childTnLst>
                                    <p:set>
                                      <p:cBhvr>
                                        <p:cTn id="169" dur="1" fill="hold">
                                          <p:stCondLst>
                                            <p:cond delay="0"/>
                                          </p:stCondLst>
                                        </p:cTn>
                                        <p:tgtEl>
                                          <p:spTgt spid="70"/>
                                        </p:tgtEl>
                                        <p:attrNameLst>
                                          <p:attrName>style.visibility</p:attrName>
                                        </p:attrNameLst>
                                      </p:cBhvr>
                                      <p:to>
                                        <p:strVal val="visible"/>
                                      </p:to>
                                    </p:set>
                                    <p:animEffect transition="in" filter="fade">
                                      <p:cBhvr>
                                        <p:cTn id="170" dur="1000"/>
                                        <p:tgtEl>
                                          <p:spTgt spid="70"/>
                                        </p:tgtEl>
                                      </p:cBhvr>
                                    </p:animEffect>
                                    <p:anim calcmode="lin" valueType="num">
                                      <p:cBhvr>
                                        <p:cTn id="171" dur="1000" fill="hold"/>
                                        <p:tgtEl>
                                          <p:spTgt spid="70"/>
                                        </p:tgtEl>
                                        <p:attrNameLst>
                                          <p:attrName>ppt_x</p:attrName>
                                        </p:attrNameLst>
                                      </p:cBhvr>
                                      <p:tavLst>
                                        <p:tav tm="0">
                                          <p:val>
                                            <p:strVal val="#ppt_x"/>
                                          </p:val>
                                        </p:tav>
                                        <p:tav tm="100000">
                                          <p:val>
                                            <p:strVal val="#ppt_x"/>
                                          </p:val>
                                        </p:tav>
                                      </p:tavLst>
                                    </p:anim>
                                    <p:anim calcmode="lin" valueType="num">
                                      <p:cBhvr>
                                        <p:cTn id="172" dur="1000" fill="hold"/>
                                        <p:tgtEl>
                                          <p:spTgt spid="70"/>
                                        </p:tgtEl>
                                        <p:attrNameLst>
                                          <p:attrName>ppt_y</p:attrName>
                                        </p:attrNameLst>
                                      </p:cBhvr>
                                      <p:tavLst>
                                        <p:tav tm="0">
                                          <p:val>
                                            <p:strVal val="#ppt_y+.1"/>
                                          </p:val>
                                        </p:tav>
                                        <p:tav tm="100000">
                                          <p:val>
                                            <p:strVal val="#ppt_y"/>
                                          </p:val>
                                        </p:tav>
                                      </p:tavLst>
                                    </p:anim>
                                  </p:childTnLst>
                                </p:cTn>
                              </p:par>
                              <p:par>
                                <p:cTn id="173" presetID="42" presetClass="entr" presetSubtype="0" fill="hold" grpId="0" nodeType="withEffect">
                                  <p:stCondLst>
                                    <p:cond delay="0"/>
                                  </p:stCondLst>
                                  <p:childTnLst>
                                    <p:set>
                                      <p:cBhvr>
                                        <p:cTn id="174" dur="1" fill="hold">
                                          <p:stCondLst>
                                            <p:cond delay="0"/>
                                          </p:stCondLst>
                                        </p:cTn>
                                        <p:tgtEl>
                                          <p:spTgt spid="71"/>
                                        </p:tgtEl>
                                        <p:attrNameLst>
                                          <p:attrName>style.visibility</p:attrName>
                                        </p:attrNameLst>
                                      </p:cBhvr>
                                      <p:to>
                                        <p:strVal val="visible"/>
                                      </p:to>
                                    </p:set>
                                    <p:animEffect transition="in" filter="fade">
                                      <p:cBhvr>
                                        <p:cTn id="175" dur="1000"/>
                                        <p:tgtEl>
                                          <p:spTgt spid="71"/>
                                        </p:tgtEl>
                                      </p:cBhvr>
                                    </p:animEffect>
                                    <p:anim calcmode="lin" valueType="num">
                                      <p:cBhvr>
                                        <p:cTn id="176" dur="1000" fill="hold"/>
                                        <p:tgtEl>
                                          <p:spTgt spid="71"/>
                                        </p:tgtEl>
                                        <p:attrNameLst>
                                          <p:attrName>ppt_x</p:attrName>
                                        </p:attrNameLst>
                                      </p:cBhvr>
                                      <p:tavLst>
                                        <p:tav tm="0">
                                          <p:val>
                                            <p:strVal val="#ppt_x"/>
                                          </p:val>
                                        </p:tav>
                                        <p:tav tm="100000">
                                          <p:val>
                                            <p:strVal val="#ppt_x"/>
                                          </p:val>
                                        </p:tav>
                                      </p:tavLst>
                                    </p:anim>
                                    <p:anim calcmode="lin" valueType="num">
                                      <p:cBhvr>
                                        <p:cTn id="177" dur="1000" fill="hold"/>
                                        <p:tgtEl>
                                          <p:spTgt spid="71"/>
                                        </p:tgtEl>
                                        <p:attrNameLst>
                                          <p:attrName>ppt_y</p:attrName>
                                        </p:attrNameLst>
                                      </p:cBhvr>
                                      <p:tavLst>
                                        <p:tav tm="0">
                                          <p:val>
                                            <p:strVal val="#ppt_y+.1"/>
                                          </p:val>
                                        </p:tav>
                                        <p:tav tm="100000">
                                          <p:val>
                                            <p:strVal val="#ppt_y"/>
                                          </p:val>
                                        </p:tav>
                                      </p:tavLst>
                                    </p:anim>
                                  </p:childTnLst>
                                </p:cTn>
                              </p:par>
                              <p:par>
                                <p:cTn id="178" presetID="42" presetClass="entr" presetSubtype="0" fill="hold" nodeType="withEffect">
                                  <p:stCondLst>
                                    <p:cond delay="0"/>
                                  </p:stCondLst>
                                  <p:childTnLst>
                                    <p:set>
                                      <p:cBhvr>
                                        <p:cTn id="179" dur="1" fill="hold">
                                          <p:stCondLst>
                                            <p:cond delay="0"/>
                                          </p:stCondLst>
                                        </p:cTn>
                                        <p:tgtEl>
                                          <p:spTgt spid="145"/>
                                        </p:tgtEl>
                                        <p:attrNameLst>
                                          <p:attrName>style.visibility</p:attrName>
                                        </p:attrNameLst>
                                      </p:cBhvr>
                                      <p:to>
                                        <p:strVal val="visible"/>
                                      </p:to>
                                    </p:set>
                                    <p:animEffect transition="in" filter="fade">
                                      <p:cBhvr>
                                        <p:cTn id="180" dur="1000"/>
                                        <p:tgtEl>
                                          <p:spTgt spid="145"/>
                                        </p:tgtEl>
                                      </p:cBhvr>
                                    </p:animEffect>
                                    <p:anim calcmode="lin" valueType="num">
                                      <p:cBhvr>
                                        <p:cTn id="181" dur="1000" fill="hold"/>
                                        <p:tgtEl>
                                          <p:spTgt spid="145"/>
                                        </p:tgtEl>
                                        <p:attrNameLst>
                                          <p:attrName>ppt_x</p:attrName>
                                        </p:attrNameLst>
                                      </p:cBhvr>
                                      <p:tavLst>
                                        <p:tav tm="0">
                                          <p:val>
                                            <p:strVal val="#ppt_x"/>
                                          </p:val>
                                        </p:tav>
                                        <p:tav tm="100000">
                                          <p:val>
                                            <p:strVal val="#ppt_x"/>
                                          </p:val>
                                        </p:tav>
                                      </p:tavLst>
                                    </p:anim>
                                    <p:anim calcmode="lin" valueType="num">
                                      <p:cBhvr>
                                        <p:cTn id="182" dur="1000" fill="hold"/>
                                        <p:tgtEl>
                                          <p:spTgt spid="14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P spid="93" grpId="0" animBg="1"/>
      <p:bldP spid="94" grpId="0" animBg="1"/>
      <p:bldP spid="95" grpId="0" animBg="1"/>
      <p:bldP spid="130" grpId="0" animBg="1"/>
      <p:bldP spid="72" grpId="0"/>
      <p:bldP spid="73" grpId="0"/>
      <p:bldP spid="74" grpId="0"/>
      <p:bldP spid="76" grpId="0"/>
      <p:bldP spid="77" grpId="0"/>
      <p:bldP spid="78" grpId="0"/>
      <p:bldP spid="79" grpId="0"/>
      <p:bldP spid="80" grpId="0"/>
      <p:bldP spid="66" grpId="0"/>
      <p:bldP spid="67" grpId="0"/>
      <p:bldP spid="71" grpId="0" animBg="1"/>
    </p:bldLst>
  </p:timing>
  <p:extLst mod="1">
    <p:ext uri="{E180D4A7-C9FB-4DFB-919C-405C955672EB}">
      <p14:showEvtLst xmlns:p14="http://schemas.microsoft.com/office/powerpoint/2010/main">
        <p14:playEvt time="104" objId="7"/>
        <p14:stopEvt time="351556" objId="7"/>
      </p14:showEvtLst>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F4F7D-2CCB-4CA7-AFFD-55D74038827F}"/>
              </a:ext>
            </a:extLst>
          </p:cNvPr>
          <p:cNvSpPr>
            <a:spLocks noGrp="1"/>
          </p:cNvSpPr>
          <p:nvPr>
            <p:ph type="title"/>
          </p:nvPr>
        </p:nvSpPr>
        <p:spPr/>
        <p:txBody>
          <a:bodyPr/>
          <a:lstStyle/>
          <a:p>
            <a:r>
              <a:rPr lang="de-DE" dirty="0"/>
              <a:t>Air </a:t>
            </a:r>
            <a:r>
              <a:rPr lang="de-DE" dirty="0" err="1"/>
              <a:t>separation</a:t>
            </a:r>
            <a:r>
              <a:rPr lang="de-DE" dirty="0"/>
              <a:t> </a:t>
            </a:r>
            <a:r>
              <a:rPr lang="de-DE" dirty="0" err="1"/>
              <a:t>unit</a:t>
            </a:r>
            <a:r>
              <a:rPr lang="de-DE" dirty="0"/>
              <a:t> (ASU)</a:t>
            </a:r>
            <a:endParaRPr lang="en-US" dirty="0"/>
          </a:p>
        </p:txBody>
      </p:sp>
      <p:sp>
        <p:nvSpPr>
          <p:cNvPr id="3" name="Footer Placeholder 2">
            <a:extLst>
              <a:ext uri="{FF2B5EF4-FFF2-40B4-BE49-F238E27FC236}">
                <a16:creationId xmlns:a16="http://schemas.microsoft.com/office/drawing/2014/main" id="{5732E45B-BD86-4BEE-AD59-D40AE9AD6F0C}"/>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DAB82839-24AC-4EDE-B3AE-EACC7C6C64C5}"/>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8B603ECC-BDFC-4497-8CD2-ED191CEC041F}"/>
              </a:ext>
            </a:extLst>
          </p:cNvPr>
          <p:cNvSpPr>
            <a:spLocks noGrp="1"/>
          </p:cNvSpPr>
          <p:nvPr>
            <p:ph type="sldNum" sz="quarter" idx="12"/>
          </p:nvPr>
        </p:nvSpPr>
        <p:spPr/>
        <p:txBody>
          <a:bodyPr/>
          <a:lstStyle/>
          <a:p>
            <a:r>
              <a:rPr lang="en-US"/>
              <a:t>Slide </a:t>
            </a:r>
            <a:fld id="{619F89D8-7AE3-494A-97F3-03D680869632}" type="slidenum">
              <a:rPr lang="en-US" smtClean="0"/>
              <a:pPr/>
              <a:t>34</a:t>
            </a:fld>
            <a:endParaRPr lang="en-US" dirty="0"/>
          </a:p>
        </p:txBody>
      </p:sp>
      <p:sp>
        <p:nvSpPr>
          <p:cNvPr id="6" name="Content Placeholder 5">
            <a:extLst>
              <a:ext uri="{FF2B5EF4-FFF2-40B4-BE49-F238E27FC236}">
                <a16:creationId xmlns:a16="http://schemas.microsoft.com/office/drawing/2014/main" id="{7EC1AF45-CE34-4000-B1D3-C095586E07CA}"/>
              </a:ext>
            </a:extLst>
          </p:cNvPr>
          <p:cNvSpPr>
            <a:spLocks noGrp="1"/>
          </p:cNvSpPr>
          <p:nvPr>
            <p:ph sz="quarter" idx="20"/>
          </p:nvPr>
        </p:nvSpPr>
        <p:spPr/>
        <p:txBody>
          <a:bodyPr/>
          <a:lstStyle/>
          <a:p>
            <a:pPr>
              <a:spcBef>
                <a:spcPts val="0"/>
              </a:spcBef>
            </a:pPr>
            <a:r>
              <a:rPr lang="de-DE" dirty="0"/>
              <a:t>Magnos28</a:t>
            </a:r>
          </a:p>
          <a:p>
            <a:pPr>
              <a:spcBef>
                <a:spcPts val="0"/>
              </a:spcBef>
            </a:pPr>
            <a:r>
              <a:rPr lang="de-DE" dirty="0" err="1">
                <a:solidFill>
                  <a:schemeClr val="tx1"/>
                </a:solidFill>
              </a:rPr>
              <a:t>Paramagnetic</a:t>
            </a:r>
            <a:r>
              <a:rPr lang="de-DE" dirty="0">
                <a:solidFill>
                  <a:schemeClr val="tx1"/>
                </a:solidFill>
              </a:rPr>
              <a:t> </a:t>
            </a:r>
            <a:r>
              <a:rPr lang="de-DE" dirty="0" err="1">
                <a:solidFill>
                  <a:schemeClr val="tx1"/>
                </a:solidFill>
              </a:rPr>
              <a:t>detector</a:t>
            </a:r>
            <a:r>
              <a:rPr lang="de-DE" dirty="0">
                <a:solidFill>
                  <a:schemeClr val="tx1"/>
                </a:solidFill>
              </a:rPr>
              <a:t> – 99.5 </a:t>
            </a:r>
            <a:r>
              <a:rPr lang="de-DE" dirty="0" err="1">
                <a:solidFill>
                  <a:schemeClr val="tx1"/>
                </a:solidFill>
              </a:rPr>
              <a:t>to</a:t>
            </a:r>
            <a:r>
              <a:rPr lang="de-DE" dirty="0">
                <a:solidFill>
                  <a:schemeClr val="tx1"/>
                </a:solidFill>
              </a:rPr>
              <a:t> 100 vol% O</a:t>
            </a:r>
            <a:r>
              <a:rPr lang="de-DE" baseline="-25000" dirty="0">
                <a:solidFill>
                  <a:schemeClr val="tx1"/>
                </a:solidFill>
              </a:rPr>
              <a:t>2</a:t>
            </a:r>
          </a:p>
          <a:p>
            <a:pPr lvl="1">
              <a:spcBef>
                <a:spcPts val="0"/>
              </a:spcBef>
            </a:pPr>
            <a:endParaRPr lang="de-DE" dirty="0"/>
          </a:p>
          <a:p>
            <a:pPr lvl="1">
              <a:spcBef>
                <a:spcPts val="0"/>
              </a:spcBef>
            </a:pPr>
            <a:r>
              <a:rPr lang="de-DE" dirty="0"/>
              <a:t>Patented microwing® </a:t>
            </a:r>
            <a:r>
              <a:rPr lang="de-DE" dirty="0" err="1"/>
              <a:t>offers</a:t>
            </a:r>
            <a:r>
              <a:rPr lang="de-DE" dirty="0"/>
              <a:t> </a:t>
            </a:r>
            <a:r>
              <a:rPr lang="de-DE" dirty="0" err="1"/>
              <a:t>improved</a:t>
            </a:r>
            <a:r>
              <a:rPr lang="de-DE" dirty="0"/>
              <a:t> </a:t>
            </a:r>
            <a:r>
              <a:rPr lang="de-DE" dirty="0" err="1"/>
              <a:t>repeatability</a:t>
            </a:r>
            <a:r>
              <a:rPr lang="de-DE" dirty="0"/>
              <a:t> </a:t>
            </a:r>
          </a:p>
          <a:p>
            <a:pPr lvl="1">
              <a:spcBef>
                <a:spcPts val="300"/>
              </a:spcBef>
            </a:pPr>
            <a:r>
              <a:rPr lang="de-DE" dirty="0"/>
              <a:t>Semi-</a:t>
            </a:r>
            <a:r>
              <a:rPr lang="de-DE" dirty="0" err="1"/>
              <a:t>automatic</a:t>
            </a:r>
            <a:r>
              <a:rPr lang="de-DE" dirty="0"/>
              <a:t> </a:t>
            </a:r>
            <a:r>
              <a:rPr lang="de-DE" dirty="0" err="1"/>
              <a:t>manufacturing</a:t>
            </a:r>
            <a:r>
              <a:rPr lang="de-DE" dirty="0"/>
              <a:t> </a:t>
            </a:r>
            <a:r>
              <a:rPr lang="de-DE" dirty="0" err="1"/>
              <a:t>for</a:t>
            </a:r>
            <a:r>
              <a:rPr lang="de-DE" dirty="0"/>
              <a:t> </a:t>
            </a:r>
            <a:r>
              <a:rPr lang="de-DE" dirty="0" err="1"/>
              <a:t>consistent</a:t>
            </a:r>
            <a:r>
              <a:rPr lang="de-DE" dirty="0"/>
              <a:t> </a:t>
            </a:r>
            <a:r>
              <a:rPr lang="de-DE" dirty="0" err="1"/>
              <a:t>quality</a:t>
            </a:r>
            <a:r>
              <a:rPr lang="de-DE" dirty="0"/>
              <a:t> </a:t>
            </a:r>
          </a:p>
          <a:p>
            <a:pPr lvl="1">
              <a:spcBef>
                <a:spcPts val="300"/>
              </a:spcBef>
            </a:pPr>
            <a:r>
              <a:rPr lang="de-DE" dirty="0"/>
              <a:t>Fast </a:t>
            </a:r>
            <a:r>
              <a:rPr lang="de-DE" dirty="0" err="1"/>
              <a:t>response</a:t>
            </a:r>
            <a:r>
              <a:rPr lang="de-DE" dirty="0"/>
              <a:t> (1.3s) </a:t>
            </a:r>
            <a:r>
              <a:rPr lang="de-DE" dirty="0" err="1"/>
              <a:t>for</a:t>
            </a:r>
            <a:r>
              <a:rPr lang="de-DE" dirty="0"/>
              <a:t> </a:t>
            </a:r>
            <a:r>
              <a:rPr lang="de-DE" dirty="0" err="1"/>
              <a:t>improved</a:t>
            </a:r>
            <a:r>
              <a:rPr lang="de-DE" dirty="0"/>
              <a:t> </a:t>
            </a:r>
            <a:r>
              <a:rPr lang="de-DE" dirty="0" err="1"/>
              <a:t>process</a:t>
            </a:r>
            <a:r>
              <a:rPr lang="de-DE" dirty="0"/>
              <a:t> </a:t>
            </a:r>
            <a:r>
              <a:rPr lang="de-DE" dirty="0" err="1"/>
              <a:t>control</a:t>
            </a:r>
            <a:endParaRPr lang="de-DE" dirty="0"/>
          </a:p>
          <a:p>
            <a:pPr lvl="1">
              <a:spcBef>
                <a:spcPts val="300"/>
              </a:spcBef>
            </a:pPr>
            <a:r>
              <a:rPr lang="de-DE" dirty="0" err="1"/>
              <a:t>Available</a:t>
            </a:r>
            <a:r>
              <a:rPr lang="de-DE" dirty="0"/>
              <a:t> in EL3000 and AO2000 </a:t>
            </a:r>
            <a:r>
              <a:rPr lang="de-DE" dirty="0" err="1"/>
              <a:t>series</a:t>
            </a:r>
            <a:endParaRPr lang="de-DE" dirty="0"/>
          </a:p>
          <a:p>
            <a:pPr lvl="1">
              <a:spcBef>
                <a:spcPts val="300"/>
              </a:spcBef>
            </a:pPr>
            <a:endParaRPr lang="de-DE" dirty="0"/>
          </a:p>
          <a:p>
            <a:pPr marL="0" lvl="1" indent="0">
              <a:spcBef>
                <a:spcPts val="300"/>
              </a:spcBef>
              <a:buNone/>
            </a:pPr>
            <a:r>
              <a:rPr lang="de-DE" b="1" dirty="0"/>
              <a:t>Jürgen Wimmer (ASU Plant </a:t>
            </a:r>
            <a:r>
              <a:rPr lang="de-DE" b="1" dirty="0" err="1"/>
              <a:t>Inspection</a:t>
            </a:r>
            <a:r>
              <a:rPr lang="de-DE" b="1" dirty="0"/>
              <a:t>, </a:t>
            </a:r>
            <a:r>
              <a:rPr lang="de-DE" b="1" dirty="0" err="1"/>
              <a:t>AlzChem</a:t>
            </a:r>
            <a:r>
              <a:rPr lang="de-DE" b="1" dirty="0"/>
              <a:t>):</a:t>
            </a:r>
          </a:p>
          <a:p>
            <a:pPr marL="0" lvl="1" indent="0">
              <a:spcBef>
                <a:spcPts val="300"/>
              </a:spcBef>
              <a:buNone/>
            </a:pPr>
            <a:r>
              <a:rPr lang="en-US" dirty="0"/>
              <a:t>“Magnos28 is more accurate, more precise and within tighter tolerances compared to the instrument that was previously in use. We are convinced of the improved repeatability and stability of the measurement and confident that this will lead to reduced power consumption and reduced calibration related operating costs.”</a:t>
            </a:r>
            <a:endParaRPr lang="de-DE" dirty="0"/>
          </a:p>
          <a:p>
            <a:pPr lvl="1"/>
            <a:endParaRPr lang="en-US" dirty="0"/>
          </a:p>
        </p:txBody>
      </p:sp>
      <p:sp>
        <p:nvSpPr>
          <p:cNvPr id="7" name="Content Placeholder 6">
            <a:extLst>
              <a:ext uri="{FF2B5EF4-FFF2-40B4-BE49-F238E27FC236}">
                <a16:creationId xmlns:a16="http://schemas.microsoft.com/office/drawing/2014/main" id="{2ADDC11F-5D49-4BCD-922D-04728BABF3FE}"/>
              </a:ext>
            </a:extLst>
          </p:cNvPr>
          <p:cNvSpPr>
            <a:spLocks noGrp="1"/>
          </p:cNvSpPr>
          <p:nvPr>
            <p:ph sz="quarter" idx="19"/>
          </p:nvPr>
        </p:nvSpPr>
        <p:spPr>
          <a:xfrm>
            <a:off x="793629" y="1931194"/>
            <a:ext cx="3074985" cy="3980918"/>
          </a:xfrm>
        </p:spPr>
        <p:txBody>
          <a:bodyPr/>
          <a:lstStyle/>
          <a:p>
            <a:pPr>
              <a:tabLst>
                <a:tab pos="452438" algn="l"/>
              </a:tabLst>
            </a:pPr>
            <a:r>
              <a:rPr lang="en-US" dirty="0"/>
              <a:t>Power consumption &amp; oxygen purity</a:t>
            </a:r>
          </a:p>
          <a:p>
            <a:pPr lvl="1">
              <a:spcBef>
                <a:spcPts val="0"/>
              </a:spcBef>
            </a:pPr>
            <a:endParaRPr lang="en-US" dirty="0"/>
          </a:p>
          <a:p>
            <a:pPr lvl="1">
              <a:spcBef>
                <a:spcPts val="0"/>
              </a:spcBef>
            </a:pPr>
            <a:r>
              <a:rPr lang="en-US" dirty="0"/>
              <a:t>Electricity is the critical cost input</a:t>
            </a:r>
          </a:p>
          <a:p>
            <a:pPr lvl="1">
              <a:spcBef>
                <a:spcPts val="0"/>
              </a:spcBef>
            </a:pPr>
            <a:r>
              <a:rPr lang="en-US" dirty="0"/>
              <a:t>Over-purification consumes more power</a:t>
            </a:r>
          </a:p>
          <a:p>
            <a:pPr lvl="1">
              <a:spcBef>
                <a:spcPts val="0"/>
              </a:spcBef>
            </a:pPr>
            <a:r>
              <a:rPr lang="en-US" dirty="0"/>
              <a:t>Accurate measurement of final product essential for efficient operation</a:t>
            </a:r>
          </a:p>
        </p:txBody>
      </p:sp>
      <p:sp>
        <p:nvSpPr>
          <p:cNvPr id="8" name="Subtitle 7">
            <a:extLst>
              <a:ext uri="{FF2B5EF4-FFF2-40B4-BE49-F238E27FC236}">
                <a16:creationId xmlns:a16="http://schemas.microsoft.com/office/drawing/2014/main" id="{8716F94D-E2ED-4522-BA19-0B094F971306}"/>
              </a:ext>
            </a:extLst>
          </p:cNvPr>
          <p:cNvSpPr>
            <a:spLocks noGrp="1"/>
          </p:cNvSpPr>
          <p:nvPr>
            <p:ph type="subTitle" idx="13"/>
          </p:nvPr>
        </p:nvSpPr>
        <p:spPr/>
        <p:txBody>
          <a:bodyPr/>
          <a:lstStyle/>
          <a:p>
            <a:r>
              <a:rPr lang="de-DE" dirty="0"/>
              <a:t>Pain </a:t>
            </a:r>
            <a:r>
              <a:rPr lang="de-DE" dirty="0" err="1"/>
              <a:t>points</a:t>
            </a:r>
            <a:r>
              <a:rPr lang="de-DE" dirty="0"/>
              <a:t> and ABB </a:t>
            </a:r>
            <a:r>
              <a:rPr lang="de-DE" dirty="0" err="1"/>
              <a:t>solution</a:t>
            </a:r>
            <a:endParaRPr lang="en-US" dirty="0"/>
          </a:p>
        </p:txBody>
      </p:sp>
      <p:sp>
        <p:nvSpPr>
          <p:cNvPr id="10" name="Freeform 548">
            <a:extLst>
              <a:ext uri="{FF2B5EF4-FFF2-40B4-BE49-F238E27FC236}">
                <a16:creationId xmlns:a16="http://schemas.microsoft.com/office/drawing/2014/main" id="{CF5F03F3-437E-46AB-BC4F-0F27F9630D15}"/>
              </a:ext>
            </a:extLst>
          </p:cNvPr>
          <p:cNvSpPr>
            <a:spLocks/>
          </p:cNvSpPr>
          <p:nvPr/>
        </p:nvSpPr>
        <p:spPr bwMode="gray">
          <a:xfrm>
            <a:off x="525085" y="1999431"/>
            <a:ext cx="132548" cy="334021"/>
          </a:xfrm>
          <a:custGeom>
            <a:avLst/>
            <a:gdLst>
              <a:gd name="T0" fmla="*/ 23 w 100"/>
              <a:gd name="T1" fmla="*/ 0 h 252"/>
              <a:gd name="T2" fmla="*/ 100 w 100"/>
              <a:gd name="T3" fmla="*/ 0 h 252"/>
              <a:gd name="T4" fmla="*/ 59 w 100"/>
              <a:gd name="T5" fmla="*/ 126 h 252"/>
              <a:gd name="T6" fmla="*/ 100 w 100"/>
              <a:gd name="T7" fmla="*/ 126 h 252"/>
              <a:gd name="T8" fmla="*/ 41 w 100"/>
              <a:gd name="T9" fmla="*/ 252 h 252"/>
              <a:gd name="T10" fmla="*/ 23 w 100"/>
              <a:gd name="T11" fmla="*/ 252 h 252"/>
              <a:gd name="T12" fmla="*/ 35 w 100"/>
              <a:gd name="T13" fmla="*/ 168 h 252"/>
              <a:gd name="T14" fmla="*/ 0 w 100"/>
              <a:gd name="T15" fmla="*/ 168 h 252"/>
              <a:gd name="T16" fmla="*/ 23 w 100"/>
              <a:gd name="T1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252">
                <a:moveTo>
                  <a:pt x="23" y="0"/>
                </a:moveTo>
                <a:lnTo>
                  <a:pt x="100" y="0"/>
                </a:lnTo>
                <a:lnTo>
                  <a:pt x="59" y="126"/>
                </a:lnTo>
                <a:lnTo>
                  <a:pt x="100" y="126"/>
                </a:lnTo>
                <a:lnTo>
                  <a:pt x="41" y="252"/>
                </a:lnTo>
                <a:lnTo>
                  <a:pt x="23" y="252"/>
                </a:lnTo>
                <a:lnTo>
                  <a:pt x="35" y="168"/>
                </a:lnTo>
                <a:lnTo>
                  <a:pt x="0" y="168"/>
                </a:lnTo>
                <a:lnTo>
                  <a:pt x="23" y="0"/>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spTree>
    <p:extLst>
      <p:ext uri="{BB962C8B-B14F-4D97-AF65-F5344CB8AC3E}">
        <p14:creationId xmlns:p14="http://schemas.microsoft.com/office/powerpoint/2010/main" val="2160239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0D8ED231-23D9-48E5-9A18-8FF4EE39A499}"/>
              </a:ext>
            </a:extLst>
          </p:cNvPr>
          <p:cNvSpPr>
            <a:spLocks noGrp="1"/>
          </p:cNvSpPr>
          <p:nvPr>
            <p:ph type="title"/>
          </p:nvPr>
        </p:nvSpPr>
        <p:spPr/>
        <p:txBody>
          <a:bodyPr/>
          <a:lstStyle/>
          <a:p>
            <a:r>
              <a:rPr lang="en-US" dirty="0"/>
              <a:t>Magnos28</a:t>
            </a:r>
          </a:p>
        </p:txBody>
      </p:sp>
      <p:sp>
        <p:nvSpPr>
          <p:cNvPr id="3" name="Footer Placeholder 2">
            <a:extLst>
              <a:ext uri="{FF2B5EF4-FFF2-40B4-BE49-F238E27FC236}">
                <a16:creationId xmlns:a16="http://schemas.microsoft.com/office/drawing/2014/main" id="{A434110E-E57A-44E0-ABA1-444877A1AD55}"/>
              </a:ext>
            </a:extLst>
          </p:cNvPr>
          <p:cNvSpPr>
            <a:spLocks noGrp="1"/>
          </p:cNvSpPr>
          <p:nvPr>
            <p:ph type="ftr" sz="quarter" idx="10"/>
          </p:nvPr>
        </p:nvSpPr>
        <p:spPr/>
        <p:txBody>
          <a:bodyPr/>
          <a:lstStyle/>
          <a:p>
            <a:pPr lvl="8"/>
            <a:r>
              <a:rPr lang="de-DE" dirty="0"/>
              <a:t>Note: Evaluation </a:t>
            </a:r>
            <a:r>
              <a:rPr lang="de-DE" dirty="0" err="1"/>
              <a:t>took</a:t>
            </a:r>
            <a:r>
              <a:rPr lang="de-DE" dirty="0"/>
              <a:t> </a:t>
            </a:r>
            <a:r>
              <a:rPr lang="de-DE" dirty="0" err="1"/>
              <a:t>place</a:t>
            </a:r>
            <a:r>
              <a:rPr lang="de-DE" dirty="0"/>
              <a:t> at </a:t>
            </a:r>
            <a:r>
              <a:rPr lang="de-DE" dirty="0" err="1"/>
              <a:t>AlzChem</a:t>
            </a:r>
            <a:r>
              <a:rPr lang="de-DE" dirty="0"/>
              <a:t> in Germany, </a:t>
            </a:r>
            <a:r>
              <a:rPr lang="de-DE" dirty="0" err="1"/>
              <a:t>measuring</a:t>
            </a:r>
            <a:r>
              <a:rPr lang="de-DE" dirty="0"/>
              <a:t> </a:t>
            </a:r>
            <a:r>
              <a:rPr lang="de-DE" dirty="0" err="1"/>
              <a:t>oxygen</a:t>
            </a:r>
            <a:r>
              <a:rPr lang="de-DE" dirty="0"/>
              <a:t> </a:t>
            </a:r>
            <a:r>
              <a:rPr lang="de-DE" dirty="0" err="1"/>
              <a:t>purity</a:t>
            </a:r>
            <a:r>
              <a:rPr lang="de-DE" dirty="0"/>
              <a:t> on </a:t>
            </a:r>
            <a:r>
              <a:rPr lang="de-DE" dirty="0" err="1"/>
              <a:t>air</a:t>
            </a:r>
            <a:r>
              <a:rPr lang="de-DE" dirty="0"/>
              <a:t> </a:t>
            </a:r>
            <a:r>
              <a:rPr lang="de-DE" dirty="0" err="1"/>
              <a:t>separation</a:t>
            </a:r>
            <a:r>
              <a:rPr lang="de-DE" dirty="0"/>
              <a:t> </a:t>
            </a:r>
            <a:r>
              <a:rPr lang="de-DE" dirty="0" err="1"/>
              <a:t>process</a:t>
            </a:r>
            <a:endParaRPr lang="en-US" dirty="0"/>
          </a:p>
        </p:txBody>
      </p:sp>
      <p:sp>
        <p:nvSpPr>
          <p:cNvPr id="4" name="Date Placeholder 3">
            <a:extLst>
              <a:ext uri="{FF2B5EF4-FFF2-40B4-BE49-F238E27FC236}">
                <a16:creationId xmlns:a16="http://schemas.microsoft.com/office/drawing/2014/main" id="{E1784F7B-1788-4E5A-BAE8-DE70493F062A}"/>
              </a:ext>
            </a:extLst>
          </p:cNvPr>
          <p:cNvSpPr>
            <a:spLocks noGrp="1"/>
          </p:cNvSpPr>
          <p:nvPr>
            <p:ph type="dt" sz="half" idx="11"/>
          </p:nvPr>
        </p:nvSpPr>
        <p:spPr/>
        <p:txBody>
          <a:bodyPr/>
          <a:lstStyle/>
          <a:p>
            <a:fld id="{8F8FF341-9601-47A6-A4C1-F2885A66BAA5}" type="datetime4">
              <a:rPr lang="en-US" smtClean="0"/>
              <a:t>September 8, 2019</a:t>
            </a:fld>
            <a:endParaRPr lang="en-US"/>
          </a:p>
        </p:txBody>
      </p:sp>
      <p:sp>
        <p:nvSpPr>
          <p:cNvPr id="5" name="Slide Number Placeholder 4">
            <a:extLst>
              <a:ext uri="{FF2B5EF4-FFF2-40B4-BE49-F238E27FC236}">
                <a16:creationId xmlns:a16="http://schemas.microsoft.com/office/drawing/2014/main" id="{B98B4303-CD0B-43B7-AAA2-4CD34F3ADD89}"/>
              </a:ext>
            </a:extLst>
          </p:cNvPr>
          <p:cNvSpPr>
            <a:spLocks noGrp="1"/>
          </p:cNvSpPr>
          <p:nvPr>
            <p:ph type="sldNum" sz="quarter" idx="12"/>
          </p:nvPr>
        </p:nvSpPr>
        <p:spPr/>
        <p:txBody>
          <a:bodyPr/>
          <a:lstStyle/>
          <a:p>
            <a:r>
              <a:rPr lang="en-US"/>
              <a:t>Slide </a:t>
            </a:r>
            <a:fld id="{619F89D8-7AE3-494A-97F3-03D680869632}" type="slidenum">
              <a:rPr lang="en-US" smtClean="0"/>
              <a:pPr/>
              <a:t>35</a:t>
            </a:fld>
            <a:endParaRPr lang="en-US"/>
          </a:p>
        </p:txBody>
      </p:sp>
      <p:sp>
        <p:nvSpPr>
          <p:cNvPr id="19" name="Text Placeholder 18">
            <a:extLst>
              <a:ext uri="{FF2B5EF4-FFF2-40B4-BE49-F238E27FC236}">
                <a16:creationId xmlns:a16="http://schemas.microsoft.com/office/drawing/2014/main" id="{4A718152-01B8-4D6F-B3EC-514E057262B5}"/>
              </a:ext>
            </a:extLst>
          </p:cNvPr>
          <p:cNvSpPr>
            <a:spLocks noGrp="1"/>
          </p:cNvSpPr>
          <p:nvPr>
            <p:ph type="body" sz="quarter" idx="16"/>
          </p:nvPr>
        </p:nvSpPr>
        <p:spPr/>
        <p:txBody>
          <a:bodyPr/>
          <a:lstStyle/>
          <a:p>
            <a:r>
              <a:rPr lang="en-US" dirty="0"/>
              <a:t>Superior stability demonstrated over 2 month trial</a:t>
            </a:r>
          </a:p>
        </p:txBody>
      </p:sp>
      <p:sp>
        <p:nvSpPr>
          <p:cNvPr id="20" name="Text Placeholder 19">
            <a:extLst>
              <a:ext uri="{FF2B5EF4-FFF2-40B4-BE49-F238E27FC236}">
                <a16:creationId xmlns:a16="http://schemas.microsoft.com/office/drawing/2014/main" id="{F1EA88A8-D280-4601-935D-786588ECA1C8}"/>
              </a:ext>
            </a:extLst>
          </p:cNvPr>
          <p:cNvSpPr>
            <a:spLocks noGrp="1"/>
          </p:cNvSpPr>
          <p:nvPr>
            <p:ph type="body" sz="quarter" idx="17"/>
          </p:nvPr>
        </p:nvSpPr>
        <p:spPr/>
        <p:txBody>
          <a:bodyPr/>
          <a:lstStyle/>
          <a:p>
            <a:r>
              <a:rPr lang="en-US"/>
              <a:t>Superior precision and repeatability clear to see</a:t>
            </a:r>
          </a:p>
        </p:txBody>
      </p:sp>
      <p:pic>
        <p:nvPicPr>
          <p:cNvPr id="23" name="Content Placeholder 22">
            <a:extLst>
              <a:ext uri="{FF2B5EF4-FFF2-40B4-BE49-F238E27FC236}">
                <a16:creationId xmlns:a16="http://schemas.microsoft.com/office/drawing/2014/main" id="{6A527D75-C2FB-4BB1-87BB-C2B8702D86BD}"/>
              </a:ext>
            </a:extLst>
          </p:cNvPr>
          <p:cNvPicPr>
            <a:picLocks noGrp="1" noChangeAspect="1"/>
          </p:cNvPicPr>
          <p:nvPr>
            <p:ph sz="quarter" idx="20"/>
          </p:nvPr>
        </p:nvPicPr>
        <p:blipFill>
          <a:blip r:embed="rId2"/>
          <a:stretch>
            <a:fillRect/>
          </a:stretch>
        </p:blipFill>
        <p:spPr>
          <a:xfrm>
            <a:off x="6355556" y="2317750"/>
            <a:ext cx="5391150" cy="3594100"/>
          </a:xfrm>
        </p:spPr>
      </p:pic>
      <p:pic>
        <p:nvPicPr>
          <p:cNvPr id="11" name="Content Placeholder 10">
            <a:extLst>
              <a:ext uri="{FF2B5EF4-FFF2-40B4-BE49-F238E27FC236}">
                <a16:creationId xmlns:a16="http://schemas.microsoft.com/office/drawing/2014/main" id="{6C37A6E9-FE9E-4E19-AB3E-5671D18D2D37}"/>
              </a:ext>
            </a:extLst>
          </p:cNvPr>
          <p:cNvPicPr>
            <a:picLocks noGrp="1" noChangeAspect="1"/>
          </p:cNvPicPr>
          <p:nvPr>
            <p:ph sz="quarter" idx="19"/>
          </p:nvPr>
        </p:nvPicPr>
        <p:blipFill>
          <a:blip r:embed="rId3"/>
          <a:stretch>
            <a:fillRect/>
          </a:stretch>
        </p:blipFill>
        <p:spPr>
          <a:xfrm>
            <a:off x="438150" y="2317750"/>
            <a:ext cx="5391150" cy="3594100"/>
          </a:xfrm>
        </p:spPr>
      </p:pic>
      <p:sp>
        <p:nvSpPr>
          <p:cNvPr id="18" name="Subtitle 17">
            <a:extLst>
              <a:ext uri="{FF2B5EF4-FFF2-40B4-BE49-F238E27FC236}">
                <a16:creationId xmlns:a16="http://schemas.microsoft.com/office/drawing/2014/main" id="{E1752C82-2FDE-4873-9775-0A2CB4D1762F}"/>
              </a:ext>
            </a:extLst>
          </p:cNvPr>
          <p:cNvSpPr>
            <a:spLocks noGrp="1"/>
          </p:cNvSpPr>
          <p:nvPr>
            <p:ph type="subTitle" idx="13"/>
          </p:nvPr>
        </p:nvSpPr>
        <p:spPr/>
        <p:txBody>
          <a:bodyPr/>
          <a:lstStyle/>
          <a:p>
            <a:pPr>
              <a:tabLst>
                <a:tab pos="447675" algn="l"/>
              </a:tabLst>
            </a:pPr>
            <a:r>
              <a:rPr lang="en-US" dirty="0"/>
              <a:t>Greatly improved precision and repeatability for high suppressed measuring ranges</a:t>
            </a:r>
          </a:p>
        </p:txBody>
      </p:sp>
    </p:spTree>
    <p:extLst>
      <p:ext uri="{BB962C8B-B14F-4D97-AF65-F5344CB8AC3E}">
        <p14:creationId xmlns:p14="http://schemas.microsoft.com/office/powerpoint/2010/main" val="1575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D955514-4BD6-49A8-8F27-F44AF66CBBD1}"/>
              </a:ext>
            </a:extLst>
          </p:cNvPr>
          <p:cNvSpPr>
            <a:spLocks noGrp="1"/>
          </p:cNvSpPr>
          <p:nvPr>
            <p:ph type="title"/>
          </p:nvPr>
        </p:nvSpPr>
        <p:spPr/>
        <p:txBody>
          <a:bodyPr/>
          <a:lstStyle/>
          <a:p>
            <a:r>
              <a:rPr lang="en-US"/>
              <a:t>Magnos28 featured in gasworld in June 2019</a:t>
            </a:r>
          </a:p>
        </p:txBody>
      </p:sp>
      <p:sp>
        <p:nvSpPr>
          <p:cNvPr id="5" name="Footer Placeholder 4">
            <a:extLst>
              <a:ext uri="{FF2B5EF4-FFF2-40B4-BE49-F238E27FC236}">
                <a16:creationId xmlns:a16="http://schemas.microsoft.com/office/drawing/2014/main" id="{F4A0CE18-2BF3-43CF-ACD3-7265ACAD7B1F}"/>
              </a:ext>
            </a:extLst>
          </p:cNvPr>
          <p:cNvSpPr>
            <a:spLocks noGrp="1"/>
          </p:cNvSpPr>
          <p:nvPr>
            <p:ph type="ftr" sz="quarter" idx="10"/>
          </p:nvPr>
        </p:nvSpPr>
        <p:spPr/>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4" name="Date Placeholder 3">
            <a:extLst>
              <a:ext uri="{FF2B5EF4-FFF2-40B4-BE49-F238E27FC236}">
                <a16:creationId xmlns:a16="http://schemas.microsoft.com/office/drawing/2014/main" id="{96ECF506-3479-4F79-9EE2-5E0D0CB4F0D2}"/>
              </a:ext>
            </a:extLst>
          </p:cNvPr>
          <p:cNvSpPr>
            <a:spLocks noGrp="1"/>
          </p:cNvSpPr>
          <p:nvPr>
            <p:ph type="dt" sz="half"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AB2352-921F-4DD8-A99A-A1474F6943FF}"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6" name="Slide Number Placeholder 5">
            <a:extLst>
              <a:ext uri="{FF2B5EF4-FFF2-40B4-BE49-F238E27FC236}">
                <a16:creationId xmlns:a16="http://schemas.microsoft.com/office/drawing/2014/main" id="{A6367AAA-665C-411F-998F-872EEEDA142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9" name="Content Placeholder 8">
            <a:extLst>
              <a:ext uri="{FF2B5EF4-FFF2-40B4-BE49-F238E27FC236}">
                <a16:creationId xmlns:a16="http://schemas.microsoft.com/office/drawing/2014/main" id="{5F244DE5-9C09-4434-9224-E5CA7FEE315E}"/>
              </a:ext>
            </a:extLst>
          </p:cNvPr>
          <p:cNvSpPr>
            <a:spLocks noGrp="1"/>
          </p:cNvSpPr>
          <p:nvPr>
            <p:ph sz="quarter" idx="19"/>
          </p:nvPr>
        </p:nvSpPr>
        <p:spPr/>
        <p:txBody>
          <a:bodyPr/>
          <a:lstStyle/>
          <a:p>
            <a:r>
              <a:rPr lang="en-US" dirty="0"/>
              <a:t>Jürgen </a:t>
            </a:r>
            <a:r>
              <a:rPr lang="en-US" dirty="0" err="1"/>
              <a:t>Wimmer</a:t>
            </a:r>
            <a:r>
              <a:rPr lang="en-US" dirty="0"/>
              <a:t> (Plant Inspection, </a:t>
            </a:r>
            <a:r>
              <a:rPr lang="en-US" dirty="0" err="1"/>
              <a:t>AlzChem</a:t>
            </a:r>
            <a:r>
              <a:rPr lang="en-US" dirty="0"/>
              <a:t>), who tested the Magnos28 over several weeks, commented on his satisfaction:</a:t>
            </a:r>
          </a:p>
          <a:p>
            <a:pPr marL="85725">
              <a:spcBef>
                <a:spcPts val="1200"/>
              </a:spcBef>
            </a:pPr>
            <a:r>
              <a:rPr lang="en-US" b="1" dirty="0">
                <a:latin typeface="ABBvoice" panose="020D0603020503020204" pitchFamily="34" charset="0"/>
                <a:ea typeface="ABBvoice" panose="020D0603020503020204" pitchFamily="34" charset="0"/>
                <a:cs typeface="ABBvoice" panose="020D0603020503020204" pitchFamily="34" charset="0"/>
              </a:rPr>
              <a:t>“We always work on continuous improvement to get the best-in-class manufacturing processes for our innovative products. The </a:t>
            </a:r>
            <a:r>
              <a:rPr lang="en-US" b="1" dirty="0">
                <a:solidFill>
                  <a:schemeClr val="tx2"/>
                </a:solidFill>
                <a:latin typeface="ABBvoice" panose="020D0603020503020204" pitchFamily="34" charset="0"/>
                <a:ea typeface="ABBvoice" panose="020D0603020503020204" pitchFamily="34" charset="0"/>
                <a:cs typeface="ABBvoice" panose="020D0603020503020204" pitchFamily="34" charset="0"/>
              </a:rPr>
              <a:t>Magnos28 oxygen analyzer uses the latest technology with its unique design and manufacturing process</a:t>
            </a:r>
            <a:r>
              <a:rPr lang="en-US" b="1" dirty="0">
                <a:latin typeface="ABBvoice" panose="020D0603020503020204" pitchFamily="34" charset="0"/>
                <a:ea typeface="ABBvoice" panose="020D0603020503020204" pitchFamily="34" charset="0"/>
                <a:cs typeface="ABBvoice" panose="020D0603020503020204" pitchFamily="34" charset="0"/>
              </a:rPr>
              <a:t>. Therefore, it was a natural choice for us to test the Magnos28 in our air separation unit.</a:t>
            </a:r>
          </a:p>
          <a:p>
            <a:pPr marL="85725"/>
            <a:r>
              <a:rPr lang="en-US" b="1" dirty="0">
                <a:latin typeface="ABBvoice" panose="020D0603020503020204" pitchFamily="34" charset="0"/>
                <a:ea typeface="ABBvoice" panose="020D0603020503020204" pitchFamily="34" charset="0"/>
                <a:cs typeface="ABBvoice" panose="020D0603020503020204" pitchFamily="34" charset="0"/>
              </a:rPr>
              <a:t>We established that the oxygen measurement from the </a:t>
            </a:r>
            <a:r>
              <a:rPr lang="en-US" b="1" dirty="0">
                <a:solidFill>
                  <a:schemeClr val="tx2"/>
                </a:solidFill>
                <a:latin typeface="ABBvoice" panose="020D0603020503020204" pitchFamily="34" charset="0"/>
                <a:ea typeface="ABBvoice" panose="020D0603020503020204" pitchFamily="34" charset="0"/>
                <a:cs typeface="ABBvoice" panose="020D0603020503020204" pitchFamily="34" charset="0"/>
              </a:rPr>
              <a:t>Magnos28 is more accurate, more precise and within tighter tolerances</a:t>
            </a:r>
            <a:r>
              <a:rPr lang="en-US" b="1" dirty="0">
                <a:latin typeface="ABBvoice" panose="020D0603020503020204" pitchFamily="34" charset="0"/>
                <a:ea typeface="ABBvoice" panose="020D0603020503020204" pitchFamily="34" charset="0"/>
                <a:cs typeface="ABBvoice" panose="020D0603020503020204" pitchFamily="34" charset="0"/>
              </a:rPr>
              <a:t> compared to the instrument that was previously in use.</a:t>
            </a:r>
          </a:p>
          <a:p>
            <a:pPr marL="85725"/>
            <a:r>
              <a:rPr lang="en-US" b="1" dirty="0">
                <a:latin typeface="ABBvoice" panose="020D0603020503020204" pitchFamily="34" charset="0"/>
                <a:ea typeface="ABBvoice" panose="020D0603020503020204" pitchFamily="34" charset="0"/>
                <a:cs typeface="ABBvoice" panose="020D0603020503020204" pitchFamily="34" charset="0"/>
              </a:rPr>
              <a:t>We are </a:t>
            </a:r>
            <a:r>
              <a:rPr lang="en-US" b="1" dirty="0">
                <a:solidFill>
                  <a:schemeClr val="tx2"/>
                </a:solidFill>
                <a:latin typeface="ABBvoice" panose="020D0603020503020204" pitchFamily="34" charset="0"/>
                <a:ea typeface="ABBvoice" panose="020D0603020503020204" pitchFamily="34" charset="0"/>
                <a:cs typeface="ABBvoice" panose="020D0603020503020204" pitchFamily="34" charset="0"/>
              </a:rPr>
              <a:t>convinced of the improved repeatability and stability </a:t>
            </a:r>
            <a:r>
              <a:rPr lang="en-US" b="1" dirty="0">
                <a:latin typeface="ABBvoice" panose="020D0603020503020204" pitchFamily="34" charset="0"/>
                <a:ea typeface="ABBvoice" panose="020D0603020503020204" pitchFamily="34" charset="0"/>
                <a:cs typeface="ABBvoice" panose="020D0603020503020204" pitchFamily="34" charset="0"/>
              </a:rPr>
              <a:t>of the measurement and confident that this </a:t>
            </a:r>
            <a:r>
              <a:rPr lang="en-US" b="1" dirty="0">
                <a:solidFill>
                  <a:schemeClr val="tx2"/>
                </a:solidFill>
                <a:latin typeface="ABBvoice" panose="020D0603020503020204" pitchFamily="34" charset="0"/>
                <a:ea typeface="ABBvoice" panose="020D0603020503020204" pitchFamily="34" charset="0"/>
                <a:cs typeface="ABBvoice" panose="020D0603020503020204" pitchFamily="34" charset="0"/>
              </a:rPr>
              <a:t>will lead to reduced power consumption and reduced calibration related operating costs</a:t>
            </a:r>
            <a:r>
              <a:rPr lang="en-US" b="1" dirty="0">
                <a:latin typeface="ABBvoice" panose="020D0603020503020204" pitchFamily="34" charset="0"/>
                <a:ea typeface="ABBvoice" panose="020D0603020503020204" pitchFamily="34" charset="0"/>
                <a:cs typeface="ABBvoice" panose="020D0603020503020204" pitchFamily="34" charset="0"/>
              </a:rPr>
              <a:t> on our site.”</a:t>
            </a:r>
          </a:p>
        </p:txBody>
      </p:sp>
      <p:sp>
        <p:nvSpPr>
          <p:cNvPr id="7" name="Subtitle 6">
            <a:extLst>
              <a:ext uri="{FF2B5EF4-FFF2-40B4-BE49-F238E27FC236}">
                <a16:creationId xmlns:a16="http://schemas.microsoft.com/office/drawing/2014/main" id="{EA5D5CAE-2FD7-41A7-8F62-15D2E731E5F9}"/>
              </a:ext>
            </a:extLst>
          </p:cNvPr>
          <p:cNvSpPr>
            <a:spLocks noGrp="1"/>
          </p:cNvSpPr>
          <p:nvPr>
            <p:ph type="subTitle" idx="13"/>
          </p:nvPr>
        </p:nvSpPr>
        <p:spPr/>
        <p:txBody>
          <a:bodyPr/>
          <a:lstStyle/>
          <a:p>
            <a:r>
              <a:rPr lang="en-US" dirty="0"/>
              <a:t>The focal point for global industrial gas news, views and intelligence</a:t>
            </a:r>
          </a:p>
        </p:txBody>
      </p:sp>
      <p:pic>
        <p:nvPicPr>
          <p:cNvPr id="8" name="Picture 7">
            <a:extLst>
              <a:ext uri="{FF2B5EF4-FFF2-40B4-BE49-F238E27FC236}">
                <a16:creationId xmlns:a16="http://schemas.microsoft.com/office/drawing/2014/main" id="{26AA2F0D-0827-4FD3-9A6A-543BE9647985}"/>
              </a:ext>
            </a:extLst>
          </p:cNvPr>
          <p:cNvPicPr>
            <a:picLocks noChangeAspect="1"/>
          </p:cNvPicPr>
          <p:nvPr/>
        </p:nvPicPr>
        <p:blipFill>
          <a:blip r:embed="rId2"/>
          <a:stretch>
            <a:fillRect/>
          </a:stretch>
        </p:blipFill>
        <p:spPr>
          <a:xfrm>
            <a:off x="6095999" y="1933576"/>
            <a:ext cx="2818655" cy="3978536"/>
          </a:xfrm>
          <a:prstGeom prst="rect">
            <a:avLst/>
          </a:prstGeom>
          <a:ln>
            <a:solidFill>
              <a:schemeClr val="accent3"/>
            </a:solidFill>
          </a:ln>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424AF1A8-4BA5-484D-AA33-CF2A072E536A}"/>
              </a:ext>
            </a:extLst>
          </p:cNvPr>
          <p:cNvPicPr>
            <a:picLocks noChangeAspect="1"/>
          </p:cNvPicPr>
          <p:nvPr/>
        </p:nvPicPr>
        <p:blipFill>
          <a:blip r:embed="rId3"/>
          <a:stretch>
            <a:fillRect/>
          </a:stretch>
        </p:blipFill>
        <p:spPr>
          <a:xfrm>
            <a:off x="9034608" y="1933575"/>
            <a:ext cx="2818655" cy="3978535"/>
          </a:xfrm>
          <a:prstGeom prst="rect">
            <a:avLst/>
          </a:prstGeom>
          <a:ln>
            <a:solidFill>
              <a:schemeClr val="accent3"/>
            </a:solidFill>
          </a:ln>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1C7377E0-DD0A-4A6C-B0A4-99EC6E5358B8}"/>
              </a:ext>
            </a:extLst>
          </p:cNvPr>
          <p:cNvPicPr>
            <a:picLocks noChangeAspect="1"/>
          </p:cNvPicPr>
          <p:nvPr/>
        </p:nvPicPr>
        <p:blipFill>
          <a:blip r:embed="rId4"/>
          <a:stretch>
            <a:fillRect/>
          </a:stretch>
        </p:blipFill>
        <p:spPr>
          <a:xfrm>
            <a:off x="9625781" y="596318"/>
            <a:ext cx="2233853" cy="740895"/>
          </a:xfrm>
          <a:prstGeom prst="rect">
            <a:avLst/>
          </a:prstGeom>
        </p:spPr>
      </p:pic>
    </p:spTree>
    <p:extLst>
      <p:ext uri="{BB962C8B-B14F-4D97-AF65-F5344CB8AC3E}">
        <p14:creationId xmlns:p14="http://schemas.microsoft.com/office/powerpoint/2010/main" val="222135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F4F7D-2CCB-4CA7-AFFD-55D74038827F}"/>
              </a:ext>
            </a:extLst>
          </p:cNvPr>
          <p:cNvSpPr>
            <a:spLocks noGrp="1"/>
          </p:cNvSpPr>
          <p:nvPr>
            <p:ph type="title"/>
          </p:nvPr>
        </p:nvSpPr>
        <p:spPr/>
        <p:txBody>
          <a:bodyPr/>
          <a:lstStyle/>
          <a:p>
            <a:r>
              <a:rPr lang="de-DE" dirty="0"/>
              <a:t>Air </a:t>
            </a:r>
            <a:r>
              <a:rPr lang="de-DE" dirty="0" err="1"/>
              <a:t>separation</a:t>
            </a:r>
            <a:r>
              <a:rPr lang="de-DE" dirty="0"/>
              <a:t> </a:t>
            </a:r>
            <a:r>
              <a:rPr lang="de-DE" dirty="0" err="1"/>
              <a:t>unit</a:t>
            </a:r>
            <a:r>
              <a:rPr lang="de-DE" dirty="0"/>
              <a:t> (ASU)</a:t>
            </a:r>
            <a:endParaRPr lang="en-US" dirty="0"/>
          </a:p>
        </p:txBody>
      </p:sp>
      <p:sp>
        <p:nvSpPr>
          <p:cNvPr id="3" name="Footer Placeholder 2">
            <a:extLst>
              <a:ext uri="{FF2B5EF4-FFF2-40B4-BE49-F238E27FC236}">
                <a16:creationId xmlns:a16="http://schemas.microsoft.com/office/drawing/2014/main" id="{5732E45B-BD86-4BEE-AD59-D40AE9AD6F0C}"/>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DAB82839-24AC-4EDE-B3AE-EACC7C6C64C5}"/>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8B603ECC-BDFC-4497-8CD2-ED191CEC041F}"/>
              </a:ext>
            </a:extLst>
          </p:cNvPr>
          <p:cNvSpPr>
            <a:spLocks noGrp="1"/>
          </p:cNvSpPr>
          <p:nvPr>
            <p:ph type="sldNum" sz="quarter" idx="12"/>
          </p:nvPr>
        </p:nvSpPr>
        <p:spPr/>
        <p:txBody>
          <a:bodyPr/>
          <a:lstStyle/>
          <a:p>
            <a:r>
              <a:rPr lang="en-US"/>
              <a:t>Slide </a:t>
            </a:r>
            <a:fld id="{619F89D8-7AE3-494A-97F3-03D680869632}" type="slidenum">
              <a:rPr lang="en-US" smtClean="0"/>
              <a:pPr/>
              <a:t>37</a:t>
            </a:fld>
            <a:endParaRPr lang="en-US" dirty="0"/>
          </a:p>
        </p:txBody>
      </p:sp>
      <p:sp>
        <p:nvSpPr>
          <p:cNvPr id="6" name="Content Placeholder 5">
            <a:extLst>
              <a:ext uri="{FF2B5EF4-FFF2-40B4-BE49-F238E27FC236}">
                <a16:creationId xmlns:a16="http://schemas.microsoft.com/office/drawing/2014/main" id="{7EC1AF45-CE34-4000-B1D3-C095586E07CA}"/>
              </a:ext>
            </a:extLst>
          </p:cNvPr>
          <p:cNvSpPr>
            <a:spLocks noGrp="1"/>
          </p:cNvSpPr>
          <p:nvPr>
            <p:ph sz="quarter" idx="20"/>
          </p:nvPr>
        </p:nvSpPr>
        <p:spPr/>
        <p:txBody>
          <a:bodyPr/>
          <a:lstStyle/>
          <a:p>
            <a:pPr>
              <a:spcBef>
                <a:spcPts val="0"/>
              </a:spcBef>
            </a:pPr>
            <a:r>
              <a:rPr lang="de-DE" dirty="0"/>
              <a:t>Magnos28</a:t>
            </a:r>
          </a:p>
          <a:p>
            <a:pPr>
              <a:spcBef>
                <a:spcPts val="0"/>
              </a:spcBef>
            </a:pPr>
            <a:r>
              <a:rPr lang="de-DE" dirty="0" err="1">
                <a:solidFill>
                  <a:schemeClr val="tx1"/>
                </a:solidFill>
              </a:rPr>
              <a:t>Paramagnetic</a:t>
            </a:r>
            <a:r>
              <a:rPr lang="de-DE" dirty="0">
                <a:solidFill>
                  <a:schemeClr val="tx1"/>
                </a:solidFill>
              </a:rPr>
              <a:t> </a:t>
            </a:r>
            <a:r>
              <a:rPr lang="de-DE" dirty="0" err="1">
                <a:solidFill>
                  <a:schemeClr val="tx1"/>
                </a:solidFill>
              </a:rPr>
              <a:t>detector</a:t>
            </a:r>
            <a:r>
              <a:rPr lang="de-DE" dirty="0">
                <a:solidFill>
                  <a:schemeClr val="tx1"/>
                </a:solidFill>
              </a:rPr>
              <a:t> – 0 </a:t>
            </a:r>
            <a:r>
              <a:rPr lang="de-DE" dirty="0" err="1">
                <a:solidFill>
                  <a:schemeClr val="tx1"/>
                </a:solidFill>
              </a:rPr>
              <a:t>to</a:t>
            </a:r>
            <a:r>
              <a:rPr lang="de-DE" dirty="0">
                <a:solidFill>
                  <a:schemeClr val="tx1"/>
                </a:solidFill>
              </a:rPr>
              <a:t> 5 vol% O</a:t>
            </a:r>
            <a:r>
              <a:rPr lang="de-DE" baseline="-25000" dirty="0">
                <a:solidFill>
                  <a:schemeClr val="tx1"/>
                </a:solidFill>
              </a:rPr>
              <a:t>2</a:t>
            </a:r>
          </a:p>
          <a:p>
            <a:pPr lvl="1">
              <a:spcBef>
                <a:spcPts val="0"/>
              </a:spcBef>
            </a:pPr>
            <a:endParaRPr lang="de-DE" dirty="0"/>
          </a:p>
          <a:p>
            <a:pPr lvl="1">
              <a:spcBef>
                <a:spcPts val="0"/>
              </a:spcBef>
            </a:pPr>
            <a:r>
              <a:rPr lang="de-DE" dirty="0"/>
              <a:t>Patented microwing® </a:t>
            </a:r>
            <a:r>
              <a:rPr lang="de-DE" dirty="0" err="1"/>
              <a:t>offers</a:t>
            </a:r>
            <a:r>
              <a:rPr lang="de-DE" dirty="0"/>
              <a:t> </a:t>
            </a:r>
            <a:r>
              <a:rPr lang="de-DE" dirty="0" err="1"/>
              <a:t>improved</a:t>
            </a:r>
            <a:r>
              <a:rPr lang="de-DE" dirty="0"/>
              <a:t> </a:t>
            </a:r>
            <a:r>
              <a:rPr lang="de-DE" dirty="0" err="1"/>
              <a:t>repeatability</a:t>
            </a:r>
            <a:r>
              <a:rPr lang="de-DE" dirty="0"/>
              <a:t> </a:t>
            </a:r>
          </a:p>
          <a:p>
            <a:pPr lvl="1">
              <a:spcBef>
                <a:spcPts val="300"/>
              </a:spcBef>
            </a:pPr>
            <a:r>
              <a:rPr lang="de-DE" dirty="0"/>
              <a:t>Semi-</a:t>
            </a:r>
            <a:r>
              <a:rPr lang="de-DE" dirty="0" err="1"/>
              <a:t>automatic</a:t>
            </a:r>
            <a:r>
              <a:rPr lang="de-DE" dirty="0"/>
              <a:t> </a:t>
            </a:r>
            <a:r>
              <a:rPr lang="de-DE" dirty="0" err="1"/>
              <a:t>manufacturing</a:t>
            </a:r>
            <a:r>
              <a:rPr lang="de-DE" dirty="0"/>
              <a:t> </a:t>
            </a:r>
            <a:r>
              <a:rPr lang="de-DE" dirty="0" err="1"/>
              <a:t>for</a:t>
            </a:r>
            <a:r>
              <a:rPr lang="de-DE" dirty="0"/>
              <a:t> </a:t>
            </a:r>
            <a:r>
              <a:rPr lang="de-DE" dirty="0" err="1"/>
              <a:t>consistent</a:t>
            </a:r>
            <a:r>
              <a:rPr lang="de-DE" dirty="0"/>
              <a:t> </a:t>
            </a:r>
            <a:r>
              <a:rPr lang="de-DE" dirty="0" err="1"/>
              <a:t>quality</a:t>
            </a:r>
            <a:r>
              <a:rPr lang="de-DE" dirty="0"/>
              <a:t> </a:t>
            </a:r>
          </a:p>
          <a:p>
            <a:pPr lvl="1">
              <a:spcBef>
                <a:spcPts val="300"/>
              </a:spcBef>
            </a:pPr>
            <a:r>
              <a:rPr lang="de-DE" dirty="0"/>
              <a:t>Inert </a:t>
            </a:r>
            <a:r>
              <a:rPr lang="de-DE" dirty="0" err="1"/>
              <a:t>materials</a:t>
            </a:r>
            <a:r>
              <a:rPr lang="de-DE" dirty="0"/>
              <a:t> </a:t>
            </a:r>
            <a:r>
              <a:rPr lang="de-DE" dirty="0" err="1"/>
              <a:t>suitable</a:t>
            </a:r>
            <a:r>
              <a:rPr lang="de-DE" dirty="0"/>
              <a:t> </a:t>
            </a:r>
            <a:r>
              <a:rPr lang="de-DE" dirty="0" err="1"/>
              <a:t>for</a:t>
            </a:r>
            <a:r>
              <a:rPr lang="de-DE" dirty="0"/>
              <a:t> </a:t>
            </a:r>
            <a:r>
              <a:rPr lang="de-DE" dirty="0" err="1"/>
              <a:t>corrosive</a:t>
            </a:r>
            <a:r>
              <a:rPr lang="de-DE" dirty="0"/>
              <a:t> </a:t>
            </a:r>
            <a:r>
              <a:rPr lang="de-DE" dirty="0" err="1"/>
              <a:t>applications</a:t>
            </a:r>
            <a:endParaRPr lang="de-DE" dirty="0"/>
          </a:p>
          <a:p>
            <a:pPr lvl="1">
              <a:spcBef>
                <a:spcPts val="300"/>
              </a:spcBef>
            </a:pPr>
            <a:r>
              <a:rPr lang="de-DE" dirty="0"/>
              <a:t>Fast </a:t>
            </a:r>
            <a:r>
              <a:rPr lang="de-DE" dirty="0" err="1"/>
              <a:t>response</a:t>
            </a:r>
            <a:r>
              <a:rPr lang="de-DE" dirty="0"/>
              <a:t> (1.3s) </a:t>
            </a:r>
            <a:r>
              <a:rPr lang="de-DE" dirty="0" err="1"/>
              <a:t>for</a:t>
            </a:r>
            <a:r>
              <a:rPr lang="de-DE" dirty="0"/>
              <a:t> </a:t>
            </a:r>
            <a:r>
              <a:rPr lang="de-DE" dirty="0" err="1"/>
              <a:t>improved</a:t>
            </a:r>
            <a:r>
              <a:rPr lang="de-DE" dirty="0"/>
              <a:t> </a:t>
            </a:r>
            <a:r>
              <a:rPr lang="de-DE" dirty="0" err="1"/>
              <a:t>process</a:t>
            </a:r>
            <a:r>
              <a:rPr lang="de-DE" dirty="0"/>
              <a:t> </a:t>
            </a:r>
            <a:r>
              <a:rPr lang="de-DE" dirty="0" err="1"/>
              <a:t>control</a:t>
            </a:r>
            <a:endParaRPr lang="de-DE" dirty="0"/>
          </a:p>
          <a:p>
            <a:pPr lvl="1">
              <a:spcBef>
                <a:spcPts val="300"/>
              </a:spcBef>
            </a:pPr>
            <a:r>
              <a:rPr lang="de-DE" dirty="0" err="1"/>
              <a:t>Available</a:t>
            </a:r>
            <a:r>
              <a:rPr lang="de-DE" dirty="0"/>
              <a:t> in EL3000 and AO2000 </a:t>
            </a:r>
            <a:r>
              <a:rPr lang="de-DE" dirty="0" err="1"/>
              <a:t>series</a:t>
            </a:r>
            <a:endParaRPr lang="de-DE" dirty="0"/>
          </a:p>
        </p:txBody>
      </p:sp>
      <p:sp>
        <p:nvSpPr>
          <p:cNvPr id="7" name="Content Placeholder 6">
            <a:extLst>
              <a:ext uri="{FF2B5EF4-FFF2-40B4-BE49-F238E27FC236}">
                <a16:creationId xmlns:a16="http://schemas.microsoft.com/office/drawing/2014/main" id="{2ADDC11F-5D49-4BCD-922D-04728BABF3FE}"/>
              </a:ext>
            </a:extLst>
          </p:cNvPr>
          <p:cNvSpPr>
            <a:spLocks noGrp="1"/>
          </p:cNvSpPr>
          <p:nvPr>
            <p:ph sz="quarter" idx="19"/>
          </p:nvPr>
        </p:nvSpPr>
        <p:spPr>
          <a:xfrm>
            <a:off x="793629" y="1989334"/>
            <a:ext cx="3074985" cy="3922777"/>
          </a:xfrm>
        </p:spPr>
        <p:txBody>
          <a:bodyPr/>
          <a:lstStyle/>
          <a:p>
            <a:pPr>
              <a:tabLst>
                <a:tab pos="452438" algn="l"/>
              </a:tabLst>
            </a:pPr>
            <a:r>
              <a:rPr lang="en-US" dirty="0"/>
              <a:t>Oxygen slip</a:t>
            </a:r>
          </a:p>
          <a:p>
            <a:pPr lvl="1">
              <a:spcBef>
                <a:spcPts val="0"/>
              </a:spcBef>
            </a:pPr>
            <a:endParaRPr lang="en-US" dirty="0"/>
          </a:p>
          <a:p>
            <a:pPr lvl="1">
              <a:spcBef>
                <a:spcPts val="0"/>
              </a:spcBef>
            </a:pPr>
            <a:r>
              <a:rPr lang="en-US" dirty="0"/>
              <a:t>“Waste-nitrogen” is very high flowrate stream containing around 2 vol% oxygen</a:t>
            </a:r>
          </a:p>
          <a:p>
            <a:pPr lvl="1">
              <a:spcBef>
                <a:spcPts val="0"/>
              </a:spcBef>
            </a:pPr>
            <a:r>
              <a:rPr lang="en-US" dirty="0"/>
              <a:t>Essential to remove CO</a:t>
            </a:r>
            <a:r>
              <a:rPr lang="en-US" baseline="-25000" dirty="0"/>
              <a:t>2</a:t>
            </a:r>
            <a:r>
              <a:rPr lang="en-US" dirty="0"/>
              <a:t> and H</a:t>
            </a:r>
            <a:r>
              <a:rPr lang="en-US" baseline="-25000" dirty="0"/>
              <a:t>2</a:t>
            </a:r>
            <a:r>
              <a:rPr lang="en-US" dirty="0"/>
              <a:t>O from moisture traps but then vented to atmosphere</a:t>
            </a:r>
          </a:p>
          <a:p>
            <a:pPr lvl="1">
              <a:spcBef>
                <a:spcPts val="0"/>
              </a:spcBef>
            </a:pPr>
            <a:r>
              <a:rPr lang="en-US" dirty="0"/>
              <a:t>Small percentage of oxygen in “waste-nitrogen” results in loss of valuable O</a:t>
            </a:r>
            <a:r>
              <a:rPr lang="en-US" baseline="-25000" dirty="0"/>
              <a:t>2</a:t>
            </a:r>
            <a:endParaRPr lang="en-US" dirty="0"/>
          </a:p>
        </p:txBody>
      </p:sp>
      <p:sp>
        <p:nvSpPr>
          <p:cNvPr id="8" name="Subtitle 7">
            <a:extLst>
              <a:ext uri="{FF2B5EF4-FFF2-40B4-BE49-F238E27FC236}">
                <a16:creationId xmlns:a16="http://schemas.microsoft.com/office/drawing/2014/main" id="{8716F94D-E2ED-4522-BA19-0B094F971306}"/>
              </a:ext>
            </a:extLst>
          </p:cNvPr>
          <p:cNvSpPr>
            <a:spLocks noGrp="1"/>
          </p:cNvSpPr>
          <p:nvPr>
            <p:ph type="subTitle" idx="13"/>
          </p:nvPr>
        </p:nvSpPr>
        <p:spPr/>
        <p:txBody>
          <a:bodyPr/>
          <a:lstStyle/>
          <a:p>
            <a:r>
              <a:rPr lang="de-DE" dirty="0"/>
              <a:t>Pain </a:t>
            </a:r>
            <a:r>
              <a:rPr lang="de-DE" dirty="0" err="1"/>
              <a:t>points</a:t>
            </a:r>
            <a:r>
              <a:rPr lang="de-DE" dirty="0"/>
              <a:t> and ABB </a:t>
            </a:r>
            <a:r>
              <a:rPr lang="de-DE" dirty="0" err="1"/>
              <a:t>solution</a:t>
            </a:r>
            <a:endParaRPr lang="en-US" dirty="0"/>
          </a:p>
        </p:txBody>
      </p:sp>
      <p:grpSp>
        <p:nvGrpSpPr>
          <p:cNvPr id="11" name="Group 10">
            <a:extLst>
              <a:ext uri="{FF2B5EF4-FFF2-40B4-BE49-F238E27FC236}">
                <a16:creationId xmlns:a16="http://schemas.microsoft.com/office/drawing/2014/main" id="{6C3284AD-31F2-4A72-AF2D-120CABC8444A}"/>
              </a:ext>
            </a:extLst>
          </p:cNvPr>
          <p:cNvGrpSpPr/>
          <p:nvPr/>
        </p:nvGrpSpPr>
        <p:grpSpPr bwMode="gray">
          <a:xfrm>
            <a:off x="517151" y="1933575"/>
            <a:ext cx="107385" cy="347753"/>
            <a:chOff x="4035854" y="1946105"/>
            <a:chExt cx="107385" cy="347753"/>
          </a:xfrm>
        </p:grpSpPr>
        <p:grpSp>
          <p:nvGrpSpPr>
            <p:cNvPr id="12" name="Group 11">
              <a:extLst>
                <a:ext uri="{FF2B5EF4-FFF2-40B4-BE49-F238E27FC236}">
                  <a16:creationId xmlns:a16="http://schemas.microsoft.com/office/drawing/2014/main" id="{2BA5ECC1-9B22-4EA6-82BB-C9424EAAA317}"/>
                </a:ext>
              </a:extLst>
            </p:cNvPr>
            <p:cNvGrpSpPr/>
            <p:nvPr/>
          </p:nvGrpSpPr>
          <p:grpSpPr bwMode="gray">
            <a:xfrm>
              <a:off x="4035854" y="1946105"/>
              <a:ext cx="107385" cy="347753"/>
              <a:chOff x="4035854" y="5152292"/>
              <a:chExt cx="107385" cy="347753"/>
            </a:xfrm>
          </p:grpSpPr>
          <p:sp>
            <p:nvSpPr>
              <p:cNvPr id="16" name="Rectangle: Rounded Corners 49">
                <a:extLst>
                  <a:ext uri="{FF2B5EF4-FFF2-40B4-BE49-F238E27FC236}">
                    <a16:creationId xmlns:a16="http://schemas.microsoft.com/office/drawing/2014/main" id="{93899202-B258-40EF-A452-41CABEF01D39}"/>
                  </a:ext>
                </a:extLst>
              </p:cNvPr>
              <p:cNvSpPr/>
              <p:nvPr/>
            </p:nvSpPr>
            <p:spPr bwMode="gray">
              <a:xfrm>
                <a:off x="4035854" y="5234563"/>
                <a:ext cx="101694" cy="232027"/>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7" name="Freeform: Shape 16">
                <a:extLst>
                  <a:ext uri="{FF2B5EF4-FFF2-40B4-BE49-F238E27FC236}">
                    <a16:creationId xmlns:a16="http://schemas.microsoft.com/office/drawing/2014/main" id="{2D5E2D73-6C6D-4260-898C-0345D610A71C}"/>
                  </a:ext>
                </a:extLst>
              </p:cNvPr>
              <p:cNvSpPr/>
              <p:nvPr/>
            </p:nvSpPr>
            <p:spPr bwMode="gray">
              <a:xfrm>
                <a:off x="4067461" y="5178780"/>
                <a:ext cx="38480" cy="57600"/>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18" name="Straight Connector 17">
                <a:extLst>
                  <a:ext uri="{FF2B5EF4-FFF2-40B4-BE49-F238E27FC236}">
                    <a16:creationId xmlns:a16="http://schemas.microsoft.com/office/drawing/2014/main" id="{CB308334-AC1F-424E-812A-609A45E74FBA}"/>
                  </a:ext>
                </a:extLst>
              </p:cNvPr>
              <p:cNvCxnSpPr>
                <a:cxnSpLocks/>
              </p:cNvCxnSpPr>
              <p:nvPr/>
            </p:nvCxnSpPr>
            <p:spPr bwMode="gray">
              <a:xfrm>
                <a:off x="4107239" y="5208052"/>
                <a:ext cx="36000"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19" name="Rectangle: Rounded Corners 49">
                <a:extLst>
                  <a:ext uri="{FF2B5EF4-FFF2-40B4-BE49-F238E27FC236}">
                    <a16:creationId xmlns:a16="http://schemas.microsoft.com/office/drawing/2014/main" id="{63E4B661-1373-4162-A734-4B1A65870930}"/>
                  </a:ext>
                </a:extLst>
              </p:cNvPr>
              <p:cNvSpPr/>
              <p:nvPr/>
            </p:nvSpPr>
            <p:spPr bwMode="gray">
              <a:xfrm>
                <a:off x="4035854" y="5466590"/>
                <a:ext cx="101694" cy="33455"/>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20" name="Straight Connector 19">
                <a:extLst>
                  <a:ext uri="{FF2B5EF4-FFF2-40B4-BE49-F238E27FC236}">
                    <a16:creationId xmlns:a16="http://schemas.microsoft.com/office/drawing/2014/main" id="{2DCDB0A2-8692-4E32-A5C5-31FA1C643C86}"/>
                  </a:ext>
                </a:extLst>
              </p:cNvPr>
              <p:cNvCxnSpPr>
                <a:cxnSpLocks/>
              </p:cNvCxnSpPr>
              <p:nvPr/>
            </p:nvCxnSpPr>
            <p:spPr bwMode="gray">
              <a:xfrm>
                <a:off x="4067461" y="5156475"/>
                <a:ext cx="38480"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21" name="Straight Connector 20">
                <a:extLst>
                  <a:ext uri="{FF2B5EF4-FFF2-40B4-BE49-F238E27FC236}">
                    <a16:creationId xmlns:a16="http://schemas.microsoft.com/office/drawing/2014/main" id="{42CC3E81-F6D9-4DD6-A723-74163D21CD4A}"/>
                  </a:ext>
                </a:extLst>
              </p:cNvPr>
              <p:cNvCxnSpPr>
                <a:cxnSpLocks/>
              </p:cNvCxnSpPr>
              <p:nvPr/>
            </p:nvCxnSpPr>
            <p:spPr bwMode="gray">
              <a:xfrm>
                <a:off x="4086701" y="5152292"/>
                <a:ext cx="0" cy="26343"/>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grpSp>
          <p:nvGrpSpPr>
            <p:cNvPr id="13" name="Group 12">
              <a:extLst>
                <a:ext uri="{FF2B5EF4-FFF2-40B4-BE49-F238E27FC236}">
                  <a16:creationId xmlns:a16="http://schemas.microsoft.com/office/drawing/2014/main" id="{43EF1CDB-11B8-40D6-A9A1-E6290F205476}"/>
                </a:ext>
              </a:extLst>
            </p:cNvPr>
            <p:cNvGrpSpPr/>
            <p:nvPr/>
          </p:nvGrpSpPr>
          <p:grpSpPr bwMode="gray">
            <a:xfrm>
              <a:off x="4049659" y="2108443"/>
              <a:ext cx="70641" cy="69179"/>
              <a:chOff x="4377691" y="1831150"/>
              <a:chExt cx="359926" cy="352479"/>
            </a:xfrm>
          </p:grpSpPr>
          <p:sp>
            <p:nvSpPr>
              <p:cNvPr id="14" name="Freeform: Shape 13">
                <a:extLst>
                  <a:ext uri="{FF2B5EF4-FFF2-40B4-BE49-F238E27FC236}">
                    <a16:creationId xmlns:a16="http://schemas.microsoft.com/office/drawing/2014/main" id="{0190BC7F-75E3-4704-B635-168515E9B2E1}"/>
                  </a:ext>
                </a:extLst>
              </p:cNvPr>
              <p:cNvSpPr/>
              <p:nvPr/>
            </p:nvSpPr>
            <p:spPr bwMode="gray">
              <a:xfrm>
                <a:off x="4666311" y="2070643"/>
                <a:ext cx="71306" cy="112986"/>
              </a:xfrm>
              <a:custGeom>
                <a:avLst/>
                <a:gdLst>
                  <a:gd name="connsiteX0" fmla="*/ 0 w 89535"/>
                  <a:gd name="connsiteY0" fmla="*/ 0 h 68580"/>
                  <a:gd name="connsiteX1" fmla="*/ 89535 w 89535"/>
                  <a:gd name="connsiteY1" fmla="*/ 68580 h 68580"/>
                  <a:gd name="connsiteX0" fmla="*/ 0 w 138637"/>
                  <a:gd name="connsiteY0" fmla="*/ 0 h 362909"/>
                  <a:gd name="connsiteX1" fmla="*/ 138637 w 138637"/>
                  <a:gd name="connsiteY1" fmla="*/ 362909 h 362909"/>
                  <a:gd name="connsiteX0" fmla="*/ 0 w 138637"/>
                  <a:gd name="connsiteY0" fmla="*/ 0 h 362909"/>
                  <a:gd name="connsiteX1" fmla="*/ 67051 w 138637"/>
                  <a:gd name="connsiteY1" fmla="*/ 173432 h 362909"/>
                  <a:gd name="connsiteX2" fmla="*/ 138637 w 138637"/>
                  <a:gd name="connsiteY2" fmla="*/ 362909 h 362909"/>
                  <a:gd name="connsiteX0" fmla="*/ 0 w 138637"/>
                  <a:gd name="connsiteY0" fmla="*/ 0 h 362909"/>
                  <a:gd name="connsiteX1" fmla="*/ 136101 w 138637"/>
                  <a:gd name="connsiteY1" fmla="*/ 30554 h 362909"/>
                  <a:gd name="connsiteX2" fmla="*/ 138637 w 138637"/>
                  <a:gd name="connsiteY2" fmla="*/ 362909 h 362909"/>
                  <a:gd name="connsiteX0" fmla="*/ 0 w 138637"/>
                  <a:gd name="connsiteY0" fmla="*/ 0 h 362909"/>
                  <a:gd name="connsiteX1" fmla="*/ 136101 w 138637"/>
                  <a:gd name="connsiteY1" fmla="*/ 30554 h 362909"/>
                  <a:gd name="connsiteX2" fmla="*/ 138637 w 138637"/>
                  <a:gd name="connsiteY2" fmla="*/ 362909 h 362909"/>
                  <a:gd name="connsiteX0" fmla="*/ 0 w 140705"/>
                  <a:gd name="connsiteY0" fmla="*/ 0 h 362909"/>
                  <a:gd name="connsiteX1" fmla="*/ 140705 w 140705"/>
                  <a:gd name="connsiteY1" fmla="*/ 36269 h 362909"/>
                  <a:gd name="connsiteX2" fmla="*/ 138637 w 140705"/>
                  <a:gd name="connsiteY2" fmla="*/ 362909 h 362909"/>
                  <a:gd name="connsiteX0" fmla="*/ 0 w 140705"/>
                  <a:gd name="connsiteY0" fmla="*/ 0 h 362909"/>
                  <a:gd name="connsiteX1" fmla="*/ 140705 w 140705"/>
                  <a:gd name="connsiteY1" fmla="*/ 36269 h 362909"/>
                  <a:gd name="connsiteX2" fmla="*/ 138637 w 140705"/>
                  <a:gd name="connsiteY2" fmla="*/ 362909 h 362909"/>
                  <a:gd name="connsiteX0" fmla="*/ 0 w 160782"/>
                  <a:gd name="connsiteY0" fmla="*/ 0 h 362909"/>
                  <a:gd name="connsiteX1" fmla="*/ 140705 w 160782"/>
                  <a:gd name="connsiteY1" fmla="*/ 36269 h 362909"/>
                  <a:gd name="connsiteX2" fmla="*/ 138637 w 160782"/>
                  <a:gd name="connsiteY2" fmla="*/ 362909 h 362909"/>
                  <a:gd name="connsiteX0" fmla="*/ 0 w 160782"/>
                  <a:gd name="connsiteY0" fmla="*/ 22407 h 385316"/>
                  <a:gd name="connsiteX1" fmla="*/ 140705 w 160782"/>
                  <a:gd name="connsiteY1" fmla="*/ 58676 h 385316"/>
                  <a:gd name="connsiteX2" fmla="*/ 138637 w 160782"/>
                  <a:gd name="connsiteY2" fmla="*/ 385316 h 385316"/>
                  <a:gd name="connsiteX0" fmla="*/ 0 w 160782"/>
                  <a:gd name="connsiteY0" fmla="*/ 52045 h 414954"/>
                  <a:gd name="connsiteX1" fmla="*/ 140705 w 160782"/>
                  <a:gd name="connsiteY1" fmla="*/ 88314 h 414954"/>
                  <a:gd name="connsiteX2" fmla="*/ 138637 w 160782"/>
                  <a:gd name="connsiteY2" fmla="*/ 414954 h 414954"/>
                  <a:gd name="connsiteX0" fmla="*/ 0 w 160782"/>
                  <a:gd name="connsiteY0" fmla="*/ 57888 h 420797"/>
                  <a:gd name="connsiteX1" fmla="*/ 140705 w 160782"/>
                  <a:gd name="connsiteY1" fmla="*/ 94157 h 420797"/>
                  <a:gd name="connsiteX2" fmla="*/ 138637 w 160782"/>
                  <a:gd name="connsiteY2" fmla="*/ 420797 h 420797"/>
                  <a:gd name="connsiteX0" fmla="*/ 0 w 158143"/>
                  <a:gd name="connsiteY0" fmla="*/ 55588 h 418497"/>
                  <a:gd name="connsiteX1" fmla="*/ 137636 w 158143"/>
                  <a:gd name="connsiteY1" fmla="*/ 97572 h 418497"/>
                  <a:gd name="connsiteX2" fmla="*/ 138637 w 158143"/>
                  <a:gd name="connsiteY2" fmla="*/ 418497 h 418497"/>
                  <a:gd name="connsiteX0" fmla="*/ 0 w 138637"/>
                  <a:gd name="connsiteY0" fmla="*/ 55588 h 418497"/>
                  <a:gd name="connsiteX1" fmla="*/ 137636 w 138637"/>
                  <a:gd name="connsiteY1" fmla="*/ 97572 h 418497"/>
                  <a:gd name="connsiteX2" fmla="*/ 138637 w 138637"/>
                  <a:gd name="connsiteY2" fmla="*/ 418497 h 418497"/>
                  <a:gd name="connsiteX0" fmla="*/ 4055 w 141691"/>
                  <a:gd name="connsiteY0" fmla="*/ 55588 h 415639"/>
                  <a:gd name="connsiteX1" fmla="*/ 141691 w 141691"/>
                  <a:gd name="connsiteY1" fmla="*/ 97572 h 415639"/>
                  <a:gd name="connsiteX2" fmla="*/ 7662 w 141691"/>
                  <a:gd name="connsiteY2" fmla="*/ 415639 h 415639"/>
                  <a:gd name="connsiteX0" fmla="*/ 0 w 137636"/>
                  <a:gd name="connsiteY0" fmla="*/ 55588 h 415639"/>
                  <a:gd name="connsiteX1" fmla="*/ 137636 w 137636"/>
                  <a:gd name="connsiteY1" fmla="*/ 97572 h 415639"/>
                  <a:gd name="connsiteX2" fmla="*/ 3607 w 137636"/>
                  <a:gd name="connsiteY2" fmla="*/ 415639 h 415639"/>
                  <a:gd name="connsiteX0" fmla="*/ 0 w 137636"/>
                  <a:gd name="connsiteY0" fmla="*/ 52352 h 412403"/>
                  <a:gd name="connsiteX1" fmla="*/ 137636 w 137636"/>
                  <a:gd name="connsiteY1" fmla="*/ 102909 h 412403"/>
                  <a:gd name="connsiteX2" fmla="*/ 3607 w 137636"/>
                  <a:gd name="connsiteY2" fmla="*/ 412403 h 412403"/>
                  <a:gd name="connsiteX0" fmla="*/ 0 w 134567"/>
                  <a:gd name="connsiteY0" fmla="*/ 52352 h 412403"/>
                  <a:gd name="connsiteX1" fmla="*/ 134567 w 134567"/>
                  <a:gd name="connsiteY1" fmla="*/ 102909 h 412403"/>
                  <a:gd name="connsiteX2" fmla="*/ 3607 w 134567"/>
                  <a:gd name="connsiteY2" fmla="*/ 412403 h 412403"/>
                  <a:gd name="connsiteX0" fmla="*/ 5680 w 140250"/>
                  <a:gd name="connsiteY0" fmla="*/ 52352 h 415190"/>
                  <a:gd name="connsiteX1" fmla="*/ 140247 w 140250"/>
                  <a:gd name="connsiteY1" fmla="*/ 102909 h 415190"/>
                  <a:gd name="connsiteX2" fmla="*/ 9820 w 140250"/>
                  <a:gd name="connsiteY2" fmla="*/ 382950 h 415190"/>
                  <a:gd name="connsiteX3" fmla="*/ 9287 w 140250"/>
                  <a:gd name="connsiteY3" fmla="*/ 412403 h 415190"/>
                  <a:gd name="connsiteX0" fmla="*/ 0 w 140171"/>
                  <a:gd name="connsiteY0" fmla="*/ 52352 h 416750"/>
                  <a:gd name="connsiteX1" fmla="*/ 134567 w 140171"/>
                  <a:gd name="connsiteY1" fmla="*/ 102909 h 416750"/>
                  <a:gd name="connsiteX2" fmla="*/ 4140 w 140171"/>
                  <a:gd name="connsiteY2" fmla="*/ 382950 h 416750"/>
                  <a:gd name="connsiteX3" fmla="*/ 140171 w 140171"/>
                  <a:gd name="connsiteY3" fmla="*/ 415261 h 416750"/>
                  <a:gd name="connsiteX0" fmla="*/ 0 w 134570"/>
                  <a:gd name="connsiteY0" fmla="*/ 52352 h 566711"/>
                  <a:gd name="connsiteX1" fmla="*/ 134567 w 134570"/>
                  <a:gd name="connsiteY1" fmla="*/ 102909 h 566711"/>
                  <a:gd name="connsiteX2" fmla="*/ 4140 w 134570"/>
                  <a:gd name="connsiteY2" fmla="*/ 382950 h 566711"/>
                  <a:gd name="connsiteX3" fmla="*/ 68053 w 134570"/>
                  <a:gd name="connsiteY3" fmla="*/ 566711 h 566711"/>
                  <a:gd name="connsiteX0" fmla="*/ 746 w 135316"/>
                  <a:gd name="connsiteY0" fmla="*/ 52352 h 566711"/>
                  <a:gd name="connsiteX1" fmla="*/ 135313 w 135316"/>
                  <a:gd name="connsiteY1" fmla="*/ 102909 h 566711"/>
                  <a:gd name="connsiteX2" fmla="*/ 4886 w 135316"/>
                  <a:gd name="connsiteY2" fmla="*/ 382950 h 566711"/>
                  <a:gd name="connsiteX3" fmla="*/ 68799 w 135316"/>
                  <a:gd name="connsiteY3" fmla="*/ 566711 h 566711"/>
                  <a:gd name="connsiteX0" fmla="*/ 0 w 144776"/>
                  <a:gd name="connsiteY0" fmla="*/ 52352 h 420976"/>
                  <a:gd name="connsiteX1" fmla="*/ 134567 w 144776"/>
                  <a:gd name="connsiteY1" fmla="*/ 102909 h 420976"/>
                  <a:gd name="connsiteX2" fmla="*/ 4140 w 144776"/>
                  <a:gd name="connsiteY2" fmla="*/ 382950 h 420976"/>
                  <a:gd name="connsiteX3" fmla="*/ 144775 w 144776"/>
                  <a:gd name="connsiteY3" fmla="*/ 420976 h 420976"/>
                  <a:gd name="connsiteX0" fmla="*/ 0 w 144775"/>
                  <a:gd name="connsiteY0" fmla="*/ 52352 h 421674"/>
                  <a:gd name="connsiteX1" fmla="*/ 134567 w 144775"/>
                  <a:gd name="connsiteY1" fmla="*/ 102909 h 421674"/>
                  <a:gd name="connsiteX2" fmla="*/ 4140 w 144775"/>
                  <a:gd name="connsiteY2" fmla="*/ 382950 h 421674"/>
                  <a:gd name="connsiteX3" fmla="*/ 144775 w 144775"/>
                  <a:gd name="connsiteY3" fmla="*/ 420976 h 421674"/>
                  <a:gd name="connsiteX0" fmla="*/ 0 w 140172"/>
                  <a:gd name="connsiteY0" fmla="*/ 52352 h 417927"/>
                  <a:gd name="connsiteX1" fmla="*/ 134567 w 140172"/>
                  <a:gd name="connsiteY1" fmla="*/ 102909 h 417927"/>
                  <a:gd name="connsiteX2" fmla="*/ 4140 w 140172"/>
                  <a:gd name="connsiteY2" fmla="*/ 382950 h 417927"/>
                  <a:gd name="connsiteX3" fmla="*/ 140172 w 140172"/>
                  <a:gd name="connsiteY3" fmla="*/ 415261 h 417927"/>
                  <a:gd name="connsiteX0" fmla="*/ 1216 w 141388"/>
                  <a:gd name="connsiteY0" fmla="*/ 52352 h 430929"/>
                  <a:gd name="connsiteX1" fmla="*/ 135783 w 141388"/>
                  <a:gd name="connsiteY1" fmla="*/ 102909 h 430929"/>
                  <a:gd name="connsiteX2" fmla="*/ 3822 w 141388"/>
                  <a:gd name="connsiteY2" fmla="*/ 405811 h 430929"/>
                  <a:gd name="connsiteX3" fmla="*/ 141388 w 141388"/>
                  <a:gd name="connsiteY3" fmla="*/ 415261 h 430929"/>
                  <a:gd name="connsiteX0" fmla="*/ 0 w 140172"/>
                  <a:gd name="connsiteY0" fmla="*/ 52352 h 415261"/>
                  <a:gd name="connsiteX1" fmla="*/ 134567 w 140172"/>
                  <a:gd name="connsiteY1" fmla="*/ 102909 h 415261"/>
                  <a:gd name="connsiteX2" fmla="*/ 2606 w 140172"/>
                  <a:gd name="connsiteY2" fmla="*/ 405811 h 415261"/>
                  <a:gd name="connsiteX3" fmla="*/ 140172 w 140172"/>
                  <a:gd name="connsiteY3" fmla="*/ 415261 h 415261"/>
                  <a:gd name="connsiteX0" fmla="*/ 463 w 140635"/>
                  <a:gd name="connsiteY0" fmla="*/ 52352 h 415512"/>
                  <a:gd name="connsiteX1" fmla="*/ 135030 w 140635"/>
                  <a:gd name="connsiteY1" fmla="*/ 102909 h 415512"/>
                  <a:gd name="connsiteX2" fmla="*/ 0 w 140635"/>
                  <a:gd name="connsiteY2" fmla="*/ 414383 h 415512"/>
                  <a:gd name="connsiteX3" fmla="*/ 140635 w 140635"/>
                  <a:gd name="connsiteY3" fmla="*/ 415261 h 415512"/>
                  <a:gd name="connsiteX0" fmla="*/ 463 w 140635"/>
                  <a:gd name="connsiteY0" fmla="*/ 52352 h 415261"/>
                  <a:gd name="connsiteX1" fmla="*/ 135030 w 140635"/>
                  <a:gd name="connsiteY1" fmla="*/ 102909 h 415261"/>
                  <a:gd name="connsiteX2" fmla="*/ 0 w 140635"/>
                  <a:gd name="connsiteY2" fmla="*/ 408667 h 415261"/>
                  <a:gd name="connsiteX3" fmla="*/ 140635 w 140635"/>
                  <a:gd name="connsiteY3" fmla="*/ 415261 h 415261"/>
                  <a:gd name="connsiteX0" fmla="*/ 463 w 140635"/>
                  <a:gd name="connsiteY0" fmla="*/ 52352 h 415510"/>
                  <a:gd name="connsiteX1" fmla="*/ 135030 w 140635"/>
                  <a:gd name="connsiteY1" fmla="*/ 102909 h 415510"/>
                  <a:gd name="connsiteX2" fmla="*/ 0 w 140635"/>
                  <a:gd name="connsiteY2" fmla="*/ 414382 h 415510"/>
                  <a:gd name="connsiteX3" fmla="*/ 140635 w 140635"/>
                  <a:gd name="connsiteY3" fmla="*/ 415261 h 415510"/>
                  <a:gd name="connsiteX0" fmla="*/ 463 w 140635"/>
                  <a:gd name="connsiteY0" fmla="*/ 52352 h 415510"/>
                  <a:gd name="connsiteX1" fmla="*/ 135030 w 140635"/>
                  <a:gd name="connsiteY1" fmla="*/ 102909 h 415510"/>
                  <a:gd name="connsiteX2" fmla="*/ 0 w 140635"/>
                  <a:gd name="connsiteY2" fmla="*/ 414382 h 415510"/>
                  <a:gd name="connsiteX3" fmla="*/ 140635 w 140635"/>
                  <a:gd name="connsiteY3" fmla="*/ 415261 h 415510"/>
                  <a:gd name="connsiteX0" fmla="*/ 636 w 140808"/>
                  <a:gd name="connsiteY0" fmla="*/ 52352 h 415510"/>
                  <a:gd name="connsiteX1" fmla="*/ 135203 w 140808"/>
                  <a:gd name="connsiteY1" fmla="*/ 102909 h 415510"/>
                  <a:gd name="connsiteX2" fmla="*/ 173 w 140808"/>
                  <a:gd name="connsiteY2" fmla="*/ 414382 h 415510"/>
                  <a:gd name="connsiteX3" fmla="*/ 140808 w 140808"/>
                  <a:gd name="connsiteY3" fmla="*/ 415261 h 415510"/>
                  <a:gd name="connsiteX0" fmla="*/ 637 w 140809"/>
                  <a:gd name="connsiteY0" fmla="*/ 52352 h 415510"/>
                  <a:gd name="connsiteX1" fmla="*/ 135204 w 140809"/>
                  <a:gd name="connsiteY1" fmla="*/ 102909 h 415510"/>
                  <a:gd name="connsiteX2" fmla="*/ 174 w 140809"/>
                  <a:gd name="connsiteY2" fmla="*/ 414382 h 415510"/>
                  <a:gd name="connsiteX3" fmla="*/ 140809 w 140809"/>
                  <a:gd name="connsiteY3" fmla="*/ 415261 h 415510"/>
                  <a:gd name="connsiteX0" fmla="*/ 0 w 140172"/>
                  <a:gd name="connsiteY0" fmla="*/ 52352 h 415510"/>
                  <a:gd name="connsiteX1" fmla="*/ 134567 w 140172"/>
                  <a:gd name="connsiteY1" fmla="*/ 102909 h 415510"/>
                  <a:gd name="connsiteX2" fmla="*/ 1071 w 140172"/>
                  <a:gd name="connsiteY2" fmla="*/ 414382 h 415510"/>
                  <a:gd name="connsiteX3" fmla="*/ 140172 w 140172"/>
                  <a:gd name="connsiteY3" fmla="*/ 415261 h 415510"/>
                  <a:gd name="connsiteX0" fmla="*/ 0 w 141706"/>
                  <a:gd name="connsiteY0" fmla="*/ 52352 h 415510"/>
                  <a:gd name="connsiteX1" fmla="*/ 134567 w 141706"/>
                  <a:gd name="connsiteY1" fmla="*/ 102909 h 415510"/>
                  <a:gd name="connsiteX2" fmla="*/ 1071 w 141706"/>
                  <a:gd name="connsiteY2" fmla="*/ 414382 h 415510"/>
                  <a:gd name="connsiteX3" fmla="*/ 141706 w 141706"/>
                  <a:gd name="connsiteY3" fmla="*/ 415261 h 415510"/>
                  <a:gd name="connsiteX0" fmla="*/ 2175 w 140812"/>
                  <a:gd name="connsiteY0" fmla="*/ 52353 h 415510"/>
                  <a:gd name="connsiteX1" fmla="*/ 133673 w 140812"/>
                  <a:gd name="connsiteY1" fmla="*/ 102909 h 415510"/>
                  <a:gd name="connsiteX2" fmla="*/ 177 w 140812"/>
                  <a:gd name="connsiteY2" fmla="*/ 414382 h 415510"/>
                  <a:gd name="connsiteX3" fmla="*/ 140812 w 140812"/>
                  <a:gd name="connsiteY3" fmla="*/ 415261 h 415510"/>
                </a:gdLst>
                <a:ahLst/>
                <a:cxnLst>
                  <a:cxn ang="0">
                    <a:pos x="connsiteX0" y="connsiteY0"/>
                  </a:cxn>
                  <a:cxn ang="0">
                    <a:pos x="connsiteX1" y="connsiteY1"/>
                  </a:cxn>
                  <a:cxn ang="0">
                    <a:pos x="connsiteX2" y="connsiteY2"/>
                  </a:cxn>
                  <a:cxn ang="0">
                    <a:pos x="connsiteX3" y="connsiteY3"/>
                  </a:cxn>
                </a:cxnLst>
                <a:rect l="l" t="t" r="r" b="b"/>
                <a:pathLst>
                  <a:path w="140812" h="415510">
                    <a:moveTo>
                      <a:pt x="2175" y="52353"/>
                    </a:moveTo>
                    <a:cubicBezTo>
                      <a:pt x="36801" y="-34619"/>
                      <a:pt x="132804" y="-10148"/>
                      <a:pt x="133673" y="102909"/>
                    </a:cubicBezTo>
                    <a:cubicBezTo>
                      <a:pt x="132829" y="255166"/>
                      <a:pt x="-5616" y="171344"/>
                      <a:pt x="177" y="414382"/>
                    </a:cubicBezTo>
                    <a:cubicBezTo>
                      <a:pt x="50469" y="417385"/>
                      <a:pt x="56506" y="413209"/>
                      <a:pt x="140812" y="415261"/>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dirty="0"/>
              </a:p>
            </p:txBody>
          </p:sp>
          <p:sp>
            <p:nvSpPr>
              <p:cNvPr id="15" name="Rectangle: Rounded Corners 14">
                <a:extLst>
                  <a:ext uri="{FF2B5EF4-FFF2-40B4-BE49-F238E27FC236}">
                    <a16:creationId xmlns:a16="http://schemas.microsoft.com/office/drawing/2014/main" id="{A892F9C5-4401-4EBD-8AEC-AEAACFB50403}"/>
                  </a:ext>
                </a:extLst>
              </p:cNvPr>
              <p:cNvSpPr/>
              <p:nvPr/>
            </p:nvSpPr>
            <p:spPr bwMode="gray">
              <a:xfrm>
                <a:off x="4377691" y="1831150"/>
                <a:ext cx="255270" cy="283400"/>
              </a:xfrm>
              <a:prstGeom prst="roundRect">
                <a:avLst>
                  <a:gd name="adj" fmla="val 50000"/>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grpSp>
      </p:grpSp>
    </p:spTree>
    <p:extLst>
      <p:ext uri="{BB962C8B-B14F-4D97-AF65-F5344CB8AC3E}">
        <p14:creationId xmlns:p14="http://schemas.microsoft.com/office/powerpoint/2010/main" val="235207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F4F7D-2CCB-4CA7-AFFD-55D74038827F}"/>
              </a:ext>
            </a:extLst>
          </p:cNvPr>
          <p:cNvSpPr>
            <a:spLocks noGrp="1"/>
          </p:cNvSpPr>
          <p:nvPr>
            <p:ph type="title"/>
          </p:nvPr>
        </p:nvSpPr>
        <p:spPr/>
        <p:txBody>
          <a:bodyPr/>
          <a:lstStyle/>
          <a:p>
            <a:r>
              <a:rPr lang="de-DE" dirty="0"/>
              <a:t>Air </a:t>
            </a:r>
            <a:r>
              <a:rPr lang="de-DE" dirty="0" err="1"/>
              <a:t>separation</a:t>
            </a:r>
            <a:r>
              <a:rPr lang="de-DE" dirty="0"/>
              <a:t> </a:t>
            </a:r>
            <a:r>
              <a:rPr lang="de-DE" dirty="0" err="1"/>
              <a:t>unit</a:t>
            </a:r>
            <a:r>
              <a:rPr lang="de-DE" dirty="0"/>
              <a:t> (ASU)</a:t>
            </a:r>
            <a:endParaRPr lang="en-US" dirty="0"/>
          </a:p>
        </p:txBody>
      </p:sp>
      <p:sp>
        <p:nvSpPr>
          <p:cNvPr id="3" name="Footer Placeholder 2">
            <a:extLst>
              <a:ext uri="{FF2B5EF4-FFF2-40B4-BE49-F238E27FC236}">
                <a16:creationId xmlns:a16="http://schemas.microsoft.com/office/drawing/2014/main" id="{5732E45B-BD86-4BEE-AD59-D40AE9AD6F0C}"/>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DAB82839-24AC-4EDE-B3AE-EACC7C6C64C5}"/>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8B603ECC-BDFC-4497-8CD2-ED191CEC041F}"/>
              </a:ext>
            </a:extLst>
          </p:cNvPr>
          <p:cNvSpPr>
            <a:spLocks noGrp="1"/>
          </p:cNvSpPr>
          <p:nvPr>
            <p:ph type="sldNum" sz="quarter" idx="12"/>
          </p:nvPr>
        </p:nvSpPr>
        <p:spPr/>
        <p:txBody>
          <a:bodyPr/>
          <a:lstStyle/>
          <a:p>
            <a:r>
              <a:rPr lang="en-US"/>
              <a:t>Slide </a:t>
            </a:r>
            <a:fld id="{619F89D8-7AE3-494A-97F3-03D680869632}" type="slidenum">
              <a:rPr lang="en-US" smtClean="0"/>
              <a:pPr/>
              <a:t>38</a:t>
            </a:fld>
            <a:endParaRPr lang="en-US" dirty="0"/>
          </a:p>
        </p:txBody>
      </p:sp>
      <p:sp>
        <p:nvSpPr>
          <p:cNvPr id="6" name="Content Placeholder 5">
            <a:extLst>
              <a:ext uri="{FF2B5EF4-FFF2-40B4-BE49-F238E27FC236}">
                <a16:creationId xmlns:a16="http://schemas.microsoft.com/office/drawing/2014/main" id="{7EC1AF45-CE34-4000-B1D3-C095586E07CA}"/>
              </a:ext>
            </a:extLst>
          </p:cNvPr>
          <p:cNvSpPr>
            <a:spLocks noGrp="1"/>
          </p:cNvSpPr>
          <p:nvPr>
            <p:ph sz="quarter" idx="20"/>
          </p:nvPr>
        </p:nvSpPr>
        <p:spPr/>
        <p:txBody>
          <a:bodyPr/>
          <a:lstStyle/>
          <a:p>
            <a:pPr>
              <a:spcBef>
                <a:spcPts val="0"/>
              </a:spcBef>
            </a:pPr>
            <a:r>
              <a:rPr lang="de-DE" dirty="0"/>
              <a:t>Caldos27</a:t>
            </a:r>
          </a:p>
          <a:p>
            <a:pPr>
              <a:spcBef>
                <a:spcPts val="0"/>
              </a:spcBef>
            </a:pPr>
            <a:r>
              <a:rPr lang="de-DE" dirty="0">
                <a:solidFill>
                  <a:schemeClr val="tx1"/>
                </a:solidFill>
              </a:rPr>
              <a:t>Thermal </a:t>
            </a:r>
            <a:r>
              <a:rPr lang="de-DE" dirty="0" err="1">
                <a:solidFill>
                  <a:schemeClr val="tx1"/>
                </a:solidFill>
              </a:rPr>
              <a:t>Conductivity</a:t>
            </a:r>
            <a:r>
              <a:rPr lang="de-DE" dirty="0">
                <a:solidFill>
                  <a:schemeClr val="tx1"/>
                </a:solidFill>
              </a:rPr>
              <a:t> </a:t>
            </a:r>
            <a:r>
              <a:rPr lang="de-DE" dirty="0" err="1">
                <a:solidFill>
                  <a:schemeClr val="tx1"/>
                </a:solidFill>
              </a:rPr>
              <a:t>detector</a:t>
            </a:r>
            <a:r>
              <a:rPr lang="de-DE" dirty="0">
                <a:solidFill>
                  <a:schemeClr val="tx1"/>
                </a:solidFill>
              </a:rPr>
              <a:t> – 0 </a:t>
            </a:r>
            <a:r>
              <a:rPr lang="de-DE" dirty="0" err="1">
                <a:solidFill>
                  <a:schemeClr val="tx1"/>
                </a:solidFill>
              </a:rPr>
              <a:t>to</a:t>
            </a:r>
            <a:r>
              <a:rPr lang="de-DE" dirty="0">
                <a:solidFill>
                  <a:schemeClr val="tx1"/>
                </a:solidFill>
              </a:rPr>
              <a:t> 20 vol% Ar in O</a:t>
            </a:r>
            <a:r>
              <a:rPr lang="de-DE" baseline="-25000" dirty="0">
                <a:solidFill>
                  <a:schemeClr val="tx1"/>
                </a:solidFill>
              </a:rPr>
              <a:t>2</a:t>
            </a:r>
          </a:p>
          <a:p>
            <a:pPr lvl="1">
              <a:spcBef>
                <a:spcPts val="0"/>
              </a:spcBef>
            </a:pPr>
            <a:endParaRPr lang="de-DE" dirty="0"/>
          </a:p>
          <a:p>
            <a:pPr lvl="1">
              <a:spcBef>
                <a:spcPts val="300"/>
              </a:spcBef>
            </a:pPr>
            <a:r>
              <a:rPr lang="de-DE" dirty="0" err="1"/>
              <a:t>Flexibility</a:t>
            </a:r>
            <a:r>
              <a:rPr lang="de-DE" dirty="0"/>
              <a:t> </a:t>
            </a:r>
            <a:r>
              <a:rPr lang="de-DE" dirty="0" err="1"/>
              <a:t>to</a:t>
            </a:r>
            <a:r>
              <a:rPr lang="de-DE" dirty="0"/>
              <a:t> </a:t>
            </a:r>
            <a:r>
              <a:rPr lang="de-DE" dirty="0" err="1"/>
              <a:t>cover</a:t>
            </a:r>
            <a:r>
              <a:rPr lang="de-DE" dirty="0"/>
              <a:t> </a:t>
            </a:r>
            <a:r>
              <a:rPr lang="de-DE" dirty="0" err="1"/>
              <a:t>wide</a:t>
            </a:r>
            <a:r>
              <a:rPr lang="de-DE" dirty="0"/>
              <a:t> </a:t>
            </a:r>
            <a:r>
              <a:rPr lang="de-DE" dirty="0" err="1"/>
              <a:t>variety</a:t>
            </a:r>
            <a:r>
              <a:rPr lang="de-DE" dirty="0"/>
              <a:t> </a:t>
            </a:r>
            <a:r>
              <a:rPr lang="de-DE" dirty="0" err="1"/>
              <a:t>of</a:t>
            </a:r>
            <a:r>
              <a:rPr lang="de-DE" dirty="0"/>
              <a:t> </a:t>
            </a:r>
            <a:r>
              <a:rPr lang="de-DE" dirty="0" err="1"/>
              <a:t>applications</a:t>
            </a:r>
            <a:endParaRPr lang="de-DE" dirty="0"/>
          </a:p>
          <a:p>
            <a:pPr lvl="1">
              <a:spcBef>
                <a:spcPts val="300"/>
              </a:spcBef>
            </a:pPr>
            <a:r>
              <a:rPr lang="de-DE" dirty="0"/>
              <a:t>Fast </a:t>
            </a:r>
            <a:r>
              <a:rPr lang="de-DE" dirty="0" err="1"/>
              <a:t>response</a:t>
            </a:r>
            <a:r>
              <a:rPr lang="de-DE" dirty="0"/>
              <a:t> (t</a:t>
            </a:r>
            <a:r>
              <a:rPr lang="de-DE" baseline="30000" dirty="0"/>
              <a:t>90</a:t>
            </a:r>
            <a:r>
              <a:rPr lang="de-DE" dirty="0"/>
              <a:t> &lt; 2s) </a:t>
            </a:r>
            <a:r>
              <a:rPr lang="de-DE" dirty="0" err="1"/>
              <a:t>for</a:t>
            </a:r>
            <a:r>
              <a:rPr lang="de-DE" dirty="0"/>
              <a:t> </a:t>
            </a:r>
            <a:r>
              <a:rPr lang="de-DE" dirty="0" err="1"/>
              <a:t>improved</a:t>
            </a:r>
            <a:r>
              <a:rPr lang="de-DE" dirty="0"/>
              <a:t> </a:t>
            </a:r>
            <a:r>
              <a:rPr lang="de-DE" dirty="0" err="1"/>
              <a:t>process</a:t>
            </a:r>
            <a:r>
              <a:rPr lang="de-DE" dirty="0"/>
              <a:t> </a:t>
            </a:r>
            <a:r>
              <a:rPr lang="de-DE" dirty="0" err="1"/>
              <a:t>control</a:t>
            </a:r>
            <a:endParaRPr lang="de-DE" dirty="0"/>
          </a:p>
          <a:p>
            <a:pPr lvl="1">
              <a:spcBef>
                <a:spcPts val="300"/>
              </a:spcBef>
            </a:pPr>
            <a:r>
              <a:rPr lang="de-DE" dirty="0" err="1"/>
              <a:t>Available</a:t>
            </a:r>
            <a:r>
              <a:rPr lang="de-DE" dirty="0"/>
              <a:t> in EL3000 and AO2000 </a:t>
            </a:r>
            <a:r>
              <a:rPr lang="de-DE" dirty="0" err="1"/>
              <a:t>series</a:t>
            </a:r>
            <a:endParaRPr lang="de-DE" dirty="0"/>
          </a:p>
          <a:p>
            <a:pPr lvl="1">
              <a:spcBef>
                <a:spcPts val="300"/>
              </a:spcBef>
            </a:pPr>
            <a:endParaRPr lang="de-DE" dirty="0"/>
          </a:p>
          <a:p>
            <a:pPr>
              <a:spcBef>
                <a:spcPts val="0"/>
              </a:spcBef>
            </a:pPr>
            <a:r>
              <a:rPr lang="de-DE" dirty="0"/>
              <a:t>Magnos28</a:t>
            </a:r>
          </a:p>
          <a:p>
            <a:pPr>
              <a:spcBef>
                <a:spcPts val="0"/>
              </a:spcBef>
            </a:pPr>
            <a:r>
              <a:rPr lang="de-DE" dirty="0" err="1">
                <a:solidFill>
                  <a:schemeClr val="tx1"/>
                </a:solidFill>
              </a:rPr>
              <a:t>Paramagnetic</a:t>
            </a:r>
            <a:r>
              <a:rPr lang="de-DE" dirty="0">
                <a:solidFill>
                  <a:schemeClr val="tx1"/>
                </a:solidFill>
              </a:rPr>
              <a:t> </a:t>
            </a:r>
            <a:r>
              <a:rPr lang="de-DE" dirty="0" err="1">
                <a:solidFill>
                  <a:schemeClr val="tx1"/>
                </a:solidFill>
              </a:rPr>
              <a:t>detector</a:t>
            </a:r>
            <a:r>
              <a:rPr lang="de-DE" dirty="0">
                <a:solidFill>
                  <a:schemeClr val="tx1"/>
                </a:solidFill>
              </a:rPr>
              <a:t> – 80 </a:t>
            </a:r>
            <a:r>
              <a:rPr lang="de-DE" dirty="0" err="1">
                <a:solidFill>
                  <a:schemeClr val="tx1"/>
                </a:solidFill>
              </a:rPr>
              <a:t>to</a:t>
            </a:r>
            <a:r>
              <a:rPr lang="de-DE" dirty="0">
                <a:solidFill>
                  <a:schemeClr val="tx1"/>
                </a:solidFill>
              </a:rPr>
              <a:t> 100 vol% O</a:t>
            </a:r>
            <a:r>
              <a:rPr lang="de-DE" baseline="-25000" dirty="0">
                <a:solidFill>
                  <a:schemeClr val="tx1"/>
                </a:solidFill>
              </a:rPr>
              <a:t>2 </a:t>
            </a:r>
            <a:r>
              <a:rPr lang="de-DE" dirty="0">
                <a:solidFill>
                  <a:schemeClr val="tx1"/>
                </a:solidFill>
              </a:rPr>
              <a:t>in Ar</a:t>
            </a:r>
          </a:p>
          <a:p>
            <a:pPr lvl="1">
              <a:spcBef>
                <a:spcPts val="0"/>
              </a:spcBef>
            </a:pPr>
            <a:endParaRPr lang="de-DE" dirty="0"/>
          </a:p>
          <a:p>
            <a:pPr lvl="1">
              <a:spcBef>
                <a:spcPts val="0"/>
              </a:spcBef>
            </a:pPr>
            <a:r>
              <a:rPr lang="de-DE" dirty="0"/>
              <a:t>Patented microwing® </a:t>
            </a:r>
            <a:r>
              <a:rPr lang="de-DE" dirty="0" err="1"/>
              <a:t>offers</a:t>
            </a:r>
            <a:r>
              <a:rPr lang="de-DE" dirty="0"/>
              <a:t> </a:t>
            </a:r>
            <a:r>
              <a:rPr lang="de-DE" dirty="0" err="1"/>
              <a:t>improved</a:t>
            </a:r>
            <a:r>
              <a:rPr lang="de-DE" dirty="0"/>
              <a:t> </a:t>
            </a:r>
            <a:r>
              <a:rPr lang="de-DE" dirty="0" err="1"/>
              <a:t>repeatability</a:t>
            </a:r>
            <a:r>
              <a:rPr lang="de-DE" dirty="0"/>
              <a:t> </a:t>
            </a:r>
          </a:p>
          <a:p>
            <a:pPr lvl="1">
              <a:spcBef>
                <a:spcPts val="300"/>
              </a:spcBef>
            </a:pPr>
            <a:r>
              <a:rPr lang="de-DE" dirty="0"/>
              <a:t>Semi-</a:t>
            </a:r>
            <a:r>
              <a:rPr lang="de-DE" dirty="0" err="1"/>
              <a:t>automatic</a:t>
            </a:r>
            <a:r>
              <a:rPr lang="de-DE" dirty="0"/>
              <a:t> </a:t>
            </a:r>
            <a:r>
              <a:rPr lang="de-DE" dirty="0" err="1"/>
              <a:t>manufacturing</a:t>
            </a:r>
            <a:r>
              <a:rPr lang="de-DE" dirty="0"/>
              <a:t> </a:t>
            </a:r>
            <a:r>
              <a:rPr lang="de-DE" dirty="0" err="1"/>
              <a:t>for</a:t>
            </a:r>
            <a:r>
              <a:rPr lang="de-DE" dirty="0"/>
              <a:t> </a:t>
            </a:r>
            <a:r>
              <a:rPr lang="de-DE" dirty="0" err="1"/>
              <a:t>consistent</a:t>
            </a:r>
            <a:r>
              <a:rPr lang="de-DE" dirty="0"/>
              <a:t> </a:t>
            </a:r>
            <a:r>
              <a:rPr lang="de-DE" dirty="0" err="1"/>
              <a:t>quality</a:t>
            </a:r>
            <a:r>
              <a:rPr lang="de-DE" dirty="0"/>
              <a:t> </a:t>
            </a:r>
          </a:p>
          <a:p>
            <a:pPr lvl="1">
              <a:spcBef>
                <a:spcPts val="300"/>
              </a:spcBef>
            </a:pPr>
            <a:r>
              <a:rPr lang="de-DE" dirty="0"/>
              <a:t>Fast </a:t>
            </a:r>
            <a:r>
              <a:rPr lang="de-DE" dirty="0" err="1"/>
              <a:t>response</a:t>
            </a:r>
            <a:r>
              <a:rPr lang="de-DE" dirty="0"/>
              <a:t> (1.3s) </a:t>
            </a:r>
            <a:r>
              <a:rPr lang="de-DE" dirty="0" err="1"/>
              <a:t>for</a:t>
            </a:r>
            <a:r>
              <a:rPr lang="de-DE" dirty="0"/>
              <a:t> </a:t>
            </a:r>
            <a:r>
              <a:rPr lang="de-DE" dirty="0" err="1"/>
              <a:t>improved</a:t>
            </a:r>
            <a:r>
              <a:rPr lang="de-DE" dirty="0"/>
              <a:t> </a:t>
            </a:r>
            <a:r>
              <a:rPr lang="de-DE" dirty="0" err="1"/>
              <a:t>process</a:t>
            </a:r>
            <a:r>
              <a:rPr lang="de-DE" dirty="0"/>
              <a:t> </a:t>
            </a:r>
            <a:r>
              <a:rPr lang="de-DE" dirty="0" err="1"/>
              <a:t>control</a:t>
            </a:r>
            <a:endParaRPr lang="de-DE" dirty="0"/>
          </a:p>
          <a:p>
            <a:pPr lvl="1">
              <a:spcBef>
                <a:spcPts val="300"/>
              </a:spcBef>
            </a:pPr>
            <a:r>
              <a:rPr lang="de-DE" dirty="0" err="1"/>
              <a:t>Available</a:t>
            </a:r>
            <a:r>
              <a:rPr lang="de-DE" dirty="0"/>
              <a:t> in EL3000 and AO2000 </a:t>
            </a:r>
            <a:r>
              <a:rPr lang="de-DE" dirty="0" err="1"/>
              <a:t>series</a:t>
            </a:r>
            <a:endParaRPr lang="de-DE" dirty="0"/>
          </a:p>
        </p:txBody>
      </p:sp>
      <p:sp>
        <p:nvSpPr>
          <p:cNvPr id="7" name="Content Placeholder 6">
            <a:extLst>
              <a:ext uri="{FF2B5EF4-FFF2-40B4-BE49-F238E27FC236}">
                <a16:creationId xmlns:a16="http://schemas.microsoft.com/office/drawing/2014/main" id="{2ADDC11F-5D49-4BCD-922D-04728BABF3FE}"/>
              </a:ext>
            </a:extLst>
          </p:cNvPr>
          <p:cNvSpPr>
            <a:spLocks noGrp="1"/>
          </p:cNvSpPr>
          <p:nvPr>
            <p:ph sz="quarter" idx="19"/>
          </p:nvPr>
        </p:nvSpPr>
        <p:spPr>
          <a:xfrm>
            <a:off x="793629" y="1989334"/>
            <a:ext cx="3074985" cy="3922777"/>
          </a:xfrm>
        </p:spPr>
        <p:txBody>
          <a:bodyPr/>
          <a:lstStyle/>
          <a:p>
            <a:pPr>
              <a:tabLst>
                <a:tab pos="452438" algn="l"/>
              </a:tabLst>
            </a:pPr>
            <a:r>
              <a:rPr lang="en-US" dirty="0"/>
              <a:t>Argon slip</a:t>
            </a:r>
          </a:p>
          <a:p>
            <a:pPr lvl="1">
              <a:spcBef>
                <a:spcPts val="0"/>
              </a:spcBef>
            </a:pPr>
            <a:endParaRPr lang="en-US" dirty="0"/>
          </a:p>
          <a:p>
            <a:pPr lvl="1">
              <a:spcBef>
                <a:spcPts val="0"/>
              </a:spcBef>
            </a:pPr>
            <a:r>
              <a:rPr lang="en-US" dirty="0"/>
              <a:t>Argon is tremendously valuable by-product from ASU</a:t>
            </a:r>
          </a:p>
          <a:p>
            <a:pPr lvl="1">
              <a:spcBef>
                <a:spcPts val="0"/>
              </a:spcBef>
            </a:pPr>
            <a:r>
              <a:rPr lang="en-US" dirty="0"/>
              <a:t>Successful (or unsuccessful) recovery can make or break economics of some ASUs</a:t>
            </a:r>
          </a:p>
          <a:p>
            <a:pPr lvl="1">
              <a:spcBef>
                <a:spcPts val="0"/>
              </a:spcBef>
            </a:pPr>
            <a:r>
              <a:rPr lang="en-US" dirty="0"/>
              <a:t>Monitoring Argon concentration in feed to argon purification column best way to maximize recovery</a:t>
            </a:r>
          </a:p>
        </p:txBody>
      </p:sp>
      <p:sp>
        <p:nvSpPr>
          <p:cNvPr id="8" name="Subtitle 7">
            <a:extLst>
              <a:ext uri="{FF2B5EF4-FFF2-40B4-BE49-F238E27FC236}">
                <a16:creationId xmlns:a16="http://schemas.microsoft.com/office/drawing/2014/main" id="{8716F94D-E2ED-4522-BA19-0B094F971306}"/>
              </a:ext>
            </a:extLst>
          </p:cNvPr>
          <p:cNvSpPr>
            <a:spLocks noGrp="1"/>
          </p:cNvSpPr>
          <p:nvPr>
            <p:ph type="subTitle" idx="13"/>
          </p:nvPr>
        </p:nvSpPr>
        <p:spPr/>
        <p:txBody>
          <a:bodyPr/>
          <a:lstStyle/>
          <a:p>
            <a:r>
              <a:rPr lang="de-DE" dirty="0"/>
              <a:t>Pain </a:t>
            </a:r>
            <a:r>
              <a:rPr lang="de-DE" dirty="0" err="1"/>
              <a:t>points</a:t>
            </a:r>
            <a:r>
              <a:rPr lang="de-DE" dirty="0"/>
              <a:t> and ABB </a:t>
            </a:r>
            <a:r>
              <a:rPr lang="de-DE" dirty="0" err="1"/>
              <a:t>solution</a:t>
            </a:r>
            <a:endParaRPr lang="en-US" dirty="0"/>
          </a:p>
        </p:txBody>
      </p:sp>
      <p:grpSp>
        <p:nvGrpSpPr>
          <p:cNvPr id="22" name="Group 21">
            <a:extLst>
              <a:ext uri="{FF2B5EF4-FFF2-40B4-BE49-F238E27FC236}">
                <a16:creationId xmlns:a16="http://schemas.microsoft.com/office/drawing/2014/main" id="{E3C9A841-14D2-4A5F-B188-263D6A8EF3BC}"/>
              </a:ext>
            </a:extLst>
          </p:cNvPr>
          <p:cNvGrpSpPr>
            <a:grpSpLocks noChangeAspect="1"/>
          </p:cNvGrpSpPr>
          <p:nvPr/>
        </p:nvGrpSpPr>
        <p:grpSpPr bwMode="gray">
          <a:xfrm>
            <a:off x="533015" y="1949513"/>
            <a:ext cx="107832" cy="349200"/>
            <a:chOff x="12138497" y="1918592"/>
            <a:chExt cx="372982" cy="1207856"/>
          </a:xfrm>
        </p:grpSpPr>
        <p:sp>
          <p:nvSpPr>
            <p:cNvPr id="23" name="Rectangle: Rounded Corners 49">
              <a:extLst>
                <a:ext uri="{FF2B5EF4-FFF2-40B4-BE49-F238E27FC236}">
                  <a16:creationId xmlns:a16="http://schemas.microsoft.com/office/drawing/2014/main" id="{BD83CE50-6381-4D8A-AD9E-EC011FFCF726}"/>
                </a:ext>
              </a:extLst>
            </p:cNvPr>
            <p:cNvSpPr/>
            <p:nvPr/>
          </p:nvSpPr>
          <p:spPr bwMode="gray">
            <a:xfrm>
              <a:off x="12138497" y="2204345"/>
              <a:ext cx="353215" cy="805903"/>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24" name="Freeform: Shape 23">
              <a:extLst>
                <a:ext uri="{FF2B5EF4-FFF2-40B4-BE49-F238E27FC236}">
                  <a16:creationId xmlns:a16="http://schemas.microsoft.com/office/drawing/2014/main" id="{BE19399E-8894-4007-A1A1-4B5E9109788C}"/>
                </a:ext>
              </a:extLst>
            </p:cNvPr>
            <p:cNvSpPr/>
            <p:nvPr/>
          </p:nvSpPr>
          <p:spPr bwMode="gray">
            <a:xfrm>
              <a:off x="12248278" y="2010593"/>
              <a:ext cx="133653" cy="200063"/>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25" name="Straight Connector 24">
              <a:extLst>
                <a:ext uri="{FF2B5EF4-FFF2-40B4-BE49-F238E27FC236}">
                  <a16:creationId xmlns:a16="http://schemas.microsoft.com/office/drawing/2014/main" id="{41683B3F-52AA-4C1F-891F-E62C48C51134}"/>
                </a:ext>
              </a:extLst>
            </p:cNvPr>
            <p:cNvCxnSpPr>
              <a:cxnSpLocks/>
            </p:cNvCxnSpPr>
            <p:nvPr/>
          </p:nvCxnSpPr>
          <p:spPr bwMode="gray">
            <a:xfrm>
              <a:off x="12386440" y="2112264"/>
              <a:ext cx="125039"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26" name="Rectangle: Rounded Corners 49">
              <a:extLst>
                <a:ext uri="{FF2B5EF4-FFF2-40B4-BE49-F238E27FC236}">
                  <a16:creationId xmlns:a16="http://schemas.microsoft.com/office/drawing/2014/main" id="{2C2CF61B-41A2-4212-8C89-ABB09383D77E}"/>
                </a:ext>
              </a:extLst>
            </p:cNvPr>
            <p:cNvSpPr/>
            <p:nvPr/>
          </p:nvSpPr>
          <p:spPr bwMode="gray">
            <a:xfrm>
              <a:off x="12138497" y="3010248"/>
              <a:ext cx="353215" cy="1162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27" name="Straight Connector 26">
              <a:extLst>
                <a:ext uri="{FF2B5EF4-FFF2-40B4-BE49-F238E27FC236}">
                  <a16:creationId xmlns:a16="http://schemas.microsoft.com/office/drawing/2014/main" id="{53688928-94DC-4A4F-8D9D-B4733F62F71A}"/>
                </a:ext>
              </a:extLst>
            </p:cNvPr>
            <p:cNvCxnSpPr>
              <a:cxnSpLocks/>
            </p:cNvCxnSpPr>
            <p:nvPr/>
          </p:nvCxnSpPr>
          <p:spPr bwMode="gray">
            <a:xfrm>
              <a:off x="12248278" y="1933121"/>
              <a:ext cx="133653"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28" name="Straight Connector 27">
              <a:extLst>
                <a:ext uri="{FF2B5EF4-FFF2-40B4-BE49-F238E27FC236}">
                  <a16:creationId xmlns:a16="http://schemas.microsoft.com/office/drawing/2014/main" id="{132A5899-CC3D-498E-A45B-384E876CEFA4}"/>
                </a:ext>
              </a:extLst>
            </p:cNvPr>
            <p:cNvCxnSpPr>
              <a:cxnSpLocks/>
            </p:cNvCxnSpPr>
            <p:nvPr/>
          </p:nvCxnSpPr>
          <p:spPr bwMode="gray">
            <a:xfrm>
              <a:off x="12315105" y="1918592"/>
              <a:ext cx="0" cy="91498"/>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29" name="Straight Connector 28">
              <a:extLst>
                <a:ext uri="{FF2B5EF4-FFF2-40B4-BE49-F238E27FC236}">
                  <a16:creationId xmlns:a16="http://schemas.microsoft.com/office/drawing/2014/main" id="{2424463F-B522-45E3-B3FA-2403CECC748B}"/>
                </a:ext>
              </a:extLst>
            </p:cNvPr>
            <p:cNvCxnSpPr>
              <a:cxnSpLocks/>
            </p:cNvCxnSpPr>
            <p:nvPr/>
          </p:nvCxnSpPr>
          <p:spPr bwMode="gray">
            <a:xfrm flipH="1">
              <a:off x="12187353" y="2517586"/>
              <a:ext cx="67952" cy="207103"/>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30" name="Straight Connector 29">
              <a:extLst>
                <a:ext uri="{FF2B5EF4-FFF2-40B4-BE49-F238E27FC236}">
                  <a16:creationId xmlns:a16="http://schemas.microsoft.com/office/drawing/2014/main" id="{9CAA7FFA-0410-47CC-83A0-9A88FA16F2F2}"/>
                </a:ext>
              </a:extLst>
            </p:cNvPr>
            <p:cNvCxnSpPr>
              <a:cxnSpLocks/>
            </p:cNvCxnSpPr>
            <p:nvPr/>
          </p:nvCxnSpPr>
          <p:spPr bwMode="gray">
            <a:xfrm>
              <a:off x="12373023" y="2572192"/>
              <a:ext cx="0" cy="150777"/>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31" name="Straight Connector 30">
              <a:extLst>
                <a:ext uri="{FF2B5EF4-FFF2-40B4-BE49-F238E27FC236}">
                  <a16:creationId xmlns:a16="http://schemas.microsoft.com/office/drawing/2014/main" id="{4C066E2F-CABF-4DF1-ADCB-AF10E254D9AA}"/>
                </a:ext>
              </a:extLst>
            </p:cNvPr>
            <p:cNvCxnSpPr>
              <a:cxnSpLocks/>
            </p:cNvCxnSpPr>
            <p:nvPr/>
          </p:nvCxnSpPr>
          <p:spPr bwMode="gray">
            <a:xfrm>
              <a:off x="12257776" y="2517588"/>
              <a:ext cx="62050" cy="205381"/>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32" name="Freeform: Shape 31">
              <a:extLst>
                <a:ext uri="{FF2B5EF4-FFF2-40B4-BE49-F238E27FC236}">
                  <a16:creationId xmlns:a16="http://schemas.microsoft.com/office/drawing/2014/main" id="{17CCABA6-FABD-4748-A056-EE59C3A6731D}"/>
                </a:ext>
              </a:extLst>
            </p:cNvPr>
            <p:cNvSpPr/>
            <p:nvPr/>
          </p:nvSpPr>
          <p:spPr bwMode="gray">
            <a:xfrm>
              <a:off x="12374211" y="2574183"/>
              <a:ext cx="58912" cy="65070"/>
            </a:xfrm>
            <a:custGeom>
              <a:avLst/>
              <a:gdLst>
                <a:gd name="connsiteX0" fmla="*/ 100969 w 100969"/>
                <a:gd name="connsiteY0" fmla="*/ 0 h 145344"/>
                <a:gd name="connsiteX1" fmla="*/ 81919 w 100969"/>
                <a:gd name="connsiteY1" fmla="*/ 1905 h 145344"/>
                <a:gd name="connsiteX2" fmla="*/ 62869 w 100969"/>
                <a:gd name="connsiteY2" fmla="*/ 9525 h 145344"/>
                <a:gd name="connsiteX3" fmla="*/ 45724 w 100969"/>
                <a:gd name="connsiteY3" fmla="*/ 17145 h 145344"/>
                <a:gd name="connsiteX4" fmla="*/ 13339 w 100969"/>
                <a:gd name="connsiteY4" fmla="*/ 47625 h 145344"/>
                <a:gd name="connsiteX5" fmla="*/ 9529 w 100969"/>
                <a:gd name="connsiteY5" fmla="*/ 55245 h 145344"/>
                <a:gd name="connsiteX6" fmla="*/ 3814 w 100969"/>
                <a:gd name="connsiteY6" fmla="*/ 64770 h 145344"/>
                <a:gd name="connsiteX7" fmla="*/ 1909 w 100969"/>
                <a:gd name="connsiteY7" fmla="*/ 97155 h 145344"/>
                <a:gd name="connsiteX8" fmla="*/ 7624 w 100969"/>
                <a:gd name="connsiteY8" fmla="*/ 129540 h 145344"/>
                <a:gd name="connsiteX9" fmla="*/ 9529 w 100969"/>
                <a:gd name="connsiteY9" fmla="*/ 139065 h 145344"/>
                <a:gd name="connsiteX10" fmla="*/ 13339 w 100969"/>
                <a:gd name="connsiteY10" fmla="*/ 144780 h 145344"/>
                <a:gd name="connsiteX11" fmla="*/ 9529 w 100969"/>
                <a:gd name="connsiteY11" fmla="*/ 144780 h 145344"/>
                <a:gd name="connsiteX0" fmla="*/ 100969 w 100969"/>
                <a:gd name="connsiteY0" fmla="*/ 0 h 144780"/>
                <a:gd name="connsiteX1" fmla="*/ 81919 w 100969"/>
                <a:gd name="connsiteY1" fmla="*/ 1905 h 144780"/>
                <a:gd name="connsiteX2" fmla="*/ 62869 w 100969"/>
                <a:gd name="connsiteY2" fmla="*/ 9525 h 144780"/>
                <a:gd name="connsiteX3" fmla="*/ 45724 w 100969"/>
                <a:gd name="connsiteY3" fmla="*/ 17145 h 144780"/>
                <a:gd name="connsiteX4" fmla="*/ 13339 w 100969"/>
                <a:gd name="connsiteY4" fmla="*/ 47625 h 144780"/>
                <a:gd name="connsiteX5" fmla="*/ 9529 w 100969"/>
                <a:gd name="connsiteY5" fmla="*/ 55245 h 144780"/>
                <a:gd name="connsiteX6" fmla="*/ 3814 w 100969"/>
                <a:gd name="connsiteY6" fmla="*/ 64770 h 144780"/>
                <a:gd name="connsiteX7" fmla="*/ 1909 w 100969"/>
                <a:gd name="connsiteY7" fmla="*/ 97155 h 144780"/>
                <a:gd name="connsiteX8" fmla="*/ 7624 w 100969"/>
                <a:gd name="connsiteY8" fmla="*/ 129540 h 144780"/>
                <a:gd name="connsiteX9" fmla="*/ 9529 w 100969"/>
                <a:gd name="connsiteY9" fmla="*/ 139065 h 144780"/>
                <a:gd name="connsiteX10" fmla="*/ 13339 w 100969"/>
                <a:gd name="connsiteY10" fmla="*/ 144780 h 144780"/>
                <a:gd name="connsiteX0" fmla="*/ 100969 w 100969"/>
                <a:gd name="connsiteY0" fmla="*/ 0 h 139065"/>
                <a:gd name="connsiteX1" fmla="*/ 81919 w 100969"/>
                <a:gd name="connsiteY1" fmla="*/ 1905 h 139065"/>
                <a:gd name="connsiteX2" fmla="*/ 62869 w 100969"/>
                <a:gd name="connsiteY2" fmla="*/ 9525 h 139065"/>
                <a:gd name="connsiteX3" fmla="*/ 45724 w 100969"/>
                <a:gd name="connsiteY3" fmla="*/ 17145 h 139065"/>
                <a:gd name="connsiteX4" fmla="*/ 13339 w 100969"/>
                <a:gd name="connsiteY4" fmla="*/ 47625 h 139065"/>
                <a:gd name="connsiteX5" fmla="*/ 9529 w 100969"/>
                <a:gd name="connsiteY5" fmla="*/ 55245 h 139065"/>
                <a:gd name="connsiteX6" fmla="*/ 3814 w 100969"/>
                <a:gd name="connsiteY6" fmla="*/ 64770 h 139065"/>
                <a:gd name="connsiteX7" fmla="*/ 1909 w 100969"/>
                <a:gd name="connsiteY7" fmla="*/ 97155 h 139065"/>
                <a:gd name="connsiteX8" fmla="*/ 7624 w 100969"/>
                <a:gd name="connsiteY8" fmla="*/ 129540 h 139065"/>
                <a:gd name="connsiteX9" fmla="*/ 9529 w 100969"/>
                <a:gd name="connsiteY9" fmla="*/ 139065 h 139065"/>
                <a:gd name="connsiteX0" fmla="*/ 100969 w 100969"/>
                <a:gd name="connsiteY0" fmla="*/ 0 h 129540"/>
                <a:gd name="connsiteX1" fmla="*/ 81919 w 100969"/>
                <a:gd name="connsiteY1" fmla="*/ 1905 h 129540"/>
                <a:gd name="connsiteX2" fmla="*/ 62869 w 100969"/>
                <a:gd name="connsiteY2" fmla="*/ 9525 h 129540"/>
                <a:gd name="connsiteX3" fmla="*/ 45724 w 100969"/>
                <a:gd name="connsiteY3" fmla="*/ 17145 h 129540"/>
                <a:gd name="connsiteX4" fmla="*/ 13339 w 100969"/>
                <a:gd name="connsiteY4" fmla="*/ 47625 h 129540"/>
                <a:gd name="connsiteX5" fmla="*/ 9529 w 100969"/>
                <a:gd name="connsiteY5" fmla="*/ 55245 h 129540"/>
                <a:gd name="connsiteX6" fmla="*/ 3814 w 100969"/>
                <a:gd name="connsiteY6" fmla="*/ 64770 h 129540"/>
                <a:gd name="connsiteX7" fmla="*/ 1909 w 100969"/>
                <a:gd name="connsiteY7" fmla="*/ 97155 h 129540"/>
                <a:gd name="connsiteX8" fmla="*/ 7624 w 100969"/>
                <a:gd name="connsiteY8" fmla="*/ 129540 h 129540"/>
                <a:gd name="connsiteX0" fmla="*/ 100969 w 100969"/>
                <a:gd name="connsiteY0" fmla="*/ 0 h 97155"/>
                <a:gd name="connsiteX1" fmla="*/ 81919 w 100969"/>
                <a:gd name="connsiteY1" fmla="*/ 1905 h 97155"/>
                <a:gd name="connsiteX2" fmla="*/ 62869 w 100969"/>
                <a:gd name="connsiteY2" fmla="*/ 9525 h 97155"/>
                <a:gd name="connsiteX3" fmla="*/ 45724 w 100969"/>
                <a:gd name="connsiteY3" fmla="*/ 17145 h 97155"/>
                <a:gd name="connsiteX4" fmla="*/ 13339 w 100969"/>
                <a:gd name="connsiteY4" fmla="*/ 47625 h 97155"/>
                <a:gd name="connsiteX5" fmla="*/ 9529 w 100969"/>
                <a:gd name="connsiteY5" fmla="*/ 55245 h 97155"/>
                <a:gd name="connsiteX6" fmla="*/ 3814 w 100969"/>
                <a:gd name="connsiteY6" fmla="*/ 64770 h 97155"/>
                <a:gd name="connsiteX7" fmla="*/ 1909 w 100969"/>
                <a:gd name="connsiteY7" fmla="*/ 97155 h 97155"/>
                <a:gd name="connsiteX0" fmla="*/ 97155 w 97155"/>
                <a:gd name="connsiteY0" fmla="*/ 0 h 64770"/>
                <a:gd name="connsiteX1" fmla="*/ 78105 w 97155"/>
                <a:gd name="connsiteY1" fmla="*/ 1905 h 64770"/>
                <a:gd name="connsiteX2" fmla="*/ 59055 w 97155"/>
                <a:gd name="connsiteY2" fmla="*/ 9525 h 64770"/>
                <a:gd name="connsiteX3" fmla="*/ 41910 w 97155"/>
                <a:gd name="connsiteY3" fmla="*/ 17145 h 64770"/>
                <a:gd name="connsiteX4" fmla="*/ 9525 w 97155"/>
                <a:gd name="connsiteY4" fmla="*/ 47625 h 64770"/>
                <a:gd name="connsiteX5" fmla="*/ 5715 w 97155"/>
                <a:gd name="connsiteY5" fmla="*/ 55245 h 64770"/>
                <a:gd name="connsiteX6" fmla="*/ 0 w 97155"/>
                <a:gd name="connsiteY6" fmla="*/ 64770 h 64770"/>
                <a:gd name="connsiteX0" fmla="*/ 91440 w 91440"/>
                <a:gd name="connsiteY0" fmla="*/ 0 h 55245"/>
                <a:gd name="connsiteX1" fmla="*/ 72390 w 91440"/>
                <a:gd name="connsiteY1" fmla="*/ 1905 h 55245"/>
                <a:gd name="connsiteX2" fmla="*/ 53340 w 91440"/>
                <a:gd name="connsiteY2" fmla="*/ 9525 h 55245"/>
                <a:gd name="connsiteX3" fmla="*/ 36195 w 91440"/>
                <a:gd name="connsiteY3" fmla="*/ 17145 h 55245"/>
                <a:gd name="connsiteX4" fmla="*/ 3810 w 91440"/>
                <a:gd name="connsiteY4" fmla="*/ 47625 h 55245"/>
                <a:gd name="connsiteX5" fmla="*/ 0 w 91440"/>
                <a:gd name="connsiteY5" fmla="*/ 55245 h 55245"/>
                <a:gd name="connsiteX0" fmla="*/ 87630 w 87630"/>
                <a:gd name="connsiteY0" fmla="*/ 0 h 47625"/>
                <a:gd name="connsiteX1" fmla="*/ 68580 w 87630"/>
                <a:gd name="connsiteY1" fmla="*/ 1905 h 47625"/>
                <a:gd name="connsiteX2" fmla="*/ 49530 w 87630"/>
                <a:gd name="connsiteY2" fmla="*/ 9525 h 47625"/>
                <a:gd name="connsiteX3" fmla="*/ 32385 w 87630"/>
                <a:gd name="connsiteY3" fmla="*/ 17145 h 47625"/>
                <a:gd name="connsiteX4" fmla="*/ 0 w 87630"/>
                <a:gd name="connsiteY4" fmla="*/ 47625 h 47625"/>
                <a:gd name="connsiteX0" fmla="*/ 87630 w 87630"/>
                <a:gd name="connsiteY0" fmla="*/ 0 h 47625"/>
                <a:gd name="connsiteX1" fmla="*/ 68580 w 87630"/>
                <a:gd name="connsiteY1" fmla="*/ 1905 h 47625"/>
                <a:gd name="connsiteX2" fmla="*/ 49530 w 87630"/>
                <a:gd name="connsiteY2" fmla="*/ 9525 h 47625"/>
                <a:gd name="connsiteX3" fmla="*/ 0 w 87630"/>
                <a:gd name="connsiteY3" fmla="*/ 47625 h 47625"/>
                <a:gd name="connsiteX0" fmla="*/ 87630 w 87630"/>
                <a:gd name="connsiteY0" fmla="*/ 2018 h 49643"/>
                <a:gd name="connsiteX1" fmla="*/ 68580 w 87630"/>
                <a:gd name="connsiteY1" fmla="*/ 3923 h 49643"/>
                <a:gd name="connsiteX2" fmla="*/ 0 w 87630"/>
                <a:gd name="connsiteY2" fmla="*/ 49643 h 49643"/>
                <a:gd name="connsiteX0" fmla="*/ 87630 w 87630"/>
                <a:gd name="connsiteY0" fmla="*/ 0 h 47625"/>
                <a:gd name="connsiteX1" fmla="*/ 31096 w 87630"/>
                <a:gd name="connsiteY1" fmla="*/ 22146 h 47625"/>
                <a:gd name="connsiteX2" fmla="*/ 0 w 87630"/>
                <a:gd name="connsiteY2" fmla="*/ 47625 h 47625"/>
                <a:gd name="connsiteX0" fmla="*/ 232360 w 232360"/>
                <a:gd name="connsiteY0" fmla="*/ 0 h 81360"/>
                <a:gd name="connsiteX1" fmla="*/ 175826 w 232360"/>
                <a:gd name="connsiteY1" fmla="*/ 22146 h 81360"/>
                <a:gd name="connsiteX2" fmla="*/ 0 w 232360"/>
                <a:gd name="connsiteY2" fmla="*/ 81360 h 81360"/>
                <a:gd name="connsiteX0" fmla="*/ 63682 w 176446"/>
                <a:gd name="connsiteY0" fmla="*/ 22955 h 60084"/>
                <a:gd name="connsiteX1" fmla="*/ 175826 w 176446"/>
                <a:gd name="connsiteY1" fmla="*/ 870 h 60084"/>
                <a:gd name="connsiteX2" fmla="*/ 0 w 176446"/>
                <a:gd name="connsiteY2" fmla="*/ 60084 h 60084"/>
                <a:gd name="connsiteX0" fmla="*/ 63682 w 63682"/>
                <a:gd name="connsiteY0" fmla="*/ 0 h 37129"/>
                <a:gd name="connsiteX1" fmla="*/ 0 w 63682"/>
                <a:gd name="connsiteY1" fmla="*/ 37129 h 37129"/>
                <a:gd name="connsiteX0" fmla="*/ 63682 w 63682"/>
                <a:gd name="connsiteY0" fmla="*/ 0 h 37129"/>
                <a:gd name="connsiteX1" fmla="*/ 0 w 63682"/>
                <a:gd name="connsiteY1" fmla="*/ 37129 h 37129"/>
                <a:gd name="connsiteX0" fmla="*/ 63682 w 63682"/>
                <a:gd name="connsiteY0" fmla="*/ 0 h 37129"/>
                <a:gd name="connsiteX1" fmla="*/ 0 w 63682"/>
                <a:gd name="connsiteY1" fmla="*/ 37129 h 37129"/>
                <a:gd name="connsiteX0" fmla="*/ 66806 w 66806"/>
                <a:gd name="connsiteY0" fmla="*/ 0 h 38628"/>
                <a:gd name="connsiteX1" fmla="*/ 0 w 66806"/>
                <a:gd name="connsiteY1" fmla="*/ 38628 h 38628"/>
                <a:gd name="connsiteX0" fmla="*/ 66806 w 66806"/>
                <a:gd name="connsiteY0" fmla="*/ 0 h 38628"/>
                <a:gd name="connsiteX1" fmla="*/ 0 w 66806"/>
                <a:gd name="connsiteY1" fmla="*/ 38628 h 38628"/>
                <a:gd name="connsiteX0" fmla="*/ 66806 w 66806"/>
                <a:gd name="connsiteY0" fmla="*/ 617 h 39245"/>
                <a:gd name="connsiteX1" fmla="*/ 0 w 66806"/>
                <a:gd name="connsiteY1" fmla="*/ 39245 h 39245"/>
                <a:gd name="connsiteX0" fmla="*/ 67847 w 67847"/>
                <a:gd name="connsiteY0" fmla="*/ 689 h 37068"/>
                <a:gd name="connsiteX1" fmla="*/ 0 w 67847"/>
                <a:gd name="connsiteY1" fmla="*/ 37068 h 37068"/>
                <a:gd name="connsiteX0" fmla="*/ 67847 w 67847"/>
                <a:gd name="connsiteY0" fmla="*/ 329 h 36708"/>
                <a:gd name="connsiteX1" fmla="*/ 0 w 67847"/>
                <a:gd name="connsiteY1" fmla="*/ 36708 h 36708"/>
                <a:gd name="connsiteX0" fmla="*/ 67847 w 67847"/>
                <a:gd name="connsiteY0" fmla="*/ 300 h 38178"/>
                <a:gd name="connsiteX1" fmla="*/ 0 w 67847"/>
                <a:gd name="connsiteY1" fmla="*/ 38178 h 38178"/>
                <a:gd name="connsiteX0" fmla="*/ 67847 w 67847"/>
                <a:gd name="connsiteY0" fmla="*/ 190 h 38068"/>
                <a:gd name="connsiteX1" fmla="*/ 0 w 67847"/>
                <a:gd name="connsiteY1" fmla="*/ 38068 h 38068"/>
                <a:gd name="connsiteX0" fmla="*/ 67847 w 67847"/>
                <a:gd name="connsiteY0" fmla="*/ 159 h 43285"/>
                <a:gd name="connsiteX1" fmla="*/ 0 w 67847"/>
                <a:gd name="connsiteY1" fmla="*/ 43285 h 43285"/>
                <a:gd name="connsiteX0" fmla="*/ 67847 w 67847"/>
                <a:gd name="connsiteY0" fmla="*/ 286 h 43412"/>
                <a:gd name="connsiteX1" fmla="*/ 0 w 67847"/>
                <a:gd name="connsiteY1" fmla="*/ 43412 h 43412"/>
                <a:gd name="connsiteX0" fmla="*/ 67847 w 67847"/>
                <a:gd name="connsiteY0" fmla="*/ 286 h 43412"/>
                <a:gd name="connsiteX1" fmla="*/ 0 w 67847"/>
                <a:gd name="connsiteY1" fmla="*/ 43412 h 43412"/>
                <a:gd name="connsiteX0" fmla="*/ 67847 w 67847"/>
                <a:gd name="connsiteY0" fmla="*/ 270 h 43396"/>
                <a:gd name="connsiteX1" fmla="*/ 0 w 67847"/>
                <a:gd name="connsiteY1" fmla="*/ 43396 h 43396"/>
              </a:gdLst>
              <a:ahLst/>
              <a:cxnLst>
                <a:cxn ang="0">
                  <a:pos x="connsiteX0" y="connsiteY0"/>
                </a:cxn>
                <a:cxn ang="0">
                  <a:pos x="connsiteX1" y="connsiteY1"/>
                </a:cxn>
              </a:cxnLst>
              <a:rect l="l" t="t" r="r" b="b"/>
              <a:pathLst>
                <a:path w="67847" h="43396">
                  <a:moveTo>
                    <a:pt x="67847" y="270"/>
                  </a:moveTo>
                  <a:cubicBezTo>
                    <a:pt x="33085" y="-2348"/>
                    <a:pt x="8622" y="14299"/>
                    <a:pt x="0" y="43396"/>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wrap="none">
              <a:spAutoFit/>
            </a:bodyPr>
            <a:lstStyle/>
            <a:p>
              <a:pPr algn="ctr"/>
              <a:endParaRPr lang="de-DE">
                <a:solidFill>
                  <a:schemeClr val="tx1"/>
                </a:solidFill>
              </a:endParaRPr>
            </a:p>
          </p:txBody>
        </p:sp>
        <p:cxnSp>
          <p:nvCxnSpPr>
            <p:cNvPr id="33" name="Straight Connector 32">
              <a:extLst>
                <a:ext uri="{FF2B5EF4-FFF2-40B4-BE49-F238E27FC236}">
                  <a16:creationId xmlns:a16="http://schemas.microsoft.com/office/drawing/2014/main" id="{908EB67F-D24C-4435-BD0A-C1F78C4B2277}"/>
                </a:ext>
              </a:extLst>
            </p:cNvPr>
            <p:cNvCxnSpPr>
              <a:cxnSpLocks/>
            </p:cNvCxnSpPr>
            <p:nvPr/>
          </p:nvCxnSpPr>
          <p:spPr bwMode="gray">
            <a:xfrm flipH="1">
              <a:off x="12215921" y="2659740"/>
              <a:ext cx="74785" cy="0"/>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2925739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F4F7D-2CCB-4CA7-AFFD-55D74038827F}"/>
              </a:ext>
            </a:extLst>
          </p:cNvPr>
          <p:cNvSpPr>
            <a:spLocks noGrp="1"/>
          </p:cNvSpPr>
          <p:nvPr>
            <p:ph type="title"/>
          </p:nvPr>
        </p:nvSpPr>
        <p:spPr/>
        <p:txBody>
          <a:bodyPr/>
          <a:lstStyle/>
          <a:p>
            <a:r>
              <a:rPr lang="de-DE" dirty="0"/>
              <a:t>Air </a:t>
            </a:r>
            <a:r>
              <a:rPr lang="de-DE" dirty="0" err="1"/>
              <a:t>separation</a:t>
            </a:r>
            <a:r>
              <a:rPr lang="de-DE" dirty="0"/>
              <a:t> </a:t>
            </a:r>
            <a:r>
              <a:rPr lang="de-DE" dirty="0" err="1"/>
              <a:t>unit</a:t>
            </a:r>
            <a:r>
              <a:rPr lang="de-DE" dirty="0"/>
              <a:t> (ASU)</a:t>
            </a:r>
            <a:endParaRPr lang="en-US" dirty="0"/>
          </a:p>
        </p:txBody>
      </p:sp>
      <p:sp>
        <p:nvSpPr>
          <p:cNvPr id="3" name="Footer Placeholder 2">
            <a:extLst>
              <a:ext uri="{FF2B5EF4-FFF2-40B4-BE49-F238E27FC236}">
                <a16:creationId xmlns:a16="http://schemas.microsoft.com/office/drawing/2014/main" id="{5732E45B-BD86-4BEE-AD59-D40AE9AD6F0C}"/>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DAB82839-24AC-4EDE-B3AE-EACC7C6C64C5}"/>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8B603ECC-BDFC-4497-8CD2-ED191CEC041F}"/>
              </a:ext>
            </a:extLst>
          </p:cNvPr>
          <p:cNvSpPr>
            <a:spLocks noGrp="1"/>
          </p:cNvSpPr>
          <p:nvPr>
            <p:ph type="sldNum" sz="quarter" idx="12"/>
          </p:nvPr>
        </p:nvSpPr>
        <p:spPr/>
        <p:txBody>
          <a:bodyPr/>
          <a:lstStyle/>
          <a:p>
            <a:r>
              <a:rPr lang="en-US"/>
              <a:t>Slide </a:t>
            </a:r>
            <a:fld id="{619F89D8-7AE3-494A-97F3-03D680869632}" type="slidenum">
              <a:rPr lang="en-US" smtClean="0"/>
              <a:pPr/>
              <a:t>39</a:t>
            </a:fld>
            <a:endParaRPr lang="en-US" dirty="0"/>
          </a:p>
        </p:txBody>
      </p:sp>
      <p:sp>
        <p:nvSpPr>
          <p:cNvPr id="6" name="Content Placeholder 5">
            <a:extLst>
              <a:ext uri="{FF2B5EF4-FFF2-40B4-BE49-F238E27FC236}">
                <a16:creationId xmlns:a16="http://schemas.microsoft.com/office/drawing/2014/main" id="{7EC1AF45-CE34-4000-B1D3-C095586E07CA}"/>
              </a:ext>
            </a:extLst>
          </p:cNvPr>
          <p:cNvSpPr>
            <a:spLocks noGrp="1"/>
          </p:cNvSpPr>
          <p:nvPr>
            <p:ph sz="quarter" idx="20"/>
          </p:nvPr>
        </p:nvSpPr>
        <p:spPr/>
        <p:txBody>
          <a:bodyPr/>
          <a:lstStyle/>
          <a:p>
            <a:pPr>
              <a:spcBef>
                <a:spcPts val="0"/>
              </a:spcBef>
            </a:pPr>
            <a:r>
              <a:rPr lang="de-DE" dirty="0"/>
              <a:t>ZO23</a:t>
            </a:r>
          </a:p>
          <a:p>
            <a:pPr>
              <a:spcBef>
                <a:spcPts val="0"/>
              </a:spcBef>
            </a:pPr>
            <a:r>
              <a:rPr lang="de-DE" dirty="0">
                <a:solidFill>
                  <a:schemeClr val="tx1"/>
                </a:solidFill>
              </a:rPr>
              <a:t>Zirconium </a:t>
            </a:r>
            <a:r>
              <a:rPr lang="de-DE" dirty="0" err="1">
                <a:solidFill>
                  <a:schemeClr val="tx1"/>
                </a:solidFill>
              </a:rPr>
              <a:t>dioxide</a:t>
            </a:r>
            <a:r>
              <a:rPr lang="de-DE" dirty="0">
                <a:solidFill>
                  <a:schemeClr val="tx1"/>
                </a:solidFill>
              </a:rPr>
              <a:t> </a:t>
            </a:r>
            <a:r>
              <a:rPr lang="de-DE" dirty="0" err="1">
                <a:solidFill>
                  <a:schemeClr val="tx1"/>
                </a:solidFill>
              </a:rPr>
              <a:t>detector</a:t>
            </a:r>
            <a:r>
              <a:rPr lang="de-DE" dirty="0">
                <a:solidFill>
                  <a:schemeClr val="tx1"/>
                </a:solidFill>
              </a:rPr>
              <a:t> – 0 </a:t>
            </a:r>
            <a:r>
              <a:rPr lang="de-DE" dirty="0" err="1">
                <a:solidFill>
                  <a:schemeClr val="tx1"/>
                </a:solidFill>
              </a:rPr>
              <a:t>to</a:t>
            </a:r>
            <a:r>
              <a:rPr lang="de-DE" dirty="0">
                <a:solidFill>
                  <a:schemeClr val="tx1"/>
                </a:solidFill>
              </a:rPr>
              <a:t> 1/10 ppm O</a:t>
            </a:r>
            <a:r>
              <a:rPr lang="de-DE" baseline="-25000" dirty="0">
                <a:solidFill>
                  <a:schemeClr val="tx1"/>
                </a:solidFill>
              </a:rPr>
              <a:t>2</a:t>
            </a:r>
          </a:p>
          <a:p>
            <a:pPr lvl="1">
              <a:spcBef>
                <a:spcPts val="0"/>
              </a:spcBef>
            </a:pPr>
            <a:endParaRPr lang="de-DE" dirty="0"/>
          </a:p>
          <a:p>
            <a:pPr lvl="1">
              <a:spcBef>
                <a:spcPts val="300"/>
              </a:spcBef>
            </a:pPr>
            <a:r>
              <a:rPr lang="de-DE" dirty="0"/>
              <a:t>Trace </a:t>
            </a:r>
            <a:r>
              <a:rPr lang="de-DE" dirty="0" err="1"/>
              <a:t>level</a:t>
            </a:r>
            <a:r>
              <a:rPr lang="de-DE" dirty="0"/>
              <a:t> </a:t>
            </a:r>
            <a:r>
              <a:rPr lang="de-DE" dirty="0" err="1"/>
              <a:t>measurement</a:t>
            </a:r>
            <a:r>
              <a:rPr lang="de-DE" dirty="0"/>
              <a:t> </a:t>
            </a:r>
            <a:r>
              <a:rPr lang="de-DE" dirty="0" err="1"/>
              <a:t>for</a:t>
            </a:r>
            <a:r>
              <a:rPr lang="de-DE" dirty="0"/>
              <a:t> </a:t>
            </a:r>
            <a:r>
              <a:rPr lang="de-DE" dirty="0" err="1"/>
              <a:t>purity</a:t>
            </a:r>
            <a:r>
              <a:rPr lang="de-DE" dirty="0"/>
              <a:t> </a:t>
            </a:r>
            <a:r>
              <a:rPr lang="de-DE" dirty="0" err="1"/>
              <a:t>applications</a:t>
            </a:r>
            <a:endParaRPr lang="de-DE" dirty="0"/>
          </a:p>
          <a:p>
            <a:pPr lvl="1">
              <a:spcBef>
                <a:spcPts val="300"/>
              </a:spcBef>
            </a:pPr>
            <a:r>
              <a:rPr lang="de-DE" dirty="0" err="1"/>
              <a:t>Catalytically</a:t>
            </a:r>
            <a:r>
              <a:rPr lang="de-DE" dirty="0"/>
              <a:t> </a:t>
            </a:r>
            <a:r>
              <a:rPr lang="de-DE" dirty="0" err="1"/>
              <a:t>inactive</a:t>
            </a:r>
            <a:r>
              <a:rPr lang="de-DE" dirty="0"/>
              <a:t> </a:t>
            </a:r>
            <a:r>
              <a:rPr lang="de-DE" dirty="0" err="1"/>
              <a:t>cell</a:t>
            </a:r>
            <a:r>
              <a:rPr lang="de-DE" dirty="0"/>
              <a:t> </a:t>
            </a:r>
            <a:r>
              <a:rPr lang="de-DE" dirty="0" err="1"/>
              <a:t>minimizes</a:t>
            </a:r>
            <a:r>
              <a:rPr lang="de-DE" dirty="0"/>
              <a:t> </a:t>
            </a:r>
            <a:r>
              <a:rPr lang="de-DE" dirty="0" err="1"/>
              <a:t>influence</a:t>
            </a:r>
            <a:r>
              <a:rPr lang="de-DE" dirty="0"/>
              <a:t> </a:t>
            </a:r>
            <a:r>
              <a:rPr lang="de-DE" dirty="0" err="1"/>
              <a:t>from</a:t>
            </a:r>
            <a:r>
              <a:rPr lang="de-DE" dirty="0"/>
              <a:t> </a:t>
            </a:r>
            <a:r>
              <a:rPr lang="de-DE" dirty="0" err="1"/>
              <a:t>flammable</a:t>
            </a:r>
            <a:r>
              <a:rPr lang="de-DE" dirty="0"/>
              <a:t> </a:t>
            </a:r>
            <a:r>
              <a:rPr lang="de-DE" dirty="0" err="1"/>
              <a:t>gases</a:t>
            </a:r>
            <a:endParaRPr lang="de-DE" dirty="0"/>
          </a:p>
          <a:p>
            <a:pPr lvl="1">
              <a:spcBef>
                <a:spcPts val="300"/>
              </a:spcBef>
            </a:pPr>
            <a:r>
              <a:rPr lang="de-DE" dirty="0"/>
              <a:t>Wide </a:t>
            </a:r>
            <a:r>
              <a:rPr lang="de-DE" dirty="0" err="1"/>
              <a:t>dynamic</a:t>
            </a:r>
            <a:r>
              <a:rPr lang="de-DE" dirty="0"/>
              <a:t> </a:t>
            </a:r>
            <a:r>
              <a:rPr lang="de-DE" dirty="0" err="1"/>
              <a:t>range</a:t>
            </a:r>
            <a:r>
              <a:rPr lang="de-DE" dirty="0"/>
              <a:t> </a:t>
            </a:r>
            <a:r>
              <a:rPr lang="de-DE" dirty="0" err="1"/>
              <a:t>for</a:t>
            </a:r>
            <a:r>
              <a:rPr lang="de-DE" dirty="0"/>
              <a:t> </a:t>
            </a:r>
            <a:r>
              <a:rPr lang="de-DE" dirty="0" err="1"/>
              <a:t>start-up</a:t>
            </a:r>
            <a:r>
              <a:rPr lang="de-DE" dirty="0"/>
              <a:t> / </a:t>
            </a:r>
            <a:r>
              <a:rPr lang="de-DE" dirty="0" err="1"/>
              <a:t>shut</a:t>
            </a:r>
            <a:r>
              <a:rPr lang="de-DE" dirty="0"/>
              <a:t>-down </a:t>
            </a:r>
            <a:r>
              <a:rPr lang="de-DE" dirty="0" err="1"/>
              <a:t>operation</a:t>
            </a:r>
            <a:endParaRPr lang="de-DE" dirty="0"/>
          </a:p>
          <a:p>
            <a:pPr lvl="1">
              <a:spcBef>
                <a:spcPts val="300"/>
              </a:spcBef>
            </a:pPr>
            <a:r>
              <a:rPr lang="en-US" dirty="0"/>
              <a:t>T</a:t>
            </a:r>
            <a:r>
              <a:rPr lang="en-US" baseline="-25000" dirty="0"/>
              <a:t>90</a:t>
            </a:r>
            <a:r>
              <a:rPr lang="en-US" dirty="0"/>
              <a:t> response time &lt; 60 sec for the alternation of 2 test gases</a:t>
            </a:r>
            <a:endParaRPr lang="de-DE" dirty="0"/>
          </a:p>
          <a:p>
            <a:pPr lvl="1">
              <a:spcBef>
                <a:spcPts val="300"/>
              </a:spcBef>
            </a:pPr>
            <a:r>
              <a:rPr lang="de-DE" dirty="0" err="1"/>
              <a:t>Automatic</a:t>
            </a:r>
            <a:r>
              <a:rPr lang="de-DE" dirty="0"/>
              <a:t> </a:t>
            </a:r>
            <a:r>
              <a:rPr lang="de-DE" dirty="0" err="1"/>
              <a:t>self</a:t>
            </a:r>
            <a:r>
              <a:rPr lang="de-DE" dirty="0"/>
              <a:t>-check </a:t>
            </a:r>
            <a:r>
              <a:rPr lang="de-DE" dirty="0" err="1"/>
              <a:t>function</a:t>
            </a:r>
            <a:r>
              <a:rPr lang="de-DE" dirty="0"/>
              <a:t> </a:t>
            </a:r>
            <a:r>
              <a:rPr lang="de-DE" dirty="0" err="1"/>
              <a:t>without</a:t>
            </a:r>
            <a:r>
              <a:rPr lang="de-DE" dirty="0"/>
              <a:t> </a:t>
            </a:r>
            <a:r>
              <a:rPr lang="de-DE" dirty="0" err="1"/>
              <a:t>test</a:t>
            </a:r>
            <a:r>
              <a:rPr lang="de-DE" dirty="0"/>
              <a:t> </a:t>
            </a:r>
            <a:r>
              <a:rPr lang="de-DE" dirty="0" err="1"/>
              <a:t>gases</a:t>
            </a:r>
            <a:endParaRPr lang="de-DE" dirty="0"/>
          </a:p>
          <a:p>
            <a:pPr lvl="1">
              <a:spcBef>
                <a:spcPts val="300"/>
              </a:spcBef>
            </a:pPr>
            <a:r>
              <a:rPr lang="de-DE" dirty="0" err="1"/>
              <a:t>Available</a:t>
            </a:r>
            <a:r>
              <a:rPr lang="de-DE" dirty="0"/>
              <a:t> in EL3000 and AO2000 </a:t>
            </a:r>
            <a:r>
              <a:rPr lang="de-DE" dirty="0" err="1"/>
              <a:t>series</a:t>
            </a:r>
            <a:endParaRPr lang="de-DE" dirty="0"/>
          </a:p>
        </p:txBody>
      </p:sp>
      <p:sp>
        <p:nvSpPr>
          <p:cNvPr id="7" name="Content Placeholder 6">
            <a:extLst>
              <a:ext uri="{FF2B5EF4-FFF2-40B4-BE49-F238E27FC236}">
                <a16:creationId xmlns:a16="http://schemas.microsoft.com/office/drawing/2014/main" id="{2ADDC11F-5D49-4BCD-922D-04728BABF3FE}"/>
              </a:ext>
            </a:extLst>
          </p:cNvPr>
          <p:cNvSpPr>
            <a:spLocks noGrp="1"/>
          </p:cNvSpPr>
          <p:nvPr>
            <p:ph sz="quarter" idx="19"/>
          </p:nvPr>
        </p:nvSpPr>
        <p:spPr>
          <a:xfrm>
            <a:off x="793629" y="1989334"/>
            <a:ext cx="3074985" cy="3922777"/>
          </a:xfrm>
        </p:spPr>
        <p:txBody>
          <a:bodyPr/>
          <a:lstStyle/>
          <a:p>
            <a:pPr>
              <a:tabLst>
                <a:tab pos="452438" algn="l"/>
              </a:tabLst>
            </a:pPr>
            <a:r>
              <a:rPr lang="en-US" dirty="0"/>
              <a:t>Nitrogen purity</a:t>
            </a:r>
          </a:p>
          <a:p>
            <a:pPr lvl="1">
              <a:spcBef>
                <a:spcPts val="0"/>
              </a:spcBef>
            </a:pPr>
            <a:endParaRPr lang="en-US" dirty="0"/>
          </a:p>
          <a:p>
            <a:pPr lvl="1">
              <a:spcBef>
                <a:spcPts val="0"/>
              </a:spcBef>
            </a:pPr>
            <a:r>
              <a:rPr lang="en-US" dirty="0"/>
              <a:t>Fuel-cell type oxygen analyzers are often the most hated analyzer in the instrument shack!</a:t>
            </a:r>
          </a:p>
          <a:p>
            <a:pPr lvl="1">
              <a:spcBef>
                <a:spcPts val="0"/>
              </a:spcBef>
            </a:pPr>
            <a:r>
              <a:rPr lang="en-US" dirty="0"/>
              <a:t>Require annual replacement, easily “poisoned” by high O</a:t>
            </a:r>
            <a:r>
              <a:rPr lang="en-US" baseline="-25000" dirty="0"/>
              <a:t>2</a:t>
            </a:r>
            <a:r>
              <a:rPr lang="en-US" dirty="0"/>
              <a:t>, take hours to stabilize after poisoning</a:t>
            </a:r>
          </a:p>
          <a:p>
            <a:pPr lvl="1">
              <a:spcBef>
                <a:spcPts val="0"/>
              </a:spcBef>
            </a:pPr>
            <a:r>
              <a:rPr lang="en-US" dirty="0"/>
              <a:t>During this time, ASU might have returned to stable operation and product is on spec = lost revenue!</a:t>
            </a:r>
          </a:p>
        </p:txBody>
      </p:sp>
      <p:sp>
        <p:nvSpPr>
          <p:cNvPr id="8" name="Subtitle 7">
            <a:extLst>
              <a:ext uri="{FF2B5EF4-FFF2-40B4-BE49-F238E27FC236}">
                <a16:creationId xmlns:a16="http://schemas.microsoft.com/office/drawing/2014/main" id="{8716F94D-E2ED-4522-BA19-0B094F971306}"/>
              </a:ext>
            </a:extLst>
          </p:cNvPr>
          <p:cNvSpPr>
            <a:spLocks noGrp="1"/>
          </p:cNvSpPr>
          <p:nvPr>
            <p:ph type="subTitle" idx="13"/>
          </p:nvPr>
        </p:nvSpPr>
        <p:spPr/>
        <p:txBody>
          <a:bodyPr/>
          <a:lstStyle/>
          <a:p>
            <a:r>
              <a:rPr lang="de-DE" dirty="0"/>
              <a:t>Pain </a:t>
            </a:r>
            <a:r>
              <a:rPr lang="de-DE" dirty="0" err="1"/>
              <a:t>points</a:t>
            </a:r>
            <a:r>
              <a:rPr lang="de-DE" dirty="0"/>
              <a:t> and ABB </a:t>
            </a:r>
            <a:r>
              <a:rPr lang="de-DE" dirty="0" err="1"/>
              <a:t>solution</a:t>
            </a:r>
            <a:endParaRPr lang="en-US" dirty="0"/>
          </a:p>
        </p:txBody>
      </p:sp>
      <p:grpSp>
        <p:nvGrpSpPr>
          <p:cNvPr id="21" name="Group 20">
            <a:extLst>
              <a:ext uri="{FF2B5EF4-FFF2-40B4-BE49-F238E27FC236}">
                <a16:creationId xmlns:a16="http://schemas.microsoft.com/office/drawing/2014/main" id="{5F073BB5-9324-4965-BEF1-26E393AE2CB3}"/>
              </a:ext>
            </a:extLst>
          </p:cNvPr>
          <p:cNvGrpSpPr>
            <a:grpSpLocks noChangeAspect="1"/>
          </p:cNvGrpSpPr>
          <p:nvPr/>
        </p:nvGrpSpPr>
        <p:grpSpPr bwMode="gray">
          <a:xfrm>
            <a:off x="554530" y="1972266"/>
            <a:ext cx="107832" cy="349200"/>
            <a:chOff x="6945796" y="424020"/>
            <a:chExt cx="369775" cy="1197468"/>
          </a:xfrm>
        </p:grpSpPr>
        <p:cxnSp>
          <p:nvCxnSpPr>
            <p:cNvPr id="34" name="Straight Connector 33">
              <a:extLst>
                <a:ext uri="{FF2B5EF4-FFF2-40B4-BE49-F238E27FC236}">
                  <a16:creationId xmlns:a16="http://schemas.microsoft.com/office/drawing/2014/main" id="{E5A9814E-339A-4909-A0FA-D2A9A350F3BB}"/>
                </a:ext>
              </a:extLst>
            </p:cNvPr>
            <p:cNvCxnSpPr>
              <a:cxnSpLocks/>
            </p:cNvCxnSpPr>
            <p:nvPr/>
          </p:nvCxnSpPr>
          <p:spPr bwMode="gray">
            <a:xfrm>
              <a:off x="7031351" y="1002066"/>
              <a:ext cx="0" cy="202767"/>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35" name="Straight Connector 34">
              <a:extLst>
                <a:ext uri="{FF2B5EF4-FFF2-40B4-BE49-F238E27FC236}">
                  <a16:creationId xmlns:a16="http://schemas.microsoft.com/office/drawing/2014/main" id="{D5A6D60E-CFA3-4366-8129-F776B210CE86}"/>
                </a:ext>
              </a:extLst>
            </p:cNvPr>
            <p:cNvCxnSpPr>
              <a:cxnSpLocks/>
            </p:cNvCxnSpPr>
            <p:nvPr/>
          </p:nvCxnSpPr>
          <p:spPr bwMode="gray">
            <a:xfrm>
              <a:off x="7134901" y="1002066"/>
              <a:ext cx="0" cy="202767"/>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36" name="Straight Connector 35">
              <a:extLst>
                <a:ext uri="{FF2B5EF4-FFF2-40B4-BE49-F238E27FC236}">
                  <a16:creationId xmlns:a16="http://schemas.microsoft.com/office/drawing/2014/main" id="{FAE08571-62EF-4EEF-A4BB-62CA66F49F67}"/>
                </a:ext>
              </a:extLst>
            </p:cNvPr>
            <p:cNvCxnSpPr>
              <a:cxnSpLocks/>
            </p:cNvCxnSpPr>
            <p:nvPr/>
          </p:nvCxnSpPr>
          <p:spPr bwMode="gray">
            <a:xfrm>
              <a:off x="7031351" y="1002066"/>
              <a:ext cx="102971" cy="202767"/>
            </a:xfrm>
            <a:prstGeom prst="line">
              <a:avLst/>
            </a:pr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37" name="Rectangle: Rounded Corners 49">
              <a:extLst>
                <a:ext uri="{FF2B5EF4-FFF2-40B4-BE49-F238E27FC236}">
                  <a16:creationId xmlns:a16="http://schemas.microsoft.com/office/drawing/2014/main" id="{E08A2C71-52B0-4B50-86A2-3BEE2A0CB7D7}"/>
                </a:ext>
              </a:extLst>
            </p:cNvPr>
            <p:cNvSpPr/>
            <p:nvPr/>
          </p:nvSpPr>
          <p:spPr bwMode="gray">
            <a:xfrm>
              <a:off x="6945796" y="707314"/>
              <a:ext cx="350177" cy="798970"/>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38" name="Freeform: Shape 37">
              <a:extLst>
                <a:ext uri="{FF2B5EF4-FFF2-40B4-BE49-F238E27FC236}">
                  <a16:creationId xmlns:a16="http://schemas.microsoft.com/office/drawing/2014/main" id="{72177DDE-916F-4822-B453-FB914BC98687}"/>
                </a:ext>
              </a:extLst>
            </p:cNvPr>
            <p:cNvSpPr/>
            <p:nvPr/>
          </p:nvSpPr>
          <p:spPr bwMode="gray">
            <a:xfrm>
              <a:off x="7054635" y="515229"/>
              <a:ext cx="132503" cy="198343"/>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39" name="Straight Connector 38">
              <a:extLst>
                <a:ext uri="{FF2B5EF4-FFF2-40B4-BE49-F238E27FC236}">
                  <a16:creationId xmlns:a16="http://schemas.microsoft.com/office/drawing/2014/main" id="{13802C26-81C2-44A8-A5DD-566044D8515F}"/>
                </a:ext>
              </a:extLst>
            </p:cNvPr>
            <p:cNvCxnSpPr>
              <a:cxnSpLocks/>
            </p:cNvCxnSpPr>
            <p:nvPr/>
          </p:nvCxnSpPr>
          <p:spPr bwMode="gray">
            <a:xfrm>
              <a:off x="7191606" y="616026"/>
              <a:ext cx="123965"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40" name="Rectangle: Rounded Corners 49">
              <a:extLst>
                <a:ext uri="{FF2B5EF4-FFF2-40B4-BE49-F238E27FC236}">
                  <a16:creationId xmlns:a16="http://schemas.microsoft.com/office/drawing/2014/main" id="{8888BD5A-CC8A-4CCB-9844-E33C5F9FDB5B}"/>
                </a:ext>
              </a:extLst>
            </p:cNvPr>
            <p:cNvSpPr/>
            <p:nvPr/>
          </p:nvSpPr>
          <p:spPr bwMode="gray">
            <a:xfrm>
              <a:off x="6945796" y="1506288"/>
              <a:ext cx="350177" cy="1152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41" name="Straight Connector 40">
              <a:extLst>
                <a:ext uri="{FF2B5EF4-FFF2-40B4-BE49-F238E27FC236}">
                  <a16:creationId xmlns:a16="http://schemas.microsoft.com/office/drawing/2014/main" id="{B5E29F15-D523-4C9B-90F4-2F514D6A39A8}"/>
                </a:ext>
              </a:extLst>
            </p:cNvPr>
            <p:cNvCxnSpPr>
              <a:cxnSpLocks/>
            </p:cNvCxnSpPr>
            <p:nvPr/>
          </p:nvCxnSpPr>
          <p:spPr bwMode="gray">
            <a:xfrm>
              <a:off x="7054635" y="438423"/>
              <a:ext cx="132503"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42" name="Straight Connector 41">
              <a:extLst>
                <a:ext uri="{FF2B5EF4-FFF2-40B4-BE49-F238E27FC236}">
                  <a16:creationId xmlns:a16="http://schemas.microsoft.com/office/drawing/2014/main" id="{36888652-5594-4274-9D00-CD59C6B18AE8}"/>
                </a:ext>
              </a:extLst>
            </p:cNvPr>
            <p:cNvCxnSpPr>
              <a:cxnSpLocks/>
            </p:cNvCxnSpPr>
            <p:nvPr/>
          </p:nvCxnSpPr>
          <p:spPr bwMode="gray">
            <a:xfrm>
              <a:off x="7120886" y="424020"/>
              <a:ext cx="0" cy="90712"/>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43" name="Freeform: Shape 42">
              <a:extLst>
                <a:ext uri="{FF2B5EF4-FFF2-40B4-BE49-F238E27FC236}">
                  <a16:creationId xmlns:a16="http://schemas.microsoft.com/office/drawing/2014/main" id="{43B116F6-4D41-46DF-A18C-981C64C1B950}"/>
                </a:ext>
              </a:extLst>
            </p:cNvPr>
            <p:cNvSpPr>
              <a:spLocks noChangeAspect="1"/>
            </p:cNvSpPr>
            <p:nvPr/>
          </p:nvSpPr>
          <p:spPr bwMode="gray">
            <a:xfrm>
              <a:off x="7185454" y="1177039"/>
              <a:ext cx="61725" cy="97804"/>
            </a:xfrm>
            <a:custGeom>
              <a:avLst/>
              <a:gdLst>
                <a:gd name="connsiteX0" fmla="*/ 0 w 89535"/>
                <a:gd name="connsiteY0" fmla="*/ 0 h 68580"/>
                <a:gd name="connsiteX1" fmla="*/ 89535 w 89535"/>
                <a:gd name="connsiteY1" fmla="*/ 68580 h 68580"/>
                <a:gd name="connsiteX0" fmla="*/ 0 w 138637"/>
                <a:gd name="connsiteY0" fmla="*/ 0 h 362909"/>
                <a:gd name="connsiteX1" fmla="*/ 138637 w 138637"/>
                <a:gd name="connsiteY1" fmla="*/ 362909 h 362909"/>
                <a:gd name="connsiteX0" fmla="*/ 0 w 138637"/>
                <a:gd name="connsiteY0" fmla="*/ 0 h 362909"/>
                <a:gd name="connsiteX1" fmla="*/ 67051 w 138637"/>
                <a:gd name="connsiteY1" fmla="*/ 173432 h 362909"/>
                <a:gd name="connsiteX2" fmla="*/ 138637 w 138637"/>
                <a:gd name="connsiteY2" fmla="*/ 362909 h 362909"/>
                <a:gd name="connsiteX0" fmla="*/ 0 w 138637"/>
                <a:gd name="connsiteY0" fmla="*/ 0 h 362909"/>
                <a:gd name="connsiteX1" fmla="*/ 136101 w 138637"/>
                <a:gd name="connsiteY1" fmla="*/ 30554 h 362909"/>
                <a:gd name="connsiteX2" fmla="*/ 138637 w 138637"/>
                <a:gd name="connsiteY2" fmla="*/ 362909 h 362909"/>
                <a:gd name="connsiteX0" fmla="*/ 0 w 138637"/>
                <a:gd name="connsiteY0" fmla="*/ 0 h 362909"/>
                <a:gd name="connsiteX1" fmla="*/ 136101 w 138637"/>
                <a:gd name="connsiteY1" fmla="*/ 30554 h 362909"/>
                <a:gd name="connsiteX2" fmla="*/ 138637 w 138637"/>
                <a:gd name="connsiteY2" fmla="*/ 362909 h 362909"/>
                <a:gd name="connsiteX0" fmla="*/ 0 w 140705"/>
                <a:gd name="connsiteY0" fmla="*/ 0 h 362909"/>
                <a:gd name="connsiteX1" fmla="*/ 140705 w 140705"/>
                <a:gd name="connsiteY1" fmla="*/ 36269 h 362909"/>
                <a:gd name="connsiteX2" fmla="*/ 138637 w 140705"/>
                <a:gd name="connsiteY2" fmla="*/ 362909 h 362909"/>
                <a:gd name="connsiteX0" fmla="*/ 0 w 140705"/>
                <a:gd name="connsiteY0" fmla="*/ 0 h 362909"/>
                <a:gd name="connsiteX1" fmla="*/ 140705 w 140705"/>
                <a:gd name="connsiteY1" fmla="*/ 36269 h 362909"/>
                <a:gd name="connsiteX2" fmla="*/ 138637 w 140705"/>
                <a:gd name="connsiteY2" fmla="*/ 362909 h 362909"/>
                <a:gd name="connsiteX0" fmla="*/ 0 w 160782"/>
                <a:gd name="connsiteY0" fmla="*/ 0 h 362909"/>
                <a:gd name="connsiteX1" fmla="*/ 140705 w 160782"/>
                <a:gd name="connsiteY1" fmla="*/ 36269 h 362909"/>
                <a:gd name="connsiteX2" fmla="*/ 138637 w 160782"/>
                <a:gd name="connsiteY2" fmla="*/ 362909 h 362909"/>
                <a:gd name="connsiteX0" fmla="*/ 0 w 160782"/>
                <a:gd name="connsiteY0" fmla="*/ 22407 h 385316"/>
                <a:gd name="connsiteX1" fmla="*/ 140705 w 160782"/>
                <a:gd name="connsiteY1" fmla="*/ 58676 h 385316"/>
                <a:gd name="connsiteX2" fmla="*/ 138637 w 160782"/>
                <a:gd name="connsiteY2" fmla="*/ 385316 h 385316"/>
                <a:gd name="connsiteX0" fmla="*/ 0 w 160782"/>
                <a:gd name="connsiteY0" fmla="*/ 52045 h 414954"/>
                <a:gd name="connsiteX1" fmla="*/ 140705 w 160782"/>
                <a:gd name="connsiteY1" fmla="*/ 88314 h 414954"/>
                <a:gd name="connsiteX2" fmla="*/ 138637 w 160782"/>
                <a:gd name="connsiteY2" fmla="*/ 414954 h 414954"/>
                <a:gd name="connsiteX0" fmla="*/ 0 w 160782"/>
                <a:gd name="connsiteY0" fmla="*/ 57888 h 420797"/>
                <a:gd name="connsiteX1" fmla="*/ 140705 w 160782"/>
                <a:gd name="connsiteY1" fmla="*/ 94157 h 420797"/>
                <a:gd name="connsiteX2" fmla="*/ 138637 w 160782"/>
                <a:gd name="connsiteY2" fmla="*/ 420797 h 420797"/>
                <a:gd name="connsiteX0" fmla="*/ 0 w 158143"/>
                <a:gd name="connsiteY0" fmla="*/ 55588 h 418497"/>
                <a:gd name="connsiteX1" fmla="*/ 137636 w 158143"/>
                <a:gd name="connsiteY1" fmla="*/ 97572 h 418497"/>
                <a:gd name="connsiteX2" fmla="*/ 138637 w 158143"/>
                <a:gd name="connsiteY2" fmla="*/ 418497 h 418497"/>
                <a:gd name="connsiteX0" fmla="*/ 0 w 138637"/>
                <a:gd name="connsiteY0" fmla="*/ 55588 h 418497"/>
                <a:gd name="connsiteX1" fmla="*/ 137636 w 138637"/>
                <a:gd name="connsiteY1" fmla="*/ 97572 h 418497"/>
                <a:gd name="connsiteX2" fmla="*/ 138637 w 138637"/>
                <a:gd name="connsiteY2" fmla="*/ 418497 h 418497"/>
                <a:gd name="connsiteX0" fmla="*/ 4055 w 141691"/>
                <a:gd name="connsiteY0" fmla="*/ 55588 h 415639"/>
                <a:gd name="connsiteX1" fmla="*/ 141691 w 141691"/>
                <a:gd name="connsiteY1" fmla="*/ 97572 h 415639"/>
                <a:gd name="connsiteX2" fmla="*/ 7662 w 141691"/>
                <a:gd name="connsiteY2" fmla="*/ 415639 h 415639"/>
                <a:gd name="connsiteX0" fmla="*/ 0 w 137636"/>
                <a:gd name="connsiteY0" fmla="*/ 55588 h 415639"/>
                <a:gd name="connsiteX1" fmla="*/ 137636 w 137636"/>
                <a:gd name="connsiteY1" fmla="*/ 97572 h 415639"/>
                <a:gd name="connsiteX2" fmla="*/ 3607 w 137636"/>
                <a:gd name="connsiteY2" fmla="*/ 415639 h 415639"/>
                <a:gd name="connsiteX0" fmla="*/ 0 w 137636"/>
                <a:gd name="connsiteY0" fmla="*/ 52352 h 412403"/>
                <a:gd name="connsiteX1" fmla="*/ 137636 w 137636"/>
                <a:gd name="connsiteY1" fmla="*/ 102909 h 412403"/>
                <a:gd name="connsiteX2" fmla="*/ 3607 w 137636"/>
                <a:gd name="connsiteY2" fmla="*/ 412403 h 412403"/>
                <a:gd name="connsiteX0" fmla="*/ 0 w 134567"/>
                <a:gd name="connsiteY0" fmla="*/ 52352 h 412403"/>
                <a:gd name="connsiteX1" fmla="*/ 134567 w 134567"/>
                <a:gd name="connsiteY1" fmla="*/ 102909 h 412403"/>
                <a:gd name="connsiteX2" fmla="*/ 3607 w 134567"/>
                <a:gd name="connsiteY2" fmla="*/ 412403 h 412403"/>
                <a:gd name="connsiteX0" fmla="*/ 5680 w 140250"/>
                <a:gd name="connsiteY0" fmla="*/ 52352 h 415190"/>
                <a:gd name="connsiteX1" fmla="*/ 140247 w 140250"/>
                <a:gd name="connsiteY1" fmla="*/ 102909 h 415190"/>
                <a:gd name="connsiteX2" fmla="*/ 9820 w 140250"/>
                <a:gd name="connsiteY2" fmla="*/ 382950 h 415190"/>
                <a:gd name="connsiteX3" fmla="*/ 9287 w 140250"/>
                <a:gd name="connsiteY3" fmla="*/ 412403 h 415190"/>
                <a:gd name="connsiteX0" fmla="*/ 0 w 140171"/>
                <a:gd name="connsiteY0" fmla="*/ 52352 h 416750"/>
                <a:gd name="connsiteX1" fmla="*/ 134567 w 140171"/>
                <a:gd name="connsiteY1" fmla="*/ 102909 h 416750"/>
                <a:gd name="connsiteX2" fmla="*/ 4140 w 140171"/>
                <a:gd name="connsiteY2" fmla="*/ 382950 h 416750"/>
                <a:gd name="connsiteX3" fmla="*/ 140171 w 140171"/>
                <a:gd name="connsiteY3" fmla="*/ 415261 h 416750"/>
                <a:gd name="connsiteX0" fmla="*/ 0 w 134570"/>
                <a:gd name="connsiteY0" fmla="*/ 52352 h 566711"/>
                <a:gd name="connsiteX1" fmla="*/ 134567 w 134570"/>
                <a:gd name="connsiteY1" fmla="*/ 102909 h 566711"/>
                <a:gd name="connsiteX2" fmla="*/ 4140 w 134570"/>
                <a:gd name="connsiteY2" fmla="*/ 382950 h 566711"/>
                <a:gd name="connsiteX3" fmla="*/ 68053 w 134570"/>
                <a:gd name="connsiteY3" fmla="*/ 566711 h 566711"/>
                <a:gd name="connsiteX0" fmla="*/ 746 w 135316"/>
                <a:gd name="connsiteY0" fmla="*/ 52352 h 566711"/>
                <a:gd name="connsiteX1" fmla="*/ 135313 w 135316"/>
                <a:gd name="connsiteY1" fmla="*/ 102909 h 566711"/>
                <a:gd name="connsiteX2" fmla="*/ 4886 w 135316"/>
                <a:gd name="connsiteY2" fmla="*/ 382950 h 566711"/>
                <a:gd name="connsiteX3" fmla="*/ 68799 w 135316"/>
                <a:gd name="connsiteY3" fmla="*/ 566711 h 566711"/>
                <a:gd name="connsiteX0" fmla="*/ 0 w 144776"/>
                <a:gd name="connsiteY0" fmla="*/ 52352 h 420976"/>
                <a:gd name="connsiteX1" fmla="*/ 134567 w 144776"/>
                <a:gd name="connsiteY1" fmla="*/ 102909 h 420976"/>
                <a:gd name="connsiteX2" fmla="*/ 4140 w 144776"/>
                <a:gd name="connsiteY2" fmla="*/ 382950 h 420976"/>
                <a:gd name="connsiteX3" fmla="*/ 144775 w 144776"/>
                <a:gd name="connsiteY3" fmla="*/ 420976 h 420976"/>
                <a:gd name="connsiteX0" fmla="*/ 0 w 144775"/>
                <a:gd name="connsiteY0" fmla="*/ 52352 h 421674"/>
                <a:gd name="connsiteX1" fmla="*/ 134567 w 144775"/>
                <a:gd name="connsiteY1" fmla="*/ 102909 h 421674"/>
                <a:gd name="connsiteX2" fmla="*/ 4140 w 144775"/>
                <a:gd name="connsiteY2" fmla="*/ 382950 h 421674"/>
                <a:gd name="connsiteX3" fmla="*/ 144775 w 144775"/>
                <a:gd name="connsiteY3" fmla="*/ 420976 h 421674"/>
                <a:gd name="connsiteX0" fmla="*/ 0 w 140172"/>
                <a:gd name="connsiteY0" fmla="*/ 52352 h 417927"/>
                <a:gd name="connsiteX1" fmla="*/ 134567 w 140172"/>
                <a:gd name="connsiteY1" fmla="*/ 102909 h 417927"/>
                <a:gd name="connsiteX2" fmla="*/ 4140 w 140172"/>
                <a:gd name="connsiteY2" fmla="*/ 382950 h 417927"/>
                <a:gd name="connsiteX3" fmla="*/ 140172 w 140172"/>
                <a:gd name="connsiteY3" fmla="*/ 415261 h 417927"/>
                <a:gd name="connsiteX0" fmla="*/ 1216 w 141388"/>
                <a:gd name="connsiteY0" fmla="*/ 52352 h 430929"/>
                <a:gd name="connsiteX1" fmla="*/ 135783 w 141388"/>
                <a:gd name="connsiteY1" fmla="*/ 102909 h 430929"/>
                <a:gd name="connsiteX2" fmla="*/ 3822 w 141388"/>
                <a:gd name="connsiteY2" fmla="*/ 405811 h 430929"/>
                <a:gd name="connsiteX3" fmla="*/ 141388 w 141388"/>
                <a:gd name="connsiteY3" fmla="*/ 415261 h 430929"/>
                <a:gd name="connsiteX0" fmla="*/ 0 w 140172"/>
                <a:gd name="connsiteY0" fmla="*/ 52352 h 415261"/>
                <a:gd name="connsiteX1" fmla="*/ 134567 w 140172"/>
                <a:gd name="connsiteY1" fmla="*/ 102909 h 415261"/>
                <a:gd name="connsiteX2" fmla="*/ 2606 w 140172"/>
                <a:gd name="connsiteY2" fmla="*/ 405811 h 415261"/>
                <a:gd name="connsiteX3" fmla="*/ 140172 w 140172"/>
                <a:gd name="connsiteY3" fmla="*/ 415261 h 415261"/>
                <a:gd name="connsiteX0" fmla="*/ 463 w 140635"/>
                <a:gd name="connsiteY0" fmla="*/ 52352 h 415512"/>
                <a:gd name="connsiteX1" fmla="*/ 135030 w 140635"/>
                <a:gd name="connsiteY1" fmla="*/ 102909 h 415512"/>
                <a:gd name="connsiteX2" fmla="*/ 0 w 140635"/>
                <a:gd name="connsiteY2" fmla="*/ 414383 h 415512"/>
                <a:gd name="connsiteX3" fmla="*/ 140635 w 140635"/>
                <a:gd name="connsiteY3" fmla="*/ 415261 h 415512"/>
                <a:gd name="connsiteX0" fmla="*/ 463 w 140635"/>
                <a:gd name="connsiteY0" fmla="*/ 52352 h 415261"/>
                <a:gd name="connsiteX1" fmla="*/ 135030 w 140635"/>
                <a:gd name="connsiteY1" fmla="*/ 102909 h 415261"/>
                <a:gd name="connsiteX2" fmla="*/ 0 w 140635"/>
                <a:gd name="connsiteY2" fmla="*/ 408667 h 415261"/>
                <a:gd name="connsiteX3" fmla="*/ 140635 w 140635"/>
                <a:gd name="connsiteY3" fmla="*/ 415261 h 415261"/>
                <a:gd name="connsiteX0" fmla="*/ 463 w 140635"/>
                <a:gd name="connsiteY0" fmla="*/ 52352 h 415510"/>
                <a:gd name="connsiteX1" fmla="*/ 135030 w 140635"/>
                <a:gd name="connsiteY1" fmla="*/ 102909 h 415510"/>
                <a:gd name="connsiteX2" fmla="*/ 0 w 140635"/>
                <a:gd name="connsiteY2" fmla="*/ 414382 h 415510"/>
                <a:gd name="connsiteX3" fmla="*/ 140635 w 140635"/>
                <a:gd name="connsiteY3" fmla="*/ 415261 h 415510"/>
                <a:gd name="connsiteX0" fmla="*/ 463 w 140635"/>
                <a:gd name="connsiteY0" fmla="*/ 52352 h 415510"/>
                <a:gd name="connsiteX1" fmla="*/ 135030 w 140635"/>
                <a:gd name="connsiteY1" fmla="*/ 102909 h 415510"/>
                <a:gd name="connsiteX2" fmla="*/ 0 w 140635"/>
                <a:gd name="connsiteY2" fmla="*/ 414382 h 415510"/>
                <a:gd name="connsiteX3" fmla="*/ 140635 w 140635"/>
                <a:gd name="connsiteY3" fmla="*/ 415261 h 415510"/>
                <a:gd name="connsiteX0" fmla="*/ 636 w 140808"/>
                <a:gd name="connsiteY0" fmla="*/ 52352 h 415510"/>
                <a:gd name="connsiteX1" fmla="*/ 135203 w 140808"/>
                <a:gd name="connsiteY1" fmla="*/ 102909 h 415510"/>
                <a:gd name="connsiteX2" fmla="*/ 173 w 140808"/>
                <a:gd name="connsiteY2" fmla="*/ 414382 h 415510"/>
                <a:gd name="connsiteX3" fmla="*/ 140808 w 140808"/>
                <a:gd name="connsiteY3" fmla="*/ 415261 h 415510"/>
                <a:gd name="connsiteX0" fmla="*/ 637 w 140809"/>
                <a:gd name="connsiteY0" fmla="*/ 52352 h 415510"/>
                <a:gd name="connsiteX1" fmla="*/ 135204 w 140809"/>
                <a:gd name="connsiteY1" fmla="*/ 102909 h 415510"/>
                <a:gd name="connsiteX2" fmla="*/ 174 w 140809"/>
                <a:gd name="connsiteY2" fmla="*/ 414382 h 415510"/>
                <a:gd name="connsiteX3" fmla="*/ 140809 w 140809"/>
                <a:gd name="connsiteY3" fmla="*/ 415261 h 415510"/>
                <a:gd name="connsiteX0" fmla="*/ 0 w 140172"/>
                <a:gd name="connsiteY0" fmla="*/ 52352 h 415510"/>
                <a:gd name="connsiteX1" fmla="*/ 134567 w 140172"/>
                <a:gd name="connsiteY1" fmla="*/ 102909 h 415510"/>
                <a:gd name="connsiteX2" fmla="*/ 1071 w 140172"/>
                <a:gd name="connsiteY2" fmla="*/ 414382 h 415510"/>
                <a:gd name="connsiteX3" fmla="*/ 140172 w 140172"/>
                <a:gd name="connsiteY3" fmla="*/ 415261 h 415510"/>
                <a:gd name="connsiteX0" fmla="*/ 0 w 141706"/>
                <a:gd name="connsiteY0" fmla="*/ 52352 h 415510"/>
                <a:gd name="connsiteX1" fmla="*/ 134567 w 141706"/>
                <a:gd name="connsiteY1" fmla="*/ 102909 h 415510"/>
                <a:gd name="connsiteX2" fmla="*/ 1071 w 141706"/>
                <a:gd name="connsiteY2" fmla="*/ 414382 h 415510"/>
                <a:gd name="connsiteX3" fmla="*/ 141706 w 141706"/>
                <a:gd name="connsiteY3" fmla="*/ 415261 h 415510"/>
                <a:gd name="connsiteX0" fmla="*/ 2175 w 140812"/>
                <a:gd name="connsiteY0" fmla="*/ 52353 h 415510"/>
                <a:gd name="connsiteX1" fmla="*/ 133673 w 140812"/>
                <a:gd name="connsiteY1" fmla="*/ 102909 h 415510"/>
                <a:gd name="connsiteX2" fmla="*/ 177 w 140812"/>
                <a:gd name="connsiteY2" fmla="*/ 414382 h 415510"/>
                <a:gd name="connsiteX3" fmla="*/ 140812 w 140812"/>
                <a:gd name="connsiteY3" fmla="*/ 415261 h 415510"/>
              </a:gdLst>
              <a:ahLst/>
              <a:cxnLst>
                <a:cxn ang="0">
                  <a:pos x="connsiteX0" y="connsiteY0"/>
                </a:cxn>
                <a:cxn ang="0">
                  <a:pos x="connsiteX1" y="connsiteY1"/>
                </a:cxn>
                <a:cxn ang="0">
                  <a:pos x="connsiteX2" y="connsiteY2"/>
                </a:cxn>
                <a:cxn ang="0">
                  <a:pos x="connsiteX3" y="connsiteY3"/>
                </a:cxn>
              </a:cxnLst>
              <a:rect l="l" t="t" r="r" b="b"/>
              <a:pathLst>
                <a:path w="140812" h="415510">
                  <a:moveTo>
                    <a:pt x="2175" y="52353"/>
                  </a:moveTo>
                  <a:cubicBezTo>
                    <a:pt x="36801" y="-34619"/>
                    <a:pt x="132804" y="-10148"/>
                    <a:pt x="133673" y="102909"/>
                  </a:cubicBezTo>
                  <a:cubicBezTo>
                    <a:pt x="132829" y="255166"/>
                    <a:pt x="-5616" y="171344"/>
                    <a:pt x="177" y="414382"/>
                  </a:cubicBezTo>
                  <a:cubicBezTo>
                    <a:pt x="50469" y="417385"/>
                    <a:pt x="56506" y="413209"/>
                    <a:pt x="140812" y="415261"/>
                  </a:cubicBezTo>
                </a:path>
              </a:pathLst>
            </a:custGeom>
            <a:noFill/>
            <a:ln w="1270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dirty="0"/>
            </a:p>
          </p:txBody>
        </p:sp>
      </p:grpSp>
    </p:spTree>
    <p:extLst>
      <p:ext uri="{BB962C8B-B14F-4D97-AF65-F5344CB8AC3E}">
        <p14:creationId xmlns:p14="http://schemas.microsoft.com/office/powerpoint/2010/main" val="2755446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C283EB-C799-4D19-AA50-AB8408790876}"/>
              </a:ext>
            </a:extLst>
          </p:cNvPr>
          <p:cNvSpPr>
            <a:spLocks noGrp="1"/>
          </p:cNvSpPr>
          <p:nvPr>
            <p:ph type="title"/>
          </p:nvPr>
        </p:nvSpPr>
        <p:spPr/>
        <p:txBody>
          <a:bodyPr/>
          <a:lstStyle/>
          <a:p>
            <a:r>
              <a:rPr lang="de-DE" dirty="0"/>
              <a:t>Pure </a:t>
            </a:r>
            <a:r>
              <a:rPr lang="de-DE" dirty="0" err="1"/>
              <a:t>class</a:t>
            </a:r>
            <a:r>
              <a:rPr lang="de-DE" dirty="0"/>
              <a:t> </a:t>
            </a:r>
            <a:r>
              <a:rPr lang="de-DE" dirty="0" err="1"/>
              <a:t>for</a:t>
            </a:r>
            <a:r>
              <a:rPr lang="de-DE" dirty="0"/>
              <a:t> </a:t>
            </a:r>
            <a:r>
              <a:rPr lang="de-DE" dirty="0" err="1"/>
              <a:t>industrial</a:t>
            </a:r>
            <a:r>
              <a:rPr lang="de-DE" dirty="0"/>
              <a:t> gas</a:t>
            </a:r>
            <a:endParaRPr lang="en-US" dirty="0"/>
          </a:p>
        </p:txBody>
      </p:sp>
      <p:sp>
        <p:nvSpPr>
          <p:cNvPr id="3" name="Footer Placeholder 2">
            <a:extLst>
              <a:ext uri="{FF2B5EF4-FFF2-40B4-BE49-F238E27FC236}">
                <a16:creationId xmlns:a16="http://schemas.microsoft.com/office/drawing/2014/main" id="{867C8F47-014F-45F6-9FB6-8F0481802290}"/>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0330071C-BAA1-4E61-B4E0-0BA4BC6E1652}"/>
              </a:ext>
            </a:extLst>
          </p:cNvPr>
          <p:cNvSpPr>
            <a:spLocks noGrp="1"/>
          </p:cNvSpPr>
          <p:nvPr>
            <p:ph type="dt" sz="half" idx="11"/>
          </p:nvPr>
        </p:nvSpPr>
        <p:spPr/>
        <p:txBody>
          <a:bodyPr/>
          <a:lstStyle/>
          <a:p>
            <a:fld id="{E78EC23C-A2EE-4E37-B3CA-EB5FB6E0A626}"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6127C301-B282-496F-9AAC-12160405D8BF}"/>
              </a:ext>
            </a:extLst>
          </p:cNvPr>
          <p:cNvSpPr>
            <a:spLocks noGrp="1"/>
          </p:cNvSpPr>
          <p:nvPr>
            <p:ph type="sldNum" sz="quarter" idx="12"/>
          </p:nvPr>
        </p:nvSpPr>
        <p:spPr/>
        <p:txBody>
          <a:bodyPr/>
          <a:lstStyle/>
          <a:p>
            <a:r>
              <a:rPr lang="en-US"/>
              <a:t>Slide </a:t>
            </a:r>
            <a:fld id="{619F89D8-7AE3-494A-97F3-03D680869632}" type="slidenum">
              <a:rPr lang="en-US" smtClean="0"/>
              <a:pPr/>
              <a:t>4</a:t>
            </a:fld>
            <a:endParaRPr lang="en-US" dirty="0"/>
          </a:p>
        </p:txBody>
      </p:sp>
      <p:sp>
        <p:nvSpPr>
          <p:cNvPr id="6" name="Text Placeholder 5">
            <a:extLst>
              <a:ext uri="{FF2B5EF4-FFF2-40B4-BE49-F238E27FC236}">
                <a16:creationId xmlns:a16="http://schemas.microsoft.com/office/drawing/2014/main" id="{CCD18A68-0E0D-497D-9272-FE4272E76224}"/>
              </a:ext>
            </a:extLst>
          </p:cNvPr>
          <p:cNvSpPr>
            <a:spLocks noGrp="1"/>
          </p:cNvSpPr>
          <p:nvPr>
            <p:ph type="body" sz="quarter" idx="16"/>
          </p:nvPr>
        </p:nvSpPr>
        <p:spPr/>
        <p:txBody>
          <a:bodyPr/>
          <a:lstStyle/>
          <a:p>
            <a:pPr algn="ctr"/>
            <a:r>
              <a:rPr lang="de-DE" dirty="0" err="1"/>
              <a:t>Continuous</a:t>
            </a:r>
            <a:r>
              <a:rPr lang="de-DE" dirty="0"/>
              <a:t> Gas </a:t>
            </a:r>
            <a:r>
              <a:rPr lang="de-DE" dirty="0" err="1"/>
              <a:t>Analyzers</a:t>
            </a:r>
            <a:endParaRPr lang="en-US" dirty="0"/>
          </a:p>
        </p:txBody>
      </p:sp>
      <p:sp>
        <p:nvSpPr>
          <p:cNvPr id="8" name="Text Placeholder 7">
            <a:extLst>
              <a:ext uri="{FF2B5EF4-FFF2-40B4-BE49-F238E27FC236}">
                <a16:creationId xmlns:a16="http://schemas.microsoft.com/office/drawing/2014/main" id="{5357A048-C04D-47BC-B30E-C577B2FD56DC}"/>
              </a:ext>
            </a:extLst>
          </p:cNvPr>
          <p:cNvSpPr>
            <a:spLocks noGrp="1"/>
          </p:cNvSpPr>
          <p:nvPr>
            <p:ph type="body" sz="quarter" idx="24"/>
          </p:nvPr>
        </p:nvSpPr>
        <p:spPr/>
        <p:txBody>
          <a:bodyPr/>
          <a:lstStyle/>
          <a:p>
            <a:pPr algn="ctr"/>
            <a:r>
              <a:rPr lang="de-DE" dirty="0" err="1"/>
              <a:t>Process</a:t>
            </a:r>
            <a:r>
              <a:rPr lang="de-DE" dirty="0"/>
              <a:t> Gas </a:t>
            </a:r>
            <a:r>
              <a:rPr lang="de-DE" dirty="0" err="1"/>
              <a:t>Chromatographs</a:t>
            </a:r>
            <a:endParaRPr lang="en-US" dirty="0"/>
          </a:p>
        </p:txBody>
      </p:sp>
      <p:sp>
        <p:nvSpPr>
          <p:cNvPr id="10" name="Text Placeholder 9">
            <a:extLst>
              <a:ext uri="{FF2B5EF4-FFF2-40B4-BE49-F238E27FC236}">
                <a16:creationId xmlns:a16="http://schemas.microsoft.com/office/drawing/2014/main" id="{90D519BF-C721-4600-8C5F-ED62C3AD6457}"/>
              </a:ext>
            </a:extLst>
          </p:cNvPr>
          <p:cNvSpPr>
            <a:spLocks noGrp="1"/>
          </p:cNvSpPr>
          <p:nvPr>
            <p:ph type="body" sz="quarter" idx="26"/>
          </p:nvPr>
        </p:nvSpPr>
        <p:spPr/>
        <p:txBody>
          <a:bodyPr/>
          <a:lstStyle/>
          <a:p>
            <a:pPr algn="ctr"/>
            <a:r>
              <a:rPr lang="de-DE" dirty="0"/>
              <a:t>Off-Axis ICOS </a:t>
            </a:r>
            <a:r>
              <a:rPr lang="de-DE" dirty="0" err="1"/>
              <a:t>laser</a:t>
            </a:r>
            <a:r>
              <a:rPr lang="de-DE" dirty="0"/>
              <a:t> </a:t>
            </a:r>
            <a:r>
              <a:rPr lang="de-DE" dirty="0" err="1"/>
              <a:t>technology</a:t>
            </a:r>
            <a:endParaRPr lang="en-US" dirty="0"/>
          </a:p>
        </p:txBody>
      </p:sp>
      <p:sp>
        <p:nvSpPr>
          <p:cNvPr id="12" name="Text Placeholder 11">
            <a:extLst>
              <a:ext uri="{FF2B5EF4-FFF2-40B4-BE49-F238E27FC236}">
                <a16:creationId xmlns:a16="http://schemas.microsoft.com/office/drawing/2014/main" id="{5AA089FC-0DD9-4ABB-B573-019E6DB49825}"/>
              </a:ext>
            </a:extLst>
          </p:cNvPr>
          <p:cNvSpPr>
            <a:spLocks noGrp="1"/>
          </p:cNvSpPr>
          <p:nvPr>
            <p:ph type="body" sz="quarter" idx="28"/>
          </p:nvPr>
        </p:nvSpPr>
        <p:spPr/>
        <p:txBody>
          <a:bodyPr/>
          <a:lstStyle/>
          <a:p>
            <a:pPr algn="ctr"/>
            <a:r>
              <a:rPr lang="de-DE" dirty="0" err="1"/>
              <a:t>Comprehensive</a:t>
            </a:r>
            <a:r>
              <a:rPr lang="de-DE" dirty="0"/>
              <a:t> </a:t>
            </a:r>
            <a:r>
              <a:rPr lang="de-DE" dirty="0" err="1"/>
              <a:t>offering</a:t>
            </a:r>
            <a:r>
              <a:rPr lang="de-DE" dirty="0"/>
              <a:t> </a:t>
            </a:r>
            <a:r>
              <a:rPr lang="de-DE" dirty="0" err="1"/>
              <a:t>for</a:t>
            </a:r>
            <a:r>
              <a:rPr lang="de-DE" dirty="0"/>
              <a:t> </a:t>
            </a:r>
            <a:r>
              <a:rPr lang="de-DE" dirty="0" err="1"/>
              <a:t>the</a:t>
            </a:r>
            <a:r>
              <a:rPr lang="de-DE" dirty="0"/>
              <a:t> Industrial Gases </a:t>
            </a:r>
            <a:r>
              <a:rPr lang="de-DE" dirty="0" err="1"/>
              <a:t>sector</a:t>
            </a:r>
            <a:endParaRPr lang="en-US" dirty="0"/>
          </a:p>
        </p:txBody>
      </p:sp>
      <p:sp>
        <p:nvSpPr>
          <p:cNvPr id="13" name="Subtitle 12">
            <a:extLst>
              <a:ext uri="{FF2B5EF4-FFF2-40B4-BE49-F238E27FC236}">
                <a16:creationId xmlns:a16="http://schemas.microsoft.com/office/drawing/2014/main" id="{02CAAB55-7B78-43FB-B248-8D85F3E6A9EE}"/>
              </a:ext>
            </a:extLst>
          </p:cNvPr>
          <p:cNvSpPr>
            <a:spLocks noGrp="1"/>
          </p:cNvSpPr>
          <p:nvPr>
            <p:ph type="subTitle" idx="13"/>
          </p:nvPr>
        </p:nvSpPr>
        <p:spPr/>
        <p:txBody>
          <a:bodyPr/>
          <a:lstStyle/>
          <a:p>
            <a:r>
              <a:rPr lang="de-DE" dirty="0"/>
              <a:t>Market </a:t>
            </a:r>
            <a:r>
              <a:rPr lang="de-DE" dirty="0" err="1"/>
              <a:t>leading</a:t>
            </a:r>
            <a:r>
              <a:rPr lang="de-DE" dirty="0"/>
              <a:t> gas </a:t>
            </a:r>
            <a:r>
              <a:rPr lang="de-DE" dirty="0" err="1"/>
              <a:t>analyzer</a:t>
            </a:r>
            <a:r>
              <a:rPr lang="de-DE" dirty="0"/>
              <a:t> </a:t>
            </a:r>
            <a:r>
              <a:rPr lang="de-DE" dirty="0" err="1"/>
              <a:t>solutions</a:t>
            </a:r>
            <a:endParaRPr lang="en-US" dirty="0"/>
          </a:p>
        </p:txBody>
      </p:sp>
      <p:pic>
        <p:nvPicPr>
          <p:cNvPr id="14" name="Content Placeholder 13">
            <a:extLst>
              <a:ext uri="{FF2B5EF4-FFF2-40B4-BE49-F238E27FC236}">
                <a16:creationId xmlns:a16="http://schemas.microsoft.com/office/drawing/2014/main" id="{B01E2D1A-71CF-4ABC-9AA6-E3E446A5D718}"/>
              </a:ext>
            </a:extLst>
          </p:cNvPr>
          <p:cNvPicPr>
            <a:picLocks noGrp="1" noChangeAspect="1"/>
          </p:cNvPicPr>
          <p:nvPr>
            <p:ph sz="quarter" idx="23"/>
          </p:nvPr>
        </p:nvPicPr>
        <p:blipFill rotWithShape="1">
          <a:blip r:embed="rId2" cstate="screen">
            <a:extLst>
              <a:ext uri="{28A0092B-C50C-407E-A947-70E740481C1C}">
                <a14:useLocalDpi xmlns:a14="http://schemas.microsoft.com/office/drawing/2010/main"/>
              </a:ext>
            </a:extLst>
          </a:blip>
          <a:srcRect l="5303" t="-735" r="8763" b="8790"/>
          <a:stretch/>
        </p:blipFill>
        <p:spPr>
          <a:xfrm>
            <a:off x="336550" y="2569085"/>
            <a:ext cx="3639913" cy="2509521"/>
          </a:xfrm>
          <a:prstGeom prst="rect">
            <a:avLst/>
          </a:prstGeom>
          <a:solidFill>
            <a:schemeClr val="bg1"/>
          </a:solidFill>
        </p:spPr>
      </p:pic>
      <p:pic>
        <p:nvPicPr>
          <p:cNvPr id="15" name="Content Placeholder 9">
            <a:extLst>
              <a:ext uri="{FF2B5EF4-FFF2-40B4-BE49-F238E27FC236}">
                <a16:creationId xmlns:a16="http://schemas.microsoft.com/office/drawing/2014/main" id="{4022F610-7C69-4F69-855F-14230B5F18A3}"/>
              </a:ext>
            </a:extLst>
          </p:cNvPr>
          <p:cNvPicPr>
            <a:picLocks noChangeAspect="1"/>
          </p:cNvPicPr>
          <p:nvPr/>
        </p:nvPicPr>
        <p:blipFill>
          <a:blip r:embed="rId3"/>
          <a:stretch>
            <a:fillRect/>
          </a:stretch>
        </p:blipFill>
        <p:spPr>
          <a:xfrm>
            <a:off x="4375136" y="3407564"/>
            <a:ext cx="1391205" cy="869503"/>
          </a:xfrm>
          <a:prstGeom prst="rect">
            <a:avLst/>
          </a:prstGeom>
        </p:spPr>
      </p:pic>
      <p:grpSp>
        <p:nvGrpSpPr>
          <p:cNvPr id="19" name="Group 18">
            <a:extLst>
              <a:ext uri="{FF2B5EF4-FFF2-40B4-BE49-F238E27FC236}">
                <a16:creationId xmlns:a16="http://schemas.microsoft.com/office/drawing/2014/main" id="{278FA54C-0084-45BF-9D35-D81D8F0B12D6}"/>
              </a:ext>
            </a:extLst>
          </p:cNvPr>
          <p:cNvGrpSpPr>
            <a:grpSpLocks noChangeAspect="1"/>
          </p:cNvGrpSpPr>
          <p:nvPr/>
        </p:nvGrpSpPr>
        <p:grpSpPr>
          <a:xfrm>
            <a:off x="4522310" y="2778887"/>
            <a:ext cx="3155233" cy="2061995"/>
            <a:chOff x="6539608" y="1878927"/>
            <a:chExt cx="4866470" cy="3180316"/>
          </a:xfrm>
        </p:grpSpPr>
        <p:pic>
          <p:nvPicPr>
            <p:cNvPr id="16" name="Picture 15">
              <a:extLst>
                <a:ext uri="{FF2B5EF4-FFF2-40B4-BE49-F238E27FC236}">
                  <a16:creationId xmlns:a16="http://schemas.microsoft.com/office/drawing/2014/main" id="{3D7C473B-32FC-4349-BEC6-49E2CB590351}"/>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4250" b="77750" l="10000" r="90000">
                          <a14:foregroundMark x1="27000" y1="4250" x2="27000" y2="4250"/>
                          <a14:foregroundMark x1="53000" y1="6250" x2="53000" y2="6250"/>
                          <a14:foregroundMark x1="52000" y1="6000" x2="52000" y2="6000"/>
                          <a14:foregroundMark x1="25000" y1="29750" x2="25000" y2="29750"/>
                          <a14:foregroundMark x1="25250" y1="68250" x2="25250" y2="68250"/>
                          <a14:foregroundMark x1="26750" y1="74750" x2="26750" y2="74750"/>
                          <a14:foregroundMark x1="28250" y1="77750" x2="28250" y2="77750"/>
                        </a14:backgroundRemoval>
                      </a14:imgEffect>
                    </a14:imgLayer>
                  </a14:imgProps>
                </a:ext>
              </a:extLst>
            </a:blip>
            <a:srcRect b="21647"/>
            <a:stretch/>
          </p:blipFill>
          <p:spPr>
            <a:xfrm>
              <a:off x="7274859" y="1878927"/>
              <a:ext cx="3608294" cy="2827204"/>
            </a:xfrm>
            <a:prstGeom prst="rect">
              <a:avLst/>
            </a:prstGeom>
          </p:spPr>
        </p:pic>
        <p:pic>
          <p:nvPicPr>
            <p:cNvPr id="17" name="Picture 16">
              <a:extLst>
                <a:ext uri="{FF2B5EF4-FFF2-40B4-BE49-F238E27FC236}">
                  <a16:creationId xmlns:a16="http://schemas.microsoft.com/office/drawing/2014/main" id="{8B7E8B76-E64E-4ACA-8AF0-DD0B7A015F39}"/>
                </a:ext>
              </a:extLst>
            </p:cNvPr>
            <p:cNvPicPr>
              <a:picLocks noChangeAspect="1"/>
            </p:cNvPicPr>
            <p:nvPr/>
          </p:nvPicPr>
          <p:blipFill rotWithShape="1">
            <a:blip r:embed="rId6">
              <a:extLst>
                <a:ext uri="{BEBA8EAE-BF5A-486C-A8C5-ECC9F3942E4B}">
                  <a14:imgProps xmlns:a14="http://schemas.microsoft.com/office/drawing/2010/main">
                    <a14:imgLayer r:embed="rId7">
                      <a14:imgEffect>
                        <a14:backgroundRemoval t="4250" b="68000" l="10000" r="90000">
                          <a14:foregroundMark x1="18750" y1="4250" x2="18750" y2="4250"/>
                          <a14:foregroundMark x1="84500" y1="28250" x2="84500" y2="28250"/>
                          <a14:foregroundMark x1="85250" y1="28500" x2="85250" y2="28500"/>
                          <a14:foregroundMark x1="19750" y1="67750" x2="19750" y2="67750"/>
                          <a14:foregroundMark x1="22500" y1="68000" x2="22500" y2="68000"/>
                        </a14:backgroundRemoval>
                      </a14:imgEffect>
                    </a14:imgLayer>
                  </a14:imgProps>
                </a:ext>
              </a:extLst>
            </a:blip>
            <a:srcRect b="31252"/>
            <a:stretch/>
          </p:blipFill>
          <p:spPr>
            <a:xfrm>
              <a:off x="8530367" y="3082233"/>
              <a:ext cx="2875711" cy="1977010"/>
            </a:xfrm>
            <a:prstGeom prst="rect">
              <a:avLst/>
            </a:prstGeom>
          </p:spPr>
        </p:pic>
        <p:pic>
          <p:nvPicPr>
            <p:cNvPr id="18" name="Content Placeholder 28">
              <a:extLst>
                <a:ext uri="{FF2B5EF4-FFF2-40B4-BE49-F238E27FC236}">
                  <a16:creationId xmlns:a16="http://schemas.microsoft.com/office/drawing/2014/main" id="{FF1A0224-1915-4A69-A91B-5A647D7FC4FD}"/>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4750" b="46750" l="2000" r="96500">
                          <a14:foregroundMark x1="3000" y1="14250" x2="3000" y2="14250"/>
                          <a14:foregroundMark x1="2000" y1="14250" x2="2000" y2="14250"/>
                          <a14:foregroundMark x1="2500" y1="39500" x2="2500" y2="39500"/>
                          <a14:foregroundMark x1="5000" y1="32250" x2="5000" y2="32250"/>
                          <a14:foregroundMark x1="5000" y1="26250" x2="5000" y2="26250"/>
                          <a14:foregroundMark x1="5500" y1="17000" x2="5500" y2="17000"/>
                          <a14:foregroundMark x1="5500" y1="9750" x2="18000" y2="10000"/>
                          <a14:foregroundMark x1="18000" y1="10000" x2="33250" y2="10000"/>
                          <a14:foregroundMark x1="33250" y1="10000" x2="91250" y2="10000"/>
                          <a14:foregroundMark x1="91250" y1="10000" x2="96250" y2="9750"/>
                          <a14:foregroundMark x1="96250" y1="11750" x2="96250" y2="44000"/>
                          <a14:foregroundMark x1="5750" y1="46000" x2="61500" y2="46500"/>
                          <a14:foregroundMark x1="61500" y1="46500" x2="77000" y2="46250"/>
                          <a14:foregroundMark x1="77000" y1="46250" x2="96500" y2="46750"/>
                          <a14:foregroundMark x1="5500" y1="12250" x2="5750" y2="45500"/>
                          <a14:foregroundMark x1="55250" y1="26250" x2="55250" y2="26250"/>
                          <a14:foregroundMark x1="67500" y1="27500" x2="67500" y2="27500"/>
                          <a14:foregroundMark x1="70250" y1="22500" x2="70250" y2="22500"/>
                          <a14:foregroundMark x1="65000" y1="22000" x2="65000" y2="22000"/>
                          <a14:foregroundMark x1="61250" y1="19250" x2="75750" y2="19500"/>
                          <a14:foregroundMark x1="75750" y1="19500" x2="81750" y2="31750"/>
                          <a14:foregroundMark x1="81750" y1="31750" x2="69250" y2="36500"/>
                          <a14:foregroundMark x1="69250" y1="36500" x2="58500" y2="29000"/>
                          <a14:foregroundMark x1="58500" y1="29000" x2="61250" y2="19000"/>
                          <a14:foregroundMark x1="69750" y1="15250" x2="69750" y2="15250"/>
                          <a14:foregroundMark x1="75500" y1="24500" x2="75500" y2="24500"/>
                          <a14:foregroundMark x1="82500" y1="24500" x2="82500" y2="24500"/>
                          <a14:foregroundMark x1="68500" y1="25250" x2="68500" y2="25250"/>
                          <a14:foregroundMark x1="62500" y1="38000" x2="62500" y2="38000"/>
                        </a14:backgroundRemoval>
                      </a14:imgEffect>
                    </a14:imgLayer>
                  </a14:imgProps>
                </a:ext>
              </a:extLst>
            </a:blip>
            <a:srcRect b="52232"/>
            <a:stretch/>
          </p:blipFill>
          <p:spPr bwMode="gray">
            <a:xfrm>
              <a:off x="6539608" y="3940922"/>
              <a:ext cx="2035550" cy="972348"/>
            </a:xfrm>
            <a:prstGeom prst="rect">
              <a:avLst/>
            </a:prstGeom>
          </p:spPr>
        </p:pic>
      </p:grpSp>
      <p:pic>
        <p:nvPicPr>
          <p:cNvPr id="20" name="Content Placeholder 18">
            <a:extLst>
              <a:ext uri="{FF2B5EF4-FFF2-40B4-BE49-F238E27FC236}">
                <a16:creationId xmlns:a16="http://schemas.microsoft.com/office/drawing/2014/main" id="{D7971209-A16C-4D64-AC32-102C5B1CD2B7}"/>
              </a:ext>
            </a:extLst>
          </p:cNvPr>
          <p:cNvPicPr>
            <a:picLocks noChangeAspect="1"/>
          </p:cNvPicPr>
          <p:nvPr/>
        </p:nvPicPr>
        <p:blipFill>
          <a:blip r:embed="rId10"/>
          <a:stretch>
            <a:fillRect/>
          </a:stretch>
        </p:blipFill>
        <p:spPr>
          <a:xfrm>
            <a:off x="8828638" y="2545818"/>
            <a:ext cx="2494618" cy="2494618"/>
          </a:xfrm>
          <a:prstGeom prst="rect">
            <a:avLst/>
          </a:prstGeom>
        </p:spPr>
      </p:pic>
    </p:spTree>
    <p:extLst>
      <p:ext uri="{BB962C8B-B14F-4D97-AF65-F5344CB8AC3E}">
        <p14:creationId xmlns:p14="http://schemas.microsoft.com/office/powerpoint/2010/main" val="64234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F4F7D-2CCB-4CA7-AFFD-55D74038827F}"/>
              </a:ext>
            </a:extLst>
          </p:cNvPr>
          <p:cNvSpPr>
            <a:spLocks noGrp="1"/>
          </p:cNvSpPr>
          <p:nvPr>
            <p:ph type="title"/>
          </p:nvPr>
        </p:nvSpPr>
        <p:spPr/>
        <p:txBody>
          <a:bodyPr/>
          <a:lstStyle/>
          <a:p>
            <a:r>
              <a:rPr lang="de-DE" dirty="0"/>
              <a:t>Air </a:t>
            </a:r>
            <a:r>
              <a:rPr lang="de-DE" dirty="0" err="1"/>
              <a:t>separation</a:t>
            </a:r>
            <a:r>
              <a:rPr lang="de-DE" dirty="0"/>
              <a:t> </a:t>
            </a:r>
            <a:r>
              <a:rPr lang="de-DE" dirty="0" err="1"/>
              <a:t>unit</a:t>
            </a:r>
            <a:r>
              <a:rPr lang="de-DE" dirty="0"/>
              <a:t> (ASU)</a:t>
            </a:r>
            <a:endParaRPr lang="en-US" dirty="0"/>
          </a:p>
        </p:txBody>
      </p:sp>
      <p:sp>
        <p:nvSpPr>
          <p:cNvPr id="3" name="Footer Placeholder 2">
            <a:extLst>
              <a:ext uri="{FF2B5EF4-FFF2-40B4-BE49-F238E27FC236}">
                <a16:creationId xmlns:a16="http://schemas.microsoft.com/office/drawing/2014/main" id="{5732E45B-BD86-4BEE-AD59-D40AE9AD6F0C}"/>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DAB82839-24AC-4EDE-B3AE-EACC7C6C64C5}"/>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8B603ECC-BDFC-4497-8CD2-ED191CEC041F}"/>
              </a:ext>
            </a:extLst>
          </p:cNvPr>
          <p:cNvSpPr>
            <a:spLocks noGrp="1"/>
          </p:cNvSpPr>
          <p:nvPr>
            <p:ph type="sldNum" sz="quarter" idx="12"/>
          </p:nvPr>
        </p:nvSpPr>
        <p:spPr/>
        <p:txBody>
          <a:bodyPr/>
          <a:lstStyle/>
          <a:p>
            <a:r>
              <a:rPr lang="en-US"/>
              <a:t>Slide </a:t>
            </a:r>
            <a:fld id="{619F89D8-7AE3-494A-97F3-03D680869632}" type="slidenum">
              <a:rPr lang="en-US" smtClean="0"/>
              <a:pPr/>
              <a:t>40</a:t>
            </a:fld>
            <a:endParaRPr lang="en-US" dirty="0"/>
          </a:p>
        </p:txBody>
      </p:sp>
      <p:sp>
        <p:nvSpPr>
          <p:cNvPr id="6" name="Content Placeholder 5">
            <a:extLst>
              <a:ext uri="{FF2B5EF4-FFF2-40B4-BE49-F238E27FC236}">
                <a16:creationId xmlns:a16="http://schemas.microsoft.com/office/drawing/2014/main" id="{7EC1AF45-CE34-4000-B1D3-C095586E07CA}"/>
              </a:ext>
            </a:extLst>
          </p:cNvPr>
          <p:cNvSpPr>
            <a:spLocks noGrp="1"/>
          </p:cNvSpPr>
          <p:nvPr>
            <p:ph sz="quarter" idx="20"/>
          </p:nvPr>
        </p:nvSpPr>
        <p:spPr/>
        <p:txBody>
          <a:bodyPr/>
          <a:lstStyle/>
          <a:p>
            <a:pPr>
              <a:spcBef>
                <a:spcPts val="0"/>
              </a:spcBef>
            </a:pPr>
            <a:r>
              <a:rPr lang="de-DE" dirty="0"/>
              <a:t>Fidas24</a:t>
            </a:r>
          </a:p>
          <a:p>
            <a:pPr>
              <a:spcBef>
                <a:spcPts val="0"/>
              </a:spcBef>
            </a:pPr>
            <a:r>
              <a:rPr lang="de-DE" dirty="0">
                <a:solidFill>
                  <a:schemeClr val="tx1"/>
                </a:solidFill>
              </a:rPr>
              <a:t>Flame </a:t>
            </a:r>
            <a:r>
              <a:rPr lang="de-DE" dirty="0" err="1">
                <a:solidFill>
                  <a:schemeClr val="tx1"/>
                </a:solidFill>
              </a:rPr>
              <a:t>Ionization</a:t>
            </a:r>
            <a:r>
              <a:rPr lang="de-DE" dirty="0">
                <a:solidFill>
                  <a:schemeClr val="tx1"/>
                </a:solidFill>
              </a:rPr>
              <a:t> </a:t>
            </a:r>
            <a:r>
              <a:rPr lang="de-DE" dirty="0" err="1">
                <a:solidFill>
                  <a:schemeClr val="tx1"/>
                </a:solidFill>
              </a:rPr>
              <a:t>detector</a:t>
            </a:r>
            <a:r>
              <a:rPr lang="de-DE" dirty="0">
                <a:solidFill>
                  <a:schemeClr val="tx1"/>
                </a:solidFill>
              </a:rPr>
              <a:t> – 0 </a:t>
            </a:r>
            <a:r>
              <a:rPr lang="de-DE" dirty="0" err="1">
                <a:solidFill>
                  <a:schemeClr val="tx1"/>
                </a:solidFill>
              </a:rPr>
              <a:t>to</a:t>
            </a:r>
            <a:r>
              <a:rPr lang="de-DE" dirty="0">
                <a:solidFill>
                  <a:schemeClr val="tx1"/>
                </a:solidFill>
              </a:rPr>
              <a:t> 10/100 ppm THC</a:t>
            </a:r>
            <a:endParaRPr lang="de-DE" baseline="-25000" dirty="0">
              <a:solidFill>
                <a:schemeClr val="tx1"/>
              </a:solidFill>
            </a:endParaRPr>
          </a:p>
          <a:p>
            <a:pPr lvl="1">
              <a:spcBef>
                <a:spcPts val="0"/>
              </a:spcBef>
            </a:pPr>
            <a:endParaRPr lang="de-DE" dirty="0"/>
          </a:p>
          <a:p>
            <a:pPr lvl="1">
              <a:spcBef>
                <a:spcPts val="300"/>
              </a:spcBef>
            </a:pPr>
            <a:r>
              <a:rPr lang="de-DE" dirty="0" err="1"/>
              <a:t>Excellent</a:t>
            </a:r>
            <a:r>
              <a:rPr lang="de-DE" dirty="0"/>
              <a:t> </a:t>
            </a:r>
            <a:r>
              <a:rPr lang="de-DE" dirty="0" err="1"/>
              <a:t>temp</a:t>
            </a:r>
            <a:r>
              <a:rPr lang="de-DE" dirty="0"/>
              <a:t>. </a:t>
            </a:r>
            <a:r>
              <a:rPr lang="de-DE" dirty="0" err="1"/>
              <a:t>stability</a:t>
            </a:r>
            <a:r>
              <a:rPr lang="de-DE" dirty="0"/>
              <a:t> </a:t>
            </a:r>
            <a:r>
              <a:rPr lang="de-DE" dirty="0" err="1"/>
              <a:t>through</a:t>
            </a:r>
            <a:r>
              <a:rPr lang="de-DE" dirty="0"/>
              <a:t> </a:t>
            </a:r>
            <a:r>
              <a:rPr lang="de-DE" dirty="0" err="1"/>
              <a:t>single</a:t>
            </a:r>
            <a:r>
              <a:rPr lang="de-DE" dirty="0"/>
              <a:t> block design</a:t>
            </a:r>
          </a:p>
          <a:p>
            <a:pPr lvl="1">
              <a:spcBef>
                <a:spcPts val="300"/>
              </a:spcBef>
            </a:pPr>
            <a:r>
              <a:rPr lang="de-DE" dirty="0" err="1"/>
              <a:t>Automatic</a:t>
            </a:r>
            <a:r>
              <a:rPr lang="de-DE" dirty="0"/>
              <a:t> and reliable </a:t>
            </a:r>
            <a:r>
              <a:rPr lang="de-DE" dirty="0" err="1"/>
              <a:t>re-ignition</a:t>
            </a:r>
            <a:r>
              <a:rPr lang="de-DE" dirty="0"/>
              <a:t> on </a:t>
            </a:r>
            <a:r>
              <a:rPr lang="de-DE" dirty="0" err="1"/>
              <a:t>flame</a:t>
            </a:r>
            <a:r>
              <a:rPr lang="de-DE" dirty="0"/>
              <a:t> out</a:t>
            </a:r>
          </a:p>
          <a:p>
            <a:pPr lvl="1">
              <a:spcBef>
                <a:spcPts val="300"/>
              </a:spcBef>
            </a:pPr>
            <a:r>
              <a:rPr lang="de-DE" dirty="0" err="1"/>
              <a:t>Injector</a:t>
            </a:r>
            <a:r>
              <a:rPr lang="de-DE" dirty="0"/>
              <a:t> </a:t>
            </a:r>
            <a:r>
              <a:rPr lang="de-DE" dirty="0" err="1"/>
              <a:t>for</a:t>
            </a:r>
            <a:r>
              <a:rPr lang="de-DE" dirty="0"/>
              <a:t> sample </a:t>
            </a:r>
            <a:r>
              <a:rPr lang="de-DE" dirty="0" err="1"/>
              <a:t>transport</a:t>
            </a:r>
            <a:r>
              <a:rPr lang="de-DE" dirty="0"/>
              <a:t> </a:t>
            </a:r>
            <a:r>
              <a:rPr lang="de-DE" dirty="0" err="1"/>
              <a:t>with</a:t>
            </a:r>
            <a:r>
              <a:rPr lang="de-DE" dirty="0"/>
              <a:t> </a:t>
            </a:r>
            <a:r>
              <a:rPr lang="de-DE" dirty="0" err="1"/>
              <a:t>no</a:t>
            </a:r>
            <a:r>
              <a:rPr lang="de-DE" dirty="0"/>
              <a:t> </a:t>
            </a:r>
            <a:r>
              <a:rPr lang="de-DE" dirty="0" err="1"/>
              <a:t>moving</a:t>
            </a:r>
            <a:r>
              <a:rPr lang="de-DE" dirty="0"/>
              <a:t> </a:t>
            </a:r>
            <a:r>
              <a:rPr lang="de-DE" dirty="0" err="1"/>
              <a:t>parts</a:t>
            </a:r>
            <a:endParaRPr lang="de-DE" dirty="0"/>
          </a:p>
          <a:p>
            <a:pPr lvl="1">
              <a:spcBef>
                <a:spcPts val="300"/>
              </a:spcBef>
            </a:pPr>
            <a:r>
              <a:rPr lang="de-DE" dirty="0" err="1"/>
              <a:t>Available</a:t>
            </a:r>
            <a:r>
              <a:rPr lang="de-DE" dirty="0"/>
              <a:t> in EL3000 and AO2000 </a:t>
            </a:r>
            <a:r>
              <a:rPr lang="de-DE" dirty="0" err="1"/>
              <a:t>series</a:t>
            </a:r>
            <a:endParaRPr lang="de-DE" dirty="0"/>
          </a:p>
          <a:p>
            <a:pPr lvl="1">
              <a:spcBef>
                <a:spcPts val="300"/>
              </a:spcBef>
            </a:pPr>
            <a:endParaRPr lang="de-DE" dirty="0"/>
          </a:p>
          <a:p>
            <a:pPr>
              <a:spcBef>
                <a:spcPts val="0"/>
              </a:spcBef>
            </a:pPr>
            <a:r>
              <a:rPr lang="de-DE" dirty="0"/>
              <a:t>Uras26</a:t>
            </a:r>
          </a:p>
          <a:p>
            <a:pPr>
              <a:spcBef>
                <a:spcPts val="0"/>
              </a:spcBef>
            </a:pPr>
            <a:r>
              <a:rPr lang="de-DE" dirty="0">
                <a:solidFill>
                  <a:schemeClr val="tx1"/>
                </a:solidFill>
              </a:rPr>
              <a:t>Infrared </a:t>
            </a:r>
            <a:r>
              <a:rPr lang="de-DE" dirty="0" err="1">
                <a:solidFill>
                  <a:schemeClr val="tx1"/>
                </a:solidFill>
              </a:rPr>
              <a:t>photometer</a:t>
            </a:r>
            <a:r>
              <a:rPr lang="de-DE" dirty="0">
                <a:solidFill>
                  <a:schemeClr val="tx1"/>
                </a:solidFill>
              </a:rPr>
              <a:t> – 0 </a:t>
            </a:r>
            <a:r>
              <a:rPr lang="de-DE" dirty="0" err="1">
                <a:solidFill>
                  <a:schemeClr val="tx1"/>
                </a:solidFill>
              </a:rPr>
              <a:t>to</a:t>
            </a:r>
            <a:r>
              <a:rPr lang="de-DE" dirty="0">
                <a:solidFill>
                  <a:schemeClr val="tx1"/>
                </a:solidFill>
              </a:rPr>
              <a:t> 100 ppm CO</a:t>
            </a:r>
            <a:r>
              <a:rPr lang="de-DE" baseline="-25000" dirty="0">
                <a:solidFill>
                  <a:schemeClr val="tx1"/>
                </a:solidFill>
              </a:rPr>
              <a:t>2</a:t>
            </a:r>
          </a:p>
          <a:p>
            <a:pPr lvl="1">
              <a:spcBef>
                <a:spcPts val="0"/>
              </a:spcBef>
            </a:pPr>
            <a:endParaRPr lang="de-DE" dirty="0"/>
          </a:p>
          <a:p>
            <a:pPr lvl="1">
              <a:spcBef>
                <a:spcPts val="300"/>
              </a:spcBef>
            </a:pPr>
            <a:r>
              <a:rPr lang="de-DE" dirty="0"/>
              <a:t>Gas-</a:t>
            </a:r>
            <a:r>
              <a:rPr lang="de-DE" dirty="0" err="1"/>
              <a:t>filled</a:t>
            </a:r>
            <a:r>
              <a:rPr lang="de-DE" dirty="0"/>
              <a:t> </a:t>
            </a:r>
            <a:r>
              <a:rPr lang="de-DE" dirty="0" err="1"/>
              <a:t>detectors</a:t>
            </a:r>
            <a:r>
              <a:rPr lang="de-DE" dirty="0"/>
              <a:t> </a:t>
            </a:r>
            <a:r>
              <a:rPr lang="de-DE" dirty="0" err="1"/>
              <a:t>for</a:t>
            </a:r>
            <a:r>
              <a:rPr lang="de-DE" dirty="0"/>
              <a:t> </a:t>
            </a:r>
            <a:r>
              <a:rPr lang="de-DE" dirty="0" err="1"/>
              <a:t>highly</a:t>
            </a:r>
            <a:r>
              <a:rPr lang="de-DE" dirty="0"/>
              <a:t> </a:t>
            </a:r>
            <a:r>
              <a:rPr lang="de-DE" dirty="0" err="1"/>
              <a:t>selective</a:t>
            </a:r>
            <a:r>
              <a:rPr lang="de-DE" dirty="0"/>
              <a:t> </a:t>
            </a:r>
            <a:r>
              <a:rPr lang="de-DE" dirty="0" err="1"/>
              <a:t>measurement</a:t>
            </a:r>
            <a:endParaRPr lang="de-DE" dirty="0"/>
          </a:p>
          <a:p>
            <a:pPr lvl="1">
              <a:spcBef>
                <a:spcPts val="300"/>
              </a:spcBef>
            </a:pPr>
            <a:r>
              <a:rPr lang="de-DE" dirty="0"/>
              <a:t>Internal </a:t>
            </a:r>
            <a:r>
              <a:rPr lang="de-DE" dirty="0" err="1"/>
              <a:t>calibration</a:t>
            </a:r>
            <a:r>
              <a:rPr lang="de-DE" dirty="0"/>
              <a:t> </a:t>
            </a:r>
            <a:r>
              <a:rPr lang="de-DE" dirty="0" err="1"/>
              <a:t>cells</a:t>
            </a:r>
            <a:r>
              <a:rPr lang="de-DE" dirty="0"/>
              <a:t> </a:t>
            </a:r>
            <a:r>
              <a:rPr lang="de-DE" dirty="0" err="1"/>
              <a:t>minimize</a:t>
            </a:r>
            <a:r>
              <a:rPr lang="de-DE" dirty="0"/>
              <a:t> </a:t>
            </a:r>
            <a:r>
              <a:rPr lang="de-DE" dirty="0" err="1"/>
              <a:t>cost</a:t>
            </a:r>
            <a:r>
              <a:rPr lang="de-DE" dirty="0"/>
              <a:t> </a:t>
            </a:r>
            <a:r>
              <a:rPr lang="de-DE" dirty="0" err="1"/>
              <a:t>of</a:t>
            </a:r>
            <a:r>
              <a:rPr lang="de-DE" dirty="0"/>
              <a:t> </a:t>
            </a:r>
            <a:r>
              <a:rPr lang="de-DE" dirty="0" err="1"/>
              <a:t>ownership</a:t>
            </a:r>
            <a:endParaRPr lang="de-DE" dirty="0"/>
          </a:p>
          <a:p>
            <a:pPr lvl="1">
              <a:spcBef>
                <a:spcPts val="300"/>
              </a:spcBef>
            </a:pPr>
            <a:r>
              <a:rPr lang="de-DE" dirty="0" err="1"/>
              <a:t>Available</a:t>
            </a:r>
            <a:r>
              <a:rPr lang="de-DE" dirty="0"/>
              <a:t> in EL3000 and AO2000 </a:t>
            </a:r>
            <a:r>
              <a:rPr lang="de-DE" dirty="0" err="1"/>
              <a:t>series</a:t>
            </a:r>
            <a:endParaRPr lang="de-DE" dirty="0"/>
          </a:p>
          <a:p>
            <a:pPr lvl="1">
              <a:spcBef>
                <a:spcPts val="300"/>
              </a:spcBef>
            </a:pPr>
            <a:endParaRPr lang="de-DE" dirty="0"/>
          </a:p>
          <a:p>
            <a:pPr lvl="1">
              <a:spcBef>
                <a:spcPts val="300"/>
              </a:spcBef>
            </a:pPr>
            <a:endParaRPr lang="de-DE" dirty="0"/>
          </a:p>
        </p:txBody>
      </p:sp>
      <p:sp>
        <p:nvSpPr>
          <p:cNvPr id="7" name="Content Placeholder 6">
            <a:extLst>
              <a:ext uri="{FF2B5EF4-FFF2-40B4-BE49-F238E27FC236}">
                <a16:creationId xmlns:a16="http://schemas.microsoft.com/office/drawing/2014/main" id="{2ADDC11F-5D49-4BCD-922D-04728BABF3FE}"/>
              </a:ext>
            </a:extLst>
          </p:cNvPr>
          <p:cNvSpPr>
            <a:spLocks noGrp="1"/>
          </p:cNvSpPr>
          <p:nvPr>
            <p:ph sz="quarter" idx="19"/>
          </p:nvPr>
        </p:nvSpPr>
        <p:spPr>
          <a:xfrm>
            <a:off x="793629" y="1931194"/>
            <a:ext cx="3074985" cy="3980917"/>
          </a:xfrm>
        </p:spPr>
        <p:txBody>
          <a:bodyPr/>
          <a:lstStyle/>
          <a:p>
            <a:pPr>
              <a:tabLst>
                <a:tab pos="452438" algn="l"/>
              </a:tabLst>
            </a:pPr>
            <a:r>
              <a:rPr lang="en-US" dirty="0"/>
              <a:t>Contaminants breakthrough</a:t>
            </a:r>
          </a:p>
          <a:p>
            <a:pPr lvl="1">
              <a:spcBef>
                <a:spcPts val="0"/>
              </a:spcBef>
            </a:pPr>
            <a:endParaRPr lang="en-US" dirty="0"/>
          </a:p>
          <a:p>
            <a:pPr lvl="1">
              <a:spcBef>
                <a:spcPts val="0"/>
              </a:spcBef>
            </a:pPr>
            <a:r>
              <a:rPr lang="en-US" dirty="0"/>
              <a:t>Carbon dioxide and moisture would solidify at cryogenic temperatures </a:t>
            </a:r>
          </a:p>
          <a:p>
            <a:pPr lvl="1">
              <a:spcBef>
                <a:spcPts val="0"/>
              </a:spcBef>
            </a:pPr>
            <a:r>
              <a:rPr lang="en-US" dirty="0"/>
              <a:t>Hydrocarbons from the air can explode if they accumulate to high levels in liquid oxygen </a:t>
            </a:r>
          </a:p>
          <a:p>
            <a:pPr lvl="1">
              <a:spcBef>
                <a:spcPts val="0"/>
              </a:spcBef>
            </a:pPr>
            <a:r>
              <a:rPr lang="en-US" dirty="0"/>
              <a:t>“Break through” of these contaminants from the pre-purification stage is monitored continuously</a:t>
            </a:r>
          </a:p>
        </p:txBody>
      </p:sp>
      <p:sp>
        <p:nvSpPr>
          <p:cNvPr id="8" name="Subtitle 7">
            <a:extLst>
              <a:ext uri="{FF2B5EF4-FFF2-40B4-BE49-F238E27FC236}">
                <a16:creationId xmlns:a16="http://schemas.microsoft.com/office/drawing/2014/main" id="{8716F94D-E2ED-4522-BA19-0B094F971306}"/>
              </a:ext>
            </a:extLst>
          </p:cNvPr>
          <p:cNvSpPr>
            <a:spLocks noGrp="1"/>
          </p:cNvSpPr>
          <p:nvPr>
            <p:ph type="subTitle" idx="13"/>
          </p:nvPr>
        </p:nvSpPr>
        <p:spPr/>
        <p:txBody>
          <a:bodyPr/>
          <a:lstStyle/>
          <a:p>
            <a:r>
              <a:rPr lang="de-DE" dirty="0"/>
              <a:t>Pain </a:t>
            </a:r>
            <a:r>
              <a:rPr lang="de-DE" dirty="0" err="1"/>
              <a:t>points</a:t>
            </a:r>
            <a:r>
              <a:rPr lang="de-DE" dirty="0"/>
              <a:t> and ABB </a:t>
            </a:r>
            <a:r>
              <a:rPr lang="de-DE" dirty="0" err="1"/>
              <a:t>solution</a:t>
            </a:r>
            <a:endParaRPr lang="en-US" dirty="0"/>
          </a:p>
        </p:txBody>
      </p:sp>
      <p:grpSp>
        <p:nvGrpSpPr>
          <p:cNvPr id="20" name="Group 19">
            <a:extLst>
              <a:ext uri="{FF2B5EF4-FFF2-40B4-BE49-F238E27FC236}">
                <a16:creationId xmlns:a16="http://schemas.microsoft.com/office/drawing/2014/main" id="{E0579ACA-D6BA-4FAE-9353-1BF8864E2EA5}"/>
              </a:ext>
            </a:extLst>
          </p:cNvPr>
          <p:cNvGrpSpPr/>
          <p:nvPr/>
        </p:nvGrpSpPr>
        <p:grpSpPr bwMode="gray">
          <a:xfrm>
            <a:off x="427157" y="2038874"/>
            <a:ext cx="272178" cy="255138"/>
            <a:chOff x="13575534" y="4538167"/>
            <a:chExt cx="793153" cy="743493"/>
          </a:xfrm>
        </p:grpSpPr>
        <p:grpSp>
          <p:nvGrpSpPr>
            <p:cNvPr id="22" name="Group 21">
              <a:extLst>
                <a:ext uri="{FF2B5EF4-FFF2-40B4-BE49-F238E27FC236}">
                  <a16:creationId xmlns:a16="http://schemas.microsoft.com/office/drawing/2014/main" id="{07A09B44-F8F4-4A1A-9406-99791B82E763}"/>
                </a:ext>
              </a:extLst>
            </p:cNvPr>
            <p:cNvGrpSpPr/>
            <p:nvPr/>
          </p:nvGrpSpPr>
          <p:grpSpPr bwMode="gray">
            <a:xfrm>
              <a:off x="13639059" y="4538167"/>
              <a:ext cx="729628" cy="695884"/>
              <a:chOff x="5310618" y="2134284"/>
              <a:chExt cx="404739" cy="386021"/>
            </a:xfrm>
          </p:grpSpPr>
          <p:sp>
            <p:nvSpPr>
              <p:cNvPr id="24" name="Freeform: Shape 23">
                <a:extLst>
                  <a:ext uri="{FF2B5EF4-FFF2-40B4-BE49-F238E27FC236}">
                    <a16:creationId xmlns:a16="http://schemas.microsoft.com/office/drawing/2014/main" id="{2BD938E1-C443-49FE-B987-12D122457A10}"/>
                  </a:ext>
                </a:extLst>
              </p:cNvPr>
              <p:cNvSpPr/>
              <p:nvPr/>
            </p:nvSpPr>
            <p:spPr bwMode="gray">
              <a:xfrm>
                <a:off x="5316267" y="2134284"/>
                <a:ext cx="399090" cy="273533"/>
              </a:xfrm>
              <a:custGeom>
                <a:avLst/>
                <a:gdLst>
                  <a:gd name="connsiteX0" fmla="*/ 1093381 w 2462577"/>
                  <a:gd name="connsiteY0" fmla="*/ 0 h 1802393"/>
                  <a:gd name="connsiteX1" fmla="*/ 1640754 w 2462577"/>
                  <a:gd name="connsiteY1" fmla="*/ 362823 h 1802393"/>
                  <a:gd name="connsiteX2" fmla="*/ 1655501 w 2462577"/>
                  <a:gd name="connsiteY2" fmla="*/ 410329 h 1802393"/>
                  <a:gd name="connsiteX3" fmla="*/ 1706127 w 2462577"/>
                  <a:gd name="connsiteY3" fmla="*/ 394614 h 1802393"/>
                  <a:gd name="connsiteX4" fmla="*/ 1793034 w 2462577"/>
                  <a:gd name="connsiteY4" fmla="*/ 385853 h 1802393"/>
                  <a:gd name="connsiteX5" fmla="*/ 2224263 w 2462577"/>
                  <a:gd name="connsiteY5" fmla="*/ 817082 h 1802393"/>
                  <a:gd name="connsiteX6" fmla="*/ 2190375 w 2462577"/>
                  <a:gd name="connsiteY6" fmla="*/ 984936 h 1802393"/>
                  <a:gd name="connsiteX7" fmla="*/ 2185612 w 2462577"/>
                  <a:gd name="connsiteY7" fmla="*/ 993711 h 1802393"/>
                  <a:gd name="connsiteX8" fmla="*/ 2190745 w 2462577"/>
                  <a:gd name="connsiteY8" fmla="*/ 994229 h 1802393"/>
                  <a:gd name="connsiteX9" fmla="*/ 2462577 w 2462577"/>
                  <a:gd name="connsiteY9" fmla="*/ 1327755 h 1802393"/>
                  <a:gd name="connsiteX10" fmla="*/ 2362864 w 2462577"/>
                  <a:gd name="connsiteY10" fmla="*/ 1568484 h 1802393"/>
                  <a:gd name="connsiteX11" fmla="*/ 2313995 w 2462577"/>
                  <a:gd name="connsiteY11" fmla="*/ 1608805 h 1802393"/>
                  <a:gd name="connsiteX12" fmla="*/ 2313995 w 2462577"/>
                  <a:gd name="connsiteY12" fmla="*/ 1802393 h 1802393"/>
                  <a:gd name="connsiteX13" fmla="*/ 591875 w 2462577"/>
                  <a:gd name="connsiteY13" fmla="*/ 1802393 h 1802393"/>
                  <a:gd name="connsiteX14" fmla="*/ 591875 w 2462577"/>
                  <a:gd name="connsiteY14" fmla="*/ 1795250 h 1802393"/>
                  <a:gd name="connsiteX15" fmla="*/ 521029 w 2462577"/>
                  <a:gd name="connsiteY15" fmla="*/ 1802392 h 1802393"/>
                  <a:gd name="connsiteX16" fmla="*/ 0 w 2462577"/>
                  <a:gd name="connsiteY16" fmla="*/ 1281363 h 1802393"/>
                  <a:gd name="connsiteX17" fmla="*/ 521029 w 2462577"/>
                  <a:gd name="connsiteY17" fmla="*/ 760334 h 1802393"/>
                  <a:gd name="connsiteX18" fmla="*/ 526000 w 2462577"/>
                  <a:gd name="connsiteY18" fmla="*/ 760835 h 1802393"/>
                  <a:gd name="connsiteX19" fmla="*/ 511393 w 2462577"/>
                  <a:gd name="connsiteY19" fmla="*/ 713780 h 1802393"/>
                  <a:gd name="connsiteX20" fmla="*/ 499324 w 2462577"/>
                  <a:gd name="connsiteY20" fmla="*/ 594057 h 1802393"/>
                  <a:gd name="connsiteX21" fmla="*/ 1093381 w 2462577"/>
                  <a:gd name="connsiteY21" fmla="*/ 0 h 1802393"/>
                  <a:gd name="connsiteX0" fmla="*/ 2313995 w 2462577"/>
                  <a:gd name="connsiteY0" fmla="*/ 1802393 h 1893833"/>
                  <a:gd name="connsiteX1" fmla="*/ 591875 w 2462577"/>
                  <a:gd name="connsiteY1" fmla="*/ 1802393 h 1893833"/>
                  <a:gd name="connsiteX2" fmla="*/ 591875 w 2462577"/>
                  <a:gd name="connsiteY2" fmla="*/ 1795250 h 1893833"/>
                  <a:gd name="connsiteX3" fmla="*/ 521029 w 2462577"/>
                  <a:gd name="connsiteY3" fmla="*/ 1802392 h 1893833"/>
                  <a:gd name="connsiteX4" fmla="*/ 0 w 2462577"/>
                  <a:gd name="connsiteY4" fmla="*/ 1281363 h 1893833"/>
                  <a:gd name="connsiteX5" fmla="*/ 521029 w 2462577"/>
                  <a:gd name="connsiteY5" fmla="*/ 760334 h 1893833"/>
                  <a:gd name="connsiteX6" fmla="*/ 526000 w 2462577"/>
                  <a:gd name="connsiteY6" fmla="*/ 760835 h 1893833"/>
                  <a:gd name="connsiteX7" fmla="*/ 511393 w 2462577"/>
                  <a:gd name="connsiteY7" fmla="*/ 713780 h 1893833"/>
                  <a:gd name="connsiteX8" fmla="*/ 499324 w 2462577"/>
                  <a:gd name="connsiteY8" fmla="*/ 594057 h 1893833"/>
                  <a:gd name="connsiteX9" fmla="*/ 1093381 w 2462577"/>
                  <a:gd name="connsiteY9" fmla="*/ 0 h 1893833"/>
                  <a:gd name="connsiteX10" fmla="*/ 1640754 w 2462577"/>
                  <a:gd name="connsiteY10" fmla="*/ 362823 h 1893833"/>
                  <a:gd name="connsiteX11" fmla="*/ 1655501 w 2462577"/>
                  <a:gd name="connsiteY11" fmla="*/ 410329 h 1893833"/>
                  <a:gd name="connsiteX12" fmla="*/ 1706127 w 2462577"/>
                  <a:gd name="connsiteY12" fmla="*/ 394614 h 1893833"/>
                  <a:gd name="connsiteX13" fmla="*/ 1793034 w 2462577"/>
                  <a:gd name="connsiteY13" fmla="*/ 385853 h 1893833"/>
                  <a:gd name="connsiteX14" fmla="*/ 2224263 w 2462577"/>
                  <a:gd name="connsiteY14" fmla="*/ 817082 h 1893833"/>
                  <a:gd name="connsiteX15" fmla="*/ 2190375 w 2462577"/>
                  <a:gd name="connsiteY15" fmla="*/ 984936 h 1893833"/>
                  <a:gd name="connsiteX16" fmla="*/ 2185612 w 2462577"/>
                  <a:gd name="connsiteY16" fmla="*/ 993711 h 1893833"/>
                  <a:gd name="connsiteX17" fmla="*/ 2190745 w 2462577"/>
                  <a:gd name="connsiteY17" fmla="*/ 994229 h 1893833"/>
                  <a:gd name="connsiteX18" fmla="*/ 2462577 w 2462577"/>
                  <a:gd name="connsiteY18" fmla="*/ 1327755 h 1893833"/>
                  <a:gd name="connsiteX19" fmla="*/ 2362864 w 2462577"/>
                  <a:gd name="connsiteY19" fmla="*/ 1568484 h 1893833"/>
                  <a:gd name="connsiteX20" fmla="*/ 2313995 w 2462577"/>
                  <a:gd name="connsiteY20" fmla="*/ 1608805 h 1893833"/>
                  <a:gd name="connsiteX21" fmla="*/ 2405435 w 2462577"/>
                  <a:gd name="connsiteY21" fmla="*/ 1893833 h 1893833"/>
                  <a:gd name="connsiteX0" fmla="*/ 2313995 w 2462577"/>
                  <a:gd name="connsiteY0" fmla="*/ 1802393 h 1802393"/>
                  <a:gd name="connsiteX1" fmla="*/ 591875 w 2462577"/>
                  <a:gd name="connsiteY1" fmla="*/ 1802393 h 1802393"/>
                  <a:gd name="connsiteX2" fmla="*/ 591875 w 2462577"/>
                  <a:gd name="connsiteY2" fmla="*/ 1795250 h 1802393"/>
                  <a:gd name="connsiteX3" fmla="*/ 521029 w 2462577"/>
                  <a:gd name="connsiteY3" fmla="*/ 1802392 h 1802393"/>
                  <a:gd name="connsiteX4" fmla="*/ 0 w 2462577"/>
                  <a:gd name="connsiteY4" fmla="*/ 1281363 h 1802393"/>
                  <a:gd name="connsiteX5" fmla="*/ 521029 w 2462577"/>
                  <a:gd name="connsiteY5" fmla="*/ 760334 h 1802393"/>
                  <a:gd name="connsiteX6" fmla="*/ 526000 w 2462577"/>
                  <a:gd name="connsiteY6" fmla="*/ 760835 h 1802393"/>
                  <a:gd name="connsiteX7" fmla="*/ 511393 w 2462577"/>
                  <a:gd name="connsiteY7" fmla="*/ 713780 h 1802393"/>
                  <a:gd name="connsiteX8" fmla="*/ 499324 w 2462577"/>
                  <a:gd name="connsiteY8" fmla="*/ 594057 h 1802393"/>
                  <a:gd name="connsiteX9" fmla="*/ 1093381 w 2462577"/>
                  <a:gd name="connsiteY9" fmla="*/ 0 h 1802393"/>
                  <a:gd name="connsiteX10" fmla="*/ 1640754 w 2462577"/>
                  <a:gd name="connsiteY10" fmla="*/ 362823 h 1802393"/>
                  <a:gd name="connsiteX11" fmla="*/ 1655501 w 2462577"/>
                  <a:gd name="connsiteY11" fmla="*/ 410329 h 1802393"/>
                  <a:gd name="connsiteX12" fmla="*/ 1706127 w 2462577"/>
                  <a:gd name="connsiteY12" fmla="*/ 394614 h 1802393"/>
                  <a:gd name="connsiteX13" fmla="*/ 1793034 w 2462577"/>
                  <a:gd name="connsiteY13" fmla="*/ 385853 h 1802393"/>
                  <a:gd name="connsiteX14" fmla="*/ 2224263 w 2462577"/>
                  <a:gd name="connsiteY14" fmla="*/ 817082 h 1802393"/>
                  <a:gd name="connsiteX15" fmla="*/ 2190375 w 2462577"/>
                  <a:gd name="connsiteY15" fmla="*/ 984936 h 1802393"/>
                  <a:gd name="connsiteX16" fmla="*/ 2185612 w 2462577"/>
                  <a:gd name="connsiteY16" fmla="*/ 993711 h 1802393"/>
                  <a:gd name="connsiteX17" fmla="*/ 2190745 w 2462577"/>
                  <a:gd name="connsiteY17" fmla="*/ 994229 h 1802393"/>
                  <a:gd name="connsiteX18" fmla="*/ 2462577 w 2462577"/>
                  <a:gd name="connsiteY18" fmla="*/ 1327755 h 1802393"/>
                  <a:gd name="connsiteX19" fmla="*/ 2362864 w 2462577"/>
                  <a:gd name="connsiteY19" fmla="*/ 1568484 h 1802393"/>
                  <a:gd name="connsiteX20" fmla="*/ 2313995 w 2462577"/>
                  <a:gd name="connsiteY20" fmla="*/ 1608805 h 1802393"/>
                  <a:gd name="connsiteX0" fmla="*/ 591875 w 2462577"/>
                  <a:gd name="connsiteY0" fmla="*/ 1802393 h 1802393"/>
                  <a:gd name="connsiteX1" fmla="*/ 591875 w 2462577"/>
                  <a:gd name="connsiteY1" fmla="*/ 1795250 h 1802393"/>
                  <a:gd name="connsiteX2" fmla="*/ 521029 w 2462577"/>
                  <a:gd name="connsiteY2" fmla="*/ 1802392 h 1802393"/>
                  <a:gd name="connsiteX3" fmla="*/ 0 w 2462577"/>
                  <a:gd name="connsiteY3" fmla="*/ 1281363 h 1802393"/>
                  <a:gd name="connsiteX4" fmla="*/ 521029 w 2462577"/>
                  <a:gd name="connsiteY4" fmla="*/ 760334 h 1802393"/>
                  <a:gd name="connsiteX5" fmla="*/ 526000 w 2462577"/>
                  <a:gd name="connsiteY5" fmla="*/ 760835 h 1802393"/>
                  <a:gd name="connsiteX6" fmla="*/ 511393 w 2462577"/>
                  <a:gd name="connsiteY6" fmla="*/ 713780 h 1802393"/>
                  <a:gd name="connsiteX7" fmla="*/ 499324 w 2462577"/>
                  <a:gd name="connsiteY7" fmla="*/ 594057 h 1802393"/>
                  <a:gd name="connsiteX8" fmla="*/ 1093381 w 2462577"/>
                  <a:gd name="connsiteY8" fmla="*/ 0 h 1802393"/>
                  <a:gd name="connsiteX9" fmla="*/ 1640754 w 2462577"/>
                  <a:gd name="connsiteY9" fmla="*/ 362823 h 1802393"/>
                  <a:gd name="connsiteX10" fmla="*/ 1655501 w 2462577"/>
                  <a:gd name="connsiteY10" fmla="*/ 410329 h 1802393"/>
                  <a:gd name="connsiteX11" fmla="*/ 1706127 w 2462577"/>
                  <a:gd name="connsiteY11" fmla="*/ 394614 h 1802393"/>
                  <a:gd name="connsiteX12" fmla="*/ 1793034 w 2462577"/>
                  <a:gd name="connsiteY12" fmla="*/ 385853 h 1802393"/>
                  <a:gd name="connsiteX13" fmla="*/ 2224263 w 2462577"/>
                  <a:gd name="connsiteY13" fmla="*/ 817082 h 1802393"/>
                  <a:gd name="connsiteX14" fmla="*/ 2190375 w 2462577"/>
                  <a:gd name="connsiteY14" fmla="*/ 984936 h 1802393"/>
                  <a:gd name="connsiteX15" fmla="*/ 2185612 w 2462577"/>
                  <a:gd name="connsiteY15" fmla="*/ 993711 h 1802393"/>
                  <a:gd name="connsiteX16" fmla="*/ 2190745 w 2462577"/>
                  <a:gd name="connsiteY16" fmla="*/ 994229 h 1802393"/>
                  <a:gd name="connsiteX17" fmla="*/ 2462577 w 2462577"/>
                  <a:gd name="connsiteY17" fmla="*/ 1327755 h 1802393"/>
                  <a:gd name="connsiteX18" fmla="*/ 2362864 w 2462577"/>
                  <a:gd name="connsiteY18" fmla="*/ 1568484 h 1802393"/>
                  <a:gd name="connsiteX19" fmla="*/ 2313995 w 2462577"/>
                  <a:gd name="connsiteY19" fmla="*/ 1608805 h 1802393"/>
                  <a:gd name="connsiteX0" fmla="*/ 591875 w 2462577"/>
                  <a:gd name="connsiteY0" fmla="*/ 1802393 h 1802393"/>
                  <a:gd name="connsiteX1" fmla="*/ 591875 w 2462577"/>
                  <a:gd name="connsiteY1" fmla="*/ 1795250 h 1802393"/>
                  <a:gd name="connsiteX2" fmla="*/ 521029 w 2462577"/>
                  <a:gd name="connsiteY2" fmla="*/ 1802392 h 1802393"/>
                  <a:gd name="connsiteX3" fmla="*/ 0 w 2462577"/>
                  <a:gd name="connsiteY3" fmla="*/ 1281363 h 1802393"/>
                  <a:gd name="connsiteX4" fmla="*/ 521029 w 2462577"/>
                  <a:gd name="connsiteY4" fmla="*/ 760334 h 1802393"/>
                  <a:gd name="connsiteX5" fmla="*/ 526000 w 2462577"/>
                  <a:gd name="connsiteY5" fmla="*/ 760835 h 1802393"/>
                  <a:gd name="connsiteX6" fmla="*/ 511393 w 2462577"/>
                  <a:gd name="connsiteY6" fmla="*/ 713780 h 1802393"/>
                  <a:gd name="connsiteX7" fmla="*/ 499324 w 2462577"/>
                  <a:gd name="connsiteY7" fmla="*/ 594057 h 1802393"/>
                  <a:gd name="connsiteX8" fmla="*/ 1093381 w 2462577"/>
                  <a:gd name="connsiteY8" fmla="*/ 0 h 1802393"/>
                  <a:gd name="connsiteX9" fmla="*/ 1640754 w 2462577"/>
                  <a:gd name="connsiteY9" fmla="*/ 362823 h 1802393"/>
                  <a:gd name="connsiteX10" fmla="*/ 1655501 w 2462577"/>
                  <a:gd name="connsiteY10" fmla="*/ 410329 h 1802393"/>
                  <a:gd name="connsiteX11" fmla="*/ 1706127 w 2462577"/>
                  <a:gd name="connsiteY11" fmla="*/ 394614 h 1802393"/>
                  <a:gd name="connsiteX12" fmla="*/ 1793034 w 2462577"/>
                  <a:gd name="connsiteY12" fmla="*/ 385853 h 1802393"/>
                  <a:gd name="connsiteX13" fmla="*/ 2224263 w 2462577"/>
                  <a:gd name="connsiteY13" fmla="*/ 817082 h 1802393"/>
                  <a:gd name="connsiteX14" fmla="*/ 2190375 w 2462577"/>
                  <a:gd name="connsiteY14" fmla="*/ 984936 h 1802393"/>
                  <a:gd name="connsiteX15" fmla="*/ 2185612 w 2462577"/>
                  <a:gd name="connsiteY15" fmla="*/ 993711 h 1802393"/>
                  <a:gd name="connsiteX16" fmla="*/ 2190745 w 2462577"/>
                  <a:gd name="connsiteY16" fmla="*/ 994229 h 1802393"/>
                  <a:gd name="connsiteX17" fmla="*/ 2462577 w 2462577"/>
                  <a:gd name="connsiteY17" fmla="*/ 1327755 h 1802393"/>
                  <a:gd name="connsiteX18" fmla="*/ 2362864 w 2462577"/>
                  <a:gd name="connsiteY18" fmla="*/ 1568484 h 1802393"/>
                  <a:gd name="connsiteX0" fmla="*/ 615476 w 2486178"/>
                  <a:gd name="connsiteY0" fmla="*/ 1802393 h 1802393"/>
                  <a:gd name="connsiteX1" fmla="*/ 615476 w 2486178"/>
                  <a:gd name="connsiteY1" fmla="*/ 1795250 h 1802393"/>
                  <a:gd name="connsiteX2" fmla="*/ 544630 w 2486178"/>
                  <a:gd name="connsiteY2" fmla="*/ 1802392 h 1802393"/>
                  <a:gd name="connsiteX3" fmla="*/ 135127 w 2486178"/>
                  <a:gd name="connsiteY3" fmla="*/ 1607207 h 1802393"/>
                  <a:gd name="connsiteX4" fmla="*/ 23601 w 2486178"/>
                  <a:gd name="connsiteY4" fmla="*/ 1281363 h 1802393"/>
                  <a:gd name="connsiteX5" fmla="*/ 544630 w 2486178"/>
                  <a:gd name="connsiteY5" fmla="*/ 760334 h 1802393"/>
                  <a:gd name="connsiteX6" fmla="*/ 549601 w 2486178"/>
                  <a:gd name="connsiteY6" fmla="*/ 760835 h 1802393"/>
                  <a:gd name="connsiteX7" fmla="*/ 534994 w 2486178"/>
                  <a:gd name="connsiteY7" fmla="*/ 713780 h 1802393"/>
                  <a:gd name="connsiteX8" fmla="*/ 522925 w 2486178"/>
                  <a:gd name="connsiteY8" fmla="*/ 594057 h 1802393"/>
                  <a:gd name="connsiteX9" fmla="*/ 1116982 w 2486178"/>
                  <a:gd name="connsiteY9" fmla="*/ 0 h 1802393"/>
                  <a:gd name="connsiteX10" fmla="*/ 1664355 w 2486178"/>
                  <a:gd name="connsiteY10" fmla="*/ 362823 h 1802393"/>
                  <a:gd name="connsiteX11" fmla="*/ 1679102 w 2486178"/>
                  <a:gd name="connsiteY11" fmla="*/ 410329 h 1802393"/>
                  <a:gd name="connsiteX12" fmla="*/ 1729728 w 2486178"/>
                  <a:gd name="connsiteY12" fmla="*/ 394614 h 1802393"/>
                  <a:gd name="connsiteX13" fmla="*/ 1816635 w 2486178"/>
                  <a:gd name="connsiteY13" fmla="*/ 385853 h 1802393"/>
                  <a:gd name="connsiteX14" fmla="*/ 2247864 w 2486178"/>
                  <a:gd name="connsiteY14" fmla="*/ 817082 h 1802393"/>
                  <a:gd name="connsiteX15" fmla="*/ 2213976 w 2486178"/>
                  <a:gd name="connsiteY15" fmla="*/ 984936 h 1802393"/>
                  <a:gd name="connsiteX16" fmla="*/ 2209213 w 2486178"/>
                  <a:gd name="connsiteY16" fmla="*/ 993711 h 1802393"/>
                  <a:gd name="connsiteX17" fmla="*/ 2214346 w 2486178"/>
                  <a:gd name="connsiteY17" fmla="*/ 994229 h 1802393"/>
                  <a:gd name="connsiteX18" fmla="*/ 2486178 w 2486178"/>
                  <a:gd name="connsiteY18" fmla="*/ 1327755 h 1802393"/>
                  <a:gd name="connsiteX19" fmla="*/ 2386465 w 2486178"/>
                  <a:gd name="connsiteY19" fmla="*/ 1568484 h 1802393"/>
                  <a:gd name="connsiteX0" fmla="*/ 598395 w 2469097"/>
                  <a:gd name="connsiteY0" fmla="*/ 1802393 h 1802393"/>
                  <a:gd name="connsiteX1" fmla="*/ 598395 w 2469097"/>
                  <a:gd name="connsiteY1" fmla="*/ 1795250 h 1802393"/>
                  <a:gd name="connsiteX2" fmla="*/ 527549 w 2469097"/>
                  <a:gd name="connsiteY2" fmla="*/ 1802392 h 1802393"/>
                  <a:gd name="connsiteX3" fmla="*/ 118046 w 2469097"/>
                  <a:gd name="connsiteY3" fmla="*/ 1607207 h 1802393"/>
                  <a:gd name="connsiteX4" fmla="*/ 6520 w 2469097"/>
                  <a:gd name="connsiteY4" fmla="*/ 1281363 h 1802393"/>
                  <a:gd name="connsiteX5" fmla="*/ 527549 w 2469097"/>
                  <a:gd name="connsiteY5" fmla="*/ 760334 h 1802393"/>
                  <a:gd name="connsiteX6" fmla="*/ 532520 w 2469097"/>
                  <a:gd name="connsiteY6" fmla="*/ 760835 h 1802393"/>
                  <a:gd name="connsiteX7" fmla="*/ 517913 w 2469097"/>
                  <a:gd name="connsiteY7" fmla="*/ 713780 h 1802393"/>
                  <a:gd name="connsiteX8" fmla="*/ 505844 w 2469097"/>
                  <a:gd name="connsiteY8" fmla="*/ 594057 h 1802393"/>
                  <a:gd name="connsiteX9" fmla="*/ 1099901 w 2469097"/>
                  <a:gd name="connsiteY9" fmla="*/ 0 h 1802393"/>
                  <a:gd name="connsiteX10" fmla="*/ 1647274 w 2469097"/>
                  <a:gd name="connsiteY10" fmla="*/ 362823 h 1802393"/>
                  <a:gd name="connsiteX11" fmla="*/ 1662021 w 2469097"/>
                  <a:gd name="connsiteY11" fmla="*/ 410329 h 1802393"/>
                  <a:gd name="connsiteX12" fmla="*/ 1712647 w 2469097"/>
                  <a:gd name="connsiteY12" fmla="*/ 394614 h 1802393"/>
                  <a:gd name="connsiteX13" fmla="*/ 1799554 w 2469097"/>
                  <a:gd name="connsiteY13" fmla="*/ 385853 h 1802393"/>
                  <a:gd name="connsiteX14" fmla="*/ 2230783 w 2469097"/>
                  <a:gd name="connsiteY14" fmla="*/ 817082 h 1802393"/>
                  <a:gd name="connsiteX15" fmla="*/ 2196895 w 2469097"/>
                  <a:gd name="connsiteY15" fmla="*/ 984936 h 1802393"/>
                  <a:gd name="connsiteX16" fmla="*/ 2192132 w 2469097"/>
                  <a:gd name="connsiteY16" fmla="*/ 993711 h 1802393"/>
                  <a:gd name="connsiteX17" fmla="*/ 2197265 w 2469097"/>
                  <a:gd name="connsiteY17" fmla="*/ 994229 h 1802393"/>
                  <a:gd name="connsiteX18" fmla="*/ 2469097 w 2469097"/>
                  <a:gd name="connsiteY18" fmla="*/ 1327755 h 1802393"/>
                  <a:gd name="connsiteX19" fmla="*/ 2369384 w 2469097"/>
                  <a:gd name="connsiteY19" fmla="*/ 1568484 h 1802393"/>
                  <a:gd name="connsiteX0" fmla="*/ 596882 w 2467584"/>
                  <a:gd name="connsiteY0" fmla="*/ 1802393 h 1802393"/>
                  <a:gd name="connsiteX1" fmla="*/ 596882 w 2467584"/>
                  <a:gd name="connsiteY1" fmla="*/ 1795250 h 1802393"/>
                  <a:gd name="connsiteX2" fmla="*/ 526036 w 2467584"/>
                  <a:gd name="connsiteY2" fmla="*/ 1802392 h 1802393"/>
                  <a:gd name="connsiteX3" fmla="*/ 116533 w 2467584"/>
                  <a:gd name="connsiteY3" fmla="*/ 1607207 h 1802393"/>
                  <a:gd name="connsiteX4" fmla="*/ 5007 w 2467584"/>
                  <a:gd name="connsiteY4" fmla="*/ 1281363 h 1802393"/>
                  <a:gd name="connsiteX5" fmla="*/ 526036 w 2467584"/>
                  <a:gd name="connsiteY5" fmla="*/ 760334 h 1802393"/>
                  <a:gd name="connsiteX6" fmla="*/ 531007 w 2467584"/>
                  <a:gd name="connsiteY6" fmla="*/ 760835 h 1802393"/>
                  <a:gd name="connsiteX7" fmla="*/ 516400 w 2467584"/>
                  <a:gd name="connsiteY7" fmla="*/ 713780 h 1802393"/>
                  <a:gd name="connsiteX8" fmla="*/ 504331 w 2467584"/>
                  <a:gd name="connsiteY8" fmla="*/ 594057 h 1802393"/>
                  <a:gd name="connsiteX9" fmla="*/ 1098388 w 2467584"/>
                  <a:gd name="connsiteY9" fmla="*/ 0 h 1802393"/>
                  <a:gd name="connsiteX10" fmla="*/ 1645761 w 2467584"/>
                  <a:gd name="connsiteY10" fmla="*/ 362823 h 1802393"/>
                  <a:gd name="connsiteX11" fmla="*/ 1660508 w 2467584"/>
                  <a:gd name="connsiteY11" fmla="*/ 410329 h 1802393"/>
                  <a:gd name="connsiteX12" fmla="*/ 1711134 w 2467584"/>
                  <a:gd name="connsiteY12" fmla="*/ 394614 h 1802393"/>
                  <a:gd name="connsiteX13" fmla="*/ 1798041 w 2467584"/>
                  <a:gd name="connsiteY13" fmla="*/ 385853 h 1802393"/>
                  <a:gd name="connsiteX14" fmla="*/ 2229270 w 2467584"/>
                  <a:gd name="connsiteY14" fmla="*/ 817082 h 1802393"/>
                  <a:gd name="connsiteX15" fmla="*/ 2195382 w 2467584"/>
                  <a:gd name="connsiteY15" fmla="*/ 984936 h 1802393"/>
                  <a:gd name="connsiteX16" fmla="*/ 2190619 w 2467584"/>
                  <a:gd name="connsiteY16" fmla="*/ 993711 h 1802393"/>
                  <a:gd name="connsiteX17" fmla="*/ 2195752 w 2467584"/>
                  <a:gd name="connsiteY17" fmla="*/ 994229 h 1802393"/>
                  <a:gd name="connsiteX18" fmla="*/ 2467584 w 2467584"/>
                  <a:gd name="connsiteY18" fmla="*/ 1327755 h 1802393"/>
                  <a:gd name="connsiteX19" fmla="*/ 2367871 w 2467584"/>
                  <a:gd name="connsiteY19" fmla="*/ 1568484 h 1802393"/>
                  <a:gd name="connsiteX0" fmla="*/ 596882 w 2467584"/>
                  <a:gd name="connsiteY0" fmla="*/ 1802393 h 1802393"/>
                  <a:gd name="connsiteX1" fmla="*/ 526036 w 2467584"/>
                  <a:gd name="connsiteY1" fmla="*/ 1802392 h 1802393"/>
                  <a:gd name="connsiteX2" fmla="*/ 116533 w 2467584"/>
                  <a:gd name="connsiteY2" fmla="*/ 1607207 h 1802393"/>
                  <a:gd name="connsiteX3" fmla="*/ 5007 w 2467584"/>
                  <a:gd name="connsiteY3" fmla="*/ 1281363 h 1802393"/>
                  <a:gd name="connsiteX4" fmla="*/ 526036 w 2467584"/>
                  <a:gd name="connsiteY4" fmla="*/ 760334 h 1802393"/>
                  <a:gd name="connsiteX5" fmla="*/ 531007 w 2467584"/>
                  <a:gd name="connsiteY5" fmla="*/ 760835 h 1802393"/>
                  <a:gd name="connsiteX6" fmla="*/ 516400 w 2467584"/>
                  <a:gd name="connsiteY6" fmla="*/ 713780 h 1802393"/>
                  <a:gd name="connsiteX7" fmla="*/ 504331 w 2467584"/>
                  <a:gd name="connsiteY7" fmla="*/ 594057 h 1802393"/>
                  <a:gd name="connsiteX8" fmla="*/ 1098388 w 2467584"/>
                  <a:gd name="connsiteY8" fmla="*/ 0 h 1802393"/>
                  <a:gd name="connsiteX9" fmla="*/ 1645761 w 2467584"/>
                  <a:gd name="connsiteY9" fmla="*/ 362823 h 1802393"/>
                  <a:gd name="connsiteX10" fmla="*/ 1660508 w 2467584"/>
                  <a:gd name="connsiteY10" fmla="*/ 410329 h 1802393"/>
                  <a:gd name="connsiteX11" fmla="*/ 1711134 w 2467584"/>
                  <a:gd name="connsiteY11" fmla="*/ 394614 h 1802393"/>
                  <a:gd name="connsiteX12" fmla="*/ 1798041 w 2467584"/>
                  <a:gd name="connsiteY12" fmla="*/ 385853 h 1802393"/>
                  <a:gd name="connsiteX13" fmla="*/ 2229270 w 2467584"/>
                  <a:gd name="connsiteY13" fmla="*/ 817082 h 1802393"/>
                  <a:gd name="connsiteX14" fmla="*/ 2195382 w 2467584"/>
                  <a:gd name="connsiteY14" fmla="*/ 984936 h 1802393"/>
                  <a:gd name="connsiteX15" fmla="*/ 2190619 w 2467584"/>
                  <a:gd name="connsiteY15" fmla="*/ 993711 h 1802393"/>
                  <a:gd name="connsiteX16" fmla="*/ 2195752 w 2467584"/>
                  <a:gd name="connsiteY16" fmla="*/ 994229 h 1802393"/>
                  <a:gd name="connsiteX17" fmla="*/ 2467584 w 2467584"/>
                  <a:gd name="connsiteY17" fmla="*/ 1327755 h 1802393"/>
                  <a:gd name="connsiteX18" fmla="*/ 2367871 w 2467584"/>
                  <a:gd name="connsiteY18" fmla="*/ 1568484 h 1802393"/>
                  <a:gd name="connsiteX0" fmla="*/ 596882 w 2467584"/>
                  <a:gd name="connsiteY0" fmla="*/ 1802393 h 1802393"/>
                  <a:gd name="connsiteX1" fmla="*/ 116533 w 2467584"/>
                  <a:gd name="connsiteY1" fmla="*/ 1607207 h 1802393"/>
                  <a:gd name="connsiteX2" fmla="*/ 5007 w 2467584"/>
                  <a:gd name="connsiteY2" fmla="*/ 1281363 h 1802393"/>
                  <a:gd name="connsiteX3" fmla="*/ 526036 w 2467584"/>
                  <a:gd name="connsiteY3" fmla="*/ 760334 h 1802393"/>
                  <a:gd name="connsiteX4" fmla="*/ 531007 w 2467584"/>
                  <a:gd name="connsiteY4" fmla="*/ 760835 h 1802393"/>
                  <a:gd name="connsiteX5" fmla="*/ 516400 w 2467584"/>
                  <a:gd name="connsiteY5" fmla="*/ 713780 h 1802393"/>
                  <a:gd name="connsiteX6" fmla="*/ 504331 w 2467584"/>
                  <a:gd name="connsiteY6" fmla="*/ 594057 h 1802393"/>
                  <a:gd name="connsiteX7" fmla="*/ 1098388 w 2467584"/>
                  <a:gd name="connsiteY7" fmla="*/ 0 h 1802393"/>
                  <a:gd name="connsiteX8" fmla="*/ 1645761 w 2467584"/>
                  <a:gd name="connsiteY8" fmla="*/ 362823 h 1802393"/>
                  <a:gd name="connsiteX9" fmla="*/ 1660508 w 2467584"/>
                  <a:gd name="connsiteY9" fmla="*/ 410329 h 1802393"/>
                  <a:gd name="connsiteX10" fmla="*/ 1711134 w 2467584"/>
                  <a:gd name="connsiteY10" fmla="*/ 394614 h 1802393"/>
                  <a:gd name="connsiteX11" fmla="*/ 1798041 w 2467584"/>
                  <a:gd name="connsiteY11" fmla="*/ 385853 h 1802393"/>
                  <a:gd name="connsiteX12" fmla="*/ 2229270 w 2467584"/>
                  <a:gd name="connsiteY12" fmla="*/ 817082 h 1802393"/>
                  <a:gd name="connsiteX13" fmla="*/ 2195382 w 2467584"/>
                  <a:gd name="connsiteY13" fmla="*/ 984936 h 1802393"/>
                  <a:gd name="connsiteX14" fmla="*/ 2190619 w 2467584"/>
                  <a:gd name="connsiteY14" fmla="*/ 993711 h 1802393"/>
                  <a:gd name="connsiteX15" fmla="*/ 2195752 w 2467584"/>
                  <a:gd name="connsiteY15" fmla="*/ 994229 h 1802393"/>
                  <a:gd name="connsiteX16" fmla="*/ 2467584 w 2467584"/>
                  <a:gd name="connsiteY16" fmla="*/ 1327755 h 1802393"/>
                  <a:gd name="connsiteX17" fmla="*/ 2367871 w 2467584"/>
                  <a:gd name="connsiteY17" fmla="*/ 1568484 h 1802393"/>
                  <a:gd name="connsiteX0" fmla="*/ 116533 w 2467584"/>
                  <a:gd name="connsiteY0" fmla="*/ 1607207 h 1607207"/>
                  <a:gd name="connsiteX1" fmla="*/ 5007 w 2467584"/>
                  <a:gd name="connsiteY1" fmla="*/ 1281363 h 1607207"/>
                  <a:gd name="connsiteX2" fmla="*/ 526036 w 2467584"/>
                  <a:gd name="connsiteY2" fmla="*/ 760334 h 1607207"/>
                  <a:gd name="connsiteX3" fmla="*/ 531007 w 2467584"/>
                  <a:gd name="connsiteY3" fmla="*/ 760835 h 1607207"/>
                  <a:gd name="connsiteX4" fmla="*/ 516400 w 2467584"/>
                  <a:gd name="connsiteY4" fmla="*/ 713780 h 1607207"/>
                  <a:gd name="connsiteX5" fmla="*/ 504331 w 2467584"/>
                  <a:gd name="connsiteY5" fmla="*/ 594057 h 1607207"/>
                  <a:gd name="connsiteX6" fmla="*/ 1098388 w 2467584"/>
                  <a:gd name="connsiteY6" fmla="*/ 0 h 1607207"/>
                  <a:gd name="connsiteX7" fmla="*/ 1645761 w 2467584"/>
                  <a:gd name="connsiteY7" fmla="*/ 362823 h 1607207"/>
                  <a:gd name="connsiteX8" fmla="*/ 1660508 w 2467584"/>
                  <a:gd name="connsiteY8" fmla="*/ 410329 h 1607207"/>
                  <a:gd name="connsiteX9" fmla="*/ 1711134 w 2467584"/>
                  <a:gd name="connsiteY9" fmla="*/ 394614 h 1607207"/>
                  <a:gd name="connsiteX10" fmla="*/ 1798041 w 2467584"/>
                  <a:gd name="connsiteY10" fmla="*/ 385853 h 1607207"/>
                  <a:gd name="connsiteX11" fmla="*/ 2229270 w 2467584"/>
                  <a:gd name="connsiteY11" fmla="*/ 817082 h 1607207"/>
                  <a:gd name="connsiteX12" fmla="*/ 2195382 w 2467584"/>
                  <a:gd name="connsiteY12" fmla="*/ 984936 h 1607207"/>
                  <a:gd name="connsiteX13" fmla="*/ 2190619 w 2467584"/>
                  <a:gd name="connsiteY13" fmla="*/ 993711 h 1607207"/>
                  <a:gd name="connsiteX14" fmla="*/ 2195752 w 2467584"/>
                  <a:gd name="connsiteY14" fmla="*/ 994229 h 1607207"/>
                  <a:gd name="connsiteX15" fmla="*/ 2467584 w 2467584"/>
                  <a:gd name="connsiteY15" fmla="*/ 1327755 h 1607207"/>
                  <a:gd name="connsiteX16" fmla="*/ 2367871 w 2467584"/>
                  <a:gd name="connsiteY16" fmla="*/ 1568484 h 1607207"/>
                  <a:gd name="connsiteX0" fmla="*/ 116533 w 2467584"/>
                  <a:gd name="connsiteY0" fmla="*/ 1607207 h 1607207"/>
                  <a:gd name="connsiteX1" fmla="*/ 5007 w 2467584"/>
                  <a:gd name="connsiteY1" fmla="*/ 1281363 h 1607207"/>
                  <a:gd name="connsiteX2" fmla="*/ 526036 w 2467584"/>
                  <a:gd name="connsiteY2" fmla="*/ 760334 h 1607207"/>
                  <a:gd name="connsiteX3" fmla="*/ 531007 w 2467584"/>
                  <a:gd name="connsiteY3" fmla="*/ 760835 h 1607207"/>
                  <a:gd name="connsiteX4" fmla="*/ 516400 w 2467584"/>
                  <a:gd name="connsiteY4" fmla="*/ 713780 h 1607207"/>
                  <a:gd name="connsiteX5" fmla="*/ 504331 w 2467584"/>
                  <a:gd name="connsiteY5" fmla="*/ 594057 h 1607207"/>
                  <a:gd name="connsiteX6" fmla="*/ 1098388 w 2467584"/>
                  <a:gd name="connsiteY6" fmla="*/ 0 h 1607207"/>
                  <a:gd name="connsiteX7" fmla="*/ 1645761 w 2467584"/>
                  <a:gd name="connsiteY7" fmla="*/ 362823 h 1607207"/>
                  <a:gd name="connsiteX8" fmla="*/ 1660508 w 2467584"/>
                  <a:gd name="connsiteY8" fmla="*/ 410329 h 1607207"/>
                  <a:gd name="connsiteX9" fmla="*/ 1711134 w 2467584"/>
                  <a:gd name="connsiteY9" fmla="*/ 394614 h 1607207"/>
                  <a:gd name="connsiteX10" fmla="*/ 1798041 w 2467584"/>
                  <a:gd name="connsiteY10" fmla="*/ 385853 h 1607207"/>
                  <a:gd name="connsiteX11" fmla="*/ 2229270 w 2467584"/>
                  <a:gd name="connsiteY11" fmla="*/ 817082 h 1607207"/>
                  <a:gd name="connsiteX12" fmla="*/ 2195382 w 2467584"/>
                  <a:gd name="connsiteY12" fmla="*/ 984936 h 1607207"/>
                  <a:gd name="connsiteX13" fmla="*/ 2190619 w 2467584"/>
                  <a:gd name="connsiteY13" fmla="*/ 993711 h 1607207"/>
                  <a:gd name="connsiteX14" fmla="*/ 2195752 w 2467584"/>
                  <a:gd name="connsiteY14" fmla="*/ 994229 h 1607207"/>
                  <a:gd name="connsiteX15" fmla="*/ 2467584 w 2467584"/>
                  <a:gd name="connsiteY15" fmla="*/ 1327755 h 1607207"/>
                  <a:gd name="connsiteX16" fmla="*/ 2367871 w 2467584"/>
                  <a:gd name="connsiteY16" fmla="*/ 1568484 h 1607207"/>
                  <a:gd name="connsiteX0" fmla="*/ 5007 w 2467584"/>
                  <a:gd name="connsiteY0" fmla="*/ 1281363 h 1568484"/>
                  <a:gd name="connsiteX1" fmla="*/ 526036 w 2467584"/>
                  <a:gd name="connsiteY1" fmla="*/ 760334 h 1568484"/>
                  <a:gd name="connsiteX2" fmla="*/ 531007 w 2467584"/>
                  <a:gd name="connsiteY2" fmla="*/ 760835 h 1568484"/>
                  <a:gd name="connsiteX3" fmla="*/ 516400 w 2467584"/>
                  <a:gd name="connsiteY3" fmla="*/ 713780 h 1568484"/>
                  <a:gd name="connsiteX4" fmla="*/ 504331 w 2467584"/>
                  <a:gd name="connsiteY4" fmla="*/ 594057 h 1568484"/>
                  <a:gd name="connsiteX5" fmla="*/ 1098388 w 2467584"/>
                  <a:gd name="connsiteY5" fmla="*/ 0 h 1568484"/>
                  <a:gd name="connsiteX6" fmla="*/ 1645761 w 2467584"/>
                  <a:gd name="connsiteY6" fmla="*/ 362823 h 1568484"/>
                  <a:gd name="connsiteX7" fmla="*/ 1660508 w 2467584"/>
                  <a:gd name="connsiteY7" fmla="*/ 410329 h 1568484"/>
                  <a:gd name="connsiteX8" fmla="*/ 1711134 w 2467584"/>
                  <a:gd name="connsiteY8" fmla="*/ 394614 h 1568484"/>
                  <a:gd name="connsiteX9" fmla="*/ 1798041 w 2467584"/>
                  <a:gd name="connsiteY9" fmla="*/ 385853 h 1568484"/>
                  <a:gd name="connsiteX10" fmla="*/ 2229270 w 2467584"/>
                  <a:gd name="connsiteY10" fmla="*/ 817082 h 1568484"/>
                  <a:gd name="connsiteX11" fmla="*/ 2195382 w 2467584"/>
                  <a:gd name="connsiteY11" fmla="*/ 984936 h 1568484"/>
                  <a:gd name="connsiteX12" fmla="*/ 2190619 w 2467584"/>
                  <a:gd name="connsiteY12" fmla="*/ 993711 h 1568484"/>
                  <a:gd name="connsiteX13" fmla="*/ 2195752 w 2467584"/>
                  <a:gd name="connsiteY13" fmla="*/ 994229 h 1568484"/>
                  <a:gd name="connsiteX14" fmla="*/ 2467584 w 2467584"/>
                  <a:gd name="connsiteY14" fmla="*/ 1327755 h 1568484"/>
                  <a:gd name="connsiteX15" fmla="*/ 2367871 w 2467584"/>
                  <a:gd name="connsiteY15" fmla="*/ 1568484 h 1568484"/>
                  <a:gd name="connsiteX0" fmla="*/ 7654 w 2355931"/>
                  <a:gd name="connsiteY0" fmla="*/ 1388043 h 1568484"/>
                  <a:gd name="connsiteX1" fmla="*/ 414383 w 2355931"/>
                  <a:gd name="connsiteY1" fmla="*/ 760334 h 1568484"/>
                  <a:gd name="connsiteX2" fmla="*/ 419354 w 2355931"/>
                  <a:gd name="connsiteY2" fmla="*/ 760835 h 1568484"/>
                  <a:gd name="connsiteX3" fmla="*/ 404747 w 2355931"/>
                  <a:gd name="connsiteY3" fmla="*/ 713780 h 1568484"/>
                  <a:gd name="connsiteX4" fmla="*/ 392678 w 2355931"/>
                  <a:gd name="connsiteY4" fmla="*/ 594057 h 1568484"/>
                  <a:gd name="connsiteX5" fmla="*/ 986735 w 2355931"/>
                  <a:gd name="connsiteY5" fmla="*/ 0 h 1568484"/>
                  <a:gd name="connsiteX6" fmla="*/ 1534108 w 2355931"/>
                  <a:gd name="connsiteY6" fmla="*/ 362823 h 1568484"/>
                  <a:gd name="connsiteX7" fmla="*/ 1548855 w 2355931"/>
                  <a:gd name="connsiteY7" fmla="*/ 410329 h 1568484"/>
                  <a:gd name="connsiteX8" fmla="*/ 1599481 w 2355931"/>
                  <a:gd name="connsiteY8" fmla="*/ 394614 h 1568484"/>
                  <a:gd name="connsiteX9" fmla="*/ 1686388 w 2355931"/>
                  <a:gd name="connsiteY9" fmla="*/ 385853 h 1568484"/>
                  <a:gd name="connsiteX10" fmla="*/ 2117617 w 2355931"/>
                  <a:gd name="connsiteY10" fmla="*/ 817082 h 1568484"/>
                  <a:gd name="connsiteX11" fmla="*/ 2083729 w 2355931"/>
                  <a:gd name="connsiteY11" fmla="*/ 984936 h 1568484"/>
                  <a:gd name="connsiteX12" fmla="*/ 2078966 w 2355931"/>
                  <a:gd name="connsiteY12" fmla="*/ 993711 h 1568484"/>
                  <a:gd name="connsiteX13" fmla="*/ 2084099 w 2355931"/>
                  <a:gd name="connsiteY13" fmla="*/ 994229 h 1568484"/>
                  <a:gd name="connsiteX14" fmla="*/ 2355931 w 2355931"/>
                  <a:gd name="connsiteY14" fmla="*/ 1327755 h 1568484"/>
                  <a:gd name="connsiteX15" fmla="*/ 2256218 w 2355931"/>
                  <a:gd name="connsiteY15"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35286 w 2386470"/>
                  <a:gd name="connsiteY3" fmla="*/ 713780 h 1568484"/>
                  <a:gd name="connsiteX4" fmla="*/ 423217 w 2386470"/>
                  <a:gd name="connsiteY4" fmla="*/ 594057 h 1568484"/>
                  <a:gd name="connsiteX5" fmla="*/ 1017274 w 2386470"/>
                  <a:gd name="connsiteY5" fmla="*/ 0 h 1568484"/>
                  <a:gd name="connsiteX6" fmla="*/ 1564647 w 2386470"/>
                  <a:gd name="connsiteY6" fmla="*/ 362823 h 1568484"/>
                  <a:gd name="connsiteX7" fmla="*/ 1579394 w 2386470"/>
                  <a:gd name="connsiteY7" fmla="*/ 410329 h 1568484"/>
                  <a:gd name="connsiteX8" fmla="*/ 1630020 w 2386470"/>
                  <a:gd name="connsiteY8" fmla="*/ 394614 h 1568484"/>
                  <a:gd name="connsiteX9" fmla="*/ 1716927 w 2386470"/>
                  <a:gd name="connsiteY9" fmla="*/ 385853 h 1568484"/>
                  <a:gd name="connsiteX10" fmla="*/ 2148156 w 2386470"/>
                  <a:gd name="connsiteY10" fmla="*/ 817082 h 1568484"/>
                  <a:gd name="connsiteX11" fmla="*/ 2114268 w 2386470"/>
                  <a:gd name="connsiteY11" fmla="*/ 984936 h 1568484"/>
                  <a:gd name="connsiteX12" fmla="*/ 2109505 w 2386470"/>
                  <a:gd name="connsiteY12" fmla="*/ 993711 h 1568484"/>
                  <a:gd name="connsiteX13" fmla="*/ 2114638 w 2386470"/>
                  <a:gd name="connsiteY13" fmla="*/ 994229 h 1568484"/>
                  <a:gd name="connsiteX14" fmla="*/ 2386470 w 2386470"/>
                  <a:gd name="connsiteY14" fmla="*/ 1327755 h 1568484"/>
                  <a:gd name="connsiteX15" fmla="*/ 2286757 w 2386470"/>
                  <a:gd name="connsiteY15"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630020 w 2386470"/>
                  <a:gd name="connsiteY7" fmla="*/ 394614 h 1568484"/>
                  <a:gd name="connsiteX8" fmla="*/ 1716927 w 2386470"/>
                  <a:gd name="connsiteY8" fmla="*/ 385853 h 1568484"/>
                  <a:gd name="connsiteX9" fmla="*/ 2148156 w 2386470"/>
                  <a:gd name="connsiteY9" fmla="*/ 817082 h 1568484"/>
                  <a:gd name="connsiteX10" fmla="*/ 2114268 w 2386470"/>
                  <a:gd name="connsiteY10" fmla="*/ 984936 h 1568484"/>
                  <a:gd name="connsiteX11" fmla="*/ 2109505 w 2386470"/>
                  <a:gd name="connsiteY11" fmla="*/ 993711 h 1568484"/>
                  <a:gd name="connsiteX12" fmla="*/ 2114638 w 2386470"/>
                  <a:gd name="connsiteY12" fmla="*/ 994229 h 1568484"/>
                  <a:gd name="connsiteX13" fmla="*/ 2386470 w 2386470"/>
                  <a:gd name="connsiteY13" fmla="*/ 1327755 h 1568484"/>
                  <a:gd name="connsiteX14" fmla="*/ 2286757 w 2386470"/>
                  <a:gd name="connsiteY14"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23217 w 2386470"/>
                  <a:gd name="connsiteY3" fmla="*/ 59405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49893 w 2386470"/>
                  <a:gd name="connsiteY2" fmla="*/ 76083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556573 w 2386470"/>
                  <a:gd name="connsiteY2" fmla="*/ 772265 h 1568484"/>
                  <a:gd name="connsiteX3" fmla="*/ 419407 w 2386470"/>
                  <a:gd name="connsiteY3" fmla="*/ 575007 h 1568484"/>
                  <a:gd name="connsiteX4" fmla="*/ 1017274 w 2386470"/>
                  <a:gd name="connsiteY4" fmla="*/ 0 h 1568484"/>
                  <a:gd name="connsiteX5" fmla="*/ 1564647 w 2386470"/>
                  <a:gd name="connsiteY5" fmla="*/ 362823 h 1568484"/>
                  <a:gd name="connsiteX6" fmla="*/ 1579394 w 2386470"/>
                  <a:gd name="connsiteY6" fmla="*/ 410329 h 1568484"/>
                  <a:gd name="connsiteX7" fmla="*/ 1716927 w 2386470"/>
                  <a:gd name="connsiteY7" fmla="*/ 385853 h 1568484"/>
                  <a:gd name="connsiteX8" fmla="*/ 2148156 w 2386470"/>
                  <a:gd name="connsiteY8" fmla="*/ 817082 h 1568484"/>
                  <a:gd name="connsiteX9" fmla="*/ 2114268 w 2386470"/>
                  <a:gd name="connsiteY9" fmla="*/ 984936 h 1568484"/>
                  <a:gd name="connsiteX10" fmla="*/ 2109505 w 2386470"/>
                  <a:gd name="connsiteY10" fmla="*/ 993711 h 1568484"/>
                  <a:gd name="connsiteX11" fmla="*/ 2114638 w 2386470"/>
                  <a:gd name="connsiteY11" fmla="*/ 994229 h 1568484"/>
                  <a:gd name="connsiteX12" fmla="*/ 2386470 w 2386470"/>
                  <a:gd name="connsiteY12" fmla="*/ 1327755 h 1568484"/>
                  <a:gd name="connsiteX13" fmla="*/ 2286757 w 2386470"/>
                  <a:gd name="connsiteY13"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38193 w 2386470"/>
                  <a:gd name="connsiteY0" fmla="*/ 1388043 h 1568484"/>
                  <a:gd name="connsiteX1" fmla="*/ 444922 w 2386470"/>
                  <a:gd name="connsiteY1" fmla="*/ 760334 h 1568484"/>
                  <a:gd name="connsiteX2" fmla="*/ 419407 w 2386470"/>
                  <a:gd name="connsiteY2" fmla="*/ 575007 h 1568484"/>
                  <a:gd name="connsiteX3" fmla="*/ 1017274 w 2386470"/>
                  <a:gd name="connsiteY3" fmla="*/ 0 h 1568484"/>
                  <a:gd name="connsiteX4" fmla="*/ 1564647 w 2386470"/>
                  <a:gd name="connsiteY4" fmla="*/ 362823 h 1568484"/>
                  <a:gd name="connsiteX5" fmla="*/ 1579394 w 2386470"/>
                  <a:gd name="connsiteY5" fmla="*/ 410329 h 1568484"/>
                  <a:gd name="connsiteX6" fmla="*/ 1716927 w 2386470"/>
                  <a:gd name="connsiteY6" fmla="*/ 385853 h 1568484"/>
                  <a:gd name="connsiteX7" fmla="*/ 2148156 w 2386470"/>
                  <a:gd name="connsiteY7" fmla="*/ 817082 h 1568484"/>
                  <a:gd name="connsiteX8" fmla="*/ 2114268 w 2386470"/>
                  <a:gd name="connsiteY8" fmla="*/ 984936 h 1568484"/>
                  <a:gd name="connsiteX9" fmla="*/ 2109505 w 2386470"/>
                  <a:gd name="connsiteY9" fmla="*/ 993711 h 1568484"/>
                  <a:gd name="connsiteX10" fmla="*/ 2114638 w 2386470"/>
                  <a:gd name="connsiteY10" fmla="*/ 994229 h 1568484"/>
                  <a:gd name="connsiteX11" fmla="*/ 2386470 w 2386470"/>
                  <a:gd name="connsiteY11" fmla="*/ 1327755 h 1568484"/>
                  <a:gd name="connsiteX12" fmla="*/ 2286757 w 2386470"/>
                  <a:gd name="connsiteY12" fmla="*/ 1568484 h 1568484"/>
                  <a:gd name="connsiteX0" fmla="*/ 47485 w 2316215"/>
                  <a:gd name="connsiteY0" fmla="*/ 1513047 h 1568484"/>
                  <a:gd name="connsiteX1" fmla="*/ 374667 w 2316215"/>
                  <a:gd name="connsiteY1" fmla="*/ 760334 h 1568484"/>
                  <a:gd name="connsiteX2" fmla="*/ 349152 w 2316215"/>
                  <a:gd name="connsiteY2" fmla="*/ 575007 h 1568484"/>
                  <a:gd name="connsiteX3" fmla="*/ 947019 w 2316215"/>
                  <a:gd name="connsiteY3" fmla="*/ 0 h 1568484"/>
                  <a:gd name="connsiteX4" fmla="*/ 1494392 w 2316215"/>
                  <a:gd name="connsiteY4" fmla="*/ 362823 h 1568484"/>
                  <a:gd name="connsiteX5" fmla="*/ 1509139 w 2316215"/>
                  <a:gd name="connsiteY5" fmla="*/ 410329 h 1568484"/>
                  <a:gd name="connsiteX6" fmla="*/ 1646672 w 2316215"/>
                  <a:gd name="connsiteY6" fmla="*/ 385853 h 1568484"/>
                  <a:gd name="connsiteX7" fmla="*/ 2077901 w 2316215"/>
                  <a:gd name="connsiteY7" fmla="*/ 817082 h 1568484"/>
                  <a:gd name="connsiteX8" fmla="*/ 2044013 w 2316215"/>
                  <a:gd name="connsiteY8" fmla="*/ 984936 h 1568484"/>
                  <a:gd name="connsiteX9" fmla="*/ 2039250 w 2316215"/>
                  <a:gd name="connsiteY9" fmla="*/ 993711 h 1568484"/>
                  <a:gd name="connsiteX10" fmla="*/ 2044383 w 2316215"/>
                  <a:gd name="connsiteY10" fmla="*/ 994229 h 1568484"/>
                  <a:gd name="connsiteX11" fmla="*/ 2316215 w 2316215"/>
                  <a:gd name="connsiteY11" fmla="*/ 1327755 h 1568484"/>
                  <a:gd name="connsiteX12" fmla="*/ 2216502 w 2316215"/>
                  <a:gd name="connsiteY12" fmla="*/ 1568484 h 1568484"/>
                  <a:gd name="connsiteX0" fmla="*/ 81035 w 2349765"/>
                  <a:gd name="connsiteY0" fmla="*/ 1513047 h 1568484"/>
                  <a:gd name="connsiteX1" fmla="*/ 408217 w 2349765"/>
                  <a:gd name="connsiteY1" fmla="*/ 760334 h 1568484"/>
                  <a:gd name="connsiteX2" fmla="*/ 382702 w 2349765"/>
                  <a:gd name="connsiteY2" fmla="*/ 575007 h 1568484"/>
                  <a:gd name="connsiteX3" fmla="*/ 980569 w 2349765"/>
                  <a:gd name="connsiteY3" fmla="*/ 0 h 1568484"/>
                  <a:gd name="connsiteX4" fmla="*/ 1527942 w 2349765"/>
                  <a:gd name="connsiteY4" fmla="*/ 362823 h 1568484"/>
                  <a:gd name="connsiteX5" fmla="*/ 1542689 w 2349765"/>
                  <a:gd name="connsiteY5" fmla="*/ 410329 h 1568484"/>
                  <a:gd name="connsiteX6" fmla="*/ 1680222 w 2349765"/>
                  <a:gd name="connsiteY6" fmla="*/ 385853 h 1568484"/>
                  <a:gd name="connsiteX7" fmla="*/ 2111451 w 2349765"/>
                  <a:gd name="connsiteY7" fmla="*/ 817082 h 1568484"/>
                  <a:gd name="connsiteX8" fmla="*/ 2077563 w 2349765"/>
                  <a:gd name="connsiteY8" fmla="*/ 984936 h 1568484"/>
                  <a:gd name="connsiteX9" fmla="*/ 2072800 w 2349765"/>
                  <a:gd name="connsiteY9" fmla="*/ 993711 h 1568484"/>
                  <a:gd name="connsiteX10" fmla="*/ 2077933 w 2349765"/>
                  <a:gd name="connsiteY10" fmla="*/ 994229 h 1568484"/>
                  <a:gd name="connsiteX11" fmla="*/ 2349765 w 2349765"/>
                  <a:gd name="connsiteY11" fmla="*/ 1327755 h 1568484"/>
                  <a:gd name="connsiteX12" fmla="*/ 2250052 w 2349765"/>
                  <a:gd name="connsiteY12" fmla="*/ 1568484 h 1568484"/>
                  <a:gd name="connsiteX0" fmla="*/ 110397 w 2379127"/>
                  <a:gd name="connsiteY0" fmla="*/ 1513047 h 1568484"/>
                  <a:gd name="connsiteX1" fmla="*/ 437579 w 2379127"/>
                  <a:gd name="connsiteY1" fmla="*/ 760334 h 1568484"/>
                  <a:gd name="connsiteX2" fmla="*/ 412064 w 2379127"/>
                  <a:gd name="connsiteY2" fmla="*/ 575007 h 1568484"/>
                  <a:gd name="connsiteX3" fmla="*/ 1009931 w 2379127"/>
                  <a:gd name="connsiteY3" fmla="*/ 0 h 1568484"/>
                  <a:gd name="connsiteX4" fmla="*/ 1557304 w 2379127"/>
                  <a:gd name="connsiteY4" fmla="*/ 362823 h 1568484"/>
                  <a:gd name="connsiteX5" fmla="*/ 1572051 w 2379127"/>
                  <a:gd name="connsiteY5" fmla="*/ 410329 h 1568484"/>
                  <a:gd name="connsiteX6" fmla="*/ 1709584 w 2379127"/>
                  <a:gd name="connsiteY6" fmla="*/ 385853 h 1568484"/>
                  <a:gd name="connsiteX7" fmla="*/ 2140813 w 2379127"/>
                  <a:gd name="connsiteY7" fmla="*/ 817082 h 1568484"/>
                  <a:gd name="connsiteX8" fmla="*/ 2106925 w 2379127"/>
                  <a:gd name="connsiteY8" fmla="*/ 984936 h 1568484"/>
                  <a:gd name="connsiteX9" fmla="*/ 2102162 w 2379127"/>
                  <a:gd name="connsiteY9" fmla="*/ 993711 h 1568484"/>
                  <a:gd name="connsiteX10" fmla="*/ 2107295 w 2379127"/>
                  <a:gd name="connsiteY10" fmla="*/ 994229 h 1568484"/>
                  <a:gd name="connsiteX11" fmla="*/ 2379127 w 2379127"/>
                  <a:gd name="connsiteY11" fmla="*/ 1327755 h 1568484"/>
                  <a:gd name="connsiteX12" fmla="*/ 2279414 w 2379127"/>
                  <a:gd name="connsiteY12" fmla="*/ 1568484 h 1568484"/>
                  <a:gd name="connsiteX0" fmla="*/ 126784 w 2395514"/>
                  <a:gd name="connsiteY0" fmla="*/ 1513047 h 1568484"/>
                  <a:gd name="connsiteX1" fmla="*/ 453966 w 2395514"/>
                  <a:gd name="connsiteY1" fmla="*/ 760334 h 1568484"/>
                  <a:gd name="connsiteX2" fmla="*/ 428451 w 2395514"/>
                  <a:gd name="connsiteY2" fmla="*/ 575007 h 1568484"/>
                  <a:gd name="connsiteX3" fmla="*/ 1026318 w 2395514"/>
                  <a:gd name="connsiteY3" fmla="*/ 0 h 1568484"/>
                  <a:gd name="connsiteX4" fmla="*/ 1573691 w 2395514"/>
                  <a:gd name="connsiteY4" fmla="*/ 362823 h 1568484"/>
                  <a:gd name="connsiteX5" fmla="*/ 1588438 w 2395514"/>
                  <a:gd name="connsiteY5" fmla="*/ 410329 h 1568484"/>
                  <a:gd name="connsiteX6" fmla="*/ 1725971 w 2395514"/>
                  <a:gd name="connsiteY6" fmla="*/ 385853 h 1568484"/>
                  <a:gd name="connsiteX7" fmla="*/ 2157200 w 2395514"/>
                  <a:gd name="connsiteY7" fmla="*/ 817082 h 1568484"/>
                  <a:gd name="connsiteX8" fmla="*/ 2123312 w 2395514"/>
                  <a:gd name="connsiteY8" fmla="*/ 984936 h 1568484"/>
                  <a:gd name="connsiteX9" fmla="*/ 2118549 w 2395514"/>
                  <a:gd name="connsiteY9" fmla="*/ 993711 h 1568484"/>
                  <a:gd name="connsiteX10" fmla="*/ 2123682 w 2395514"/>
                  <a:gd name="connsiteY10" fmla="*/ 994229 h 1568484"/>
                  <a:gd name="connsiteX11" fmla="*/ 2395514 w 2395514"/>
                  <a:gd name="connsiteY11" fmla="*/ 1327755 h 1568484"/>
                  <a:gd name="connsiteX12" fmla="*/ 2295801 w 2395514"/>
                  <a:gd name="connsiteY12" fmla="*/ 1568484 h 1568484"/>
                  <a:gd name="connsiteX0" fmla="*/ 132147 w 2378149"/>
                  <a:gd name="connsiteY0" fmla="*/ 1603960 h 1603960"/>
                  <a:gd name="connsiteX1" fmla="*/ 436601 w 2378149"/>
                  <a:gd name="connsiteY1" fmla="*/ 760334 h 1603960"/>
                  <a:gd name="connsiteX2" fmla="*/ 411086 w 2378149"/>
                  <a:gd name="connsiteY2" fmla="*/ 575007 h 1603960"/>
                  <a:gd name="connsiteX3" fmla="*/ 1008953 w 2378149"/>
                  <a:gd name="connsiteY3" fmla="*/ 0 h 1603960"/>
                  <a:gd name="connsiteX4" fmla="*/ 1556326 w 2378149"/>
                  <a:gd name="connsiteY4" fmla="*/ 362823 h 1603960"/>
                  <a:gd name="connsiteX5" fmla="*/ 1571073 w 2378149"/>
                  <a:gd name="connsiteY5" fmla="*/ 410329 h 1603960"/>
                  <a:gd name="connsiteX6" fmla="*/ 1708606 w 2378149"/>
                  <a:gd name="connsiteY6" fmla="*/ 385853 h 1603960"/>
                  <a:gd name="connsiteX7" fmla="*/ 2139835 w 2378149"/>
                  <a:gd name="connsiteY7" fmla="*/ 817082 h 1603960"/>
                  <a:gd name="connsiteX8" fmla="*/ 2105947 w 2378149"/>
                  <a:gd name="connsiteY8" fmla="*/ 984936 h 1603960"/>
                  <a:gd name="connsiteX9" fmla="*/ 2101184 w 2378149"/>
                  <a:gd name="connsiteY9" fmla="*/ 993711 h 1603960"/>
                  <a:gd name="connsiteX10" fmla="*/ 2106317 w 2378149"/>
                  <a:gd name="connsiteY10" fmla="*/ 994229 h 1603960"/>
                  <a:gd name="connsiteX11" fmla="*/ 2378149 w 2378149"/>
                  <a:gd name="connsiteY11" fmla="*/ 1327755 h 1603960"/>
                  <a:gd name="connsiteX12" fmla="*/ 2278436 w 2378149"/>
                  <a:gd name="connsiteY12" fmla="*/ 1568484 h 1603960"/>
                  <a:gd name="connsiteX0" fmla="*/ 152328 w 2398330"/>
                  <a:gd name="connsiteY0" fmla="*/ 1603960 h 1603960"/>
                  <a:gd name="connsiteX1" fmla="*/ 456782 w 2398330"/>
                  <a:gd name="connsiteY1" fmla="*/ 760334 h 1603960"/>
                  <a:gd name="connsiteX2" fmla="*/ 431267 w 2398330"/>
                  <a:gd name="connsiteY2" fmla="*/ 575007 h 1603960"/>
                  <a:gd name="connsiteX3" fmla="*/ 1029134 w 2398330"/>
                  <a:gd name="connsiteY3" fmla="*/ 0 h 1603960"/>
                  <a:gd name="connsiteX4" fmla="*/ 1576507 w 2398330"/>
                  <a:gd name="connsiteY4" fmla="*/ 362823 h 1603960"/>
                  <a:gd name="connsiteX5" fmla="*/ 1591254 w 2398330"/>
                  <a:gd name="connsiteY5" fmla="*/ 410329 h 1603960"/>
                  <a:gd name="connsiteX6" fmla="*/ 1728787 w 2398330"/>
                  <a:gd name="connsiteY6" fmla="*/ 385853 h 1603960"/>
                  <a:gd name="connsiteX7" fmla="*/ 2160016 w 2398330"/>
                  <a:gd name="connsiteY7" fmla="*/ 817082 h 1603960"/>
                  <a:gd name="connsiteX8" fmla="*/ 2126128 w 2398330"/>
                  <a:gd name="connsiteY8" fmla="*/ 984936 h 1603960"/>
                  <a:gd name="connsiteX9" fmla="*/ 2121365 w 2398330"/>
                  <a:gd name="connsiteY9" fmla="*/ 993711 h 1603960"/>
                  <a:gd name="connsiteX10" fmla="*/ 2126498 w 2398330"/>
                  <a:gd name="connsiteY10" fmla="*/ 994229 h 1603960"/>
                  <a:gd name="connsiteX11" fmla="*/ 2398330 w 2398330"/>
                  <a:gd name="connsiteY11" fmla="*/ 1327755 h 1603960"/>
                  <a:gd name="connsiteX12" fmla="*/ 2298617 w 2398330"/>
                  <a:gd name="connsiteY12" fmla="*/ 1568484 h 1603960"/>
                  <a:gd name="connsiteX0" fmla="*/ 117007 w 2363009"/>
                  <a:gd name="connsiteY0" fmla="*/ 1603960 h 1603960"/>
                  <a:gd name="connsiteX1" fmla="*/ 421461 w 2363009"/>
                  <a:gd name="connsiteY1" fmla="*/ 760334 h 1603960"/>
                  <a:gd name="connsiteX2" fmla="*/ 395946 w 2363009"/>
                  <a:gd name="connsiteY2" fmla="*/ 575007 h 1603960"/>
                  <a:gd name="connsiteX3" fmla="*/ 993813 w 2363009"/>
                  <a:gd name="connsiteY3" fmla="*/ 0 h 1603960"/>
                  <a:gd name="connsiteX4" fmla="*/ 1541186 w 2363009"/>
                  <a:gd name="connsiteY4" fmla="*/ 362823 h 1603960"/>
                  <a:gd name="connsiteX5" fmla="*/ 1555933 w 2363009"/>
                  <a:gd name="connsiteY5" fmla="*/ 410329 h 1603960"/>
                  <a:gd name="connsiteX6" fmla="*/ 1693466 w 2363009"/>
                  <a:gd name="connsiteY6" fmla="*/ 385853 h 1603960"/>
                  <a:gd name="connsiteX7" fmla="*/ 2124695 w 2363009"/>
                  <a:gd name="connsiteY7" fmla="*/ 817082 h 1603960"/>
                  <a:gd name="connsiteX8" fmla="*/ 2090807 w 2363009"/>
                  <a:gd name="connsiteY8" fmla="*/ 984936 h 1603960"/>
                  <a:gd name="connsiteX9" fmla="*/ 2086044 w 2363009"/>
                  <a:gd name="connsiteY9" fmla="*/ 993711 h 1603960"/>
                  <a:gd name="connsiteX10" fmla="*/ 2091177 w 2363009"/>
                  <a:gd name="connsiteY10" fmla="*/ 994229 h 1603960"/>
                  <a:gd name="connsiteX11" fmla="*/ 2363009 w 2363009"/>
                  <a:gd name="connsiteY11" fmla="*/ 1327755 h 1603960"/>
                  <a:gd name="connsiteX12" fmla="*/ 2263296 w 2363009"/>
                  <a:gd name="connsiteY12" fmla="*/ 1568484 h 1603960"/>
                  <a:gd name="connsiteX0" fmla="*/ 117007 w 2363009"/>
                  <a:gd name="connsiteY0" fmla="*/ 1603960 h 1603960"/>
                  <a:gd name="connsiteX1" fmla="*/ 421461 w 2363009"/>
                  <a:gd name="connsiteY1" fmla="*/ 760334 h 1603960"/>
                  <a:gd name="connsiteX2" fmla="*/ 993813 w 2363009"/>
                  <a:gd name="connsiteY2" fmla="*/ 0 h 1603960"/>
                  <a:gd name="connsiteX3" fmla="*/ 1541186 w 2363009"/>
                  <a:gd name="connsiteY3" fmla="*/ 362823 h 1603960"/>
                  <a:gd name="connsiteX4" fmla="*/ 1555933 w 2363009"/>
                  <a:gd name="connsiteY4" fmla="*/ 410329 h 1603960"/>
                  <a:gd name="connsiteX5" fmla="*/ 1693466 w 2363009"/>
                  <a:gd name="connsiteY5" fmla="*/ 385853 h 1603960"/>
                  <a:gd name="connsiteX6" fmla="*/ 2124695 w 2363009"/>
                  <a:gd name="connsiteY6" fmla="*/ 817082 h 1603960"/>
                  <a:gd name="connsiteX7" fmla="*/ 2090807 w 2363009"/>
                  <a:gd name="connsiteY7" fmla="*/ 984936 h 1603960"/>
                  <a:gd name="connsiteX8" fmla="*/ 2086044 w 2363009"/>
                  <a:gd name="connsiteY8" fmla="*/ 993711 h 1603960"/>
                  <a:gd name="connsiteX9" fmla="*/ 2091177 w 2363009"/>
                  <a:gd name="connsiteY9" fmla="*/ 994229 h 1603960"/>
                  <a:gd name="connsiteX10" fmla="*/ 2363009 w 2363009"/>
                  <a:gd name="connsiteY10" fmla="*/ 1327755 h 1603960"/>
                  <a:gd name="connsiteX11" fmla="*/ 2263296 w 2363009"/>
                  <a:gd name="connsiteY11" fmla="*/ 1568484 h 1603960"/>
                  <a:gd name="connsiteX0" fmla="*/ 106776 w 2352778"/>
                  <a:gd name="connsiteY0" fmla="*/ 1603960 h 1603960"/>
                  <a:gd name="connsiteX1" fmla="*/ 456689 w 2352778"/>
                  <a:gd name="connsiteY1" fmla="*/ 760335 h 1603960"/>
                  <a:gd name="connsiteX2" fmla="*/ 983582 w 2352778"/>
                  <a:gd name="connsiteY2" fmla="*/ 0 h 1603960"/>
                  <a:gd name="connsiteX3" fmla="*/ 1530955 w 2352778"/>
                  <a:gd name="connsiteY3" fmla="*/ 362823 h 1603960"/>
                  <a:gd name="connsiteX4" fmla="*/ 1545702 w 2352778"/>
                  <a:gd name="connsiteY4" fmla="*/ 410329 h 1603960"/>
                  <a:gd name="connsiteX5" fmla="*/ 1683235 w 2352778"/>
                  <a:gd name="connsiteY5" fmla="*/ 385853 h 1603960"/>
                  <a:gd name="connsiteX6" fmla="*/ 2114464 w 2352778"/>
                  <a:gd name="connsiteY6" fmla="*/ 817082 h 1603960"/>
                  <a:gd name="connsiteX7" fmla="*/ 2080576 w 2352778"/>
                  <a:gd name="connsiteY7" fmla="*/ 984936 h 1603960"/>
                  <a:gd name="connsiteX8" fmla="*/ 2075813 w 2352778"/>
                  <a:gd name="connsiteY8" fmla="*/ 993711 h 1603960"/>
                  <a:gd name="connsiteX9" fmla="*/ 2080946 w 2352778"/>
                  <a:gd name="connsiteY9" fmla="*/ 994229 h 1603960"/>
                  <a:gd name="connsiteX10" fmla="*/ 2352778 w 2352778"/>
                  <a:gd name="connsiteY10" fmla="*/ 1327755 h 1603960"/>
                  <a:gd name="connsiteX11" fmla="*/ 2253065 w 2352778"/>
                  <a:gd name="connsiteY11" fmla="*/ 1568484 h 1603960"/>
                  <a:gd name="connsiteX0" fmla="*/ 106776 w 2352778"/>
                  <a:gd name="connsiteY0" fmla="*/ 1603960 h 1603960"/>
                  <a:gd name="connsiteX1" fmla="*/ 456689 w 2352778"/>
                  <a:gd name="connsiteY1" fmla="*/ 760335 h 1603960"/>
                  <a:gd name="connsiteX2" fmla="*/ 983582 w 2352778"/>
                  <a:gd name="connsiteY2" fmla="*/ 0 h 1603960"/>
                  <a:gd name="connsiteX3" fmla="*/ 1530955 w 2352778"/>
                  <a:gd name="connsiteY3" fmla="*/ 362823 h 1603960"/>
                  <a:gd name="connsiteX4" fmla="*/ 1545702 w 2352778"/>
                  <a:gd name="connsiteY4" fmla="*/ 410329 h 1603960"/>
                  <a:gd name="connsiteX5" fmla="*/ 1683235 w 2352778"/>
                  <a:gd name="connsiteY5" fmla="*/ 385853 h 1603960"/>
                  <a:gd name="connsiteX6" fmla="*/ 2114464 w 2352778"/>
                  <a:gd name="connsiteY6" fmla="*/ 817082 h 1603960"/>
                  <a:gd name="connsiteX7" fmla="*/ 2080576 w 2352778"/>
                  <a:gd name="connsiteY7" fmla="*/ 984936 h 1603960"/>
                  <a:gd name="connsiteX8" fmla="*/ 2075813 w 2352778"/>
                  <a:gd name="connsiteY8" fmla="*/ 993711 h 1603960"/>
                  <a:gd name="connsiteX9" fmla="*/ 2080946 w 2352778"/>
                  <a:gd name="connsiteY9" fmla="*/ 994229 h 1603960"/>
                  <a:gd name="connsiteX10" fmla="*/ 2352778 w 2352778"/>
                  <a:gd name="connsiteY10" fmla="*/ 1327755 h 1603960"/>
                  <a:gd name="connsiteX11" fmla="*/ 2253065 w 2352778"/>
                  <a:gd name="connsiteY11" fmla="*/ 1568484 h 1603960"/>
                  <a:gd name="connsiteX0" fmla="*/ 106776 w 2352778"/>
                  <a:gd name="connsiteY0" fmla="*/ 1610605 h 1610605"/>
                  <a:gd name="connsiteX1" fmla="*/ 456689 w 2352778"/>
                  <a:gd name="connsiteY1" fmla="*/ 766980 h 1610605"/>
                  <a:gd name="connsiteX2" fmla="*/ 983582 w 2352778"/>
                  <a:gd name="connsiteY2" fmla="*/ 6645 h 1610605"/>
                  <a:gd name="connsiteX3" fmla="*/ 1530955 w 2352778"/>
                  <a:gd name="connsiteY3" fmla="*/ 369468 h 1610605"/>
                  <a:gd name="connsiteX4" fmla="*/ 1545702 w 2352778"/>
                  <a:gd name="connsiteY4" fmla="*/ 416974 h 1610605"/>
                  <a:gd name="connsiteX5" fmla="*/ 1683235 w 2352778"/>
                  <a:gd name="connsiteY5" fmla="*/ 392498 h 1610605"/>
                  <a:gd name="connsiteX6" fmla="*/ 2114464 w 2352778"/>
                  <a:gd name="connsiteY6" fmla="*/ 823727 h 1610605"/>
                  <a:gd name="connsiteX7" fmla="*/ 2080576 w 2352778"/>
                  <a:gd name="connsiteY7" fmla="*/ 991581 h 1610605"/>
                  <a:gd name="connsiteX8" fmla="*/ 2075813 w 2352778"/>
                  <a:gd name="connsiteY8" fmla="*/ 1000356 h 1610605"/>
                  <a:gd name="connsiteX9" fmla="*/ 2080946 w 2352778"/>
                  <a:gd name="connsiteY9" fmla="*/ 1000874 h 1610605"/>
                  <a:gd name="connsiteX10" fmla="*/ 2352778 w 2352778"/>
                  <a:gd name="connsiteY10" fmla="*/ 1334400 h 1610605"/>
                  <a:gd name="connsiteX11" fmla="*/ 2253065 w 2352778"/>
                  <a:gd name="connsiteY11" fmla="*/ 1575129 h 1610605"/>
                  <a:gd name="connsiteX0" fmla="*/ 106776 w 2352778"/>
                  <a:gd name="connsiteY0" fmla="*/ 1610605 h 1610605"/>
                  <a:gd name="connsiteX1" fmla="*/ 456689 w 2352778"/>
                  <a:gd name="connsiteY1" fmla="*/ 766980 h 1610605"/>
                  <a:gd name="connsiteX2" fmla="*/ 983582 w 2352778"/>
                  <a:gd name="connsiteY2" fmla="*/ 6645 h 1610605"/>
                  <a:gd name="connsiteX3" fmla="*/ 1530955 w 2352778"/>
                  <a:gd name="connsiteY3" fmla="*/ 369468 h 1610605"/>
                  <a:gd name="connsiteX4" fmla="*/ 1683235 w 2352778"/>
                  <a:gd name="connsiteY4" fmla="*/ 392498 h 1610605"/>
                  <a:gd name="connsiteX5" fmla="*/ 2114464 w 2352778"/>
                  <a:gd name="connsiteY5" fmla="*/ 823727 h 1610605"/>
                  <a:gd name="connsiteX6" fmla="*/ 2080576 w 2352778"/>
                  <a:gd name="connsiteY6" fmla="*/ 991581 h 1610605"/>
                  <a:gd name="connsiteX7" fmla="*/ 2075813 w 2352778"/>
                  <a:gd name="connsiteY7" fmla="*/ 1000356 h 1610605"/>
                  <a:gd name="connsiteX8" fmla="*/ 2080946 w 2352778"/>
                  <a:gd name="connsiteY8" fmla="*/ 1000874 h 1610605"/>
                  <a:gd name="connsiteX9" fmla="*/ 2352778 w 2352778"/>
                  <a:gd name="connsiteY9" fmla="*/ 1334400 h 1610605"/>
                  <a:gd name="connsiteX10" fmla="*/ 2253065 w 2352778"/>
                  <a:gd name="connsiteY10" fmla="*/ 1575129 h 1610605"/>
                  <a:gd name="connsiteX0" fmla="*/ 106776 w 2352778"/>
                  <a:gd name="connsiteY0" fmla="*/ 1612114 h 1612114"/>
                  <a:gd name="connsiteX1" fmla="*/ 456689 w 2352778"/>
                  <a:gd name="connsiteY1" fmla="*/ 768489 h 1612114"/>
                  <a:gd name="connsiteX2" fmla="*/ 983582 w 2352778"/>
                  <a:gd name="connsiteY2" fmla="*/ 8154 h 1612114"/>
                  <a:gd name="connsiteX3" fmla="*/ 1683235 w 2352778"/>
                  <a:gd name="connsiteY3" fmla="*/ 394007 h 1612114"/>
                  <a:gd name="connsiteX4" fmla="*/ 2114464 w 2352778"/>
                  <a:gd name="connsiteY4" fmla="*/ 825236 h 1612114"/>
                  <a:gd name="connsiteX5" fmla="*/ 2080576 w 2352778"/>
                  <a:gd name="connsiteY5" fmla="*/ 993090 h 1612114"/>
                  <a:gd name="connsiteX6" fmla="*/ 2075813 w 2352778"/>
                  <a:gd name="connsiteY6" fmla="*/ 1001865 h 1612114"/>
                  <a:gd name="connsiteX7" fmla="*/ 2080946 w 2352778"/>
                  <a:gd name="connsiteY7" fmla="*/ 1002383 h 1612114"/>
                  <a:gd name="connsiteX8" fmla="*/ 2352778 w 2352778"/>
                  <a:gd name="connsiteY8" fmla="*/ 1335909 h 1612114"/>
                  <a:gd name="connsiteX9" fmla="*/ 2253065 w 2352778"/>
                  <a:gd name="connsiteY9" fmla="*/ 1576638 h 1612114"/>
                  <a:gd name="connsiteX0" fmla="*/ 106776 w 2352778"/>
                  <a:gd name="connsiteY0" fmla="*/ 1611207 h 1611207"/>
                  <a:gd name="connsiteX1" fmla="*/ 456689 w 2352778"/>
                  <a:gd name="connsiteY1" fmla="*/ 767582 h 1611207"/>
                  <a:gd name="connsiteX2" fmla="*/ 983582 w 2352778"/>
                  <a:gd name="connsiteY2" fmla="*/ 7247 h 1611207"/>
                  <a:gd name="connsiteX3" fmla="*/ 1558230 w 2352778"/>
                  <a:gd name="connsiteY3" fmla="*/ 438554 h 1611207"/>
                  <a:gd name="connsiteX4" fmla="*/ 2114464 w 2352778"/>
                  <a:gd name="connsiteY4" fmla="*/ 824329 h 1611207"/>
                  <a:gd name="connsiteX5" fmla="*/ 2080576 w 2352778"/>
                  <a:gd name="connsiteY5" fmla="*/ 992183 h 1611207"/>
                  <a:gd name="connsiteX6" fmla="*/ 2075813 w 2352778"/>
                  <a:gd name="connsiteY6" fmla="*/ 1000958 h 1611207"/>
                  <a:gd name="connsiteX7" fmla="*/ 2080946 w 2352778"/>
                  <a:gd name="connsiteY7" fmla="*/ 1001476 h 1611207"/>
                  <a:gd name="connsiteX8" fmla="*/ 2352778 w 2352778"/>
                  <a:gd name="connsiteY8" fmla="*/ 1335002 h 1611207"/>
                  <a:gd name="connsiteX9" fmla="*/ 2253065 w 2352778"/>
                  <a:gd name="connsiteY9" fmla="*/ 1575731 h 1611207"/>
                  <a:gd name="connsiteX0" fmla="*/ 106776 w 2352778"/>
                  <a:gd name="connsiteY0" fmla="*/ 1608821 h 1608821"/>
                  <a:gd name="connsiteX1" fmla="*/ 456689 w 2352778"/>
                  <a:gd name="connsiteY1" fmla="*/ 765196 h 1608821"/>
                  <a:gd name="connsiteX2" fmla="*/ 983582 w 2352778"/>
                  <a:gd name="connsiteY2" fmla="*/ 4861 h 1608821"/>
                  <a:gd name="connsiteX3" fmla="*/ 1558230 w 2352778"/>
                  <a:gd name="connsiteY3" fmla="*/ 436168 h 1608821"/>
                  <a:gd name="connsiteX4" fmla="*/ 2114464 w 2352778"/>
                  <a:gd name="connsiteY4" fmla="*/ 821943 h 1608821"/>
                  <a:gd name="connsiteX5" fmla="*/ 2080576 w 2352778"/>
                  <a:gd name="connsiteY5" fmla="*/ 989797 h 1608821"/>
                  <a:gd name="connsiteX6" fmla="*/ 2075813 w 2352778"/>
                  <a:gd name="connsiteY6" fmla="*/ 998572 h 1608821"/>
                  <a:gd name="connsiteX7" fmla="*/ 2080946 w 2352778"/>
                  <a:gd name="connsiteY7" fmla="*/ 999090 h 1608821"/>
                  <a:gd name="connsiteX8" fmla="*/ 2352778 w 2352778"/>
                  <a:gd name="connsiteY8" fmla="*/ 1332616 h 1608821"/>
                  <a:gd name="connsiteX9" fmla="*/ 2253065 w 2352778"/>
                  <a:gd name="connsiteY9" fmla="*/ 1573345 h 1608821"/>
                  <a:gd name="connsiteX0" fmla="*/ 106776 w 2352778"/>
                  <a:gd name="connsiteY0" fmla="*/ 1608821 h 1608821"/>
                  <a:gd name="connsiteX1" fmla="*/ 456689 w 2352778"/>
                  <a:gd name="connsiteY1" fmla="*/ 765196 h 1608821"/>
                  <a:gd name="connsiteX2" fmla="*/ 983582 w 2352778"/>
                  <a:gd name="connsiteY2" fmla="*/ 4861 h 1608821"/>
                  <a:gd name="connsiteX3" fmla="*/ 1558230 w 2352778"/>
                  <a:gd name="connsiteY3" fmla="*/ 436168 h 1608821"/>
                  <a:gd name="connsiteX4" fmla="*/ 2114464 w 2352778"/>
                  <a:gd name="connsiteY4" fmla="*/ 821943 h 1608821"/>
                  <a:gd name="connsiteX5" fmla="*/ 2080576 w 2352778"/>
                  <a:gd name="connsiteY5" fmla="*/ 989797 h 1608821"/>
                  <a:gd name="connsiteX6" fmla="*/ 2075813 w 2352778"/>
                  <a:gd name="connsiteY6" fmla="*/ 998572 h 1608821"/>
                  <a:gd name="connsiteX7" fmla="*/ 2080946 w 2352778"/>
                  <a:gd name="connsiteY7" fmla="*/ 999090 h 1608821"/>
                  <a:gd name="connsiteX8" fmla="*/ 2352778 w 2352778"/>
                  <a:gd name="connsiteY8" fmla="*/ 1332616 h 1608821"/>
                  <a:gd name="connsiteX9" fmla="*/ 2253065 w 2352778"/>
                  <a:gd name="connsiteY9" fmla="*/ 1573345 h 1608821"/>
                  <a:gd name="connsiteX0" fmla="*/ 106776 w 2352778"/>
                  <a:gd name="connsiteY0" fmla="*/ 1615532 h 1615532"/>
                  <a:gd name="connsiteX1" fmla="*/ 456689 w 2352778"/>
                  <a:gd name="connsiteY1" fmla="*/ 771907 h 1615532"/>
                  <a:gd name="connsiteX2" fmla="*/ 983582 w 2352778"/>
                  <a:gd name="connsiteY2" fmla="*/ 11572 h 1615532"/>
                  <a:gd name="connsiteX3" fmla="*/ 1558230 w 2352778"/>
                  <a:gd name="connsiteY3" fmla="*/ 442879 h 1615532"/>
                  <a:gd name="connsiteX4" fmla="*/ 2114464 w 2352778"/>
                  <a:gd name="connsiteY4" fmla="*/ 828654 h 1615532"/>
                  <a:gd name="connsiteX5" fmla="*/ 2080576 w 2352778"/>
                  <a:gd name="connsiteY5" fmla="*/ 996508 h 1615532"/>
                  <a:gd name="connsiteX6" fmla="*/ 2075813 w 2352778"/>
                  <a:gd name="connsiteY6" fmla="*/ 1005283 h 1615532"/>
                  <a:gd name="connsiteX7" fmla="*/ 2080946 w 2352778"/>
                  <a:gd name="connsiteY7" fmla="*/ 1005801 h 1615532"/>
                  <a:gd name="connsiteX8" fmla="*/ 2352778 w 2352778"/>
                  <a:gd name="connsiteY8" fmla="*/ 1339327 h 1615532"/>
                  <a:gd name="connsiteX9" fmla="*/ 2253065 w 2352778"/>
                  <a:gd name="connsiteY9" fmla="*/ 1580056 h 1615532"/>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114464 w 2352778"/>
                  <a:gd name="connsiteY4" fmla="*/ 829662 h 1616540"/>
                  <a:gd name="connsiteX5" fmla="*/ 2080576 w 2352778"/>
                  <a:gd name="connsiteY5" fmla="*/ 997516 h 1616540"/>
                  <a:gd name="connsiteX6" fmla="*/ 2075813 w 2352778"/>
                  <a:gd name="connsiteY6" fmla="*/ 1006291 h 1616540"/>
                  <a:gd name="connsiteX7" fmla="*/ 2080946 w 2352778"/>
                  <a:gd name="connsiteY7" fmla="*/ 1006809 h 1616540"/>
                  <a:gd name="connsiteX8" fmla="*/ 2352778 w 2352778"/>
                  <a:gd name="connsiteY8" fmla="*/ 1340335 h 1616540"/>
                  <a:gd name="connsiteX9" fmla="*/ 2253065 w 2352778"/>
                  <a:gd name="connsiteY9"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075813 w 2352778"/>
                  <a:gd name="connsiteY5" fmla="*/ 1006291 h 1616540"/>
                  <a:gd name="connsiteX6" fmla="*/ 2080946 w 2352778"/>
                  <a:gd name="connsiteY6" fmla="*/ 1006809 h 1616540"/>
                  <a:gd name="connsiteX7" fmla="*/ 2352778 w 2352778"/>
                  <a:gd name="connsiteY7" fmla="*/ 1340335 h 1616540"/>
                  <a:gd name="connsiteX8" fmla="*/ 2253065 w 2352778"/>
                  <a:gd name="connsiteY8"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075813 w 2352778"/>
                  <a:gd name="connsiteY5" fmla="*/ 1006291 h 1616540"/>
                  <a:gd name="connsiteX6" fmla="*/ 2352778 w 2352778"/>
                  <a:gd name="connsiteY6" fmla="*/ 1340335 h 1616540"/>
                  <a:gd name="connsiteX7" fmla="*/ 2253065 w 2352778"/>
                  <a:gd name="connsiteY7" fmla="*/ 1581064 h 1616540"/>
                  <a:gd name="connsiteX0" fmla="*/ 106776 w 2519017"/>
                  <a:gd name="connsiteY0" fmla="*/ 1616540 h 1616540"/>
                  <a:gd name="connsiteX1" fmla="*/ 456689 w 2519017"/>
                  <a:gd name="connsiteY1" fmla="*/ 772915 h 1616540"/>
                  <a:gd name="connsiteX2" fmla="*/ 983582 w 2519017"/>
                  <a:gd name="connsiteY2" fmla="*/ 12580 h 1616540"/>
                  <a:gd name="connsiteX3" fmla="*/ 1558230 w 2519017"/>
                  <a:gd name="connsiteY3" fmla="*/ 443887 h 1616540"/>
                  <a:gd name="connsiteX4" fmla="*/ 2080576 w 2519017"/>
                  <a:gd name="connsiteY4" fmla="*/ 997516 h 1616540"/>
                  <a:gd name="connsiteX5" fmla="*/ 2519017 w 2519017"/>
                  <a:gd name="connsiteY5" fmla="*/ 790371 h 1616540"/>
                  <a:gd name="connsiteX6" fmla="*/ 2352778 w 2519017"/>
                  <a:gd name="connsiteY6" fmla="*/ 1340335 h 1616540"/>
                  <a:gd name="connsiteX7" fmla="*/ 2253065 w 2519017"/>
                  <a:gd name="connsiteY7" fmla="*/ 1581064 h 1616540"/>
                  <a:gd name="connsiteX0" fmla="*/ 106776 w 2352778"/>
                  <a:gd name="connsiteY0" fmla="*/ 1616540 h 1616540"/>
                  <a:gd name="connsiteX1" fmla="*/ 456689 w 2352778"/>
                  <a:gd name="connsiteY1" fmla="*/ 772915 h 1616540"/>
                  <a:gd name="connsiteX2" fmla="*/ 983582 w 2352778"/>
                  <a:gd name="connsiteY2" fmla="*/ 12580 h 1616540"/>
                  <a:gd name="connsiteX3" fmla="*/ 1558230 w 2352778"/>
                  <a:gd name="connsiteY3" fmla="*/ 443887 h 1616540"/>
                  <a:gd name="connsiteX4" fmla="*/ 2080576 w 2352778"/>
                  <a:gd name="connsiteY4" fmla="*/ 997516 h 1616540"/>
                  <a:gd name="connsiteX5" fmla="*/ 2352778 w 2352778"/>
                  <a:gd name="connsiteY5" fmla="*/ 1340335 h 1616540"/>
                  <a:gd name="connsiteX6" fmla="*/ 2253065 w 2352778"/>
                  <a:gd name="connsiteY6" fmla="*/ 1581064 h 1616540"/>
                  <a:gd name="connsiteX0" fmla="*/ 106776 w 2253066"/>
                  <a:gd name="connsiteY0" fmla="*/ 1616540 h 1616540"/>
                  <a:gd name="connsiteX1" fmla="*/ 456689 w 2253066"/>
                  <a:gd name="connsiteY1" fmla="*/ 772915 h 1616540"/>
                  <a:gd name="connsiteX2" fmla="*/ 983582 w 2253066"/>
                  <a:gd name="connsiteY2" fmla="*/ 12580 h 1616540"/>
                  <a:gd name="connsiteX3" fmla="*/ 1558230 w 2253066"/>
                  <a:gd name="connsiteY3" fmla="*/ 443887 h 1616540"/>
                  <a:gd name="connsiteX4" fmla="*/ 2080576 w 2253066"/>
                  <a:gd name="connsiteY4" fmla="*/ 997516 h 1616540"/>
                  <a:gd name="connsiteX5" fmla="*/ 2253065 w 2253066"/>
                  <a:gd name="connsiteY5" fmla="*/ 1581064 h 1616540"/>
                  <a:gd name="connsiteX0" fmla="*/ 106776 w 2307178"/>
                  <a:gd name="connsiteY0" fmla="*/ 1616540 h 1616540"/>
                  <a:gd name="connsiteX1" fmla="*/ 456689 w 2307178"/>
                  <a:gd name="connsiteY1" fmla="*/ 772915 h 1616540"/>
                  <a:gd name="connsiteX2" fmla="*/ 983582 w 2307178"/>
                  <a:gd name="connsiteY2" fmla="*/ 12580 h 1616540"/>
                  <a:gd name="connsiteX3" fmla="*/ 1558230 w 2307178"/>
                  <a:gd name="connsiteY3" fmla="*/ 443887 h 1616540"/>
                  <a:gd name="connsiteX4" fmla="*/ 2080576 w 2307178"/>
                  <a:gd name="connsiteY4" fmla="*/ 997516 h 1616540"/>
                  <a:gd name="connsiteX5" fmla="*/ 2253065 w 2307178"/>
                  <a:gd name="connsiteY5" fmla="*/ 1581064 h 1616540"/>
                  <a:gd name="connsiteX0" fmla="*/ 106776 w 2403693"/>
                  <a:gd name="connsiteY0" fmla="*/ 1616540 h 1616540"/>
                  <a:gd name="connsiteX1" fmla="*/ 456689 w 2403693"/>
                  <a:gd name="connsiteY1" fmla="*/ 772915 h 1616540"/>
                  <a:gd name="connsiteX2" fmla="*/ 983582 w 2403693"/>
                  <a:gd name="connsiteY2" fmla="*/ 12580 h 1616540"/>
                  <a:gd name="connsiteX3" fmla="*/ 1558230 w 2403693"/>
                  <a:gd name="connsiteY3" fmla="*/ 443887 h 1616540"/>
                  <a:gd name="connsiteX4" fmla="*/ 2080576 w 2403693"/>
                  <a:gd name="connsiteY4" fmla="*/ 997516 h 1616540"/>
                  <a:gd name="connsiteX5" fmla="*/ 2253065 w 2403693"/>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16540 h 1616540"/>
                  <a:gd name="connsiteX1" fmla="*/ 456689 w 2380744"/>
                  <a:gd name="connsiteY1" fmla="*/ 772915 h 1616540"/>
                  <a:gd name="connsiteX2" fmla="*/ 983582 w 2380744"/>
                  <a:gd name="connsiteY2" fmla="*/ 12580 h 1616540"/>
                  <a:gd name="connsiteX3" fmla="*/ 1558230 w 2380744"/>
                  <a:gd name="connsiteY3" fmla="*/ 443887 h 1616540"/>
                  <a:gd name="connsiteX4" fmla="*/ 2080576 w 2380744"/>
                  <a:gd name="connsiteY4" fmla="*/ 997516 h 1616540"/>
                  <a:gd name="connsiteX5" fmla="*/ 2253065 w 2380744"/>
                  <a:gd name="connsiteY5" fmla="*/ 1581064 h 1616540"/>
                  <a:gd name="connsiteX0" fmla="*/ 106776 w 2380744"/>
                  <a:gd name="connsiteY0" fmla="*/ 1660046 h 1660046"/>
                  <a:gd name="connsiteX1" fmla="*/ 456689 w 2380744"/>
                  <a:gd name="connsiteY1" fmla="*/ 816421 h 1660046"/>
                  <a:gd name="connsiteX2" fmla="*/ 972216 w 2380744"/>
                  <a:gd name="connsiteY2" fmla="*/ 10631 h 1660046"/>
                  <a:gd name="connsiteX3" fmla="*/ 1558230 w 2380744"/>
                  <a:gd name="connsiteY3" fmla="*/ 487393 h 1660046"/>
                  <a:gd name="connsiteX4" fmla="*/ 2080576 w 2380744"/>
                  <a:gd name="connsiteY4" fmla="*/ 1041022 h 1660046"/>
                  <a:gd name="connsiteX5" fmla="*/ 2253065 w 2380744"/>
                  <a:gd name="connsiteY5" fmla="*/ 1624570 h 1660046"/>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57105 h 1657105"/>
                  <a:gd name="connsiteX1" fmla="*/ 456689 w 2380744"/>
                  <a:gd name="connsiteY1" fmla="*/ 813480 h 1657105"/>
                  <a:gd name="connsiteX2" fmla="*/ 972216 w 2380744"/>
                  <a:gd name="connsiteY2" fmla="*/ 7690 h 1657105"/>
                  <a:gd name="connsiteX3" fmla="*/ 1558230 w 2380744"/>
                  <a:gd name="connsiteY3" fmla="*/ 484452 h 1657105"/>
                  <a:gd name="connsiteX4" fmla="*/ 2080576 w 2380744"/>
                  <a:gd name="connsiteY4" fmla="*/ 1038081 h 1657105"/>
                  <a:gd name="connsiteX5" fmla="*/ 2253065 w 2380744"/>
                  <a:gd name="connsiteY5" fmla="*/ 1621629 h 1657105"/>
                  <a:gd name="connsiteX0" fmla="*/ 106776 w 2380744"/>
                  <a:gd name="connsiteY0" fmla="*/ 1673898 h 1673898"/>
                  <a:gd name="connsiteX1" fmla="*/ 456689 w 2380744"/>
                  <a:gd name="connsiteY1" fmla="*/ 830273 h 1673898"/>
                  <a:gd name="connsiteX2" fmla="*/ 972216 w 2380744"/>
                  <a:gd name="connsiteY2" fmla="*/ 24483 h 1673898"/>
                  <a:gd name="connsiteX3" fmla="*/ 1558230 w 2380744"/>
                  <a:gd name="connsiteY3" fmla="*/ 501245 h 1673898"/>
                  <a:gd name="connsiteX4" fmla="*/ 2080576 w 2380744"/>
                  <a:gd name="connsiteY4" fmla="*/ 1054874 h 1673898"/>
                  <a:gd name="connsiteX5" fmla="*/ 2253065 w 2380744"/>
                  <a:gd name="connsiteY5" fmla="*/ 1638422 h 1673898"/>
                  <a:gd name="connsiteX0" fmla="*/ 106776 w 2380744"/>
                  <a:gd name="connsiteY0" fmla="*/ 1663232 h 1663232"/>
                  <a:gd name="connsiteX1" fmla="*/ 456689 w 2380744"/>
                  <a:gd name="connsiteY1" fmla="*/ 819607 h 1663232"/>
                  <a:gd name="connsiteX2" fmla="*/ 972216 w 2380744"/>
                  <a:gd name="connsiteY2" fmla="*/ 13817 h 1663232"/>
                  <a:gd name="connsiteX3" fmla="*/ 1558230 w 2380744"/>
                  <a:gd name="connsiteY3" fmla="*/ 490579 h 1663232"/>
                  <a:gd name="connsiteX4" fmla="*/ 2080576 w 2380744"/>
                  <a:gd name="connsiteY4" fmla="*/ 1044208 h 1663232"/>
                  <a:gd name="connsiteX5" fmla="*/ 2253065 w 2380744"/>
                  <a:gd name="connsiteY5" fmla="*/ 1627756 h 1663232"/>
                  <a:gd name="connsiteX0" fmla="*/ 106776 w 2380744"/>
                  <a:gd name="connsiteY0" fmla="*/ 1620102 h 1620102"/>
                  <a:gd name="connsiteX1" fmla="*/ 456689 w 2380744"/>
                  <a:gd name="connsiteY1" fmla="*/ 776477 h 1620102"/>
                  <a:gd name="connsiteX2" fmla="*/ 801754 w 2380744"/>
                  <a:gd name="connsiteY2" fmla="*/ 16142 h 1620102"/>
                  <a:gd name="connsiteX3" fmla="*/ 1558230 w 2380744"/>
                  <a:gd name="connsiteY3" fmla="*/ 447449 h 1620102"/>
                  <a:gd name="connsiteX4" fmla="*/ 2080576 w 2380744"/>
                  <a:gd name="connsiteY4" fmla="*/ 1001078 h 1620102"/>
                  <a:gd name="connsiteX5" fmla="*/ 2253065 w 2380744"/>
                  <a:gd name="connsiteY5" fmla="*/ 1584626 h 1620102"/>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 name="connsiteX0" fmla="*/ 106776 w 2380744"/>
                  <a:gd name="connsiteY0" fmla="*/ 1631741 h 1631741"/>
                  <a:gd name="connsiteX1" fmla="*/ 456689 w 2380744"/>
                  <a:gd name="connsiteY1" fmla="*/ 788116 h 1631741"/>
                  <a:gd name="connsiteX2" fmla="*/ 801754 w 2380744"/>
                  <a:gd name="connsiteY2" fmla="*/ 27781 h 1631741"/>
                  <a:gd name="connsiteX3" fmla="*/ 1558230 w 2380744"/>
                  <a:gd name="connsiteY3" fmla="*/ 459088 h 1631741"/>
                  <a:gd name="connsiteX4" fmla="*/ 2080576 w 2380744"/>
                  <a:gd name="connsiteY4" fmla="*/ 1012717 h 1631741"/>
                  <a:gd name="connsiteX5" fmla="*/ 2253065 w 2380744"/>
                  <a:gd name="connsiteY5" fmla="*/ 1596265 h 1631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0744" h="1631741">
                    <a:moveTo>
                      <a:pt x="106776" y="1631741"/>
                    </a:moveTo>
                    <a:cubicBezTo>
                      <a:pt x="-144357" y="1265410"/>
                      <a:pt x="78019" y="788118"/>
                      <a:pt x="456689" y="788116"/>
                    </a:cubicBezTo>
                    <a:cubicBezTo>
                      <a:pt x="409634" y="225321"/>
                      <a:pt x="595881" y="96234"/>
                      <a:pt x="801754" y="27781"/>
                    </a:cubicBezTo>
                    <a:cubicBezTo>
                      <a:pt x="1176640" y="-80091"/>
                      <a:pt x="1494537" y="139300"/>
                      <a:pt x="1558230" y="459088"/>
                    </a:cubicBezTo>
                    <a:cubicBezTo>
                      <a:pt x="1809250" y="361870"/>
                      <a:pt x="2210228" y="441687"/>
                      <a:pt x="2080576" y="1012717"/>
                    </a:cubicBezTo>
                    <a:cubicBezTo>
                      <a:pt x="2501723" y="1070866"/>
                      <a:pt x="2400126" y="1469935"/>
                      <a:pt x="2253065" y="1596265"/>
                    </a:cubicBez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err="1">
                  <a:solidFill>
                    <a:schemeClr val="tx1"/>
                  </a:solidFill>
                </a:endParaRPr>
              </a:p>
            </p:txBody>
          </p:sp>
          <p:sp>
            <p:nvSpPr>
              <p:cNvPr id="25" name="Line 591">
                <a:extLst>
                  <a:ext uri="{FF2B5EF4-FFF2-40B4-BE49-F238E27FC236}">
                    <a16:creationId xmlns:a16="http://schemas.microsoft.com/office/drawing/2014/main" id="{D71B3BB7-6088-4ED1-BD58-CFEC5BF7F282}"/>
                  </a:ext>
                </a:extLst>
              </p:cNvPr>
              <p:cNvSpPr>
                <a:spLocks noChangeShapeType="1"/>
              </p:cNvSpPr>
              <p:nvPr/>
            </p:nvSpPr>
            <p:spPr bwMode="gray">
              <a:xfrm>
                <a:off x="5310618" y="2520305"/>
                <a:ext cx="390525" cy="0"/>
              </a:xfrm>
              <a:prstGeom prst="lin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6" name="Freeform 592">
                <a:extLst>
                  <a:ext uri="{FF2B5EF4-FFF2-40B4-BE49-F238E27FC236}">
                    <a16:creationId xmlns:a16="http://schemas.microsoft.com/office/drawing/2014/main" id="{C72590DD-D5C3-471B-A6B0-6EDFA6D98CCD}"/>
                  </a:ext>
                </a:extLst>
              </p:cNvPr>
              <p:cNvSpPr>
                <a:spLocks/>
              </p:cNvSpPr>
              <p:nvPr/>
            </p:nvSpPr>
            <p:spPr bwMode="gray">
              <a:xfrm>
                <a:off x="5358243" y="2186930"/>
                <a:ext cx="304800" cy="304800"/>
              </a:xfrm>
              <a:custGeom>
                <a:avLst/>
                <a:gdLst>
                  <a:gd name="T0" fmla="*/ 24 w 192"/>
                  <a:gd name="T1" fmla="*/ 192 h 192"/>
                  <a:gd name="T2" fmla="*/ 0 w 192"/>
                  <a:gd name="T3" fmla="*/ 156 h 192"/>
                  <a:gd name="T4" fmla="*/ 42 w 192"/>
                  <a:gd name="T5" fmla="*/ 174 h 192"/>
                  <a:gd name="T6" fmla="*/ 12 w 192"/>
                  <a:gd name="T7" fmla="*/ 81 h 192"/>
                  <a:gd name="T8" fmla="*/ 66 w 192"/>
                  <a:gd name="T9" fmla="*/ 132 h 192"/>
                  <a:gd name="T10" fmla="*/ 84 w 192"/>
                  <a:gd name="T11" fmla="*/ 0 h 192"/>
                  <a:gd name="T12" fmla="*/ 108 w 192"/>
                  <a:gd name="T13" fmla="*/ 164 h 192"/>
                  <a:gd name="T14" fmla="*/ 156 w 192"/>
                  <a:gd name="T15" fmla="*/ 96 h 192"/>
                  <a:gd name="T16" fmla="*/ 144 w 192"/>
                  <a:gd name="T17" fmla="*/ 168 h 192"/>
                  <a:gd name="T18" fmla="*/ 192 w 192"/>
                  <a:gd name="T19" fmla="*/ 144 h 192"/>
                  <a:gd name="T20" fmla="*/ 162 w 192"/>
                  <a:gd name="T21"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192">
                    <a:moveTo>
                      <a:pt x="24" y="192"/>
                    </a:moveTo>
                    <a:lnTo>
                      <a:pt x="0" y="156"/>
                    </a:lnTo>
                    <a:lnTo>
                      <a:pt x="42" y="174"/>
                    </a:lnTo>
                    <a:lnTo>
                      <a:pt x="12" y="81"/>
                    </a:lnTo>
                    <a:lnTo>
                      <a:pt x="66" y="132"/>
                    </a:lnTo>
                    <a:lnTo>
                      <a:pt x="84" y="0"/>
                    </a:lnTo>
                    <a:lnTo>
                      <a:pt x="108" y="164"/>
                    </a:lnTo>
                    <a:lnTo>
                      <a:pt x="156" y="96"/>
                    </a:lnTo>
                    <a:lnTo>
                      <a:pt x="144" y="168"/>
                    </a:lnTo>
                    <a:lnTo>
                      <a:pt x="192" y="144"/>
                    </a:lnTo>
                    <a:lnTo>
                      <a:pt x="162" y="192"/>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27" name="Line 594">
                <a:extLst>
                  <a:ext uri="{FF2B5EF4-FFF2-40B4-BE49-F238E27FC236}">
                    <a16:creationId xmlns:a16="http://schemas.microsoft.com/office/drawing/2014/main" id="{EB40A8F2-F101-44D5-A3AA-2D5C3F925DB1}"/>
                  </a:ext>
                </a:extLst>
              </p:cNvPr>
              <p:cNvSpPr>
                <a:spLocks noChangeShapeType="1"/>
              </p:cNvSpPr>
              <p:nvPr/>
            </p:nvSpPr>
            <p:spPr bwMode="gray">
              <a:xfrm>
                <a:off x="5491593" y="2363143"/>
                <a:ext cx="0" cy="0"/>
              </a:xfrm>
              <a:prstGeom prst="line">
                <a:avLst/>
              </a:pr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cxnSp>
          <p:nvCxnSpPr>
            <p:cNvPr id="23" name="Straight Connector 22">
              <a:extLst>
                <a:ext uri="{FF2B5EF4-FFF2-40B4-BE49-F238E27FC236}">
                  <a16:creationId xmlns:a16="http://schemas.microsoft.com/office/drawing/2014/main" id="{EDA38AC8-3626-4DA3-9536-6669194B14FC}"/>
                </a:ext>
              </a:extLst>
            </p:cNvPr>
            <p:cNvCxnSpPr>
              <a:cxnSpLocks/>
            </p:cNvCxnSpPr>
            <p:nvPr/>
          </p:nvCxnSpPr>
          <p:spPr bwMode="gray">
            <a:xfrm flipV="1">
              <a:off x="13575534" y="4538168"/>
              <a:ext cx="793152" cy="743492"/>
            </a:xfrm>
            <a:prstGeom prst="line">
              <a:avLst/>
            </a:prstGeom>
            <a:noFill/>
            <a:ln w="19050">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849406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56BFA-AAE7-406B-A3B3-2D0226C46E39}"/>
              </a:ext>
            </a:extLst>
          </p:cNvPr>
          <p:cNvSpPr>
            <a:spLocks noGrp="1"/>
          </p:cNvSpPr>
          <p:nvPr>
            <p:ph type="ctrTitle"/>
          </p:nvPr>
        </p:nvSpPr>
        <p:spPr bwMode="gray"/>
        <p:txBody>
          <a:bodyPr/>
          <a:lstStyle/>
          <a:p>
            <a:r>
              <a:rPr lang="de-DE" dirty="0"/>
              <a:t>Hydrogen, </a:t>
            </a:r>
            <a:r>
              <a:rPr lang="de-DE" dirty="0" err="1"/>
              <a:t>carbon</a:t>
            </a:r>
            <a:r>
              <a:rPr lang="de-DE" dirty="0"/>
              <a:t> </a:t>
            </a:r>
            <a:r>
              <a:rPr lang="de-DE" dirty="0" err="1"/>
              <a:t>monoxide</a:t>
            </a:r>
            <a:r>
              <a:rPr lang="de-DE" dirty="0"/>
              <a:t> &amp; </a:t>
            </a:r>
            <a:r>
              <a:rPr lang="de-DE" dirty="0" err="1"/>
              <a:t>syngas</a:t>
            </a:r>
            <a:r>
              <a:rPr lang="de-DE" dirty="0"/>
              <a:t> </a:t>
            </a:r>
            <a:r>
              <a:rPr lang="de-DE" dirty="0" err="1"/>
              <a:t>production</a:t>
            </a:r>
            <a:endParaRPr lang="de-DE" dirty="0"/>
          </a:p>
        </p:txBody>
      </p:sp>
      <p:sp>
        <p:nvSpPr>
          <p:cNvPr id="3" name="Subtitle 2">
            <a:extLst>
              <a:ext uri="{FF2B5EF4-FFF2-40B4-BE49-F238E27FC236}">
                <a16:creationId xmlns:a16="http://schemas.microsoft.com/office/drawing/2014/main" id="{EC5EC8F8-2510-42EC-B66A-48CFC5FDBAD5}"/>
              </a:ext>
            </a:extLst>
          </p:cNvPr>
          <p:cNvSpPr>
            <a:spLocks noGrp="1"/>
          </p:cNvSpPr>
          <p:nvPr>
            <p:ph type="subTitle" idx="1"/>
          </p:nvPr>
        </p:nvSpPr>
        <p:spPr bwMode="gray"/>
        <p:txBody>
          <a:bodyPr/>
          <a:lstStyle/>
          <a:p>
            <a:r>
              <a:rPr lang="de-DE" dirty="0" err="1"/>
              <a:t>Often</a:t>
            </a:r>
            <a:r>
              <a:rPr lang="de-DE" dirty="0"/>
              <a:t> </a:t>
            </a:r>
            <a:r>
              <a:rPr lang="de-DE" dirty="0" err="1"/>
              <a:t>referred</a:t>
            </a:r>
            <a:r>
              <a:rPr lang="de-DE" dirty="0"/>
              <a:t> </a:t>
            </a:r>
            <a:r>
              <a:rPr lang="de-DE" dirty="0" err="1"/>
              <a:t>to</a:t>
            </a:r>
            <a:r>
              <a:rPr lang="de-DE" dirty="0"/>
              <a:t> </a:t>
            </a:r>
            <a:r>
              <a:rPr lang="de-DE" dirty="0" err="1"/>
              <a:t>as</a:t>
            </a:r>
            <a:r>
              <a:rPr lang="de-DE" dirty="0"/>
              <a:t> </a:t>
            </a:r>
            <a:r>
              <a:rPr lang="de-DE" dirty="0" err="1"/>
              <a:t>HyCO</a:t>
            </a:r>
            <a:r>
              <a:rPr lang="de-DE" dirty="0"/>
              <a:t> </a:t>
            </a:r>
            <a:r>
              <a:rPr lang="de-DE" dirty="0" err="1"/>
              <a:t>or</a:t>
            </a:r>
            <a:r>
              <a:rPr lang="de-DE" dirty="0"/>
              <a:t> Steam </a:t>
            </a:r>
            <a:r>
              <a:rPr lang="de-DE" dirty="0" err="1"/>
              <a:t>Methane</a:t>
            </a:r>
            <a:r>
              <a:rPr lang="de-DE" dirty="0"/>
              <a:t> Reformer (SMR)</a:t>
            </a:r>
          </a:p>
        </p:txBody>
      </p:sp>
    </p:spTree>
    <p:custDataLst>
      <p:tags r:id="rId1"/>
    </p:custDataLst>
    <p:extLst>
      <p:ext uri="{BB962C8B-B14F-4D97-AF65-F5344CB8AC3E}">
        <p14:creationId xmlns:p14="http://schemas.microsoft.com/office/powerpoint/2010/main" val="236574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F529182E-DBCD-4A72-AE6B-941B774D6DF6}"/>
              </a:ext>
            </a:extLst>
          </p:cNvPr>
          <p:cNvSpPr>
            <a:spLocks noGrp="1"/>
          </p:cNvSpPr>
          <p:nvPr>
            <p:ph type="title"/>
          </p:nvPr>
        </p:nvSpPr>
        <p:spPr bwMode="gray"/>
        <p:txBody>
          <a:bodyPr/>
          <a:lstStyle/>
          <a:p>
            <a:r>
              <a:rPr lang="de-DE" dirty="0"/>
              <a:t>Steam </a:t>
            </a:r>
            <a:r>
              <a:rPr lang="de-DE" dirty="0" err="1"/>
              <a:t>Methane</a:t>
            </a:r>
            <a:r>
              <a:rPr lang="de-DE" dirty="0"/>
              <a:t> Reformer (SMR)</a:t>
            </a:r>
          </a:p>
        </p:txBody>
      </p:sp>
      <p:sp>
        <p:nvSpPr>
          <p:cNvPr id="4" name="Date Placeholder 3">
            <a:extLst>
              <a:ext uri="{FF2B5EF4-FFF2-40B4-BE49-F238E27FC236}">
                <a16:creationId xmlns:a16="http://schemas.microsoft.com/office/drawing/2014/main" id="{9C18A5CB-2F93-4B07-8140-A96C9D1F8DF9}"/>
              </a:ext>
            </a:extLst>
          </p:cNvPr>
          <p:cNvSpPr>
            <a:spLocks noGrp="1"/>
          </p:cNvSpPr>
          <p:nvPr>
            <p:ph type="dt" sz="half" idx="14"/>
          </p:nvPr>
        </p:nvSpPr>
        <p:spPr bwMode="gray"/>
        <p:txBody>
          <a:bodyPr/>
          <a:lstStyle/>
          <a:p>
            <a:fld id="{FFAB2352-921F-4DD8-A99A-A1474F6943FF}" type="datetime4">
              <a:rPr lang="en-US" smtClean="0"/>
              <a:t>September 8, 2019</a:t>
            </a:fld>
            <a:endParaRPr lang="en-US" dirty="0"/>
          </a:p>
        </p:txBody>
      </p:sp>
      <p:sp>
        <p:nvSpPr>
          <p:cNvPr id="5" name="Footer Placeholder 4">
            <a:extLst>
              <a:ext uri="{FF2B5EF4-FFF2-40B4-BE49-F238E27FC236}">
                <a16:creationId xmlns:a16="http://schemas.microsoft.com/office/drawing/2014/main" id="{CBD89D7A-FF67-43E4-9583-EA77353ED052}"/>
              </a:ext>
            </a:extLst>
          </p:cNvPr>
          <p:cNvSpPr>
            <a:spLocks noGrp="1"/>
          </p:cNvSpPr>
          <p:nvPr>
            <p:ph type="ftr" sz="quarter" idx="15"/>
          </p:nvPr>
        </p:nvSpPr>
        <p:spPr bwMode="gray"/>
        <p:txBody>
          <a:bodyPr/>
          <a:lstStyle/>
          <a:p>
            <a:pPr lvl="8"/>
            <a:r>
              <a:rPr lang="de-DE" dirty="0"/>
              <a:t>Source: </a:t>
            </a:r>
            <a:r>
              <a:rPr lang="de-DE" dirty="0" err="1"/>
              <a:t>AirScience</a:t>
            </a:r>
            <a:r>
              <a:rPr lang="de-DE" dirty="0"/>
              <a:t> Technologies Inc. </a:t>
            </a:r>
            <a:endParaRPr lang="en-US" dirty="0"/>
          </a:p>
        </p:txBody>
      </p:sp>
      <p:sp>
        <p:nvSpPr>
          <p:cNvPr id="6" name="Slide Number Placeholder 5">
            <a:extLst>
              <a:ext uri="{FF2B5EF4-FFF2-40B4-BE49-F238E27FC236}">
                <a16:creationId xmlns:a16="http://schemas.microsoft.com/office/drawing/2014/main" id="{E152BA31-2BF5-4ED4-A66E-9BA4B7985AC0}"/>
              </a:ext>
            </a:extLst>
          </p:cNvPr>
          <p:cNvSpPr>
            <a:spLocks noGrp="1"/>
          </p:cNvSpPr>
          <p:nvPr>
            <p:ph type="sldNum" sz="quarter" idx="16"/>
          </p:nvPr>
        </p:nvSpPr>
        <p:spPr bwMode="gray"/>
        <p:txBody>
          <a:bodyPr/>
          <a:lstStyle/>
          <a:p>
            <a:r>
              <a:rPr lang="en-US"/>
              <a:t>Slide </a:t>
            </a:r>
            <a:fld id="{619F89D8-7AE3-494A-97F3-03D680869632}" type="slidenum">
              <a:rPr lang="en-US" smtClean="0"/>
              <a:pPr/>
              <a:t>42</a:t>
            </a:fld>
            <a:endParaRPr lang="en-US" dirty="0"/>
          </a:p>
        </p:txBody>
      </p:sp>
      <p:sp>
        <p:nvSpPr>
          <p:cNvPr id="12" name="Subtitle 11">
            <a:extLst>
              <a:ext uri="{FF2B5EF4-FFF2-40B4-BE49-F238E27FC236}">
                <a16:creationId xmlns:a16="http://schemas.microsoft.com/office/drawing/2014/main" id="{A7E8D5CA-6DB9-4953-B8C0-1501D78B466C}"/>
              </a:ext>
            </a:extLst>
          </p:cNvPr>
          <p:cNvSpPr>
            <a:spLocks noGrp="1"/>
          </p:cNvSpPr>
          <p:nvPr>
            <p:ph type="subTitle" idx="13"/>
          </p:nvPr>
        </p:nvSpPr>
        <p:spPr bwMode="gray">
          <a:xfrm>
            <a:off x="332367" y="1085213"/>
            <a:ext cx="11520898" cy="504000"/>
          </a:xfrm>
        </p:spPr>
        <p:txBody>
          <a:bodyPr/>
          <a:lstStyle/>
          <a:p>
            <a:r>
              <a:rPr lang="de-DE" dirty="0" err="1"/>
              <a:t>Process</a:t>
            </a:r>
            <a:r>
              <a:rPr lang="de-DE" dirty="0"/>
              <a:t> </a:t>
            </a:r>
            <a:r>
              <a:rPr lang="de-DE" dirty="0" err="1"/>
              <a:t>overview</a:t>
            </a:r>
            <a:endParaRPr lang="de-DE" dirty="0"/>
          </a:p>
        </p:txBody>
      </p:sp>
      <p:sp>
        <p:nvSpPr>
          <p:cNvPr id="1771" name="Content Placeholder 1">
            <a:extLst>
              <a:ext uri="{FF2B5EF4-FFF2-40B4-BE49-F238E27FC236}">
                <a16:creationId xmlns:a16="http://schemas.microsoft.com/office/drawing/2014/main" id="{205F5060-BA68-420A-BE72-FE12F68215CF}"/>
              </a:ext>
            </a:extLst>
          </p:cNvPr>
          <p:cNvSpPr txBox="1">
            <a:spLocks/>
          </p:cNvSpPr>
          <p:nvPr/>
        </p:nvSpPr>
        <p:spPr bwMode="gray">
          <a:xfrm>
            <a:off x="342900" y="1939925"/>
            <a:ext cx="3057524" cy="3981449"/>
          </a:xfrm>
          <a:prstGeom prst="rect">
            <a:avLst/>
          </a:prstGeom>
          <a:solidFill>
            <a:schemeClr val="accent4"/>
          </a:solidFill>
        </p:spPr>
        <p:txBody>
          <a:bodyPr anchor="ctr" anchorCtr="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r>
              <a:rPr lang="en-US" sz="1200" dirty="0"/>
              <a:t>SMR is a process in which CH</a:t>
            </a:r>
            <a:r>
              <a:rPr lang="en-US" sz="1200" baseline="-25000" dirty="0"/>
              <a:t>4</a:t>
            </a:r>
            <a:r>
              <a:rPr lang="en-US" sz="1200" dirty="0"/>
              <a:t> from natural gas is heated with steam, usually with a catalyst, to produce </a:t>
            </a:r>
            <a:br>
              <a:rPr lang="en-US" sz="1200" dirty="0"/>
            </a:br>
            <a:r>
              <a:rPr lang="en-US" sz="1200" dirty="0"/>
              <a:t>a mixture of CO and H</a:t>
            </a:r>
            <a:r>
              <a:rPr lang="en-US" sz="1200" baseline="-25000" dirty="0"/>
              <a:t>2</a:t>
            </a:r>
          </a:p>
          <a:p>
            <a:pPr lvl="1"/>
            <a:r>
              <a:rPr lang="en-US" sz="1200" dirty="0"/>
              <a:t>CH</a:t>
            </a:r>
            <a:r>
              <a:rPr lang="en-US" sz="1200" baseline="-25000" dirty="0"/>
              <a:t>4</a:t>
            </a:r>
            <a:r>
              <a:rPr lang="en-US" sz="1200" dirty="0"/>
              <a:t> reacts with steam in the presence of a catalyst to produce </a:t>
            </a:r>
            <a:br>
              <a:rPr lang="en-US" sz="1200" dirty="0"/>
            </a:br>
            <a:r>
              <a:rPr lang="en-US" sz="1200" dirty="0"/>
              <a:t>H</a:t>
            </a:r>
            <a:r>
              <a:rPr lang="en-US" sz="1200" baseline="-25000" dirty="0"/>
              <a:t>2</a:t>
            </a:r>
            <a:r>
              <a:rPr lang="en-US" sz="1200" dirty="0"/>
              <a:t>, CO, and a small amount of CO</a:t>
            </a:r>
            <a:r>
              <a:rPr lang="en-US" sz="1200" baseline="-25000" dirty="0"/>
              <a:t>2</a:t>
            </a:r>
          </a:p>
          <a:p>
            <a:pPr lvl="1"/>
            <a:r>
              <a:rPr lang="en-US" sz="1200" dirty="0"/>
              <a:t>Steam reforming reaction is endothermic</a:t>
            </a:r>
          </a:p>
          <a:p>
            <a:pPr lvl="1"/>
            <a:r>
              <a:rPr lang="en-US" sz="1200" dirty="0"/>
              <a:t>In a "water-gas shift reaction," </a:t>
            </a:r>
            <a:br>
              <a:rPr lang="en-US" sz="1200" dirty="0"/>
            </a:br>
            <a:r>
              <a:rPr lang="en-US" sz="1200" dirty="0"/>
              <a:t>CO and steam are reacted using a catalyst to produce CO</a:t>
            </a:r>
            <a:r>
              <a:rPr lang="en-US" sz="1200" baseline="-25000" dirty="0"/>
              <a:t>2</a:t>
            </a:r>
            <a:r>
              <a:rPr lang="en-US" sz="1200" dirty="0"/>
              <a:t> and more H</a:t>
            </a:r>
            <a:r>
              <a:rPr lang="en-US" sz="1200" baseline="-25000" dirty="0"/>
              <a:t>2</a:t>
            </a:r>
          </a:p>
          <a:p>
            <a:pPr lvl="1"/>
            <a:r>
              <a:rPr lang="en-US" sz="1200" dirty="0"/>
              <a:t>In "pressure-swing adsorption" </a:t>
            </a:r>
            <a:br>
              <a:rPr lang="en-US" sz="1200" dirty="0"/>
            </a:br>
            <a:r>
              <a:rPr lang="en-US" sz="1200" dirty="0"/>
              <a:t>CO</a:t>
            </a:r>
            <a:r>
              <a:rPr lang="en-US" sz="1200" baseline="-25000" dirty="0"/>
              <a:t>2</a:t>
            </a:r>
            <a:r>
              <a:rPr lang="en-US" sz="1200" dirty="0"/>
              <a:t> and other impurities are removed from the stream, leaving essentially pure H</a:t>
            </a:r>
            <a:r>
              <a:rPr lang="en-US" sz="1200" baseline="-25000" dirty="0"/>
              <a:t>2</a:t>
            </a:r>
          </a:p>
          <a:p>
            <a:pPr lvl="1"/>
            <a:r>
              <a:rPr lang="en-US" sz="1200" dirty="0"/>
              <a:t>SMR can also be used with ethanol, propane or gasoline</a:t>
            </a:r>
          </a:p>
        </p:txBody>
      </p:sp>
      <p:cxnSp>
        <p:nvCxnSpPr>
          <p:cNvPr id="1734" name="Straight Arrow Connector 1733">
            <a:extLst>
              <a:ext uri="{FF2B5EF4-FFF2-40B4-BE49-F238E27FC236}">
                <a16:creationId xmlns:a16="http://schemas.microsoft.com/office/drawing/2014/main" id="{EA7F887C-85F7-4215-B28E-B78CED4B250C}"/>
              </a:ext>
            </a:extLst>
          </p:cNvPr>
          <p:cNvCxnSpPr>
            <a:cxnSpLocks/>
          </p:cNvCxnSpPr>
          <p:nvPr/>
        </p:nvCxnSpPr>
        <p:spPr bwMode="gray">
          <a:xfrm>
            <a:off x="7857525" y="5320443"/>
            <a:ext cx="0" cy="140401"/>
          </a:xfrm>
          <a:prstGeom prst="straightConnector1">
            <a:avLst/>
          </a:prstGeom>
          <a:ln w="12700" cap="rnd">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735" name="Rechteck 87">
            <a:extLst>
              <a:ext uri="{FF2B5EF4-FFF2-40B4-BE49-F238E27FC236}">
                <a16:creationId xmlns:a16="http://schemas.microsoft.com/office/drawing/2014/main" id="{F5F6B816-441B-465B-B832-591270056F0D}"/>
              </a:ext>
            </a:extLst>
          </p:cNvPr>
          <p:cNvSpPr/>
          <p:nvPr/>
        </p:nvSpPr>
        <p:spPr bwMode="gray">
          <a:xfrm>
            <a:off x="7357475" y="5564188"/>
            <a:ext cx="1009865" cy="168934"/>
          </a:xfrm>
          <a:prstGeom prst="rect">
            <a:avLst/>
          </a:prstGeom>
          <a:noFill/>
          <a:ln w="12700">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lgn="ctr">
              <a:spcBef>
                <a:spcPts val="300"/>
              </a:spcBef>
              <a:buClr>
                <a:srgbClr val="002897"/>
              </a:buClr>
              <a:buSzPct val="70000"/>
            </a:pPr>
            <a:r>
              <a:rPr lang="de-DE" sz="1400" dirty="0">
                <a:solidFill>
                  <a:schemeClr val="tx1"/>
                </a:solidFill>
              </a:rPr>
              <a:t>Pure hydrogen</a:t>
            </a:r>
          </a:p>
        </p:txBody>
      </p:sp>
      <p:grpSp>
        <p:nvGrpSpPr>
          <p:cNvPr id="1728" name="Group 1727">
            <a:extLst>
              <a:ext uri="{FF2B5EF4-FFF2-40B4-BE49-F238E27FC236}">
                <a16:creationId xmlns:a16="http://schemas.microsoft.com/office/drawing/2014/main" id="{4810F994-5D22-4195-B9FE-247F19465507}"/>
              </a:ext>
            </a:extLst>
          </p:cNvPr>
          <p:cNvGrpSpPr/>
          <p:nvPr/>
        </p:nvGrpSpPr>
        <p:grpSpPr bwMode="gray">
          <a:xfrm>
            <a:off x="8195789" y="3099220"/>
            <a:ext cx="76104" cy="220391"/>
            <a:chOff x="7285741" y="2939566"/>
            <a:chExt cx="76104" cy="220391"/>
          </a:xfrm>
        </p:grpSpPr>
        <p:sp>
          <p:nvSpPr>
            <p:cNvPr id="1726" name="Freeform: Shape 1725">
              <a:extLst>
                <a:ext uri="{FF2B5EF4-FFF2-40B4-BE49-F238E27FC236}">
                  <a16:creationId xmlns:a16="http://schemas.microsoft.com/office/drawing/2014/main" id="{5FB5E704-91DA-4C3C-9135-51B0B855D05E}"/>
                </a:ext>
              </a:extLst>
            </p:cNvPr>
            <p:cNvSpPr/>
            <p:nvPr/>
          </p:nvSpPr>
          <p:spPr bwMode="gray">
            <a:xfrm flipH="1">
              <a:off x="7323934" y="2939567"/>
              <a:ext cx="37911" cy="219887"/>
            </a:xfrm>
            <a:custGeom>
              <a:avLst/>
              <a:gdLst>
                <a:gd name="connsiteX0" fmla="*/ 693 w 37416"/>
                <a:gd name="connsiteY0" fmla="*/ 0 h 486447"/>
                <a:gd name="connsiteX1" fmla="*/ 0 w 37416"/>
                <a:gd name="connsiteY1" fmla="*/ 485646 h 486447"/>
                <a:gd name="connsiteX2" fmla="*/ 1397 w 37416"/>
                <a:gd name="connsiteY2" fmla="*/ 486447 h 486447"/>
                <a:gd name="connsiteX3" fmla="*/ 1397 w 37416"/>
                <a:gd name="connsiteY3" fmla="*/ 192196 h 486447"/>
                <a:gd name="connsiteX4" fmla="*/ 37416 w 37416"/>
                <a:gd name="connsiteY4" fmla="*/ 212996 h 486447"/>
                <a:gd name="connsiteX5" fmla="*/ 37416 w 37416"/>
                <a:gd name="connsiteY5" fmla="*/ 21478 h 486447"/>
                <a:gd name="connsiteX0" fmla="*/ 693 w 37416"/>
                <a:gd name="connsiteY0" fmla="*/ 0 h 485646"/>
                <a:gd name="connsiteX1" fmla="*/ 0 w 37416"/>
                <a:gd name="connsiteY1" fmla="*/ 485646 h 485646"/>
                <a:gd name="connsiteX2" fmla="*/ 1397 w 37416"/>
                <a:gd name="connsiteY2" fmla="*/ 192196 h 485646"/>
                <a:gd name="connsiteX3" fmla="*/ 37416 w 37416"/>
                <a:gd name="connsiteY3" fmla="*/ 212996 h 485646"/>
                <a:gd name="connsiteX4" fmla="*/ 37416 w 37416"/>
                <a:gd name="connsiteY4" fmla="*/ 21478 h 485646"/>
                <a:gd name="connsiteX5" fmla="*/ 693 w 37416"/>
                <a:gd name="connsiteY5" fmla="*/ 0 h 48564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2126 w 38849"/>
                <a:gd name="connsiteY0" fmla="*/ 0 h 212996"/>
                <a:gd name="connsiteX1" fmla="*/ 2830 w 38849"/>
                <a:gd name="connsiteY1" fmla="*/ 192196 h 212996"/>
                <a:gd name="connsiteX2" fmla="*/ 38849 w 38849"/>
                <a:gd name="connsiteY2" fmla="*/ 212996 h 212996"/>
                <a:gd name="connsiteX3" fmla="*/ 38849 w 38849"/>
                <a:gd name="connsiteY3" fmla="*/ 21478 h 212996"/>
                <a:gd name="connsiteX4" fmla="*/ 2126 w 38849"/>
                <a:gd name="connsiteY4" fmla="*/ 0 h 212996"/>
                <a:gd name="connsiteX0" fmla="*/ 0 w 36723"/>
                <a:gd name="connsiteY0" fmla="*/ 0 h 212996"/>
                <a:gd name="connsiteX1" fmla="*/ 704 w 36723"/>
                <a:gd name="connsiteY1" fmla="*/ 192196 h 212996"/>
                <a:gd name="connsiteX2" fmla="*/ 36723 w 36723"/>
                <a:gd name="connsiteY2" fmla="*/ 212996 h 212996"/>
                <a:gd name="connsiteX3" fmla="*/ 36723 w 36723"/>
                <a:gd name="connsiteY3" fmla="*/ 21478 h 212996"/>
                <a:gd name="connsiteX4" fmla="*/ 0 w 36723"/>
                <a:gd name="connsiteY4" fmla="*/ 0 h 21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23" h="212996">
                  <a:moveTo>
                    <a:pt x="0" y="0"/>
                  </a:moveTo>
                  <a:lnTo>
                    <a:pt x="704" y="192196"/>
                  </a:lnTo>
                  <a:lnTo>
                    <a:pt x="36723" y="212996"/>
                  </a:lnTo>
                  <a:lnTo>
                    <a:pt x="36723" y="21478"/>
                  </a:lnTo>
                  <a:lnTo>
                    <a:pt x="0" y="0"/>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1727" name="Freeform: Shape 1726">
              <a:extLst>
                <a:ext uri="{FF2B5EF4-FFF2-40B4-BE49-F238E27FC236}">
                  <a16:creationId xmlns:a16="http://schemas.microsoft.com/office/drawing/2014/main" id="{7B3FDB33-9592-49C1-AA47-F82E0BB1A398}"/>
                </a:ext>
              </a:extLst>
            </p:cNvPr>
            <p:cNvSpPr/>
            <p:nvPr/>
          </p:nvSpPr>
          <p:spPr bwMode="gray">
            <a:xfrm>
              <a:off x="7285741" y="2939566"/>
              <a:ext cx="38194" cy="220391"/>
            </a:xfrm>
            <a:custGeom>
              <a:avLst/>
              <a:gdLst>
                <a:gd name="connsiteX0" fmla="*/ 274 w 36997"/>
                <a:gd name="connsiteY0" fmla="*/ 0 h 213484"/>
                <a:gd name="connsiteX1" fmla="*/ 36997 w 36997"/>
                <a:gd name="connsiteY1" fmla="*/ 21478 h 213484"/>
                <a:gd name="connsiteX2" fmla="*/ 36997 w 36997"/>
                <a:gd name="connsiteY2" fmla="*/ 213484 h 213484"/>
                <a:gd name="connsiteX3" fmla="*/ 0 w 36997"/>
                <a:gd name="connsiteY3" fmla="*/ 192119 h 213484"/>
                <a:gd name="connsiteX4" fmla="*/ 69 w 36997"/>
                <a:gd name="connsiteY4" fmla="*/ 144176 h 213484"/>
                <a:gd name="connsiteX5" fmla="*/ 274 w 36997"/>
                <a:gd name="connsiteY5" fmla="*/ 0 h 21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97" h="213484">
                  <a:moveTo>
                    <a:pt x="274" y="0"/>
                  </a:moveTo>
                  <a:lnTo>
                    <a:pt x="36997" y="21478"/>
                  </a:lnTo>
                  <a:lnTo>
                    <a:pt x="36997" y="213484"/>
                  </a:lnTo>
                  <a:lnTo>
                    <a:pt x="0" y="192119"/>
                  </a:lnTo>
                  <a:lnTo>
                    <a:pt x="69" y="144176"/>
                  </a:lnTo>
                  <a:cubicBezTo>
                    <a:pt x="123" y="106235"/>
                    <a:pt x="188" y="60706"/>
                    <a:pt x="274" y="0"/>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425" name="Group 424">
            <a:extLst>
              <a:ext uri="{FF2B5EF4-FFF2-40B4-BE49-F238E27FC236}">
                <a16:creationId xmlns:a16="http://schemas.microsoft.com/office/drawing/2014/main" id="{7179E4BE-1EFE-44C8-B737-D3CDC65BED50}"/>
              </a:ext>
            </a:extLst>
          </p:cNvPr>
          <p:cNvGrpSpPr/>
          <p:nvPr/>
        </p:nvGrpSpPr>
        <p:grpSpPr bwMode="gray">
          <a:xfrm>
            <a:off x="6540286" y="4018965"/>
            <a:ext cx="73719" cy="213484"/>
            <a:chOff x="7681059" y="2899968"/>
            <a:chExt cx="73719" cy="213484"/>
          </a:xfrm>
        </p:grpSpPr>
        <p:sp>
          <p:nvSpPr>
            <p:cNvPr id="426" name="Freeform: Shape 425">
              <a:extLst>
                <a:ext uri="{FF2B5EF4-FFF2-40B4-BE49-F238E27FC236}">
                  <a16:creationId xmlns:a16="http://schemas.microsoft.com/office/drawing/2014/main" id="{310BD40A-B239-4669-B507-3F8EB5086682}"/>
                </a:ext>
              </a:extLst>
            </p:cNvPr>
            <p:cNvSpPr/>
            <p:nvPr/>
          </p:nvSpPr>
          <p:spPr bwMode="gray">
            <a:xfrm flipH="1">
              <a:off x="7718055" y="2899969"/>
              <a:ext cx="36723" cy="212996"/>
            </a:xfrm>
            <a:custGeom>
              <a:avLst/>
              <a:gdLst>
                <a:gd name="connsiteX0" fmla="*/ 693 w 37416"/>
                <a:gd name="connsiteY0" fmla="*/ 0 h 486447"/>
                <a:gd name="connsiteX1" fmla="*/ 0 w 37416"/>
                <a:gd name="connsiteY1" fmla="*/ 485646 h 486447"/>
                <a:gd name="connsiteX2" fmla="*/ 1397 w 37416"/>
                <a:gd name="connsiteY2" fmla="*/ 486447 h 486447"/>
                <a:gd name="connsiteX3" fmla="*/ 1397 w 37416"/>
                <a:gd name="connsiteY3" fmla="*/ 192196 h 486447"/>
                <a:gd name="connsiteX4" fmla="*/ 37416 w 37416"/>
                <a:gd name="connsiteY4" fmla="*/ 212996 h 486447"/>
                <a:gd name="connsiteX5" fmla="*/ 37416 w 37416"/>
                <a:gd name="connsiteY5" fmla="*/ 21478 h 486447"/>
                <a:gd name="connsiteX0" fmla="*/ 693 w 37416"/>
                <a:gd name="connsiteY0" fmla="*/ 0 h 485646"/>
                <a:gd name="connsiteX1" fmla="*/ 0 w 37416"/>
                <a:gd name="connsiteY1" fmla="*/ 485646 h 485646"/>
                <a:gd name="connsiteX2" fmla="*/ 1397 w 37416"/>
                <a:gd name="connsiteY2" fmla="*/ 192196 h 485646"/>
                <a:gd name="connsiteX3" fmla="*/ 37416 w 37416"/>
                <a:gd name="connsiteY3" fmla="*/ 212996 h 485646"/>
                <a:gd name="connsiteX4" fmla="*/ 37416 w 37416"/>
                <a:gd name="connsiteY4" fmla="*/ 21478 h 485646"/>
                <a:gd name="connsiteX5" fmla="*/ 693 w 37416"/>
                <a:gd name="connsiteY5" fmla="*/ 0 h 48564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2126 w 38849"/>
                <a:gd name="connsiteY0" fmla="*/ 0 h 212996"/>
                <a:gd name="connsiteX1" fmla="*/ 2830 w 38849"/>
                <a:gd name="connsiteY1" fmla="*/ 192196 h 212996"/>
                <a:gd name="connsiteX2" fmla="*/ 38849 w 38849"/>
                <a:gd name="connsiteY2" fmla="*/ 212996 h 212996"/>
                <a:gd name="connsiteX3" fmla="*/ 38849 w 38849"/>
                <a:gd name="connsiteY3" fmla="*/ 21478 h 212996"/>
                <a:gd name="connsiteX4" fmla="*/ 2126 w 38849"/>
                <a:gd name="connsiteY4" fmla="*/ 0 h 212996"/>
                <a:gd name="connsiteX0" fmla="*/ 0 w 36723"/>
                <a:gd name="connsiteY0" fmla="*/ 0 h 212996"/>
                <a:gd name="connsiteX1" fmla="*/ 704 w 36723"/>
                <a:gd name="connsiteY1" fmla="*/ 192196 h 212996"/>
                <a:gd name="connsiteX2" fmla="*/ 36723 w 36723"/>
                <a:gd name="connsiteY2" fmla="*/ 212996 h 212996"/>
                <a:gd name="connsiteX3" fmla="*/ 36723 w 36723"/>
                <a:gd name="connsiteY3" fmla="*/ 21478 h 212996"/>
                <a:gd name="connsiteX4" fmla="*/ 0 w 36723"/>
                <a:gd name="connsiteY4" fmla="*/ 0 h 21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23" h="212996">
                  <a:moveTo>
                    <a:pt x="0" y="0"/>
                  </a:moveTo>
                  <a:lnTo>
                    <a:pt x="704" y="192196"/>
                  </a:lnTo>
                  <a:lnTo>
                    <a:pt x="36723" y="212996"/>
                  </a:lnTo>
                  <a:lnTo>
                    <a:pt x="36723" y="21478"/>
                  </a:lnTo>
                  <a:lnTo>
                    <a:pt x="0" y="0"/>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427" name="Freeform: Shape 426">
              <a:extLst>
                <a:ext uri="{FF2B5EF4-FFF2-40B4-BE49-F238E27FC236}">
                  <a16:creationId xmlns:a16="http://schemas.microsoft.com/office/drawing/2014/main" id="{E9A2B023-42A8-413F-A42A-892FD603E47A}"/>
                </a:ext>
              </a:extLst>
            </p:cNvPr>
            <p:cNvSpPr/>
            <p:nvPr/>
          </p:nvSpPr>
          <p:spPr bwMode="gray">
            <a:xfrm>
              <a:off x="7681059" y="2899968"/>
              <a:ext cx="36997" cy="213484"/>
            </a:xfrm>
            <a:custGeom>
              <a:avLst/>
              <a:gdLst>
                <a:gd name="connsiteX0" fmla="*/ 274 w 36997"/>
                <a:gd name="connsiteY0" fmla="*/ 0 h 213484"/>
                <a:gd name="connsiteX1" fmla="*/ 36997 w 36997"/>
                <a:gd name="connsiteY1" fmla="*/ 21478 h 213484"/>
                <a:gd name="connsiteX2" fmla="*/ 36997 w 36997"/>
                <a:gd name="connsiteY2" fmla="*/ 213484 h 213484"/>
                <a:gd name="connsiteX3" fmla="*/ 0 w 36997"/>
                <a:gd name="connsiteY3" fmla="*/ 192119 h 213484"/>
                <a:gd name="connsiteX4" fmla="*/ 69 w 36997"/>
                <a:gd name="connsiteY4" fmla="*/ 144176 h 213484"/>
                <a:gd name="connsiteX5" fmla="*/ 274 w 36997"/>
                <a:gd name="connsiteY5" fmla="*/ 0 h 21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97" h="213484">
                  <a:moveTo>
                    <a:pt x="274" y="0"/>
                  </a:moveTo>
                  <a:lnTo>
                    <a:pt x="36997" y="21478"/>
                  </a:lnTo>
                  <a:lnTo>
                    <a:pt x="36997" y="213484"/>
                  </a:lnTo>
                  <a:lnTo>
                    <a:pt x="0" y="192119"/>
                  </a:lnTo>
                  <a:lnTo>
                    <a:pt x="69" y="144176"/>
                  </a:lnTo>
                  <a:cubicBezTo>
                    <a:pt x="123" y="106235"/>
                    <a:pt x="188" y="60706"/>
                    <a:pt x="274" y="0"/>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069" name="Freeform: Shape 1068">
            <a:extLst>
              <a:ext uri="{FF2B5EF4-FFF2-40B4-BE49-F238E27FC236}">
                <a16:creationId xmlns:a16="http://schemas.microsoft.com/office/drawing/2014/main" id="{CB2262A1-E3BF-4842-A767-FA155195549A}"/>
              </a:ext>
            </a:extLst>
          </p:cNvPr>
          <p:cNvSpPr/>
          <p:nvPr/>
        </p:nvSpPr>
        <p:spPr bwMode="gray">
          <a:xfrm rot="3600000">
            <a:off x="8865696" y="4236690"/>
            <a:ext cx="82166" cy="818930"/>
          </a:xfrm>
          <a:custGeom>
            <a:avLst/>
            <a:gdLst>
              <a:gd name="connsiteX0" fmla="*/ 0 w 82167"/>
              <a:gd name="connsiteY0" fmla="*/ 29028 h 818930"/>
              <a:gd name="connsiteX1" fmla="*/ 40713 w 82167"/>
              <a:gd name="connsiteY1" fmla="*/ 0 h 818930"/>
              <a:gd name="connsiteX2" fmla="*/ 40714 w 82167"/>
              <a:gd name="connsiteY2" fmla="*/ 0 h 818930"/>
              <a:gd name="connsiteX3" fmla="*/ 81427 w 82167"/>
              <a:gd name="connsiteY3" fmla="*/ 29028 h 818930"/>
              <a:gd name="connsiteX4" fmla="*/ 81427 w 82167"/>
              <a:gd name="connsiteY4" fmla="*/ 193157 h 818930"/>
              <a:gd name="connsiteX5" fmla="*/ 82167 w 82167"/>
              <a:gd name="connsiteY5" fmla="*/ 194432 h 818930"/>
              <a:gd name="connsiteX6" fmla="*/ 82166 w 82167"/>
              <a:gd name="connsiteY6" fmla="*/ 789902 h 818930"/>
              <a:gd name="connsiteX7" fmla="*/ 41453 w 82167"/>
              <a:gd name="connsiteY7" fmla="*/ 818930 h 818930"/>
              <a:gd name="connsiteX8" fmla="*/ 740 w 82167"/>
              <a:gd name="connsiteY8" fmla="*/ 789902 h 818930"/>
              <a:gd name="connsiteX9" fmla="*/ 740 w 82167"/>
              <a:gd name="connsiteY9" fmla="*/ 625773 h 818930"/>
              <a:gd name="connsiteX10" fmla="*/ 0 w 82167"/>
              <a:gd name="connsiteY10" fmla="*/ 624498 h 818930"/>
              <a:gd name="connsiteX11" fmla="*/ 1 w 82167"/>
              <a:gd name="connsiteY11" fmla="*/ 29030 h 818930"/>
              <a:gd name="connsiteX0" fmla="*/ 0 w 82166"/>
              <a:gd name="connsiteY0" fmla="*/ 29028 h 818930"/>
              <a:gd name="connsiteX1" fmla="*/ 40713 w 82166"/>
              <a:gd name="connsiteY1" fmla="*/ 0 h 818930"/>
              <a:gd name="connsiteX2" fmla="*/ 40714 w 82166"/>
              <a:gd name="connsiteY2" fmla="*/ 0 h 818930"/>
              <a:gd name="connsiteX3" fmla="*/ 81427 w 82166"/>
              <a:gd name="connsiteY3" fmla="*/ 29028 h 818930"/>
              <a:gd name="connsiteX4" fmla="*/ 81427 w 82166"/>
              <a:gd name="connsiteY4" fmla="*/ 193157 h 818930"/>
              <a:gd name="connsiteX5" fmla="*/ 82166 w 82166"/>
              <a:gd name="connsiteY5" fmla="*/ 789902 h 818930"/>
              <a:gd name="connsiteX6" fmla="*/ 41453 w 82166"/>
              <a:gd name="connsiteY6" fmla="*/ 818930 h 818930"/>
              <a:gd name="connsiteX7" fmla="*/ 740 w 82166"/>
              <a:gd name="connsiteY7" fmla="*/ 789902 h 818930"/>
              <a:gd name="connsiteX8" fmla="*/ 740 w 82166"/>
              <a:gd name="connsiteY8" fmla="*/ 625773 h 818930"/>
              <a:gd name="connsiteX9" fmla="*/ 0 w 82166"/>
              <a:gd name="connsiteY9" fmla="*/ 624498 h 818930"/>
              <a:gd name="connsiteX10" fmla="*/ 1 w 82166"/>
              <a:gd name="connsiteY10" fmla="*/ 29030 h 818930"/>
              <a:gd name="connsiteX11" fmla="*/ 0 w 82166"/>
              <a:gd name="connsiteY11" fmla="*/ 29028 h 818930"/>
              <a:gd name="connsiteX0" fmla="*/ 0 w 82166"/>
              <a:gd name="connsiteY0" fmla="*/ 29028 h 818930"/>
              <a:gd name="connsiteX1" fmla="*/ 40713 w 82166"/>
              <a:gd name="connsiteY1" fmla="*/ 0 h 818930"/>
              <a:gd name="connsiteX2" fmla="*/ 40714 w 82166"/>
              <a:gd name="connsiteY2" fmla="*/ 0 h 818930"/>
              <a:gd name="connsiteX3" fmla="*/ 81427 w 82166"/>
              <a:gd name="connsiteY3" fmla="*/ 29028 h 818930"/>
              <a:gd name="connsiteX4" fmla="*/ 82166 w 82166"/>
              <a:gd name="connsiteY4" fmla="*/ 789902 h 818930"/>
              <a:gd name="connsiteX5" fmla="*/ 41453 w 82166"/>
              <a:gd name="connsiteY5" fmla="*/ 818930 h 818930"/>
              <a:gd name="connsiteX6" fmla="*/ 740 w 82166"/>
              <a:gd name="connsiteY6" fmla="*/ 789902 h 818930"/>
              <a:gd name="connsiteX7" fmla="*/ 740 w 82166"/>
              <a:gd name="connsiteY7" fmla="*/ 625773 h 818930"/>
              <a:gd name="connsiteX8" fmla="*/ 0 w 82166"/>
              <a:gd name="connsiteY8" fmla="*/ 624498 h 818930"/>
              <a:gd name="connsiteX9" fmla="*/ 1 w 82166"/>
              <a:gd name="connsiteY9" fmla="*/ 29030 h 818930"/>
              <a:gd name="connsiteX10" fmla="*/ 0 w 82166"/>
              <a:gd name="connsiteY10" fmla="*/ 29028 h 818930"/>
              <a:gd name="connsiteX0" fmla="*/ 0 w 82166"/>
              <a:gd name="connsiteY0" fmla="*/ 29028 h 818930"/>
              <a:gd name="connsiteX1" fmla="*/ 40713 w 82166"/>
              <a:gd name="connsiteY1" fmla="*/ 0 h 818930"/>
              <a:gd name="connsiteX2" fmla="*/ 40714 w 82166"/>
              <a:gd name="connsiteY2" fmla="*/ 0 h 818930"/>
              <a:gd name="connsiteX3" fmla="*/ 81427 w 82166"/>
              <a:gd name="connsiteY3" fmla="*/ 29028 h 818930"/>
              <a:gd name="connsiteX4" fmla="*/ 82166 w 82166"/>
              <a:gd name="connsiteY4" fmla="*/ 789902 h 818930"/>
              <a:gd name="connsiteX5" fmla="*/ 41453 w 82166"/>
              <a:gd name="connsiteY5" fmla="*/ 818930 h 818930"/>
              <a:gd name="connsiteX6" fmla="*/ 740 w 82166"/>
              <a:gd name="connsiteY6" fmla="*/ 789902 h 818930"/>
              <a:gd name="connsiteX7" fmla="*/ 740 w 82166"/>
              <a:gd name="connsiteY7" fmla="*/ 625773 h 818930"/>
              <a:gd name="connsiteX8" fmla="*/ 1 w 82166"/>
              <a:gd name="connsiteY8" fmla="*/ 29030 h 818930"/>
              <a:gd name="connsiteX9" fmla="*/ 0 w 82166"/>
              <a:gd name="connsiteY9" fmla="*/ 29028 h 818930"/>
              <a:gd name="connsiteX0" fmla="*/ 0 w 82166"/>
              <a:gd name="connsiteY0" fmla="*/ 29028 h 818930"/>
              <a:gd name="connsiteX1" fmla="*/ 40713 w 82166"/>
              <a:gd name="connsiteY1" fmla="*/ 0 h 818930"/>
              <a:gd name="connsiteX2" fmla="*/ 40714 w 82166"/>
              <a:gd name="connsiteY2" fmla="*/ 0 h 818930"/>
              <a:gd name="connsiteX3" fmla="*/ 81427 w 82166"/>
              <a:gd name="connsiteY3" fmla="*/ 29028 h 818930"/>
              <a:gd name="connsiteX4" fmla="*/ 82166 w 82166"/>
              <a:gd name="connsiteY4" fmla="*/ 789902 h 818930"/>
              <a:gd name="connsiteX5" fmla="*/ 41453 w 82166"/>
              <a:gd name="connsiteY5" fmla="*/ 818930 h 818930"/>
              <a:gd name="connsiteX6" fmla="*/ 740 w 82166"/>
              <a:gd name="connsiteY6" fmla="*/ 789902 h 818930"/>
              <a:gd name="connsiteX7" fmla="*/ 1 w 82166"/>
              <a:gd name="connsiteY7" fmla="*/ 29030 h 818930"/>
              <a:gd name="connsiteX8" fmla="*/ 0 w 82166"/>
              <a:gd name="connsiteY8" fmla="*/ 29028 h 818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166" h="818930">
                <a:moveTo>
                  <a:pt x="0" y="29028"/>
                </a:moveTo>
                <a:cubicBezTo>
                  <a:pt x="0" y="12996"/>
                  <a:pt x="18228" y="0"/>
                  <a:pt x="40713" y="0"/>
                </a:cubicBezTo>
                <a:lnTo>
                  <a:pt x="40714" y="0"/>
                </a:lnTo>
                <a:cubicBezTo>
                  <a:pt x="63199" y="0"/>
                  <a:pt x="81427" y="12996"/>
                  <a:pt x="81427" y="29028"/>
                </a:cubicBezTo>
                <a:cubicBezTo>
                  <a:pt x="81673" y="282653"/>
                  <a:pt x="81920" y="536277"/>
                  <a:pt x="82166" y="789902"/>
                </a:cubicBezTo>
                <a:cubicBezTo>
                  <a:pt x="82166" y="805934"/>
                  <a:pt x="63938" y="818930"/>
                  <a:pt x="41453" y="818930"/>
                </a:cubicBezTo>
                <a:cubicBezTo>
                  <a:pt x="18968" y="818930"/>
                  <a:pt x="740" y="805934"/>
                  <a:pt x="740" y="789902"/>
                </a:cubicBezTo>
                <a:cubicBezTo>
                  <a:pt x="494" y="536278"/>
                  <a:pt x="247" y="282654"/>
                  <a:pt x="1" y="29030"/>
                </a:cubicBezTo>
                <a:cubicBezTo>
                  <a:pt x="1" y="29029"/>
                  <a:pt x="0" y="29029"/>
                  <a:pt x="0" y="29028"/>
                </a:cubicBezTo>
                <a:close/>
              </a:path>
            </a:pathLst>
          </a:cu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nvGrpSpPr>
          <p:cNvPr id="1082" name="Group 1081">
            <a:extLst>
              <a:ext uri="{FF2B5EF4-FFF2-40B4-BE49-F238E27FC236}">
                <a16:creationId xmlns:a16="http://schemas.microsoft.com/office/drawing/2014/main" id="{05057CE3-31F2-4B0F-8098-6BA91355B5F5}"/>
              </a:ext>
            </a:extLst>
          </p:cNvPr>
          <p:cNvGrpSpPr/>
          <p:nvPr/>
        </p:nvGrpSpPr>
        <p:grpSpPr bwMode="gray">
          <a:xfrm>
            <a:off x="6404004" y="3421603"/>
            <a:ext cx="3532494" cy="1623691"/>
            <a:chOff x="5493956" y="3261949"/>
            <a:chExt cx="3532494" cy="1623691"/>
          </a:xfrm>
        </p:grpSpPr>
        <p:grpSp>
          <p:nvGrpSpPr>
            <p:cNvPr id="413" name="Group 412">
              <a:extLst>
                <a:ext uri="{FF2B5EF4-FFF2-40B4-BE49-F238E27FC236}">
                  <a16:creationId xmlns:a16="http://schemas.microsoft.com/office/drawing/2014/main" id="{F0D2FE4F-8AF4-455A-8B3A-097FC09C04C6}"/>
                </a:ext>
              </a:extLst>
            </p:cNvPr>
            <p:cNvGrpSpPr/>
            <p:nvPr/>
          </p:nvGrpSpPr>
          <p:grpSpPr bwMode="gray">
            <a:xfrm>
              <a:off x="6157059" y="3588213"/>
              <a:ext cx="73719" cy="213484"/>
              <a:chOff x="7678678" y="2897587"/>
              <a:chExt cx="73719" cy="213484"/>
            </a:xfrm>
          </p:grpSpPr>
          <p:sp>
            <p:nvSpPr>
              <p:cNvPr id="414" name="Freeform: Shape 413">
                <a:extLst>
                  <a:ext uri="{FF2B5EF4-FFF2-40B4-BE49-F238E27FC236}">
                    <a16:creationId xmlns:a16="http://schemas.microsoft.com/office/drawing/2014/main" id="{E7DD52B0-A94B-47A9-A70B-13660B322D48}"/>
                  </a:ext>
                </a:extLst>
              </p:cNvPr>
              <p:cNvSpPr/>
              <p:nvPr/>
            </p:nvSpPr>
            <p:spPr bwMode="gray">
              <a:xfrm flipH="1">
                <a:off x="7715674" y="2897588"/>
                <a:ext cx="36723" cy="212996"/>
              </a:xfrm>
              <a:custGeom>
                <a:avLst/>
                <a:gdLst>
                  <a:gd name="connsiteX0" fmla="*/ 693 w 37416"/>
                  <a:gd name="connsiteY0" fmla="*/ 0 h 486447"/>
                  <a:gd name="connsiteX1" fmla="*/ 0 w 37416"/>
                  <a:gd name="connsiteY1" fmla="*/ 485646 h 486447"/>
                  <a:gd name="connsiteX2" fmla="*/ 1397 w 37416"/>
                  <a:gd name="connsiteY2" fmla="*/ 486447 h 486447"/>
                  <a:gd name="connsiteX3" fmla="*/ 1397 w 37416"/>
                  <a:gd name="connsiteY3" fmla="*/ 192196 h 486447"/>
                  <a:gd name="connsiteX4" fmla="*/ 37416 w 37416"/>
                  <a:gd name="connsiteY4" fmla="*/ 212996 h 486447"/>
                  <a:gd name="connsiteX5" fmla="*/ 37416 w 37416"/>
                  <a:gd name="connsiteY5" fmla="*/ 21478 h 486447"/>
                  <a:gd name="connsiteX0" fmla="*/ 693 w 37416"/>
                  <a:gd name="connsiteY0" fmla="*/ 0 h 485646"/>
                  <a:gd name="connsiteX1" fmla="*/ 0 w 37416"/>
                  <a:gd name="connsiteY1" fmla="*/ 485646 h 485646"/>
                  <a:gd name="connsiteX2" fmla="*/ 1397 w 37416"/>
                  <a:gd name="connsiteY2" fmla="*/ 192196 h 485646"/>
                  <a:gd name="connsiteX3" fmla="*/ 37416 w 37416"/>
                  <a:gd name="connsiteY3" fmla="*/ 212996 h 485646"/>
                  <a:gd name="connsiteX4" fmla="*/ 37416 w 37416"/>
                  <a:gd name="connsiteY4" fmla="*/ 21478 h 485646"/>
                  <a:gd name="connsiteX5" fmla="*/ 693 w 37416"/>
                  <a:gd name="connsiteY5" fmla="*/ 0 h 48564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2126 w 38849"/>
                  <a:gd name="connsiteY0" fmla="*/ 0 h 212996"/>
                  <a:gd name="connsiteX1" fmla="*/ 2830 w 38849"/>
                  <a:gd name="connsiteY1" fmla="*/ 192196 h 212996"/>
                  <a:gd name="connsiteX2" fmla="*/ 38849 w 38849"/>
                  <a:gd name="connsiteY2" fmla="*/ 212996 h 212996"/>
                  <a:gd name="connsiteX3" fmla="*/ 38849 w 38849"/>
                  <a:gd name="connsiteY3" fmla="*/ 21478 h 212996"/>
                  <a:gd name="connsiteX4" fmla="*/ 2126 w 38849"/>
                  <a:gd name="connsiteY4" fmla="*/ 0 h 212996"/>
                  <a:gd name="connsiteX0" fmla="*/ 0 w 36723"/>
                  <a:gd name="connsiteY0" fmla="*/ 0 h 212996"/>
                  <a:gd name="connsiteX1" fmla="*/ 704 w 36723"/>
                  <a:gd name="connsiteY1" fmla="*/ 192196 h 212996"/>
                  <a:gd name="connsiteX2" fmla="*/ 36723 w 36723"/>
                  <a:gd name="connsiteY2" fmla="*/ 212996 h 212996"/>
                  <a:gd name="connsiteX3" fmla="*/ 36723 w 36723"/>
                  <a:gd name="connsiteY3" fmla="*/ 21478 h 212996"/>
                  <a:gd name="connsiteX4" fmla="*/ 0 w 36723"/>
                  <a:gd name="connsiteY4" fmla="*/ 0 h 21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23" h="212996">
                    <a:moveTo>
                      <a:pt x="0" y="0"/>
                    </a:moveTo>
                    <a:lnTo>
                      <a:pt x="704" y="192196"/>
                    </a:lnTo>
                    <a:lnTo>
                      <a:pt x="36723" y="212996"/>
                    </a:lnTo>
                    <a:lnTo>
                      <a:pt x="36723" y="21478"/>
                    </a:lnTo>
                    <a:lnTo>
                      <a:pt x="0" y="0"/>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415" name="Freeform: Shape 414">
                <a:extLst>
                  <a:ext uri="{FF2B5EF4-FFF2-40B4-BE49-F238E27FC236}">
                    <a16:creationId xmlns:a16="http://schemas.microsoft.com/office/drawing/2014/main" id="{9FE663FB-78F4-4517-A2EA-25E90C931B1E}"/>
                  </a:ext>
                </a:extLst>
              </p:cNvPr>
              <p:cNvSpPr/>
              <p:nvPr/>
            </p:nvSpPr>
            <p:spPr bwMode="gray">
              <a:xfrm>
                <a:off x="7678678" y="2897587"/>
                <a:ext cx="36997" cy="213484"/>
              </a:xfrm>
              <a:custGeom>
                <a:avLst/>
                <a:gdLst>
                  <a:gd name="connsiteX0" fmla="*/ 274 w 36997"/>
                  <a:gd name="connsiteY0" fmla="*/ 0 h 213484"/>
                  <a:gd name="connsiteX1" fmla="*/ 36997 w 36997"/>
                  <a:gd name="connsiteY1" fmla="*/ 21478 h 213484"/>
                  <a:gd name="connsiteX2" fmla="*/ 36997 w 36997"/>
                  <a:gd name="connsiteY2" fmla="*/ 213484 h 213484"/>
                  <a:gd name="connsiteX3" fmla="*/ 0 w 36997"/>
                  <a:gd name="connsiteY3" fmla="*/ 192119 h 213484"/>
                  <a:gd name="connsiteX4" fmla="*/ 69 w 36997"/>
                  <a:gd name="connsiteY4" fmla="*/ 144176 h 213484"/>
                  <a:gd name="connsiteX5" fmla="*/ 274 w 36997"/>
                  <a:gd name="connsiteY5" fmla="*/ 0 h 21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97" h="213484">
                    <a:moveTo>
                      <a:pt x="274" y="0"/>
                    </a:moveTo>
                    <a:lnTo>
                      <a:pt x="36997" y="21478"/>
                    </a:lnTo>
                    <a:lnTo>
                      <a:pt x="36997" y="213484"/>
                    </a:lnTo>
                    <a:lnTo>
                      <a:pt x="0" y="192119"/>
                    </a:lnTo>
                    <a:lnTo>
                      <a:pt x="69" y="144176"/>
                    </a:lnTo>
                    <a:cubicBezTo>
                      <a:pt x="123" y="106235"/>
                      <a:pt x="188" y="60706"/>
                      <a:pt x="274" y="0"/>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416" name="Group 415">
              <a:extLst>
                <a:ext uri="{FF2B5EF4-FFF2-40B4-BE49-F238E27FC236}">
                  <a16:creationId xmlns:a16="http://schemas.microsoft.com/office/drawing/2014/main" id="{98147B3C-804C-4515-8846-C310B004AB44}"/>
                </a:ext>
              </a:extLst>
            </p:cNvPr>
            <p:cNvGrpSpPr/>
            <p:nvPr/>
          </p:nvGrpSpPr>
          <p:grpSpPr bwMode="gray">
            <a:xfrm>
              <a:off x="6723093" y="3261949"/>
              <a:ext cx="73719" cy="213484"/>
              <a:chOff x="7681059" y="2899968"/>
              <a:chExt cx="73719" cy="213484"/>
            </a:xfrm>
          </p:grpSpPr>
          <p:sp>
            <p:nvSpPr>
              <p:cNvPr id="417" name="Freeform: Shape 416">
                <a:extLst>
                  <a:ext uri="{FF2B5EF4-FFF2-40B4-BE49-F238E27FC236}">
                    <a16:creationId xmlns:a16="http://schemas.microsoft.com/office/drawing/2014/main" id="{C39B0AE9-F7E2-4C1E-AEA7-63E7DE9B6252}"/>
                  </a:ext>
                </a:extLst>
              </p:cNvPr>
              <p:cNvSpPr/>
              <p:nvPr/>
            </p:nvSpPr>
            <p:spPr bwMode="gray">
              <a:xfrm flipH="1">
                <a:off x="7718055" y="2899969"/>
                <a:ext cx="36723" cy="212996"/>
              </a:xfrm>
              <a:custGeom>
                <a:avLst/>
                <a:gdLst>
                  <a:gd name="connsiteX0" fmla="*/ 693 w 37416"/>
                  <a:gd name="connsiteY0" fmla="*/ 0 h 486447"/>
                  <a:gd name="connsiteX1" fmla="*/ 0 w 37416"/>
                  <a:gd name="connsiteY1" fmla="*/ 485646 h 486447"/>
                  <a:gd name="connsiteX2" fmla="*/ 1397 w 37416"/>
                  <a:gd name="connsiteY2" fmla="*/ 486447 h 486447"/>
                  <a:gd name="connsiteX3" fmla="*/ 1397 w 37416"/>
                  <a:gd name="connsiteY3" fmla="*/ 192196 h 486447"/>
                  <a:gd name="connsiteX4" fmla="*/ 37416 w 37416"/>
                  <a:gd name="connsiteY4" fmla="*/ 212996 h 486447"/>
                  <a:gd name="connsiteX5" fmla="*/ 37416 w 37416"/>
                  <a:gd name="connsiteY5" fmla="*/ 21478 h 486447"/>
                  <a:gd name="connsiteX0" fmla="*/ 693 w 37416"/>
                  <a:gd name="connsiteY0" fmla="*/ 0 h 485646"/>
                  <a:gd name="connsiteX1" fmla="*/ 0 w 37416"/>
                  <a:gd name="connsiteY1" fmla="*/ 485646 h 485646"/>
                  <a:gd name="connsiteX2" fmla="*/ 1397 w 37416"/>
                  <a:gd name="connsiteY2" fmla="*/ 192196 h 485646"/>
                  <a:gd name="connsiteX3" fmla="*/ 37416 w 37416"/>
                  <a:gd name="connsiteY3" fmla="*/ 212996 h 485646"/>
                  <a:gd name="connsiteX4" fmla="*/ 37416 w 37416"/>
                  <a:gd name="connsiteY4" fmla="*/ 21478 h 485646"/>
                  <a:gd name="connsiteX5" fmla="*/ 693 w 37416"/>
                  <a:gd name="connsiteY5" fmla="*/ 0 h 48564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2126 w 38849"/>
                  <a:gd name="connsiteY0" fmla="*/ 0 h 212996"/>
                  <a:gd name="connsiteX1" fmla="*/ 2830 w 38849"/>
                  <a:gd name="connsiteY1" fmla="*/ 192196 h 212996"/>
                  <a:gd name="connsiteX2" fmla="*/ 38849 w 38849"/>
                  <a:gd name="connsiteY2" fmla="*/ 212996 h 212996"/>
                  <a:gd name="connsiteX3" fmla="*/ 38849 w 38849"/>
                  <a:gd name="connsiteY3" fmla="*/ 21478 h 212996"/>
                  <a:gd name="connsiteX4" fmla="*/ 2126 w 38849"/>
                  <a:gd name="connsiteY4" fmla="*/ 0 h 212996"/>
                  <a:gd name="connsiteX0" fmla="*/ 0 w 36723"/>
                  <a:gd name="connsiteY0" fmla="*/ 0 h 212996"/>
                  <a:gd name="connsiteX1" fmla="*/ 704 w 36723"/>
                  <a:gd name="connsiteY1" fmla="*/ 192196 h 212996"/>
                  <a:gd name="connsiteX2" fmla="*/ 36723 w 36723"/>
                  <a:gd name="connsiteY2" fmla="*/ 212996 h 212996"/>
                  <a:gd name="connsiteX3" fmla="*/ 36723 w 36723"/>
                  <a:gd name="connsiteY3" fmla="*/ 21478 h 212996"/>
                  <a:gd name="connsiteX4" fmla="*/ 0 w 36723"/>
                  <a:gd name="connsiteY4" fmla="*/ 0 h 21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23" h="212996">
                    <a:moveTo>
                      <a:pt x="0" y="0"/>
                    </a:moveTo>
                    <a:lnTo>
                      <a:pt x="704" y="192196"/>
                    </a:lnTo>
                    <a:lnTo>
                      <a:pt x="36723" y="212996"/>
                    </a:lnTo>
                    <a:lnTo>
                      <a:pt x="36723" y="21478"/>
                    </a:lnTo>
                    <a:lnTo>
                      <a:pt x="0" y="0"/>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418" name="Freeform: Shape 417">
                <a:extLst>
                  <a:ext uri="{FF2B5EF4-FFF2-40B4-BE49-F238E27FC236}">
                    <a16:creationId xmlns:a16="http://schemas.microsoft.com/office/drawing/2014/main" id="{8D85FC43-486B-4001-9628-C737E2725EBD}"/>
                  </a:ext>
                </a:extLst>
              </p:cNvPr>
              <p:cNvSpPr/>
              <p:nvPr/>
            </p:nvSpPr>
            <p:spPr bwMode="gray">
              <a:xfrm>
                <a:off x="7681059" y="2899968"/>
                <a:ext cx="36997" cy="213484"/>
              </a:xfrm>
              <a:custGeom>
                <a:avLst/>
                <a:gdLst>
                  <a:gd name="connsiteX0" fmla="*/ 274 w 36997"/>
                  <a:gd name="connsiteY0" fmla="*/ 0 h 213484"/>
                  <a:gd name="connsiteX1" fmla="*/ 36997 w 36997"/>
                  <a:gd name="connsiteY1" fmla="*/ 21478 h 213484"/>
                  <a:gd name="connsiteX2" fmla="*/ 36997 w 36997"/>
                  <a:gd name="connsiteY2" fmla="*/ 213484 h 213484"/>
                  <a:gd name="connsiteX3" fmla="*/ 0 w 36997"/>
                  <a:gd name="connsiteY3" fmla="*/ 192119 h 213484"/>
                  <a:gd name="connsiteX4" fmla="*/ 69 w 36997"/>
                  <a:gd name="connsiteY4" fmla="*/ 144176 h 213484"/>
                  <a:gd name="connsiteX5" fmla="*/ 274 w 36997"/>
                  <a:gd name="connsiteY5" fmla="*/ 0 h 21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97" h="213484">
                    <a:moveTo>
                      <a:pt x="274" y="0"/>
                    </a:moveTo>
                    <a:lnTo>
                      <a:pt x="36997" y="21478"/>
                    </a:lnTo>
                    <a:lnTo>
                      <a:pt x="36997" y="213484"/>
                    </a:lnTo>
                    <a:lnTo>
                      <a:pt x="0" y="192119"/>
                    </a:lnTo>
                    <a:lnTo>
                      <a:pt x="69" y="144176"/>
                    </a:lnTo>
                    <a:cubicBezTo>
                      <a:pt x="123" y="106235"/>
                      <a:pt x="188" y="60706"/>
                      <a:pt x="274" y="0"/>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419" name="Group 418">
              <a:extLst>
                <a:ext uri="{FF2B5EF4-FFF2-40B4-BE49-F238E27FC236}">
                  <a16:creationId xmlns:a16="http://schemas.microsoft.com/office/drawing/2014/main" id="{94BF6EE7-AB75-426B-95EE-5E338D4FD2E2}"/>
                </a:ext>
              </a:extLst>
            </p:cNvPr>
            <p:cNvGrpSpPr/>
            <p:nvPr/>
          </p:nvGrpSpPr>
          <p:grpSpPr bwMode="gray">
            <a:xfrm>
              <a:off x="6092200" y="3592182"/>
              <a:ext cx="73719" cy="213484"/>
              <a:chOff x="7681059" y="2899968"/>
              <a:chExt cx="73719" cy="213484"/>
            </a:xfrm>
          </p:grpSpPr>
          <p:sp>
            <p:nvSpPr>
              <p:cNvPr id="420" name="Freeform: Shape 419">
                <a:extLst>
                  <a:ext uri="{FF2B5EF4-FFF2-40B4-BE49-F238E27FC236}">
                    <a16:creationId xmlns:a16="http://schemas.microsoft.com/office/drawing/2014/main" id="{9B80625C-D2E6-42DC-949C-3C0CCD3D8DE2}"/>
                  </a:ext>
                </a:extLst>
              </p:cNvPr>
              <p:cNvSpPr/>
              <p:nvPr/>
            </p:nvSpPr>
            <p:spPr bwMode="gray">
              <a:xfrm flipH="1">
                <a:off x="7718055" y="2899969"/>
                <a:ext cx="36723" cy="212996"/>
              </a:xfrm>
              <a:custGeom>
                <a:avLst/>
                <a:gdLst>
                  <a:gd name="connsiteX0" fmla="*/ 693 w 37416"/>
                  <a:gd name="connsiteY0" fmla="*/ 0 h 486447"/>
                  <a:gd name="connsiteX1" fmla="*/ 0 w 37416"/>
                  <a:gd name="connsiteY1" fmla="*/ 485646 h 486447"/>
                  <a:gd name="connsiteX2" fmla="*/ 1397 w 37416"/>
                  <a:gd name="connsiteY2" fmla="*/ 486447 h 486447"/>
                  <a:gd name="connsiteX3" fmla="*/ 1397 w 37416"/>
                  <a:gd name="connsiteY3" fmla="*/ 192196 h 486447"/>
                  <a:gd name="connsiteX4" fmla="*/ 37416 w 37416"/>
                  <a:gd name="connsiteY4" fmla="*/ 212996 h 486447"/>
                  <a:gd name="connsiteX5" fmla="*/ 37416 w 37416"/>
                  <a:gd name="connsiteY5" fmla="*/ 21478 h 486447"/>
                  <a:gd name="connsiteX0" fmla="*/ 693 w 37416"/>
                  <a:gd name="connsiteY0" fmla="*/ 0 h 485646"/>
                  <a:gd name="connsiteX1" fmla="*/ 0 w 37416"/>
                  <a:gd name="connsiteY1" fmla="*/ 485646 h 485646"/>
                  <a:gd name="connsiteX2" fmla="*/ 1397 w 37416"/>
                  <a:gd name="connsiteY2" fmla="*/ 192196 h 485646"/>
                  <a:gd name="connsiteX3" fmla="*/ 37416 w 37416"/>
                  <a:gd name="connsiteY3" fmla="*/ 212996 h 485646"/>
                  <a:gd name="connsiteX4" fmla="*/ 37416 w 37416"/>
                  <a:gd name="connsiteY4" fmla="*/ 21478 h 485646"/>
                  <a:gd name="connsiteX5" fmla="*/ 693 w 37416"/>
                  <a:gd name="connsiteY5" fmla="*/ 0 h 48564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2126 w 38849"/>
                  <a:gd name="connsiteY0" fmla="*/ 0 h 212996"/>
                  <a:gd name="connsiteX1" fmla="*/ 2830 w 38849"/>
                  <a:gd name="connsiteY1" fmla="*/ 192196 h 212996"/>
                  <a:gd name="connsiteX2" fmla="*/ 38849 w 38849"/>
                  <a:gd name="connsiteY2" fmla="*/ 212996 h 212996"/>
                  <a:gd name="connsiteX3" fmla="*/ 38849 w 38849"/>
                  <a:gd name="connsiteY3" fmla="*/ 21478 h 212996"/>
                  <a:gd name="connsiteX4" fmla="*/ 2126 w 38849"/>
                  <a:gd name="connsiteY4" fmla="*/ 0 h 212996"/>
                  <a:gd name="connsiteX0" fmla="*/ 0 w 36723"/>
                  <a:gd name="connsiteY0" fmla="*/ 0 h 212996"/>
                  <a:gd name="connsiteX1" fmla="*/ 704 w 36723"/>
                  <a:gd name="connsiteY1" fmla="*/ 192196 h 212996"/>
                  <a:gd name="connsiteX2" fmla="*/ 36723 w 36723"/>
                  <a:gd name="connsiteY2" fmla="*/ 212996 h 212996"/>
                  <a:gd name="connsiteX3" fmla="*/ 36723 w 36723"/>
                  <a:gd name="connsiteY3" fmla="*/ 21478 h 212996"/>
                  <a:gd name="connsiteX4" fmla="*/ 0 w 36723"/>
                  <a:gd name="connsiteY4" fmla="*/ 0 h 21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23" h="212996">
                    <a:moveTo>
                      <a:pt x="0" y="0"/>
                    </a:moveTo>
                    <a:lnTo>
                      <a:pt x="704" y="192196"/>
                    </a:lnTo>
                    <a:lnTo>
                      <a:pt x="36723" y="212996"/>
                    </a:lnTo>
                    <a:lnTo>
                      <a:pt x="36723" y="21478"/>
                    </a:lnTo>
                    <a:lnTo>
                      <a:pt x="0" y="0"/>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421" name="Freeform: Shape 420">
                <a:extLst>
                  <a:ext uri="{FF2B5EF4-FFF2-40B4-BE49-F238E27FC236}">
                    <a16:creationId xmlns:a16="http://schemas.microsoft.com/office/drawing/2014/main" id="{3AC22B8A-531D-43BC-8B8D-0800CB75EEDD}"/>
                  </a:ext>
                </a:extLst>
              </p:cNvPr>
              <p:cNvSpPr/>
              <p:nvPr/>
            </p:nvSpPr>
            <p:spPr bwMode="gray">
              <a:xfrm>
                <a:off x="7681059" y="2899968"/>
                <a:ext cx="36997" cy="213484"/>
              </a:xfrm>
              <a:custGeom>
                <a:avLst/>
                <a:gdLst>
                  <a:gd name="connsiteX0" fmla="*/ 274 w 36997"/>
                  <a:gd name="connsiteY0" fmla="*/ 0 h 213484"/>
                  <a:gd name="connsiteX1" fmla="*/ 36997 w 36997"/>
                  <a:gd name="connsiteY1" fmla="*/ 21478 h 213484"/>
                  <a:gd name="connsiteX2" fmla="*/ 36997 w 36997"/>
                  <a:gd name="connsiteY2" fmla="*/ 213484 h 213484"/>
                  <a:gd name="connsiteX3" fmla="*/ 0 w 36997"/>
                  <a:gd name="connsiteY3" fmla="*/ 192119 h 213484"/>
                  <a:gd name="connsiteX4" fmla="*/ 69 w 36997"/>
                  <a:gd name="connsiteY4" fmla="*/ 144176 h 213484"/>
                  <a:gd name="connsiteX5" fmla="*/ 274 w 36997"/>
                  <a:gd name="connsiteY5" fmla="*/ 0 h 21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97" h="213484">
                    <a:moveTo>
                      <a:pt x="274" y="0"/>
                    </a:moveTo>
                    <a:lnTo>
                      <a:pt x="36997" y="21478"/>
                    </a:lnTo>
                    <a:lnTo>
                      <a:pt x="36997" y="213484"/>
                    </a:lnTo>
                    <a:lnTo>
                      <a:pt x="0" y="192119"/>
                    </a:lnTo>
                    <a:lnTo>
                      <a:pt x="69" y="144176"/>
                    </a:lnTo>
                    <a:cubicBezTo>
                      <a:pt x="123" y="106235"/>
                      <a:pt x="188" y="60706"/>
                      <a:pt x="274" y="0"/>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075" name="Freeform: Shape 1074">
              <a:extLst>
                <a:ext uri="{FF2B5EF4-FFF2-40B4-BE49-F238E27FC236}">
                  <a16:creationId xmlns:a16="http://schemas.microsoft.com/office/drawing/2014/main" id="{10C6456A-5288-419B-907B-A62085CE02D9}"/>
                </a:ext>
              </a:extLst>
            </p:cNvPr>
            <p:cNvSpPr/>
            <p:nvPr/>
          </p:nvSpPr>
          <p:spPr bwMode="gray">
            <a:xfrm rot="7200000">
              <a:off x="7020069" y="2469227"/>
              <a:ext cx="461698" cy="3511234"/>
            </a:xfrm>
            <a:custGeom>
              <a:avLst/>
              <a:gdLst>
                <a:gd name="connsiteX0" fmla="*/ 1699 w 461466"/>
                <a:gd name="connsiteY0" fmla="*/ 3511234 h 3540262"/>
                <a:gd name="connsiteX1" fmla="*/ 1700 w 461466"/>
                <a:gd name="connsiteY1" fmla="*/ 1726671 h 3540262"/>
                <a:gd name="connsiteX2" fmla="*/ 1631 w 461466"/>
                <a:gd name="connsiteY2" fmla="*/ 1726469 h 3540262"/>
                <a:gd name="connsiteX3" fmla="*/ 913 w 461466"/>
                <a:gd name="connsiteY3" fmla="*/ 1611295 h 3540262"/>
                <a:gd name="connsiteX4" fmla="*/ 12307 w 461466"/>
                <a:gd name="connsiteY4" fmla="*/ 1555107 h 3540262"/>
                <a:gd name="connsiteX5" fmla="*/ 43276 w 461466"/>
                <a:gd name="connsiteY5" fmla="*/ 1521786 h 3540262"/>
                <a:gd name="connsiteX6" fmla="*/ 83531 w 461466"/>
                <a:gd name="connsiteY6" fmla="*/ 1512272 h 3540262"/>
                <a:gd name="connsiteX7" fmla="*/ 118959 w 461466"/>
                <a:gd name="connsiteY7" fmla="*/ 1519172 h 3540262"/>
                <a:gd name="connsiteX8" fmla="*/ 380039 w 461466"/>
                <a:gd name="connsiteY8" fmla="*/ 1668432 h 3540262"/>
                <a:gd name="connsiteX9" fmla="*/ 380040 w 461466"/>
                <a:gd name="connsiteY9" fmla="*/ 29030 h 3540262"/>
                <a:gd name="connsiteX10" fmla="*/ 380039 w 461466"/>
                <a:gd name="connsiteY10" fmla="*/ 29028 h 3540262"/>
                <a:gd name="connsiteX11" fmla="*/ 420752 w 461466"/>
                <a:gd name="connsiteY11" fmla="*/ 0 h 3540262"/>
                <a:gd name="connsiteX12" fmla="*/ 420753 w 461466"/>
                <a:gd name="connsiteY12" fmla="*/ 0 h 3540262"/>
                <a:gd name="connsiteX13" fmla="*/ 420753 w 461466"/>
                <a:gd name="connsiteY13" fmla="*/ 0 h 3540262"/>
                <a:gd name="connsiteX14" fmla="*/ 461466 w 461466"/>
                <a:gd name="connsiteY14" fmla="*/ 29028 h 3540262"/>
                <a:gd name="connsiteX15" fmla="*/ 461465 w 461466"/>
                <a:gd name="connsiteY15" fmla="*/ 1745672 h 3540262"/>
                <a:gd name="connsiteX16" fmla="*/ 420752 w 461466"/>
                <a:gd name="connsiteY16" fmla="*/ 1774700 h 3540262"/>
                <a:gd name="connsiteX17" fmla="*/ 391964 w 461466"/>
                <a:gd name="connsiteY17" fmla="*/ 1766198 h 3540262"/>
                <a:gd name="connsiteX18" fmla="*/ 391502 w 461466"/>
                <a:gd name="connsiteY18" fmla="*/ 1765404 h 3540262"/>
                <a:gd name="connsiteX19" fmla="*/ 97349 w 461466"/>
                <a:gd name="connsiteY19" fmla="*/ 1598622 h 3540262"/>
                <a:gd name="connsiteX20" fmla="*/ 97280 w 461466"/>
                <a:gd name="connsiteY20" fmla="*/ 1598543 h 3540262"/>
                <a:gd name="connsiteX21" fmla="*/ 92813 w 461466"/>
                <a:gd name="connsiteY21" fmla="*/ 1599797 h 3540262"/>
                <a:gd name="connsiteX22" fmla="*/ 84213 w 461466"/>
                <a:gd name="connsiteY22" fmla="*/ 1620329 h 3540262"/>
                <a:gd name="connsiteX23" fmla="*/ 84212 w 461466"/>
                <a:gd name="connsiteY23" fmla="*/ 1726469 h 3540262"/>
                <a:gd name="connsiteX24" fmla="*/ 83126 w 461466"/>
                <a:gd name="connsiteY24" fmla="*/ 1728010 h 3540262"/>
                <a:gd name="connsiteX25" fmla="*/ 83125 w 461466"/>
                <a:gd name="connsiteY25" fmla="*/ 3511234 h 3540262"/>
                <a:gd name="connsiteX26" fmla="*/ 42412 w 461466"/>
                <a:gd name="connsiteY26" fmla="*/ 3540262 h 3540262"/>
                <a:gd name="connsiteX27" fmla="*/ 1699 w 461466"/>
                <a:gd name="connsiteY27" fmla="*/ 3511234 h 3540262"/>
                <a:gd name="connsiteX0" fmla="*/ 420753 w 512193"/>
                <a:gd name="connsiteY0" fmla="*/ 0 h 3540262"/>
                <a:gd name="connsiteX1" fmla="*/ 461466 w 512193"/>
                <a:gd name="connsiteY1" fmla="*/ 29028 h 3540262"/>
                <a:gd name="connsiteX2" fmla="*/ 461465 w 512193"/>
                <a:gd name="connsiteY2" fmla="*/ 1745672 h 3540262"/>
                <a:gd name="connsiteX3" fmla="*/ 420752 w 512193"/>
                <a:gd name="connsiteY3" fmla="*/ 1774700 h 3540262"/>
                <a:gd name="connsiteX4" fmla="*/ 391964 w 512193"/>
                <a:gd name="connsiteY4" fmla="*/ 1766198 h 3540262"/>
                <a:gd name="connsiteX5" fmla="*/ 391502 w 512193"/>
                <a:gd name="connsiteY5" fmla="*/ 1765404 h 3540262"/>
                <a:gd name="connsiteX6" fmla="*/ 97349 w 512193"/>
                <a:gd name="connsiteY6" fmla="*/ 1598622 h 3540262"/>
                <a:gd name="connsiteX7" fmla="*/ 97280 w 512193"/>
                <a:gd name="connsiteY7" fmla="*/ 1598543 h 3540262"/>
                <a:gd name="connsiteX8" fmla="*/ 92813 w 512193"/>
                <a:gd name="connsiteY8" fmla="*/ 1599797 h 3540262"/>
                <a:gd name="connsiteX9" fmla="*/ 84213 w 512193"/>
                <a:gd name="connsiteY9" fmla="*/ 1620329 h 3540262"/>
                <a:gd name="connsiteX10" fmla="*/ 84212 w 512193"/>
                <a:gd name="connsiteY10" fmla="*/ 1726469 h 3540262"/>
                <a:gd name="connsiteX11" fmla="*/ 83126 w 512193"/>
                <a:gd name="connsiteY11" fmla="*/ 1728010 h 3540262"/>
                <a:gd name="connsiteX12" fmla="*/ 83125 w 512193"/>
                <a:gd name="connsiteY12" fmla="*/ 3511234 h 3540262"/>
                <a:gd name="connsiteX13" fmla="*/ 42412 w 512193"/>
                <a:gd name="connsiteY13" fmla="*/ 3540262 h 3540262"/>
                <a:gd name="connsiteX14" fmla="*/ 1699 w 512193"/>
                <a:gd name="connsiteY14" fmla="*/ 3511234 h 3540262"/>
                <a:gd name="connsiteX15" fmla="*/ 1700 w 512193"/>
                <a:gd name="connsiteY15" fmla="*/ 1726671 h 3540262"/>
                <a:gd name="connsiteX16" fmla="*/ 1631 w 512193"/>
                <a:gd name="connsiteY16" fmla="*/ 1726469 h 3540262"/>
                <a:gd name="connsiteX17" fmla="*/ 913 w 512193"/>
                <a:gd name="connsiteY17" fmla="*/ 1611295 h 3540262"/>
                <a:gd name="connsiteX18" fmla="*/ 12307 w 512193"/>
                <a:gd name="connsiteY18" fmla="*/ 1555107 h 3540262"/>
                <a:gd name="connsiteX19" fmla="*/ 43276 w 512193"/>
                <a:gd name="connsiteY19" fmla="*/ 1521786 h 3540262"/>
                <a:gd name="connsiteX20" fmla="*/ 83531 w 512193"/>
                <a:gd name="connsiteY20" fmla="*/ 1512272 h 3540262"/>
                <a:gd name="connsiteX21" fmla="*/ 118959 w 512193"/>
                <a:gd name="connsiteY21" fmla="*/ 1519172 h 3540262"/>
                <a:gd name="connsiteX22" fmla="*/ 380039 w 512193"/>
                <a:gd name="connsiteY22" fmla="*/ 1668432 h 3540262"/>
                <a:gd name="connsiteX23" fmla="*/ 380040 w 512193"/>
                <a:gd name="connsiteY23" fmla="*/ 29030 h 3540262"/>
                <a:gd name="connsiteX24" fmla="*/ 380039 w 512193"/>
                <a:gd name="connsiteY24" fmla="*/ 29028 h 3540262"/>
                <a:gd name="connsiteX25" fmla="*/ 420752 w 512193"/>
                <a:gd name="connsiteY25" fmla="*/ 0 h 3540262"/>
                <a:gd name="connsiteX26" fmla="*/ 420753 w 512193"/>
                <a:gd name="connsiteY26" fmla="*/ 0 h 3540262"/>
                <a:gd name="connsiteX27" fmla="*/ 512193 w 512193"/>
                <a:gd name="connsiteY27" fmla="*/ 91440 h 3540262"/>
                <a:gd name="connsiteX0" fmla="*/ 420753 w 512193"/>
                <a:gd name="connsiteY0" fmla="*/ 0 h 3540262"/>
                <a:gd name="connsiteX1" fmla="*/ 461466 w 512193"/>
                <a:gd name="connsiteY1" fmla="*/ 29028 h 3540262"/>
                <a:gd name="connsiteX2" fmla="*/ 461465 w 512193"/>
                <a:gd name="connsiteY2" fmla="*/ 1745672 h 3540262"/>
                <a:gd name="connsiteX3" fmla="*/ 420752 w 512193"/>
                <a:gd name="connsiteY3" fmla="*/ 1774700 h 3540262"/>
                <a:gd name="connsiteX4" fmla="*/ 391964 w 512193"/>
                <a:gd name="connsiteY4" fmla="*/ 1766198 h 3540262"/>
                <a:gd name="connsiteX5" fmla="*/ 391502 w 512193"/>
                <a:gd name="connsiteY5" fmla="*/ 1765404 h 3540262"/>
                <a:gd name="connsiteX6" fmla="*/ 97349 w 512193"/>
                <a:gd name="connsiteY6" fmla="*/ 1598622 h 3540262"/>
                <a:gd name="connsiteX7" fmla="*/ 97280 w 512193"/>
                <a:gd name="connsiteY7" fmla="*/ 1598543 h 3540262"/>
                <a:gd name="connsiteX8" fmla="*/ 92813 w 512193"/>
                <a:gd name="connsiteY8" fmla="*/ 1599797 h 3540262"/>
                <a:gd name="connsiteX9" fmla="*/ 84213 w 512193"/>
                <a:gd name="connsiteY9" fmla="*/ 1620329 h 3540262"/>
                <a:gd name="connsiteX10" fmla="*/ 84212 w 512193"/>
                <a:gd name="connsiteY10" fmla="*/ 1726469 h 3540262"/>
                <a:gd name="connsiteX11" fmla="*/ 83126 w 512193"/>
                <a:gd name="connsiteY11" fmla="*/ 1728010 h 3540262"/>
                <a:gd name="connsiteX12" fmla="*/ 83125 w 512193"/>
                <a:gd name="connsiteY12" fmla="*/ 3511234 h 3540262"/>
                <a:gd name="connsiteX13" fmla="*/ 42412 w 512193"/>
                <a:gd name="connsiteY13" fmla="*/ 3540262 h 3540262"/>
                <a:gd name="connsiteX14" fmla="*/ 1699 w 512193"/>
                <a:gd name="connsiteY14" fmla="*/ 3511234 h 3540262"/>
                <a:gd name="connsiteX15" fmla="*/ 1700 w 512193"/>
                <a:gd name="connsiteY15" fmla="*/ 1726671 h 3540262"/>
                <a:gd name="connsiteX16" fmla="*/ 1631 w 512193"/>
                <a:gd name="connsiteY16" fmla="*/ 1726469 h 3540262"/>
                <a:gd name="connsiteX17" fmla="*/ 913 w 512193"/>
                <a:gd name="connsiteY17" fmla="*/ 1611295 h 3540262"/>
                <a:gd name="connsiteX18" fmla="*/ 12307 w 512193"/>
                <a:gd name="connsiteY18" fmla="*/ 1555107 h 3540262"/>
                <a:gd name="connsiteX19" fmla="*/ 43276 w 512193"/>
                <a:gd name="connsiteY19" fmla="*/ 1521786 h 3540262"/>
                <a:gd name="connsiteX20" fmla="*/ 83531 w 512193"/>
                <a:gd name="connsiteY20" fmla="*/ 1512272 h 3540262"/>
                <a:gd name="connsiteX21" fmla="*/ 118959 w 512193"/>
                <a:gd name="connsiteY21" fmla="*/ 1519172 h 3540262"/>
                <a:gd name="connsiteX22" fmla="*/ 380039 w 512193"/>
                <a:gd name="connsiteY22" fmla="*/ 1668432 h 3540262"/>
                <a:gd name="connsiteX23" fmla="*/ 380040 w 512193"/>
                <a:gd name="connsiteY23" fmla="*/ 29030 h 3540262"/>
                <a:gd name="connsiteX24" fmla="*/ 380039 w 512193"/>
                <a:gd name="connsiteY24" fmla="*/ 29028 h 3540262"/>
                <a:gd name="connsiteX25" fmla="*/ 420752 w 512193"/>
                <a:gd name="connsiteY25" fmla="*/ 0 h 3540262"/>
                <a:gd name="connsiteX26" fmla="*/ 512193 w 512193"/>
                <a:gd name="connsiteY26" fmla="*/ 91440 h 3540262"/>
                <a:gd name="connsiteX0" fmla="*/ 420753 w 512193"/>
                <a:gd name="connsiteY0" fmla="*/ 0 h 3540262"/>
                <a:gd name="connsiteX1" fmla="*/ 461466 w 512193"/>
                <a:gd name="connsiteY1" fmla="*/ 29028 h 3540262"/>
                <a:gd name="connsiteX2" fmla="*/ 461465 w 512193"/>
                <a:gd name="connsiteY2" fmla="*/ 1745672 h 3540262"/>
                <a:gd name="connsiteX3" fmla="*/ 420752 w 512193"/>
                <a:gd name="connsiteY3" fmla="*/ 1774700 h 3540262"/>
                <a:gd name="connsiteX4" fmla="*/ 391964 w 512193"/>
                <a:gd name="connsiteY4" fmla="*/ 1766198 h 3540262"/>
                <a:gd name="connsiteX5" fmla="*/ 391502 w 512193"/>
                <a:gd name="connsiteY5" fmla="*/ 1765404 h 3540262"/>
                <a:gd name="connsiteX6" fmla="*/ 97349 w 512193"/>
                <a:gd name="connsiteY6" fmla="*/ 1598622 h 3540262"/>
                <a:gd name="connsiteX7" fmla="*/ 97280 w 512193"/>
                <a:gd name="connsiteY7" fmla="*/ 1598543 h 3540262"/>
                <a:gd name="connsiteX8" fmla="*/ 92813 w 512193"/>
                <a:gd name="connsiteY8" fmla="*/ 1599797 h 3540262"/>
                <a:gd name="connsiteX9" fmla="*/ 84213 w 512193"/>
                <a:gd name="connsiteY9" fmla="*/ 1620329 h 3540262"/>
                <a:gd name="connsiteX10" fmla="*/ 84212 w 512193"/>
                <a:gd name="connsiteY10" fmla="*/ 1726469 h 3540262"/>
                <a:gd name="connsiteX11" fmla="*/ 83126 w 512193"/>
                <a:gd name="connsiteY11" fmla="*/ 1728010 h 3540262"/>
                <a:gd name="connsiteX12" fmla="*/ 83125 w 512193"/>
                <a:gd name="connsiteY12" fmla="*/ 3511234 h 3540262"/>
                <a:gd name="connsiteX13" fmla="*/ 42412 w 512193"/>
                <a:gd name="connsiteY13" fmla="*/ 3540262 h 3540262"/>
                <a:gd name="connsiteX14" fmla="*/ 1699 w 512193"/>
                <a:gd name="connsiteY14" fmla="*/ 3511234 h 3540262"/>
                <a:gd name="connsiteX15" fmla="*/ 1700 w 512193"/>
                <a:gd name="connsiteY15" fmla="*/ 1726671 h 3540262"/>
                <a:gd name="connsiteX16" fmla="*/ 1631 w 512193"/>
                <a:gd name="connsiteY16" fmla="*/ 1726469 h 3540262"/>
                <a:gd name="connsiteX17" fmla="*/ 913 w 512193"/>
                <a:gd name="connsiteY17" fmla="*/ 1611295 h 3540262"/>
                <a:gd name="connsiteX18" fmla="*/ 12307 w 512193"/>
                <a:gd name="connsiteY18" fmla="*/ 1555107 h 3540262"/>
                <a:gd name="connsiteX19" fmla="*/ 43276 w 512193"/>
                <a:gd name="connsiteY19" fmla="*/ 1521786 h 3540262"/>
                <a:gd name="connsiteX20" fmla="*/ 83531 w 512193"/>
                <a:gd name="connsiteY20" fmla="*/ 1512272 h 3540262"/>
                <a:gd name="connsiteX21" fmla="*/ 118959 w 512193"/>
                <a:gd name="connsiteY21" fmla="*/ 1519172 h 3540262"/>
                <a:gd name="connsiteX22" fmla="*/ 380039 w 512193"/>
                <a:gd name="connsiteY22" fmla="*/ 1668432 h 3540262"/>
                <a:gd name="connsiteX23" fmla="*/ 380040 w 512193"/>
                <a:gd name="connsiteY23" fmla="*/ 29030 h 3540262"/>
                <a:gd name="connsiteX24" fmla="*/ 380039 w 512193"/>
                <a:gd name="connsiteY24" fmla="*/ 29028 h 3540262"/>
                <a:gd name="connsiteX25" fmla="*/ 512193 w 512193"/>
                <a:gd name="connsiteY25" fmla="*/ 91440 h 3540262"/>
                <a:gd name="connsiteX0" fmla="*/ 420753 w 461466"/>
                <a:gd name="connsiteY0" fmla="*/ 0 h 3540262"/>
                <a:gd name="connsiteX1" fmla="*/ 461466 w 461466"/>
                <a:gd name="connsiteY1" fmla="*/ 29028 h 3540262"/>
                <a:gd name="connsiteX2" fmla="*/ 461465 w 461466"/>
                <a:gd name="connsiteY2" fmla="*/ 1745672 h 3540262"/>
                <a:gd name="connsiteX3" fmla="*/ 420752 w 461466"/>
                <a:gd name="connsiteY3" fmla="*/ 1774700 h 3540262"/>
                <a:gd name="connsiteX4" fmla="*/ 391964 w 461466"/>
                <a:gd name="connsiteY4" fmla="*/ 1766198 h 3540262"/>
                <a:gd name="connsiteX5" fmla="*/ 391502 w 461466"/>
                <a:gd name="connsiteY5" fmla="*/ 1765404 h 3540262"/>
                <a:gd name="connsiteX6" fmla="*/ 97349 w 461466"/>
                <a:gd name="connsiteY6" fmla="*/ 1598622 h 3540262"/>
                <a:gd name="connsiteX7" fmla="*/ 97280 w 461466"/>
                <a:gd name="connsiteY7" fmla="*/ 1598543 h 3540262"/>
                <a:gd name="connsiteX8" fmla="*/ 92813 w 461466"/>
                <a:gd name="connsiteY8" fmla="*/ 1599797 h 3540262"/>
                <a:gd name="connsiteX9" fmla="*/ 84213 w 461466"/>
                <a:gd name="connsiteY9" fmla="*/ 1620329 h 3540262"/>
                <a:gd name="connsiteX10" fmla="*/ 84212 w 461466"/>
                <a:gd name="connsiteY10" fmla="*/ 1726469 h 3540262"/>
                <a:gd name="connsiteX11" fmla="*/ 83126 w 461466"/>
                <a:gd name="connsiteY11" fmla="*/ 1728010 h 3540262"/>
                <a:gd name="connsiteX12" fmla="*/ 83125 w 461466"/>
                <a:gd name="connsiteY12" fmla="*/ 3511234 h 3540262"/>
                <a:gd name="connsiteX13" fmla="*/ 42412 w 461466"/>
                <a:gd name="connsiteY13" fmla="*/ 3540262 h 3540262"/>
                <a:gd name="connsiteX14" fmla="*/ 1699 w 461466"/>
                <a:gd name="connsiteY14" fmla="*/ 3511234 h 3540262"/>
                <a:gd name="connsiteX15" fmla="*/ 1700 w 461466"/>
                <a:gd name="connsiteY15" fmla="*/ 1726671 h 3540262"/>
                <a:gd name="connsiteX16" fmla="*/ 1631 w 461466"/>
                <a:gd name="connsiteY16" fmla="*/ 1726469 h 3540262"/>
                <a:gd name="connsiteX17" fmla="*/ 913 w 461466"/>
                <a:gd name="connsiteY17" fmla="*/ 1611295 h 3540262"/>
                <a:gd name="connsiteX18" fmla="*/ 12307 w 461466"/>
                <a:gd name="connsiteY18" fmla="*/ 1555107 h 3540262"/>
                <a:gd name="connsiteX19" fmla="*/ 43276 w 461466"/>
                <a:gd name="connsiteY19" fmla="*/ 1521786 h 3540262"/>
                <a:gd name="connsiteX20" fmla="*/ 83531 w 461466"/>
                <a:gd name="connsiteY20" fmla="*/ 1512272 h 3540262"/>
                <a:gd name="connsiteX21" fmla="*/ 118959 w 461466"/>
                <a:gd name="connsiteY21" fmla="*/ 1519172 h 3540262"/>
                <a:gd name="connsiteX22" fmla="*/ 380039 w 461466"/>
                <a:gd name="connsiteY22" fmla="*/ 1668432 h 3540262"/>
                <a:gd name="connsiteX23" fmla="*/ 380040 w 461466"/>
                <a:gd name="connsiteY23" fmla="*/ 29030 h 3540262"/>
                <a:gd name="connsiteX24" fmla="*/ 380039 w 461466"/>
                <a:gd name="connsiteY24" fmla="*/ 29028 h 3540262"/>
                <a:gd name="connsiteX0" fmla="*/ 461466 w 461466"/>
                <a:gd name="connsiteY0" fmla="*/ 0 h 3511234"/>
                <a:gd name="connsiteX1" fmla="*/ 461465 w 461466"/>
                <a:gd name="connsiteY1" fmla="*/ 1716644 h 3511234"/>
                <a:gd name="connsiteX2" fmla="*/ 420752 w 461466"/>
                <a:gd name="connsiteY2" fmla="*/ 1745672 h 3511234"/>
                <a:gd name="connsiteX3" fmla="*/ 391964 w 461466"/>
                <a:gd name="connsiteY3" fmla="*/ 1737170 h 3511234"/>
                <a:gd name="connsiteX4" fmla="*/ 391502 w 461466"/>
                <a:gd name="connsiteY4" fmla="*/ 1736376 h 3511234"/>
                <a:gd name="connsiteX5" fmla="*/ 97349 w 461466"/>
                <a:gd name="connsiteY5" fmla="*/ 1569594 h 3511234"/>
                <a:gd name="connsiteX6" fmla="*/ 97280 w 461466"/>
                <a:gd name="connsiteY6" fmla="*/ 1569515 h 3511234"/>
                <a:gd name="connsiteX7" fmla="*/ 92813 w 461466"/>
                <a:gd name="connsiteY7" fmla="*/ 1570769 h 3511234"/>
                <a:gd name="connsiteX8" fmla="*/ 84213 w 461466"/>
                <a:gd name="connsiteY8" fmla="*/ 1591301 h 3511234"/>
                <a:gd name="connsiteX9" fmla="*/ 84212 w 461466"/>
                <a:gd name="connsiteY9" fmla="*/ 1697441 h 3511234"/>
                <a:gd name="connsiteX10" fmla="*/ 83126 w 461466"/>
                <a:gd name="connsiteY10" fmla="*/ 1698982 h 3511234"/>
                <a:gd name="connsiteX11" fmla="*/ 83125 w 461466"/>
                <a:gd name="connsiteY11" fmla="*/ 3482206 h 3511234"/>
                <a:gd name="connsiteX12" fmla="*/ 42412 w 461466"/>
                <a:gd name="connsiteY12" fmla="*/ 3511234 h 3511234"/>
                <a:gd name="connsiteX13" fmla="*/ 1699 w 461466"/>
                <a:gd name="connsiteY13" fmla="*/ 3482206 h 3511234"/>
                <a:gd name="connsiteX14" fmla="*/ 1700 w 461466"/>
                <a:gd name="connsiteY14" fmla="*/ 1697643 h 3511234"/>
                <a:gd name="connsiteX15" fmla="*/ 1631 w 461466"/>
                <a:gd name="connsiteY15" fmla="*/ 1697441 h 3511234"/>
                <a:gd name="connsiteX16" fmla="*/ 913 w 461466"/>
                <a:gd name="connsiteY16" fmla="*/ 1582267 h 3511234"/>
                <a:gd name="connsiteX17" fmla="*/ 12307 w 461466"/>
                <a:gd name="connsiteY17" fmla="*/ 1526079 h 3511234"/>
                <a:gd name="connsiteX18" fmla="*/ 43276 w 461466"/>
                <a:gd name="connsiteY18" fmla="*/ 1492758 h 3511234"/>
                <a:gd name="connsiteX19" fmla="*/ 83531 w 461466"/>
                <a:gd name="connsiteY19" fmla="*/ 1483244 h 3511234"/>
                <a:gd name="connsiteX20" fmla="*/ 118959 w 461466"/>
                <a:gd name="connsiteY20" fmla="*/ 1490144 h 3511234"/>
                <a:gd name="connsiteX21" fmla="*/ 380039 w 461466"/>
                <a:gd name="connsiteY21" fmla="*/ 1639404 h 3511234"/>
                <a:gd name="connsiteX22" fmla="*/ 380040 w 461466"/>
                <a:gd name="connsiteY22" fmla="*/ 2 h 3511234"/>
                <a:gd name="connsiteX23" fmla="*/ 380039 w 461466"/>
                <a:gd name="connsiteY23" fmla="*/ 0 h 3511234"/>
                <a:gd name="connsiteX0" fmla="*/ 461466 w 466613"/>
                <a:gd name="connsiteY0" fmla="*/ 0 h 3511234"/>
                <a:gd name="connsiteX1" fmla="*/ 461465 w 466613"/>
                <a:gd name="connsiteY1" fmla="*/ 1716644 h 3511234"/>
                <a:gd name="connsiteX2" fmla="*/ 391964 w 466613"/>
                <a:gd name="connsiteY2" fmla="*/ 1737170 h 3511234"/>
                <a:gd name="connsiteX3" fmla="*/ 391502 w 466613"/>
                <a:gd name="connsiteY3" fmla="*/ 1736376 h 3511234"/>
                <a:gd name="connsiteX4" fmla="*/ 97349 w 466613"/>
                <a:gd name="connsiteY4" fmla="*/ 1569594 h 3511234"/>
                <a:gd name="connsiteX5" fmla="*/ 97280 w 466613"/>
                <a:gd name="connsiteY5" fmla="*/ 1569515 h 3511234"/>
                <a:gd name="connsiteX6" fmla="*/ 92813 w 466613"/>
                <a:gd name="connsiteY6" fmla="*/ 1570769 h 3511234"/>
                <a:gd name="connsiteX7" fmla="*/ 84213 w 466613"/>
                <a:gd name="connsiteY7" fmla="*/ 1591301 h 3511234"/>
                <a:gd name="connsiteX8" fmla="*/ 84212 w 466613"/>
                <a:gd name="connsiteY8" fmla="*/ 1697441 h 3511234"/>
                <a:gd name="connsiteX9" fmla="*/ 83126 w 466613"/>
                <a:gd name="connsiteY9" fmla="*/ 1698982 h 3511234"/>
                <a:gd name="connsiteX10" fmla="*/ 83125 w 466613"/>
                <a:gd name="connsiteY10" fmla="*/ 3482206 h 3511234"/>
                <a:gd name="connsiteX11" fmla="*/ 42412 w 466613"/>
                <a:gd name="connsiteY11" fmla="*/ 3511234 h 3511234"/>
                <a:gd name="connsiteX12" fmla="*/ 1699 w 466613"/>
                <a:gd name="connsiteY12" fmla="*/ 3482206 h 3511234"/>
                <a:gd name="connsiteX13" fmla="*/ 1700 w 466613"/>
                <a:gd name="connsiteY13" fmla="*/ 1697643 h 3511234"/>
                <a:gd name="connsiteX14" fmla="*/ 1631 w 466613"/>
                <a:gd name="connsiteY14" fmla="*/ 1697441 h 3511234"/>
                <a:gd name="connsiteX15" fmla="*/ 913 w 466613"/>
                <a:gd name="connsiteY15" fmla="*/ 1582267 h 3511234"/>
                <a:gd name="connsiteX16" fmla="*/ 12307 w 466613"/>
                <a:gd name="connsiteY16" fmla="*/ 1526079 h 3511234"/>
                <a:gd name="connsiteX17" fmla="*/ 43276 w 466613"/>
                <a:gd name="connsiteY17" fmla="*/ 1492758 h 3511234"/>
                <a:gd name="connsiteX18" fmla="*/ 83531 w 466613"/>
                <a:gd name="connsiteY18" fmla="*/ 1483244 h 3511234"/>
                <a:gd name="connsiteX19" fmla="*/ 118959 w 466613"/>
                <a:gd name="connsiteY19" fmla="*/ 1490144 h 3511234"/>
                <a:gd name="connsiteX20" fmla="*/ 380039 w 466613"/>
                <a:gd name="connsiteY20" fmla="*/ 1639404 h 3511234"/>
                <a:gd name="connsiteX21" fmla="*/ 380040 w 466613"/>
                <a:gd name="connsiteY21" fmla="*/ 2 h 3511234"/>
                <a:gd name="connsiteX22" fmla="*/ 380039 w 466613"/>
                <a:gd name="connsiteY22" fmla="*/ 0 h 3511234"/>
                <a:gd name="connsiteX0" fmla="*/ 461466 w 461466"/>
                <a:gd name="connsiteY0" fmla="*/ 0 h 3511234"/>
                <a:gd name="connsiteX1" fmla="*/ 461465 w 461466"/>
                <a:gd name="connsiteY1" fmla="*/ 1716644 h 3511234"/>
                <a:gd name="connsiteX2" fmla="*/ 391964 w 461466"/>
                <a:gd name="connsiteY2" fmla="*/ 1737170 h 3511234"/>
                <a:gd name="connsiteX3" fmla="*/ 391502 w 461466"/>
                <a:gd name="connsiteY3" fmla="*/ 1736376 h 3511234"/>
                <a:gd name="connsiteX4" fmla="*/ 97349 w 461466"/>
                <a:gd name="connsiteY4" fmla="*/ 1569594 h 3511234"/>
                <a:gd name="connsiteX5" fmla="*/ 97280 w 461466"/>
                <a:gd name="connsiteY5" fmla="*/ 1569515 h 3511234"/>
                <a:gd name="connsiteX6" fmla="*/ 92813 w 461466"/>
                <a:gd name="connsiteY6" fmla="*/ 1570769 h 3511234"/>
                <a:gd name="connsiteX7" fmla="*/ 84213 w 461466"/>
                <a:gd name="connsiteY7" fmla="*/ 1591301 h 3511234"/>
                <a:gd name="connsiteX8" fmla="*/ 84212 w 461466"/>
                <a:gd name="connsiteY8" fmla="*/ 1697441 h 3511234"/>
                <a:gd name="connsiteX9" fmla="*/ 83126 w 461466"/>
                <a:gd name="connsiteY9" fmla="*/ 1698982 h 3511234"/>
                <a:gd name="connsiteX10" fmla="*/ 83125 w 461466"/>
                <a:gd name="connsiteY10" fmla="*/ 3482206 h 3511234"/>
                <a:gd name="connsiteX11" fmla="*/ 42412 w 461466"/>
                <a:gd name="connsiteY11" fmla="*/ 3511234 h 3511234"/>
                <a:gd name="connsiteX12" fmla="*/ 1699 w 461466"/>
                <a:gd name="connsiteY12" fmla="*/ 3482206 h 3511234"/>
                <a:gd name="connsiteX13" fmla="*/ 1700 w 461466"/>
                <a:gd name="connsiteY13" fmla="*/ 1697643 h 3511234"/>
                <a:gd name="connsiteX14" fmla="*/ 1631 w 461466"/>
                <a:gd name="connsiteY14" fmla="*/ 1697441 h 3511234"/>
                <a:gd name="connsiteX15" fmla="*/ 913 w 461466"/>
                <a:gd name="connsiteY15" fmla="*/ 1582267 h 3511234"/>
                <a:gd name="connsiteX16" fmla="*/ 12307 w 461466"/>
                <a:gd name="connsiteY16" fmla="*/ 1526079 h 3511234"/>
                <a:gd name="connsiteX17" fmla="*/ 43276 w 461466"/>
                <a:gd name="connsiteY17" fmla="*/ 1492758 h 3511234"/>
                <a:gd name="connsiteX18" fmla="*/ 83531 w 461466"/>
                <a:gd name="connsiteY18" fmla="*/ 1483244 h 3511234"/>
                <a:gd name="connsiteX19" fmla="*/ 118959 w 461466"/>
                <a:gd name="connsiteY19" fmla="*/ 1490144 h 3511234"/>
                <a:gd name="connsiteX20" fmla="*/ 380039 w 461466"/>
                <a:gd name="connsiteY20" fmla="*/ 1639404 h 3511234"/>
                <a:gd name="connsiteX21" fmla="*/ 380040 w 461466"/>
                <a:gd name="connsiteY21" fmla="*/ 2 h 3511234"/>
                <a:gd name="connsiteX22" fmla="*/ 380039 w 461466"/>
                <a:gd name="connsiteY22" fmla="*/ 0 h 3511234"/>
                <a:gd name="connsiteX0" fmla="*/ 461466 w 461698"/>
                <a:gd name="connsiteY0" fmla="*/ 0 h 3511234"/>
                <a:gd name="connsiteX1" fmla="*/ 461698 w 461698"/>
                <a:gd name="connsiteY1" fmla="*/ 1702761 h 3511234"/>
                <a:gd name="connsiteX2" fmla="*/ 391964 w 461698"/>
                <a:gd name="connsiteY2" fmla="*/ 1737170 h 3511234"/>
                <a:gd name="connsiteX3" fmla="*/ 391502 w 461698"/>
                <a:gd name="connsiteY3" fmla="*/ 1736376 h 3511234"/>
                <a:gd name="connsiteX4" fmla="*/ 97349 w 461698"/>
                <a:gd name="connsiteY4" fmla="*/ 1569594 h 3511234"/>
                <a:gd name="connsiteX5" fmla="*/ 97280 w 461698"/>
                <a:gd name="connsiteY5" fmla="*/ 1569515 h 3511234"/>
                <a:gd name="connsiteX6" fmla="*/ 92813 w 461698"/>
                <a:gd name="connsiteY6" fmla="*/ 1570769 h 3511234"/>
                <a:gd name="connsiteX7" fmla="*/ 84213 w 461698"/>
                <a:gd name="connsiteY7" fmla="*/ 1591301 h 3511234"/>
                <a:gd name="connsiteX8" fmla="*/ 84212 w 461698"/>
                <a:gd name="connsiteY8" fmla="*/ 1697441 h 3511234"/>
                <a:gd name="connsiteX9" fmla="*/ 83126 w 461698"/>
                <a:gd name="connsiteY9" fmla="*/ 1698982 h 3511234"/>
                <a:gd name="connsiteX10" fmla="*/ 83125 w 461698"/>
                <a:gd name="connsiteY10" fmla="*/ 3482206 h 3511234"/>
                <a:gd name="connsiteX11" fmla="*/ 42412 w 461698"/>
                <a:gd name="connsiteY11" fmla="*/ 3511234 h 3511234"/>
                <a:gd name="connsiteX12" fmla="*/ 1699 w 461698"/>
                <a:gd name="connsiteY12" fmla="*/ 3482206 h 3511234"/>
                <a:gd name="connsiteX13" fmla="*/ 1700 w 461698"/>
                <a:gd name="connsiteY13" fmla="*/ 1697643 h 3511234"/>
                <a:gd name="connsiteX14" fmla="*/ 1631 w 461698"/>
                <a:gd name="connsiteY14" fmla="*/ 1697441 h 3511234"/>
                <a:gd name="connsiteX15" fmla="*/ 913 w 461698"/>
                <a:gd name="connsiteY15" fmla="*/ 1582267 h 3511234"/>
                <a:gd name="connsiteX16" fmla="*/ 12307 w 461698"/>
                <a:gd name="connsiteY16" fmla="*/ 1526079 h 3511234"/>
                <a:gd name="connsiteX17" fmla="*/ 43276 w 461698"/>
                <a:gd name="connsiteY17" fmla="*/ 1492758 h 3511234"/>
                <a:gd name="connsiteX18" fmla="*/ 83531 w 461698"/>
                <a:gd name="connsiteY18" fmla="*/ 1483244 h 3511234"/>
                <a:gd name="connsiteX19" fmla="*/ 118959 w 461698"/>
                <a:gd name="connsiteY19" fmla="*/ 1490144 h 3511234"/>
                <a:gd name="connsiteX20" fmla="*/ 380039 w 461698"/>
                <a:gd name="connsiteY20" fmla="*/ 1639404 h 3511234"/>
                <a:gd name="connsiteX21" fmla="*/ 380040 w 461698"/>
                <a:gd name="connsiteY21" fmla="*/ 2 h 3511234"/>
                <a:gd name="connsiteX22" fmla="*/ 380039 w 461698"/>
                <a:gd name="connsiteY22" fmla="*/ 0 h 3511234"/>
                <a:gd name="connsiteX0" fmla="*/ 461466 w 461698"/>
                <a:gd name="connsiteY0" fmla="*/ 0 h 3511234"/>
                <a:gd name="connsiteX1" fmla="*/ 461698 w 461698"/>
                <a:gd name="connsiteY1" fmla="*/ 1702761 h 3511234"/>
                <a:gd name="connsiteX2" fmla="*/ 391964 w 461698"/>
                <a:gd name="connsiteY2" fmla="*/ 1737170 h 3511234"/>
                <a:gd name="connsiteX3" fmla="*/ 391502 w 461698"/>
                <a:gd name="connsiteY3" fmla="*/ 1736376 h 3511234"/>
                <a:gd name="connsiteX4" fmla="*/ 97349 w 461698"/>
                <a:gd name="connsiteY4" fmla="*/ 1569594 h 3511234"/>
                <a:gd name="connsiteX5" fmla="*/ 97280 w 461698"/>
                <a:gd name="connsiteY5" fmla="*/ 1569515 h 3511234"/>
                <a:gd name="connsiteX6" fmla="*/ 92813 w 461698"/>
                <a:gd name="connsiteY6" fmla="*/ 1570769 h 3511234"/>
                <a:gd name="connsiteX7" fmla="*/ 84213 w 461698"/>
                <a:gd name="connsiteY7" fmla="*/ 1591301 h 3511234"/>
                <a:gd name="connsiteX8" fmla="*/ 84212 w 461698"/>
                <a:gd name="connsiteY8" fmla="*/ 1697441 h 3511234"/>
                <a:gd name="connsiteX9" fmla="*/ 83126 w 461698"/>
                <a:gd name="connsiteY9" fmla="*/ 1698982 h 3511234"/>
                <a:gd name="connsiteX10" fmla="*/ 83125 w 461698"/>
                <a:gd name="connsiteY10" fmla="*/ 3482206 h 3511234"/>
                <a:gd name="connsiteX11" fmla="*/ 42412 w 461698"/>
                <a:gd name="connsiteY11" fmla="*/ 3511234 h 3511234"/>
                <a:gd name="connsiteX12" fmla="*/ 1699 w 461698"/>
                <a:gd name="connsiteY12" fmla="*/ 3482206 h 3511234"/>
                <a:gd name="connsiteX13" fmla="*/ 1700 w 461698"/>
                <a:gd name="connsiteY13" fmla="*/ 1697643 h 3511234"/>
                <a:gd name="connsiteX14" fmla="*/ 1631 w 461698"/>
                <a:gd name="connsiteY14" fmla="*/ 1697441 h 3511234"/>
                <a:gd name="connsiteX15" fmla="*/ 913 w 461698"/>
                <a:gd name="connsiteY15" fmla="*/ 1582267 h 3511234"/>
                <a:gd name="connsiteX16" fmla="*/ 12307 w 461698"/>
                <a:gd name="connsiteY16" fmla="*/ 1526079 h 3511234"/>
                <a:gd name="connsiteX17" fmla="*/ 43276 w 461698"/>
                <a:gd name="connsiteY17" fmla="*/ 1492758 h 3511234"/>
                <a:gd name="connsiteX18" fmla="*/ 83531 w 461698"/>
                <a:gd name="connsiteY18" fmla="*/ 1483244 h 3511234"/>
                <a:gd name="connsiteX19" fmla="*/ 118959 w 461698"/>
                <a:gd name="connsiteY19" fmla="*/ 1490144 h 3511234"/>
                <a:gd name="connsiteX20" fmla="*/ 380039 w 461698"/>
                <a:gd name="connsiteY20" fmla="*/ 1639404 h 3511234"/>
                <a:gd name="connsiteX21" fmla="*/ 380040 w 461698"/>
                <a:gd name="connsiteY21" fmla="*/ 2 h 3511234"/>
                <a:gd name="connsiteX22" fmla="*/ 380039 w 461698"/>
                <a:gd name="connsiteY22" fmla="*/ 0 h 3511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61698" h="3511234">
                  <a:moveTo>
                    <a:pt x="461466" y="0"/>
                  </a:moveTo>
                  <a:cubicBezTo>
                    <a:pt x="461466" y="572215"/>
                    <a:pt x="461698" y="844439"/>
                    <a:pt x="461698" y="1702761"/>
                  </a:cubicBezTo>
                  <a:cubicBezTo>
                    <a:pt x="451936" y="1738271"/>
                    <a:pt x="403625" y="1733881"/>
                    <a:pt x="391964" y="1737170"/>
                  </a:cubicBezTo>
                  <a:lnTo>
                    <a:pt x="391502" y="1736376"/>
                  </a:lnTo>
                  <a:lnTo>
                    <a:pt x="97349" y="1569594"/>
                  </a:lnTo>
                  <a:cubicBezTo>
                    <a:pt x="97326" y="1569568"/>
                    <a:pt x="97303" y="1569541"/>
                    <a:pt x="97280" y="1569515"/>
                  </a:cubicBezTo>
                  <a:lnTo>
                    <a:pt x="92813" y="1570769"/>
                  </a:lnTo>
                  <a:cubicBezTo>
                    <a:pt x="90635" y="1574400"/>
                    <a:pt x="85646" y="1570189"/>
                    <a:pt x="84213" y="1591301"/>
                  </a:cubicBezTo>
                  <a:cubicBezTo>
                    <a:pt x="84212" y="1626681"/>
                    <a:pt x="84212" y="1662061"/>
                    <a:pt x="84212" y="1697441"/>
                  </a:cubicBezTo>
                  <a:lnTo>
                    <a:pt x="83126" y="1698982"/>
                  </a:lnTo>
                  <a:cubicBezTo>
                    <a:pt x="83126" y="2293390"/>
                    <a:pt x="83125" y="2887798"/>
                    <a:pt x="83125" y="3482206"/>
                  </a:cubicBezTo>
                  <a:cubicBezTo>
                    <a:pt x="83125" y="3498238"/>
                    <a:pt x="64897" y="3511234"/>
                    <a:pt x="42412" y="3511234"/>
                  </a:cubicBezTo>
                  <a:cubicBezTo>
                    <a:pt x="19927" y="3511234"/>
                    <a:pt x="1699" y="3498238"/>
                    <a:pt x="1699" y="3482206"/>
                  </a:cubicBezTo>
                  <a:cubicBezTo>
                    <a:pt x="1699" y="2887352"/>
                    <a:pt x="1700" y="2292497"/>
                    <a:pt x="1700" y="1697643"/>
                  </a:cubicBezTo>
                  <a:cubicBezTo>
                    <a:pt x="1677" y="1697576"/>
                    <a:pt x="1654" y="1697508"/>
                    <a:pt x="1631" y="1697441"/>
                  </a:cubicBezTo>
                  <a:cubicBezTo>
                    <a:pt x="971" y="1676670"/>
                    <a:pt x="-1224" y="1610208"/>
                    <a:pt x="913" y="1582267"/>
                  </a:cubicBezTo>
                  <a:cubicBezTo>
                    <a:pt x="3505" y="1565053"/>
                    <a:pt x="5246" y="1540997"/>
                    <a:pt x="12307" y="1526079"/>
                  </a:cubicBezTo>
                  <a:cubicBezTo>
                    <a:pt x="19367" y="1511161"/>
                    <a:pt x="34281" y="1498558"/>
                    <a:pt x="43276" y="1492758"/>
                  </a:cubicBezTo>
                  <a:cubicBezTo>
                    <a:pt x="59783" y="1485698"/>
                    <a:pt x="70917" y="1483680"/>
                    <a:pt x="83531" y="1483244"/>
                  </a:cubicBezTo>
                  <a:cubicBezTo>
                    <a:pt x="96146" y="1482808"/>
                    <a:pt x="107293" y="1485876"/>
                    <a:pt x="118959" y="1490144"/>
                  </a:cubicBezTo>
                  <a:lnTo>
                    <a:pt x="380039" y="1639404"/>
                  </a:lnTo>
                  <a:cubicBezTo>
                    <a:pt x="380039" y="1092937"/>
                    <a:pt x="380040" y="546469"/>
                    <a:pt x="380040" y="2"/>
                  </a:cubicBezTo>
                  <a:cubicBezTo>
                    <a:pt x="380040" y="1"/>
                    <a:pt x="380039" y="1"/>
                    <a:pt x="380039" y="0"/>
                  </a:cubicBezTo>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079" name="Freeform: Shape 1078">
              <a:extLst>
                <a:ext uri="{FF2B5EF4-FFF2-40B4-BE49-F238E27FC236}">
                  <a16:creationId xmlns:a16="http://schemas.microsoft.com/office/drawing/2014/main" id="{FDE96AC5-D79D-498B-8E64-79AB00BCE6BA}"/>
                </a:ext>
              </a:extLst>
            </p:cNvPr>
            <p:cNvSpPr/>
            <p:nvPr/>
          </p:nvSpPr>
          <p:spPr bwMode="gray">
            <a:xfrm rot="7200000">
              <a:off x="6632652" y="2692985"/>
              <a:ext cx="88801" cy="1972093"/>
            </a:xfrm>
            <a:custGeom>
              <a:avLst/>
              <a:gdLst>
                <a:gd name="connsiteX0" fmla="*/ 0 w 81427"/>
                <a:gd name="connsiteY0" fmla="*/ 1944040 h 1973068"/>
                <a:gd name="connsiteX1" fmla="*/ 1 w 81427"/>
                <a:gd name="connsiteY1" fmla="*/ 29030 h 1973068"/>
                <a:gd name="connsiteX2" fmla="*/ 0 w 81427"/>
                <a:gd name="connsiteY2" fmla="*/ 29028 h 1973068"/>
                <a:gd name="connsiteX3" fmla="*/ 40713 w 81427"/>
                <a:gd name="connsiteY3" fmla="*/ 0 h 1973068"/>
                <a:gd name="connsiteX4" fmla="*/ 40714 w 81427"/>
                <a:gd name="connsiteY4" fmla="*/ 0 h 1973068"/>
                <a:gd name="connsiteX5" fmla="*/ 40714 w 81427"/>
                <a:gd name="connsiteY5" fmla="*/ 0 h 1973068"/>
                <a:gd name="connsiteX6" fmla="*/ 81427 w 81427"/>
                <a:gd name="connsiteY6" fmla="*/ 29028 h 1973068"/>
                <a:gd name="connsiteX7" fmla="*/ 81426 w 81427"/>
                <a:gd name="connsiteY7" fmla="*/ 1944040 h 1973068"/>
                <a:gd name="connsiteX8" fmla="*/ 40713 w 81427"/>
                <a:gd name="connsiteY8" fmla="*/ 1973068 h 1973068"/>
                <a:gd name="connsiteX9" fmla="*/ 0 w 81427"/>
                <a:gd name="connsiteY9" fmla="*/ 1944040 h 1973068"/>
                <a:gd name="connsiteX0" fmla="*/ 0 w 84616"/>
                <a:gd name="connsiteY0" fmla="*/ 2044740 h 2073768"/>
                <a:gd name="connsiteX1" fmla="*/ 1 w 84616"/>
                <a:gd name="connsiteY1" fmla="*/ 129730 h 2073768"/>
                <a:gd name="connsiteX2" fmla="*/ 0 w 84616"/>
                <a:gd name="connsiteY2" fmla="*/ 129728 h 2073768"/>
                <a:gd name="connsiteX3" fmla="*/ 40713 w 84616"/>
                <a:gd name="connsiteY3" fmla="*/ 100700 h 2073768"/>
                <a:gd name="connsiteX4" fmla="*/ 40714 w 84616"/>
                <a:gd name="connsiteY4" fmla="*/ 100700 h 2073768"/>
                <a:gd name="connsiteX5" fmla="*/ 38355 w 84616"/>
                <a:gd name="connsiteY5" fmla="*/ 168053 h 2073768"/>
                <a:gd name="connsiteX6" fmla="*/ 81427 w 84616"/>
                <a:gd name="connsiteY6" fmla="*/ 129728 h 2073768"/>
                <a:gd name="connsiteX7" fmla="*/ 81426 w 84616"/>
                <a:gd name="connsiteY7" fmla="*/ 2044740 h 2073768"/>
                <a:gd name="connsiteX8" fmla="*/ 40713 w 84616"/>
                <a:gd name="connsiteY8" fmla="*/ 2073768 h 2073768"/>
                <a:gd name="connsiteX9" fmla="*/ 0 w 84616"/>
                <a:gd name="connsiteY9" fmla="*/ 2044740 h 2073768"/>
                <a:gd name="connsiteX0" fmla="*/ 0 w 84442"/>
                <a:gd name="connsiteY0" fmla="*/ 2065775 h 2094803"/>
                <a:gd name="connsiteX1" fmla="*/ 1 w 84442"/>
                <a:gd name="connsiteY1" fmla="*/ 150765 h 2094803"/>
                <a:gd name="connsiteX2" fmla="*/ 0 w 84442"/>
                <a:gd name="connsiteY2" fmla="*/ 150763 h 2094803"/>
                <a:gd name="connsiteX3" fmla="*/ 40713 w 84442"/>
                <a:gd name="connsiteY3" fmla="*/ 121735 h 2094803"/>
                <a:gd name="connsiteX4" fmla="*/ 40714 w 84442"/>
                <a:gd name="connsiteY4" fmla="*/ 121735 h 2094803"/>
                <a:gd name="connsiteX5" fmla="*/ 81427 w 84442"/>
                <a:gd name="connsiteY5" fmla="*/ 150763 h 2094803"/>
                <a:gd name="connsiteX6" fmla="*/ 81426 w 84442"/>
                <a:gd name="connsiteY6" fmla="*/ 2065775 h 2094803"/>
                <a:gd name="connsiteX7" fmla="*/ 40713 w 84442"/>
                <a:gd name="connsiteY7" fmla="*/ 2094803 h 2094803"/>
                <a:gd name="connsiteX8" fmla="*/ 0 w 84442"/>
                <a:gd name="connsiteY8" fmla="*/ 2065775 h 2094803"/>
                <a:gd name="connsiteX0" fmla="*/ 0 w 84442"/>
                <a:gd name="connsiteY0" fmla="*/ 1944040 h 1973068"/>
                <a:gd name="connsiteX1" fmla="*/ 1 w 84442"/>
                <a:gd name="connsiteY1" fmla="*/ 29030 h 1973068"/>
                <a:gd name="connsiteX2" fmla="*/ 0 w 84442"/>
                <a:gd name="connsiteY2" fmla="*/ 29028 h 1973068"/>
                <a:gd name="connsiteX3" fmla="*/ 40713 w 84442"/>
                <a:gd name="connsiteY3" fmla="*/ 0 h 1973068"/>
                <a:gd name="connsiteX4" fmla="*/ 40714 w 84442"/>
                <a:gd name="connsiteY4" fmla="*/ 0 h 1973068"/>
                <a:gd name="connsiteX5" fmla="*/ 81427 w 84442"/>
                <a:gd name="connsiteY5" fmla="*/ 29028 h 1973068"/>
                <a:gd name="connsiteX6" fmla="*/ 81426 w 84442"/>
                <a:gd name="connsiteY6" fmla="*/ 1944040 h 1973068"/>
                <a:gd name="connsiteX7" fmla="*/ 40713 w 84442"/>
                <a:gd name="connsiteY7" fmla="*/ 1973068 h 1973068"/>
                <a:gd name="connsiteX8" fmla="*/ 0 w 84442"/>
                <a:gd name="connsiteY8" fmla="*/ 1944040 h 1973068"/>
                <a:gd name="connsiteX0" fmla="*/ 0 w 81427"/>
                <a:gd name="connsiteY0" fmla="*/ 1944040 h 1973068"/>
                <a:gd name="connsiteX1" fmla="*/ 1 w 81427"/>
                <a:gd name="connsiteY1" fmla="*/ 29030 h 1973068"/>
                <a:gd name="connsiteX2" fmla="*/ 0 w 81427"/>
                <a:gd name="connsiteY2" fmla="*/ 29028 h 1973068"/>
                <a:gd name="connsiteX3" fmla="*/ 40713 w 81427"/>
                <a:gd name="connsiteY3" fmla="*/ 0 h 1973068"/>
                <a:gd name="connsiteX4" fmla="*/ 40714 w 81427"/>
                <a:gd name="connsiteY4" fmla="*/ 0 h 1973068"/>
                <a:gd name="connsiteX5" fmla="*/ 81427 w 81427"/>
                <a:gd name="connsiteY5" fmla="*/ 29028 h 1973068"/>
                <a:gd name="connsiteX6" fmla="*/ 81426 w 81427"/>
                <a:gd name="connsiteY6" fmla="*/ 1944040 h 1973068"/>
                <a:gd name="connsiteX7" fmla="*/ 40713 w 81427"/>
                <a:gd name="connsiteY7" fmla="*/ 1973068 h 1973068"/>
                <a:gd name="connsiteX8" fmla="*/ 0 w 81427"/>
                <a:gd name="connsiteY8" fmla="*/ 1944040 h 1973068"/>
                <a:gd name="connsiteX0" fmla="*/ 0 w 81427"/>
                <a:gd name="connsiteY0" fmla="*/ 1944040 h 1973068"/>
                <a:gd name="connsiteX1" fmla="*/ 1 w 81427"/>
                <a:gd name="connsiteY1" fmla="*/ 29030 h 1973068"/>
                <a:gd name="connsiteX2" fmla="*/ 0 w 81427"/>
                <a:gd name="connsiteY2" fmla="*/ 29028 h 1973068"/>
                <a:gd name="connsiteX3" fmla="*/ 40713 w 81427"/>
                <a:gd name="connsiteY3" fmla="*/ 0 h 1973068"/>
                <a:gd name="connsiteX4" fmla="*/ 36613 w 81427"/>
                <a:gd name="connsiteY4" fmla="*/ 73858 h 1973068"/>
                <a:gd name="connsiteX5" fmla="*/ 81427 w 81427"/>
                <a:gd name="connsiteY5" fmla="*/ 29028 h 1973068"/>
                <a:gd name="connsiteX6" fmla="*/ 81426 w 81427"/>
                <a:gd name="connsiteY6" fmla="*/ 1944040 h 1973068"/>
                <a:gd name="connsiteX7" fmla="*/ 40713 w 81427"/>
                <a:gd name="connsiteY7" fmla="*/ 1973068 h 1973068"/>
                <a:gd name="connsiteX8" fmla="*/ 0 w 81427"/>
                <a:gd name="connsiteY8" fmla="*/ 1944040 h 1973068"/>
                <a:gd name="connsiteX0" fmla="*/ 0 w 81427"/>
                <a:gd name="connsiteY0" fmla="*/ 1944040 h 1973068"/>
                <a:gd name="connsiteX1" fmla="*/ 1 w 81427"/>
                <a:gd name="connsiteY1" fmla="*/ 29030 h 1973068"/>
                <a:gd name="connsiteX2" fmla="*/ 0 w 81427"/>
                <a:gd name="connsiteY2" fmla="*/ 29028 h 1973068"/>
                <a:gd name="connsiteX3" fmla="*/ 40713 w 81427"/>
                <a:gd name="connsiteY3" fmla="*/ 0 h 1973068"/>
                <a:gd name="connsiteX4" fmla="*/ 36613 w 81427"/>
                <a:gd name="connsiteY4" fmla="*/ 73858 h 1973068"/>
                <a:gd name="connsiteX5" fmla="*/ 81427 w 81427"/>
                <a:gd name="connsiteY5" fmla="*/ 29028 h 1973068"/>
                <a:gd name="connsiteX6" fmla="*/ 81426 w 81427"/>
                <a:gd name="connsiteY6" fmla="*/ 1944040 h 1973068"/>
                <a:gd name="connsiteX7" fmla="*/ 40713 w 81427"/>
                <a:gd name="connsiteY7" fmla="*/ 1973068 h 1973068"/>
                <a:gd name="connsiteX8" fmla="*/ 0 w 81427"/>
                <a:gd name="connsiteY8" fmla="*/ 1944040 h 1973068"/>
                <a:gd name="connsiteX0" fmla="*/ 0 w 81427"/>
                <a:gd name="connsiteY0" fmla="*/ 1944040 h 1973068"/>
                <a:gd name="connsiteX1" fmla="*/ 1 w 81427"/>
                <a:gd name="connsiteY1" fmla="*/ 29030 h 1973068"/>
                <a:gd name="connsiteX2" fmla="*/ 0 w 81427"/>
                <a:gd name="connsiteY2" fmla="*/ 29028 h 1973068"/>
                <a:gd name="connsiteX3" fmla="*/ 40713 w 81427"/>
                <a:gd name="connsiteY3" fmla="*/ 0 h 1973068"/>
                <a:gd name="connsiteX4" fmla="*/ 36613 w 81427"/>
                <a:gd name="connsiteY4" fmla="*/ 73858 h 1973068"/>
                <a:gd name="connsiteX5" fmla="*/ 81427 w 81427"/>
                <a:gd name="connsiteY5" fmla="*/ 29028 h 1973068"/>
                <a:gd name="connsiteX6" fmla="*/ 81426 w 81427"/>
                <a:gd name="connsiteY6" fmla="*/ 1944040 h 1973068"/>
                <a:gd name="connsiteX7" fmla="*/ 40713 w 81427"/>
                <a:gd name="connsiteY7" fmla="*/ 1973068 h 1973068"/>
                <a:gd name="connsiteX8" fmla="*/ 0 w 81427"/>
                <a:gd name="connsiteY8" fmla="*/ 1944040 h 1973068"/>
                <a:gd name="connsiteX0" fmla="*/ 0 w 81427"/>
                <a:gd name="connsiteY0" fmla="*/ 1915012 h 1944040"/>
                <a:gd name="connsiteX1" fmla="*/ 1 w 81427"/>
                <a:gd name="connsiteY1" fmla="*/ 2 h 1944040"/>
                <a:gd name="connsiteX2" fmla="*/ 0 w 81427"/>
                <a:gd name="connsiteY2" fmla="*/ 0 h 1944040"/>
                <a:gd name="connsiteX3" fmla="*/ 36613 w 81427"/>
                <a:gd name="connsiteY3" fmla="*/ 44830 h 1944040"/>
                <a:gd name="connsiteX4" fmla="*/ 81427 w 81427"/>
                <a:gd name="connsiteY4" fmla="*/ 0 h 1944040"/>
                <a:gd name="connsiteX5" fmla="*/ 81426 w 81427"/>
                <a:gd name="connsiteY5" fmla="*/ 1915012 h 1944040"/>
                <a:gd name="connsiteX6" fmla="*/ 40713 w 81427"/>
                <a:gd name="connsiteY6" fmla="*/ 1944040 h 1944040"/>
                <a:gd name="connsiteX7" fmla="*/ 0 w 81427"/>
                <a:gd name="connsiteY7" fmla="*/ 1915012 h 1944040"/>
                <a:gd name="connsiteX0" fmla="*/ 1106 w 82533"/>
                <a:gd name="connsiteY0" fmla="*/ 1915012 h 1944040"/>
                <a:gd name="connsiteX1" fmla="*/ 1107 w 82533"/>
                <a:gd name="connsiteY1" fmla="*/ 2 h 1944040"/>
                <a:gd name="connsiteX2" fmla="*/ 0 w 82533"/>
                <a:gd name="connsiteY2" fmla="*/ 17136 h 1944040"/>
                <a:gd name="connsiteX3" fmla="*/ 37719 w 82533"/>
                <a:gd name="connsiteY3" fmla="*/ 44830 h 1944040"/>
                <a:gd name="connsiteX4" fmla="*/ 82533 w 82533"/>
                <a:gd name="connsiteY4" fmla="*/ 0 h 1944040"/>
                <a:gd name="connsiteX5" fmla="*/ 82532 w 82533"/>
                <a:gd name="connsiteY5" fmla="*/ 1915012 h 1944040"/>
                <a:gd name="connsiteX6" fmla="*/ 41819 w 82533"/>
                <a:gd name="connsiteY6" fmla="*/ 1944040 h 1944040"/>
                <a:gd name="connsiteX7" fmla="*/ 1106 w 82533"/>
                <a:gd name="connsiteY7" fmla="*/ 1915012 h 1944040"/>
                <a:gd name="connsiteX0" fmla="*/ 0 w 81427"/>
                <a:gd name="connsiteY0" fmla="*/ 2042804 h 2071832"/>
                <a:gd name="connsiteX1" fmla="*/ 1 w 81427"/>
                <a:gd name="connsiteY1" fmla="*/ 127794 h 2071832"/>
                <a:gd name="connsiteX2" fmla="*/ 36613 w 81427"/>
                <a:gd name="connsiteY2" fmla="*/ 172622 h 2071832"/>
                <a:gd name="connsiteX3" fmla="*/ 81427 w 81427"/>
                <a:gd name="connsiteY3" fmla="*/ 127792 h 2071832"/>
                <a:gd name="connsiteX4" fmla="*/ 81426 w 81427"/>
                <a:gd name="connsiteY4" fmla="*/ 2042804 h 2071832"/>
                <a:gd name="connsiteX5" fmla="*/ 40713 w 81427"/>
                <a:gd name="connsiteY5" fmla="*/ 2071832 h 2071832"/>
                <a:gd name="connsiteX6" fmla="*/ 0 w 81427"/>
                <a:gd name="connsiteY6" fmla="*/ 2042804 h 2071832"/>
                <a:gd name="connsiteX0" fmla="*/ 0 w 81427"/>
                <a:gd name="connsiteY0" fmla="*/ 2042804 h 2071832"/>
                <a:gd name="connsiteX1" fmla="*/ 1 w 81427"/>
                <a:gd name="connsiteY1" fmla="*/ 127794 h 2071832"/>
                <a:gd name="connsiteX2" fmla="*/ 36613 w 81427"/>
                <a:gd name="connsiteY2" fmla="*/ 172622 h 2071832"/>
                <a:gd name="connsiteX3" fmla="*/ 81427 w 81427"/>
                <a:gd name="connsiteY3" fmla="*/ 127792 h 2071832"/>
                <a:gd name="connsiteX4" fmla="*/ 81426 w 81427"/>
                <a:gd name="connsiteY4" fmla="*/ 2042804 h 2071832"/>
                <a:gd name="connsiteX5" fmla="*/ 40713 w 81427"/>
                <a:gd name="connsiteY5" fmla="*/ 2071832 h 2071832"/>
                <a:gd name="connsiteX6" fmla="*/ 0 w 81427"/>
                <a:gd name="connsiteY6" fmla="*/ 2042804 h 2071832"/>
                <a:gd name="connsiteX0" fmla="*/ 0 w 81427"/>
                <a:gd name="connsiteY0" fmla="*/ 1915012 h 1944040"/>
                <a:gd name="connsiteX1" fmla="*/ 1 w 81427"/>
                <a:gd name="connsiteY1" fmla="*/ 2 h 1944040"/>
                <a:gd name="connsiteX2" fmla="*/ 36613 w 81427"/>
                <a:gd name="connsiteY2" fmla="*/ 44830 h 1944040"/>
                <a:gd name="connsiteX3" fmla="*/ 81427 w 81427"/>
                <a:gd name="connsiteY3" fmla="*/ 0 h 1944040"/>
                <a:gd name="connsiteX4" fmla="*/ 81426 w 81427"/>
                <a:gd name="connsiteY4" fmla="*/ 1915012 h 1944040"/>
                <a:gd name="connsiteX5" fmla="*/ 40713 w 81427"/>
                <a:gd name="connsiteY5" fmla="*/ 1944040 h 1944040"/>
                <a:gd name="connsiteX6" fmla="*/ 0 w 81427"/>
                <a:gd name="connsiteY6" fmla="*/ 1915012 h 1944040"/>
                <a:gd name="connsiteX0" fmla="*/ 0 w 84998"/>
                <a:gd name="connsiteY0" fmla="*/ 1915010 h 1944038"/>
                <a:gd name="connsiteX1" fmla="*/ 1 w 84998"/>
                <a:gd name="connsiteY1" fmla="*/ 0 h 1944038"/>
                <a:gd name="connsiteX2" fmla="*/ 36613 w 84998"/>
                <a:gd name="connsiteY2" fmla="*/ 44828 h 1944038"/>
                <a:gd name="connsiteX3" fmla="*/ 84998 w 84998"/>
                <a:gd name="connsiteY3" fmla="*/ 6184 h 1944038"/>
                <a:gd name="connsiteX4" fmla="*/ 81426 w 84998"/>
                <a:gd name="connsiteY4" fmla="*/ 1915010 h 1944038"/>
                <a:gd name="connsiteX5" fmla="*/ 40713 w 84998"/>
                <a:gd name="connsiteY5" fmla="*/ 1944038 h 1944038"/>
                <a:gd name="connsiteX6" fmla="*/ 0 w 84998"/>
                <a:gd name="connsiteY6" fmla="*/ 1915010 h 1944038"/>
                <a:gd name="connsiteX0" fmla="*/ 0 w 84998"/>
                <a:gd name="connsiteY0" fmla="*/ 1915010 h 1944038"/>
                <a:gd name="connsiteX1" fmla="*/ 1 w 84998"/>
                <a:gd name="connsiteY1" fmla="*/ 0 h 1944038"/>
                <a:gd name="connsiteX2" fmla="*/ 30022 w 84998"/>
                <a:gd name="connsiteY2" fmla="*/ 23887 h 1944038"/>
                <a:gd name="connsiteX3" fmla="*/ 84998 w 84998"/>
                <a:gd name="connsiteY3" fmla="*/ 6184 h 1944038"/>
                <a:gd name="connsiteX4" fmla="*/ 81426 w 84998"/>
                <a:gd name="connsiteY4" fmla="*/ 1915010 h 1944038"/>
                <a:gd name="connsiteX5" fmla="*/ 40713 w 84998"/>
                <a:gd name="connsiteY5" fmla="*/ 1944038 h 1944038"/>
                <a:gd name="connsiteX6" fmla="*/ 0 w 84998"/>
                <a:gd name="connsiteY6" fmla="*/ 1915010 h 1944038"/>
                <a:gd name="connsiteX0" fmla="*/ 0 w 84998"/>
                <a:gd name="connsiteY0" fmla="*/ 1915010 h 1944038"/>
                <a:gd name="connsiteX1" fmla="*/ 1 w 84998"/>
                <a:gd name="connsiteY1" fmla="*/ 0 h 1944038"/>
                <a:gd name="connsiteX2" fmla="*/ 30022 w 84998"/>
                <a:gd name="connsiteY2" fmla="*/ 23887 h 1944038"/>
                <a:gd name="connsiteX3" fmla="*/ 84998 w 84998"/>
                <a:gd name="connsiteY3" fmla="*/ 6184 h 1944038"/>
                <a:gd name="connsiteX4" fmla="*/ 81426 w 84998"/>
                <a:gd name="connsiteY4" fmla="*/ 1915010 h 1944038"/>
                <a:gd name="connsiteX5" fmla="*/ 40713 w 84998"/>
                <a:gd name="connsiteY5" fmla="*/ 1944038 h 1944038"/>
                <a:gd name="connsiteX6" fmla="*/ 0 w 84998"/>
                <a:gd name="connsiteY6" fmla="*/ 1915010 h 1944038"/>
                <a:gd name="connsiteX0" fmla="*/ 0 w 84998"/>
                <a:gd name="connsiteY0" fmla="*/ 1915010 h 1944038"/>
                <a:gd name="connsiteX1" fmla="*/ 1 w 84998"/>
                <a:gd name="connsiteY1" fmla="*/ 0 h 1944038"/>
                <a:gd name="connsiteX2" fmla="*/ 30022 w 84998"/>
                <a:gd name="connsiteY2" fmla="*/ 23887 h 1944038"/>
                <a:gd name="connsiteX3" fmla="*/ 84998 w 84998"/>
                <a:gd name="connsiteY3" fmla="*/ 6184 h 1944038"/>
                <a:gd name="connsiteX4" fmla="*/ 81426 w 84998"/>
                <a:gd name="connsiteY4" fmla="*/ 1915010 h 1944038"/>
                <a:gd name="connsiteX5" fmla="*/ 40713 w 84998"/>
                <a:gd name="connsiteY5" fmla="*/ 1944038 h 1944038"/>
                <a:gd name="connsiteX6" fmla="*/ 0 w 84998"/>
                <a:gd name="connsiteY6" fmla="*/ 1915010 h 1944038"/>
                <a:gd name="connsiteX0" fmla="*/ 0 w 84998"/>
                <a:gd name="connsiteY0" fmla="*/ 1941194 h 1970222"/>
                <a:gd name="connsiteX1" fmla="*/ 1 w 84998"/>
                <a:gd name="connsiteY1" fmla="*/ 26184 h 1970222"/>
                <a:gd name="connsiteX2" fmla="*/ 39843 w 84998"/>
                <a:gd name="connsiteY2" fmla="*/ 407 h 1970222"/>
                <a:gd name="connsiteX3" fmla="*/ 84998 w 84998"/>
                <a:gd name="connsiteY3" fmla="*/ 32368 h 1970222"/>
                <a:gd name="connsiteX4" fmla="*/ 81426 w 84998"/>
                <a:gd name="connsiteY4" fmla="*/ 1941194 h 1970222"/>
                <a:gd name="connsiteX5" fmla="*/ 40713 w 84998"/>
                <a:gd name="connsiteY5" fmla="*/ 1970222 h 1970222"/>
                <a:gd name="connsiteX6" fmla="*/ 0 w 84998"/>
                <a:gd name="connsiteY6" fmla="*/ 1941194 h 1970222"/>
                <a:gd name="connsiteX0" fmla="*/ 0 w 84998"/>
                <a:gd name="connsiteY0" fmla="*/ 2150926 h 2179954"/>
                <a:gd name="connsiteX1" fmla="*/ 1 w 84998"/>
                <a:gd name="connsiteY1" fmla="*/ 235916 h 2179954"/>
                <a:gd name="connsiteX2" fmla="*/ 84998 w 84998"/>
                <a:gd name="connsiteY2" fmla="*/ 242100 h 2179954"/>
                <a:gd name="connsiteX3" fmla="*/ 81426 w 84998"/>
                <a:gd name="connsiteY3" fmla="*/ 2150926 h 2179954"/>
                <a:gd name="connsiteX4" fmla="*/ 40713 w 84998"/>
                <a:gd name="connsiteY4" fmla="*/ 2179954 h 2179954"/>
                <a:gd name="connsiteX5" fmla="*/ 0 w 84998"/>
                <a:gd name="connsiteY5" fmla="*/ 2150926 h 2179954"/>
                <a:gd name="connsiteX0" fmla="*/ 0 w 84998"/>
                <a:gd name="connsiteY0" fmla="*/ 2062053 h 2091081"/>
                <a:gd name="connsiteX1" fmla="*/ 1 w 84998"/>
                <a:gd name="connsiteY1" fmla="*/ 147043 h 2091081"/>
                <a:gd name="connsiteX2" fmla="*/ 84998 w 84998"/>
                <a:gd name="connsiteY2" fmla="*/ 153227 h 2091081"/>
                <a:gd name="connsiteX3" fmla="*/ 81426 w 84998"/>
                <a:gd name="connsiteY3" fmla="*/ 2062053 h 2091081"/>
                <a:gd name="connsiteX4" fmla="*/ 40713 w 84998"/>
                <a:gd name="connsiteY4" fmla="*/ 2091081 h 2091081"/>
                <a:gd name="connsiteX5" fmla="*/ 0 w 84998"/>
                <a:gd name="connsiteY5" fmla="*/ 2062053 h 2091081"/>
                <a:gd name="connsiteX0" fmla="*/ 0 w 84998"/>
                <a:gd name="connsiteY0" fmla="*/ 1937966 h 1966994"/>
                <a:gd name="connsiteX1" fmla="*/ 1 w 84998"/>
                <a:gd name="connsiteY1" fmla="*/ 22956 h 1966994"/>
                <a:gd name="connsiteX2" fmla="*/ 84998 w 84998"/>
                <a:gd name="connsiteY2" fmla="*/ 29140 h 1966994"/>
                <a:gd name="connsiteX3" fmla="*/ 81426 w 84998"/>
                <a:gd name="connsiteY3" fmla="*/ 1937966 h 1966994"/>
                <a:gd name="connsiteX4" fmla="*/ 40713 w 84998"/>
                <a:gd name="connsiteY4" fmla="*/ 1966994 h 1966994"/>
                <a:gd name="connsiteX5" fmla="*/ 0 w 84998"/>
                <a:gd name="connsiteY5" fmla="*/ 1937966 h 1966994"/>
                <a:gd name="connsiteX0" fmla="*/ 3337 w 88335"/>
                <a:gd name="connsiteY0" fmla="*/ 1952364 h 1981392"/>
                <a:gd name="connsiteX1" fmla="*/ 0 w 88335"/>
                <a:gd name="connsiteY1" fmla="*/ 17284 h 1981392"/>
                <a:gd name="connsiteX2" fmla="*/ 88335 w 88335"/>
                <a:gd name="connsiteY2" fmla="*/ 43538 h 1981392"/>
                <a:gd name="connsiteX3" fmla="*/ 84763 w 88335"/>
                <a:gd name="connsiteY3" fmla="*/ 1952364 h 1981392"/>
                <a:gd name="connsiteX4" fmla="*/ 44050 w 88335"/>
                <a:gd name="connsiteY4" fmla="*/ 1981392 h 1981392"/>
                <a:gd name="connsiteX5" fmla="*/ 3337 w 88335"/>
                <a:gd name="connsiteY5" fmla="*/ 1952364 h 1981392"/>
                <a:gd name="connsiteX0" fmla="*/ 1188 w 86186"/>
                <a:gd name="connsiteY0" fmla="*/ 1939309 h 1968337"/>
                <a:gd name="connsiteX1" fmla="*/ 0 w 86186"/>
                <a:gd name="connsiteY1" fmla="*/ 22236 h 1968337"/>
                <a:gd name="connsiteX2" fmla="*/ 86186 w 86186"/>
                <a:gd name="connsiteY2" fmla="*/ 30483 h 1968337"/>
                <a:gd name="connsiteX3" fmla="*/ 82614 w 86186"/>
                <a:gd name="connsiteY3" fmla="*/ 1939309 h 1968337"/>
                <a:gd name="connsiteX4" fmla="*/ 41901 w 86186"/>
                <a:gd name="connsiteY4" fmla="*/ 1968337 h 1968337"/>
                <a:gd name="connsiteX5" fmla="*/ 1188 w 86186"/>
                <a:gd name="connsiteY5" fmla="*/ 1939309 h 1968337"/>
                <a:gd name="connsiteX0" fmla="*/ 1188 w 88801"/>
                <a:gd name="connsiteY0" fmla="*/ 1943065 h 1972093"/>
                <a:gd name="connsiteX1" fmla="*/ 0 w 88801"/>
                <a:gd name="connsiteY1" fmla="*/ 25992 h 1972093"/>
                <a:gd name="connsiteX2" fmla="*/ 88801 w 88801"/>
                <a:gd name="connsiteY2" fmla="*/ 24480 h 1972093"/>
                <a:gd name="connsiteX3" fmla="*/ 82614 w 88801"/>
                <a:gd name="connsiteY3" fmla="*/ 1943065 h 1972093"/>
                <a:gd name="connsiteX4" fmla="*/ 41901 w 88801"/>
                <a:gd name="connsiteY4" fmla="*/ 1972093 h 1972093"/>
                <a:gd name="connsiteX5" fmla="*/ 1188 w 88801"/>
                <a:gd name="connsiteY5" fmla="*/ 1943065 h 197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801" h="1972093">
                  <a:moveTo>
                    <a:pt x="1188" y="1943065"/>
                  </a:moveTo>
                  <a:cubicBezTo>
                    <a:pt x="1188" y="1304728"/>
                    <a:pt x="0" y="664329"/>
                    <a:pt x="0" y="25992"/>
                  </a:cubicBezTo>
                  <a:cubicBezTo>
                    <a:pt x="927" y="-15039"/>
                    <a:pt x="38435" y="-1231"/>
                    <a:pt x="88801" y="24480"/>
                  </a:cubicBezTo>
                  <a:cubicBezTo>
                    <a:pt x="88800" y="981986"/>
                    <a:pt x="82614" y="1304728"/>
                    <a:pt x="82614" y="1943065"/>
                  </a:cubicBezTo>
                  <a:cubicBezTo>
                    <a:pt x="82614" y="1959097"/>
                    <a:pt x="64386" y="1972093"/>
                    <a:pt x="41901" y="1972093"/>
                  </a:cubicBezTo>
                  <a:cubicBezTo>
                    <a:pt x="19416" y="1972093"/>
                    <a:pt x="1188" y="1959097"/>
                    <a:pt x="1188" y="1943065"/>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073" name="Freeform: Shape 1072">
              <a:extLst>
                <a:ext uri="{FF2B5EF4-FFF2-40B4-BE49-F238E27FC236}">
                  <a16:creationId xmlns:a16="http://schemas.microsoft.com/office/drawing/2014/main" id="{5AF2F190-0F80-4819-B3B4-D860E3A5E83C}"/>
                </a:ext>
              </a:extLst>
            </p:cNvPr>
            <p:cNvSpPr/>
            <p:nvPr/>
          </p:nvSpPr>
          <p:spPr bwMode="gray">
            <a:xfrm rot="18000000" flipH="1" flipV="1">
              <a:off x="7162416" y="4170511"/>
              <a:ext cx="434341" cy="250448"/>
            </a:xfrm>
            <a:custGeom>
              <a:avLst/>
              <a:gdLst>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28135 w 3913281"/>
                <a:gd name="connsiteY7" fmla="*/ 1636201 h 2262327"/>
                <a:gd name="connsiteX8" fmla="*/ 3839711 w 3913281"/>
                <a:gd name="connsiteY8" fmla="*/ 1640458 h 2262327"/>
                <a:gd name="connsiteX9" fmla="*/ 3841427 w 3913281"/>
                <a:gd name="connsiteY9" fmla="*/ 2044850 h 2262327"/>
                <a:gd name="connsiteX10" fmla="*/ 3529453 w 3913281"/>
                <a:gd name="connsiteY10" fmla="*/ 2259938 h 2262327"/>
                <a:gd name="connsiteX11" fmla="*/ 3493861 w 3913281"/>
                <a:gd name="connsiteY11" fmla="*/ 2246850 h 2262327"/>
                <a:gd name="connsiteX12" fmla="*/ 3490186 w 3913281"/>
                <a:gd name="connsiteY12" fmla="*/ 2253423 h 2262327"/>
                <a:gd name="connsiteX13" fmla="*/ 865810 w 3913281"/>
                <a:gd name="connsiteY13" fmla="*/ 756776 h 2262327"/>
                <a:gd name="connsiteX14" fmla="*/ 865195 w 3913281"/>
                <a:gd name="connsiteY14" fmla="*/ 756072 h 2262327"/>
                <a:gd name="connsiteX15" fmla="*/ 825464 w 3913281"/>
                <a:gd name="connsiteY15" fmla="*/ 767227 h 2262327"/>
                <a:gd name="connsiteX16" fmla="*/ 742430 w 3913281"/>
                <a:gd name="connsiteY16" fmla="*/ 876351 h 2262327"/>
                <a:gd name="connsiteX17" fmla="*/ 742279 w 3913281"/>
                <a:gd name="connsiteY17" fmla="*/ 930320 h 2262327"/>
                <a:gd name="connsiteX18" fmla="*/ 748979 w 3913281"/>
                <a:gd name="connsiteY18" fmla="*/ 949833 h 2262327"/>
                <a:gd name="connsiteX19" fmla="*/ 748970 w 3913281"/>
                <a:gd name="connsiteY19" fmla="*/ 1893825 h 2262327"/>
                <a:gd name="connsiteX20" fmla="*/ 381745 w 3913281"/>
                <a:gd name="connsiteY20" fmla="*/ 2109764 h 2262327"/>
                <a:gd name="connsiteX21" fmla="*/ 43371 w 3913281"/>
                <a:gd name="connsiteY21"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28135 w 3913281"/>
                <a:gd name="connsiteY7" fmla="*/ 1636201 h 2262327"/>
                <a:gd name="connsiteX8" fmla="*/ 3839711 w 3913281"/>
                <a:gd name="connsiteY8" fmla="*/ 1640458 h 2262327"/>
                <a:gd name="connsiteX9" fmla="*/ 3841427 w 3913281"/>
                <a:gd name="connsiteY9" fmla="*/ 2044850 h 2262327"/>
                <a:gd name="connsiteX10" fmla="*/ 3529453 w 3913281"/>
                <a:gd name="connsiteY10" fmla="*/ 2259938 h 2262327"/>
                <a:gd name="connsiteX11" fmla="*/ 3493861 w 3913281"/>
                <a:gd name="connsiteY11" fmla="*/ 2246850 h 2262327"/>
                <a:gd name="connsiteX12" fmla="*/ 865810 w 3913281"/>
                <a:gd name="connsiteY12" fmla="*/ 756776 h 2262327"/>
                <a:gd name="connsiteX13" fmla="*/ 865195 w 3913281"/>
                <a:gd name="connsiteY13" fmla="*/ 756072 h 2262327"/>
                <a:gd name="connsiteX14" fmla="*/ 825464 w 3913281"/>
                <a:gd name="connsiteY14" fmla="*/ 767227 h 2262327"/>
                <a:gd name="connsiteX15" fmla="*/ 742430 w 3913281"/>
                <a:gd name="connsiteY15" fmla="*/ 876351 h 2262327"/>
                <a:gd name="connsiteX16" fmla="*/ 742279 w 3913281"/>
                <a:gd name="connsiteY16" fmla="*/ 930320 h 2262327"/>
                <a:gd name="connsiteX17" fmla="*/ 748979 w 3913281"/>
                <a:gd name="connsiteY17" fmla="*/ 949833 h 2262327"/>
                <a:gd name="connsiteX18" fmla="*/ 748970 w 3913281"/>
                <a:gd name="connsiteY18" fmla="*/ 1893825 h 2262327"/>
                <a:gd name="connsiteX19" fmla="*/ 381745 w 3913281"/>
                <a:gd name="connsiteY19" fmla="*/ 2109764 h 2262327"/>
                <a:gd name="connsiteX20" fmla="*/ 43371 w 3913281"/>
                <a:gd name="connsiteY20"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2430 w 3913281"/>
                <a:gd name="connsiteY14" fmla="*/ 876351 h 2262327"/>
                <a:gd name="connsiteX15" fmla="*/ 742279 w 3913281"/>
                <a:gd name="connsiteY15" fmla="*/ 930320 h 2262327"/>
                <a:gd name="connsiteX16" fmla="*/ 748979 w 3913281"/>
                <a:gd name="connsiteY16" fmla="*/ 949833 h 2262327"/>
                <a:gd name="connsiteX17" fmla="*/ 748970 w 3913281"/>
                <a:gd name="connsiteY17" fmla="*/ 1893825 h 2262327"/>
                <a:gd name="connsiteX18" fmla="*/ 381745 w 3913281"/>
                <a:gd name="connsiteY18" fmla="*/ 2109764 h 2262327"/>
                <a:gd name="connsiteX19" fmla="*/ 43371 w 3913281"/>
                <a:gd name="connsiteY19"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2279 w 3913281"/>
                <a:gd name="connsiteY14" fmla="*/ 930320 h 2262327"/>
                <a:gd name="connsiteX15" fmla="*/ 748979 w 3913281"/>
                <a:gd name="connsiteY15" fmla="*/ 949833 h 2262327"/>
                <a:gd name="connsiteX16" fmla="*/ 748970 w 3913281"/>
                <a:gd name="connsiteY16" fmla="*/ 1893825 h 2262327"/>
                <a:gd name="connsiteX17" fmla="*/ 381745 w 3913281"/>
                <a:gd name="connsiteY17" fmla="*/ 2109764 h 2262327"/>
                <a:gd name="connsiteX18" fmla="*/ 43371 w 3913281"/>
                <a:gd name="connsiteY18"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8979 w 3913281"/>
                <a:gd name="connsiteY14" fmla="*/ 949833 h 2262327"/>
                <a:gd name="connsiteX15" fmla="*/ 748970 w 3913281"/>
                <a:gd name="connsiteY15" fmla="*/ 1893825 h 2262327"/>
                <a:gd name="connsiteX16" fmla="*/ 381745 w 3913281"/>
                <a:gd name="connsiteY16" fmla="*/ 2109764 h 2262327"/>
                <a:gd name="connsiteX17" fmla="*/ 43371 w 3913281"/>
                <a:gd name="connsiteY17"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8979 w 3913281"/>
                <a:gd name="connsiteY14" fmla="*/ 949833 h 2262327"/>
                <a:gd name="connsiteX15" fmla="*/ 748970 w 3913281"/>
                <a:gd name="connsiteY15" fmla="*/ 1893825 h 2262327"/>
                <a:gd name="connsiteX16" fmla="*/ 381745 w 3913281"/>
                <a:gd name="connsiteY16" fmla="*/ 2109764 h 2262327"/>
                <a:gd name="connsiteX17" fmla="*/ 43371 w 3913281"/>
                <a:gd name="connsiteY17"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09458 w 3913281"/>
                <a:gd name="connsiteY3" fmla="*/ 369759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8979 w 3913281"/>
                <a:gd name="connsiteY14" fmla="*/ 949833 h 2262327"/>
                <a:gd name="connsiteX15" fmla="*/ 748970 w 3913281"/>
                <a:gd name="connsiteY15" fmla="*/ 1893825 h 2262327"/>
                <a:gd name="connsiteX16" fmla="*/ 381745 w 3913281"/>
                <a:gd name="connsiteY16" fmla="*/ 2109764 h 2262327"/>
                <a:gd name="connsiteX17" fmla="*/ 43371 w 3913281"/>
                <a:gd name="connsiteY17" fmla="*/ 1977875 h 2262327"/>
                <a:gd name="connsiteX0" fmla="*/ 43371 w 3913281"/>
                <a:gd name="connsiteY0" fmla="*/ 1982978 h 2267430"/>
                <a:gd name="connsiteX1" fmla="*/ 14511 w 3913281"/>
                <a:gd name="connsiteY1" fmla="*/ 1898928 h 2267430"/>
                <a:gd name="connsiteX2" fmla="*/ 8122 w 3913281"/>
                <a:gd name="connsiteY2" fmla="*/ 874584 h 2267430"/>
                <a:gd name="connsiteX3" fmla="*/ 109458 w 3913281"/>
                <a:gd name="connsiteY3" fmla="*/ 374862 h 2267430"/>
                <a:gd name="connsiteX4" fmla="*/ 389724 w 3913281"/>
                <a:gd name="connsiteY4" fmla="*/ 102121 h 2267430"/>
                <a:gd name="connsiteX5" fmla="*/ 767548 w 3913281"/>
                <a:gd name="connsiteY5" fmla="*/ 6070 h 2267430"/>
                <a:gd name="connsiteX6" fmla="*/ 1058012 w 3913281"/>
                <a:gd name="connsiteY6" fmla="*/ 55263 h 2267430"/>
                <a:gd name="connsiteX7" fmla="*/ 3839711 w 3913281"/>
                <a:gd name="connsiteY7" fmla="*/ 1645561 h 2267430"/>
                <a:gd name="connsiteX8" fmla="*/ 3841427 w 3913281"/>
                <a:gd name="connsiteY8" fmla="*/ 2049953 h 2267430"/>
                <a:gd name="connsiteX9" fmla="*/ 3529453 w 3913281"/>
                <a:gd name="connsiteY9" fmla="*/ 2265041 h 2267430"/>
                <a:gd name="connsiteX10" fmla="*/ 3493861 w 3913281"/>
                <a:gd name="connsiteY10" fmla="*/ 2251953 h 2267430"/>
                <a:gd name="connsiteX11" fmla="*/ 865810 w 3913281"/>
                <a:gd name="connsiteY11" fmla="*/ 761879 h 2267430"/>
                <a:gd name="connsiteX12" fmla="*/ 865195 w 3913281"/>
                <a:gd name="connsiteY12" fmla="*/ 761175 h 2267430"/>
                <a:gd name="connsiteX13" fmla="*/ 825464 w 3913281"/>
                <a:gd name="connsiteY13" fmla="*/ 772330 h 2267430"/>
                <a:gd name="connsiteX14" fmla="*/ 748979 w 3913281"/>
                <a:gd name="connsiteY14" fmla="*/ 954936 h 2267430"/>
                <a:gd name="connsiteX15" fmla="*/ 748970 w 3913281"/>
                <a:gd name="connsiteY15" fmla="*/ 1898928 h 2267430"/>
                <a:gd name="connsiteX16" fmla="*/ 381745 w 3913281"/>
                <a:gd name="connsiteY16" fmla="*/ 2114867 h 2267430"/>
                <a:gd name="connsiteX17" fmla="*/ 43371 w 3913281"/>
                <a:gd name="connsiteY17" fmla="*/ 1982978 h 2267430"/>
                <a:gd name="connsiteX0" fmla="*/ 43371 w 3913281"/>
                <a:gd name="connsiteY0" fmla="*/ 1978638 h 2263090"/>
                <a:gd name="connsiteX1" fmla="*/ 14511 w 3913281"/>
                <a:gd name="connsiteY1" fmla="*/ 1894588 h 2263090"/>
                <a:gd name="connsiteX2" fmla="*/ 8122 w 3913281"/>
                <a:gd name="connsiteY2" fmla="*/ 870244 h 2263090"/>
                <a:gd name="connsiteX3" fmla="*/ 109458 w 3913281"/>
                <a:gd name="connsiteY3" fmla="*/ 370522 h 2263090"/>
                <a:gd name="connsiteX4" fmla="*/ 389724 w 3913281"/>
                <a:gd name="connsiteY4" fmla="*/ 97781 h 2263090"/>
                <a:gd name="connsiteX5" fmla="*/ 767548 w 3913281"/>
                <a:gd name="connsiteY5" fmla="*/ 1730 h 2263090"/>
                <a:gd name="connsiteX6" fmla="*/ 1058012 w 3913281"/>
                <a:gd name="connsiteY6" fmla="*/ 50923 h 2263090"/>
                <a:gd name="connsiteX7" fmla="*/ 3839711 w 3913281"/>
                <a:gd name="connsiteY7" fmla="*/ 1641221 h 2263090"/>
                <a:gd name="connsiteX8" fmla="*/ 3841427 w 3913281"/>
                <a:gd name="connsiteY8" fmla="*/ 2045613 h 2263090"/>
                <a:gd name="connsiteX9" fmla="*/ 3529453 w 3913281"/>
                <a:gd name="connsiteY9" fmla="*/ 2260701 h 2263090"/>
                <a:gd name="connsiteX10" fmla="*/ 3493861 w 3913281"/>
                <a:gd name="connsiteY10" fmla="*/ 2247613 h 2263090"/>
                <a:gd name="connsiteX11" fmla="*/ 865810 w 3913281"/>
                <a:gd name="connsiteY11" fmla="*/ 757539 h 2263090"/>
                <a:gd name="connsiteX12" fmla="*/ 865195 w 3913281"/>
                <a:gd name="connsiteY12" fmla="*/ 756835 h 2263090"/>
                <a:gd name="connsiteX13" fmla="*/ 825464 w 3913281"/>
                <a:gd name="connsiteY13" fmla="*/ 767990 h 2263090"/>
                <a:gd name="connsiteX14" fmla="*/ 748979 w 3913281"/>
                <a:gd name="connsiteY14" fmla="*/ 950596 h 2263090"/>
                <a:gd name="connsiteX15" fmla="*/ 748970 w 3913281"/>
                <a:gd name="connsiteY15" fmla="*/ 1894588 h 2263090"/>
                <a:gd name="connsiteX16" fmla="*/ 381745 w 3913281"/>
                <a:gd name="connsiteY16" fmla="*/ 2110527 h 2263090"/>
                <a:gd name="connsiteX17" fmla="*/ 43371 w 3913281"/>
                <a:gd name="connsiteY17" fmla="*/ 1978638 h 2263090"/>
                <a:gd name="connsiteX0" fmla="*/ 43371 w 3913281"/>
                <a:gd name="connsiteY0" fmla="*/ 1990291 h 2274743"/>
                <a:gd name="connsiteX1" fmla="*/ 14511 w 3913281"/>
                <a:gd name="connsiteY1" fmla="*/ 1906241 h 2274743"/>
                <a:gd name="connsiteX2" fmla="*/ 8122 w 3913281"/>
                <a:gd name="connsiteY2" fmla="*/ 881897 h 2274743"/>
                <a:gd name="connsiteX3" fmla="*/ 109458 w 3913281"/>
                <a:gd name="connsiteY3" fmla="*/ 382175 h 2274743"/>
                <a:gd name="connsiteX4" fmla="*/ 389724 w 3913281"/>
                <a:gd name="connsiteY4" fmla="*/ 109434 h 2274743"/>
                <a:gd name="connsiteX5" fmla="*/ 742920 w 3913281"/>
                <a:gd name="connsiteY5" fmla="*/ 1206 h 2274743"/>
                <a:gd name="connsiteX6" fmla="*/ 1058012 w 3913281"/>
                <a:gd name="connsiteY6" fmla="*/ 62576 h 2274743"/>
                <a:gd name="connsiteX7" fmla="*/ 3839711 w 3913281"/>
                <a:gd name="connsiteY7" fmla="*/ 1652874 h 2274743"/>
                <a:gd name="connsiteX8" fmla="*/ 3841427 w 3913281"/>
                <a:gd name="connsiteY8" fmla="*/ 2057266 h 2274743"/>
                <a:gd name="connsiteX9" fmla="*/ 3529453 w 3913281"/>
                <a:gd name="connsiteY9" fmla="*/ 2272354 h 2274743"/>
                <a:gd name="connsiteX10" fmla="*/ 3493861 w 3913281"/>
                <a:gd name="connsiteY10" fmla="*/ 2259266 h 2274743"/>
                <a:gd name="connsiteX11" fmla="*/ 865810 w 3913281"/>
                <a:gd name="connsiteY11" fmla="*/ 769192 h 2274743"/>
                <a:gd name="connsiteX12" fmla="*/ 865195 w 3913281"/>
                <a:gd name="connsiteY12" fmla="*/ 768488 h 2274743"/>
                <a:gd name="connsiteX13" fmla="*/ 825464 w 3913281"/>
                <a:gd name="connsiteY13" fmla="*/ 779643 h 2274743"/>
                <a:gd name="connsiteX14" fmla="*/ 748979 w 3913281"/>
                <a:gd name="connsiteY14" fmla="*/ 962249 h 2274743"/>
                <a:gd name="connsiteX15" fmla="*/ 748970 w 3913281"/>
                <a:gd name="connsiteY15" fmla="*/ 1906241 h 2274743"/>
                <a:gd name="connsiteX16" fmla="*/ 381745 w 3913281"/>
                <a:gd name="connsiteY16" fmla="*/ 2122180 h 2274743"/>
                <a:gd name="connsiteX17" fmla="*/ 43371 w 3913281"/>
                <a:gd name="connsiteY17" fmla="*/ 1990291 h 2274743"/>
                <a:gd name="connsiteX0" fmla="*/ 43371 w 3913281"/>
                <a:gd name="connsiteY0" fmla="*/ 1989452 h 2273904"/>
                <a:gd name="connsiteX1" fmla="*/ 14511 w 3913281"/>
                <a:gd name="connsiteY1" fmla="*/ 1905402 h 2273904"/>
                <a:gd name="connsiteX2" fmla="*/ 8122 w 3913281"/>
                <a:gd name="connsiteY2" fmla="*/ 881058 h 2273904"/>
                <a:gd name="connsiteX3" fmla="*/ 109458 w 3913281"/>
                <a:gd name="connsiteY3" fmla="*/ 381336 h 2273904"/>
                <a:gd name="connsiteX4" fmla="*/ 384893 w 3913281"/>
                <a:gd name="connsiteY4" fmla="*/ 84987 h 2273904"/>
                <a:gd name="connsiteX5" fmla="*/ 742920 w 3913281"/>
                <a:gd name="connsiteY5" fmla="*/ 367 h 2273904"/>
                <a:gd name="connsiteX6" fmla="*/ 1058012 w 3913281"/>
                <a:gd name="connsiteY6" fmla="*/ 61737 h 2273904"/>
                <a:gd name="connsiteX7" fmla="*/ 3839711 w 3913281"/>
                <a:gd name="connsiteY7" fmla="*/ 1652035 h 2273904"/>
                <a:gd name="connsiteX8" fmla="*/ 3841427 w 3913281"/>
                <a:gd name="connsiteY8" fmla="*/ 2056427 h 2273904"/>
                <a:gd name="connsiteX9" fmla="*/ 3529453 w 3913281"/>
                <a:gd name="connsiteY9" fmla="*/ 2271515 h 2273904"/>
                <a:gd name="connsiteX10" fmla="*/ 3493861 w 3913281"/>
                <a:gd name="connsiteY10" fmla="*/ 2258427 h 2273904"/>
                <a:gd name="connsiteX11" fmla="*/ 865810 w 3913281"/>
                <a:gd name="connsiteY11" fmla="*/ 768353 h 2273904"/>
                <a:gd name="connsiteX12" fmla="*/ 865195 w 3913281"/>
                <a:gd name="connsiteY12" fmla="*/ 767649 h 2273904"/>
                <a:gd name="connsiteX13" fmla="*/ 825464 w 3913281"/>
                <a:gd name="connsiteY13" fmla="*/ 778804 h 2273904"/>
                <a:gd name="connsiteX14" fmla="*/ 748979 w 3913281"/>
                <a:gd name="connsiteY14" fmla="*/ 961410 h 2273904"/>
                <a:gd name="connsiteX15" fmla="*/ 748970 w 3913281"/>
                <a:gd name="connsiteY15" fmla="*/ 1905402 h 2273904"/>
                <a:gd name="connsiteX16" fmla="*/ 381745 w 3913281"/>
                <a:gd name="connsiteY16" fmla="*/ 2121341 h 2273904"/>
                <a:gd name="connsiteX17" fmla="*/ 43371 w 3913281"/>
                <a:gd name="connsiteY17" fmla="*/ 1989452 h 2273904"/>
                <a:gd name="connsiteX0" fmla="*/ 43371 w 3913281"/>
                <a:gd name="connsiteY0" fmla="*/ 1989452 h 2273904"/>
                <a:gd name="connsiteX1" fmla="*/ 14511 w 3913281"/>
                <a:gd name="connsiteY1" fmla="*/ 1905402 h 2273904"/>
                <a:gd name="connsiteX2" fmla="*/ 8122 w 3913281"/>
                <a:gd name="connsiteY2" fmla="*/ 881058 h 2273904"/>
                <a:gd name="connsiteX3" fmla="*/ 109458 w 3913281"/>
                <a:gd name="connsiteY3" fmla="*/ 381336 h 2273904"/>
                <a:gd name="connsiteX4" fmla="*/ 384893 w 3913281"/>
                <a:gd name="connsiteY4" fmla="*/ 84987 h 2273904"/>
                <a:gd name="connsiteX5" fmla="*/ 742920 w 3913281"/>
                <a:gd name="connsiteY5" fmla="*/ 367 h 2273904"/>
                <a:gd name="connsiteX6" fmla="*/ 1058012 w 3913281"/>
                <a:gd name="connsiteY6" fmla="*/ 61737 h 2273904"/>
                <a:gd name="connsiteX7" fmla="*/ 3839711 w 3913281"/>
                <a:gd name="connsiteY7" fmla="*/ 1652035 h 2273904"/>
                <a:gd name="connsiteX8" fmla="*/ 3841427 w 3913281"/>
                <a:gd name="connsiteY8" fmla="*/ 2056427 h 2273904"/>
                <a:gd name="connsiteX9" fmla="*/ 3529453 w 3913281"/>
                <a:gd name="connsiteY9" fmla="*/ 2271515 h 2273904"/>
                <a:gd name="connsiteX10" fmla="*/ 3493861 w 3913281"/>
                <a:gd name="connsiteY10" fmla="*/ 2258427 h 2273904"/>
                <a:gd name="connsiteX11" fmla="*/ 865810 w 3913281"/>
                <a:gd name="connsiteY11" fmla="*/ 768353 h 2273904"/>
                <a:gd name="connsiteX12" fmla="*/ 865195 w 3913281"/>
                <a:gd name="connsiteY12" fmla="*/ 767649 h 2273904"/>
                <a:gd name="connsiteX13" fmla="*/ 825464 w 3913281"/>
                <a:gd name="connsiteY13" fmla="*/ 778804 h 2273904"/>
                <a:gd name="connsiteX14" fmla="*/ 748979 w 3913281"/>
                <a:gd name="connsiteY14" fmla="*/ 961410 h 2273904"/>
                <a:gd name="connsiteX15" fmla="*/ 748970 w 3913281"/>
                <a:gd name="connsiteY15" fmla="*/ 1905402 h 2273904"/>
                <a:gd name="connsiteX16" fmla="*/ 381745 w 3913281"/>
                <a:gd name="connsiteY16" fmla="*/ 2121341 h 2273904"/>
                <a:gd name="connsiteX17" fmla="*/ 43371 w 3913281"/>
                <a:gd name="connsiteY17" fmla="*/ 1989452 h 2273904"/>
                <a:gd name="connsiteX0" fmla="*/ 43371 w 3913281"/>
                <a:gd name="connsiteY0" fmla="*/ 1989452 h 2273904"/>
                <a:gd name="connsiteX1" fmla="*/ 14511 w 3913281"/>
                <a:gd name="connsiteY1" fmla="*/ 1905402 h 2273904"/>
                <a:gd name="connsiteX2" fmla="*/ 8122 w 3913281"/>
                <a:gd name="connsiteY2" fmla="*/ 881058 h 2273904"/>
                <a:gd name="connsiteX3" fmla="*/ 109458 w 3913281"/>
                <a:gd name="connsiteY3" fmla="*/ 381336 h 2273904"/>
                <a:gd name="connsiteX4" fmla="*/ 384893 w 3913281"/>
                <a:gd name="connsiteY4" fmla="*/ 84987 h 2273904"/>
                <a:gd name="connsiteX5" fmla="*/ 742920 w 3913281"/>
                <a:gd name="connsiteY5" fmla="*/ 367 h 2273904"/>
                <a:gd name="connsiteX6" fmla="*/ 1058012 w 3913281"/>
                <a:gd name="connsiteY6" fmla="*/ 61737 h 2273904"/>
                <a:gd name="connsiteX7" fmla="*/ 3839711 w 3913281"/>
                <a:gd name="connsiteY7" fmla="*/ 1652035 h 2273904"/>
                <a:gd name="connsiteX8" fmla="*/ 3841427 w 3913281"/>
                <a:gd name="connsiteY8" fmla="*/ 2056427 h 2273904"/>
                <a:gd name="connsiteX9" fmla="*/ 3529453 w 3913281"/>
                <a:gd name="connsiteY9" fmla="*/ 2271515 h 2273904"/>
                <a:gd name="connsiteX10" fmla="*/ 3493861 w 3913281"/>
                <a:gd name="connsiteY10" fmla="*/ 2258427 h 2273904"/>
                <a:gd name="connsiteX11" fmla="*/ 865810 w 3913281"/>
                <a:gd name="connsiteY11" fmla="*/ 768353 h 2273904"/>
                <a:gd name="connsiteX12" fmla="*/ 865195 w 3913281"/>
                <a:gd name="connsiteY12" fmla="*/ 767649 h 2273904"/>
                <a:gd name="connsiteX13" fmla="*/ 825464 w 3913281"/>
                <a:gd name="connsiteY13" fmla="*/ 778804 h 2273904"/>
                <a:gd name="connsiteX14" fmla="*/ 748979 w 3913281"/>
                <a:gd name="connsiteY14" fmla="*/ 961410 h 2273904"/>
                <a:gd name="connsiteX15" fmla="*/ 381745 w 3913281"/>
                <a:gd name="connsiteY15" fmla="*/ 2121341 h 2273904"/>
                <a:gd name="connsiteX16" fmla="*/ 43371 w 3913281"/>
                <a:gd name="connsiteY16" fmla="*/ 1989452 h 2273904"/>
                <a:gd name="connsiteX0" fmla="*/ 43371 w 3913281"/>
                <a:gd name="connsiteY0" fmla="*/ 1989452 h 2273904"/>
                <a:gd name="connsiteX1" fmla="*/ 14511 w 3913281"/>
                <a:gd name="connsiteY1" fmla="*/ 1905402 h 2273904"/>
                <a:gd name="connsiteX2" fmla="*/ 8122 w 3913281"/>
                <a:gd name="connsiteY2" fmla="*/ 881058 h 2273904"/>
                <a:gd name="connsiteX3" fmla="*/ 109458 w 3913281"/>
                <a:gd name="connsiteY3" fmla="*/ 381336 h 2273904"/>
                <a:gd name="connsiteX4" fmla="*/ 384893 w 3913281"/>
                <a:gd name="connsiteY4" fmla="*/ 84987 h 2273904"/>
                <a:gd name="connsiteX5" fmla="*/ 742920 w 3913281"/>
                <a:gd name="connsiteY5" fmla="*/ 367 h 2273904"/>
                <a:gd name="connsiteX6" fmla="*/ 1058012 w 3913281"/>
                <a:gd name="connsiteY6" fmla="*/ 61737 h 2273904"/>
                <a:gd name="connsiteX7" fmla="*/ 3839711 w 3913281"/>
                <a:gd name="connsiteY7" fmla="*/ 1652035 h 2273904"/>
                <a:gd name="connsiteX8" fmla="*/ 3841427 w 3913281"/>
                <a:gd name="connsiteY8" fmla="*/ 2056427 h 2273904"/>
                <a:gd name="connsiteX9" fmla="*/ 3529453 w 3913281"/>
                <a:gd name="connsiteY9" fmla="*/ 2271515 h 2273904"/>
                <a:gd name="connsiteX10" fmla="*/ 3493861 w 3913281"/>
                <a:gd name="connsiteY10" fmla="*/ 2258427 h 2273904"/>
                <a:gd name="connsiteX11" fmla="*/ 865810 w 3913281"/>
                <a:gd name="connsiteY11" fmla="*/ 768353 h 2273904"/>
                <a:gd name="connsiteX12" fmla="*/ 865195 w 3913281"/>
                <a:gd name="connsiteY12" fmla="*/ 767649 h 2273904"/>
                <a:gd name="connsiteX13" fmla="*/ 825464 w 3913281"/>
                <a:gd name="connsiteY13" fmla="*/ 778804 h 2273904"/>
                <a:gd name="connsiteX14" fmla="*/ 748979 w 3913281"/>
                <a:gd name="connsiteY14" fmla="*/ 961410 h 2273904"/>
                <a:gd name="connsiteX15" fmla="*/ 43371 w 3913281"/>
                <a:gd name="connsiteY15" fmla="*/ 1989452 h 2273904"/>
                <a:gd name="connsiteX0" fmla="*/ 748979 w 3913281"/>
                <a:gd name="connsiteY0" fmla="*/ 961410 h 2273904"/>
                <a:gd name="connsiteX1" fmla="*/ 14511 w 3913281"/>
                <a:gd name="connsiteY1" fmla="*/ 1905402 h 2273904"/>
                <a:gd name="connsiteX2" fmla="*/ 8122 w 3913281"/>
                <a:gd name="connsiteY2" fmla="*/ 881058 h 2273904"/>
                <a:gd name="connsiteX3" fmla="*/ 109458 w 3913281"/>
                <a:gd name="connsiteY3" fmla="*/ 381336 h 2273904"/>
                <a:gd name="connsiteX4" fmla="*/ 384893 w 3913281"/>
                <a:gd name="connsiteY4" fmla="*/ 84987 h 2273904"/>
                <a:gd name="connsiteX5" fmla="*/ 742920 w 3913281"/>
                <a:gd name="connsiteY5" fmla="*/ 367 h 2273904"/>
                <a:gd name="connsiteX6" fmla="*/ 1058012 w 3913281"/>
                <a:gd name="connsiteY6" fmla="*/ 61737 h 2273904"/>
                <a:gd name="connsiteX7" fmla="*/ 3839711 w 3913281"/>
                <a:gd name="connsiteY7" fmla="*/ 1652035 h 2273904"/>
                <a:gd name="connsiteX8" fmla="*/ 3841427 w 3913281"/>
                <a:gd name="connsiteY8" fmla="*/ 2056427 h 2273904"/>
                <a:gd name="connsiteX9" fmla="*/ 3529453 w 3913281"/>
                <a:gd name="connsiteY9" fmla="*/ 2271515 h 2273904"/>
                <a:gd name="connsiteX10" fmla="*/ 3493861 w 3913281"/>
                <a:gd name="connsiteY10" fmla="*/ 2258427 h 2273904"/>
                <a:gd name="connsiteX11" fmla="*/ 865810 w 3913281"/>
                <a:gd name="connsiteY11" fmla="*/ 768353 h 2273904"/>
                <a:gd name="connsiteX12" fmla="*/ 865195 w 3913281"/>
                <a:gd name="connsiteY12" fmla="*/ 767649 h 2273904"/>
                <a:gd name="connsiteX13" fmla="*/ 825464 w 3913281"/>
                <a:gd name="connsiteY13" fmla="*/ 778804 h 2273904"/>
                <a:gd name="connsiteX14" fmla="*/ 748979 w 3913281"/>
                <a:gd name="connsiteY14" fmla="*/ 961410 h 2273904"/>
                <a:gd name="connsiteX0" fmla="*/ 778827 w 3943129"/>
                <a:gd name="connsiteY0" fmla="*/ 961410 h 2273904"/>
                <a:gd name="connsiteX1" fmla="*/ 37970 w 3943129"/>
                <a:gd name="connsiteY1" fmla="*/ 881058 h 2273904"/>
                <a:gd name="connsiteX2" fmla="*/ 139306 w 3943129"/>
                <a:gd name="connsiteY2" fmla="*/ 381336 h 2273904"/>
                <a:gd name="connsiteX3" fmla="*/ 414741 w 3943129"/>
                <a:gd name="connsiteY3" fmla="*/ 84987 h 2273904"/>
                <a:gd name="connsiteX4" fmla="*/ 772768 w 3943129"/>
                <a:gd name="connsiteY4" fmla="*/ 367 h 2273904"/>
                <a:gd name="connsiteX5" fmla="*/ 1087860 w 3943129"/>
                <a:gd name="connsiteY5" fmla="*/ 61737 h 2273904"/>
                <a:gd name="connsiteX6" fmla="*/ 3869559 w 3943129"/>
                <a:gd name="connsiteY6" fmla="*/ 1652035 h 2273904"/>
                <a:gd name="connsiteX7" fmla="*/ 3871275 w 3943129"/>
                <a:gd name="connsiteY7" fmla="*/ 2056427 h 2273904"/>
                <a:gd name="connsiteX8" fmla="*/ 3559301 w 3943129"/>
                <a:gd name="connsiteY8" fmla="*/ 2271515 h 2273904"/>
                <a:gd name="connsiteX9" fmla="*/ 3523709 w 3943129"/>
                <a:gd name="connsiteY9" fmla="*/ 2258427 h 2273904"/>
                <a:gd name="connsiteX10" fmla="*/ 895658 w 3943129"/>
                <a:gd name="connsiteY10" fmla="*/ 768353 h 2273904"/>
                <a:gd name="connsiteX11" fmla="*/ 895043 w 3943129"/>
                <a:gd name="connsiteY11" fmla="*/ 767649 h 2273904"/>
                <a:gd name="connsiteX12" fmla="*/ 855312 w 3943129"/>
                <a:gd name="connsiteY12" fmla="*/ 778804 h 2273904"/>
                <a:gd name="connsiteX13" fmla="*/ 778827 w 3943129"/>
                <a:gd name="connsiteY13" fmla="*/ 961410 h 2273904"/>
                <a:gd name="connsiteX0" fmla="*/ 860746 w 3948563"/>
                <a:gd name="connsiteY0" fmla="*/ 778804 h 2273904"/>
                <a:gd name="connsiteX1" fmla="*/ 43404 w 3948563"/>
                <a:gd name="connsiteY1" fmla="*/ 881058 h 2273904"/>
                <a:gd name="connsiteX2" fmla="*/ 144740 w 3948563"/>
                <a:gd name="connsiteY2" fmla="*/ 381336 h 2273904"/>
                <a:gd name="connsiteX3" fmla="*/ 420175 w 3948563"/>
                <a:gd name="connsiteY3" fmla="*/ 84987 h 2273904"/>
                <a:gd name="connsiteX4" fmla="*/ 778202 w 3948563"/>
                <a:gd name="connsiteY4" fmla="*/ 367 h 2273904"/>
                <a:gd name="connsiteX5" fmla="*/ 1093294 w 3948563"/>
                <a:gd name="connsiteY5" fmla="*/ 61737 h 2273904"/>
                <a:gd name="connsiteX6" fmla="*/ 3874993 w 3948563"/>
                <a:gd name="connsiteY6" fmla="*/ 1652035 h 2273904"/>
                <a:gd name="connsiteX7" fmla="*/ 3876709 w 3948563"/>
                <a:gd name="connsiteY7" fmla="*/ 2056427 h 2273904"/>
                <a:gd name="connsiteX8" fmla="*/ 3564735 w 3948563"/>
                <a:gd name="connsiteY8" fmla="*/ 2271515 h 2273904"/>
                <a:gd name="connsiteX9" fmla="*/ 3529143 w 3948563"/>
                <a:gd name="connsiteY9" fmla="*/ 2258427 h 2273904"/>
                <a:gd name="connsiteX10" fmla="*/ 901092 w 3948563"/>
                <a:gd name="connsiteY10" fmla="*/ 768353 h 2273904"/>
                <a:gd name="connsiteX11" fmla="*/ 900477 w 3948563"/>
                <a:gd name="connsiteY11" fmla="*/ 767649 h 2273904"/>
                <a:gd name="connsiteX12" fmla="*/ 860746 w 3948563"/>
                <a:gd name="connsiteY12" fmla="*/ 778804 h 2273904"/>
                <a:gd name="connsiteX0" fmla="*/ 728575 w 3816392"/>
                <a:gd name="connsiteY0" fmla="*/ 778804 h 2273904"/>
                <a:gd name="connsiteX1" fmla="*/ 12569 w 3816392"/>
                <a:gd name="connsiteY1" fmla="*/ 381336 h 2273904"/>
                <a:gd name="connsiteX2" fmla="*/ 288004 w 3816392"/>
                <a:gd name="connsiteY2" fmla="*/ 84987 h 2273904"/>
                <a:gd name="connsiteX3" fmla="*/ 646031 w 3816392"/>
                <a:gd name="connsiteY3" fmla="*/ 367 h 2273904"/>
                <a:gd name="connsiteX4" fmla="*/ 961123 w 3816392"/>
                <a:gd name="connsiteY4" fmla="*/ 61737 h 2273904"/>
                <a:gd name="connsiteX5" fmla="*/ 3742822 w 3816392"/>
                <a:gd name="connsiteY5" fmla="*/ 1652035 h 2273904"/>
                <a:gd name="connsiteX6" fmla="*/ 3744538 w 3816392"/>
                <a:gd name="connsiteY6" fmla="*/ 2056427 h 2273904"/>
                <a:gd name="connsiteX7" fmla="*/ 3432564 w 3816392"/>
                <a:gd name="connsiteY7" fmla="*/ 2271515 h 2273904"/>
                <a:gd name="connsiteX8" fmla="*/ 3396972 w 3816392"/>
                <a:gd name="connsiteY8" fmla="*/ 2258427 h 2273904"/>
                <a:gd name="connsiteX9" fmla="*/ 768921 w 3816392"/>
                <a:gd name="connsiteY9" fmla="*/ 768353 h 2273904"/>
                <a:gd name="connsiteX10" fmla="*/ 768306 w 3816392"/>
                <a:gd name="connsiteY10" fmla="*/ 767649 h 2273904"/>
                <a:gd name="connsiteX11" fmla="*/ 728575 w 3816392"/>
                <a:gd name="connsiteY11" fmla="*/ 778804 h 2273904"/>
                <a:gd name="connsiteX0" fmla="*/ 768306 w 3816392"/>
                <a:gd name="connsiteY0" fmla="*/ 767649 h 2273904"/>
                <a:gd name="connsiteX1" fmla="*/ 12569 w 3816392"/>
                <a:gd name="connsiteY1" fmla="*/ 381336 h 2273904"/>
                <a:gd name="connsiteX2" fmla="*/ 288004 w 3816392"/>
                <a:gd name="connsiteY2" fmla="*/ 84987 h 2273904"/>
                <a:gd name="connsiteX3" fmla="*/ 646031 w 3816392"/>
                <a:gd name="connsiteY3" fmla="*/ 367 h 2273904"/>
                <a:gd name="connsiteX4" fmla="*/ 961123 w 3816392"/>
                <a:gd name="connsiteY4" fmla="*/ 61737 h 2273904"/>
                <a:gd name="connsiteX5" fmla="*/ 3742822 w 3816392"/>
                <a:gd name="connsiteY5" fmla="*/ 1652035 h 2273904"/>
                <a:gd name="connsiteX6" fmla="*/ 3744538 w 3816392"/>
                <a:gd name="connsiteY6" fmla="*/ 2056427 h 2273904"/>
                <a:gd name="connsiteX7" fmla="*/ 3432564 w 3816392"/>
                <a:gd name="connsiteY7" fmla="*/ 2271515 h 2273904"/>
                <a:gd name="connsiteX8" fmla="*/ 3396972 w 3816392"/>
                <a:gd name="connsiteY8" fmla="*/ 2258427 h 2273904"/>
                <a:gd name="connsiteX9" fmla="*/ 768921 w 3816392"/>
                <a:gd name="connsiteY9" fmla="*/ 768353 h 2273904"/>
                <a:gd name="connsiteX10" fmla="*/ 768306 w 3816392"/>
                <a:gd name="connsiteY10" fmla="*/ 767649 h 2273904"/>
                <a:gd name="connsiteX0" fmla="*/ 768306 w 3816392"/>
                <a:gd name="connsiteY0" fmla="*/ 767649 h 2273904"/>
                <a:gd name="connsiteX1" fmla="*/ 12569 w 3816392"/>
                <a:gd name="connsiteY1" fmla="*/ 381336 h 2273904"/>
                <a:gd name="connsiteX2" fmla="*/ 288004 w 3816392"/>
                <a:gd name="connsiteY2" fmla="*/ 84987 h 2273904"/>
                <a:gd name="connsiteX3" fmla="*/ 646031 w 3816392"/>
                <a:gd name="connsiteY3" fmla="*/ 367 h 2273904"/>
                <a:gd name="connsiteX4" fmla="*/ 961123 w 3816392"/>
                <a:gd name="connsiteY4" fmla="*/ 61737 h 2273904"/>
                <a:gd name="connsiteX5" fmla="*/ 3742822 w 3816392"/>
                <a:gd name="connsiteY5" fmla="*/ 1652035 h 2273904"/>
                <a:gd name="connsiteX6" fmla="*/ 3744538 w 3816392"/>
                <a:gd name="connsiteY6" fmla="*/ 2056427 h 2273904"/>
                <a:gd name="connsiteX7" fmla="*/ 3432564 w 3816392"/>
                <a:gd name="connsiteY7" fmla="*/ 2271515 h 2273904"/>
                <a:gd name="connsiteX8" fmla="*/ 3396972 w 3816392"/>
                <a:gd name="connsiteY8" fmla="*/ 2258427 h 2273904"/>
                <a:gd name="connsiteX9" fmla="*/ 768921 w 3816392"/>
                <a:gd name="connsiteY9" fmla="*/ 768353 h 2273904"/>
                <a:gd name="connsiteX10" fmla="*/ 768306 w 3816392"/>
                <a:gd name="connsiteY10" fmla="*/ 767649 h 2273904"/>
                <a:gd name="connsiteX0" fmla="*/ 758060 w 3806146"/>
                <a:gd name="connsiteY0" fmla="*/ 767649 h 2273904"/>
                <a:gd name="connsiteX1" fmla="*/ 2323 w 3806146"/>
                <a:gd name="connsiteY1" fmla="*/ 381336 h 2273904"/>
                <a:gd name="connsiteX2" fmla="*/ 277758 w 3806146"/>
                <a:gd name="connsiteY2" fmla="*/ 84987 h 2273904"/>
                <a:gd name="connsiteX3" fmla="*/ 635785 w 3806146"/>
                <a:gd name="connsiteY3" fmla="*/ 367 h 2273904"/>
                <a:gd name="connsiteX4" fmla="*/ 950877 w 3806146"/>
                <a:gd name="connsiteY4" fmla="*/ 61737 h 2273904"/>
                <a:gd name="connsiteX5" fmla="*/ 3732576 w 3806146"/>
                <a:gd name="connsiteY5" fmla="*/ 1652035 h 2273904"/>
                <a:gd name="connsiteX6" fmla="*/ 3734292 w 3806146"/>
                <a:gd name="connsiteY6" fmla="*/ 2056427 h 2273904"/>
                <a:gd name="connsiteX7" fmla="*/ 3422318 w 3806146"/>
                <a:gd name="connsiteY7" fmla="*/ 2271515 h 2273904"/>
                <a:gd name="connsiteX8" fmla="*/ 3386726 w 3806146"/>
                <a:gd name="connsiteY8" fmla="*/ 2258427 h 2273904"/>
                <a:gd name="connsiteX9" fmla="*/ 758675 w 3806146"/>
                <a:gd name="connsiteY9" fmla="*/ 768353 h 2273904"/>
                <a:gd name="connsiteX10" fmla="*/ 758060 w 3806146"/>
                <a:gd name="connsiteY10" fmla="*/ 767649 h 2273904"/>
                <a:gd name="connsiteX0" fmla="*/ 761858 w 3809944"/>
                <a:gd name="connsiteY0" fmla="*/ 767649 h 2273904"/>
                <a:gd name="connsiteX1" fmla="*/ 6121 w 3809944"/>
                <a:gd name="connsiteY1" fmla="*/ 381336 h 2273904"/>
                <a:gd name="connsiteX2" fmla="*/ 281556 w 3809944"/>
                <a:gd name="connsiteY2" fmla="*/ 84987 h 2273904"/>
                <a:gd name="connsiteX3" fmla="*/ 639583 w 3809944"/>
                <a:gd name="connsiteY3" fmla="*/ 367 h 2273904"/>
                <a:gd name="connsiteX4" fmla="*/ 954675 w 3809944"/>
                <a:gd name="connsiteY4" fmla="*/ 61737 h 2273904"/>
                <a:gd name="connsiteX5" fmla="*/ 3736374 w 3809944"/>
                <a:gd name="connsiteY5" fmla="*/ 1652035 h 2273904"/>
                <a:gd name="connsiteX6" fmla="*/ 3738090 w 3809944"/>
                <a:gd name="connsiteY6" fmla="*/ 2056427 h 2273904"/>
                <a:gd name="connsiteX7" fmla="*/ 3426116 w 3809944"/>
                <a:gd name="connsiteY7" fmla="*/ 2271515 h 2273904"/>
                <a:gd name="connsiteX8" fmla="*/ 3390524 w 3809944"/>
                <a:gd name="connsiteY8" fmla="*/ 2258427 h 2273904"/>
                <a:gd name="connsiteX9" fmla="*/ 762473 w 3809944"/>
                <a:gd name="connsiteY9" fmla="*/ 768353 h 2273904"/>
                <a:gd name="connsiteX10" fmla="*/ 761858 w 3809944"/>
                <a:gd name="connsiteY10" fmla="*/ 767649 h 2273904"/>
                <a:gd name="connsiteX0" fmla="*/ 761858 w 3809944"/>
                <a:gd name="connsiteY0" fmla="*/ 767649 h 2273904"/>
                <a:gd name="connsiteX1" fmla="*/ 6121 w 3809944"/>
                <a:gd name="connsiteY1" fmla="*/ 381336 h 2273904"/>
                <a:gd name="connsiteX2" fmla="*/ 281556 w 3809944"/>
                <a:gd name="connsiteY2" fmla="*/ 84987 h 2273904"/>
                <a:gd name="connsiteX3" fmla="*/ 639583 w 3809944"/>
                <a:gd name="connsiteY3" fmla="*/ 367 h 2273904"/>
                <a:gd name="connsiteX4" fmla="*/ 954675 w 3809944"/>
                <a:gd name="connsiteY4" fmla="*/ 61737 h 2273904"/>
                <a:gd name="connsiteX5" fmla="*/ 3736374 w 3809944"/>
                <a:gd name="connsiteY5" fmla="*/ 1652035 h 2273904"/>
                <a:gd name="connsiteX6" fmla="*/ 3738090 w 3809944"/>
                <a:gd name="connsiteY6" fmla="*/ 2056427 h 2273904"/>
                <a:gd name="connsiteX7" fmla="*/ 3426116 w 3809944"/>
                <a:gd name="connsiteY7" fmla="*/ 2271515 h 2273904"/>
                <a:gd name="connsiteX8" fmla="*/ 3390524 w 3809944"/>
                <a:gd name="connsiteY8" fmla="*/ 2258427 h 2273904"/>
                <a:gd name="connsiteX9" fmla="*/ 762473 w 3809944"/>
                <a:gd name="connsiteY9" fmla="*/ 768353 h 2273904"/>
                <a:gd name="connsiteX10" fmla="*/ 761858 w 3809944"/>
                <a:gd name="connsiteY10" fmla="*/ 767649 h 2273904"/>
                <a:gd name="connsiteX0" fmla="*/ 761858 w 3809944"/>
                <a:gd name="connsiteY0" fmla="*/ 767649 h 2273904"/>
                <a:gd name="connsiteX1" fmla="*/ 6121 w 3809944"/>
                <a:gd name="connsiteY1" fmla="*/ 381336 h 2273904"/>
                <a:gd name="connsiteX2" fmla="*/ 281556 w 3809944"/>
                <a:gd name="connsiteY2" fmla="*/ 84987 h 2273904"/>
                <a:gd name="connsiteX3" fmla="*/ 639583 w 3809944"/>
                <a:gd name="connsiteY3" fmla="*/ 367 h 2273904"/>
                <a:gd name="connsiteX4" fmla="*/ 954675 w 3809944"/>
                <a:gd name="connsiteY4" fmla="*/ 61737 h 2273904"/>
                <a:gd name="connsiteX5" fmla="*/ 3736374 w 3809944"/>
                <a:gd name="connsiteY5" fmla="*/ 1652035 h 2273904"/>
                <a:gd name="connsiteX6" fmla="*/ 3738090 w 3809944"/>
                <a:gd name="connsiteY6" fmla="*/ 2056427 h 2273904"/>
                <a:gd name="connsiteX7" fmla="*/ 3426116 w 3809944"/>
                <a:gd name="connsiteY7" fmla="*/ 2271515 h 2273904"/>
                <a:gd name="connsiteX8" fmla="*/ 3390524 w 3809944"/>
                <a:gd name="connsiteY8" fmla="*/ 2258427 h 2273904"/>
                <a:gd name="connsiteX9" fmla="*/ 762473 w 3809944"/>
                <a:gd name="connsiteY9" fmla="*/ 768353 h 2273904"/>
                <a:gd name="connsiteX10" fmla="*/ 761858 w 3809944"/>
                <a:gd name="connsiteY10" fmla="*/ 767649 h 2273904"/>
                <a:gd name="connsiteX0" fmla="*/ 761858 w 3809944"/>
                <a:gd name="connsiteY0" fmla="*/ 767649 h 2273904"/>
                <a:gd name="connsiteX1" fmla="*/ 6121 w 3809944"/>
                <a:gd name="connsiteY1" fmla="*/ 381336 h 2273904"/>
                <a:gd name="connsiteX2" fmla="*/ 281556 w 3809944"/>
                <a:gd name="connsiteY2" fmla="*/ 84987 h 2273904"/>
                <a:gd name="connsiteX3" fmla="*/ 639583 w 3809944"/>
                <a:gd name="connsiteY3" fmla="*/ 367 h 2273904"/>
                <a:gd name="connsiteX4" fmla="*/ 954675 w 3809944"/>
                <a:gd name="connsiteY4" fmla="*/ 61737 h 2273904"/>
                <a:gd name="connsiteX5" fmla="*/ 3736374 w 3809944"/>
                <a:gd name="connsiteY5" fmla="*/ 1652035 h 2273904"/>
                <a:gd name="connsiteX6" fmla="*/ 3738090 w 3809944"/>
                <a:gd name="connsiteY6" fmla="*/ 2056427 h 2273904"/>
                <a:gd name="connsiteX7" fmla="*/ 3426116 w 3809944"/>
                <a:gd name="connsiteY7" fmla="*/ 2271515 h 2273904"/>
                <a:gd name="connsiteX8" fmla="*/ 3390524 w 3809944"/>
                <a:gd name="connsiteY8" fmla="*/ 2258427 h 2273904"/>
                <a:gd name="connsiteX9" fmla="*/ 762473 w 3809944"/>
                <a:gd name="connsiteY9" fmla="*/ 768353 h 2273904"/>
                <a:gd name="connsiteX10" fmla="*/ 761858 w 3809944"/>
                <a:gd name="connsiteY10" fmla="*/ 767649 h 2273904"/>
                <a:gd name="connsiteX0" fmla="*/ 761858 w 3809944"/>
                <a:gd name="connsiteY0" fmla="*/ 767649 h 2273904"/>
                <a:gd name="connsiteX1" fmla="*/ 6121 w 3809944"/>
                <a:gd name="connsiteY1" fmla="*/ 381336 h 2273904"/>
                <a:gd name="connsiteX2" fmla="*/ 281556 w 3809944"/>
                <a:gd name="connsiteY2" fmla="*/ 84987 h 2273904"/>
                <a:gd name="connsiteX3" fmla="*/ 639583 w 3809944"/>
                <a:gd name="connsiteY3" fmla="*/ 367 h 2273904"/>
                <a:gd name="connsiteX4" fmla="*/ 954675 w 3809944"/>
                <a:gd name="connsiteY4" fmla="*/ 61737 h 2273904"/>
                <a:gd name="connsiteX5" fmla="*/ 3736374 w 3809944"/>
                <a:gd name="connsiteY5" fmla="*/ 1652035 h 2273904"/>
                <a:gd name="connsiteX6" fmla="*/ 3738090 w 3809944"/>
                <a:gd name="connsiteY6" fmla="*/ 2056427 h 2273904"/>
                <a:gd name="connsiteX7" fmla="*/ 3426116 w 3809944"/>
                <a:gd name="connsiteY7" fmla="*/ 2271515 h 2273904"/>
                <a:gd name="connsiteX8" fmla="*/ 3390524 w 3809944"/>
                <a:gd name="connsiteY8" fmla="*/ 2258427 h 2273904"/>
                <a:gd name="connsiteX9" fmla="*/ 762473 w 3809944"/>
                <a:gd name="connsiteY9" fmla="*/ 768353 h 2273904"/>
                <a:gd name="connsiteX10" fmla="*/ 761858 w 3809944"/>
                <a:gd name="connsiteY10" fmla="*/ 767649 h 2273904"/>
                <a:gd name="connsiteX0" fmla="*/ 588284 w 3810709"/>
                <a:gd name="connsiteY0" fmla="*/ 550402 h 2273904"/>
                <a:gd name="connsiteX1" fmla="*/ 6886 w 3810709"/>
                <a:gd name="connsiteY1" fmla="*/ 381336 h 2273904"/>
                <a:gd name="connsiteX2" fmla="*/ 282321 w 3810709"/>
                <a:gd name="connsiteY2" fmla="*/ 84987 h 2273904"/>
                <a:gd name="connsiteX3" fmla="*/ 640348 w 3810709"/>
                <a:gd name="connsiteY3" fmla="*/ 367 h 2273904"/>
                <a:gd name="connsiteX4" fmla="*/ 955440 w 3810709"/>
                <a:gd name="connsiteY4" fmla="*/ 61737 h 2273904"/>
                <a:gd name="connsiteX5" fmla="*/ 3737139 w 3810709"/>
                <a:gd name="connsiteY5" fmla="*/ 1652035 h 2273904"/>
                <a:gd name="connsiteX6" fmla="*/ 3738855 w 3810709"/>
                <a:gd name="connsiteY6" fmla="*/ 2056427 h 2273904"/>
                <a:gd name="connsiteX7" fmla="*/ 3426881 w 3810709"/>
                <a:gd name="connsiteY7" fmla="*/ 2271515 h 2273904"/>
                <a:gd name="connsiteX8" fmla="*/ 3391289 w 3810709"/>
                <a:gd name="connsiteY8" fmla="*/ 2258427 h 2273904"/>
                <a:gd name="connsiteX9" fmla="*/ 763238 w 3810709"/>
                <a:gd name="connsiteY9" fmla="*/ 768353 h 2273904"/>
                <a:gd name="connsiteX10" fmla="*/ 588284 w 3810709"/>
                <a:gd name="connsiteY10" fmla="*/ 550402 h 2273904"/>
                <a:gd name="connsiteX0" fmla="*/ 770807 w 3818278"/>
                <a:gd name="connsiteY0" fmla="*/ 768353 h 2273904"/>
                <a:gd name="connsiteX1" fmla="*/ 14455 w 3818278"/>
                <a:gd name="connsiteY1" fmla="*/ 381336 h 2273904"/>
                <a:gd name="connsiteX2" fmla="*/ 289890 w 3818278"/>
                <a:gd name="connsiteY2" fmla="*/ 84987 h 2273904"/>
                <a:gd name="connsiteX3" fmla="*/ 647917 w 3818278"/>
                <a:gd name="connsiteY3" fmla="*/ 367 h 2273904"/>
                <a:gd name="connsiteX4" fmla="*/ 963009 w 3818278"/>
                <a:gd name="connsiteY4" fmla="*/ 61737 h 2273904"/>
                <a:gd name="connsiteX5" fmla="*/ 3744708 w 3818278"/>
                <a:gd name="connsiteY5" fmla="*/ 1652035 h 2273904"/>
                <a:gd name="connsiteX6" fmla="*/ 3746424 w 3818278"/>
                <a:gd name="connsiteY6" fmla="*/ 2056427 h 2273904"/>
                <a:gd name="connsiteX7" fmla="*/ 3434450 w 3818278"/>
                <a:gd name="connsiteY7" fmla="*/ 2271515 h 2273904"/>
                <a:gd name="connsiteX8" fmla="*/ 3398858 w 3818278"/>
                <a:gd name="connsiteY8" fmla="*/ 2258427 h 2273904"/>
                <a:gd name="connsiteX9" fmla="*/ 770807 w 3818278"/>
                <a:gd name="connsiteY9" fmla="*/ 768353 h 2273904"/>
                <a:gd name="connsiteX0" fmla="*/ 795175 w 3819399"/>
                <a:gd name="connsiteY0" fmla="*/ 681573 h 2273904"/>
                <a:gd name="connsiteX1" fmla="*/ 15576 w 3819399"/>
                <a:gd name="connsiteY1" fmla="*/ 381336 h 2273904"/>
                <a:gd name="connsiteX2" fmla="*/ 291011 w 3819399"/>
                <a:gd name="connsiteY2" fmla="*/ 84987 h 2273904"/>
                <a:gd name="connsiteX3" fmla="*/ 649038 w 3819399"/>
                <a:gd name="connsiteY3" fmla="*/ 367 h 2273904"/>
                <a:gd name="connsiteX4" fmla="*/ 964130 w 3819399"/>
                <a:gd name="connsiteY4" fmla="*/ 61737 h 2273904"/>
                <a:gd name="connsiteX5" fmla="*/ 3745829 w 3819399"/>
                <a:gd name="connsiteY5" fmla="*/ 1652035 h 2273904"/>
                <a:gd name="connsiteX6" fmla="*/ 3747545 w 3819399"/>
                <a:gd name="connsiteY6" fmla="*/ 2056427 h 2273904"/>
                <a:gd name="connsiteX7" fmla="*/ 3435571 w 3819399"/>
                <a:gd name="connsiteY7" fmla="*/ 2271515 h 2273904"/>
                <a:gd name="connsiteX8" fmla="*/ 3399979 w 3819399"/>
                <a:gd name="connsiteY8" fmla="*/ 2258427 h 2273904"/>
                <a:gd name="connsiteX9" fmla="*/ 795175 w 3819399"/>
                <a:gd name="connsiteY9" fmla="*/ 681573 h 2273904"/>
                <a:gd name="connsiteX0" fmla="*/ 795175 w 3819399"/>
                <a:gd name="connsiteY0" fmla="*/ 681573 h 2273904"/>
                <a:gd name="connsiteX1" fmla="*/ 15576 w 3819399"/>
                <a:gd name="connsiteY1" fmla="*/ 381336 h 2273904"/>
                <a:gd name="connsiteX2" fmla="*/ 291011 w 3819399"/>
                <a:gd name="connsiteY2" fmla="*/ 84987 h 2273904"/>
                <a:gd name="connsiteX3" fmla="*/ 649038 w 3819399"/>
                <a:gd name="connsiteY3" fmla="*/ 367 h 2273904"/>
                <a:gd name="connsiteX4" fmla="*/ 964130 w 3819399"/>
                <a:gd name="connsiteY4" fmla="*/ 61737 h 2273904"/>
                <a:gd name="connsiteX5" fmla="*/ 3745829 w 3819399"/>
                <a:gd name="connsiteY5" fmla="*/ 1652035 h 2273904"/>
                <a:gd name="connsiteX6" fmla="*/ 3747545 w 3819399"/>
                <a:gd name="connsiteY6" fmla="*/ 2056427 h 2273904"/>
                <a:gd name="connsiteX7" fmla="*/ 3435571 w 3819399"/>
                <a:gd name="connsiteY7" fmla="*/ 2271515 h 2273904"/>
                <a:gd name="connsiteX8" fmla="*/ 795175 w 3819399"/>
                <a:gd name="connsiteY8" fmla="*/ 681573 h 2273904"/>
                <a:gd name="connsiteX0" fmla="*/ 795175 w 3988889"/>
                <a:gd name="connsiteY0" fmla="*/ 681573 h 2087978"/>
                <a:gd name="connsiteX1" fmla="*/ 15576 w 3988889"/>
                <a:gd name="connsiteY1" fmla="*/ 381336 h 2087978"/>
                <a:gd name="connsiteX2" fmla="*/ 291011 w 3988889"/>
                <a:gd name="connsiteY2" fmla="*/ 84987 h 2087978"/>
                <a:gd name="connsiteX3" fmla="*/ 649038 w 3988889"/>
                <a:gd name="connsiteY3" fmla="*/ 367 h 2087978"/>
                <a:gd name="connsiteX4" fmla="*/ 964130 w 3988889"/>
                <a:gd name="connsiteY4" fmla="*/ 61737 h 2087978"/>
                <a:gd name="connsiteX5" fmla="*/ 3745829 w 3988889"/>
                <a:gd name="connsiteY5" fmla="*/ 1652035 h 2087978"/>
                <a:gd name="connsiteX6" fmla="*/ 3747545 w 3988889"/>
                <a:gd name="connsiteY6" fmla="*/ 2056427 h 2087978"/>
                <a:gd name="connsiteX7" fmla="*/ 795175 w 3988889"/>
                <a:gd name="connsiteY7" fmla="*/ 681573 h 2087978"/>
                <a:gd name="connsiteX0" fmla="*/ 795175 w 3862961"/>
                <a:gd name="connsiteY0" fmla="*/ 681573 h 2227442"/>
                <a:gd name="connsiteX1" fmla="*/ 15576 w 3862961"/>
                <a:gd name="connsiteY1" fmla="*/ 381336 h 2227442"/>
                <a:gd name="connsiteX2" fmla="*/ 291011 w 3862961"/>
                <a:gd name="connsiteY2" fmla="*/ 84987 h 2227442"/>
                <a:gd name="connsiteX3" fmla="*/ 649038 w 3862961"/>
                <a:gd name="connsiteY3" fmla="*/ 367 h 2227442"/>
                <a:gd name="connsiteX4" fmla="*/ 964130 w 3862961"/>
                <a:gd name="connsiteY4" fmla="*/ 61737 h 2227442"/>
                <a:gd name="connsiteX5" fmla="*/ 3745829 w 3862961"/>
                <a:gd name="connsiteY5" fmla="*/ 1652035 h 2227442"/>
                <a:gd name="connsiteX6" fmla="*/ 3538052 w 3862961"/>
                <a:gd name="connsiteY6" fmla="*/ 2201842 h 2227442"/>
                <a:gd name="connsiteX7" fmla="*/ 795175 w 3862961"/>
                <a:gd name="connsiteY7" fmla="*/ 681573 h 222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2961" h="2227442">
                  <a:moveTo>
                    <a:pt x="795175" y="681573"/>
                  </a:moveTo>
                  <a:cubicBezTo>
                    <a:pt x="173180" y="402391"/>
                    <a:pt x="99603" y="480767"/>
                    <a:pt x="15576" y="381336"/>
                  </a:cubicBezTo>
                  <a:cubicBezTo>
                    <a:pt x="-68451" y="281905"/>
                    <a:pt x="211014" y="136568"/>
                    <a:pt x="291011" y="84987"/>
                  </a:cubicBezTo>
                  <a:cubicBezTo>
                    <a:pt x="437824" y="22188"/>
                    <a:pt x="536852" y="4242"/>
                    <a:pt x="649038" y="367"/>
                  </a:cubicBezTo>
                  <a:cubicBezTo>
                    <a:pt x="761224" y="-3508"/>
                    <a:pt x="860366" y="23771"/>
                    <a:pt x="964130" y="61737"/>
                  </a:cubicBezTo>
                  <a:lnTo>
                    <a:pt x="3745829" y="1652035"/>
                  </a:lnTo>
                  <a:cubicBezTo>
                    <a:pt x="3843249" y="1708280"/>
                    <a:pt x="4029828" y="2363586"/>
                    <a:pt x="3538052" y="2201842"/>
                  </a:cubicBezTo>
                  <a:cubicBezTo>
                    <a:pt x="3046276" y="2040098"/>
                    <a:pt x="1417170" y="960755"/>
                    <a:pt x="795175" y="681573"/>
                  </a:cubicBezTo>
                  <a:close/>
                </a:path>
              </a:pathLst>
            </a:custGeom>
            <a:gradFill flip="none" rotWithShape="1">
              <a:gsLst>
                <a:gs pos="44000">
                  <a:schemeClr val="accent2">
                    <a:lumMod val="0"/>
                    <a:lumOff val="100000"/>
                  </a:schemeClr>
                </a:gs>
                <a:gs pos="41000">
                  <a:schemeClr val="accent4"/>
                </a:gs>
              </a:gsLst>
              <a:lin ang="72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1077" name="Freeform: Shape 1076">
              <a:extLst>
                <a:ext uri="{FF2B5EF4-FFF2-40B4-BE49-F238E27FC236}">
                  <a16:creationId xmlns:a16="http://schemas.microsoft.com/office/drawing/2014/main" id="{8D8B03A3-24A7-4DD5-A37A-F6BE91264889}"/>
                </a:ext>
              </a:extLst>
            </p:cNvPr>
            <p:cNvSpPr/>
            <p:nvPr/>
          </p:nvSpPr>
          <p:spPr bwMode="gray">
            <a:xfrm rot="7200000">
              <a:off x="7897720" y="3947280"/>
              <a:ext cx="84100" cy="1792619"/>
            </a:xfrm>
            <a:custGeom>
              <a:avLst/>
              <a:gdLst>
                <a:gd name="connsiteX0" fmla="*/ 0 w 81427"/>
                <a:gd name="connsiteY0" fmla="*/ 1745672 h 1774700"/>
                <a:gd name="connsiteX1" fmla="*/ 1 w 81427"/>
                <a:gd name="connsiteY1" fmla="*/ 29030 h 1774700"/>
                <a:gd name="connsiteX2" fmla="*/ 0 w 81427"/>
                <a:gd name="connsiteY2" fmla="*/ 29028 h 1774700"/>
                <a:gd name="connsiteX3" fmla="*/ 40713 w 81427"/>
                <a:gd name="connsiteY3" fmla="*/ 0 h 1774700"/>
                <a:gd name="connsiteX4" fmla="*/ 40714 w 81427"/>
                <a:gd name="connsiteY4" fmla="*/ 0 h 1774700"/>
                <a:gd name="connsiteX5" fmla="*/ 40714 w 81427"/>
                <a:gd name="connsiteY5" fmla="*/ 0 h 1774700"/>
                <a:gd name="connsiteX6" fmla="*/ 81427 w 81427"/>
                <a:gd name="connsiteY6" fmla="*/ 29028 h 1774700"/>
                <a:gd name="connsiteX7" fmla="*/ 81426 w 81427"/>
                <a:gd name="connsiteY7" fmla="*/ 1745672 h 1774700"/>
                <a:gd name="connsiteX8" fmla="*/ 40713 w 81427"/>
                <a:gd name="connsiteY8" fmla="*/ 1774700 h 1774700"/>
                <a:gd name="connsiteX9" fmla="*/ 0 w 81427"/>
                <a:gd name="connsiteY9" fmla="*/ 1745672 h 1774700"/>
                <a:gd name="connsiteX0" fmla="*/ 0 w 84360"/>
                <a:gd name="connsiteY0" fmla="*/ 1860366 h 1889394"/>
                <a:gd name="connsiteX1" fmla="*/ 1 w 84360"/>
                <a:gd name="connsiteY1" fmla="*/ 143724 h 1889394"/>
                <a:gd name="connsiteX2" fmla="*/ 0 w 84360"/>
                <a:gd name="connsiteY2" fmla="*/ 143722 h 1889394"/>
                <a:gd name="connsiteX3" fmla="*/ 40713 w 84360"/>
                <a:gd name="connsiteY3" fmla="*/ 114694 h 1889394"/>
                <a:gd name="connsiteX4" fmla="*/ 40714 w 84360"/>
                <a:gd name="connsiteY4" fmla="*/ 114694 h 1889394"/>
                <a:gd name="connsiteX5" fmla="*/ 41821 w 84360"/>
                <a:gd name="connsiteY5" fmla="*/ 97560 h 1889394"/>
                <a:gd name="connsiteX6" fmla="*/ 81427 w 84360"/>
                <a:gd name="connsiteY6" fmla="*/ 143722 h 1889394"/>
                <a:gd name="connsiteX7" fmla="*/ 81426 w 84360"/>
                <a:gd name="connsiteY7" fmla="*/ 1860366 h 1889394"/>
                <a:gd name="connsiteX8" fmla="*/ 40713 w 84360"/>
                <a:gd name="connsiteY8" fmla="*/ 1889394 h 1889394"/>
                <a:gd name="connsiteX9" fmla="*/ 0 w 84360"/>
                <a:gd name="connsiteY9" fmla="*/ 1860366 h 1889394"/>
                <a:gd name="connsiteX0" fmla="*/ 0 w 82704"/>
                <a:gd name="connsiteY0" fmla="*/ 1876738 h 1905766"/>
                <a:gd name="connsiteX1" fmla="*/ 1 w 82704"/>
                <a:gd name="connsiteY1" fmla="*/ 160096 h 1905766"/>
                <a:gd name="connsiteX2" fmla="*/ 0 w 82704"/>
                <a:gd name="connsiteY2" fmla="*/ 160094 h 1905766"/>
                <a:gd name="connsiteX3" fmla="*/ 40713 w 82704"/>
                <a:gd name="connsiteY3" fmla="*/ 131066 h 1905766"/>
                <a:gd name="connsiteX4" fmla="*/ 40714 w 82704"/>
                <a:gd name="connsiteY4" fmla="*/ 131066 h 1905766"/>
                <a:gd name="connsiteX5" fmla="*/ 41821 w 82704"/>
                <a:gd name="connsiteY5" fmla="*/ 113932 h 1905766"/>
                <a:gd name="connsiteX6" fmla="*/ 78960 w 82704"/>
                <a:gd name="connsiteY6" fmla="*/ 136775 h 1905766"/>
                <a:gd name="connsiteX7" fmla="*/ 81426 w 82704"/>
                <a:gd name="connsiteY7" fmla="*/ 1876738 h 1905766"/>
                <a:gd name="connsiteX8" fmla="*/ 40713 w 82704"/>
                <a:gd name="connsiteY8" fmla="*/ 1905766 h 1905766"/>
                <a:gd name="connsiteX9" fmla="*/ 0 w 82704"/>
                <a:gd name="connsiteY9" fmla="*/ 1876738 h 1905766"/>
                <a:gd name="connsiteX0" fmla="*/ 0 w 82704"/>
                <a:gd name="connsiteY0" fmla="*/ 1762806 h 1791834"/>
                <a:gd name="connsiteX1" fmla="*/ 1 w 82704"/>
                <a:gd name="connsiteY1" fmla="*/ 46164 h 1791834"/>
                <a:gd name="connsiteX2" fmla="*/ 0 w 82704"/>
                <a:gd name="connsiteY2" fmla="*/ 46162 h 1791834"/>
                <a:gd name="connsiteX3" fmla="*/ 40713 w 82704"/>
                <a:gd name="connsiteY3" fmla="*/ 17134 h 1791834"/>
                <a:gd name="connsiteX4" fmla="*/ 40714 w 82704"/>
                <a:gd name="connsiteY4" fmla="*/ 17134 h 1791834"/>
                <a:gd name="connsiteX5" fmla="*/ 41821 w 82704"/>
                <a:gd name="connsiteY5" fmla="*/ 0 h 1791834"/>
                <a:gd name="connsiteX6" fmla="*/ 78960 w 82704"/>
                <a:gd name="connsiteY6" fmla="*/ 22843 h 1791834"/>
                <a:gd name="connsiteX7" fmla="*/ 81426 w 82704"/>
                <a:gd name="connsiteY7" fmla="*/ 1762806 h 1791834"/>
                <a:gd name="connsiteX8" fmla="*/ 40713 w 82704"/>
                <a:gd name="connsiteY8" fmla="*/ 1791834 h 1791834"/>
                <a:gd name="connsiteX9" fmla="*/ 0 w 82704"/>
                <a:gd name="connsiteY9" fmla="*/ 1762806 h 1791834"/>
                <a:gd name="connsiteX0" fmla="*/ 0 w 81426"/>
                <a:gd name="connsiteY0" fmla="*/ 1767999 h 1797027"/>
                <a:gd name="connsiteX1" fmla="*/ 1 w 81426"/>
                <a:gd name="connsiteY1" fmla="*/ 51357 h 1797027"/>
                <a:gd name="connsiteX2" fmla="*/ 0 w 81426"/>
                <a:gd name="connsiteY2" fmla="*/ 51355 h 1797027"/>
                <a:gd name="connsiteX3" fmla="*/ 40713 w 81426"/>
                <a:gd name="connsiteY3" fmla="*/ 22327 h 1797027"/>
                <a:gd name="connsiteX4" fmla="*/ 40714 w 81426"/>
                <a:gd name="connsiteY4" fmla="*/ 22327 h 1797027"/>
                <a:gd name="connsiteX5" fmla="*/ 41821 w 81426"/>
                <a:gd name="connsiteY5" fmla="*/ 5193 h 1797027"/>
                <a:gd name="connsiteX6" fmla="*/ 71178 w 81426"/>
                <a:gd name="connsiteY6" fmla="*/ 5036 h 1797027"/>
                <a:gd name="connsiteX7" fmla="*/ 81426 w 81426"/>
                <a:gd name="connsiteY7" fmla="*/ 1767999 h 1797027"/>
                <a:gd name="connsiteX8" fmla="*/ 40713 w 81426"/>
                <a:gd name="connsiteY8" fmla="*/ 1797027 h 1797027"/>
                <a:gd name="connsiteX9" fmla="*/ 0 w 81426"/>
                <a:gd name="connsiteY9" fmla="*/ 1767999 h 1797027"/>
                <a:gd name="connsiteX0" fmla="*/ 0 w 83053"/>
                <a:gd name="connsiteY0" fmla="*/ 1843614 h 1872642"/>
                <a:gd name="connsiteX1" fmla="*/ 1 w 83053"/>
                <a:gd name="connsiteY1" fmla="*/ 126972 h 1872642"/>
                <a:gd name="connsiteX2" fmla="*/ 0 w 83053"/>
                <a:gd name="connsiteY2" fmla="*/ 126970 h 1872642"/>
                <a:gd name="connsiteX3" fmla="*/ 40713 w 83053"/>
                <a:gd name="connsiteY3" fmla="*/ 97942 h 1872642"/>
                <a:gd name="connsiteX4" fmla="*/ 40714 w 83053"/>
                <a:gd name="connsiteY4" fmla="*/ 97942 h 1872642"/>
                <a:gd name="connsiteX5" fmla="*/ 41821 w 83053"/>
                <a:gd name="connsiteY5" fmla="*/ 80808 h 1872642"/>
                <a:gd name="connsiteX6" fmla="*/ 71178 w 83053"/>
                <a:gd name="connsiteY6" fmla="*/ 80651 h 1872642"/>
                <a:gd name="connsiteX7" fmla="*/ 74621 w 83053"/>
                <a:gd name="connsiteY7" fmla="*/ 147381 h 1872642"/>
                <a:gd name="connsiteX8" fmla="*/ 81426 w 83053"/>
                <a:gd name="connsiteY8" fmla="*/ 1843614 h 1872642"/>
                <a:gd name="connsiteX9" fmla="*/ 40713 w 83053"/>
                <a:gd name="connsiteY9" fmla="*/ 1872642 h 1872642"/>
                <a:gd name="connsiteX10" fmla="*/ 0 w 83053"/>
                <a:gd name="connsiteY10" fmla="*/ 1843614 h 1872642"/>
                <a:gd name="connsiteX0" fmla="*/ 0 w 84100"/>
                <a:gd name="connsiteY0" fmla="*/ 1836791 h 1865819"/>
                <a:gd name="connsiteX1" fmla="*/ 1 w 84100"/>
                <a:gd name="connsiteY1" fmla="*/ 120149 h 1865819"/>
                <a:gd name="connsiteX2" fmla="*/ 0 w 84100"/>
                <a:gd name="connsiteY2" fmla="*/ 120147 h 1865819"/>
                <a:gd name="connsiteX3" fmla="*/ 40713 w 84100"/>
                <a:gd name="connsiteY3" fmla="*/ 91119 h 1865819"/>
                <a:gd name="connsiteX4" fmla="*/ 40714 w 84100"/>
                <a:gd name="connsiteY4" fmla="*/ 91119 h 1865819"/>
                <a:gd name="connsiteX5" fmla="*/ 41821 w 84100"/>
                <a:gd name="connsiteY5" fmla="*/ 73985 h 1865819"/>
                <a:gd name="connsiteX6" fmla="*/ 71178 w 84100"/>
                <a:gd name="connsiteY6" fmla="*/ 73828 h 1865819"/>
                <a:gd name="connsiteX7" fmla="*/ 80574 w 84100"/>
                <a:gd name="connsiteY7" fmla="*/ 150868 h 1865819"/>
                <a:gd name="connsiteX8" fmla="*/ 81426 w 84100"/>
                <a:gd name="connsiteY8" fmla="*/ 1836791 h 1865819"/>
                <a:gd name="connsiteX9" fmla="*/ 40713 w 84100"/>
                <a:gd name="connsiteY9" fmla="*/ 1865819 h 1865819"/>
                <a:gd name="connsiteX10" fmla="*/ 0 w 84100"/>
                <a:gd name="connsiteY10" fmla="*/ 1836791 h 1865819"/>
                <a:gd name="connsiteX0" fmla="*/ 0 w 84100"/>
                <a:gd name="connsiteY0" fmla="*/ 1768000 h 1797028"/>
                <a:gd name="connsiteX1" fmla="*/ 1 w 84100"/>
                <a:gd name="connsiteY1" fmla="*/ 51358 h 1797028"/>
                <a:gd name="connsiteX2" fmla="*/ 0 w 84100"/>
                <a:gd name="connsiteY2" fmla="*/ 51356 h 1797028"/>
                <a:gd name="connsiteX3" fmla="*/ 40713 w 84100"/>
                <a:gd name="connsiteY3" fmla="*/ 22328 h 1797028"/>
                <a:gd name="connsiteX4" fmla="*/ 40714 w 84100"/>
                <a:gd name="connsiteY4" fmla="*/ 22328 h 1797028"/>
                <a:gd name="connsiteX5" fmla="*/ 41821 w 84100"/>
                <a:gd name="connsiteY5" fmla="*/ 5194 h 1797028"/>
                <a:gd name="connsiteX6" fmla="*/ 71178 w 84100"/>
                <a:gd name="connsiteY6" fmla="*/ 5037 h 1797028"/>
                <a:gd name="connsiteX7" fmla="*/ 80574 w 84100"/>
                <a:gd name="connsiteY7" fmla="*/ 82077 h 1797028"/>
                <a:gd name="connsiteX8" fmla="*/ 81426 w 84100"/>
                <a:gd name="connsiteY8" fmla="*/ 1768000 h 1797028"/>
                <a:gd name="connsiteX9" fmla="*/ 40713 w 84100"/>
                <a:gd name="connsiteY9" fmla="*/ 1797028 h 1797028"/>
                <a:gd name="connsiteX10" fmla="*/ 0 w 84100"/>
                <a:gd name="connsiteY10" fmla="*/ 1768000 h 1797028"/>
                <a:gd name="connsiteX0" fmla="*/ 0 w 84100"/>
                <a:gd name="connsiteY0" fmla="*/ 1762963 h 1791991"/>
                <a:gd name="connsiteX1" fmla="*/ 1 w 84100"/>
                <a:gd name="connsiteY1" fmla="*/ 46321 h 1791991"/>
                <a:gd name="connsiteX2" fmla="*/ 0 w 84100"/>
                <a:gd name="connsiteY2" fmla="*/ 46319 h 1791991"/>
                <a:gd name="connsiteX3" fmla="*/ 40713 w 84100"/>
                <a:gd name="connsiteY3" fmla="*/ 17291 h 1791991"/>
                <a:gd name="connsiteX4" fmla="*/ 40714 w 84100"/>
                <a:gd name="connsiteY4" fmla="*/ 17291 h 1791991"/>
                <a:gd name="connsiteX5" fmla="*/ 71178 w 84100"/>
                <a:gd name="connsiteY5" fmla="*/ 0 h 1791991"/>
                <a:gd name="connsiteX6" fmla="*/ 80574 w 84100"/>
                <a:gd name="connsiteY6" fmla="*/ 77040 h 1791991"/>
                <a:gd name="connsiteX7" fmla="*/ 81426 w 84100"/>
                <a:gd name="connsiteY7" fmla="*/ 1762963 h 1791991"/>
                <a:gd name="connsiteX8" fmla="*/ 40713 w 84100"/>
                <a:gd name="connsiteY8" fmla="*/ 1791991 h 1791991"/>
                <a:gd name="connsiteX9" fmla="*/ 0 w 84100"/>
                <a:gd name="connsiteY9" fmla="*/ 1762963 h 1791991"/>
                <a:gd name="connsiteX0" fmla="*/ 0 w 84100"/>
                <a:gd name="connsiteY0" fmla="*/ 1762963 h 1791991"/>
                <a:gd name="connsiteX1" fmla="*/ 1 w 84100"/>
                <a:gd name="connsiteY1" fmla="*/ 46321 h 1791991"/>
                <a:gd name="connsiteX2" fmla="*/ 0 w 84100"/>
                <a:gd name="connsiteY2" fmla="*/ 46319 h 1791991"/>
                <a:gd name="connsiteX3" fmla="*/ 40713 w 84100"/>
                <a:gd name="connsiteY3" fmla="*/ 17291 h 1791991"/>
                <a:gd name="connsiteX4" fmla="*/ 71178 w 84100"/>
                <a:gd name="connsiteY4" fmla="*/ 0 h 1791991"/>
                <a:gd name="connsiteX5" fmla="*/ 80574 w 84100"/>
                <a:gd name="connsiteY5" fmla="*/ 77040 h 1791991"/>
                <a:gd name="connsiteX6" fmla="*/ 81426 w 84100"/>
                <a:gd name="connsiteY6" fmla="*/ 1762963 h 1791991"/>
                <a:gd name="connsiteX7" fmla="*/ 40713 w 84100"/>
                <a:gd name="connsiteY7" fmla="*/ 1791991 h 1791991"/>
                <a:gd name="connsiteX8" fmla="*/ 0 w 84100"/>
                <a:gd name="connsiteY8" fmla="*/ 1762963 h 1791991"/>
                <a:gd name="connsiteX0" fmla="*/ 0 w 84100"/>
                <a:gd name="connsiteY0" fmla="*/ 1763378 h 1792406"/>
                <a:gd name="connsiteX1" fmla="*/ 1 w 84100"/>
                <a:gd name="connsiteY1" fmla="*/ 46736 h 1792406"/>
                <a:gd name="connsiteX2" fmla="*/ 0 w 84100"/>
                <a:gd name="connsiteY2" fmla="*/ 46734 h 1792406"/>
                <a:gd name="connsiteX3" fmla="*/ 71178 w 84100"/>
                <a:gd name="connsiteY3" fmla="*/ 415 h 1792406"/>
                <a:gd name="connsiteX4" fmla="*/ 80574 w 84100"/>
                <a:gd name="connsiteY4" fmla="*/ 77455 h 1792406"/>
                <a:gd name="connsiteX5" fmla="*/ 81426 w 84100"/>
                <a:gd name="connsiteY5" fmla="*/ 1763378 h 1792406"/>
                <a:gd name="connsiteX6" fmla="*/ 40713 w 84100"/>
                <a:gd name="connsiteY6" fmla="*/ 1792406 h 1792406"/>
                <a:gd name="connsiteX7" fmla="*/ 0 w 84100"/>
                <a:gd name="connsiteY7" fmla="*/ 1763378 h 1792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100" h="1792406">
                  <a:moveTo>
                    <a:pt x="0" y="1763378"/>
                  </a:moveTo>
                  <a:cubicBezTo>
                    <a:pt x="0" y="1191164"/>
                    <a:pt x="1" y="618950"/>
                    <a:pt x="1" y="46736"/>
                  </a:cubicBezTo>
                  <a:cubicBezTo>
                    <a:pt x="1" y="46735"/>
                    <a:pt x="0" y="46735"/>
                    <a:pt x="0" y="46734"/>
                  </a:cubicBezTo>
                  <a:cubicBezTo>
                    <a:pt x="11863" y="39014"/>
                    <a:pt x="57749" y="-4705"/>
                    <a:pt x="71178" y="415"/>
                  </a:cubicBezTo>
                  <a:cubicBezTo>
                    <a:pt x="76645" y="11510"/>
                    <a:pt x="78872" y="50305"/>
                    <a:pt x="80574" y="77455"/>
                  </a:cubicBezTo>
                  <a:cubicBezTo>
                    <a:pt x="82282" y="371282"/>
                    <a:pt x="87077" y="1475835"/>
                    <a:pt x="81426" y="1763378"/>
                  </a:cubicBezTo>
                  <a:cubicBezTo>
                    <a:pt x="81426" y="1779410"/>
                    <a:pt x="63198" y="1792406"/>
                    <a:pt x="40713" y="1792406"/>
                  </a:cubicBezTo>
                  <a:cubicBezTo>
                    <a:pt x="18228" y="1792406"/>
                    <a:pt x="0" y="1779410"/>
                    <a:pt x="0" y="1763378"/>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080" name="Freeform: Shape 1079">
              <a:extLst>
                <a:ext uri="{FF2B5EF4-FFF2-40B4-BE49-F238E27FC236}">
                  <a16:creationId xmlns:a16="http://schemas.microsoft.com/office/drawing/2014/main" id="{0FA0CAB5-90A8-437D-BBE9-EA7E7C999C57}"/>
                </a:ext>
              </a:extLst>
            </p:cNvPr>
            <p:cNvSpPr/>
            <p:nvPr/>
          </p:nvSpPr>
          <p:spPr bwMode="gray">
            <a:xfrm rot="7200000">
              <a:off x="7029513" y="2463774"/>
              <a:ext cx="461380" cy="3532494"/>
            </a:xfrm>
            <a:custGeom>
              <a:avLst/>
              <a:gdLst>
                <a:gd name="connsiteX0" fmla="*/ 1699 w 461466"/>
                <a:gd name="connsiteY0" fmla="*/ 3511234 h 3540262"/>
                <a:gd name="connsiteX1" fmla="*/ 1700 w 461466"/>
                <a:gd name="connsiteY1" fmla="*/ 1726671 h 3540262"/>
                <a:gd name="connsiteX2" fmla="*/ 1631 w 461466"/>
                <a:gd name="connsiteY2" fmla="*/ 1726469 h 3540262"/>
                <a:gd name="connsiteX3" fmla="*/ 913 w 461466"/>
                <a:gd name="connsiteY3" fmla="*/ 1611295 h 3540262"/>
                <a:gd name="connsiteX4" fmla="*/ 12307 w 461466"/>
                <a:gd name="connsiteY4" fmla="*/ 1555107 h 3540262"/>
                <a:gd name="connsiteX5" fmla="*/ 43276 w 461466"/>
                <a:gd name="connsiteY5" fmla="*/ 1521786 h 3540262"/>
                <a:gd name="connsiteX6" fmla="*/ 83531 w 461466"/>
                <a:gd name="connsiteY6" fmla="*/ 1512272 h 3540262"/>
                <a:gd name="connsiteX7" fmla="*/ 118959 w 461466"/>
                <a:gd name="connsiteY7" fmla="*/ 1519172 h 3540262"/>
                <a:gd name="connsiteX8" fmla="*/ 380039 w 461466"/>
                <a:gd name="connsiteY8" fmla="*/ 1668432 h 3540262"/>
                <a:gd name="connsiteX9" fmla="*/ 380040 w 461466"/>
                <a:gd name="connsiteY9" fmla="*/ 29030 h 3540262"/>
                <a:gd name="connsiteX10" fmla="*/ 380039 w 461466"/>
                <a:gd name="connsiteY10" fmla="*/ 29028 h 3540262"/>
                <a:gd name="connsiteX11" fmla="*/ 420752 w 461466"/>
                <a:gd name="connsiteY11" fmla="*/ 0 h 3540262"/>
                <a:gd name="connsiteX12" fmla="*/ 420753 w 461466"/>
                <a:gd name="connsiteY12" fmla="*/ 0 h 3540262"/>
                <a:gd name="connsiteX13" fmla="*/ 420753 w 461466"/>
                <a:gd name="connsiteY13" fmla="*/ 0 h 3540262"/>
                <a:gd name="connsiteX14" fmla="*/ 461466 w 461466"/>
                <a:gd name="connsiteY14" fmla="*/ 29028 h 3540262"/>
                <a:gd name="connsiteX15" fmla="*/ 461465 w 461466"/>
                <a:gd name="connsiteY15" fmla="*/ 1745672 h 3540262"/>
                <a:gd name="connsiteX16" fmla="*/ 420752 w 461466"/>
                <a:gd name="connsiteY16" fmla="*/ 1774700 h 3540262"/>
                <a:gd name="connsiteX17" fmla="*/ 391964 w 461466"/>
                <a:gd name="connsiteY17" fmla="*/ 1766198 h 3540262"/>
                <a:gd name="connsiteX18" fmla="*/ 391502 w 461466"/>
                <a:gd name="connsiteY18" fmla="*/ 1765404 h 3540262"/>
                <a:gd name="connsiteX19" fmla="*/ 97349 w 461466"/>
                <a:gd name="connsiteY19" fmla="*/ 1598622 h 3540262"/>
                <a:gd name="connsiteX20" fmla="*/ 97280 w 461466"/>
                <a:gd name="connsiteY20" fmla="*/ 1598543 h 3540262"/>
                <a:gd name="connsiteX21" fmla="*/ 92813 w 461466"/>
                <a:gd name="connsiteY21" fmla="*/ 1599797 h 3540262"/>
                <a:gd name="connsiteX22" fmla="*/ 84213 w 461466"/>
                <a:gd name="connsiteY22" fmla="*/ 1620329 h 3540262"/>
                <a:gd name="connsiteX23" fmla="*/ 84212 w 461466"/>
                <a:gd name="connsiteY23" fmla="*/ 1726469 h 3540262"/>
                <a:gd name="connsiteX24" fmla="*/ 83126 w 461466"/>
                <a:gd name="connsiteY24" fmla="*/ 1728010 h 3540262"/>
                <a:gd name="connsiteX25" fmla="*/ 83125 w 461466"/>
                <a:gd name="connsiteY25" fmla="*/ 3511234 h 3540262"/>
                <a:gd name="connsiteX26" fmla="*/ 42412 w 461466"/>
                <a:gd name="connsiteY26" fmla="*/ 3540262 h 3540262"/>
                <a:gd name="connsiteX27" fmla="*/ 1699 w 461466"/>
                <a:gd name="connsiteY27" fmla="*/ 3511234 h 3540262"/>
                <a:gd name="connsiteX0" fmla="*/ 420753 w 512193"/>
                <a:gd name="connsiteY0" fmla="*/ 0 h 3540262"/>
                <a:gd name="connsiteX1" fmla="*/ 461466 w 512193"/>
                <a:gd name="connsiteY1" fmla="*/ 29028 h 3540262"/>
                <a:gd name="connsiteX2" fmla="*/ 461465 w 512193"/>
                <a:gd name="connsiteY2" fmla="*/ 1745672 h 3540262"/>
                <a:gd name="connsiteX3" fmla="*/ 420752 w 512193"/>
                <a:gd name="connsiteY3" fmla="*/ 1774700 h 3540262"/>
                <a:gd name="connsiteX4" fmla="*/ 391964 w 512193"/>
                <a:gd name="connsiteY4" fmla="*/ 1766198 h 3540262"/>
                <a:gd name="connsiteX5" fmla="*/ 391502 w 512193"/>
                <a:gd name="connsiteY5" fmla="*/ 1765404 h 3540262"/>
                <a:gd name="connsiteX6" fmla="*/ 97349 w 512193"/>
                <a:gd name="connsiteY6" fmla="*/ 1598622 h 3540262"/>
                <a:gd name="connsiteX7" fmla="*/ 97280 w 512193"/>
                <a:gd name="connsiteY7" fmla="*/ 1598543 h 3540262"/>
                <a:gd name="connsiteX8" fmla="*/ 92813 w 512193"/>
                <a:gd name="connsiteY8" fmla="*/ 1599797 h 3540262"/>
                <a:gd name="connsiteX9" fmla="*/ 84213 w 512193"/>
                <a:gd name="connsiteY9" fmla="*/ 1620329 h 3540262"/>
                <a:gd name="connsiteX10" fmla="*/ 84212 w 512193"/>
                <a:gd name="connsiteY10" fmla="*/ 1726469 h 3540262"/>
                <a:gd name="connsiteX11" fmla="*/ 83126 w 512193"/>
                <a:gd name="connsiteY11" fmla="*/ 1728010 h 3540262"/>
                <a:gd name="connsiteX12" fmla="*/ 83125 w 512193"/>
                <a:gd name="connsiteY12" fmla="*/ 3511234 h 3540262"/>
                <a:gd name="connsiteX13" fmla="*/ 42412 w 512193"/>
                <a:gd name="connsiteY13" fmla="*/ 3540262 h 3540262"/>
                <a:gd name="connsiteX14" fmla="*/ 1699 w 512193"/>
                <a:gd name="connsiteY14" fmla="*/ 3511234 h 3540262"/>
                <a:gd name="connsiteX15" fmla="*/ 1700 w 512193"/>
                <a:gd name="connsiteY15" fmla="*/ 1726671 h 3540262"/>
                <a:gd name="connsiteX16" fmla="*/ 1631 w 512193"/>
                <a:gd name="connsiteY16" fmla="*/ 1726469 h 3540262"/>
                <a:gd name="connsiteX17" fmla="*/ 913 w 512193"/>
                <a:gd name="connsiteY17" fmla="*/ 1611295 h 3540262"/>
                <a:gd name="connsiteX18" fmla="*/ 12307 w 512193"/>
                <a:gd name="connsiteY18" fmla="*/ 1555107 h 3540262"/>
                <a:gd name="connsiteX19" fmla="*/ 43276 w 512193"/>
                <a:gd name="connsiteY19" fmla="*/ 1521786 h 3540262"/>
                <a:gd name="connsiteX20" fmla="*/ 83531 w 512193"/>
                <a:gd name="connsiteY20" fmla="*/ 1512272 h 3540262"/>
                <a:gd name="connsiteX21" fmla="*/ 118959 w 512193"/>
                <a:gd name="connsiteY21" fmla="*/ 1519172 h 3540262"/>
                <a:gd name="connsiteX22" fmla="*/ 380039 w 512193"/>
                <a:gd name="connsiteY22" fmla="*/ 1668432 h 3540262"/>
                <a:gd name="connsiteX23" fmla="*/ 380040 w 512193"/>
                <a:gd name="connsiteY23" fmla="*/ 29030 h 3540262"/>
                <a:gd name="connsiteX24" fmla="*/ 380039 w 512193"/>
                <a:gd name="connsiteY24" fmla="*/ 29028 h 3540262"/>
                <a:gd name="connsiteX25" fmla="*/ 420752 w 512193"/>
                <a:gd name="connsiteY25" fmla="*/ 0 h 3540262"/>
                <a:gd name="connsiteX26" fmla="*/ 420753 w 512193"/>
                <a:gd name="connsiteY26" fmla="*/ 0 h 3540262"/>
                <a:gd name="connsiteX27" fmla="*/ 512193 w 512193"/>
                <a:gd name="connsiteY27" fmla="*/ 91440 h 3540262"/>
                <a:gd name="connsiteX0" fmla="*/ 420753 w 512193"/>
                <a:gd name="connsiteY0" fmla="*/ 0 h 3540262"/>
                <a:gd name="connsiteX1" fmla="*/ 461466 w 512193"/>
                <a:gd name="connsiteY1" fmla="*/ 29028 h 3540262"/>
                <a:gd name="connsiteX2" fmla="*/ 461465 w 512193"/>
                <a:gd name="connsiteY2" fmla="*/ 1745672 h 3540262"/>
                <a:gd name="connsiteX3" fmla="*/ 420752 w 512193"/>
                <a:gd name="connsiteY3" fmla="*/ 1774700 h 3540262"/>
                <a:gd name="connsiteX4" fmla="*/ 391964 w 512193"/>
                <a:gd name="connsiteY4" fmla="*/ 1766198 h 3540262"/>
                <a:gd name="connsiteX5" fmla="*/ 391502 w 512193"/>
                <a:gd name="connsiteY5" fmla="*/ 1765404 h 3540262"/>
                <a:gd name="connsiteX6" fmla="*/ 97349 w 512193"/>
                <a:gd name="connsiteY6" fmla="*/ 1598622 h 3540262"/>
                <a:gd name="connsiteX7" fmla="*/ 97280 w 512193"/>
                <a:gd name="connsiteY7" fmla="*/ 1598543 h 3540262"/>
                <a:gd name="connsiteX8" fmla="*/ 92813 w 512193"/>
                <a:gd name="connsiteY8" fmla="*/ 1599797 h 3540262"/>
                <a:gd name="connsiteX9" fmla="*/ 84213 w 512193"/>
                <a:gd name="connsiteY9" fmla="*/ 1620329 h 3540262"/>
                <a:gd name="connsiteX10" fmla="*/ 84212 w 512193"/>
                <a:gd name="connsiteY10" fmla="*/ 1726469 h 3540262"/>
                <a:gd name="connsiteX11" fmla="*/ 83126 w 512193"/>
                <a:gd name="connsiteY11" fmla="*/ 1728010 h 3540262"/>
                <a:gd name="connsiteX12" fmla="*/ 83125 w 512193"/>
                <a:gd name="connsiteY12" fmla="*/ 3511234 h 3540262"/>
                <a:gd name="connsiteX13" fmla="*/ 42412 w 512193"/>
                <a:gd name="connsiteY13" fmla="*/ 3540262 h 3540262"/>
                <a:gd name="connsiteX14" fmla="*/ 1699 w 512193"/>
                <a:gd name="connsiteY14" fmla="*/ 3511234 h 3540262"/>
                <a:gd name="connsiteX15" fmla="*/ 1700 w 512193"/>
                <a:gd name="connsiteY15" fmla="*/ 1726671 h 3540262"/>
                <a:gd name="connsiteX16" fmla="*/ 1631 w 512193"/>
                <a:gd name="connsiteY16" fmla="*/ 1726469 h 3540262"/>
                <a:gd name="connsiteX17" fmla="*/ 913 w 512193"/>
                <a:gd name="connsiteY17" fmla="*/ 1611295 h 3540262"/>
                <a:gd name="connsiteX18" fmla="*/ 12307 w 512193"/>
                <a:gd name="connsiteY18" fmla="*/ 1555107 h 3540262"/>
                <a:gd name="connsiteX19" fmla="*/ 43276 w 512193"/>
                <a:gd name="connsiteY19" fmla="*/ 1521786 h 3540262"/>
                <a:gd name="connsiteX20" fmla="*/ 83531 w 512193"/>
                <a:gd name="connsiteY20" fmla="*/ 1512272 h 3540262"/>
                <a:gd name="connsiteX21" fmla="*/ 118959 w 512193"/>
                <a:gd name="connsiteY21" fmla="*/ 1519172 h 3540262"/>
                <a:gd name="connsiteX22" fmla="*/ 380039 w 512193"/>
                <a:gd name="connsiteY22" fmla="*/ 1668432 h 3540262"/>
                <a:gd name="connsiteX23" fmla="*/ 380040 w 512193"/>
                <a:gd name="connsiteY23" fmla="*/ 29030 h 3540262"/>
                <a:gd name="connsiteX24" fmla="*/ 380039 w 512193"/>
                <a:gd name="connsiteY24" fmla="*/ 29028 h 3540262"/>
                <a:gd name="connsiteX25" fmla="*/ 420752 w 512193"/>
                <a:gd name="connsiteY25" fmla="*/ 0 h 3540262"/>
                <a:gd name="connsiteX26" fmla="*/ 512193 w 512193"/>
                <a:gd name="connsiteY26" fmla="*/ 91440 h 3540262"/>
                <a:gd name="connsiteX0" fmla="*/ 420753 w 512193"/>
                <a:gd name="connsiteY0" fmla="*/ 0 h 3540262"/>
                <a:gd name="connsiteX1" fmla="*/ 461466 w 512193"/>
                <a:gd name="connsiteY1" fmla="*/ 29028 h 3540262"/>
                <a:gd name="connsiteX2" fmla="*/ 461465 w 512193"/>
                <a:gd name="connsiteY2" fmla="*/ 1745672 h 3540262"/>
                <a:gd name="connsiteX3" fmla="*/ 420752 w 512193"/>
                <a:gd name="connsiteY3" fmla="*/ 1774700 h 3540262"/>
                <a:gd name="connsiteX4" fmla="*/ 391964 w 512193"/>
                <a:gd name="connsiteY4" fmla="*/ 1766198 h 3540262"/>
                <a:gd name="connsiteX5" fmla="*/ 391502 w 512193"/>
                <a:gd name="connsiteY5" fmla="*/ 1765404 h 3540262"/>
                <a:gd name="connsiteX6" fmla="*/ 97349 w 512193"/>
                <a:gd name="connsiteY6" fmla="*/ 1598622 h 3540262"/>
                <a:gd name="connsiteX7" fmla="*/ 97280 w 512193"/>
                <a:gd name="connsiteY7" fmla="*/ 1598543 h 3540262"/>
                <a:gd name="connsiteX8" fmla="*/ 92813 w 512193"/>
                <a:gd name="connsiteY8" fmla="*/ 1599797 h 3540262"/>
                <a:gd name="connsiteX9" fmla="*/ 84213 w 512193"/>
                <a:gd name="connsiteY9" fmla="*/ 1620329 h 3540262"/>
                <a:gd name="connsiteX10" fmla="*/ 84212 w 512193"/>
                <a:gd name="connsiteY10" fmla="*/ 1726469 h 3540262"/>
                <a:gd name="connsiteX11" fmla="*/ 83126 w 512193"/>
                <a:gd name="connsiteY11" fmla="*/ 1728010 h 3540262"/>
                <a:gd name="connsiteX12" fmla="*/ 83125 w 512193"/>
                <a:gd name="connsiteY12" fmla="*/ 3511234 h 3540262"/>
                <a:gd name="connsiteX13" fmla="*/ 42412 w 512193"/>
                <a:gd name="connsiteY13" fmla="*/ 3540262 h 3540262"/>
                <a:gd name="connsiteX14" fmla="*/ 1699 w 512193"/>
                <a:gd name="connsiteY14" fmla="*/ 3511234 h 3540262"/>
                <a:gd name="connsiteX15" fmla="*/ 1700 w 512193"/>
                <a:gd name="connsiteY15" fmla="*/ 1726671 h 3540262"/>
                <a:gd name="connsiteX16" fmla="*/ 1631 w 512193"/>
                <a:gd name="connsiteY16" fmla="*/ 1726469 h 3540262"/>
                <a:gd name="connsiteX17" fmla="*/ 913 w 512193"/>
                <a:gd name="connsiteY17" fmla="*/ 1611295 h 3540262"/>
                <a:gd name="connsiteX18" fmla="*/ 12307 w 512193"/>
                <a:gd name="connsiteY18" fmla="*/ 1555107 h 3540262"/>
                <a:gd name="connsiteX19" fmla="*/ 43276 w 512193"/>
                <a:gd name="connsiteY19" fmla="*/ 1521786 h 3540262"/>
                <a:gd name="connsiteX20" fmla="*/ 83531 w 512193"/>
                <a:gd name="connsiteY20" fmla="*/ 1512272 h 3540262"/>
                <a:gd name="connsiteX21" fmla="*/ 118959 w 512193"/>
                <a:gd name="connsiteY21" fmla="*/ 1519172 h 3540262"/>
                <a:gd name="connsiteX22" fmla="*/ 380039 w 512193"/>
                <a:gd name="connsiteY22" fmla="*/ 1668432 h 3540262"/>
                <a:gd name="connsiteX23" fmla="*/ 380040 w 512193"/>
                <a:gd name="connsiteY23" fmla="*/ 29030 h 3540262"/>
                <a:gd name="connsiteX24" fmla="*/ 380039 w 512193"/>
                <a:gd name="connsiteY24" fmla="*/ 29028 h 3540262"/>
                <a:gd name="connsiteX25" fmla="*/ 512193 w 512193"/>
                <a:gd name="connsiteY25" fmla="*/ 91440 h 3540262"/>
                <a:gd name="connsiteX0" fmla="*/ 420753 w 461466"/>
                <a:gd name="connsiteY0" fmla="*/ 0 h 3540262"/>
                <a:gd name="connsiteX1" fmla="*/ 461466 w 461466"/>
                <a:gd name="connsiteY1" fmla="*/ 29028 h 3540262"/>
                <a:gd name="connsiteX2" fmla="*/ 461465 w 461466"/>
                <a:gd name="connsiteY2" fmla="*/ 1745672 h 3540262"/>
                <a:gd name="connsiteX3" fmla="*/ 420752 w 461466"/>
                <a:gd name="connsiteY3" fmla="*/ 1774700 h 3540262"/>
                <a:gd name="connsiteX4" fmla="*/ 391964 w 461466"/>
                <a:gd name="connsiteY4" fmla="*/ 1766198 h 3540262"/>
                <a:gd name="connsiteX5" fmla="*/ 391502 w 461466"/>
                <a:gd name="connsiteY5" fmla="*/ 1765404 h 3540262"/>
                <a:gd name="connsiteX6" fmla="*/ 97349 w 461466"/>
                <a:gd name="connsiteY6" fmla="*/ 1598622 h 3540262"/>
                <a:gd name="connsiteX7" fmla="*/ 97280 w 461466"/>
                <a:gd name="connsiteY7" fmla="*/ 1598543 h 3540262"/>
                <a:gd name="connsiteX8" fmla="*/ 92813 w 461466"/>
                <a:gd name="connsiteY8" fmla="*/ 1599797 h 3540262"/>
                <a:gd name="connsiteX9" fmla="*/ 84213 w 461466"/>
                <a:gd name="connsiteY9" fmla="*/ 1620329 h 3540262"/>
                <a:gd name="connsiteX10" fmla="*/ 84212 w 461466"/>
                <a:gd name="connsiteY10" fmla="*/ 1726469 h 3540262"/>
                <a:gd name="connsiteX11" fmla="*/ 83126 w 461466"/>
                <a:gd name="connsiteY11" fmla="*/ 1728010 h 3540262"/>
                <a:gd name="connsiteX12" fmla="*/ 83125 w 461466"/>
                <a:gd name="connsiteY12" fmla="*/ 3511234 h 3540262"/>
                <a:gd name="connsiteX13" fmla="*/ 42412 w 461466"/>
                <a:gd name="connsiteY13" fmla="*/ 3540262 h 3540262"/>
                <a:gd name="connsiteX14" fmla="*/ 1699 w 461466"/>
                <a:gd name="connsiteY14" fmla="*/ 3511234 h 3540262"/>
                <a:gd name="connsiteX15" fmla="*/ 1700 w 461466"/>
                <a:gd name="connsiteY15" fmla="*/ 1726671 h 3540262"/>
                <a:gd name="connsiteX16" fmla="*/ 1631 w 461466"/>
                <a:gd name="connsiteY16" fmla="*/ 1726469 h 3540262"/>
                <a:gd name="connsiteX17" fmla="*/ 913 w 461466"/>
                <a:gd name="connsiteY17" fmla="*/ 1611295 h 3540262"/>
                <a:gd name="connsiteX18" fmla="*/ 12307 w 461466"/>
                <a:gd name="connsiteY18" fmla="*/ 1555107 h 3540262"/>
                <a:gd name="connsiteX19" fmla="*/ 43276 w 461466"/>
                <a:gd name="connsiteY19" fmla="*/ 1521786 h 3540262"/>
                <a:gd name="connsiteX20" fmla="*/ 83531 w 461466"/>
                <a:gd name="connsiteY20" fmla="*/ 1512272 h 3540262"/>
                <a:gd name="connsiteX21" fmla="*/ 118959 w 461466"/>
                <a:gd name="connsiteY21" fmla="*/ 1519172 h 3540262"/>
                <a:gd name="connsiteX22" fmla="*/ 380039 w 461466"/>
                <a:gd name="connsiteY22" fmla="*/ 1668432 h 3540262"/>
                <a:gd name="connsiteX23" fmla="*/ 380040 w 461466"/>
                <a:gd name="connsiteY23" fmla="*/ 29030 h 3540262"/>
                <a:gd name="connsiteX24" fmla="*/ 380039 w 461466"/>
                <a:gd name="connsiteY24" fmla="*/ 29028 h 3540262"/>
                <a:gd name="connsiteX0" fmla="*/ 461466 w 461466"/>
                <a:gd name="connsiteY0" fmla="*/ 0 h 3511234"/>
                <a:gd name="connsiteX1" fmla="*/ 461465 w 461466"/>
                <a:gd name="connsiteY1" fmla="*/ 1716644 h 3511234"/>
                <a:gd name="connsiteX2" fmla="*/ 420752 w 461466"/>
                <a:gd name="connsiteY2" fmla="*/ 1745672 h 3511234"/>
                <a:gd name="connsiteX3" fmla="*/ 391964 w 461466"/>
                <a:gd name="connsiteY3" fmla="*/ 1737170 h 3511234"/>
                <a:gd name="connsiteX4" fmla="*/ 391502 w 461466"/>
                <a:gd name="connsiteY4" fmla="*/ 1736376 h 3511234"/>
                <a:gd name="connsiteX5" fmla="*/ 97349 w 461466"/>
                <a:gd name="connsiteY5" fmla="*/ 1569594 h 3511234"/>
                <a:gd name="connsiteX6" fmla="*/ 97280 w 461466"/>
                <a:gd name="connsiteY6" fmla="*/ 1569515 h 3511234"/>
                <a:gd name="connsiteX7" fmla="*/ 92813 w 461466"/>
                <a:gd name="connsiteY7" fmla="*/ 1570769 h 3511234"/>
                <a:gd name="connsiteX8" fmla="*/ 84213 w 461466"/>
                <a:gd name="connsiteY8" fmla="*/ 1591301 h 3511234"/>
                <a:gd name="connsiteX9" fmla="*/ 84212 w 461466"/>
                <a:gd name="connsiteY9" fmla="*/ 1697441 h 3511234"/>
                <a:gd name="connsiteX10" fmla="*/ 83126 w 461466"/>
                <a:gd name="connsiteY10" fmla="*/ 1698982 h 3511234"/>
                <a:gd name="connsiteX11" fmla="*/ 83125 w 461466"/>
                <a:gd name="connsiteY11" fmla="*/ 3482206 h 3511234"/>
                <a:gd name="connsiteX12" fmla="*/ 42412 w 461466"/>
                <a:gd name="connsiteY12" fmla="*/ 3511234 h 3511234"/>
                <a:gd name="connsiteX13" fmla="*/ 1699 w 461466"/>
                <a:gd name="connsiteY13" fmla="*/ 3482206 h 3511234"/>
                <a:gd name="connsiteX14" fmla="*/ 1700 w 461466"/>
                <a:gd name="connsiteY14" fmla="*/ 1697643 h 3511234"/>
                <a:gd name="connsiteX15" fmla="*/ 1631 w 461466"/>
                <a:gd name="connsiteY15" fmla="*/ 1697441 h 3511234"/>
                <a:gd name="connsiteX16" fmla="*/ 913 w 461466"/>
                <a:gd name="connsiteY16" fmla="*/ 1582267 h 3511234"/>
                <a:gd name="connsiteX17" fmla="*/ 12307 w 461466"/>
                <a:gd name="connsiteY17" fmla="*/ 1526079 h 3511234"/>
                <a:gd name="connsiteX18" fmla="*/ 43276 w 461466"/>
                <a:gd name="connsiteY18" fmla="*/ 1492758 h 3511234"/>
                <a:gd name="connsiteX19" fmla="*/ 83531 w 461466"/>
                <a:gd name="connsiteY19" fmla="*/ 1483244 h 3511234"/>
                <a:gd name="connsiteX20" fmla="*/ 118959 w 461466"/>
                <a:gd name="connsiteY20" fmla="*/ 1490144 h 3511234"/>
                <a:gd name="connsiteX21" fmla="*/ 380039 w 461466"/>
                <a:gd name="connsiteY21" fmla="*/ 1639404 h 3511234"/>
                <a:gd name="connsiteX22" fmla="*/ 380040 w 461466"/>
                <a:gd name="connsiteY22" fmla="*/ 2 h 3511234"/>
                <a:gd name="connsiteX23" fmla="*/ 380039 w 461466"/>
                <a:gd name="connsiteY23" fmla="*/ 0 h 3511234"/>
                <a:gd name="connsiteX0" fmla="*/ 460190 w 464088"/>
                <a:gd name="connsiteY0" fmla="*/ 0 h 3532494"/>
                <a:gd name="connsiteX1" fmla="*/ 461465 w 464088"/>
                <a:gd name="connsiteY1" fmla="*/ 1737904 h 3532494"/>
                <a:gd name="connsiteX2" fmla="*/ 420752 w 464088"/>
                <a:gd name="connsiteY2" fmla="*/ 1766932 h 3532494"/>
                <a:gd name="connsiteX3" fmla="*/ 391964 w 464088"/>
                <a:gd name="connsiteY3" fmla="*/ 1758430 h 3532494"/>
                <a:gd name="connsiteX4" fmla="*/ 391502 w 464088"/>
                <a:gd name="connsiteY4" fmla="*/ 1757636 h 3532494"/>
                <a:gd name="connsiteX5" fmla="*/ 97349 w 464088"/>
                <a:gd name="connsiteY5" fmla="*/ 1590854 h 3532494"/>
                <a:gd name="connsiteX6" fmla="*/ 97280 w 464088"/>
                <a:gd name="connsiteY6" fmla="*/ 1590775 h 3532494"/>
                <a:gd name="connsiteX7" fmla="*/ 92813 w 464088"/>
                <a:gd name="connsiteY7" fmla="*/ 1592029 h 3532494"/>
                <a:gd name="connsiteX8" fmla="*/ 84213 w 464088"/>
                <a:gd name="connsiteY8" fmla="*/ 1612561 h 3532494"/>
                <a:gd name="connsiteX9" fmla="*/ 84212 w 464088"/>
                <a:gd name="connsiteY9" fmla="*/ 1718701 h 3532494"/>
                <a:gd name="connsiteX10" fmla="*/ 83126 w 464088"/>
                <a:gd name="connsiteY10" fmla="*/ 1720242 h 3532494"/>
                <a:gd name="connsiteX11" fmla="*/ 83125 w 464088"/>
                <a:gd name="connsiteY11" fmla="*/ 3503466 h 3532494"/>
                <a:gd name="connsiteX12" fmla="*/ 42412 w 464088"/>
                <a:gd name="connsiteY12" fmla="*/ 3532494 h 3532494"/>
                <a:gd name="connsiteX13" fmla="*/ 1699 w 464088"/>
                <a:gd name="connsiteY13" fmla="*/ 3503466 h 3532494"/>
                <a:gd name="connsiteX14" fmla="*/ 1700 w 464088"/>
                <a:gd name="connsiteY14" fmla="*/ 1718903 h 3532494"/>
                <a:gd name="connsiteX15" fmla="*/ 1631 w 464088"/>
                <a:gd name="connsiteY15" fmla="*/ 1718701 h 3532494"/>
                <a:gd name="connsiteX16" fmla="*/ 913 w 464088"/>
                <a:gd name="connsiteY16" fmla="*/ 1603527 h 3532494"/>
                <a:gd name="connsiteX17" fmla="*/ 12307 w 464088"/>
                <a:gd name="connsiteY17" fmla="*/ 1547339 h 3532494"/>
                <a:gd name="connsiteX18" fmla="*/ 43276 w 464088"/>
                <a:gd name="connsiteY18" fmla="*/ 1514018 h 3532494"/>
                <a:gd name="connsiteX19" fmla="*/ 83531 w 464088"/>
                <a:gd name="connsiteY19" fmla="*/ 1504504 h 3532494"/>
                <a:gd name="connsiteX20" fmla="*/ 118959 w 464088"/>
                <a:gd name="connsiteY20" fmla="*/ 1511404 h 3532494"/>
                <a:gd name="connsiteX21" fmla="*/ 380039 w 464088"/>
                <a:gd name="connsiteY21" fmla="*/ 1660664 h 3532494"/>
                <a:gd name="connsiteX22" fmla="*/ 380040 w 464088"/>
                <a:gd name="connsiteY22" fmla="*/ 21262 h 3532494"/>
                <a:gd name="connsiteX23" fmla="*/ 380039 w 464088"/>
                <a:gd name="connsiteY23" fmla="*/ 21260 h 3532494"/>
                <a:gd name="connsiteX0" fmla="*/ 460190 w 461465"/>
                <a:gd name="connsiteY0" fmla="*/ 0 h 3532494"/>
                <a:gd name="connsiteX1" fmla="*/ 461465 w 461465"/>
                <a:gd name="connsiteY1" fmla="*/ 1737904 h 3532494"/>
                <a:gd name="connsiteX2" fmla="*/ 420752 w 461465"/>
                <a:gd name="connsiteY2" fmla="*/ 1766932 h 3532494"/>
                <a:gd name="connsiteX3" fmla="*/ 391964 w 461465"/>
                <a:gd name="connsiteY3" fmla="*/ 1758430 h 3532494"/>
                <a:gd name="connsiteX4" fmla="*/ 391502 w 461465"/>
                <a:gd name="connsiteY4" fmla="*/ 1757636 h 3532494"/>
                <a:gd name="connsiteX5" fmla="*/ 97349 w 461465"/>
                <a:gd name="connsiteY5" fmla="*/ 1590854 h 3532494"/>
                <a:gd name="connsiteX6" fmla="*/ 97280 w 461465"/>
                <a:gd name="connsiteY6" fmla="*/ 1590775 h 3532494"/>
                <a:gd name="connsiteX7" fmla="*/ 92813 w 461465"/>
                <a:gd name="connsiteY7" fmla="*/ 1592029 h 3532494"/>
                <a:gd name="connsiteX8" fmla="*/ 84213 w 461465"/>
                <a:gd name="connsiteY8" fmla="*/ 1612561 h 3532494"/>
                <a:gd name="connsiteX9" fmla="*/ 84212 w 461465"/>
                <a:gd name="connsiteY9" fmla="*/ 1718701 h 3532494"/>
                <a:gd name="connsiteX10" fmla="*/ 83126 w 461465"/>
                <a:gd name="connsiteY10" fmla="*/ 1720242 h 3532494"/>
                <a:gd name="connsiteX11" fmla="*/ 83125 w 461465"/>
                <a:gd name="connsiteY11" fmla="*/ 3503466 h 3532494"/>
                <a:gd name="connsiteX12" fmla="*/ 42412 w 461465"/>
                <a:gd name="connsiteY12" fmla="*/ 3532494 h 3532494"/>
                <a:gd name="connsiteX13" fmla="*/ 1699 w 461465"/>
                <a:gd name="connsiteY13" fmla="*/ 3503466 h 3532494"/>
                <a:gd name="connsiteX14" fmla="*/ 1700 w 461465"/>
                <a:gd name="connsiteY14" fmla="*/ 1718903 h 3532494"/>
                <a:gd name="connsiteX15" fmla="*/ 1631 w 461465"/>
                <a:gd name="connsiteY15" fmla="*/ 1718701 h 3532494"/>
                <a:gd name="connsiteX16" fmla="*/ 913 w 461465"/>
                <a:gd name="connsiteY16" fmla="*/ 1603527 h 3532494"/>
                <a:gd name="connsiteX17" fmla="*/ 12307 w 461465"/>
                <a:gd name="connsiteY17" fmla="*/ 1547339 h 3532494"/>
                <a:gd name="connsiteX18" fmla="*/ 43276 w 461465"/>
                <a:gd name="connsiteY18" fmla="*/ 1514018 h 3532494"/>
                <a:gd name="connsiteX19" fmla="*/ 83531 w 461465"/>
                <a:gd name="connsiteY19" fmla="*/ 1504504 h 3532494"/>
                <a:gd name="connsiteX20" fmla="*/ 118959 w 461465"/>
                <a:gd name="connsiteY20" fmla="*/ 1511404 h 3532494"/>
                <a:gd name="connsiteX21" fmla="*/ 380039 w 461465"/>
                <a:gd name="connsiteY21" fmla="*/ 1660664 h 3532494"/>
                <a:gd name="connsiteX22" fmla="*/ 380040 w 461465"/>
                <a:gd name="connsiteY22" fmla="*/ 21262 h 3532494"/>
                <a:gd name="connsiteX23" fmla="*/ 380039 w 461465"/>
                <a:gd name="connsiteY23" fmla="*/ 21260 h 3532494"/>
                <a:gd name="connsiteX0" fmla="*/ 460190 w 461489"/>
                <a:gd name="connsiteY0" fmla="*/ 0 h 3532494"/>
                <a:gd name="connsiteX1" fmla="*/ 461465 w 461489"/>
                <a:gd name="connsiteY1" fmla="*/ 1737904 h 3532494"/>
                <a:gd name="connsiteX2" fmla="*/ 420752 w 461489"/>
                <a:gd name="connsiteY2" fmla="*/ 1766932 h 3532494"/>
                <a:gd name="connsiteX3" fmla="*/ 391964 w 461489"/>
                <a:gd name="connsiteY3" fmla="*/ 1758430 h 3532494"/>
                <a:gd name="connsiteX4" fmla="*/ 391502 w 461489"/>
                <a:gd name="connsiteY4" fmla="*/ 1757636 h 3532494"/>
                <a:gd name="connsiteX5" fmla="*/ 97349 w 461489"/>
                <a:gd name="connsiteY5" fmla="*/ 1590854 h 3532494"/>
                <a:gd name="connsiteX6" fmla="*/ 97280 w 461489"/>
                <a:gd name="connsiteY6" fmla="*/ 1590775 h 3532494"/>
                <a:gd name="connsiteX7" fmla="*/ 92813 w 461489"/>
                <a:gd name="connsiteY7" fmla="*/ 1592029 h 3532494"/>
                <a:gd name="connsiteX8" fmla="*/ 84213 w 461489"/>
                <a:gd name="connsiteY8" fmla="*/ 1612561 h 3532494"/>
                <a:gd name="connsiteX9" fmla="*/ 84212 w 461489"/>
                <a:gd name="connsiteY9" fmla="*/ 1718701 h 3532494"/>
                <a:gd name="connsiteX10" fmla="*/ 83126 w 461489"/>
                <a:gd name="connsiteY10" fmla="*/ 1720242 h 3532494"/>
                <a:gd name="connsiteX11" fmla="*/ 83125 w 461489"/>
                <a:gd name="connsiteY11" fmla="*/ 3503466 h 3532494"/>
                <a:gd name="connsiteX12" fmla="*/ 42412 w 461489"/>
                <a:gd name="connsiteY12" fmla="*/ 3532494 h 3532494"/>
                <a:gd name="connsiteX13" fmla="*/ 1699 w 461489"/>
                <a:gd name="connsiteY13" fmla="*/ 3503466 h 3532494"/>
                <a:gd name="connsiteX14" fmla="*/ 1700 w 461489"/>
                <a:gd name="connsiteY14" fmla="*/ 1718903 h 3532494"/>
                <a:gd name="connsiteX15" fmla="*/ 1631 w 461489"/>
                <a:gd name="connsiteY15" fmla="*/ 1718701 h 3532494"/>
                <a:gd name="connsiteX16" fmla="*/ 913 w 461489"/>
                <a:gd name="connsiteY16" fmla="*/ 1603527 h 3532494"/>
                <a:gd name="connsiteX17" fmla="*/ 12307 w 461489"/>
                <a:gd name="connsiteY17" fmla="*/ 1547339 h 3532494"/>
                <a:gd name="connsiteX18" fmla="*/ 43276 w 461489"/>
                <a:gd name="connsiteY18" fmla="*/ 1514018 h 3532494"/>
                <a:gd name="connsiteX19" fmla="*/ 83531 w 461489"/>
                <a:gd name="connsiteY19" fmla="*/ 1504504 h 3532494"/>
                <a:gd name="connsiteX20" fmla="*/ 118959 w 461489"/>
                <a:gd name="connsiteY20" fmla="*/ 1511404 h 3532494"/>
                <a:gd name="connsiteX21" fmla="*/ 380039 w 461489"/>
                <a:gd name="connsiteY21" fmla="*/ 1660664 h 3532494"/>
                <a:gd name="connsiteX22" fmla="*/ 380040 w 461489"/>
                <a:gd name="connsiteY22" fmla="*/ 21262 h 3532494"/>
                <a:gd name="connsiteX23" fmla="*/ 380039 w 461489"/>
                <a:gd name="connsiteY23" fmla="*/ 21260 h 3532494"/>
                <a:gd name="connsiteX0" fmla="*/ 460190 w 461465"/>
                <a:gd name="connsiteY0" fmla="*/ 0 h 3532494"/>
                <a:gd name="connsiteX1" fmla="*/ 461465 w 461465"/>
                <a:gd name="connsiteY1" fmla="*/ 1737904 h 3532494"/>
                <a:gd name="connsiteX2" fmla="*/ 391964 w 461465"/>
                <a:gd name="connsiteY2" fmla="*/ 1758430 h 3532494"/>
                <a:gd name="connsiteX3" fmla="*/ 391502 w 461465"/>
                <a:gd name="connsiteY3" fmla="*/ 1757636 h 3532494"/>
                <a:gd name="connsiteX4" fmla="*/ 97349 w 461465"/>
                <a:gd name="connsiteY4" fmla="*/ 1590854 h 3532494"/>
                <a:gd name="connsiteX5" fmla="*/ 97280 w 461465"/>
                <a:gd name="connsiteY5" fmla="*/ 1590775 h 3532494"/>
                <a:gd name="connsiteX6" fmla="*/ 92813 w 461465"/>
                <a:gd name="connsiteY6" fmla="*/ 1592029 h 3532494"/>
                <a:gd name="connsiteX7" fmla="*/ 84213 w 461465"/>
                <a:gd name="connsiteY7" fmla="*/ 1612561 h 3532494"/>
                <a:gd name="connsiteX8" fmla="*/ 84212 w 461465"/>
                <a:gd name="connsiteY8" fmla="*/ 1718701 h 3532494"/>
                <a:gd name="connsiteX9" fmla="*/ 83126 w 461465"/>
                <a:gd name="connsiteY9" fmla="*/ 1720242 h 3532494"/>
                <a:gd name="connsiteX10" fmla="*/ 83125 w 461465"/>
                <a:gd name="connsiteY10" fmla="*/ 3503466 h 3532494"/>
                <a:gd name="connsiteX11" fmla="*/ 42412 w 461465"/>
                <a:gd name="connsiteY11" fmla="*/ 3532494 h 3532494"/>
                <a:gd name="connsiteX12" fmla="*/ 1699 w 461465"/>
                <a:gd name="connsiteY12" fmla="*/ 3503466 h 3532494"/>
                <a:gd name="connsiteX13" fmla="*/ 1700 w 461465"/>
                <a:gd name="connsiteY13" fmla="*/ 1718903 h 3532494"/>
                <a:gd name="connsiteX14" fmla="*/ 1631 w 461465"/>
                <a:gd name="connsiteY14" fmla="*/ 1718701 h 3532494"/>
                <a:gd name="connsiteX15" fmla="*/ 913 w 461465"/>
                <a:gd name="connsiteY15" fmla="*/ 1603527 h 3532494"/>
                <a:gd name="connsiteX16" fmla="*/ 12307 w 461465"/>
                <a:gd name="connsiteY16" fmla="*/ 1547339 h 3532494"/>
                <a:gd name="connsiteX17" fmla="*/ 43276 w 461465"/>
                <a:gd name="connsiteY17" fmla="*/ 1514018 h 3532494"/>
                <a:gd name="connsiteX18" fmla="*/ 83531 w 461465"/>
                <a:gd name="connsiteY18" fmla="*/ 1504504 h 3532494"/>
                <a:gd name="connsiteX19" fmla="*/ 118959 w 461465"/>
                <a:gd name="connsiteY19" fmla="*/ 1511404 h 3532494"/>
                <a:gd name="connsiteX20" fmla="*/ 380039 w 461465"/>
                <a:gd name="connsiteY20" fmla="*/ 1660664 h 3532494"/>
                <a:gd name="connsiteX21" fmla="*/ 380040 w 461465"/>
                <a:gd name="connsiteY21" fmla="*/ 21262 h 3532494"/>
                <a:gd name="connsiteX22" fmla="*/ 380039 w 461465"/>
                <a:gd name="connsiteY22" fmla="*/ 21260 h 3532494"/>
                <a:gd name="connsiteX0" fmla="*/ 460190 w 461465"/>
                <a:gd name="connsiteY0" fmla="*/ 0 h 3532494"/>
                <a:gd name="connsiteX1" fmla="*/ 461465 w 461465"/>
                <a:gd name="connsiteY1" fmla="*/ 1737904 h 3532494"/>
                <a:gd name="connsiteX2" fmla="*/ 391964 w 461465"/>
                <a:gd name="connsiteY2" fmla="*/ 1758430 h 3532494"/>
                <a:gd name="connsiteX3" fmla="*/ 391502 w 461465"/>
                <a:gd name="connsiteY3" fmla="*/ 1757636 h 3532494"/>
                <a:gd name="connsiteX4" fmla="*/ 97349 w 461465"/>
                <a:gd name="connsiteY4" fmla="*/ 1590854 h 3532494"/>
                <a:gd name="connsiteX5" fmla="*/ 97280 w 461465"/>
                <a:gd name="connsiteY5" fmla="*/ 1590775 h 3532494"/>
                <a:gd name="connsiteX6" fmla="*/ 92813 w 461465"/>
                <a:gd name="connsiteY6" fmla="*/ 1592029 h 3532494"/>
                <a:gd name="connsiteX7" fmla="*/ 84213 w 461465"/>
                <a:gd name="connsiteY7" fmla="*/ 1612561 h 3532494"/>
                <a:gd name="connsiteX8" fmla="*/ 84212 w 461465"/>
                <a:gd name="connsiteY8" fmla="*/ 1718701 h 3532494"/>
                <a:gd name="connsiteX9" fmla="*/ 83126 w 461465"/>
                <a:gd name="connsiteY9" fmla="*/ 1720242 h 3532494"/>
                <a:gd name="connsiteX10" fmla="*/ 83125 w 461465"/>
                <a:gd name="connsiteY10" fmla="*/ 3503466 h 3532494"/>
                <a:gd name="connsiteX11" fmla="*/ 42412 w 461465"/>
                <a:gd name="connsiteY11" fmla="*/ 3532494 h 3532494"/>
                <a:gd name="connsiteX12" fmla="*/ 1699 w 461465"/>
                <a:gd name="connsiteY12" fmla="*/ 3503466 h 3532494"/>
                <a:gd name="connsiteX13" fmla="*/ 1700 w 461465"/>
                <a:gd name="connsiteY13" fmla="*/ 1718903 h 3532494"/>
                <a:gd name="connsiteX14" fmla="*/ 1631 w 461465"/>
                <a:gd name="connsiteY14" fmla="*/ 1718701 h 3532494"/>
                <a:gd name="connsiteX15" fmla="*/ 913 w 461465"/>
                <a:gd name="connsiteY15" fmla="*/ 1603527 h 3532494"/>
                <a:gd name="connsiteX16" fmla="*/ 12307 w 461465"/>
                <a:gd name="connsiteY16" fmla="*/ 1547339 h 3532494"/>
                <a:gd name="connsiteX17" fmla="*/ 43276 w 461465"/>
                <a:gd name="connsiteY17" fmla="*/ 1514018 h 3532494"/>
                <a:gd name="connsiteX18" fmla="*/ 83531 w 461465"/>
                <a:gd name="connsiteY18" fmla="*/ 1504504 h 3532494"/>
                <a:gd name="connsiteX19" fmla="*/ 118959 w 461465"/>
                <a:gd name="connsiteY19" fmla="*/ 1511404 h 3532494"/>
                <a:gd name="connsiteX20" fmla="*/ 380039 w 461465"/>
                <a:gd name="connsiteY20" fmla="*/ 1660664 h 3532494"/>
                <a:gd name="connsiteX21" fmla="*/ 380040 w 461465"/>
                <a:gd name="connsiteY21" fmla="*/ 21262 h 3532494"/>
                <a:gd name="connsiteX22" fmla="*/ 380039 w 461465"/>
                <a:gd name="connsiteY22" fmla="*/ 21260 h 3532494"/>
                <a:gd name="connsiteX0" fmla="*/ 460190 w 461465"/>
                <a:gd name="connsiteY0" fmla="*/ 0 h 3532494"/>
                <a:gd name="connsiteX1" fmla="*/ 461465 w 461465"/>
                <a:gd name="connsiteY1" fmla="*/ 1737904 h 3532494"/>
                <a:gd name="connsiteX2" fmla="*/ 391964 w 461465"/>
                <a:gd name="connsiteY2" fmla="*/ 1758430 h 3532494"/>
                <a:gd name="connsiteX3" fmla="*/ 368413 w 461465"/>
                <a:gd name="connsiteY3" fmla="*/ 1746220 h 3532494"/>
                <a:gd name="connsiteX4" fmla="*/ 97349 w 461465"/>
                <a:gd name="connsiteY4" fmla="*/ 1590854 h 3532494"/>
                <a:gd name="connsiteX5" fmla="*/ 97280 w 461465"/>
                <a:gd name="connsiteY5" fmla="*/ 1590775 h 3532494"/>
                <a:gd name="connsiteX6" fmla="*/ 92813 w 461465"/>
                <a:gd name="connsiteY6" fmla="*/ 1592029 h 3532494"/>
                <a:gd name="connsiteX7" fmla="*/ 84213 w 461465"/>
                <a:gd name="connsiteY7" fmla="*/ 1612561 h 3532494"/>
                <a:gd name="connsiteX8" fmla="*/ 84212 w 461465"/>
                <a:gd name="connsiteY8" fmla="*/ 1718701 h 3532494"/>
                <a:gd name="connsiteX9" fmla="*/ 83126 w 461465"/>
                <a:gd name="connsiteY9" fmla="*/ 1720242 h 3532494"/>
                <a:gd name="connsiteX10" fmla="*/ 83125 w 461465"/>
                <a:gd name="connsiteY10" fmla="*/ 3503466 h 3532494"/>
                <a:gd name="connsiteX11" fmla="*/ 42412 w 461465"/>
                <a:gd name="connsiteY11" fmla="*/ 3532494 h 3532494"/>
                <a:gd name="connsiteX12" fmla="*/ 1699 w 461465"/>
                <a:gd name="connsiteY12" fmla="*/ 3503466 h 3532494"/>
                <a:gd name="connsiteX13" fmla="*/ 1700 w 461465"/>
                <a:gd name="connsiteY13" fmla="*/ 1718903 h 3532494"/>
                <a:gd name="connsiteX14" fmla="*/ 1631 w 461465"/>
                <a:gd name="connsiteY14" fmla="*/ 1718701 h 3532494"/>
                <a:gd name="connsiteX15" fmla="*/ 913 w 461465"/>
                <a:gd name="connsiteY15" fmla="*/ 1603527 h 3532494"/>
                <a:gd name="connsiteX16" fmla="*/ 12307 w 461465"/>
                <a:gd name="connsiteY16" fmla="*/ 1547339 h 3532494"/>
                <a:gd name="connsiteX17" fmla="*/ 43276 w 461465"/>
                <a:gd name="connsiteY17" fmla="*/ 1514018 h 3532494"/>
                <a:gd name="connsiteX18" fmla="*/ 83531 w 461465"/>
                <a:gd name="connsiteY18" fmla="*/ 1504504 h 3532494"/>
                <a:gd name="connsiteX19" fmla="*/ 118959 w 461465"/>
                <a:gd name="connsiteY19" fmla="*/ 1511404 h 3532494"/>
                <a:gd name="connsiteX20" fmla="*/ 380039 w 461465"/>
                <a:gd name="connsiteY20" fmla="*/ 1660664 h 3532494"/>
                <a:gd name="connsiteX21" fmla="*/ 380040 w 461465"/>
                <a:gd name="connsiteY21" fmla="*/ 21262 h 3532494"/>
                <a:gd name="connsiteX22" fmla="*/ 380039 w 461465"/>
                <a:gd name="connsiteY22" fmla="*/ 21260 h 3532494"/>
                <a:gd name="connsiteX0" fmla="*/ 460190 w 461465"/>
                <a:gd name="connsiteY0" fmla="*/ 0 h 3532494"/>
                <a:gd name="connsiteX1" fmla="*/ 461465 w 461465"/>
                <a:gd name="connsiteY1" fmla="*/ 1737904 h 3532494"/>
                <a:gd name="connsiteX2" fmla="*/ 413310 w 461465"/>
                <a:gd name="connsiteY2" fmla="*/ 1776352 h 3532494"/>
                <a:gd name="connsiteX3" fmla="*/ 368413 w 461465"/>
                <a:gd name="connsiteY3" fmla="*/ 1746220 h 3532494"/>
                <a:gd name="connsiteX4" fmla="*/ 97349 w 461465"/>
                <a:gd name="connsiteY4" fmla="*/ 1590854 h 3532494"/>
                <a:gd name="connsiteX5" fmla="*/ 97280 w 461465"/>
                <a:gd name="connsiteY5" fmla="*/ 1590775 h 3532494"/>
                <a:gd name="connsiteX6" fmla="*/ 92813 w 461465"/>
                <a:gd name="connsiteY6" fmla="*/ 1592029 h 3532494"/>
                <a:gd name="connsiteX7" fmla="*/ 84213 w 461465"/>
                <a:gd name="connsiteY7" fmla="*/ 1612561 h 3532494"/>
                <a:gd name="connsiteX8" fmla="*/ 84212 w 461465"/>
                <a:gd name="connsiteY8" fmla="*/ 1718701 h 3532494"/>
                <a:gd name="connsiteX9" fmla="*/ 83126 w 461465"/>
                <a:gd name="connsiteY9" fmla="*/ 1720242 h 3532494"/>
                <a:gd name="connsiteX10" fmla="*/ 83125 w 461465"/>
                <a:gd name="connsiteY10" fmla="*/ 3503466 h 3532494"/>
                <a:gd name="connsiteX11" fmla="*/ 42412 w 461465"/>
                <a:gd name="connsiteY11" fmla="*/ 3532494 h 3532494"/>
                <a:gd name="connsiteX12" fmla="*/ 1699 w 461465"/>
                <a:gd name="connsiteY12" fmla="*/ 3503466 h 3532494"/>
                <a:gd name="connsiteX13" fmla="*/ 1700 w 461465"/>
                <a:gd name="connsiteY13" fmla="*/ 1718903 h 3532494"/>
                <a:gd name="connsiteX14" fmla="*/ 1631 w 461465"/>
                <a:gd name="connsiteY14" fmla="*/ 1718701 h 3532494"/>
                <a:gd name="connsiteX15" fmla="*/ 913 w 461465"/>
                <a:gd name="connsiteY15" fmla="*/ 1603527 h 3532494"/>
                <a:gd name="connsiteX16" fmla="*/ 12307 w 461465"/>
                <a:gd name="connsiteY16" fmla="*/ 1547339 h 3532494"/>
                <a:gd name="connsiteX17" fmla="*/ 43276 w 461465"/>
                <a:gd name="connsiteY17" fmla="*/ 1514018 h 3532494"/>
                <a:gd name="connsiteX18" fmla="*/ 83531 w 461465"/>
                <a:gd name="connsiteY18" fmla="*/ 1504504 h 3532494"/>
                <a:gd name="connsiteX19" fmla="*/ 118959 w 461465"/>
                <a:gd name="connsiteY19" fmla="*/ 1511404 h 3532494"/>
                <a:gd name="connsiteX20" fmla="*/ 380039 w 461465"/>
                <a:gd name="connsiteY20" fmla="*/ 1660664 h 3532494"/>
                <a:gd name="connsiteX21" fmla="*/ 380040 w 461465"/>
                <a:gd name="connsiteY21" fmla="*/ 21262 h 3532494"/>
                <a:gd name="connsiteX22" fmla="*/ 380039 w 461465"/>
                <a:gd name="connsiteY22" fmla="*/ 21260 h 3532494"/>
                <a:gd name="connsiteX0" fmla="*/ 460190 w 461465"/>
                <a:gd name="connsiteY0" fmla="*/ 0 h 3532494"/>
                <a:gd name="connsiteX1" fmla="*/ 461465 w 461465"/>
                <a:gd name="connsiteY1" fmla="*/ 1737904 h 3532494"/>
                <a:gd name="connsiteX2" fmla="*/ 368413 w 461465"/>
                <a:gd name="connsiteY2" fmla="*/ 1746220 h 3532494"/>
                <a:gd name="connsiteX3" fmla="*/ 97349 w 461465"/>
                <a:gd name="connsiteY3" fmla="*/ 1590854 h 3532494"/>
                <a:gd name="connsiteX4" fmla="*/ 97280 w 461465"/>
                <a:gd name="connsiteY4" fmla="*/ 1590775 h 3532494"/>
                <a:gd name="connsiteX5" fmla="*/ 92813 w 461465"/>
                <a:gd name="connsiteY5" fmla="*/ 1592029 h 3532494"/>
                <a:gd name="connsiteX6" fmla="*/ 84213 w 461465"/>
                <a:gd name="connsiteY6" fmla="*/ 1612561 h 3532494"/>
                <a:gd name="connsiteX7" fmla="*/ 84212 w 461465"/>
                <a:gd name="connsiteY7" fmla="*/ 1718701 h 3532494"/>
                <a:gd name="connsiteX8" fmla="*/ 83126 w 461465"/>
                <a:gd name="connsiteY8" fmla="*/ 1720242 h 3532494"/>
                <a:gd name="connsiteX9" fmla="*/ 83125 w 461465"/>
                <a:gd name="connsiteY9" fmla="*/ 3503466 h 3532494"/>
                <a:gd name="connsiteX10" fmla="*/ 42412 w 461465"/>
                <a:gd name="connsiteY10" fmla="*/ 3532494 h 3532494"/>
                <a:gd name="connsiteX11" fmla="*/ 1699 w 461465"/>
                <a:gd name="connsiteY11" fmla="*/ 3503466 h 3532494"/>
                <a:gd name="connsiteX12" fmla="*/ 1700 w 461465"/>
                <a:gd name="connsiteY12" fmla="*/ 1718903 h 3532494"/>
                <a:gd name="connsiteX13" fmla="*/ 1631 w 461465"/>
                <a:gd name="connsiteY13" fmla="*/ 1718701 h 3532494"/>
                <a:gd name="connsiteX14" fmla="*/ 913 w 461465"/>
                <a:gd name="connsiteY14" fmla="*/ 1603527 h 3532494"/>
                <a:gd name="connsiteX15" fmla="*/ 12307 w 461465"/>
                <a:gd name="connsiteY15" fmla="*/ 1547339 h 3532494"/>
                <a:gd name="connsiteX16" fmla="*/ 43276 w 461465"/>
                <a:gd name="connsiteY16" fmla="*/ 1514018 h 3532494"/>
                <a:gd name="connsiteX17" fmla="*/ 83531 w 461465"/>
                <a:gd name="connsiteY17" fmla="*/ 1504504 h 3532494"/>
                <a:gd name="connsiteX18" fmla="*/ 118959 w 461465"/>
                <a:gd name="connsiteY18" fmla="*/ 1511404 h 3532494"/>
                <a:gd name="connsiteX19" fmla="*/ 380039 w 461465"/>
                <a:gd name="connsiteY19" fmla="*/ 1660664 h 3532494"/>
                <a:gd name="connsiteX20" fmla="*/ 380040 w 461465"/>
                <a:gd name="connsiteY20" fmla="*/ 21262 h 3532494"/>
                <a:gd name="connsiteX21" fmla="*/ 380039 w 461465"/>
                <a:gd name="connsiteY21" fmla="*/ 21260 h 3532494"/>
                <a:gd name="connsiteX0" fmla="*/ 460190 w 461465"/>
                <a:gd name="connsiteY0" fmla="*/ 0 h 3532494"/>
                <a:gd name="connsiteX1" fmla="*/ 461465 w 461465"/>
                <a:gd name="connsiteY1" fmla="*/ 1737904 h 3532494"/>
                <a:gd name="connsiteX2" fmla="*/ 368413 w 461465"/>
                <a:gd name="connsiteY2" fmla="*/ 1746220 h 3532494"/>
                <a:gd name="connsiteX3" fmla="*/ 97349 w 461465"/>
                <a:gd name="connsiteY3" fmla="*/ 1590854 h 3532494"/>
                <a:gd name="connsiteX4" fmla="*/ 97280 w 461465"/>
                <a:gd name="connsiteY4" fmla="*/ 1590775 h 3532494"/>
                <a:gd name="connsiteX5" fmla="*/ 92813 w 461465"/>
                <a:gd name="connsiteY5" fmla="*/ 1592029 h 3532494"/>
                <a:gd name="connsiteX6" fmla="*/ 84213 w 461465"/>
                <a:gd name="connsiteY6" fmla="*/ 1612561 h 3532494"/>
                <a:gd name="connsiteX7" fmla="*/ 84212 w 461465"/>
                <a:gd name="connsiteY7" fmla="*/ 1718701 h 3532494"/>
                <a:gd name="connsiteX8" fmla="*/ 83126 w 461465"/>
                <a:gd name="connsiteY8" fmla="*/ 1720242 h 3532494"/>
                <a:gd name="connsiteX9" fmla="*/ 83125 w 461465"/>
                <a:gd name="connsiteY9" fmla="*/ 3503466 h 3532494"/>
                <a:gd name="connsiteX10" fmla="*/ 42412 w 461465"/>
                <a:gd name="connsiteY10" fmla="*/ 3532494 h 3532494"/>
                <a:gd name="connsiteX11" fmla="*/ 1699 w 461465"/>
                <a:gd name="connsiteY11" fmla="*/ 3503466 h 3532494"/>
                <a:gd name="connsiteX12" fmla="*/ 1700 w 461465"/>
                <a:gd name="connsiteY12" fmla="*/ 1718903 h 3532494"/>
                <a:gd name="connsiteX13" fmla="*/ 1631 w 461465"/>
                <a:gd name="connsiteY13" fmla="*/ 1718701 h 3532494"/>
                <a:gd name="connsiteX14" fmla="*/ 913 w 461465"/>
                <a:gd name="connsiteY14" fmla="*/ 1603527 h 3532494"/>
                <a:gd name="connsiteX15" fmla="*/ 12307 w 461465"/>
                <a:gd name="connsiteY15" fmla="*/ 1547339 h 3532494"/>
                <a:gd name="connsiteX16" fmla="*/ 43276 w 461465"/>
                <a:gd name="connsiteY16" fmla="*/ 1514018 h 3532494"/>
                <a:gd name="connsiteX17" fmla="*/ 83531 w 461465"/>
                <a:gd name="connsiteY17" fmla="*/ 1504504 h 3532494"/>
                <a:gd name="connsiteX18" fmla="*/ 118959 w 461465"/>
                <a:gd name="connsiteY18" fmla="*/ 1511404 h 3532494"/>
                <a:gd name="connsiteX19" fmla="*/ 380039 w 461465"/>
                <a:gd name="connsiteY19" fmla="*/ 1660664 h 3532494"/>
                <a:gd name="connsiteX20" fmla="*/ 380040 w 461465"/>
                <a:gd name="connsiteY20" fmla="*/ 21262 h 3532494"/>
                <a:gd name="connsiteX21" fmla="*/ 380039 w 461465"/>
                <a:gd name="connsiteY21" fmla="*/ 21260 h 3532494"/>
                <a:gd name="connsiteX0" fmla="*/ 460190 w 461465"/>
                <a:gd name="connsiteY0" fmla="*/ 0 h 3532494"/>
                <a:gd name="connsiteX1" fmla="*/ 461465 w 461465"/>
                <a:gd name="connsiteY1" fmla="*/ 1737904 h 3532494"/>
                <a:gd name="connsiteX2" fmla="*/ 368413 w 461465"/>
                <a:gd name="connsiteY2" fmla="*/ 1746220 h 3532494"/>
                <a:gd name="connsiteX3" fmla="*/ 97349 w 461465"/>
                <a:gd name="connsiteY3" fmla="*/ 1590854 h 3532494"/>
                <a:gd name="connsiteX4" fmla="*/ 97280 w 461465"/>
                <a:gd name="connsiteY4" fmla="*/ 1590775 h 3532494"/>
                <a:gd name="connsiteX5" fmla="*/ 92813 w 461465"/>
                <a:gd name="connsiteY5" fmla="*/ 1592029 h 3532494"/>
                <a:gd name="connsiteX6" fmla="*/ 84213 w 461465"/>
                <a:gd name="connsiteY6" fmla="*/ 1612561 h 3532494"/>
                <a:gd name="connsiteX7" fmla="*/ 84212 w 461465"/>
                <a:gd name="connsiteY7" fmla="*/ 1718701 h 3532494"/>
                <a:gd name="connsiteX8" fmla="*/ 83126 w 461465"/>
                <a:gd name="connsiteY8" fmla="*/ 1720242 h 3532494"/>
                <a:gd name="connsiteX9" fmla="*/ 83125 w 461465"/>
                <a:gd name="connsiteY9" fmla="*/ 3503466 h 3532494"/>
                <a:gd name="connsiteX10" fmla="*/ 42412 w 461465"/>
                <a:gd name="connsiteY10" fmla="*/ 3532494 h 3532494"/>
                <a:gd name="connsiteX11" fmla="*/ 1699 w 461465"/>
                <a:gd name="connsiteY11" fmla="*/ 3503466 h 3532494"/>
                <a:gd name="connsiteX12" fmla="*/ 1700 w 461465"/>
                <a:gd name="connsiteY12" fmla="*/ 1718903 h 3532494"/>
                <a:gd name="connsiteX13" fmla="*/ 1631 w 461465"/>
                <a:gd name="connsiteY13" fmla="*/ 1718701 h 3532494"/>
                <a:gd name="connsiteX14" fmla="*/ 913 w 461465"/>
                <a:gd name="connsiteY14" fmla="*/ 1603527 h 3532494"/>
                <a:gd name="connsiteX15" fmla="*/ 12307 w 461465"/>
                <a:gd name="connsiteY15" fmla="*/ 1547339 h 3532494"/>
                <a:gd name="connsiteX16" fmla="*/ 43276 w 461465"/>
                <a:gd name="connsiteY16" fmla="*/ 1514018 h 3532494"/>
                <a:gd name="connsiteX17" fmla="*/ 83531 w 461465"/>
                <a:gd name="connsiteY17" fmla="*/ 1504504 h 3532494"/>
                <a:gd name="connsiteX18" fmla="*/ 118959 w 461465"/>
                <a:gd name="connsiteY18" fmla="*/ 1511404 h 3532494"/>
                <a:gd name="connsiteX19" fmla="*/ 380039 w 461465"/>
                <a:gd name="connsiteY19" fmla="*/ 1660664 h 3532494"/>
                <a:gd name="connsiteX20" fmla="*/ 380040 w 461465"/>
                <a:gd name="connsiteY20" fmla="*/ 21262 h 3532494"/>
                <a:gd name="connsiteX21" fmla="*/ 380039 w 461465"/>
                <a:gd name="connsiteY21" fmla="*/ 21260 h 3532494"/>
                <a:gd name="connsiteX0" fmla="*/ 460190 w 461465"/>
                <a:gd name="connsiteY0" fmla="*/ 0 h 3532494"/>
                <a:gd name="connsiteX1" fmla="*/ 461465 w 461465"/>
                <a:gd name="connsiteY1" fmla="*/ 1737904 h 3532494"/>
                <a:gd name="connsiteX2" fmla="*/ 368413 w 461465"/>
                <a:gd name="connsiteY2" fmla="*/ 1746220 h 3532494"/>
                <a:gd name="connsiteX3" fmla="*/ 97349 w 461465"/>
                <a:gd name="connsiteY3" fmla="*/ 1590854 h 3532494"/>
                <a:gd name="connsiteX4" fmla="*/ 97280 w 461465"/>
                <a:gd name="connsiteY4" fmla="*/ 1590775 h 3532494"/>
                <a:gd name="connsiteX5" fmla="*/ 92813 w 461465"/>
                <a:gd name="connsiteY5" fmla="*/ 1592029 h 3532494"/>
                <a:gd name="connsiteX6" fmla="*/ 84213 w 461465"/>
                <a:gd name="connsiteY6" fmla="*/ 1612561 h 3532494"/>
                <a:gd name="connsiteX7" fmla="*/ 84212 w 461465"/>
                <a:gd name="connsiteY7" fmla="*/ 1718701 h 3532494"/>
                <a:gd name="connsiteX8" fmla="*/ 83126 w 461465"/>
                <a:gd name="connsiteY8" fmla="*/ 1720242 h 3532494"/>
                <a:gd name="connsiteX9" fmla="*/ 83125 w 461465"/>
                <a:gd name="connsiteY9" fmla="*/ 3503466 h 3532494"/>
                <a:gd name="connsiteX10" fmla="*/ 42412 w 461465"/>
                <a:gd name="connsiteY10" fmla="*/ 3532494 h 3532494"/>
                <a:gd name="connsiteX11" fmla="*/ 1699 w 461465"/>
                <a:gd name="connsiteY11" fmla="*/ 3503466 h 3532494"/>
                <a:gd name="connsiteX12" fmla="*/ 1700 w 461465"/>
                <a:gd name="connsiteY12" fmla="*/ 1718903 h 3532494"/>
                <a:gd name="connsiteX13" fmla="*/ 1631 w 461465"/>
                <a:gd name="connsiteY13" fmla="*/ 1718701 h 3532494"/>
                <a:gd name="connsiteX14" fmla="*/ 913 w 461465"/>
                <a:gd name="connsiteY14" fmla="*/ 1603527 h 3532494"/>
                <a:gd name="connsiteX15" fmla="*/ 12307 w 461465"/>
                <a:gd name="connsiteY15" fmla="*/ 1547339 h 3532494"/>
                <a:gd name="connsiteX16" fmla="*/ 43276 w 461465"/>
                <a:gd name="connsiteY16" fmla="*/ 1514018 h 3532494"/>
                <a:gd name="connsiteX17" fmla="*/ 83531 w 461465"/>
                <a:gd name="connsiteY17" fmla="*/ 1504504 h 3532494"/>
                <a:gd name="connsiteX18" fmla="*/ 118959 w 461465"/>
                <a:gd name="connsiteY18" fmla="*/ 1511404 h 3532494"/>
                <a:gd name="connsiteX19" fmla="*/ 380039 w 461465"/>
                <a:gd name="connsiteY19" fmla="*/ 1660664 h 3532494"/>
                <a:gd name="connsiteX20" fmla="*/ 380040 w 461465"/>
                <a:gd name="connsiteY20" fmla="*/ 21262 h 3532494"/>
                <a:gd name="connsiteX21" fmla="*/ 380039 w 461465"/>
                <a:gd name="connsiteY21" fmla="*/ 21260 h 3532494"/>
                <a:gd name="connsiteX0" fmla="*/ 460190 w 461380"/>
                <a:gd name="connsiteY0" fmla="*/ 0 h 3532494"/>
                <a:gd name="connsiteX1" fmla="*/ 461380 w 461380"/>
                <a:gd name="connsiteY1" fmla="*/ 1718706 h 3532494"/>
                <a:gd name="connsiteX2" fmla="*/ 368413 w 461380"/>
                <a:gd name="connsiteY2" fmla="*/ 1746220 h 3532494"/>
                <a:gd name="connsiteX3" fmla="*/ 97349 w 461380"/>
                <a:gd name="connsiteY3" fmla="*/ 1590854 h 3532494"/>
                <a:gd name="connsiteX4" fmla="*/ 97280 w 461380"/>
                <a:gd name="connsiteY4" fmla="*/ 1590775 h 3532494"/>
                <a:gd name="connsiteX5" fmla="*/ 92813 w 461380"/>
                <a:gd name="connsiteY5" fmla="*/ 1592029 h 3532494"/>
                <a:gd name="connsiteX6" fmla="*/ 84213 w 461380"/>
                <a:gd name="connsiteY6" fmla="*/ 1612561 h 3532494"/>
                <a:gd name="connsiteX7" fmla="*/ 84212 w 461380"/>
                <a:gd name="connsiteY7" fmla="*/ 1718701 h 3532494"/>
                <a:gd name="connsiteX8" fmla="*/ 83126 w 461380"/>
                <a:gd name="connsiteY8" fmla="*/ 1720242 h 3532494"/>
                <a:gd name="connsiteX9" fmla="*/ 83125 w 461380"/>
                <a:gd name="connsiteY9" fmla="*/ 3503466 h 3532494"/>
                <a:gd name="connsiteX10" fmla="*/ 42412 w 461380"/>
                <a:gd name="connsiteY10" fmla="*/ 3532494 h 3532494"/>
                <a:gd name="connsiteX11" fmla="*/ 1699 w 461380"/>
                <a:gd name="connsiteY11" fmla="*/ 3503466 h 3532494"/>
                <a:gd name="connsiteX12" fmla="*/ 1700 w 461380"/>
                <a:gd name="connsiteY12" fmla="*/ 1718903 h 3532494"/>
                <a:gd name="connsiteX13" fmla="*/ 1631 w 461380"/>
                <a:gd name="connsiteY13" fmla="*/ 1718701 h 3532494"/>
                <a:gd name="connsiteX14" fmla="*/ 913 w 461380"/>
                <a:gd name="connsiteY14" fmla="*/ 1603527 h 3532494"/>
                <a:gd name="connsiteX15" fmla="*/ 12307 w 461380"/>
                <a:gd name="connsiteY15" fmla="*/ 1547339 h 3532494"/>
                <a:gd name="connsiteX16" fmla="*/ 43276 w 461380"/>
                <a:gd name="connsiteY16" fmla="*/ 1514018 h 3532494"/>
                <a:gd name="connsiteX17" fmla="*/ 83531 w 461380"/>
                <a:gd name="connsiteY17" fmla="*/ 1504504 h 3532494"/>
                <a:gd name="connsiteX18" fmla="*/ 118959 w 461380"/>
                <a:gd name="connsiteY18" fmla="*/ 1511404 h 3532494"/>
                <a:gd name="connsiteX19" fmla="*/ 380039 w 461380"/>
                <a:gd name="connsiteY19" fmla="*/ 1660664 h 3532494"/>
                <a:gd name="connsiteX20" fmla="*/ 380040 w 461380"/>
                <a:gd name="connsiteY20" fmla="*/ 21262 h 3532494"/>
                <a:gd name="connsiteX21" fmla="*/ 380039 w 461380"/>
                <a:gd name="connsiteY21" fmla="*/ 21260 h 3532494"/>
                <a:gd name="connsiteX0" fmla="*/ 460190 w 461380"/>
                <a:gd name="connsiteY0" fmla="*/ 0 h 3532494"/>
                <a:gd name="connsiteX1" fmla="*/ 461380 w 461380"/>
                <a:gd name="connsiteY1" fmla="*/ 1718706 h 3532494"/>
                <a:gd name="connsiteX2" fmla="*/ 368413 w 461380"/>
                <a:gd name="connsiteY2" fmla="*/ 1746220 h 3532494"/>
                <a:gd name="connsiteX3" fmla="*/ 97349 w 461380"/>
                <a:gd name="connsiteY3" fmla="*/ 1590854 h 3532494"/>
                <a:gd name="connsiteX4" fmla="*/ 97280 w 461380"/>
                <a:gd name="connsiteY4" fmla="*/ 1590775 h 3532494"/>
                <a:gd name="connsiteX5" fmla="*/ 92813 w 461380"/>
                <a:gd name="connsiteY5" fmla="*/ 1592029 h 3532494"/>
                <a:gd name="connsiteX6" fmla="*/ 84213 w 461380"/>
                <a:gd name="connsiteY6" fmla="*/ 1612561 h 3532494"/>
                <a:gd name="connsiteX7" fmla="*/ 84212 w 461380"/>
                <a:gd name="connsiteY7" fmla="*/ 1718701 h 3532494"/>
                <a:gd name="connsiteX8" fmla="*/ 83126 w 461380"/>
                <a:gd name="connsiteY8" fmla="*/ 1720242 h 3532494"/>
                <a:gd name="connsiteX9" fmla="*/ 83125 w 461380"/>
                <a:gd name="connsiteY9" fmla="*/ 3503466 h 3532494"/>
                <a:gd name="connsiteX10" fmla="*/ 42412 w 461380"/>
                <a:gd name="connsiteY10" fmla="*/ 3532494 h 3532494"/>
                <a:gd name="connsiteX11" fmla="*/ 1699 w 461380"/>
                <a:gd name="connsiteY11" fmla="*/ 3503466 h 3532494"/>
                <a:gd name="connsiteX12" fmla="*/ 1700 w 461380"/>
                <a:gd name="connsiteY12" fmla="*/ 1718903 h 3532494"/>
                <a:gd name="connsiteX13" fmla="*/ 1631 w 461380"/>
                <a:gd name="connsiteY13" fmla="*/ 1718701 h 3532494"/>
                <a:gd name="connsiteX14" fmla="*/ 913 w 461380"/>
                <a:gd name="connsiteY14" fmla="*/ 1603527 h 3532494"/>
                <a:gd name="connsiteX15" fmla="*/ 12307 w 461380"/>
                <a:gd name="connsiteY15" fmla="*/ 1547339 h 3532494"/>
                <a:gd name="connsiteX16" fmla="*/ 43276 w 461380"/>
                <a:gd name="connsiteY16" fmla="*/ 1514018 h 3532494"/>
                <a:gd name="connsiteX17" fmla="*/ 83531 w 461380"/>
                <a:gd name="connsiteY17" fmla="*/ 1504504 h 3532494"/>
                <a:gd name="connsiteX18" fmla="*/ 118959 w 461380"/>
                <a:gd name="connsiteY18" fmla="*/ 1511404 h 3532494"/>
                <a:gd name="connsiteX19" fmla="*/ 380039 w 461380"/>
                <a:gd name="connsiteY19" fmla="*/ 1660664 h 3532494"/>
                <a:gd name="connsiteX20" fmla="*/ 380040 w 461380"/>
                <a:gd name="connsiteY20" fmla="*/ 21262 h 3532494"/>
                <a:gd name="connsiteX21" fmla="*/ 380039 w 461380"/>
                <a:gd name="connsiteY21" fmla="*/ 21260 h 3532494"/>
                <a:gd name="connsiteX0" fmla="*/ 460190 w 461380"/>
                <a:gd name="connsiteY0" fmla="*/ 0 h 3532494"/>
                <a:gd name="connsiteX1" fmla="*/ 461380 w 461380"/>
                <a:gd name="connsiteY1" fmla="*/ 1718706 h 3532494"/>
                <a:gd name="connsiteX2" fmla="*/ 368413 w 461380"/>
                <a:gd name="connsiteY2" fmla="*/ 1746220 h 3532494"/>
                <a:gd name="connsiteX3" fmla="*/ 97349 w 461380"/>
                <a:gd name="connsiteY3" fmla="*/ 1590854 h 3532494"/>
                <a:gd name="connsiteX4" fmla="*/ 97280 w 461380"/>
                <a:gd name="connsiteY4" fmla="*/ 1590775 h 3532494"/>
                <a:gd name="connsiteX5" fmla="*/ 92813 w 461380"/>
                <a:gd name="connsiteY5" fmla="*/ 1592029 h 3532494"/>
                <a:gd name="connsiteX6" fmla="*/ 84213 w 461380"/>
                <a:gd name="connsiteY6" fmla="*/ 1612561 h 3532494"/>
                <a:gd name="connsiteX7" fmla="*/ 84212 w 461380"/>
                <a:gd name="connsiteY7" fmla="*/ 1718701 h 3532494"/>
                <a:gd name="connsiteX8" fmla="*/ 83126 w 461380"/>
                <a:gd name="connsiteY8" fmla="*/ 1720242 h 3532494"/>
                <a:gd name="connsiteX9" fmla="*/ 83125 w 461380"/>
                <a:gd name="connsiteY9" fmla="*/ 3503466 h 3532494"/>
                <a:gd name="connsiteX10" fmla="*/ 42412 w 461380"/>
                <a:gd name="connsiteY10" fmla="*/ 3532494 h 3532494"/>
                <a:gd name="connsiteX11" fmla="*/ 1699 w 461380"/>
                <a:gd name="connsiteY11" fmla="*/ 3503466 h 3532494"/>
                <a:gd name="connsiteX12" fmla="*/ 1700 w 461380"/>
                <a:gd name="connsiteY12" fmla="*/ 1718903 h 3532494"/>
                <a:gd name="connsiteX13" fmla="*/ 1631 w 461380"/>
                <a:gd name="connsiteY13" fmla="*/ 1718701 h 3532494"/>
                <a:gd name="connsiteX14" fmla="*/ 913 w 461380"/>
                <a:gd name="connsiteY14" fmla="*/ 1603527 h 3532494"/>
                <a:gd name="connsiteX15" fmla="*/ 12307 w 461380"/>
                <a:gd name="connsiteY15" fmla="*/ 1547339 h 3532494"/>
                <a:gd name="connsiteX16" fmla="*/ 43276 w 461380"/>
                <a:gd name="connsiteY16" fmla="*/ 1514018 h 3532494"/>
                <a:gd name="connsiteX17" fmla="*/ 83531 w 461380"/>
                <a:gd name="connsiteY17" fmla="*/ 1504504 h 3532494"/>
                <a:gd name="connsiteX18" fmla="*/ 118959 w 461380"/>
                <a:gd name="connsiteY18" fmla="*/ 1511404 h 3532494"/>
                <a:gd name="connsiteX19" fmla="*/ 380039 w 461380"/>
                <a:gd name="connsiteY19" fmla="*/ 1660664 h 3532494"/>
                <a:gd name="connsiteX20" fmla="*/ 380040 w 461380"/>
                <a:gd name="connsiteY20" fmla="*/ 21262 h 3532494"/>
                <a:gd name="connsiteX21" fmla="*/ 377339 w 461380"/>
                <a:gd name="connsiteY21" fmla="*/ 11820 h 353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1380" h="3532494">
                  <a:moveTo>
                    <a:pt x="460190" y="0"/>
                  </a:moveTo>
                  <a:cubicBezTo>
                    <a:pt x="460190" y="572215"/>
                    <a:pt x="460742" y="849754"/>
                    <a:pt x="461380" y="1718706"/>
                  </a:cubicBezTo>
                  <a:cubicBezTo>
                    <a:pt x="460628" y="1760296"/>
                    <a:pt x="405089" y="1773592"/>
                    <a:pt x="368413" y="1746220"/>
                  </a:cubicBezTo>
                  <a:lnTo>
                    <a:pt x="97349" y="1590854"/>
                  </a:lnTo>
                  <a:cubicBezTo>
                    <a:pt x="97326" y="1590828"/>
                    <a:pt x="97303" y="1590801"/>
                    <a:pt x="97280" y="1590775"/>
                  </a:cubicBezTo>
                  <a:lnTo>
                    <a:pt x="92813" y="1592029"/>
                  </a:lnTo>
                  <a:cubicBezTo>
                    <a:pt x="90635" y="1595660"/>
                    <a:pt x="85646" y="1591449"/>
                    <a:pt x="84213" y="1612561"/>
                  </a:cubicBezTo>
                  <a:cubicBezTo>
                    <a:pt x="84212" y="1647941"/>
                    <a:pt x="84212" y="1683321"/>
                    <a:pt x="84212" y="1718701"/>
                  </a:cubicBezTo>
                  <a:lnTo>
                    <a:pt x="83126" y="1720242"/>
                  </a:lnTo>
                  <a:cubicBezTo>
                    <a:pt x="83126" y="2314650"/>
                    <a:pt x="83125" y="2909058"/>
                    <a:pt x="83125" y="3503466"/>
                  </a:cubicBezTo>
                  <a:cubicBezTo>
                    <a:pt x="83125" y="3519498"/>
                    <a:pt x="64897" y="3532494"/>
                    <a:pt x="42412" y="3532494"/>
                  </a:cubicBezTo>
                  <a:cubicBezTo>
                    <a:pt x="19927" y="3532494"/>
                    <a:pt x="1699" y="3519498"/>
                    <a:pt x="1699" y="3503466"/>
                  </a:cubicBezTo>
                  <a:cubicBezTo>
                    <a:pt x="1699" y="2908612"/>
                    <a:pt x="1700" y="2313757"/>
                    <a:pt x="1700" y="1718903"/>
                  </a:cubicBezTo>
                  <a:cubicBezTo>
                    <a:pt x="1677" y="1718836"/>
                    <a:pt x="1654" y="1718768"/>
                    <a:pt x="1631" y="1718701"/>
                  </a:cubicBezTo>
                  <a:cubicBezTo>
                    <a:pt x="971" y="1697930"/>
                    <a:pt x="-1224" y="1631468"/>
                    <a:pt x="913" y="1603527"/>
                  </a:cubicBezTo>
                  <a:cubicBezTo>
                    <a:pt x="3505" y="1586313"/>
                    <a:pt x="5246" y="1562257"/>
                    <a:pt x="12307" y="1547339"/>
                  </a:cubicBezTo>
                  <a:cubicBezTo>
                    <a:pt x="19367" y="1532421"/>
                    <a:pt x="34281" y="1519818"/>
                    <a:pt x="43276" y="1514018"/>
                  </a:cubicBezTo>
                  <a:cubicBezTo>
                    <a:pt x="59783" y="1506958"/>
                    <a:pt x="70917" y="1504940"/>
                    <a:pt x="83531" y="1504504"/>
                  </a:cubicBezTo>
                  <a:cubicBezTo>
                    <a:pt x="96146" y="1504068"/>
                    <a:pt x="107293" y="1507136"/>
                    <a:pt x="118959" y="1511404"/>
                  </a:cubicBezTo>
                  <a:lnTo>
                    <a:pt x="380039" y="1660664"/>
                  </a:lnTo>
                  <a:cubicBezTo>
                    <a:pt x="380039" y="1114197"/>
                    <a:pt x="380040" y="567729"/>
                    <a:pt x="380040" y="21262"/>
                  </a:cubicBezTo>
                  <a:cubicBezTo>
                    <a:pt x="380040" y="21261"/>
                    <a:pt x="377339" y="11821"/>
                    <a:pt x="377339" y="11820"/>
                  </a:cubicBezTo>
                </a:path>
              </a:pathLst>
            </a:cu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sp>
        <p:nvSpPr>
          <p:cNvPr id="1067" name="Cylinder 1066">
            <a:extLst>
              <a:ext uri="{FF2B5EF4-FFF2-40B4-BE49-F238E27FC236}">
                <a16:creationId xmlns:a16="http://schemas.microsoft.com/office/drawing/2014/main" id="{FD85C574-B025-4DBD-9582-5C5DE8896428}"/>
              </a:ext>
            </a:extLst>
          </p:cNvPr>
          <p:cNvSpPr/>
          <p:nvPr/>
        </p:nvSpPr>
        <p:spPr bwMode="gray">
          <a:xfrm rot="18000000" flipH="1" flipV="1">
            <a:off x="9119437" y="4502744"/>
            <a:ext cx="81425" cy="250314"/>
          </a:xfrm>
          <a:prstGeom prst="can">
            <a:avLst>
              <a:gd name="adj" fmla="val 71299"/>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nvGrpSpPr>
          <p:cNvPr id="752" name="Group 751">
            <a:extLst>
              <a:ext uri="{FF2B5EF4-FFF2-40B4-BE49-F238E27FC236}">
                <a16:creationId xmlns:a16="http://schemas.microsoft.com/office/drawing/2014/main" id="{D1C6319A-F56B-4196-884B-070BACE257CF}"/>
              </a:ext>
            </a:extLst>
          </p:cNvPr>
          <p:cNvGrpSpPr>
            <a:grpSpLocks noChangeAspect="1"/>
          </p:cNvGrpSpPr>
          <p:nvPr/>
        </p:nvGrpSpPr>
        <p:grpSpPr bwMode="gray">
          <a:xfrm>
            <a:off x="9443421" y="2555380"/>
            <a:ext cx="510087" cy="1052623"/>
            <a:chOff x="11328335" y="-4317835"/>
            <a:chExt cx="4668701" cy="9634382"/>
          </a:xfrm>
        </p:grpSpPr>
        <p:sp>
          <p:nvSpPr>
            <p:cNvPr id="757" name="Freeform: Shape 756">
              <a:extLst>
                <a:ext uri="{FF2B5EF4-FFF2-40B4-BE49-F238E27FC236}">
                  <a16:creationId xmlns:a16="http://schemas.microsoft.com/office/drawing/2014/main" id="{5E4B40AB-1644-491E-8CE0-AFF213DFBFA3}"/>
                </a:ext>
              </a:extLst>
            </p:cNvPr>
            <p:cNvSpPr/>
            <p:nvPr/>
          </p:nvSpPr>
          <p:spPr bwMode="gray">
            <a:xfrm>
              <a:off x="11328340" y="-2436351"/>
              <a:ext cx="4668696" cy="7752898"/>
            </a:xfrm>
            <a:custGeom>
              <a:avLst/>
              <a:gdLst>
                <a:gd name="connsiteX0" fmla="*/ 0 w 4668696"/>
                <a:gd name="connsiteY0" fmla="*/ 0 h 7752898"/>
                <a:gd name="connsiteX1" fmla="*/ 2334351 w 4668696"/>
                <a:gd name="connsiteY1" fmla="*/ 1360996 h 7752898"/>
                <a:gd name="connsiteX2" fmla="*/ 4668696 w 4668696"/>
                <a:gd name="connsiteY2" fmla="*/ 0 h 7752898"/>
                <a:gd name="connsiteX3" fmla="*/ 4668696 w 4668696"/>
                <a:gd name="connsiteY3" fmla="*/ 518590 h 7752898"/>
                <a:gd name="connsiteX4" fmla="*/ 4668696 w 4668696"/>
                <a:gd name="connsiteY4" fmla="*/ 1183985 h 7752898"/>
                <a:gd name="connsiteX5" fmla="*/ 4668696 w 4668696"/>
                <a:gd name="connsiteY5" fmla="*/ 1359877 h 7752898"/>
                <a:gd name="connsiteX6" fmla="*/ 4668696 w 4668696"/>
                <a:gd name="connsiteY6" fmla="*/ 1416060 h 7752898"/>
                <a:gd name="connsiteX7" fmla="*/ 4668696 w 4668696"/>
                <a:gd name="connsiteY7" fmla="*/ 1878467 h 7752898"/>
                <a:gd name="connsiteX8" fmla="*/ 4668696 w 4668696"/>
                <a:gd name="connsiteY8" fmla="*/ 2543862 h 7752898"/>
                <a:gd name="connsiteX9" fmla="*/ 4668696 w 4668696"/>
                <a:gd name="connsiteY9" fmla="*/ 2775937 h 7752898"/>
                <a:gd name="connsiteX10" fmla="*/ 4668696 w 4668696"/>
                <a:gd name="connsiteY10" fmla="*/ 4513435 h 7752898"/>
                <a:gd name="connsiteX11" fmla="*/ 4668696 w 4668696"/>
                <a:gd name="connsiteY11" fmla="*/ 5032025 h 7752898"/>
                <a:gd name="connsiteX12" fmla="*/ 4668696 w 4668696"/>
                <a:gd name="connsiteY12" fmla="*/ 5873312 h 7752898"/>
                <a:gd name="connsiteX13" fmla="*/ 4668696 w 4668696"/>
                <a:gd name="connsiteY13" fmla="*/ 6391902 h 7752898"/>
                <a:gd name="connsiteX14" fmla="*/ 2334351 w 4668696"/>
                <a:gd name="connsiteY14" fmla="*/ 7752898 h 7752898"/>
                <a:gd name="connsiteX15" fmla="*/ 0 w 4668696"/>
                <a:gd name="connsiteY15" fmla="*/ 6391902 h 7752898"/>
                <a:gd name="connsiteX16" fmla="*/ 0 w 4668696"/>
                <a:gd name="connsiteY16" fmla="*/ 5873312 h 7752898"/>
                <a:gd name="connsiteX17" fmla="*/ 0 w 4668696"/>
                <a:gd name="connsiteY17" fmla="*/ 5032025 h 7752898"/>
                <a:gd name="connsiteX18" fmla="*/ 0 w 4668696"/>
                <a:gd name="connsiteY18" fmla="*/ 4513435 h 7752898"/>
                <a:gd name="connsiteX19" fmla="*/ 0 w 4668696"/>
                <a:gd name="connsiteY19" fmla="*/ 2775937 h 7752898"/>
                <a:gd name="connsiteX20" fmla="*/ 0 w 4668696"/>
                <a:gd name="connsiteY20" fmla="*/ 2543862 h 7752898"/>
                <a:gd name="connsiteX21" fmla="*/ 0 w 4668696"/>
                <a:gd name="connsiteY21" fmla="*/ 1878467 h 7752898"/>
                <a:gd name="connsiteX22" fmla="*/ 0 w 4668696"/>
                <a:gd name="connsiteY22" fmla="*/ 1416060 h 7752898"/>
                <a:gd name="connsiteX23" fmla="*/ 0 w 4668696"/>
                <a:gd name="connsiteY23" fmla="*/ 1359877 h 7752898"/>
                <a:gd name="connsiteX24" fmla="*/ 0 w 4668696"/>
                <a:gd name="connsiteY24" fmla="*/ 1183985 h 7752898"/>
                <a:gd name="connsiteX25" fmla="*/ 0 w 4668696"/>
                <a:gd name="connsiteY25" fmla="*/ 518590 h 775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68696" h="7752898">
                  <a:moveTo>
                    <a:pt x="0" y="0"/>
                  </a:moveTo>
                  <a:cubicBezTo>
                    <a:pt x="0" y="751661"/>
                    <a:pt x="1045123" y="1360996"/>
                    <a:pt x="2334351" y="1360996"/>
                  </a:cubicBezTo>
                  <a:cubicBezTo>
                    <a:pt x="3623580" y="1360996"/>
                    <a:pt x="4668696" y="751661"/>
                    <a:pt x="4668696" y="0"/>
                  </a:cubicBezTo>
                  <a:lnTo>
                    <a:pt x="4668696" y="518590"/>
                  </a:lnTo>
                  <a:lnTo>
                    <a:pt x="4668696" y="1183985"/>
                  </a:lnTo>
                  <a:lnTo>
                    <a:pt x="4668696" y="1359877"/>
                  </a:lnTo>
                  <a:lnTo>
                    <a:pt x="4668696" y="1416060"/>
                  </a:lnTo>
                  <a:lnTo>
                    <a:pt x="4668696" y="1878467"/>
                  </a:lnTo>
                  <a:lnTo>
                    <a:pt x="4668696" y="2543862"/>
                  </a:lnTo>
                  <a:lnTo>
                    <a:pt x="4668696" y="2775937"/>
                  </a:lnTo>
                  <a:lnTo>
                    <a:pt x="4668696" y="4513435"/>
                  </a:lnTo>
                  <a:lnTo>
                    <a:pt x="4668696" y="5032025"/>
                  </a:lnTo>
                  <a:lnTo>
                    <a:pt x="4668696" y="5873312"/>
                  </a:lnTo>
                  <a:lnTo>
                    <a:pt x="4668696" y="6391902"/>
                  </a:lnTo>
                  <a:cubicBezTo>
                    <a:pt x="4668696" y="7143563"/>
                    <a:pt x="3623580" y="7752898"/>
                    <a:pt x="2334351" y="7752898"/>
                  </a:cubicBezTo>
                  <a:cubicBezTo>
                    <a:pt x="1045123" y="7752898"/>
                    <a:pt x="0" y="7143563"/>
                    <a:pt x="0" y="6391902"/>
                  </a:cubicBezTo>
                  <a:lnTo>
                    <a:pt x="0" y="5873312"/>
                  </a:lnTo>
                  <a:lnTo>
                    <a:pt x="0" y="5032025"/>
                  </a:lnTo>
                  <a:lnTo>
                    <a:pt x="0" y="4513435"/>
                  </a:lnTo>
                  <a:lnTo>
                    <a:pt x="0" y="2775937"/>
                  </a:lnTo>
                  <a:lnTo>
                    <a:pt x="0" y="2543862"/>
                  </a:lnTo>
                  <a:lnTo>
                    <a:pt x="0" y="1878467"/>
                  </a:lnTo>
                  <a:lnTo>
                    <a:pt x="0" y="1416060"/>
                  </a:lnTo>
                  <a:lnTo>
                    <a:pt x="0" y="1359877"/>
                  </a:lnTo>
                  <a:lnTo>
                    <a:pt x="0" y="1183985"/>
                  </a:lnTo>
                  <a:lnTo>
                    <a:pt x="0" y="51859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58" name="Oval 386">
              <a:extLst>
                <a:ext uri="{FF2B5EF4-FFF2-40B4-BE49-F238E27FC236}">
                  <a16:creationId xmlns:a16="http://schemas.microsoft.com/office/drawing/2014/main" id="{F370ABE5-5A1E-4451-86F8-4CDA2F57ABB8}"/>
                </a:ext>
              </a:extLst>
            </p:cNvPr>
            <p:cNvSpPr/>
            <p:nvPr/>
          </p:nvSpPr>
          <p:spPr bwMode="gray">
            <a:xfrm>
              <a:off x="11328335" y="-4317835"/>
              <a:ext cx="4668701" cy="3260985"/>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787" name="Group 786">
            <a:extLst>
              <a:ext uri="{FF2B5EF4-FFF2-40B4-BE49-F238E27FC236}">
                <a16:creationId xmlns:a16="http://schemas.microsoft.com/office/drawing/2014/main" id="{252D2E80-5585-4A04-ADAA-7BA40DA068FE}"/>
              </a:ext>
            </a:extLst>
          </p:cNvPr>
          <p:cNvGrpSpPr/>
          <p:nvPr/>
        </p:nvGrpSpPr>
        <p:grpSpPr bwMode="gray">
          <a:xfrm>
            <a:off x="9853497" y="2621032"/>
            <a:ext cx="811547" cy="1075325"/>
            <a:chOff x="-3475322" y="-510357"/>
            <a:chExt cx="4020484" cy="5327268"/>
          </a:xfrm>
        </p:grpSpPr>
        <p:sp>
          <p:nvSpPr>
            <p:cNvPr id="788" name="Freeform: Shape 787">
              <a:extLst>
                <a:ext uri="{FF2B5EF4-FFF2-40B4-BE49-F238E27FC236}">
                  <a16:creationId xmlns:a16="http://schemas.microsoft.com/office/drawing/2014/main" id="{44A61FAA-21F2-4287-9A81-021912A76424}"/>
                </a:ext>
              </a:extLst>
            </p:cNvPr>
            <p:cNvSpPr/>
            <p:nvPr/>
          </p:nvSpPr>
          <p:spPr bwMode="gray">
            <a:xfrm flipH="1" flipV="1">
              <a:off x="-3473360" y="-510357"/>
              <a:ext cx="4010061" cy="5285287"/>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206180 w 4212730"/>
                <a:gd name="connsiteY9" fmla="*/ 2392022 h 5285288"/>
                <a:gd name="connsiteX10" fmla="*/ 407391 w 4212730"/>
                <a:gd name="connsiteY10" fmla="*/ 2508175 h 5285288"/>
                <a:gd name="connsiteX11" fmla="*/ 406100 w 4212730"/>
                <a:gd name="connsiteY11" fmla="*/ 2572658 h 5285288"/>
                <a:gd name="connsiteX12" fmla="*/ 409165 w 4212730"/>
                <a:gd name="connsiteY12" fmla="*/ 3888049 h 5285288"/>
                <a:gd name="connsiteX13" fmla="*/ 407598 w 4212730"/>
                <a:gd name="connsiteY13" fmla="*/ 3881457 h 5285288"/>
                <a:gd name="connsiteX14" fmla="*/ 407517 w 4212730"/>
                <a:gd name="connsiteY14" fmla="*/ 3894265 h 5285288"/>
                <a:gd name="connsiteX15" fmla="*/ 464772 w 4212730"/>
                <a:gd name="connsiteY15" fmla="*/ 3993435 h 5285288"/>
                <a:gd name="connsiteX16" fmla="*/ 1965744 w 4212730"/>
                <a:gd name="connsiteY16" fmla="*/ 4865353 h 5285288"/>
                <a:gd name="connsiteX17" fmla="*/ 1966088 w 4212730"/>
                <a:gd name="connsiteY17" fmla="*/ 4865745 h 5285288"/>
                <a:gd name="connsiteX18" fmla="*/ 1988129 w 4212730"/>
                <a:gd name="connsiteY18" fmla="*/ 4859558 h 5285288"/>
                <a:gd name="connsiteX19" fmla="*/ 2034209 w 4212730"/>
                <a:gd name="connsiteY19" fmla="*/ 4799004 h 5285288"/>
                <a:gd name="connsiteX20" fmla="*/ 2036053 w 4212730"/>
                <a:gd name="connsiteY20" fmla="*/ 4105978 h 5285288"/>
                <a:gd name="connsiteX21" fmla="*/ 2038324 w 4212730"/>
                <a:gd name="connsiteY21" fmla="*/ 1054770 h 5285288"/>
                <a:gd name="connsiteX22" fmla="*/ 2037139 w 4212730"/>
                <a:gd name="connsiteY22" fmla="*/ 1017192 h 5285288"/>
                <a:gd name="connsiteX23" fmla="*/ 2035104 w 4212730"/>
                <a:gd name="connsiteY23" fmla="*/ 494424 h 5285288"/>
                <a:gd name="connsiteX24" fmla="*/ 2080595 w 4212730"/>
                <a:gd name="connsiteY24" fmla="*/ 171698 h 5285288"/>
                <a:gd name="connsiteX25" fmla="*/ 2245202 w 4212730"/>
                <a:gd name="connsiteY25" fmla="*/ 25112 h 5285288"/>
                <a:gd name="connsiteX26" fmla="*/ 2444848 w 4212730"/>
                <a:gd name="connsiteY26" fmla="*/ 3326 h 5285288"/>
                <a:gd name="connsiteX27" fmla="*/ 2620552 w 4212730"/>
                <a:gd name="connsiteY27" fmla="*/ 37548 h 5285288"/>
                <a:gd name="connsiteX28" fmla="*/ 4171705 w 4212730"/>
                <a:gd name="connsiteY28" fmla="*/ 924343 h 5285288"/>
                <a:gd name="connsiteX29" fmla="*/ 4172662 w 4212730"/>
                <a:gd name="connsiteY29" fmla="*/ 1149844 h 5285288"/>
                <a:gd name="connsiteX30" fmla="*/ 3998697 w 4212730"/>
                <a:gd name="connsiteY30" fmla="*/ 1269783 h 5285288"/>
                <a:gd name="connsiteX31" fmla="*/ 3978850 w 4212730"/>
                <a:gd name="connsiteY31" fmla="*/ 1262485 h 5285288"/>
                <a:gd name="connsiteX32" fmla="*/ 2513375 w 4212730"/>
                <a:gd name="connsiteY32" fmla="*/ 431577 h 5285288"/>
                <a:gd name="connsiteX33" fmla="*/ 2513032 w 4212730"/>
                <a:gd name="connsiteY33" fmla="*/ 431184 h 5285288"/>
                <a:gd name="connsiteX34" fmla="*/ 2490877 w 4212730"/>
                <a:gd name="connsiteY34" fmla="*/ 437405 h 5285288"/>
                <a:gd name="connsiteX35" fmla="*/ 2448227 w 4212730"/>
                <a:gd name="connsiteY35" fmla="*/ 539231 h 5285288"/>
                <a:gd name="connsiteX36" fmla="*/ 2448222 w 4212730"/>
                <a:gd name="connsiteY36" fmla="*/ 1065628 h 5285288"/>
                <a:gd name="connsiteX37" fmla="*/ 2445445 w 4212730"/>
                <a:gd name="connsiteY37" fmla="*/ 1081825 h 5285288"/>
                <a:gd name="connsiteX38" fmla="*/ 2442619 w 4212730"/>
                <a:gd name="connsiteY38" fmla="*/ 1858316 h 5285288"/>
                <a:gd name="connsiteX39" fmla="*/ 2444476 w 4212730"/>
                <a:gd name="connsiteY39" fmla="*/ 1861834 h 5285288"/>
                <a:gd name="connsiteX40" fmla="*/ 2443809 w 4212730"/>
                <a:gd name="connsiteY40" fmla="*/ 3038034 h 5285288"/>
                <a:gd name="connsiteX41" fmla="*/ 2441669 w 4212730"/>
                <a:gd name="connsiteY41" fmla="*/ 4802821 h 5285288"/>
                <a:gd name="connsiteX42" fmla="*/ 2374871 w 4212730"/>
                <a:gd name="connsiteY42" fmla="*/ 5061801 h 5285288"/>
                <a:gd name="connsiteX43" fmla="*/ 2230903 w 4212730"/>
                <a:gd name="connsiteY43" fmla="*/ 5216241 h 5285288"/>
                <a:gd name="connsiteX44" fmla="*/ 2020267 w 4212730"/>
                <a:gd name="connsiteY44" fmla="*/ 5284752 h 5285288"/>
                <a:gd name="connsiteX45" fmla="*/ 1970713 w 4212730"/>
                <a:gd name="connsiteY45"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206180 w 4212730"/>
                <a:gd name="connsiteY8" fmla="*/ 2392022 h 5285288"/>
                <a:gd name="connsiteX9" fmla="*/ 407391 w 4212730"/>
                <a:gd name="connsiteY9" fmla="*/ 2508175 h 5285288"/>
                <a:gd name="connsiteX10" fmla="*/ 406100 w 4212730"/>
                <a:gd name="connsiteY10" fmla="*/ 2572658 h 5285288"/>
                <a:gd name="connsiteX11" fmla="*/ 409165 w 4212730"/>
                <a:gd name="connsiteY11" fmla="*/ 3888049 h 5285288"/>
                <a:gd name="connsiteX12" fmla="*/ 407598 w 4212730"/>
                <a:gd name="connsiteY12" fmla="*/ 3881457 h 5285288"/>
                <a:gd name="connsiteX13" fmla="*/ 407517 w 4212730"/>
                <a:gd name="connsiteY13" fmla="*/ 3894265 h 5285288"/>
                <a:gd name="connsiteX14" fmla="*/ 464772 w 4212730"/>
                <a:gd name="connsiteY14" fmla="*/ 3993435 h 5285288"/>
                <a:gd name="connsiteX15" fmla="*/ 1965744 w 4212730"/>
                <a:gd name="connsiteY15" fmla="*/ 4865353 h 5285288"/>
                <a:gd name="connsiteX16" fmla="*/ 1966088 w 4212730"/>
                <a:gd name="connsiteY16" fmla="*/ 4865745 h 5285288"/>
                <a:gd name="connsiteX17" fmla="*/ 1988129 w 4212730"/>
                <a:gd name="connsiteY17" fmla="*/ 4859558 h 5285288"/>
                <a:gd name="connsiteX18" fmla="*/ 2034209 w 4212730"/>
                <a:gd name="connsiteY18" fmla="*/ 4799004 h 5285288"/>
                <a:gd name="connsiteX19" fmla="*/ 2036053 w 4212730"/>
                <a:gd name="connsiteY19" fmla="*/ 4105978 h 5285288"/>
                <a:gd name="connsiteX20" fmla="*/ 2038324 w 4212730"/>
                <a:gd name="connsiteY20" fmla="*/ 1054770 h 5285288"/>
                <a:gd name="connsiteX21" fmla="*/ 2037139 w 4212730"/>
                <a:gd name="connsiteY21" fmla="*/ 1017192 h 5285288"/>
                <a:gd name="connsiteX22" fmla="*/ 2035104 w 4212730"/>
                <a:gd name="connsiteY22" fmla="*/ 494424 h 5285288"/>
                <a:gd name="connsiteX23" fmla="*/ 2080595 w 4212730"/>
                <a:gd name="connsiteY23" fmla="*/ 171698 h 5285288"/>
                <a:gd name="connsiteX24" fmla="*/ 2245202 w 4212730"/>
                <a:gd name="connsiteY24" fmla="*/ 25112 h 5285288"/>
                <a:gd name="connsiteX25" fmla="*/ 2444848 w 4212730"/>
                <a:gd name="connsiteY25" fmla="*/ 3326 h 5285288"/>
                <a:gd name="connsiteX26" fmla="*/ 2620552 w 4212730"/>
                <a:gd name="connsiteY26" fmla="*/ 37548 h 5285288"/>
                <a:gd name="connsiteX27" fmla="*/ 4171705 w 4212730"/>
                <a:gd name="connsiteY27" fmla="*/ 924343 h 5285288"/>
                <a:gd name="connsiteX28" fmla="*/ 4172662 w 4212730"/>
                <a:gd name="connsiteY28" fmla="*/ 1149844 h 5285288"/>
                <a:gd name="connsiteX29" fmla="*/ 3998697 w 4212730"/>
                <a:gd name="connsiteY29" fmla="*/ 1269783 h 5285288"/>
                <a:gd name="connsiteX30" fmla="*/ 3978850 w 4212730"/>
                <a:gd name="connsiteY30" fmla="*/ 1262485 h 5285288"/>
                <a:gd name="connsiteX31" fmla="*/ 2513375 w 4212730"/>
                <a:gd name="connsiteY31" fmla="*/ 431577 h 5285288"/>
                <a:gd name="connsiteX32" fmla="*/ 2513032 w 4212730"/>
                <a:gd name="connsiteY32" fmla="*/ 431184 h 5285288"/>
                <a:gd name="connsiteX33" fmla="*/ 2490877 w 4212730"/>
                <a:gd name="connsiteY33" fmla="*/ 437405 h 5285288"/>
                <a:gd name="connsiteX34" fmla="*/ 2448227 w 4212730"/>
                <a:gd name="connsiteY34" fmla="*/ 539231 h 5285288"/>
                <a:gd name="connsiteX35" fmla="*/ 2448222 w 4212730"/>
                <a:gd name="connsiteY35" fmla="*/ 1065628 h 5285288"/>
                <a:gd name="connsiteX36" fmla="*/ 2445445 w 4212730"/>
                <a:gd name="connsiteY36" fmla="*/ 1081825 h 5285288"/>
                <a:gd name="connsiteX37" fmla="*/ 2442619 w 4212730"/>
                <a:gd name="connsiteY37" fmla="*/ 1858316 h 5285288"/>
                <a:gd name="connsiteX38" fmla="*/ 2444476 w 4212730"/>
                <a:gd name="connsiteY38" fmla="*/ 1861834 h 5285288"/>
                <a:gd name="connsiteX39" fmla="*/ 2443809 w 4212730"/>
                <a:gd name="connsiteY39" fmla="*/ 3038034 h 5285288"/>
                <a:gd name="connsiteX40" fmla="*/ 2441669 w 4212730"/>
                <a:gd name="connsiteY40" fmla="*/ 4802821 h 5285288"/>
                <a:gd name="connsiteX41" fmla="*/ 2374871 w 4212730"/>
                <a:gd name="connsiteY41" fmla="*/ 5061801 h 5285288"/>
                <a:gd name="connsiteX42" fmla="*/ 2230903 w 4212730"/>
                <a:gd name="connsiteY42" fmla="*/ 5216241 h 5285288"/>
                <a:gd name="connsiteX43" fmla="*/ 2020267 w 4212730"/>
                <a:gd name="connsiteY43" fmla="*/ 5284752 h 5285288"/>
                <a:gd name="connsiteX44" fmla="*/ 1970713 w 4212730"/>
                <a:gd name="connsiteY44"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7391 w 4212730"/>
                <a:gd name="connsiteY8" fmla="*/ 2508175 h 5285288"/>
                <a:gd name="connsiteX9" fmla="*/ 406100 w 4212730"/>
                <a:gd name="connsiteY9" fmla="*/ 2572658 h 5285288"/>
                <a:gd name="connsiteX10" fmla="*/ 409165 w 4212730"/>
                <a:gd name="connsiteY10" fmla="*/ 3888049 h 5285288"/>
                <a:gd name="connsiteX11" fmla="*/ 407598 w 4212730"/>
                <a:gd name="connsiteY11" fmla="*/ 3881457 h 5285288"/>
                <a:gd name="connsiteX12" fmla="*/ 407517 w 4212730"/>
                <a:gd name="connsiteY12" fmla="*/ 3894265 h 5285288"/>
                <a:gd name="connsiteX13" fmla="*/ 464772 w 4212730"/>
                <a:gd name="connsiteY13" fmla="*/ 3993435 h 5285288"/>
                <a:gd name="connsiteX14" fmla="*/ 1965744 w 4212730"/>
                <a:gd name="connsiteY14" fmla="*/ 4865353 h 5285288"/>
                <a:gd name="connsiteX15" fmla="*/ 1966088 w 4212730"/>
                <a:gd name="connsiteY15" fmla="*/ 4865745 h 5285288"/>
                <a:gd name="connsiteX16" fmla="*/ 1988129 w 4212730"/>
                <a:gd name="connsiteY16" fmla="*/ 4859558 h 5285288"/>
                <a:gd name="connsiteX17" fmla="*/ 2034209 w 4212730"/>
                <a:gd name="connsiteY17" fmla="*/ 4799004 h 5285288"/>
                <a:gd name="connsiteX18" fmla="*/ 2036053 w 4212730"/>
                <a:gd name="connsiteY18" fmla="*/ 4105978 h 5285288"/>
                <a:gd name="connsiteX19" fmla="*/ 2038324 w 4212730"/>
                <a:gd name="connsiteY19" fmla="*/ 1054770 h 5285288"/>
                <a:gd name="connsiteX20" fmla="*/ 2037139 w 4212730"/>
                <a:gd name="connsiteY20" fmla="*/ 1017192 h 5285288"/>
                <a:gd name="connsiteX21" fmla="*/ 2035104 w 4212730"/>
                <a:gd name="connsiteY21" fmla="*/ 494424 h 5285288"/>
                <a:gd name="connsiteX22" fmla="*/ 2080595 w 4212730"/>
                <a:gd name="connsiteY22" fmla="*/ 171698 h 5285288"/>
                <a:gd name="connsiteX23" fmla="*/ 2245202 w 4212730"/>
                <a:gd name="connsiteY23" fmla="*/ 25112 h 5285288"/>
                <a:gd name="connsiteX24" fmla="*/ 2444848 w 4212730"/>
                <a:gd name="connsiteY24" fmla="*/ 3326 h 5285288"/>
                <a:gd name="connsiteX25" fmla="*/ 2620552 w 4212730"/>
                <a:gd name="connsiteY25" fmla="*/ 37548 h 5285288"/>
                <a:gd name="connsiteX26" fmla="*/ 4171705 w 4212730"/>
                <a:gd name="connsiteY26" fmla="*/ 924343 h 5285288"/>
                <a:gd name="connsiteX27" fmla="*/ 4172662 w 4212730"/>
                <a:gd name="connsiteY27" fmla="*/ 1149844 h 5285288"/>
                <a:gd name="connsiteX28" fmla="*/ 3998697 w 4212730"/>
                <a:gd name="connsiteY28" fmla="*/ 1269783 h 5285288"/>
                <a:gd name="connsiteX29" fmla="*/ 3978850 w 4212730"/>
                <a:gd name="connsiteY29" fmla="*/ 1262485 h 5285288"/>
                <a:gd name="connsiteX30" fmla="*/ 2513375 w 4212730"/>
                <a:gd name="connsiteY30" fmla="*/ 431577 h 5285288"/>
                <a:gd name="connsiteX31" fmla="*/ 2513032 w 4212730"/>
                <a:gd name="connsiteY31" fmla="*/ 431184 h 5285288"/>
                <a:gd name="connsiteX32" fmla="*/ 2490877 w 4212730"/>
                <a:gd name="connsiteY32" fmla="*/ 437405 h 5285288"/>
                <a:gd name="connsiteX33" fmla="*/ 2448227 w 4212730"/>
                <a:gd name="connsiteY33" fmla="*/ 539231 h 5285288"/>
                <a:gd name="connsiteX34" fmla="*/ 2448222 w 4212730"/>
                <a:gd name="connsiteY34" fmla="*/ 1065628 h 5285288"/>
                <a:gd name="connsiteX35" fmla="*/ 2445445 w 4212730"/>
                <a:gd name="connsiteY35" fmla="*/ 1081825 h 5285288"/>
                <a:gd name="connsiteX36" fmla="*/ 2442619 w 4212730"/>
                <a:gd name="connsiteY36" fmla="*/ 1858316 h 5285288"/>
                <a:gd name="connsiteX37" fmla="*/ 2444476 w 4212730"/>
                <a:gd name="connsiteY37" fmla="*/ 1861834 h 5285288"/>
                <a:gd name="connsiteX38" fmla="*/ 2443809 w 4212730"/>
                <a:gd name="connsiteY38" fmla="*/ 3038034 h 5285288"/>
                <a:gd name="connsiteX39" fmla="*/ 2441669 w 4212730"/>
                <a:gd name="connsiteY39" fmla="*/ 4802821 h 5285288"/>
                <a:gd name="connsiteX40" fmla="*/ 2374871 w 4212730"/>
                <a:gd name="connsiteY40" fmla="*/ 5061801 h 5285288"/>
                <a:gd name="connsiteX41" fmla="*/ 2230903 w 4212730"/>
                <a:gd name="connsiteY41" fmla="*/ 5216241 h 5285288"/>
                <a:gd name="connsiteX42" fmla="*/ 2020267 w 4212730"/>
                <a:gd name="connsiteY42" fmla="*/ 5284752 h 5285288"/>
                <a:gd name="connsiteX43" fmla="*/ 1970713 w 4212730"/>
                <a:gd name="connsiteY43"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6100 w 4212730"/>
                <a:gd name="connsiteY8" fmla="*/ 2572658 h 5285288"/>
                <a:gd name="connsiteX9" fmla="*/ 409165 w 4212730"/>
                <a:gd name="connsiteY9" fmla="*/ 3888049 h 5285288"/>
                <a:gd name="connsiteX10" fmla="*/ 407598 w 4212730"/>
                <a:gd name="connsiteY10" fmla="*/ 3881457 h 5285288"/>
                <a:gd name="connsiteX11" fmla="*/ 407517 w 4212730"/>
                <a:gd name="connsiteY11" fmla="*/ 3894265 h 5285288"/>
                <a:gd name="connsiteX12" fmla="*/ 464772 w 4212730"/>
                <a:gd name="connsiteY12" fmla="*/ 3993435 h 5285288"/>
                <a:gd name="connsiteX13" fmla="*/ 1965744 w 4212730"/>
                <a:gd name="connsiteY13" fmla="*/ 4865353 h 5285288"/>
                <a:gd name="connsiteX14" fmla="*/ 1966088 w 4212730"/>
                <a:gd name="connsiteY14" fmla="*/ 4865745 h 5285288"/>
                <a:gd name="connsiteX15" fmla="*/ 1988129 w 4212730"/>
                <a:gd name="connsiteY15" fmla="*/ 4859558 h 5285288"/>
                <a:gd name="connsiteX16" fmla="*/ 2034209 w 4212730"/>
                <a:gd name="connsiteY16" fmla="*/ 4799004 h 5285288"/>
                <a:gd name="connsiteX17" fmla="*/ 2036053 w 4212730"/>
                <a:gd name="connsiteY17" fmla="*/ 4105978 h 5285288"/>
                <a:gd name="connsiteX18" fmla="*/ 2038324 w 4212730"/>
                <a:gd name="connsiteY18" fmla="*/ 1054770 h 5285288"/>
                <a:gd name="connsiteX19" fmla="*/ 2037139 w 4212730"/>
                <a:gd name="connsiteY19" fmla="*/ 1017192 h 5285288"/>
                <a:gd name="connsiteX20" fmla="*/ 2035104 w 4212730"/>
                <a:gd name="connsiteY20" fmla="*/ 494424 h 5285288"/>
                <a:gd name="connsiteX21" fmla="*/ 2080595 w 4212730"/>
                <a:gd name="connsiteY21" fmla="*/ 171698 h 5285288"/>
                <a:gd name="connsiteX22" fmla="*/ 2245202 w 4212730"/>
                <a:gd name="connsiteY22" fmla="*/ 25112 h 5285288"/>
                <a:gd name="connsiteX23" fmla="*/ 2444848 w 4212730"/>
                <a:gd name="connsiteY23" fmla="*/ 3326 h 5285288"/>
                <a:gd name="connsiteX24" fmla="*/ 2620552 w 4212730"/>
                <a:gd name="connsiteY24" fmla="*/ 37548 h 5285288"/>
                <a:gd name="connsiteX25" fmla="*/ 4171705 w 4212730"/>
                <a:gd name="connsiteY25" fmla="*/ 924343 h 5285288"/>
                <a:gd name="connsiteX26" fmla="*/ 4172662 w 4212730"/>
                <a:gd name="connsiteY26" fmla="*/ 1149844 h 5285288"/>
                <a:gd name="connsiteX27" fmla="*/ 3998697 w 4212730"/>
                <a:gd name="connsiteY27" fmla="*/ 1269783 h 5285288"/>
                <a:gd name="connsiteX28" fmla="*/ 3978850 w 4212730"/>
                <a:gd name="connsiteY28" fmla="*/ 1262485 h 5285288"/>
                <a:gd name="connsiteX29" fmla="*/ 2513375 w 4212730"/>
                <a:gd name="connsiteY29" fmla="*/ 431577 h 5285288"/>
                <a:gd name="connsiteX30" fmla="*/ 2513032 w 4212730"/>
                <a:gd name="connsiteY30" fmla="*/ 431184 h 5285288"/>
                <a:gd name="connsiteX31" fmla="*/ 2490877 w 4212730"/>
                <a:gd name="connsiteY31" fmla="*/ 437405 h 5285288"/>
                <a:gd name="connsiteX32" fmla="*/ 2448227 w 4212730"/>
                <a:gd name="connsiteY32" fmla="*/ 539231 h 5285288"/>
                <a:gd name="connsiteX33" fmla="*/ 2448222 w 4212730"/>
                <a:gd name="connsiteY33" fmla="*/ 1065628 h 5285288"/>
                <a:gd name="connsiteX34" fmla="*/ 2445445 w 4212730"/>
                <a:gd name="connsiteY34" fmla="*/ 1081825 h 5285288"/>
                <a:gd name="connsiteX35" fmla="*/ 2442619 w 4212730"/>
                <a:gd name="connsiteY35" fmla="*/ 1858316 h 5285288"/>
                <a:gd name="connsiteX36" fmla="*/ 2444476 w 4212730"/>
                <a:gd name="connsiteY36" fmla="*/ 1861834 h 5285288"/>
                <a:gd name="connsiteX37" fmla="*/ 2443809 w 4212730"/>
                <a:gd name="connsiteY37" fmla="*/ 3038034 h 5285288"/>
                <a:gd name="connsiteX38" fmla="*/ 2441669 w 4212730"/>
                <a:gd name="connsiteY38" fmla="*/ 4802821 h 5285288"/>
                <a:gd name="connsiteX39" fmla="*/ 2374871 w 4212730"/>
                <a:gd name="connsiteY39" fmla="*/ 5061801 h 5285288"/>
                <a:gd name="connsiteX40" fmla="*/ 2230903 w 4212730"/>
                <a:gd name="connsiteY40" fmla="*/ 5216241 h 5285288"/>
                <a:gd name="connsiteX41" fmla="*/ 2020267 w 4212730"/>
                <a:gd name="connsiteY41" fmla="*/ 5284752 h 5285288"/>
                <a:gd name="connsiteX42" fmla="*/ 1970713 w 4212730"/>
                <a:gd name="connsiteY42"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9165 w 4212730"/>
                <a:gd name="connsiteY8" fmla="*/ 3888049 h 5285288"/>
                <a:gd name="connsiteX9" fmla="*/ 407598 w 4212730"/>
                <a:gd name="connsiteY9" fmla="*/ 3881457 h 5285288"/>
                <a:gd name="connsiteX10" fmla="*/ 407517 w 4212730"/>
                <a:gd name="connsiteY10" fmla="*/ 3894265 h 5285288"/>
                <a:gd name="connsiteX11" fmla="*/ 464772 w 4212730"/>
                <a:gd name="connsiteY11" fmla="*/ 3993435 h 5285288"/>
                <a:gd name="connsiteX12" fmla="*/ 1965744 w 4212730"/>
                <a:gd name="connsiteY12" fmla="*/ 4865353 h 5285288"/>
                <a:gd name="connsiteX13" fmla="*/ 1966088 w 4212730"/>
                <a:gd name="connsiteY13" fmla="*/ 4865745 h 5285288"/>
                <a:gd name="connsiteX14" fmla="*/ 1988129 w 4212730"/>
                <a:gd name="connsiteY14" fmla="*/ 4859558 h 5285288"/>
                <a:gd name="connsiteX15" fmla="*/ 2034209 w 4212730"/>
                <a:gd name="connsiteY15" fmla="*/ 4799004 h 5285288"/>
                <a:gd name="connsiteX16" fmla="*/ 2036053 w 4212730"/>
                <a:gd name="connsiteY16" fmla="*/ 4105978 h 5285288"/>
                <a:gd name="connsiteX17" fmla="*/ 2038324 w 4212730"/>
                <a:gd name="connsiteY17" fmla="*/ 1054770 h 5285288"/>
                <a:gd name="connsiteX18" fmla="*/ 2037139 w 4212730"/>
                <a:gd name="connsiteY18" fmla="*/ 1017192 h 5285288"/>
                <a:gd name="connsiteX19" fmla="*/ 2035104 w 4212730"/>
                <a:gd name="connsiteY19" fmla="*/ 494424 h 5285288"/>
                <a:gd name="connsiteX20" fmla="*/ 2080595 w 4212730"/>
                <a:gd name="connsiteY20" fmla="*/ 171698 h 5285288"/>
                <a:gd name="connsiteX21" fmla="*/ 2245202 w 4212730"/>
                <a:gd name="connsiteY21" fmla="*/ 25112 h 5285288"/>
                <a:gd name="connsiteX22" fmla="*/ 2444848 w 4212730"/>
                <a:gd name="connsiteY22" fmla="*/ 3326 h 5285288"/>
                <a:gd name="connsiteX23" fmla="*/ 2620552 w 4212730"/>
                <a:gd name="connsiteY23" fmla="*/ 37548 h 5285288"/>
                <a:gd name="connsiteX24" fmla="*/ 4171705 w 4212730"/>
                <a:gd name="connsiteY24" fmla="*/ 924343 h 5285288"/>
                <a:gd name="connsiteX25" fmla="*/ 4172662 w 4212730"/>
                <a:gd name="connsiteY25" fmla="*/ 1149844 h 5285288"/>
                <a:gd name="connsiteX26" fmla="*/ 3998697 w 4212730"/>
                <a:gd name="connsiteY26" fmla="*/ 1269783 h 5285288"/>
                <a:gd name="connsiteX27" fmla="*/ 3978850 w 4212730"/>
                <a:gd name="connsiteY27" fmla="*/ 1262485 h 5285288"/>
                <a:gd name="connsiteX28" fmla="*/ 2513375 w 4212730"/>
                <a:gd name="connsiteY28" fmla="*/ 431577 h 5285288"/>
                <a:gd name="connsiteX29" fmla="*/ 2513032 w 4212730"/>
                <a:gd name="connsiteY29" fmla="*/ 431184 h 5285288"/>
                <a:gd name="connsiteX30" fmla="*/ 2490877 w 4212730"/>
                <a:gd name="connsiteY30" fmla="*/ 437405 h 5285288"/>
                <a:gd name="connsiteX31" fmla="*/ 2448227 w 4212730"/>
                <a:gd name="connsiteY31" fmla="*/ 539231 h 5285288"/>
                <a:gd name="connsiteX32" fmla="*/ 2448222 w 4212730"/>
                <a:gd name="connsiteY32" fmla="*/ 1065628 h 5285288"/>
                <a:gd name="connsiteX33" fmla="*/ 2445445 w 4212730"/>
                <a:gd name="connsiteY33" fmla="*/ 1081825 h 5285288"/>
                <a:gd name="connsiteX34" fmla="*/ 2442619 w 4212730"/>
                <a:gd name="connsiteY34" fmla="*/ 1858316 h 5285288"/>
                <a:gd name="connsiteX35" fmla="*/ 2444476 w 4212730"/>
                <a:gd name="connsiteY35" fmla="*/ 1861834 h 5285288"/>
                <a:gd name="connsiteX36" fmla="*/ 2443809 w 4212730"/>
                <a:gd name="connsiteY36" fmla="*/ 3038034 h 5285288"/>
                <a:gd name="connsiteX37" fmla="*/ 2441669 w 4212730"/>
                <a:gd name="connsiteY37" fmla="*/ 4802821 h 5285288"/>
                <a:gd name="connsiteX38" fmla="*/ 2374871 w 4212730"/>
                <a:gd name="connsiteY38" fmla="*/ 5061801 h 5285288"/>
                <a:gd name="connsiteX39" fmla="*/ 2230903 w 4212730"/>
                <a:gd name="connsiteY39" fmla="*/ 5216241 h 5285288"/>
                <a:gd name="connsiteX40" fmla="*/ 2020267 w 4212730"/>
                <a:gd name="connsiteY40" fmla="*/ 5284752 h 5285288"/>
                <a:gd name="connsiteX41" fmla="*/ 1970713 w 4212730"/>
                <a:gd name="connsiteY41" fmla="*/ 5285252 h 5285288"/>
                <a:gd name="connsiteX0" fmla="*/ 1970594 w 4212611"/>
                <a:gd name="connsiteY0" fmla="*/ 5285252 h 5285288"/>
                <a:gd name="connsiteX1" fmla="*/ 1858970 w 4212611"/>
                <a:gd name="connsiteY1" fmla="*/ 5257452 h 5285288"/>
                <a:gd name="connsiteX2" fmla="*/ 1798969 w 4212611"/>
                <a:gd name="connsiteY2" fmla="*/ 5227600 h 5285288"/>
                <a:gd name="connsiteX3" fmla="*/ 257622 w 4212611"/>
                <a:gd name="connsiteY3" fmla="*/ 4344402 h 5285288"/>
                <a:gd name="connsiteX4" fmla="*/ 66736 w 4212611"/>
                <a:gd name="connsiteY4" fmla="*/ 4157062 h 5285288"/>
                <a:gd name="connsiteX5" fmla="*/ 4966 w 4212611"/>
                <a:gd name="connsiteY5" fmla="*/ 3955159 h 5285288"/>
                <a:gd name="connsiteX6" fmla="*/ -2 w 4212611"/>
                <a:gd name="connsiteY6" fmla="*/ 3898769 h 5285288"/>
                <a:gd name="connsiteX7" fmla="*/ 409046 w 4212611"/>
                <a:gd name="connsiteY7" fmla="*/ 3888049 h 5285288"/>
                <a:gd name="connsiteX8" fmla="*/ 407479 w 4212611"/>
                <a:gd name="connsiteY8" fmla="*/ 3881457 h 5285288"/>
                <a:gd name="connsiteX9" fmla="*/ 407398 w 4212611"/>
                <a:gd name="connsiteY9" fmla="*/ 3894265 h 5285288"/>
                <a:gd name="connsiteX10" fmla="*/ 464653 w 4212611"/>
                <a:gd name="connsiteY10" fmla="*/ 3993435 h 5285288"/>
                <a:gd name="connsiteX11" fmla="*/ 1965625 w 4212611"/>
                <a:gd name="connsiteY11" fmla="*/ 4865353 h 5285288"/>
                <a:gd name="connsiteX12" fmla="*/ 1965969 w 4212611"/>
                <a:gd name="connsiteY12" fmla="*/ 4865745 h 5285288"/>
                <a:gd name="connsiteX13" fmla="*/ 1988010 w 4212611"/>
                <a:gd name="connsiteY13" fmla="*/ 4859558 h 5285288"/>
                <a:gd name="connsiteX14" fmla="*/ 2034090 w 4212611"/>
                <a:gd name="connsiteY14" fmla="*/ 4799004 h 5285288"/>
                <a:gd name="connsiteX15" fmla="*/ 2035934 w 4212611"/>
                <a:gd name="connsiteY15" fmla="*/ 4105978 h 5285288"/>
                <a:gd name="connsiteX16" fmla="*/ 2038205 w 4212611"/>
                <a:gd name="connsiteY16" fmla="*/ 1054770 h 5285288"/>
                <a:gd name="connsiteX17" fmla="*/ 2037020 w 4212611"/>
                <a:gd name="connsiteY17" fmla="*/ 1017192 h 5285288"/>
                <a:gd name="connsiteX18" fmla="*/ 2034985 w 4212611"/>
                <a:gd name="connsiteY18" fmla="*/ 494424 h 5285288"/>
                <a:gd name="connsiteX19" fmla="*/ 2080476 w 4212611"/>
                <a:gd name="connsiteY19" fmla="*/ 171698 h 5285288"/>
                <a:gd name="connsiteX20" fmla="*/ 2245083 w 4212611"/>
                <a:gd name="connsiteY20" fmla="*/ 25112 h 5285288"/>
                <a:gd name="connsiteX21" fmla="*/ 2444729 w 4212611"/>
                <a:gd name="connsiteY21" fmla="*/ 3326 h 5285288"/>
                <a:gd name="connsiteX22" fmla="*/ 2620433 w 4212611"/>
                <a:gd name="connsiteY22" fmla="*/ 37548 h 5285288"/>
                <a:gd name="connsiteX23" fmla="*/ 4171586 w 4212611"/>
                <a:gd name="connsiteY23" fmla="*/ 924343 h 5285288"/>
                <a:gd name="connsiteX24" fmla="*/ 4172543 w 4212611"/>
                <a:gd name="connsiteY24" fmla="*/ 1149844 h 5285288"/>
                <a:gd name="connsiteX25" fmla="*/ 3998578 w 4212611"/>
                <a:gd name="connsiteY25" fmla="*/ 1269783 h 5285288"/>
                <a:gd name="connsiteX26" fmla="*/ 3978731 w 4212611"/>
                <a:gd name="connsiteY26" fmla="*/ 1262485 h 5285288"/>
                <a:gd name="connsiteX27" fmla="*/ 2513256 w 4212611"/>
                <a:gd name="connsiteY27" fmla="*/ 431577 h 5285288"/>
                <a:gd name="connsiteX28" fmla="*/ 2512913 w 4212611"/>
                <a:gd name="connsiteY28" fmla="*/ 431184 h 5285288"/>
                <a:gd name="connsiteX29" fmla="*/ 2490758 w 4212611"/>
                <a:gd name="connsiteY29" fmla="*/ 437405 h 5285288"/>
                <a:gd name="connsiteX30" fmla="*/ 2448108 w 4212611"/>
                <a:gd name="connsiteY30" fmla="*/ 539231 h 5285288"/>
                <a:gd name="connsiteX31" fmla="*/ 2448103 w 4212611"/>
                <a:gd name="connsiteY31" fmla="*/ 1065628 h 5285288"/>
                <a:gd name="connsiteX32" fmla="*/ 2445326 w 4212611"/>
                <a:gd name="connsiteY32" fmla="*/ 1081825 h 5285288"/>
                <a:gd name="connsiteX33" fmla="*/ 2442500 w 4212611"/>
                <a:gd name="connsiteY33" fmla="*/ 1858316 h 5285288"/>
                <a:gd name="connsiteX34" fmla="*/ 2444357 w 4212611"/>
                <a:gd name="connsiteY34" fmla="*/ 1861834 h 5285288"/>
                <a:gd name="connsiteX35" fmla="*/ 2443690 w 4212611"/>
                <a:gd name="connsiteY35" fmla="*/ 3038034 h 5285288"/>
                <a:gd name="connsiteX36" fmla="*/ 2441550 w 4212611"/>
                <a:gd name="connsiteY36" fmla="*/ 4802821 h 5285288"/>
                <a:gd name="connsiteX37" fmla="*/ 2374752 w 4212611"/>
                <a:gd name="connsiteY37" fmla="*/ 5061801 h 5285288"/>
                <a:gd name="connsiteX38" fmla="*/ 2230784 w 4212611"/>
                <a:gd name="connsiteY38" fmla="*/ 5216241 h 5285288"/>
                <a:gd name="connsiteX39" fmla="*/ 2020148 w 4212611"/>
                <a:gd name="connsiteY39" fmla="*/ 5284752 h 5285288"/>
                <a:gd name="connsiteX40" fmla="*/ 1970594 w 4212611"/>
                <a:gd name="connsiteY40" fmla="*/ 5285252 h 5285288"/>
                <a:gd name="connsiteX0" fmla="*/ 1965630 w 4207647"/>
                <a:gd name="connsiteY0" fmla="*/ 5285252 h 5285288"/>
                <a:gd name="connsiteX1" fmla="*/ 1854006 w 4207647"/>
                <a:gd name="connsiteY1" fmla="*/ 5257452 h 5285288"/>
                <a:gd name="connsiteX2" fmla="*/ 1794005 w 4207647"/>
                <a:gd name="connsiteY2" fmla="*/ 5227600 h 5285288"/>
                <a:gd name="connsiteX3" fmla="*/ 252658 w 4207647"/>
                <a:gd name="connsiteY3" fmla="*/ 4344402 h 5285288"/>
                <a:gd name="connsiteX4" fmla="*/ 61772 w 4207647"/>
                <a:gd name="connsiteY4" fmla="*/ 4157062 h 5285288"/>
                <a:gd name="connsiteX5" fmla="*/ 2 w 4207647"/>
                <a:gd name="connsiteY5" fmla="*/ 3955159 h 5285288"/>
                <a:gd name="connsiteX6" fmla="*/ 404082 w 4207647"/>
                <a:gd name="connsiteY6" fmla="*/ 3888049 h 5285288"/>
                <a:gd name="connsiteX7" fmla="*/ 402515 w 4207647"/>
                <a:gd name="connsiteY7" fmla="*/ 3881457 h 5285288"/>
                <a:gd name="connsiteX8" fmla="*/ 402434 w 4207647"/>
                <a:gd name="connsiteY8" fmla="*/ 3894265 h 5285288"/>
                <a:gd name="connsiteX9" fmla="*/ 459689 w 4207647"/>
                <a:gd name="connsiteY9" fmla="*/ 3993435 h 5285288"/>
                <a:gd name="connsiteX10" fmla="*/ 1960661 w 4207647"/>
                <a:gd name="connsiteY10" fmla="*/ 4865353 h 5285288"/>
                <a:gd name="connsiteX11" fmla="*/ 1961005 w 4207647"/>
                <a:gd name="connsiteY11" fmla="*/ 4865745 h 5285288"/>
                <a:gd name="connsiteX12" fmla="*/ 1983046 w 4207647"/>
                <a:gd name="connsiteY12" fmla="*/ 4859558 h 5285288"/>
                <a:gd name="connsiteX13" fmla="*/ 2029126 w 4207647"/>
                <a:gd name="connsiteY13" fmla="*/ 4799004 h 5285288"/>
                <a:gd name="connsiteX14" fmla="*/ 2030970 w 4207647"/>
                <a:gd name="connsiteY14" fmla="*/ 4105978 h 5285288"/>
                <a:gd name="connsiteX15" fmla="*/ 2033241 w 4207647"/>
                <a:gd name="connsiteY15" fmla="*/ 1054770 h 5285288"/>
                <a:gd name="connsiteX16" fmla="*/ 2032056 w 4207647"/>
                <a:gd name="connsiteY16" fmla="*/ 1017192 h 5285288"/>
                <a:gd name="connsiteX17" fmla="*/ 2030021 w 4207647"/>
                <a:gd name="connsiteY17" fmla="*/ 494424 h 5285288"/>
                <a:gd name="connsiteX18" fmla="*/ 2075512 w 4207647"/>
                <a:gd name="connsiteY18" fmla="*/ 171698 h 5285288"/>
                <a:gd name="connsiteX19" fmla="*/ 2240119 w 4207647"/>
                <a:gd name="connsiteY19" fmla="*/ 25112 h 5285288"/>
                <a:gd name="connsiteX20" fmla="*/ 2439765 w 4207647"/>
                <a:gd name="connsiteY20" fmla="*/ 3326 h 5285288"/>
                <a:gd name="connsiteX21" fmla="*/ 2615469 w 4207647"/>
                <a:gd name="connsiteY21" fmla="*/ 37548 h 5285288"/>
                <a:gd name="connsiteX22" fmla="*/ 4166622 w 4207647"/>
                <a:gd name="connsiteY22" fmla="*/ 924343 h 5285288"/>
                <a:gd name="connsiteX23" fmla="*/ 4167579 w 4207647"/>
                <a:gd name="connsiteY23" fmla="*/ 1149844 h 5285288"/>
                <a:gd name="connsiteX24" fmla="*/ 3993614 w 4207647"/>
                <a:gd name="connsiteY24" fmla="*/ 1269783 h 5285288"/>
                <a:gd name="connsiteX25" fmla="*/ 3973767 w 4207647"/>
                <a:gd name="connsiteY25" fmla="*/ 1262485 h 5285288"/>
                <a:gd name="connsiteX26" fmla="*/ 2508292 w 4207647"/>
                <a:gd name="connsiteY26" fmla="*/ 431577 h 5285288"/>
                <a:gd name="connsiteX27" fmla="*/ 2507949 w 4207647"/>
                <a:gd name="connsiteY27" fmla="*/ 431184 h 5285288"/>
                <a:gd name="connsiteX28" fmla="*/ 2485794 w 4207647"/>
                <a:gd name="connsiteY28" fmla="*/ 437405 h 5285288"/>
                <a:gd name="connsiteX29" fmla="*/ 2443144 w 4207647"/>
                <a:gd name="connsiteY29" fmla="*/ 539231 h 5285288"/>
                <a:gd name="connsiteX30" fmla="*/ 2443139 w 4207647"/>
                <a:gd name="connsiteY30" fmla="*/ 1065628 h 5285288"/>
                <a:gd name="connsiteX31" fmla="*/ 2440362 w 4207647"/>
                <a:gd name="connsiteY31" fmla="*/ 1081825 h 5285288"/>
                <a:gd name="connsiteX32" fmla="*/ 2437536 w 4207647"/>
                <a:gd name="connsiteY32" fmla="*/ 1858316 h 5285288"/>
                <a:gd name="connsiteX33" fmla="*/ 2439393 w 4207647"/>
                <a:gd name="connsiteY33" fmla="*/ 1861834 h 5285288"/>
                <a:gd name="connsiteX34" fmla="*/ 2438726 w 4207647"/>
                <a:gd name="connsiteY34" fmla="*/ 3038034 h 5285288"/>
                <a:gd name="connsiteX35" fmla="*/ 2436586 w 4207647"/>
                <a:gd name="connsiteY35" fmla="*/ 4802821 h 5285288"/>
                <a:gd name="connsiteX36" fmla="*/ 2369788 w 4207647"/>
                <a:gd name="connsiteY36" fmla="*/ 5061801 h 5285288"/>
                <a:gd name="connsiteX37" fmla="*/ 2225820 w 4207647"/>
                <a:gd name="connsiteY37" fmla="*/ 5216241 h 5285288"/>
                <a:gd name="connsiteX38" fmla="*/ 2015184 w 4207647"/>
                <a:gd name="connsiteY38" fmla="*/ 5284752 h 5285288"/>
                <a:gd name="connsiteX39" fmla="*/ 1965630 w 4207647"/>
                <a:gd name="connsiteY39" fmla="*/ 5285252 h 5285288"/>
                <a:gd name="connsiteX0" fmla="*/ 1906706 w 4148723"/>
                <a:gd name="connsiteY0" fmla="*/ 5285252 h 5285288"/>
                <a:gd name="connsiteX1" fmla="*/ 1795082 w 4148723"/>
                <a:gd name="connsiteY1" fmla="*/ 5257452 h 5285288"/>
                <a:gd name="connsiteX2" fmla="*/ 1735081 w 4148723"/>
                <a:gd name="connsiteY2" fmla="*/ 5227600 h 5285288"/>
                <a:gd name="connsiteX3" fmla="*/ 193734 w 4148723"/>
                <a:gd name="connsiteY3" fmla="*/ 4344402 h 5285288"/>
                <a:gd name="connsiteX4" fmla="*/ 2848 w 4148723"/>
                <a:gd name="connsiteY4" fmla="*/ 4157062 h 5285288"/>
                <a:gd name="connsiteX5" fmla="*/ 345158 w 4148723"/>
                <a:gd name="connsiteY5" fmla="*/ 3888049 h 5285288"/>
                <a:gd name="connsiteX6" fmla="*/ 343591 w 4148723"/>
                <a:gd name="connsiteY6" fmla="*/ 3881457 h 5285288"/>
                <a:gd name="connsiteX7" fmla="*/ 343510 w 4148723"/>
                <a:gd name="connsiteY7" fmla="*/ 3894265 h 5285288"/>
                <a:gd name="connsiteX8" fmla="*/ 400765 w 4148723"/>
                <a:gd name="connsiteY8" fmla="*/ 3993435 h 5285288"/>
                <a:gd name="connsiteX9" fmla="*/ 1901737 w 4148723"/>
                <a:gd name="connsiteY9" fmla="*/ 4865353 h 5285288"/>
                <a:gd name="connsiteX10" fmla="*/ 1902081 w 4148723"/>
                <a:gd name="connsiteY10" fmla="*/ 4865745 h 5285288"/>
                <a:gd name="connsiteX11" fmla="*/ 1924122 w 4148723"/>
                <a:gd name="connsiteY11" fmla="*/ 4859558 h 5285288"/>
                <a:gd name="connsiteX12" fmla="*/ 1970202 w 4148723"/>
                <a:gd name="connsiteY12" fmla="*/ 4799004 h 5285288"/>
                <a:gd name="connsiteX13" fmla="*/ 1972046 w 4148723"/>
                <a:gd name="connsiteY13" fmla="*/ 4105978 h 5285288"/>
                <a:gd name="connsiteX14" fmla="*/ 1974317 w 4148723"/>
                <a:gd name="connsiteY14" fmla="*/ 1054770 h 5285288"/>
                <a:gd name="connsiteX15" fmla="*/ 1973132 w 4148723"/>
                <a:gd name="connsiteY15" fmla="*/ 1017192 h 5285288"/>
                <a:gd name="connsiteX16" fmla="*/ 1971097 w 4148723"/>
                <a:gd name="connsiteY16" fmla="*/ 494424 h 5285288"/>
                <a:gd name="connsiteX17" fmla="*/ 2016588 w 4148723"/>
                <a:gd name="connsiteY17" fmla="*/ 171698 h 5285288"/>
                <a:gd name="connsiteX18" fmla="*/ 2181195 w 4148723"/>
                <a:gd name="connsiteY18" fmla="*/ 25112 h 5285288"/>
                <a:gd name="connsiteX19" fmla="*/ 2380841 w 4148723"/>
                <a:gd name="connsiteY19" fmla="*/ 3326 h 5285288"/>
                <a:gd name="connsiteX20" fmla="*/ 2556545 w 4148723"/>
                <a:gd name="connsiteY20" fmla="*/ 37548 h 5285288"/>
                <a:gd name="connsiteX21" fmla="*/ 4107698 w 4148723"/>
                <a:gd name="connsiteY21" fmla="*/ 924343 h 5285288"/>
                <a:gd name="connsiteX22" fmla="*/ 4108655 w 4148723"/>
                <a:gd name="connsiteY22" fmla="*/ 1149844 h 5285288"/>
                <a:gd name="connsiteX23" fmla="*/ 3934690 w 4148723"/>
                <a:gd name="connsiteY23" fmla="*/ 1269783 h 5285288"/>
                <a:gd name="connsiteX24" fmla="*/ 3914843 w 4148723"/>
                <a:gd name="connsiteY24" fmla="*/ 1262485 h 5285288"/>
                <a:gd name="connsiteX25" fmla="*/ 2449368 w 4148723"/>
                <a:gd name="connsiteY25" fmla="*/ 431577 h 5285288"/>
                <a:gd name="connsiteX26" fmla="*/ 2449025 w 4148723"/>
                <a:gd name="connsiteY26" fmla="*/ 431184 h 5285288"/>
                <a:gd name="connsiteX27" fmla="*/ 2426870 w 4148723"/>
                <a:gd name="connsiteY27" fmla="*/ 437405 h 5285288"/>
                <a:gd name="connsiteX28" fmla="*/ 2384220 w 4148723"/>
                <a:gd name="connsiteY28" fmla="*/ 539231 h 5285288"/>
                <a:gd name="connsiteX29" fmla="*/ 2384215 w 4148723"/>
                <a:gd name="connsiteY29" fmla="*/ 1065628 h 5285288"/>
                <a:gd name="connsiteX30" fmla="*/ 2381438 w 4148723"/>
                <a:gd name="connsiteY30" fmla="*/ 1081825 h 5285288"/>
                <a:gd name="connsiteX31" fmla="*/ 2378612 w 4148723"/>
                <a:gd name="connsiteY31" fmla="*/ 1858316 h 5285288"/>
                <a:gd name="connsiteX32" fmla="*/ 2380469 w 4148723"/>
                <a:gd name="connsiteY32" fmla="*/ 1861834 h 5285288"/>
                <a:gd name="connsiteX33" fmla="*/ 2379802 w 4148723"/>
                <a:gd name="connsiteY33" fmla="*/ 3038034 h 5285288"/>
                <a:gd name="connsiteX34" fmla="*/ 2377662 w 4148723"/>
                <a:gd name="connsiteY34" fmla="*/ 4802821 h 5285288"/>
                <a:gd name="connsiteX35" fmla="*/ 2310864 w 4148723"/>
                <a:gd name="connsiteY35" fmla="*/ 5061801 h 5285288"/>
                <a:gd name="connsiteX36" fmla="*/ 2166896 w 4148723"/>
                <a:gd name="connsiteY36" fmla="*/ 5216241 h 5285288"/>
                <a:gd name="connsiteX37" fmla="*/ 1956260 w 4148723"/>
                <a:gd name="connsiteY37" fmla="*/ 5284752 h 5285288"/>
                <a:gd name="connsiteX38" fmla="*/ 1906706 w 4148723"/>
                <a:gd name="connsiteY38" fmla="*/ 5285252 h 5285288"/>
                <a:gd name="connsiteX0" fmla="*/ 1906706 w 4148723"/>
                <a:gd name="connsiteY0" fmla="*/ 5285252 h 5285288"/>
                <a:gd name="connsiteX1" fmla="*/ 1795082 w 4148723"/>
                <a:gd name="connsiteY1" fmla="*/ 5257452 h 5285288"/>
                <a:gd name="connsiteX2" fmla="*/ 1735081 w 4148723"/>
                <a:gd name="connsiteY2" fmla="*/ 5227600 h 5285288"/>
                <a:gd name="connsiteX3" fmla="*/ 193734 w 4148723"/>
                <a:gd name="connsiteY3" fmla="*/ 4344402 h 5285288"/>
                <a:gd name="connsiteX4" fmla="*/ 2848 w 4148723"/>
                <a:gd name="connsiteY4" fmla="*/ 4157062 h 5285288"/>
                <a:gd name="connsiteX5" fmla="*/ 345158 w 4148723"/>
                <a:gd name="connsiteY5" fmla="*/ 3888049 h 5285288"/>
                <a:gd name="connsiteX6" fmla="*/ 343591 w 4148723"/>
                <a:gd name="connsiteY6" fmla="*/ 3881457 h 5285288"/>
                <a:gd name="connsiteX7" fmla="*/ 400765 w 4148723"/>
                <a:gd name="connsiteY7" fmla="*/ 3993435 h 5285288"/>
                <a:gd name="connsiteX8" fmla="*/ 1901737 w 4148723"/>
                <a:gd name="connsiteY8" fmla="*/ 4865353 h 5285288"/>
                <a:gd name="connsiteX9" fmla="*/ 1902081 w 4148723"/>
                <a:gd name="connsiteY9" fmla="*/ 4865745 h 5285288"/>
                <a:gd name="connsiteX10" fmla="*/ 1924122 w 4148723"/>
                <a:gd name="connsiteY10" fmla="*/ 4859558 h 5285288"/>
                <a:gd name="connsiteX11" fmla="*/ 1970202 w 4148723"/>
                <a:gd name="connsiteY11" fmla="*/ 4799004 h 5285288"/>
                <a:gd name="connsiteX12" fmla="*/ 1972046 w 4148723"/>
                <a:gd name="connsiteY12" fmla="*/ 4105978 h 5285288"/>
                <a:gd name="connsiteX13" fmla="*/ 1974317 w 4148723"/>
                <a:gd name="connsiteY13" fmla="*/ 1054770 h 5285288"/>
                <a:gd name="connsiteX14" fmla="*/ 1973132 w 4148723"/>
                <a:gd name="connsiteY14" fmla="*/ 1017192 h 5285288"/>
                <a:gd name="connsiteX15" fmla="*/ 1971097 w 4148723"/>
                <a:gd name="connsiteY15" fmla="*/ 494424 h 5285288"/>
                <a:gd name="connsiteX16" fmla="*/ 2016588 w 4148723"/>
                <a:gd name="connsiteY16" fmla="*/ 171698 h 5285288"/>
                <a:gd name="connsiteX17" fmla="*/ 2181195 w 4148723"/>
                <a:gd name="connsiteY17" fmla="*/ 25112 h 5285288"/>
                <a:gd name="connsiteX18" fmla="*/ 2380841 w 4148723"/>
                <a:gd name="connsiteY18" fmla="*/ 3326 h 5285288"/>
                <a:gd name="connsiteX19" fmla="*/ 2556545 w 4148723"/>
                <a:gd name="connsiteY19" fmla="*/ 37548 h 5285288"/>
                <a:gd name="connsiteX20" fmla="*/ 4107698 w 4148723"/>
                <a:gd name="connsiteY20" fmla="*/ 924343 h 5285288"/>
                <a:gd name="connsiteX21" fmla="*/ 4108655 w 4148723"/>
                <a:gd name="connsiteY21" fmla="*/ 1149844 h 5285288"/>
                <a:gd name="connsiteX22" fmla="*/ 3934690 w 4148723"/>
                <a:gd name="connsiteY22" fmla="*/ 1269783 h 5285288"/>
                <a:gd name="connsiteX23" fmla="*/ 3914843 w 4148723"/>
                <a:gd name="connsiteY23" fmla="*/ 1262485 h 5285288"/>
                <a:gd name="connsiteX24" fmla="*/ 2449368 w 4148723"/>
                <a:gd name="connsiteY24" fmla="*/ 431577 h 5285288"/>
                <a:gd name="connsiteX25" fmla="*/ 2449025 w 4148723"/>
                <a:gd name="connsiteY25" fmla="*/ 431184 h 5285288"/>
                <a:gd name="connsiteX26" fmla="*/ 2426870 w 4148723"/>
                <a:gd name="connsiteY26" fmla="*/ 437405 h 5285288"/>
                <a:gd name="connsiteX27" fmla="*/ 2384220 w 4148723"/>
                <a:gd name="connsiteY27" fmla="*/ 539231 h 5285288"/>
                <a:gd name="connsiteX28" fmla="*/ 2384215 w 4148723"/>
                <a:gd name="connsiteY28" fmla="*/ 1065628 h 5285288"/>
                <a:gd name="connsiteX29" fmla="*/ 2381438 w 4148723"/>
                <a:gd name="connsiteY29" fmla="*/ 1081825 h 5285288"/>
                <a:gd name="connsiteX30" fmla="*/ 2378612 w 4148723"/>
                <a:gd name="connsiteY30" fmla="*/ 1858316 h 5285288"/>
                <a:gd name="connsiteX31" fmla="*/ 2380469 w 4148723"/>
                <a:gd name="connsiteY31" fmla="*/ 1861834 h 5285288"/>
                <a:gd name="connsiteX32" fmla="*/ 2379802 w 4148723"/>
                <a:gd name="connsiteY32" fmla="*/ 3038034 h 5285288"/>
                <a:gd name="connsiteX33" fmla="*/ 2377662 w 4148723"/>
                <a:gd name="connsiteY33" fmla="*/ 4802821 h 5285288"/>
                <a:gd name="connsiteX34" fmla="*/ 2310864 w 4148723"/>
                <a:gd name="connsiteY34" fmla="*/ 5061801 h 5285288"/>
                <a:gd name="connsiteX35" fmla="*/ 2166896 w 4148723"/>
                <a:gd name="connsiteY35" fmla="*/ 5216241 h 5285288"/>
                <a:gd name="connsiteX36" fmla="*/ 1956260 w 4148723"/>
                <a:gd name="connsiteY36" fmla="*/ 5284752 h 5285288"/>
                <a:gd name="connsiteX37" fmla="*/ 1906706 w 4148723"/>
                <a:gd name="connsiteY37" fmla="*/ 5285252 h 5285288"/>
                <a:gd name="connsiteX0" fmla="*/ 1906706 w 4148723"/>
                <a:gd name="connsiteY0" fmla="*/ 5285252 h 5285288"/>
                <a:gd name="connsiteX1" fmla="*/ 1795082 w 4148723"/>
                <a:gd name="connsiteY1" fmla="*/ 5257452 h 5285288"/>
                <a:gd name="connsiteX2" fmla="*/ 1735081 w 4148723"/>
                <a:gd name="connsiteY2" fmla="*/ 5227600 h 5285288"/>
                <a:gd name="connsiteX3" fmla="*/ 193734 w 4148723"/>
                <a:gd name="connsiteY3" fmla="*/ 4344402 h 5285288"/>
                <a:gd name="connsiteX4" fmla="*/ 2848 w 4148723"/>
                <a:gd name="connsiteY4" fmla="*/ 4157062 h 5285288"/>
                <a:gd name="connsiteX5" fmla="*/ 345158 w 4148723"/>
                <a:gd name="connsiteY5" fmla="*/ 3888049 h 5285288"/>
                <a:gd name="connsiteX6" fmla="*/ 400765 w 4148723"/>
                <a:gd name="connsiteY6" fmla="*/ 3993435 h 5285288"/>
                <a:gd name="connsiteX7" fmla="*/ 1901737 w 4148723"/>
                <a:gd name="connsiteY7" fmla="*/ 4865353 h 5285288"/>
                <a:gd name="connsiteX8" fmla="*/ 1902081 w 4148723"/>
                <a:gd name="connsiteY8" fmla="*/ 4865745 h 5285288"/>
                <a:gd name="connsiteX9" fmla="*/ 1924122 w 4148723"/>
                <a:gd name="connsiteY9" fmla="*/ 4859558 h 5285288"/>
                <a:gd name="connsiteX10" fmla="*/ 1970202 w 4148723"/>
                <a:gd name="connsiteY10" fmla="*/ 4799004 h 5285288"/>
                <a:gd name="connsiteX11" fmla="*/ 1972046 w 4148723"/>
                <a:gd name="connsiteY11" fmla="*/ 4105978 h 5285288"/>
                <a:gd name="connsiteX12" fmla="*/ 1974317 w 4148723"/>
                <a:gd name="connsiteY12" fmla="*/ 1054770 h 5285288"/>
                <a:gd name="connsiteX13" fmla="*/ 1973132 w 4148723"/>
                <a:gd name="connsiteY13" fmla="*/ 1017192 h 5285288"/>
                <a:gd name="connsiteX14" fmla="*/ 1971097 w 4148723"/>
                <a:gd name="connsiteY14" fmla="*/ 494424 h 5285288"/>
                <a:gd name="connsiteX15" fmla="*/ 2016588 w 4148723"/>
                <a:gd name="connsiteY15" fmla="*/ 171698 h 5285288"/>
                <a:gd name="connsiteX16" fmla="*/ 2181195 w 4148723"/>
                <a:gd name="connsiteY16" fmla="*/ 25112 h 5285288"/>
                <a:gd name="connsiteX17" fmla="*/ 2380841 w 4148723"/>
                <a:gd name="connsiteY17" fmla="*/ 3326 h 5285288"/>
                <a:gd name="connsiteX18" fmla="*/ 2556545 w 4148723"/>
                <a:gd name="connsiteY18" fmla="*/ 37548 h 5285288"/>
                <a:gd name="connsiteX19" fmla="*/ 4107698 w 4148723"/>
                <a:gd name="connsiteY19" fmla="*/ 924343 h 5285288"/>
                <a:gd name="connsiteX20" fmla="*/ 4108655 w 4148723"/>
                <a:gd name="connsiteY20" fmla="*/ 1149844 h 5285288"/>
                <a:gd name="connsiteX21" fmla="*/ 3934690 w 4148723"/>
                <a:gd name="connsiteY21" fmla="*/ 1269783 h 5285288"/>
                <a:gd name="connsiteX22" fmla="*/ 3914843 w 4148723"/>
                <a:gd name="connsiteY22" fmla="*/ 1262485 h 5285288"/>
                <a:gd name="connsiteX23" fmla="*/ 2449368 w 4148723"/>
                <a:gd name="connsiteY23" fmla="*/ 431577 h 5285288"/>
                <a:gd name="connsiteX24" fmla="*/ 2449025 w 4148723"/>
                <a:gd name="connsiteY24" fmla="*/ 431184 h 5285288"/>
                <a:gd name="connsiteX25" fmla="*/ 2426870 w 4148723"/>
                <a:gd name="connsiteY25" fmla="*/ 437405 h 5285288"/>
                <a:gd name="connsiteX26" fmla="*/ 2384220 w 4148723"/>
                <a:gd name="connsiteY26" fmla="*/ 539231 h 5285288"/>
                <a:gd name="connsiteX27" fmla="*/ 2384215 w 4148723"/>
                <a:gd name="connsiteY27" fmla="*/ 1065628 h 5285288"/>
                <a:gd name="connsiteX28" fmla="*/ 2381438 w 4148723"/>
                <a:gd name="connsiteY28" fmla="*/ 1081825 h 5285288"/>
                <a:gd name="connsiteX29" fmla="*/ 2378612 w 4148723"/>
                <a:gd name="connsiteY29" fmla="*/ 1858316 h 5285288"/>
                <a:gd name="connsiteX30" fmla="*/ 2380469 w 4148723"/>
                <a:gd name="connsiteY30" fmla="*/ 1861834 h 5285288"/>
                <a:gd name="connsiteX31" fmla="*/ 2379802 w 4148723"/>
                <a:gd name="connsiteY31" fmla="*/ 3038034 h 5285288"/>
                <a:gd name="connsiteX32" fmla="*/ 2377662 w 4148723"/>
                <a:gd name="connsiteY32" fmla="*/ 4802821 h 5285288"/>
                <a:gd name="connsiteX33" fmla="*/ 2310864 w 4148723"/>
                <a:gd name="connsiteY33" fmla="*/ 5061801 h 5285288"/>
                <a:gd name="connsiteX34" fmla="*/ 2166896 w 4148723"/>
                <a:gd name="connsiteY34" fmla="*/ 5216241 h 5285288"/>
                <a:gd name="connsiteX35" fmla="*/ 1956260 w 4148723"/>
                <a:gd name="connsiteY35" fmla="*/ 5284752 h 5285288"/>
                <a:gd name="connsiteX36" fmla="*/ 1906706 w 4148723"/>
                <a:gd name="connsiteY36" fmla="*/ 5285252 h 5285288"/>
                <a:gd name="connsiteX0" fmla="*/ 1908717 w 4150734"/>
                <a:gd name="connsiteY0" fmla="*/ 5285252 h 5285288"/>
                <a:gd name="connsiteX1" fmla="*/ 1797093 w 4150734"/>
                <a:gd name="connsiteY1" fmla="*/ 5257452 h 5285288"/>
                <a:gd name="connsiteX2" fmla="*/ 1737092 w 4150734"/>
                <a:gd name="connsiteY2" fmla="*/ 5227600 h 5285288"/>
                <a:gd name="connsiteX3" fmla="*/ 195745 w 4150734"/>
                <a:gd name="connsiteY3" fmla="*/ 4344402 h 5285288"/>
                <a:gd name="connsiteX4" fmla="*/ 4859 w 4150734"/>
                <a:gd name="connsiteY4" fmla="*/ 4157062 h 5285288"/>
                <a:gd name="connsiteX5" fmla="*/ 402776 w 4150734"/>
                <a:gd name="connsiteY5" fmla="*/ 3993435 h 5285288"/>
                <a:gd name="connsiteX6" fmla="*/ 1903748 w 4150734"/>
                <a:gd name="connsiteY6" fmla="*/ 4865353 h 5285288"/>
                <a:gd name="connsiteX7" fmla="*/ 1904092 w 4150734"/>
                <a:gd name="connsiteY7" fmla="*/ 4865745 h 5285288"/>
                <a:gd name="connsiteX8" fmla="*/ 1926133 w 4150734"/>
                <a:gd name="connsiteY8" fmla="*/ 4859558 h 5285288"/>
                <a:gd name="connsiteX9" fmla="*/ 1972213 w 4150734"/>
                <a:gd name="connsiteY9" fmla="*/ 4799004 h 5285288"/>
                <a:gd name="connsiteX10" fmla="*/ 1974057 w 4150734"/>
                <a:gd name="connsiteY10" fmla="*/ 4105978 h 5285288"/>
                <a:gd name="connsiteX11" fmla="*/ 1976328 w 4150734"/>
                <a:gd name="connsiteY11" fmla="*/ 1054770 h 5285288"/>
                <a:gd name="connsiteX12" fmla="*/ 1975143 w 4150734"/>
                <a:gd name="connsiteY12" fmla="*/ 1017192 h 5285288"/>
                <a:gd name="connsiteX13" fmla="*/ 1973108 w 4150734"/>
                <a:gd name="connsiteY13" fmla="*/ 494424 h 5285288"/>
                <a:gd name="connsiteX14" fmla="*/ 2018599 w 4150734"/>
                <a:gd name="connsiteY14" fmla="*/ 171698 h 5285288"/>
                <a:gd name="connsiteX15" fmla="*/ 2183206 w 4150734"/>
                <a:gd name="connsiteY15" fmla="*/ 25112 h 5285288"/>
                <a:gd name="connsiteX16" fmla="*/ 2382852 w 4150734"/>
                <a:gd name="connsiteY16" fmla="*/ 3326 h 5285288"/>
                <a:gd name="connsiteX17" fmla="*/ 2558556 w 4150734"/>
                <a:gd name="connsiteY17" fmla="*/ 37548 h 5285288"/>
                <a:gd name="connsiteX18" fmla="*/ 4109709 w 4150734"/>
                <a:gd name="connsiteY18" fmla="*/ 924343 h 5285288"/>
                <a:gd name="connsiteX19" fmla="*/ 4110666 w 4150734"/>
                <a:gd name="connsiteY19" fmla="*/ 1149844 h 5285288"/>
                <a:gd name="connsiteX20" fmla="*/ 3936701 w 4150734"/>
                <a:gd name="connsiteY20" fmla="*/ 1269783 h 5285288"/>
                <a:gd name="connsiteX21" fmla="*/ 3916854 w 4150734"/>
                <a:gd name="connsiteY21" fmla="*/ 1262485 h 5285288"/>
                <a:gd name="connsiteX22" fmla="*/ 2451379 w 4150734"/>
                <a:gd name="connsiteY22" fmla="*/ 431577 h 5285288"/>
                <a:gd name="connsiteX23" fmla="*/ 2451036 w 4150734"/>
                <a:gd name="connsiteY23" fmla="*/ 431184 h 5285288"/>
                <a:gd name="connsiteX24" fmla="*/ 2428881 w 4150734"/>
                <a:gd name="connsiteY24" fmla="*/ 437405 h 5285288"/>
                <a:gd name="connsiteX25" fmla="*/ 2386231 w 4150734"/>
                <a:gd name="connsiteY25" fmla="*/ 539231 h 5285288"/>
                <a:gd name="connsiteX26" fmla="*/ 2386226 w 4150734"/>
                <a:gd name="connsiteY26" fmla="*/ 1065628 h 5285288"/>
                <a:gd name="connsiteX27" fmla="*/ 2383449 w 4150734"/>
                <a:gd name="connsiteY27" fmla="*/ 1081825 h 5285288"/>
                <a:gd name="connsiteX28" fmla="*/ 2380623 w 4150734"/>
                <a:gd name="connsiteY28" fmla="*/ 1858316 h 5285288"/>
                <a:gd name="connsiteX29" fmla="*/ 2382480 w 4150734"/>
                <a:gd name="connsiteY29" fmla="*/ 1861834 h 5285288"/>
                <a:gd name="connsiteX30" fmla="*/ 2381813 w 4150734"/>
                <a:gd name="connsiteY30" fmla="*/ 3038034 h 5285288"/>
                <a:gd name="connsiteX31" fmla="*/ 2379673 w 4150734"/>
                <a:gd name="connsiteY31" fmla="*/ 4802821 h 5285288"/>
                <a:gd name="connsiteX32" fmla="*/ 2312875 w 4150734"/>
                <a:gd name="connsiteY32" fmla="*/ 5061801 h 5285288"/>
                <a:gd name="connsiteX33" fmla="*/ 2168907 w 4150734"/>
                <a:gd name="connsiteY33" fmla="*/ 5216241 h 5285288"/>
                <a:gd name="connsiteX34" fmla="*/ 1958271 w 4150734"/>
                <a:gd name="connsiteY34" fmla="*/ 5284752 h 5285288"/>
                <a:gd name="connsiteX35" fmla="*/ 1908717 w 4150734"/>
                <a:gd name="connsiteY35" fmla="*/ 5285252 h 5285288"/>
                <a:gd name="connsiteX0" fmla="*/ 1821416 w 4063433"/>
                <a:gd name="connsiteY0" fmla="*/ 5285252 h 5285288"/>
                <a:gd name="connsiteX1" fmla="*/ 1709792 w 4063433"/>
                <a:gd name="connsiteY1" fmla="*/ 5257452 h 5285288"/>
                <a:gd name="connsiteX2" fmla="*/ 1649791 w 4063433"/>
                <a:gd name="connsiteY2" fmla="*/ 5227600 h 5285288"/>
                <a:gd name="connsiteX3" fmla="*/ 108444 w 4063433"/>
                <a:gd name="connsiteY3" fmla="*/ 4344402 h 5285288"/>
                <a:gd name="connsiteX4" fmla="*/ 315475 w 4063433"/>
                <a:gd name="connsiteY4" fmla="*/ 3993435 h 5285288"/>
                <a:gd name="connsiteX5" fmla="*/ 1816447 w 4063433"/>
                <a:gd name="connsiteY5" fmla="*/ 4865353 h 5285288"/>
                <a:gd name="connsiteX6" fmla="*/ 1816791 w 4063433"/>
                <a:gd name="connsiteY6" fmla="*/ 4865745 h 5285288"/>
                <a:gd name="connsiteX7" fmla="*/ 1838832 w 4063433"/>
                <a:gd name="connsiteY7" fmla="*/ 4859558 h 5285288"/>
                <a:gd name="connsiteX8" fmla="*/ 1884912 w 4063433"/>
                <a:gd name="connsiteY8" fmla="*/ 4799004 h 5285288"/>
                <a:gd name="connsiteX9" fmla="*/ 1886756 w 4063433"/>
                <a:gd name="connsiteY9" fmla="*/ 4105978 h 5285288"/>
                <a:gd name="connsiteX10" fmla="*/ 1889027 w 4063433"/>
                <a:gd name="connsiteY10" fmla="*/ 1054770 h 5285288"/>
                <a:gd name="connsiteX11" fmla="*/ 1887842 w 4063433"/>
                <a:gd name="connsiteY11" fmla="*/ 1017192 h 5285288"/>
                <a:gd name="connsiteX12" fmla="*/ 1885807 w 4063433"/>
                <a:gd name="connsiteY12" fmla="*/ 494424 h 5285288"/>
                <a:gd name="connsiteX13" fmla="*/ 1931298 w 4063433"/>
                <a:gd name="connsiteY13" fmla="*/ 171698 h 5285288"/>
                <a:gd name="connsiteX14" fmla="*/ 2095905 w 4063433"/>
                <a:gd name="connsiteY14" fmla="*/ 25112 h 5285288"/>
                <a:gd name="connsiteX15" fmla="*/ 2295551 w 4063433"/>
                <a:gd name="connsiteY15" fmla="*/ 3326 h 5285288"/>
                <a:gd name="connsiteX16" fmla="*/ 2471255 w 4063433"/>
                <a:gd name="connsiteY16" fmla="*/ 37548 h 5285288"/>
                <a:gd name="connsiteX17" fmla="*/ 4022408 w 4063433"/>
                <a:gd name="connsiteY17" fmla="*/ 924343 h 5285288"/>
                <a:gd name="connsiteX18" fmla="*/ 4023365 w 4063433"/>
                <a:gd name="connsiteY18" fmla="*/ 1149844 h 5285288"/>
                <a:gd name="connsiteX19" fmla="*/ 3849400 w 4063433"/>
                <a:gd name="connsiteY19" fmla="*/ 1269783 h 5285288"/>
                <a:gd name="connsiteX20" fmla="*/ 3829553 w 4063433"/>
                <a:gd name="connsiteY20" fmla="*/ 1262485 h 5285288"/>
                <a:gd name="connsiteX21" fmla="*/ 2364078 w 4063433"/>
                <a:gd name="connsiteY21" fmla="*/ 431577 h 5285288"/>
                <a:gd name="connsiteX22" fmla="*/ 2363735 w 4063433"/>
                <a:gd name="connsiteY22" fmla="*/ 431184 h 5285288"/>
                <a:gd name="connsiteX23" fmla="*/ 2341580 w 4063433"/>
                <a:gd name="connsiteY23" fmla="*/ 437405 h 5285288"/>
                <a:gd name="connsiteX24" fmla="*/ 2298930 w 4063433"/>
                <a:gd name="connsiteY24" fmla="*/ 539231 h 5285288"/>
                <a:gd name="connsiteX25" fmla="*/ 2298925 w 4063433"/>
                <a:gd name="connsiteY25" fmla="*/ 1065628 h 5285288"/>
                <a:gd name="connsiteX26" fmla="*/ 2296148 w 4063433"/>
                <a:gd name="connsiteY26" fmla="*/ 1081825 h 5285288"/>
                <a:gd name="connsiteX27" fmla="*/ 2293322 w 4063433"/>
                <a:gd name="connsiteY27" fmla="*/ 1858316 h 5285288"/>
                <a:gd name="connsiteX28" fmla="*/ 2295179 w 4063433"/>
                <a:gd name="connsiteY28" fmla="*/ 1861834 h 5285288"/>
                <a:gd name="connsiteX29" fmla="*/ 2294512 w 4063433"/>
                <a:gd name="connsiteY29" fmla="*/ 3038034 h 5285288"/>
                <a:gd name="connsiteX30" fmla="*/ 2292372 w 4063433"/>
                <a:gd name="connsiteY30" fmla="*/ 4802821 h 5285288"/>
                <a:gd name="connsiteX31" fmla="*/ 2225574 w 4063433"/>
                <a:gd name="connsiteY31" fmla="*/ 5061801 h 5285288"/>
                <a:gd name="connsiteX32" fmla="*/ 2081606 w 4063433"/>
                <a:gd name="connsiteY32" fmla="*/ 5216241 h 5285288"/>
                <a:gd name="connsiteX33" fmla="*/ 1870970 w 4063433"/>
                <a:gd name="connsiteY33" fmla="*/ 5284752 h 5285288"/>
                <a:gd name="connsiteX34" fmla="*/ 1821416 w 4063433"/>
                <a:gd name="connsiteY34" fmla="*/ 5285252 h 5285288"/>
                <a:gd name="connsiteX0" fmla="*/ 1798469 w 4040486"/>
                <a:gd name="connsiteY0" fmla="*/ 5285252 h 5285288"/>
                <a:gd name="connsiteX1" fmla="*/ 1686845 w 4040486"/>
                <a:gd name="connsiteY1" fmla="*/ 5257452 h 5285288"/>
                <a:gd name="connsiteX2" fmla="*/ 1626844 w 4040486"/>
                <a:gd name="connsiteY2" fmla="*/ 5227600 h 5285288"/>
                <a:gd name="connsiteX3" fmla="*/ 85497 w 4040486"/>
                <a:gd name="connsiteY3" fmla="*/ 4344402 h 5285288"/>
                <a:gd name="connsiteX4" fmla="*/ 292528 w 4040486"/>
                <a:gd name="connsiteY4" fmla="*/ 3993435 h 5285288"/>
                <a:gd name="connsiteX5" fmla="*/ 1793500 w 4040486"/>
                <a:gd name="connsiteY5" fmla="*/ 4865353 h 5285288"/>
                <a:gd name="connsiteX6" fmla="*/ 1793844 w 4040486"/>
                <a:gd name="connsiteY6" fmla="*/ 4865745 h 5285288"/>
                <a:gd name="connsiteX7" fmla="*/ 1815885 w 4040486"/>
                <a:gd name="connsiteY7" fmla="*/ 4859558 h 5285288"/>
                <a:gd name="connsiteX8" fmla="*/ 1861965 w 4040486"/>
                <a:gd name="connsiteY8" fmla="*/ 4799004 h 5285288"/>
                <a:gd name="connsiteX9" fmla="*/ 1863809 w 4040486"/>
                <a:gd name="connsiteY9" fmla="*/ 4105978 h 5285288"/>
                <a:gd name="connsiteX10" fmla="*/ 1866080 w 4040486"/>
                <a:gd name="connsiteY10" fmla="*/ 1054770 h 5285288"/>
                <a:gd name="connsiteX11" fmla="*/ 1864895 w 4040486"/>
                <a:gd name="connsiteY11" fmla="*/ 1017192 h 5285288"/>
                <a:gd name="connsiteX12" fmla="*/ 1862860 w 4040486"/>
                <a:gd name="connsiteY12" fmla="*/ 494424 h 5285288"/>
                <a:gd name="connsiteX13" fmla="*/ 1908351 w 4040486"/>
                <a:gd name="connsiteY13" fmla="*/ 171698 h 5285288"/>
                <a:gd name="connsiteX14" fmla="*/ 2072958 w 4040486"/>
                <a:gd name="connsiteY14" fmla="*/ 25112 h 5285288"/>
                <a:gd name="connsiteX15" fmla="*/ 2272604 w 4040486"/>
                <a:gd name="connsiteY15" fmla="*/ 3326 h 5285288"/>
                <a:gd name="connsiteX16" fmla="*/ 2448308 w 4040486"/>
                <a:gd name="connsiteY16" fmla="*/ 37548 h 5285288"/>
                <a:gd name="connsiteX17" fmla="*/ 3999461 w 4040486"/>
                <a:gd name="connsiteY17" fmla="*/ 924343 h 5285288"/>
                <a:gd name="connsiteX18" fmla="*/ 4000418 w 4040486"/>
                <a:gd name="connsiteY18" fmla="*/ 1149844 h 5285288"/>
                <a:gd name="connsiteX19" fmla="*/ 3826453 w 4040486"/>
                <a:gd name="connsiteY19" fmla="*/ 1269783 h 5285288"/>
                <a:gd name="connsiteX20" fmla="*/ 3806606 w 4040486"/>
                <a:gd name="connsiteY20" fmla="*/ 1262485 h 5285288"/>
                <a:gd name="connsiteX21" fmla="*/ 2341131 w 4040486"/>
                <a:gd name="connsiteY21" fmla="*/ 431577 h 5285288"/>
                <a:gd name="connsiteX22" fmla="*/ 2340788 w 4040486"/>
                <a:gd name="connsiteY22" fmla="*/ 431184 h 5285288"/>
                <a:gd name="connsiteX23" fmla="*/ 2318633 w 4040486"/>
                <a:gd name="connsiteY23" fmla="*/ 437405 h 5285288"/>
                <a:gd name="connsiteX24" fmla="*/ 2275983 w 4040486"/>
                <a:gd name="connsiteY24" fmla="*/ 539231 h 5285288"/>
                <a:gd name="connsiteX25" fmla="*/ 2275978 w 4040486"/>
                <a:gd name="connsiteY25" fmla="*/ 1065628 h 5285288"/>
                <a:gd name="connsiteX26" fmla="*/ 2273201 w 4040486"/>
                <a:gd name="connsiteY26" fmla="*/ 1081825 h 5285288"/>
                <a:gd name="connsiteX27" fmla="*/ 2270375 w 4040486"/>
                <a:gd name="connsiteY27" fmla="*/ 1858316 h 5285288"/>
                <a:gd name="connsiteX28" fmla="*/ 2272232 w 4040486"/>
                <a:gd name="connsiteY28" fmla="*/ 1861834 h 5285288"/>
                <a:gd name="connsiteX29" fmla="*/ 2271565 w 4040486"/>
                <a:gd name="connsiteY29" fmla="*/ 3038034 h 5285288"/>
                <a:gd name="connsiteX30" fmla="*/ 2269425 w 4040486"/>
                <a:gd name="connsiteY30" fmla="*/ 4802821 h 5285288"/>
                <a:gd name="connsiteX31" fmla="*/ 2202627 w 4040486"/>
                <a:gd name="connsiteY31" fmla="*/ 5061801 h 5285288"/>
                <a:gd name="connsiteX32" fmla="*/ 2058659 w 4040486"/>
                <a:gd name="connsiteY32" fmla="*/ 5216241 h 5285288"/>
                <a:gd name="connsiteX33" fmla="*/ 1848023 w 4040486"/>
                <a:gd name="connsiteY33" fmla="*/ 5284752 h 5285288"/>
                <a:gd name="connsiteX34" fmla="*/ 1798469 w 4040486"/>
                <a:gd name="connsiteY34" fmla="*/ 5285252 h 5285288"/>
                <a:gd name="connsiteX0" fmla="*/ 1768046 w 4010063"/>
                <a:gd name="connsiteY0" fmla="*/ 5285252 h 5285288"/>
                <a:gd name="connsiteX1" fmla="*/ 1656422 w 4010063"/>
                <a:gd name="connsiteY1" fmla="*/ 5257452 h 5285288"/>
                <a:gd name="connsiteX2" fmla="*/ 1596421 w 4010063"/>
                <a:gd name="connsiteY2" fmla="*/ 5227600 h 5285288"/>
                <a:gd name="connsiteX3" fmla="*/ 55074 w 4010063"/>
                <a:gd name="connsiteY3" fmla="*/ 4344402 h 5285288"/>
                <a:gd name="connsiteX4" fmla="*/ 262105 w 4010063"/>
                <a:gd name="connsiteY4" fmla="*/ 3993435 h 5285288"/>
                <a:gd name="connsiteX5" fmla="*/ 1763077 w 4010063"/>
                <a:gd name="connsiteY5" fmla="*/ 4865353 h 5285288"/>
                <a:gd name="connsiteX6" fmla="*/ 1763421 w 4010063"/>
                <a:gd name="connsiteY6" fmla="*/ 4865745 h 5285288"/>
                <a:gd name="connsiteX7" fmla="*/ 1785462 w 4010063"/>
                <a:gd name="connsiteY7" fmla="*/ 4859558 h 5285288"/>
                <a:gd name="connsiteX8" fmla="*/ 1831542 w 4010063"/>
                <a:gd name="connsiteY8" fmla="*/ 4799004 h 5285288"/>
                <a:gd name="connsiteX9" fmla="*/ 1833386 w 4010063"/>
                <a:gd name="connsiteY9" fmla="*/ 4105978 h 5285288"/>
                <a:gd name="connsiteX10" fmla="*/ 1835657 w 4010063"/>
                <a:gd name="connsiteY10" fmla="*/ 1054770 h 5285288"/>
                <a:gd name="connsiteX11" fmla="*/ 1834472 w 4010063"/>
                <a:gd name="connsiteY11" fmla="*/ 1017192 h 5285288"/>
                <a:gd name="connsiteX12" fmla="*/ 1832437 w 4010063"/>
                <a:gd name="connsiteY12" fmla="*/ 494424 h 5285288"/>
                <a:gd name="connsiteX13" fmla="*/ 1877928 w 4010063"/>
                <a:gd name="connsiteY13" fmla="*/ 171698 h 5285288"/>
                <a:gd name="connsiteX14" fmla="*/ 2042535 w 4010063"/>
                <a:gd name="connsiteY14" fmla="*/ 25112 h 5285288"/>
                <a:gd name="connsiteX15" fmla="*/ 2242181 w 4010063"/>
                <a:gd name="connsiteY15" fmla="*/ 3326 h 5285288"/>
                <a:gd name="connsiteX16" fmla="*/ 2417885 w 4010063"/>
                <a:gd name="connsiteY16" fmla="*/ 37548 h 5285288"/>
                <a:gd name="connsiteX17" fmla="*/ 3969038 w 4010063"/>
                <a:gd name="connsiteY17" fmla="*/ 924343 h 5285288"/>
                <a:gd name="connsiteX18" fmla="*/ 3969995 w 4010063"/>
                <a:gd name="connsiteY18" fmla="*/ 1149844 h 5285288"/>
                <a:gd name="connsiteX19" fmla="*/ 3796030 w 4010063"/>
                <a:gd name="connsiteY19" fmla="*/ 1269783 h 5285288"/>
                <a:gd name="connsiteX20" fmla="*/ 3776183 w 4010063"/>
                <a:gd name="connsiteY20" fmla="*/ 1262485 h 5285288"/>
                <a:gd name="connsiteX21" fmla="*/ 2310708 w 4010063"/>
                <a:gd name="connsiteY21" fmla="*/ 431577 h 5285288"/>
                <a:gd name="connsiteX22" fmla="*/ 2310365 w 4010063"/>
                <a:gd name="connsiteY22" fmla="*/ 431184 h 5285288"/>
                <a:gd name="connsiteX23" fmla="*/ 2288210 w 4010063"/>
                <a:gd name="connsiteY23" fmla="*/ 437405 h 5285288"/>
                <a:gd name="connsiteX24" fmla="*/ 2245560 w 4010063"/>
                <a:gd name="connsiteY24" fmla="*/ 539231 h 5285288"/>
                <a:gd name="connsiteX25" fmla="*/ 2245555 w 4010063"/>
                <a:gd name="connsiteY25" fmla="*/ 1065628 h 5285288"/>
                <a:gd name="connsiteX26" fmla="*/ 2242778 w 4010063"/>
                <a:gd name="connsiteY26" fmla="*/ 1081825 h 5285288"/>
                <a:gd name="connsiteX27" fmla="*/ 2239952 w 4010063"/>
                <a:gd name="connsiteY27" fmla="*/ 1858316 h 5285288"/>
                <a:gd name="connsiteX28" fmla="*/ 2241809 w 4010063"/>
                <a:gd name="connsiteY28" fmla="*/ 1861834 h 5285288"/>
                <a:gd name="connsiteX29" fmla="*/ 2241142 w 4010063"/>
                <a:gd name="connsiteY29" fmla="*/ 3038034 h 5285288"/>
                <a:gd name="connsiteX30" fmla="*/ 2239002 w 4010063"/>
                <a:gd name="connsiteY30" fmla="*/ 4802821 h 5285288"/>
                <a:gd name="connsiteX31" fmla="*/ 2172204 w 4010063"/>
                <a:gd name="connsiteY31" fmla="*/ 5061801 h 5285288"/>
                <a:gd name="connsiteX32" fmla="*/ 2028236 w 4010063"/>
                <a:gd name="connsiteY32" fmla="*/ 5216241 h 5285288"/>
                <a:gd name="connsiteX33" fmla="*/ 1817600 w 4010063"/>
                <a:gd name="connsiteY33" fmla="*/ 5284752 h 5285288"/>
                <a:gd name="connsiteX34" fmla="*/ 1768046 w 4010063"/>
                <a:gd name="connsiteY34" fmla="*/ 5285252 h 528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10063" h="5285288">
                  <a:moveTo>
                    <a:pt x="1768046" y="5285252"/>
                  </a:moveTo>
                  <a:cubicBezTo>
                    <a:pt x="1739627" y="5285662"/>
                    <a:pt x="1714438" y="5282948"/>
                    <a:pt x="1656422" y="5257452"/>
                  </a:cubicBezTo>
                  <a:lnTo>
                    <a:pt x="1596421" y="5227600"/>
                  </a:lnTo>
                  <a:lnTo>
                    <a:pt x="55074" y="4344402"/>
                  </a:lnTo>
                  <a:cubicBezTo>
                    <a:pt x="-96531" y="4197694"/>
                    <a:pt x="95412" y="3918412"/>
                    <a:pt x="262105" y="3993435"/>
                  </a:cubicBezTo>
                  <a:lnTo>
                    <a:pt x="1763077" y="4865353"/>
                  </a:lnTo>
                  <a:lnTo>
                    <a:pt x="1763421" y="4865745"/>
                  </a:lnTo>
                  <a:lnTo>
                    <a:pt x="1785462" y="4859558"/>
                  </a:lnTo>
                  <a:cubicBezTo>
                    <a:pt x="1809264" y="4852878"/>
                    <a:pt x="1828841" y="4839446"/>
                    <a:pt x="1831542" y="4799004"/>
                  </a:cubicBezTo>
                  <a:cubicBezTo>
                    <a:pt x="1832157" y="4567995"/>
                    <a:pt x="1832771" y="4336987"/>
                    <a:pt x="1833386" y="4105978"/>
                  </a:cubicBezTo>
                  <a:lnTo>
                    <a:pt x="1835657" y="1054770"/>
                  </a:lnTo>
                  <a:lnTo>
                    <a:pt x="1834472" y="1017192"/>
                  </a:lnTo>
                  <a:cubicBezTo>
                    <a:pt x="1830340" y="883195"/>
                    <a:pt x="1829514" y="685526"/>
                    <a:pt x="1832437" y="494424"/>
                  </a:cubicBezTo>
                  <a:cubicBezTo>
                    <a:pt x="1830234" y="341098"/>
                    <a:pt x="1842912" y="249917"/>
                    <a:pt x="1877928" y="171698"/>
                  </a:cubicBezTo>
                  <a:cubicBezTo>
                    <a:pt x="1912944" y="93479"/>
                    <a:pt x="1997926" y="53875"/>
                    <a:pt x="2042535" y="25112"/>
                  </a:cubicBezTo>
                  <a:cubicBezTo>
                    <a:pt x="2124402" y="-9906"/>
                    <a:pt x="2179623" y="1253"/>
                    <a:pt x="2242181" y="3326"/>
                  </a:cubicBezTo>
                  <a:cubicBezTo>
                    <a:pt x="2304739" y="5399"/>
                    <a:pt x="2360023" y="16377"/>
                    <a:pt x="2417885" y="37548"/>
                  </a:cubicBezTo>
                  <a:lnTo>
                    <a:pt x="3969038" y="924343"/>
                  </a:lnTo>
                  <a:cubicBezTo>
                    <a:pt x="4023363" y="955707"/>
                    <a:pt x="4023791" y="1056667"/>
                    <a:pt x="3969995" y="1149844"/>
                  </a:cubicBezTo>
                  <a:cubicBezTo>
                    <a:pt x="3922924" y="1231374"/>
                    <a:pt x="3849935" y="1279929"/>
                    <a:pt x="3796030" y="1269783"/>
                  </a:cubicBezTo>
                  <a:lnTo>
                    <a:pt x="3776183" y="1262485"/>
                  </a:lnTo>
                  <a:lnTo>
                    <a:pt x="2310708" y="431577"/>
                  </a:lnTo>
                  <a:cubicBezTo>
                    <a:pt x="2310594" y="431448"/>
                    <a:pt x="2310479" y="431313"/>
                    <a:pt x="2310365" y="431184"/>
                  </a:cubicBezTo>
                  <a:lnTo>
                    <a:pt x="2288210" y="437405"/>
                  </a:lnTo>
                  <a:cubicBezTo>
                    <a:pt x="2277409" y="455412"/>
                    <a:pt x="2252669" y="434527"/>
                    <a:pt x="2245560" y="539231"/>
                  </a:cubicBezTo>
                  <a:cubicBezTo>
                    <a:pt x="2245560" y="714697"/>
                    <a:pt x="2245555" y="890162"/>
                    <a:pt x="2245555" y="1065628"/>
                  </a:cubicBezTo>
                  <a:lnTo>
                    <a:pt x="2242778" y="1081825"/>
                  </a:lnTo>
                  <a:lnTo>
                    <a:pt x="2239952" y="1858316"/>
                  </a:lnTo>
                  <a:lnTo>
                    <a:pt x="2241809" y="1861834"/>
                  </a:lnTo>
                  <a:cubicBezTo>
                    <a:pt x="2242007" y="2058454"/>
                    <a:pt x="2241142" y="2841791"/>
                    <a:pt x="2241142" y="3038034"/>
                  </a:cubicBezTo>
                  <a:cubicBezTo>
                    <a:pt x="2240428" y="3626297"/>
                    <a:pt x="2239714" y="4214559"/>
                    <a:pt x="2239002" y="4802821"/>
                  </a:cubicBezTo>
                  <a:cubicBezTo>
                    <a:pt x="2226211" y="4887762"/>
                    <a:pt x="2252165" y="4926970"/>
                    <a:pt x="2172204" y="5061801"/>
                  </a:cubicBezTo>
                  <a:cubicBezTo>
                    <a:pt x="2112234" y="5162924"/>
                    <a:pt x="2072628" y="5187619"/>
                    <a:pt x="2028236" y="5216241"/>
                  </a:cubicBezTo>
                  <a:cubicBezTo>
                    <a:pt x="1946767" y="5251083"/>
                    <a:pt x="1898932" y="5287513"/>
                    <a:pt x="1817600" y="5284752"/>
                  </a:cubicBezTo>
                  <a:cubicBezTo>
                    <a:pt x="1797271" y="5284061"/>
                    <a:pt x="1782254" y="5285046"/>
                    <a:pt x="1768046" y="5285252"/>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nvGrpSpPr>
            <p:cNvPr id="789" name="Group 788">
              <a:extLst>
                <a:ext uri="{FF2B5EF4-FFF2-40B4-BE49-F238E27FC236}">
                  <a16:creationId xmlns:a16="http://schemas.microsoft.com/office/drawing/2014/main" id="{FDDE93EC-EF0D-4ED1-8FBE-FB2150732A67}"/>
                </a:ext>
              </a:extLst>
            </p:cNvPr>
            <p:cNvGrpSpPr/>
            <p:nvPr/>
          </p:nvGrpSpPr>
          <p:grpSpPr bwMode="gray">
            <a:xfrm>
              <a:off x="-3475322" y="-510357"/>
              <a:ext cx="4020484" cy="5327268"/>
              <a:chOff x="-3475322" y="-510357"/>
              <a:chExt cx="4020484" cy="5327268"/>
            </a:xfrm>
          </p:grpSpPr>
          <p:sp>
            <p:nvSpPr>
              <p:cNvPr id="790" name="Freeform: Shape 789">
                <a:extLst>
                  <a:ext uri="{FF2B5EF4-FFF2-40B4-BE49-F238E27FC236}">
                    <a16:creationId xmlns:a16="http://schemas.microsoft.com/office/drawing/2014/main" id="{E6E20527-A28F-4BA4-9105-DE0CFCFD937B}"/>
                  </a:ext>
                </a:extLst>
              </p:cNvPr>
              <p:cNvSpPr/>
              <p:nvPr/>
            </p:nvSpPr>
            <p:spPr bwMode="gray">
              <a:xfrm flipH="1" flipV="1">
                <a:off x="-1719472" y="-278606"/>
                <a:ext cx="426110" cy="5095517"/>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2513375 w 4212730"/>
                  <a:gd name="connsiteY32" fmla="*/ 431577 h 5285288"/>
                  <a:gd name="connsiteX33" fmla="*/ 2513032 w 4212730"/>
                  <a:gd name="connsiteY33" fmla="*/ 431184 h 5285288"/>
                  <a:gd name="connsiteX34" fmla="*/ 2490877 w 4212730"/>
                  <a:gd name="connsiteY34" fmla="*/ 437405 h 5285288"/>
                  <a:gd name="connsiteX35" fmla="*/ 2448227 w 4212730"/>
                  <a:gd name="connsiteY35" fmla="*/ 539231 h 5285288"/>
                  <a:gd name="connsiteX36" fmla="*/ 2448222 w 4212730"/>
                  <a:gd name="connsiteY36" fmla="*/ 1065628 h 5285288"/>
                  <a:gd name="connsiteX37" fmla="*/ 2445445 w 4212730"/>
                  <a:gd name="connsiteY37" fmla="*/ 1081825 h 5285288"/>
                  <a:gd name="connsiteX38" fmla="*/ 2442619 w 4212730"/>
                  <a:gd name="connsiteY38" fmla="*/ 1858316 h 5285288"/>
                  <a:gd name="connsiteX39" fmla="*/ 2444476 w 4212730"/>
                  <a:gd name="connsiteY39" fmla="*/ 1861834 h 5285288"/>
                  <a:gd name="connsiteX40" fmla="*/ 2443809 w 4212730"/>
                  <a:gd name="connsiteY40" fmla="*/ 3038034 h 5285288"/>
                  <a:gd name="connsiteX41" fmla="*/ 2441669 w 4212730"/>
                  <a:gd name="connsiteY41" fmla="*/ 4802821 h 5285288"/>
                  <a:gd name="connsiteX42" fmla="*/ 2374871 w 4212730"/>
                  <a:gd name="connsiteY42" fmla="*/ 5061801 h 5285288"/>
                  <a:gd name="connsiteX43" fmla="*/ 2230903 w 4212730"/>
                  <a:gd name="connsiteY43" fmla="*/ 5216241 h 5285288"/>
                  <a:gd name="connsiteX44" fmla="*/ 2020267 w 4212730"/>
                  <a:gd name="connsiteY44" fmla="*/ 5284752 h 5285288"/>
                  <a:gd name="connsiteX45" fmla="*/ 1970713 w 4212730"/>
                  <a:gd name="connsiteY45" fmla="*/ 5285252 h 5285288"/>
                  <a:gd name="connsiteX0" fmla="*/ 1970713 w 4290965"/>
                  <a:gd name="connsiteY0" fmla="*/ 5285252 h 5285288"/>
                  <a:gd name="connsiteX1" fmla="*/ 1859089 w 4290965"/>
                  <a:gd name="connsiteY1" fmla="*/ 5257452 h 5285288"/>
                  <a:gd name="connsiteX2" fmla="*/ 1799088 w 4290965"/>
                  <a:gd name="connsiteY2" fmla="*/ 5227600 h 5285288"/>
                  <a:gd name="connsiteX3" fmla="*/ 257741 w 4290965"/>
                  <a:gd name="connsiteY3" fmla="*/ 4344402 h 5285288"/>
                  <a:gd name="connsiteX4" fmla="*/ 66855 w 4290965"/>
                  <a:gd name="connsiteY4" fmla="*/ 4157062 h 5285288"/>
                  <a:gd name="connsiteX5" fmla="*/ 5085 w 4290965"/>
                  <a:gd name="connsiteY5" fmla="*/ 3955159 h 5285288"/>
                  <a:gd name="connsiteX6" fmla="*/ 117 w 4290965"/>
                  <a:gd name="connsiteY6" fmla="*/ 3898769 h 5285288"/>
                  <a:gd name="connsiteX7" fmla="*/ 0 w 4290965"/>
                  <a:gd name="connsiteY7" fmla="*/ 3898107 h 5285288"/>
                  <a:gd name="connsiteX8" fmla="*/ 5920 w 4290965"/>
                  <a:gd name="connsiteY8" fmla="*/ 2513626 h 5285288"/>
                  <a:gd name="connsiteX9" fmla="*/ 9056 w 4290965"/>
                  <a:gd name="connsiteY9" fmla="*/ 2484766 h 5285288"/>
                  <a:gd name="connsiteX10" fmla="*/ 206180 w 4290965"/>
                  <a:gd name="connsiteY10" fmla="*/ 2392022 h 5285288"/>
                  <a:gd name="connsiteX11" fmla="*/ 407391 w 4290965"/>
                  <a:gd name="connsiteY11" fmla="*/ 2508175 h 5285288"/>
                  <a:gd name="connsiteX12" fmla="*/ 406100 w 4290965"/>
                  <a:gd name="connsiteY12" fmla="*/ 2572658 h 5285288"/>
                  <a:gd name="connsiteX13" fmla="*/ 409165 w 4290965"/>
                  <a:gd name="connsiteY13" fmla="*/ 3888049 h 5285288"/>
                  <a:gd name="connsiteX14" fmla="*/ 407598 w 4290965"/>
                  <a:gd name="connsiteY14" fmla="*/ 3881457 h 5285288"/>
                  <a:gd name="connsiteX15" fmla="*/ 407517 w 4290965"/>
                  <a:gd name="connsiteY15" fmla="*/ 3894265 h 5285288"/>
                  <a:gd name="connsiteX16" fmla="*/ 464772 w 4290965"/>
                  <a:gd name="connsiteY16" fmla="*/ 3993435 h 5285288"/>
                  <a:gd name="connsiteX17" fmla="*/ 1965744 w 4290965"/>
                  <a:gd name="connsiteY17" fmla="*/ 4865353 h 5285288"/>
                  <a:gd name="connsiteX18" fmla="*/ 1966088 w 4290965"/>
                  <a:gd name="connsiteY18" fmla="*/ 4865745 h 5285288"/>
                  <a:gd name="connsiteX19" fmla="*/ 1988129 w 4290965"/>
                  <a:gd name="connsiteY19" fmla="*/ 4859558 h 5285288"/>
                  <a:gd name="connsiteX20" fmla="*/ 2034209 w 4290965"/>
                  <a:gd name="connsiteY20" fmla="*/ 4799004 h 5285288"/>
                  <a:gd name="connsiteX21" fmla="*/ 2036053 w 4290965"/>
                  <a:gd name="connsiteY21" fmla="*/ 4105978 h 5285288"/>
                  <a:gd name="connsiteX22" fmla="*/ 2038324 w 4290965"/>
                  <a:gd name="connsiteY22" fmla="*/ 1054770 h 5285288"/>
                  <a:gd name="connsiteX23" fmla="*/ 2037139 w 4290965"/>
                  <a:gd name="connsiteY23" fmla="*/ 1017192 h 5285288"/>
                  <a:gd name="connsiteX24" fmla="*/ 2035104 w 4290965"/>
                  <a:gd name="connsiteY24" fmla="*/ 494424 h 5285288"/>
                  <a:gd name="connsiteX25" fmla="*/ 2080595 w 4290965"/>
                  <a:gd name="connsiteY25" fmla="*/ 171698 h 5285288"/>
                  <a:gd name="connsiteX26" fmla="*/ 2245202 w 4290965"/>
                  <a:gd name="connsiteY26" fmla="*/ 25112 h 5285288"/>
                  <a:gd name="connsiteX27" fmla="*/ 2444848 w 4290965"/>
                  <a:gd name="connsiteY27" fmla="*/ 3326 h 5285288"/>
                  <a:gd name="connsiteX28" fmla="*/ 2620552 w 4290965"/>
                  <a:gd name="connsiteY28" fmla="*/ 37548 h 5285288"/>
                  <a:gd name="connsiteX29" fmla="*/ 4171705 w 4290965"/>
                  <a:gd name="connsiteY29" fmla="*/ 924343 h 5285288"/>
                  <a:gd name="connsiteX30" fmla="*/ 3998697 w 4290965"/>
                  <a:gd name="connsiteY30" fmla="*/ 1269783 h 5285288"/>
                  <a:gd name="connsiteX31" fmla="*/ 2513375 w 4290965"/>
                  <a:gd name="connsiteY31" fmla="*/ 431577 h 5285288"/>
                  <a:gd name="connsiteX32" fmla="*/ 2513032 w 4290965"/>
                  <a:gd name="connsiteY32" fmla="*/ 431184 h 5285288"/>
                  <a:gd name="connsiteX33" fmla="*/ 2490877 w 4290965"/>
                  <a:gd name="connsiteY33" fmla="*/ 437405 h 5285288"/>
                  <a:gd name="connsiteX34" fmla="*/ 2448227 w 4290965"/>
                  <a:gd name="connsiteY34" fmla="*/ 539231 h 5285288"/>
                  <a:gd name="connsiteX35" fmla="*/ 2448222 w 4290965"/>
                  <a:gd name="connsiteY35" fmla="*/ 1065628 h 5285288"/>
                  <a:gd name="connsiteX36" fmla="*/ 2445445 w 4290965"/>
                  <a:gd name="connsiteY36" fmla="*/ 1081825 h 5285288"/>
                  <a:gd name="connsiteX37" fmla="*/ 2442619 w 4290965"/>
                  <a:gd name="connsiteY37" fmla="*/ 1858316 h 5285288"/>
                  <a:gd name="connsiteX38" fmla="*/ 2444476 w 4290965"/>
                  <a:gd name="connsiteY38" fmla="*/ 1861834 h 5285288"/>
                  <a:gd name="connsiteX39" fmla="*/ 2443809 w 4290965"/>
                  <a:gd name="connsiteY39" fmla="*/ 3038034 h 5285288"/>
                  <a:gd name="connsiteX40" fmla="*/ 2441669 w 4290965"/>
                  <a:gd name="connsiteY40" fmla="*/ 4802821 h 5285288"/>
                  <a:gd name="connsiteX41" fmla="*/ 2374871 w 4290965"/>
                  <a:gd name="connsiteY41" fmla="*/ 5061801 h 5285288"/>
                  <a:gd name="connsiteX42" fmla="*/ 2230903 w 4290965"/>
                  <a:gd name="connsiteY42" fmla="*/ 5216241 h 5285288"/>
                  <a:gd name="connsiteX43" fmla="*/ 2020267 w 4290965"/>
                  <a:gd name="connsiteY43" fmla="*/ 5284752 h 5285288"/>
                  <a:gd name="connsiteX44" fmla="*/ 1970713 w 4290965"/>
                  <a:gd name="connsiteY44"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2513375 w 3998697"/>
                  <a:gd name="connsiteY30" fmla="*/ 431577 h 5285288"/>
                  <a:gd name="connsiteX31" fmla="*/ 2513032 w 3998697"/>
                  <a:gd name="connsiteY31" fmla="*/ 431184 h 5285288"/>
                  <a:gd name="connsiteX32" fmla="*/ 2490877 w 3998697"/>
                  <a:gd name="connsiteY32" fmla="*/ 437405 h 5285288"/>
                  <a:gd name="connsiteX33" fmla="*/ 2448227 w 3998697"/>
                  <a:gd name="connsiteY33" fmla="*/ 539231 h 5285288"/>
                  <a:gd name="connsiteX34" fmla="*/ 2448222 w 3998697"/>
                  <a:gd name="connsiteY34" fmla="*/ 1065628 h 5285288"/>
                  <a:gd name="connsiteX35" fmla="*/ 2445445 w 3998697"/>
                  <a:gd name="connsiteY35" fmla="*/ 1081825 h 5285288"/>
                  <a:gd name="connsiteX36" fmla="*/ 2442619 w 3998697"/>
                  <a:gd name="connsiteY36" fmla="*/ 1858316 h 5285288"/>
                  <a:gd name="connsiteX37" fmla="*/ 2444476 w 3998697"/>
                  <a:gd name="connsiteY37" fmla="*/ 1861834 h 5285288"/>
                  <a:gd name="connsiteX38" fmla="*/ 2443809 w 3998697"/>
                  <a:gd name="connsiteY38" fmla="*/ 3038034 h 5285288"/>
                  <a:gd name="connsiteX39" fmla="*/ 2441669 w 3998697"/>
                  <a:gd name="connsiteY39" fmla="*/ 4802821 h 5285288"/>
                  <a:gd name="connsiteX40" fmla="*/ 2374871 w 3998697"/>
                  <a:gd name="connsiteY40" fmla="*/ 5061801 h 5285288"/>
                  <a:gd name="connsiteX41" fmla="*/ 2230903 w 3998697"/>
                  <a:gd name="connsiteY41" fmla="*/ 5216241 h 5285288"/>
                  <a:gd name="connsiteX42" fmla="*/ 2020267 w 3998697"/>
                  <a:gd name="connsiteY42" fmla="*/ 5284752 h 5285288"/>
                  <a:gd name="connsiteX43" fmla="*/ 1970713 w 3998697"/>
                  <a:gd name="connsiteY43" fmla="*/ 5285252 h 5285288"/>
                  <a:gd name="connsiteX0" fmla="*/ 1970713 w 2620552"/>
                  <a:gd name="connsiteY0" fmla="*/ 5285252 h 5285288"/>
                  <a:gd name="connsiteX1" fmla="*/ 1859089 w 2620552"/>
                  <a:gd name="connsiteY1" fmla="*/ 5257452 h 5285288"/>
                  <a:gd name="connsiteX2" fmla="*/ 1799088 w 2620552"/>
                  <a:gd name="connsiteY2" fmla="*/ 5227600 h 5285288"/>
                  <a:gd name="connsiteX3" fmla="*/ 257741 w 2620552"/>
                  <a:gd name="connsiteY3" fmla="*/ 4344402 h 5285288"/>
                  <a:gd name="connsiteX4" fmla="*/ 66855 w 2620552"/>
                  <a:gd name="connsiteY4" fmla="*/ 4157062 h 5285288"/>
                  <a:gd name="connsiteX5" fmla="*/ 5085 w 2620552"/>
                  <a:gd name="connsiteY5" fmla="*/ 3955159 h 5285288"/>
                  <a:gd name="connsiteX6" fmla="*/ 117 w 2620552"/>
                  <a:gd name="connsiteY6" fmla="*/ 3898769 h 5285288"/>
                  <a:gd name="connsiteX7" fmla="*/ 0 w 2620552"/>
                  <a:gd name="connsiteY7" fmla="*/ 3898107 h 5285288"/>
                  <a:gd name="connsiteX8" fmla="*/ 5920 w 2620552"/>
                  <a:gd name="connsiteY8" fmla="*/ 2513626 h 5285288"/>
                  <a:gd name="connsiteX9" fmla="*/ 9056 w 2620552"/>
                  <a:gd name="connsiteY9" fmla="*/ 2484766 h 5285288"/>
                  <a:gd name="connsiteX10" fmla="*/ 206180 w 2620552"/>
                  <a:gd name="connsiteY10" fmla="*/ 2392022 h 5285288"/>
                  <a:gd name="connsiteX11" fmla="*/ 407391 w 2620552"/>
                  <a:gd name="connsiteY11" fmla="*/ 2508175 h 5285288"/>
                  <a:gd name="connsiteX12" fmla="*/ 406100 w 2620552"/>
                  <a:gd name="connsiteY12" fmla="*/ 2572658 h 5285288"/>
                  <a:gd name="connsiteX13" fmla="*/ 409165 w 2620552"/>
                  <a:gd name="connsiteY13" fmla="*/ 3888049 h 5285288"/>
                  <a:gd name="connsiteX14" fmla="*/ 407598 w 2620552"/>
                  <a:gd name="connsiteY14" fmla="*/ 3881457 h 5285288"/>
                  <a:gd name="connsiteX15" fmla="*/ 407517 w 2620552"/>
                  <a:gd name="connsiteY15" fmla="*/ 3894265 h 5285288"/>
                  <a:gd name="connsiteX16" fmla="*/ 464772 w 2620552"/>
                  <a:gd name="connsiteY16" fmla="*/ 3993435 h 5285288"/>
                  <a:gd name="connsiteX17" fmla="*/ 1965744 w 2620552"/>
                  <a:gd name="connsiteY17" fmla="*/ 4865353 h 5285288"/>
                  <a:gd name="connsiteX18" fmla="*/ 1966088 w 2620552"/>
                  <a:gd name="connsiteY18" fmla="*/ 4865745 h 5285288"/>
                  <a:gd name="connsiteX19" fmla="*/ 1988129 w 2620552"/>
                  <a:gd name="connsiteY19" fmla="*/ 4859558 h 5285288"/>
                  <a:gd name="connsiteX20" fmla="*/ 2034209 w 2620552"/>
                  <a:gd name="connsiteY20" fmla="*/ 4799004 h 5285288"/>
                  <a:gd name="connsiteX21" fmla="*/ 2036053 w 2620552"/>
                  <a:gd name="connsiteY21" fmla="*/ 4105978 h 5285288"/>
                  <a:gd name="connsiteX22" fmla="*/ 2038324 w 2620552"/>
                  <a:gd name="connsiteY22" fmla="*/ 1054770 h 5285288"/>
                  <a:gd name="connsiteX23" fmla="*/ 2037139 w 2620552"/>
                  <a:gd name="connsiteY23" fmla="*/ 1017192 h 5285288"/>
                  <a:gd name="connsiteX24" fmla="*/ 2035104 w 2620552"/>
                  <a:gd name="connsiteY24" fmla="*/ 494424 h 5285288"/>
                  <a:gd name="connsiteX25" fmla="*/ 2080595 w 2620552"/>
                  <a:gd name="connsiteY25" fmla="*/ 171698 h 5285288"/>
                  <a:gd name="connsiteX26" fmla="*/ 2245202 w 2620552"/>
                  <a:gd name="connsiteY26" fmla="*/ 25112 h 5285288"/>
                  <a:gd name="connsiteX27" fmla="*/ 2444848 w 2620552"/>
                  <a:gd name="connsiteY27" fmla="*/ 3326 h 5285288"/>
                  <a:gd name="connsiteX28" fmla="*/ 2620552 w 2620552"/>
                  <a:gd name="connsiteY28" fmla="*/ 37548 h 5285288"/>
                  <a:gd name="connsiteX29" fmla="*/ 2513375 w 2620552"/>
                  <a:gd name="connsiteY29" fmla="*/ 431577 h 5285288"/>
                  <a:gd name="connsiteX30" fmla="*/ 2513032 w 2620552"/>
                  <a:gd name="connsiteY30" fmla="*/ 431184 h 5285288"/>
                  <a:gd name="connsiteX31" fmla="*/ 2490877 w 2620552"/>
                  <a:gd name="connsiteY31" fmla="*/ 437405 h 5285288"/>
                  <a:gd name="connsiteX32" fmla="*/ 2448227 w 2620552"/>
                  <a:gd name="connsiteY32" fmla="*/ 539231 h 5285288"/>
                  <a:gd name="connsiteX33" fmla="*/ 2448222 w 2620552"/>
                  <a:gd name="connsiteY33" fmla="*/ 1065628 h 5285288"/>
                  <a:gd name="connsiteX34" fmla="*/ 2445445 w 2620552"/>
                  <a:gd name="connsiteY34" fmla="*/ 1081825 h 5285288"/>
                  <a:gd name="connsiteX35" fmla="*/ 2442619 w 2620552"/>
                  <a:gd name="connsiteY35" fmla="*/ 1858316 h 5285288"/>
                  <a:gd name="connsiteX36" fmla="*/ 2444476 w 2620552"/>
                  <a:gd name="connsiteY36" fmla="*/ 1861834 h 5285288"/>
                  <a:gd name="connsiteX37" fmla="*/ 2443809 w 2620552"/>
                  <a:gd name="connsiteY37" fmla="*/ 3038034 h 5285288"/>
                  <a:gd name="connsiteX38" fmla="*/ 2441669 w 2620552"/>
                  <a:gd name="connsiteY38" fmla="*/ 4802821 h 5285288"/>
                  <a:gd name="connsiteX39" fmla="*/ 2374871 w 2620552"/>
                  <a:gd name="connsiteY39" fmla="*/ 5061801 h 5285288"/>
                  <a:gd name="connsiteX40" fmla="*/ 2230903 w 2620552"/>
                  <a:gd name="connsiteY40" fmla="*/ 5216241 h 5285288"/>
                  <a:gd name="connsiteX41" fmla="*/ 2020267 w 2620552"/>
                  <a:gd name="connsiteY41" fmla="*/ 5284752 h 5285288"/>
                  <a:gd name="connsiteX42" fmla="*/ 1970713 w 2620552"/>
                  <a:gd name="connsiteY42" fmla="*/ 5285252 h 5285288"/>
                  <a:gd name="connsiteX0" fmla="*/ 1970713 w 2513375"/>
                  <a:gd name="connsiteY0" fmla="*/ 5314207 h 5314243"/>
                  <a:gd name="connsiteX1" fmla="*/ 1859089 w 2513375"/>
                  <a:gd name="connsiteY1" fmla="*/ 5286407 h 5314243"/>
                  <a:gd name="connsiteX2" fmla="*/ 1799088 w 2513375"/>
                  <a:gd name="connsiteY2" fmla="*/ 5256555 h 5314243"/>
                  <a:gd name="connsiteX3" fmla="*/ 257741 w 2513375"/>
                  <a:gd name="connsiteY3" fmla="*/ 4373357 h 5314243"/>
                  <a:gd name="connsiteX4" fmla="*/ 66855 w 2513375"/>
                  <a:gd name="connsiteY4" fmla="*/ 4186017 h 5314243"/>
                  <a:gd name="connsiteX5" fmla="*/ 5085 w 2513375"/>
                  <a:gd name="connsiteY5" fmla="*/ 3984114 h 5314243"/>
                  <a:gd name="connsiteX6" fmla="*/ 117 w 2513375"/>
                  <a:gd name="connsiteY6" fmla="*/ 3927724 h 5314243"/>
                  <a:gd name="connsiteX7" fmla="*/ 0 w 2513375"/>
                  <a:gd name="connsiteY7" fmla="*/ 3927062 h 5314243"/>
                  <a:gd name="connsiteX8" fmla="*/ 5920 w 2513375"/>
                  <a:gd name="connsiteY8" fmla="*/ 2542581 h 5314243"/>
                  <a:gd name="connsiteX9" fmla="*/ 9056 w 2513375"/>
                  <a:gd name="connsiteY9" fmla="*/ 2513721 h 5314243"/>
                  <a:gd name="connsiteX10" fmla="*/ 206180 w 2513375"/>
                  <a:gd name="connsiteY10" fmla="*/ 2420977 h 5314243"/>
                  <a:gd name="connsiteX11" fmla="*/ 407391 w 2513375"/>
                  <a:gd name="connsiteY11" fmla="*/ 2537130 h 5314243"/>
                  <a:gd name="connsiteX12" fmla="*/ 406100 w 2513375"/>
                  <a:gd name="connsiteY12" fmla="*/ 2601613 h 5314243"/>
                  <a:gd name="connsiteX13" fmla="*/ 409165 w 2513375"/>
                  <a:gd name="connsiteY13" fmla="*/ 3917004 h 5314243"/>
                  <a:gd name="connsiteX14" fmla="*/ 407598 w 2513375"/>
                  <a:gd name="connsiteY14" fmla="*/ 3910412 h 5314243"/>
                  <a:gd name="connsiteX15" fmla="*/ 407517 w 2513375"/>
                  <a:gd name="connsiteY15" fmla="*/ 3923220 h 5314243"/>
                  <a:gd name="connsiteX16" fmla="*/ 464772 w 2513375"/>
                  <a:gd name="connsiteY16" fmla="*/ 4022390 h 5314243"/>
                  <a:gd name="connsiteX17" fmla="*/ 1965744 w 2513375"/>
                  <a:gd name="connsiteY17" fmla="*/ 4894308 h 5314243"/>
                  <a:gd name="connsiteX18" fmla="*/ 1966088 w 2513375"/>
                  <a:gd name="connsiteY18" fmla="*/ 4894700 h 5314243"/>
                  <a:gd name="connsiteX19" fmla="*/ 1988129 w 2513375"/>
                  <a:gd name="connsiteY19" fmla="*/ 4888513 h 5314243"/>
                  <a:gd name="connsiteX20" fmla="*/ 2034209 w 2513375"/>
                  <a:gd name="connsiteY20" fmla="*/ 4827959 h 5314243"/>
                  <a:gd name="connsiteX21" fmla="*/ 2036053 w 2513375"/>
                  <a:gd name="connsiteY21" fmla="*/ 4134933 h 5314243"/>
                  <a:gd name="connsiteX22" fmla="*/ 2038324 w 2513375"/>
                  <a:gd name="connsiteY22" fmla="*/ 1083725 h 5314243"/>
                  <a:gd name="connsiteX23" fmla="*/ 2037139 w 2513375"/>
                  <a:gd name="connsiteY23" fmla="*/ 1046147 h 5314243"/>
                  <a:gd name="connsiteX24" fmla="*/ 2035104 w 2513375"/>
                  <a:gd name="connsiteY24" fmla="*/ 523379 h 5314243"/>
                  <a:gd name="connsiteX25" fmla="*/ 2080595 w 2513375"/>
                  <a:gd name="connsiteY25" fmla="*/ 200653 h 5314243"/>
                  <a:gd name="connsiteX26" fmla="*/ 2245202 w 2513375"/>
                  <a:gd name="connsiteY26" fmla="*/ 54067 h 5314243"/>
                  <a:gd name="connsiteX27" fmla="*/ 2444848 w 2513375"/>
                  <a:gd name="connsiteY27" fmla="*/ 32281 h 5314243"/>
                  <a:gd name="connsiteX28" fmla="*/ 2513375 w 2513375"/>
                  <a:gd name="connsiteY28" fmla="*/ 460532 h 5314243"/>
                  <a:gd name="connsiteX29" fmla="*/ 2513032 w 2513375"/>
                  <a:gd name="connsiteY29" fmla="*/ 460139 h 5314243"/>
                  <a:gd name="connsiteX30" fmla="*/ 2490877 w 2513375"/>
                  <a:gd name="connsiteY30" fmla="*/ 466360 h 5314243"/>
                  <a:gd name="connsiteX31" fmla="*/ 2448227 w 2513375"/>
                  <a:gd name="connsiteY31" fmla="*/ 568186 h 5314243"/>
                  <a:gd name="connsiteX32" fmla="*/ 2448222 w 2513375"/>
                  <a:gd name="connsiteY32" fmla="*/ 1094583 h 5314243"/>
                  <a:gd name="connsiteX33" fmla="*/ 2445445 w 2513375"/>
                  <a:gd name="connsiteY33" fmla="*/ 1110780 h 5314243"/>
                  <a:gd name="connsiteX34" fmla="*/ 2442619 w 2513375"/>
                  <a:gd name="connsiteY34" fmla="*/ 1887271 h 5314243"/>
                  <a:gd name="connsiteX35" fmla="*/ 2444476 w 2513375"/>
                  <a:gd name="connsiteY35" fmla="*/ 1890789 h 5314243"/>
                  <a:gd name="connsiteX36" fmla="*/ 2443809 w 2513375"/>
                  <a:gd name="connsiteY36" fmla="*/ 3066989 h 5314243"/>
                  <a:gd name="connsiteX37" fmla="*/ 2441669 w 2513375"/>
                  <a:gd name="connsiteY37" fmla="*/ 4831776 h 5314243"/>
                  <a:gd name="connsiteX38" fmla="*/ 2374871 w 2513375"/>
                  <a:gd name="connsiteY38" fmla="*/ 5090756 h 5314243"/>
                  <a:gd name="connsiteX39" fmla="*/ 2230903 w 2513375"/>
                  <a:gd name="connsiteY39" fmla="*/ 5245196 h 5314243"/>
                  <a:gd name="connsiteX40" fmla="*/ 2020267 w 2513375"/>
                  <a:gd name="connsiteY40" fmla="*/ 5313707 h 5314243"/>
                  <a:gd name="connsiteX41" fmla="*/ 1970713 w 2513375"/>
                  <a:gd name="connsiteY41" fmla="*/ 5314207 h 5314243"/>
                  <a:gd name="connsiteX0" fmla="*/ 1970713 w 2513375"/>
                  <a:gd name="connsiteY0" fmla="*/ 5314207 h 5314243"/>
                  <a:gd name="connsiteX1" fmla="*/ 1859089 w 2513375"/>
                  <a:gd name="connsiteY1" fmla="*/ 5286407 h 5314243"/>
                  <a:gd name="connsiteX2" fmla="*/ 1799088 w 2513375"/>
                  <a:gd name="connsiteY2" fmla="*/ 5256555 h 5314243"/>
                  <a:gd name="connsiteX3" fmla="*/ 257741 w 2513375"/>
                  <a:gd name="connsiteY3" fmla="*/ 4373357 h 5314243"/>
                  <a:gd name="connsiteX4" fmla="*/ 66855 w 2513375"/>
                  <a:gd name="connsiteY4" fmla="*/ 4186017 h 5314243"/>
                  <a:gd name="connsiteX5" fmla="*/ 5085 w 2513375"/>
                  <a:gd name="connsiteY5" fmla="*/ 3984114 h 5314243"/>
                  <a:gd name="connsiteX6" fmla="*/ 117 w 2513375"/>
                  <a:gd name="connsiteY6" fmla="*/ 3927724 h 5314243"/>
                  <a:gd name="connsiteX7" fmla="*/ 0 w 2513375"/>
                  <a:gd name="connsiteY7" fmla="*/ 3927062 h 5314243"/>
                  <a:gd name="connsiteX8" fmla="*/ 5920 w 2513375"/>
                  <a:gd name="connsiteY8" fmla="*/ 2542581 h 5314243"/>
                  <a:gd name="connsiteX9" fmla="*/ 9056 w 2513375"/>
                  <a:gd name="connsiteY9" fmla="*/ 2513721 h 5314243"/>
                  <a:gd name="connsiteX10" fmla="*/ 206180 w 2513375"/>
                  <a:gd name="connsiteY10" fmla="*/ 2420977 h 5314243"/>
                  <a:gd name="connsiteX11" fmla="*/ 407391 w 2513375"/>
                  <a:gd name="connsiteY11" fmla="*/ 2537130 h 5314243"/>
                  <a:gd name="connsiteX12" fmla="*/ 406100 w 2513375"/>
                  <a:gd name="connsiteY12" fmla="*/ 2601613 h 5314243"/>
                  <a:gd name="connsiteX13" fmla="*/ 409165 w 2513375"/>
                  <a:gd name="connsiteY13" fmla="*/ 3917004 h 5314243"/>
                  <a:gd name="connsiteX14" fmla="*/ 407598 w 2513375"/>
                  <a:gd name="connsiteY14" fmla="*/ 3910412 h 5314243"/>
                  <a:gd name="connsiteX15" fmla="*/ 407517 w 2513375"/>
                  <a:gd name="connsiteY15" fmla="*/ 3923220 h 5314243"/>
                  <a:gd name="connsiteX16" fmla="*/ 464772 w 2513375"/>
                  <a:gd name="connsiteY16" fmla="*/ 4022390 h 5314243"/>
                  <a:gd name="connsiteX17" fmla="*/ 1965744 w 2513375"/>
                  <a:gd name="connsiteY17" fmla="*/ 4894308 h 5314243"/>
                  <a:gd name="connsiteX18" fmla="*/ 1966088 w 2513375"/>
                  <a:gd name="connsiteY18" fmla="*/ 4894700 h 5314243"/>
                  <a:gd name="connsiteX19" fmla="*/ 1988129 w 2513375"/>
                  <a:gd name="connsiteY19" fmla="*/ 4888513 h 5314243"/>
                  <a:gd name="connsiteX20" fmla="*/ 2034209 w 2513375"/>
                  <a:gd name="connsiteY20" fmla="*/ 4827959 h 5314243"/>
                  <a:gd name="connsiteX21" fmla="*/ 2036053 w 2513375"/>
                  <a:gd name="connsiteY21" fmla="*/ 4134933 h 5314243"/>
                  <a:gd name="connsiteX22" fmla="*/ 2038324 w 2513375"/>
                  <a:gd name="connsiteY22" fmla="*/ 1083725 h 5314243"/>
                  <a:gd name="connsiteX23" fmla="*/ 2037139 w 2513375"/>
                  <a:gd name="connsiteY23" fmla="*/ 1046147 h 5314243"/>
                  <a:gd name="connsiteX24" fmla="*/ 2035104 w 2513375"/>
                  <a:gd name="connsiteY24" fmla="*/ 523379 h 5314243"/>
                  <a:gd name="connsiteX25" fmla="*/ 2080595 w 2513375"/>
                  <a:gd name="connsiteY25" fmla="*/ 200653 h 5314243"/>
                  <a:gd name="connsiteX26" fmla="*/ 2245202 w 2513375"/>
                  <a:gd name="connsiteY26" fmla="*/ 54067 h 5314243"/>
                  <a:gd name="connsiteX27" fmla="*/ 2444848 w 2513375"/>
                  <a:gd name="connsiteY27" fmla="*/ 32281 h 5314243"/>
                  <a:gd name="connsiteX28" fmla="*/ 2513375 w 2513375"/>
                  <a:gd name="connsiteY28" fmla="*/ 460532 h 5314243"/>
                  <a:gd name="connsiteX29" fmla="*/ 2513032 w 2513375"/>
                  <a:gd name="connsiteY29" fmla="*/ 460139 h 5314243"/>
                  <a:gd name="connsiteX30" fmla="*/ 2448227 w 2513375"/>
                  <a:gd name="connsiteY30" fmla="*/ 568186 h 5314243"/>
                  <a:gd name="connsiteX31" fmla="*/ 2448222 w 2513375"/>
                  <a:gd name="connsiteY31" fmla="*/ 1094583 h 5314243"/>
                  <a:gd name="connsiteX32" fmla="*/ 2445445 w 2513375"/>
                  <a:gd name="connsiteY32" fmla="*/ 1110780 h 5314243"/>
                  <a:gd name="connsiteX33" fmla="*/ 2442619 w 2513375"/>
                  <a:gd name="connsiteY33" fmla="*/ 1887271 h 5314243"/>
                  <a:gd name="connsiteX34" fmla="*/ 2444476 w 2513375"/>
                  <a:gd name="connsiteY34" fmla="*/ 1890789 h 5314243"/>
                  <a:gd name="connsiteX35" fmla="*/ 2443809 w 2513375"/>
                  <a:gd name="connsiteY35" fmla="*/ 3066989 h 5314243"/>
                  <a:gd name="connsiteX36" fmla="*/ 2441669 w 2513375"/>
                  <a:gd name="connsiteY36" fmla="*/ 4831776 h 5314243"/>
                  <a:gd name="connsiteX37" fmla="*/ 2374871 w 2513375"/>
                  <a:gd name="connsiteY37" fmla="*/ 5090756 h 5314243"/>
                  <a:gd name="connsiteX38" fmla="*/ 2230903 w 2513375"/>
                  <a:gd name="connsiteY38" fmla="*/ 5245196 h 5314243"/>
                  <a:gd name="connsiteX39" fmla="*/ 2020267 w 2513375"/>
                  <a:gd name="connsiteY39" fmla="*/ 5313707 h 5314243"/>
                  <a:gd name="connsiteX40" fmla="*/ 1970713 w 2513375"/>
                  <a:gd name="connsiteY40" fmla="*/ 5314207 h 5314243"/>
                  <a:gd name="connsiteX0" fmla="*/ 1970713 w 2513379"/>
                  <a:gd name="connsiteY0" fmla="*/ 5314207 h 5314243"/>
                  <a:gd name="connsiteX1" fmla="*/ 1859089 w 2513379"/>
                  <a:gd name="connsiteY1" fmla="*/ 5286407 h 5314243"/>
                  <a:gd name="connsiteX2" fmla="*/ 1799088 w 2513379"/>
                  <a:gd name="connsiteY2" fmla="*/ 5256555 h 5314243"/>
                  <a:gd name="connsiteX3" fmla="*/ 257741 w 2513379"/>
                  <a:gd name="connsiteY3" fmla="*/ 4373357 h 5314243"/>
                  <a:gd name="connsiteX4" fmla="*/ 66855 w 2513379"/>
                  <a:gd name="connsiteY4" fmla="*/ 4186017 h 5314243"/>
                  <a:gd name="connsiteX5" fmla="*/ 5085 w 2513379"/>
                  <a:gd name="connsiteY5" fmla="*/ 3984114 h 5314243"/>
                  <a:gd name="connsiteX6" fmla="*/ 117 w 2513379"/>
                  <a:gd name="connsiteY6" fmla="*/ 3927724 h 5314243"/>
                  <a:gd name="connsiteX7" fmla="*/ 0 w 2513379"/>
                  <a:gd name="connsiteY7" fmla="*/ 3927062 h 5314243"/>
                  <a:gd name="connsiteX8" fmla="*/ 5920 w 2513379"/>
                  <a:gd name="connsiteY8" fmla="*/ 2542581 h 5314243"/>
                  <a:gd name="connsiteX9" fmla="*/ 9056 w 2513379"/>
                  <a:gd name="connsiteY9" fmla="*/ 2513721 h 5314243"/>
                  <a:gd name="connsiteX10" fmla="*/ 206180 w 2513379"/>
                  <a:gd name="connsiteY10" fmla="*/ 2420977 h 5314243"/>
                  <a:gd name="connsiteX11" fmla="*/ 407391 w 2513379"/>
                  <a:gd name="connsiteY11" fmla="*/ 2537130 h 5314243"/>
                  <a:gd name="connsiteX12" fmla="*/ 406100 w 2513379"/>
                  <a:gd name="connsiteY12" fmla="*/ 2601613 h 5314243"/>
                  <a:gd name="connsiteX13" fmla="*/ 409165 w 2513379"/>
                  <a:gd name="connsiteY13" fmla="*/ 3917004 h 5314243"/>
                  <a:gd name="connsiteX14" fmla="*/ 407598 w 2513379"/>
                  <a:gd name="connsiteY14" fmla="*/ 3910412 h 5314243"/>
                  <a:gd name="connsiteX15" fmla="*/ 407517 w 2513379"/>
                  <a:gd name="connsiteY15" fmla="*/ 3923220 h 5314243"/>
                  <a:gd name="connsiteX16" fmla="*/ 464772 w 2513379"/>
                  <a:gd name="connsiteY16" fmla="*/ 4022390 h 5314243"/>
                  <a:gd name="connsiteX17" fmla="*/ 1965744 w 2513379"/>
                  <a:gd name="connsiteY17" fmla="*/ 4894308 h 5314243"/>
                  <a:gd name="connsiteX18" fmla="*/ 1966088 w 2513379"/>
                  <a:gd name="connsiteY18" fmla="*/ 4894700 h 5314243"/>
                  <a:gd name="connsiteX19" fmla="*/ 1988129 w 2513379"/>
                  <a:gd name="connsiteY19" fmla="*/ 4888513 h 5314243"/>
                  <a:gd name="connsiteX20" fmla="*/ 2034209 w 2513379"/>
                  <a:gd name="connsiteY20" fmla="*/ 4827959 h 5314243"/>
                  <a:gd name="connsiteX21" fmla="*/ 2036053 w 2513379"/>
                  <a:gd name="connsiteY21" fmla="*/ 4134933 h 5314243"/>
                  <a:gd name="connsiteX22" fmla="*/ 2038324 w 2513379"/>
                  <a:gd name="connsiteY22" fmla="*/ 1083725 h 5314243"/>
                  <a:gd name="connsiteX23" fmla="*/ 2037139 w 2513379"/>
                  <a:gd name="connsiteY23" fmla="*/ 1046147 h 5314243"/>
                  <a:gd name="connsiteX24" fmla="*/ 2035104 w 2513379"/>
                  <a:gd name="connsiteY24" fmla="*/ 523379 h 5314243"/>
                  <a:gd name="connsiteX25" fmla="*/ 2080595 w 2513379"/>
                  <a:gd name="connsiteY25" fmla="*/ 200653 h 5314243"/>
                  <a:gd name="connsiteX26" fmla="*/ 2245202 w 2513379"/>
                  <a:gd name="connsiteY26" fmla="*/ 54067 h 5314243"/>
                  <a:gd name="connsiteX27" fmla="*/ 2444848 w 2513379"/>
                  <a:gd name="connsiteY27" fmla="*/ 32281 h 5314243"/>
                  <a:gd name="connsiteX28" fmla="*/ 2513375 w 2513379"/>
                  <a:gd name="connsiteY28" fmla="*/ 460532 h 5314243"/>
                  <a:gd name="connsiteX29" fmla="*/ 2448227 w 2513379"/>
                  <a:gd name="connsiteY29" fmla="*/ 568186 h 5314243"/>
                  <a:gd name="connsiteX30" fmla="*/ 2448222 w 2513379"/>
                  <a:gd name="connsiteY30" fmla="*/ 1094583 h 5314243"/>
                  <a:gd name="connsiteX31" fmla="*/ 2445445 w 2513379"/>
                  <a:gd name="connsiteY31" fmla="*/ 1110780 h 5314243"/>
                  <a:gd name="connsiteX32" fmla="*/ 2442619 w 2513379"/>
                  <a:gd name="connsiteY32" fmla="*/ 1887271 h 5314243"/>
                  <a:gd name="connsiteX33" fmla="*/ 2444476 w 2513379"/>
                  <a:gd name="connsiteY33" fmla="*/ 1890789 h 5314243"/>
                  <a:gd name="connsiteX34" fmla="*/ 2443809 w 2513379"/>
                  <a:gd name="connsiteY34" fmla="*/ 3066989 h 5314243"/>
                  <a:gd name="connsiteX35" fmla="*/ 2441669 w 2513379"/>
                  <a:gd name="connsiteY35" fmla="*/ 4831776 h 5314243"/>
                  <a:gd name="connsiteX36" fmla="*/ 2374871 w 2513379"/>
                  <a:gd name="connsiteY36" fmla="*/ 5090756 h 5314243"/>
                  <a:gd name="connsiteX37" fmla="*/ 2230903 w 2513379"/>
                  <a:gd name="connsiteY37" fmla="*/ 5245196 h 5314243"/>
                  <a:gd name="connsiteX38" fmla="*/ 2020267 w 2513379"/>
                  <a:gd name="connsiteY38" fmla="*/ 5313707 h 5314243"/>
                  <a:gd name="connsiteX39" fmla="*/ 1970713 w 2513379"/>
                  <a:gd name="connsiteY39" fmla="*/ 5314207 h 5314243"/>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9056 w 2460678"/>
                  <a:gd name="connsiteY9" fmla="*/ 2521688 h 5322210"/>
                  <a:gd name="connsiteX10" fmla="*/ 206180 w 2460678"/>
                  <a:gd name="connsiteY10" fmla="*/ 2428944 h 5322210"/>
                  <a:gd name="connsiteX11" fmla="*/ 407391 w 2460678"/>
                  <a:gd name="connsiteY11" fmla="*/ 2545097 h 5322210"/>
                  <a:gd name="connsiteX12" fmla="*/ 406100 w 2460678"/>
                  <a:gd name="connsiteY12" fmla="*/ 2609580 h 5322210"/>
                  <a:gd name="connsiteX13" fmla="*/ 409165 w 2460678"/>
                  <a:gd name="connsiteY13" fmla="*/ 3924971 h 5322210"/>
                  <a:gd name="connsiteX14" fmla="*/ 407598 w 2460678"/>
                  <a:gd name="connsiteY14" fmla="*/ 3918379 h 5322210"/>
                  <a:gd name="connsiteX15" fmla="*/ 407517 w 2460678"/>
                  <a:gd name="connsiteY15" fmla="*/ 3931187 h 5322210"/>
                  <a:gd name="connsiteX16" fmla="*/ 464772 w 2460678"/>
                  <a:gd name="connsiteY16" fmla="*/ 4030357 h 5322210"/>
                  <a:gd name="connsiteX17" fmla="*/ 1965744 w 2460678"/>
                  <a:gd name="connsiteY17" fmla="*/ 4902275 h 5322210"/>
                  <a:gd name="connsiteX18" fmla="*/ 1966088 w 2460678"/>
                  <a:gd name="connsiteY18" fmla="*/ 4902667 h 5322210"/>
                  <a:gd name="connsiteX19" fmla="*/ 1988129 w 2460678"/>
                  <a:gd name="connsiteY19" fmla="*/ 4896480 h 5322210"/>
                  <a:gd name="connsiteX20" fmla="*/ 2034209 w 2460678"/>
                  <a:gd name="connsiteY20" fmla="*/ 4835926 h 5322210"/>
                  <a:gd name="connsiteX21" fmla="*/ 2036053 w 2460678"/>
                  <a:gd name="connsiteY21" fmla="*/ 4142900 h 5322210"/>
                  <a:gd name="connsiteX22" fmla="*/ 2038324 w 2460678"/>
                  <a:gd name="connsiteY22" fmla="*/ 1091692 h 5322210"/>
                  <a:gd name="connsiteX23" fmla="*/ 2037139 w 2460678"/>
                  <a:gd name="connsiteY23" fmla="*/ 1054114 h 5322210"/>
                  <a:gd name="connsiteX24" fmla="*/ 2035104 w 2460678"/>
                  <a:gd name="connsiteY24" fmla="*/ 531346 h 5322210"/>
                  <a:gd name="connsiteX25" fmla="*/ 2080595 w 2460678"/>
                  <a:gd name="connsiteY25" fmla="*/ 208620 h 5322210"/>
                  <a:gd name="connsiteX26" fmla="*/ 2245202 w 2460678"/>
                  <a:gd name="connsiteY26" fmla="*/ 62034 h 5322210"/>
                  <a:gd name="connsiteX27" fmla="*/ 2444848 w 2460678"/>
                  <a:gd name="connsiteY27" fmla="*/ 40248 h 5322210"/>
                  <a:gd name="connsiteX28" fmla="*/ 2448227 w 2460678"/>
                  <a:gd name="connsiteY28" fmla="*/ 576153 h 5322210"/>
                  <a:gd name="connsiteX29" fmla="*/ 2448222 w 2460678"/>
                  <a:gd name="connsiteY29" fmla="*/ 1102550 h 5322210"/>
                  <a:gd name="connsiteX30" fmla="*/ 2445445 w 2460678"/>
                  <a:gd name="connsiteY30" fmla="*/ 1118747 h 5322210"/>
                  <a:gd name="connsiteX31" fmla="*/ 2442619 w 2460678"/>
                  <a:gd name="connsiteY31" fmla="*/ 1895238 h 5322210"/>
                  <a:gd name="connsiteX32" fmla="*/ 2444476 w 2460678"/>
                  <a:gd name="connsiteY32" fmla="*/ 1898756 h 5322210"/>
                  <a:gd name="connsiteX33" fmla="*/ 2443809 w 2460678"/>
                  <a:gd name="connsiteY33" fmla="*/ 3074956 h 5322210"/>
                  <a:gd name="connsiteX34" fmla="*/ 2441669 w 2460678"/>
                  <a:gd name="connsiteY34" fmla="*/ 4839743 h 5322210"/>
                  <a:gd name="connsiteX35" fmla="*/ 2374871 w 2460678"/>
                  <a:gd name="connsiteY35" fmla="*/ 5098723 h 5322210"/>
                  <a:gd name="connsiteX36" fmla="*/ 2230903 w 2460678"/>
                  <a:gd name="connsiteY36" fmla="*/ 5253163 h 5322210"/>
                  <a:gd name="connsiteX37" fmla="*/ 2020267 w 2460678"/>
                  <a:gd name="connsiteY37" fmla="*/ 5321674 h 5322210"/>
                  <a:gd name="connsiteX38" fmla="*/ 1970713 w 2460678"/>
                  <a:gd name="connsiteY38"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9056 w 2460678"/>
                  <a:gd name="connsiteY9" fmla="*/ 2521688 h 5322210"/>
                  <a:gd name="connsiteX10" fmla="*/ 206180 w 2460678"/>
                  <a:gd name="connsiteY10" fmla="*/ 2428944 h 5322210"/>
                  <a:gd name="connsiteX11" fmla="*/ 407391 w 2460678"/>
                  <a:gd name="connsiteY11" fmla="*/ 2545097 h 5322210"/>
                  <a:gd name="connsiteX12" fmla="*/ 409165 w 2460678"/>
                  <a:gd name="connsiteY12" fmla="*/ 3924971 h 5322210"/>
                  <a:gd name="connsiteX13" fmla="*/ 407598 w 2460678"/>
                  <a:gd name="connsiteY13" fmla="*/ 3918379 h 5322210"/>
                  <a:gd name="connsiteX14" fmla="*/ 407517 w 2460678"/>
                  <a:gd name="connsiteY14" fmla="*/ 3931187 h 5322210"/>
                  <a:gd name="connsiteX15" fmla="*/ 464772 w 2460678"/>
                  <a:gd name="connsiteY15" fmla="*/ 4030357 h 5322210"/>
                  <a:gd name="connsiteX16" fmla="*/ 1965744 w 2460678"/>
                  <a:gd name="connsiteY16" fmla="*/ 4902275 h 5322210"/>
                  <a:gd name="connsiteX17" fmla="*/ 1966088 w 2460678"/>
                  <a:gd name="connsiteY17" fmla="*/ 4902667 h 5322210"/>
                  <a:gd name="connsiteX18" fmla="*/ 1988129 w 2460678"/>
                  <a:gd name="connsiteY18" fmla="*/ 4896480 h 5322210"/>
                  <a:gd name="connsiteX19" fmla="*/ 2034209 w 2460678"/>
                  <a:gd name="connsiteY19" fmla="*/ 4835926 h 5322210"/>
                  <a:gd name="connsiteX20" fmla="*/ 2036053 w 2460678"/>
                  <a:gd name="connsiteY20" fmla="*/ 4142900 h 5322210"/>
                  <a:gd name="connsiteX21" fmla="*/ 2038324 w 2460678"/>
                  <a:gd name="connsiteY21" fmla="*/ 1091692 h 5322210"/>
                  <a:gd name="connsiteX22" fmla="*/ 2037139 w 2460678"/>
                  <a:gd name="connsiteY22" fmla="*/ 1054114 h 5322210"/>
                  <a:gd name="connsiteX23" fmla="*/ 2035104 w 2460678"/>
                  <a:gd name="connsiteY23" fmla="*/ 531346 h 5322210"/>
                  <a:gd name="connsiteX24" fmla="*/ 2080595 w 2460678"/>
                  <a:gd name="connsiteY24" fmla="*/ 208620 h 5322210"/>
                  <a:gd name="connsiteX25" fmla="*/ 2245202 w 2460678"/>
                  <a:gd name="connsiteY25" fmla="*/ 62034 h 5322210"/>
                  <a:gd name="connsiteX26" fmla="*/ 2444848 w 2460678"/>
                  <a:gd name="connsiteY26" fmla="*/ 40248 h 5322210"/>
                  <a:gd name="connsiteX27" fmla="*/ 2448227 w 2460678"/>
                  <a:gd name="connsiteY27" fmla="*/ 576153 h 5322210"/>
                  <a:gd name="connsiteX28" fmla="*/ 2448222 w 2460678"/>
                  <a:gd name="connsiteY28" fmla="*/ 1102550 h 5322210"/>
                  <a:gd name="connsiteX29" fmla="*/ 2445445 w 2460678"/>
                  <a:gd name="connsiteY29" fmla="*/ 1118747 h 5322210"/>
                  <a:gd name="connsiteX30" fmla="*/ 2442619 w 2460678"/>
                  <a:gd name="connsiteY30" fmla="*/ 1895238 h 5322210"/>
                  <a:gd name="connsiteX31" fmla="*/ 2444476 w 2460678"/>
                  <a:gd name="connsiteY31" fmla="*/ 1898756 h 5322210"/>
                  <a:gd name="connsiteX32" fmla="*/ 2443809 w 2460678"/>
                  <a:gd name="connsiteY32" fmla="*/ 3074956 h 5322210"/>
                  <a:gd name="connsiteX33" fmla="*/ 2441669 w 2460678"/>
                  <a:gd name="connsiteY33" fmla="*/ 4839743 h 5322210"/>
                  <a:gd name="connsiteX34" fmla="*/ 2374871 w 2460678"/>
                  <a:gd name="connsiteY34" fmla="*/ 5098723 h 5322210"/>
                  <a:gd name="connsiteX35" fmla="*/ 2230903 w 2460678"/>
                  <a:gd name="connsiteY35" fmla="*/ 5253163 h 5322210"/>
                  <a:gd name="connsiteX36" fmla="*/ 2020267 w 2460678"/>
                  <a:gd name="connsiteY36" fmla="*/ 5321674 h 5322210"/>
                  <a:gd name="connsiteX37" fmla="*/ 1970713 w 2460678"/>
                  <a:gd name="connsiteY37"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9056 w 2460678"/>
                  <a:gd name="connsiteY9" fmla="*/ 2521688 h 5322210"/>
                  <a:gd name="connsiteX10" fmla="*/ 206180 w 2460678"/>
                  <a:gd name="connsiteY10" fmla="*/ 2428944 h 5322210"/>
                  <a:gd name="connsiteX11" fmla="*/ 409165 w 2460678"/>
                  <a:gd name="connsiteY11" fmla="*/ 3924971 h 5322210"/>
                  <a:gd name="connsiteX12" fmla="*/ 407598 w 2460678"/>
                  <a:gd name="connsiteY12" fmla="*/ 3918379 h 5322210"/>
                  <a:gd name="connsiteX13" fmla="*/ 407517 w 2460678"/>
                  <a:gd name="connsiteY13" fmla="*/ 3931187 h 5322210"/>
                  <a:gd name="connsiteX14" fmla="*/ 464772 w 2460678"/>
                  <a:gd name="connsiteY14" fmla="*/ 4030357 h 5322210"/>
                  <a:gd name="connsiteX15" fmla="*/ 1965744 w 2460678"/>
                  <a:gd name="connsiteY15" fmla="*/ 4902275 h 5322210"/>
                  <a:gd name="connsiteX16" fmla="*/ 1966088 w 2460678"/>
                  <a:gd name="connsiteY16" fmla="*/ 4902667 h 5322210"/>
                  <a:gd name="connsiteX17" fmla="*/ 1988129 w 2460678"/>
                  <a:gd name="connsiteY17" fmla="*/ 4896480 h 5322210"/>
                  <a:gd name="connsiteX18" fmla="*/ 2034209 w 2460678"/>
                  <a:gd name="connsiteY18" fmla="*/ 4835926 h 5322210"/>
                  <a:gd name="connsiteX19" fmla="*/ 2036053 w 2460678"/>
                  <a:gd name="connsiteY19" fmla="*/ 4142900 h 5322210"/>
                  <a:gd name="connsiteX20" fmla="*/ 2038324 w 2460678"/>
                  <a:gd name="connsiteY20" fmla="*/ 1091692 h 5322210"/>
                  <a:gd name="connsiteX21" fmla="*/ 2037139 w 2460678"/>
                  <a:gd name="connsiteY21" fmla="*/ 1054114 h 5322210"/>
                  <a:gd name="connsiteX22" fmla="*/ 2035104 w 2460678"/>
                  <a:gd name="connsiteY22" fmla="*/ 531346 h 5322210"/>
                  <a:gd name="connsiteX23" fmla="*/ 2080595 w 2460678"/>
                  <a:gd name="connsiteY23" fmla="*/ 208620 h 5322210"/>
                  <a:gd name="connsiteX24" fmla="*/ 2245202 w 2460678"/>
                  <a:gd name="connsiteY24" fmla="*/ 62034 h 5322210"/>
                  <a:gd name="connsiteX25" fmla="*/ 2444848 w 2460678"/>
                  <a:gd name="connsiteY25" fmla="*/ 40248 h 5322210"/>
                  <a:gd name="connsiteX26" fmla="*/ 2448227 w 2460678"/>
                  <a:gd name="connsiteY26" fmla="*/ 576153 h 5322210"/>
                  <a:gd name="connsiteX27" fmla="*/ 2448222 w 2460678"/>
                  <a:gd name="connsiteY27" fmla="*/ 1102550 h 5322210"/>
                  <a:gd name="connsiteX28" fmla="*/ 2445445 w 2460678"/>
                  <a:gd name="connsiteY28" fmla="*/ 1118747 h 5322210"/>
                  <a:gd name="connsiteX29" fmla="*/ 2442619 w 2460678"/>
                  <a:gd name="connsiteY29" fmla="*/ 1895238 h 5322210"/>
                  <a:gd name="connsiteX30" fmla="*/ 2444476 w 2460678"/>
                  <a:gd name="connsiteY30" fmla="*/ 1898756 h 5322210"/>
                  <a:gd name="connsiteX31" fmla="*/ 2443809 w 2460678"/>
                  <a:gd name="connsiteY31" fmla="*/ 3074956 h 5322210"/>
                  <a:gd name="connsiteX32" fmla="*/ 2441669 w 2460678"/>
                  <a:gd name="connsiteY32" fmla="*/ 4839743 h 5322210"/>
                  <a:gd name="connsiteX33" fmla="*/ 2374871 w 2460678"/>
                  <a:gd name="connsiteY33" fmla="*/ 5098723 h 5322210"/>
                  <a:gd name="connsiteX34" fmla="*/ 2230903 w 2460678"/>
                  <a:gd name="connsiteY34" fmla="*/ 5253163 h 5322210"/>
                  <a:gd name="connsiteX35" fmla="*/ 2020267 w 2460678"/>
                  <a:gd name="connsiteY35" fmla="*/ 5321674 h 5322210"/>
                  <a:gd name="connsiteX36" fmla="*/ 1970713 w 2460678"/>
                  <a:gd name="connsiteY36"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9056 w 2460678"/>
                  <a:gd name="connsiteY9" fmla="*/ 2521688 h 5322210"/>
                  <a:gd name="connsiteX10" fmla="*/ 409165 w 2460678"/>
                  <a:gd name="connsiteY10" fmla="*/ 3924971 h 5322210"/>
                  <a:gd name="connsiteX11" fmla="*/ 407598 w 2460678"/>
                  <a:gd name="connsiteY11" fmla="*/ 3918379 h 5322210"/>
                  <a:gd name="connsiteX12" fmla="*/ 407517 w 2460678"/>
                  <a:gd name="connsiteY12" fmla="*/ 3931187 h 5322210"/>
                  <a:gd name="connsiteX13" fmla="*/ 464772 w 2460678"/>
                  <a:gd name="connsiteY13" fmla="*/ 4030357 h 5322210"/>
                  <a:gd name="connsiteX14" fmla="*/ 1965744 w 2460678"/>
                  <a:gd name="connsiteY14" fmla="*/ 4902275 h 5322210"/>
                  <a:gd name="connsiteX15" fmla="*/ 1966088 w 2460678"/>
                  <a:gd name="connsiteY15" fmla="*/ 4902667 h 5322210"/>
                  <a:gd name="connsiteX16" fmla="*/ 1988129 w 2460678"/>
                  <a:gd name="connsiteY16" fmla="*/ 4896480 h 5322210"/>
                  <a:gd name="connsiteX17" fmla="*/ 2034209 w 2460678"/>
                  <a:gd name="connsiteY17" fmla="*/ 4835926 h 5322210"/>
                  <a:gd name="connsiteX18" fmla="*/ 2036053 w 2460678"/>
                  <a:gd name="connsiteY18" fmla="*/ 4142900 h 5322210"/>
                  <a:gd name="connsiteX19" fmla="*/ 2038324 w 2460678"/>
                  <a:gd name="connsiteY19" fmla="*/ 1091692 h 5322210"/>
                  <a:gd name="connsiteX20" fmla="*/ 2037139 w 2460678"/>
                  <a:gd name="connsiteY20" fmla="*/ 1054114 h 5322210"/>
                  <a:gd name="connsiteX21" fmla="*/ 2035104 w 2460678"/>
                  <a:gd name="connsiteY21" fmla="*/ 531346 h 5322210"/>
                  <a:gd name="connsiteX22" fmla="*/ 2080595 w 2460678"/>
                  <a:gd name="connsiteY22" fmla="*/ 208620 h 5322210"/>
                  <a:gd name="connsiteX23" fmla="*/ 2245202 w 2460678"/>
                  <a:gd name="connsiteY23" fmla="*/ 62034 h 5322210"/>
                  <a:gd name="connsiteX24" fmla="*/ 2444848 w 2460678"/>
                  <a:gd name="connsiteY24" fmla="*/ 40248 h 5322210"/>
                  <a:gd name="connsiteX25" fmla="*/ 2448227 w 2460678"/>
                  <a:gd name="connsiteY25" fmla="*/ 576153 h 5322210"/>
                  <a:gd name="connsiteX26" fmla="*/ 2448222 w 2460678"/>
                  <a:gd name="connsiteY26" fmla="*/ 1102550 h 5322210"/>
                  <a:gd name="connsiteX27" fmla="*/ 2445445 w 2460678"/>
                  <a:gd name="connsiteY27" fmla="*/ 1118747 h 5322210"/>
                  <a:gd name="connsiteX28" fmla="*/ 2442619 w 2460678"/>
                  <a:gd name="connsiteY28" fmla="*/ 1895238 h 5322210"/>
                  <a:gd name="connsiteX29" fmla="*/ 2444476 w 2460678"/>
                  <a:gd name="connsiteY29" fmla="*/ 1898756 h 5322210"/>
                  <a:gd name="connsiteX30" fmla="*/ 2443809 w 2460678"/>
                  <a:gd name="connsiteY30" fmla="*/ 3074956 h 5322210"/>
                  <a:gd name="connsiteX31" fmla="*/ 2441669 w 2460678"/>
                  <a:gd name="connsiteY31" fmla="*/ 4839743 h 5322210"/>
                  <a:gd name="connsiteX32" fmla="*/ 2374871 w 2460678"/>
                  <a:gd name="connsiteY32" fmla="*/ 5098723 h 5322210"/>
                  <a:gd name="connsiteX33" fmla="*/ 2230903 w 2460678"/>
                  <a:gd name="connsiteY33" fmla="*/ 5253163 h 5322210"/>
                  <a:gd name="connsiteX34" fmla="*/ 2020267 w 2460678"/>
                  <a:gd name="connsiteY34" fmla="*/ 5321674 h 5322210"/>
                  <a:gd name="connsiteX35" fmla="*/ 1970713 w 2460678"/>
                  <a:gd name="connsiteY35"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409165 w 2460678"/>
                  <a:gd name="connsiteY9" fmla="*/ 3924971 h 5322210"/>
                  <a:gd name="connsiteX10" fmla="*/ 407598 w 2460678"/>
                  <a:gd name="connsiteY10" fmla="*/ 3918379 h 5322210"/>
                  <a:gd name="connsiteX11" fmla="*/ 407517 w 2460678"/>
                  <a:gd name="connsiteY11" fmla="*/ 3931187 h 5322210"/>
                  <a:gd name="connsiteX12" fmla="*/ 464772 w 2460678"/>
                  <a:gd name="connsiteY12" fmla="*/ 4030357 h 5322210"/>
                  <a:gd name="connsiteX13" fmla="*/ 1965744 w 2460678"/>
                  <a:gd name="connsiteY13" fmla="*/ 4902275 h 5322210"/>
                  <a:gd name="connsiteX14" fmla="*/ 1966088 w 2460678"/>
                  <a:gd name="connsiteY14" fmla="*/ 4902667 h 5322210"/>
                  <a:gd name="connsiteX15" fmla="*/ 1988129 w 2460678"/>
                  <a:gd name="connsiteY15" fmla="*/ 4896480 h 5322210"/>
                  <a:gd name="connsiteX16" fmla="*/ 2034209 w 2460678"/>
                  <a:gd name="connsiteY16" fmla="*/ 4835926 h 5322210"/>
                  <a:gd name="connsiteX17" fmla="*/ 2036053 w 2460678"/>
                  <a:gd name="connsiteY17" fmla="*/ 4142900 h 5322210"/>
                  <a:gd name="connsiteX18" fmla="*/ 2038324 w 2460678"/>
                  <a:gd name="connsiteY18" fmla="*/ 1091692 h 5322210"/>
                  <a:gd name="connsiteX19" fmla="*/ 2037139 w 2460678"/>
                  <a:gd name="connsiteY19" fmla="*/ 1054114 h 5322210"/>
                  <a:gd name="connsiteX20" fmla="*/ 2035104 w 2460678"/>
                  <a:gd name="connsiteY20" fmla="*/ 531346 h 5322210"/>
                  <a:gd name="connsiteX21" fmla="*/ 2080595 w 2460678"/>
                  <a:gd name="connsiteY21" fmla="*/ 208620 h 5322210"/>
                  <a:gd name="connsiteX22" fmla="*/ 2245202 w 2460678"/>
                  <a:gd name="connsiteY22" fmla="*/ 62034 h 5322210"/>
                  <a:gd name="connsiteX23" fmla="*/ 2444848 w 2460678"/>
                  <a:gd name="connsiteY23" fmla="*/ 40248 h 5322210"/>
                  <a:gd name="connsiteX24" fmla="*/ 2448227 w 2460678"/>
                  <a:gd name="connsiteY24" fmla="*/ 576153 h 5322210"/>
                  <a:gd name="connsiteX25" fmla="*/ 2448222 w 2460678"/>
                  <a:gd name="connsiteY25" fmla="*/ 1102550 h 5322210"/>
                  <a:gd name="connsiteX26" fmla="*/ 2445445 w 2460678"/>
                  <a:gd name="connsiteY26" fmla="*/ 1118747 h 5322210"/>
                  <a:gd name="connsiteX27" fmla="*/ 2442619 w 2460678"/>
                  <a:gd name="connsiteY27" fmla="*/ 1895238 h 5322210"/>
                  <a:gd name="connsiteX28" fmla="*/ 2444476 w 2460678"/>
                  <a:gd name="connsiteY28" fmla="*/ 1898756 h 5322210"/>
                  <a:gd name="connsiteX29" fmla="*/ 2443809 w 2460678"/>
                  <a:gd name="connsiteY29" fmla="*/ 3074956 h 5322210"/>
                  <a:gd name="connsiteX30" fmla="*/ 2441669 w 2460678"/>
                  <a:gd name="connsiteY30" fmla="*/ 4839743 h 5322210"/>
                  <a:gd name="connsiteX31" fmla="*/ 2374871 w 2460678"/>
                  <a:gd name="connsiteY31" fmla="*/ 5098723 h 5322210"/>
                  <a:gd name="connsiteX32" fmla="*/ 2230903 w 2460678"/>
                  <a:gd name="connsiteY32" fmla="*/ 5253163 h 5322210"/>
                  <a:gd name="connsiteX33" fmla="*/ 2020267 w 2460678"/>
                  <a:gd name="connsiteY33" fmla="*/ 5321674 h 5322210"/>
                  <a:gd name="connsiteX34" fmla="*/ 1970713 w 2460678"/>
                  <a:gd name="connsiteY34"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409165 w 2460678"/>
                  <a:gd name="connsiteY8" fmla="*/ 3924971 h 5322210"/>
                  <a:gd name="connsiteX9" fmla="*/ 407598 w 2460678"/>
                  <a:gd name="connsiteY9" fmla="*/ 3918379 h 5322210"/>
                  <a:gd name="connsiteX10" fmla="*/ 407517 w 2460678"/>
                  <a:gd name="connsiteY10" fmla="*/ 3931187 h 5322210"/>
                  <a:gd name="connsiteX11" fmla="*/ 464772 w 2460678"/>
                  <a:gd name="connsiteY11" fmla="*/ 4030357 h 5322210"/>
                  <a:gd name="connsiteX12" fmla="*/ 1965744 w 2460678"/>
                  <a:gd name="connsiteY12" fmla="*/ 4902275 h 5322210"/>
                  <a:gd name="connsiteX13" fmla="*/ 1966088 w 2460678"/>
                  <a:gd name="connsiteY13" fmla="*/ 4902667 h 5322210"/>
                  <a:gd name="connsiteX14" fmla="*/ 1988129 w 2460678"/>
                  <a:gd name="connsiteY14" fmla="*/ 4896480 h 5322210"/>
                  <a:gd name="connsiteX15" fmla="*/ 2034209 w 2460678"/>
                  <a:gd name="connsiteY15" fmla="*/ 4835926 h 5322210"/>
                  <a:gd name="connsiteX16" fmla="*/ 2036053 w 2460678"/>
                  <a:gd name="connsiteY16" fmla="*/ 4142900 h 5322210"/>
                  <a:gd name="connsiteX17" fmla="*/ 2038324 w 2460678"/>
                  <a:gd name="connsiteY17" fmla="*/ 1091692 h 5322210"/>
                  <a:gd name="connsiteX18" fmla="*/ 2037139 w 2460678"/>
                  <a:gd name="connsiteY18" fmla="*/ 1054114 h 5322210"/>
                  <a:gd name="connsiteX19" fmla="*/ 2035104 w 2460678"/>
                  <a:gd name="connsiteY19" fmla="*/ 531346 h 5322210"/>
                  <a:gd name="connsiteX20" fmla="*/ 2080595 w 2460678"/>
                  <a:gd name="connsiteY20" fmla="*/ 208620 h 5322210"/>
                  <a:gd name="connsiteX21" fmla="*/ 2245202 w 2460678"/>
                  <a:gd name="connsiteY21" fmla="*/ 62034 h 5322210"/>
                  <a:gd name="connsiteX22" fmla="*/ 2444848 w 2460678"/>
                  <a:gd name="connsiteY22" fmla="*/ 40248 h 5322210"/>
                  <a:gd name="connsiteX23" fmla="*/ 2448227 w 2460678"/>
                  <a:gd name="connsiteY23" fmla="*/ 576153 h 5322210"/>
                  <a:gd name="connsiteX24" fmla="*/ 2448222 w 2460678"/>
                  <a:gd name="connsiteY24" fmla="*/ 1102550 h 5322210"/>
                  <a:gd name="connsiteX25" fmla="*/ 2445445 w 2460678"/>
                  <a:gd name="connsiteY25" fmla="*/ 1118747 h 5322210"/>
                  <a:gd name="connsiteX26" fmla="*/ 2442619 w 2460678"/>
                  <a:gd name="connsiteY26" fmla="*/ 1895238 h 5322210"/>
                  <a:gd name="connsiteX27" fmla="*/ 2444476 w 2460678"/>
                  <a:gd name="connsiteY27" fmla="*/ 1898756 h 5322210"/>
                  <a:gd name="connsiteX28" fmla="*/ 2443809 w 2460678"/>
                  <a:gd name="connsiteY28" fmla="*/ 3074956 h 5322210"/>
                  <a:gd name="connsiteX29" fmla="*/ 2441669 w 2460678"/>
                  <a:gd name="connsiteY29" fmla="*/ 4839743 h 5322210"/>
                  <a:gd name="connsiteX30" fmla="*/ 2374871 w 2460678"/>
                  <a:gd name="connsiteY30" fmla="*/ 5098723 h 5322210"/>
                  <a:gd name="connsiteX31" fmla="*/ 2230903 w 2460678"/>
                  <a:gd name="connsiteY31" fmla="*/ 5253163 h 5322210"/>
                  <a:gd name="connsiteX32" fmla="*/ 2020267 w 2460678"/>
                  <a:gd name="connsiteY32" fmla="*/ 5321674 h 5322210"/>
                  <a:gd name="connsiteX33" fmla="*/ 1970713 w 2460678"/>
                  <a:gd name="connsiteY33" fmla="*/ 5322174 h 5322210"/>
                  <a:gd name="connsiteX0" fmla="*/ 1970596 w 2460561"/>
                  <a:gd name="connsiteY0" fmla="*/ 5322174 h 5322210"/>
                  <a:gd name="connsiteX1" fmla="*/ 1858972 w 2460561"/>
                  <a:gd name="connsiteY1" fmla="*/ 5294374 h 5322210"/>
                  <a:gd name="connsiteX2" fmla="*/ 1798971 w 2460561"/>
                  <a:gd name="connsiteY2" fmla="*/ 5264522 h 5322210"/>
                  <a:gd name="connsiteX3" fmla="*/ 257624 w 2460561"/>
                  <a:gd name="connsiteY3" fmla="*/ 4381324 h 5322210"/>
                  <a:gd name="connsiteX4" fmla="*/ 66738 w 2460561"/>
                  <a:gd name="connsiteY4" fmla="*/ 4193984 h 5322210"/>
                  <a:gd name="connsiteX5" fmla="*/ 4968 w 2460561"/>
                  <a:gd name="connsiteY5" fmla="*/ 3992081 h 5322210"/>
                  <a:gd name="connsiteX6" fmla="*/ 0 w 2460561"/>
                  <a:gd name="connsiteY6" fmla="*/ 3935691 h 5322210"/>
                  <a:gd name="connsiteX7" fmla="*/ 409048 w 2460561"/>
                  <a:gd name="connsiteY7" fmla="*/ 3924971 h 5322210"/>
                  <a:gd name="connsiteX8" fmla="*/ 407481 w 2460561"/>
                  <a:gd name="connsiteY8" fmla="*/ 3918379 h 5322210"/>
                  <a:gd name="connsiteX9" fmla="*/ 407400 w 2460561"/>
                  <a:gd name="connsiteY9" fmla="*/ 3931187 h 5322210"/>
                  <a:gd name="connsiteX10" fmla="*/ 464655 w 2460561"/>
                  <a:gd name="connsiteY10" fmla="*/ 4030357 h 5322210"/>
                  <a:gd name="connsiteX11" fmla="*/ 1965627 w 2460561"/>
                  <a:gd name="connsiteY11" fmla="*/ 4902275 h 5322210"/>
                  <a:gd name="connsiteX12" fmla="*/ 1965971 w 2460561"/>
                  <a:gd name="connsiteY12" fmla="*/ 4902667 h 5322210"/>
                  <a:gd name="connsiteX13" fmla="*/ 1988012 w 2460561"/>
                  <a:gd name="connsiteY13" fmla="*/ 4896480 h 5322210"/>
                  <a:gd name="connsiteX14" fmla="*/ 2034092 w 2460561"/>
                  <a:gd name="connsiteY14" fmla="*/ 4835926 h 5322210"/>
                  <a:gd name="connsiteX15" fmla="*/ 2035936 w 2460561"/>
                  <a:gd name="connsiteY15" fmla="*/ 4142900 h 5322210"/>
                  <a:gd name="connsiteX16" fmla="*/ 2038207 w 2460561"/>
                  <a:gd name="connsiteY16" fmla="*/ 1091692 h 5322210"/>
                  <a:gd name="connsiteX17" fmla="*/ 2037022 w 2460561"/>
                  <a:gd name="connsiteY17" fmla="*/ 1054114 h 5322210"/>
                  <a:gd name="connsiteX18" fmla="*/ 2034987 w 2460561"/>
                  <a:gd name="connsiteY18" fmla="*/ 531346 h 5322210"/>
                  <a:gd name="connsiteX19" fmla="*/ 2080478 w 2460561"/>
                  <a:gd name="connsiteY19" fmla="*/ 208620 h 5322210"/>
                  <a:gd name="connsiteX20" fmla="*/ 2245085 w 2460561"/>
                  <a:gd name="connsiteY20" fmla="*/ 62034 h 5322210"/>
                  <a:gd name="connsiteX21" fmla="*/ 2444731 w 2460561"/>
                  <a:gd name="connsiteY21" fmla="*/ 40248 h 5322210"/>
                  <a:gd name="connsiteX22" fmla="*/ 2448110 w 2460561"/>
                  <a:gd name="connsiteY22" fmla="*/ 576153 h 5322210"/>
                  <a:gd name="connsiteX23" fmla="*/ 2448105 w 2460561"/>
                  <a:gd name="connsiteY23" fmla="*/ 1102550 h 5322210"/>
                  <a:gd name="connsiteX24" fmla="*/ 2445328 w 2460561"/>
                  <a:gd name="connsiteY24" fmla="*/ 1118747 h 5322210"/>
                  <a:gd name="connsiteX25" fmla="*/ 2442502 w 2460561"/>
                  <a:gd name="connsiteY25" fmla="*/ 1895238 h 5322210"/>
                  <a:gd name="connsiteX26" fmla="*/ 2444359 w 2460561"/>
                  <a:gd name="connsiteY26" fmla="*/ 1898756 h 5322210"/>
                  <a:gd name="connsiteX27" fmla="*/ 2443692 w 2460561"/>
                  <a:gd name="connsiteY27" fmla="*/ 3074956 h 5322210"/>
                  <a:gd name="connsiteX28" fmla="*/ 2441552 w 2460561"/>
                  <a:gd name="connsiteY28" fmla="*/ 4839743 h 5322210"/>
                  <a:gd name="connsiteX29" fmla="*/ 2374754 w 2460561"/>
                  <a:gd name="connsiteY29" fmla="*/ 5098723 h 5322210"/>
                  <a:gd name="connsiteX30" fmla="*/ 2230786 w 2460561"/>
                  <a:gd name="connsiteY30" fmla="*/ 5253163 h 5322210"/>
                  <a:gd name="connsiteX31" fmla="*/ 2020150 w 2460561"/>
                  <a:gd name="connsiteY31" fmla="*/ 5321674 h 5322210"/>
                  <a:gd name="connsiteX32" fmla="*/ 1970596 w 2460561"/>
                  <a:gd name="connsiteY32" fmla="*/ 5322174 h 5322210"/>
                  <a:gd name="connsiteX0" fmla="*/ 1965628 w 2455593"/>
                  <a:gd name="connsiteY0" fmla="*/ 5322174 h 5322210"/>
                  <a:gd name="connsiteX1" fmla="*/ 1854004 w 2455593"/>
                  <a:gd name="connsiteY1" fmla="*/ 5294374 h 5322210"/>
                  <a:gd name="connsiteX2" fmla="*/ 1794003 w 2455593"/>
                  <a:gd name="connsiteY2" fmla="*/ 5264522 h 5322210"/>
                  <a:gd name="connsiteX3" fmla="*/ 252656 w 2455593"/>
                  <a:gd name="connsiteY3" fmla="*/ 4381324 h 5322210"/>
                  <a:gd name="connsiteX4" fmla="*/ 61770 w 2455593"/>
                  <a:gd name="connsiteY4" fmla="*/ 4193984 h 5322210"/>
                  <a:gd name="connsiteX5" fmla="*/ 0 w 2455593"/>
                  <a:gd name="connsiteY5" fmla="*/ 3992081 h 5322210"/>
                  <a:gd name="connsiteX6" fmla="*/ 404080 w 2455593"/>
                  <a:gd name="connsiteY6" fmla="*/ 3924971 h 5322210"/>
                  <a:gd name="connsiteX7" fmla="*/ 402513 w 2455593"/>
                  <a:gd name="connsiteY7" fmla="*/ 3918379 h 5322210"/>
                  <a:gd name="connsiteX8" fmla="*/ 402432 w 2455593"/>
                  <a:gd name="connsiteY8" fmla="*/ 3931187 h 5322210"/>
                  <a:gd name="connsiteX9" fmla="*/ 459687 w 2455593"/>
                  <a:gd name="connsiteY9" fmla="*/ 4030357 h 5322210"/>
                  <a:gd name="connsiteX10" fmla="*/ 1960659 w 2455593"/>
                  <a:gd name="connsiteY10" fmla="*/ 4902275 h 5322210"/>
                  <a:gd name="connsiteX11" fmla="*/ 1961003 w 2455593"/>
                  <a:gd name="connsiteY11" fmla="*/ 4902667 h 5322210"/>
                  <a:gd name="connsiteX12" fmla="*/ 1983044 w 2455593"/>
                  <a:gd name="connsiteY12" fmla="*/ 4896480 h 5322210"/>
                  <a:gd name="connsiteX13" fmla="*/ 2029124 w 2455593"/>
                  <a:gd name="connsiteY13" fmla="*/ 4835926 h 5322210"/>
                  <a:gd name="connsiteX14" fmla="*/ 2030968 w 2455593"/>
                  <a:gd name="connsiteY14" fmla="*/ 4142900 h 5322210"/>
                  <a:gd name="connsiteX15" fmla="*/ 2033239 w 2455593"/>
                  <a:gd name="connsiteY15" fmla="*/ 1091692 h 5322210"/>
                  <a:gd name="connsiteX16" fmla="*/ 2032054 w 2455593"/>
                  <a:gd name="connsiteY16" fmla="*/ 1054114 h 5322210"/>
                  <a:gd name="connsiteX17" fmla="*/ 2030019 w 2455593"/>
                  <a:gd name="connsiteY17" fmla="*/ 531346 h 5322210"/>
                  <a:gd name="connsiteX18" fmla="*/ 2075510 w 2455593"/>
                  <a:gd name="connsiteY18" fmla="*/ 208620 h 5322210"/>
                  <a:gd name="connsiteX19" fmla="*/ 2240117 w 2455593"/>
                  <a:gd name="connsiteY19" fmla="*/ 62034 h 5322210"/>
                  <a:gd name="connsiteX20" fmla="*/ 2439763 w 2455593"/>
                  <a:gd name="connsiteY20" fmla="*/ 40248 h 5322210"/>
                  <a:gd name="connsiteX21" fmla="*/ 2443142 w 2455593"/>
                  <a:gd name="connsiteY21" fmla="*/ 576153 h 5322210"/>
                  <a:gd name="connsiteX22" fmla="*/ 2443137 w 2455593"/>
                  <a:gd name="connsiteY22" fmla="*/ 1102550 h 5322210"/>
                  <a:gd name="connsiteX23" fmla="*/ 2440360 w 2455593"/>
                  <a:gd name="connsiteY23" fmla="*/ 1118747 h 5322210"/>
                  <a:gd name="connsiteX24" fmla="*/ 2437534 w 2455593"/>
                  <a:gd name="connsiteY24" fmla="*/ 1895238 h 5322210"/>
                  <a:gd name="connsiteX25" fmla="*/ 2439391 w 2455593"/>
                  <a:gd name="connsiteY25" fmla="*/ 1898756 h 5322210"/>
                  <a:gd name="connsiteX26" fmla="*/ 2438724 w 2455593"/>
                  <a:gd name="connsiteY26" fmla="*/ 3074956 h 5322210"/>
                  <a:gd name="connsiteX27" fmla="*/ 2436584 w 2455593"/>
                  <a:gd name="connsiteY27" fmla="*/ 4839743 h 5322210"/>
                  <a:gd name="connsiteX28" fmla="*/ 2369786 w 2455593"/>
                  <a:gd name="connsiteY28" fmla="*/ 5098723 h 5322210"/>
                  <a:gd name="connsiteX29" fmla="*/ 2225818 w 2455593"/>
                  <a:gd name="connsiteY29" fmla="*/ 5253163 h 5322210"/>
                  <a:gd name="connsiteX30" fmla="*/ 2015182 w 2455593"/>
                  <a:gd name="connsiteY30" fmla="*/ 5321674 h 5322210"/>
                  <a:gd name="connsiteX31" fmla="*/ 1965628 w 2455593"/>
                  <a:gd name="connsiteY31" fmla="*/ 5322174 h 5322210"/>
                  <a:gd name="connsiteX0" fmla="*/ 1906707 w 2396672"/>
                  <a:gd name="connsiteY0" fmla="*/ 5322174 h 5322210"/>
                  <a:gd name="connsiteX1" fmla="*/ 1795083 w 2396672"/>
                  <a:gd name="connsiteY1" fmla="*/ 5294374 h 5322210"/>
                  <a:gd name="connsiteX2" fmla="*/ 1735082 w 2396672"/>
                  <a:gd name="connsiteY2" fmla="*/ 5264522 h 5322210"/>
                  <a:gd name="connsiteX3" fmla="*/ 193735 w 2396672"/>
                  <a:gd name="connsiteY3" fmla="*/ 4381324 h 5322210"/>
                  <a:gd name="connsiteX4" fmla="*/ 2849 w 2396672"/>
                  <a:gd name="connsiteY4" fmla="*/ 4193984 h 5322210"/>
                  <a:gd name="connsiteX5" fmla="*/ 345159 w 2396672"/>
                  <a:gd name="connsiteY5" fmla="*/ 3924971 h 5322210"/>
                  <a:gd name="connsiteX6" fmla="*/ 343592 w 2396672"/>
                  <a:gd name="connsiteY6" fmla="*/ 3918379 h 5322210"/>
                  <a:gd name="connsiteX7" fmla="*/ 343511 w 2396672"/>
                  <a:gd name="connsiteY7" fmla="*/ 3931187 h 5322210"/>
                  <a:gd name="connsiteX8" fmla="*/ 400766 w 2396672"/>
                  <a:gd name="connsiteY8" fmla="*/ 4030357 h 5322210"/>
                  <a:gd name="connsiteX9" fmla="*/ 1901738 w 2396672"/>
                  <a:gd name="connsiteY9" fmla="*/ 4902275 h 5322210"/>
                  <a:gd name="connsiteX10" fmla="*/ 1902082 w 2396672"/>
                  <a:gd name="connsiteY10" fmla="*/ 4902667 h 5322210"/>
                  <a:gd name="connsiteX11" fmla="*/ 1924123 w 2396672"/>
                  <a:gd name="connsiteY11" fmla="*/ 4896480 h 5322210"/>
                  <a:gd name="connsiteX12" fmla="*/ 1970203 w 2396672"/>
                  <a:gd name="connsiteY12" fmla="*/ 4835926 h 5322210"/>
                  <a:gd name="connsiteX13" fmla="*/ 1972047 w 2396672"/>
                  <a:gd name="connsiteY13" fmla="*/ 4142900 h 5322210"/>
                  <a:gd name="connsiteX14" fmla="*/ 1974318 w 2396672"/>
                  <a:gd name="connsiteY14" fmla="*/ 1091692 h 5322210"/>
                  <a:gd name="connsiteX15" fmla="*/ 1973133 w 2396672"/>
                  <a:gd name="connsiteY15" fmla="*/ 1054114 h 5322210"/>
                  <a:gd name="connsiteX16" fmla="*/ 1971098 w 2396672"/>
                  <a:gd name="connsiteY16" fmla="*/ 531346 h 5322210"/>
                  <a:gd name="connsiteX17" fmla="*/ 2016589 w 2396672"/>
                  <a:gd name="connsiteY17" fmla="*/ 208620 h 5322210"/>
                  <a:gd name="connsiteX18" fmla="*/ 2181196 w 2396672"/>
                  <a:gd name="connsiteY18" fmla="*/ 62034 h 5322210"/>
                  <a:gd name="connsiteX19" fmla="*/ 2380842 w 2396672"/>
                  <a:gd name="connsiteY19" fmla="*/ 40248 h 5322210"/>
                  <a:gd name="connsiteX20" fmla="*/ 2384221 w 2396672"/>
                  <a:gd name="connsiteY20" fmla="*/ 576153 h 5322210"/>
                  <a:gd name="connsiteX21" fmla="*/ 2384216 w 2396672"/>
                  <a:gd name="connsiteY21" fmla="*/ 1102550 h 5322210"/>
                  <a:gd name="connsiteX22" fmla="*/ 2381439 w 2396672"/>
                  <a:gd name="connsiteY22" fmla="*/ 1118747 h 5322210"/>
                  <a:gd name="connsiteX23" fmla="*/ 2378613 w 2396672"/>
                  <a:gd name="connsiteY23" fmla="*/ 1895238 h 5322210"/>
                  <a:gd name="connsiteX24" fmla="*/ 2380470 w 2396672"/>
                  <a:gd name="connsiteY24" fmla="*/ 1898756 h 5322210"/>
                  <a:gd name="connsiteX25" fmla="*/ 2379803 w 2396672"/>
                  <a:gd name="connsiteY25" fmla="*/ 3074956 h 5322210"/>
                  <a:gd name="connsiteX26" fmla="*/ 2377663 w 2396672"/>
                  <a:gd name="connsiteY26" fmla="*/ 4839743 h 5322210"/>
                  <a:gd name="connsiteX27" fmla="*/ 2310865 w 2396672"/>
                  <a:gd name="connsiteY27" fmla="*/ 5098723 h 5322210"/>
                  <a:gd name="connsiteX28" fmla="*/ 2166897 w 2396672"/>
                  <a:gd name="connsiteY28" fmla="*/ 5253163 h 5322210"/>
                  <a:gd name="connsiteX29" fmla="*/ 1956261 w 2396672"/>
                  <a:gd name="connsiteY29" fmla="*/ 5321674 h 5322210"/>
                  <a:gd name="connsiteX30" fmla="*/ 1906707 w 2396672"/>
                  <a:gd name="connsiteY30" fmla="*/ 5322174 h 5322210"/>
                  <a:gd name="connsiteX0" fmla="*/ 1790618 w 2280583"/>
                  <a:gd name="connsiteY0" fmla="*/ 5322174 h 5322210"/>
                  <a:gd name="connsiteX1" fmla="*/ 1678994 w 2280583"/>
                  <a:gd name="connsiteY1" fmla="*/ 5294374 h 5322210"/>
                  <a:gd name="connsiteX2" fmla="*/ 1618993 w 2280583"/>
                  <a:gd name="connsiteY2" fmla="*/ 5264522 h 5322210"/>
                  <a:gd name="connsiteX3" fmla="*/ 77646 w 2280583"/>
                  <a:gd name="connsiteY3" fmla="*/ 4381324 h 5322210"/>
                  <a:gd name="connsiteX4" fmla="*/ 229070 w 2280583"/>
                  <a:gd name="connsiteY4" fmla="*/ 3924971 h 5322210"/>
                  <a:gd name="connsiteX5" fmla="*/ 227503 w 2280583"/>
                  <a:gd name="connsiteY5" fmla="*/ 3918379 h 5322210"/>
                  <a:gd name="connsiteX6" fmla="*/ 227422 w 2280583"/>
                  <a:gd name="connsiteY6" fmla="*/ 3931187 h 5322210"/>
                  <a:gd name="connsiteX7" fmla="*/ 284677 w 2280583"/>
                  <a:gd name="connsiteY7" fmla="*/ 4030357 h 5322210"/>
                  <a:gd name="connsiteX8" fmla="*/ 1785649 w 2280583"/>
                  <a:gd name="connsiteY8" fmla="*/ 4902275 h 5322210"/>
                  <a:gd name="connsiteX9" fmla="*/ 1785993 w 2280583"/>
                  <a:gd name="connsiteY9" fmla="*/ 4902667 h 5322210"/>
                  <a:gd name="connsiteX10" fmla="*/ 1808034 w 2280583"/>
                  <a:gd name="connsiteY10" fmla="*/ 4896480 h 5322210"/>
                  <a:gd name="connsiteX11" fmla="*/ 1854114 w 2280583"/>
                  <a:gd name="connsiteY11" fmla="*/ 4835926 h 5322210"/>
                  <a:gd name="connsiteX12" fmla="*/ 1855958 w 2280583"/>
                  <a:gd name="connsiteY12" fmla="*/ 4142900 h 5322210"/>
                  <a:gd name="connsiteX13" fmla="*/ 1858229 w 2280583"/>
                  <a:gd name="connsiteY13" fmla="*/ 1091692 h 5322210"/>
                  <a:gd name="connsiteX14" fmla="*/ 1857044 w 2280583"/>
                  <a:gd name="connsiteY14" fmla="*/ 1054114 h 5322210"/>
                  <a:gd name="connsiteX15" fmla="*/ 1855009 w 2280583"/>
                  <a:gd name="connsiteY15" fmla="*/ 531346 h 5322210"/>
                  <a:gd name="connsiteX16" fmla="*/ 1900500 w 2280583"/>
                  <a:gd name="connsiteY16" fmla="*/ 208620 h 5322210"/>
                  <a:gd name="connsiteX17" fmla="*/ 2065107 w 2280583"/>
                  <a:gd name="connsiteY17" fmla="*/ 62034 h 5322210"/>
                  <a:gd name="connsiteX18" fmla="*/ 2264753 w 2280583"/>
                  <a:gd name="connsiteY18" fmla="*/ 40248 h 5322210"/>
                  <a:gd name="connsiteX19" fmla="*/ 2268132 w 2280583"/>
                  <a:gd name="connsiteY19" fmla="*/ 576153 h 5322210"/>
                  <a:gd name="connsiteX20" fmla="*/ 2268127 w 2280583"/>
                  <a:gd name="connsiteY20" fmla="*/ 1102550 h 5322210"/>
                  <a:gd name="connsiteX21" fmla="*/ 2265350 w 2280583"/>
                  <a:gd name="connsiteY21" fmla="*/ 1118747 h 5322210"/>
                  <a:gd name="connsiteX22" fmla="*/ 2262524 w 2280583"/>
                  <a:gd name="connsiteY22" fmla="*/ 1895238 h 5322210"/>
                  <a:gd name="connsiteX23" fmla="*/ 2264381 w 2280583"/>
                  <a:gd name="connsiteY23" fmla="*/ 1898756 h 5322210"/>
                  <a:gd name="connsiteX24" fmla="*/ 2263714 w 2280583"/>
                  <a:gd name="connsiteY24" fmla="*/ 3074956 h 5322210"/>
                  <a:gd name="connsiteX25" fmla="*/ 2261574 w 2280583"/>
                  <a:gd name="connsiteY25" fmla="*/ 4839743 h 5322210"/>
                  <a:gd name="connsiteX26" fmla="*/ 2194776 w 2280583"/>
                  <a:gd name="connsiteY26" fmla="*/ 5098723 h 5322210"/>
                  <a:gd name="connsiteX27" fmla="*/ 2050808 w 2280583"/>
                  <a:gd name="connsiteY27" fmla="*/ 5253163 h 5322210"/>
                  <a:gd name="connsiteX28" fmla="*/ 1840172 w 2280583"/>
                  <a:gd name="connsiteY28" fmla="*/ 5321674 h 5322210"/>
                  <a:gd name="connsiteX29" fmla="*/ 1790618 w 2280583"/>
                  <a:gd name="connsiteY29" fmla="*/ 5322174 h 5322210"/>
                  <a:gd name="connsiteX0" fmla="*/ 1563196 w 2053161"/>
                  <a:gd name="connsiteY0" fmla="*/ 5322174 h 5322210"/>
                  <a:gd name="connsiteX1" fmla="*/ 1451572 w 2053161"/>
                  <a:gd name="connsiteY1" fmla="*/ 5294374 h 5322210"/>
                  <a:gd name="connsiteX2" fmla="*/ 1391571 w 2053161"/>
                  <a:gd name="connsiteY2" fmla="*/ 5264522 h 5322210"/>
                  <a:gd name="connsiteX3" fmla="*/ 1648 w 2053161"/>
                  <a:gd name="connsiteY3" fmla="*/ 3924971 h 5322210"/>
                  <a:gd name="connsiteX4" fmla="*/ 81 w 2053161"/>
                  <a:gd name="connsiteY4" fmla="*/ 3918379 h 5322210"/>
                  <a:gd name="connsiteX5" fmla="*/ 0 w 2053161"/>
                  <a:gd name="connsiteY5" fmla="*/ 3931187 h 5322210"/>
                  <a:gd name="connsiteX6" fmla="*/ 57255 w 2053161"/>
                  <a:gd name="connsiteY6" fmla="*/ 4030357 h 5322210"/>
                  <a:gd name="connsiteX7" fmla="*/ 1558227 w 2053161"/>
                  <a:gd name="connsiteY7" fmla="*/ 4902275 h 5322210"/>
                  <a:gd name="connsiteX8" fmla="*/ 1558571 w 2053161"/>
                  <a:gd name="connsiteY8" fmla="*/ 4902667 h 5322210"/>
                  <a:gd name="connsiteX9" fmla="*/ 1580612 w 2053161"/>
                  <a:gd name="connsiteY9" fmla="*/ 4896480 h 5322210"/>
                  <a:gd name="connsiteX10" fmla="*/ 1626692 w 2053161"/>
                  <a:gd name="connsiteY10" fmla="*/ 4835926 h 5322210"/>
                  <a:gd name="connsiteX11" fmla="*/ 1628536 w 2053161"/>
                  <a:gd name="connsiteY11" fmla="*/ 4142900 h 5322210"/>
                  <a:gd name="connsiteX12" fmla="*/ 1630807 w 2053161"/>
                  <a:gd name="connsiteY12" fmla="*/ 1091692 h 5322210"/>
                  <a:gd name="connsiteX13" fmla="*/ 1629622 w 2053161"/>
                  <a:gd name="connsiteY13" fmla="*/ 1054114 h 5322210"/>
                  <a:gd name="connsiteX14" fmla="*/ 1627587 w 2053161"/>
                  <a:gd name="connsiteY14" fmla="*/ 531346 h 5322210"/>
                  <a:gd name="connsiteX15" fmla="*/ 1673078 w 2053161"/>
                  <a:gd name="connsiteY15" fmla="*/ 208620 h 5322210"/>
                  <a:gd name="connsiteX16" fmla="*/ 1837685 w 2053161"/>
                  <a:gd name="connsiteY16" fmla="*/ 62034 h 5322210"/>
                  <a:gd name="connsiteX17" fmla="*/ 2037331 w 2053161"/>
                  <a:gd name="connsiteY17" fmla="*/ 40248 h 5322210"/>
                  <a:gd name="connsiteX18" fmla="*/ 2040710 w 2053161"/>
                  <a:gd name="connsiteY18" fmla="*/ 576153 h 5322210"/>
                  <a:gd name="connsiteX19" fmla="*/ 2040705 w 2053161"/>
                  <a:gd name="connsiteY19" fmla="*/ 1102550 h 5322210"/>
                  <a:gd name="connsiteX20" fmla="*/ 2037928 w 2053161"/>
                  <a:gd name="connsiteY20" fmla="*/ 1118747 h 5322210"/>
                  <a:gd name="connsiteX21" fmla="*/ 2035102 w 2053161"/>
                  <a:gd name="connsiteY21" fmla="*/ 1895238 h 5322210"/>
                  <a:gd name="connsiteX22" fmla="*/ 2036959 w 2053161"/>
                  <a:gd name="connsiteY22" fmla="*/ 1898756 h 5322210"/>
                  <a:gd name="connsiteX23" fmla="*/ 2036292 w 2053161"/>
                  <a:gd name="connsiteY23" fmla="*/ 3074956 h 5322210"/>
                  <a:gd name="connsiteX24" fmla="*/ 2034152 w 2053161"/>
                  <a:gd name="connsiteY24" fmla="*/ 4839743 h 5322210"/>
                  <a:gd name="connsiteX25" fmla="*/ 1967354 w 2053161"/>
                  <a:gd name="connsiteY25" fmla="*/ 5098723 h 5322210"/>
                  <a:gd name="connsiteX26" fmla="*/ 1823386 w 2053161"/>
                  <a:gd name="connsiteY26" fmla="*/ 5253163 h 5322210"/>
                  <a:gd name="connsiteX27" fmla="*/ 1612750 w 2053161"/>
                  <a:gd name="connsiteY27" fmla="*/ 5321674 h 5322210"/>
                  <a:gd name="connsiteX28" fmla="*/ 1563196 w 2053161"/>
                  <a:gd name="connsiteY28" fmla="*/ 5322174 h 5322210"/>
                  <a:gd name="connsiteX0" fmla="*/ 1635752 w 2125717"/>
                  <a:gd name="connsiteY0" fmla="*/ 5322174 h 5322210"/>
                  <a:gd name="connsiteX1" fmla="*/ 1524128 w 2125717"/>
                  <a:gd name="connsiteY1" fmla="*/ 5294374 h 5322210"/>
                  <a:gd name="connsiteX2" fmla="*/ 1464127 w 2125717"/>
                  <a:gd name="connsiteY2" fmla="*/ 5264522 h 5322210"/>
                  <a:gd name="connsiteX3" fmla="*/ 74204 w 2125717"/>
                  <a:gd name="connsiteY3" fmla="*/ 3924971 h 5322210"/>
                  <a:gd name="connsiteX4" fmla="*/ 72637 w 2125717"/>
                  <a:gd name="connsiteY4" fmla="*/ 3918379 h 5322210"/>
                  <a:gd name="connsiteX5" fmla="*/ 129811 w 2125717"/>
                  <a:gd name="connsiteY5" fmla="*/ 4030357 h 5322210"/>
                  <a:gd name="connsiteX6" fmla="*/ 1630783 w 2125717"/>
                  <a:gd name="connsiteY6" fmla="*/ 4902275 h 5322210"/>
                  <a:gd name="connsiteX7" fmla="*/ 1631127 w 2125717"/>
                  <a:gd name="connsiteY7" fmla="*/ 4902667 h 5322210"/>
                  <a:gd name="connsiteX8" fmla="*/ 1653168 w 2125717"/>
                  <a:gd name="connsiteY8" fmla="*/ 4896480 h 5322210"/>
                  <a:gd name="connsiteX9" fmla="*/ 1699248 w 2125717"/>
                  <a:gd name="connsiteY9" fmla="*/ 4835926 h 5322210"/>
                  <a:gd name="connsiteX10" fmla="*/ 1701092 w 2125717"/>
                  <a:gd name="connsiteY10" fmla="*/ 4142900 h 5322210"/>
                  <a:gd name="connsiteX11" fmla="*/ 1703363 w 2125717"/>
                  <a:gd name="connsiteY11" fmla="*/ 1091692 h 5322210"/>
                  <a:gd name="connsiteX12" fmla="*/ 1702178 w 2125717"/>
                  <a:gd name="connsiteY12" fmla="*/ 1054114 h 5322210"/>
                  <a:gd name="connsiteX13" fmla="*/ 1700143 w 2125717"/>
                  <a:gd name="connsiteY13" fmla="*/ 531346 h 5322210"/>
                  <a:gd name="connsiteX14" fmla="*/ 1745634 w 2125717"/>
                  <a:gd name="connsiteY14" fmla="*/ 208620 h 5322210"/>
                  <a:gd name="connsiteX15" fmla="*/ 1910241 w 2125717"/>
                  <a:gd name="connsiteY15" fmla="*/ 62034 h 5322210"/>
                  <a:gd name="connsiteX16" fmla="*/ 2109887 w 2125717"/>
                  <a:gd name="connsiteY16" fmla="*/ 40248 h 5322210"/>
                  <a:gd name="connsiteX17" fmla="*/ 2113266 w 2125717"/>
                  <a:gd name="connsiteY17" fmla="*/ 576153 h 5322210"/>
                  <a:gd name="connsiteX18" fmla="*/ 2113261 w 2125717"/>
                  <a:gd name="connsiteY18" fmla="*/ 1102550 h 5322210"/>
                  <a:gd name="connsiteX19" fmla="*/ 2110484 w 2125717"/>
                  <a:gd name="connsiteY19" fmla="*/ 1118747 h 5322210"/>
                  <a:gd name="connsiteX20" fmla="*/ 2107658 w 2125717"/>
                  <a:gd name="connsiteY20" fmla="*/ 1895238 h 5322210"/>
                  <a:gd name="connsiteX21" fmla="*/ 2109515 w 2125717"/>
                  <a:gd name="connsiteY21" fmla="*/ 1898756 h 5322210"/>
                  <a:gd name="connsiteX22" fmla="*/ 2108848 w 2125717"/>
                  <a:gd name="connsiteY22" fmla="*/ 3074956 h 5322210"/>
                  <a:gd name="connsiteX23" fmla="*/ 2106708 w 2125717"/>
                  <a:gd name="connsiteY23" fmla="*/ 4839743 h 5322210"/>
                  <a:gd name="connsiteX24" fmla="*/ 2039910 w 2125717"/>
                  <a:gd name="connsiteY24" fmla="*/ 5098723 h 5322210"/>
                  <a:gd name="connsiteX25" fmla="*/ 1895942 w 2125717"/>
                  <a:gd name="connsiteY25" fmla="*/ 5253163 h 5322210"/>
                  <a:gd name="connsiteX26" fmla="*/ 1685306 w 2125717"/>
                  <a:gd name="connsiteY26" fmla="*/ 5321674 h 5322210"/>
                  <a:gd name="connsiteX27" fmla="*/ 1635752 w 2125717"/>
                  <a:gd name="connsiteY27" fmla="*/ 5322174 h 5322210"/>
                  <a:gd name="connsiteX0" fmla="*/ 1563115 w 2053080"/>
                  <a:gd name="connsiteY0" fmla="*/ 5322174 h 5322210"/>
                  <a:gd name="connsiteX1" fmla="*/ 1451491 w 2053080"/>
                  <a:gd name="connsiteY1" fmla="*/ 5294374 h 5322210"/>
                  <a:gd name="connsiteX2" fmla="*/ 1391490 w 2053080"/>
                  <a:gd name="connsiteY2" fmla="*/ 5264522 h 5322210"/>
                  <a:gd name="connsiteX3" fmla="*/ 1567 w 2053080"/>
                  <a:gd name="connsiteY3" fmla="*/ 3924971 h 5322210"/>
                  <a:gd name="connsiteX4" fmla="*/ 0 w 2053080"/>
                  <a:gd name="connsiteY4" fmla="*/ 3918379 h 5322210"/>
                  <a:gd name="connsiteX5" fmla="*/ 1558146 w 2053080"/>
                  <a:gd name="connsiteY5" fmla="*/ 4902275 h 5322210"/>
                  <a:gd name="connsiteX6" fmla="*/ 1558490 w 2053080"/>
                  <a:gd name="connsiteY6" fmla="*/ 4902667 h 5322210"/>
                  <a:gd name="connsiteX7" fmla="*/ 1580531 w 2053080"/>
                  <a:gd name="connsiteY7" fmla="*/ 4896480 h 5322210"/>
                  <a:gd name="connsiteX8" fmla="*/ 1626611 w 2053080"/>
                  <a:gd name="connsiteY8" fmla="*/ 4835926 h 5322210"/>
                  <a:gd name="connsiteX9" fmla="*/ 1628455 w 2053080"/>
                  <a:gd name="connsiteY9" fmla="*/ 4142900 h 5322210"/>
                  <a:gd name="connsiteX10" fmla="*/ 1630726 w 2053080"/>
                  <a:gd name="connsiteY10" fmla="*/ 1091692 h 5322210"/>
                  <a:gd name="connsiteX11" fmla="*/ 1629541 w 2053080"/>
                  <a:gd name="connsiteY11" fmla="*/ 1054114 h 5322210"/>
                  <a:gd name="connsiteX12" fmla="*/ 1627506 w 2053080"/>
                  <a:gd name="connsiteY12" fmla="*/ 531346 h 5322210"/>
                  <a:gd name="connsiteX13" fmla="*/ 1672997 w 2053080"/>
                  <a:gd name="connsiteY13" fmla="*/ 208620 h 5322210"/>
                  <a:gd name="connsiteX14" fmla="*/ 1837604 w 2053080"/>
                  <a:gd name="connsiteY14" fmla="*/ 62034 h 5322210"/>
                  <a:gd name="connsiteX15" fmla="*/ 2037250 w 2053080"/>
                  <a:gd name="connsiteY15" fmla="*/ 40248 h 5322210"/>
                  <a:gd name="connsiteX16" fmla="*/ 2040629 w 2053080"/>
                  <a:gd name="connsiteY16" fmla="*/ 576153 h 5322210"/>
                  <a:gd name="connsiteX17" fmla="*/ 2040624 w 2053080"/>
                  <a:gd name="connsiteY17" fmla="*/ 1102550 h 5322210"/>
                  <a:gd name="connsiteX18" fmla="*/ 2037847 w 2053080"/>
                  <a:gd name="connsiteY18" fmla="*/ 1118747 h 5322210"/>
                  <a:gd name="connsiteX19" fmla="*/ 2035021 w 2053080"/>
                  <a:gd name="connsiteY19" fmla="*/ 1895238 h 5322210"/>
                  <a:gd name="connsiteX20" fmla="*/ 2036878 w 2053080"/>
                  <a:gd name="connsiteY20" fmla="*/ 1898756 h 5322210"/>
                  <a:gd name="connsiteX21" fmla="*/ 2036211 w 2053080"/>
                  <a:gd name="connsiteY21" fmla="*/ 3074956 h 5322210"/>
                  <a:gd name="connsiteX22" fmla="*/ 2034071 w 2053080"/>
                  <a:gd name="connsiteY22" fmla="*/ 4839743 h 5322210"/>
                  <a:gd name="connsiteX23" fmla="*/ 1967273 w 2053080"/>
                  <a:gd name="connsiteY23" fmla="*/ 5098723 h 5322210"/>
                  <a:gd name="connsiteX24" fmla="*/ 1823305 w 2053080"/>
                  <a:gd name="connsiteY24" fmla="*/ 5253163 h 5322210"/>
                  <a:gd name="connsiteX25" fmla="*/ 1612669 w 2053080"/>
                  <a:gd name="connsiteY25" fmla="*/ 5321674 h 5322210"/>
                  <a:gd name="connsiteX26" fmla="*/ 1563115 w 2053080"/>
                  <a:gd name="connsiteY26" fmla="*/ 5322174 h 5322210"/>
                  <a:gd name="connsiteX0" fmla="*/ 1561548 w 2051513"/>
                  <a:gd name="connsiteY0" fmla="*/ 5322174 h 5322210"/>
                  <a:gd name="connsiteX1" fmla="*/ 1449924 w 2051513"/>
                  <a:gd name="connsiteY1" fmla="*/ 5294374 h 5322210"/>
                  <a:gd name="connsiteX2" fmla="*/ 1389923 w 2051513"/>
                  <a:gd name="connsiteY2" fmla="*/ 5264522 h 5322210"/>
                  <a:gd name="connsiteX3" fmla="*/ 0 w 2051513"/>
                  <a:gd name="connsiteY3" fmla="*/ 3924971 h 5322210"/>
                  <a:gd name="connsiteX4" fmla="*/ 1556579 w 2051513"/>
                  <a:gd name="connsiteY4" fmla="*/ 4902275 h 5322210"/>
                  <a:gd name="connsiteX5" fmla="*/ 1556923 w 2051513"/>
                  <a:gd name="connsiteY5" fmla="*/ 4902667 h 5322210"/>
                  <a:gd name="connsiteX6" fmla="*/ 1578964 w 2051513"/>
                  <a:gd name="connsiteY6" fmla="*/ 4896480 h 5322210"/>
                  <a:gd name="connsiteX7" fmla="*/ 1625044 w 2051513"/>
                  <a:gd name="connsiteY7" fmla="*/ 4835926 h 5322210"/>
                  <a:gd name="connsiteX8" fmla="*/ 1626888 w 2051513"/>
                  <a:gd name="connsiteY8" fmla="*/ 4142900 h 5322210"/>
                  <a:gd name="connsiteX9" fmla="*/ 1629159 w 2051513"/>
                  <a:gd name="connsiteY9" fmla="*/ 1091692 h 5322210"/>
                  <a:gd name="connsiteX10" fmla="*/ 1627974 w 2051513"/>
                  <a:gd name="connsiteY10" fmla="*/ 1054114 h 5322210"/>
                  <a:gd name="connsiteX11" fmla="*/ 1625939 w 2051513"/>
                  <a:gd name="connsiteY11" fmla="*/ 531346 h 5322210"/>
                  <a:gd name="connsiteX12" fmla="*/ 1671430 w 2051513"/>
                  <a:gd name="connsiteY12" fmla="*/ 208620 h 5322210"/>
                  <a:gd name="connsiteX13" fmla="*/ 1836037 w 2051513"/>
                  <a:gd name="connsiteY13" fmla="*/ 62034 h 5322210"/>
                  <a:gd name="connsiteX14" fmla="*/ 2035683 w 2051513"/>
                  <a:gd name="connsiteY14" fmla="*/ 40248 h 5322210"/>
                  <a:gd name="connsiteX15" fmla="*/ 2039062 w 2051513"/>
                  <a:gd name="connsiteY15" fmla="*/ 576153 h 5322210"/>
                  <a:gd name="connsiteX16" fmla="*/ 2039057 w 2051513"/>
                  <a:gd name="connsiteY16" fmla="*/ 1102550 h 5322210"/>
                  <a:gd name="connsiteX17" fmla="*/ 2036280 w 2051513"/>
                  <a:gd name="connsiteY17" fmla="*/ 1118747 h 5322210"/>
                  <a:gd name="connsiteX18" fmla="*/ 2033454 w 2051513"/>
                  <a:gd name="connsiteY18" fmla="*/ 1895238 h 5322210"/>
                  <a:gd name="connsiteX19" fmla="*/ 2035311 w 2051513"/>
                  <a:gd name="connsiteY19" fmla="*/ 1898756 h 5322210"/>
                  <a:gd name="connsiteX20" fmla="*/ 2034644 w 2051513"/>
                  <a:gd name="connsiteY20" fmla="*/ 3074956 h 5322210"/>
                  <a:gd name="connsiteX21" fmla="*/ 2032504 w 2051513"/>
                  <a:gd name="connsiteY21" fmla="*/ 4839743 h 5322210"/>
                  <a:gd name="connsiteX22" fmla="*/ 1965706 w 2051513"/>
                  <a:gd name="connsiteY22" fmla="*/ 5098723 h 5322210"/>
                  <a:gd name="connsiteX23" fmla="*/ 1821738 w 2051513"/>
                  <a:gd name="connsiteY23" fmla="*/ 5253163 h 5322210"/>
                  <a:gd name="connsiteX24" fmla="*/ 1611102 w 2051513"/>
                  <a:gd name="connsiteY24" fmla="*/ 5321674 h 5322210"/>
                  <a:gd name="connsiteX25" fmla="*/ 1561548 w 2051513"/>
                  <a:gd name="connsiteY25" fmla="*/ 5322174 h 5322210"/>
                  <a:gd name="connsiteX0" fmla="*/ 171625 w 661590"/>
                  <a:gd name="connsiteY0" fmla="*/ 5322174 h 5322210"/>
                  <a:gd name="connsiteX1" fmla="*/ 60001 w 661590"/>
                  <a:gd name="connsiteY1" fmla="*/ 5294374 h 5322210"/>
                  <a:gd name="connsiteX2" fmla="*/ 0 w 661590"/>
                  <a:gd name="connsiteY2" fmla="*/ 5264522 h 5322210"/>
                  <a:gd name="connsiteX3" fmla="*/ 166656 w 661590"/>
                  <a:gd name="connsiteY3" fmla="*/ 4902275 h 5322210"/>
                  <a:gd name="connsiteX4" fmla="*/ 167000 w 661590"/>
                  <a:gd name="connsiteY4" fmla="*/ 4902667 h 5322210"/>
                  <a:gd name="connsiteX5" fmla="*/ 189041 w 661590"/>
                  <a:gd name="connsiteY5" fmla="*/ 4896480 h 5322210"/>
                  <a:gd name="connsiteX6" fmla="*/ 235121 w 661590"/>
                  <a:gd name="connsiteY6" fmla="*/ 4835926 h 5322210"/>
                  <a:gd name="connsiteX7" fmla="*/ 236965 w 661590"/>
                  <a:gd name="connsiteY7" fmla="*/ 4142900 h 5322210"/>
                  <a:gd name="connsiteX8" fmla="*/ 239236 w 661590"/>
                  <a:gd name="connsiteY8" fmla="*/ 1091692 h 5322210"/>
                  <a:gd name="connsiteX9" fmla="*/ 238051 w 661590"/>
                  <a:gd name="connsiteY9" fmla="*/ 1054114 h 5322210"/>
                  <a:gd name="connsiteX10" fmla="*/ 236016 w 661590"/>
                  <a:gd name="connsiteY10" fmla="*/ 531346 h 5322210"/>
                  <a:gd name="connsiteX11" fmla="*/ 281507 w 661590"/>
                  <a:gd name="connsiteY11" fmla="*/ 208620 h 5322210"/>
                  <a:gd name="connsiteX12" fmla="*/ 446114 w 661590"/>
                  <a:gd name="connsiteY12" fmla="*/ 62034 h 5322210"/>
                  <a:gd name="connsiteX13" fmla="*/ 645760 w 661590"/>
                  <a:gd name="connsiteY13" fmla="*/ 40248 h 5322210"/>
                  <a:gd name="connsiteX14" fmla="*/ 649139 w 661590"/>
                  <a:gd name="connsiteY14" fmla="*/ 576153 h 5322210"/>
                  <a:gd name="connsiteX15" fmla="*/ 649134 w 661590"/>
                  <a:gd name="connsiteY15" fmla="*/ 1102550 h 5322210"/>
                  <a:gd name="connsiteX16" fmla="*/ 646357 w 661590"/>
                  <a:gd name="connsiteY16" fmla="*/ 1118747 h 5322210"/>
                  <a:gd name="connsiteX17" fmla="*/ 643531 w 661590"/>
                  <a:gd name="connsiteY17" fmla="*/ 1895238 h 5322210"/>
                  <a:gd name="connsiteX18" fmla="*/ 645388 w 661590"/>
                  <a:gd name="connsiteY18" fmla="*/ 1898756 h 5322210"/>
                  <a:gd name="connsiteX19" fmla="*/ 644721 w 661590"/>
                  <a:gd name="connsiteY19" fmla="*/ 3074956 h 5322210"/>
                  <a:gd name="connsiteX20" fmla="*/ 642581 w 661590"/>
                  <a:gd name="connsiteY20" fmla="*/ 4839743 h 5322210"/>
                  <a:gd name="connsiteX21" fmla="*/ 575783 w 661590"/>
                  <a:gd name="connsiteY21" fmla="*/ 5098723 h 5322210"/>
                  <a:gd name="connsiteX22" fmla="*/ 431815 w 661590"/>
                  <a:gd name="connsiteY22" fmla="*/ 5253163 h 5322210"/>
                  <a:gd name="connsiteX23" fmla="*/ 221179 w 661590"/>
                  <a:gd name="connsiteY23" fmla="*/ 5321674 h 5322210"/>
                  <a:gd name="connsiteX24" fmla="*/ 171625 w 661590"/>
                  <a:gd name="connsiteY24" fmla="*/ 5322174 h 5322210"/>
                  <a:gd name="connsiteX0" fmla="*/ 111624 w 601589"/>
                  <a:gd name="connsiteY0" fmla="*/ 5322174 h 5322210"/>
                  <a:gd name="connsiteX1" fmla="*/ 0 w 601589"/>
                  <a:gd name="connsiteY1" fmla="*/ 5294374 h 5322210"/>
                  <a:gd name="connsiteX2" fmla="*/ 106655 w 601589"/>
                  <a:gd name="connsiteY2" fmla="*/ 4902275 h 5322210"/>
                  <a:gd name="connsiteX3" fmla="*/ 106999 w 601589"/>
                  <a:gd name="connsiteY3" fmla="*/ 4902667 h 5322210"/>
                  <a:gd name="connsiteX4" fmla="*/ 129040 w 601589"/>
                  <a:gd name="connsiteY4" fmla="*/ 4896480 h 5322210"/>
                  <a:gd name="connsiteX5" fmla="*/ 175120 w 601589"/>
                  <a:gd name="connsiteY5" fmla="*/ 4835926 h 5322210"/>
                  <a:gd name="connsiteX6" fmla="*/ 176964 w 601589"/>
                  <a:gd name="connsiteY6" fmla="*/ 4142900 h 5322210"/>
                  <a:gd name="connsiteX7" fmla="*/ 179235 w 601589"/>
                  <a:gd name="connsiteY7" fmla="*/ 1091692 h 5322210"/>
                  <a:gd name="connsiteX8" fmla="*/ 178050 w 601589"/>
                  <a:gd name="connsiteY8" fmla="*/ 1054114 h 5322210"/>
                  <a:gd name="connsiteX9" fmla="*/ 176015 w 601589"/>
                  <a:gd name="connsiteY9" fmla="*/ 531346 h 5322210"/>
                  <a:gd name="connsiteX10" fmla="*/ 221506 w 601589"/>
                  <a:gd name="connsiteY10" fmla="*/ 208620 h 5322210"/>
                  <a:gd name="connsiteX11" fmla="*/ 386113 w 601589"/>
                  <a:gd name="connsiteY11" fmla="*/ 62034 h 5322210"/>
                  <a:gd name="connsiteX12" fmla="*/ 585759 w 601589"/>
                  <a:gd name="connsiteY12" fmla="*/ 40248 h 5322210"/>
                  <a:gd name="connsiteX13" fmla="*/ 589138 w 601589"/>
                  <a:gd name="connsiteY13" fmla="*/ 576153 h 5322210"/>
                  <a:gd name="connsiteX14" fmla="*/ 589133 w 601589"/>
                  <a:gd name="connsiteY14" fmla="*/ 1102550 h 5322210"/>
                  <a:gd name="connsiteX15" fmla="*/ 586356 w 601589"/>
                  <a:gd name="connsiteY15" fmla="*/ 1118747 h 5322210"/>
                  <a:gd name="connsiteX16" fmla="*/ 583530 w 601589"/>
                  <a:gd name="connsiteY16" fmla="*/ 1895238 h 5322210"/>
                  <a:gd name="connsiteX17" fmla="*/ 585387 w 601589"/>
                  <a:gd name="connsiteY17" fmla="*/ 1898756 h 5322210"/>
                  <a:gd name="connsiteX18" fmla="*/ 584720 w 601589"/>
                  <a:gd name="connsiteY18" fmla="*/ 3074956 h 5322210"/>
                  <a:gd name="connsiteX19" fmla="*/ 582580 w 601589"/>
                  <a:gd name="connsiteY19" fmla="*/ 4839743 h 5322210"/>
                  <a:gd name="connsiteX20" fmla="*/ 515782 w 601589"/>
                  <a:gd name="connsiteY20" fmla="*/ 5098723 h 5322210"/>
                  <a:gd name="connsiteX21" fmla="*/ 371814 w 601589"/>
                  <a:gd name="connsiteY21" fmla="*/ 5253163 h 5322210"/>
                  <a:gd name="connsiteX22" fmla="*/ 161178 w 601589"/>
                  <a:gd name="connsiteY22" fmla="*/ 5321674 h 5322210"/>
                  <a:gd name="connsiteX23" fmla="*/ 111624 w 601589"/>
                  <a:gd name="connsiteY23" fmla="*/ 5322174 h 5322210"/>
                  <a:gd name="connsiteX0" fmla="*/ 111624 w 601589"/>
                  <a:gd name="connsiteY0" fmla="*/ 5322174 h 5322210"/>
                  <a:gd name="connsiteX1" fmla="*/ 0 w 601589"/>
                  <a:gd name="connsiteY1" fmla="*/ 5294374 h 5322210"/>
                  <a:gd name="connsiteX2" fmla="*/ 106655 w 601589"/>
                  <a:gd name="connsiteY2" fmla="*/ 4902275 h 5322210"/>
                  <a:gd name="connsiteX3" fmla="*/ 106999 w 601589"/>
                  <a:gd name="connsiteY3" fmla="*/ 4902667 h 5322210"/>
                  <a:gd name="connsiteX4" fmla="*/ 175120 w 601589"/>
                  <a:gd name="connsiteY4" fmla="*/ 4835926 h 5322210"/>
                  <a:gd name="connsiteX5" fmla="*/ 176964 w 601589"/>
                  <a:gd name="connsiteY5" fmla="*/ 4142900 h 5322210"/>
                  <a:gd name="connsiteX6" fmla="*/ 179235 w 601589"/>
                  <a:gd name="connsiteY6" fmla="*/ 1091692 h 5322210"/>
                  <a:gd name="connsiteX7" fmla="*/ 178050 w 601589"/>
                  <a:gd name="connsiteY7" fmla="*/ 1054114 h 5322210"/>
                  <a:gd name="connsiteX8" fmla="*/ 176015 w 601589"/>
                  <a:gd name="connsiteY8" fmla="*/ 531346 h 5322210"/>
                  <a:gd name="connsiteX9" fmla="*/ 221506 w 601589"/>
                  <a:gd name="connsiteY9" fmla="*/ 208620 h 5322210"/>
                  <a:gd name="connsiteX10" fmla="*/ 386113 w 601589"/>
                  <a:gd name="connsiteY10" fmla="*/ 62034 h 5322210"/>
                  <a:gd name="connsiteX11" fmla="*/ 585759 w 601589"/>
                  <a:gd name="connsiteY11" fmla="*/ 40248 h 5322210"/>
                  <a:gd name="connsiteX12" fmla="*/ 589138 w 601589"/>
                  <a:gd name="connsiteY12" fmla="*/ 576153 h 5322210"/>
                  <a:gd name="connsiteX13" fmla="*/ 589133 w 601589"/>
                  <a:gd name="connsiteY13" fmla="*/ 1102550 h 5322210"/>
                  <a:gd name="connsiteX14" fmla="*/ 586356 w 601589"/>
                  <a:gd name="connsiteY14" fmla="*/ 1118747 h 5322210"/>
                  <a:gd name="connsiteX15" fmla="*/ 583530 w 601589"/>
                  <a:gd name="connsiteY15" fmla="*/ 1895238 h 5322210"/>
                  <a:gd name="connsiteX16" fmla="*/ 585387 w 601589"/>
                  <a:gd name="connsiteY16" fmla="*/ 1898756 h 5322210"/>
                  <a:gd name="connsiteX17" fmla="*/ 584720 w 601589"/>
                  <a:gd name="connsiteY17" fmla="*/ 3074956 h 5322210"/>
                  <a:gd name="connsiteX18" fmla="*/ 582580 w 601589"/>
                  <a:gd name="connsiteY18" fmla="*/ 4839743 h 5322210"/>
                  <a:gd name="connsiteX19" fmla="*/ 515782 w 601589"/>
                  <a:gd name="connsiteY19" fmla="*/ 5098723 h 5322210"/>
                  <a:gd name="connsiteX20" fmla="*/ 371814 w 601589"/>
                  <a:gd name="connsiteY20" fmla="*/ 5253163 h 5322210"/>
                  <a:gd name="connsiteX21" fmla="*/ 161178 w 601589"/>
                  <a:gd name="connsiteY21" fmla="*/ 5321674 h 5322210"/>
                  <a:gd name="connsiteX22" fmla="*/ 111624 w 601589"/>
                  <a:gd name="connsiteY22" fmla="*/ 5322174 h 5322210"/>
                  <a:gd name="connsiteX0" fmla="*/ 111624 w 601589"/>
                  <a:gd name="connsiteY0" fmla="*/ 5322174 h 5322210"/>
                  <a:gd name="connsiteX1" fmla="*/ 0 w 601589"/>
                  <a:gd name="connsiteY1" fmla="*/ 5294374 h 5322210"/>
                  <a:gd name="connsiteX2" fmla="*/ 106655 w 601589"/>
                  <a:gd name="connsiteY2" fmla="*/ 4902275 h 5322210"/>
                  <a:gd name="connsiteX3" fmla="*/ 175120 w 601589"/>
                  <a:gd name="connsiteY3" fmla="*/ 4835926 h 5322210"/>
                  <a:gd name="connsiteX4" fmla="*/ 176964 w 601589"/>
                  <a:gd name="connsiteY4" fmla="*/ 4142900 h 5322210"/>
                  <a:gd name="connsiteX5" fmla="*/ 179235 w 601589"/>
                  <a:gd name="connsiteY5" fmla="*/ 1091692 h 5322210"/>
                  <a:gd name="connsiteX6" fmla="*/ 178050 w 601589"/>
                  <a:gd name="connsiteY6" fmla="*/ 1054114 h 5322210"/>
                  <a:gd name="connsiteX7" fmla="*/ 176015 w 601589"/>
                  <a:gd name="connsiteY7" fmla="*/ 531346 h 5322210"/>
                  <a:gd name="connsiteX8" fmla="*/ 221506 w 601589"/>
                  <a:gd name="connsiteY8" fmla="*/ 208620 h 5322210"/>
                  <a:gd name="connsiteX9" fmla="*/ 386113 w 601589"/>
                  <a:gd name="connsiteY9" fmla="*/ 62034 h 5322210"/>
                  <a:gd name="connsiteX10" fmla="*/ 585759 w 601589"/>
                  <a:gd name="connsiteY10" fmla="*/ 40248 h 5322210"/>
                  <a:gd name="connsiteX11" fmla="*/ 589138 w 601589"/>
                  <a:gd name="connsiteY11" fmla="*/ 576153 h 5322210"/>
                  <a:gd name="connsiteX12" fmla="*/ 589133 w 601589"/>
                  <a:gd name="connsiteY12" fmla="*/ 1102550 h 5322210"/>
                  <a:gd name="connsiteX13" fmla="*/ 586356 w 601589"/>
                  <a:gd name="connsiteY13" fmla="*/ 1118747 h 5322210"/>
                  <a:gd name="connsiteX14" fmla="*/ 583530 w 601589"/>
                  <a:gd name="connsiteY14" fmla="*/ 1895238 h 5322210"/>
                  <a:gd name="connsiteX15" fmla="*/ 585387 w 601589"/>
                  <a:gd name="connsiteY15" fmla="*/ 1898756 h 5322210"/>
                  <a:gd name="connsiteX16" fmla="*/ 584720 w 601589"/>
                  <a:gd name="connsiteY16" fmla="*/ 3074956 h 5322210"/>
                  <a:gd name="connsiteX17" fmla="*/ 582580 w 601589"/>
                  <a:gd name="connsiteY17" fmla="*/ 4839743 h 5322210"/>
                  <a:gd name="connsiteX18" fmla="*/ 515782 w 601589"/>
                  <a:gd name="connsiteY18" fmla="*/ 5098723 h 5322210"/>
                  <a:gd name="connsiteX19" fmla="*/ 371814 w 601589"/>
                  <a:gd name="connsiteY19" fmla="*/ 5253163 h 5322210"/>
                  <a:gd name="connsiteX20" fmla="*/ 161178 w 601589"/>
                  <a:gd name="connsiteY20" fmla="*/ 5321674 h 5322210"/>
                  <a:gd name="connsiteX21" fmla="*/ 111624 w 601589"/>
                  <a:gd name="connsiteY21" fmla="*/ 5322174 h 5322210"/>
                  <a:gd name="connsiteX0" fmla="*/ 111624 w 601589"/>
                  <a:gd name="connsiteY0" fmla="*/ 5322174 h 5322210"/>
                  <a:gd name="connsiteX1" fmla="*/ 0 w 601589"/>
                  <a:gd name="connsiteY1" fmla="*/ 5294374 h 5322210"/>
                  <a:gd name="connsiteX2" fmla="*/ 175120 w 601589"/>
                  <a:gd name="connsiteY2" fmla="*/ 4835926 h 5322210"/>
                  <a:gd name="connsiteX3" fmla="*/ 176964 w 601589"/>
                  <a:gd name="connsiteY3" fmla="*/ 4142900 h 5322210"/>
                  <a:gd name="connsiteX4" fmla="*/ 179235 w 601589"/>
                  <a:gd name="connsiteY4" fmla="*/ 1091692 h 5322210"/>
                  <a:gd name="connsiteX5" fmla="*/ 178050 w 601589"/>
                  <a:gd name="connsiteY5" fmla="*/ 1054114 h 5322210"/>
                  <a:gd name="connsiteX6" fmla="*/ 176015 w 601589"/>
                  <a:gd name="connsiteY6" fmla="*/ 531346 h 5322210"/>
                  <a:gd name="connsiteX7" fmla="*/ 221506 w 601589"/>
                  <a:gd name="connsiteY7" fmla="*/ 208620 h 5322210"/>
                  <a:gd name="connsiteX8" fmla="*/ 386113 w 601589"/>
                  <a:gd name="connsiteY8" fmla="*/ 62034 h 5322210"/>
                  <a:gd name="connsiteX9" fmla="*/ 585759 w 601589"/>
                  <a:gd name="connsiteY9" fmla="*/ 40248 h 5322210"/>
                  <a:gd name="connsiteX10" fmla="*/ 589138 w 601589"/>
                  <a:gd name="connsiteY10" fmla="*/ 576153 h 5322210"/>
                  <a:gd name="connsiteX11" fmla="*/ 589133 w 601589"/>
                  <a:gd name="connsiteY11" fmla="*/ 1102550 h 5322210"/>
                  <a:gd name="connsiteX12" fmla="*/ 586356 w 601589"/>
                  <a:gd name="connsiteY12" fmla="*/ 1118747 h 5322210"/>
                  <a:gd name="connsiteX13" fmla="*/ 583530 w 601589"/>
                  <a:gd name="connsiteY13" fmla="*/ 1895238 h 5322210"/>
                  <a:gd name="connsiteX14" fmla="*/ 585387 w 601589"/>
                  <a:gd name="connsiteY14" fmla="*/ 1898756 h 5322210"/>
                  <a:gd name="connsiteX15" fmla="*/ 584720 w 601589"/>
                  <a:gd name="connsiteY15" fmla="*/ 3074956 h 5322210"/>
                  <a:gd name="connsiteX16" fmla="*/ 582580 w 601589"/>
                  <a:gd name="connsiteY16" fmla="*/ 4839743 h 5322210"/>
                  <a:gd name="connsiteX17" fmla="*/ 515782 w 601589"/>
                  <a:gd name="connsiteY17" fmla="*/ 5098723 h 5322210"/>
                  <a:gd name="connsiteX18" fmla="*/ 371814 w 601589"/>
                  <a:gd name="connsiteY18" fmla="*/ 5253163 h 5322210"/>
                  <a:gd name="connsiteX19" fmla="*/ 161178 w 601589"/>
                  <a:gd name="connsiteY19" fmla="*/ 5321674 h 5322210"/>
                  <a:gd name="connsiteX20" fmla="*/ 111624 w 601589"/>
                  <a:gd name="connsiteY20" fmla="*/ 5322174 h 5322210"/>
                  <a:gd name="connsiteX0" fmla="*/ 0 w 489965"/>
                  <a:gd name="connsiteY0" fmla="*/ 5322174 h 5322174"/>
                  <a:gd name="connsiteX1" fmla="*/ 63496 w 489965"/>
                  <a:gd name="connsiteY1" fmla="*/ 4835926 h 5322174"/>
                  <a:gd name="connsiteX2" fmla="*/ 65340 w 489965"/>
                  <a:gd name="connsiteY2" fmla="*/ 4142900 h 5322174"/>
                  <a:gd name="connsiteX3" fmla="*/ 67611 w 489965"/>
                  <a:gd name="connsiteY3" fmla="*/ 1091692 h 5322174"/>
                  <a:gd name="connsiteX4" fmla="*/ 66426 w 489965"/>
                  <a:gd name="connsiteY4" fmla="*/ 1054114 h 5322174"/>
                  <a:gd name="connsiteX5" fmla="*/ 64391 w 489965"/>
                  <a:gd name="connsiteY5" fmla="*/ 531346 h 5322174"/>
                  <a:gd name="connsiteX6" fmla="*/ 109882 w 489965"/>
                  <a:gd name="connsiteY6" fmla="*/ 208620 h 5322174"/>
                  <a:gd name="connsiteX7" fmla="*/ 274489 w 489965"/>
                  <a:gd name="connsiteY7" fmla="*/ 62034 h 5322174"/>
                  <a:gd name="connsiteX8" fmla="*/ 474135 w 489965"/>
                  <a:gd name="connsiteY8" fmla="*/ 40248 h 5322174"/>
                  <a:gd name="connsiteX9" fmla="*/ 477514 w 489965"/>
                  <a:gd name="connsiteY9" fmla="*/ 576153 h 5322174"/>
                  <a:gd name="connsiteX10" fmla="*/ 477509 w 489965"/>
                  <a:gd name="connsiteY10" fmla="*/ 1102550 h 5322174"/>
                  <a:gd name="connsiteX11" fmla="*/ 474732 w 489965"/>
                  <a:gd name="connsiteY11" fmla="*/ 1118747 h 5322174"/>
                  <a:gd name="connsiteX12" fmla="*/ 471906 w 489965"/>
                  <a:gd name="connsiteY12" fmla="*/ 1895238 h 5322174"/>
                  <a:gd name="connsiteX13" fmla="*/ 473763 w 489965"/>
                  <a:gd name="connsiteY13" fmla="*/ 1898756 h 5322174"/>
                  <a:gd name="connsiteX14" fmla="*/ 473096 w 489965"/>
                  <a:gd name="connsiteY14" fmla="*/ 3074956 h 5322174"/>
                  <a:gd name="connsiteX15" fmla="*/ 470956 w 489965"/>
                  <a:gd name="connsiteY15" fmla="*/ 4839743 h 5322174"/>
                  <a:gd name="connsiteX16" fmla="*/ 404158 w 489965"/>
                  <a:gd name="connsiteY16" fmla="*/ 5098723 h 5322174"/>
                  <a:gd name="connsiteX17" fmla="*/ 260190 w 489965"/>
                  <a:gd name="connsiteY17" fmla="*/ 5253163 h 5322174"/>
                  <a:gd name="connsiteX18" fmla="*/ 49554 w 489965"/>
                  <a:gd name="connsiteY18" fmla="*/ 5321674 h 5322174"/>
                  <a:gd name="connsiteX19" fmla="*/ 0 w 489965"/>
                  <a:gd name="connsiteY19" fmla="*/ 5322174 h 5322174"/>
                  <a:gd name="connsiteX0" fmla="*/ 12071 w 452482"/>
                  <a:gd name="connsiteY0" fmla="*/ 5321674 h 5321821"/>
                  <a:gd name="connsiteX1" fmla="*/ 26013 w 452482"/>
                  <a:gd name="connsiteY1" fmla="*/ 4835926 h 5321821"/>
                  <a:gd name="connsiteX2" fmla="*/ 27857 w 452482"/>
                  <a:gd name="connsiteY2" fmla="*/ 4142900 h 5321821"/>
                  <a:gd name="connsiteX3" fmla="*/ 30128 w 452482"/>
                  <a:gd name="connsiteY3" fmla="*/ 1091692 h 5321821"/>
                  <a:gd name="connsiteX4" fmla="*/ 28943 w 452482"/>
                  <a:gd name="connsiteY4" fmla="*/ 1054114 h 5321821"/>
                  <a:gd name="connsiteX5" fmla="*/ 26908 w 452482"/>
                  <a:gd name="connsiteY5" fmla="*/ 531346 h 5321821"/>
                  <a:gd name="connsiteX6" fmla="*/ 72399 w 452482"/>
                  <a:gd name="connsiteY6" fmla="*/ 208620 h 5321821"/>
                  <a:gd name="connsiteX7" fmla="*/ 237006 w 452482"/>
                  <a:gd name="connsiteY7" fmla="*/ 62034 h 5321821"/>
                  <a:gd name="connsiteX8" fmla="*/ 436652 w 452482"/>
                  <a:gd name="connsiteY8" fmla="*/ 40248 h 5321821"/>
                  <a:gd name="connsiteX9" fmla="*/ 440031 w 452482"/>
                  <a:gd name="connsiteY9" fmla="*/ 576153 h 5321821"/>
                  <a:gd name="connsiteX10" fmla="*/ 440026 w 452482"/>
                  <a:gd name="connsiteY10" fmla="*/ 1102550 h 5321821"/>
                  <a:gd name="connsiteX11" fmla="*/ 437249 w 452482"/>
                  <a:gd name="connsiteY11" fmla="*/ 1118747 h 5321821"/>
                  <a:gd name="connsiteX12" fmla="*/ 434423 w 452482"/>
                  <a:gd name="connsiteY12" fmla="*/ 1895238 h 5321821"/>
                  <a:gd name="connsiteX13" fmla="*/ 436280 w 452482"/>
                  <a:gd name="connsiteY13" fmla="*/ 1898756 h 5321821"/>
                  <a:gd name="connsiteX14" fmla="*/ 435613 w 452482"/>
                  <a:gd name="connsiteY14" fmla="*/ 3074956 h 5321821"/>
                  <a:gd name="connsiteX15" fmla="*/ 433473 w 452482"/>
                  <a:gd name="connsiteY15" fmla="*/ 4839743 h 5321821"/>
                  <a:gd name="connsiteX16" fmla="*/ 366675 w 452482"/>
                  <a:gd name="connsiteY16" fmla="*/ 5098723 h 5321821"/>
                  <a:gd name="connsiteX17" fmla="*/ 222707 w 452482"/>
                  <a:gd name="connsiteY17" fmla="*/ 5253163 h 5321821"/>
                  <a:gd name="connsiteX18" fmla="*/ 12071 w 452482"/>
                  <a:gd name="connsiteY18" fmla="*/ 5321674 h 5321821"/>
                  <a:gd name="connsiteX0" fmla="*/ 197536 w 427311"/>
                  <a:gd name="connsiteY0" fmla="*/ 5253163 h 5253163"/>
                  <a:gd name="connsiteX1" fmla="*/ 842 w 427311"/>
                  <a:gd name="connsiteY1" fmla="*/ 4835926 h 5253163"/>
                  <a:gd name="connsiteX2" fmla="*/ 2686 w 427311"/>
                  <a:gd name="connsiteY2" fmla="*/ 4142900 h 5253163"/>
                  <a:gd name="connsiteX3" fmla="*/ 4957 w 427311"/>
                  <a:gd name="connsiteY3" fmla="*/ 1091692 h 5253163"/>
                  <a:gd name="connsiteX4" fmla="*/ 3772 w 427311"/>
                  <a:gd name="connsiteY4" fmla="*/ 1054114 h 5253163"/>
                  <a:gd name="connsiteX5" fmla="*/ 1737 w 427311"/>
                  <a:gd name="connsiteY5" fmla="*/ 531346 h 5253163"/>
                  <a:gd name="connsiteX6" fmla="*/ 47228 w 427311"/>
                  <a:gd name="connsiteY6" fmla="*/ 208620 h 5253163"/>
                  <a:gd name="connsiteX7" fmla="*/ 211835 w 427311"/>
                  <a:gd name="connsiteY7" fmla="*/ 62034 h 5253163"/>
                  <a:gd name="connsiteX8" fmla="*/ 411481 w 427311"/>
                  <a:gd name="connsiteY8" fmla="*/ 40248 h 5253163"/>
                  <a:gd name="connsiteX9" fmla="*/ 414860 w 427311"/>
                  <a:gd name="connsiteY9" fmla="*/ 576153 h 5253163"/>
                  <a:gd name="connsiteX10" fmla="*/ 414855 w 427311"/>
                  <a:gd name="connsiteY10" fmla="*/ 1102550 h 5253163"/>
                  <a:gd name="connsiteX11" fmla="*/ 412078 w 427311"/>
                  <a:gd name="connsiteY11" fmla="*/ 1118747 h 5253163"/>
                  <a:gd name="connsiteX12" fmla="*/ 409252 w 427311"/>
                  <a:gd name="connsiteY12" fmla="*/ 1895238 h 5253163"/>
                  <a:gd name="connsiteX13" fmla="*/ 411109 w 427311"/>
                  <a:gd name="connsiteY13" fmla="*/ 1898756 h 5253163"/>
                  <a:gd name="connsiteX14" fmla="*/ 410442 w 427311"/>
                  <a:gd name="connsiteY14" fmla="*/ 3074956 h 5253163"/>
                  <a:gd name="connsiteX15" fmla="*/ 408302 w 427311"/>
                  <a:gd name="connsiteY15" fmla="*/ 4839743 h 5253163"/>
                  <a:gd name="connsiteX16" fmla="*/ 341504 w 427311"/>
                  <a:gd name="connsiteY16" fmla="*/ 5098723 h 5253163"/>
                  <a:gd name="connsiteX17" fmla="*/ 197536 w 427311"/>
                  <a:gd name="connsiteY17" fmla="*/ 5253163 h 5253163"/>
                  <a:gd name="connsiteX0" fmla="*/ 341504 w 427311"/>
                  <a:gd name="connsiteY0" fmla="*/ 5098723 h 5098724"/>
                  <a:gd name="connsiteX1" fmla="*/ 842 w 427311"/>
                  <a:gd name="connsiteY1" fmla="*/ 4835926 h 5098724"/>
                  <a:gd name="connsiteX2" fmla="*/ 2686 w 427311"/>
                  <a:gd name="connsiteY2" fmla="*/ 4142900 h 5098724"/>
                  <a:gd name="connsiteX3" fmla="*/ 4957 w 427311"/>
                  <a:gd name="connsiteY3" fmla="*/ 1091692 h 5098724"/>
                  <a:gd name="connsiteX4" fmla="*/ 3772 w 427311"/>
                  <a:gd name="connsiteY4" fmla="*/ 1054114 h 5098724"/>
                  <a:gd name="connsiteX5" fmla="*/ 1737 w 427311"/>
                  <a:gd name="connsiteY5" fmla="*/ 531346 h 5098724"/>
                  <a:gd name="connsiteX6" fmla="*/ 47228 w 427311"/>
                  <a:gd name="connsiteY6" fmla="*/ 208620 h 5098724"/>
                  <a:gd name="connsiteX7" fmla="*/ 211835 w 427311"/>
                  <a:gd name="connsiteY7" fmla="*/ 62034 h 5098724"/>
                  <a:gd name="connsiteX8" fmla="*/ 411481 w 427311"/>
                  <a:gd name="connsiteY8" fmla="*/ 40248 h 5098724"/>
                  <a:gd name="connsiteX9" fmla="*/ 414860 w 427311"/>
                  <a:gd name="connsiteY9" fmla="*/ 576153 h 5098724"/>
                  <a:gd name="connsiteX10" fmla="*/ 414855 w 427311"/>
                  <a:gd name="connsiteY10" fmla="*/ 1102550 h 5098724"/>
                  <a:gd name="connsiteX11" fmla="*/ 412078 w 427311"/>
                  <a:gd name="connsiteY11" fmla="*/ 1118747 h 5098724"/>
                  <a:gd name="connsiteX12" fmla="*/ 409252 w 427311"/>
                  <a:gd name="connsiteY12" fmla="*/ 1895238 h 5098724"/>
                  <a:gd name="connsiteX13" fmla="*/ 411109 w 427311"/>
                  <a:gd name="connsiteY13" fmla="*/ 1898756 h 5098724"/>
                  <a:gd name="connsiteX14" fmla="*/ 410442 w 427311"/>
                  <a:gd name="connsiteY14" fmla="*/ 3074956 h 5098724"/>
                  <a:gd name="connsiteX15" fmla="*/ 408302 w 427311"/>
                  <a:gd name="connsiteY15" fmla="*/ 4839743 h 5098724"/>
                  <a:gd name="connsiteX16" fmla="*/ 341504 w 427311"/>
                  <a:gd name="connsiteY16" fmla="*/ 5098723 h 5098724"/>
                  <a:gd name="connsiteX0" fmla="*/ 408302 w 427311"/>
                  <a:gd name="connsiteY0" fmla="*/ 4839743 h 4998637"/>
                  <a:gd name="connsiteX1" fmla="*/ 842 w 427311"/>
                  <a:gd name="connsiteY1" fmla="*/ 4835926 h 4998637"/>
                  <a:gd name="connsiteX2" fmla="*/ 2686 w 427311"/>
                  <a:gd name="connsiteY2" fmla="*/ 4142900 h 4998637"/>
                  <a:gd name="connsiteX3" fmla="*/ 4957 w 427311"/>
                  <a:gd name="connsiteY3" fmla="*/ 1091692 h 4998637"/>
                  <a:gd name="connsiteX4" fmla="*/ 3772 w 427311"/>
                  <a:gd name="connsiteY4" fmla="*/ 1054114 h 4998637"/>
                  <a:gd name="connsiteX5" fmla="*/ 1737 w 427311"/>
                  <a:gd name="connsiteY5" fmla="*/ 531346 h 4998637"/>
                  <a:gd name="connsiteX6" fmla="*/ 47228 w 427311"/>
                  <a:gd name="connsiteY6" fmla="*/ 208620 h 4998637"/>
                  <a:gd name="connsiteX7" fmla="*/ 211835 w 427311"/>
                  <a:gd name="connsiteY7" fmla="*/ 62034 h 4998637"/>
                  <a:gd name="connsiteX8" fmla="*/ 411481 w 427311"/>
                  <a:gd name="connsiteY8" fmla="*/ 40248 h 4998637"/>
                  <a:gd name="connsiteX9" fmla="*/ 414860 w 427311"/>
                  <a:gd name="connsiteY9" fmla="*/ 576153 h 4998637"/>
                  <a:gd name="connsiteX10" fmla="*/ 414855 w 427311"/>
                  <a:gd name="connsiteY10" fmla="*/ 1102550 h 4998637"/>
                  <a:gd name="connsiteX11" fmla="*/ 412078 w 427311"/>
                  <a:gd name="connsiteY11" fmla="*/ 1118747 h 4998637"/>
                  <a:gd name="connsiteX12" fmla="*/ 409252 w 427311"/>
                  <a:gd name="connsiteY12" fmla="*/ 1895238 h 4998637"/>
                  <a:gd name="connsiteX13" fmla="*/ 411109 w 427311"/>
                  <a:gd name="connsiteY13" fmla="*/ 1898756 h 4998637"/>
                  <a:gd name="connsiteX14" fmla="*/ 410442 w 427311"/>
                  <a:gd name="connsiteY14" fmla="*/ 3074956 h 4998637"/>
                  <a:gd name="connsiteX15" fmla="*/ 408302 w 427311"/>
                  <a:gd name="connsiteY15" fmla="*/ 4839743 h 4998637"/>
                  <a:gd name="connsiteX0" fmla="*/ 408302 w 427311"/>
                  <a:gd name="connsiteY0" fmla="*/ 4839743 h 4998637"/>
                  <a:gd name="connsiteX1" fmla="*/ 842 w 427311"/>
                  <a:gd name="connsiteY1" fmla="*/ 4835926 h 4998637"/>
                  <a:gd name="connsiteX2" fmla="*/ 2686 w 427311"/>
                  <a:gd name="connsiteY2" fmla="*/ 4142900 h 4998637"/>
                  <a:gd name="connsiteX3" fmla="*/ 4957 w 427311"/>
                  <a:gd name="connsiteY3" fmla="*/ 1091692 h 4998637"/>
                  <a:gd name="connsiteX4" fmla="*/ 3772 w 427311"/>
                  <a:gd name="connsiteY4" fmla="*/ 1054114 h 4998637"/>
                  <a:gd name="connsiteX5" fmla="*/ 1737 w 427311"/>
                  <a:gd name="connsiteY5" fmla="*/ 531346 h 4998637"/>
                  <a:gd name="connsiteX6" fmla="*/ 47228 w 427311"/>
                  <a:gd name="connsiteY6" fmla="*/ 208620 h 4998637"/>
                  <a:gd name="connsiteX7" fmla="*/ 211835 w 427311"/>
                  <a:gd name="connsiteY7" fmla="*/ 62034 h 4998637"/>
                  <a:gd name="connsiteX8" fmla="*/ 411481 w 427311"/>
                  <a:gd name="connsiteY8" fmla="*/ 40248 h 4998637"/>
                  <a:gd name="connsiteX9" fmla="*/ 414860 w 427311"/>
                  <a:gd name="connsiteY9" fmla="*/ 576153 h 4998637"/>
                  <a:gd name="connsiteX10" fmla="*/ 414855 w 427311"/>
                  <a:gd name="connsiteY10" fmla="*/ 1102550 h 4998637"/>
                  <a:gd name="connsiteX11" fmla="*/ 412078 w 427311"/>
                  <a:gd name="connsiteY11" fmla="*/ 1118747 h 4998637"/>
                  <a:gd name="connsiteX12" fmla="*/ 409252 w 427311"/>
                  <a:gd name="connsiteY12" fmla="*/ 1895238 h 4998637"/>
                  <a:gd name="connsiteX13" fmla="*/ 410442 w 427311"/>
                  <a:gd name="connsiteY13" fmla="*/ 3074956 h 4998637"/>
                  <a:gd name="connsiteX14" fmla="*/ 408302 w 427311"/>
                  <a:gd name="connsiteY14" fmla="*/ 4839743 h 4998637"/>
                  <a:gd name="connsiteX0" fmla="*/ 408302 w 427311"/>
                  <a:gd name="connsiteY0" fmla="*/ 4839743 h 4998637"/>
                  <a:gd name="connsiteX1" fmla="*/ 842 w 427311"/>
                  <a:gd name="connsiteY1" fmla="*/ 4835926 h 4998637"/>
                  <a:gd name="connsiteX2" fmla="*/ 2686 w 427311"/>
                  <a:gd name="connsiteY2" fmla="*/ 4142900 h 4998637"/>
                  <a:gd name="connsiteX3" fmla="*/ 4957 w 427311"/>
                  <a:gd name="connsiteY3" fmla="*/ 1091692 h 4998637"/>
                  <a:gd name="connsiteX4" fmla="*/ 3772 w 427311"/>
                  <a:gd name="connsiteY4" fmla="*/ 1054114 h 4998637"/>
                  <a:gd name="connsiteX5" fmla="*/ 1737 w 427311"/>
                  <a:gd name="connsiteY5" fmla="*/ 531346 h 4998637"/>
                  <a:gd name="connsiteX6" fmla="*/ 47228 w 427311"/>
                  <a:gd name="connsiteY6" fmla="*/ 208620 h 4998637"/>
                  <a:gd name="connsiteX7" fmla="*/ 211835 w 427311"/>
                  <a:gd name="connsiteY7" fmla="*/ 62034 h 4998637"/>
                  <a:gd name="connsiteX8" fmla="*/ 411481 w 427311"/>
                  <a:gd name="connsiteY8" fmla="*/ 40248 h 4998637"/>
                  <a:gd name="connsiteX9" fmla="*/ 414860 w 427311"/>
                  <a:gd name="connsiteY9" fmla="*/ 576153 h 4998637"/>
                  <a:gd name="connsiteX10" fmla="*/ 414855 w 427311"/>
                  <a:gd name="connsiteY10" fmla="*/ 1102550 h 4998637"/>
                  <a:gd name="connsiteX11" fmla="*/ 412078 w 427311"/>
                  <a:gd name="connsiteY11" fmla="*/ 1118747 h 4998637"/>
                  <a:gd name="connsiteX12" fmla="*/ 410442 w 427311"/>
                  <a:gd name="connsiteY12" fmla="*/ 3074956 h 4998637"/>
                  <a:gd name="connsiteX13" fmla="*/ 408302 w 427311"/>
                  <a:gd name="connsiteY13" fmla="*/ 4839743 h 4998637"/>
                  <a:gd name="connsiteX0" fmla="*/ 408302 w 439992"/>
                  <a:gd name="connsiteY0" fmla="*/ 4810191 h 4969085"/>
                  <a:gd name="connsiteX1" fmla="*/ 842 w 439992"/>
                  <a:gd name="connsiteY1" fmla="*/ 4806374 h 4969085"/>
                  <a:gd name="connsiteX2" fmla="*/ 2686 w 439992"/>
                  <a:gd name="connsiteY2" fmla="*/ 4113348 h 4969085"/>
                  <a:gd name="connsiteX3" fmla="*/ 4957 w 439992"/>
                  <a:gd name="connsiteY3" fmla="*/ 1062140 h 4969085"/>
                  <a:gd name="connsiteX4" fmla="*/ 3772 w 439992"/>
                  <a:gd name="connsiteY4" fmla="*/ 1024562 h 4969085"/>
                  <a:gd name="connsiteX5" fmla="*/ 1737 w 439992"/>
                  <a:gd name="connsiteY5" fmla="*/ 501794 h 4969085"/>
                  <a:gd name="connsiteX6" fmla="*/ 47228 w 439992"/>
                  <a:gd name="connsiteY6" fmla="*/ 179068 h 4969085"/>
                  <a:gd name="connsiteX7" fmla="*/ 211835 w 439992"/>
                  <a:gd name="connsiteY7" fmla="*/ 32482 h 4969085"/>
                  <a:gd name="connsiteX8" fmla="*/ 411481 w 439992"/>
                  <a:gd name="connsiteY8" fmla="*/ 10696 h 4969085"/>
                  <a:gd name="connsiteX9" fmla="*/ 414860 w 439992"/>
                  <a:gd name="connsiteY9" fmla="*/ 546601 h 4969085"/>
                  <a:gd name="connsiteX10" fmla="*/ 414855 w 439992"/>
                  <a:gd name="connsiteY10" fmla="*/ 1072998 h 4969085"/>
                  <a:gd name="connsiteX11" fmla="*/ 412078 w 439992"/>
                  <a:gd name="connsiteY11" fmla="*/ 1089195 h 4969085"/>
                  <a:gd name="connsiteX12" fmla="*/ 410442 w 439992"/>
                  <a:gd name="connsiteY12" fmla="*/ 3045404 h 4969085"/>
                  <a:gd name="connsiteX13" fmla="*/ 408302 w 439992"/>
                  <a:gd name="connsiteY13" fmla="*/ 4810191 h 4969085"/>
                  <a:gd name="connsiteX0" fmla="*/ 415394 w 447084"/>
                  <a:gd name="connsiteY0" fmla="*/ 4810191 h 5065849"/>
                  <a:gd name="connsiteX1" fmla="*/ 7934 w 447084"/>
                  <a:gd name="connsiteY1" fmla="*/ 4806374 h 5065849"/>
                  <a:gd name="connsiteX2" fmla="*/ 9778 w 447084"/>
                  <a:gd name="connsiteY2" fmla="*/ 4113348 h 5065849"/>
                  <a:gd name="connsiteX3" fmla="*/ 12049 w 447084"/>
                  <a:gd name="connsiteY3" fmla="*/ 1062140 h 5065849"/>
                  <a:gd name="connsiteX4" fmla="*/ 10864 w 447084"/>
                  <a:gd name="connsiteY4" fmla="*/ 1024562 h 5065849"/>
                  <a:gd name="connsiteX5" fmla="*/ 8829 w 447084"/>
                  <a:gd name="connsiteY5" fmla="*/ 501794 h 5065849"/>
                  <a:gd name="connsiteX6" fmla="*/ 54320 w 447084"/>
                  <a:gd name="connsiteY6" fmla="*/ 179068 h 5065849"/>
                  <a:gd name="connsiteX7" fmla="*/ 218927 w 447084"/>
                  <a:gd name="connsiteY7" fmla="*/ 32482 h 5065849"/>
                  <a:gd name="connsiteX8" fmla="*/ 418573 w 447084"/>
                  <a:gd name="connsiteY8" fmla="*/ 10696 h 5065849"/>
                  <a:gd name="connsiteX9" fmla="*/ 421952 w 447084"/>
                  <a:gd name="connsiteY9" fmla="*/ 546601 h 5065849"/>
                  <a:gd name="connsiteX10" fmla="*/ 421947 w 447084"/>
                  <a:gd name="connsiteY10" fmla="*/ 1072998 h 5065849"/>
                  <a:gd name="connsiteX11" fmla="*/ 419170 w 447084"/>
                  <a:gd name="connsiteY11" fmla="*/ 1089195 h 5065849"/>
                  <a:gd name="connsiteX12" fmla="*/ 417534 w 447084"/>
                  <a:gd name="connsiteY12" fmla="*/ 3045404 h 5065849"/>
                  <a:gd name="connsiteX13" fmla="*/ 415394 w 447084"/>
                  <a:gd name="connsiteY13" fmla="*/ 4810191 h 5065849"/>
                  <a:gd name="connsiteX0" fmla="*/ 409351 w 441041"/>
                  <a:gd name="connsiteY0" fmla="*/ 4810191 h 5176507"/>
                  <a:gd name="connsiteX1" fmla="*/ 1891 w 441041"/>
                  <a:gd name="connsiteY1" fmla="*/ 4806374 h 5176507"/>
                  <a:gd name="connsiteX2" fmla="*/ 3735 w 441041"/>
                  <a:gd name="connsiteY2" fmla="*/ 4113348 h 5176507"/>
                  <a:gd name="connsiteX3" fmla="*/ 6006 w 441041"/>
                  <a:gd name="connsiteY3" fmla="*/ 1062140 h 5176507"/>
                  <a:gd name="connsiteX4" fmla="*/ 4821 w 441041"/>
                  <a:gd name="connsiteY4" fmla="*/ 1024562 h 5176507"/>
                  <a:gd name="connsiteX5" fmla="*/ 2786 w 441041"/>
                  <a:gd name="connsiteY5" fmla="*/ 501794 h 5176507"/>
                  <a:gd name="connsiteX6" fmla="*/ 48277 w 441041"/>
                  <a:gd name="connsiteY6" fmla="*/ 179068 h 5176507"/>
                  <a:gd name="connsiteX7" fmla="*/ 212884 w 441041"/>
                  <a:gd name="connsiteY7" fmla="*/ 32482 h 5176507"/>
                  <a:gd name="connsiteX8" fmla="*/ 412530 w 441041"/>
                  <a:gd name="connsiteY8" fmla="*/ 10696 h 5176507"/>
                  <a:gd name="connsiteX9" fmla="*/ 415909 w 441041"/>
                  <a:gd name="connsiteY9" fmla="*/ 546601 h 5176507"/>
                  <a:gd name="connsiteX10" fmla="*/ 415904 w 441041"/>
                  <a:gd name="connsiteY10" fmla="*/ 1072998 h 5176507"/>
                  <a:gd name="connsiteX11" fmla="*/ 413127 w 441041"/>
                  <a:gd name="connsiteY11" fmla="*/ 1089195 h 5176507"/>
                  <a:gd name="connsiteX12" fmla="*/ 411491 w 441041"/>
                  <a:gd name="connsiteY12" fmla="*/ 3045404 h 5176507"/>
                  <a:gd name="connsiteX13" fmla="*/ 409351 w 441041"/>
                  <a:gd name="connsiteY13" fmla="*/ 4810191 h 5176507"/>
                  <a:gd name="connsiteX0" fmla="*/ 409351 w 426110"/>
                  <a:gd name="connsiteY0" fmla="*/ 4811187 h 5177503"/>
                  <a:gd name="connsiteX1" fmla="*/ 1891 w 426110"/>
                  <a:gd name="connsiteY1" fmla="*/ 4807370 h 5177503"/>
                  <a:gd name="connsiteX2" fmla="*/ 3735 w 426110"/>
                  <a:gd name="connsiteY2" fmla="*/ 4114344 h 5177503"/>
                  <a:gd name="connsiteX3" fmla="*/ 6006 w 426110"/>
                  <a:gd name="connsiteY3" fmla="*/ 1063136 h 5177503"/>
                  <a:gd name="connsiteX4" fmla="*/ 4821 w 426110"/>
                  <a:gd name="connsiteY4" fmla="*/ 1025558 h 5177503"/>
                  <a:gd name="connsiteX5" fmla="*/ 2786 w 426110"/>
                  <a:gd name="connsiteY5" fmla="*/ 502790 h 5177503"/>
                  <a:gd name="connsiteX6" fmla="*/ 48277 w 426110"/>
                  <a:gd name="connsiteY6" fmla="*/ 180064 h 5177503"/>
                  <a:gd name="connsiteX7" fmla="*/ 243364 w 426110"/>
                  <a:gd name="connsiteY7" fmla="*/ 181565 h 5177503"/>
                  <a:gd name="connsiteX8" fmla="*/ 412530 w 426110"/>
                  <a:gd name="connsiteY8" fmla="*/ 11692 h 5177503"/>
                  <a:gd name="connsiteX9" fmla="*/ 415909 w 426110"/>
                  <a:gd name="connsiteY9" fmla="*/ 547597 h 5177503"/>
                  <a:gd name="connsiteX10" fmla="*/ 415904 w 426110"/>
                  <a:gd name="connsiteY10" fmla="*/ 1073994 h 5177503"/>
                  <a:gd name="connsiteX11" fmla="*/ 413127 w 426110"/>
                  <a:gd name="connsiteY11" fmla="*/ 1090191 h 5177503"/>
                  <a:gd name="connsiteX12" fmla="*/ 411491 w 426110"/>
                  <a:gd name="connsiteY12" fmla="*/ 3046400 h 5177503"/>
                  <a:gd name="connsiteX13" fmla="*/ 409351 w 426110"/>
                  <a:gd name="connsiteY13" fmla="*/ 4811187 h 5177503"/>
                  <a:gd name="connsiteX0" fmla="*/ 409351 w 426110"/>
                  <a:gd name="connsiteY0" fmla="*/ 4845590 h 5211906"/>
                  <a:gd name="connsiteX1" fmla="*/ 1891 w 426110"/>
                  <a:gd name="connsiteY1" fmla="*/ 4841773 h 5211906"/>
                  <a:gd name="connsiteX2" fmla="*/ 3735 w 426110"/>
                  <a:gd name="connsiteY2" fmla="*/ 4148747 h 5211906"/>
                  <a:gd name="connsiteX3" fmla="*/ 6006 w 426110"/>
                  <a:gd name="connsiteY3" fmla="*/ 1097539 h 5211906"/>
                  <a:gd name="connsiteX4" fmla="*/ 4821 w 426110"/>
                  <a:gd name="connsiteY4" fmla="*/ 1059961 h 5211906"/>
                  <a:gd name="connsiteX5" fmla="*/ 2786 w 426110"/>
                  <a:gd name="connsiteY5" fmla="*/ 537193 h 5211906"/>
                  <a:gd name="connsiteX6" fmla="*/ 48277 w 426110"/>
                  <a:gd name="connsiteY6" fmla="*/ 214467 h 5211906"/>
                  <a:gd name="connsiteX7" fmla="*/ 243364 w 426110"/>
                  <a:gd name="connsiteY7" fmla="*/ 52292 h 5211906"/>
                  <a:gd name="connsiteX8" fmla="*/ 412530 w 426110"/>
                  <a:gd name="connsiteY8" fmla="*/ 46095 h 5211906"/>
                  <a:gd name="connsiteX9" fmla="*/ 415909 w 426110"/>
                  <a:gd name="connsiteY9" fmla="*/ 582000 h 5211906"/>
                  <a:gd name="connsiteX10" fmla="*/ 415904 w 426110"/>
                  <a:gd name="connsiteY10" fmla="*/ 1108397 h 5211906"/>
                  <a:gd name="connsiteX11" fmla="*/ 413127 w 426110"/>
                  <a:gd name="connsiteY11" fmla="*/ 1124594 h 5211906"/>
                  <a:gd name="connsiteX12" fmla="*/ 411491 w 426110"/>
                  <a:gd name="connsiteY12" fmla="*/ 3080803 h 5211906"/>
                  <a:gd name="connsiteX13" fmla="*/ 409351 w 426110"/>
                  <a:gd name="connsiteY13" fmla="*/ 4845590 h 521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110" h="5211906">
                    <a:moveTo>
                      <a:pt x="409351" y="4845590"/>
                    </a:moveTo>
                    <a:cubicBezTo>
                      <a:pt x="341084" y="5139085"/>
                      <a:pt x="-29566" y="5498933"/>
                      <a:pt x="1891" y="4841773"/>
                    </a:cubicBezTo>
                    <a:cubicBezTo>
                      <a:pt x="2506" y="4610764"/>
                      <a:pt x="3120" y="4379756"/>
                      <a:pt x="3735" y="4148747"/>
                    </a:cubicBezTo>
                    <a:lnTo>
                      <a:pt x="6006" y="1097539"/>
                    </a:lnTo>
                    <a:lnTo>
                      <a:pt x="4821" y="1059961"/>
                    </a:lnTo>
                    <a:cubicBezTo>
                      <a:pt x="689" y="925964"/>
                      <a:pt x="-137" y="728295"/>
                      <a:pt x="2786" y="537193"/>
                    </a:cubicBezTo>
                    <a:cubicBezTo>
                      <a:pt x="583" y="383867"/>
                      <a:pt x="8181" y="295284"/>
                      <a:pt x="48277" y="214467"/>
                    </a:cubicBezTo>
                    <a:cubicBezTo>
                      <a:pt x="88373" y="133650"/>
                      <a:pt x="198755" y="81055"/>
                      <a:pt x="243364" y="52292"/>
                    </a:cubicBezTo>
                    <a:cubicBezTo>
                      <a:pt x="325231" y="17274"/>
                      <a:pt x="383773" y="-42190"/>
                      <a:pt x="412530" y="46095"/>
                    </a:cubicBezTo>
                    <a:cubicBezTo>
                      <a:pt x="441288" y="134380"/>
                      <a:pt x="415347" y="404950"/>
                      <a:pt x="415909" y="582000"/>
                    </a:cubicBezTo>
                    <a:cubicBezTo>
                      <a:pt x="415909" y="757466"/>
                      <a:pt x="415904" y="932931"/>
                      <a:pt x="415904" y="1108397"/>
                    </a:cubicBezTo>
                    <a:lnTo>
                      <a:pt x="413127" y="1124594"/>
                    </a:lnTo>
                    <a:cubicBezTo>
                      <a:pt x="412582" y="1776664"/>
                      <a:pt x="412036" y="2428733"/>
                      <a:pt x="411491" y="3080803"/>
                    </a:cubicBezTo>
                    <a:cubicBezTo>
                      <a:pt x="410777" y="3669066"/>
                      <a:pt x="410063" y="4257328"/>
                      <a:pt x="409351" y="4845590"/>
                    </a:cubicBezTo>
                    <a:close/>
                  </a:path>
                </a:pathLst>
              </a:custGeom>
              <a:gradFill flip="none" rotWithShape="1">
                <a:gsLst>
                  <a:gs pos="100000">
                    <a:schemeClr val="accent2">
                      <a:lumMod val="0"/>
                      <a:lumOff val="100000"/>
                      <a:alpha val="0"/>
                    </a:schemeClr>
                  </a:gs>
                  <a:gs pos="30000">
                    <a:schemeClr val="accent4"/>
                  </a:gs>
                </a:gsLst>
                <a:lin ang="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91" name="Freeform: Shape 790">
                <a:extLst>
                  <a:ext uri="{FF2B5EF4-FFF2-40B4-BE49-F238E27FC236}">
                    <a16:creationId xmlns:a16="http://schemas.microsoft.com/office/drawing/2014/main" id="{392E6D0D-3523-45FF-A34A-34B884E90AD9}"/>
                  </a:ext>
                </a:extLst>
              </p:cNvPr>
              <p:cNvSpPr/>
              <p:nvPr/>
            </p:nvSpPr>
            <p:spPr bwMode="gray">
              <a:xfrm flipH="1" flipV="1">
                <a:off x="-1506989" y="-509535"/>
                <a:ext cx="2052151" cy="1314050"/>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172662"/>
                  <a:gd name="connsiteY0" fmla="*/ 5285252 h 5285288"/>
                  <a:gd name="connsiteX1" fmla="*/ 1859089 w 4172662"/>
                  <a:gd name="connsiteY1" fmla="*/ 5257452 h 5285288"/>
                  <a:gd name="connsiteX2" fmla="*/ 1799088 w 4172662"/>
                  <a:gd name="connsiteY2" fmla="*/ 5227600 h 5285288"/>
                  <a:gd name="connsiteX3" fmla="*/ 257741 w 4172662"/>
                  <a:gd name="connsiteY3" fmla="*/ 4344402 h 5285288"/>
                  <a:gd name="connsiteX4" fmla="*/ 66855 w 4172662"/>
                  <a:gd name="connsiteY4" fmla="*/ 4157062 h 5285288"/>
                  <a:gd name="connsiteX5" fmla="*/ 5085 w 4172662"/>
                  <a:gd name="connsiteY5" fmla="*/ 3955159 h 5285288"/>
                  <a:gd name="connsiteX6" fmla="*/ 117 w 4172662"/>
                  <a:gd name="connsiteY6" fmla="*/ 3898769 h 5285288"/>
                  <a:gd name="connsiteX7" fmla="*/ 0 w 4172662"/>
                  <a:gd name="connsiteY7" fmla="*/ 3898107 h 5285288"/>
                  <a:gd name="connsiteX8" fmla="*/ 5920 w 4172662"/>
                  <a:gd name="connsiteY8" fmla="*/ 2513626 h 5285288"/>
                  <a:gd name="connsiteX9" fmla="*/ 9056 w 4172662"/>
                  <a:gd name="connsiteY9" fmla="*/ 2484766 h 5285288"/>
                  <a:gd name="connsiteX10" fmla="*/ 206180 w 4172662"/>
                  <a:gd name="connsiteY10" fmla="*/ 2392022 h 5285288"/>
                  <a:gd name="connsiteX11" fmla="*/ 407391 w 4172662"/>
                  <a:gd name="connsiteY11" fmla="*/ 2508175 h 5285288"/>
                  <a:gd name="connsiteX12" fmla="*/ 406100 w 4172662"/>
                  <a:gd name="connsiteY12" fmla="*/ 2572658 h 5285288"/>
                  <a:gd name="connsiteX13" fmla="*/ 409165 w 4172662"/>
                  <a:gd name="connsiteY13" fmla="*/ 3888049 h 5285288"/>
                  <a:gd name="connsiteX14" fmla="*/ 407598 w 4172662"/>
                  <a:gd name="connsiteY14" fmla="*/ 3881457 h 5285288"/>
                  <a:gd name="connsiteX15" fmla="*/ 407517 w 4172662"/>
                  <a:gd name="connsiteY15" fmla="*/ 3894265 h 5285288"/>
                  <a:gd name="connsiteX16" fmla="*/ 464772 w 4172662"/>
                  <a:gd name="connsiteY16" fmla="*/ 3993435 h 5285288"/>
                  <a:gd name="connsiteX17" fmla="*/ 1965744 w 4172662"/>
                  <a:gd name="connsiteY17" fmla="*/ 4865353 h 5285288"/>
                  <a:gd name="connsiteX18" fmla="*/ 1966088 w 4172662"/>
                  <a:gd name="connsiteY18" fmla="*/ 4865745 h 5285288"/>
                  <a:gd name="connsiteX19" fmla="*/ 1988129 w 4172662"/>
                  <a:gd name="connsiteY19" fmla="*/ 4859558 h 5285288"/>
                  <a:gd name="connsiteX20" fmla="*/ 2034209 w 4172662"/>
                  <a:gd name="connsiteY20" fmla="*/ 4799004 h 5285288"/>
                  <a:gd name="connsiteX21" fmla="*/ 2036053 w 4172662"/>
                  <a:gd name="connsiteY21" fmla="*/ 4105978 h 5285288"/>
                  <a:gd name="connsiteX22" fmla="*/ 2038324 w 4172662"/>
                  <a:gd name="connsiteY22" fmla="*/ 1054770 h 5285288"/>
                  <a:gd name="connsiteX23" fmla="*/ 2037139 w 4172662"/>
                  <a:gd name="connsiteY23" fmla="*/ 1017192 h 5285288"/>
                  <a:gd name="connsiteX24" fmla="*/ 2035104 w 4172662"/>
                  <a:gd name="connsiteY24" fmla="*/ 494424 h 5285288"/>
                  <a:gd name="connsiteX25" fmla="*/ 2080595 w 4172662"/>
                  <a:gd name="connsiteY25" fmla="*/ 171698 h 5285288"/>
                  <a:gd name="connsiteX26" fmla="*/ 2245202 w 4172662"/>
                  <a:gd name="connsiteY26" fmla="*/ 25112 h 5285288"/>
                  <a:gd name="connsiteX27" fmla="*/ 2444848 w 4172662"/>
                  <a:gd name="connsiteY27" fmla="*/ 3326 h 5285288"/>
                  <a:gd name="connsiteX28" fmla="*/ 2620552 w 4172662"/>
                  <a:gd name="connsiteY28" fmla="*/ 37548 h 5285288"/>
                  <a:gd name="connsiteX29" fmla="*/ 4172662 w 4172662"/>
                  <a:gd name="connsiteY29" fmla="*/ 1149844 h 5285288"/>
                  <a:gd name="connsiteX30" fmla="*/ 3998697 w 4172662"/>
                  <a:gd name="connsiteY30" fmla="*/ 1269783 h 5285288"/>
                  <a:gd name="connsiteX31" fmla="*/ 3978850 w 4172662"/>
                  <a:gd name="connsiteY31" fmla="*/ 1262485 h 5285288"/>
                  <a:gd name="connsiteX32" fmla="*/ 2513375 w 4172662"/>
                  <a:gd name="connsiteY32" fmla="*/ 431577 h 5285288"/>
                  <a:gd name="connsiteX33" fmla="*/ 2513032 w 4172662"/>
                  <a:gd name="connsiteY33" fmla="*/ 431184 h 5285288"/>
                  <a:gd name="connsiteX34" fmla="*/ 2490877 w 4172662"/>
                  <a:gd name="connsiteY34" fmla="*/ 437405 h 5285288"/>
                  <a:gd name="connsiteX35" fmla="*/ 2448227 w 4172662"/>
                  <a:gd name="connsiteY35" fmla="*/ 539231 h 5285288"/>
                  <a:gd name="connsiteX36" fmla="*/ 2448222 w 4172662"/>
                  <a:gd name="connsiteY36" fmla="*/ 1065628 h 5285288"/>
                  <a:gd name="connsiteX37" fmla="*/ 2445445 w 4172662"/>
                  <a:gd name="connsiteY37" fmla="*/ 1081825 h 5285288"/>
                  <a:gd name="connsiteX38" fmla="*/ 2442619 w 4172662"/>
                  <a:gd name="connsiteY38" fmla="*/ 1858316 h 5285288"/>
                  <a:gd name="connsiteX39" fmla="*/ 2444476 w 4172662"/>
                  <a:gd name="connsiteY39" fmla="*/ 1861834 h 5285288"/>
                  <a:gd name="connsiteX40" fmla="*/ 2443809 w 4172662"/>
                  <a:gd name="connsiteY40" fmla="*/ 3038034 h 5285288"/>
                  <a:gd name="connsiteX41" fmla="*/ 2441669 w 4172662"/>
                  <a:gd name="connsiteY41" fmla="*/ 4802821 h 5285288"/>
                  <a:gd name="connsiteX42" fmla="*/ 2374871 w 4172662"/>
                  <a:gd name="connsiteY42" fmla="*/ 5061801 h 5285288"/>
                  <a:gd name="connsiteX43" fmla="*/ 2230903 w 4172662"/>
                  <a:gd name="connsiteY43" fmla="*/ 5216241 h 5285288"/>
                  <a:gd name="connsiteX44" fmla="*/ 2020267 w 4172662"/>
                  <a:gd name="connsiteY44" fmla="*/ 5284752 h 5285288"/>
                  <a:gd name="connsiteX45" fmla="*/ 1970713 w 4172662"/>
                  <a:gd name="connsiteY45"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3978850 w 3998697"/>
                  <a:gd name="connsiteY30" fmla="*/ 1262485 h 5285288"/>
                  <a:gd name="connsiteX31" fmla="*/ 2513375 w 3998697"/>
                  <a:gd name="connsiteY31" fmla="*/ 431577 h 5285288"/>
                  <a:gd name="connsiteX32" fmla="*/ 2513032 w 3998697"/>
                  <a:gd name="connsiteY32" fmla="*/ 431184 h 5285288"/>
                  <a:gd name="connsiteX33" fmla="*/ 2490877 w 3998697"/>
                  <a:gd name="connsiteY33" fmla="*/ 437405 h 5285288"/>
                  <a:gd name="connsiteX34" fmla="*/ 2448227 w 3998697"/>
                  <a:gd name="connsiteY34" fmla="*/ 539231 h 5285288"/>
                  <a:gd name="connsiteX35" fmla="*/ 2448222 w 3998697"/>
                  <a:gd name="connsiteY35" fmla="*/ 1065628 h 5285288"/>
                  <a:gd name="connsiteX36" fmla="*/ 2445445 w 3998697"/>
                  <a:gd name="connsiteY36" fmla="*/ 1081825 h 5285288"/>
                  <a:gd name="connsiteX37" fmla="*/ 2442619 w 3998697"/>
                  <a:gd name="connsiteY37" fmla="*/ 1858316 h 5285288"/>
                  <a:gd name="connsiteX38" fmla="*/ 2444476 w 3998697"/>
                  <a:gd name="connsiteY38" fmla="*/ 1861834 h 5285288"/>
                  <a:gd name="connsiteX39" fmla="*/ 2443809 w 3998697"/>
                  <a:gd name="connsiteY39" fmla="*/ 3038034 h 5285288"/>
                  <a:gd name="connsiteX40" fmla="*/ 2441669 w 3998697"/>
                  <a:gd name="connsiteY40" fmla="*/ 4802821 h 5285288"/>
                  <a:gd name="connsiteX41" fmla="*/ 2374871 w 3998697"/>
                  <a:gd name="connsiteY41" fmla="*/ 5061801 h 5285288"/>
                  <a:gd name="connsiteX42" fmla="*/ 2230903 w 3998697"/>
                  <a:gd name="connsiteY42" fmla="*/ 5216241 h 5285288"/>
                  <a:gd name="connsiteX43" fmla="*/ 2020267 w 3998697"/>
                  <a:gd name="connsiteY43" fmla="*/ 5284752 h 5285288"/>
                  <a:gd name="connsiteX44" fmla="*/ 1970713 w 3998697"/>
                  <a:gd name="connsiteY44"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2513375 w 3998697"/>
                  <a:gd name="connsiteY30" fmla="*/ 431577 h 5285288"/>
                  <a:gd name="connsiteX31" fmla="*/ 2513032 w 3998697"/>
                  <a:gd name="connsiteY31" fmla="*/ 431184 h 5285288"/>
                  <a:gd name="connsiteX32" fmla="*/ 2490877 w 3998697"/>
                  <a:gd name="connsiteY32" fmla="*/ 437405 h 5285288"/>
                  <a:gd name="connsiteX33" fmla="*/ 2448227 w 3998697"/>
                  <a:gd name="connsiteY33" fmla="*/ 539231 h 5285288"/>
                  <a:gd name="connsiteX34" fmla="*/ 2448222 w 3998697"/>
                  <a:gd name="connsiteY34" fmla="*/ 1065628 h 5285288"/>
                  <a:gd name="connsiteX35" fmla="*/ 2445445 w 3998697"/>
                  <a:gd name="connsiteY35" fmla="*/ 1081825 h 5285288"/>
                  <a:gd name="connsiteX36" fmla="*/ 2442619 w 3998697"/>
                  <a:gd name="connsiteY36" fmla="*/ 1858316 h 5285288"/>
                  <a:gd name="connsiteX37" fmla="*/ 2444476 w 3998697"/>
                  <a:gd name="connsiteY37" fmla="*/ 1861834 h 5285288"/>
                  <a:gd name="connsiteX38" fmla="*/ 2443809 w 3998697"/>
                  <a:gd name="connsiteY38" fmla="*/ 3038034 h 5285288"/>
                  <a:gd name="connsiteX39" fmla="*/ 2441669 w 3998697"/>
                  <a:gd name="connsiteY39" fmla="*/ 4802821 h 5285288"/>
                  <a:gd name="connsiteX40" fmla="*/ 2374871 w 3998697"/>
                  <a:gd name="connsiteY40" fmla="*/ 5061801 h 5285288"/>
                  <a:gd name="connsiteX41" fmla="*/ 2230903 w 3998697"/>
                  <a:gd name="connsiteY41" fmla="*/ 5216241 h 5285288"/>
                  <a:gd name="connsiteX42" fmla="*/ 2020267 w 3998697"/>
                  <a:gd name="connsiteY42" fmla="*/ 5284752 h 5285288"/>
                  <a:gd name="connsiteX43" fmla="*/ 1970713 w 3998697"/>
                  <a:gd name="connsiteY43" fmla="*/ 5285252 h 5285288"/>
                  <a:gd name="connsiteX0" fmla="*/ 1970713 w 2620552"/>
                  <a:gd name="connsiteY0" fmla="*/ 5285252 h 5285288"/>
                  <a:gd name="connsiteX1" fmla="*/ 1859089 w 2620552"/>
                  <a:gd name="connsiteY1" fmla="*/ 5257452 h 5285288"/>
                  <a:gd name="connsiteX2" fmla="*/ 1799088 w 2620552"/>
                  <a:gd name="connsiteY2" fmla="*/ 5227600 h 5285288"/>
                  <a:gd name="connsiteX3" fmla="*/ 257741 w 2620552"/>
                  <a:gd name="connsiteY3" fmla="*/ 4344402 h 5285288"/>
                  <a:gd name="connsiteX4" fmla="*/ 66855 w 2620552"/>
                  <a:gd name="connsiteY4" fmla="*/ 4157062 h 5285288"/>
                  <a:gd name="connsiteX5" fmla="*/ 5085 w 2620552"/>
                  <a:gd name="connsiteY5" fmla="*/ 3955159 h 5285288"/>
                  <a:gd name="connsiteX6" fmla="*/ 117 w 2620552"/>
                  <a:gd name="connsiteY6" fmla="*/ 3898769 h 5285288"/>
                  <a:gd name="connsiteX7" fmla="*/ 0 w 2620552"/>
                  <a:gd name="connsiteY7" fmla="*/ 3898107 h 5285288"/>
                  <a:gd name="connsiteX8" fmla="*/ 5920 w 2620552"/>
                  <a:gd name="connsiteY8" fmla="*/ 2513626 h 5285288"/>
                  <a:gd name="connsiteX9" fmla="*/ 9056 w 2620552"/>
                  <a:gd name="connsiteY9" fmla="*/ 2484766 h 5285288"/>
                  <a:gd name="connsiteX10" fmla="*/ 206180 w 2620552"/>
                  <a:gd name="connsiteY10" fmla="*/ 2392022 h 5285288"/>
                  <a:gd name="connsiteX11" fmla="*/ 407391 w 2620552"/>
                  <a:gd name="connsiteY11" fmla="*/ 2508175 h 5285288"/>
                  <a:gd name="connsiteX12" fmla="*/ 406100 w 2620552"/>
                  <a:gd name="connsiteY12" fmla="*/ 2572658 h 5285288"/>
                  <a:gd name="connsiteX13" fmla="*/ 409165 w 2620552"/>
                  <a:gd name="connsiteY13" fmla="*/ 3888049 h 5285288"/>
                  <a:gd name="connsiteX14" fmla="*/ 407598 w 2620552"/>
                  <a:gd name="connsiteY14" fmla="*/ 3881457 h 5285288"/>
                  <a:gd name="connsiteX15" fmla="*/ 407517 w 2620552"/>
                  <a:gd name="connsiteY15" fmla="*/ 3894265 h 5285288"/>
                  <a:gd name="connsiteX16" fmla="*/ 464772 w 2620552"/>
                  <a:gd name="connsiteY16" fmla="*/ 3993435 h 5285288"/>
                  <a:gd name="connsiteX17" fmla="*/ 1965744 w 2620552"/>
                  <a:gd name="connsiteY17" fmla="*/ 4865353 h 5285288"/>
                  <a:gd name="connsiteX18" fmla="*/ 1966088 w 2620552"/>
                  <a:gd name="connsiteY18" fmla="*/ 4865745 h 5285288"/>
                  <a:gd name="connsiteX19" fmla="*/ 1988129 w 2620552"/>
                  <a:gd name="connsiteY19" fmla="*/ 4859558 h 5285288"/>
                  <a:gd name="connsiteX20" fmla="*/ 2034209 w 2620552"/>
                  <a:gd name="connsiteY20" fmla="*/ 4799004 h 5285288"/>
                  <a:gd name="connsiteX21" fmla="*/ 2036053 w 2620552"/>
                  <a:gd name="connsiteY21" fmla="*/ 4105978 h 5285288"/>
                  <a:gd name="connsiteX22" fmla="*/ 2038324 w 2620552"/>
                  <a:gd name="connsiteY22" fmla="*/ 1054770 h 5285288"/>
                  <a:gd name="connsiteX23" fmla="*/ 2037139 w 2620552"/>
                  <a:gd name="connsiteY23" fmla="*/ 1017192 h 5285288"/>
                  <a:gd name="connsiteX24" fmla="*/ 2035104 w 2620552"/>
                  <a:gd name="connsiteY24" fmla="*/ 494424 h 5285288"/>
                  <a:gd name="connsiteX25" fmla="*/ 2080595 w 2620552"/>
                  <a:gd name="connsiteY25" fmla="*/ 171698 h 5285288"/>
                  <a:gd name="connsiteX26" fmla="*/ 2245202 w 2620552"/>
                  <a:gd name="connsiteY26" fmla="*/ 25112 h 5285288"/>
                  <a:gd name="connsiteX27" fmla="*/ 2444848 w 2620552"/>
                  <a:gd name="connsiteY27" fmla="*/ 3326 h 5285288"/>
                  <a:gd name="connsiteX28" fmla="*/ 2620552 w 2620552"/>
                  <a:gd name="connsiteY28" fmla="*/ 37548 h 5285288"/>
                  <a:gd name="connsiteX29" fmla="*/ 2513375 w 2620552"/>
                  <a:gd name="connsiteY29" fmla="*/ 431577 h 5285288"/>
                  <a:gd name="connsiteX30" fmla="*/ 2513032 w 2620552"/>
                  <a:gd name="connsiteY30" fmla="*/ 431184 h 5285288"/>
                  <a:gd name="connsiteX31" fmla="*/ 2490877 w 2620552"/>
                  <a:gd name="connsiteY31" fmla="*/ 437405 h 5285288"/>
                  <a:gd name="connsiteX32" fmla="*/ 2448227 w 2620552"/>
                  <a:gd name="connsiteY32" fmla="*/ 539231 h 5285288"/>
                  <a:gd name="connsiteX33" fmla="*/ 2448222 w 2620552"/>
                  <a:gd name="connsiteY33" fmla="*/ 1065628 h 5285288"/>
                  <a:gd name="connsiteX34" fmla="*/ 2445445 w 2620552"/>
                  <a:gd name="connsiteY34" fmla="*/ 1081825 h 5285288"/>
                  <a:gd name="connsiteX35" fmla="*/ 2442619 w 2620552"/>
                  <a:gd name="connsiteY35" fmla="*/ 1858316 h 5285288"/>
                  <a:gd name="connsiteX36" fmla="*/ 2444476 w 2620552"/>
                  <a:gd name="connsiteY36" fmla="*/ 1861834 h 5285288"/>
                  <a:gd name="connsiteX37" fmla="*/ 2443809 w 2620552"/>
                  <a:gd name="connsiteY37" fmla="*/ 3038034 h 5285288"/>
                  <a:gd name="connsiteX38" fmla="*/ 2441669 w 2620552"/>
                  <a:gd name="connsiteY38" fmla="*/ 4802821 h 5285288"/>
                  <a:gd name="connsiteX39" fmla="*/ 2374871 w 2620552"/>
                  <a:gd name="connsiteY39" fmla="*/ 5061801 h 5285288"/>
                  <a:gd name="connsiteX40" fmla="*/ 2230903 w 2620552"/>
                  <a:gd name="connsiteY40" fmla="*/ 5216241 h 5285288"/>
                  <a:gd name="connsiteX41" fmla="*/ 2020267 w 2620552"/>
                  <a:gd name="connsiteY41" fmla="*/ 5284752 h 5285288"/>
                  <a:gd name="connsiteX42" fmla="*/ 1970713 w 2620552"/>
                  <a:gd name="connsiteY42" fmla="*/ 5285252 h 5285288"/>
                  <a:gd name="connsiteX0" fmla="*/ 1970713 w 2513375"/>
                  <a:gd name="connsiteY0" fmla="*/ 5314207 h 5314243"/>
                  <a:gd name="connsiteX1" fmla="*/ 1859089 w 2513375"/>
                  <a:gd name="connsiteY1" fmla="*/ 5286407 h 5314243"/>
                  <a:gd name="connsiteX2" fmla="*/ 1799088 w 2513375"/>
                  <a:gd name="connsiteY2" fmla="*/ 5256555 h 5314243"/>
                  <a:gd name="connsiteX3" fmla="*/ 257741 w 2513375"/>
                  <a:gd name="connsiteY3" fmla="*/ 4373357 h 5314243"/>
                  <a:gd name="connsiteX4" fmla="*/ 66855 w 2513375"/>
                  <a:gd name="connsiteY4" fmla="*/ 4186017 h 5314243"/>
                  <a:gd name="connsiteX5" fmla="*/ 5085 w 2513375"/>
                  <a:gd name="connsiteY5" fmla="*/ 3984114 h 5314243"/>
                  <a:gd name="connsiteX6" fmla="*/ 117 w 2513375"/>
                  <a:gd name="connsiteY6" fmla="*/ 3927724 h 5314243"/>
                  <a:gd name="connsiteX7" fmla="*/ 0 w 2513375"/>
                  <a:gd name="connsiteY7" fmla="*/ 3927062 h 5314243"/>
                  <a:gd name="connsiteX8" fmla="*/ 5920 w 2513375"/>
                  <a:gd name="connsiteY8" fmla="*/ 2542581 h 5314243"/>
                  <a:gd name="connsiteX9" fmla="*/ 9056 w 2513375"/>
                  <a:gd name="connsiteY9" fmla="*/ 2513721 h 5314243"/>
                  <a:gd name="connsiteX10" fmla="*/ 206180 w 2513375"/>
                  <a:gd name="connsiteY10" fmla="*/ 2420977 h 5314243"/>
                  <a:gd name="connsiteX11" fmla="*/ 407391 w 2513375"/>
                  <a:gd name="connsiteY11" fmla="*/ 2537130 h 5314243"/>
                  <a:gd name="connsiteX12" fmla="*/ 406100 w 2513375"/>
                  <a:gd name="connsiteY12" fmla="*/ 2601613 h 5314243"/>
                  <a:gd name="connsiteX13" fmla="*/ 409165 w 2513375"/>
                  <a:gd name="connsiteY13" fmla="*/ 3917004 h 5314243"/>
                  <a:gd name="connsiteX14" fmla="*/ 407598 w 2513375"/>
                  <a:gd name="connsiteY14" fmla="*/ 3910412 h 5314243"/>
                  <a:gd name="connsiteX15" fmla="*/ 407517 w 2513375"/>
                  <a:gd name="connsiteY15" fmla="*/ 3923220 h 5314243"/>
                  <a:gd name="connsiteX16" fmla="*/ 464772 w 2513375"/>
                  <a:gd name="connsiteY16" fmla="*/ 4022390 h 5314243"/>
                  <a:gd name="connsiteX17" fmla="*/ 1965744 w 2513375"/>
                  <a:gd name="connsiteY17" fmla="*/ 4894308 h 5314243"/>
                  <a:gd name="connsiteX18" fmla="*/ 1966088 w 2513375"/>
                  <a:gd name="connsiteY18" fmla="*/ 4894700 h 5314243"/>
                  <a:gd name="connsiteX19" fmla="*/ 1988129 w 2513375"/>
                  <a:gd name="connsiteY19" fmla="*/ 4888513 h 5314243"/>
                  <a:gd name="connsiteX20" fmla="*/ 2034209 w 2513375"/>
                  <a:gd name="connsiteY20" fmla="*/ 4827959 h 5314243"/>
                  <a:gd name="connsiteX21" fmla="*/ 2036053 w 2513375"/>
                  <a:gd name="connsiteY21" fmla="*/ 4134933 h 5314243"/>
                  <a:gd name="connsiteX22" fmla="*/ 2038324 w 2513375"/>
                  <a:gd name="connsiteY22" fmla="*/ 1083725 h 5314243"/>
                  <a:gd name="connsiteX23" fmla="*/ 2037139 w 2513375"/>
                  <a:gd name="connsiteY23" fmla="*/ 1046147 h 5314243"/>
                  <a:gd name="connsiteX24" fmla="*/ 2035104 w 2513375"/>
                  <a:gd name="connsiteY24" fmla="*/ 523379 h 5314243"/>
                  <a:gd name="connsiteX25" fmla="*/ 2080595 w 2513375"/>
                  <a:gd name="connsiteY25" fmla="*/ 200653 h 5314243"/>
                  <a:gd name="connsiteX26" fmla="*/ 2245202 w 2513375"/>
                  <a:gd name="connsiteY26" fmla="*/ 54067 h 5314243"/>
                  <a:gd name="connsiteX27" fmla="*/ 2444848 w 2513375"/>
                  <a:gd name="connsiteY27" fmla="*/ 32281 h 5314243"/>
                  <a:gd name="connsiteX28" fmla="*/ 2513375 w 2513375"/>
                  <a:gd name="connsiteY28" fmla="*/ 460532 h 5314243"/>
                  <a:gd name="connsiteX29" fmla="*/ 2513032 w 2513375"/>
                  <a:gd name="connsiteY29" fmla="*/ 460139 h 5314243"/>
                  <a:gd name="connsiteX30" fmla="*/ 2490877 w 2513375"/>
                  <a:gd name="connsiteY30" fmla="*/ 466360 h 5314243"/>
                  <a:gd name="connsiteX31" fmla="*/ 2448227 w 2513375"/>
                  <a:gd name="connsiteY31" fmla="*/ 568186 h 5314243"/>
                  <a:gd name="connsiteX32" fmla="*/ 2448222 w 2513375"/>
                  <a:gd name="connsiteY32" fmla="*/ 1094583 h 5314243"/>
                  <a:gd name="connsiteX33" fmla="*/ 2445445 w 2513375"/>
                  <a:gd name="connsiteY33" fmla="*/ 1110780 h 5314243"/>
                  <a:gd name="connsiteX34" fmla="*/ 2442619 w 2513375"/>
                  <a:gd name="connsiteY34" fmla="*/ 1887271 h 5314243"/>
                  <a:gd name="connsiteX35" fmla="*/ 2444476 w 2513375"/>
                  <a:gd name="connsiteY35" fmla="*/ 1890789 h 5314243"/>
                  <a:gd name="connsiteX36" fmla="*/ 2443809 w 2513375"/>
                  <a:gd name="connsiteY36" fmla="*/ 3066989 h 5314243"/>
                  <a:gd name="connsiteX37" fmla="*/ 2441669 w 2513375"/>
                  <a:gd name="connsiteY37" fmla="*/ 4831776 h 5314243"/>
                  <a:gd name="connsiteX38" fmla="*/ 2374871 w 2513375"/>
                  <a:gd name="connsiteY38" fmla="*/ 5090756 h 5314243"/>
                  <a:gd name="connsiteX39" fmla="*/ 2230903 w 2513375"/>
                  <a:gd name="connsiteY39" fmla="*/ 5245196 h 5314243"/>
                  <a:gd name="connsiteX40" fmla="*/ 2020267 w 2513375"/>
                  <a:gd name="connsiteY40" fmla="*/ 5313707 h 5314243"/>
                  <a:gd name="connsiteX41" fmla="*/ 1970713 w 2513375"/>
                  <a:gd name="connsiteY41" fmla="*/ 5314207 h 5314243"/>
                  <a:gd name="connsiteX0" fmla="*/ 1970713 w 2513375"/>
                  <a:gd name="connsiteY0" fmla="*/ 5260140 h 5260176"/>
                  <a:gd name="connsiteX1" fmla="*/ 1859089 w 2513375"/>
                  <a:gd name="connsiteY1" fmla="*/ 5232340 h 5260176"/>
                  <a:gd name="connsiteX2" fmla="*/ 1799088 w 2513375"/>
                  <a:gd name="connsiteY2" fmla="*/ 5202488 h 5260176"/>
                  <a:gd name="connsiteX3" fmla="*/ 257741 w 2513375"/>
                  <a:gd name="connsiteY3" fmla="*/ 4319290 h 5260176"/>
                  <a:gd name="connsiteX4" fmla="*/ 66855 w 2513375"/>
                  <a:gd name="connsiteY4" fmla="*/ 4131950 h 5260176"/>
                  <a:gd name="connsiteX5" fmla="*/ 5085 w 2513375"/>
                  <a:gd name="connsiteY5" fmla="*/ 3930047 h 5260176"/>
                  <a:gd name="connsiteX6" fmla="*/ 117 w 2513375"/>
                  <a:gd name="connsiteY6" fmla="*/ 3873657 h 5260176"/>
                  <a:gd name="connsiteX7" fmla="*/ 0 w 2513375"/>
                  <a:gd name="connsiteY7" fmla="*/ 3872995 h 5260176"/>
                  <a:gd name="connsiteX8" fmla="*/ 5920 w 2513375"/>
                  <a:gd name="connsiteY8" fmla="*/ 2488514 h 5260176"/>
                  <a:gd name="connsiteX9" fmla="*/ 9056 w 2513375"/>
                  <a:gd name="connsiteY9" fmla="*/ 2459654 h 5260176"/>
                  <a:gd name="connsiteX10" fmla="*/ 206180 w 2513375"/>
                  <a:gd name="connsiteY10" fmla="*/ 2366910 h 5260176"/>
                  <a:gd name="connsiteX11" fmla="*/ 407391 w 2513375"/>
                  <a:gd name="connsiteY11" fmla="*/ 2483063 h 5260176"/>
                  <a:gd name="connsiteX12" fmla="*/ 406100 w 2513375"/>
                  <a:gd name="connsiteY12" fmla="*/ 2547546 h 5260176"/>
                  <a:gd name="connsiteX13" fmla="*/ 409165 w 2513375"/>
                  <a:gd name="connsiteY13" fmla="*/ 3862937 h 5260176"/>
                  <a:gd name="connsiteX14" fmla="*/ 407598 w 2513375"/>
                  <a:gd name="connsiteY14" fmla="*/ 3856345 h 5260176"/>
                  <a:gd name="connsiteX15" fmla="*/ 407517 w 2513375"/>
                  <a:gd name="connsiteY15" fmla="*/ 3869153 h 5260176"/>
                  <a:gd name="connsiteX16" fmla="*/ 464772 w 2513375"/>
                  <a:gd name="connsiteY16" fmla="*/ 3968323 h 5260176"/>
                  <a:gd name="connsiteX17" fmla="*/ 1965744 w 2513375"/>
                  <a:gd name="connsiteY17" fmla="*/ 4840241 h 5260176"/>
                  <a:gd name="connsiteX18" fmla="*/ 1966088 w 2513375"/>
                  <a:gd name="connsiteY18" fmla="*/ 4840633 h 5260176"/>
                  <a:gd name="connsiteX19" fmla="*/ 1988129 w 2513375"/>
                  <a:gd name="connsiteY19" fmla="*/ 4834446 h 5260176"/>
                  <a:gd name="connsiteX20" fmla="*/ 2034209 w 2513375"/>
                  <a:gd name="connsiteY20" fmla="*/ 4773892 h 5260176"/>
                  <a:gd name="connsiteX21" fmla="*/ 2036053 w 2513375"/>
                  <a:gd name="connsiteY21" fmla="*/ 4080866 h 5260176"/>
                  <a:gd name="connsiteX22" fmla="*/ 2038324 w 2513375"/>
                  <a:gd name="connsiteY22" fmla="*/ 1029658 h 5260176"/>
                  <a:gd name="connsiteX23" fmla="*/ 2037139 w 2513375"/>
                  <a:gd name="connsiteY23" fmla="*/ 992080 h 5260176"/>
                  <a:gd name="connsiteX24" fmla="*/ 2035104 w 2513375"/>
                  <a:gd name="connsiteY24" fmla="*/ 469312 h 5260176"/>
                  <a:gd name="connsiteX25" fmla="*/ 2080595 w 2513375"/>
                  <a:gd name="connsiteY25" fmla="*/ 146586 h 5260176"/>
                  <a:gd name="connsiteX26" fmla="*/ 2245202 w 2513375"/>
                  <a:gd name="connsiteY26" fmla="*/ 0 h 5260176"/>
                  <a:gd name="connsiteX27" fmla="*/ 2513375 w 2513375"/>
                  <a:gd name="connsiteY27" fmla="*/ 406465 h 5260176"/>
                  <a:gd name="connsiteX28" fmla="*/ 2513032 w 2513375"/>
                  <a:gd name="connsiteY28" fmla="*/ 406072 h 5260176"/>
                  <a:gd name="connsiteX29" fmla="*/ 2490877 w 2513375"/>
                  <a:gd name="connsiteY29" fmla="*/ 412293 h 5260176"/>
                  <a:gd name="connsiteX30" fmla="*/ 2448227 w 2513375"/>
                  <a:gd name="connsiteY30" fmla="*/ 514119 h 5260176"/>
                  <a:gd name="connsiteX31" fmla="*/ 2448222 w 2513375"/>
                  <a:gd name="connsiteY31" fmla="*/ 1040516 h 5260176"/>
                  <a:gd name="connsiteX32" fmla="*/ 2445445 w 2513375"/>
                  <a:gd name="connsiteY32" fmla="*/ 1056713 h 5260176"/>
                  <a:gd name="connsiteX33" fmla="*/ 2442619 w 2513375"/>
                  <a:gd name="connsiteY33" fmla="*/ 1833204 h 5260176"/>
                  <a:gd name="connsiteX34" fmla="*/ 2444476 w 2513375"/>
                  <a:gd name="connsiteY34" fmla="*/ 1836722 h 5260176"/>
                  <a:gd name="connsiteX35" fmla="*/ 2443809 w 2513375"/>
                  <a:gd name="connsiteY35" fmla="*/ 3012922 h 5260176"/>
                  <a:gd name="connsiteX36" fmla="*/ 2441669 w 2513375"/>
                  <a:gd name="connsiteY36" fmla="*/ 4777709 h 5260176"/>
                  <a:gd name="connsiteX37" fmla="*/ 2374871 w 2513375"/>
                  <a:gd name="connsiteY37" fmla="*/ 5036689 h 5260176"/>
                  <a:gd name="connsiteX38" fmla="*/ 2230903 w 2513375"/>
                  <a:gd name="connsiteY38" fmla="*/ 5191129 h 5260176"/>
                  <a:gd name="connsiteX39" fmla="*/ 2020267 w 2513375"/>
                  <a:gd name="connsiteY39" fmla="*/ 5259640 h 5260176"/>
                  <a:gd name="connsiteX40" fmla="*/ 1970713 w 2513375"/>
                  <a:gd name="connsiteY40" fmla="*/ 5260140 h 5260176"/>
                  <a:gd name="connsiteX0" fmla="*/ 1970713 w 2513375"/>
                  <a:gd name="connsiteY0" fmla="*/ 5113905 h 5113941"/>
                  <a:gd name="connsiteX1" fmla="*/ 1859089 w 2513375"/>
                  <a:gd name="connsiteY1" fmla="*/ 5086105 h 5113941"/>
                  <a:gd name="connsiteX2" fmla="*/ 1799088 w 2513375"/>
                  <a:gd name="connsiteY2" fmla="*/ 5056253 h 5113941"/>
                  <a:gd name="connsiteX3" fmla="*/ 257741 w 2513375"/>
                  <a:gd name="connsiteY3" fmla="*/ 4173055 h 5113941"/>
                  <a:gd name="connsiteX4" fmla="*/ 66855 w 2513375"/>
                  <a:gd name="connsiteY4" fmla="*/ 3985715 h 5113941"/>
                  <a:gd name="connsiteX5" fmla="*/ 5085 w 2513375"/>
                  <a:gd name="connsiteY5" fmla="*/ 3783812 h 5113941"/>
                  <a:gd name="connsiteX6" fmla="*/ 117 w 2513375"/>
                  <a:gd name="connsiteY6" fmla="*/ 3727422 h 5113941"/>
                  <a:gd name="connsiteX7" fmla="*/ 0 w 2513375"/>
                  <a:gd name="connsiteY7" fmla="*/ 3726760 h 5113941"/>
                  <a:gd name="connsiteX8" fmla="*/ 5920 w 2513375"/>
                  <a:gd name="connsiteY8" fmla="*/ 2342279 h 5113941"/>
                  <a:gd name="connsiteX9" fmla="*/ 9056 w 2513375"/>
                  <a:gd name="connsiteY9" fmla="*/ 2313419 h 5113941"/>
                  <a:gd name="connsiteX10" fmla="*/ 206180 w 2513375"/>
                  <a:gd name="connsiteY10" fmla="*/ 2220675 h 5113941"/>
                  <a:gd name="connsiteX11" fmla="*/ 407391 w 2513375"/>
                  <a:gd name="connsiteY11" fmla="*/ 2336828 h 5113941"/>
                  <a:gd name="connsiteX12" fmla="*/ 406100 w 2513375"/>
                  <a:gd name="connsiteY12" fmla="*/ 2401311 h 5113941"/>
                  <a:gd name="connsiteX13" fmla="*/ 409165 w 2513375"/>
                  <a:gd name="connsiteY13" fmla="*/ 3716702 h 5113941"/>
                  <a:gd name="connsiteX14" fmla="*/ 407598 w 2513375"/>
                  <a:gd name="connsiteY14" fmla="*/ 3710110 h 5113941"/>
                  <a:gd name="connsiteX15" fmla="*/ 407517 w 2513375"/>
                  <a:gd name="connsiteY15" fmla="*/ 3722918 h 5113941"/>
                  <a:gd name="connsiteX16" fmla="*/ 464772 w 2513375"/>
                  <a:gd name="connsiteY16" fmla="*/ 3822088 h 5113941"/>
                  <a:gd name="connsiteX17" fmla="*/ 1965744 w 2513375"/>
                  <a:gd name="connsiteY17" fmla="*/ 4694006 h 5113941"/>
                  <a:gd name="connsiteX18" fmla="*/ 1966088 w 2513375"/>
                  <a:gd name="connsiteY18" fmla="*/ 4694398 h 5113941"/>
                  <a:gd name="connsiteX19" fmla="*/ 1988129 w 2513375"/>
                  <a:gd name="connsiteY19" fmla="*/ 4688211 h 5113941"/>
                  <a:gd name="connsiteX20" fmla="*/ 2034209 w 2513375"/>
                  <a:gd name="connsiteY20" fmla="*/ 4627657 h 5113941"/>
                  <a:gd name="connsiteX21" fmla="*/ 2036053 w 2513375"/>
                  <a:gd name="connsiteY21" fmla="*/ 3934631 h 5113941"/>
                  <a:gd name="connsiteX22" fmla="*/ 2038324 w 2513375"/>
                  <a:gd name="connsiteY22" fmla="*/ 883423 h 5113941"/>
                  <a:gd name="connsiteX23" fmla="*/ 2037139 w 2513375"/>
                  <a:gd name="connsiteY23" fmla="*/ 845845 h 5113941"/>
                  <a:gd name="connsiteX24" fmla="*/ 2035104 w 2513375"/>
                  <a:gd name="connsiteY24" fmla="*/ 323077 h 5113941"/>
                  <a:gd name="connsiteX25" fmla="*/ 2080595 w 2513375"/>
                  <a:gd name="connsiteY25" fmla="*/ 351 h 5113941"/>
                  <a:gd name="connsiteX26" fmla="*/ 2513375 w 2513375"/>
                  <a:gd name="connsiteY26" fmla="*/ 260230 h 5113941"/>
                  <a:gd name="connsiteX27" fmla="*/ 2513032 w 2513375"/>
                  <a:gd name="connsiteY27" fmla="*/ 259837 h 5113941"/>
                  <a:gd name="connsiteX28" fmla="*/ 2490877 w 2513375"/>
                  <a:gd name="connsiteY28" fmla="*/ 266058 h 5113941"/>
                  <a:gd name="connsiteX29" fmla="*/ 2448227 w 2513375"/>
                  <a:gd name="connsiteY29" fmla="*/ 367884 h 5113941"/>
                  <a:gd name="connsiteX30" fmla="*/ 2448222 w 2513375"/>
                  <a:gd name="connsiteY30" fmla="*/ 894281 h 5113941"/>
                  <a:gd name="connsiteX31" fmla="*/ 2445445 w 2513375"/>
                  <a:gd name="connsiteY31" fmla="*/ 910478 h 5113941"/>
                  <a:gd name="connsiteX32" fmla="*/ 2442619 w 2513375"/>
                  <a:gd name="connsiteY32" fmla="*/ 1686969 h 5113941"/>
                  <a:gd name="connsiteX33" fmla="*/ 2444476 w 2513375"/>
                  <a:gd name="connsiteY33" fmla="*/ 1690487 h 5113941"/>
                  <a:gd name="connsiteX34" fmla="*/ 2443809 w 2513375"/>
                  <a:gd name="connsiteY34" fmla="*/ 2866687 h 5113941"/>
                  <a:gd name="connsiteX35" fmla="*/ 2441669 w 2513375"/>
                  <a:gd name="connsiteY35" fmla="*/ 4631474 h 5113941"/>
                  <a:gd name="connsiteX36" fmla="*/ 2374871 w 2513375"/>
                  <a:gd name="connsiteY36" fmla="*/ 4890454 h 5113941"/>
                  <a:gd name="connsiteX37" fmla="*/ 2230903 w 2513375"/>
                  <a:gd name="connsiteY37" fmla="*/ 5044894 h 5113941"/>
                  <a:gd name="connsiteX38" fmla="*/ 2020267 w 2513375"/>
                  <a:gd name="connsiteY38" fmla="*/ 5113405 h 5113941"/>
                  <a:gd name="connsiteX39" fmla="*/ 1970713 w 2513375"/>
                  <a:gd name="connsiteY39" fmla="*/ 5113905 h 5113941"/>
                  <a:gd name="connsiteX0" fmla="*/ 1970713 w 2513375"/>
                  <a:gd name="connsiteY0" fmla="*/ 4855263 h 4855299"/>
                  <a:gd name="connsiteX1" fmla="*/ 1859089 w 2513375"/>
                  <a:gd name="connsiteY1" fmla="*/ 4827463 h 4855299"/>
                  <a:gd name="connsiteX2" fmla="*/ 1799088 w 2513375"/>
                  <a:gd name="connsiteY2" fmla="*/ 4797611 h 4855299"/>
                  <a:gd name="connsiteX3" fmla="*/ 257741 w 2513375"/>
                  <a:gd name="connsiteY3" fmla="*/ 3914413 h 4855299"/>
                  <a:gd name="connsiteX4" fmla="*/ 66855 w 2513375"/>
                  <a:gd name="connsiteY4" fmla="*/ 3727073 h 4855299"/>
                  <a:gd name="connsiteX5" fmla="*/ 5085 w 2513375"/>
                  <a:gd name="connsiteY5" fmla="*/ 3525170 h 4855299"/>
                  <a:gd name="connsiteX6" fmla="*/ 117 w 2513375"/>
                  <a:gd name="connsiteY6" fmla="*/ 3468780 h 4855299"/>
                  <a:gd name="connsiteX7" fmla="*/ 0 w 2513375"/>
                  <a:gd name="connsiteY7" fmla="*/ 3468118 h 4855299"/>
                  <a:gd name="connsiteX8" fmla="*/ 5920 w 2513375"/>
                  <a:gd name="connsiteY8" fmla="*/ 2083637 h 4855299"/>
                  <a:gd name="connsiteX9" fmla="*/ 9056 w 2513375"/>
                  <a:gd name="connsiteY9" fmla="*/ 2054777 h 4855299"/>
                  <a:gd name="connsiteX10" fmla="*/ 206180 w 2513375"/>
                  <a:gd name="connsiteY10" fmla="*/ 1962033 h 4855299"/>
                  <a:gd name="connsiteX11" fmla="*/ 407391 w 2513375"/>
                  <a:gd name="connsiteY11" fmla="*/ 2078186 h 4855299"/>
                  <a:gd name="connsiteX12" fmla="*/ 406100 w 2513375"/>
                  <a:gd name="connsiteY12" fmla="*/ 2142669 h 4855299"/>
                  <a:gd name="connsiteX13" fmla="*/ 409165 w 2513375"/>
                  <a:gd name="connsiteY13" fmla="*/ 3458060 h 4855299"/>
                  <a:gd name="connsiteX14" fmla="*/ 407598 w 2513375"/>
                  <a:gd name="connsiteY14" fmla="*/ 3451468 h 4855299"/>
                  <a:gd name="connsiteX15" fmla="*/ 407517 w 2513375"/>
                  <a:gd name="connsiteY15" fmla="*/ 3464276 h 4855299"/>
                  <a:gd name="connsiteX16" fmla="*/ 464772 w 2513375"/>
                  <a:gd name="connsiteY16" fmla="*/ 3563446 h 4855299"/>
                  <a:gd name="connsiteX17" fmla="*/ 1965744 w 2513375"/>
                  <a:gd name="connsiteY17" fmla="*/ 4435364 h 4855299"/>
                  <a:gd name="connsiteX18" fmla="*/ 1966088 w 2513375"/>
                  <a:gd name="connsiteY18" fmla="*/ 4435756 h 4855299"/>
                  <a:gd name="connsiteX19" fmla="*/ 1988129 w 2513375"/>
                  <a:gd name="connsiteY19" fmla="*/ 4429569 h 4855299"/>
                  <a:gd name="connsiteX20" fmla="*/ 2034209 w 2513375"/>
                  <a:gd name="connsiteY20" fmla="*/ 4369015 h 4855299"/>
                  <a:gd name="connsiteX21" fmla="*/ 2036053 w 2513375"/>
                  <a:gd name="connsiteY21" fmla="*/ 3675989 h 4855299"/>
                  <a:gd name="connsiteX22" fmla="*/ 2038324 w 2513375"/>
                  <a:gd name="connsiteY22" fmla="*/ 624781 h 4855299"/>
                  <a:gd name="connsiteX23" fmla="*/ 2037139 w 2513375"/>
                  <a:gd name="connsiteY23" fmla="*/ 587203 h 4855299"/>
                  <a:gd name="connsiteX24" fmla="*/ 2035104 w 2513375"/>
                  <a:gd name="connsiteY24" fmla="*/ 64435 h 4855299"/>
                  <a:gd name="connsiteX25" fmla="*/ 2513375 w 2513375"/>
                  <a:gd name="connsiteY25" fmla="*/ 1588 h 4855299"/>
                  <a:gd name="connsiteX26" fmla="*/ 2513032 w 2513375"/>
                  <a:gd name="connsiteY26" fmla="*/ 1195 h 4855299"/>
                  <a:gd name="connsiteX27" fmla="*/ 2490877 w 2513375"/>
                  <a:gd name="connsiteY27" fmla="*/ 7416 h 4855299"/>
                  <a:gd name="connsiteX28" fmla="*/ 2448227 w 2513375"/>
                  <a:gd name="connsiteY28" fmla="*/ 109242 h 4855299"/>
                  <a:gd name="connsiteX29" fmla="*/ 2448222 w 2513375"/>
                  <a:gd name="connsiteY29" fmla="*/ 635639 h 4855299"/>
                  <a:gd name="connsiteX30" fmla="*/ 2445445 w 2513375"/>
                  <a:gd name="connsiteY30" fmla="*/ 651836 h 4855299"/>
                  <a:gd name="connsiteX31" fmla="*/ 2442619 w 2513375"/>
                  <a:gd name="connsiteY31" fmla="*/ 1428327 h 4855299"/>
                  <a:gd name="connsiteX32" fmla="*/ 2444476 w 2513375"/>
                  <a:gd name="connsiteY32" fmla="*/ 1431845 h 4855299"/>
                  <a:gd name="connsiteX33" fmla="*/ 2443809 w 2513375"/>
                  <a:gd name="connsiteY33" fmla="*/ 2608045 h 4855299"/>
                  <a:gd name="connsiteX34" fmla="*/ 2441669 w 2513375"/>
                  <a:gd name="connsiteY34" fmla="*/ 4372832 h 4855299"/>
                  <a:gd name="connsiteX35" fmla="*/ 2374871 w 2513375"/>
                  <a:gd name="connsiteY35" fmla="*/ 4631812 h 4855299"/>
                  <a:gd name="connsiteX36" fmla="*/ 2230903 w 2513375"/>
                  <a:gd name="connsiteY36" fmla="*/ 4786252 h 4855299"/>
                  <a:gd name="connsiteX37" fmla="*/ 2020267 w 2513375"/>
                  <a:gd name="connsiteY37" fmla="*/ 4854763 h 4855299"/>
                  <a:gd name="connsiteX38" fmla="*/ 1970713 w 2513375"/>
                  <a:gd name="connsiteY38" fmla="*/ 4855263 h 4855299"/>
                  <a:gd name="connsiteX0" fmla="*/ 1970713 w 2513375"/>
                  <a:gd name="connsiteY0" fmla="*/ 4855263 h 4855299"/>
                  <a:gd name="connsiteX1" fmla="*/ 1859089 w 2513375"/>
                  <a:gd name="connsiteY1" fmla="*/ 4827463 h 4855299"/>
                  <a:gd name="connsiteX2" fmla="*/ 1799088 w 2513375"/>
                  <a:gd name="connsiteY2" fmla="*/ 4797611 h 4855299"/>
                  <a:gd name="connsiteX3" fmla="*/ 257741 w 2513375"/>
                  <a:gd name="connsiteY3" fmla="*/ 3914413 h 4855299"/>
                  <a:gd name="connsiteX4" fmla="*/ 66855 w 2513375"/>
                  <a:gd name="connsiteY4" fmla="*/ 3727073 h 4855299"/>
                  <a:gd name="connsiteX5" fmla="*/ 5085 w 2513375"/>
                  <a:gd name="connsiteY5" fmla="*/ 3525170 h 4855299"/>
                  <a:gd name="connsiteX6" fmla="*/ 117 w 2513375"/>
                  <a:gd name="connsiteY6" fmla="*/ 3468780 h 4855299"/>
                  <a:gd name="connsiteX7" fmla="*/ 0 w 2513375"/>
                  <a:gd name="connsiteY7" fmla="*/ 3468118 h 4855299"/>
                  <a:gd name="connsiteX8" fmla="*/ 5920 w 2513375"/>
                  <a:gd name="connsiteY8" fmla="*/ 2083637 h 4855299"/>
                  <a:gd name="connsiteX9" fmla="*/ 9056 w 2513375"/>
                  <a:gd name="connsiteY9" fmla="*/ 2054777 h 4855299"/>
                  <a:gd name="connsiteX10" fmla="*/ 206180 w 2513375"/>
                  <a:gd name="connsiteY10" fmla="*/ 1962033 h 4855299"/>
                  <a:gd name="connsiteX11" fmla="*/ 407391 w 2513375"/>
                  <a:gd name="connsiteY11" fmla="*/ 2078186 h 4855299"/>
                  <a:gd name="connsiteX12" fmla="*/ 406100 w 2513375"/>
                  <a:gd name="connsiteY12" fmla="*/ 2142669 h 4855299"/>
                  <a:gd name="connsiteX13" fmla="*/ 409165 w 2513375"/>
                  <a:gd name="connsiteY13" fmla="*/ 3458060 h 4855299"/>
                  <a:gd name="connsiteX14" fmla="*/ 407598 w 2513375"/>
                  <a:gd name="connsiteY14" fmla="*/ 3451468 h 4855299"/>
                  <a:gd name="connsiteX15" fmla="*/ 407517 w 2513375"/>
                  <a:gd name="connsiteY15" fmla="*/ 3464276 h 4855299"/>
                  <a:gd name="connsiteX16" fmla="*/ 464772 w 2513375"/>
                  <a:gd name="connsiteY16" fmla="*/ 3563446 h 4855299"/>
                  <a:gd name="connsiteX17" fmla="*/ 1965744 w 2513375"/>
                  <a:gd name="connsiteY17" fmla="*/ 4435364 h 4855299"/>
                  <a:gd name="connsiteX18" fmla="*/ 1966088 w 2513375"/>
                  <a:gd name="connsiteY18" fmla="*/ 4435756 h 4855299"/>
                  <a:gd name="connsiteX19" fmla="*/ 1988129 w 2513375"/>
                  <a:gd name="connsiteY19" fmla="*/ 4429569 h 4855299"/>
                  <a:gd name="connsiteX20" fmla="*/ 2034209 w 2513375"/>
                  <a:gd name="connsiteY20" fmla="*/ 4369015 h 4855299"/>
                  <a:gd name="connsiteX21" fmla="*/ 2036053 w 2513375"/>
                  <a:gd name="connsiteY21" fmla="*/ 3675989 h 4855299"/>
                  <a:gd name="connsiteX22" fmla="*/ 2038324 w 2513375"/>
                  <a:gd name="connsiteY22" fmla="*/ 624781 h 4855299"/>
                  <a:gd name="connsiteX23" fmla="*/ 2037139 w 2513375"/>
                  <a:gd name="connsiteY23" fmla="*/ 587203 h 4855299"/>
                  <a:gd name="connsiteX24" fmla="*/ 2035104 w 2513375"/>
                  <a:gd name="connsiteY24" fmla="*/ 64435 h 4855299"/>
                  <a:gd name="connsiteX25" fmla="*/ 2513375 w 2513375"/>
                  <a:gd name="connsiteY25" fmla="*/ 1588 h 4855299"/>
                  <a:gd name="connsiteX26" fmla="*/ 2513032 w 2513375"/>
                  <a:gd name="connsiteY26" fmla="*/ 1195 h 4855299"/>
                  <a:gd name="connsiteX27" fmla="*/ 2448227 w 2513375"/>
                  <a:gd name="connsiteY27" fmla="*/ 109242 h 4855299"/>
                  <a:gd name="connsiteX28" fmla="*/ 2448222 w 2513375"/>
                  <a:gd name="connsiteY28" fmla="*/ 635639 h 4855299"/>
                  <a:gd name="connsiteX29" fmla="*/ 2445445 w 2513375"/>
                  <a:gd name="connsiteY29" fmla="*/ 651836 h 4855299"/>
                  <a:gd name="connsiteX30" fmla="*/ 2442619 w 2513375"/>
                  <a:gd name="connsiteY30" fmla="*/ 1428327 h 4855299"/>
                  <a:gd name="connsiteX31" fmla="*/ 2444476 w 2513375"/>
                  <a:gd name="connsiteY31" fmla="*/ 1431845 h 4855299"/>
                  <a:gd name="connsiteX32" fmla="*/ 2443809 w 2513375"/>
                  <a:gd name="connsiteY32" fmla="*/ 2608045 h 4855299"/>
                  <a:gd name="connsiteX33" fmla="*/ 2441669 w 2513375"/>
                  <a:gd name="connsiteY33" fmla="*/ 4372832 h 4855299"/>
                  <a:gd name="connsiteX34" fmla="*/ 2374871 w 2513375"/>
                  <a:gd name="connsiteY34" fmla="*/ 4631812 h 4855299"/>
                  <a:gd name="connsiteX35" fmla="*/ 2230903 w 2513375"/>
                  <a:gd name="connsiteY35" fmla="*/ 4786252 h 4855299"/>
                  <a:gd name="connsiteX36" fmla="*/ 2020267 w 2513375"/>
                  <a:gd name="connsiteY36" fmla="*/ 4854763 h 4855299"/>
                  <a:gd name="connsiteX37" fmla="*/ 1970713 w 2513375"/>
                  <a:gd name="connsiteY37" fmla="*/ 4855263 h 4855299"/>
                  <a:gd name="connsiteX0" fmla="*/ 1970713 w 2513375"/>
                  <a:gd name="connsiteY0" fmla="*/ 4855263 h 4855299"/>
                  <a:gd name="connsiteX1" fmla="*/ 1859089 w 2513375"/>
                  <a:gd name="connsiteY1" fmla="*/ 4827463 h 4855299"/>
                  <a:gd name="connsiteX2" fmla="*/ 1799088 w 2513375"/>
                  <a:gd name="connsiteY2" fmla="*/ 4797611 h 4855299"/>
                  <a:gd name="connsiteX3" fmla="*/ 257741 w 2513375"/>
                  <a:gd name="connsiteY3" fmla="*/ 3914413 h 4855299"/>
                  <a:gd name="connsiteX4" fmla="*/ 66855 w 2513375"/>
                  <a:gd name="connsiteY4" fmla="*/ 3727073 h 4855299"/>
                  <a:gd name="connsiteX5" fmla="*/ 5085 w 2513375"/>
                  <a:gd name="connsiteY5" fmla="*/ 3525170 h 4855299"/>
                  <a:gd name="connsiteX6" fmla="*/ 117 w 2513375"/>
                  <a:gd name="connsiteY6" fmla="*/ 3468780 h 4855299"/>
                  <a:gd name="connsiteX7" fmla="*/ 0 w 2513375"/>
                  <a:gd name="connsiteY7" fmla="*/ 3468118 h 4855299"/>
                  <a:gd name="connsiteX8" fmla="*/ 5920 w 2513375"/>
                  <a:gd name="connsiteY8" fmla="*/ 2083637 h 4855299"/>
                  <a:gd name="connsiteX9" fmla="*/ 9056 w 2513375"/>
                  <a:gd name="connsiteY9" fmla="*/ 2054777 h 4855299"/>
                  <a:gd name="connsiteX10" fmla="*/ 206180 w 2513375"/>
                  <a:gd name="connsiteY10" fmla="*/ 1962033 h 4855299"/>
                  <a:gd name="connsiteX11" fmla="*/ 407391 w 2513375"/>
                  <a:gd name="connsiteY11" fmla="*/ 2078186 h 4855299"/>
                  <a:gd name="connsiteX12" fmla="*/ 406100 w 2513375"/>
                  <a:gd name="connsiteY12" fmla="*/ 2142669 h 4855299"/>
                  <a:gd name="connsiteX13" fmla="*/ 409165 w 2513375"/>
                  <a:gd name="connsiteY13" fmla="*/ 3458060 h 4855299"/>
                  <a:gd name="connsiteX14" fmla="*/ 407598 w 2513375"/>
                  <a:gd name="connsiteY14" fmla="*/ 3451468 h 4855299"/>
                  <a:gd name="connsiteX15" fmla="*/ 407517 w 2513375"/>
                  <a:gd name="connsiteY15" fmla="*/ 3464276 h 4855299"/>
                  <a:gd name="connsiteX16" fmla="*/ 464772 w 2513375"/>
                  <a:gd name="connsiteY16" fmla="*/ 3563446 h 4855299"/>
                  <a:gd name="connsiteX17" fmla="*/ 1965744 w 2513375"/>
                  <a:gd name="connsiteY17" fmla="*/ 4435364 h 4855299"/>
                  <a:gd name="connsiteX18" fmla="*/ 1966088 w 2513375"/>
                  <a:gd name="connsiteY18" fmla="*/ 4435756 h 4855299"/>
                  <a:gd name="connsiteX19" fmla="*/ 1988129 w 2513375"/>
                  <a:gd name="connsiteY19" fmla="*/ 4429569 h 4855299"/>
                  <a:gd name="connsiteX20" fmla="*/ 2034209 w 2513375"/>
                  <a:gd name="connsiteY20" fmla="*/ 4369015 h 4855299"/>
                  <a:gd name="connsiteX21" fmla="*/ 2036053 w 2513375"/>
                  <a:gd name="connsiteY21" fmla="*/ 3675989 h 4855299"/>
                  <a:gd name="connsiteX22" fmla="*/ 2038324 w 2513375"/>
                  <a:gd name="connsiteY22" fmla="*/ 624781 h 4855299"/>
                  <a:gd name="connsiteX23" fmla="*/ 2037139 w 2513375"/>
                  <a:gd name="connsiteY23" fmla="*/ 587203 h 4855299"/>
                  <a:gd name="connsiteX24" fmla="*/ 2035104 w 2513375"/>
                  <a:gd name="connsiteY24" fmla="*/ 64435 h 4855299"/>
                  <a:gd name="connsiteX25" fmla="*/ 2513375 w 2513375"/>
                  <a:gd name="connsiteY25" fmla="*/ 1588 h 4855299"/>
                  <a:gd name="connsiteX26" fmla="*/ 2513032 w 2513375"/>
                  <a:gd name="connsiteY26" fmla="*/ 1195 h 4855299"/>
                  <a:gd name="connsiteX27" fmla="*/ 2448222 w 2513375"/>
                  <a:gd name="connsiteY27" fmla="*/ 635639 h 4855299"/>
                  <a:gd name="connsiteX28" fmla="*/ 2445445 w 2513375"/>
                  <a:gd name="connsiteY28" fmla="*/ 651836 h 4855299"/>
                  <a:gd name="connsiteX29" fmla="*/ 2442619 w 2513375"/>
                  <a:gd name="connsiteY29" fmla="*/ 1428327 h 4855299"/>
                  <a:gd name="connsiteX30" fmla="*/ 2444476 w 2513375"/>
                  <a:gd name="connsiteY30" fmla="*/ 1431845 h 4855299"/>
                  <a:gd name="connsiteX31" fmla="*/ 2443809 w 2513375"/>
                  <a:gd name="connsiteY31" fmla="*/ 2608045 h 4855299"/>
                  <a:gd name="connsiteX32" fmla="*/ 2441669 w 2513375"/>
                  <a:gd name="connsiteY32" fmla="*/ 4372832 h 4855299"/>
                  <a:gd name="connsiteX33" fmla="*/ 2374871 w 2513375"/>
                  <a:gd name="connsiteY33" fmla="*/ 4631812 h 4855299"/>
                  <a:gd name="connsiteX34" fmla="*/ 2230903 w 2513375"/>
                  <a:gd name="connsiteY34" fmla="*/ 4786252 h 4855299"/>
                  <a:gd name="connsiteX35" fmla="*/ 2020267 w 2513375"/>
                  <a:gd name="connsiteY35" fmla="*/ 4854763 h 4855299"/>
                  <a:gd name="connsiteX36" fmla="*/ 1970713 w 2513375"/>
                  <a:gd name="connsiteY36" fmla="*/ 4855263 h 4855299"/>
                  <a:gd name="connsiteX0" fmla="*/ 1970713 w 2534235"/>
                  <a:gd name="connsiteY0" fmla="*/ 4855263 h 4855299"/>
                  <a:gd name="connsiteX1" fmla="*/ 1859089 w 2534235"/>
                  <a:gd name="connsiteY1" fmla="*/ 4827463 h 4855299"/>
                  <a:gd name="connsiteX2" fmla="*/ 1799088 w 2534235"/>
                  <a:gd name="connsiteY2" fmla="*/ 4797611 h 4855299"/>
                  <a:gd name="connsiteX3" fmla="*/ 257741 w 2534235"/>
                  <a:gd name="connsiteY3" fmla="*/ 3914413 h 4855299"/>
                  <a:gd name="connsiteX4" fmla="*/ 66855 w 2534235"/>
                  <a:gd name="connsiteY4" fmla="*/ 3727073 h 4855299"/>
                  <a:gd name="connsiteX5" fmla="*/ 5085 w 2534235"/>
                  <a:gd name="connsiteY5" fmla="*/ 3525170 h 4855299"/>
                  <a:gd name="connsiteX6" fmla="*/ 117 w 2534235"/>
                  <a:gd name="connsiteY6" fmla="*/ 3468780 h 4855299"/>
                  <a:gd name="connsiteX7" fmla="*/ 0 w 2534235"/>
                  <a:gd name="connsiteY7" fmla="*/ 3468118 h 4855299"/>
                  <a:gd name="connsiteX8" fmla="*/ 5920 w 2534235"/>
                  <a:gd name="connsiteY8" fmla="*/ 2083637 h 4855299"/>
                  <a:gd name="connsiteX9" fmla="*/ 9056 w 2534235"/>
                  <a:gd name="connsiteY9" fmla="*/ 2054777 h 4855299"/>
                  <a:gd name="connsiteX10" fmla="*/ 206180 w 2534235"/>
                  <a:gd name="connsiteY10" fmla="*/ 1962033 h 4855299"/>
                  <a:gd name="connsiteX11" fmla="*/ 407391 w 2534235"/>
                  <a:gd name="connsiteY11" fmla="*/ 2078186 h 4855299"/>
                  <a:gd name="connsiteX12" fmla="*/ 406100 w 2534235"/>
                  <a:gd name="connsiteY12" fmla="*/ 2142669 h 4855299"/>
                  <a:gd name="connsiteX13" fmla="*/ 409165 w 2534235"/>
                  <a:gd name="connsiteY13" fmla="*/ 3458060 h 4855299"/>
                  <a:gd name="connsiteX14" fmla="*/ 407598 w 2534235"/>
                  <a:gd name="connsiteY14" fmla="*/ 3451468 h 4855299"/>
                  <a:gd name="connsiteX15" fmla="*/ 407517 w 2534235"/>
                  <a:gd name="connsiteY15" fmla="*/ 3464276 h 4855299"/>
                  <a:gd name="connsiteX16" fmla="*/ 464772 w 2534235"/>
                  <a:gd name="connsiteY16" fmla="*/ 3563446 h 4855299"/>
                  <a:gd name="connsiteX17" fmla="*/ 1965744 w 2534235"/>
                  <a:gd name="connsiteY17" fmla="*/ 4435364 h 4855299"/>
                  <a:gd name="connsiteX18" fmla="*/ 1966088 w 2534235"/>
                  <a:gd name="connsiteY18" fmla="*/ 4435756 h 4855299"/>
                  <a:gd name="connsiteX19" fmla="*/ 1988129 w 2534235"/>
                  <a:gd name="connsiteY19" fmla="*/ 4429569 h 4855299"/>
                  <a:gd name="connsiteX20" fmla="*/ 2034209 w 2534235"/>
                  <a:gd name="connsiteY20" fmla="*/ 4369015 h 4855299"/>
                  <a:gd name="connsiteX21" fmla="*/ 2036053 w 2534235"/>
                  <a:gd name="connsiteY21" fmla="*/ 3675989 h 4855299"/>
                  <a:gd name="connsiteX22" fmla="*/ 2038324 w 2534235"/>
                  <a:gd name="connsiteY22" fmla="*/ 624781 h 4855299"/>
                  <a:gd name="connsiteX23" fmla="*/ 2037139 w 2534235"/>
                  <a:gd name="connsiteY23" fmla="*/ 587203 h 4855299"/>
                  <a:gd name="connsiteX24" fmla="*/ 2035104 w 2534235"/>
                  <a:gd name="connsiteY24" fmla="*/ 64435 h 4855299"/>
                  <a:gd name="connsiteX25" fmla="*/ 2513375 w 2534235"/>
                  <a:gd name="connsiteY25" fmla="*/ 1588 h 4855299"/>
                  <a:gd name="connsiteX26" fmla="*/ 2448222 w 2534235"/>
                  <a:gd name="connsiteY26" fmla="*/ 635639 h 4855299"/>
                  <a:gd name="connsiteX27" fmla="*/ 2445445 w 2534235"/>
                  <a:gd name="connsiteY27" fmla="*/ 651836 h 4855299"/>
                  <a:gd name="connsiteX28" fmla="*/ 2442619 w 2534235"/>
                  <a:gd name="connsiteY28" fmla="*/ 1428327 h 4855299"/>
                  <a:gd name="connsiteX29" fmla="*/ 2444476 w 2534235"/>
                  <a:gd name="connsiteY29" fmla="*/ 1431845 h 4855299"/>
                  <a:gd name="connsiteX30" fmla="*/ 2443809 w 2534235"/>
                  <a:gd name="connsiteY30" fmla="*/ 2608045 h 4855299"/>
                  <a:gd name="connsiteX31" fmla="*/ 2441669 w 2534235"/>
                  <a:gd name="connsiteY31" fmla="*/ 4372832 h 4855299"/>
                  <a:gd name="connsiteX32" fmla="*/ 2374871 w 2534235"/>
                  <a:gd name="connsiteY32" fmla="*/ 4631812 h 4855299"/>
                  <a:gd name="connsiteX33" fmla="*/ 2230903 w 2534235"/>
                  <a:gd name="connsiteY33" fmla="*/ 4786252 h 4855299"/>
                  <a:gd name="connsiteX34" fmla="*/ 2020267 w 2534235"/>
                  <a:gd name="connsiteY34" fmla="*/ 4854763 h 4855299"/>
                  <a:gd name="connsiteX35" fmla="*/ 1970713 w 2534235"/>
                  <a:gd name="connsiteY35" fmla="*/ 4855263 h 4855299"/>
                  <a:gd name="connsiteX0" fmla="*/ 1970713 w 2534235"/>
                  <a:gd name="connsiteY0" fmla="*/ 4853774 h 4853810"/>
                  <a:gd name="connsiteX1" fmla="*/ 1859089 w 2534235"/>
                  <a:gd name="connsiteY1" fmla="*/ 4825974 h 4853810"/>
                  <a:gd name="connsiteX2" fmla="*/ 1799088 w 2534235"/>
                  <a:gd name="connsiteY2" fmla="*/ 4796122 h 4853810"/>
                  <a:gd name="connsiteX3" fmla="*/ 257741 w 2534235"/>
                  <a:gd name="connsiteY3" fmla="*/ 3912924 h 4853810"/>
                  <a:gd name="connsiteX4" fmla="*/ 66855 w 2534235"/>
                  <a:gd name="connsiteY4" fmla="*/ 3725584 h 4853810"/>
                  <a:gd name="connsiteX5" fmla="*/ 5085 w 2534235"/>
                  <a:gd name="connsiteY5" fmla="*/ 3523681 h 4853810"/>
                  <a:gd name="connsiteX6" fmla="*/ 117 w 2534235"/>
                  <a:gd name="connsiteY6" fmla="*/ 3467291 h 4853810"/>
                  <a:gd name="connsiteX7" fmla="*/ 0 w 2534235"/>
                  <a:gd name="connsiteY7" fmla="*/ 3466629 h 4853810"/>
                  <a:gd name="connsiteX8" fmla="*/ 5920 w 2534235"/>
                  <a:gd name="connsiteY8" fmla="*/ 2082148 h 4853810"/>
                  <a:gd name="connsiteX9" fmla="*/ 9056 w 2534235"/>
                  <a:gd name="connsiteY9" fmla="*/ 2053288 h 4853810"/>
                  <a:gd name="connsiteX10" fmla="*/ 206180 w 2534235"/>
                  <a:gd name="connsiteY10" fmla="*/ 1960544 h 4853810"/>
                  <a:gd name="connsiteX11" fmla="*/ 407391 w 2534235"/>
                  <a:gd name="connsiteY11" fmla="*/ 2076697 h 4853810"/>
                  <a:gd name="connsiteX12" fmla="*/ 406100 w 2534235"/>
                  <a:gd name="connsiteY12" fmla="*/ 2141180 h 4853810"/>
                  <a:gd name="connsiteX13" fmla="*/ 409165 w 2534235"/>
                  <a:gd name="connsiteY13" fmla="*/ 3456571 h 4853810"/>
                  <a:gd name="connsiteX14" fmla="*/ 407598 w 2534235"/>
                  <a:gd name="connsiteY14" fmla="*/ 3449979 h 4853810"/>
                  <a:gd name="connsiteX15" fmla="*/ 407517 w 2534235"/>
                  <a:gd name="connsiteY15" fmla="*/ 3462787 h 4853810"/>
                  <a:gd name="connsiteX16" fmla="*/ 464772 w 2534235"/>
                  <a:gd name="connsiteY16" fmla="*/ 3561957 h 4853810"/>
                  <a:gd name="connsiteX17" fmla="*/ 1965744 w 2534235"/>
                  <a:gd name="connsiteY17" fmla="*/ 4433875 h 4853810"/>
                  <a:gd name="connsiteX18" fmla="*/ 1966088 w 2534235"/>
                  <a:gd name="connsiteY18" fmla="*/ 4434267 h 4853810"/>
                  <a:gd name="connsiteX19" fmla="*/ 1988129 w 2534235"/>
                  <a:gd name="connsiteY19" fmla="*/ 4428080 h 4853810"/>
                  <a:gd name="connsiteX20" fmla="*/ 2034209 w 2534235"/>
                  <a:gd name="connsiteY20" fmla="*/ 4367526 h 4853810"/>
                  <a:gd name="connsiteX21" fmla="*/ 2036053 w 2534235"/>
                  <a:gd name="connsiteY21" fmla="*/ 3674500 h 4853810"/>
                  <a:gd name="connsiteX22" fmla="*/ 2038324 w 2534235"/>
                  <a:gd name="connsiteY22" fmla="*/ 623292 h 4853810"/>
                  <a:gd name="connsiteX23" fmla="*/ 2037139 w 2534235"/>
                  <a:gd name="connsiteY23" fmla="*/ 585714 h 4853810"/>
                  <a:gd name="connsiteX24" fmla="*/ 2513375 w 2534235"/>
                  <a:gd name="connsiteY24" fmla="*/ 99 h 4853810"/>
                  <a:gd name="connsiteX25" fmla="*/ 2448222 w 2534235"/>
                  <a:gd name="connsiteY25" fmla="*/ 634150 h 4853810"/>
                  <a:gd name="connsiteX26" fmla="*/ 2445445 w 2534235"/>
                  <a:gd name="connsiteY26" fmla="*/ 650347 h 4853810"/>
                  <a:gd name="connsiteX27" fmla="*/ 2442619 w 2534235"/>
                  <a:gd name="connsiteY27" fmla="*/ 1426838 h 4853810"/>
                  <a:gd name="connsiteX28" fmla="*/ 2444476 w 2534235"/>
                  <a:gd name="connsiteY28" fmla="*/ 1430356 h 4853810"/>
                  <a:gd name="connsiteX29" fmla="*/ 2443809 w 2534235"/>
                  <a:gd name="connsiteY29" fmla="*/ 2606556 h 4853810"/>
                  <a:gd name="connsiteX30" fmla="*/ 2441669 w 2534235"/>
                  <a:gd name="connsiteY30" fmla="*/ 4371343 h 4853810"/>
                  <a:gd name="connsiteX31" fmla="*/ 2374871 w 2534235"/>
                  <a:gd name="connsiteY31" fmla="*/ 4630323 h 4853810"/>
                  <a:gd name="connsiteX32" fmla="*/ 2230903 w 2534235"/>
                  <a:gd name="connsiteY32" fmla="*/ 4784763 h 4853810"/>
                  <a:gd name="connsiteX33" fmla="*/ 2020267 w 2534235"/>
                  <a:gd name="connsiteY33" fmla="*/ 4853274 h 4853810"/>
                  <a:gd name="connsiteX34" fmla="*/ 1970713 w 2534235"/>
                  <a:gd name="connsiteY34" fmla="*/ 4853774 h 4853810"/>
                  <a:gd name="connsiteX0" fmla="*/ 1970713 w 2448222"/>
                  <a:gd name="connsiteY0" fmla="*/ 4268060 h 4268096"/>
                  <a:gd name="connsiteX1" fmla="*/ 1859089 w 2448222"/>
                  <a:gd name="connsiteY1" fmla="*/ 4240260 h 4268096"/>
                  <a:gd name="connsiteX2" fmla="*/ 1799088 w 2448222"/>
                  <a:gd name="connsiteY2" fmla="*/ 4210408 h 4268096"/>
                  <a:gd name="connsiteX3" fmla="*/ 257741 w 2448222"/>
                  <a:gd name="connsiteY3" fmla="*/ 3327210 h 4268096"/>
                  <a:gd name="connsiteX4" fmla="*/ 66855 w 2448222"/>
                  <a:gd name="connsiteY4" fmla="*/ 3139870 h 4268096"/>
                  <a:gd name="connsiteX5" fmla="*/ 5085 w 2448222"/>
                  <a:gd name="connsiteY5" fmla="*/ 2937967 h 4268096"/>
                  <a:gd name="connsiteX6" fmla="*/ 117 w 2448222"/>
                  <a:gd name="connsiteY6" fmla="*/ 2881577 h 4268096"/>
                  <a:gd name="connsiteX7" fmla="*/ 0 w 2448222"/>
                  <a:gd name="connsiteY7" fmla="*/ 2880915 h 4268096"/>
                  <a:gd name="connsiteX8" fmla="*/ 5920 w 2448222"/>
                  <a:gd name="connsiteY8" fmla="*/ 1496434 h 4268096"/>
                  <a:gd name="connsiteX9" fmla="*/ 9056 w 2448222"/>
                  <a:gd name="connsiteY9" fmla="*/ 1467574 h 4268096"/>
                  <a:gd name="connsiteX10" fmla="*/ 206180 w 2448222"/>
                  <a:gd name="connsiteY10" fmla="*/ 1374830 h 4268096"/>
                  <a:gd name="connsiteX11" fmla="*/ 407391 w 2448222"/>
                  <a:gd name="connsiteY11" fmla="*/ 1490983 h 4268096"/>
                  <a:gd name="connsiteX12" fmla="*/ 406100 w 2448222"/>
                  <a:gd name="connsiteY12" fmla="*/ 1555466 h 4268096"/>
                  <a:gd name="connsiteX13" fmla="*/ 409165 w 2448222"/>
                  <a:gd name="connsiteY13" fmla="*/ 2870857 h 4268096"/>
                  <a:gd name="connsiteX14" fmla="*/ 407598 w 2448222"/>
                  <a:gd name="connsiteY14" fmla="*/ 2864265 h 4268096"/>
                  <a:gd name="connsiteX15" fmla="*/ 407517 w 2448222"/>
                  <a:gd name="connsiteY15" fmla="*/ 2877073 h 4268096"/>
                  <a:gd name="connsiteX16" fmla="*/ 464772 w 2448222"/>
                  <a:gd name="connsiteY16" fmla="*/ 2976243 h 4268096"/>
                  <a:gd name="connsiteX17" fmla="*/ 1965744 w 2448222"/>
                  <a:gd name="connsiteY17" fmla="*/ 3848161 h 4268096"/>
                  <a:gd name="connsiteX18" fmla="*/ 1966088 w 2448222"/>
                  <a:gd name="connsiteY18" fmla="*/ 3848553 h 4268096"/>
                  <a:gd name="connsiteX19" fmla="*/ 1988129 w 2448222"/>
                  <a:gd name="connsiteY19" fmla="*/ 3842366 h 4268096"/>
                  <a:gd name="connsiteX20" fmla="*/ 2034209 w 2448222"/>
                  <a:gd name="connsiteY20" fmla="*/ 3781812 h 4268096"/>
                  <a:gd name="connsiteX21" fmla="*/ 2036053 w 2448222"/>
                  <a:gd name="connsiteY21" fmla="*/ 3088786 h 4268096"/>
                  <a:gd name="connsiteX22" fmla="*/ 2038324 w 2448222"/>
                  <a:gd name="connsiteY22" fmla="*/ 37578 h 4268096"/>
                  <a:gd name="connsiteX23" fmla="*/ 2037139 w 2448222"/>
                  <a:gd name="connsiteY23" fmla="*/ 0 h 4268096"/>
                  <a:gd name="connsiteX24" fmla="*/ 2448222 w 2448222"/>
                  <a:gd name="connsiteY24" fmla="*/ 48436 h 4268096"/>
                  <a:gd name="connsiteX25" fmla="*/ 2445445 w 2448222"/>
                  <a:gd name="connsiteY25" fmla="*/ 64633 h 4268096"/>
                  <a:gd name="connsiteX26" fmla="*/ 2442619 w 2448222"/>
                  <a:gd name="connsiteY26" fmla="*/ 841124 h 4268096"/>
                  <a:gd name="connsiteX27" fmla="*/ 2444476 w 2448222"/>
                  <a:gd name="connsiteY27" fmla="*/ 844642 h 4268096"/>
                  <a:gd name="connsiteX28" fmla="*/ 2443809 w 2448222"/>
                  <a:gd name="connsiteY28" fmla="*/ 2020842 h 4268096"/>
                  <a:gd name="connsiteX29" fmla="*/ 2441669 w 2448222"/>
                  <a:gd name="connsiteY29" fmla="*/ 3785629 h 4268096"/>
                  <a:gd name="connsiteX30" fmla="*/ 2374871 w 2448222"/>
                  <a:gd name="connsiteY30" fmla="*/ 4044609 h 4268096"/>
                  <a:gd name="connsiteX31" fmla="*/ 2230903 w 2448222"/>
                  <a:gd name="connsiteY31" fmla="*/ 4199049 h 4268096"/>
                  <a:gd name="connsiteX32" fmla="*/ 2020267 w 2448222"/>
                  <a:gd name="connsiteY32" fmla="*/ 4267560 h 4268096"/>
                  <a:gd name="connsiteX33" fmla="*/ 1970713 w 2448222"/>
                  <a:gd name="connsiteY33" fmla="*/ 4268060 h 4268096"/>
                  <a:gd name="connsiteX0" fmla="*/ 1970713 w 2448222"/>
                  <a:gd name="connsiteY0" fmla="*/ 4268060 h 4268096"/>
                  <a:gd name="connsiteX1" fmla="*/ 1859089 w 2448222"/>
                  <a:gd name="connsiteY1" fmla="*/ 4240260 h 4268096"/>
                  <a:gd name="connsiteX2" fmla="*/ 1799088 w 2448222"/>
                  <a:gd name="connsiteY2" fmla="*/ 4210408 h 4268096"/>
                  <a:gd name="connsiteX3" fmla="*/ 257741 w 2448222"/>
                  <a:gd name="connsiteY3" fmla="*/ 3327210 h 4268096"/>
                  <a:gd name="connsiteX4" fmla="*/ 66855 w 2448222"/>
                  <a:gd name="connsiteY4" fmla="*/ 3139870 h 4268096"/>
                  <a:gd name="connsiteX5" fmla="*/ 5085 w 2448222"/>
                  <a:gd name="connsiteY5" fmla="*/ 2937967 h 4268096"/>
                  <a:gd name="connsiteX6" fmla="*/ 117 w 2448222"/>
                  <a:gd name="connsiteY6" fmla="*/ 2881577 h 4268096"/>
                  <a:gd name="connsiteX7" fmla="*/ 0 w 2448222"/>
                  <a:gd name="connsiteY7" fmla="*/ 2880915 h 4268096"/>
                  <a:gd name="connsiteX8" fmla="*/ 5920 w 2448222"/>
                  <a:gd name="connsiteY8" fmla="*/ 1496434 h 4268096"/>
                  <a:gd name="connsiteX9" fmla="*/ 9056 w 2448222"/>
                  <a:gd name="connsiteY9" fmla="*/ 1467574 h 4268096"/>
                  <a:gd name="connsiteX10" fmla="*/ 206180 w 2448222"/>
                  <a:gd name="connsiteY10" fmla="*/ 1374830 h 4268096"/>
                  <a:gd name="connsiteX11" fmla="*/ 407391 w 2448222"/>
                  <a:gd name="connsiteY11" fmla="*/ 1490983 h 4268096"/>
                  <a:gd name="connsiteX12" fmla="*/ 406100 w 2448222"/>
                  <a:gd name="connsiteY12" fmla="*/ 1555466 h 4268096"/>
                  <a:gd name="connsiteX13" fmla="*/ 409165 w 2448222"/>
                  <a:gd name="connsiteY13" fmla="*/ 2870857 h 4268096"/>
                  <a:gd name="connsiteX14" fmla="*/ 407598 w 2448222"/>
                  <a:gd name="connsiteY14" fmla="*/ 2864265 h 4268096"/>
                  <a:gd name="connsiteX15" fmla="*/ 407517 w 2448222"/>
                  <a:gd name="connsiteY15" fmla="*/ 2877073 h 4268096"/>
                  <a:gd name="connsiteX16" fmla="*/ 464772 w 2448222"/>
                  <a:gd name="connsiteY16" fmla="*/ 2976243 h 4268096"/>
                  <a:gd name="connsiteX17" fmla="*/ 1965744 w 2448222"/>
                  <a:gd name="connsiteY17" fmla="*/ 3848161 h 4268096"/>
                  <a:gd name="connsiteX18" fmla="*/ 1966088 w 2448222"/>
                  <a:gd name="connsiteY18" fmla="*/ 3848553 h 4268096"/>
                  <a:gd name="connsiteX19" fmla="*/ 1988129 w 2448222"/>
                  <a:gd name="connsiteY19" fmla="*/ 3842366 h 4268096"/>
                  <a:gd name="connsiteX20" fmla="*/ 2034209 w 2448222"/>
                  <a:gd name="connsiteY20" fmla="*/ 3781812 h 4268096"/>
                  <a:gd name="connsiteX21" fmla="*/ 2036053 w 2448222"/>
                  <a:gd name="connsiteY21" fmla="*/ 3088786 h 4268096"/>
                  <a:gd name="connsiteX22" fmla="*/ 2038324 w 2448222"/>
                  <a:gd name="connsiteY22" fmla="*/ 37578 h 4268096"/>
                  <a:gd name="connsiteX23" fmla="*/ 2037139 w 2448222"/>
                  <a:gd name="connsiteY23" fmla="*/ 0 h 4268096"/>
                  <a:gd name="connsiteX24" fmla="*/ 2448222 w 2448222"/>
                  <a:gd name="connsiteY24" fmla="*/ 48436 h 4268096"/>
                  <a:gd name="connsiteX25" fmla="*/ 2442619 w 2448222"/>
                  <a:gd name="connsiteY25" fmla="*/ 841124 h 4268096"/>
                  <a:gd name="connsiteX26" fmla="*/ 2444476 w 2448222"/>
                  <a:gd name="connsiteY26" fmla="*/ 844642 h 4268096"/>
                  <a:gd name="connsiteX27" fmla="*/ 2443809 w 2448222"/>
                  <a:gd name="connsiteY27" fmla="*/ 2020842 h 4268096"/>
                  <a:gd name="connsiteX28" fmla="*/ 2441669 w 2448222"/>
                  <a:gd name="connsiteY28" fmla="*/ 3785629 h 4268096"/>
                  <a:gd name="connsiteX29" fmla="*/ 2374871 w 2448222"/>
                  <a:gd name="connsiteY29" fmla="*/ 4044609 h 4268096"/>
                  <a:gd name="connsiteX30" fmla="*/ 2230903 w 2448222"/>
                  <a:gd name="connsiteY30" fmla="*/ 4199049 h 4268096"/>
                  <a:gd name="connsiteX31" fmla="*/ 2020267 w 2448222"/>
                  <a:gd name="connsiteY31" fmla="*/ 4267560 h 4268096"/>
                  <a:gd name="connsiteX32" fmla="*/ 1970713 w 2448222"/>
                  <a:gd name="connsiteY32" fmla="*/ 4268060 h 4268096"/>
                  <a:gd name="connsiteX0" fmla="*/ 1970713 w 2448222"/>
                  <a:gd name="connsiteY0" fmla="*/ 4230482 h 4230518"/>
                  <a:gd name="connsiteX1" fmla="*/ 1859089 w 2448222"/>
                  <a:gd name="connsiteY1" fmla="*/ 4202682 h 4230518"/>
                  <a:gd name="connsiteX2" fmla="*/ 1799088 w 2448222"/>
                  <a:gd name="connsiteY2" fmla="*/ 4172830 h 4230518"/>
                  <a:gd name="connsiteX3" fmla="*/ 257741 w 2448222"/>
                  <a:gd name="connsiteY3" fmla="*/ 3289632 h 4230518"/>
                  <a:gd name="connsiteX4" fmla="*/ 66855 w 2448222"/>
                  <a:gd name="connsiteY4" fmla="*/ 3102292 h 4230518"/>
                  <a:gd name="connsiteX5" fmla="*/ 5085 w 2448222"/>
                  <a:gd name="connsiteY5" fmla="*/ 2900389 h 4230518"/>
                  <a:gd name="connsiteX6" fmla="*/ 117 w 2448222"/>
                  <a:gd name="connsiteY6" fmla="*/ 2843999 h 4230518"/>
                  <a:gd name="connsiteX7" fmla="*/ 0 w 2448222"/>
                  <a:gd name="connsiteY7" fmla="*/ 2843337 h 4230518"/>
                  <a:gd name="connsiteX8" fmla="*/ 5920 w 2448222"/>
                  <a:gd name="connsiteY8" fmla="*/ 1458856 h 4230518"/>
                  <a:gd name="connsiteX9" fmla="*/ 9056 w 2448222"/>
                  <a:gd name="connsiteY9" fmla="*/ 1429996 h 4230518"/>
                  <a:gd name="connsiteX10" fmla="*/ 206180 w 2448222"/>
                  <a:gd name="connsiteY10" fmla="*/ 1337252 h 4230518"/>
                  <a:gd name="connsiteX11" fmla="*/ 407391 w 2448222"/>
                  <a:gd name="connsiteY11" fmla="*/ 1453405 h 4230518"/>
                  <a:gd name="connsiteX12" fmla="*/ 406100 w 2448222"/>
                  <a:gd name="connsiteY12" fmla="*/ 1517888 h 4230518"/>
                  <a:gd name="connsiteX13" fmla="*/ 409165 w 2448222"/>
                  <a:gd name="connsiteY13" fmla="*/ 2833279 h 4230518"/>
                  <a:gd name="connsiteX14" fmla="*/ 407598 w 2448222"/>
                  <a:gd name="connsiteY14" fmla="*/ 2826687 h 4230518"/>
                  <a:gd name="connsiteX15" fmla="*/ 407517 w 2448222"/>
                  <a:gd name="connsiteY15" fmla="*/ 2839495 h 4230518"/>
                  <a:gd name="connsiteX16" fmla="*/ 464772 w 2448222"/>
                  <a:gd name="connsiteY16" fmla="*/ 2938665 h 4230518"/>
                  <a:gd name="connsiteX17" fmla="*/ 1965744 w 2448222"/>
                  <a:gd name="connsiteY17" fmla="*/ 3810583 h 4230518"/>
                  <a:gd name="connsiteX18" fmla="*/ 1966088 w 2448222"/>
                  <a:gd name="connsiteY18" fmla="*/ 3810975 h 4230518"/>
                  <a:gd name="connsiteX19" fmla="*/ 1988129 w 2448222"/>
                  <a:gd name="connsiteY19" fmla="*/ 3804788 h 4230518"/>
                  <a:gd name="connsiteX20" fmla="*/ 2034209 w 2448222"/>
                  <a:gd name="connsiteY20" fmla="*/ 3744234 h 4230518"/>
                  <a:gd name="connsiteX21" fmla="*/ 2036053 w 2448222"/>
                  <a:gd name="connsiteY21" fmla="*/ 3051208 h 4230518"/>
                  <a:gd name="connsiteX22" fmla="*/ 2038324 w 2448222"/>
                  <a:gd name="connsiteY22" fmla="*/ 0 h 4230518"/>
                  <a:gd name="connsiteX23" fmla="*/ 2448222 w 2448222"/>
                  <a:gd name="connsiteY23" fmla="*/ 10858 h 4230518"/>
                  <a:gd name="connsiteX24" fmla="*/ 2442619 w 2448222"/>
                  <a:gd name="connsiteY24" fmla="*/ 803546 h 4230518"/>
                  <a:gd name="connsiteX25" fmla="*/ 2444476 w 2448222"/>
                  <a:gd name="connsiteY25" fmla="*/ 807064 h 4230518"/>
                  <a:gd name="connsiteX26" fmla="*/ 2443809 w 2448222"/>
                  <a:gd name="connsiteY26" fmla="*/ 1983264 h 4230518"/>
                  <a:gd name="connsiteX27" fmla="*/ 2441669 w 2448222"/>
                  <a:gd name="connsiteY27" fmla="*/ 3748051 h 4230518"/>
                  <a:gd name="connsiteX28" fmla="*/ 2374871 w 2448222"/>
                  <a:gd name="connsiteY28" fmla="*/ 4007031 h 4230518"/>
                  <a:gd name="connsiteX29" fmla="*/ 2230903 w 2448222"/>
                  <a:gd name="connsiteY29" fmla="*/ 4161471 h 4230518"/>
                  <a:gd name="connsiteX30" fmla="*/ 2020267 w 2448222"/>
                  <a:gd name="connsiteY30" fmla="*/ 4229982 h 4230518"/>
                  <a:gd name="connsiteX31" fmla="*/ 1970713 w 2448222"/>
                  <a:gd name="connsiteY31" fmla="*/ 4230482 h 4230518"/>
                  <a:gd name="connsiteX0" fmla="*/ 1970713 w 2448222"/>
                  <a:gd name="connsiteY0" fmla="*/ 4219624 h 4219660"/>
                  <a:gd name="connsiteX1" fmla="*/ 1859089 w 2448222"/>
                  <a:gd name="connsiteY1" fmla="*/ 4191824 h 4219660"/>
                  <a:gd name="connsiteX2" fmla="*/ 1799088 w 2448222"/>
                  <a:gd name="connsiteY2" fmla="*/ 4161972 h 4219660"/>
                  <a:gd name="connsiteX3" fmla="*/ 257741 w 2448222"/>
                  <a:gd name="connsiteY3" fmla="*/ 3278774 h 4219660"/>
                  <a:gd name="connsiteX4" fmla="*/ 66855 w 2448222"/>
                  <a:gd name="connsiteY4" fmla="*/ 3091434 h 4219660"/>
                  <a:gd name="connsiteX5" fmla="*/ 5085 w 2448222"/>
                  <a:gd name="connsiteY5" fmla="*/ 2889531 h 4219660"/>
                  <a:gd name="connsiteX6" fmla="*/ 117 w 2448222"/>
                  <a:gd name="connsiteY6" fmla="*/ 2833141 h 4219660"/>
                  <a:gd name="connsiteX7" fmla="*/ 0 w 2448222"/>
                  <a:gd name="connsiteY7" fmla="*/ 2832479 h 4219660"/>
                  <a:gd name="connsiteX8" fmla="*/ 5920 w 2448222"/>
                  <a:gd name="connsiteY8" fmla="*/ 1447998 h 4219660"/>
                  <a:gd name="connsiteX9" fmla="*/ 9056 w 2448222"/>
                  <a:gd name="connsiteY9" fmla="*/ 1419138 h 4219660"/>
                  <a:gd name="connsiteX10" fmla="*/ 206180 w 2448222"/>
                  <a:gd name="connsiteY10" fmla="*/ 1326394 h 4219660"/>
                  <a:gd name="connsiteX11" fmla="*/ 407391 w 2448222"/>
                  <a:gd name="connsiteY11" fmla="*/ 1442547 h 4219660"/>
                  <a:gd name="connsiteX12" fmla="*/ 406100 w 2448222"/>
                  <a:gd name="connsiteY12" fmla="*/ 1507030 h 4219660"/>
                  <a:gd name="connsiteX13" fmla="*/ 409165 w 2448222"/>
                  <a:gd name="connsiteY13" fmla="*/ 2822421 h 4219660"/>
                  <a:gd name="connsiteX14" fmla="*/ 407598 w 2448222"/>
                  <a:gd name="connsiteY14" fmla="*/ 2815829 h 4219660"/>
                  <a:gd name="connsiteX15" fmla="*/ 407517 w 2448222"/>
                  <a:gd name="connsiteY15" fmla="*/ 2828637 h 4219660"/>
                  <a:gd name="connsiteX16" fmla="*/ 464772 w 2448222"/>
                  <a:gd name="connsiteY16" fmla="*/ 2927807 h 4219660"/>
                  <a:gd name="connsiteX17" fmla="*/ 1965744 w 2448222"/>
                  <a:gd name="connsiteY17" fmla="*/ 3799725 h 4219660"/>
                  <a:gd name="connsiteX18" fmla="*/ 1966088 w 2448222"/>
                  <a:gd name="connsiteY18" fmla="*/ 3800117 h 4219660"/>
                  <a:gd name="connsiteX19" fmla="*/ 1988129 w 2448222"/>
                  <a:gd name="connsiteY19" fmla="*/ 3793930 h 4219660"/>
                  <a:gd name="connsiteX20" fmla="*/ 2034209 w 2448222"/>
                  <a:gd name="connsiteY20" fmla="*/ 3733376 h 4219660"/>
                  <a:gd name="connsiteX21" fmla="*/ 2036053 w 2448222"/>
                  <a:gd name="connsiteY21" fmla="*/ 3040350 h 4219660"/>
                  <a:gd name="connsiteX22" fmla="*/ 2448222 w 2448222"/>
                  <a:gd name="connsiteY22" fmla="*/ 0 h 4219660"/>
                  <a:gd name="connsiteX23" fmla="*/ 2442619 w 2448222"/>
                  <a:gd name="connsiteY23" fmla="*/ 792688 h 4219660"/>
                  <a:gd name="connsiteX24" fmla="*/ 2444476 w 2448222"/>
                  <a:gd name="connsiteY24" fmla="*/ 796206 h 4219660"/>
                  <a:gd name="connsiteX25" fmla="*/ 2443809 w 2448222"/>
                  <a:gd name="connsiteY25" fmla="*/ 1972406 h 4219660"/>
                  <a:gd name="connsiteX26" fmla="*/ 2441669 w 2448222"/>
                  <a:gd name="connsiteY26" fmla="*/ 3737193 h 4219660"/>
                  <a:gd name="connsiteX27" fmla="*/ 2374871 w 2448222"/>
                  <a:gd name="connsiteY27" fmla="*/ 3996173 h 4219660"/>
                  <a:gd name="connsiteX28" fmla="*/ 2230903 w 2448222"/>
                  <a:gd name="connsiteY28" fmla="*/ 4150613 h 4219660"/>
                  <a:gd name="connsiteX29" fmla="*/ 2020267 w 2448222"/>
                  <a:gd name="connsiteY29" fmla="*/ 4219124 h 4219660"/>
                  <a:gd name="connsiteX30" fmla="*/ 1970713 w 2448222"/>
                  <a:gd name="connsiteY30" fmla="*/ 4219624 h 4219660"/>
                  <a:gd name="connsiteX0" fmla="*/ 1970713 w 2444505"/>
                  <a:gd name="connsiteY0" fmla="*/ 3426936 h 3426972"/>
                  <a:gd name="connsiteX1" fmla="*/ 1859089 w 2444505"/>
                  <a:gd name="connsiteY1" fmla="*/ 3399136 h 3426972"/>
                  <a:gd name="connsiteX2" fmla="*/ 1799088 w 2444505"/>
                  <a:gd name="connsiteY2" fmla="*/ 3369284 h 3426972"/>
                  <a:gd name="connsiteX3" fmla="*/ 257741 w 2444505"/>
                  <a:gd name="connsiteY3" fmla="*/ 2486086 h 3426972"/>
                  <a:gd name="connsiteX4" fmla="*/ 66855 w 2444505"/>
                  <a:gd name="connsiteY4" fmla="*/ 2298746 h 3426972"/>
                  <a:gd name="connsiteX5" fmla="*/ 5085 w 2444505"/>
                  <a:gd name="connsiteY5" fmla="*/ 2096843 h 3426972"/>
                  <a:gd name="connsiteX6" fmla="*/ 117 w 2444505"/>
                  <a:gd name="connsiteY6" fmla="*/ 2040453 h 3426972"/>
                  <a:gd name="connsiteX7" fmla="*/ 0 w 2444505"/>
                  <a:gd name="connsiteY7" fmla="*/ 2039791 h 3426972"/>
                  <a:gd name="connsiteX8" fmla="*/ 5920 w 2444505"/>
                  <a:gd name="connsiteY8" fmla="*/ 655310 h 3426972"/>
                  <a:gd name="connsiteX9" fmla="*/ 9056 w 2444505"/>
                  <a:gd name="connsiteY9" fmla="*/ 626450 h 3426972"/>
                  <a:gd name="connsiteX10" fmla="*/ 206180 w 2444505"/>
                  <a:gd name="connsiteY10" fmla="*/ 533706 h 3426972"/>
                  <a:gd name="connsiteX11" fmla="*/ 407391 w 2444505"/>
                  <a:gd name="connsiteY11" fmla="*/ 649859 h 3426972"/>
                  <a:gd name="connsiteX12" fmla="*/ 406100 w 2444505"/>
                  <a:gd name="connsiteY12" fmla="*/ 714342 h 3426972"/>
                  <a:gd name="connsiteX13" fmla="*/ 409165 w 2444505"/>
                  <a:gd name="connsiteY13" fmla="*/ 2029733 h 3426972"/>
                  <a:gd name="connsiteX14" fmla="*/ 407598 w 2444505"/>
                  <a:gd name="connsiteY14" fmla="*/ 2023141 h 3426972"/>
                  <a:gd name="connsiteX15" fmla="*/ 407517 w 2444505"/>
                  <a:gd name="connsiteY15" fmla="*/ 2035949 h 3426972"/>
                  <a:gd name="connsiteX16" fmla="*/ 464772 w 2444505"/>
                  <a:gd name="connsiteY16" fmla="*/ 2135119 h 3426972"/>
                  <a:gd name="connsiteX17" fmla="*/ 1965744 w 2444505"/>
                  <a:gd name="connsiteY17" fmla="*/ 3007037 h 3426972"/>
                  <a:gd name="connsiteX18" fmla="*/ 1966088 w 2444505"/>
                  <a:gd name="connsiteY18" fmla="*/ 3007429 h 3426972"/>
                  <a:gd name="connsiteX19" fmla="*/ 1988129 w 2444505"/>
                  <a:gd name="connsiteY19" fmla="*/ 3001242 h 3426972"/>
                  <a:gd name="connsiteX20" fmla="*/ 2034209 w 2444505"/>
                  <a:gd name="connsiteY20" fmla="*/ 2940688 h 3426972"/>
                  <a:gd name="connsiteX21" fmla="*/ 2036053 w 2444505"/>
                  <a:gd name="connsiteY21" fmla="*/ 2247662 h 3426972"/>
                  <a:gd name="connsiteX22" fmla="*/ 2442619 w 2444505"/>
                  <a:gd name="connsiteY22" fmla="*/ 0 h 3426972"/>
                  <a:gd name="connsiteX23" fmla="*/ 2444476 w 2444505"/>
                  <a:gd name="connsiteY23" fmla="*/ 3518 h 3426972"/>
                  <a:gd name="connsiteX24" fmla="*/ 2443809 w 2444505"/>
                  <a:gd name="connsiteY24" fmla="*/ 1179718 h 3426972"/>
                  <a:gd name="connsiteX25" fmla="*/ 2441669 w 2444505"/>
                  <a:gd name="connsiteY25" fmla="*/ 2944505 h 3426972"/>
                  <a:gd name="connsiteX26" fmla="*/ 2374871 w 2444505"/>
                  <a:gd name="connsiteY26" fmla="*/ 3203485 h 3426972"/>
                  <a:gd name="connsiteX27" fmla="*/ 2230903 w 2444505"/>
                  <a:gd name="connsiteY27" fmla="*/ 3357925 h 3426972"/>
                  <a:gd name="connsiteX28" fmla="*/ 2020267 w 2444505"/>
                  <a:gd name="connsiteY28" fmla="*/ 3426436 h 3426972"/>
                  <a:gd name="connsiteX29" fmla="*/ 1970713 w 2444505"/>
                  <a:gd name="connsiteY29" fmla="*/ 3426936 h 3426972"/>
                  <a:gd name="connsiteX0" fmla="*/ 1970713 w 2443809"/>
                  <a:gd name="connsiteY0" fmla="*/ 3426936 h 3426972"/>
                  <a:gd name="connsiteX1" fmla="*/ 1859089 w 2443809"/>
                  <a:gd name="connsiteY1" fmla="*/ 3399136 h 3426972"/>
                  <a:gd name="connsiteX2" fmla="*/ 1799088 w 2443809"/>
                  <a:gd name="connsiteY2" fmla="*/ 3369284 h 3426972"/>
                  <a:gd name="connsiteX3" fmla="*/ 257741 w 2443809"/>
                  <a:gd name="connsiteY3" fmla="*/ 2486086 h 3426972"/>
                  <a:gd name="connsiteX4" fmla="*/ 66855 w 2443809"/>
                  <a:gd name="connsiteY4" fmla="*/ 2298746 h 3426972"/>
                  <a:gd name="connsiteX5" fmla="*/ 5085 w 2443809"/>
                  <a:gd name="connsiteY5" fmla="*/ 2096843 h 3426972"/>
                  <a:gd name="connsiteX6" fmla="*/ 117 w 2443809"/>
                  <a:gd name="connsiteY6" fmla="*/ 2040453 h 3426972"/>
                  <a:gd name="connsiteX7" fmla="*/ 0 w 2443809"/>
                  <a:gd name="connsiteY7" fmla="*/ 2039791 h 3426972"/>
                  <a:gd name="connsiteX8" fmla="*/ 5920 w 2443809"/>
                  <a:gd name="connsiteY8" fmla="*/ 655310 h 3426972"/>
                  <a:gd name="connsiteX9" fmla="*/ 9056 w 2443809"/>
                  <a:gd name="connsiteY9" fmla="*/ 626450 h 3426972"/>
                  <a:gd name="connsiteX10" fmla="*/ 206180 w 2443809"/>
                  <a:gd name="connsiteY10" fmla="*/ 533706 h 3426972"/>
                  <a:gd name="connsiteX11" fmla="*/ 407391 w 2443809"/>
                  <a:gd name="connsiteY11" fmla="*/ 649859 h 3426972"/>
                  <a:gd name="connsiteX12" fmla="*/ 406100 w 2443809"/>
                  <a:gd name="connsiteY12" fmla="*/ 714342 h 3426972"/>
                  <a:gd name="connsiteX13" fmla="*/ 409165 w 2443809"/>
                  <a:gd name="connsiteY13" fmla="*/ 2029733 h 3426972"/>
                  <a:gd name="connsiteX14" fmla="*/ 407598 w 2443809"/>
                  <a:gd name="connsiteY14" fmla="*/ 2023141 h 3426972"/>
                  <a:gd name="connsiteX15" fmla="*/ 407517 w 2443809"/>
                  <a:gd name="connsiteY15" fmla="*/ 2035949 h 3426972"/>
                  <a:gd name="connsiteX16" fmla="*/ 464772 w 2443809"/>
                  <a:gd name="connsiteY16" fmla="*/ 2135119 h 3426972"/>
                  <a:gd name="connsiteX17" fmla="*/ 1965744 w 2443809"/>
                  <a:gd name="connsiteY17" fmla="*/ 3007037 h 3426972"/>
                  <a:gd name="connsiteX18" fmla="*/ 1966088 w 2443809"/>
                  <a:gd name="connsiteY18" fmla="*/ 3007429 h 3426972"/>
                  <a:gd name="connsiteX19" fmla="*/ 1988129 w 2443809"/>
                  <a:gd name="connsiteY19" fmla="*/ 3001242 h 3426972"/>
                  <a:gd name="connsiteX20" fmla="*/ 2034209 w 2443809"/>
                  <a:gd name="connsiteY20" fmla="*/ 2940688 h 3426972"/>
                  <a:gd name="connsiteX21" fmla="*/ 2036053 w 2443809"/>
                  <a:gd name="connsiteY21" fmla="*/ 2247662 h 3426972"/>
                  <a:gd name="connsiteX22" fmla="*/ 2442619 w 2443809"/>
                  <a:gd name="connsiteY22" fmla="*/ 0 h 3426972"/>
                  <a:gd name="connsiteX23" fmla="*/ 2443809 w 2443809"/>
                  <a:gd name="connsiteY23" fmla="*/ 1179718 h 3426972"/>
                  <a:gd name="connsiteX24" fmla="*/ 2441669 w 2443809"/>
                  <a:gd name="connsiteY24" fmla="*/ 2944505 h 3426972"/>
                  <a:gd name="connsiteX25" fmla="*/ 2374871 w 2443809"/>
                  <a:gd name="connsiteY25" fmla="*/ 3203485 h 3426972"/>
                  <a:gd name="connsiteX26" fmla="*/ 2230903 w 2443809"/>
                  <a:gd name="connsiteY26" fmla="*/ 3357925 h 3426972"/>
                  <a:gd name="connsiteX27" fmla="*/ 2020267 w 2443809"/>
                  <a:gd name="connsiteY27" fmla="*/ 3426436 h 3426972"/>
                  <a:gd name="connsiteX28" fmla="*/ 1970713 w 2443809"/>
                  <a:gd name="connsiteY28" fmla="*/ 3426936 h 3426972"/>
                  <a:gd name="connsiteX0" fmla="*/ 1970713 w 2475053"/>
                  <a:gd name="connsiteY0" fmla="*/ 3426936 h 3426972"/>
                  <a:gd name="connsiteX1" fmla="*/ 1859089 w 2475053"/>
                  <a:gd name="connsiteY1" fmla="*/ 3399136 h 3426972"/>
                  <a:gd name="connsiteX2" fmla="*/ 1799088 w 2475053"/>
                  <a:gd name="connsiteY2" fmla="*/ 3369284 h 3426972"/>
                  <a:gd name="connsiteX3" fmla="*/ 257741 w 2475053"/>
                  <a:gd name="connsiteY3" fmla="*/ 2486086 h 3426972"/>
                  <a:gd name="connsiteX4" fmla="*/ 66855 w 2475053"/>
                  <a:gd name="connsiteY4" fmla="*/ 2298746 h 3426972"/>
                  <a:gd name="connsiteX5" fmla="*/ 5085 w 2475053"/>
                  <a:gd name="connsiteY5" fmla="*/ 2096843 h 3426972"/>
                  <a:gd name="connsiteX6" fmla="*/ 117 w 2475053"/>
                  <a:gd name="connsiteY6" fmla="*/ 2040453 h 3426972"/>
                  <a:gd name="connsiteX7" fmla="*/ 0 w 2475053"/>
                  <a:gd name="connsiteY7" fmla="*/ 2039791 h 3426972"/>
                  <a:gd name="connsiteX8" fmla="*/ 5920 w 2475053"/>
                  <a:gd name="connsiteY8" fmla="*/ 655310 h 3426972"/>
                  <a:gd name="connsiteX9" fmla="*/ 9056 w 2475053"/>
                  <a:gd name="connsiteY9" fmla="*/ 626450 h 3426972"/>
                  <a:gd name="connsiteX10" fmla="*/ 206180 w 2475053"/>
                  <a:gd name="connsiteY10" fmla="*/ 533706 h 3426972"/>
                  <a:gd name="connsiteX11" fmla="*/ 407391 w 2475053"/>
                  <a:gd name="connsiteY11" fmla="*/ 649859 h 3426972"/>
                  <a:gd name="connsiteX12" fmla="*/ 406100 w 2475053"/>
                  <a:gd name="connsiteY12" fmla="*/ 714342 h 3426972"/>
                  <a:gd name="connsiteX13" fmla="*/ 409165 w 2475053"/>
                  <a:gd name="connsiteY13" fmla="*/ 2029733 h 3426972"/>
                  <a:gd name="connsiteX14" fmla="*/ 407598 w 2475053"/>
                  <a:gd name="connsiteY14" fmla="*/ 2023141 h 3426972"/>
                  <a:gd name="connsiteX15" fmla="*/ 407517 w 2475053"/>
                  <a:gd name="connsiteY15" fmla="*/ 2035949 h 3426972"/>
                  <a:gd name="connsiteX16" fmla="*/ 464772 w 2475053"/>
                  <a:gd name="connsiteY16" fmla="*/ 2135119 h 3426972"/>
                  <a:gd name="connsiteX17" fmla="*/ 1965744 w 2475053"/>
                  <a:gd name="connsiteY17" fmla="*/ 3007037 h 3426972"/>
                  <a:gd name="connsiteX18" fmla="*/ 1966088 w 2475053"/>
                  <a:gd name="connsiteY18" fmla="*/ 3007429 h 3426972"/>
                  <a:gd name="connsiteX19" fmla="*/ 1988129 w 2475053"/>
                  <a:gd name="connsiteY19" fmla="*/ 3001242 h 3426972"/>
                  <a:gd name="connsiteX20" fmla="*/ 2034209 w 2475053"/>
                  <a:gd name="connsiteY20" fmla="*/ 2940688 h 3426972"/>
                  <a:gd name="connsiteX21" fmla="*/ 2036053 w 2475053"/>
                  <a:gd name="connsiteY21" fmla="*/ 2247662 h 3426972"/>
                  <a:gd name="connsiteX22" fmla="*/ 2442619 w 2475053"/>
                  <a:gd name="connsiteY22" fmla="*/ 0 h 3426972"/>
                  <a:gd name="connsiteX23" fmla="*/ 2441669 w 2475053"/>
                  <a:gd name="connsiteY23" fmla="*/ 2944505 h 3426972"/>
                  <a:gd name="connsiteX24" fmla="*/ 2374871 w 2475053"/>
                  <a:gd name="connsiteY24" fmla="*/ 3203485 h 3426972"/>
                  <a:gd name="connsiteX25" fmla="*/ 2230903 w 2475053"/>
                  <a:gd name="connsiteY25" fmla="*/ 3357925 h 3426972"/>
                  <a:gd name="connsiteX26" fmla="*/ 2020267 w 2475053"/>
                  <a:gd name="connsiteY26" fmla="*/ 3426436 h 3426972"/>
                  <a:gd name="connsiteX27" fmla="*/ 1970713 w 2475053"/>
                  <a:gd name="connsiteY27" fmla="*/ 3426936 h 3426972"/>
                  <a:gd name="connsiteX0" fmla="*/ 1970713 w 2441669"/>
                  <a:gd name="connsiteY0" fmla="*/ 2893230 h 2893266"/>
                  <a:gd name="connsiteX1" fmla="*/ 1859089 w 2441669"/>
                  <a:gd name="connsiteY1" fmla="*/ 2865430 h 2893266"/>
                  <a:gd name="connsiteX2" fmla="*/ 1799088 w 2441669"/>
                  <a:gd name="connsiteY2" fmla="*/ 2835578 h 2893266"/>
                  <a:gd name="connsiteX3" fmla="*/ 257741 w 2441669"/>
                  <a:gd name="connsiteY3" fmla="*/ 1952380 h 2893266"/>
                  <a:gd name="connsiteX4" fmla="*/ 66855 w 2441669"/>
                  <a:gd name="connsiteY4" fmla="*/ 1765040 h 2893266"/>
                  <a:gd name="connsiteX5" fmla="*/ 5085 w 2441669"/>
                  <a:gd name="connsiteY5" fmla="*/ 1563137 h 2893266"/>
                  <a:gd name="connsiteX6" fmla="*/ 117 w 2441669"/>
                  <a:gd name="connsiteY6" fmla="*/ 1506747 h 2893266"/>
                  <a:gd name="connsiteX7" fmla="*/ 0 w 2441669"/>
                  <a:gd name="connsiteY7" fmla="*/ 1506085 h 2893266"/>
                  <a:gd name="connsiteX8" fmla="*/ 5920 w 2441669"/>
                  <a:gd name="connsiteY8" fmla="*/ 121604 h 2893266"/>
                  <a:gd name="connsiteX9" fmla="*/ 9056 w 2441669"/>
                  <a:gd name="connsiteY9" fmla="*/ 92744 h 2893266"/>
                  <a:gd name="connsiteX10" fmla="*/ 206180 w 2441669"/>
                  <a:gd name="connsiteY10" fmla="*/ 0 h 2893266"/>
                  <a:gd name="connsiteX11" fmla="*/ 407391 w 2441669"/>
                  <a:gd name="connsiteY11" fmla="*/ 116153 h 2893266"/>
                  <a:gd name="connsiteX12" fmla="*/ 406100 w 2441669"/>
                  <a:gd name="connsiteY12" fmla="*/ 180636 h 2893266"/>
                  <a:gd name="connsiteX13" fmla="*/ 409165 w 2441669"/>
                  <a:gd name="connsiteY13" fmla="*/ 1496027 h 2893266"/>
                  <a:gd name="connsiteX14" fmla="*/ 407598 w 2441669"/>
                  <a:gd name="connsiteY14" fmla="*/ 1489435 h 2893266"/>
                  <a:gd name="connsiteX15" fmla="*/ 407517 w 2441669"/>
                  <a:gd name="connsiteY15" fmla="*/ 1502243 h 2893266"/>
                  <a:gd name="connsiteX16" fmla="*/ 464772 w 2441669"/>
                  <a:gd name="connsiteY16" fmla="*/ 1601413 h 2893266"/>
                  <a:gd name="connsiteX17" fmla="*/ 1965744 w 2441669"/>
                  <a:gd name="connsiteY17" fmla="*/ 2473331 h 2893266"/>
                  <a:gd name="connsiteX18" fmla="*/ 1966088 w 2441669"/>
                  <a:gd name="connsiteY18" fmla="*/ 2473723 h 2893266"/>
                  <a:gd name="connsiteX19" fmla="*/ 1988129 w 2441669"/>
                  <a:gd name="connsiteY19" fmla="*/ 2467536 h 2893266"/>
                  <a:gd name="connsiteX20" fmla="*/ 2034209 w 2441669"/>
                  <a:gd name="connsiteY20" fmla="*/ 2406982 h 2893266"/>
                  <a:gd name="connsiteX21" fmla="*/ 2036053 w 2441669"/>
                  <a:gd name="connsiteY21" fmla="*/ 1713956 h 2893266"/>
                  <a:gd name="connsiteX22" fmla="*/ 2441669 w 2441669"/>
                  <a:gd name="connsiteY22" fmla="*/ 2410799 h 2893266"/>
                  <a:gd name="connsiteX23" fmla="*/ 2374871 w 2441669"/>
                  <a:gd name="connsiteY23" fmla="*/ 2669779 h 2893266"/>
                  <a:gd name="connsiteX24" fmla="*/ 2230903 w 2441669"/>
                  <a:gd name="connsiteY24" fmla="*/ 2824219 h 2893266"/>
                  <a:gd name="connsiteX25" fmla="*/ 2020267 w 2441669"/>
                  <a:gd name="connsiteY25" fmla="*/ 2892730 h 2893266"/>
                  <a:gd name="connsiteX26" fmla="*/ 1970713 w 2441669"/>
                  <a:gd name="connsiteY26" fmla="*/ 2893230 h 2893266"/>
                  <a:gd name="connsiteX0" fmla="*/ 1970713 w 2441669"/>
                  <a:gd name="connsiteY0" fmla="*/ 2893230 h 2893266"/>
                  <a:gd name="connsiteX1" fmla="*/ 1859089 w 2441669"/>
                  <a:gd name="connsiteY1" fmla="*/ 2865430 h 2893266"/>
                  <a:gd name="connsiteX2" fmla="*/ 1799088 w 2441669"/>
                  <a:gd name="connsiteY2" fmla="*/ 2835578 h 2893266"/>
                  <a:gd name="connsiteX3" fmla="*/ 257741 w 2441669"/>
                  <a:gd name="connsiteY3" fmla="*/ 1952380 h 2893266"/>
                  <a:gd name="connsiteX4" fmla="*/ 66855 w 2441669"/>
                  <a:gd name="connsiteY4" fmla="*/ 1765040 h 2893266"/>
                  <a:gd name="connsiteX5" fmla="*/ 5085 w 2441669"/>
                  <a:gd name="connsiteY5" fmla="*/ 1563137 h 2893266"/>
                  <a:gd name="connsiteX6" fmla="*/ 117 w 2441669"/>
                  <a:gd name="connsiteY6" fmla="*/ 1506747 h 2893266"/>
                  <a:gd name="connsiteX7" fmla="*/ 0 w 2441669"/>
                  <a:gd name="connsiteY7" fmla="*/ 1506085 h 2893266"/>
                  <a:gd name="connsiteX8" fmla="*/ 5920 w 2441669"/>
                  <a:gd name="connsiteY8" fmla="*/ 121604 h 2893266"/>
                  <a:gd name="connsiteX9" fmla="*/ 9056 w 2441669"/>
                  <a:gd name="connsiteY9" fmla="*/ 92744 h 2893266"/>
                  <a:gd name="connsiteX10" fmla="*/ 206180 w 2441669"/>
                  <a:gd name="connsiteY10" fmla="*/ 0 h 2893266"/>
                  <a:gd name="connsiteX11" fmla="*/ 407391 w 2441669"/>
                  <a:gd name="connsiteY11" fmla="*/ 116153 h 2893266"/>
                  <a:gd name="connsiteX12" fmla="*/ 406100 w 2441669"/>
                  <a:gd name="connsiteY12" fmla="*/ 180636 h 2893266"/>
                  <a:gd name="connsiteX13" fmla="*/ 409165 w 2441669"/>
                  <a:gd name="connsiteY13" fmla="*/ 1496027 h 2893266"/>
                  <a:gd name="connsiteX14" fmla="*/ 407598 w 2441669"/>
                  <a:gd name="connsiteY14" fmla="*/ 1489435 h 2893266"/>
                  <a:gd name="connsiteX15" fmla="*/ 407517 w 2441669"/>
                  <a:gd name="connsiteY15" fmla="*/ 1502243 h 2893266"/>
                  <a:gd name="connsiteX16" fmla="*/ 464772 w 2441669"/>
                  <a:gd name="connsiteY16" fmla="*/ 1601413 h 2893266"/>
                  <a:gd name="connsiteX17" fmla="*/ 1965744 w 2441669"/>
                  <a:gd name="connsiteY17" fmla="*/ 2473331 h 2893266"/>
                  <a:gd name="connsiteX18" fmla="*/ 1966088 w 2441669"/>
                  <a:gd name="connsiteY18" fmla="*/ 2473723 h 2893266"/>
                  <a:gd name="connsiteX19" fmla="*/ 1988129 w 2441669"/>
                  <a:gd name="connsiteY19" fmla="*/ 2467536 h 2893266"/>
                  <a:gd name="connsiteX20" fmla="*/ 2034209 w 2441669"/>
                  <a:gd name="connsiteY20" fmla="*/ 2406982 h 2893266"/>
                  <a:gd name="connsiteX21" fmla="*/ 2441669 w 2441669"/>
                  <a:gd name="connsiteY21" fmla="*/ 2410799 h 2893266"/>
                  <a:gd name="connsiteX22" fmla="*/ 2374871 w 2441669"/>
                  <a:gd name="connsiteY22" fmla="*/ 2669779 h 2893266"/>
                  <a:gd name="connsiteX23" fmla="*/ 2230903 w 2441669"/>
                  <a:gd name="connsiteY23" fmla="*/ 2824219 h 2893266"/>
                  <a:gd name="connsiteX24" fmla="*/ 2020267 w 2441669"/>
                  <a:gd name="connsiteY24" fmla="*/ 2892730 h 2893266"/>
                  <a:gd name="connsiteX25" fmla="*/ 1970713 w 2441669"/>
                  <a:gd name="connsiteY25" fmla="*/ 2893230 h 2893266"/>
                  <a:gd name="connsiteX0" fmla="*/ 1970713 w 2380032"/>
                  <a:gd name="connsiteY0" fmla="*/ 2893230 h 2893266"/>
                  <a:gd name="connsiteX1" fmla="*/ 1859089 w 2380032"/>
                  <a:gd name="connsiteY1" fmla="*/ 2865430 h 2893266"/>
                  <a:gd name="connsiteX2" fmla="*/ 1799088 w 2380032"/>
                  <a:gd name="connsiteY2" fmla="*/ 2835578 h 2893266"/>
                  <a:gd name="connsiteX3" fmla="*/ 257741 w 2380032"/>
                  <a:gd name="connsiteY3" fmla="*/ 1952380 h 2893266"/>
                  <a:gd name="connsiteX4" fmla="*/ 66855 w 2380032"/>
                  <a:gd name="connsiteY4" fmla="*/ 1765040 h 2893266"/>
                  <a:gd name="connsiteX5" fmla="*/ 5085 w 2380032"/>
                  <a:gd name="connsiteY5" fmla="*/ 1563137 h 2893266"/>
                  <a:gd name="connsiteX6" fmla="*/ 117 w 2380032"/>
                  <a:gd name="connsiteY6" fmla="*/ 1506747 h 2893266"/>
                  <a:gd name="connsiteX7" fmla="*/ 0 w 2380032"/>
                  <a:gd name="connsiteY7" fmla="*/ 1506085 h 2893266"/>
                  <a:gd name="connsiteX8" fmla="*/ 5920 w 2380032"/>
                  <a:gd name="connsiteY8" fmla="*/ 121604 h 2893266"/>
                  <a:gd name="connsiteX9" fmla="*/ 9056 w 2380032"/>
                  <a:gd name="connsiteY9" fmla="*/ 92744 h 2893266"/>
                  <a:gd name="connsiteX10" fmla="*/ 206180 w 2380032"/>
                  <a:gd name="connsiteY10" fmla="*/ 0 h 2893266"/>
                  <a:gd name="connsiteX11" fmla="*/ 407391 w 2380032"/>
                  <a:gd name="connsiteY11" fmla="*/ 116153 h 2893266"/>
                  <a:gd name="connsiteX12" fmla="*/ 406100 w 2380032"/>
                  <a:gd name="connsiteY12" fmla="*/ 180636 h 2893266"/>
                  <a:gd name="connsiteX13" fmla="*/ 409165 w 2380032"/>
                  <a:gd name="connsiteY13" fmla="*/ 1496027 h 2893266"/>
                  <a:gd name="connsiteX14" fmla="*/ 407598 w 2380032"/>
                  <a:gd name="connsiteY14" fmla="*/ 1489435 h 2893266"/>
                  <a:gd name="connsiteX15" fmla="*/ 407517 w 2380032"/>
                  <a:gd name="connsiteY15" fmla="*/ 1502243 h 2893266"/>
                  <a:gd name="connsiteX16" fmla="*/ 464772 w 2380032"/>
                  <a:gd name="connsiteY16" fmla="*/ 1601413 h 2893266"/>
                  <a:gd name="connsiteX17" fmla="*/ 1965744 w 2380032"/>
                  <a:gd name="connsiteY17" fmla="*/ 2473331 h 2893266"/>
                  <a:gd name="connsiteX18" fmla="*/ 1966088 w 2380032"/>
                  <a:gd name="connsiteY18" fmla="*/ 2473723 h 2893266"/>
                  <a:gd name="connsiteX19" fmla="*/ 1988129 w 2380032"/>
                  <a:gd name="connsiteY19" fmla="*/ 2467536 h 2893266"/>
                  <a:gd name="connsiteX20" fmla="*/ 2034209 w 2380032"/>
                  <a:gd name="connsiteY20" fmla="*/ 2406982 h 2893266"/>
                  <a:gd name="connsiteX21" fmla="*/ 2374871 w 2380032"/>
                  <a:gd name="connsiteY21" fmla="*/ 2669779 h 2893266"/>
                  <a:gd name="connsiteX22" fmla="*/ 2230903 w 2380032"/>
                  <a:gd name="connsiteY22" fmla="*/ 2824219 h 2893266"/>
                  <a:gd name="connsiteX23" fmla="*/ 2020267 w 2380032"/>
                  <a:gd name="connsiteY23" fmla="*/ 2892730 h 2893266"/>
                  <a:gd name="connsiteX24" fmla="*/ 1970713 w 2380032"/>
                  <a:gd name="connsiteY24"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1965744 w 2382123"/>
                  <a:gd name="connsiteY17" fmla="*/ 2473331 h 2893266"/>
                  <a:gd name="connsiteX18" fmla="*/ 1966088 w 2382123"/>
                  <a:gd name="connsiteY18" fmla="*/ 2473723 h 2893266"/>
                  <a:gd name="connsiteX19" fmla="*/ 1988129 w 2382123"/>
                  <a:gd name="connsiteY19" fmla="*/ 2467536 h 2893266"/>
                  <a:gd name="connsiteX20" fmla="*/ 2374871 w 2382123"/>
                  <a:gd name="connsiteY20" fmla="*/ 2669779 h 2893266"/>
                  <a:gd name="connsiteX21" fmla="*/ 2230903 w 2382123"/>
                  <a:gd name="connsiteY21" fmla="*/ 2824219 h 2893266"/>
                  <a:gd name="connsiteX22" fmla="*/ 2020267 w 2382123"/>
                  <a:gd name="connsiteY22" fmla="*/ 2892730 h 2893266"/>
                  <a:gd name="connsiteX23" fmla="*/ 1970713 w 2382123"/>
                  <a:gd name="connsiteY23" fmla="*/ 2893230 h 2893266"/>
                  <a:gd name="connsiteX0" fmla="*/ 1970713 w 2230903"/>
                  <a:gd name="connsiteY0" fmla="*/ 2893230 h 2893266"/>
                  <a:gd name="connsiteX1" fmla="*/ 1859089 w 2230903"/>
                  <a:gd name="connsiteY1" fmla="*/ 2865430 h 2893266"/>
                  <a:gd name="connsiteX2" fmla="*/ 1799088 w 2230903"/>
                  <a:gd name="connsiteY2" fmla="*/ 2835578 h 2893266"/>
                  <a:gd name="connsiteX3" fmla="*/ 257741 w 2230903"/>
                  <a:gd name="connsiteY3" fmla="*/ 1952380 h 2893266"/>
                  <a:gd name="connsiteX4" fmla="*/ 66855 w 2230903"/>
                  <a:gd name="connsiteY4" fmla="*/ 1765040 h 2893266"/>
                  <a:gd name="connsiteX5" fmla="*/ 5085 w 2230903"/>
                  <a:gd name="connsiteY5" fmla="*/ 1563137 h 2893266"/>
                  <a:gd name="connsiteX6" fmla="*/ 117 w 2230903"/>
                  <a:gd name="connsiteY6" fmla="*/ 1506747 h 2893266"/>
                  <a:gd name="connsiteX7" fmla="*/ 0 w 2230903"/>
                  <a:gd name="connsiteY7" fmla="*/ 1506085 h 2893266"/>
                  <a:gd name="connsiteX8" fmla="*/ 5920 w 2230903"/>
                  <a:gd name="connsiteY8" fmla="*/ 121604 h 2893266"/>
                  <a:gd name="connsiteX9" fmla="*/ 9056 w 2230903"/>
                  <a:gd name="connsiteY9" fmla="*/ 92744 h 2893266"/>
                  <a:gd name="connsiteX10" fmla="*/ 206180 w 2230903"/>
                  <a:gd name="connsiteY10" fmla="*/ 0 h 2893266"/>
                  <a:gd name="connsiteX11" fmla="*/ 407391 w 2230903"/>
                  <a:gd name="connsiteY11" fmla="*/ 116153 h 2893266"/>
                  <a:gd name="connsiteX12" fmla="*/ 406100 w 2230903"/>
                  <a:gd name="connsiteY12" fmla="*/ 180636 h 2893266"/>
                  <a:gd name="connsiteX13" fmla="*/ 409165 w 2230903"/>
                  <a:gd name="connsiteY13" fmla="*/ 1496027 h 2893266"/>
                  <a:gd name="connsiteX14" fmla="*/ 407598 w 2230903"/>
                  <a:gd name="connsiteY14" fmla="*/ 1489435 h 2893266"/>
                  <a:gd name="connsiteX15" fmla="*/ 407517 w 2230903"/>
                  <a:gd name="connsiteY15" fmla="*/ 1502243 h 2893266"/>
                  <a:gd name="connsiteX16" fmla="*/ 464772 w 2230903"/>
                  <a:gd name="connsiteY16" fmla="*/ 1601413 h 2893266"/>
                  <a:gd name="connsiteX17" fmla="*/ 1965744 w 2230903"/>
                  <a:gd name="connsiteY17" fmla="*/ 2473331 h 2893266"/>
                  <a:gd name="connsiteX18" fmla="*/ 1966088 w 2230903"/>
                  <a:gd name="connsiteY18" fmla="*/ 2473723 h 2893266"/>
                  <a:gd name="connsiteX19" fmla="*/ 1988129 w 2230903"/>
                  <a:gd name="connsiteY19" fmla="*/ 2467536 h 2893266"/>
                  <a:gd name="connsiteX20" fmla="*/ 2230903 w 2230903"/>
                  <a:gd name="connsiteY20" fmla="*/ 2824219 h 2893266"/>
                  <a:gd name="connsiteX21" fmla="*/ 2020267 w 2230903"/>
                  <a:gd name="connsiteY21" fmla="*/ 2892730 h 2893266"/>
                  <a:gd name="connsiteX22" fmla="*/ 1970713 w 2230903"/>
                  <a:gd name="connsiteY22" fmla="*/ 2893230 h 2893266"/>
                  <a:gd name="connsiteX0" fmla="*/ 1970713 w 2020491"/>
                  <a:gd name="connsiteY0" fmla="*/ 2893230 h 2893266"/>
                  <a:gd name="connsiteX1" fmla="*/ 1859089 w 2020491"/>
                  <a:gd name="connsiteY1" fmla="*/ 2865430 h 2893266"/>
                  <a:gd name="connsiteX2" fmla="*/ 1799088 w 2020491"/>
                  <a:gd name="connsiteY2" fmla="*/ 2835578 h 2893266"/>
                  <a:gd name="connsiteX3" fmla="*/ 257741 w 2020491"/>
                  <a:gd name="connsiteY3" fmla="*/ 1952380 h 2893266"/>
                  <a:gd name="connsiteX4" fmla="*/ 66855 w 2020491"/>
                  <a:gd name="connsiteY4" fmla="*/ 1765040 h 2893266"/>
                  <a:gd name="connsiteX5" fmla="*/ 5085 w 2020491"/>
                  <a:gd name="connsiteY5" fmla="*/ 1563137 h 2893266"/>
                  <a:gd name="connsiteX6" fmla="*/ 117 w 2020491"/>
                  <a:gd name="connsiteY6" fmla="*/ 1506747 h 2893266"/>
                  <a:gd name="connsiteX7" fmla="*/ 0 w 2020491"/>
                  <a:gd name="connsiteY7" fmla="*/ 1506085 h 2893266"/>
                  <a:gd name="connsiteX8" fmla="*/ 5920 w 2020491"/>
                  <a:gd name="connsiteY8" fmla="*/ 121604 h 2893266"/>
                  <a:gd name="connsiteX9" fmla="*/ 9056 w 2020491"/>
                  <a:gd name="connsiteY9" fmla="*/ 92744 h 2893266"/>
                  <a:gd name="connsiteX10" fmla="*/ 206180 w 2020491"/>
                  <a:gd name="connsiteY10" fmla="*/ 0 h 2893266"/>
                  <a:gd name="connsiteX11" fmla="*/ 407391 w 2020491"/>
                  <a:gd name="connsiteY11" fmla="*/ 116153 h 2893266"/>
                  <a:gd name="connsiteX12" fmla="*/ 406100 w 2020491"/>
                  <a:gd name="connsiteY12" fmla="*/ 180636 h 2893266"/>
                  <a:gd name="connsiteX13" fmla="*/ 409165 w 2020491"/>
                  <a:gd name="connsiteY13" fmla="*/ 1496027 h 2893266"/>
                  <a:gd name="connsiteX14" fmla="*/ 407598 w 2020491"/>
                  <a:gd name="connsiteY14" fmla="*/ 1489435 h 2893266"/>
                  <a:gd name="connsiteX15" fmla="*/ 407517 w 2020491"/>
                  <a:gd name="connsiteY15" fmla="*/ 1502243 h 2893266"/>
                  <a:gd name="connsiteX16" fmla="*/ 464772 w 2020491"/>
                  <a:gd name="connsiteY16" fmla="*/ 1601413 h 2893266"/>
                  <a:gd name="connsiteX17" fmla="*/ 1965744 w 2020491"/>
                  <a:gd name="connsiteY17" fmla="*/ 2473331 h 2893266"/>
                  <a:gd name="connsiteX18" fmla="*/ 1966088 w 2020491"/>
                  <a:gd name="connsiteY18" fmla="*/ 2473723 h 2893266"/>
                  <a:gd name="connsiteX19" fmla="*/ 1988129 w 2020491"/>
                  <a:gd name="connsiteY19" fmla="*/ 2467536 h 2893266"/>
                  <a:gd name="connsiteX20" fmla="*/ 2020267 w 2020491"/>
                  <a:gd name="connsiteY20" fmla="*/ 2892730 h 2893266"/>
                  <a:gd name="connsiteX21" fmla="*/ 1970713 w 2020491"/>
                  <a:gd name="connsiteY21" fmla="*/ 2893230 h 2893266"/>
                  <a:gd name="connsiteX0" fmla="*/ 2020267 w 2020491"/>
                  <a:gd name="connsiteY0" fmla="*/ 2892730 h 2917998"/>
                  <a:gd name="connsiteX1" fmla="*/ 1859089 w 2020491"/>
                  <a:gd name="connsiteY1" fmla="*/ 2865430 h 2917998"/>
                  <a:gd name="connsiteX2" fmla="*/ 1799088 w 2020491"/>
                  <a:gd name="connsiteY2" fmla="*/ 2835578 h 2917998"/>
                  <a:gd name="connsiteX3" fmla="*/ 257741 w 2020491"/>
                  <a:gd name="connsiteY3" fmla="*/ 1952380 h 2917998"/>
                  <a:gd name="connsiteX4" fmla="*/ 66855 w 2020491"/>
                  <a:gd name="connsiteY4" fmla="*/ 1765040 h 2917998"/>
                  <a:gd name="connsiteX5" fmla="*/ 5085 w 2020491"/>
                  <a:gd name="connsiteY5" fmla="*/ 1563137 h 2917998"/>
                  <a:gd name="connsiteX6" fmla="*/ 117 w 2020491"/>
                  <a:gd name="connsiteY6" fmla="*/ 1506747 h 2917998"/>
                  <a:gd name="connsiteX7" fmla="*/ 0 w 2020491"/>
                  <a:gd name="connsiteY7" fmla="*/ 1506085 h 2917998"/>
                  <a:gd name="connsiteX8" fmla="*/ 5920 w 2020491"/>
                  <a:gd name="connsiteY8" fmla="*/ 121604 h 2917998"/>
                  <a:gd name="connsiteX9" fmla="*/ 9056 w 2020491"/>
                  <a:gd name="connsiteY9" fmla="*/ 92744 h 2917998"/>
                  <a:gd name="connsiteX10" fmla="*/ 206180 w 2020491"/>
                  <a:gd name="connsiteY10" fmla="*/ 0 h 2917998"/>
                  <a:gd name="connsiteX11" fmla="*/ 407391 w 2020491"/>
                  <a:gd name="connsiteY11" fmla="*/ 116153 h 2917998"/>
                  <a:gd name="connsiteX12" fmla="*/ 406100 w 2020491"/>
                  <a:gd name="connsiteY12" fmla="*/ 180636 h 2917998"/>
                  <a:gd name="connsiteX13" fmla="*/ 409165 w 2020491"/>
                  <a:gd name="connsiteY13" fmla="*/ 1496027 h 2917998"/>
                  <a:gd name="connsiteX14" fmla="*/ 407598 w 2020491"/>
                  <a:gd name="connsiteY14" fmla="*/ 1489435 h 2917998"/>
                  <a:gd name="connsiteX15" fmla="*/ 407517 w 2020491"/>
                  <a:gd name="connsiteY15" fmla="*/ 1502243 h 2917998"/>
                  <a:gd name="connsiteX16" fmla="*/ 464772 w 2020491"/>
                  <a:gd name="connsiteY16" fmla="*/ 1601413 h 2917998"/>
                  <a:gd name="connsiteX17" fmla="*/ 1965744 w 2020491"/>
                  <a:gd name="connsiteY17" fmla="*/ 2473331 h 2917998"/>
                  <a:gd name="connsiteX18" fmla="*/ 1966088 w 2020491"/>
                  <a:gd name="connsiteY18" fmla="*/ 2473723 h 2917998"/>
                  <a:gd name="connsiteX19" fmla="*/ 1988129 w 2020491"/>
                  <a:gd name="connsiteY19" fmla="*/ 2467536 h 2917998"/>
                  <a:gd name="connsiteX20" fmla="*/ 2020267 w 2020491"/>
                  <a:gd name="connsiteY20" fmla="*/ 2892730 h 2917998"/>
                  <a:gd name="connsiteX0" fmla="*/ 1988129 w 1988129"/>
                  <a:gd name="connsiteY0" fmla="*/ 2467536 h 2865430"/>
                  <a:gd name="connsiteX1" fmla="*/ 1859089 w 1988129"/>
                  <a:gd name="connsiteY1" fmla="*/ 2865430 h 2865430"/>
                  <a:gd name="connsiteX2" fmla="*/ 1799088 w 1988129"/>
                  <a:gd name="connsiteY2" fmla="*/ 2835578 h 2865430"/>
                  <a:gd name="connsiteX3" fmla="*/ 257741 w 1988129"/>
                  <a:gd name="connsiteY3" fmla="*/ 1952380 h 2865430"/>
                  <a:gd name="connsiteX4" fmla="*/ 66855 w 1988129"/>
                  <a:gd name="connsiteY4" fmla="*/ 1765040 h 2865430"/>
                  <a:gd name="connsiteX5" fmla="*/ 5085 w 1988129"/>
                  <a:gd name="connsiteY5" fmla="*/ 1563137 h 2865430"/>
                  <a:gd name="connsiteX6" fmla="*/ 117 w 1988129"/>
                  <a:gd name="connsiteY6" fmla="*/ 1506747 h 2865430"/>
                  <a:gd name="connsiteX7" fmla="*/ 0 w 1988129"/>
                  <a:gd name="connsiteY7" fmla="*/ 1506085 h 2865430"/>
                  <a:gd name="connsiteX8" fmla="*/ 5920 w 1988129"/>
                  <a:gd name="connsiteY8" fmla="*/ 121604 h 2865430"/>
                  <a:gd name="connsiteX9" fmla="*/ 9056 w 1988129"/>
                  <a:gd name="connsiteY9" fmla="*/ 92744 h 2865430"/>
                  <a:gd name="connsiteX10" fmla="*/ 206180 w 1988129"/>
                  <a:gd name="connsiteY10" fmla="*/ 0 h 2865430"/>
                  <a:gd name="connsiteX11" fmla="*/ 407391 w 1988129"/>
                  <a:gd name="connsiteY11" fmla="*/ 116153 h 2865430"/>
                  <a:gd name="connsiteX12" fmla="*/ 406100 w 1988129"/>
                  <a:gd name="connsiteY12" fmla="*/ 180636 h 2865430"/>
                  <a:gd name="connsiteX13" fmla="*/ 409165 w 1988129"/>
                  <a:gd name="connsiteY13" fmla="*/ 1496027 h 2865430"/>
                  <a:gd name="connsiteX14" fmla="*/ 407598 w 1988129"/>
                  <a:gd name="connsiteY14" fmla="*/ 1489435 h 2865430"/>
                  <a:gd name="connsiteX15" fmla="*/ 407517 w 1988129"/>
                  <a:gd name="connsiteY15" fmla="*/ 1502243 h 2865430"/>
                  <a:gd name="connsiteX16" fmla="*/ 464772 w 1988129"/>
                  <a:gd name="connsiteY16" fmla="*/ 1601413 h 2865430"/>
                  <a:gd name="connsiteX17" fmla="*/ 1965744 w 1988129"/>
                  <a:gd name="connsiteY17" fmla="*/ 2473331 h 2865430"/>
                  <a:gd name="connsiteX18" fmla="*/ 1966088 w 1988129"/>
                  <a:gd name="connsiteY18" fmla="*/ 2473723 h 2865430"/>
                  <a:gd name="connsiteX19" fmla="*/ 1988129 w 1988129"/>
                  <a:gd name="connsiteY19" fmla="*/ 2467536 h 2865430"/>
                  <a:gd name="connsiteX0" fmla="*/ 1988129 w 1992848"/>
                  <a:gd name="connsiteY0" fmla="*/ 2467536 h 2847771"/>
                  <a:gd name="connsiteX1" fmla="*/ 1799088 w 1992848"/>
                  <a:gd name="connsiteY1" fmla="*/ 2835578 h 2847771"/>
                  <a:gd name="connsiteX2" fmla="*/ 257741 w 1992848"/>
                  <a:gd name="connsiteY2" fmla="*/ 1952380 h 2847771"/>
                  <a:gd name="connsiteX3" fmla="*/ 66855 w 1992848"/>
                  <a:gd name="connsiteY3" fmla="*/ 1765040 h 2847771"/>
                  <a:gd name="connsiteX4" fmla="*/ 5085 w 1992848"/>
                  <a:gd name="connsiteY4" fmla="*/ 1563137 h 2847771"/>
                  <a:gd name="connsiteX5" fmla="*/ 117 w 1992848"/>
                  <a:gd name="connsiteY5" fmla="*/ 1506747 h 2847771"/>
                  <a:gd name="connsiteX6" fmla="*/ 0 w 1992848"/>
                  <a:gd name="connsiteY6" fmla="*/ 1506085 h 2847771"/>
                  <a:gd name="connsiteX7" fmla="*/ 5920 w 1992848"/>
                  <a:gd name="connsiteY7" fmla="*/ 121604 h 2847771"/>
                  <a:gd name="connsiteX8" fmla="*/ 9056 w 1992848"/>
                  <a:gd name="connsiteY8" fmla="*/ 92744 h 2847771"/>
                  <a:gd name="connsiteX9" fmla="*/ 206180 w 1992848"/>
                  <a:gd name="connsiteY9" fmla="*/ 0 h 2847771"/>
                  <a:gd name="connsiteX10" fmla="*/ 407391 w 1992848"/>
                  <a:gd name="connsiteY10" fmla="*/ 116153 h 2847771"/>
                  <a:gd name="connsiteX11" fmla="*/ 406100 w 1992848"/>
                  <a:gd name="connsiteY11" fmla="*/ 180636 h 2847771"/>
                  <a:gd name="connsiteX12" fmla="*/ 409165 w 1992848"/>
                  <a:gd name="connsiteY12" fmla="*/ 1496027 h 2847771"/>
                  <a:gd name="connsiteX13" fmla="*/ 407598 w 1992848"/>
                  <a:gd name="connsiteY13" fmla="*/ 1489435 h 2847771"/>
                  <a:gd name="connsiteX14" fmla="*/ 407517 w 1992848"/>
                  <a:gd name="connsiteY14" fmla="*/ 1502243 h 2847771"/>
                  <a:gd name="connsiteX15" fmla="*/ 464772 w 1992848"/>
                  <a:gd name="connsiteY15" fmla="*/ 1601413 h 2847771"/>
                  <a:gd name="connsiteX16" fmla="*/ 1965744 w 1992848"/>
                  <a:gd name="connsiteY16" fmla="*/ 2473331 h 2847771"/>
                  <a:gd name="connsiteX17" fmla="*/ 1966088 w 1992848"/>
                  <a:gd name="connsiteY17" fmla="*/ 2473723 h 2847771"/>
                  <a:gd name="connsiteX18" fmla="*/ 1988129 w 1992848"/>
                  <a:gd name="connsiteY18" fmla="*/ 2467536 h 2847771"/>
                  <a:gd name="connsiteX0" fmla="*/ 1988129 w 2060611"/>
                  <a:gd name="connsiteY0" fmla="*/ 2467536 h 2890886"/>
                  <a:gd name="connsiteX1" fmla="*/ 1799088 w 2060611"/>
                  <a:gd name="connsiteY1" fmla="*/ 2835578 h 2890886"/>
                  <a:gd name="connsiteX2" fmla="*/ 257741 w 2060611"/>
                  <a:gd name="connsiteY2" fmla="*/ 1952380 h 2890886"/>
                  <a:gd name="connsiteX3" fmla="*/ 66855 w 2060611"/>
                  <a:gd name="connsiteY3" fmla="*/ 1765040 h 2890886"/>
                  <a:gd name="connsiteX4" fmla="*/ 5085 w 2060611"/>
                  <a:gd name="connsiteY4" fmla="*/ 1563137 h 2890886"/>
                  <a:gd name="connsiteX5" fmla="*/ 117 w 2060611"/>
                  <a:gd name="connsiteY5" fmla="*/ 1506747 h 2890886"/>
                  <a:gd name="connsiteX6" fmla="*/ 0 w 2060611"/>
                  <a:gd name="connsiteY6" fmla="*/ 1506085 h 2890886"/>
                  <a:gd name="connsiteX7" fmla="*/ 5920 w 2060611"/>
                  <a:gd name="connsiteY7" fmla="*/ 121604 h 2890886"/>
                  <a:gd name="connsiteX8" fmla="*/ 9056 w 2060611"/>
                  <a:gd name="connsiteY8" fmla="*/ 92744 h 2890886"/>
                  <a:gd name="connsiteX9" fmla="*/ 206180 w 2060611"/>
                  <a:gd name="connsiteY9" fmla="*/ 0 h 2890886"/>
                  <a:gd name="connsiteX10" fmla="*/ 407391 w 2060611"/>
                  <a:gd name="connsiteY10" fmla="*/ 116153 h 2890886"/>
                  <a:gd name="connsiteX11" fmla="*/ 406100 w 2060611"/>
                  <a:gd name="connsiteY11" fmla="*/ 180636 h 2890886"/>
                  <a:gd name="connsiteX12" fmla="*/ 409165 w 2060611"/>
                  <a:gd name="connsiteY12" fmla="*/ 1496027 h 2890886"/>
                  <a:gd name="connsiteX13" fmla="*/ 407598 w 2060611"/>
                  <a:gd name="connsiteY13" fmla="*/ 1489435 h 2890886"/>
                  <a:gd name="connsiteX14" fmla="*/ 407517 w 2060611"/>
                  <a:gd name="connsiteY14" fmla="*/ 1502243 h 2890886"/>
                  <a:gd name="connsiteX15" fmla="*/ 464772 w 2060611"/>
                  <a:gd name="connsiteY15" fmla="*/ 1601413 h 2890886"/>
                  <a:gd name="connsiteX16" fmla="*/ 1965744 w 2060611"/>
                  <a:gd name="connsiteY16" fmla="*/ 2473331 h 2890886"/>
                  <a:gd name="connsiteX17" fmla="*/ 1966088 w 2060611"/>
                  <a:gd name="connsiteY17" fmla="*/ 2473723 h 2890886"/>
                  <a:gd name="connsiteX18" fmla="*/ 1988129 w 2060611"/>
                  <a:gd name="connsiteY18" fmla="*/ 2467536 h 2890886"/>
                  <a:gd name="connsiteX0" fmla="*/ 1988129 w 2060611"/>
                  <a:gd name="connsiteY0" fmla="*/ 2467536 h 2890886"/>
                  <a:gd name="connsiteX1" fmla="*/ 1799088 w 2060611"/>
                  <a:gd name="connsiteY1" fmla="*/ 2835578 h 2890886"/>
                  <a:gd name="connsiteX2" fmla="*/ 257741 w 2060611"/>
                  <a:gd name="connsiteY2" fmla="*/ 1952380 h 2890886"/>
                  <a:gd name="connsiteX3" fmla="*/ 66855 w 2060611"/>
                  <a:gd name="connsiteY3" fmla="*/ 1765040 h 2890886"/>
                  <a:gd name="connsiteX4" fmla="*/ 5085 w 2060611"/>
                  <a:gd name="connsiteY4" fmla="*/ 1563137 h 2890886"/>
                  <a:gd name="connsiteX5" fmla="*/ 117 w 2060611"/>
                  <a:gd name="connsiteY5" fmla="*/ 1506747 h 2890886"/>
                  <a:gd name="connsiteX6" fmla="*/ 0 w 2060611"/>
                  <a:gd name="connsiteY6" fmla="*/ 1506085 h 2890886"/>
                  <a:gd name="connsiteX7" fmla="*/ 5920 w 2060611"/>
                  <a:gd name="connsiteY7" fmla="*/ 121604 h 2890886"/>
                  <a:gd name="connsiteX8" fmla="*/ 9056 w 2060611"/>
                  <a:gd name="connsiteY8" fmla="*/ 92744 h 2890886"/>
                  <a:gd name="connsiteX9" fmla="*/ 206180 w 2060611"/>
                  <a:gd name="connsiteY9" fmla="*/ 0 h 2890886"/>
                  <a:gd name="connsiteX10" fmla="*/ 407391 w 2060611"/>
                  <a:gd name="connsiteY10" fmla="*/ 116153 h 2890886"/>
                  <a:gd name="connsiteX11" fmla="*/ 409165 w 2060611"/>
                  <a:gd name="connsiteY11" fmla="*/ 1496027 h 2890886"/>
                  <a:gd name="connsiteX12" fmla="*/ 407598 w 2060611"/>
                  <a:gd name="connsiteY12" fmla="*/ 1489435 h 2890886"/>
                  <a:gd name="connsiteX13" fmla="*/ 407517 w 2060611"/>
                  <a:gd name="connsiteY13" fmla="*/ 1502243 h 2890886"/>
                  <a:gd name="connsiteX14" fmla="*/ 464772 w 2060611"/>
                  <a:gd name="connsiteY14" fmla="*/ 1601413 h 2890886"/>
                  <a:gd name="connsiteX15" fmla="*/ 1965744 w 2060611"/>
                  <a:gd name="connsiteY15" fmla="*/ 2473331 h 2890886"/>
                  <a:gd name="connsiteX16" fmla="*/ 1966088 w 2060611"/>
                  <a:gd name="connsiteY16" fmla="*/ 2473723 h 2890886"/>
                  <a:gd name="connsiteX17" fmla="*/ 1988129 w 2060611"/>
                  <a:gd name="connsiteY17" fmla="*/ 2467536 h 2890886"/>
                  <a:gd name="connsiteX0" fmla="*/ 1988129 w 2060611"/>
                  <a:gd name="connsiteY0" fmla="*/ 2461991 h 2885341"/>
                  <a:gd name="connsiteX1" fmla="*/ 1799088 w 2060611"/>
                  <a:gd name="connsiteY1" fmla="*/ 2830033 h 2885341"/>
                  <a:gd name="connsiteX2" fmla="*/ 257741 w 2060611"/>
                  <a:gd name="connsiteY2" fmla="*/ 1946835 h 2885341"/>
                  <a:gd name="connsiteX3" fmla="*/ 66855 w 2060611"/>
                  <a:gd name="connsiteY3" fmla="*/ 1759495 h 2885341"/>
                  <a:gd name="connsiteX4" fmla="*/ 5085 w 2060611"/>
                  <a:gd name="connsiteY4" fmla="*/ 1557592 h 2885341"/>
                  <a:gd name="connsiteX5" fmla="*/ 117 w 2060611"/>
                  <a:gd name="connsiteY5" fmla="*/ 1501202 h 2885341"/>
                  <a:gd name="connsiteX6" fmla="*/ 0 w 2060611"/>
                  <a:gd name="connsiteY6" fmla="*/ 1500540 h 2885341"/>
                  <a:gd name="connsiteX7" fmla="*/ 5920 w 2060611"/>
                  <a:gd name="connsiteY7" fmla="*/ 116059 h 2885341"/>
                  <a:gd name="connsiteX8" fmla="*/ 9056 w 2060611"/>
                  <a:gd name="connsiteY8" fmla="*/ 87199 h 2885341"/>
                  <a:gd name="connsiteX9" fmla="*/ 407391 w 2060611"/>
                  <a:gd name="connsiteY9" fmla="*/ 110608 h 2885341"/>
                  <a:gd name="connsiteX10" fmla="*/ 409165 w 2060611"/>
                  <a:gd name="connsiteY10" fmla="*/ 1490482 h 2885341"/>
                  <a:gd name="connsiteX11" fmla="*/ 407598 w 2060611"/>
                  <a:gd name="connsiteY11" fmla="*/ 1483890 h 2885341"/>
                  <a:gd name="connsiteX12" fmla="*/ 407517 w 2060611"/>
                  <a:gd name="connsiteY12" fmla="*/ 1496698 h 2885341"/>
                  <a:gd name="connsiteX13" fmla="*/ 464772 w 2060611"/>
                  <a:gd name="connsiteY13" fmla="*/ 1595868 h 2885341"/>
                  <a:gd name="connsiteX14" fmla="*/ 1965744 w 2060611"/>
                  <a:gd name="connsiteY14" fmla="*/ 2467786 h 2885341"/>
                  <a:gd name="connsiteX15" fmla="*/ 1966088 w 2060611"/>
                  <a:gd name="connsiteY15" fmla="*/ 2468178 h 2885341"/>
                  <a:gd name="connsiteX16" fmla="*/ 1988129 w 2060611"/>
                  <a:gd name="connsiteY16" fmla="*/ 2461991 h 2885341"/>
                  <a:gd name="connsiteX0" fmla="*/ 1988129 w 2060611"/>
                  <a:gd name="connsiteY0" fmla="*/ 2351383 h 2774733"/>
                  <a:gd name="connsiteX1" fmla="*/ 1799088 w 2060611"/>
                  <a:gd name="connsiteY1" fmla="*/ 2719425 h 2774733"/>
                  <a:gd name="connsiteX2" fmla="*/ 257741 w 2060611"/>
                  <a:gd name="connsiteY2" fmla="*/ 1836227 h 2774733"/>
                  <a:gd name="connsiteX3" fmla="*/ 66855 w 2060611"/>
                  <a:gd name="connsiteY3" fmla="*/ 1648887 h 2774733"/>
                  <a:gd name="connsiteX4" fmla="*/ 5085 w 2060611"/>
                  <a:gd name="connsiteY4" fmla="*/ 1446984 h 2774733"/>
                  <a:gd name="connsiteX5" fmla="*/ 117 w 2060611"/>
                  <a:gd name="connsiteY5" fmla="*/ 1390594 h 2774733"/>
                  <a:gd name="connsiteX6" fmla="*/ 0 w 2060611"/>
                  <a:gd name="connsiteY6" fmla="*/ 1389932 h 2774733"/>
                  <a:gd name="connsiteX7" fmla="*/ 5920 w 2060611"/>
                  <a:gd name="connsiteY7" fmla="*/ 5451 h 2774733"/>
                  <a:gd name="connsiteX8" fmla="*/ 407391 w 2060611"/>
                  <a:gd name="connsiteY8" fmla="*/ 0 h 2774733"/>
                  <a:gd name="connsiteX9" fmla="*/ 409165 w 2060611"/>
                  <a:gd name="connsiteY9" fmla="*/ 1379874 h 2774733"/>
                  <a:gd name="connsiteX10" fmla="*/ 407598 w 2060611"/>
                  <a:gd name="connsiteY10" fmla="*/ 1373282 h 2774733"/>
                  <a:gd name="connsiteX11" fmla="*/ 407517 w 2060611"/>
                  <a:gd name="connsiteY11" fmla="*/ 1386090 h 2774733"/>
                  <a:gd name="connsiteX12" fmla="*/ 464772 w 2060611"/>
                  <a:gd name="connsiteY12" fmla="*/ 1485260 h 2774733"/>
                  <a:gd name="connsiteX13" fmla="*/ 1965744 w 2060611"/>
                  <a:gd name="connsiteY13" fmla="*/ 2357178 h 2774733"/>
                  <a:gd name="connsiteX14" fmla="*/ 1966088 w 2060611"/>
                  <a:gd name="connsiteY14" fmla="*/ 2357570 h 2774733"/>
                  <a:gd name="connsiteX15" fmla="*/ 1988129 w 2060611"/>
                  <a:gd name="connsiteY15" fmla="*/ 2351383 h 2774733"/>
                  <a:gd name="connsiteX0" fmla="*/ 1988129 w 2060611"/>
                  <a:gd name="connsiteY0" fmla="*/ 2351383 h 2774733"/>
                  <a:gd name="connsiteX1" fmla="*/ 1799088 w 2060611"/>
                  <a:gd name="connsiteY1" fmla="*/ 2719425 h 2774733"/>
                  <a:gd name="connsiteX2" fmla="*/ 257741 w 2060611"/>
                  <a:gd name="connsiteY2" fmla="*/ 1836227 h 2774733"/>
                  <a:gd name="connsiteX3" fmla="*/ 66855 w 2060611"/>
                  <a:gd name="connsiteY3" fmla="*/ 1648887 h 2774733"/>
                  <a:gd name="connsiteX4" fmla="*/ 5085 w 2060611"/>
                  <a:gd name="connsiteY4" fmla="*/ 1446984 h 2774733"/>
                  <a:gd name="connsiteX5" fmla="*/ 117 w 2060611"/>
                  <a:gd name="connsiteY5" fmla="*/ 1390594 h 2774733"/>
                  <a:gd name="connsiteX6" fmla="*/ 0 w 2060611"/>
                  <a:gd name="connsiteY6" fmla="*/ 1389932 h 2774733"/>
                  <a:gd name="connsiteX7" fmla="*/ 407391 w 2060611"/>
                  <a:gd name="connsiteY7" fmla="*/ 0 h 2774733"/>
                  <a:gd name="connsiteX8" fmla="*/ 409165 w 2060611"/>
                  <a:gd name="connsiteY8" fmla="*/ 1379874 h 2774733"/>
                  <a:gd name="connsiteX9" fmla="*/ 407598 w 2060611"/>
                  <a:gd name="connsiteY9" fmla="*/ 1373282 h 2774733"/>
                  <a:gd name="connsiteX10" fmla="*/ 407517 w 2060611"/>
                  <a:gd name="connsiteY10" fmla="*/ 1386090 h 2774733"/>
                  <a:gd name="connsiteX11" fmla="*/ 464772 w 2060611"/>
                  <a:gd name="connsiteY11" fmla="*/ 1485260 h 2774733"/>
                  <a:gd name="connsiteX12" fmla="*/ 1965744 w 2060611"/>
                  <a:gd name="connsiteY12" fmla="*/ 2357178 h 2774733"/>
                  <a:gd name="connsiteX13" fmla="*/ 1966088 w 2060611"/>
                  <a:gd name="connsiteY13" fmla="*/ 2357570 h 2774733"/>
                  <a:gd name="connsiteX14" fmla="*/ 1988129 w 2060611"/>
                  <a:gd name="connsiteY14" fmla="*/ 2351383 h 2774733"/>
                  <a:gd name="connsiteX0" fmla="*/ 1988129 w 2060611"/>
                  <a:gd name="connsiteY0" fmla="*/ 978101 h 1401451"/>
                  <a:gd name="connsiteX1" fmla="*/ 1799088 w 2060611"/>
                  <a:gd name="connsiteY1" fmla="*/ 1346143 h 1401451"/>
                  <a:gd name="connsiteX2" fmla="*/ 257741 w 2060611"/>
                  <a:gd name="connsiteY2" fmla="*/ 462945 h 1401451"/>
                  <a:gd name="connsiteX3" fmla="*/ 66855 w 2060611"/>
                  <a:gd name="connsiteY3" fmla="*/ 275605 h 1401451"/>
                  <a:gd name="connsiteX4" fmla="*/ 5085 w 2060611"/>
                  <a:gd name="connsiteY4" fmla="*/ 73702 h 1401451"/>
                  <a:gd name="connsiteX5" fmla="*/ 117 w 2060611"/>
                  <a:gd name="connsiteY5" fmla="*/ 17312 h 1401451"/>
                  <a:gd name="connsiteX6" fmla="*/ 0 w 2060611"/>
                  <a:gd name="connsiteY6" fmla="*/ 16650 h 1401451"/>
                  <a:gd name="connsiteX7" fmla="*/ 409165 w 2060611"/>
                  <a:gd name="connsiteY7" fmla="*/ 6592 h 1401451"/>
                  <a:gd name="connsiteX8" fmla="*/ 407598 w 2060611"/>
                  <a:gd name="connsiteY8" fmla="*/ 0 h 1401451"/>
                  <a:gd name="connsiteX9" fmla="*/ 407517 w 2060611"/>
                  <a:gd name="connsiteY9" fmla="*/ 12808 h 1401451"/>
                  <a:gd name="connsiteX10" fmla="*/ 464772 w 2060611"/>
                  <a:gd name="connsiteY10" fmla="*/ 111978 h 1401451"/>
                  <a:gd name="connsiteX11" fmla="*/ 1965744 w 2060611"/>
                  <a:gd name="connsiteY11" fmla="*/ 983896 h 1401451"/>
                  <a:gd name="connsiteX12" fmla="*/ 1966088 w 2060611"/>
                  <a:gd name="connsiteY12" fmla="*/ 984288 h 1401451"/>
                  <a:gd name="connsiteX13" fmla="*/ 1988129 w 2060611"/>
                  <a:gd name="connsiteY13" fmla="*/ 978101 h 1401451"/>
                  <a:gd name="connsiteX0" fmla="*/ 1988129 w 2060611"/>
                  <a:gd name="connsiteY0" fmla="*/ 978336 h 1401686"/>
                  <a:gd name="connsiteX1" fmla="*/ 1799088 w 2060611"/>
                  <a:gd name="connsiteY1" fmla="*/ 1346378 h 1401686"/>
                  <a:gd name="connsiteX2" fmla="*/ 257741 w 2060611"/>
                  <a:gd name="connsiteY2" fmla="*/ 463180 h 1401686"/>
                  <a:gd name="connsiteX3" fmla="*/ 66855 w 2060611"/>
                  <a:gd name="connsiteY3" fmla="*/ 275840 h 1401686"/>
                  <a:gd name="connsiteX4" fmla="*/ 5085 w 2060611"/>
                  <a:gd name="connsiteY4" fmla="*/ 73937 h 1401686"/>
                  <a:gd name="connsiteX5" fmla="*/ 117 w 2060611"/>
                  <a:gd name="connsiteY5" fmla="*/ 17547 h 1401686"/>
                  <a:gd name="connsiteX6" fmla="*/ 0 w 2060611"/>
                  <a:gd name="connsiteY6" fmla="*/ 16885 h 1401686"/>
                  <a:gd name="connsiteX7" fmla="*/ 409165 w 2060611"/>
                  <a:gd name="connsiteY7" fmla="*/ 6827 h 1401686"/>
                  <a:gd name="connsiteX8" fmla="*/ 407598 w 2060611"/>
                  <a:gd name="connsiteY8" fmla="*/ 235 h 1401686"/>
                  <a:gd name="connsiteX9" fmla="*/ 464772 w 2060611"/>
                  <a:gd name="connsiteY9" fmla="*/ 112213 h 1401686"/>
                  <a:gd name="connsiteX10" fmla="*/ 1965744 w 2060611"/>
                  <a:gd name="connsiteY10" fmla="*/ 984131 h 1401686"/>
                  <a:gd name="connsiteX11" fmla="*/ 1966088 w 2060611"/>
                  <a:gd name="connsiteY11" fmla="*/ 984523 h 1401686"/>
                  <a:gd name="connsiteX12" fmla="*/ 1988129 w 2060611"/>
                  <a:gd name="connsiteY12" fmla="*/ 978336 h 1401686"/>
                  <a:gd name="connsiteX0" fmla="*/ 1988129 w 2060611"/>
                  <a:gd name="connsiteY0" fmla="*/ 971509 h 1394859"/>
                  <a:gd name="connsiteX1" fmla="*/ 1799088 w 2060611"/>
                  <a:gd name="connsiteY1" fmla="*/ 1339551 h 1394859"/>
                  <a:gd name="connsiteX2" fmla="*/ 257741 w 2060611"/>
                  <a:gd name="connsiteY2" fmla="*/ 456353 h 1394859"/>
                  <a:gd name="connsiteX3" fmla="*/ 66855 w 2060611"/>
                  <a:gd name="connsiteY3" fmla="*/ 269013 h 1394859"/>
                  <a:gd name="connsiteX4" fmla="*/ 5085 w 2060611"/>
                  <a:gd name="connsiteY4" fmla="*/ 67110 h 1394859"/>
                  <a:gd name="connsiteX5" fmla="*/ 117 w 2060611"/>
                  <a:gd name="connsiteY5" fmla="*/ 10720 h 1394859"/>
                  <a:gd name="connsiteX6" fmla="*/ 0 w 2060611"/>
                  <a:gd name="connsiteY6" fmla="*/ 10058 h 1394859"/>
                  <a:gd name="connsiteX7" fmla="*/ 409165 w 2060611"/>
                  <a:gd name="connsiteY7" fmla="*/ 0 h 1394859"/>
                  <a:gd name="connsiteX8" fmla="*/ 464772 w 2060611"/>
                  <a:gd name="connsiteY8" fmla="*/ 105386 h 1394859"/>
                  <a:gd name="connsiteX9" fmla="*/ 1965744 w 2060611"/>
                  <a:gd name="connsiteY9" fmla="*/ 977304 h 1394859"/>
                  <a:gd name="connsiteX10" fmla="*/ 1966088 w 2060611"/>
                  <a:gd name="connsiteY10" fmla="*/ 977696 h 1394859"/>
                  <a:gd name="connsiteX11" fmla="*/ 1988129 w 2060611"/>
                  <a:gd name="connsiteY11" fmla="*/ 971509 h 1394859"/>
                  <a:gd name="connsiteX0" fmla="*/ 1988129 w 2060611"/>
                  <a:gd name="connsiteY0" fmla="*/ 961451 h 1384801"/>
                  <a:gd name="connsiteX1" fmla="*/ 1799088 w 2060611"/>
                  <a:gd name="connsiteY1" fmla="*/ 1329493 h 1384801"/>
                  <a:gd name="connsiteX2" fmla="*/ 257741 w 2060611"/>
                  <a:gd name="connsiteY2" fmla="*/ 446295 h 1384801"/>
                  <a:gd name="connsiteX3" fmla="*/ 66855 w 2060611"/>
                  <a:gd name="connsiteY3" fmla="*/ 258955 h 1384801"/>
                  <a:gd name="connsiteX4" fmla="*/ 5085 w 2060611"/>
                  <a:gd name="connsiteY4" fmla="*/ 57052 h 1384801"/>
                  <a:gd name="connsiteX5" fmla="*/ 117 w 2060611"/>
                  <a:gd name="connsiteY5" fmla="*/ 662 h 1384801"/>
                  <a:gd name="connsiteX6" fmla="*/ 0 w 2060611"/>
                  <a:gd name="connsiteY6" fmla="*/ 0 h 1384801"/>
                  <a:gd name="connsiteX7" fmla="*/ 464772 w 2060611"/>
                  <a:gd name="connsiteY7" fmla="*/ 95328 h 1384801"/>
                  <a:gd name="connsiteX8" fmla="*/ 1965744 w 2060611"/>
                  <a:gd name="connsiteY8" fmla="*/ 967246 h 1384801"/>
                  <a:gd name="connsiteX9" fmla="*/ 1966088 w 2060611"/>
                  <a:gd name="connsiteY9" fmla="*/ 967638 h 1384801"/>
                  <a:gd name="connsiteX10" fmla="*/ 1988129 w 2060611"/>
                  <a:gd name="connsiteY10" fmla="*/ 961451 h 1384801"/>
                  <a:gd name="connsiteX0" fmla="*/ 1988012 w 2060494"/>
                  <a:gd name="connsiteY0" fmla="*/ 971780 h 1395130"/>
                  <a:gd name="connsiteX1" fmla="*/ 1798971 w 2060494"/>
                  <a:gd name="connsiteY1" fmla="*/ 1339822 h 1395130"/>
                  <a:gd name="connsiteX2" fmla="*/ 257624 w 2060494"/>
                  <a:gd name="connsiteY2" fmla="*/ 456624 h 1395130"/>
                  <a:gd name="connsiteX3" fmla="*/ 66738 w 2060494"/>
                  <a:gd name="connsiteY3" fmla="*/ 269284 h 1395130"/>
                  <a:gd name="connsiteX4" fmla="*/ 4968 w 2060494"/>
                  <a:gd name="connsiteY4" fmla="*/ 67381 h 1395130"/>
                  <a:gd name="connsiteX5" fmla="*/ 0 w 2060494"/>
                  <a:gd name="connsiteY5" fmla="*/ 10991 h 1395130"/>
                  <a:gd name="connsiteX6" fmla="*/ 464655 w 2060494"/>
                  <a:gd name="connsiteY6" fmla="*/ 105657 h 1395130"/>
                  <a:gd name="connsiteX7" fmla="*/ 1965627 w 2060494"/>
                  <a:gd name="connsiteY7" fmla="*/ 977575 h 1395130"/>
                  <a:gd name="connsiteX8" fmla="*/ 1965971 w 2060494"/>
                  <a:gd name="connsiteY8" fmla="*/ 977967 h 1395130"/>
                  <a:gd name="connsiteX9" fmla="*/ 1988012 w 2060494"/>
                  <a:gd name="connsiteY9" fmla="*/ 971780 h 1395130"/>
                  <a:gd name="connsiteX0" fmla="*/ 2148032 w 2148764"/>
                  <a:gd name="connsiteY0" fmla="*/ 1078460 h 1405094"/>
                  <a:gd name="connsiteX1" fmla="*/ 1798971 w 2148764"/>
                  <a:gd name="connsiteY1" fmla="*/ 1339822 h 1405094"/>
                  <a:gd name="connsiteX2" fmla="*/ 257624 w 2148764"/>
                  <a:gd name="connsiteY2" fmla="*/ 456624 h 1405094"/>
                  <a:gd name="connsiteX3" fmla="*/ 66738 w 2148764"/>
                  <a:gd name="connsiteY3" fmla="*/ 269284 h 1405094"/>
                  <a:gd name="connsiteX4" fmla="*/ 4968 w 2148764"/>
                  <a:gd name="connsiteY4" fmla="*/ 67381 h 1405094"/>
                  <a:gd name="connsiteX5" fmla="*/ 0 w 2148764"/>
                  <a:gd name="connsiteY5" fmla="*/ 10991 h 1405094"/>
                  <a:gd name="connsiteX6" fmla="*/ 464655 w 2148764"/>
                  <a:gd name="connsiteY6" fmla="*/ 105657 h 1405094"/>
                  <a:gd name="connsiteX7" fmla="*/ 1965627 w 2148764"/>
                  <a:gd name="connsiteY7" fmla="*/ 977575 h 1405094"/>
                  <a:gd name="connsiteX8" fmla="*/ 1965971 w 2148764"/>
                  <a:gd name="connsiteY8" fmla="*/ 977967 h 1405094"/>
                  <a:gd name="connsiteX9" fmla="*/ 2148032 w 2148764"/>
                  <a:gd name="connsiteY9" fmla="*/ 1078460 h 1405094"/>
                  <a:gd name="connsiteX0" fmla="*/ 2125172 w 2132683"/>
                  <a:gd name="connsiteY0" fmla="*/ 926060 h 1391724"/>
                  <a:gd name="connsiteX1" fmla="*/ 1798971 w 2132683"/>
                  <a:gd name="connsiteY1" fmla="*/ 1339822 h 1391724"/>
                  <a:gd name="connsiteX2" fmla="*/ 257624 w 2132683"/>
                  <a:gd name="connsiteY2" fmla="*/ 456624 h 1391724"/>
                  <a:gd name="connsiteX3" fmla="*/ 66738 w 2132683"/>
                  <a:gd name="connsiteY3" fmla="*/ 269284 h 1391724"/>
                  <a:gd name="connsiteX4" fmla="*/ 4968 w 2132683"/>
                  <a:gd name="connsiteY4" fmla="*/ 67381 h 1391724"/>
                  <a:gd name="connsiteX5" fmla="*/ 0 w 2132683"/>
                  <a:gd name="connsiteY5" fmla="*/ 10991 h 1391724"/>
                  <a:gd name="connsiteX6" fmla="*/ 464655 w 2132683"/>
                  <a:gd name="connsiteY6" fmla="*/ 105657 h 1391724"/>
                  <a:gd name="connsiteX7" fmla="*/ 1965627 w 2132683"/>
                  <a:gd name="connsiteY7" fmla="*/ 977575 h 1391724"/>
                  <a:gd name="connsiteX8" fmla="*/ 1965971 w 2132683"/>
                  <a:gd name="connsiteY8" fmla="*/ 977967 h 1391724"/>
                  <a:gd name="connsiteX9" fmla="*/ 2125172 w 2132683"/>
                  <a:gd name="connsiteY9" fmla="*/ 926060 h 1391724"/>
                  <a:gd name="connsiteX0" fmla="*/ 2125172 w 2132683"/>
                  <a:gd name="connsiteY0" fmla="*/ 926060 h 1391724"/>
                  <a:gd name="connsiteX1" fmla="*/ 1798971 w 2132683"/>
                  <a:gd name="connsiteY1" fmla="*/ 1339822 h 1391724"/>
                  <a:gd name="connsiteX2" fmla="*/ 257624 w 2132683"/>
                  <a:gd name="connsiteY2" fmla="*/ 456624 h 1391724"/>
                  <a:gd name="connsiteX3" fmla="*/ 66738 w 2132683"/>
                  <a:gd name="connsiteY3" fmla="*/ 269284 h 1391724"/>
                  <a:gd name="connsiteX4" fmla="*/ 4968 w 2132683"/>
                  <a:gd name="connsiteY4" fmla="*/ 67381 h 1391724"/>
                  <a:gd name="connsiteX5" fmla="*/ 0 w 2132683"/>
                  <a:gd name="connsiteY5" fmla="*/ 10991 h 1391724"/>
                  <a:gd name="connsiteX6" fmla="*/ 464655 w 2132683"/>
                  <a:gd name="connsiteY6" fmla="*/ 105657 h 1391724"/>
                  <a:gd name="connsiteX7" fmla="*/ 1965627 w 2132683"/>
                  <a:gd name="connsiteY7" fmla="*/ 977575 h 1391724"/>
                  <a:gd name="connsiteX8" fmla="*/ 1965971 w 2132683"/>
                  <a:gd name="connsiteY8" fmla="*/ 977967 h 1391724"/>
                  <a:gd name="connsiteX9" fmla="*/ 2125172 w 2132683"/>
                  <a:gd name="connsiteY9" fmla="*/ 926060 h 1391724"/>
                  <a:gd name="connsiteX0" fmla="*/ 2041829 w 2084801"/>
                  <a:gd name="connsiteY0" fmla="*/ 904629 h 1390266"/>
                  <a:gd name="connsiteX1" fmla="*/ 1798971 w 2084801"/>
                  <a:gd name="connsiteY1" fmla="*/ 1339822 h 1390266"/>
                  <a:gd name="connsiteX2" fmla="*/ 257624 w 2084801"/>
                  <a:gd name="connsiteY2" fmla="*/ 456624 h 1390266"/>
                  <a:gd name="connsiteX3" fmla="*/ 66738 w 2084801"/>
                  <a:gd name="connsiteY3" fmla="*/ 269284 h 1390266"/>
                  <a:gd name="connsiteX4" fmla="*/ 4968 w 2084801"/>
                  <a:gd name="connsiteY4" fmla="*/ 67381 h 1390266"/>
                  <a:gd name="connsiteX5" fmla="*/ 0 w 2084801"/>
                  <a:gd name="connsiteY5" fmla="*/ 10991 h 1390266"/>
                  <a:gd name="connsiteX6" fmla="*/ 464655 w 2084801"/>
                  <a:gd name="connsiteY6" fmla="*/ 105657 h 1390266"/>
                  <a:gd name="connsiteX7" fmla="*/ 1965627 w 2084801"/>
                  <a:gd name="connsiteY7" fmla="*/ 977575 h 1390266"/>
                  <a:gd name="connsiteX8" fmla="*/ 1965971 w 2084801"/>
                  <a:gd name="connsiteY8" fmla="*/ 977967 h 1390266"/>
                  <a:gd name="connsiteX9" fmla="*/ 2041829 w 2084801"/>
                  <a:gd name="connsiteY9" fmla="*/ 904629 h 1390266"/>
                  <a:gd name="connsiteX0" fmla="*/ 2041829 w 2084801"/>
                  <a:gd name="connsiteY0" fmla="*/ 904629 h 1390266"/>
                  <a:gd name="connsiteX1" fmla="*/ 1798971 w 2084801"/>
                  <a:gd name="connsiteY1" fmla="*/ 1339822 h 1390266"/>
                  <a:gd name="connsiteX2" fmla="*/ 257624 w 2084801"/>
                  <a:gd name="connsiteY2" fmla="*/ 456624 h 1390266"/>
                  <a:gd name="connsiteX3" fmla="*/ 66738 w 2084801"/>
                  <a:gd name="connsiteY3" fmla="*/ 269284 h 1390266"/>
                  <a:gd name="connsiteX4" fmla="*/ 4968 w 2084801"/>
                  <a:gd name="connsiteY4" fmla="*/ 67381 h 1390266"/>
                  <a:gd name="connsiteX5" fmla="*/ 0 w 2084801"/>
                  <a:gd name="connsiteY5" fmla="*/ 10991 h 1390266"/>
                  <a:gd name="connsiteX6" fmla="*/ 464655 w 2084801"/>
                  <a:gd name="connsiteY6" fmla="*/ 105657 h 1390266"/>
                  <a:gd name="connsiteX7" fmla="*/ 1965627 w 2084801"/>
                  <a:gd name="connsiteY7" fmla="*/ 977575 h 1390266"/>
                  <a:gd name="connsiteX8" fmla="*/ 1965971 w 2084801"/>
                  <a:gd name="connsiteY8" fmla="*/ 977967 h 1390266"/>
                  <a:gd name="connsiteX9" fmla="*/ 2041829 w 2084801"/>
                  <a:gd name="connsiteY9" fmla="*/ 904629 h 1390266"/>
                  <a:gd name="connsiteX0" fmla="*/ 2032304 w 2080180"/>
                  <a:gd name="connsiteY0" fmla="*/ 930823 h 1392059"/>
                  <a:gd name="connsiteX1" fmla="*/ 1798971 w 2080180"/>
                  <a:gd name="connsiteY1" fmla="*/ 1339822 h 1392059"/>
                  <a:gd name="connsiteX2" fmla="*/ 257624 w 2080180"/>
                  <a:gd name="connsiteY2" fmla="*/ 456624 h 1392059"/>
                  <a:gd name="connsiteX3" fmla="*/ 66738 w 2080180"/>
                  <a:gd name="connsiteY3" fmla="*/ 269284 h 1392059"/>
                  <a:gd name="connsiteX4" fmla="*/ 4968 w 2080180"/>
                  <a:gd name="connsiteY4" fmla="*/ 67381 h 1392059"/>
                  <a:gd name="connsiteX5" fmla="*/ 0 w 2080180"/>
                  <a:gd name="connsiteY5" fmla="*/ 10991 h 1392059"/>
                  <a:gd name="connsiteX6" fmla="*/ 464655 w 2080180"/>
                  <a:gd name="connsiteY6" fmla="*/ 105657 h 1392059"/>
                  <a:gd name="connsiteX7" fmla="*/ 1965627 w 2080180"/>
                  <a:gd name="connsiteY7" fmla="*/ 977575 h 1392059"/>
                  <a:gd name="connsiteX8" fmla="*/ 1965971 w 2080180"/>
                  <a:gd name="connsiteY8" fmla="*/ 977967 h 1392059"/>
                  <a:gd name="connsiteX9" fmla="*/ 2032304 w 2080180"/>
                  <a:gd name="connsiteY9" fmla="*/ 930823 h 1392059"/>
                  <a:gd name="connsiteX0" fmla="*/ 2032304 w 2082788"/>
                  <a:gd name="connsiteY0" fmla="*/ 930823 h 1390071"/>
                  <a:gd name="connsiteX1" fmla="*/ 1798971 w 2082788"/>
                  <a:gd name="connsiteY1" fmla="*/ 1339822 h 1390071"/>
                  <a:gd name="connsiteX2" fmla="*/ 257624 w 2082788"/>
                  <a:gd name="connsiteY2" fmla="*/ 456624 h 1390071"/>
                  <a:gd name="connsiteX3" fmla="*/ 66738 w 2082788"/>
                  <a:gd name="connsiteY3" fmla="*/ 269284 h 1390071"/>
                  <a:gd name="connsiteX4" fmla="*/ 4968 w 2082788"/>
                  <a:gd name="connsiteY4" fmla="*/ 67381 h 1390071"/>
                  <a:gd name="connsiteX5" fmla="*/ 0 w 2082788"/>
                  <a:gd name="connsiteY5" fmla="*/ 10991 h 1390071"/>
                  <a:gd name="connsiteX6" fmla="*/ 464655 w 2082788"/>
                  <a:gd name="connsiteY6" fmla="*/ 105657 h 1390071"/>
                  <a:gd name="connsiteX7" fmla="*/ 1965627 w 2082788"/>
                  <a:gd name="connsiteY7" fmla="*/ 977575 h 1390071"/>
                  <a:gd name="connsiteX8" fmla="*/ 1965971 w 2082788"/>
                  <a:gd name="connsiteY8" fmla="*/ 977967 h 1390071"/>
                  <a:gd name="connsiteX9" fmla="*/ 2032304 w 2082788"/>
                  <a:gd name="connsiteY9" fmla="*/ 930823 h 1390071"/>
                  <a:gd name="connsiteX0" fmla="*/ 2032304 w 2082788"/>
                  <a:gd name="connsiteY0" fmla="*/ 930823 h 1390071"/>
                  <a:gd name="connsiteX1" fmla="*/ 1798971 w 2082788"/>
                  <a:gd name="connsiteY1" fmla="*/ 1339822 h 1390071"/>
                  <a:gd name="connsiteX2" fmla="*/ 257624 w 2082788"/>
                  <a:gd name="connsiteY2" fmla="*/ 456624 h 1390071"/>
                  <a:gd name="connsiteX3" fmla="*/ 66738 w 2082788"/>
                  <a:gd name="connsiteY3" fmla="*/ 269284 h 1390071"/>
                  <a:gd name="connsiteX4" fmla="*/ 4968 w 2082788"/>
                  <a:gd name="connsiteY4" fmla="*/ 67381 h 1390071"/>
                  <a:gd name="connsiteX5" fmla="*/ 0 w 2082788"/>
                  <a:gd name="connsiteY5" fmla="*/ 10991 h 1390071"/>
                  <a:gd name="connsiteX6" fmla="*/ 464655 w 2082788"/>
                  <a:gd name="connsiteY6" fmla="*/ 105657 h 1390071"/>
                  <a:gd name="connsiteX7" fmla="*/ 1965627 w 2082788"/>
                  <a:gd name="connsiteY7" fmla="*/ 977575 h 1390071"/>
                  <a:gd name="connsiteX8" fmla="*/ 1965971 w 2082788"/>
                  <a:gd name="connsiteY8" fmla="*/ 977967 h 1390071"/>
                  <a:gd name="connsiteX9" fmla="*/ 2032304 w 2082788"/>
                  <a:gd name="connsiteY9" fmla="*/ 930823 h 1390071"/>
                  <a:gd name="connsiteX0" fmla="*/ 2032304 w 2182712"/>
                  <a:gd name="connsiteY0" fmla="*/ 930823 h 1394196"/>
                  <a:gd name="connsiteX1" fmla="*/ 1798971 w 2182712"/>
                  <a:gd name="connsiteY1" fmla="*/ 1339822 h 1394196"/>
                  <a:gd name="connsiteX2" fmla="*/ 257624 w 2182712"/>
                  <a:gd name="connsiteY2" fmla="*/ 456624 h 1394196"/>
                  <a:gd name="connsiteX3" fmla="*/ 66738 w 2182712"/>
                  <a:gd name="connsiteY3" fmla="*/ 269284 h 1394196"/>
                  <a:gd name="connsiteX4" fmla="*/ 4968 w 2182712"/>
                  <a:gd name="connsiteY4" fmla="*/ 67381 h 1394196"/>
                  <a:gd name="connsiteX5" fmla="*/ 0 w 2182712"/>
                  <a:gd name="connsiteY5" fmla="*/ 10991 h 1394196"/>
                  <a:gd name="connsiteX6" fmla="*/ 464655 w 2182712"/>
                  <a:gd name="connsiteY6" fmla="*/ 105657 h 1394196"/>
                  <a:gd name="connsiteX7" fmla="*/ 1965627 w 2182712"/>
                  <a:gd name="connsiteY7" fmla="*/ 977575 h 1394196"/>
                  <a:gd name="connsiteX8" fmla="*/ 1965971 w 2182712"/>
                  <a:gd name="connsiteY8" fmla="*/ 977967 h 1394196"/>
                  <a:gd name="connsiteX9" fmla="*/ 2032304 w 2182712"/>
                  <a:gd name="connsiteY9" fmla="*/ 930823 h 1394196"/>
                  <a:gd name="connsiteX0" fmla="*/ 2032304 w 2182712"/>
                  <a:gd name="connsiteY0" fmla="*/ 930823 h 1394196"/>
                  <a:gd name="connsiteX1" fmla="*/ 1798971 w 2182712"/>
                  <a:gd name="connsiteY1" fmla="*/ 1339822 h 1394196"/>
                  <a:gd name="connsiteX2" fmla="*/ 257624 w 2182712"/>
                  <a:gd name="connsiteY2" fmla="*/ 456624 h 1394196"/>
                  <a:gd name="connsiteX3" fmla="*/ 66738 w 2182712"/>
                  <a:gd name="connsiteY3" fmla="*/ 269284 h 1394196"/>
                  <a:gd name="connsiteX4" fmla="*/ 4968 w 2182712"/>
                  <a:gd name="connsiteY4" fmla="*/ 67381 h 1394196"/>
                  <a:gd name="connsiteX5" fmla="*/ 0 w 2182712"/>
                  <a:gd name="connsiteY5" fmla="*/ 10991 h 1394196"/>
                  <a:gd name="connsiteX6" fmla="*/ 464655 w 2182712"/>
                  <a:gd name="connsiteY6" fmla="*/ 105657 h 1394196"/>
                  <a:gd name="connsiteX7" fmla="*/ 1965627 w 2182712"/>
                  <a:gd name="connsiteY7" fmla="*/ 977575 h 1394196"/>
                  <a:gd name="connsiteX8" fmla="*/ 1965971 w 2182712"/>
                  <a:gd name="connsiteY8" fmla="*/ 977967 h 1394196"/>
                  <a:gd name="connsiteX9" fmla="*/ 2032304 w 2182712"/>
                  <a:gd name="connsiteY9" fmla="*/ 930823 h 1394196"/>
                  <a:gd name="connsiteX0" fmla="*/ 2032304 w 2182712"/>
                  <a:gd name="connsiteY0" fmla="*/ 930823 h 1394196"/>
                  <a:gd name="connsiteX1" fmla="*/ 1798971 w 2182712"/>
                  <a:gd name="connsiteY1" fmla="*/ 1339822 h 1394196"/>
                  <a:gd name="connsiteX2" fmla="*/ 257624 w 2182712"/>
                  <a:gd name="connsiteY2" fmla="*/ 456624 h 1394196"/>
                  <a:gd name="connsiteX3" fmla="*/ 66738 w 2182712"/>
                  <a:gd name="connsiteY3" fmla="*/ 269284 h 1394196"/>
                  <a:gd name="connsiteX4" fmla="*/ 4968 w 2182712"/>
                  <a:gd name="connsiteY4" fmla="*/ 67381 h 1394196"/>
                  <a:gd name="connsiteX5" fmla="*/ 0 w 2182712"/>
                  <a:gd name="connsiteY5" fmla="*/ 10991 h 1394196"/>
                  <a:gd name="connsiteX6" fmla="*/ 464655 w 2182712"/>
                  <a:gd name="connsiteY6" fmla="*/ 105657 h 1394196"/>
                  <a:gd name="connsiteX7" fmla="*/ 1965627 w 2182712"/>
                  <a:gd name="connsiteY7" fmla="*/ 977575 h 1394196"/>
                  <a:gd name="connsiteX8" fmla="*/ 1965971 w 2182712"/>
                  <a:gd name="connsiteY8" fmla="*/ 977967 h 1394196"/>
                  <a:gd name="connsiteX9" fmla="*/ 2032304 w 2182712"/>
                  <a:gd name="connsiteY9" fmla="*/ 930823 h 1394196"/>
                  <a:gd name="connsiteX0" fmla="*/ 2032304 w 2170584"/>
                  <a:gd name="connsiteY0" fmla="*/ 930823 h 1395770"/>
                  <a:gd name="connsiteX1" fmla="*/ 1798971 w 2170584"/>
                  <a:gd name="connsiteY1" fmla="*/ 1339822 h 1395770"/>
                  <a:gd name="connsiteX2" fmla="*/ 257624 w 2170584"/>
                  <a:gd name="connsiteY2" fmla="*/ 456624 h 1395770"/>
                  <a:gd name="connsiteX3" fmla="*/ 66738 w 2170584"/>
                  <a:gd name="connsiteY3" fmla="*/ 269284 h 1395770"/>
                  <a:gd name="connsiteX4" fmla="*/ 4968 w 2170584"/>
                  <a:gd name="connsiteY4" fmla="*/ 67381 h 1395770"/>
                  <a:gd name="connsiteX5" fmla="*/ 0 w 2170584"/>
                  <a:gd name="connsiteY5" fmla="*/ 10991 h 1395770"/>
                  <a:gd name="connsiteX6" fmla="*/ 464655 w 2170584"/>
                  <a:gd name="connsiteY6" fmla="*/ 105657 h 1395770"/>
                  <a:gd name="connsiteX7" fmla="*/ 1965627 w 2170584"/>
                  <a:gd name="connsiteY7" fmla="*/ 977575 h 1395770"/>
                  <a:gd name="connsiteX8" fmla="*/ 1965971 w 2170584"/>
                  <a:gd name="connsiteY8" fmla="*/ 977967 h 1395770"/>
                  <a:gd name="connsiteX9" fmla="*/ 2032304 w 2170584"/>
                  <a:gd name="connsiteY9" fmla="*/ 930823 h 1395770"/>
                  <a:gd name="connsiteX0" fmla="*/ 2032304 w 2246364"/>
                  <a:gd name="connsiteY0" fmla="*/ 930823 h 1396680"/>
                  <a:gd name="connsiteX1" fmla="*/ 1798971 w 2246364"/>
                  <a:gd name="connsiteY1" fmla="*/ 1339822 h 1396680"/>
                  <a:gd name="connsiteX2" fmla="*/ 257624 w 2246364"/>
                  <a:gd name="connsiteY2" fmla="*/ 456624 h 1396680"/>
                  <a:gd name="connsiteX3" fmla="*/ 66738 w 2246364"/>
                  <a:gd name="connsiteY3" fmla="*/ 269284 h 1396680"/>
                  <a:gd name="connsiteX4" fmla="*/ 4968 w 2246364"/>
                  <a:gd name="connsiteY4" fmla="*/ 67381 h 1396680"/>
                  <a:gd name="connsiteX5" fmla="*/ 0 w 2246364"/>
                  <a:gd name="connsiteY5" fmla="*/ 10991 h 1396680"/>
                  <a:gd name="connsiteX6" fmla="*/ 464655 w 2246364"/>
                  <a:gd name="connsiteY6" fmla="*/ 105657 h 1396680"/>
                  <a:gd name="connsiteX7" fmla="*/ 1965627 w 2246364"/>
                  <a:gd name="connsiteY7" fmla="*/ 977575 h 1396680"/>
                  <a:gd name="connsiteX8" fmla="*/ 1965971 w 2246364"/>
                  <a:gd name="connsiteY8" fmla="*/ 977967 h 1396680"/>
                  <a:gd name="connsiteX9" fmla="*/ 2032304 w 2246364"/>
                  <a:gd name="connsiteY9" fmla="*/ 930823 h 1396680"/>
                  <a:gd name="connsiteX0" fmla="*/ 2027335 w 2241395"/>
                  <a:gd name="connsiteY0" fmla="*/ 863442 h 1329299"/>
                  <a:gd name="connsiteX1" fmla="*/ 1794002 w 2241395"/>
                  <a:gd name="connsiteY1" fmla="*/ 1272441 h 1329299"/>
                  <a:gd name="connsiteX2" fmla="*/ 252655 w 2241395"/>
                  <a:gd name="connsiteY2" fmla="*/ 389243 h 1329299"/>
                  <a:gd name="connsiteX3" fmla="*/ 61769 w 2241395"/>
                  <a:gd name="connsiteY3" fmla="*/ 201903 h 1329299"/>
                  <a:gd name="connsiteX4" fmla="*/ -1 w 2241395"/>
                  <a:gd name="connsiteY4" fmla="*/ 0 h 1329299"/>
                  <a:gd name="connsiteX5" fmla="*/ 459686 w 2241395"/>
                  <a:gd name="connsiteY5" fmla="*/ 38276 h 1329299"/>
                  <a:gd name="connsiteX6" fmla="*/ 1960658 w 2241395"/>
                  <a:gd name="connsiteY6" fmla="*/ 910194 h 1329299"/>
                  <a:gd name="connsiteX7" fmla="*/ 1961002 w 2241395"/>
                  <a:gd name="connsiteY7" fmla="*/ 910586 h 1329299"/>
                  <a:gd name="connsiteX8" fmla="*/ 2027335 w 2241395"/>
                  <a:gd name="connsiteY8" fmla="*/ 863442 h 1329299"/>
                  <a:gd name="connsiteX0" fmla="*/ 1970427 w 2184487"/>
                  <a:gd name="connsiteY0" fmla="*/ 859107 h 1324964"/>
                  <a:gd name="connsiteX1" fmla="*/ 1737094 w 2184487"/>
                  <a:gd name="connsiteY1" fmla="*/ 1268106 h 1324964"/>
                  <a:gd name="connsiteX2" fmla="*/ 195747 w 2184487"/>
                  <a:gd name="connsiteY2" fmla="*/ 384908 h 1324964"/>
                  <a:gd name="connsiteX3" fmla="*/ 4861 w 2184487"/>
                  <a:gd name="connsiteY3" fmla="*/ 197568 h 1324964"/>
                  <a:gd name="connsiteX4" fmla="*/ 402778 w 2184487"/>
                  <a:gd name="connsiteY4" fmla="*/ 33941 h 1324964"/>
                  <a:gd name="connsiteX5" fmla="*/ 1903750 w 2184487"/>
                  <a:gd name="connsiteY5" fmla="*/ 905859 h 1324964"/>
                  <a:gd name="connsiteX6" fmla="*/ 1904094 w 2184487"/>
                  <a:gd name="connsiteY6" fmla="*/ 906251 h 1324964"/>
                  <a:gd name="connsiteX7" fmla="*/ 1970427 w 2184487"/>
                  <a:gd name="connsiteY7" fmla="*/ 859107 h 1324964"/>
                  <a:gd name="connsiteX0" fmla="*/ 1883126 w 2097186"/>
                  <a:gd name="connsiteY0" fmla="*/ 843878 h 1309735"/>
                  <a:gd name="connsiteX1" fmla="*/ 1649793 w 2097186"/>
                  <a:gd name="connsiteY1" fmla="*/ 1252877 h 1309735"/>
                  <a:gd name="connsiteX2" fmla="*/ 108446 w 2097186"/>
                  <a:gd name="connsiteY2" fmla="*/ 369679 h 1309735"/>
                  <a:gd name="connsiteX3" fmla="*/ 315477 w 2097186"/>
                  <a:gd name="connsiteY3" fmla="*/ 18712 h 1309735"/>
                  <a:gd name="connsiteX4" fmla="*/ 1816449 w 2097186"/>
                  <a:gd name="connsiteY4" fmla="*/ 890630 h 1309735"/>
                  <a:gd name="connsiteX5" fmla="*/ 1816793 w 2097186"/>
                  <a:gd name="connsiteY5" fmla="*/ 891022 h 1309735"/>
                  <a:gd name="connsiteX6" fmla="*/ 1883126 w 2097186"/>
                  <a:gd name="connsiteY6" fmla="*/ 843878 h 1309735"/>
                  <a:gd name="connsiteX0" fmla="*/ 1845247 w 2059307"/>
                  <a:gd name="connsiteY0" fmla="*/ 843878 h 1309735"/>
                  <a:gd name="connsiteX1" fmla="*/ 1611914 w 2059307"/>
                  <a:gd name="connsiteY1" fmla="*/ 1252877 h 1309735"/>
                  <a:gd name="connsiteX2" fmla="*/ 70567 w 2059307"/>
                  <a:gd name="connsiteY2" fmla="*/ 369679 h 1309735"/>
                  <a:gd name="connsiteX3" fmla="*/ 277598 w 2059307"/>
                  <a:gd name="connsiteY3" fmla="*/ 18712 h 1309735"/>
                  <a:gd name="connsiteX4" fmla="*/ 1778570 w 2059307"/>
                  <a:gd name="connsiteY4" fmla="*/ 890630 h 1309735"/>
                  <a:gd name="connsiteX5" fmla="*/ 1778914 w 2059307"/>
                  <a:gd name="connsiteY5" fmla="*/ 891022 h 1309735"/>
                  <a:gd name="connsiteX6" fmla="*/ 1845247 w 2059307"/>
                  <a:gd name="connsiteY6" fmla="*/ 843878 h 1309735"/>
                  <a:gd name="connsiteX0" fmla="*/ 1830999 w 2045059"/>
                  <a:gd name="connsiteY0" fmla="*/ 841034 h 1306891"/>
                  <a:gd name="connsiteX1" fmla="*/ 1597666 w 2045059"/>
                  <a:gd name="connsiteY1" fmla="*/ 1250033 h 1306891"/>
                  <a:gd name="connsiteX2" fmla="*/ 56319 w 2045059"/>
                  <a:gd name="connsiteY2" fmla="*/ 366835 h 1306891"/>
                  <a:gd name="connsiteX3" fmla="*/ 263350 w 2045059"/>
                  <a:gd name="connsiteY3" fmla="*/ 15868 h 1306891"/>
                  <a:gd name="connsiteX4" fmla="*/ 1764322 w 2045059"/>
                  <a:gd name="connsiteY4" fmla="*/ 887786 h 1306891"/>
                  <a:gd name="connsiteX5" fmla="*/ 1764666 w 2045059"/>
                  <a:gd name="connsiteY5" fmla="*/ 888178 h 1306891"/>
                  <a:gd name="connsiteX6" fmla="*/ 1830999 w 2045059"/>
                  <a:gd name="connsiteY6" fmla="*/ 841034 h 1306891"/>
                  <a:gd name="connsiteX0" fmla="*/ 1838093 w 2052153"/>
                  <a:gd name="connsiteY0" fmla="*/ 848193 h 1314050"/>
                  <a:gd name="connsiteX1" fmla="*/ 1604760 w 2052153"/>
                  <a:gd name="connsiteY1" fmla="*/ 1257192 h 1314050"/>
                  <a:gd name="connsiteX2" fmla="*/ 63413 w 2052153"/>
                  <a:gd name="connsiteY2" fmla="*/ 373994 h 1314050"/>
                  <a:gd name="connsiteX3" fmla="*/ 270444 w 2052153"/>
                  <a:gd name="connsiteY3" fmla="*/ 23027 h 1314050"/>
                  <a:gd name="connsiteX4" fmla="*/ 1771416 w 2052153"/>
                  <a:gd name="connsiteY4" fmla="*/ 894945 h 1314050"/>
                  <a:gd name="connsiteX5" fmla="*/ 1771760 w 2052153"/>
                  <a:gd name="connsiteY5" fmla="*/ 895337 h 1314050"/>
                  <a:gd name="connsiteX6" fmla="*/ 1838093 w 2052153"/>
                  <a:gd name="connsiteY6" fmla="*/ 848193 h 131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52153" h="1314050">
                    <a:moveTo>
                      <a:pt x="1838093" y="848193"/>
                    </a:moveTo>
                    <a:cubicBezTo>
                      <a:pt x="2212691" y="972797"/>
                      <a:pt x="2070958" y="1482751"/>
                      <a:pt x="1604760" y="1257192"/>
                    </a:cubicBezTo>
                    <a:lnTo>
                      <a:pt x="63413" y="373994"/>
                    </a:lnTo>
                    <a:cubicBezTo>
                      <a:pt x="-123580" y="227284"/>
                      <a:pt x="150936" y="-87390"/>
                      <a:pt x="270444" y="23027"/>
                    </a:cubicBezTo>
                    <a:lnTo>
                      <a:pt x="1771416" y="894945"/>
                    </a:lnTo>
                    <a:lnTo>
                      <a:pt x="1771760" y="895337"/>
                    </a:lnTo>
                    <a:cubicBezTo>
                      <a:pt x="1824827" y="878035"/>
                      <a:pt x="1811220" y="886925"/>
                      <a:pt x="1838093" y="848193"/>
                    </a:cubicBezTo>
                    <a:close/>
                  </a:path>
                </a:pathLst>
              </a:custGeom>
              <a:gradFill flip="none" rotWithShape="1">
                <a:gsLst>
                  <a:gs pos="58000">
                    <a:schemeClr val="accent2">
                      <a:lumMod val="0"/>
                      <a:lumOff val="100000"/>
                      <a:alpha val="0"/>
                    </a:schemeClr>
                  </a:gs>
                  <a:gs pos="45000">
                    <a:schemeClr val="accent4"/>
                  </a:gs>
                </a:gsLst>
                <a:lin ang="72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92" name="Freeform: Shape 791">
                <a:extLst>
                  <a:ext uri="{FF2B5EF4-FFF2-40B4-BE49-F238E27FC236}">
                    <a16:creationId xmlns:a16="http://schemas.microsoft.com/office/drawing/2014/main" id="{1B916500-55A5-4872-88CA-0962F9011AF9}"/>
                  </a:ext>
                </a:extLst>
              </p:cNvPr>
              <p:cNvSpPr/>
              <p:nvPr/>
            </p:nvSpPr>
            <p:spPr bwMode="gray">
              <a:xfrm flipH="1" flipV="1">
                <a:off x="-3473355" y="3502137"/>
                <a:ext cx="2139562" cy="1277355"/>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206180 w 4212730"/>
                  <a:gd name="connsiteY9" fmla="*/ 2392022 h 5285288"/>
                  <a:gd name="connsiteX10" fmla="*/ 407391 w 4212730"/>
                  <a:gd name="connsiteY10" fmla="*/ 2508175 h 5285288"/>
                  <a:gd name="connsiteX11" fmla="*/ 406100 w 4212730"/>
                  <a:gd name="connsiteY11" fmla="*/ 2572658 h 5285288"/>
                  <a:gd name="connsiteX12" fmla="*/ 409165 w 4212730"/>
                  <a:gd name="connsiteY12" fmla="*/ 3888049 h 5285288"/>
                  <a:gd name="connsiteX13" fmla="*/ 407598 w 4212730"/>
                  <a:gd name="connsiteY13" fmla="*/ 3881457 h 5285288"/>
                  <a:gd name="connsiteX14" fmla="*/ 407517 w 4212730"/>
                  <a:gd name="connsiteY14" fmla="*/ 3894265 h 5285288"/>
                  <a:gd name="connsiteX15" fmla="*/ 464772 w 4212730"/>
                  <a:gd name="connsiteY15" fmla="*/ 3993435 h 5285288"/>
                  <a:gd name="connsiteX16" fmla="*/ 1965744 w 4212730"/>
                  <a:gd name="connsiteY16" fmla="*/ 4865353 h 5285288"/>
                  <a:gd name="connsiteX17" fmla="*/ 1966088 w 4212730"/>
                  <a:gd name="connsiteY17" fmla="*/ 4865745 h 5285288"/>
                  <a:gd name="connsiteX18" fmla="*/ 1988129 w 4212730"/>
                  <a:gd name="connsiteY18" fmla="*/ 4859558 h 5285288"/>
                  <a:gd name="connsiteX19" fmla="*/ 2034209 w 4212730"/>
                  <a:gd name="connsiteY19" fmla="*/ 4799004 h 5285288"/>
                  <a:gd name="connsiteX20" fmla="*/ 2036053 w 4212730"/>
                  <a:gd name="connsiteY20" fmla="*/ 4105978 h 5285288"/>
                  <a:gd name="connsiteX21" fmla="*/ 2038324 w 4212730"/>
                  <a:gd name="connsiteY21" fmla="*/ 1054770 h 5285288"/>
                  <a:gd name="connsiteX22" fmla="*/ 2037139 w 4212730"/>
                  <a:gd name="connsiteY22" fmla="*/ 1017192 h 5285288"/>
                  <a:gd name="connsiteX23" fmla="*/ 2035104 w 4212730"/>
                  <a:gd name="connsiteY23" fmla="*/ 494424 h 5285288"/>
                  <a:gd name="connsiteX24" fmla="*/ 2080595 w 4212730"/>
                  <a:gd name="connsiteY24" fmla="*/ 171698 h 5285288"/>
                  <a:gd name="connsiteX25" fmla="*/ 2245202 w 4212730"/>
                  <a:gd name="connsiteY25" fmla="*/ 25112 h 5285288"/>
                  <a:gd name="connsiteX26" fmla="*/ 2444848 w 4212730"/>
                  <a:gd name="connsiteY26" fmla="*/ 3326 h 5285288"/>
                  <a:gd name="connsiteX27" fmla="*/ 2620552 w 4212730"/>
                  <a:gd name="connsiteY27" fmla="*/ 37548 h 5285288"/>
                  <a:gd name="connsiteX28" fmla="*/ 4171705 w 4212730"/>
                  <a:gd name="connsiteY28" fmla="*/ 924343 h 5285288"/>
                  <a:gd name="connsiteX29" fmla="*/ 4172662 w 4212730"/>
                  <a:gd name="connsiteY29" fmla="*/ 1149844 h 5285288"/>
                  <a:gd name="connsiteX30" fmla="*/ 3998697 w 4212730"/>
                  <a:gd name="connsiteY30" fmla="*/ 1269783 h 5285288"/>
                  <a:gd name="connsiteX31" fmla="*/ 3978850 w 4212730"/>
                  <a:gd name="connsiteY31" fmla="*/ 1262485 h 5285288"/>
                  <a:gd name="connsiteX32" fmla="*/ 2513375 w 4212730"/>
                  <a:gd name="connsiteY32" fmla="*/ 431577 h 5285288"/>
                  <a:gd name="connsiteX33" fmla="*/ 2513032 w 4212730"/>
                  <a:gd name="connsiteY33" fmla="*/ 431184 h 5285288"/>
                  <a:gd name="connsiteX34" fmla="*/ 2490877 w 4212730"/>
                  <a:gd name="connsiteY34" fmla="*/ 437405 h 5285288"/>
                  <a:gd name="connsiteX35" fmla="*/ 2448227 w 4212730"/>
                  <a:gd name="connsiteY35" fmla="*/ 539231 h 5285288"/>
                  <a:gd name="connsiteX36" fmla="*/ 2448222 w 4212730"/>
                  <a:gd name="connsiteY36" fmla="*/ 1065628 h 5285288"/>
                  <a:gd name="connsiteX37" fmla="*/ 2445445 w 4212730"/>
                  <a:gd name="connsiteY37" fmla="*/ 1081825 h 5285288"/>
                  <a:gd name="connsiteX38" fmla="*/ 2442619 w 4212730"/>
                  <a:gd name="connsiteY38" fmla="*/ 1858316 h 5285288"/>
                  <a:gd name="connsiteX39" fmla="*/ 2444476 w 4212730"/>
                  <a:gd name="connsiteY39" fmla="*/ 1861834 h 5285288"/>
                  <a:gd name="connsiteX40" fmla="*/ 2443809 w 4212730"/>
                  <a:gd name="connsiteY40" fmla="*/ 3038034 h 5285288"/>
                  <a:gd name="connsiteX41" fmla="*/ 2441669 w 4212730"/>
                  <a:gd name="connsiteY41" fmla="*/ 4802821 h 5285288"/>
                  <a:gd name="connsiteX42" fmla="*/ 2374871 w 4212730"/>
                  <a:gd name="connsiteY42" fmla="*/ 5061801 h 5285288"/>
                  <a:gd name="connsiteX43" fmla="*/ 2230903 w 4212730"/>
                  <a:gd name="connsiteY43" fmla="*/ 5216241 h 5285288"/>
                  <a:gd name="connsiteX44" fmla="*/ 2020267 w 4212730"/>
                  <a:gd name="connsiteY44" fmla="*/ 5284752 h 5285288"/>
                  <a:gd name="connsiteX45" fmla="*/ 1970713 w 4212730"/>
                  <a:gd name="connsiteY45"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206180 w 4212730"/>
                  <a:gd name="connsiteY8" fmla="*/ 2392022 h 5285288"/>
                  <a:gd name="connsiteX9" fmla="*/ 407391 w 4212730"/>
                  <a:gd name="connsiteY9" fmla="*/ 2508175 h 5285288"/>
                  <a:gd name="connsiteX10" fmla="*/ 406100 w 4212730"/>
                  <a:gd name="connsiteY10" fmla="*/ 2572658 h 5285288"/>
                  <a:gd name="connsiteX11" fmla="*/ 409165 w 4212730"/>
                  <a:gd name="connsiteY11" fmla="*/ 3888049 h 5285288"/>
                  <a:gd name="connsiteX12" fmla="*/ 407598 w 4212730"/>
                  <a:gd name="connsiteY12" fmla="*/ 3881457 h 5285288"/>
                  <a:gd name="connsiteX13" fmla="*/ 407517 w 4212730"/>
                  <a:gd name="connsiteY13" fmla="*/ 3894265 h 5285288"/>
                  <a:gd name="connsiteX14" fmla="*/ 464772 w 4212730"/>
                  <a:gd name="connsiteY14" fmla="*/ 3993435 h 5285288"/>
                  <a:gd name="connsiteX15" fmla="*/ 1965744 w 4212730"/>
                  <a:gd name="connsiteY15" fmla="*/ 4865353 h 5285288"/>
                  <a:gd name="connsiteX16" fmla="*/ 1966088 w 4212730"/>
                  <a:gd name="connsiteY16" fmla="*/ 4865745 h 5285288"/>
                  <a:gd name="connsiteX17" fmla="*/ 1988129 w 4212730"/>
                  <a:gd name="connsiteY17" fmla="*/ 4859558 h 5285288"/>
                  <a:gd name="connsiteX18" fmla="*/ 2034209 w 4212730"/>
                  <a:gd name="connsiteY18" fmla="*/ 4799004 h 5285288"/>
                  <a:gd name="connsiteX19" fmla="*/ 2036053 w 4212730"/>
                  <a:gd name="connsiteY19" fmla="*/ 4105978 h 5285288"/>
                  <a:gd name="connsiteX20" fmla="*/ 2038324 w 4212730"/>
                  <a:gd name="connsiteY20" fmla="*/ 1054770 h 5285288"/>
                  <a:gd name="connsiteX21" fmla="*/ 2037139 w 4212730"/>
                  <a:gd name="connsiteY21" fmla="*/ 1017192 h 5285288"/>
                  <a:gd name="connsiteX22" fmla="*/ 2035104 w 4212730"/>
                  <a:gd name="connsiteY22" fmla="*/ 494424 h 5285288"/>
                  <a:gd name="connsiteX23" fmla="*/ 2080595 w 4212730"/>
                  <a:gd name="connsiteY23" fmla="*/ 171698 h 5285288"/>
                  <a:gd name="connsiteX24" fmla="*/ 2245202 w 4212730"/>
                  <a:gd name="connsiteY24" fmla="*/ 25112 h 5285288"/>
                  <a:gd name="connsiteX25" fmla="*/ 2444848 w 4212730"/>
                  <a:gd name="connsiteY25" fmla="*/ 3326 h 5285288"/>
                  <a:gd name="connsiteX26" fmla="*/ 2620552 w 4212730"/>
                  <a:gd name="connsiteY26" fmla="*/ 37548 h 5285288"/>
                  <a:gd name="connsiteX27" fmla="*/ 4171705 w 4212730"/>
                  <a:gd name="connsiteY27" fmla="*/ 924343 h 5285288"/>
                  <a:gd name="connsiteX28" fmla="*/ 4172662 w 4212730"/>
                  <a:gd name="connsiteY28" fmla="*/ 1149844 h 5285288"/>
                  <a:gd name="connsiteX29" fmla="*/ 3998697 w 4212730"/>
                  <a:gd name="connsiteY29" fmla="*/ 1269783 h 5285288"/>
                  <a:gd name="connsiteX30" fmla="*/ 3978850 w 4212730"/>
                  <a:gd name="connsiteY30" fmla="*/ 1262485 h 5285288"/>
                  <a:gd name="connsiteX31" fmla="*/ 2513375 w 4212730"/>
                  <a:gd name="connsiteY31" fmla="*/ 431577 h 5285288"/>
                  <a:gd name="connsiteX32" fmla="*/ 2513032 w 4212730"/>
                  <a:gd name="connsiteY32" fmla="*/ 431184 h 5285288"/>
                  <a:gd name="connsiteX33" fmla="*/ 2490877 w 4212730"/>
                  <a:gd name="connsiteY33" fmla="*/ 437405 h 5285288"/>
                  <a:gd name="connsiteX34" fmla="*/ 2448227 w 4212730"/>
                  <a:gd name="connsiteY34" fmla="*/ 539231 h 5285288"/>
                  <a:gd name="connsiteX35" fmla="*/ 2448222 w 4212730"/>
                  <a:gd name="connsiteY35" fmla="*/ 1065628 h 5285288"/>
                  <a:gd name="connsiteX36" fmla="*/ 2445445 w 4212730"/>
                  <a:gd name="connsiteY36" fmla="*/ 1081825 h 5285288"/>
                  <a:gd name="connsiteX37" fmla="*/ 2442619 w 4212730"/>
                  <a:gd name="connsiteY37" fmla="*/ 1858316 h 5285288"/>
                  <a:gd name="connsiteX38" fmla="*/ 2444476 w 4212730"/>
                  <a:gd name="connsiteY38" fmla="*/ 1861834 h 5285288"/>
                  <a:gd name="connsiteX39" fmla="*/ 2443809 w 4212730"/>
                  <a:gd name="connsiteY39" fmla="*/ 3038034 h 5285288"/>
                  <a:gd name="connsiteX40" fmla="*/ 2441669 w 4212730"/>
                  <a:gd name="connsiteY40" fmla="*/ 4802821 h 5285288"/>
                  <a:gd name="connsiteX41" fmla="*/ 2374871 w 4212730"/>
                  <a:gd name="connsiteY41" fmla="*/ 5061801 h 5285288"/>
                  <a:gd name="connsiteX42" fmla="*/ 2230903 w 4212730"/>
                  <a:gd name="connsiteY42" fmla="*/ 5216241 h 5285288"/>
                  <a:gd name="connsiteX43" fmla="*/ 2020267 w 4212730"/>
                  <a:gd name="connsiteY43" fmla="*/ 5284752 h 5285288"/>
                  <a:gd name="connsiteX44" fmla="*/ 1970713 w 4212730"/>
                  <a:gd name="connsiteY44"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7391 w 4212730"/>
                  <a:gd name="connsiteY8" fmla="*/ 2508175 h 5285288"/>
                  <a:gd name="connsiteX9" fmla="*/ 406100 w 4212730"/>
                  <a:gd name="connsiteY9" fmla="*/ 2572658 h 5285288"/>
                  <a:gd name="connsiteX10" fmla="*/ 409165 w 4212730"/>
                  <a:gd name="connsiteY10" fmla="*/ 3888049 h 5285288"/>
                  <a:gd name="connsiteX11" fmla="*/ 407598 w 4212730"/>
                  <a:gd name="connsiteY11" fmla="*/ 3881457 h 5285288"/>
                  <a:gd name="connsiteX12" fmla="*/ 407517 w 4212730"/>
                  <a:gd name="connsiteY12" fmla="*/ 3894265 h 5285288"/>
                  <a:gd name="connsiteX13" fmla="*/ 464772 w 4212730"/>
                  <a:gd name="connsiteY13" fmla="*/ 3993435 h 5285288"/>
                  <a:gd name="connsiteX14" fmla="*/ 1965744 w 4212730"/>
                  <a:gd name="connsiteY14" fmla="*/ 4865353 h 5285288"/>
                  <a:gd name="connsiteX15" fmla="*/ 1966088 w 4212730"/>
                  <a:gd name="connsiteY15" fmla="*/ 4865745 h 5285288"/>
                  <a:gd name="connsiteX16" fmla="*/ 1988129 w 4212730"/>
                  <a:gd name="connsiteY16" fmla="*/ 4859558 h 5285288"/>
                  <a:gd name="connsiteX17" fmla="*/ 2034209 w 4212730"/>
                  <a:gd name="connsiteY17" fmla="*/ 4799004 h 5285288"/>
                  <a:gd name="connsiteX18" fmla="*/ 2036053 w 4212730"/>
                  <a:gd name="connsiteY18" fmla="*/ 4105978 h 5285288"/>
                  <a:gd name="connsiteX19" fmla="*/ 2038324 w 4212730"/>
                  <a:gd name="connsiteY19" fmla="*/ 1054770 h 5285288"/>
                  <a:gd name="connsiteX20" fmla="*/ 2037139 w 4212730"/>
                  <a:gd name="connsiteY20" fmla="*/ 1017192 h 5285288"/>
                  <a:gd name="connsiteX21" fmla="*/ 2035104 w 4212730"/>
                  <a:gd name="connsiteY21" fmla="*/ 494424 h 5285288"/>
                  <a:gd name="connsiteX22" fmla="*/ 2080595 w 4212730"/>
                  <a:gd name="connsiteY22" fmla="*/ 171698 h 5285288"/>
                  <a:gd name="connsiteX23" fmla="*/ 2245202 w 4212730"/>
                  <a:gd name="connsiteY23" fmla="*/ 25112 h 5285288"/>
                  <a:gd name="connsiteX24" fmla="*/ 2444848 w 4212730"/>
                  <a:gd name="connsiteY24" fmla="*/ 3326 h 5285288"/>
                  <a:gd name="connsiteX25" fmla="*/ 2620552 w 4212730"/>
                  <a:gd name="connsiteY25" fmla="*/ 37548 h 5285288"/>
                  <a:gd name="connsiteX26" fmla="*/ 4171705 w 4212730"/>
                  <a:gd name="connsiteY26" fmla="*/ 924343 h 5285288"/>
                  <a:gd name="connsiteX27" fmla="*/ 4172662 w 4212730"/>
                  <a:gd name="connsiteY27" fmla="*/ 1149844 h 5285288"/>
                  <a:gd name="connsiteX28" fmla="*/ 3998697 w 4212730"/>
                  <a:gd name="connsiteY28" fmla="*/ 1269783 h 5285288"/>
                  <a:gd name="connsiteX29" fmla="*/ 3978850 w 4212730"/>
                  <a:gd name="connsiteY29" fmla="*/ 1262485 h 5285288"/>
                  <a:gd name="connsiteX30" fmla="*/ 2513375 w 4212730"/>
                  <a:gd name="connsiteY30" fmla="*/ 431577 h 5285288"/>
                  <a:gd name="connsiteX31" fmla="*/ 2513032 w 4212730"/>
                  <a:gd name="connsiteY31" fmla="*/ 431184 h 5285288"/>
                  <a:gd name="connsiteX32" fmla="*/ 2490877 w 4212730"/>
                  <a:gd name="connsiteY32" fmla="*/ 437405 h 5285288"/>
                  <a:gd name="connsiteX33" fmla="*/ 2448227 w 4212730"/>
                  <a:gd name="connsiteY33" fmla="*/ 539231 h 5285288"/>
                  <a:gd name="connsiteX34" fmla="*/ 2448222 w 4212730"/>
                  <a:gd name="connsiteY34" fmla="*/ 1065628 h 5285288"/>
                  <a:gd name="connsiteX35" fmla="*/ 2445445 w 4212730"/>
                  <a:gd name="connsiteY35" fmla="*/ 1081825 h 5285288"/>
                  <a:gd name="connsiteX36" fmla="*/ 2442619 w 4212730"/>
                  <a:gd name="connsiteY36" fmla="*/ 1858316 h 5285288"/>
                  <a:gd name="connsiteX37" fmla="*/ 2444476 w 4212730"/>
                  <a:gd name="connsiteY37" fmla="*/ 1861834 h 5285288"/>
                  <a:gd name="connsiteX38" fmla="*/ 2443809 w 4212730"/>
                  <a:gd name="connsiteY38" fmla="*/ 3038034 h 5285288"/>
                  <a:gd name="connsiteX39" fmla="*/ 2441669 w 4212730"/>
                  <a:gd name="connsiteY39" fmla="*/ 4802821 h 5285288"/>
                  <a:gd name="connsiteX40" fmla="*/ 2374871 w 4212730"/>
                  <a:gd name="connsiteY40" fmla="*/ 5061801 h 5285288"/>
                  <a:gd name="connsiteX41" fmla="*/ 2230903 w 4212730"/>
                  <a:gd name="connsiteY41" fmla="*/ 5216241 h 5285288"/>
                  <a:gd name="connsiteX42" fmla="*/ 2020267 w 4212730"/>
                  <a:gd name="connsiteY42" fmla="*/ 5284752 h 5285288"/>
                  <a:gd name="connsiteX43" fmla="*/ 1970713 w 4212730"/>
                  <a:gd name="connsiteY43"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6100 w 4212730"/>
                  <a:gd name="connsiteY8" fmla="*/ 2572658 h 5285288"/>
                  <a:gd name="connsiteX9" fmla="*/ 409165 w 4212730"/>
                  <a:gd name="connsiteY9" fmla="*/ 3888049 h 5285288"/>
                  <a:gd name="connsiteX10" fmla="*/ 407598 w 4212730"/>
                  <a:gd name="connsiteY10" fmla="*/ 3881457 h 5285288"/>
                  <a:gd name="connsiteX11" fmla="*/ 407517 w 4212730"/>
                  <a:gd name="connsiteY11" fmla="*/ 3894265 h 5285288"/>
                  <a:gd name="connsiteX12" fmla="*/ 464772 w 4212730"/>
                  <a:gd name="connsiteY12" fmla="*/ 3993435 h 5285288"/>
                  <a:gd name="connsiteX13" fmla="*/ 1965744 w 4212730"/>
                  <a:gd name="connsiteY13" fmla="*/ 4865353 h 5285288"/>
                  <a:gd name="connsiteX14" fmla="*/ 1966088 w 4212730"/>
                  <a:gd name="connsiteY14" fmla="*/ 4865745 h 5285288"/>
                  <a:gd name="connsiteX15" fmla="*/ 1988129 w 4212730"/>
                  <a:gd name="connsiteY15" fmla="*/ 4859558 h 5285288"/>
                  <a:gd name="connsiteX16" fmla="*/ 2034209 w 4212730"/>
                  <a:gd name="connsiteY16" fmla="*/ 4799004 h 5285288"/>
                  <a:gd name="connsiteX17" fmla="*/ 2036053 w 4212730"/>
                  <a:gd name="connsiteY17" fmla="*/ 4105978 h 5285288"/>
                  <a:gd name="connsiteX18" fmla="*/ 2038324 w 4212730"/>
                  <a:gd name="connsiteY18" fmla="*/ 1054770 h 5285288"/>
                  <a:gd name="connsiteX19" fmla="*/ 2037139 w 4212730"/>
                  <a:gd name="connsiteY19" fmla="*/ 1017192 h 5285288"/>
                  <a:gd name="connsiteX20" fmla="*/ 2035104 w 4212730"/>
                  <a:gd name="connsiteY20" fmla="*/ 494424 h 5285288"/>
                  <a:gd name="connsiteX21" fmla="*/ 2080595 w 4212730"/>
                  <a:gd name="connsiteY21" fmla="*/ 171698 h 5285288"/>
                  <a:gd name="connsiteX22" fmla="*/ 2245202 w 4212730"/>
                  <a:gd name="connsiteY22" fmla="*/ 25112 h 5285288"/>
                  <a:gd name="connsiteX23" fmla="*/ 2444848 w 4212730"/>
                  <a:gd name="connsiteY23" fmla="*/ 3326 h 5285288"/>
                  <a:gd name="connsiteX24" fmla="*/ 2620552 w 4212730"/>
                  <a:gd name="connsiteY24" fmla="*/ 37548 h 5285288"/>
                  <a:gd name="connsiteX25" fmla="*/ 4171705 w 4212730"/>
                  <a:gd name="connsiteY25" fmla="*/ 924343 h 5285288"/>
                  <a:gd name="connsiteX26" fmla="*/ 4172662 w 4212730"/>
                  <a:gd name="connsiteY26" fmla="*/ 1149844 h 5285288"/>
                  <a:gd name="connsiteX27" fmla="*/ 3998697 w 4212730"/>
                  <a:gd name="connsiteY27" fmla="*/ 1269783 h 5285288"/>
                  <a:gd name="connsiteX28" fmla="*/ 3978850 w 4212730"/>
                  <a:gd name="connsiteY28" fmla="*/ 1262485 h 5285288"/>
                  <a:gd name="connsiteX29" fmla="*/ 2513375 w 4212730"/>
                  <a:gd name="connsiteY29" fmla="*/ 431577 h 5285288"/>
                  <a:gd name="connsiteX30" fmla="*/ 2513032 w 4212730"/>
                  <a:gd name="connsiteY30" fmla="*/ 431184 h 5285288"/>
                  <a:gd name="connsiteX31" fmla="*/ 2490877 w 4212730"/>
                  <a:gd name="connsiteY31" fmla="*/ 437405 h 5285288"/>
                  <a:gd name="connsiteX32" fmla="*/ 2448227 w 4212730"/>
                  <a:gd name="connsiteY32" fmla="*/ 539231 h 5285288"/>
                  <a:gd name="connsiteX33" fmla="*/ 2448222 w 4212730"/>
                  <a:gd name="connsiteY33" fmla="*/ 1065628 h 5285288"/>
                  <a:gd name="connsiteX34" fmla="*/ 2445445 w 4212730"/>
                  <a:gd name="connsiteY34" fmla="*/ 1081825 h 5285288"/>
                  <a:gd name="connsiteX35" fmla="*/ 2442619 w 4212730"/>
                  <a:gd name="connsiteY35" fmla="*/ 1858316 h 5285288"/>
                  <a:gd name="connsiteX36" fmla="*/ 2444476 w 4212730"/>
                  <a:gd name="connsiteY36" fmla="*/ 1861834 h 5285288"/>
                  <a:gd name="connsiteX37" fmla="*/ 2443809 w 4212730"/>
                  <a:gd name="connsiteY37" fmla="*/ 3038034 h 5285288"/>
                  <a:gd name="connsiteX38" fmla="*/ 2441669 w 4212730"/>
                  <a:gd name="connsiteY38" fmla="*/ 4802821 h 5285288"/>
                  <a:gd name="connsiteX39" fmla="*/ 2374871 w 4212730"/>
                  <a:gd name="connsiteY39" fmla="*/ 5061801 h 5285288"/>
                  <a:gd name="connsiteX40" fmla="*/ 2230903 w 4212730"/>
                  <a:gd name="connsiteY40" fmla="*/ 5216241 h 5285288"/>
                  <a:gd name="connsiteX41" fmla="*/ 2020267 w 4212730"/>
                  <a:gd name="connsiteY41" fmla="*/ 5284752 h 5285288"/>
                  <a:gd name="connsiteX42" fmla="*/ 1970713 w 4212730"/>
                  <a:gd name="connsiteY42"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9165 w 4212730"/>
                  <a:gd name="connsiteY8" fmla="*/ 3888049 h 5285288"/>
                  <a:gd name="connsiteX9" fmla="*/ 407598 w 4212730"/>
                  <a:gd name="connsiteY9" fmla="*/ 3881457 h 5285288"/>
                  <a:gd name="connsiteX10" fmla="*/ 407517 w 4212730"/>
                  <a:gd name="connsiteY10" fmla="*/ 3894265 h 5285288"/>
                  <a:gd name="connsiteX11" fmla="*/ 464772 w 4212730"/>
                  <a:gd name="connsiteY11" fmla="*/ 3993435 h 5285288"/>
                  <a:gd name="connsiteX12" fmla="*/ 1965744 w 4212730"/>
                  <a:gd name="connsiteY12" fmla="*/ 4865353 h 5285288"/>
                  <a:gd name="connsiteX13" fmla="*/ 1966088 w 4212730"/>
                  <a:gd name="connsiteY13" fmla="*/ 4865745 h 5285288"/>
                  <a:gd name="connsiteX14" fmla="*/ 1988129 w 4212730"/>
                  <a:gd name="connsiteY14" fmla="*/ 4859558 h 5285288"/>
                  <a:gd name="connsiteX15" fmla="*/ 2034209 w 4212730"/>
                  <a:gd name="connsiteY15" fmla="*/ 4799004 h 5285288"/>
                  <a:gd name="connsiteX16" fmla="*/ 2036053 w 4212730"/>
                  <a:gd name="connsiteY16" fmla="*/ 4105978 h 5285288"/>
                  <a:gd name="connsiteX17" fmla="*/ 2038324 w 4212730"/>
                  <a:gd name="connsiteY17" fmla="*/ 1054770 h 5285288"/>
                  <a:gd name="connsiteX18" fmla="*/ 2037139 w 4212730"/>
                  <a:gd name="connsiteY18" fmla="*/ 1017192 h 5285288"/>
                  <a:gd name="connsiteX19" fmla="*/ 2035104 w 4212730"/>
                  <a:gd name="connsiteY19" fmla="*/ 494424 h 5285288"/>
                  <a:gd name="connsiteX20" fmla="*/ 2080595 w 4212730"/>
                  <a:gd name="connsiteY20" fmla="*/ 171698 h 5285288"/>
                  <a:gd name="connsiteX21" fmla="*/ 2245202 w 4212730"/>
                  <a:gd name="connsiteY21" fmla="*/ 25112 h 5285288"/>
                  <a:gd name="connsiteX22" fmla="*/ 2444848 w 4212730"/>
                  <a:gd name="connsiteY22" fmla="*/ 3326 h 5285288"/>
                  <a:gd name="connsiteX23" fmla="*/ 2620552 w 4212730"/>
                  <a:gd name="connsiteY23" fmla="*/ 37548 h 5285288"/>
                  <a:gd name="connsiteX24" fmla="*/ 4171705 w 4212730"/>
                  <a:gd name="connsiteY24" fmla="*/ 924343 h 5285288"/>
                  <a:gd name="connsiteX25" fmla="*/ 4172662 w 4212730"/>
                  <a:gd name="connsiteY25" fmla="*/ 1149844 h 5285288"/>
                  <a:gd name="connsiteX26" fmla="*/ 3998697 w 4212730"/>
                  <a:gd name="connsiteY26" fmla="*/ 1269783 h 5285288"/>
                  <a:gd name="connsiteX27" fmla="*/ 3978850 w 4212730"/>
                  <a:gd name="connsiteY27" fmla="*/ 1262485 h 5285288"/>
                  <a:gd name="connsiteX28" fmla="*/ 2513375 w 4212730"/>
                  <a:gd name="connsiteY28" fmla="*/ 431577 h 5285288"/>
                  <a:gd name="connsiteX29" fmla="*/ 2513032 w 4212730"/>
                  <a:gd name="connsiteY29" fmla="*/ 431184 h 5285288"/>
                  <a:gd name="connsiteX30" fmla="*/ 2490877 w 4212730"/>
                  <a:gd name="connsiteY30" fmla="*/ 437405 h 5285288"/>
                  <a:gd name="connsiteX31" fmla="*/ 2448227 w 4212730"/>
                  <a:gd name="connsiteY31" fmla="*/ 539231 h 5285288"/>
                  <a:gd name="connsiteX32" fmla="*/ 2448222 w 4212730"/>
                  <a:gd name="connsiteY32" fmla="*/ 1065628 h 5285288"/>
                  <a:gd name="connsiteX33" fmla="*/ 2445445 w 4212730"/>
                  <a:gd name="connsiteY33" fmla="*/ 1081825 h 5285288"/>
                  <a:gd name="connsiteX34" fmla="*/ 2442619 w 4212730"/>
                  <a:gd name="connsiteY34" fmla="*/ 1858316 h 5285288"/>
                  <a:gd name="connsiteX35" fmla="*/ 2444476 w 4212730"/>
                  <a:gd name="connsiteY35" fmla="*/ 1861834 h 5285288"/>
                  <a:gd name="connsiteX36" fmla="*/ 2443809 w 4212730"/>
                  <a:gd name="connsiteY36" fmla="*/ 3038034 h 5285288"/>
                  <a:gd name="connsiteX37" fmla="*/ 2441669 w 4212730"/>
                  <a:gd name="connsiteY37" fmla="*/ 4802821 h 5285288"/>
                  <a:gd name="connsiteX38" fmla="*/ 2374871 w 4212730"/>
                  <a:gd name="connsiteY38" fmla="*/ 5061801 h 5285288"/>
                  <a:gd name="connsiteX39" fmla="*/ 2230903 w 4212730"/>
                  <a:gd name="connsiteY39" fmla="*/ 5216241 h 5285288"/>
                  <a:gd name="connsiteX40" fmla="*/ 2020267 w 4212730"/>
                  <a:gd name="connsiteY40" fmla="*/ 5284752 h 5285288"/>
                  <a:gd name="connsiteX41" fmla="*/ 1970713 w 4212730"/>
                  <a:gd name="connsiteY41" fmla="*/ 5285252 h 5285288"/>
                  <a:gd name="connsiteX0" fmla="*/ 1970596 w 4212613"/>
                  <a:gd name="connsiteY0" fmla="*/ 5285252 h 5285288"/>
                  <a:gd name="connsiteX1" fmla="*/ 1858972 w 4212613"/>
                  <a:gd name="connsiteY1" fmla="*/ 5257452 h 5285288"/>
                  <a:gd name="connsiteX2" fmla="*/ 1798971 w 4212613"/>
                  <a:gd name="connsiteY2" fmla="*/ 5227600 h 5285288"/>
                  <a:gd name="connsiteX3" fmla="*/ 257624 w 4212613"/>
                  <a:gd name="connsiteY3" fmla="*/ 4344402 h 5285288"/>
                  <a:gd name="connsiteX4" fmla="*/ 66738 w 4212613"/>
                  <a:gd name="connsiteY4" fmla="*/ 4157062 h 5285288"/>
                  <a:gd name="connsiteX5" fmla="*/ 4968 w 4212613"/>
                  <a:gd name="connsiteY5" fmla="*/ 3955159 h 5285288"/>
                  <a:gd name="connsiteX6" fmla="*/ 0 w 4212613"/>
                  <a:gd name="connsiteY6" fmla="*/ 3898769 h 5285288"/>
                  <a:gd name="connsiteX7" fmla="*/ 409048 w 4212613"/>
                  <a:gd name="connsiteY7" fmla="*/ 3888049 h 5285288"/>
                  <a:gd name="connsiteX8" fmla="*/ 407481 w 4212613"/>
                  <a:gd name="connsiteY8" fmla="*/ 3881457 h 5285288"/>
                  <a:gd name="connsiteX9" fmla="*/ 407400 w 4212613"/>
                  <a:gd name="connsiteY9" fmla="*/ 3894265 h 5285288"/>
                  <a:gd name="connsiteX10" fmla="*/ 464655 w 4212613"/>
                  <a:gd name="connsiteY10" fmla="*/ 3993435 h 5285288"/>
                  <a:gd name="connsiteX11" fmla="*/ 1965627 w 4212613"/>
                  <a:gd name="connsiteY11" fmla="*/ 4865353 h 5285288"/>
                  <a:gd name="connsiteX12" fmla="*/ 1965971 w 4212613"/>
                  <a:gd name="connsiteY12" fmla="*/ 4865745 h 5285288"/>
                  <a:gd name="connsiteX13" fmla="*/ 1988012 w 4212613"/>
                  <a:gd name="connsiteY13" fmla="*/ 4859558 h 5285288"/>
                  <a:gd name="connsiteX14" fmla="*/ 2034092 w 4212613"/>
                  <a:gd name="connsiteY14" fmla="*/ 4799004 h 5285288"/>
                  <a:gd name="connsiteX15" fmla="*/ 2035936 w 4212613"/>
                  <a:gd name="connsiteY15" fmla="*/ 4105978 h 5285288"/>
                  <a:gd name="connsiteX16" fmla="*/ 2038207 w 4212613"/>
                  <a:gd name="connsiteY16" fmla="*/ 1054770 h 5285288"/>
                  <a:gd name="connsiteX17" fmla="*/ 2037022 w 4212613"/>
                  <a:gd name="connsiteY17" fmla="*/ 1017192 h 5285288"/>
                  <a:gd name="connsiteX18" fmla="*/ 2034987 w 4212613"/>
                  <a:gd name="connsiteY18" fmla="*/ 494424 h 5285288"/>
                  <a:gd name="connsiteX19" fmla="*/ 2080478 w 4212613"/>
                  <a:gd name="connsiteY19" fmla="*/ 171698 h 5285288"/>
                  <a:gd name="connsiteX20" fmla="*/ 2245085 w 4212613"/>
                  <a:gd name="connsiteY20" fmla="*/ 25112 h 5285288"/>
                  <a:gd name="connsiteX21" fmla="*/ 2444731 w 4212613"/>
                  <a:gd name="connsiteY21" fmla="*/ 3326 h 5285288"/>
                  <a:gd name="connsiteX22" fmla="*/ 2620435 w 4212613"/>
                  <a:gd name="connsiteY22" fmla="*/ 37548 h 5285288"/>
                  <a:gd name="connsiteX23" fmla="*/ 4171588 w 4212613"/>
                  <a:gd name="connsiteY23" fmla="*/ 924343 h 5285288"/>
                  <a:gd name="connsiteX24" fmla="*/ 4172545 w 4212613"/>
                  <a:gd name="connsiteY24" fmla="*/ 1149844 h 5285288"/>
                  <a:gd name="connsiteX25" fmla="*/ 3998580 w 4212613"/>
                  <a:gd name="connsiteY25" fmla="*/ 1269783 h 5285288"/>
                  <a:gd name="connsiteX26" fmla="*/ 3978733 w 4212613"/>
                  <a:gd name="connsiteY26" fmla="*/ 1262485 h 5285288"/>
                  <a:gd name="connsiteX27" fmla="*/ 2513258 w 4212613"/>
                  <a:gd name="connsiteY27" fmla="*/ 431577 h 5285288"/>
                  <a:gd name="connsiteX28" fmla="*/ 2512915 w 4212613"/>
                  <a:gd name="connsiteY28" fmla="*/ 431184 h 5285288"/>
                  <a:gd name="connsiteX29" fmla="*/ 2490760 w 4212613"/>
                  <a:gd name="connsiteY29" fmla="*/ 437405 h 5285288"/>
                  <a:gd name="connsiteX30" fmla="*/ 2448110 w 4212613"/>
                  <a:gd name="connsiteY30" fmla="*/ 539231 h 5285288"/>
                  <a:gd name="connsiteX31" fmla="*/ 2448105 w 4212613"/>
                  <a:gd name="connsiteY31" fmla="*/ 1065628 h 5285288"/>
                  <a:gd name="connsiteX32" fmla="*/ 2445328 w 4212613"/>
                  <a:gd name="connsiteY32" fmla="*/ 1081825 h 5285288"/>
                  <a:gd name="connsiteX33" fmla="*/ 2442502 w 4212613"/>
                  <a:gd name="connsiteY33" fmla="*/ 1858316 h 5285288"/>
                  <a:gd name="connsiteX34" fmla="*/ 2444359 w 4212613"/>
                  <a:gd name="connsiteY34" fmla="*/ 1861834 h 5285288"/>
                  <a:gd name="connsiteX35" fmla="*/ 2443692 w 4212613"/>
                  <a:gd name="connsiteY35" fmla="*/ 3038034 h 5285288"/>
                  <a:gd name="connsiteX36" fmla="*/ 2441552 w 4212613"/>
                  <a:gd name="connsiteY36" fmla="*/ 4802821 h 5285288"/>
                  <a:gd name="connsiteX37" fmla="*/ 2374754 w 4212613"/>
                  <a:gd name="connsiteY37" fmla="*/ 5061801 h 5285288"/>
                  <a:gd name="connsiteX38" fmla="*/ 2230786 w 4212613"/>
                  <a:gd name="connsiteY38" fmla="*/ 5216241 h 5285288"/>
                  <a:gd name="connsiteX39" fmla="*/ 2020150 w 4212613"/>
                  <a:gd name="connsiteY39" fmla="*/ 5284752 h 5285288"/>
                  <a:gd name="connsiteX40" fmla="*/ 1970596 w 4212613"/>
                  <a:gd name="connsiteY40" fmla="*/ 5285252 h 5285288"/>
                  <a:gd name="connsiteX0" fmla="*/ 1965628 w 4207645"/>
                  <a:gd name="connsiteY0" fmla="*/ 5285252 h 5285288"/>
                  <a:gd name="connsiteX1" fmla="*/ 1854004 w 4207645"/>
                  <a:gd name="connsiteY1" fmla="*/ 5257452 h 5285288"/>
                  <a:gd name="connsiteX2" fmla="*/ 1794003 w 4207645"/>
                  <a:gd name="connsiteY2" fmla="*/ 5227600 h 5285288"/>
                  <a:gd name="connsiteX3" fmla="*/ 252656 w 4207645"/>
                  <a:gd name="connsiteY3" fmla="*/ 4344402 h 5285288"/>
                  <a:gd name="connsiteX4" fmla="*/ 61770 w 4207645"/>
                  <a:gd name="connsiteY4" fmla="*/ 4157062 h 5285288"/>
                  <a:gd name="connsiteX5" fmla="*/ 0 w 4207645"/>
                  <a:gd name="connsiteY5" fmla="*/ 3955159 h 5285288"/>
                  <a:gd name="connsiteX6" fmla="*/ 404080 w 4207645"/>
                  <a:gd name="connsiteY6" fmla="*/ 3888049 h 5285288"/>
                  <a:gd name="connsiteX7" fmla="*/ 402513 w 4207645"/>
                  <a:gd name="connsiteY7" fmla="*/ 3881457 h 5285288"/>
                  <a:gd name="connsiteX8" fmla="*/ 402432 w 4207645"/>
                  <a:gd name="connsiteY8" fmla="*/ 3894265 h 5285288"/>
                  <a:gd name="connsiteX9" fmla="*/ 459687 w 4207645"/>
                  <a:gd name="connsiteY9" fmla="*/ 3993435 h 5285288"/>
                  <a:gd name="connsiteX10" fmla="*/ 1960659 w 4207645"/>
                  <a:gd name="connsiteY10" fmla="*/ 4865353 h 5285288"/>
                  <a:gd name="connsiteX11" fmla="*/ 1961003 w 4207645"/>
                  <a:gd name="connsiteY11" fmla="*/ 4865745 h 5285288"/>
                  <a:gd name="connsiteX12" fmla="*/ 1983044 w 4207645"/>
                  <a:gd name="connsiteY12" fmla="*/ 4859558 h 5285288"/>
                  <a:gd name="connsiteX13" fmla="*/ 2029124 w 4207645"/>
                  <a:gd name="connsiteY13" fmla="*/ 4799004 h 5285288"/>
                  <a:gd name="connsiteX14" fmla="*/ 2030968 w 4207645"/>
                  <a:gd name="connsiteY14" fmla="*/ 4105978 h 5285288"/>
                  <a:gd name="connsiteX15" fmla="*/ 2033239 w 4207645"/>
                  <a:gd name="connsiteY15" fmla="*/ 1054770 h 5285288"/>
                  <a:gd name="connsiteX16" fmla="*/ 2032054 w 4207645"/>
                  <a:gd name="connsiteY16" fmla="*/ 1017192 h 5285288"/>
                  <a:gd name="connsiteX17" fmla="*/ 2030019 w 4207645"/>
                  <a:gd name="connsiteY17" fmla="*/ 494424 h 5285288"/>
                  <a:gd name="connsiteX18" fmla="*/ 2075510 w 4207645"/>
                  <a:gd name="connsiteY18" fmla="*/ 171698 h 5285288"/>
                  <a:gd name="connsiteX19" fmla="*/ 2240117 w 4207645"/>
                  <a:gd name="connsiteY19" fmla="*/ 25112 h 5285288"/>
                  <a:gd name="connsiteX20" fmla="*/ 2439763 w 4207645"/>
                  <a:gd name="connsiteY20" fmla="*/ 3326 h 5285288"/>
                  <a:gd name="connsiteX21" fmla="*/ 2615467 w 4207645"/>
                  <a:gd name="connsiteY21" fmla="*/ 37548 h 5285288"/>
                  <a:gd name="connsiteX22" fmla="*/ 4166620 w 4207645"/>
                  <a:gd name="connsiteY22" fmla="*/ 924343 h 5285288"/>
                  <a:gd name="connsiteX23" fmla="*/ 4167577 w 4207645"/>
                  <a:gd name="connsiteY23" fmla="*/ 1149844 h 5285288"/>
                  <a:gd name="connsiteX24" fmla="*/ 3993612 w 4207645"/>
                  <a:gd name="connsiteY24" fmla="*/ 1269783 h 5285288"/>
                  <a:gd name="connsiteX25" fmla="*/ 3973765 w 4207645"/>
                  <a:gd name="connsiteY25" fmla="*/ 1262485 h 5285288"/>
                  <a:gd name="connsiteX26" fmla="*/ 2508290 w 4207645"/>
                  <a:gd name="connsiteY26" fmla="*/ 431577 h 5285288"/>
                  <a:gd name="connsiteX27" fmla="*/ 2507947 w 4207645"/>
                  <a:gd name="connsiteY27" fmla="*/ 431184 h 5285288"/>
                  <a:gd name="connsiteX28" fmla="*/ 2485792 w 4207645"/>
                  <a:gd name="connsiteY28" fmla="*/ 437405 h 5285288"/>
                  <a:gd name="connsiteX29" fmla="*/ 2443142 w 4207645"/>
                  <a:gd name="connsiteY29" fmla="*/ 539231 h 5285288"/>
                  <a:gd name="connsiteX30" fmla="*/ 2443137 w 4207645"/>
                  <a:gd name="connsiteY30" fmla="*/ 1065628 h 5285288"/>
                  <a:gd name="connsiteX31" fmla="*/ 2440360 w 4207645"/>
                  <a:gd name="connsiteY31" fmla="*/ 1081825 h 5285288"/>
                  <a:gd name="connsiteX32" fmla="*/ 2437534 w 4207645"/>
                  <a:gd name="connsiteY32" fmla="*/ 1858316 h 5285288"/>
                  <a:gd name="connsiteX33" fmla="*/ 2439391 w 4207645"/>
                  <a:gd name="connsiteY33" fmla="*/ 1861834 h 5285288"/>
                  <a:gd name="connsiteX34" fmla="*/ 2438724 w 4207645"/>
                  <a:gd name="connsiteY34" fmla="*/ 3038034 h 5285288"/>
                  <a:gd name="connsiteX35" fmla="*/ 2436584 w 4207645"/>
                  <a:gd name="connsiteY35" fmla="*/ 4802821 h 5285288"/>
                  <a:gd name="connsiteX36" fmla="*/ 2369786 w 4207645"/>
                  <a:gd name="connsiteY36" fmla="*/ 5061801 h 5285288"/>
                  <a:gd name="connsiteX37" fmla="*/ 2225818 w 4207645"/>
                  <a:gd name="connsiteY37" fmla="*/ 5216241 h 5285288"/>
                  <a:gd name="connsiteX38" fmla="*/ 2015182 w 4207645"/>
                  <a:gd name="connsiteY38" fmla="*/ 5284752 h 5285288"/>
                  <a:gd name="connsiteX39" fmla="*/ 1965628 w 4207645"/>
                  <a:gd name="connsiteY39" fmla="*/ 5285252 h 5285288"/>
                  <a:gd name="connsiteX0" fmla="*/ 1978947 w 4220964"/>
                  <a:gd name="connsiteY0" fmla="*/ 5285252 h 5285288"/>
                  <a:gd name="connsiteX1" fmla="*/ 1867323 w 4220964"/>
                  <a:gd name="connsiteY1" fmla="*/ 5257452 h 5285288"/>
                  <a:gd name="connsiteX2" fmla="*/ 1807322 w 4220964"/>
                  <a:gd name="connsiteY2" fmla="*/ 5227600 h 5285288"/>
                  <a:gd name="connsiteX3" fmla="*/ 265975 w 4220964"/>
                  <a:gd name="connsiteY3" fmla="*/ 4344402 h 5285288"/>
                  <a:gd name="connsiteX4" fmla="*/ 13319 w 4220964"/>
                  <a:gd name="connsiteY4" fmla="*/ 3955159 h 5285288"/>
                  <a:gd name="connsiteX5" fmla="*/ 417399 w 4220964"/>
                  <a:gd name="connsiteY5" fmla="*/ 3888049 h 5285288"/>
                  <a:gd name="connsiteX6" fmla="*/ 415832 w 4220964"/>
                  <a:gd name="connsiteY6" fmla="*/ 3881457 h 5285288"/>
                  <a:gd name="connsiteX7" fmla="*/ 415751 w 4220964"/>
                  <a:gd name="connsiteY7" fmla="*/ 3894265 h 5285288"/>
                  <a:gd name="connsiteX8" fmla="*/ 473006 w 4220964"/>
                  <a:gd name="connsiteY8" fmla="*/ 3993435 h 5285288"/>
                  <a:gd name="connsiteX9" fmla="*/ 1973978 w 4220964"/>
                  <a:gd name="connsiteY9" fmla="*/ 4865353 h 5285288"/>
                  <a:gd name="connsiteX10" fmla="*/ 1974322 w 4220964"/>
                  <a:gd name="connsiteY10" fmla="*/ 4865745 h 5285288"/>
                  <a:gd name="connsiteX11" fmla="*/ 1996363 w 4220964"/>
                  <a:gd name="connsiteY11" fmla="*/ 4859558 h 5285288"/>
                  <a:gd name="connsiteX12" fmla="*/ 2042443 w 4220964"/>
                  <a:gd name="connsiteY12" fmla="*/ 4799004 h 5285288"/>
                  <a:gd name="connsiteX13" fmla="*/ 2044287 w 4220964"/>
                  <a:gd name="connsiteY13" fmla="*/ 4105978 h 5285288"/>
                  <a:gd name="connsiteX14" fmla="*/ 2046558 w 4220964"/>
                  <a:gd name="connsiteY14" fmla="*/ 1054770 h 5285288"/>
                  <a:gd name="connsiteX15" fmla="*/ 2045373 w 4220964"/>
                  <a:gd name="connsiteY15" fmla="*/ 1017192 h 5285288"/>
                  <a:gd name="connsiteX16" fmla="*/ 2043338 w 4220964"/>
                  <a:gd name="connsiteY16" fmla="*/ 494424 h 5285288"/>
                  <a:gd name="connsiteX17" fmla="*/ 2088829 w 4220964"/>
                  <a:gd name="connsiteY17" fmla="*/ 171698 h 5285288"/>
                  <a:gd name="connsiteX18" fmla="*/ 2253436 w 4220964"/>
                  <a:gd name="connsiteY18" fmla="*/ 25112 h 5285288"/>
                  <a:gd name="connsiteX19" fmla="*/ 2453082 w 4220964"/>
                  <a:gd name="connsiteY19" fmla="*/ 3326 h 5285288"/>
                  <a:gd name="connsiteX20" fmla="*/ 2628786 w 4220964"/>
                  <a:gd name="connsiteY20" fmla="*/ 37548 h 5285288"/>
                  <a:gd name="connsiteX21" fmla="*/ 4179939 w 4220964"/>
                  <a:gd name="connsiteY21" fmla="*/ 924343 h 5285288"/>
                  <a:gd name="connsiteX22" fmla="*/ 4180896 w 4220964"/>
                  <a:gd name="connsiteY22" fmla="*/ 1149844 h 5285288"/>
                  <a:gd name="connsiteX23" fmla="*/ 4006931 w 4220964"/>
                  <a:gd name="connsiteY23" fmla="*/ 1269783 h 5285288"/>
                  <a:gd name="connsiteX24" fmla="*/ 3987084 w 4220964"/>
                  <a:gd name="connsiteY24" fmla="*/ 1262485 h 5285288"/>
                  <a:gd name="connsiteX25" fmla="*/ 2521609 w 4220964"/>
                  <a:gd name="connsiteY25" fmla="*/ 431577 h 5285288"/>
                  <a:gd name="connsiteX26" fmla="*/ 2521266 w 4220964"/>
                  <a:gd name="connsiteY26" fmla="*/ 431184 h 5285288"/>
                  <a:gd name="connsiteX27" fmla="*/ 2499111 w 4220964"/>
                  <a:gd name="connsiteY27" fmla="*/ 437405 h 5285288"/>
                  <a:gd name="connsiteX28" fmla="*/ 2456461 w 4220964"/>
                  <a:gd name="connsiteY28" fmla="*/ 539231 h 5285288"/>
                  <a:gd name="connsiteX29" fmla="*/ 2456456 w 4220964"/>
                  <a:gd name="connsiteY29" fmla="*/ 1065628 h 5285288"/>
                  <a:gd name="connsiteX30" fmla="*/ 2453679 w 4220964"/>
                  <a:gd name="connsiteY30" fmla="*/ 1081825 h 5285288"/>
                  <a:gd name="connsiteX31" fmla="*/ 2450853 w 4220964"/>
                  <a:gd name="connsiteY31" fmla="*/ 1858316 h 5285288"/>
                  <a:gd name="connsiteX32" fmla="*/ 2452710 w 4220964"/>
                  <a:gd name="connsiteY32" fmla="*/ 1861834 h 5285288"/>
                  <a:gd name="connsiteX33" fmla="*/ 2452043 w 4220964"/>
                  <a:gd name="connsiteY33" fmla="*/ 3038034 h 5285288"/>
                  <a:gd name="connsiteX34" fmla="*/ 2449903 w 4220964"/>
                  <a:gd name="connsiteY34" fmla="*/ 4802821 h 5285288"/>
                  <a:gd name="connsiteX35" fmla="*/ 2383105 w 4220964"/>
                  <a:gd name="connsiteY35" fmla="*/ 5061801 h 5285288"/>
                  <a:gd name="connsiteX36" fmla="*/ 2239137 w 4220964"/>
                  <a:gd name="connsiteY36" fmla="*/ 5216241 h 5285288"/>
                  <a:gd name="connsiteX37" fmla="*/ 2028501 w 4220964"/>
                  <a:gd name="connsiteY37" fmla="*/ 5284752 h 5285288"/>
                  <a:gd name="connsiteX38" fmla="*/ 1978947 w 4220964"/>
                  <a:gd name="connsiteY38" fmla="*/ 5285252 h 5285288"/>
                  <a:gd name="connsiteX0" fmla="*/ 1790618 w 4032635"/>
                  <a:gd name="connsiteY0" fmla="*/ 5285252 h 5285288"/>
                  <a:gd name="connsiteX1" fmla="*/ 1678994 w 4032635"/>
                  <a:gd name="connsiteY1" fmla="*/ 5257452 h 5285288"/>
                  <a:gd name="connsiteX2" fmla="*/ 1618993 w 4032635"/>
                  <a:gd name="connsiteY2" fmla="*/ 5227600 h 5285288"/>
                  <a:gd name="connsiteX3" fmla="*/ 77646 w 4032635"/>
                  <a:gd name="connsiteY3" fmla="*/ 4344402 h 5285288"/>
                  <a:gd name="connsiteX4" fmla="*/ 229070 w 4032635"/>
                  <a:gd name="connsiteY4" fmla="*/ 3888049 h 5285288"/>
                  <a:gd name="connsiteX5" fmla="*/ 227503 w 4032635"/>
                  <a:gd name="connsiteY5" fmla="*/ 3881457 h 5285288"/>
                  <a:gd name="connsiteX6" fmla="*/ 227422 w 4032635"/>
                  <a:gd name="connsiteY6" fmla="*/ 3894265 h 5285288"/>
                  <a:gd name="connsiteX7" fmla="*/ 284677 w 4032635"/>
                  <a:gd name="connsiteY7" fmla="*/ 3993435 h 5285288"/>
                  <a:gd name="connsiteX8" fmla="*/ 1785649 w 4032635"/>
                  <a:gd name="connsiteY8" fmla="*/ 4865353 h 5285288"/>
                  <a:gd name="connsiteX9" fmla="*/ 1785993 w 4032635"/>
                  <a:gd name="connsiteY9" fmla="*/ 4865745 h 5285288"/>
                  <a:gd name="connsiteX10" fmla="*/ 1808034 w 4032635"/>
                  <a:gd name="connsiteY10" fmla="*/ 4859558 h 5285288"/>
                  <a:gd name="connsiteX11" fmla="*/ 1854114 w 4032635"/>
                  <a:gd name="connsiteY11" fmla="*/ 4799004 h 5285288"/>
                  <a:gd name="connsiteX12" fmla="*/ 1855958 w 4032635"/>
                  <a:gd name="connsiteY12" fmla="*/ 4105978 h 5285288"/>
                  <a:gd name="connsiteX13" fmla="*/ 1858229 w 4032635"/>
                  <a:gd name="connsiteY13" fmla="*/ 1054770 h 5285288"/>
                  <a:gd name="connsiteX14" fmla="*/ 1857044 w 4032635"/>
                  <a:gd name="connsiteY14" fmla="*/ 1017192 h 5285288"/>
                  <a:gd name="connsiteX15" fmla="*/ 1855009 w 4032635"/>
                  <a:gd name="connsiteY15" fmla="*/ 494424 h 5285288"/>
                  <a:gd name="connsiteX16" fmla="*/ 1900500 w 4032635"/>
                  <a:gd name="connsiteY16" fmla="*/ 171698 h 5285288"/>
                  <a:gd name="connsiteX17" fmla="*/ 2065107 w 4032635"/>
                  <a:gd name="connsiteY17" fmla="*/ 25112 h 5285288"/>
                  <a:gd name="connsiteX18" fmla="*/ 2264753 w 4032635"/>
                  <a:gd name="connsiteY18" fmla="*/ 3326 h 5285288"/>
                  <a:gd name="connsiteX19" fmla="*/ 2440457 w 4032635"/>
                  <a:gd name="connsiteY19" fmla="*/ 37548 h 5285288"/>
                  <a:gd name="connsiteX20" fmla="*/ 3991610 w 4032635"/>
                  <a:gd name="connsiteY20" fmla="*/ 924343 h 5285288"/>
                  <a:gd name="connsiteX21" fmla="*/ 3992567 w 4032635"/>
                  <a:gd name="connsiteY21" fmla="*/ 1149844 h 5285288"/>
                  <a:gd name="connsiteX22" fmla="*/ 3818602 w 4032635"/>
                  <a:gd name="connsiteY22" fmla="*/ 1269783 h 5285288"/>
                  <a:gd name="connsiteX23" fmla="*/ 3798755 w 4032635"/>
                  <a:gd name="connsiteY23" fmla="*/ 1262485 h 5285288"/>
                  <a:gd name="connsiteX24" fmla="*/ 2333280 w 4032635"/>
                  <a:gd name="connsiteY24" fmla="*/ 431577 h 5285288"/>
                  <a:gd name="connsiteX25" fmla="*/ 2332937 w 4032635"/>
                  <a:gd name="connsiteY25" fmla="*/ 431184 h 5285288"/>
                  <a:gd name="connsiteX26" fmla="*/ 2310782 w 4032635"/>
                  <a:gd name="connsiteY26" fmla="*/ 437405 h 5285288"/>
                  <a:gd name="connsiteX27" fmla="*/ 2268132 w 4032635"/>
                  <a:gd name="connsiteY27" fmla="*/ 539231 h 5285288"/>
                  <a:gd name="connsiteX28" fmla="*/ 2268127 w 4032635"/>
                  <a:gd name="connsiteY28" fmla="*/ 1065628 h 5285288"/>
                  <a:gd name="connsiteX29" fmla="*/ 2265350 w 4032635"/>
                  <a:gd name="connsiteY29" fmla="*/ 1081825 h 5285288"/>
                  <a:gd name="connsiteX30" fmla="*/ 2262524 w 4032635"/>
                  <a:gd name="connsiteY30" fmla="*/ 1858316 h 5285288"/>
                  <a:gd name="connsiteX31" fmla="*/ 2264381 w 4032635"/>
                  <a:gd name="connsiteY31" fmla="*/ 1861834 h 5285288"/>
                  <a:gd name="connsiteX32" fmla="*/ 2263714 w 4032635"/>
                  <a:gd name="connsiteY32" fmla="*/ 3038034 h 5285288"/>
                  <a:gd name="connsiteX33" fmla="*/ 2261574 w 4032635"/>
                  <a:gd name="connsiteY33" fmla="*/ 4802821 h 5285288"/>
                  <a:gd name="connsiteX34" fmla="*/ 2194776 w 4032635"/>
                  <a:gd name="connsiteY34" fmla="*/ 5061801 h 5285288"/>
                  <a:gd name="connsiteX35" fmla="*/ 2050808 w 4032635"/>
                  <a:gd name="connsiteY35" fmla="*/ 5216241 h 5285288"/>
                  <a:gd name="connsiteX36" fmla="*/ 1840172 w 4032635"/>
                  <a:gd name="connsiteY36" fmla="*/ 5284752 h 5285288"/>
                  <a:gd name="connsiteX37" fmla="*/ 1790618 w 4032635"/>
                  <a:gd name="connsiteY37" fmla="*/ 5285252 h 5285288"/>
                  <a:gd name="connsiteX0" fmla="*/ 1563196 w 3805213"/>
                  <a:gd name="connsiteY0" fmla="*/ 5285252 h 5285288"/>
                  <a:gd name="connsiteX1" fmla="*/ 1451572 w 3805213"/>
                  <a:gd name="connsiteY1" fmla="*/ 5257452 h 5285288"/>
                  <a:gd name="connsiteX2" fmla="*/ 1391571 w 3805213"/>
                  <a:gd name="connsiteY2" fmla="*/ 5227600 h 5285288"/>
                  <a:gd name="connsiteX3" fmla="*/ 1648 w 3805213"/>
                  <a:gd name="connsiteY3" fmla="*/ 3888049 h 5285288"/>
                  <a:gd name="connsiteX4" fmla="*/ 81 w 3805213"/>
                  <a:gd name="connsiteY4" fmla="*/ 3881457 h 5285288"/>
                  <a:gd name="connsiteX5" fmla="*/ 0 w 3805213"/>
                  <a:gd name="connsiteY5" fmla="*/ 3894265 h 5285288"/>
                  <a:gd name="connsiteX6" fmla="*/ 57255 w 3805213"/>
                  <a:gd name="connsiteY6" fmla="*/ 3993435 h 5285288"/>
                  <a:gd name="connsiteX7" fmla="*/ 1558227 w 3805213"/>
                  <a:gd name="connsiteY7" fmla="*/ 4865353 h 5285288"/>
                  <a:gd name="connsiteX8" fmla="*/ 1558571 w 3805213"/>
                  <a:gd name="connsiteY8" fmla="*/ 4865745 h 5285288"/>
                  <a:gd name="connsiteX9" fmla="*/ 1580612 w 3805213"/>
                  <a:gd name="connsiteY9" fmla="*/ 4859558 h 5285288"/>
                  <a:gd name="connsiteX10" fmla="*/ 1626692 w 3805213"/>
                  <a:gd name="connsiteY10" fmla="*/ 4799004 h 5285288"/>
                  <a:gd name="connsiteX11" fmla="*/ 1628536 w 3805213"/>
                  <a:gd name="connsiteY11" fmla="*/ 4105978 h 5285288"/>
                  <a:gd name="connsiteX12" fmla="*/ 1630807 w 3805213"/>
                  <a:gd name="connsiteY12" fmla="*/ 1054770 h 5285288"/>
                  <a:gd name="connsiteX13" fmla="*/ 1629622 w 3805213"/>
                  <a:gd name="connsiteY13" fmla="*/ 1017192 h 5285288"/>
                  <a:gd name="connsiteX14" fmla="*/ 1627587 w 3805213"/>
                  <a:gd name="connsiteY14" fmla="*/ 494424 h 5285288"/>
                  <a:gd name="connsiteX15" fmla="*/ 1673078 w 3805213"/>
                  <a:gd name="connsiteY15" fmla="*/ 171698 h 5285288"/>
                  <a:gd name="connsiteX16" fmla="*/ 1837685 w 3805213"/>
                  <a:gd name="connsiteY16" fmla="*/ 25112 h 5285288"/>
                  <a:gd name="connsiteX17" fmla="*/ 2037331 w 3805213"/>
                  <a:gd name="connsiteY17" fmla="*/ 3326 h 5285288"/>
                  <a:gd name="connsiteX18" fmla="*/ 2213035 w 3805213"/>
                  <a:gd name="connsiteY18" fmla="*/ 37548 h 5285288"/>
                  <a:gd name="connsiteX19" fmla="*/ 3764188 w 3805213"/>
                  <a:gd name="connsiteY19" fmla="*/ 924343 h 5285288"/>
                  <a:gd name="connsiteX20" fmla="*/ 3765145 w 3805213"/>
                  <a:gd name="connsiteY20" fmla="*/ 1149844 h 5285288"/>
                  <a:gd name="connsiteX21" fmla="*/ 3591180 w 3805213"/>
                  <a:gd name="connsiteY21" fmla="*/ 1269783 h 5285288"/>
                  <a:gd name="connsiteX22" fmla="*/ 3571333 w 3805213"/>
                  <a:gd name="connsiteY22" fmla="*/ 1262485 h 5285288"/>
                  <a:gd name="connsiteX23" fmla="*/ 2105858 w 3805213"/>
                  <a:gd name="connsiteY23" fmla="*/ 431577 h 5285288"/>
                  <a:gd name="connsiteX24" fmla="*/ 2105515 w 3805213"/>
                  <a:gd name="connsiteY24" fmla="*/ 431184 h 5285288"/>
                  <a:gd name="connsiteX25" fmla="*/ 2083360 w 3805213"/>
                  <a:gd name="connsiteY25" fmla="*/ 437405 h 5285288"/>
                  <a:gd name="connsiteX26" fmla="*/ 2040710 w 3805213"/>
                  <a:gd name="connsiteY26" fmla="*/ 539231 h 5285288"/>
                  <a:gd name="connsiteX27" fmla="*/ 2040705 w 3805213"/>
                  <a:gd name="connsiteY27" fmla="*/ 1065628 h 5285288"/>
                  <a:gd name="connsiteX28" fmla="*/ 2037928 w 3805213"/>
                  <a:gd name="connsiteY28" fmla="*/ 1081825 h 5285288"/>
                  <a:gd name="connsiteX29" fmla="*/ 2035102 w 3805213"/>
                  <a:gd name="connsiteY29" fmla="*/ 1858316 h 5285288"/>
                  <a:gd name="connsiteX30" fmla="*/ 2036959 w 3805213"/>
                  <a:gd name="connsiteY30" fmla="*/ 1861834 h 5285288"/>
                  <a:gd name="connsiteX31" fmla="*/ 2036292 w 3805213"/>
                  <a:gd name="connsiteY31" fmla="*/ 3038034 h 5285288"/>
                  <a:gd name="connsiteX32" fmla="*/ 2034152 w 3805213"/>
                  <a:gd name="connsiteY32" fmla="*/ 4802821 h 5285288"/>
                  <a:gd name="connsiteX33" fmla="*/ 1967354 w 3805213"/>
                  <a:gd name="connsiteY33" fmla="*/ 5061801 h 5285288"/>
                  <a:gd name="connsiteX34" fmla="*/ 1823386 w 3805213"/>
                  <a:gd name="connsiteY34" fmla="*/ 5216241 h 5285288"/>
                  <a:gd name="connsiteX35" fmla="*/ 1612750 w 3805213"/>
                  <a:gd name="connsiteY35" fmla="*/ 5284752 h 5285288"/>
                  <a:gd name="connsiteX36" fmla="*/ 1563196 w 3805213"/>
                  <a:gd name="connsiteY36" fmla="*/ 5285252 h 5285288"/>
                  <a:gd name="connsiteX0" fmla="*/ 1635752 w 3877769"/>
                  <a:gd name="connsiteY0" fmla="*/ 5285252 h 5285288"/>
                  <a:gd name="connsiteX1" fmla="*/ 1524128 w 3877769"/>
                  <a:gd name="connsiteY1" fmla="*/ 5257452 h 5285288"/>
                  <a:gd name="connsiteX2" fmla="*/ 1464127 w 3877769"/>
                  <a:gd name="connsiteY2" fmla="*/ 5227600 h 5285288"/>
                  <a:gd name="connsiteX3" fmla="*/ 74204 w 3877769"/>
                  <a:gd name="connsiteY3" fmla="*/ 3888049 h 5285288"/>
                  <a:gd name="connsiteX4" fmla="*/ 72637 w 3877769"/>
                  <a:gd name="connsiteY4" fmla="*/ 3881457 h 5285288"/>
                  <a:gd name="connsiteX5" fmla="*/ 129811 w 3877769"/>
                  <a:gd name="connsiteY5" fmla="*/ 3993435 h 5285288"/>
                  <a:gd name="connsiteX6" fmla="*/ 1630783 w 3877769"/>
                  <a:gd name="connsiteY6" fmla="*/ 4865353 h 5285288"/>
                  <a:gd name="connsiteX7" fmla="*/ 1631127 w 3877769"/>
                  <a:gd name="connsiteY7" fmla="*/ 4865745 h 5285288"/>
                  <a:gd name="connsiteX8" fmla="*/ 1653168 w 3877769"/>
                  <a:gd name="connsiteY8" fmla="*/ 4859558 h 5285288"/>
                  <a:gd name="connsiteX9" fmla="*/ 1699248 w 3877769"/>
                  <a:gd name="connsiteY9" fmla="*/ 4799004 h 5285288"/>
                  <a:gd name="connsiteX10" fmla="*/ 1701092 w 3877769"/>
                  <a:gd name="connsiteY10" fmla="*/ 4105978 h 5285288"/>
                  <a:gd name="connsiteX11" fmla="*/ 1703363 w 3877769"/>
                  <a:gd name="connsiteY11" fmla="*/ 1054770 h 5285288"/>
                  <a:gd name="connsiteX12" fmla="*/ 1702178 w 3877769"/>
                  <a:gd name="connsiteY12" fmla="*/ 1017192 h 5285288"/>
                  <a:gd name="connsiteX13" fmla="*/ 1700143 w 3877769"/>
                  <a:gd name="connsiteY13" fmla="*/ 494424 h 5285288"/>
                  <a:gd name="connsiteX14" fmla="*/ 1745634 w 3877769"/>
                  <a:gd name="connsiteY14" fmla="*/ 171698 h 5285288"/>
                  <a:gd name="connsiteX15" fmla="*/ 1910241 w 3877769"/>
                  <a:gd name="connsiteY15" fmla="*/ 25112 h 5285288"/>
                  <a:gd name="connsiteX16" fmla="*/ 2109887 w 3877769"/>
                  <a:gd name="connsiteY16" fmla="*/ 3326 h 5285288"/>
                  <a:gd name="connsiteX17" fmla="*/ 2285591 w 3877769"/>
                  <a:gd name="connsiteY17" fmla="*/ 37548 h 5285288"/>
                  <a:gd name="connsiteX18" fmla="*/ 3836744 w 3877769"/>
                  <a:gd name="connsiteY18" fmla="*/ 924343 h 5285288"/>
                  <a:gd name="connsiteX19" fmla="*/ 3837701 w 3877769"/>
                  <a:gd name="connsiteY19" fmla="*/ 1149844 h 5285288"/>
                  <a:gd name="connsiteX20" fmla="*/ 3663736 w 3877769"/>
                  <a:gd name="connsiteY20" fmla="*/ 1269783 h 5285288"/>
                  <a:gd name="connsiteX21" fmla="*/ 3643889 w 3877769"/>
                  <a:gd name="connsiteY21" fmla="*/ 1262485 h 5285288"/>
                  <a:gd name="connsiteX22" fmla="*/ 2178414 w 3877769"/>
                  <a:gd name="connsiteY22" fmla="*/ 431577 h 5285288"/>
                  <a:gd name="connsiteX23" fmla="*/ 2178071 w 3877769"/>
                  <a:gd name="connsiteY23" fmla="*/ 431184 h 5285288"/>
                  <a:gd name="connsiteX24" fmla="*/ 2155916 w 3877769"/>
                  <a:gd name="connsiteY24" fmla="*/ 437405 h 5285288"/>
                  <a:gd name="connsiteX25" fmla="*/ 2113266 w 3877769"/>
                  <a:gd name="connsiteY25" fmla="*/ 539231 h 5285288"/>
                  <a:gd name="connsiteX26" fmla="*/ 2113261 w 3877769"/>
                  <a:gd name="connsiteY26" fmla="*/ 1065628 h 5285288"/>
                  <a:gd name="connsiteX27" fmla="*/ 2110484 w 3877769"/>
                  <a:gd name="connsiteY27" fmla="*/ 1081825 h 5285288"/>
                  <a:gd name="connsiteX28" fmla="*/ 2107658 w 3877769"/>
                  <a:gd name="connsiteY28" fmla="*/ 1858316 h 5285288"/>
                  <a:gd name="connsiteX29" fmla="*/ 2109515 w 3877769"/>
                  <a:gd name="connsiteY29" fmla="*/ 1861834 h 5285288"/>
                  <a:gd name="connsiteX30" fmla="*/ 2108848 w 3877769"/>
                  <a:gd name="connsiteY30" fmla="*/ 3038034 h 5285288"/>
                  <a:gd name="connsiteX31" fmla="*/ 2106708 w 3877769"/>
                  <a:gd name="connsiteY31" fmla="*/ 4802821 h 5285288"/>
                  <a:gd name="connsiteX32" fmla="*/ 2039910 w 3877769"/>
                  <a:gd name="connsiteY32" fmla="*/ 5061801 h 5285288"/>
                  <a:gd name="connsiteX33" fmla="*/ 1895942 w 3877769"/>
                  <a:gd name="connsiteY33" fmla="*/ 5216241 h 5285288"/>
                  <a:gd name="connsiteX34" fmla="*/ 1685306 w 3877769"/>
                  <a:gd name="connsiteY34" fmla="*/ 5284752 h 5285288"/>
                  <a:gd name="connsiteX35" fmla="*/ 1635752 w 3877769"/>
                  <a:gd name="connsiteY35" fmla="*/ 5285252 h 5285288"/>
                  <a:gd name="connsiteX0" fmla="*/ 1563115 w 3805132"/>
                  <a:gd name="connsiteY0" fmla="*/ 5285252 h 5285288"/>
                  <a:gd name="connsiteX1" fmla="*/ 1451491 w 3805132"/>
                  <a:gd name="connsiteY1" fmla="*/ 5257452 h 5285288"/>
                  <a:gd name="connsiteX2" fmla="*/ 1391490 w 3805132"/>
                  <a:gd name="connsiteY2" fmla="*/ 5227600 h 5285288"/>
                  <a:gd name="connsiteX3" fmla="*/ 1567 w 3805132"/>
                  <a:gd name="connsiteY3" fmla="*/ 3888049 h 5285288"/>
                  <a:gd name="connsiteX4" fmla="*/ 0 w 3805132"/>
                  <a:gd name="connsiteY4" fmla="*/ 3881457 h 5285288"/>
                  <a:gd name="connsiteX5" fmla="*/ 1558146 w 3805132"/>
                  <a:gd name="connsiteY5" fmla="*/ 4865353 h 5285288"/>
                  <a:gd name="connsiteX6" fmla="*/ 1558490 w 3805132"/>
                  <a:gd name="connsiteY6" fmla="*/ 4865745 h 5285288"/>
                  <a:gd name="connsiteX7" fmla="*/ 1580531 w 3805132"/>
                  <a:gd name="connsiteY7" fmla="*/ 4859558 h 5285288"/>
                  <a:gd name="connsiteX8" fmla="*/ 1626611 w 3805132"/>
                  <a:gd name="connsiteY8" fmla="*/ 4799004 h 5285288"/>
                  <a:gd name="connsiteX9" fmla="*/ 1628455 w 3805132"/>
                  <a:gd name="connsiteY9" fmla="*/ 4105978 h 5285288"/>
                  <a:gd name="connsiteX10" fmla="*/ 1630726 w 3805132"/>
                  <a:gd name="connsiteY10" fmla="*/ 1054770 h 5285288"/>
                  <a:gd name="connsiteX11" fmla="*/ 1629541 w 3805132"/>
                  <a:gd name="connsiteY11" fmla="*/ 1017192 h 5285288"/>
                  <a:gd name="connsiteX12" fmla="*/ 1627506 w 3805132"/>
                  <a:gd name="connsiteY12" fmla="*/ 494424 h 5285288"/>
                  <a:gd name="connsiteX13" fmla="*/ 1672997 w 3805132"/>
                  <a:gd name="connsiteY13" fmla="*/ 171698 h 5285288"/>
                  <a:gd name="connsiteX14" fmla="*/ 1837604 w 3805132"/>
                  <a:gd name="connsiteY14" fmla="*/ 25112 h 5285288"/>
                  <a:gd name="connsiteX15" fmla="*/ 2037250 w 3805132"/>
                  <a:gd name="connsiteY15" fmla="*/ 3326 h 5285288"/>
                  <a:gd name="connsiteX16" fmla="*/ 2212954 w 3805132"/>
                  <a:gd name="connsiteY16" fmla="*/ 37548 h 5285288"/>
                  <a:gd name="connsiteX17" fmla="*/ 3764107 w 3805132"/>
                  <a:gd name="connsiteY17" fmla="*/ 924343 h 5285288"/>
                  <a:gd name="connsiteX18" fmla="*/ 3765064 w 3805132"/>
                  <a:gd name="connsiteY18" fmla="*/ 1149844 h 5285288"/>
                  <a:gd name="connsiteX19" fmla="*/ 3591099 w 3805132"/>
                  <a:gd name="connsiteY19" fmla="*/ 1269783 h 5285288"/>
                  <a:gd name="connsiteX20" fmla="*/ 3571252 w 3805132"/>
                  <a:gd name="connsiteY20" fmla="*/ 1262485 h 5285288"/>
                  <a:gd name="connsiteX21" fmla="*/ 2105777 w 3805132"/>
                  <a:gd name="connsiteY21" fmla="*/ 431577 h 5285288"/>
                  <a:gd name="connsiteX22" fmla="*/ 2105434 w 3805132"/>
                  <a:gd name="connsiteY22" fmla="*/ 431184 h 5285288"/>
                  <a:gd name="connsiteX23" fmla="*/ 2083279 w 3805132"/>
                  <a:gd name="connsiteY23" fmla="*/ 437405 h 5285288"/>
                  <a:gd name="connsiteX24" fmla="*/ 2040629 w 3805132"/>
                  <a:gd name="connsiteY24" fmla="*/ 539231 h 5285288"/>
                  <a:gd name="connsiteX25" fmla="*/ 2040624 w 3805132"/>
                  <a:gd name="connsiteY25" fmla="*/ 1065628 h 5285288"/>
                  <a:gd name="connsiteX26" fmla="*/ 2037847 w 3805132"/>
                  <a:gd name="connsiteY26" fmla="*/ 1081825 h 5285288"/>
                  <a:gd name="connsiteX27" fmla="*/ 2035021 w 3805132"/>
                  <a:gd name="connsiteY27" fmla="*/ 1858316 h 5285288"/>
                  <a:gd name="connsiteX28" fmla="*/ 2036878 w 3805132"/>
                  <a:gd name="connsiteY28" fmla="*/ 1861834 h 5285288"/>
                  <a:gd name="connsiteX29" fmla="*/ 2036211 w 3805132"/>
                  <a:gd name="connsiteY29" fmla="*/ 3038034 h 5285288"/>
                  <a:gd name="connsiteX30" fmla="*/ 2034071 w 3805132"/>
                  <a:gd name="connsiteY30" fmla="*/ 4802821 h 5285288"/>
                  <a:gd name="connsiteX31" fmla="*/ 1967273 w 3805132"/>
                  <a:gd name="connsiteY31" fmla="*/ 5061801 h 5285288"/>
                  <a:gd name="connsiteX32" fmla="*/ 1823305 w 3805132"/>
                  <a:gd name="connsiteY32" fmla="*/ 5216241 h 5285288"/>
                  <a:gd name="connsiteX33" fmla="*/ 1612669 w 3805132"/>
                  <a:gd name="connsiteY33" fmla="*/ 5284752 h 5285288"/>
                  <a:gd name="connsiteX34" fmla="*/ 1563115 w 3805132"/>
                  <a:gd name="connsiteY34"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556923 w 3803565"/>
                  <a:gd name="connsiteY5" fmla="*/ 4865745 h 5285288"/>
                  <a:gd name="connsiteX6" fmla="*/ 1578964 w 3803565"/>
                  <a:gd name="connsiteY6" fmla="*/ 4859558 h 5285288"/>
                  <a:gd name="connsiteX7" fmla="*/ 1625044 w 3803565"/>
                  <a:gd name="connsiteY7" fmla="*/ 4799004 h 5285288"/>
                  <a:gd name="connsiteX8" fmla="*/ 1626888 w 3803565"/>
                  <a:gd name="connsiteY8" fmla="*/ 4105978 h 5285288"/>
                  <a:gd name="connsiteX9" fmla="*/ 1629159 w 3803565"/>
                  <a:gd name="connsiteY9" fmla="*/ 1054770 h 5285288"/>
                  <a:gd name="connsiteX10" fmla="*/ 1627974 w 3803565"/>
                  <a:gd name="connsiteY10" fmla="*/ 1017192 h 5285288"/>
                  <a:gd name="connsiteX11" fmla="*/ 1625939 w 3803565"/>
                  <a:gd name="connsiteY11" fmla="*/ 494424 h 5285288"/>
                  <a:gd name="connsiteX12" fmla="*/ 1671430 w 3803565"/>
                  <a:gd name="connsiteY12" fmla="*/ 171698 h 5285288"/>
                  <a:gd name="connsiteX13" fmla="*/ 1836037 w 3803565"/>
                  <a:gd name="connsiteY13" fmla="*/ 25112 h 5285288"/>
                  <a:gd name="connsiteX14" fmla="*/ 2035683 w 3803565"/>
                  <a:gd name="connsiteY14" fmla="*/ 3326 h 5285288"/>
                  <a:gd name="connsiteX15" fmla="*/ 2211387 w 3803565"/>
                  <a:gd name="connsiteY15" fmla="*/ 37548 h 5285288"/>
                  <a:gd name="connsiteX16" fmla="*/ 3762540 w 3803565"/>
                  <a:gd name="connsiteY16" fmla="*/ 924343 h 5285288"/>
                  <a:gd name="connsiteX17" fmla="*/ 3763497 w 3803565"/>
                  <a:gd name="connsiteY17" fmla="*/ 1149844 h 5285288"/>
                  <a:gd name="connsiteX18" fmla="*/ 3589532 w 3803565"/>
                  <a:gd name="connsiteY18" fmla="*/ 1269783 h 5285288"/>
                  <a:gd name="connsiteX19" fmla="*/ 3569685 w 3803565"/>
                  <a:gd name="connsiteY19" fmla="*/ 1262485 h 5285288"/>
                  <a:gd name="connsiteX20" fmla="*/ 2104210 w 3803565"/>
                  <a:gd name="connsiteY20" fmla="*/ 431577 h 5285288"/>
                  <a:gd name="connsiteX21" fmla="*/ 2103867 w 3803565"/>
                  <a:gd name="connsiteY21" fmla="*/ 431184 h 5285288"/>
                  <a:gd name="connsiteX22" fmla="*/ 2081712 w 3803565"/>
                  <a:gd name="connsiteY22" fmla="*/ 437405 h 5285288"/>
                  <a:gd name="connsiteX23" fmla="*/ 2039062 w 3803565"/>
                  <a:gd name="connsiteY23" fmla="*/ 539231 h 5285288"/>
                  <a:gd name="connsiteX24" fmla="*/ 2039057 w 3803565"/>
                  <a:gd name="connsiteY24" fmla="*/ 1065628 h 5285288"/>
                  <a:gd name="connsiteX25" fmla="*/ 2036280 w 3803565"/>
                  <a:gd name="connsiteY25" fmla="*/ 1081825 h 5285288"/>
                  <a:gd name="connsiteX26" fmla="*/ 2033454 w 3803565"/>
                  <a:gd name="connsiteY26" fmla="*/ 1858316 h 5285288"/>
                  <a:gd name="connsiteX27" fmla="*/ 2035311 w 3803565"/>
                  <a:gd name="connsiteY27" fmla="*/ 1861834 h 5285288"/>
                  <a:gd name="connsiteX28" fmla="*/ 2034644 w 3803565"/>
                  <a:gd name="connsiteY28" fmla="*/ 3038034 h 5285288"/>
                  <a:gd name="connsiteX29" fmla="*/ 2032504 w 3803565"/>
                  <a:gd name="connsiteY29" fmla="*/ 4802821 h 5285288"/>
                  <a:gd name="connsiteX30" fmla="*/ 1965706 w 3803565"/>
                  <a:gd name="connsiteY30" fmla="*/ 5061801 h 5285288"/>
                  <a:gd name="connsiteX31" fmla="*/ 1821738 w 3803565"/>
                  <a:gd name="connsiteY31" fmla="*/ 5216241 h 5285288"/>
                  <a:gd name="connsiteX32" fmla="*/ 1611102 w 3803565"/>
                  <a:gd name="connsiteY32" fmla="*/ 5284752 h 5285288"/>
                  <a:gd name="connsiteX33" fmla="*/ 1561548 w 3803565"/>
                  <a:gd name="connsiteY33"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556923 w 3803565"/>
                  <a:gd name="connsiteY5" fmla="*/ 4865745 h 5285288"/>
                  <a:gd name="connsiteX6" fmla="*/ 1625044 w 3803565"/>
                  <a:gd name="connsiteY6" fmla="*/ 4799004 h 5285288"/>
                  <a:gd name="connsiteX7" fmla="*/ 1626888 w 3803565"/>
                  <a:gd name="connsiteY7" fmla="*/ 4105978 h 5285288"/>
                  <a:gd name="connsiteX8" fmla="*/ 1629159 w 3803565"/>
                  <a:gd name="connsiteY8" fmla="*/ 1054770 h 5285288"/>
                  <a:gd name="connsiteX9" fmla="*/ 1627974 w 3803565"/>
                  <a:gd name="connsiteY9" fmla="*/ 1017192 h 5285288"/>
                  <a:gd name="connsiteX10" fmla="*/ 1625939 w 3803565"/>
                  <a:gd name="connsiteY10" fmla="*/ 494424 h 5285288"/>
                  <a:gd name="connsiteX11" fmla="*/ 1671430 w 3803565"/>
                  <a:gd name="connsiteY11" fmla="*/ 171698 h 5285288"/>
                  <a:gd name="connsiteX12" fmla="*/ 1836037 w 3803565"/>
                  <a:gd name="connsiteY12" fmla="*/ 25112 h 5285288"/>
                  <a:gd name="connsiteX13" fmla="*/ 2035683 w 3803565"/>
                  <a:gd name="connsiteY13" fmla="*/ 3326 h 5285288"/>
                  <a:gd name="connsiteX14" fmla="*/ 2211387 w 3803565"/>
                  <a:gd name="connsiteY14" fmla="*/ 37548 h 5285288"/>
                  <a:gd name="connsiteX15" fmla="*/ 3762540 w 3803565"/>
                  <a:gd name="connsiteY15" fmla="*/ 924343 h 5285288"/>
                  <a:gd name="connsiteX16" fmla="*/ 3763497 w 3803565"/>
                  <a:gd name="connsiteY16" fmla="*/ 1149844 h 5285288"/>
                  <a:gd name="connsiteX17" fmla="*/ 3589532 w 3803565"/>
                  <a:gd name="connsiteY17" fmla="*/ 1269783 h 5285288"/>
                  <a:gd name="connsiteX18" fmla="*/ 3569685 w 3803565"/>
                  <a:gd name="connsiteY18" fmla="*/ 1262485 h 5285288"/>
                  <a:gd name="connsiteX19" fmla="*/ 2104210 w 3803565"/>
                  <a:gd name="connsiteY19" fmla="*/ 431577 h 5285288"/>
                  <a:gd name="connsiteX20" fmla="*/ 2103867 w 3803565"/>
                  <a:gd name="connsiteY20" fmla="*/ 431184 h 5285288"/>
                  <a:gd name="connsiteX21" fmla="*/ 2081712 w 3803565"/>
                  <a:gd name="connsiteY21" fmla="*/ 437405 h 5285288"/>
                  <a:gd name="connsiteX22" fmla="*/ 2039062 w 3803565"/>
                  <a:gd name="connsiteY22" fmla="*/ 539231 h 5285288"/>
                  <a:gd name="connsiteX23" fmla="*/ 2039057 w 3803565"/>
                  <a:gd name="connsiteY23" fmla="*/ 1065628 h 5285288"/>
                  <a:gd name="connsiteX24" fmla="*/ 2036280 w 3803565"/>
                  <a:gd name="connsiteY24" fmla="*/ 1081825 h 5285288"/>
                  <a:gd name="connsiteX25" fmla="*/ 2033454 w 3803565"/>
                  <a:gd name="connsiteY25" fmla="*/ 1858316 h 5285288"/>
                  <a:gd name="connsiteX26" fmla="*/ 2035311 w 3803565"/>
                  <a:gd name="connsiteY26" fmla="*/ 1861834 h 5285288"/>
                  <a:gd name="connsiteX27" fmla="*/ 2034644 w 3803565"/>
                  <a:gd name="connsiteY27" fmla="*/ 3038034 h 5285288"/>
                  <a:gd name="connsiteX28" fmla="*/ 2032504 w 3803565"/>
                  <a:gd name="connsiteY28" fmla="*/ 4802821 h 5285288"/>
                  <a:gd name="connsiteX29" fmla="*/ 1965706 w 3803565"/>
                  <a:gd name="connsiteY29" fmla="*/ 5061801 h 5285288"/>
                  <a:gd name="connsiteX30" fmla="*/ 1821738 w 3803565"/>
                  <a:gd name="connsiteY30" fmla="*/ 5216241 h 5285288"/>
                  <a:gd name="connsiteX31" fmla="*/ 1611102 w 3803565"/>
                  <a:gd name="connsiteY31" fmla="*/ 5284752 h 5285288"/>
                  <a:gd name="connsiteX32" fmla="*/ 1561548 w 3803565"/>
                  <a:gd name="connsiteY32"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625044 w 3803565"/>
                  <a:gd name="connsiteY5" fmla="*/ 4799004 h 5285288"/>
                  <a:gd name="connsiteX6" fmla="*/ 1626888 w 3803565"/>
                  <a:gd name="connsiteY6" fmla="*/ 4105978 h 5285288"/>
                  <a:gd name="connsiteX7" fmla="*/ 1629159 w 3803565"/>
                  <a:gd name="connsiteY7" fmla="*/ 1054770 h 5285288"/>
                  <a:gd name="connsiteX8" fmla="*/ 1627974 w 3803565"/>
                  <a:gd name="connsiteY8" fmla="*/ 1017192 h 5285288"/>
                  <a:gd name="connsiteX9" fmla="*/ 1625939 w 3803565"/>
                  <a:gd name="connsiteY9" fmla="*/ 494424 h 5285288"/>
                  <a:gd name="connsiteX10" fmla="*/ 1671430 w 3803565"/>
                  <a:gd name="connsiteY10" fmla="*/ 171698 h 5285288"/>
                  <a:gd name="connsiteX11" fmla="*/ 1836037 w 3803565"/>
                  <a:gd name="connsiteY11" fmla="*/ 25112 h 5285288"/>
                  <a:gd name="connsiteX12" fmla="*/ 2035683 w 3803565"/>
                  <a:gd name="connsiteY12" fmla="*/ 3326 h 5285288"/>
                  <a:gd name="connsiteX13" fmla="*/ 2211387 w 3803565"/>
                  <a:gd name="connsiteY13" fmla="*/ 37548 h 5285288"/>
                  <a:gd name="connsiteX14" fmla="*/ 3762540 w 3803565"/>
                  <a:gd name="connsiteY14" fmla="*/ 924343 h 5285288"/>
                  <a:gd name="connsiteX15" fmla="*/ 3763497 w 3803565"/>
                  <a:gd name="connsiteY15" fmla="*/ 1149844 h 5285288"/>
                  <a:gd name="connsiteX16" fmla="*/ 3589532 w 3803565"/>
                  <a:gd name="connsiteY16" fmla="*/ 1269783 h 5285288"/>
                  <a:gd name="connsiteX17" fmla="*/ 3569685 w 3803565"/>
                  <a:gd name="connsiteY17" fmla="*/ 1262485 h 5285288"/>
                  <a:gd name="connsiteX18" fmla="*/ 2104210 w 3803565"/>
                  <a:gd name="connsiteY18" fmla="*/ 431577 h 5285288"/>
                  <a:gd name="connsiteX19" fmla="*/ 2103867 w 3803565"/>
                  <a:gd name="connsiteY19" fmla="*/ 431184 h 5285288"/>
                  <a:gd name="connsiteX20" fmla="*/ 2081712 w 3803565"/>
                  <a:gd name="connsiteY20" fmla="*/ 437405 h 5285288"/>
                  <a:gd name="connsiteX21" fmla="*/ 2039062 w 3803565"/>
                  <a:gd name="connsiteY21" fmla="*/ 539231 h 5285288"/>
                  <a:gd name="connsiteX22" fmla="*/ 2039057 w 3803565"/>
                  <a:gd name="connsiteY22" fmla="*/ 1065628 h 5285288"/>
                  <a:gd name="connsiteX23" fmla="*/ 2036280 w 3803565"/>
                  <a:gd name="connsiteY23" fmla="*/ 1081825 h 5285288"/>
                  <a:gd name="connsiteX24" fmla="*/ 2033454 w 3803565"/>
                  <a:gd name="connsiteY24" fmla="*/ 1858316 h 5285288"/>
                  <a:gd name="connsiteX25" fmla="*/ 2035311 w 3803565"/>
                  <a:gd name="connsiteY25" fmla="*/ 1861834 h 5285288"/>
                  <a:gd name="connsiteX26" fmla="*/ 2034644 w 3803565"/>
                  <a:gd name="connsiteY26" fmla="*/ 3038034 h 5285288"/>
                  <a:gd name="connsiteX27" fmla="*/ 2032504 w 3803565"/>
                  <a:gd name="connsiteY27" fmla="*/ 4802821 h 5285288"/>
                  <a:gd name="connsiteX28" fmla="*/ 1965706 w 3803565"/>
                  <a:gd name="connsiteY28" fmla="*/ 5061801 h 5285288"/>
                  <a:gd name="connsiteX29" fmla="*/ 1821738 w 3803565"/>
                  <a:gd name="connsiteY29" fmla="*/ 5216241 h 5285288"/>
                  <a:gd name="connsiteX30" fmla="*/ 1611102 w 3803565"/>
                  <a:gd name="connsiteY30" fmla="*/ 5284752 h 5285288"/>
                  <a:gd name="connsiteX31" fmla="*/ 1561548 w 3803565"/>
                  <a:gd name="connsiteY31"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625044 w 3803565"/>
                  <a:gd name="connsiteY4" fmla="*/ 4799004 h 5285288"/>
                  <a:gd name="connsiteX5" fmla="*/ 1626888 w 3803565"/>
                  <a:gd name="connsiteY5" fmla="*/ 4105978 h 5285288"/>
                  <a:gd name="connsiteX6" fmla="*/ 1629159 w 3803565"/>
                  <a:gd name="connsiteY6" fmla="*/ 1054770 h 5285288"/>
                  <a:gd name="connsiteX7" fmla="*/ 1627974 w 3803565"/>
                  <a:gd name="connsiteY7" fmla="*/ 1017192 h 5285288"/>
                  <a:gd name="connsiteX8" fmla="*/ 1625939 w 3803565"/>
                  <a:gd name="connsiteY8" fmla="*/ 494424 h 5285288"/>
                  <a:gd name="connsiteX9" fmla="*/ 1671430 w 3803565"/>
                  <a:gd name="connsiteY9" fmla="*/ 171698 h 5285288"/>
                  <a:gd name="connsiteX10" fmla="*/ 1836037 w 3803565"/>
                  <a:gd name="connsiteY10" fmla="*/ 25112 h 5285288"/>
                  <a:gd name="connsiteX11" fmla="*/ 2035683 w 3803565"/>
                  <a:gd name="connsiteY11" fmla="*/ 3326 h 5285288"/>
                  <a:gd name="connsiteX12" fmla="*/ 2211387 w 3803565"/>
                  <a:gd name="connsiteY12" fmla="*/ 37548 h 5285288"/>
                  <a:gd name="connsiteX13" fmla="*/ 3762540 w 3803565"/>
                  <a:gd name="connsiteY13" fmla="*/ 924343 h 5285288"/>
                  <a:gd name="connsiteX14" fmla="*/ 3763497 w 3803565"/>
                  <a:gd name="connsiteY14" fmla="*/ 1149844 h 5285288"/>
                  <a:gd name="connsiteX15" fmla="*/ 3589532 w 3803565"/>
                  <a:gd name="connsiteY15" fmla="*/ 1269783 h 5285288"/>
                  <a:gd name="connsiteX16" fmla="*/ 3569685 w 3803565"/>
                  <a:gd name="connsiteY16" fmla="*/ 1262485 h 5285288"/>
                  <a:gd name="connsiteX17" fmla="*/ 2104210 w 3803565"/>
                  <a:gd name="connsiteY17" fmla="*/ 431577 h 5285288"/>
                  <a:gd name="connsiteX18" fmla="*/ 2103867 w 3803565"/>
                  <a:gd name="connsiteY18" fmla="*/ 431184 h 5285288"/>
                  <a:gd name="connsiteX19" fmla="*/ 2081712 w 3803565"/>
                  <a:gd name="connsiteY19" fmla="*/ 437405 h 5285288"/>
                  <a:gd name="connsiteX20" fmla="*/ 2039062 w 3803565"/>
                  <a:gd name="connsiteY20" fmla="*/ 539231 h 5285288"/>
                  <a:gd name="connsiteX21" fmla="*/ 2039057 w 3803565"/>
                  <a:gd name="connsiteY21" fmla="*/ 1065628 h 5285288"/>
                  <a:gd name="connsiteX22" fmla="*/ 2036280 w 3803565"/>
                  <a:gd name="connsiteY22" fmla="*/ 1081825 h 5285288"/>
                  <a:gd name="connsiteX23" fmla="*/ 2033454 w 3803565"/>
                  <a:gd name="connsiteY23" fmla="*/ 1858316 h 5285288"/>
                  <a:gd name="connsiteX24" fmla="*/ 2035311 w 3803565"/>
                  <a:gd name="connsiteY24" fmla="*/ 1861834 h 5285288"/>
                  <a:gd name="connsiteX25" fmla="*/ 2034644 w 3803565"/>
                  <a:gd name="connsiteY25" fmla="*/ 3038034 h 5285288"/>
                  <a:gd name="connsiteX26" fmla="*/ 2032504 w 3803565"/>
                  <a:gd name="connsiteY26" fmla="*/ 4802821 h 5285288"/>
                  <a:gd name="connsiteX27" fmla="*/ 1965706 w 3803565"/>
                  <a:gd name="connsiteY27" fmla="*/ 5061801 h 5285288"/>
                  <a:gd name="connsiteX28" fmla="*/ 1821738 w 3803565"/>
                  <a:gd name="connsiteY28" fmla="*/ 5216241 h 5285288"/>
                  <a:gd name="connsiteX29" fmla="*/ 1611102 w 3803565"/>
                  <a:gd name="connsiteY29" fmla="*/ 5284752 h 5285288"/>
                  <a:gd name="connsiteX30" fmla="*/ 1561548 w 3803565"/>
                  <a:gd name="connsiteY30" fmla="*/ 5285252 h 5285288"/>
                  <a:gd name="connsiteX0" fmla="*/ 171625 w 2413642"/>
                  <a:gd name="connsiteY0" fmla="*/ 5285252 h 5285288"/>
                  <a:gd name="connsiteX1" fmla="*/ 60001 w 2413642"/>
                  <a:gd name="connsiteY1" fmla="*/ 5257452 h 5285288"/>
                  <a:gd name="connsiteX2" fmla="*/ 0 w 2413642"/>
                  <a:gd name="connsiteY2" fmla="*/ 5227600 h 5285288"/>
                  <a:gd name="connsiteX3" fmla="*/ 235121 w 2413642"/>
                  <a:gd name="connsiteY3" fmla="*/ 4799004 h 5285288"/>
                  <a:gd name="connsiteX4" fmla="*/ 236965 w 2413642"/>
                  <a:gd name="connsiteY4" fmla="*/ 4105978 h 5285288"/>
                  <a:gd name="connsiteX5" fmla="*/ 239236 w 2413642"/>
                  <a:gd name="connsiteY5" fmla="*/ 1054770 h 5285288"/>
                  <a:gd name="connsiteX6" fmla="*/ 238051 w 2413642"/>
                  <a:gd name="connsiteY6" fmla="*/ 1017192 h 5285288"/>
                  <a:gd name="connsiteX7" fmla="*/ 236016 w 2413642"/>
                  <a:gd name="connsiteY7" fmla="*/ 494424 h 5285288"/>
                  <a:gd name="connsiteX8" fmla="*/ 281507 w 2413642"/>
                  <a:gd name="connsiteY8" fmla="*/ 171698 h 5285288"/>
                  <a:gd name="connsiteX9" fmla="*/ 446114 w 2413642"/>
                  <a:gd name="connsiteY9" fmla="*/ 25112 h 5285288"/>
                  <a:gd name="connsiteX10" fmla="*/ 645760 w 2413642"/>
                  <a:gd name="connsiteY10" fmla="*/ 3326 h 5285288"/>
                  <a:gd name="connsiteX11" fmla="*/ 821464 w 2413642"/>
                  <a:gd name="connsiteY11" fmla="*/ 37548 h 5285288"/>
                  <a:gd name="connsiteX12" fmla="*/ 2372617 w 2413642"/>
                  <a:gd name="connsiteY12" fmla="*/ 924343 h 5285288"/>
                  <a:gd name="connsiteX13" fmla="*/ 2373574 w 2413642"/>
                  <a:gd name="connsiteY13" fmla="*/ 1149844 h 5285288"/>
                  <a:gd name="connsiteX14" fmla="*/ 2199609 w 2413642"/>
                  <a:gd name="connsiteY14" fmla="*/ 1269783 h 5285288"/>
                  <a:gd name="connsiteX15" fmla="*/ 2179762 w 2413642"/>
                  <a:gd name="connsiteY15" fmla="*/ 1262485 h 5285288"/>
                  <a:gd name="connsiteX16" fmla="*/ 714287 w 2413642"/>
                  <a:gd name="connsiteY16" fmla="*/ 431577 h 5285288"/>
                  <a:gd name="connsiteX17" fmla="*/ 713944 w 2413642"/>
                  <a:gd name="connsiteY17" fmla="*/ 431184 h 5285288"/>
                  <a:gd name="connsiteX18" fmla="*/ 691789 w 2413642"/>
                  <a:gd name="connsiteY18" fmla="*/ 437405 h 5285288"/>
                  <a:gd name="connsiteX19" fmla="*/ 649139 w 2413642"/>
                  <a:gd name="connsiteY19" fmla="*/ 539231 h 5285288"/>
                  <a:gd name="connsiteX20" fmla="*/ 649134 w 2413642"/>
                  <a:gd name="connsiteY20" fmla="*/ 1065628 h 5285288"/>
                  <a:gd name="connsiteX21" fmla="*/ 646357 w 2413642"/>
                  <a:gd name="connsiteY21" fmla="*/ 1081825 h 5285288"/>
                  <a:gd name="connsiteX22" fmla="*/ 643531 w 2413642"/>
                  <a:gd name="connsiteY22" fmla="*/ 1858316 h 5285288"/>
                  <a:gd name="connsiteX23" fmla="*/ 645388 w 2413642"/>
                  <a:gd name="connsiteY23" fmla="*/ 1861834 h 5285288"/>
                  <a:gd name="connsiteX24" fmla="*/ 644721 w 2413642"/>
                  <a:gd name="connsiteY24" fmla="*/ 3038034 h 5285288"/>
                  <a:gd name="connsiteX25" fmla="*/ 642581 w 2413642"/>
                  <a:gd name="connsiteY25" fmla="*/ 4802821 h 5285288"/>
                  <a:gd name="connsiteX26" fmla="*/ 575783 w 2413642"/>
                  <a:gd name="connsiteY26" fmla="*/ 5061801 h 5285288"/>
                  <a:gd name="connsiteX27" fmla="*/ 431815 w 2413642"/>
                  <a:gd name="connsiteY27" fmla="*/ 5216241 h 5285288"/>
                  <a:gd name="connsiteX28" fmla="*/ 221179 w 2413642"/>
                  <a:gd name="connsiteY28" fmla="*/ 5284752 h 5285288"/>
                  <a:gd name="connsiteX29" fmla="*/ 171625 w 2413642"/>
                  <a:gd name="connsiteY29" fmla="*/ 5285252 h 5285288"/>
                  <a:gd name="connsiteX0" fmla="*/ 111624 w 2353641"/>
                  <a:gd name="connsiteY0" fmla="*/ 5285252 h 5285288"/>
                  <a:gd name="connsiteX1" fmla="*/ 0 w 2353641"/>
                  <a:gd name="connsiteY1" fmla="*/ 5257452 h 5285288"/>
                  <a:gd name="connsiteX2" fmla="*/ 175120 w 2353641"/>
                  <a:gd name="connsiteY2" fmla="*/ 4799004 h 5285288"/>
                  <a:gd name="connsiteX3" fmla="*/ 176964 w 2353641"/>
                  <a:gd name="connsiteY3" fmla="*/ 4105978 h 5285288"/>
                  <a:gd name="connsiteX4" fmla="*/ 179235 w 2353641"/>
                  <a:gd name="connsiteY4" fmla="*/ 1054770 h 5285288"/>
                  <a:gd name="connsiteX5" fmla="*/ 178050 w 2353641"/>
                  <a:gd name="connsiteY5" fmla="*/ 1017192 h 5285288"/>
                  <a:gd name="connsiteX6" fmla="*/ 176015 w 2353641"/>
                  <a:gd name="connsiteY6" fmla="*/ 494424 h 5285288"/>
                  <a:gd name="connsiteX7" fmla="*/ 221506 w 2353641"/>
                  <a:gd name="connsiteY7" fmla="*/ 171698 h 5285288"/>
                  <a:gd name="connsiteX8" fmla="*/ 386113 w 2353641"/>
                  <a:gd name="connsiteY8" fmla="*/ 25112 h 5285288"/>
                  <a:gd name="connsiteX9" fmla="*/ 585759 w 2353641"/>
                  <a:gd name="connsiteY9" fmla="*/ 3326 h 5285288"/>
                  <a:gd name="connsiteX10" fmla="*/ 761463 w 2353641"/>
                  <a:gd name="connsiteY10" fmla="*/ 37548 h 5285288"/>
                  <a:gd name="connsiteX11" fmla="*/ 2312616 w 2353641"/>
                  <a:gd name="connsiteY11" fmla="*/ 924343 h 5285288"/>
                  <a:gd name="connsiteX12" fmla="*/ 2313573 w 2353641"/>
                  <a:gd name="connsiteY12" fmla="*/ 1149844 h 5285288"/>
                  <a:gd name="connsiteX13" fmla="*/ 2139608 w 2353641"/>
                  <a:gd name="connsiteY13" fmla="*/ 1269783 h 5285288"/>
                  <a:gd name="connsiteX14" fmla="*/ 2119761 w 2353641"/>
                  <a:gd name="connsiteY14" fmla="*/ 1262485 h 5285288"/>
                  <a:gd name="connsiteX15" fmla="*/ 654286 w 2353641"/>
                  <a:gd name="connsiteY15" fmla="*/ 431577 h 5285288"/>
                  <a:gd name="connsiteX16" fmla="*/ 653943 w 2353641"/>
                  <a:gd name="connsiteY16" fmla="*/ 431184 h 5285288"/>
                  <a:gd name="connsiteX17" fmla="*/ 631788 w 2353641"/>
                  <a:gd name="connsiteY17" fmla="*/ 437405 h 5285288"/>
                  <a:gd name="connsiteX18" fmla="*/ 589138 w 2353641"/>
                  <a:gd name="connsiteY18" fmla="*/ 539231 h 5285288"/>
                  <a:gd name="connsiteX19" fmla="*/ 589133 w 2353641"/>
                  <a:gd name="connsiteY19" fmla="*/ 1065628 h 5285288"/>
                  <a:gd name="connsiteX20" fmla="*/ 586356 w 2353641"/>
                  <a:gd name="connsiteY20" fmla="*/ 1081825 h 5285288"/>
                  <a:gd name="connsiteX21" fmla="*/ 583530 w 2353641"/>
                  <a:gd name="connsiteY21" fmla="*/ 1858316 h 5285288"/>
                  <a:gd name="connsiteX22" fmla="*/ 585387 w 2353641"/>
                  <a:gd name="connsiteY22" fmla="*/ 1861834 h 5285288"/>
                  <a:gd name="connsiteX23" fmla="*/ 584720 w 2353641"/>
                  <a:gd name="connsiteY23" fmla="*/ 3038034 h 5285288"/>
                  <a:gd name="connsiteX24" fmla="*/ 582580 w 2353641"/>
                  <a:gd name="connsiteY24" fmla="*/ 4802821 h 5285288"/>
                  <a:gd name="connsiteX25" fmla="*/ 515782 w 2353641"/>
                  <a:gd name="connsiteY25" fmla="*/ 5061801 h 5285288"/>
                  <a:gd name="connsiteX26" fmla="*/ 371814 w 2353641"/>
                  <a:gd name="connsiteY26" fmla="*/ 5216241 h 5285288"/>
                  <a:gd name="connsiteX27" fmla="*/ 161178 w 2353641"/>
                  <a:gd name="connsiteY27" fmla="*/ 5284752 h 5285288"/>
                  <a:gd name="connsiteX28" fmla="*/ 111624 w 2353641"/>
                  <a:gd name="connsiteY28" fmla="*/ 5285252 h 5285288"/>
                  <a:gd name="connsiteX0" fmla="*/ 0 w 2242017"/>
                  <a:gd name="connsiteY0" fmla="*/ 5285252 h 5285252"/>
                  <a:gd name="connsiteX1" fmla="*/ 63496 w 2242017"/>
                  <a:gd name="connsiteY1" fmla="*/ 4799004 h 5285252"/>
                  <a:gd name="connsiteX2" fmla="*/ 65340 w 2242017"/>
                  <a:gd name="connsiteY2" fmla="*/ 4105978 h 5285252"/>
                  <a:gd name="connsiteX3" fmla="*/ 67611 w 2242017"/>
                  <a:gd name="connsiteY3" fmla="*/ 1054770 h 5285252"/>
                  <a:gd name="connsiteX4" fmla="*/ 66426 w 2242017"/>
                  <a:gd name="connsiteY4" fmla="*/ 1017192 h 5285252"/>
                  <a:gd name="connsiteX5" fmla="*/ 64391 w 2242017"/>
                  <a:gd name="connsiteY5" fmla="*/ 494424 h 5285252"/>
                  <a:gd name="connsiteX6" fmla="*/ 109882 w 2242017"/>
                  <a:gd name="connsiteY6" fmla="*/ 171698 h 5285252"/>
                  <a:gd name="connsiteX7" fmla="*/ 274489 w 2242017"/>
                  <a:gd name="connsiteY7" fmla="*/ 25112 h 5285252"/>
                  <a:gd name="connsiteX8" fmla="*/ 474135 w 2242017"/>
                  <a:gd name="connsiteY8" fmla="*/ 3326 h 5285252"/>
                  <a:gd name="connsiteX9" fmla="*/ 649839 w 2242017"/>
                  <a:gd name="connsiteY9" fmla="*/ 37548 h 5285252"/>
                  <a:gd name="connsiteX10" fmla="*/ 2200992 w 2242017"/>
                  <a:gd name="connsiteY10" fmla="*/ 924343 h 5285252"/>
                  <a:gd name="connsiteX11" fmla="*/ 2201949 w 2242017"/>
                  <a:gd name="connsiteY11" fmla="*/ 1149844 h 5285252"/>
                  <a:gd name="connsiteX12" fmla="*/ 2027984 w 2242017"/>
                  <a:gd name="connsiteY12" fmla="*/ 1269783 h 5285252"/>
                  <a:gd name="connsiteX13" fmla="*/ 2008137 w 2242017"/>
                  <a:gd name="connsiteY13" fmla="*/ 1262485 h 5285252"/>
                  <a:gd name="connsiteX14" fmla="*/ 542662 w 2242017"/>
                  <a:gd name="connsiteY14" fmla="*/ 431577 h 5285252"/>
                  <a:gd name="connsiteX15" fmla="*/ 542319 w 2242017"/>
                  <a:gd name="connsiteY15" fmla="*/ 431184 h 5285252"/>
                  <a:gd name="connsiteX16" fmla="*/ 520164 w 2242017"/>
                  <a:gd name="connsiteY16" fmla="*/ 437405 h 5285252"/>
                  <a:gd name="connsiteX17" fmla="*/ 477514 w 2242017"/>
                  <a:gd name="connsiteY17" fmla="*/ 539231 h 5285252"/>
                  <a:gd name="connsiteX18" fmla="*/ 477509 w 2242017"/>
                  <a:gd name="connsiteY18" fmla="*/ 1065628 h 5285252"/>
                  <a:gd name="connsiteX19" fmla="*/ 474732 w 2242017"/>
                  <a:gd name="connsiteY19" fmla="*/ 1081825 h 5285252"/>
                  <a:gd name="connsiteX20" fmla="*/ 471906 w 2242017"/>
                  <a:gd name="connsiteY20" fmla="*/ 1858316 h 5285252"/>
                  <a:gd name="connsiteX21" fmla="*/ 473763 w 2242017"/>
                  <a:gd name="connsiteY21" fmla="*/ 1861834 h 5285252"/>
                  <a:gd name="connsiteX22" fmla="*/ 473096 w 2242017"/>
                  <a:gd name="connsiteY22" fmla="*/ 3038034 h 5285252"/>
                  <a:gd name="connsiteX23" fmla="*/ 470956 w 2242017"/>
                  <a:gd name="connsiteY23" fmla="*/ 4802821 h 5285252"/>
                  <a:gd name="connsiteX24" fmla="*/ 404158 w 2242017"/>
                  <a:gd name="connsiteY24" fmla="*/ 5061801 h 5285252"/>
                  <a:gd name="connsiteX25" fmla="*/ 260190 w 2242017"/>
                  <a:gd name="connsiteY25" fmla="*/ 5216241 h 5285252"/>
                  <a:gd name="connsiteX26" fmla="*/ 49554 w 2242017"/>
                  <a:gd name="connsiteY26" fmla="*/ 5284752 h 5285252"/>
                  <a:gd name="connsiteX27" fmla="*/ 0 w 2242017"/>
                  <a:gd name="connsiteY27" fmla="*/ 5285252 h 5285252"/>
                  <a:gd name="connsiteX0" fmla="*/ 12071 w 2204534"/>
                  <a:gd name="connsiteY0" fmla="*/ 5284752 h 5284899"/>
                  <a:gd name="connsiteX1" fmla="*/ 26013 w 2204534"/>
                  <a:gd name="connsiteY1" fmla="*/ 4799004 h 5284899"/>
                  <a:gd name="connsiteX2" fmla="*/ 27857 w 2204534"/>
                  <a:gd name="connsiteY2" fmla="*/ 4105978 h 5284899"/>
                  <a:gd name="connsiteX3" fmla="*/ 30128 w 2204534"/>
                  <a:gd name="connsiteY3" fmla="*/ 1054770 h 5284899"/>
                  <a:gd name="connsiteX4" fmla="*/ 28943 w 2204534"/>
                  <a:gd name="connsiteY4" fmla="*/ 1017192 h 5284899"/>
                  <a:gd name="connsiteX5" fmla="*/ 26908 w 2204534"/>
                  <a:gd name="connsiteY5" fmla="*/ 494424 h 5284899"/>
                  <a:gd name="connsiteX6" fmla="*/ 72399 w 2204534"/>
                  <a:gd name="connsiteY6" fmla="*/ 171698 h 5284899"/>
                  <a:gd name="connsiteX7" fmla="*/ 237006 w 2204534"/>
                  <a:gd name="connsiteY7" fmla="*/ 25112 h 5284899"/>
                  <a:gd name="connsiteX8" fmla="*/ 436652 w 2204534"/>
                  <a:gd name="connsiteY8" fmla="*/ 3326 h 5284899"/>
                  <a:gd name="connsiteX9" fmla="*/ 612356 w 2204534"/>
                  <a:gd name="connsiteY9" fmla="*/ 37548 h 5284899"/>
                  <a:gd name="connsiteX10" fmla="*/ 2163509 w 2204534"/>
                  <a:gd name="connsiteY10" fmla="*/ 924343 h 5284899"/>
                  <a:gd name="connsiteX11" fmla="*/ 2164466 w 2204534"/>
                  <a:gd name="connsiteY11" fmla="*/ 1149844 h 5284899"/>
                  <a:gd name="connsiteX12" fmla="*/ 1990501 w 2204534"/>
                  <a:gd name="connsiteY12" fmla="*/ 1269783 h 5284899"/>
                  <a:gd name="connsiteX13" fmla="*/ 1970654 w 2204534"/>
                  <a:gd name="connsiteY13" fmla="*/ 1262485 h 5284899"/>
                  <a:gd name="connsiteX14" fmla="*/ 505179 w 2204534"/>
                  <a:gd name="connsiteY14" fmla="*/ 431577 h 5284899"/>
                  <a:gd name="connsiteX15" fmla="*/ 504836 w 2204534"/>
                  <a:gd name="connsiteY15" fmla="*/ 431184 h 5284899"/>
                  <a:gd name="connsiteX16" fmla="*/ 482681 w 2204534"/>
                  <a:gd name="connsiteY16" fmla="*/ 437405 h 5284899"/>
                  <a:gd name="connsiteX17" fmla="*/ 440031 w 2204534"/>
                  <a:gd name="connsiteY17" fmla="*/ 539231 h 5284899"/>
                  <a:gd name="connsiteX18" fmla="*/ 440026 w 2204534"/>
                  <a:gd name="connsiteY18" fmla="*/ 1065628 h 5284899"/>
                  <a:gd name="connsiteX19" fmla="*/ 437249 w 2204534"/>
                  <a:gd name="connsiteY19" fmla="*/ 1081825 h 5284899"/>
                  <a:gd name="connsiteX20" fmla="*/ 434423 w 2204534"/>
                  <a:gd name="connsiteY20" fmla="*/ 1858316 h 5284899"/>
                  <a:gd name="connsiteX21" fmla="*/ 436280 w 2204534"/>
                  <a:gd name="connsiteY21" fmla="*/ 1861834 h 5284899"/>
                  <a:gd name="connsiteX22" fmla="*/ 435613 w 2204534"/>
                  <a:gd name="connsiteY22" fmla="*/ 3038034 h 5284899"/>
                  <a:gd name="connsiteX23" fmla="*/ 433473 w 2204534"/>
                  <a:gd name="connsiteY23" fmla="*/ 4802821 h 5284899"/>
                  <a:gd name="connsiteX24" fmla="*/ 366675 w 2204534"/>
                  <a:gd name="connsiteY24" fmla="*/ 5061801 h 5284899"/>
                  <a:gd name="connsiteX25" fmla="*/ 222707 w 2204534"/>
                  <a:gd name="connsiteY25" fmla="*/ 5216241 h 5284899"/>
                  <a:gd name="connsiteX26" fmla="*/ 12071 w 2204534"/>
                  <a:gd name="connsiteY26" fmla="*/ 5284752 h 5284899"/>
                  <a:gd name="connsiteX0" fmla="*/ 197536 w 2179363"/>
                  <a:gd name="connsiteY0" fmla="*/ 5216241 h 5216241"/>
                  <a:gd name="connsiteX1" fmla="*/ 842 w 2179363"/>
                  <a:gd name="connsiteY1" fmla="*/ 4799004 h 5216241"/>
                  <a:gd name="connsiteX2" fmla="*/ 2686 w 2179363"/>
                  <a:gd name="connsiteY2" fmla="*/ 4105978 h 5216241"/>
                  <a:gd name="connsiteX3" fmla="*/ 4957 w 2179363"/>
                  <a:gd name="connsiteY3" fmla="*/ 1054770 h 5216241"/>
                  <a:gd name="connsiteX4" fmla="*/ 3772 w 2179363"/>
                  <a:gd name="connsiteY4" fmla="*/ 1017192 h 5216241"/>
                  <a:gd name="connsiteX5" fmla="*/ 1737 w 2179363"/>
                  <a:gd name="connsiteY5" fmla="*/ 494424 h 5216241"/>
                  <a:gd name="connsiteX6" fmla="*/ 47228 w 2179363"/>
                  <a:gd name="connsiteY6" fmla="*/ 171698 h 5216241"/>
                  <a:gd name="connsiteX7" fmla="*/ 211835 w 2179363"/>
                  <a:gd name="connsiteY7" fmla="*/ 25112 h 5216241"/>
                  <a:gd name="connsiteX8" fmla="*/ 411481 w 2179363"/>
                  <a:gd name="connsiteY8" fmla="*/ 3326 h 5216241"/>
                  <a:gd name="connsiteX9" fmla="*/ 587185 w 2179363"/>
                  <a:gd name="connsiteY9" fmla="*/ 37548 h 5216241"/>
                  <a:gd name="connsiteX10" fmla="*/ 2138338 w 2179363"/>
                  <a:gd name="connsiteY10" fmla="*/ 924343 h 5216241"/>
                  <a:gd name="connsiteX11" fmla="*/ 2139295 w 2179363"/>
                  <a:gd name="connsiteY11" fmla="*/ 1149844 h 5216241"/>
                  <a:gd name="connsiteX12" fmla="*/ 1965330 w 2179363"/>
                  <a:gd name="connsiteY12" fmla="*/ 1269783 h 5216241"/>
                  <a:gd name="connsiteX13" fmla="*/ 1945483 w 2179363"/>
                  <a:gd name="connsiteY13" fmla="*/ 1262485 h 5216241"/>
                  <a:gd name="connsiteX14" fmla="*/ 480008 w 2179363"/>
                  <a:gd name="connsiteY14" fmla="*/ 431577 h 5216241"/>
                  <a:gd name="connsiteX15" fmla="*/ 479665 w 2179363"/>
                  <a:gd name="connsiteY15" fmla="*/ 431184 h 5216241"/>
                  <a:gd name="connsiteX16" fmla="*/ 457510 w 2179363"/>
                  <a:gd name="connsiteY16" fmla="*/ 437405 h 5216241"/>
                  <a:gd name="connsiteX17" fmla="*/ 414860 w 2179363"/>
                  <a:gd name="connsiteY17" fmla="*/ 539231 h 5216241"/>
                  <a:gd name="connsiteX18" fmla="*/ 414855 w 2179363"/>
                  <a:gd name="connsiteY18" fmla="*/ 1065628 h 5216241"/>
                  <a:gd name="connsiteX19" fmla="*/ 412078 w 2179363"/>
                  <a:gd name="connsiteY19" fmla="*/ 1081825 h 5216241"/>
                  <a:gd name="connsiteX20" fmla="*/ 409252 w 2179363"/>
                  <a:gd name="connsiteY20" fmla="*/ 1858316 h 5216241"/>
                  <a:gd name="connsiteX21" fmla="*/ 411109 w 2179363"/>
                  <a:gd name="connsiteY21" fmla="*/ 1861834 h 5216241"/>
                  <a:gd name="connsiteX22" fmla="*/ 410442 w 2179363"/>
                  <a:gd name="connsiteY22" fmla="*/ 3038034 h 5216241"/>
                  <a:gd name="connsiteX23" fmla="*/ 408302 w 2179363"/>
                  <a:gd name="connsiteY23" fmla="*/ 4802821 h 5216241"/>
                  <a:gd name="connsiteX24" fmla="*/ 341504 w 2179363"/>
                  <a:gd name="connsiteY24" fmla="*/ 5061801 h 5216241"/>
                  <a:gd name="connsiteX25" fmla="*/ 197536 w 2179363"/>
                  <a:gd name="connsiteY25" fmla="*/ 5216241 h 5216241"/>
                  <a:gd name="connsiteX0" fmla="*/ 341504 w 2179363"/>
                  <a:gd name="connsiteY0" fmla="*/ 5061801 h 5061802"/>
                  <a:gd name="connsiteX1" fmla="*/ 842 w 2179363"/>
                  <a:gd name="connsiteY1" fmla="*/ 4799004 h 5061802"/>
                  <a:gd name="connsiteX2" fmla="*/ 2686 w 2179363"/>
                  <a:gd name="connsiteY2" fmla="*/ 4105978 h 5061802"/>
                  <a:gd name="connsiteX3" fmla="*/ 4957 w 2179363"/>
                  <a:gd name="connsiteY3" fmla="*/ 1054770 h 5061802"/>
                  <a:gd name="connsiteX4" fmla="*/ 3772 w 2179363"/>
                  <a:gd name="connsiteY4" fmla="*/ 1017192 h 5061802"/>
                  <a:gd name="connsiteX5" fmla="*/ 1737 w 2179363"/>
                  <a:gd name="connsiteY5" fmla="*/ 494424 h 5061802"/>
                  <a:gd name="connsiteX6" fmla="*/ 47228 w 2179363"/>
                  <a:gd name="connsiteY6" fmla="*/ 171698 h 5061802"/>
                  <a:gd name="connsiteX7" fmla="*/ 211835 w 2179363"/>
                  <a:gd name="connsiteY7" fmla="*/ 25112 h 5061802"/>
                  <a:gd name="connsiteX8" fmla="*/ 411481 w 2179363"/>
                  <a:gd name="connsiteY8" fmla="*/ 3326 h 5061802"/>
                  <a:gd name="connsiteX9" fmla="*/ 587185 w 2179363"/>
                  <a:gd name="connsiteY9" fmla="*/ 37548 h 5061802"/>
                  <a:gd name="connsiteX10" fmla="*/ 2138338 w 2179363"/>
                  <a:gd name="connsiteY10" fmla="*/ 924343 h 5061802"/>
                  <a:gd name="connsiteX11" fmla="*/ 2139295 w 2179363"/>
                  <a:gd name="connsiteY11" fmla="*/ 1149844 h 5061802"/>
                  <a:gd name="connsiteX12" fmla="*/ 1965330 w 2179363"/>
                  <a:gd name="connsiteY12" fmla="*/ 1269783 h 5061802"/>
                  <a:gd name="connsiteX13" fmla="*/ 1945483 w 2179363"/>
                  <a:gd name="connsiteY13" fmla="*/ 1262485 h 5061802"/>
                  <a:gd name="connsiteX14" fmla="*/ 480008 w 2179363"/>
                  <a:gd name="connsiteY14" fmla="*/ 431577 h 5061802"/>
                  <a:gd name="connsiteX15" fmla="*/ 479665 w 2179363"/>
                  <a:gd name="connsiteY15" fmla="*/ 431184 h 5061802"/>
                  <a:gd name="connsiteX16" fmla="*/ 457510 w 2179363"/>
                  <a:gd name="connsiteY16" fmla="*/ 437405 h 5061802"/>
                  <a:gd name="connsiteX17" fmla="*/ 414860 w 2179363"/>
                  <a:gd name="connsiteY17" fmla="*/ 539231 h 5061802"/>
                  <a:gd name="connsiteX18" fmla="*/ 414855 w 2179363"/>
                  <a:gd name="connsiteY18" fmla="*/ 1065628 h 5061802"/>
                  <a:gd name="connsiteX19" fmla="*/ 412078 w 2179363"/>
                  <a:gd name="connsiteY19" fmla="*/ 1081825 h 5061802"/>
                  <a:gd name="connsiteX20" fmla="*/ 409252 w 2179363"/>
                  <a:gd name="connsiteY20" fmla="*/ 1858316 h 5061802"/>
                  <a:gd name="connsiteX21" fmla="*/ 411109 w 2179363"/>
                  <a:gd name="connsiteY21" fmla="*/ 1861834 h 5061802"/>
                  <a:gd name="connsiteX22" fmla="*/ 410442 w 2179363"/>
                  <a:gd name="connsiteY22" fmla="*/ 3038034 h 5061802"/>
                  <a:gd name="connsiteX23" fmla="*/ 408302 w 2179363"/>
                  <a:gd name="connsiteY23" fmla="*/ 4802821 h 5061802"/>
                  <a:gd name="connsiteX24" fmla="*/ 341504 w 2179363"/>
                  <a:gd name="connsiteY24" fmla="*/ 5061801 h 5061802"/>
                  <a:gd name="connsiteX0" fmla="*/ 341504 w 2179363"/>
                  <a:gd name="connsiteY0" fmla="*/ 5061801 h 5061802"/>
                  <a:gd name="connsiteX1" fmla="*/ 2686 w 2179363"/>
                  <a:gd name="connsiteY1" fmla="*/ 4105978 h 5061802"/>
                  <a:gd name="connsiteX2" fmla="*/ 4957 w 2179363"/>
                  <a:gd name="connsiteY2" fmla="*/ 1054770 h 5061802"/>
                  <a:gd name="connsiteX3" fmla="*/ 3772 w 2179363"/>
                  <a:gd name="connsiteY3" fmla="*/ 1017192 h 5061802"/>
                  <a:gd name="connsiteX4" fmla="*/ 1737 w 2179363"/>
                  <a:gd name="connsiteY4" fmla="*/ 494424 h 5061802"/>
                  <a:gd name="connsiteX5" fmla="*/ 47228 w 2179363"/>
                  <a:gd name="connsiteY5" fmla="*/ 171698 h 5061802"/>
                  <a:gd name="connsiteX6" fmla="*/ 211835 w 2179363"/>
                  <a:gd name="connsiteY6" fmla="*/ 25112 h 5061802"/>
                  <a:gd name="connsiteX7" fmla="*/ 411481 w 2179363"/>
                  <a:gd name="connsiteY7" fmla="*/ 3326 h 5061802"/>
                  <a:gd name="connsiteX8" fmla="*/ 587185 w 2179363"/>
                  <a:gd name="connsiteY8" fmla="*/ 37548 h 5061802"/>
                  <a:gd name="connsiteX9" fmla="*/ 2138338 w 2179363"/>
                  <a:gd name="connsiteY9" fmla="*/ 924343 h 5061802"/>
                  <a:gd name="connsiteX10" fmla="*/ 2139295 w 2179363"/>
                  <a:gd name="connsiteY10" fmla="*/ 1149844 h 5061802"/>
                  <a:gd name="connsiteX11" fmla="*/ 1965330 w 2179363"/>
                  <a:gd name="connsiteY11" fmla="*/ 1269783 h 5061802"/>
                  <a:gd name="connsiteX12" fmla="*/ 1945483 w 2179363"/>
                  <a:gd name="connsiteY12" fmla="*/ 1262485 h 5061802"/>
                  <a:gd name="connsiteX13" fmla="*/ 480008 w 2179363"/>
                  <a:gd name="connsiteY13" fmla="*/ 431577 h 5061802"/>
                  <a:gd name="connsiteX14" fmla="*/ 479665 w 2179363"/>
                  <a:gd name="connsiteY14" fmla="*/ 431184 h 5061802"/>
                  <a:gd name="connsiteX15" fmla="*/ 457510 w 2179363"/>
                  <a:gd name="connsiteY15" fmla="*/ 437405 h 5061802"/>
                  <a:gd name="connsiteX16" fmla="*/ 414860 w 2179363"/>
                  <a:gd name="connsiteY16" fmla="*/ 539231 h 5061802"/>
                  <a:gd name="connsiteX17" fmla="*/ 414855 w 2179363"/>
                  <a:gd name="connsiteY17" fmla="*/ 1065628 h 5061802"/>
                  <a:gd name="connsiteX18" fmla="*/ 412078 w 2179363"/>
                  <a:gd name="connsiteY18" fmla="*/ 1081825 h 5061802"/>
                  <a:gd name="connsiteX19" fmla="*/ 409252 w 2179363"/>
                  <a:gd name="connsiteY19" fmla="*/ 1858316 h 5061802"/>
                  <a:gd name="connsiteX20" fmla="*/ 411109 w 2179363"/>
                  <a:gd name="connsiteY20" fmla="*/ 1861834 h 5061802"/>
                  <a:gd name="connsiteX21" fmla="*/ 410442 w 2179363"/>
                  <a:gd name="connsiteY21" fmla="*/ 3038034 h 5061802"/>
                  <a:gd name="connsiteX22" fmla="*/ 408302 w 2179363"/>
                  <a:gd name="connsiteY22" fmla="*/ 4802821 h 5061802"/>
                  <a:gd name="connsiteX23" fmla="*/ 341504 w 2179363"/>
                  <a:gd name="connsiteY23" fmla="*/ 5061801 h 5061802"/>
                  <a:gd name="connsiteX0" fmla="*/ 408302 w 2179363"/>
                  <a:gd name="connsiteY0" fmla="*/ 4802821 h 4858808"/>
                  <a:gd name="connsiteX1" fmla="*/ 2686 w 2179363"/>
                  <a:gd name="connsiteY1" fmla="*/ 4105978 h 4858808"/>
                  <a:gd name="connsiteX2" fmla="*/ 4957 w 2179363"/>
                  <a:gd name="connsiteY2" fmla="*/ 1054770 h 4858808"/>
                  <a:gd name="connsiteX3" fmla="*/ 3772 w 2179363"/>
                  <a:gd name="connsiteY3" fmla="*/ 1017192 h 4858808"/>
                  <a:gd name="connsiteX4" fmla="*/ 1737 w 2179363"/>
                  <a:gd name="connsiteY4" fmla="*/ 494424 h 4858808"/>
                  <a:gd name="connsiteX5" fmla="*/ 47228 w 2179363"/>
                  <a:gd name="connsiteY5" fmla="*/ 171698 h 4858808"/>
                  <a:gd name="connsiteX6" fmla="*/ 211835 w 2179363"/>
                  <a:gd name="connsiteY6" fmla="*/ 25112 h 4858808"/>
                  <a:gd name="connsiteX7" fmla="*/ 411481 w 2179363"/>
                  <a:gd name="connsiteY7" fmla="*/ 3326 h 4858808"/>
                  <a:gd name="connsiteX8" fmla="*/ 587185 w 2179363"/>
                  <a:gd name="connsiteY8" fmla="*/ 37548 h 4858808"/>
                  <a:gd name="connsiteX9" fmla="*/ 2138338 w 2179363"/>
                  <a:gd name="connsiteY9" fmla="*/ 924343 h 4858808"/>
                  <a:gd name="connsiteX10" fmla="*/ 2139295 w 2179363"/>
                  <a:gd name="connsiteY10" fmla="*/ 1149844 h 4858808"/>
                  <a:gd name="connsiteX11" fmla="*/ 1965330 w 2179363"/>
                  <a:gd name="connsiteY11" fmla="*/ 1269783 h 4858808"/>
                  <a:gd name="connsiteX12" fmla="*/ 1945483 w 2179363"/>
                  <a:gd name="connsiteY12" fmla="*/ 1262485 h 4858808"/>
                  <a:gd name="connsiteX13" fmla="*/ 480008 w 2179363"/>
                  <a:gd name="connsiteY13" fmla="*/ 431577 h 4858808"/>
                  <a:gd name="connsiteX14" fmla="*/ 479665 w 2179363"/>
                  <a:gd name="connsiteY14" fmla="*/ 431184 h 4858808"/>
                  <a:gd name="connsiteX15" fmla="*/ 457510 w 2179363"/>
                  <a:gd name="connsiteY15" fmla="*/ 437405 h 4858808"/>
                  <a:gd name="connsiteX16" fmla="*/ 414860 w 2179363"/>
                  <a:gd name="connsiteY16" fmla="*/ 539231 h 4858808"/>
                  <a:gd name="connsiteX17" fmla="*/ 414855 w 2179363"/>
                  <a:gd name="connsiteY17" fmla="*/ 1065628 h 4858808"/>
                  <a:gd name="connsiteX18" fmla="*/ 412078 w 2179363"/>
                  <a:gd name="connsiteY18" fmla="*/ 1081825 h 4858808"/>
                  <a:gd name="connsiteX19" fmla="*/ 409252 w 2179363"/>
                  <a:gd name="connsiteY19" fmla="*/ 1858316 h 4858808"/>
                  <a:gd name="connsiteX20" fmla="*/ 411109 w 2179363"/>
                  <a:gd name="connsiteY20" fmla="*/ 1861834 h 4858808"/>
                  <a:gd name="connsiteX21" fmla="*/ 410442 w 2179363"/>
                  <a:gd name="connsiteY21" fmla="*/ 3038034 h 4858808"/>
                  <a:gd name="connsiteX22" fmla="*/ 408302 w 2179363"/>
                  <a:gd name="connsiteY22" fmla="*/ 4802821 h 4858808"/>
                  <a:gd name="connsiteX0" fmla="*/ 410442 w 2179363"/>
                  <a:gd name="connsiteY0" fmla="*/ 3038034 h 4170698"/>
                  <a:gd name="connsiteX1" fmla="*/ 2686 w 2179363"/>
                  <a:gd name="connsiteY1" fmla="*/ 4105978 h 4170698"/>
                  <a:gd name="connsiteX2" fmla="*/ 4957 w 2179363"/>
                  <a:gd name="connsiteY2" fmla="*/ 1054770 h 4170698"/>
                  <a:gd name="connsiteX3" fmla="*/ 3772 w 2179363"/>
                  <a:gd name="connsiteY3" fmla="*/ 1017192 h 4170698"/>
                  <a:gd name="connsiteX4" fmla="*/ 1737 w 2179363"/>
                  <a:gd name="connsiteY4" fmla="*/ 494424 h 4170698"/>
                  <a:gd name="connsiteX5" fmla="*/ 47228 w 2179363"/>
                  <a:gd name="connsiteY5" fmla="*/ 171698 h 4170698"/>
                  <a:gd name="connsiteX6" fmla="*/ 211835 w 2179363"/>
                  <a:gd name="connsiteY6" fmla="*/ 25112 h 4170698"/>
                  <a:gd name="connsiteX7" fmla="*/ 411481 w 2179363"/>
                  <a:gd name="connsiteY7" fmla="*/ 3326 h 4170698"/>
                  <a:gd name="connsiteX8" fmla="*/ 587185 w 2179363"/>
                  <a:gd name="connsiteY8" fmla="*/ 37548 h 4170698"/>
                  <a:gd name="connsiteX9" fmla="*/ 2138338 w 2179363"/>
                  <a:gd name="connsiteY9" fmla="*/ 924343 h 4170698"/>
                  <a:gd name="connsiteX10" fmla="*/ 2139295 w 2179363"/>
                  <a:gd name="connsiteY10" fmla="*/ 1149844 h 4170698"/>
                  <a:gd name="connsiteX11" fmla="*/ 1965330 w 2179363"/>
                  <a:gd name="connsiteY11" fmla="*/ 1269783 h 4170698"/>
                  <a:gd name="connsiteX12" fmla="*/ 1945483 w 2179363"/>
                  <a:gd name="connsiteY12" fmla="*/ 1262485 h 4170698"/>
                  <a:gd name="connsiteX13" fmla="*/ 480008 w 2179363"/>
                  <a:gd name="connsiteY13" fmla="*/ 431577 h 4170698"/>
                  <a:gd name="connsiteX14" fmla="*/ 479665 w 2179363"/>
                  <a:gd name="connsiteY14" fmla="*/ 431184 h 4170698"/>
                  <a:gd name="connsiteX15" fmla="*/ 457510 w 2179363"/>
                  <a:gd name="connsiteY15" fmla="*/ 437405 h 4170698"/>
                  <a:gd name="connsiteX16" fmla="*/ 414860 w 2179363"/>
                  <a:gd name="connsiteY16" fmla="*/ 539231 h 4170698"/>
                  <a:gd name="connsiteX17" fmla="*/ 414855 w 2179363"/>
                  <a:gd name="connsiteY17" fmla="*/ 1065628 h 4170698"/>
                  <a:gd name="connsiteX18" fmla="*/ 412078 w 2179363"/>
                  <a:gd name="connsiteY18" fmla="*/ 1081825 h 4170698"/>
                  <a:gd name="connsiteX19" fmla="*/ 409252 w 2179363"/>
                  <a:gd name="connsiteY19" fmla="*/ 1858316 h 4170698"/>
                  <a:gd name="connsiteX20" fmla="*/ 411109 w 2179363"/>
                  <a:gd name="connsiteY20" fmla="*/ 1861834 h 4170698"/>
                  <a:gd name="connsiteX21" fmla="*/ 410442 w 2179363"/>
                  <a:gd name="connsiteY21" fmla="*/ 3038034 h 4170698"/>
                  <a:gd name="connsiteX0" fmla="*/ 410442 w 2179363"/>
                  <a:gd name="connsiteY0" fmla="*/ 3038034 h 3038034"/>
                  <a:gd name="connsiteX1" fmla="*/ 4957 w 2179363"/>
                  <a:gd name="connsiteY1" fmla="*/ 1054770 h 3038034"/>
                  <a:gd name="connsiteX2" fmla="*/ 3772 w 2179363"/>
                  <a:gd name="connsiteY2" fmla="*/ 1017192 h 3038034"/>
                  <a:gd name="connsiteX3" fmla="*/ 1737 w 2179363"/>
                  <a:gd name="connsiteY3" fmla="*/ 494424 h 3038034"/>
                  <a:gd name="connsiteX4" fmla="*/ 47228 w 2179363"/>
                  <a:gd name="connsiteY4" fmla="*/ 171698 h 3038034"/>
                  <a:gd name="connsiteX5" fmla="*/ 211835 w 2179363"/>
                  <a:gd name="connsiteY5" fmla="*/ 25112 h 3038034"/>
                  <a:gd name="connsiteX6" fmla="*/ 411481 w 2179363"/>
                  <a:gd name="connsiteY6" fmla="*/ 3326 h 3038034"/>
                  <a:gd name="connsiteX7" fmla="*/ 587185 w 2179363"/>
                  <a:gd name="connsiteY7" fmla="*/ 37548 h 3038034"/>
                  <a:gd name="connsiteX8" fmla="*/ 2138338 w 2179363"/>
                  <a:gd name="connsiteY8" fmla="*/ 924343 h 3038034"/>
                  <a:gd name="connsiteX9" fmla="*/ 2139295 w 2179363"/>
                  <a:gd name="connsiteY9" fmla="*/ 1149844 h 3038034"/>
                  <a:gd name="connsiteX10" fmla="*/ 1965330 w 2179363"/>
                  <a:gd name="connsiteY10" fmla="*/ 1269783 h 3038034"/>
                  <a:gd name="connsiteX11" fmla="*/ 1945483 w 2179363"/>
                  <a:gd name="connsiteY11" fmla="*/ 1262485 h 3038034"/>
                  <a:gd name="connsiteX12" fmla="*/ 480008 w 2179363"/>
                  <a:gd name="connsiteY12" fmla="*/ 431577 h 3038034"/>
                  <a:gd name="connsiteX13" fmla="*/ 479665 w 2179363"/>
                  <a:gd name="connsiteY13" fmla="*/ 431184 h 3038034"/>
                  <a:gd name="connsiteX14" fmla="*/ 457510 w 2179363"/>
                  <a:gd name="connsiteY14" fmla="*/ 437405 h 3038034"/>
                  <a:gd name="connsiteX15" fmla="*/ 414860 w 2179363"/>
                  <a:gd name="connsiteY15" fmla="*/ 539231 h 3038034"/>
                  <a:gd name="connsiteX16" fmla="*/ 414855 w 2179363"/>
                  <a:gd name="connsiteY16" fmla="*/ 1065628 h 3038034"/>
                  <a:gd name="connsiteX17" fmla="*/ 412078 w 2179363"/>
                  <a:gd name="connsiteY17" fmla="*/ 1081825 h 3038034"/>
                  <a:gd name="connsiteX18" fmla="*/ 409252 w 2179363"/>
                  <a:gd name="connsiteY18" fmla="*/ 1858316 h 3038034"/>
                  <a:gd name="connsiteX19" fmla="*/ 411109 w 2179363"/>
                  <a:gd name="connsiteY19" fmla="*/ 1861834 h 3038034"/>
                  <a:gd name="connsiteX20" fmla="*/ 410442 w 2179363"/>
                  <a:gd name="connsiteY20" fmla="*/ 3038034 h 3038034"/>
                  <a:gd name="connsiteX0" fmla="*/ 411109 w 2179363"/>
                  <a:gd name="connsiteY0" fmla="*/ 1861834 h 1861834"/>
                  <a:gd name="connsiteX1" fmla="*/ 4957 w 2179363"/>
                  <a:gd name="connsiteY1" fmla="*/ 1054770 h 1861834"/>
                  <a:gd name="connsiteX2" fmla="*/ 3772 w 2179363"/>
                  <a:gd name="connsiteY2" fmla="*/ 1017192 h 1861834"/>
                  <a:gd name="connsiteX3" fmla="*/ 1737 w 2179363"/>
                  <a:gd name="connsiteY3" fmla="*/ 494424 h 1861834"/>
                  <a:gd name="connsiteX4" fmla="*/ 47228 w 2179363"/>
                  <a:gd name="connsiteY4" fmla="*/ 171698 h 1861834"/>
                  <a:gd name="connsiteX5" fmla="*/ 211835 w 2179363"/>
                  <a:gd name="connsiteY5" fmla="*/ 25112 h 1861834"/>
                  <a:gd name="connsiteX6" fmla="*/ 411481 w 2179363"/>
                  <a:gd name="connsiteY6" fmla="*/ 3326 h 1861834"/>
                  <a:gd name="connsiteX7" fmla="*/ 587185 w 2179363"/>
                  <a:gd name="connsiteY7" fmla="*/ 37548 h 1861834"/>
                  <a:gd name="connsiteX8" fmla="*/ 2138338 w 2179363"/>
                  <a:gd name="connsiteY8" fmla="*/ 924343 h 1861834"/>
                  <a:gd name="connsiteX9" fmla="*/ 2139295 w 2179363"/>
                  <a:gd name="connsiteY9" fmla="*/ 1149844 h 1861834"/>
                  <a:gd name="connsiteX10" fmla="*/ 1965330 w 2179363"/>
                  <a:gd name="connsiteY10" fmla="*/ 1269783 h 1861834"/>
                  <a:gd name="connsiteX11" fmla="*/ 1945483 w 2179363"/>
                  <a:gd name="connsiteY11" fmla="*/ 1262485 h 1861834"/>
                  <a:gd name="connsiteX12" fmla="*/ 480008 w 2179363"/>
                  <a:gd name="connsiteY12" fmla="*/ 431577 h 1861834"/>
                  <a:gd name="connsiteX13" fmla="*/ 479665 w 2179363"/>
                  <a:gd name="connsiteY13" fmla="*/ 431184 h 1861834"/>
                  <a:gd name="connsiteX14" fmla="*/ 457510 w 2179363"/>
                  <a:gd name="connsiteY14" fmla="*/ 437405 h 1861834"/>
                  <a:gd name="connsiteX15" fmla="*/ 414860 w 2179363"/>
                  <a:gd name="connsiteY15" fmla="*/ 539231 h 1861834"/>
                  <a:gd name="connsiteX16" fmla="*/ 414855 w 2179363"/>
                  <a:gd name="connsiteY16" fmla="*/ 1065628 h 1861834"/>
                  <a:gd name="connsiteX17" fmla="*/ 412078 w 2179363"/>
                  <a:gd name="connsiteY17" fmla="*/ 1081825 h 1861834"/>
                  <a:gd name="connsiteX18" fmla="*/ 409252 w 2179363"/>
                  <a:gd name="connsiteY18" fmla="*/ 1858316 h 1861834"/>
                  <a:gd name="connsiteX19" fmla="*/ 411109 w 2179363"/>
                  <a:gd name="connsiteY19" fmla="*/ 1861834 h 1861834"/>
                  <a:gd name="connsiteX0" fmla="*/ 409252 w 2179363"/>
                  <a:gd name="connsiteY0" fmla="*/ 1858316 h 1858316"/>
                  <a:gd name="connsiteX1" fmla="*/ 4957 w 2179363"/>
                  <a:gd name="connsiteY1" fmla="*/ 1054770 h 1858316"/>
                  <a:gd name="connsiteX2" fmla="*/ 3772 w 2179363"/>
                  <a:gd name="connsiteY2" fmla="*/ 1017192 h 1858316"/>
                  <a:gd name="connsiteX3" fmla="*/ 1737 w 2179363"/>
                  <a:gd name="connsiteY3" fmla="*/ 494424 h 1858316"/>
                  <a:gd name="connsiteX4" fmla="*/ 47228 w 2179363"/>
                  <a:gd name="connsiteY4" fmla="*/ 171698 h 1858316"/>
                  <a:gd name="connsiteX5" fmla="*/ 211835 w 2179363"/>
                  <a:gd name="connsiteY5" fmla="*/ 25112 h 1858316"/>
                  <a:gd name="connsiteX6" fmla="*/ 411481 w 2179363"/>
                  <a:gd name="connsiteY6" fmla="*/ 3326 h 1858316"/>
                  <a:gd name="connsiteX7" fmla="*/ 587185 w 2179363"/>
                  <a:gd name="connsiteY7" fmla="*/ 37548 h 1858316"/>
                  <a:gd name="connsiteX8" fmla="*/ 2138338 w 2179363"/>
                  <a:gd name="connsiteY8" fmla="*/ 924343 h 1858316"/>
                  <a:gd name="connsiteX9" fmla="*/ 2139295 w 2179363"/>
                  <a:gd name="connsiteY9" fmla="*/ 1149844 h 1858316"/>
                  <a:gd name="connsiteX10" fmla="*/ 1965330 w 2179363"/>
                  <a:gd name="connsiteY10" fmla="*/ 1269783 h 1858316"/>
                  <a:gd name="connsiteX11" fmla="*/ 1945483 w 2179363"/>
                  <a:gd name="connsiteY11" fmla="*/ 1262485 h 1858316"/>
                  <a:gd name="connsiteX12" fmla="*/ 480008 w 2179363"/>
                  <a:gd name="connsiteY12" fmla="*/ 431577 h 1858316"/>
                  <a:gd name="connsiteX13" fmla="*/ 479665 w 2179363"/>
                  <a:gd name="connsiteY13" fmla="*/ 431184 h 1858316"/>
                  <a:gd name="connsiteX14" fmla="*/ 457510 w 2179363"/>
                  <a:gd name="connsiteY14" fmla="*/ 437405 h 1858316"/>
                  <a:gd name="connsiteX15" fmla="*/ 414860 w 2179363"/>
                  <a:gd name="connsiteY15" fmla="*/ 539231 h 1858316"/>
                  <a:gd name="connsiteX16" fmla="*/ 414855 w 2179363"/>
                  <a:gd name="connsiteY16" fmla="*/ 1065628 h 1858316"/>
                  <a:gd name="connsiteX17" fmla="*/ 412078 w 2179363"/>
                  <a:gd name="connsiteY17" fmla="*/ 1081825 h 1858316"/>
                  <a:gd name="connsiteX18" fmla="*/ 409252 w 2179363"/>
                  <a:gd name="connsiteY18" fmla="*/ 1858316 h 1858316"/>
                  <a:gd name="connsiteX0" fmla="*/ 407757 w 2177868"/>
                  <a:gd name="connsiteY0" fmla="*/ 1858316 h 1858316"/>
                  <a:gd name="connsiteX1" fmla="*/ 3462 w 2177868"/>
                  <a:gd name="connsiteY1" fmla="*/ 1054770 h 1858316"/>
                  <a:gd name="connsiteX2" fmla="*/ 242 w 2177868"/>
                  <a:gd name="connsiteY2" fmla="*/ 494424 h 1858316"/>
                  <a:gd name="connsiteX3" fmla="*/ 45733 w 2177868"/>
                  <a:gd name="connsiteY3" fmla="*/ 171698 h 1858316"/>
                  <a:gd name="connsiteX4" fmla="*/ 210340 w 2177868"/>
                  <a:gd name="connsiteY4" fmla="*/ 25112 h 1858316"/>
                  <a:gd name="connsiteX5" fmla="*/ 409986 w 2177868"/>
                  <a:gd name="connsiteY5" fmla="*/ 3326 h 1858316"/>
                  <a:gd name="connsiteX6" fmla="*/ 585690 w 2177868"/>
                  <a:gd name="connsiteY6" fmla="*/ 37548 h 1858316"/>
                  <a:gd name="connsiteX7" fmla="*/ 2136843 w 2177868"/>
                  <a:gd name="connsiteY7" fmla="*/ 924343 h 1858316"/>
                  <a:gd name="connsiteX8" fmla="*/ 2137800 w 2177868"/>
                  <a:gd name="connsiteY8" fmla="*/ 1149844 h 1858316"/>
                  <a:gd name="connsiteX9" fmla="*/ 1963835 w 2177868"/>
                  <a:gd name="connsiteY9" fmla="*/ 1269783 h 1858316"/>
                  <a:gd name="connsiteX10" fmla="*/ 1943988 w 2177868"/>
                  <a:gd name="connsiteY10" fmla="*/ 1262485 h 1858316"/>
                  <a:gd name="connsiteX11" fmla="*/ 478513 w 2177868"/>
                  <a:gd name="connsiteY11" fmla="*/ 431577 h 1858316"/>
                  <a:gd name="connsiteX12" fmla="*/ 478170 w 2177868"/>
                  <a:gd name="connsiteY12" fmla="*/ 431184 h 1858316"/>
                  <a:gd name="connsiteX13" fmla="*/ 456015 w 2177868"/>
                  <a:gd name="connsiteY13" fmla="*/ 437405 h 1858316"/>
                  <a:gd name="connsiteX14" fmla="*/ 413365 w 2177868"/>
                  <a:gd name="connsiteY14" fmla="*/ 539231 h 1858316"/>
                  <a:gd name="connsiteX15" fmla="*/ 413360 w 2177868"/>
                  <a:gd name="connsiteY15" fmla="*/ 1065628 h 1858316"/>
                  <a:gd name="connsiteX16" fmla="*/ 410583 w 2177868"/>
                  <a:gd name="connsiteY16" fmla="*/ 1081825 h 1858316"/>
                  <a:gd name="connsiteX17" fmla="*/ 407757 w 2177868"/>
                  <a:gd name="connsiteY17" fmla="*/ 1858316 h 1858316"/>
                  <a:gd name="connsiteX0" fmla="*/ 407757 w 2177868"/>
                  <a:gd name="connsiteY0" fmla="*/ 1858316 h 1858316"/>
                  <a:gd name="connsiteX1" fmla="*/ 242 w 2177868"/>
                  <a:gd name="connsiteY1" fmla="*/ 494424 h 1858316"/>
                  <a:gd name="connsiteX2" fmla="*/ 45733 w 2177868"/>
                  <a:gd name="connsiteY2" fmla="*/ 171698 h 1858316"/>
                  <a:gd name="connsiteX3" fmla="*/ 210340 w 2177868"/>
                  <a:gd name="connsiteY3" fmla="*/ 25112 h 1858316"/>
                  <a:gd name="connsiteX4" fmla="*/ 409986 w 2177868"/>
                  <a:gd name="connsiteY4" fmla="*/ 3326 h 1858316"/>
                  <a:gd name="connsiteX5" fmla="*/ 585690 w 2177868"/>
                  <a:gd name="connsiteY5" fmla="*/ 37548 h 1858316"/>
                  <a:gd name="connsiteX6" fmla="*/ 2136843 w 2177868"/>
                  <a:gd name="connsiteY6" fmla="*/ 924343 h 1858316"/>
                  <a:gd name="connsiteX7" fmla="*/ 2137800 w 2177868"/>
                  <a:gd name="connsiteY7" fmla="*/ 1149844 h 1858316"/>
                  <a:gd name="connsiteX8" fmla="*/ 1963835 w 2177868"/>
                  <a:gd name="connsiteY8" fmla="*/ 1269783 h 1858316"/>
                  <a:gd name="connsiteX9" fmla="*/ 1943988 w 2177868"/>
                  <a:gd name="connsiteY9" fmla="*/ 1262485 h 1858316"/>
                  <a:gd name="connsiteX10" fmla="*/ 478513 w 2177868"/>
                  <a:gd name="connsiteY10" fmla="*/ 431577 h 1858316"/>
                  <a:gd name="connsiteX11" fmla="*/ 478170 w 2177868"/>
                  <a:gd name="connsiteY11" fmla="*/ 431184 h 1858316"/>
                  <a:gd name="connsiteX12" fmla="*/ 456015 w 2177868"/>
                  <a:gd name="connsiteY12" fmla="*/ 437405 h 1858316"/>
                  <a:gd name="connsiteX13" fmla="*/ 413365 w 2177868"/>
                  <a:gd name="connsiteY13" fmla="*/ 539231 h 1858316"/>
                  <a:gd name="connsiteX14" fmla="*/ 413360 w 2177868"/>
                  <a:gd name="connsiteY14" fmla="*/ 1065628 h 1858316"/>
                  <a:gd name="connsiteX15" fmla="*/ 410583 w 2177868"/>
                  <a:gd name="connsiteY15" fmla="*/ 1081825 h 1858316"/>
                  <a:gd name="connsiteX16" fmla="*/ 407757 w 2177868"/>
                  <a:gd name="connsiteY16" fmla="*/ 1858316 h 1858316"/>
                  <a:gd name="connsiteX0" fmla="*/ 407757 w 2177868"/>
                  <a:gd name="connsiteY0" fmla="*/ 1858316 h 1858316"/>
                  <a:gd name="connsiteX1" fmla="*/ 242 w 2177868"/>
                  <a:gd name="connsiteY1" fmla="*/ 494424 h 1858316"/>
                  <a:gd name="connsiteX2" fmla="*/ 45733 w 2177868"/>
                  <a:gd name="connsiteY2" fmla="*/ 171698 h 1858316"/>
                  <a:gd name="connsiteX3" fmla="*/ 210340 w 2177868"/>
                  <a:gd name="connsiteY3" fmla="*/ 25112 h 1858316"/>
                  <a:gd name="connsiteX4" fmla="*/ 409986 w 2177868"/>
                  <a:gd name="connsiteY4" fmla="*/ 3326 h 1858316"/>
                  <a:gd name="connsiteX5" fmla="*/ 585690 w 2177868"/>
                  <a:gd name="connsiteY5" fmla="*/ 37548 h 1858316"/>
                  <a:gd name="connsiteX6" fmla="*/ 2136843 w 2177868"/>
                  <a:gd name="connsiteY6" fmla="*/ 924343 h 1858316"/>
                  <a:gd name="connsiteX7" fmla="*/ 2137800 w 2177868"/>
                  <a:gd name="connsiteY7" fmla="*/ 1149844 h 1858316"/>
                  <a:gd name="connsiteX8" fmla="*/ 1963835 w 2177868"/>
                  <a:gd name="connsiteY8" fmla="*/ 1269783 h 1858316"/>
                  <a:gd name="connsiteX9" fmla="*/ 1943988 w 2177868"/>
                  <a:gd name="connsiteY9" fmla="*/ 1262485 h 1858316"/>
                  <a:gd name="connsiteX10" fmla="*/ 478513 w 2177868"/>
                  <a:gd name="connsiteY10" fmla="*/ 431577 h 1858316"/>
                  <a:gd name="connsiteX11" fmla="*/ 478170 w 2177868"/>
                  <a:gd name="connsiteY11" fmla="*/ 431184 h 1858316"/>
                  <a:gd name="connsiteX12" fmla="*/ 456015 w 2177868"/>
                  <a:gd name="connsiteY12" fmla="*/ 437405 h 1858316"/>
                  <a:gd name="connsiteX13" fmla="*/ 413365 w 2177868"/>
                  <a:gd name="connsiteY13" fmla="*/ 539231 h 1858316"/>
                  <a:gd name="connsiteX14" fmla="*/ 413360 w 2177868"/>
                  <a:gd name="connsiteY14" fmla="*/ 1065628 h 1858316"/>
                  <a:gd name="connsiteX15" fmla="*/ 407757 w 2177868"/>
                  <a:gd name="connsiteY15" fmla="*/ 1858316 h 1858316"/>
                  <a:gd name="connsiteX0" fmla="*/ 437026 w 2201534"/>
                  <a:gd name="connsiteY0" fmla="*/ 1065628 h 1271115"/>
                  <a:gd name="connsiteX1" fmla="*/ 23908 w 2201534"/>
                  <a:gd name="connsiteY1" fmla="*/ 494424 h 1271115"/>
                  <a:gd name="connsiteX2" fmla="*/ 69399 w 2201534"/>
                  <a:gd name="connsiteY2" fmla="*/ 171698 h 1271115"/>
                  <a:gd name="connsiteX3" fmla="*/ 234006 w 2201534"/>
                  <a:gd name="connsiteY3" fmla="*/ 25112 h 1271115"/>
                  <a:gd name="connsiteX4" fmla="*/ 433652 w 2201534"/>
                  <a:gd name="connsiteY4" fmla="*/ 3326 h 1271115"/>
                  <a:gd name="connsiteX5" fmla="*/ 609356 w 2201534"/>
                  <a:gd name="connsiteY5" fmla="*/ 37548 h 1271115"/>
                  <a:gd name="connsiteX6" fmla="*/ 2160509 w 2201534"/>
                  <a:gd name="connsiteY6" fmla="*/ 924343 h 1271115"/>
                  <a:gd name="connsiteX7" fmla="*/ 2161466 w 2201534"/>
                  <a:gd name="connsiteY7" fmla="*/ 1149844 h 1271115"/>
                  <a:gd name="connsiteX8" fmla="*/ 1987501 w 2201534"/>
                  <a:gd name="connsiteY8" fmla="*/ 1269783 h 1271115"/>
                  <a:gd name="connsiteX9" fmla="*/ 1967654 w 2201534"/>
                  <a:gd name="connsiteY9" fmla="*/ 1262485 h 1271115"/>
                  <a:gd name="connsiteX10" fmla="*/ 502179 w 2201534"/>
                  <a:gd name="connsiteY10" fmla="*/ 431577 h 1271115"/>
                  <a:gd name="connsiteX11" fmla="*/ 501836 w 2201534"/>
                  <a:gd name="connsiteY11" fmla="*/ 431184 h 1271115"/>
                  <a:gd name="connsiteX12" fmla="*/ 479681 w 2201534"/>
                  <a:gd name="connsiteY12" fmla="*/ 437405 h 1271115"/>
                  <a:gd name="connsiteX13" fmla="*/ 437031 w 2201534"/>
                  <a:gd name="connsiteY13" fmla="*/ 539231 h 1271115"/>
                  <a:gd name="connsiteX14" fmla="*/ 437026 w 2201534"/>
                  <a:gd name="connsiteY14" fmla="*/ 1065628 h 1271115"/>
                  <a:gd name="connsiteX0" fmla="*/ 437031 w 2201534"/>
                  <a:gd name="connsiteY0" fmla="*/ 539231 h 1271115"/>
                  <a:gd name="connsiteX1" fmla="*/ 23908 w 2201534"/>
                  <a:gd name="connsiteY1" fmla="*/ 494424 h 1271115"/>
                  <a:gd name="connsiteX2" fmla="*/ 69399 w 2201534"/>
                  <a:gd name="connsiteY2" fmla="*/ 171698 h 1271115"/>
                  <a:gd name="connsiteX3" fmla="*/ 234006 w 2201534"/>
                  <a:gd name="connsiteY3" fmla="*/ 25112 h 1271115"/>
                  <a:gd name="connsiteX4" fmla="*/ 433652 w 2201534"/>
                  <a:gd name="connsiteY4" fmla="*/ 3326 h 1271115"/>
                  <a:gd name="connsiteX5" fmla="*/ 609356 w 2201534"/>
                  <a:gd name="connsiteY5" fmla="*/ 37548 h 1271115"/>
                  <a:gd name="connsiteX6" fmla="*/ 2160509 w 2201534"/>
                  <a:gd name="connsiteY6" fmla="*/ 924343 h 1271115"/>
                  <a:gd name="connsiteX7" fmla="*/ 2161466 w 2201534"/>
                  <a:gd name="connsiteY7" fmla="*/ 1149844 h 1271115"/>
                  <a:gd name="connsiteX8" fmla="*/ 1987501 w 2201534"/>
                  <a:gd name="connsiteY8" fmla="*/ 1269783 h 1271115"/>
                  <a:gd name="connsiteX9" fmla="*/ 1967654 w 2201534"/>
                  <a:gd name="connsiteY9" fmla="*/ 1262485 h 1271115"/>
                  <a:gd name="connsiteX10" fmla="*/ 502179 w 2201534"/>
                  <a:gd name="connsiteY10" fmla="*/ 431577 h 1271115"/>
                  <a:gd name="connsiteX11" fmla="*/ 501836 w 2201534"/>
                  <a:gd name="connsiteY11" fmla="*/ 431184 h 1271115"/>
                  <a:gd name="connsiteX12" fmla="*/ 479681 w 2201534"/>
                  <a:gd name="connsiteY12" fmla="*/ 437405 h 1271115"/>
                  <a:gd name="connsiteX13" fmla="*/ 437031 w 2201534"/>
                  <a:gd name="connsiteY13" fmla="*/ 539231 h 1271115"/>
                  <a:gd name="connsiteX0" fmla="*/ 372453 w 2136956"/>
                  <a:gd name="connsiteY0" fmla="*/ 539231 h 1271115"/>
                  <a:gd name="connsiteX1" fmla="*/ 4821 w 2136956"/>
                  <a:gd name="connsiteY1" fmla="*/ 171698 h 1271115"/>
                  <a:gd name="connsiteX2" fmla="*/ 169428 w 2136956"/>
                  <a:gd name="connsiteY2" fmla="*/ 25112 h 1271115"/>
                  <a:gd name="connsiteX3" fmla="*/ 369074 w 2136956"/>
                  <a:gd name="connsiteY3" fmla="*/ 3326 h 1271115"/>
                  <a:gd name="connsiteX4" fmla="*/ 544778 w 2136956"/>
                  <a:gd name="connsiteY4" fmla="*/ 37548 h 1271115"/>
                  <a:gd name="connsiteX5" fmla="*/ 2095931 w 2136956"/>
                  <a:gd name="connsiteY5" fmla="*/ 924343 h 1271115"/>
                  <a:gd name="connsiteX6" fmla="*/ 2096888 w 2136956"/>
                  <a:gd name="connsiteY6" fmla="*/ 1149844 h 1271115"/>
                  <a:gd name="connsiteX7" fmla="*/ 1922923 w 2136956"/>
                  <a:gd name="connsiteY7" fmla="*/ 1269783 h 1271115"/>
                  <a:gd name="connsiteX8" fmla="*/ 1903076 w 2136956"/>
                  <a:gd name="connsiteY8" fmla="*/ 1262485 h 1271115"/>
                  <a:gd name="connsiteX9" fmla="*/ 437601 w 2136956"/>
                  <a:gd name="connsiteY9" fmla="*/ 431577 h 1271115"/>
                  <a:gd name="connsiteX10" fmla="*/ 437258 w 2136956"/>
                  <a:gd name="connsiteY10" fmla="*/ 431184 h 1271115"/>
                  <a:gd name="connsiteX11" fmla="*/ 415103 w 2136956"/>
                  <a:gd name="connsiteY11" fmla="*/ 437405 h 1271115"/>
                  <a:gd name="connsiteX12" fmla="*/ 372453 w 2136956"/>
                  <a:gd name="connsiteY12" fmla="*/ 539231 h 1271115"/>
                  <a:gd name="connsiteX0" fmla="*/ 416889 w 2138742"/>
                  <a:gd name="connsiteY0" fmla="*/ 437405 h 1271115"/>
                  <a:gd name="connsiteX1" fmla="*/ 6607 w 2138742"/>
                  <a:gd name="connsiteY1" fmla="*/ 171698 h 1271115"/>
                  <a:gd name="connsiteX2" fmla="*/ 171214 w 2138742"/>
                  <a:gd name="connsiteY2" fmla="*/ 25112 h 1271115"/>
                  <a:gd name="connsiteX3" fmla="*/ 370860 w 2138742"/>
                  <a:gd name="connsiteY3" fmla="*/ 3326 h 1271115"/>
                  <a:gd name="connsiteX4" fmla="*/ 546564 w 2138742"/>
                  <a:gd name="connsiteY4" fmla="*/ 37548 h 1271115"/>
                  <a:gd name="connsiteX5" fmla="*/ 2097717 w 2138742"/>
                  <a:gd name="connsiteY5" fmla="*/ 924343 h 1271115"/>
                  <a:gd name="connsiteX6" fmla="*/ 2098674 w 2138742"/>
                  <a:gd name="connsiteY6" fmla="*/ 1149844 h 1271115"/>
                  <a:gd name="connsiteX7" fmla="*/ 1924709 w 2138742"/>
                  <a:gd name="connsiteY7" fmla="*/ 1269783 h 1271115"/>
                  <a:gd name="connsiteX8" fmla="*/ 1904862 w 2138742"/>
                  <a:gd name="connsiteY8" fmla="*/ 1262485 h 1271115"/>
                  <a:gd name="connsiteX9" fmla="*/ 439387 w 2138742"/>
                  <a:gd name="connsiteY9" fmla="*/ 431577 h 1271115"/>
                  <a:gd name="connsiteX10" fmla="*/ 439044 w 2138742"/>
                  <a:gd name="connsiteY10" fmla="*/ 431184 h 1271115"/>
                  <a:gd name="connsiteX11" fmla="*/ 416889 w 2138742"/>
                  <a:gd name="connsiteY11" fmla="*/ 437405 h 1271115"/>
                  <a:gd name="connsiteX0" fmla="*/ 245969 w 1967822"/>
                  <a:gd name="connsiteY0" fmla="*/ 451897 h 1285607"/>
                  <a:gd name="connsiteX1" fmla="*/ 294 w 1967822"/>
                  <a:gd name="connsiteY1" fmla="*/ 39604 h 1285607"/>
                  <a:gd name="connsiteX2" fmla="*/ 199940 w 1967822"/>
                  <a:gd name="connsiteY2" fmla="*/ 17818 h 1285607"/>
                  <a:gd name="connsiteX3" fmla="*/ 375644 w 1967822"/>
                  <a:gd name="connsiteY3" fmla="*/ 52040 h 1285607"/>
                  <a:gd name="connsiteX4" fmla="*/ 1926797 w 1967822"/>
                  <a:gd name="connsiteY4" fmla="*/ 938835 h 1285607"/>
                  <a:gd name="connsiteX5" fmla="*/ 1927754 w 1967822"/>
                  <a:gd name="connsiteY5" fmla="*/ 1164336 h 1285607"/>
                  <a:gd name="connsiteX6" fmla="*/ 1753789 w 1967822"/>
                  <a:gd name="connsiteY6" fmla="*/ 1284275 h 1285607"/>
                  <a:gd name="connsiteX7" fmla="*/ 1733942 w 1967822"/>
                  <a:gd name="connsiteY7" fmla="*/ 1276977 h 1285607"/>
                  <a:gd name="connsiteX8" fmla="*/ 268467 w 1967822"/>
                  <a:gd name="connsiteY8" fmla="*/ 446069 h 1285607"/>
                  <a:gd name="connsiteX9" fmla="*/ 268124 w 1967822"/>
                  <a:gd name="connsiteY9" fmla="*/ 445676 h 1285607"/>
                  <a:gd name="connsiteX10" fmla="*/ 245969 w 1967822"/>
                  <a:gd name="connsiteY10" fmla="*/ 451897 h 1285607"/>
                  <a:gd name="connsiteX0" fmla="*/ 245969 w 1967822"/>
                  <a:gd name="connsiteY0" fmla="*/ 451897 h 1285607"/>
                  <a:gd name="connsiteX1" fmla="*/ 294 w 1967822"/>
                  <a:gd name="connsiteY1" fmla="*/ 39604 h 1285607"/>
                  <a:gd name="connsiteX2" fmla="*/ 199940 w 1967822"/>
                  <a:gd name="connsiteY2" fmla="*/ 17818 h 1285607"/>
                  <a:gd name="connsiteX3" fmla="*/ 375644 w 1967822"/>
                  <a:gd name="connsiteY3" fmla="*/ 52040 h 1285607"/>
                  <a:gd name="connsiteX4" fmla="*/ 1926797 w 1967822"/>
                  <a:gd name="connsiteY4" fmla="*/ 938835 h 1285607"/>
                  <a:gd name="connsiteX5" fmla="*/ 1927754 w 1967822"/>
                  <a:gd name="connsiteY5" fmla="*/ 1164336 h 1285607"/>
                  <a:gd name="connsiteX6" fmla="*/ 1753789 w 1967822"/>
                  <a:gd name="connsiteY6" fmla="*/ 1284275 h 1285607"/>
                  <a:gd name="connsiteX7" fmla="*/ 1733942 w 1967822"/>
                  <a:gd name="connsiteY7" fmla="*/ 1276977 h 1285607"/>
                  <a:gd name="connsiteX8" fmla="*/ 268467 w 1967822"/>
                  <a:gd name="connsiteY8" fmla="*/ 446069 h 1285607"/>
                  <a:gd name="connsiteX9" fmla="*/ 268124 w 1967822"/>
                  <a:gd name="connsiteY9" fmla="*/ 445676 h 1285607"/>
                  <a:gd name="connsiteX10" fmla="*/ 245969 w 1967822"/>
                  <a:gd name="connsiteY10" fmla="*/ 451897 h 1285607"/>
                  <a:gd name="connsiteX0" fmla="*/ 50925 w 1772778"/>
                  <a:gd name="connsiteY0" fmla="*/ 434079 h 1267789"/>
                  <a:gd name="connsiteX1" fmla="*/ 4896 w 1772778"/>
                  <a:gd name="connsiteY1" fmla="*/ 0 h 1267789"/>
                  <a:gd name="connsiteX2" fmla="*/ 180600 w 1772778"/>
                  <a:gd name="connsiteY2" fmla="*/ 34222 h 1267789"/>
                  <a:gd name="connsiteX3" fmla="*/ 1731753 w 1772778"/>
                  <a:gd name="connsiteY3" fmla="*/ 921017 h 1267789"/>
                  <a:gd name="connsiteX4" fmla="*/ 1732710 w 1772778"/>
                  <a:gd name="connsiteY4" fmla="*/ 1146518 h 1267789"/>
                  <a:gd name="connsiteX5" fmla="*/ 1558745 w 1772778"/>
                  <a:gd name="connsiteY5" fmla="*/ 1266457 h 1267789"/>
                  <a:gd name="connsiteX6" fmla="*/ 1538898 w 1772778"/>
                  <a:gd name="connsiteY6" fmla="*/ 1259159 h 1267789"/>
                  <a:gd name="connsiteX7" fmla="*/ 73423 w 1772778"/>
                  <a:gd name="connsiteY7" fmla="*/ 428251 h 1267789"/>
                  <a:gd name="connsiteX8" fmla="*/ 73080 w 1772778"/>
                  <a:gd name="connsiteY8" fmla="*/ 427858 h 1267789"/>
                  <a:gd name="connsiteX9" fmla="*/ 50925 w 1772778"/>
                  <a:gd name="connsiteY9" fmla="*/ 434079 h 1267789"/>
                  <a:gd name="connsiteX0" fmla="*/ 68184 w 1767882"/>
                  <a:gd name="connsiteY0" fmla="*/ 427858 h 1267789"/>
                  <a:gd name="connsiteX1" fmla="*/ 0 w 1767882"/>
                  <a:gd name="connsiteY1" fmla="*/ 0 h 1267789"/>
                  <a:gd name="connsiteX2" fmla="*/ 175704 w 1767882"/>
                  <a:gd name="connsiteY2" fmla="*/ 34222 h 1267789"/>
                  <a:gd name="connsiteX3" fmla="*/ 1726857 w 1767882"/>
                  <a:gd name="connsiteY3" fmla="*/ 921017 h 1267789"/>
                  <a:gd name="connsiteX4" fmla="*/ 1727814 w 1767882"/>
                  <a:gd name="connsiteY4" fmla="*/ 1146518 h 1267789"/>
                  <a:gd name="connsiteX5" fmla="*/ 1553849 w 1767882"/>
                  <a:gd name="connsiteY5" fmla="*/ 1266457 h 1267789"/>
                  <a:gd name="connsiteX6" fmla="*/ 1534002 w 1767882"/>
                  <a:gd name="connsiteY6" fmla="*/ 1259159 h 1267789"/>
                  <a:gd name="connsiteX7" fmla="*/ 68527 w 1767882"/>
                  <a:gd name="connsiteY7" fmla="*/ 428251 h 1267789"/>
                  <a:gd name="connsiteX8" fmla="*/ 68184 w 1767882"/>
                  <a:gd name="connsiteY8" fmla="*/ 427858 h 1267789"/>
                  <a:gd name="connsiteX0" fmla="*/ 0 w 1823523"/>
                  <a:gd name="connsiteY0" fmla="*/ 412600 h 1290631"/>
                  <a:gd name="connsiteX1" fmla="*/ 55641 w 1823523"/>
                  <a:gd name="connsiteY1" fmla="*/ 22842 h 1290631"/>
                  <a:gd name="connsiteX2" fmla="*/ 231345 w 1823523"/>
                  <a:gd name="connsiteY2" fmla="*/ 57064 h 1290631"/>
                  <a:gd name="connsiteX3" fmla="*/ 1782498 w 1823523"/>
                  <a:gd name="connsiteY3" fmla="*/ 943859 h 1290631"/>
                  <a:gd name="connsiteX4" fmla="*/ 1783455 w 1823523"/>
                  <a:gd name="connsiteY4" fmla="*/ 1169360 h 1290631"/>
                  <a:gd name="connsiteX5" fmla="*/ 1609490 w 1823523"/>
                  <a:gd name="connsiteY5" fmla="*/ 1289299 h 1290631"/>
                  <a:gd name="connsiteX6" fmla="*/ 1589643 w 1823523"/>
                  <a:gd name="connsiteY6" fmla="*/ 1282001 h 1290631"/>
                  <a:gd name="connsiteX7" fmla="*/ 124168 w 1823523"/>
                  <a:gd name="connsiteY7" fmla="*/ 451093 h 1290631"/>
                  <a:gd name="connsiteX8" fmla="*/ 0 w 1823523"/>
                  <a:gd name="connsiteY8" fmla="*/ 412600 h 1290631"/>
                  <a:gd name="connsiteX0" fmla="*/ 121435 w 1944958"/>
                  <a:gd name="connsiteY0" fmla="*/ 388867 h 1266898"/>
                  <a:gd name="connsiteX1" fmla="*/ 5626 w 1944958"/>
                  <a:gd name="connsiteY1" fmla="*/ 30859 h 1266898"/>
                  <a:gd name="connsiteX2" fmla="*/ 352780 w 1944958"/>
                  <a:gd name="connsiteY2" fmla="*/ 33331 h 1266898"/>
                  <a:gd name="connsiteX3" fmla="*/ 1903933 w 1944958"/>
                  <a:gd name="connsiteY3" fmla="*/ 920126 h 1266898"/>
                  <a:gd name="connsiteX4" fmla="*/ 1904890 w 1944958"/>
                  <a:gd name="connsiteY4" fmla="*/ 1145627 h 1266898"/>
                  <a:gd name="connsiteX5" fmla="*/ 1730925 w 1944958"/>
                  <a:gd name="connsiteY5" fmla="*/ 1265566 h 1266898"/>
                  <a:gd name="connsiteX6" fmla="*/ 1711078 w 1944958"/>
                  <a:gd name="connsiteY6" fmla="*/ 1258268 h 1266898"/>
                  <a:gd name="connsiteX7" fmla="*/ 245603 w 1944958"/>
                  <a:gd name="connsiteY7" fmla="*/ 427360 h 1266898"/>
                  <a:gd name="connsiteX8" fmla="*/ 121435 w 1944958"/>
                  <a:gd name="connsiteY8" fmla="*/ 388867 h 1266898"/>
                  <a:gd name="connsiteX0" fmla="*/ 128564 w 1952087"/>
                  <a:gd name="connsiteY0" fmla="*/ 394429 h 1272460"/>
                  <a:gd name="connsiteX1" fmla="*/ 12755 w 1952087"/>
                  <a:gd name="connsiteY1" fmla="*/ 36421 h 1272460"/>
                  <a:gd name="connsiteX2" fmla="*/ 359909 w 1952087"/>
                  <a:gd name="connsiteY2" fmla="*/ 38893 h 1272460"/>
                  <a:gd name="connsiteX3" fmla="*/ 1911062 w 1952087"/>
                  <a:gd name="connsiteY3" fmla="*/ 925688 h 1272460"/>
                  <a:gd name="connsiteX4" fmla="*/ 1912019 w 1952087"/>
                  <a:gd name="connsiteY4" fmla="*/ 1151189 h 1272460"/>
                  <a:gd name="connsiteX5" fmla="*/ 1738054 w 1952087"/>
                  <a:gd name="connsiteY5" fmla="*/ 1271128 h 1272460"/>
                  <a:gd name="connsiteX6" fmla="*/ 1718207 w 1952087"/>
                  <a:gd name="connsiteY6" fmla="*/ 1263830 h 1272460"/>
                  <a:gd name="connsiteX7" fmla="*/ 252732 w 1952087"/>
                  <a:gd name="connsiteY7" fmla="*/ 432922 h 1272460"/>
                  <a:gd name="connsiteX8" fmla="*/ 128564 w 1952087"/>
                  <a:gd name="connsiteY8" fmla="*/ 394429 h 1272460"/>
                  <a:gd name="connsiteX0" fmla="*/ 109676 w 1945899"/>
                  <a:gd name="connsiteY0" fmla="*/ 443373 h 1270604"/>
                  <a:gd name="connsiteX1" fmla="*/ 6567 w 1945899"/>
                  <a:gd name="connsiteY1" fmla="*/ 34565 h 1270604"/>
                  <a:gd name="connsiteX2" fmla="*/ 353721 w 1945899"/>
                  <a:gd name="connsiteY2" fmla="*/ 37037 h 1270604"/>
                  <a:gd name="connsiteX3" fmla="*/ 1904874 w 1945899"/>
                  <a:gd name="connsiteY3" fmla="*/ 923832 h 1270604"/>
                  <a:gd name="connsiteX4" fmla="*/ 1905831 w 1945899"/>
                  <a:gd name="connsiteY4" fmla="*/ 1149333 h 1270604"/>
                  <a:gd name="connsiteX5" fmla="*/ 1731866 w 1945899"/>
                  <a:gd name="connsiteY5" fmla="*/ 1269272 h 1270604"/>
                  <a:gd name="connsiteX6" fmla="*/ 1712019 w 1945899"/>
                  <a:gd name="connsiteY6" fmla="*/ 1261974 h 1270604"/>
                  <a:gd name="connsiteX7" fmla="*/ 246544 w 1945899"/>
                  <a:gd name="connsiteY7" fmla="*/ 431066 h 1270604"/>
                  <a:gd name="connsiteX8" fmla="*/ 109676 w 1945899"/>
                  <a:gd name="connsiteY8" fmla="*/ 443373 h 1270604"/>
                  <a:gd name="connsiteX0" fmla="*/ 250037 w 1949392"/>
                  <a:gd name="connsiteY0" fmla="*/ 431066 h 1270604"/>
                  <a:gd name="connsiteX1" fmla="*/ 10060 w 1949392"/>
                  <a:gd name="connsiteY1" fmla="*/ 34565 h 1270604"/>
                  <a:gd name="connsiteX2" fmla="*/ 357214 w 1949392"/>
                  <a:gd name="connsiteY2" fmla="*/ 37037 h 1270604"/>
                  <a:gd name="connsiteX3" fmla="*/ 1908367 w 1949392"/>
                  <a:gd name="connsiteY3" fmla="*/ 923832 h 1270604"/>
                  <a:gd name="connsiteX4" fmla="*/ 1909324 w 1949392"/>
                  <a:gd name="connsiteY4" fmla="*/ 1149333 h 1270604"/>
                  <a:gd name="connsiteX5" fmla="*/ 1735359 w 1949392"/>
                  <a:gd name="connsiteY5" fmla="*/ 1269272 h 1270604"/>
                  <a:gd name="connsiteX6" fmla="*/ 1715512 w 1949392"/>
                  <a:gd name="connsiteY6" fmla="*/ 1261974 h 1270604"/>
                  <a:gd name="connsiteX7" fmla="*/ 250037 w 1949392"/>
                  <a:gd name="connsiteY7" fmla="*/ 431066 h 1270604"/>
                  <a:gd name="connsiteX0" fmla="*/ 246686 w 1946041"/>
                  <a:gd name="connsiteY0" fmla="*/ 431066 h 1270604"/>
                  <a:gd name="connsiteX1" fmla="*/ 133827 w 1946041"/>
                  <a:gd name="connsiteY1" fmla="*/ 324567 h 1270604"/>
                  <a:gd name="connsiteX2" fmla="*/ 6709 w 1946041"/>
                  <a:gd name="connsiteY2" fmla="*/ 34565 h 1270604"/>
                  <a:gd name="connsiteX3" fmla="*/ 353863 w 1946041"/>
                  <a:gd name="connsiteY3" fmla="*/ 37037 h 1270604"/>
                  <a:gd name="connsiteX4" fmla="*/ 1905016 w 1946041"/>
                  <a:gd name="connsiteY4" fmla="*/ 923832 h 1270604"/>
                  <a:gd name="connsiteX5" fmla="*/ 1905973 w 1946041"/>
                  <a:gd name="connsiteY5" fmla="*/ 1149333 h 1270604"/>
                  <a:gd name="connsiteX6" fmla="*/ 1732008 w 1946041"/>
                  <a:gd name="connsiteY6" fmla="*/ 1269272 h 1270604"/>
                  <a:gd name="connsiteX7" fmla="*/ 1712161 w 1946041"/>
                  <a:gd name="connsiteY7" fmla="*/ 1261974 h 1270604"/>
                  <a:gd name="connsiteX8" fmla="*/ 246686 w 1946041"/>
                  <a:gd name="connsiteY8" fmla="*/ 431066 h 1270604"/>
                  <a:gd name="connsiteX0" fmla="*/ 455481 w 2154836"/>
                  <a:gd name="connsiteY0" fmla="*/ 418337 h 1257875"/>
                  <a:gd name="connsiteX1" fmla="*/ 6416 w 2154836"/>
                  <a:gd name="connsiteY1" fmla="*/ 254688 h 1257875"/>
                  <a:gd name="connsiteX2" fmla="*/ 215504 w 2154836"/>
                  <a:gd name="connsiteY2" fmla="*/ 21836 h 1257875"/>
                  <a:gd name="connsiteX3" fmla="*/ 562658 w 2154836"/>
                  <a:gd name="connsiteY3" fmla="*/ 24308 h 1257875"/>
                  <a:gd name="connsiteX4" fmla="*/ 2113811 w 2154836"/>
                  <a:gd name="connsiteY4" fmla="*/ 911103 h 1257875"/>
                  <a:gd name="connsiteX5" fmla="*/ 2114768 w 2154836"/>
                  <a:gd name="connsiteY5" fmla="*/ 1136604 h 1257875"/>
                  <a:gd name="connsiteX6" fmla="*/ 1940803 w 2154836"/>
                  <a:gd name="connsiteY6" fmla="*/ 1256543 h 1257875"/>
                  <a:gd name="connsiteX7" fmla="*/ 1920956 w 2154836"/>
                  <a:gd name="connsiteY7" fmla="*/ 1249245 h 1257875"/>
                  <a:gd name="connsiteX8" fmla="*/ 455481 w 2154836"/>
                  <a:gd name="connsiteY8" fmla="*/ 418337 h 1257875"/>
                  <a:gd name="connsiteX0" fmla="*/ 458204 w 2157559"/>
                  <a:gd name="connsiteY0" fmla="*/ 439462 h 1279000"/>
                  <a:gd name="connsiteX1" fmla="*/ 9139 w 2157559"/>
                  <a:gd name="connsiteY1" fmla="*/ 275813 h 1279000"/>
                  <a:gd name="connsiteX2" fmla="*/ 160591 w 2157559"/>
                  <a:gd name="connsiteY2" fmla="*/ 14386 h 1279000"/>
                  <a:gd name="connsiteX3" fmla="*/ 565381 w 2157559"/>
                  <a:gd name="connsiteY3" fmla="*/ 45433 h 1279000"/>
                  <a:gd name="connsiteX4" fmla="*/ 2116534 w 2157559"/>
                  <a:gd name="connsiteY4" fmla="*/ 932228 h 1279000"/>
                  <a:gd name="connsiteX5" fmla="*/ 2117491 w 2157559"/>
                  <a:gd name="connsiteY5" fmla="*/ 1157729 h 1279000"/>
                  <a:gd name="connsiteX6" fmla="*/ 1943526 w 2157559"/>
                  <a:gd name="connsiteY6" fmla="*/ 1277668 h 1279000"/>
                  <a:gd name="connsiteX7" fmla="*/ 1923679 w 2157559"/>
                  <a:gd name="connsiteY7" fmla="*/ 1270370 h 1279000"/>
                  <a:gd name="connsiteX8" fmla="*/ 458204 w 2157559"/>
                  <a:gd name="connsiteY8" fmla="*/ 439462 h 1279000"/>
                  <a:gd name="connsiteX0" fmla="*/ 456399 w 2155754"/>
                  <a:gd name="connsiteY0" fmla="*/ 431843 h 1271381"/>
                  <a:gd name="connsiteX1" fmla="*/ 7334 w 2155754"/>
                  <a:gd name="connsiteY1" fmla="*/ 268194 h 1271381"/>
                  <a:gd name="connsiteX2" fmla="*/ 192407 w 2155754"/>
                  <a:gd name="connsiteY2" fmla="*/ 16292 h 1271381"/>
                  <a:gd name="connsiteX3" fmla="*/ 563576 w 2155754"/>
                  <a:gd name="connsiteY3" fmla="*/ 37814 h 1271381"/>
                  <a:gd name="connsiteX4" fmla="*/ 2114729 w 2155754"/>
                  <a:gd name="connsiteY4" fmla="*/ 924609 h 1271381"/>
                  <a:gd name="connsiteX5" fmla="*/ 2115686 w 2155754"/>
                  <a:gd name="connsiteY5" fmla="*/ 1150110 h 1271381"/>
                  <a:gd name="connsiteX6" fmla="*/ 1941721 w 2155754"/>
                  <a:gd name="connsiteY6" fmla="*/ 1270049 h 1271381"/>
                  <a:gd name="connsiteX7" fmla="*/ 1921874 w 2155754"/>
                  <a:gd name="connsiteY7" fmla="*/ 1262751 h 1271381"/>
                  <a:gd name="connsiteX8" fmla="*/ 456399 w 2155754"/>
                  <a:gd name="connsiteY8" fmla="*/ 431843 h 1271381"/>
                  <a:gd name="connsiteX0" fmla="*/ 456399 w 2155754"/>
                  <a:gd name="connsiteY0" fmla="*/ 429388 h 1268926"/>
                  <a:gd name="connsiteX1" fmla="*/ 7334 w 2155754"/>
                  <a:gd name="connsiteY1" fmla="*/ 232402 h 1268926"/>
                  <a:gd name="connsiteX2" fmla="*/ 192407 w 2155754"/>
                  <a:gd name="connsiteY2" fmla="*/ 13837 h 1268926"/>
                  <a:gd name="connsiteX3" fmla="*/ 563576 w 2155754"/>
                  <a:gd name="connsiteY3" fmla="*/ 35359 h 1268926"/>
                  <a:gd name="connsiteX4" fmla="*/ 2114729 w 2155754"/>
                  <a:gd name="connsiteY4" fmla="*/ 922154 h 1268926"/>
                  <a:gd name="connsiteX5" fmla="*/ 2115686 w 2155754"/>
                  <a:gd name="connsiteY5" fmla="*/ 1147655 h 1268926"/>
                  <a:gd name="connsiteX6" fmla="*/ 1941721 w 2155754"/>
                  <a:gd name="connsiteY6" fmla="*/ 1267594 h 1268926"/>
                  <a:gd name="connsiteX7" fmla="*/ 1921874 w 2155754"/>
                  <a:gd name="connsiteY7" fmla="*/ 1260296 h 1268926"/>
                  <a:gd name="connsiteX8" fmla="*/ 456399 w 2155754"/>
                  <a:gd name="connsiteY8" fmla="*/ 429388 h 1268926"/>
                  <a:gd name="connsiteX0" fmla="*/ 458374 w 2157729"/>
                  <a:gd name="connsiteY0" fmla="*/ 437817 h 1277355"/>
                  <a:gd name="connsiteX1" fmla="*/ 9309 w 2157729"/>
                  <a:gd name="connsiteY1" fmla="*/ 240831 h 1277355"/>
                  <a:gd name="connsiteX2" fmla="*/ 194382 w 2157729"/>
                  <a:gd name="connsiteY2" fmla="*/ 22266 h 1277355"/>
                  <a:gd name="connsiteX3" fmla="*/ 565551 w 2157729"/>
                  <a:gd name="connsiteY3" fmla="*/ 43788 h 1277355"/>
                  <a:gd name="connsiteX4" fmla="*/ 2116704 w 2157729"/>
                  <a:gd name="connsiteY4" fmla="*/ 930583 h 1277355"/>
                  <a:gd name="connsiteX5" fmla="*/ 2117661 w 2157729"/>
                  <a:gd name="connsiteY5" fmla="*/ 1156084 h 1277355"/>
                  <a:gd name="connsiteX6" fmla="*/ 1943696 w 2157729"/>
                  <a:gd name="connsiteY6" fmla="*/ 1276023 h 1277355"/>
                  <a:gd name="connsiteX7" fmla="*/ 1923849 w 2157729"/>
                  <a:gd name="connsiteY7" fmla="*/ 1268725 h 1277355"/>
                  <a:gd name="connsiteX8" fmla="*/ 458374 w 2157729"/>
                  <a:gd name="connsiteY8" fmla="*/ 437817 h 12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7729" h="1277355">
                    <a:moveTo>
                      <a:pt x="458374" y="437817"/>
                    </a:moveTo>
                    <a:cubicBezTo>
                      <a:pt x="195318" y="281583"/>
                      <a:pt x="49305" y="306914"/>
                      <a:pt x="9309" y="240831"/>
                    </a:cubicBezTo>
                    <a:cubicBezTo>
                      <a:pt x="-30687" y="174748"/>
                      <a:pt x="63252" y="74157"/>
                      <a:pt x="194382" y="22266"/>
                    </a:cubicBezTo>
                    <a:cubicBezTo>
                      <a:pt x="325512" y="-29625"/>
                      <a:pt x="507689" y="22617"/>
                      <a:pt x="565551" y="43788"/>
                    </a:cubicBezTo>
                    <a:lnTo>
                      <a:pt x="2116704" y="930583"/>
                    </a:lnTo>
                    <a:cubicBezTo>
                      <a:pt x="2171029" y="961947"/>
                      <a:pt x="2171457" y="1062907"/>
                      <a:pt x="2117661" y="1156084"/>
                    </a:cubicBezTo>
                    <a:cubicBezTo>
                      <a:pt x="2070590" y="1237614"/>
                      <a:pt x="1997601" y="1286169"/>
                      <a:pt x="1943696" y="1276023"/>
                    </a:cubicBezTo>
                    <a:lnTo>
                      <a:pt x="1923849" y="1268725"/>
                    </a:lnTo>
                    <a:lnTo>
                      <a:pt x="458374" y="437817"/>
                    </a:lnTo>
                    <a:close/>
                  </a:path>
                </a:pathLst>
              </a:custGeom>
              <a:gradFill flip="none" rotWithShape="1">
                <a:gsLst>
                  <a:gs pos="58000">
                    <a:schemeClr val="accent2">
                      <a:lumMod val="0"/>
                      <a:lumOff val="100000"/>
                      <a:alpha val="0"/>
                    </a:schemeClr>
                  </a:gs>
                  <a:gs pos="39000">
                    <a:schemeClr val="accent4"/>
                  </a:gs>
                </a:gsLst>
                <a:lin ang="72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94" name="Freeform: Shape 793">
                <a:extLst>
                  <a:ext uri="{FF2B5EF4-FFF2-40B4-BE49-F238E27FC236}">
                    <a16:creationId xmlns:a16="http://schemas.microsoft.com/office/drawing/2014/main" id="{33C30097-798B-417A-BAC5-4BAA16B328BA}"/>
                  </a:ext>
                </a:extLst>
              </p:cNvPr>
              <p:cNvSpPr/>
              <p:nvPr/>
            </p:nvSpPr>
            <p:spPr bwMode="gray">
              <a:xfrm flipH="1" flipV="1">
                <a:off x="-3473355" y="3502137"/>
                <a:ext cx="2139562" cy="1277355"/>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206180 w 4212730"/>
                  <a:gd name="connsiteY9" fmla="*/ 2392022 h 5285288"/>
                  <a:gd name="connsiteX10" fmla="*/ 407391 w 4212730"/>
                  <a:gd name="connsiteY10" fmla="*/ 2508175 h 5285288"/>
                  <a:gd name="connsiteX11" fmla="*/ 406100 w 4212730"/>
                  <a:gd name="connsiteY11" fmla="*/ 2572658 h 5285288"/>
                  <a:gd name="connsiteX12" fmla="*/ 409165 w 4212730"/>
                  <a:gd name="connsiteY12" fmla="*/ 3888049 h 5285288"/>
                  <a:gd name="connsiteX13" fmla="*/ 407598 w 4212730"/>
                  <a:gd name="connsiteY13" fmla="*/ 3881457 h 5285288"/>
                  <a:gd name="connsiteX14" fmla="*/ 407517 w 4212730"/>
                  <a:gd name="connsiteY14" fmla="*/ 3894265 h 5285288"/>
                  <a:gd name="connsiteX15" fmla="*/ 464772 w 4212730"/>
                  <a:gd name="connsiteY15" fmla="*/ 3993435 h 5285288"/>
                  <a:gd name="connsiteX16" fmla="*/ 1965744 w 4212730"/>
                  <a:gd name="connsiteY16" fmla="*/ 4865353 h 5285288"/>
                  <a:gd name="connsiteX17" fmla="*/ 1966088 w 4212730"/>
                  <a:gd name="connsiteY17" fmla="*/ 4865745 h 5285288"/>
                  <a:gd name="connsiteX18" fmla="*/ 1988129 w 4212730"/>
                  <a:gd name="connsiteY18" fmla="*/ 4859558 h 5285288"/>
                  <a:gd name="connsiteX19" fmla="*/ 2034209 w 4212730"/>
                  <a:gd name="connsiteY19" fmla="*/ 4799004 h 5285288"/>
                  <a:gd name="connsiteX20" fmla="*/ 2036053 w 4212730"/>
                  <a:gd name="connsiteY20" fmla="*/ 4105978 h 5285288"/>
                  <a:gd name="connsiteX21" fmla="*/ 2038324 w 4212730"/>
                  <a:gd name="connsiteY21" fmla="*/ 1054770 h 5285288"/>
                  <a:gd name="connsiteX22" fmla="*/ 2037139 w 4212730"/>
                  <a:gd name="connsiteY22" fmla="*/ 1017192 h 5285288"/>
                  <a:gd name="connsiteX23" fmla="*/ 2035104 w 4212730"/>
                  <a:gd name="connsiteY23" fmla="*/ 494424 h 5285288"/>
                  <a:gd name="connsiteX24" fmla="*/ 2080595 w 4212730"/>
                  <a:gd name="connsiteY24" fmla="*/ 171698 h 5285288"/>
                  <a:gd name="connsiteX25" fmla="*/ 2245202 w 4212730"/>
                  <a:gd name="connsiteY25" fmla="*/ 25112 h 5285288"/>
                  <a:gd name="connsiteX26" fmla="*/ 2444848 w 4212730"/>
                  <a:gd name="connsiteY26" fmla="*/ 3326 h 5285288"/>
                  <a:gd name="connsiteX27" fmla="*/ 2620552 w 4212730"/>
                  <a:gd name="connsiteY27" fmla="*/ 37548 h 5285288"/>
                  <a:gd name="connsiteX28" fmla="*/ 4171705 w 4212730"/>
                  <a:gd name="connsiteY28" fmla="*/ 924343 h 5285288"/>
                  <a:gd name="connsiteX29" fmla="*/ 4172662 w 4212730"/>
                  <a:gd name="connsiteY29" fmla="*/ 1149844 h 5285288"/>
                  <a:gd name="connsiteX30" fmla="*/ 3998697 w 4212730"/>
                  <a:gd name="connsiteY30" fmla="*/ 1269783 h 5285288"/>
                  <a:gd name="connsiteX31" fmla="*/ 3978850 w 4212730"/>
                  <a:gd name="connsiteY31" fmla="*/ 1262485 h 5285288"/>
                  <a:gd name="connsiteX32" fmla="*/ 2513375 w 4212730"/>
                  <a:gd name="connsiteY32" fmla="*/ 431577 h 5285288"/>
                  <a:gd name="connsiteX33" fmla="*/ 2513032 w 4212730"/>
                  <a:gd name="connsiteY33" fmla="*/ 431184 h 5285288"/>
                  <a:gd name="connsiteX34" fmla="*/ 2490877 w 4212730"/>
                  <a:gd name="connsiteY34" fmla="*/ 437405 h 5285288"/>
                  <a:gd name="connsiteX35" fmla="*/ 2448227 w 4212730"/>
                  <a:gd name="connsiteY35" fmla="*/ 539231 h 5285288"/>
                  <a:gd name="connsiteX36" fmla="*/ 2448222 w 4212730"/>
                  <a:gd name="connsiteY36" fmla="*/ 1065628 h 5285288"/>
                  <a:gd name="connsiteX37" fmla="*/ 2445445 w 4212730"/>
                  <a:gd name="connsiteY37" fmla="*/ 1081825 h 5285288"/>
                  <a:gd name="connsiteX38" fmla="*/ 2442619 w 4212730"/>
                  <a:gd name="connsiteY38" fmla="*/ 1858316 h 5285288"/>
                  <a:gd name="connsiteX39" fmla="*/ 2444476 w 4212730"/>
                  <a:gd name="connsiteY39" fmla="*/ 1861834 h 5285288"/>
                  <a:gd name="connsiteX40" fmla="*/ 2443809 w 4212730"/>
                  <a:gd name="connsiteY40" fmla="*/ 3038034 h 5285288"/>
                  <a:gd name="connsiteX41" fmla="*/ 2441669 w 4212730"/>
                  <a:gd name="connsiteY41" fmla="*/ 4802821 h 5285288"/>
                  <a:gd name="connsiteX42" fmla="*/ 2374871 w 4212730"/>
                  <a:gd name="connsiteY42" fmla="*/ 5061801 h 5285288"/>
                  <a:gd name="connsiteX43" fmla="*/ 2230903 w 4212730"/>
                  <a:gd name="connsiteY43" fmla="*/ 5216241 h 5285288"/>
                  <a:gd name="connsiteX44" fmla="*/ 2020267 w 4212730"/>
                  <a:gd name="connsiteY44" fmla="*/ 5284752 h 5285288"/>
                  <a:gd name="connsiteX45" fmla="*/ 1970713 w 4212730"/>
                  <a:gd name="connsiteY45"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206180 w 4212730"/>
                  <a:gd name="connsiteY8" fmla="*/ 2392022 h 5285288"/>
                  <a:gd name="connsiteX9" fmla="*/ 407391 w 4212730"/>
                  <a:gd name="connsiteY9" fmla="*/ 2508175 h 5285288"/>
                  <a:gd name="connsiteX10" fmla="*/ 406100 w 4212730"/>
                  <a:gd name="connsiteY10" fmla="*/ 2572658 h 5285288"/>
                  <a:gd name="connsiteX11" fmla="*/ 409165 w 4212730"/>
                  <a:gd name="connsiteY11" fmla="*/ 3888049 h 5285288"/>
                  <a:gd name="connsiteX12" fmla="*/ 407598 w 4212730"/>
                  <a:gd name="connsiteY12" fmla="*/ 3881457 h 5285288"/>
                  <a:gd name="connsiteX13" fmla="*/ 407517 w 4212730"/>
                  <a:gd name="connsiteY13" fmla="*/ 3894265 h 5285288"/>
                  <a:gd name="connsiteX14" fmla="*/ 464772 w 4212730"/>
                  <a:gd name="connsiteY14" fmla="*/ 3993435 h 5285288"/>
                  <a:gd name="connsiteX15" fmla="*/ 1965744 w 4212730"/>
                  <a:gd name="connsiteY15" fmla="*/ 4865353 h 5285288"/>
                  <a:gd name="connsiteX16" fmla="*/ 1966088 w 4212730"/>
                  <a:gd name="connsiteY16" fmla="*/ 4865745 h 5285288"/>
                  <a:gd name="connsiteX17" fmla="*/ 1988129 w 4212730"/>
                  <a:gd name="connsiteY17" fmla="*/ 4859558 h 5285288"/>
                  <a:gd name="connsiteX18" fmla="*/ 2034209 w 4212730"/>
                  <a:gd name="connsiteY18" fmla="*/ 4799004 h 5285288"/>
                  <a:gd name="connsiteX19" fmla="*/ 2036053 w 4212730"/>
                  <a:gd name="connsiteY19" fmla="*/ 4105978 h 5285288"/>
                  <a:gd name="connsiteX20" fmla="*/ 2038324 w 4212730"/>
                  <a:gd name="connsiteY20" fmla="*/ 1054770 h 5285288"/>
                  <a:gd name="connsiteX21" fmla="*/ 2037139 w 4212730"/>
                  <a:gd name="connsiteY21" fmla="*/ 1017192 h 5285288"/>
                  <a:gd name="connsiteX22" fmla="*/ 2035104 w 4212730"/>
                  <a:gd name="connsiteY22" fmla="*/ 494424 h 5285288"/>
                  <a:gd name="connsiteX23" fmla="*/ 2080595 w 4212730"/>
                  <a:gd name="connsiteY23" fmla="*/ 171698 h 5285288"/>
                  <a:gd name="connsiteX24" fmla="*/ 2245202 w 4212730"/>
                  <a:gd name="connsiteY24" fmla="*/ 25112 h 5285288"/>
                  <a:gd name="connsiteX25" fmla="*/ 2444848 w 4212730"/>
                  <a:gd name="connsiteY25" fmla="*/ 3326 h 5285288"/>
                  <a:gd name="connsiteX26" fmla="*/ 2620552 w 4212730"/>
                  <a:gd name="connsiteY26" fmla="*/ 37548 h 5285288"/>
                  <a:gd name="connsiteX27" fmla="*/ 4171705 w 4212730"/>
                  <a:gd name="connsiteY27" fmla="*/ 924343 h 5285288"/>
                  <a:gd name="connsiteX28" fmla="*/ 4172662 w 4212730"/>
                  <a:gd name="connsiteY28" fmla="*/ 1149844 h 5285288"/>
                  <a:gd name="connsiteX29" fmla="*/ 3998697 w 4212730"/>
                  <a:gd name="connsiteY29" fmla="*/ 1269783 h 5285288"/>
                  <a:gd name="connsiteX30" fmla="*/ 3978850 w 4212730"/>
                  <a:gd name="connsiteY30" fmla="*/ 1262485 h 5285288"/>
                  <a:gd name="connsiteX31" fmla="*/ 2513375 w 4212730"/>
                  <a:gd name="connsiteY31" fmla="*/ 431577 h 5285288"/>
                  <a:gd name="connsiteX32" fmla="*/ 2513032 w 4212730"/>
                  <a:gd name="connsiteY32" fmla="*/ 431184 h 5285288"/>
                  <a:gd name="connsiteX33" fmla="*/ 2490877 w 4212730"/>
                  <a:gd name="connsiteY33" fmla="*/ 437405 h 5285288"/>
                  <a:gd name="connsiteX34" fmla="*/ 2448227 w 4212730"/>
                  <a:gd name="connsiteY34" fmla="*/ 539231 h 5285288"/>
                  <a:gd name="connsiteX35" fmla="*/ 2448222 w 4212730"/>
                  <a:gd name="connsiteY35" fmla="*/ 1065628 h 5285288"/>
                  <a:gd name="connsiteX36" fmla="*/ 2445445 w 4212730"/>
                  <a:gd name="connsiteY36" fmla="*/ 1081825 h 5285288"/>
                  <a:gd name="connsiteX37" fmla="*/ 2442619 w 4212730"/>
                  <a:gd name="connsiteY37" fmla="*/ 1858316 h 5285288"/>
                  <a:gd name="connsiteX38" fmla="*/ 2444476 w 4212730"/>
                  <a:gd name="connsiteY38" fmla="*/ 1861834 h 5285288"/>
                  <a:gd name="connsiteX39" fmla="*/ 2443809 w 4212730"/>
                  <a:gd name="connsiteY39" fmla="*/ 3038034 h 5285288"/>
                  <a:gd name="connsiteX40" fmla="*/ 2441669 w 4212730"/>
                  <a:gd name="connsiteY40" fmla="*/ 4802821 h 5285288"/>
                  <a:gd name="connsiteX41" fmla="*/ 2374871 w 4212730"/>
                  <a:gd name="connsiteY41" fmla="*/ 5061801 h 5285288"/>
                  <a:gd name="connsiteX42" fmla="*/ 2230903 w 4212730"/>
                  <a:gd name="connsiteY42" fmla="*/ 5216241 h 5285288"/>
                  <a:gd name="connsiteX43" fmla="*/ 2020267 w 4212730"/>
                  <a:gd name="connsiteY43" fmla="*/ 5284752 h 5285288"/>
                  <a:gd name="connsiteX44" fmla="*/ 1970713 w 4212730"/>
                  <a:gd name="connsiteY44"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7391 w 4212730"/>
                  <a:gd name="connsiteY8" fmla="*/ 2508175 h 5285288"/>
                  <a:gd name="connsiteX9" fmla="*/ 406100 w 4212730"/>
                  <a:gd name="connsiteY9" fmla="*/ 2572658 h 5285288"/>
                  <a:gd name="connsiteX10" fmla="*/ 409165 w 4212730"/>
                  <a:gd name="connsiteY10" fmla="*/ 3888049 h 5285288"/>
                  <a:gd name="connsiteX11" fmla="*/ 407598 w 4212730"/>
                  <a:gd name="connsiteY11" fmla="*/ 3881457 h 5285288"/>
                  <a:gd name="connsiteX12" fmla="*/ 407517 w 4212730"/>
                  <a:gd name="connsiteY12" fmla="*/ 3894265 h 5285288"/>
                  <a:gd name="connsiteX13" fmla="*/ 464772 w 4212730"/>
                  <a:gd name="connsiteY13" fmla="*/ 3993435 h 5285288"/>
                  <a:gd name="connsiteX14" fmla="*/ 1965744 w 4212730"/>
                  <a:gd name="connsiteY14" fmla="*/ 4865353 h 5285288"/>
                  <a:gd name="connsiteX15" fmla="*/ 1966088 w 4212730"/>
                  <a:gd name="connsiteY15" fmla="*/ 4865745 h 5285288"/>
                  <a:gd name="connsiteX16" fmla="*/ 1988129 w 4212730"/>
                  <a:gd name="connsiteY16" fmla="*/ 4859558 h 5285288"/>
                  <a:gd name="connsiteX17" fmla="*/ 2034209 w 4212730"/>
                  <a:gd name="connsiteY17" fmla="*/ 4799004 h 5285288"/>
                  <a:gd name="connsiteX18" fmla="*/ 2036053 w 4212730"/>
                  <a:gd name="connsiteY18" fmla="*/ 4105978 h 5285288"/>
                  <a:gd name="connsiteX19" fmla="*/ 2038324 w 4212730"/>
                  <a:gd name="connsiteY19" fmla="*/ 1054770 h 5285288"/>
                  <a:gd name="connsiteX20" fmla="*/ 2037139 w 4212730"/>
                  <a:gd name="connsiteY20" fmla="*/ 1017192 h 5285288"/>
                  <a:gd name="connsiteX21" fmla="*/ 2035104 w 4212730"/>
                  <a:gd name="connsiteY21" fmla="*/ 494424 h 5285288"/>
                  <a:gd name="connsiteX22" fmla="*/ 2080595 w 4212730"/>
                  <a:gd name="connsiteY22" fmla="*/ 171698 h 5285288"/>
                  <a:gd name="connsiteX23" fmla="*/ 2245202 w 4212730"/>
                  <a:gd name="connsiteY23" fmla="*/ 25112 h 5285288"/>
                  <a:gd name="connsiteX24" fmla="*/ 2444848 w 4212730"/>
                  <a:gd name="connsiteY24" fmla="*/ 3326 h 5285288"/>
                  <a:gd name="connsiteX25" fmla="*/ 2620552 w 4212730"/>
                  <a:gd name="connsiteY25" fmla="*/ 37548 h 5285288"/>
                  <a:gd name="connsiteX26" fmla="*/ 4171705 w 4212730"/>
                  <a:gd name="connsiteY26" fmla="*/ 924343 h 5285288"/>
                  <a:gd name="connsiteX27" fmla="*/ 4172662 w 4212730"/>
                  <a:gd name="connsiteY27" fmla="*/ 1149844 h 5285288"/>
                  <a:gd name="connsiteX28" fmla="*/ 3998697 w 4212730"/>
                  <a:gd name="connsiteY28" fmla="*/ 1269783 h 5285288"/>
                  <a:gd name="connsiteX29" fmla="*/ 3978850 w 4212730"/>
                  <a:gd name="connsiteY29" fmla="*/ 1262485 h 5285288"/>
                  <a:gd name="connsiteX30" fmla="*/ 2513375 w 4212730"/>
                  <a:gd name="connsiteY30" fmla="*/ 431577 h 5285288"/>
                  <a:gd name="connsiteX31" fmla="*/ 2513032 w 4212730"/>
                  <a:gd name="connsiteY31" fmla="*/ 431184 h 5285288"/>
                  <a:gd name="connsiteX32" fmla="*/ 2490877 w 4212730"/>
                  <a:gd name="connsiteY32" fmla="*/ 437405 h 5285288"/>
                  <a:gd name="connsiteX33" fmla="*/ 2448227 w 4212730"/>
                  <a:gd name="connsiteY33" fmla="*/ 539231 h 5285288"/>
                  <a:gd name="connsiteX34" fmla="*/ 2448222 w 4212730"/>
                  <a:gd name="connsiteY34" fmla="*/ 1065628 h 5285288"/>
                  <a:gd name="connsiteX35" fmla="*/ 2445445 w 4212730"/>
                  <a:gd name="connsiteY35" fmla="*/ 1081825 h 5285288"/>
                  <a:gd name="connsiteX36" fmla="*/ 2442619 w 4212730"/>
                  <a:gd name="connsiteY36" fmla="*/ 1858316 h 5285288"/>
                  <a:gd name="connsiteX37" fmla="*/ 2444476 w 4212730"/>
                  <a:gd name="connsiteY37" fmla="*/ 1861834 h 5285288"/>
                  <a:gd name="connsiteX38" fmla="*/ 2443809 w 4212730"/>
                  <a:gd name="connsiteY38" fmla="*/ 3038034 h 5285288"/>
                  <a:gd name="connsiteX39" fmla="*/ 2441669 w 4212730"/>
                  <a:gd name="connsiteY39" fmla="*/ 4802821 h 5285288"/>
                  <a:gd name="connsiteX40" fmla="*/ 2374871 w 4212730"/>
                  <a:gd name="connsiteY40" fmla="*/ 5061801 h 5285288"/>
                  <a:gd name="connsiteX41" fmla="*/ 2230903 w 4212730"/>
                  <a:gd name="connsiteY41" fmla="*/ 5216241 h 5285288"/>
                  <a:gd name="connsiteX42" fmla="*/ 2020267 w 4212730"/>
                  <a:gd name="connsiteY42" fmla="*/ 5284752 h 5285288"/>
                  <a:gd name="connsiteX43" fmla="*/ 1970713 w 4212730"/>
                  <a:gd name="connsiteY43"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6100 w 4212730"/>
                  <a:gd name="connsiteY8" fmla="*/ 2572658 h 5285288"/>
                  <a:gd name="connsiteX9" fmla="*/ 409165 w 4212730"/>
                  <a:gd name="connsiteY9" fmla="*/ 3888049 h 5285288"/>
                  <a:gd name="connsiteX10" fmla="*/ 407598 w 4212730"/>
                  <a:gd name="connsiteY10" fmla="*/ 3881457 h 5285288"/>
                  <a:gd name="connsiteX11" fmla="*/ 407517 w 4212730"/>
                  <a:gd name="connsiteY11" fmla="*/ 3894265 h 5285288"/>
                  <a:gd name="connsiteX12" fmla="*/ 464772 w 4212730"/>
                  <a:gd name="connsiteY12" fmla="*/ 3993435 h 5285288"/>
                  <a:gd name="connsiteX13" fmla="*/ 1965744 w 4212730"/>
                  <a:gd name="connsiteY13" fmla="*/ 4865353 h 5285288"/>
                  <a:gd name="connsiteX14" fmla="*/ 1966088 w 4212730"/>
                  <a:gd name="connsiteY14" fmla="*/ 4865745 h 5285288"/>
                  <a:gd name="connsiteX15" fmla="*/ 1988129 w 4212730"/>
                  <a:gd name="connsiteY15" fmla="*/ 4859558 h 5285288"/>
                  <a:gd name="connsiteX16" fmla="*/ 2034209 w 4212730"/>
                  <a:gd name="connsiteY16" fmla="*/ 4799004 h 5285288"/>
                  <a:gd name="connsiteX17" fmla="*/ 2036053 w 4212730"/>
                  <a:gd name="connsiteY17" fmla="*/ 4105978 h 5285288"/>
                  <a:gd name="connsiteX18" fmla="*/ 2038324 w 4212730"/>
                  <a:gd name="connsiteY18" fmla="*/ 1054770 h 5285288"/>
                  <a:gd name="connsiteX19" fmla="*/ 2037139 w 4212730"/>
                  <a:gd name="connsiteY19" fmla="*/ 1017192 h 5285288"/>
                  <a:gd name="connsiteX20" fmla="*/ 2035104 w 4212730"/>
                  <a:gd name="connsiteY20" fmla="*/ 494424 h 5285288"/>
                  <a:gd name="connsiteX21" fmla="*/ 2080595 w 4212730"/>
                  <a:gd name="connsiteY21" fmla="*/ 171698 h 5285288"/>
                  <a:gd name="connsiteX22" fmla="*/ 2245202 w 4212730"/>
                  <a:gd name="connsiteY22" fmla="*/ 25112 h 5285288"/>
                  <a:gd name="connsiteX23" fmla="*/ 2444848 w 4212730"/>
                  <a:gd name="connsiteY23" fmla="*/ 3326 h 5285288"/>
                  <a:gd name="connsiteX24" fmla="*/ 2620552 w 4212730"/>
                  <a:gd name="connsiteY24" fmla="*/ 37548 h 5285288"/>
                  <a:gd name="connsiteX25" fmla="*/ 4171705 w 4212730"/>
                  <a:gd name="connsiteY25" fmla="*/ 924343 h 5285288"/>
                  <a:gd name="connsiteX26" fmla="*/ 4172662 w 4212730"/>
                  <a:gd name="connsiteY26" fmla="*/ 1149844 h 5285288"/>
                  <a:gd name="connsiteX27" fmla="*/ 3998697 w 4212730"/>
                  <a:gd name="connsiteY27" fmla="*/ 1269783 h 5285288"/>
                  <a:gd name="connsiteX28" fmla="*/ 3978850 w 4212730"/>
                  <a:gd name="connsiteY28" fmla="*/ 1262485 h 5285288"/>
                  <a:gd name="connsiteX29" fmla="*/ 2513375 w 4212730"/>
                  <a:gd name="connsiteY29" fmla="*/ 431577 h 5285288"/>
                  <a:gd name="connsiteX30" fmla="*/ 2513032 w 4212730"/>
                  <a:gd name="connsiteY30" fmla="*/ 431184 h 5285288"/>
                  <a:gd name="connsiteX31" fmla="*/ 2490877 w 4212730"/>
                  <a:gd name="connsiteY31" fmla="*/ 437405 h 5285288"/>
                  <a:gd name="connsiteX32" fmla="*/ 2448227 w 4212730"/>
                  <a:gd name="connsiteY32" fmla="*/ 539231 h 5285288"/>
                  <a:gd name="connsiteX33" fmla="*/ 2448222 w 4212730"/>
                  <a:gd name="connsiteY33" fmla="*/ 1065628 h 5285288"/>
                  <a:gd name="connsiteX34" fmla="*/ 2445445 w 4212730"/>
                  <a:gd name="connsiteY34" fmla="*/ 1081825 h 5285288"/>
                  <a:gd name="connsiteX35" fmla="*/ 2442619 w 4212730"/>
                  <a:gd name="connsiteY35" fmla="*/ 1858316 h 5285288"/>
                  <a:gd name="connsiteX36" fmla="*/ 2444476 w 4212730"/>
                  <a:gd name="connsiteY36" fmla="*/ 1861834 h 5285288"/>
                  <a:gd name="connsiteX37" fmla="*/ 2443809 w 4212730"/>
                  <a:gd name="connsiteY37" fmla="*/ 3038034 h 5285288"/>
                  <a:gd name="connsiteX38" fmla="*/ 2441669 w 4212730"/>
                  <a:gd name="connsiteY38" fmla="*/ 4802821 h 5285288"/>
                  <a:gd name="connsiteX39" fmla="*/ 2374871 w 4212730"/>
                  <a:gd name="connsiteY39" fmla="*/ 5061801 h 5285288"/>
                  <a:gd name="connsiteX40" fmla="*/ 2230903 w 4212730"/>
                  <a:gd name="connsiteY40" fmla="*/ 5216241 h 5285288"/>
                  <a:gd name="connsiteX41" fmla="*/ 2020267 w 4212730"/>
                  <a:gd name="connsiteY41" fmla="*/ 5284752 h 5285288"/>
                  <a:gd name="connsiteX42" fmla="*/ 1970713 w 4212730"/>
                  <a:gd name="connsiteY42"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9165 w 4212730"/>
                  <a:gd name="connsiteY8" fmla="*/ 3888049 h 5285288"/>
                  <a:gd name="connsiteX9" fmla="*/ 407598 w 4212730"/>
                  <a:gd name="connsiteY9" fmla="*/ 3881457 h 5285288"/>
                  <a:gd name="connsiteX10" fmla="*/ 407517 w 4212730"/>
                  <a:gd name="connsiteY10" fmla="*/ 3894265 h 5285288"/>
                  <a:gd name="connsiteX11" fmla="*/ 464772 w 4212730"/>
                  <a:gd name="connsiteY11" fmla="*/ 3993435 h 5285288"/>
                  <a:gd name="connsiteX12" fmla="*/ 1965744 w 4212730"/>
                  <a:gd name="connsiteY12" fmla="*/ 4865353 h 5285288"/>
                  <a:gd name="connsiteX13" fmla="*/ 1966088 w 4212730"/>
                  <a:gd name="connsiteY13" fmla="*/ 4865745 h 5285288"/>
                  <a:gd name="connsiteX14" fmla="*/ 1988129 w 4212730"/>
                  <a:gd name="connsiteY14" fmla="*/ 4859558 h 5285288"/>
                  <a:gd name="connsiteX15" fmla="*/ 2034209 w 4212730"/>
                  <a:gd name="connsiteY15" fmla="*/ 4799004 h 5285288"/>
                  <a:gd name="connsiteX16" fmla="*/ 2036053 w 4212730"/>
                  <a:gd name="connsiteY16" fmla="*/ 4105978 h 5285288"/>
                  <a:gd name="connsiteX17" fmla="*/ 2038324 w 4212730"/>
                  <a:gd name="connsiteY17" fmla="*/ 1054770 h 5285288"/>
                  <a:gd name="connsiteX18" fmla="*/ 2037139 w 4212730"/>
                  <a:gd name="connsiteY18" fmla="*/ 1017192 h 5285288"/>
                  <a:gd name="connsiteX19" fmla="*/ 2035104 w 4212730"/>
                  <a:gd name="connsiteY19" fmla="*/ 494424 h 5285288"/>
                  <a:gd name="connsiteX20" fmla="*/ 2080595 w 4212730"/>
                  <a:gd name="connsiteY20" fmla="*/ 171698 h 5285288"/>
                  <a:gd name="connsiteX21" fmla="*/ 2245202 w 4212730"/>
                  <a:gd name="connsiteY21" fmla="*/ 25112 h 5285288"/>
                  <a:gd name="connsiteX22" fmla="*/ 2444848 w 4212730"/>
                  <a:gd name="connsiteY22" fmla="*/ 3326 h 5285288"/>
                  <a:gd name="connsiteX23" fmla="*/ 2620552 w 4212730"/>
                  <a:gd name="connsiteY23" fmla="*/ 37548 h 5285288"/>
                  <a:gd name="connsiteX24" fmla="*/ 4171705 w 4212730"/>
                  <a:gd name="connsiteY24" fmla="*/ 924343 h 5285288"/>
                  <a:gd name="connsiteX25" fmla="*/ 4172662 w 4212730"/>
                  <a:gd name="connsiteY25" fmla="*/ 1149844 h 5285288"/>
                  <a:gd name="connsiteX26" fmla="*/ 3998697 w 4212730"/>
                  <a:gd name="connsiteY26" fmla="*/ 1269783 h 5285288"/>
                  <a:gd name="connsiteX27" fmla="*/ 3978850 w 4212730"/>
                  <a:gd name="connsiteY27" fmla="*/ 1262485 h 5285288"/>
                  <a:gd name="connsiteX28" fmla="*/ 2513375 w 4212730"/>
                  <a:gd name="connsiteY28" fmla="*/ 431577 h 5285288"/>
                  <a:gd name="connsiteX29" fmla="*/ 2513032 w 4212730"/>
                  <a:gd name="connsiteY29" fmla="*/ 431184 h 5285288"/>
                  <a:gd name="connsiteX30" fmla="*/ 2490877 w 4212730"/>
                  <a:gd name="connsiteY30" fmla="*/ 437405 h 5285288"/>
                  <a:gd name="connsiteX31" fmla="*/ 2448227 w 4212730"/>
                  <a:gd name="connsiteY31" fmla="*/ 539231 h 5285288"/>
                  <a:gd name="connsiteX32" fmla="*/ 2448222 w 4212730"/>
                  <a:gd name="connsiteY32" fmla="*/ 1065628 h 5285288"/>
                  <a:gd name="connsiteX33" fmla="*/ 2445445 w 4212730"/>
                  <a:gd name="connsiteY33" fmla="*/ 1081825 h 5285288"/>
                  <a:gd name="connsiteX34" fmla="*/ 2442619 w 4212730"/>
                  <a:gd name="connsiteY34" fmla="*/ 1858316 h 5285288"/>
                  <a:gd name="connsiteX35" fmla="*/ 2444476 w 4212730"/>
                  <a:gd name="connsiteY35" fmla="*/ 1861834 h 5285288"/>
                  <a:gd name="connsiteX36" fmla="*/ 2443809 w 4212730"/>
                  <a:gd name="connsiteY36" fmla="*/ 3038034 h 5285288"/>
                  <a:gd name="connsiteX37" fmla="*/ 2441669 w 4212730"/>
                  <a:gd name="connsiteY37" fmla="*/ 4802821 h 5285288"/>
                  <a:gd name="connsiteX38" fmla="*/ 2374871 w 4212730"/>
                  <a:gd name="connsiteY38" fmla="*/ 5061801 h 5285288"/>
                  <a:gd name="connsiteX39" fmla="*/ 2230903 w 4212730"/>
                  <a:gd name="connsiteY39" fmla="*/ 5216241 h 5285288"/>
                  <a:gd name="connsiteX40" fmla="*/ 2020267 w 4212730"/>
                  <a:gd name="connsiteY40" fmla="*/ 5284752 h 5285288"/>
                  <a:gd name="connsiteX41" fmla="*/ 1970713 w 4212730"/>
                  <a:gd name="connsiteY41" fmla="*/ 5285252 h 5285288"/>
                  <a:gd name="connsiteX0" fmla="*/ 1970596 w 4212613"/>
                  <a:gd name="connsiteY0" fmla="*/ 5285252 h 5285288"/>
                  <a:gd name="connsiteX1" fmla="*/ 1858972 w 4212613"/>
                  <a:gd name="connsiteY1" fmla="*/ 5257452 h 5285288"/>
                  <a:gd name="connsiteX2" fmla="*/ 1798971 w 4212613"/>
                  <a:gd name="connsiteY2" fmla="*/ 5227600 h 5285288"/>
                  <a:gd name="connsiteX3" fmla="*/ 257624 w 4212613"/>
                  <a:gd name="connsiteY3" fmla="*/ 4344402 h 5285288"/>
                  <a:gd name="connsiteX4" fmla="*/ 66738 w 4212613"/>
                  <a:gd name="connsiteY4" fmla="*/ 4157062 h 5285288"/>
                  <a:gd name="connsiteX5" fmla="*/ 4968 w 4212613"/>
                  <a:gd name="connsiteY5" fmla="*/ 3955159 h 5285288"/>
                  <a:gd name="connsiteX6" fmla="*/ 0 w 4212613"/>
                  <a:gd name="connsiteY6" fmla="*/ 3898769 h 5285288"/>
                  <a:gd name="connsiteX7" fmla="*/ 409048 w 4212613"/>
                  <a:gd name="connsiteY7" fmla="*/ 3888049 h 5285288"/>
                  <a:gd name="connsiteX8" fmla="*/ 407481 w 4212613"/>
                  <a:gd name="connsiteY8" fmla="*/ 3881457 h 5285288"/>
                  <a:gd name="connsiteX9" fmla="*/ 407400 w 4212613"/>
                  <a:gd name="connsiteY9" fmla="*/ 3894265 h 5285288"/>
                  <a:gd name="connsiteX10" fmla="*/ 464655 w 4212613"/>
                  <a:gd name="connsiteY10" fmla="*/ 3993435 h 5285288"/>
                  <a:gd name="connsiteX11" fmla="*/ 1965627 w 4212613"/>
                  <a:gd name="connsiteY11" fmla="*/ 4865353 h 5285288"/>
                  <a:gd name="connsiteX12" fmla="*/ 1965971 w 4212613"/>
                  <a:gd name="connsiteY12" fmla="*/ 4865745 h 5285288"/>
                  <a:gd name="connsiteX13" fmla="*/ 1988012 w 4212613"/>
                  <a:gd name="connsiteY13" fmla="*/ 4859558 h 5285288"/>
                  <a:gd name="connsiteX14" fmla="*/ 2034092 w 4212613"/>
                  <a:gd name="connsiteY14" fmla="*/ 4799004 h 5285288"/>
                  <a:gd name="connsiteX15" fmla="*/ 2035936 w 4212613"/>
                  <a:gd name="connsiteY15" fmla="*/ 4105978 h 5285288"/>
                  <a:gd name="connsiteX16" fmla="*/ 2038207 w 4212613"/>
                  <a:gd name="connsiteY16" fmla="*/ 1054770 h 5285288"/>
                  <a:gd name="connsiteX17" fmla="*/ 2037022 w 4212613"/>
                  <a:gd name="connsiteY17" fmla="*/ 1017192 h 5285288"/>
                  <a:gd name="connsiteX18" fmla="*/ 2034987 w 4212613"/>
                  <a:gd name="connsiteY18" fmla="*/ 494424 h 5285288"/>
                  <a:gd name="connsiteX19" fmla="*/ 2080478 w 4212613"/>
                  <a:gd name="connsiteY19" fmla="*/ 171698 h 5285288"/>
                  <a:gd name="connsiteX20" fmla="*/ 2245085 w 4212613"/>
                  <a:gd name="connsiteY20" fmla="*/ 25112 h 5285288"/>
                  <a:gd name="connsiteX21" fmla="*/ 2444731 w 4212613"/>
                  <a:gd name="connsiteY21" fmla="*/ 3326 h 5285288"/>
                  <a:gd name="connsiteX22" fmla="*/ 2620435 w 4212613"/>
                  <a:gd name="connsiteY22" fmla="*/ 37548 h 5285288"/>
                  <a:gd name="connsiteX23" fmla="*/ 4171588 w 4212613"/>
                  <a:gd name="connsiteY23" fmla="*/ 924343 h 5285288"/>
                  <a:gd name="connsiteX24" fmla="*/ 4172545 w 4212613"/>
                  <a:gd name="connsiteY24" fmla="*/ 1149844 h 5285288"/>
                  <a:gd name="connsiteX25" fmla="*/ 3998580 w 4212613"/>
                  <a:gd name="connsiteY25" fmla="*/ 1269783 h 5285288"/>
                  <a:gd name="connsiteX26" fmla="*/ 3978733 w 4212613"/>
                  <a:gd name="connsiteY26" fmla="*/ 1262485 h 5285288"/>
                  <a:gd name="connsiteX27" fmla="*/ 2513258 w 4212613"/>
                  <a:gd name="connsiteY27" fmla="*/ 431577 h 5285288"/>
                  <a:gd name="connsiteX28" fmla="*/ 2512915 w 4212613"/>
                  <a:gd name="connsiteY28" fmla="*/ 431184 h 5285288"/>
                  <a:gd name="connsiteX29" fmla="*/ 2490760 w 4212613"/>
                  <a:gd name="connsiteY29" fmla="*/ 437405 h 5285288"/>
                  <a:gd name="connsiteX30" fmla="*/ 2448110 w 4212613"/>
                  <a:gd name="connsiteY30" fmla="*/ 539231 h 5285288"/>
                  <a:gd name="connsiteX31" fmla="*/ 2448105 w 4212613"/>
                  <a:gd name="connsiteY31" fmla="*/ 1065628 h 5285288"/>
                  <a:gd name="connsiteX32" fmla="*/ 2445328 w 4212613"/>
                  <a:gd name="connsiteY32" fmla="*/ 1081825 h 5285288"/>
                  <a:gd name="connsiteX33" fmla="*/ 2442502 w 4212613"/>
                  <a:gd name="connsiteY33" fmla="*/ 1858316 h 5285288"/>
                  <a:gd name="connsiteX34" fmla="*/ 2444359 w 4212613"/>
                  <a:gd name="connsiteY34" fmla="*/ 1861834 h 5285288"/>
                  <a:gd name="connsiteX35" fmla="*/ 2443692 w 4212613"/>
                  <a:gd name="connsiteY35" fmla="*/ 3038034 h 5285288"/>
                  <a:gd name="connsiteX36" fmla="*/ 2441552 w 4212613"/>
                  <a:gd name="connsiteY36" fmla="*/ 4802821 h 5285288"/>
                  <a:gd name="connsiteX37" fmla="*/ 2374754 w 4212613"/>
                  <a:gd name="connsiteY37" fmla="*/ 5061801 h 5285288"/>
                  <a:gd name="connsiteX38" fmla="*/ 2230786 w 4212613"/>
                  <a:gd name="connsiteY38" fmla="*/ 5216241 h 5285288"/>
                  <a:gd name="connsiteX39" fmla="*/ 2020150 w 4212613"/>
                  <a:gd name="connsiteY39" fmla="*/ 5284752 h 5285288"/>
                  <a:gd name="connsiteX40" fmla="*/ 1970596 w 4212613"/>
                  <a:gd name="connsiteY40" fmla="*/ 5285252 h 5285288"/>
                  <a:gd name="connsiteX0" fmla="*/ 1965628 w 4207645"/>
                  <a:gd name="connsiteY0" fmla="*/ 5285252 h 5285288"/>
                  <a:gd name="connsiteX1" fmla="*/ 1854004 w 4207645"/>
                  <a:gd name="connsiteY1" fmla="*/ 5257452 h 5285288"/>
                  <a:gd name="connsiteX2" fmla="*/ 1794003 w 4207645"/>
                  <a:gd name="connsiteY2" fmla="*/ 5227600 h 5285288"/>
                  <a:gd name="connsiteX3" fmla="*/ 252656 w 4207645"/>
                  <a:gd name="connsiteY3" fmla="*/ 4344402 h 5285288"/>
                  <a:gd name="connsiteX4" fmla="*/ 61770 w 4207645"/>
                  <a:gd name="connsiteY4" fmla="*/ 4157062 h 5285288"/>
                  <a:gd name="connsiteX5" fmla="*/ 0 w 4207645"/>
                  <a:gd name="connsiteY5" fmla="*/ 3955159 h 5285288"/>
                  <a:gd name="connsiteX6" fmla="*/ 404080 w 4207645"/>
                  <a:gd name="connsiteY6" fmla="*/ 3888049 h 5285288"/>
                  <a:gd name="connsiteX7" fmla="*/ 402513 w 4207645"/>
                  <a:gd name="connsiteY7" fmla="*/ 3881457 h 5285288"/>
                  <a:gd name="connsiteX8" fmla="*/ 402432 w 4207645"/>
                  <a:gd name="connsiteY8" fmla="*/ 3894265 h 5285288"/>
                  <a:gd name="connsiteX9" fmla="*/ 459687 w 4207645"/>
                  <a:gd name="connsiteY9" fmla="*/ 3993435 h 5285288"/>
                  <a:gd name="connsiteX10" fmla="*/ 1960659 w 4207645"/>
                  <a:gd name="connsiteY10" fmla="*/ 4865353 h 5285288"/>
                  <a:gd name="connsiteX11" fmla="*/ 1961003 w 4207645"/>
                  <a:gd name="connsiteY11" fmla="*/ 4865745 h 5285288"/>
                  <a:gd name="connsiteX12" fmla="*/ 1983044 w 4207645"/>
                  <a:gd name="connsiteY12" fmla="*/ 4859558 h 5285288"/>
                  <a:gd name="connsiteX13" fmla="*/ 2029124 w 4207645"/>
                  <a:gd name="connsiteY13" fmla="*/ 4799004 h 5285288"/>
                  <a:gd name="connsiteX14" fmla="*/ 2030968 w 4207645"/>
                  <a:gd name="connsiteY14" fmla="*/ 4105978 h 5285288"/>
                  <a:gd name="connsiteX15" fmla="*/ 2033239 w 4207645"/>
                  <a:gd name="connsiteY15" fmla="*/ 1054770 h 5285288"/>
                  <a:gd name="connsiteX16" fmla="*/ 2032054 w 4207645"/>
                  <a:gd name="connsiteY16" fmla="*/ 1017192 h 5285288"/>
                  <a:gd name="connsiteX17" fmla="*/ 2030019 w 4207645"/>
                  <a:gd name="connsiteY17" fmla="*/ 494424 h 5285288"/>
                  <a:gd name="connsiteX18" fmla="*/ 2075510 w 4207645"/>
                  <a:gd name="connsiteY18" fmla="*/ 171698 h 5285288"/>
                  <a:gd name="connsiteX19" fmla="*/ 2240117 w 4207645"/>
                  <a:gd name="connsiteY19" fmla="*/ 25112 h 5285288"/>
                  <a:gd name="connsiteX20" fmla="*/ 2439763 w 4207645"/>
                  <a:gd name="connsiteY20" fmla="*/ 3326 h 5285288"/>
                  <a:gd name="connsiteX21" fmla="*/ 2615467 w 4207645"/>
                  <a:gd name="connsiteY21" fmla="*/ 37548 h 5285288"/>
                  <a:gd name="connsiteX22" fmla="*/ 4166620 w 4207645"/>
                  <a:gd name="connsiteY22" fmla="*/ 924343 h 5285288"/>
                  <a:gd name="connsiteX23" fmla="*/ 4167577 w 4207645"/>
                  <a:gd name="connsiteY23" fmla="*/ 1149844 h 5285288"/>
                  <a:gd name="connsiteX24" fmla="*/ 3993612 w 4207645"/>
                  <a:gd name="connsiteY24" fmla="*/ 1269783 h 5285288"/>
                  <a:gd name="connsiteX25" fmla="*/ 3973765 w 4207645"/>
                  <a:gd name="connsiteY25" fmla="*/ 1262485 h 5285288"/>
                  <a:gd name="connsiteX26" fmla="*/ 2508290 w 4207645"/>
                  <a:gd name="connsiteY26" fmla="*/ 431577 h 5285288"/>
                  <a:gd name="connsiteX27" fmla="*/ 2507947 w 4207645"/>
                  <a:gd name="connsiteY27" fmla="*/ 431184 h 5285288"/>
                  <a:gd name="connsiteX28" fmla="*/ 2485792 w 4207645"/>
                  <a:gd name="connsiteY28" fmla="*/ 437405 h 5285288"/>
                  <a:gd name="connsiteX29" fmla="*/ 2443142 w 4207645"/>
                  <a:gd name="connsiteY29" fmla="*/ 539231 h 5285288"/>
                  <a:gd name="connsiteX30" fmla="*/ 2443137 w 4207645"/>
                  <a:gd name="connsiteY30" fmla="*/ 1065628 h 5285288"/>
                  <a:gd name="connsiteX31" fmla="*/ 2440360 w 4207645"/>
                  <a:gd name="connsiteY31" fmla="*/ 1081825 h 5285288"/>
                  <a:gd name="connsiteX32" fmla="*/ 2437534 w 4207645"/>
                  <a:gd name="connsiteY32" fmla="*/ 1858316 h 5285288"/>
                  <a:gd name="connsiteX33" fmla="*/ 2439391 w 4207645"/>
                  <a:gd name="connsiteY33" fmla="*/ 1861834 h 5285288"/>
                  <a:gd name="connsiteX34" fmla="*/ 2438724 w 4207645"/>
                  <a:gd name="connsiteY34" fmla="*/ 3038034 h 5285288"/>
                  <a:gd name="connsiteX35" fmla="*/ 2436584 w 4207645"/>
                  <a:gd name="connsiteY35" fmla="*/ 4802821 h 5285288"/>
                  <a:gd name="connsiteX36" fmla="*/ 2369786 w 4207645"/>
                  <a:gd name="connsiteY36" fmla="*/ 5061801 h 5285288"/>
                  <a:gd name="connsiteX37" fmla="*/ 2225818 w 4207645"/>
                  <a:gd name="connsiteY37" fmla="*/ 5216241 h 5285288"/>
                  <a:gd name="connsiteX38" fmla="*/ 2015182 w 4207645"/>
                  <a:gd name="connsiteY38" fmla="*/ 5284752 h 5285288"/>
                  <a:gd name="connsiteX39" fmla="*/ 1965628 w 4207645"/>
                  <a:gd name="connsiteY39" fmla="*/ 5285252 h 5285288"/>
                  <a:gd name="connsiteX0" fmla="*/ 1978947 w 4220964"/>
                  <a:gd name="connsiteY0" fmla="*/ 5285252 h 5285288"/>
                  <a:gd name="connsiteX1" fmla="*/ 1867323 w 4220964"/>
                  <a:gd name="connsiteY1" fmla="*/ 5257452 h 5285288"/>
                  <a:gd name="connsiteX2" fmla="*/ 1807322 w 4220964"/>
                  <a:gd name="connsiteY2" fmla="*/ 5227600 h 5285288"/>
                  <a:gd name="connsiteX3" fmla="*/ 265975 w 4220964"/>
                  <a:gd name="connsiteY3" fmla="*/ 4344402 h 5285288"/>
                  <a:gd name="connsiteX4" fmla="*/ 13319 w 4220964"/>
                  <a:gd name="connsiteY4" fmla="*/ 3955159 h 5285288"/>
                  <a:gd name="connsiteX5" fmla="*/ 417399 w 4220964"/>
                  <a:gd name="connsiteY5" fmla="*/ 3888049 h 5285288"/>
                  <a:gd name="connsiteX6" fmla="*/ 415832 w 4220964"/>
                  <a:gd name="connsiteY6" fmla="*/ 3881457 h 5285288"/>
                  <a:gd name="connsiteX7" fmla="*/ 415751 w 4220964"/>
                  <a:gd name="connsiteY7" fmla="*/ 3894265 h 5285288"/>
                  <a:gd name="connsiteX8" fmla="*/ 473006 w 4220964"/>
                  <a:gd name="connsiteY8" fmla="*/ 3993435 h 5285288"/>
                  <a:gd name="connsiteX9" fmla="*/ 1973978 w 4220964"/>
                  <a:gd name="connsiteY9" fmla="*/ 4865353 h 5285288"/>
                  <a:gd name="connsiteX10" fmla="*/ 1974322 w 4220964"/>
                  <a:gd name="connsiteY10" fmla="*/ 4865745 h 5285288"/>
                  <a:gd name="connsiteX11" fmla="*/ 1996363 w 4220964"/>
                  <a:gd name="connsiteY11" fmla="*/ 4859558 h 5285288"/>
                  <a:gd name="connsiteX12" fmla="*/ 2042443 w 4220964"/>
                  <a:gd name="connsiteY12" fmla="*/ 4799004 h 5285288"/>
                  <a:gd name="connsiteX13" fmla="*/ 2044287 w 4220964"/>
                  <a:gd name="connsiteY13" fmla="*/ 4105978 h 5285288"/>
                  <a:gd name="connsiteX14" fmla="*/ 2046558 w 4220964"/>
                  <a:gd name="connsiteY14" fmla="*/ 1054770 h 5285288"/>
                  <a:gd name="connsiteX15" fmla="*/ 2045373 w 4220964"/>
                  <a:gd name="connsiteY15" fmla="*/ 1017192 h 5285288"/>
                  <a:gd name="connsiteX16" fmla="*/ 2043338 w 4220964"/>
                  <a:gd name="connsiteY16" fmla="*/ 494424 h 5285288"/>
                  <a:gd name="connsiteX17" fmla="*/ 2088829 w 4220964"/>
                  <a:gd name="connsiteY17" fmla="*/ 171698 h 5285288"/>
                  <a:gd name="connsiteX18" fmla="*/ 2253436 w 4220964"/>
                  <a:gd name="connsiteY18" fmla="*/ 25112 h 5285288"/>
                  <a:gd name="connsiteX19" fmla="*/ 2453082 w 4220964"/>
                  <a:gd name="connsiteY19" fmla="*/ 3326 h 5285288"/>
                  <a:gd name="connsiteX20" fmla="*/ 2628786 w 4220964"/>
                  <a:gd name="connsiteY20" fmla="*/ 37548 h 5285288"/>
                  <a:gd name="connsiteX21" fmla="*/ 4179939 w 4220964"/>
                  <a:gd name="connsiteY21" fmla="*/ 924343 h 5285288"/>
                  <a:gd name="connsiteX22" fmla="*/ 4180896 w 4220964"/>
                  <a:gd name="connsiteY22" fmla="*/ 1149844 h 5285288"/>
                  <a:gd name="connsiteX23" fmla="*/ 4006931 w 4220964"/>
                  <a:gd name="connsiteY23" fmla="*/ 1269783 h 5285288"/>
                  <a:gd name="connsiteX24" fmla="*/ 3987084 w 4220964"/>
                  <a:gd name="connsiteY24" fmla="*/ 1262485 h 5285288"/>
                  <a:gd name="connsiteX25" fmla="*/ 2521609 w 4220964"/>
                  <a:gd name="connsiteY25" fmla="*/ 431577 h 5285288"/>
                  <a:gd name="connsiteX26" fmla="*/ 2521266 w 4220964"/>
                  <a:gd name="connsiteY26" fmla="*/ 431184 h 5285288"/>
                  <a:gd name="connsiteX27" fmla="*/ 2499111 w 4220964"/>
                  <a:gd name="connsiteY27" fmla="*/ 437405 h 5285288"/>
                  <a:gd name="connsiteX28" fmla="*/ 2456461 w 4220964"/>
                  <a:gd name="connsiteY28" fmla="*/ 539231 h 5285288"/>
                  <a:gd name="connsiteX29" fmla="*/ 2456456 w 4220964"/>
                  <a:gd name="connsiteY29" fmla="*/ 1065628 h 5285288"/>
                  <a:gd name="connsiteX30" fmla="*/ 2453679 w 4220964"/>
                  <a:gd name="connsiteY30" fmla="*/ 1081825 h 5285288"/>
                  <a:gd name="connsiteX31" fmla="*/ 2450853 w 4220964"/>
                  <a:gd name="connsiteY31" fmla="*/ 1858316 h 5285288"/>
                  <a:gd name="connsiteX32" fmla="*/ 2452710 w 4220964"/>
                  <a:gd name="connsiteY32" fmla="*/ 1861834 h 5285288"/>
                  <a:gd name="connsiteX33" fmla="*/ 2452043 w 4220964"/>
                  <a:gd name="connsiteY33" fmla="*/ 3038034 h 5285288"/>
                  <a:gd name="connsiteX34" fmla="*/ 2449903 w 4220964"/>
                  <a:gd name="connsiteY34" fmla="*/ 4802821 h 5285288"/>
                  <a:gd name="connsiteX35" fmla="*/ 2383105 w 4220964"/>
                  <a:gd name="connsiteY35" fmla="*/ 5061801 h 5285288"/>
                  <a:gd name="connsiteX36" fmla="*/ 2239137 w 4220964"/>
                  <a:gd name="connsiteY36" fmla="*/ 5216241 h 5285288"/>
                  <a:gd name="connsiteX37" fmla="*/ 2028501 w 4220964"/>
                  <a:gd name="connsiteY37" fmla="*/ 5284752 h 5285288"/>
                  <a:gd name="connsiteX38" fmla="*/ 1978947 w 4220964"/>
                  <a:gd name="connsiteY38" fmla="*/ 5285252 h 5285288"/>
                  <a:gd name="connsiteX0" fmla="*/ 1790618 w 4032635"/>
                  <a:gd name="connsiteY0" fmla="*/ 5285252 h 5285288"/>
                  <a:gd name="connsiteX1" fmla="*/ 1678994 w 4032635"/>
                  <a:gd name="connsiteY1" fmla="*/ 5257452 h 5285288"/>
                  <a:gd name="connsiteX2" fmla="*/ 1618993 w 4032635"/>
                  <a:gd name="connsiteY2" fmla="*/ 5227600 h 5285288"/>
                  <a:gd name="connsiteX3" fmla="*/ 77646 w 4032635"/>
                  <a:gd name="connsiteY3" fmla="*/ 4344402 h 5285288"/>
                  <a:gd name="connsiteX4" fmla="*/ 229070 w 4032635"/>
                  <a:gd name="connsiteY4" fmla="*/ 3888049 h 5285288"/>
                  <a:gd name="connsiteX5" fmla="*/ 227503 w 4032635"/>
                  <a:gd name="connsiteY5" fmla="*/ 3881457 h 5285288"/>
                  <a:gd name="connsiteX6" fmla="*/ 227422 w 4032635"/>
                  <a:gd name="connsiteY6" fmla="*/ 3894265 h 5285288"/>
                  <a:gd name="connsiteX7" fmla="*/ 284677 w 4032635"/>
                  <a:gd name="connsiteY7" fmla="*/ 3993435 h 5285288"/>
                  <a:gd name="connsiteX8" fmla="*/ 1785649 w 4032635"/>
                  <a:gd name="connsiteY8" fmla="*/ 4865353 h 5285288"/>
                  <a:gd name="connsiteX9" fmla="*/ 1785993 w 4032635"/>
                  <a:gd name="connsiteY9" fmla="*/ 4865745 h 5285288"/>
                  <a:gd name="connsiteX10" fmla="*/ 1808034 w 4032635"/>
                  <a:gd name="connsiteY10" fmla="*/ 4859558 h 5285288"/>
                  <a:gd name="connsiteX11" fmla="*/ 1854114 w 4032635"/>
                  <a:gd name="connsiteY11" fmla="*/ 4799004 h 5285288"/>
                  <a:gd name="connsiteX12" fmla="*/ 1855958 w 4032635"/>
                  <a:gd name="connsiteY12" fmla="*/ 4105978 h 5285288"/>
                  <a:gd name="connsiteX13" fmla="*/ 1858229 w 4032635"/>
                  <a:gd name="connsiteY13" fmla="*/ 1054770 h 5285288"/>
                  <a:gd name="connsiteX14" fmla="*/ 1857044 w 4032635"/>
                  <a:gd name="connsiteY14" fmla="*/ 1017192 h 5285288"/>
                  <a:gd name="connsiteX15" fmla="*/ 1855009 w 4032635"/>
                  <a:gd name="connsiteY15" fmla="*/ 494424 h 5285288"/>
                  <a:gd name="connsiteX16" fmla="*/ 1900500 w 4032635"/>
                  <a:gd name="connsiteY16" fmla="*/ 171698 h 5285288"/>
                  <a:gd name="connsiteX17" fmla="*/ 2065107 w 4032635"/>
                  <a:gd name="connsiteY17" fmla="*/ 25112 h 5285288"/>
                  <a:gd name="connsiteX18" fmla="*/ 2264753 w 4032635"/>
                  <a:gd name="connsiteY18" fmla="*/ 3326 h 5285288"/>
                  <a:gd name="connsiteX19" fmla="*/ 2440457 w 4032635"/>
                  <a:gd name="connsiteY19" fmla="*/ 37548 h 5285288"/>
                  <a:gd name="connsiteX20" fmla="*/ 3991610 w 4032635"/>
                  <a:gd name="connsiteY20" fmla="*/ 924343 h 5285288"/>
                  <a:gd name="connsiteX21" fmla="*/ 3992567 w 4032635"/>
                  <a:gd name="connsiteY21" fmla="*/ 1149844 h 5285288"/>
                  <a:gd name="connsiteX22" fmla="*/ 3818602 w 4032635"/>
                  <a:gd name="connsiteY22" fmla="*/ 1269783 h 5285288"/>
                  <a:gd name="connsiteX23" fmla="*/ 3798755 w 4032635"/>
                  <a:gd name="connsiteY23" fmla="*/ 1262485 h 5285288"/>
                  <a:gd name="connsiteX24" fmla="*/ 2333280 w 4032635"/>
                  <a:gd name="connsiteY24" fmla="*/ 431577 h 5285288"/>
                  <a:gd name="connsiteX25" fmla="*/ 2332937 w 4032635"/>
                  <a:gd name="connsiteY25" fmla="*/ 431184 h 5285288"/>
                  <a:gd name="connsiteX26" fmla="*/ 2310782 w 4032635"/>
                  <a:gd name="connsiteY26" fmla="*/ 437405 h 5285288"/>
                  <a:gd name="connsiteX27" fmla="*/ 2268132 w 4032635"/>
                  <a:gd name="connsiteY27" fmla="*/ 539231 h 5285288"/>
                  <a:gd name="connsiteX28" fmla="*/ 2268127 w 4032635"/>
                  <a:gd name="connsiteY28" fmla="*/ 1065628 h 5285288"/>
                  <a:gd name="connsiteX29" fmla="*/ 2265350 w 4032635"/>
                  <a:gd name="connsiteY29" fmla="*/ 1081825 h 5285288"/>
                  <a:gd name="connsiteX30" fmla="*/ 2262524 w 4032635"/>
                  <a:gd name="connsiteY30" fmla="*/ 1858316 h 5285288"/>
                  <a:gd name="connsiteX31" fmla="*/ 2264381 w 4032635"/>
                  <a:gd name="connsiteY31" fmla="*/ 1861834 h 5285288"/>
                  <a:gd name="connsiteX32" fmla="*/ 2263714 w 4032635"/>
                  <a:gd name="connsiteY32" fmla="*/ 3038034 h 5285288"/>
                  <a:gd name="connsiteX33" fmla="*/ 2261574 w 4032635"/>
                  <a:gd name="connsiteY33" fmla="*/ 4802821 h 5285288"/>
                  <a:gd name="connsiteX34" fmla="*/ 2194776 w 4032635"/>
                  <a:gd name="connsiteY34" fmla="*/ 5061801 h 5285288"/>
                  <a:gd name="connsiteX35" fmla="*/ 2050808 w 4032635"/>
                  <a:gd name="connsiteY35" fmla="*/ 5216241 h 5285288"/>
                  <a:gd name="connsiteX36" fmla="*/ 1840172 w 4032635"/>
                  <a:gd name="connsiteY36" fmla="*/ 5284752 h 5285288"/>
                  <a:gd name="connsiteX37" fmla="*/ 1790618 w 4032635"/>
                  <a:gd name="connsiteY37" fmla="*/ 5285252 h 5285288"/>
                  <a:gd name="connsiteX0" fmla="*/ 1563196 w 3805213"/>
                  <a:gd name="connsiteY0" fmla="*/ 5285252 h 5285288"/>
                  <a:gd name="connsiteX1" fmla="*/ 1451572 w 3805213"/>
                  <a:gd name="connsiteY1" fmla="*/ 5257452 h 5285288"/>
                  <a:gd name="connsiteX2" fmla="*/ 1391571 w 3805213"/>
                  <a:gd name="connsiteY2" fmla="*/ 5227600 h 5285288"/>
                  <a:gd name="connsiteX3" fmla="*/ 1648 w 3805213"/>
                  <a:gd name="connsiteY3" fmla="*/ 3888049 h 5285288"/>
                  <a:gd name="connsiteX4" fmla="*/ 81 w 3805213"/>
                  <a:gd name="connsiteY4" fmla="*/ 3881457 h 5285288"/>
                  <a:gd name="connsiteX5" fmla="*/ 0 w 3805213"/>
                  <a:gd name="connsiteY5" fmla="*/ 3894265 h 5285288"/>
                  <a:gd name="connsiteX6" fmla="*/ 57255 w 3805213"/>
                  <a:gd name="connsiteY6" fmla="*/ 3993435 h 5285288"/>
                  <a:gd name="connsiteX7" fmla="*/ 1558227 w 3805213"/>
                  <a:gd name="connsiteY7" fmla="*/ 4865353 h 5285288"/>
                  <a:gd name="connsiteX8" fmla="*/ 1558571 w 3805213"/>
                  <a:gd name="connsiteY8" fmla="*/ 4865745 h 5285288"/>
                  <a:gd name="connsiteX9" fmla="*/ 1580612 w 3805213"/>
                  <a:gd name="connsiteY9" fmla="*/ 4859558 h 5285288"/>
                  <a:gd name="connsiteX10" fmla="*/ 1626692 w 3805213"/>
                  <a:gd name="connsiteY10" fmla="*/ 4799004 h 5285288"/>
                  <a:gd name="connsiteX11" fmla="*/ 1628536 w 3805213"/>
                  <a:gd name="connsiteY11" fmla="*/ 4105978 h 5285288"/>
                  <a:gd name="connsiteX12" fmla="*/ 1630807 w 3805213"/>
                  <a:gd name="connsiteY12" fmla="*/ 1054770 h 5285288"/>
                  <a:gd name="connsiteX13" fmla="*/ 1629622 w 3805213"/>
                  <a:gd name="connsiteY13" fmla="*/ 1017192 h 5285288"/>
                  <a:gd name="connsiteX14" fmla="*/ 1627587 w 3805213"/>
                  <a:gd name="connsiteY14" fmla="*/ 494424 h 5285288"/>
                  <a:gd name="connsiteX15" fmla="*/ 1673078 w 3805213"/>
                  <a:gd name="connsiteY15" fmla="*/ 171698 h 5285288"/>
                  <a:gd name="connsiteX16" fmla="*/ 1837685 w 3805213"/>
                  <a:gd name="connsiteY16" fmla="*/ 25112 h 5285288"/>
                  <a:gd name="connsiteX17" fmla="*/ 2037331 w 3805213"/>
                  <a:gd name="connsiteY17" fmla="*/ 3326 h 5285288"/>
                  <a:gd name="connsiteX18" fmla="*/ 2213035 w 3805213"/>
                  <a:gd name="connsiteY18" fmla="*/ 37548 h 5285288"/>
                  <a:gd name="connsiteX19" fmla="*/ 3764188 w 3805213"/>
                  <a:gd name="connsiteY19" fmla="*/ 924343 h 5285288"/>
                  <a:gd name="connsiteX20" fmla="*/ 3765145 w 3805213"/>
                  <a:gd name="connsiteY20" fmla="*/ 1149844 h 5285288"/>
                  <a:gd name="connsiteX21" fmla="*/ 3591180 w 3805213"/>
                  <a:gd name="connsiteY21" fmla="*/ 1269783 h 5285288"/>
                  <a:gd name="connsiteX22" fmla="*/ 3571333 w 3805213"/>
                  <a:gd name="connsiteY22" fmla="*/ 1262485 h 5285288"/>
                  <a:gd name="connsiteX23" fmla="*/ 2105858 w 3805213"/>
                  <a:gd name="connsiteY23" fmla="*/ 431577 h 5285288"/>
                  <a:gd name="connsiteX24" fmla="*/ 2105515 w 3805213"/>
                  <a:gd name="connsiteY24" fmla="*/ 431184 h 5285288"/>
                  <a:gd name="connsiteX25" fmla="*/ 2083360 w 3805213"/>
                  <a:gd name="connsiteY25" fmla="*/ 437405 h 5285288"/>
                  <a:gd name="connsiteX26" fmla="*/ 2040710 w 3805213"/>
                  <a:gd name="connsiteY26" fmla="*/ 539231 h 5285288"/>
                  <a:gd name="connsiteX27" fmla="*/ 2040705 w 3805213"/>
                  <a:gd name="connsiteY27" fmla="*/ 1065628 h 5285288"/>
                  <a:gd name="connsiteX28" fmla="*/ 2037928 w 3805213"/>
                  <a:gd name="connsiteY28" fmla="*/ 1081825 h 5285288"/>
                  <a:gd name="connsiteX29" fmla="*/ 2035102 w 3805213"/>
                  <a:gd name="connsiteY29" fmla="*/ 1858316 h 5285288"/>
                  <a:gd name="connsiteX30" fmla="*/ 2036959 w 3805213"/>
                  <a:gd name="connsiteY30" fmla="*/ 1861834 h 5285288"/>
                  <a:gd name="connsiteX31" fmla="*/ 2036292 w 3805213"/>
                  <a:gd name="connsiteY31" fmla="*/ 3038034 h 5285288"/>
                  <a:gd name="connsiteX32" fmla="*/ 2034152 w 3805213"/>
                  <a:gd name="connsiteY32" fmla="*/ 4802821 h 5285288"/>
                  <a:gd name="connsiteX33" fmla="*/ 1967354 w 3805213"/>
                  <a:gd name="connsiteY33" fmla="*/ 5061801 h 5285288"/>
                  <a:gd name="connsiteX34" fmla="*/ 1823386 w 3805213"/>
                  <a:gd name="connsiteY34" fmla="*/ 5216241 h 5285288"/>
                  <a:gd name="connsiteX35" fmla="*/ 1612750 w 3805213"/>
                  <a:gd name="connsiteY35" fmla="*/ 5284752 h 5285288"/>
                  <a:gd name="connsiteX36" fmla="*/ 1563196 w 3805213"/>
                  <a:gd name="connsiteY36" fmla="*/ 5285252 h 5285288"/>
                  <a:gd name="connsiteX0" fmla="*/ 1635752 w 3877769"/>
                  <a:gd name="connsiteY0" fmla="*/ 5285252 h 5285288"/>
                  <a:gd name="connsiteX1" fmla="*/ 1524128 w 3877769"/>
                  <a:gd name="connsiteY1" fmla="*/ 5257452 h 5285288"/>
                  <a:gd name="connsiteX2" fmla="*/ 1464127 w 3877769"/>
                  <a:gd name="connsiteY2" fmla="*/ 5227600 h 5285288"/>
                  <a:gd name="connsiteX3" fmla="*/ 74204 w 3877769"/>
                  <a:gd name="connsiteY3" fmla="*/ 3888049 h 5285288"/>
                  <a:gd name="connsiteX4" fmla="*/ 72637 w 3877769"/>
                  <a:gd name="connsiteY4" fmla="*/ 3881457 h 5285288"/>
                  <a:gd name="connsiteX5" fmla="*/ 129811 w 3877769"/>
                  <a:gd name="connsiteY5" fmla="*/ 3993435 h 5285288"/>
                  <a:gd name="connsiteX6" fmla="*/ 1630783 w 3877769"/>
                  <a:gd name="connsiteY6" fmla="*/ 4865353 h 5285288"/>
                  <a:gd name="connsiteX7" fmla="*/ 1631127 w 3877769"/>
                  <a:gd name="connsiteY7" fmla="*/ 4865745 h 5285288"/>
                  <a:gd name="connsiteX8" fmla="*/ 1653168 w 3877769"/>
                  <a:gd name="connsiteY8" fmla="*/ 4859558 h 5285288"/>
                  <a:gd name="connsiteX9" fmla="*/ 1699248 w 3877769"/>
                  <a:gd name="connsiteY9" fmla="*/ 4799004 h 5285288"/>
                  <a:gd name="connsiteX10" fmla="*/ 1701092 w 3877769"/>
                  <a:gd name="connsiteY10" fmla="*/ 4105978 h 5285288"/>
                  <a:gd name="connsiteX11" fmla="*/ 1703363 w 3877769"/>
                  <a:gd name="connsiteY11" fmla="*/ 1054770 h 5285288"/>
                  <a:gd name="connsiteX12" fmla="*/ 1702178 w 3877769"/>
                  <a:gd name="connsiteY12" fmla="*/ 1017192 h 5285288"/>
                  <a:gd name="connsiteX13" fmla="*/ 1700143 w 3877769"/>
                  <a:gd name="connsiteY13" fmla="*/ 494424 h 5285288"/>
                  <a:gd name="connsiteX14" fmla="*/ 1745634 w 3877769"/>
                  <a:gd name="connsiteY14" fmla="*/ 171698 h 5285288"/>
                  <a:gd name="connsiteX15" fmla="*/ 1910241 w 3877769"/>
                  <a:gd name="connsiteY15" fmla="*/ 25112 h 5285288"/>
                  <a:gd name="connsiteX16" fmla="*/ 2109887 w 3877769"/>
                  <a:gd name="connsiteY16" fmla="*/ 3326 h 5285288"/>
                  <a:gd name="connsiteX17" fmla="*/ 2285591 w 3877769"/>
                  <a:gd name="connsiteY17" fmla="*/ 37548 h 5285288"/>
                  <a:gd name="connsiteX18" fmla="*/ 3836744 w 3877769"/>
                  <a:gd name="connsiteY18" fmla="*/ 924343 h 5285288"/>
                  <a:gd name="connsiteX19" fmla="*/ 3837701 w 3877769"/>
                  <a:gd name="connsiteY19" fmla="*/ 1149844 h 5285288"/>
                  <a:gd name="connsiteX20" fmla="*/ 3663736 w 3877769"/>
                  <a:gd name="connsiteY20" fmla="*/ 1269783 h 5285288"/>
                  <a:gd name="connsiteX21" fmla="*/ 3643889 w 3877769"/>
                  <a:gd name="connsiteY21" fmla="*/ 1262485 h 5285288"/>
                  <a:gd name="connsiteX22" fmla="*/ 2178414 w 3877769"/>
                  <a:gd name="connsiteY22" fmla="*/ 431577 h 5285288"/>
                  <a:gd name="connsiteX23" fmla="*/ 2178071 w 3877769"/>
                  <a:gd name="connsiteY23" fmla="*/ 431184 h 5285288"/>
                  <a:gd name="connsiteX24" fmla="*/ 2155916 w 3877769"/>
                  <a:gd name="connsiteY24" fmla="*/ 437405 h 5285288"/>
                  <a:gd name="connsiteX25" fmla="*/ 2113266 w 3877769"/>
                  <a:gd name="connsiteY25" fmla="*/ 539231 h 5285288"/>
                  <a:gd name="connsiteX26" fmla="*/ 2113261 w 3877769"/>
                  <a:gd name="connsiteY26" fmla="*/ 1065628 h 5285288"/>
                  <a:gd name="connsiteX27" fmla="*/ 2110484 w 3877769"/>
                  <a:gd name="connsiteY27" fmla="*/ 1081825 h 5285288"/>
                  <a:gd name="connsiteX28" fmla="*/ 2107658 w 3877769"/>
                  <a:gd name="connsiteY28" fmla="*/ 1858316 h 5285288"/>
                  <a:gd name="connsiteX29" fmla="*/ 2109515 w 3877769"/>
                  <a:gd name="connsiteY29" fmla="*/ 1861834 h 5285288"/>
                  <a:gd name="connsiteX30" fmla="*/ 2108848 w 3877769"/>
                  <a:gd name="connsiteY30" fmla="*/ 3038034 h 5285288"/>
                  <a:gd name="connsiteX31" fmla="*/ 2106708 w 3877769"/>
                  <a:gd name="connsiteY31" fmla="*/ 4802821 h 5285288"/>
                  <a:gd name="connsiteX32" fmla="*/ 2039910 w 3877769"/>
                  <a:gd name="connsiteY32" fmla="*/ 5061801 h 5285288"/>
                  <a:gd name="connsiteX33" fmla="*/ 1895942 w 3877769"/>
                  <a:gd name="connsiteY33" fmla="*/ 5216241 h 5285288"/>
                  <a:gd name="connsiteX34" fmla="*/ 1685306 w 3877769"/>
                  <a:gd name="connsiteY34" fmla="*/ 5284752 h 5285288"/>
                  <a:gd name="connsiteX35" fmla="*/ 1635752 w 3877769"/>
                  <a:gd name="connsiteY35" fmla="*/ 5285252 h 5285288"/>
                  <a:gd name="connsiteX0" fmla="*/ 1563115 w 3805132"/>
                  <a:gd name="connsiteY0" fmla="*/ 5285252 h 5285288"/>
                  <a:gd name="connsiteX1" fmla="*/ 1451491 w 3805132"/>
                  <a:gd name="connsiteY1" fmla="*/ 5257452 h 5285288"/>
                  <a:gd name="connsiteX2" fmla="*/ 1391490 w 3805132"/>
                  <a:gd name="connsiteY2" fmla="*/ 5227600 h 5285288"/>
                  <a:gd name="connsiteX3" fmla="*/ 1567 w 3805132"/>
                  <a:gd name="connsiteY3" fmla="*/ 3888049 h 5285288"/>
                  <a:gd name="connsiteX4" fmla="*/ 0 w 3805132"/>
                  <a:gd name="connsiteY4" fmla="*/ 3881457 h 5285288"/>
                  <a:gd name="connsiteX5" fmla="*/ 1558146 w 3805132"/>
                  <a:gd name="connsiteY5" fmla="*/ 4865353 h 5285288"/>
                  <a:gd name="connsiteX6" fmla="*/ 1558490 w 3805132"/>
                  <a:gd name="connsiteY6" fmla="*/ 4865745 h 5285288"/>
                  <a:gd name="connsiteX7" fmla="*/ 1580531 w 3805132"/>
                  <a:gd name="connsiteY7" fmla="*/ 4859558 h 5285288"/>
                  <a:gd name="connsiteX8" fmla="*/ 1626611 w 3805132"/>
                  <a:gd name="connsiteY8" fmla="*/ 4799004 h 5285288"/>
                  <a:gd name="connsiteX9" fmla="*/ 1628455 w 3805132"/>
                  <a:gd name="connsiteY9" fmla="*/ 4105978 h 5285288"/>
                  <a:gd name="connsiteX10" fmla="*/ 1630726 w 3805132"/>
                  <a:gd name="connsiteY10" fmla="*/ 1054770 h 5285288"/>
                  <a:gd name="connsiteX11" fmla="*/ 1629541 w 3805132"/>
                  <a:gd name="connsiteY11" fmla="*/ 1017192 h 5285288"/>
                  <a:gd name="connsiteX12" fmla="*/ 1627506 w 3805132"/>
                  <a:gd name="connsiteY12" fmla="*/ 494424 h 5285288"/>
                  <a:gd name="connsiteX13" fmla="*/ 1672997 w 3805132"/>
                  <a:gd name="connsiteY13" fmla="*/ 171698 h 5285288"/>
                  <a:gd name="connsiteX14" fmla="*/ 1837604 w 3805132"/>
                  <a:gd name="connsiteY14" fmla="*/ 25112 h 5285288"/>
                  <a:gd name="connsiteX15" fmla="*/ 2037250 w 3805132"/>
                  <a:gd name="connsiteY15" fmla="*/ 3326 h 5285288"/>
                  <a:gd name="connsiteX16" fmla="*/ 2212954 w 3805132"/>
                  <a:gd name="connsiteY16" fmla="*/ 37548 h 5285288"/>
                  <a:gd name="connsiteX17" fmla="*/ 3764107 w 3805132"/>
                  <a:gd name="connsiteY17" fmla="*/ 924343 h 5285288"/>
                  <a:gd name="connsiteX18" fmla="*/ 3765064 w 3805132"/>
                  <a:gd name="connsiteY18" fmla="*/ 1149844 h 5285288"/>
                  <a:gd name="connsiteX19" fmla="*/ 3591099 w 3805132"/>
                  <a:gd name="connsiteY19" fmla="*/ 1269783 h 5285288"/>
                  <a:gd name="connsiteX20" fmla="*/ 3571252 w 3805132"/>
                  <a:gd name="connsiteY20" fmla="*/ 1262485 h 5285288"/>
                  <a:gd name="connsiteX21" fmla="*/ 2105777 w 3805132"/>
                  <a:gd name="connsiteY21" fmla="*/ 431577 h 5285288"/>
                  <a:gd name="connsiteX22" fmla="*/ 2105434 w 3805132"/>
                  <a:gd name="connsiteY22" fmla="*/ 431184 h 5285288"/>
                  <a:gd name="connsiteX23" fmla="*/ 2083279 w 3805132"/>
                  <a:gd name="connsiteY23" fmla="*/ 437405 h 5285288"/>
                  <a:gd name="connsiteX24" fmla="*/ 2040629 w 3805132"/>
                  <a:gd name="connsiteY24" fmla="*/ 539231 h 5285288"/>
                  <a:gd name="connsiteX25" fmla="*/ 2040624 w 3805132"/>
                  <a:gd name="connsiteY25" fmla="*/ 1065628 h 5285288"/>
                  <a:gd name="connsiteX26" fmla="*/ 2037847 w 3805132"/>
                  <a:gd name="connsiteY26" fmla="*/ 1081825 h 5285288"/>
                  <a:gd name="connsiteX27" fmla="*/ 2035021 w 3805132"/>
                  <a:gd name="connsiteY27" fmla="*/ 1858316 h 5285288"/>
                  <a:gd name="connsiteX28" fmla="*/ 2036878 w 3805132"/>
                  <a:gd name="connsiteY28" fmla="*/ 1861834 h 5285288"/>
                  <a:gd name="connsiteX29" fmla="*/ 2036211 w 3805132"/>
                  <a:gd name="connsiteY29" fmla="*/ 3038034 h 5285288"/>
                  <a:gd name="connsiteX30" fmla="*/ 2034071 w 3805132"/>
                  <a:gd name="connsiteY30" fmla="*/ 4802821 h 5285288"/>
                  <a:gd name="connsiteX31" fmla="*/ 1967273 w 3805132"/>
                  <a:gd name="connsiteY31" fmla="*/ 5061801 h 5285288"/>
                  <a:gd name="connsiteX32" fmla="*/ 1823305 w 3805132"/>
                  <a:gd name="connsiteY32" fmla="*/ 5216241 h 5285288"/>
                  <a:gd name="connsiteX33" fmla="*/ 1612669 w 3805132"/>
                  <a:gd name="connsiteY33" fmla="*/ 5284752 h 5285288"/>
                  <a:gd name="connsiteX34" fmla="*/ 1563115 w 3805132"/>
                  <a:gd name="connsiteY34"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556923 w 3803565"/>
                  <a:gd name="connsiteY5" fmla="*/ 4865745 h 5285288"/>
                  <a:gd name="connsiteX6" fmla="*/ 1578964 w 3803565"/>
                  <a:gd name="connsiteY6" fmla="*/ 4859558 h 5285288"/>
                  <a:gd name="connsiteX7" fmla="*/ 1625044 w 3803565"/>
                  <a:gd name="connsiteY7" fmla="*/ 4799004 h 5285288"/>
                  <a:gd name="connsiteX8" fmla="*/ 1626888 w 3803565"/>
                  <a:gd name="connsiteY8" fmla="*/ 4105978 h 5285288"/>
                  <a:gd name="connsiteX9" fmla="*/ 1629159 w 3803565"/>
                  <a:gd name="connsiteY9" fmla="*/ 1054770 h 5285288"/>
                  <a:gd name="connsiteX10" fmla="*/ 1627974 w 3803565"/>
                  <a:gd name="connsiteY10" fmla="*/ 1017192 h 5285288"/>
                  <a:gd name="connsiteX11" fmla="*/ 1625939 w 3803565"/>
                  <a:gd name="connsiteY11" fmla="*/ 494424 h 5285288"/>
                  <a:gd name="connsiteX12" fmla="*/ 1671430 w 3803565"/>
                  <a:gd name="connsiteY12" fmla="*/ 171698 h 5285288"/>
                  <a:gd name="connsiteX13" fmla="*/ 1836037 w 3803565"/>
                  <a:gd name="connsiteY13" fmla="*/ 25112 h 5285288"/>
                  <a:gd name="connsiteX14" fmla="*/ 2035683 w 3803565"/>
                  <a:gd name="connsiteY14" fmla="*/ 3326 h 5285288"/>
                  <a:gd name="connsiteX15" fmla="*/ 2211387 w 3803565"/>
                  <a:gd name="connsiteY15" fmla="*/ 37548 h 5285288"/>
                  <a:gd name="connsiteX16" fmla="*/ 3762540 w 3803565"/>
                  <a:gd name="connsiteY16" fmla="*/ 924343 h 5285288"/>
                  <a:gd name="connsiteX17" fmla="*/ 3763497 w 3803565"/>
                  <a:gd name="connsiteY17" fmla="*/ 1149844 h 5285288"/>
                  <a:gd name="connsiteX18" fmla="*/ 3589532 w 3803565"/>
                  <a:gd name="connsiteY18" fmla="*/ 1269783 h 5285288"/>
                  <a:gd name="connsiteX19" fmla="*/ 3569685 w 3803565"/>
                  <a:gd name="connsiteY19" fmla="*/ 1262485 h 5285288"/>
                  <a:gd name="connsiteX20" fmla="*/ 2104210 w 3803565"/>
                  <a:gd name="connsiteY20" fmla="*/ 431577 h 5285288"/>
                  <a:gd name="connsiteX21" fmla="*/ 2103867 w 3803565"/>
                  <a:gd name="connsiteY21" fmla="*/ 431184 h 5285288"/>
                  <a:gd name="connsiteX22" fmla="*/ 2081712 w 3803565"/>
                  <a:gd name="connsiteY22" fmla="*/ 437405 h 5285288"/>
                  <a:gd name="connsiteX23" fmla="*/ 2039062 w 3803565"/>
                  <a:gd name="connsiteY23" fmla="*/ 539231 h 5285288"/>
                  <a:gd name="connsiteX24" fmla="*/ 2039057 w 3803565"/>
                  <a:gd name="connsiteY24" fmla="*/ 1065628 h 5285288"/>
                  <a:gd name="connsiteX25" fmla="*/ 2036280 w 3803565"/>
                  <a:gd name="connsiteY25" fmla="*/ 1081825 h 5285288"/>
                  <a:gd name="connsiteX26" fmla="*/ 2033454 w 3803565"/>
                  <a:gd name="connsiteY26" fmla="*/ 1858316 h 5285288"/>
                  <a:gd name="connsiteX27" fmla="*/ 2035311 w 3803565"/>
                  <a:gd name="connsiteY27" fmla="*/ 1861834 h 5285288"/>
                  <a:gd name="connsiteX28" fmla="*/ 2034644 w 3803565"/>
                  <a:gd name="connsiteY28" fmla="*/ 3038034 h 5285288"/>
                  <a:gd name="connsiteX29" fmla="*/ 2032504 w 3803565"/>
                  <a:gd name="connsiteY29" fmla="*/ 4802821 h 5285288"/>
                  <a:gd name="connsiteX30" fmla="*/ 1965706 w 3803565"/>
                  <a:gd name="connsiteY30" fmla="*/ 5061801 h 5285288"/>
                  <a:gd name="connsiteX31" fmla="*/ 1821738 w 3803565"/>
                  <a:gd name="connsiteY31" fmla="*/ 5216241 h 5285288"/>
                  <a:gd name="connsiteX32" fmla="*/ 1611102 w 3803565"/>
                  <a:gd name="connsiteY32" fmla="*/ 5284752 h 5285288"/>
                  <a:gd name="connsiteX33" fmla="*/ 1561548 w 3803565"/>
                  <a:gd name="connsiteY33"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556923 w 3803565"/>
                  <a:gd name="connsiteY5" fmla="*/ 4865745 h 5285288"/>
                  <a:gd name="connsiteX6" fmla="*/ 1625044 w 3803565"/>
                  <a:gd name="connsiteY6" fmla="*/ 4799004 h 5285288"/>
                  <a:gd name="connsiteX7" fmla="*/ 1626888 w 3803565"/>
                  <a:gd name="connsiteY7" fmla="*/ 4105978 h 5285288"/>
                  <a:gd name="connsiteX8" fmla="*/ 1629159 w 3803565"/>
                  <a:gd name="connsiteY8" fmla="*/ 1054770 h 5285288"/>
                  <a:gd name="connsiteX9" fmla="*/ 1627974 w 3803565"/>
                  <a:gd name="connsiteY9" fmla="*/ 1017192 h 5285288"/>
                  <a:gd name="connsiteX10" fmla="*/ 1625939 w 3803565"/>
                  <a:gd name="connsiteY10" fmla="*/ 494424 h 5285288"/>
                  <a:gd name="connsiteX11" fmla="*/ 1671430 w 3803565"/>
                  <a:gd name="connsiteY11" fmla="*/ 171698 h 5285288"/>
                  <a:gd name="connsiteX12" fmla="*/ 1836037 w 3803565"/>
                  <a:gd name="connsiteY12" fmla="*/ 25112 h 5285288"/>
                  <a:gd name="connsiteX13" fmla="*/ 2035683 w 3803565"/>
                  <a:gd name="connsiteY13" fmla="*/ 3326 h 5285288"/>
                  <a:gd name="connsiteX14" fmla="*/ 2211387 w 3803565"/>
                  <a:gd name="connsiteY14" fmla="*/ 37548 h 5285288"/>
                  <a:gd name="connsiteX15" fmla="*/ 3762540 w 3803565"/>
                  <a:gd name="connsiteY15" fmla="*/ 924343 h 5285288"/>
                  <a:gd name="connsiteX16" fmla="*/ 3763497 w 3803565"/>
                  <a:gd name="connsiteY16" fmla="*/ 1149844 h 5285288"/>
                  <a:gd name="connsiteX17" fmla="*/ 3589532 w 3803565"/>
                  <a:gd name="connsiteY17" fmla="*/ 1269783 h 5285288"/>
                  <a:gd name="connsiteX18" fmla="*/ 3569685 w 3803565"/>
                  <a:gd name="connsiteY18" fmla="*/ 1262485 h 5285288"/>
                  <a:gd name="connsiteX19" fmla="*/ 2104210 w 3803565"/>
                  <a:gd name="connsiteY19" fmla="*/ 431577 h 5285288"/>
                  <a:gd name="connsiteX20" fmla="*/ 2103867 w 3803565"/>
                  <a:gd name="connsiteY20" fmla="*/ 431184 h 5285288"/>
                  <a:gd name="connsiteX21" fmla="*/ 2081712 w 3803565"/>
                  <a:gd name="connsiteY21" fmla="*/ 437405 h 5285288"/>
                  <a:gd name="connsiteX22" fmla="*/ 2039062 w 3803565"/>
                  <a:gd name="connsiteY22" fmla="*/ 539231 h 5285288"/>
                  <a:gd name="connsiteX23" fmla="*/ 2039057 w 3803565"/>
                  <a:gd name="connsiteY23" fmla="*/ 1065628 h 5285288"/>
                  <a:gd name="connsiteX24" fmla="*/ 2036280 w 3803565"/>
                  <a:gd name="connsiteY24" fmla="*/ 1081825 h 5285288"/>
                  <a:gd name="connsiteX25" fmla="*/ 2033454 w 3803565"/>
                  <a:gd name="connsiteY25" fmla="*/ 1858316 h 5285288"/>
                  <a:gd name="connsiteX26" fmla="*/ 2035311 w 3803565"/>
                  <a:gd name="connsiteY26" fmla="*/ 1861834 h 5285288"/>
                  <a:gd name="connsiteX27" fmla="*/ 2034644 w 3803565"/>
                  <a:gd name="connsiteY27" fmla="*/ 3038034 h 5285288"/>
                  <a:gd name="connsiteX28" fmla="*/ 2032504 w 3803565"/>
                  <a:gd name="connsiteY28" fmla="*/ 4802821 h 5285288"/>
                  <a:gd name="connsiteX29" fmla="*/ 1965706 w 3803565"/>
                  <a:gd name="connsiteY29" fmla="*/ 5061801 h 5285288"/>
                  <a:gd name="connsiteX30" fmla="*/ 1821738 w 3803565"/>
                  <a:gd name="connsiteY30" fmla="*/ 5216241 h 5285288"/>
                  <a:gd name="connsiteX31" fmla="*/ 1611102 w 3803565"/>
                  <a:gd name="connsiteY31" fmla="*/ 5284752 h 5285288"/>
                  <a:gd name="connsiteX32" fmla="*/ 1561548 w 3803565"/>
                  <a:gd name="connsiteY32"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625044 w 3803565"/>
                  <a:gd name="connsiteY5" fmla="*/ 4799004 h 5285288"/>
                  <a:gd name="connsiteX6" fmla="*/ 1626888 w 3803565"/>
                  <a:gd name="connsiteY6" fmla="*/ 4105978 h 5285288"/>
                  <a:gd name="connsiteX7" fmla="*/ 1629159 w 3803565"/>
                  <a:gd name="connsiteY7" fmla="*/ 1054770 h 5285288"/>
                  <a:gd name="connsiteX8" fmla="*/ 1627974 w 3803565"/>
                  <a:gd name="connsiteY8" fmla="*/ 1017192 h 5285288"/>
                  <a:gd name="connsiteX9" fmla="*/ 1625939 w 3803565"/>
                  <a:gd name="connsiteY9" fmla="*/ 494424 h 5285288"/>
                  <a:gd name="connsiteX10" fmla="*/ 1671430 w 3803565"/>
                  <a:gd name="connsiteY10" fmla="*/ 171698 h 5285288"/>
                  <a:gd name="connsiteX11" fmla="*/ 1836037 w 3803565"/>
                  <a:gd name="connsiteY11" fmla="*/ 25112 h 5285288"/>
                  <a:gd name="connsiteX12" fmla="*/ 2035683 w 3803565"/>
                  <a:gd name="connsiteY12" fmla="*/ 3326 h 5285288"/>
                  <a:gd name="connsiteX13" fmla="*/ 2211387 w 3803565"/>
                  <a:gd name="connsiteY13" fmla="*/ 37548 h 5285288"/>
                  <a:gd name="connsiteX14" fmla="*/ 3762540 w 3803565"/>
                  <a:gd name="connsiteY14" fmla="*/ 924343 h 5285288"/>
                  <a:gd name="connsiteX15" fmla="*/ 3763497 w 3803565"/>
                  <a:gd name="connsiteY15" fmla="*/ 1149844 h 5285288"/>
                  <a:gd name="connsiteX16" fmla="*/ 3589532 w 3803565"/>
                  <a:gd name="connsiteY16" fmla="*/ 1269783 h 5285288"/>
                  <a:gd name="connsiteX17" fmla="*/ 3569685 w 3803565"/>
                  <a:gd name="connsiteY17" fmla="*/ 1262485 h 5285288"/>
                  <a:gd name="connsiteX18" fmla="*/ 2104210 w 3803565"/>
                  <a:gd name="connsiteY18" fmla="*/ 431577 h 5285288"/>
                  <a:gd name="connsiteX19" fmla="*/ 2103867 w 3803565"/>
                  <a:gd name="connsiteY19" fmla="*/ 431184 h 5285288"/>
                  <a:gd name="connsiteX20" fmla="*/ 2081712 w 3803565"/>
                  <a:gd name="connsiteY20" fmla="*/ 437405 h 5285288"/>
                  <a:gd name="connsiteX21" fmla="*/ 2039062 w 3803565"/>
                  <a:gd name="connsiteY21" fmla="*/ 539231 h 5285288"/>
                  <a:gd name="connsiteX22" fmla="*/ 2039057 w 3803565"/>
                  <a:gd name="connsiteY22" fmla="*/ 1065628 h 5285288"/>
                  <a:gd name="connsiteX23" fmla="*/ 2036280 w 3803565"/>
                  <a:gd name="connsiteY23" fmla="*/ 1081825 h 5285288"/>
                  <a:gd name="connsiteX24" fmla="*/ 2033454 w 3803565"/>
                  <a:gd name="connsiteY24" fmla="*/ 1858316 h 5285288"/>
                  <a:gd name="connsiteX25" fmla="*/ 2035311 w 3803565"/>
                  <a:gd name="connsiteY25" fmla="*/ 1861834 h 5285288"/>
                  <a:gd name="connsiteX26" fmla="*/ 2034644 w 3803565"/>
                  <a:gd name="connsiteY26" fmla="*/ 3038034 h 5285288"/>
                  <a:gd name="connsiteX27" fmla="*/ 2032504 w 3803565"/>
                  <a:gd name="connsiteY27" fmla="*/ 4802821 h 5285288"/>
                  <a:gd name="connsiteX28" fmla="*/ 1965706 w 3803565"/>
                  <a:gd name="connsiteY28" fmla="*/ 5061801 h 5285288"/>
                  <a:gd name="connsiteX29" fmla="*/ 1821738 w 3803565"/>
                  <a:gd name="connsiteY29" fmla="*/ 5216241 h 5285288"/>
                  <a:gd name="connsiteX30" fmla="*/ 1611102 w 3803565"/>
                  <a:gd name="connsiteY30" fmla="*/ 5284752 h 5285288"/>
                  <a:gd name="connsiteX31" fmla="*/ 1561548 w 3803565"/>
                  <a:gd name="connsiteY31"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625044 w 3803565"/>
                  <a:gd name="connsiteY4" fmla="*/ 4799004 h 5285288"/>
                  <a:gd name="connsiteX5" fmla="*/ 1626888 w 3803565"/>
                  <a:gd name="connsiteY5" fmla="*/ 4105978 h 5285288"/>
                  <a:gd name="connsiteX6" fmla="*/ 1629159 w 3803565"/>
                  <a:gd name="connsiteY6" fmla="*/ 1054770 h 5285288"/>
                  <a:gd name="connsiteX7" fmla="*/ 1627974 w 3803565"/>
                  <a:gd name="connsiteY7" fmla="*/ 1017192 h 5285288"/>
                  <a:gd name="connsiteX8" fmla="*/ 1625939 w 3803565"/>
                  <a:gd name="connsiteY8" fmla="*/ 494424 h 5285288"/>
                  <a:gd name="connsiteX9" fmla="*/ 1671430 w 3803565"/>
                  <a:gd name="connsiteY9" fmla="*/ 171698 h 5285288"/>
                  <a:gd name="connsiteX10" fmla="*/ 1836037 w 3803565"/>
                  <a:gd name="connsiteY10" fmla="*/ 25112 h 5285288"/>
                  <a:gd name="connsiteX11" fmla="*/ 2035683 w 3803565"/>
                  <a:gd name="connsiteY11" fmla="*/ 3326 h 5285288"/>
                  <a:gd name="connsiteX12" fmla="*/ 2211387 w 3803565"/>
                  <a:gd name="connsiteY12" fmla="*/ 37548 h 5285288"/>
                  <a:gd name="connsiteX13" fmla="*/ 3762540 w 3803565"/>
                  <a:gd name="connsiteY13" fmla="*/ 924343 h 5285288"/>
                  <a:gd name="connsiteX14" fmla="*/ 3763497 w 3803565"/>
                  <a:gd name="connsiteY14" fmla="*/ 1149844 h 5285288"/>
                  <a:gd name="connsiteX15" fmla="*/ 3589532 w 3803565"/>
                  <a:gd name="connsiteY15" fmla="*/ 1269783 h 5285288"/>
                  <a:gd name="connsiteX16" fmla="*/ 3569685 w 3803565"/>
                  <a:gd name="connsiteY16" fmla="*/ 1262485 h 5285288"/>
                  <a:gd name="connsiteX17" fmla="*/ 2104210 w 3803565"/>
                  <a:gd name="connsiteY17" fmla="*/ 431577 h 5285288"/>
                  <a:gd name="connsiteX18" fmla="*/ 2103867 w 3803565"/>
                  <a:gd name="connsiteY18" fmla="*/ 431184 h 5285288"/>
                  <a:gd name="connsiteX19" fmla="*/ 2081712 w 3803565"/>
                  <a:gd name="connsiteY19" fmla="*/ 437405 h 5285288"/>
                  <a:gd name="connsiteX20" fmla="*/ 2039062 w 3803565"/>
                  <a:gd name="connsiteY20" fmla="*/ 539231 h 5285288"/>
                  <a:gd name="connsiteX21" fmla="*/ 2039057 w 3803565"/>
                  <a:gd name="connsiteY21" fmla="*/ 1065628 h 5285288"/>
                  <a:gd name="connsiteX22" fmla="*/ 2036280 w 3803565"/>
                  <a:gd name="connsiteY22" fmla="*/ 1081825 h 5285288"/>
                  <a:gd name="connsiteX23" fmla="*/ 2033454 w 3803565"/>
                  <a:gd name="connsiteY23" fmla="*/ 1858316 h 5285288"/>
                  <a:gd name="connsiteX24" fmla="*/ 2035311 w 3803565"/>
                  <a:gd name="connsiteY24" fmla="*/ 1861834 h 5285288"/>
                  <a:gd name="connsiteX25" fmla="*/ 2034644 w 3803565"/>
                  <a:gd name="connsiteY25" fmla="*/ 3038034 h 5285288"/>
                  <a:gd name="connsiteX26" fmla="*/ 2032504 w 3803565"/>
                  <a:gd name="connsiteY26" fmla="*/ 4802821 h 5285288"/>
                  <a:gd name="connsiteX27" fmla="*/ 1965706 w 3803565"/>
                  <a:gd name="connsiteY27" fmla="*/ 5061801 h 5285288"/>
                  <a:gd name="connsiteX28" fmla="*/ 1821738 w 3803565"/>
                  <a:gd name="connsiteY28" fmla="*/ 5216241 h 5285288"/>
                  <a:gd name="connsiteX29" fmla="*/ 1611102 w 3803565"/>
                  <a:gd name="connsiteY29" fmla="*/ 5284752 h 5285288"/>
                  <a:gd name="connsiteX30" fmla="*/ 1561548 w 3803565"/>
                  <a:gd name="connsiteY30" fmla="*/ 5285252 h 5285288"/>
                  <a:gd name="connsiteX0" fmla="*/ 171625 w 2413642"/>
                  <a:gd name="connsiteY0" fmla="*/ 5285252 h 5285288"/>
                  <a:gd name="connsiteX1" fmla="*/ 60001 w 2413642"/>
                  <a:gd name="connsiteY1" fmla="*/ 5257452 h 5285288"/>
                  <a:gd name="connsiteX2" fmla="*/ 0 w 2413642"/>
                  <a:gd name="connsiteY2" fmla="*/ 5227600 h 5285288"/>
                  <a:gd name="connsiteX3" fmla="*/ 235121 w 2413642"/>
                  <a:gd name="connsiteY3" fmla="*/ 4799004 h 5285288"/>
                  <a:gd name="connsiteX4" fmla="*/ 236965 w 2413642"/>
                  <a:gd name="connsiteY4" fmla="*/ 4105978 h 5285288"/>
                  <a:gd name="connsiteX5" fmla="*/ 239236 w 2413642"/>
                  <a:gd name="connsiteY5" fmla="*/ 1054770 h 5285288"/>
                  <a:gd name="connsiteX6" fmla="*/ 238051 w 2413642"/>
                  <a:gd name="connsiteY6" fmla="*/ 1017192 h 5285288"/>
                  <a:gd name="connsiteX7" fmla="*/ 236016 w 2413642"/>
                  <a:gd name="connsiteY7" fmla="*/ 494424 h 5285288"/>
                  <a:gd name="connsiteX8" fmla="*/ 281507 w 2413642"/>
                  <a:gd name="connsiteY8" fmla="*/ 171698 h 5285288"/>
                  <a:gd name="connsiteX9" fmla="*/ 446114 w 2413642"/>
                  <a:gd name="connsiteY9" fmla="*/ 25112 h 5285288"/>
                  <a:gd name="connsiteX10" fmla="*/ 645760 w 2413642"/>
                  <a:gd name="connsiteY10" fmla="*/ 3326 h 5285288"/>
                  <a:gd name="connsiteX11" fmla="*/ 821464 w 2413642"/>
                  <a:gd name="connsiteY11" fmla="*/ 37548 h 5285288"/>
                  <a:gd name="connsiteX12" fmla="*/ 2372617 w 2413642"/>
                  <a:gd name="connsiteY12" fmla="*/ 924343 h 5285288"/>
                  <a:gd name="connsiteX13" fmla="*/ 2373574 w 2413642"/>
                  <a:gd name="connsiteY13" fmla="*/ 1149844 h 5285288"/>
                  <a:gd name="connsiteX14" fmla="*/ 2199609 w 2413642"/>
                  <a:gd name="connsiteY14" fmla="*/ 1269783 h 5285288"/>
                  <a:gd name="connsiteX15" fmla="*/ 2179762 w 2413642"/>
                  <a:gd name="connsiteY15" fmla="*/ 1262485 h 5285288"/>
                  <a:gd name="connsiteX16" fmla="*/ 714287 w 2413642"/>
                  <a:gd name="connsiteY16" fmla="*/ 431577 h 5285288"/>
                  <a:gd name="connsiteX17" fmla="*/ 713944 w 2413642"/>
                  <a:gd name="connsiteY17" fmla="*/ 431184 h 5285288"/>
                  <a:gd name="connsiteX18" fmla="*/ 691789 w 2413642"/>
                  <a:gd name="connsiteY18" fmla="*/ 437405 h 5285288"/>
                  <a:gd name="connsiteX19" fmla="*/ 649139 w 2413642"/>
                  <a:gd name="connsiteY19" fmla="*/ 539231 h 5285288"/>
                  <a:gd name="connsiteX20" fmla="*/ 649134 w 2413642"/>
                  <a:gd name="connsiteY20" fmla="*/ 1065628 h 5285288"/>
                  <a:gd name="connsiteX21" fmla="*/ 646357 w 2413642"/>
                  <a:gd name="connsiteY21" fmla="*/ 1081825 h 5285288"/>
                  <a:gd name="connsiteX22" fmla="*/ 643531 w 2413642"/>
                  <a:gd name="connsiteY22" fmla="*/ 1858316 h 5285288"/>
                  <a:gd name="connsiteX23" fmla="*/ 645388 w 2413642"/>
                  <a:gd name="connsiteY23" fmla="*/ 1861834 h 5285288"/>
                  <a:gd name="connsiteX24" fmla="*/ 644721 w 2413642"/>
                  <a:gd name="connsiteY24" fmla="*/ 3038034 h 5285288"/>
                  <a:gd name="connsiteX25" fmla="*/ 642581 w 2413642"/>
                  <a:gd name="connsiteY25" fmla="*/ 4802821 h 5285288"/>
                  <a:gd name="connsiteX26" fmla="*/ 575783 w 2413642"/>
                  <a:gd name="connsiteY26" fmla="*/ 5061801 h 5285288"/>
                  <a:gd name="connsiteX27" fmla="*/ 431815 w 2413642"/>
                  <a:gd name="connsiteY27" fmla="*/ 5216241 h 5285288"/>
                  <a:gd name="connsiteX28" fmla="*/ 221179 w 2413642"/>
                  <a:gd name="connsiteY28" fmla="*/ 5284752 h 5285288"/>
                  <a:gd name="connsiteX29" fmla="*/ 171625 w 2413642"/>
                  <a:gd name="connsiteY29" fmla="*/ 5285252 h 5285288"/>
                  <a:gd name="connsiteX0" fmla="*/ 111624 w 2353641"/>
                  <a:gd name="connsiteY0" fmla="*/ 5285252 h 5285288"/>
                  <a:gd name="connsiteX1" fmla="*/ 0 w 2353641"/>
                  <a:gd name="connsiteY1" fmla="*/ 5257452 h 5285288"/>
                  <a:gd name="connsiteX2" fmla="*/ 175120 w 2353641"/>
                  <a:gd name="connsiteY2" fmla="*/ 4799004 h 5285288"/>
                  <a:gd name="connsiteX3" fmla="*/ 176964 w 2353641"/>
                  <a:gd name="connsiteY3" fmla="*/ 4105978 h 5285288"/>
                  <a:gd name="connsiteX4" fmla="*/ 179235 w 2353641"/>
                  <a:gd name="connsiteY4" fmla="*/ 1054770 h 5285288"/>
                  <a:gd name="connsiteX5" fmla="*/ 178050 w 2353641"/>
                  <a:gd name="connsiteY5" fmla="*/ 1017192 h 5285288"/>
                  <a:gd name="connsiteX6" fmla="*/ 176015 w 2353641"/>
                  <a:gd name="connsiteY6" fmla="*/ 494424 h 5285288"/>
                  <a:gd name="connsiteX7" fmla="*/ 221506 w 2353641"/>
                  <a:gd name="connsiteY7" fmla="*/ 171698 h 5285288"/>
                  <a:gd name="connsiteX8" fmla="*/ 386113 w 2353641"/>
                  <a:gd name="connsiteY8" fmla="*/ 25112 h 5285288"/>
                  <a:gd name="connsiteX9" fmla="*/ 585759 w 2353641"/>
                  <a:gd name="connsiteY9" fmla="*/ 3326 h 5285288"/>
                  <a:gd name="connsiteX10" fmla="*/ 761463 w 2353641"/>
                  <a:gd name="connsiteY10" fmla="*/ 37548 h 5285288"/>
                  <a:gd name="connsiteX11" fmla="*/ 2312616 w 2353641"/>
                  <a:gd name="connsiteY11" fmla="*/ 924343 h 5285288"/>
                  <a:gd name="connsiteX12" fmla="*/ 2313573 w 2353641"/>
                  <a:gd name="connsiteY12" fmla="*/ 1149844 h 5285288"/>
                  <a:gd name="connsiteX13" fmla="*/ 2139608 w 2353641"/>
                  <a:gd name="connsiteY13" fmla="*/ 1269783 h 5285288"/>
                  <a:gd name="connsiteX14" fmla="*/ 2119761 w 2353641"/>
                  <a:gd name="connsiteY14" fmla="*/ 1262485 h 5285288"/>
                  <a:gd name="connsiteX15" fmla="*/ 654286 w 2353641"/>
                  <a:gd name="connsiteY15" fmla="*/ 431577 h 5285288"/>
                  <a:gd name="connsiteX16" fmla="*/ 653943 w 2353641"/>
                  <a:gd name="connsiteY16" fmla="*/ 431184 h 5285288"/>
                  <a:gd name="connsiteX17" fmla="*/ 631788 w 2353641"/>
                  <a:gd name="connsiteY17" fmla="*/ 437405 h 5285288"/>
                  <a:gd name="connsiteX18" fmla="*/ 589138 w 2353641"/>
                  <a:gd name="connsiteY18" fmla="*/ 539231 h 5285288"/>
                  <a:gd name="connsiteX19" fmla="*/ 589133 w 2353641"/>
                  <a:gd name="connsiteY19" fmla="*/ 1065628 h 5285288"/>
                  <a:gd name="connsiteX20" fmla="*/ 586356 w 2353641"/>
                  <a:gd name="connsiteY20" fmla="*/ 1081825 h 5285288"/>
                  <a:gd name="connsiteX21" fmla="*/ 583530 w 2353641"/>
                  <a:gd name="connsiteY21" fmla="*/ 1858316 h 5285288"/>
                  <a:gd name="connsiteX22" fmla="*/ 585387 w 2353641"/>
                  <a:gd name="connsiteY22" fmla="*/ 1861834 h 5285288"/>
                  <a:gd name="connsiteX23" fmla="*/ 584720 w 2353641"/>
                  <a:gd name="connsiteY23" fmla="*/ 3038034 h 5285288"/>
                  <a:gd name="connsiteX24" fmla="*/ 582580 w 2353641"/>
                  <a:gd name="connsiteY24" fmla="*/ 4802821 h 5285288"/>
                  <a:gd name="connsiteX25" fmla="*/ 515782 w 2353641"/>
                  <a:gd name="connsiteY25" fmla="*/ 5061801 h 5285288"/>
                  <a:gd name="connsiteX26" fmla="*/ 371814 w 2353641"/>
                  <a:gd name="connsiteY26" fmla="*/ 5216241 h 5285288"/>
                  <a:gd name="connsiteX27" fmla="*/ 161178 w 2353641"/>
                  <a:gd name="connsiteY27" fmla="*/ 5284752 h 5285288"/>
                  <a:gd name="connsiteX28" fmla="*/ 111624 w 2353641"/>
                  <a:gd name="connsiteY28" fmla="*/ 5285252 h 5285288"/>
                  <a:gd name="connsiteX0" fmla="*/ 0 w 2242017"/>
                  <a:gd name="connsiteY0" fmla="*/ 5285252 h 5285252"/>
                  <a:gd name="connsiteX1" fmla="*/ 63496 w 2242017"/>
                  <a:gd name="connsiteY1" fmla="*/ 4799004 h 5285252"/>
                  <a:gd name="connsiteX2" fmla="*/ 65340 w 2242017"/>
                  <a:gd name="connsiteY2" fmla="*/ 4105978 h 5285252"/>
                  <a:gd name="connsiteX3" fmla="*/ 67611 w 2242017"/>
                  <a:gd name="connsiteY3" fmla="*/ 1054770 h 5285252"/>
                  <a:gd name="connsiteX4" fmla="*/ 66426 w 2242017"/>
                  <a:gd name="connsiteY4" fmla="*/ 1017192 h 5285252"/>
                  <a:gd name="connsiteX5" fmla="*/ 64391 w 2242017"/>
                  <a:gd name="connsiteY5" fmla="*/ 494424 h 5285252"/>
                  <a:gd name="connsiteX6" fmla="*/ 109882 w 2242017"/>
                  <a:gd name="connsiteY6" fmla="*/ 171698 h 5285252"/>
                  <a:gd name="connsiteX7" fmla="*/ 274489 w 2242017"/>
                  <a:gd name="connsiteY7" fmla="*/ 25112 h 5285252"/>
                  <a:gd name="connsiteX8" fmla="*/ 474135 w 2242017"/>
                  <a:gd name="connsiteY8" fmla="*/ 3326 h 5285252"/>
                  <a:gd name="connsiteX9" fmla="*/ 649839 w 2242017"/>
                  <a:gd name="connsiteY9" fmla="*/ 37548 h 5285252"/>
                  <a:gd name="connsiteX10" fmla="*/ 2200992 w 2242017"/>
                  <a:gd name="connsiteY10" fmla="*/ 924343 h 5285252"/>
                  <a:gd name="connsiteX11" fmla="*/ 2201949 w 2242017"/>
                  <a:gd name="connsiteY11" fmla="*/ 1149844 h 5285252"/>
                  <a:gd name="connsiteX12" fmla="*/ 2027984 w 2242017"/>
                  <a:gd name="connsiteY12" fmla="*/ 1269783 h 5285252"/>
                  <a:gd name="connsiteX13" fmla="*/ 2008137 w 2242017"/>
                  <a:gd name="connsiteY13" fmla="*/ 1262485 h 5285252"/>
                  <a:gd name="connsiteX14" fmla="*/ 542662 w 2242017"/>
                  <a:gd name="connsiteY14" fmla="*/ 431577 h 5285252"/>
                  <a:gd name="connsiteX15" fmla="*/ 542319 w 2242017"/>
                  <a:gd name="connsiteY15" fmla="*/ 431184 h 5285252"/>
                  <a:gd name="connsiteX16" fmla="*/ 520164 w 2242017"/>
                  <a:gd name="connsiteY16" fmla="*/ 437405 h 5285252"/>
                  <a:gd name="connsiteX17" fmla="*/ 477514 w 2242017"/>
                  <a:gd name="connsiteY17" fmla="*/ 539231 h 5285252"/>
                  <a:gd name="connsiteX18" fmla="*/ 477509 w 2242017"/>
                  <a:gd name="connsiteY18" fmla="*/ 1065628 h 5285252"/>
                  <a:gd name="connsiteX19" fmla="*/ 474732 w 2242017"/>
                  <a:gd name="connsiteY19" fmla="*/ 1081825 h 5285252"/>
                  <a:gd name="connsiteX20" fmla="*/ 471906 w 2242017"/>
                  <a:gd name="connsiteY20" fmla="*/ 1858316 h 5285252"/>
                  <a:gd name="connsiteX21" fmla="*/ 473763 w 2242017"/>
                  <a:gd name="connsiteY21" fmla="*/ 1861834 h 5285252"/>
                  <a:gd name="connsiteX22" fmla="*/ 473096 w 2242017"/>
                  <a:gd name="connsiteY22" fmla="*/ 3038034 h 5285252"/>
                  <a:gd name="connsiteX23" fmla="*/ 470956 w 2242017"/>
                  <a:gd name="connsiteY23" fmla="*/ 4802821 h 5285252"/>
                  <a:gd name="connsiteX24" fmla="*/ 404158 w 2242017"/>
                  <a:gd name="connsiteY24" fmla="*/ 5061801 h 5285252"/>
                  <a:gd name="connsiteX25" fmla="*/ 260190 w 2242017"/>
                  <a:gd name="connsiteY25" fmla="*/ 5216241 h 5285252"/>
                  <a:gd name="connsiteX26" fmla="*/ 49554 w 2242017"/>
                  <a:gd name="connsiteY26" fmla="*/ 5284752 h 5285252"/>
                  <a:gd name="connsiteX27" fmla="*/ 0 w 2242017"/>
                  <a:gd name="connsiteY27" fmla="*/ 5285252 h 5285252"/>
                  <a:gd name="connsiteX0" fmla="*/ 12071 w 2204534"/>
                  <a:gd name="connsiteY0" fmla="*/ 5284752 h 5284899"/>
                  <a:gd name="connsiteX1" fmla="*/ 26013 w 2204534"/>
                  <a:gd name="connsiteY1" fmla="*/ 4799004 h 5284899"/>
                  <a:gd name="connsiteX2" fmla="*/ 27857 w 2204534"/>
                  <a:gd name="connsiteY2" fmla="*/ 4105978 h 5284899"/>
                  <a:gd name="connsiteX3" fmla="*/ 30128 w 2204534"/>
                  <a:gd name="connsiteY3" fmla="*/ 1054770 h 5284899"/>
                  <a:gd name="connsiteX4" fmla="*/ 28943 w 2204534"/>
                  <a:gd name="connsiteY4" fmla="*/ 1017192 h 5284899"/>
                  <a:gd name="connsiteX5" fmla="*/ 26908 w 2204534"/>
                  <a:gd name="connsiteY5" fmla="*/ 494424 h 5284899"/>
                  <a:gd name="connsiteX6" fmla="*/ 72399 w 2204534"/>
                  <a:gd name="connsiteY6" fmla="*/ 171698 h 5284899"/>
                  <a:gd name="connsiteX7" fmla="*/ 237006 w 2204534"/>
                  <a:gd name="connsiteY7" fmla="*/ 25112 h 5284899"/>
                  <a:gd name="connsiteX8" fmla="*/ 436652 w 2204534"/>
                  <a:gd name="connsiteY8" fmla="*/ 3326 h 5284899"/>
                  <a:gd name="connsiteX9" fmla="*/ 612356 w 2204534"/>
                  <a:gd name="connsiteY9" fmla="*/ 37548 h 5284899"/>
                  <a:gd name="connsiteX10" fmla="*/ 2163509 w 2204534"/>
                  <a:gd name="connsiteY10" fmla="*/ 924343 h 5284899"/>
                  <a:gd name="connsiteX11" fmla="*/ 2164466 w 2204534"/>
                  <a:gd name="connsiteY11" fmla="*/ 1149844 h 5284899"/>
                  <a:gd name="connsiteX12" fmla="*/ 1990501 w 2204534"/>
                  <a:gd name="connsiteY12" fmla="*/ 1269783 h 5284899"/>
                  <a:gd name="connsiteX13" fmla="*/ 1970654 w 2204534"/>
                  <a:gd name="connsiteY13" fmla="*/ 1262485 h 5284899"/>
                  <a:gd name="connsiteX14" fmla="*/ 505179 w 2204534"/>
                  <a:gd name="connsiteY14" fmla="*/ 431577 h 5284899"/>
                  <a:gd name="connsiteX15" fmla="*/ 504836 w 2204534"/>
                  <a:gd name="connsiteY15" fmla="*/ 431184 h 5284899"/>
                  <a:gd name="connsiteX16" fmla="*/ 482681 w 2204534"/>
                  <a:gd name="connsiteY16" fmla="*/ 437405 h 5284899"/>
                  <a:gd name="connsiteX17" fmla="*/ 440031 w 2204534"/>
                  <a:gd name="connsiteY17" fmla="*/ 539231 h 5284899"/>
                  <a:gd name="connsiteX18" fmla="*/ 440026 w 2204534"/>
                  <a:gd name="connsiteY18" fmla="*/ 1065628 h 5284899"/>
                  <a:gd name="connsiteX19" fmla="*/ 437249 w 2204534"/>
                  <a:gd name="connsiteY19" fmla="*/ 1081825 h 5284899"/>
                  <a:gd name="connsiteX20" fmla="*/ 434423 w 2204534"/>
                  <a:gd name="connsiteY20" fmla="*/ 1858316 h 5284899"/>
                  <a:gd name="connsiteX21" fmla="*/ 436280 w 2204534"/>
                  <a:gd name="connsiteY21" fmla="*/ 1861834 h 5284899"/>
                  <a:gd name="connsiteX22" fmla="*/ 435613 w 2204534"/>
                  <a:gd name="connsiteY22" fmla="*/ 3038034 h 5284899"/>
                  <a:gd name="connsiteX23" fmla="*/ 433473 w 2204534"/>
                  <a:gd name="connsiteY23" fmla="*/ 4802821 h 5284899"/>
                  <a:gd name="connsiteX24" fmla="*/ 366675 w 2204534"/>
                  <a:gd name="connsiteY24" fmla="*/ 5061801 h 5284899"/>
                  <a:gd name="connsiteX25" fmla="*/ 222707 w 2204534"/>
                  <a:gd name="connsiteY25" fmla="*/ 5216241 h 5284899"/>
                  <a:gd name="connsiteX26" fmla="*/ 12071 w 2204534"/>
                  <a:gd name="connsiteY26" fmla="*/ 5284752 h 5284899"/>
                  <a:gd name="connsiteX0" fmla="*/ 197536 w 2179363"/>
                  <a:gd name="connsiteY0" fmla="*/ 5216241 h 5216241"/>
                  <a:gd name="connsiteX1" fmla="*/ 842 w 2179363"/>
                  <a:gd name="connsiteY1" fmla="*/ 4799004 h 5216241"/>
                  <a:gd name="connsiteX2" fmla="*/ 2686 w 2179363"/>
                  <a:gd name="connsiteY2" fmla="*/ 4105978 h 5216241"/>
                  <a:gd name="connsiteX3" fmla="*/ 4957 w 2179363"/>
                  <a:gd name="connsiteY3" fmla="*/ 1054770 h 5216241"/>
                  <a:gd name="connsiteX4" fmla="*/ 3772 w 2179363"/>
                  <a:gd name="connsiteY4" fmla="*/ 1017192 h 5216241"/>
                  <a:gd name="connsiteX5" fmla="*/ 1737 w 2179363"/>
                  <a:gd name="connsiteY5" fmla="*/ 494424 h 5216241"/>
                  <a:gd name="connsiteX6" fmla="*/ 47228 w 2179363"/>
                  <a:gd name="connsiteY6" fmla="*/ 171698 h 5216241"/>
                  <a:gd name="connsiteX7" fmla="*/ 211835 w 2179363"/>
                  <a:gd name="connsiteY7" fmla="*/ 25112 h 5216241"/>
                  <a:gd name="connsiteX8" fmla="*/ 411481 w 2179363"/>
                  <a:gd name="connsiteY8" fmla="*/ 3326 h 5216241"/>
                  <a:gd name="connsiteX9" fmla="*/ 587185 w 2179363"/>
                  <a:gd name="connsiteY9" fmla="*/ 37548 h 5216241"/>
                  <a:gd name="connsiteX10" fmla="*/ 2138338 w 2179363"/>
                  <a:gd name="connsiteY10" fmla="*/ 924343 h 5216241"/>
                  <a:gd name="connsiteX11" fmla="*/ 2139295 w 2179363"/>
                  <a:gd name="connsiteY11" fmla="*/ 1149844 h 5216241"/>
                  <a:gd name="connsiteX12" fmla="*/ 1965330 w 2179363"/>
                  <a:gd name="connsiteY12" fmla="*/ 1269783 h 5216241"/>
                  <a:gd name="connsiteX13" fmla="*/ 1945483 w 2179363"/>
                  <a:gd name="connsiteY13" fmla="*/ 1262485 h 5216241"/>
                  <a:gd name="connsiteX14" fmla="*/ 480008 w 2179363"/>
                  <a:gd name="connsiteY14" fmla="*/ 431577 h 5216241"/>
                  <a:gd name="connsiteX15" fmla="*/ 479665 w 2179363"/>
                  <a:gd name="connsiteY15" fmla="*/ 431184 h 5216241"/>
                  <a:gd name="connsiteX16" fmla="*/ 457510 w 2179363"/>
                  <a:gd name="connsiteY16" fmla="*/ 437405 h 5216241"/>
                  <a:gd name="connsiteX17" fmla="*/ 414860 w 2179363"/>
                  <a:gd name="connsiteY17" fmla="*/ 539231 h 5216241"/>
                  <a:gd name="connsiteX18" fmla="*/ 414855 w 2179363"/>
                  <a:gd name="connsiteY18" fmla="*/ 1065628 h 5216241"/>
                  <a:gd name="connsiteX19" fmla="*/ 412078 w 2179363"/>
                  <a:gd name="connsiteY19" fmla="*/ 1081825 h 5216241"/>
                  <a:gd name="connsiteX20" fmla="*/ 409252 w 2179363"/>
                  <a:gd name="connsiteY20" fmla="*/ 1858316 h 5216241"/>
                  <a:gd name="connsiteX21" fmla="*/ 411109 w 2179363"/>
                  <a:gd name="connsiteY21" fmla="*/ 1861834 h 5216241"/>
                  <a:gd name="connsiteX22" fmla="*/ 410442 w 2179363"/>
                  <a:gd name="connsiteY22" fmla="*/ 3038034 h 5216241"/>
                  <a:gd name="connsiteX23" fmla="*/ 408302 w 2179363"/>
                  <a:gd name="connsiteY23" fmla="*/ 4802821 h 5216241"/>
                  <a:gd name="connsiteX24" fmla="*/ 341504 w 2179363"/>
                  <a:gd name="connsiteY24" fmla="*/ 5061801 h 5216241"/>
                  <a:gd name="connsiteX25" fmla="*/ 197536 w 2179363"/>
                  <a:gd name="connsiteY25" fmla="*/ 5216241 h 5216241"/>
                  <a:gd name="connsiteX0" fmla="*/ 341504 w 2179363"/>
                  <a:gd name="connsiteY0" fmla="*/ 5061801 h 5061802"/>
                  <a:gd name="connsiteX1" fmla="*/ 842 w 2179363"/>
                  <a:gd name="connsiteY1" fmla="*/ 4799004 h 5061802"/>
                  <a:gd name="connsiteX2" fmla="*/ 2686 w 2179363"/>
                  <a:gd name="connsiteY2" fmla="*/ 4105978 h 5061802"/>
                  <a:gd name="connsiteX3" fmla="*/ 4957 w 2179363"/>
                  <a:gd name="connsiteY3" fmla="*/ 1054770 h 5061802"/>
                  <a:gd name="connsiteX4" fmla="*/ 3772 w 2179363"/>
                  <a:gd name="connsiteY4" fmla="*/ 1017192 h 5061802"/>
                  <a:gd name="connsiteX5" fmla="*/ 1737 w 2179363"/>
                  <a:gd name="connsiteY5" fmla="*/ 494424 h 5061802"/>
                  <a:gd name="connsiteX6" fmla="*/ 47228 w 2179363"/>
                  <a:gd name="connsiteY6" fmla="*/ 171698 h 5061802"/>
                  <a:gd name="connsiteX7" fmla="*/ 211835 w 2179363"/>
                  <a:gd name="connsiteY7" fmla="*/ 25112 h 5061802"/>
                  <a:gd name="connsiteX8" fmla="*/ 411481 w 2179363"/>
                  <a:gd name="connsiteY8" fmla="*/ 3326 h 5061802"/>
                  <a:gd name="connsiteX9" fmla="*/ 587185 w 2179363"/>
                  <a:gd name="connsiteY9" fmla="*/ 37548 h 5061802"/>
                  <a:gd name="connsiteX10" fmla="*/ 2138338 w 2179363"/>
                  <a:gd name="connsiteY10" fmla="*/ 924343 h 5061802"/>
                  <a:gd name="connsiteX11" fmla="*/ 2139295 w 2179363"/>
                  <a:gd name="connsiteY11" fmla="*/ 1149844 h 5061802"/>
                  <a:gd name="connsiteX12" fmla="*/ 1965330 w 2179363"/>
                  <a:gd name="connsiteY12" fmla="*/ 1269783 h 5061802"/>
                  <a:gd name="connsiteX13" fmla="*/ 1945483 w 2179363"/>
                  <a:gd name="connsiteY13" fmla="*/ 1262485 h 5061802"/>
                  <a:gd name="connsiteX14" fmla="*/ 480008 w 2179363"/>
                  <a:gd name="connsiteY14" fmla="*/ 431577 h 5061802"/>
                  <a:gd name="connsiteX15" fmla="*/ 479665 w 2179363"/>
                  <a:gd name="connsiteY15" fmla="*/ 431184 h 5061802"/>
                  <a:gd name="connsiteX16" fmla="*/ 457510 w 2179363"/>
                  <a:gd name="connsiteY16" fmla="*/ 437405 h 5061802"/>
                  <a:gd name="connsiteX17" fmla="*/ 414860 w 2179363"/>
                  <a:gd name="connsiteY17" fmla="*/ 539231 h 5061802"/>
                  <a:gd name="connsiteX18" fmla="*/ 414855 w 2179363"/>
                  <a:gd name="connsiteY18" fmla="*/ 1065628 h 5061802"/>
                  <a:gd name="connsiteX19" fmla="*/ 412078 w 2179363"/>
                  <a:gd name="connsiteY19" fmla="*/ 1081825 h 5061802"/>
                  <a:gd name="connsiteX20" fmla="*/ 409252 w 2179363"/>
                  <a:gd name="connsiteY20" fmla="*/ 1858316 h 5061802"/>
                  <a:gd name="connsiteX21" fmla="*/ 411109 w 2179363"/>
                  <a:gd name="connsiteY21" fmla="*/ 1861834 h 5061802"/>
                  <a:gd name="connsiteX22" fmla="*/ 410442 w 2179363"/>
                  <a:gd name="connsiteY22" fmla="*/ 3038034 h 5061802"/>
                  <a:gd name="connsiteX23" fmla="*/ 408302 w 2179363"/>
                  <a:gd name="connsiteY23" fmla="*/ 4802821 h 5061802"/>
                  <a:gd name="connsiteX24" fmla="*/ 341504 w 2179363"/>
                  <a:gd name="connsiteY24" fmla="*/ 5061801 h 5061802"/>
                  <a:gd name="connsiteX0" fmla="*/ 341504 w 2179363"/>
                  <a:gd name="connsiteY0" fmla="*/ 5061801 h 5061802"/>
                  <a:gd name="connsiteX1" fmla="*/ 2686 w 2179363"/>
                  <a:gd name="connsiteY1" fmla="*/ 4105978 h 5061802"/>
                  <a:gd name="connsiteX2" fmla="*/ 4957 w 2179363"/>
                  <a:gd name="connsiteY2" fmla="*/ 1054770 h 5061802"/>
                  <a:gd name="connsiteX3" fmla="*/ 3772 w 2179363"/>
                  <a:gd name="connsiteY3" fmla="*/ 1017192 h 5061802"/>
                  <a:gd name="connsiteX4" fmla="*/ 1737 w 2179363"/>
                  <a:gd name="connsiteY4" fmla="*/ 494424 h 5061802"/>
                  <a:gd name="connsiteX5" fmla="*/ 47228 w 2179363"/>
                  <a:gd name="connsiteY5" fmla="*/ 171698 h 5061802"/>
                  <a:gd name="connsiteX6" fmla="*/ 211835 w 2179363"/>
                  <a:gd name="connsiteY6" fmla="*/ 25112 h 5061802"/>
                  <a:gd name="connsiteX7" fmla="*/ 411481 w 2179363"/>
                  <a:gd name="connsiteY7" fmla="*/ 3326 h 5061802"/>
                  <a:gd name="connsiteX8" fmla="*/ 587185 w 2179363"/>
                  <a:gd name="connsiteY8" fmla="*/ 37548 h 5061802"/>
                  <a:gd name="connsiteX9" fmla="*/ 2138338 w 2179363"/>
                  <a:gd name="connsiteY9" fmla="*/ 924343 h 5061802"/>
                  <a:gd name="connsiteX10" fmla="*/ 2139295 w 2179363"/>
                  <a:gd name="connsiteY10" fmla="*/ 1149844 h 5061802"/>
                  <a:gd name="connsiteX11" fmla="*/ 1965330 w 2179363"/>
                  <a:gd name="connsiteY11" fmla="*/ 1269783 h 5061802"/>
                  <a:gd name="connsiteX12" fmla="*/ 1945483 w 2179363"/>
                  <a:gd name="connsiteY12" fmla="*/ 1262485 h 5061802"/>
                  <a:gd name="connsiteX13" fmla="*/ 480008 w 2179363"/>
                  <a:gd name="connsiteY13" fmla="*/ 431577 h 5061802"/>
                  <a:gd name="connsiteX14" fmla="*/ 479665 w 2179363"/>
                  <a:gd name="connsiteY14" fmla="*/ 431184 h 5061802"/>
                  <a:gd name="connsiteX15" fmla="*/ 457510 w 2179363"/>
                  <a:gd name="connsiteY15" fmla="*/ 437405 h 5061802"/>
                  <a:gd name="connsiteX16" fmla="*/ 414860 w 2179363"/>
                  <a:gd name="connsiteY16" fmla="*/ 539231 h 5061802"/>
                  <a:gd name="connsiteX17" fmla="*/ 414855 w 2179363"/>
                  <a:gd name="connsiteY17" fmla="*/ 1065628 h 5061802"/>
                  <a:gd name="connsiteX18" fmla="*/ 412078 w 2179363"/>
                  <a:gd name="connsiteY18" fmla="*/ 1081825 h 5061802"/>
                  <a:gd name="connsiteX19" fmla="*/ 409252 w 2179363"/>
                  <a:gd name="connsiteY19" fmla="*/ 1858316 h 5061802"/>
                  <a:gd name="connsiteX20" fmla="*/ 411109 w 2179363"/>
                  <a:gd name="connsiteY20" fmla="*/ 1861834 h 5061802"/>
                  <a:gd name="connsiteX21" fmla="*/ 410442 w 2179363"/>
                  <a:gd name="connsiteY21" fmla="*/ 3038034 h 5061802"/>
                  <a:gd name="connsiteX22" fmla="*/ 408302 w 2179363"/>
                  <a:gd name="connsiteY22" fmla="*/ 4802821 h 5061802"/>
                  <a:gd name="connsiteX23" fmla="*/ 341504 w 2179363"/>
                  <a:gd name="connsiteY23" fmla="*/ 5061801 h 5061802"/>
                  <a:gd name="connsiteX0" fmla="*/ 408302 w 2179363"/>
                  <a:gd name="connsiteY0" fmla="*/ 4802821 h 4858808"/>
                  <a:gd name="connsiteX1" fmla="*/ 2686 w 2179363"/>
                  <a:gd name="connsiteY1" fmla="*/ 4105978 h 4858808"/>
                  <a:gd name="connsiteX2" fmla="*/ 4957 w 2179363"/>
                  <a:gd name="connsiteY2" fmla="*/ 1054770 h 4858808"/>
                  <a:gd name="connsiteX3" fmla="*/ 3772 w 2179363"/>
                  <a:gd name="connsiteY3" fmla="*/ 1017192 h 4858808"/>
                  <a:gd name="connsiteX4" fmla="*/ 1737 w 2179363"/>
                  <a:gd name="connsiteY4" fmla="*/ 494424 h 4858808"/>
                  <a:gd name="connsiteX5" fmla="*/ 47228 w 2179363"/>
                  <a:gd name="connsiteY5" fmla="*/ 171698 h 4858808"/>
                  <a:gd name="connsiteX6" fmla="*/ 211835 w 2179363"/>
                  <a:gd name="connsiteY6" fmla="*/ 25112 h 4858808"/>
                  <a:gd name="connsiteX7" fmla="*/ 411481 w 2179363"/>
                  <a:gd name="connsiteY7" fmla="*/ 3326 h 4858808"/>
                  <a:gd name="connsiteX8" fmla="*/ 587185 w 2179363"/>
                  <a:gd name="connsiteY8" fmla="*/ 37548 h 4858808"/>
                  <a:gd name="connsiteX9" fmla="*/ 2138338 w 2179363"/>
                  <a:gd name="connsiteY9" fmla="*/ 924343 h 4858808"/>
                  <a:gd name="connsiteX10" fmla="*/ 2139295 w 2179363"/>
                  <a:gd name="connsiteY10" fmla="*/ 1149844 h 4858808"/>
                  <a:gd name="connsiteX11" fmla="*/ 1965330 w 2179363"/>
                  <a:gd name="connsiteY11" fmla="*/ 1269783 h 4858808"/>
                  <a:gd name="connsiteX12" fmla="*/ 1945483 w 2179363"/>
                  <a:gd name="connsiteY12" fmla="*/ 1262485 h 4858808"/>
                  <a:gd name="connsiteX13" fmla="*/ 480008 w 2179363"/>
                  <a:gd name="connsiteY13" fmla="*/ 431577 h 4858808"/>
                  <a:gd name="connsiteX14" fmla="*/ 479665 w 2179363"/>
                  <a:gd name="connsiteY14" fmla="*/ 431184 h 4858808"/>
                  <a:gd name="connsiteX15" fmla="*/ 457510 w 2179363"/>
                  <a:gd name="connsiteY15" fmla="*/ 437405 h 4858808"/>
                  <a:gd name="connsiteX16" fmla="*/ 414860 w 2179363"/>
                  <a:gd name="connsiteY16" fmla="*/ 539231 h 4858808"/>
                  <a:gd name="connsiteX17" fmla="*/ 414855 w 2179363"/>
                  <a:gd name="connsiteY17" fmla="*/ 1065628 h 4858808"/>
                  <a:gd name="connsiteX18" fmla="*/ 412078 w 2179363"/>
                  <a:gd name="connsiteY18" fmla="*/ 1081825 h 4858808"/>
                  <a:gd name="connsiteX19" fmla="*/ 409252 w 2179363"/>
                  <a:gd name="connsiteY19" fmla="*/ 1858316 h 4858808"/>
                  <a:gd name="connsiteX20" fmla="*/ 411109 w 2179363"/>
                  <a:gd name="connsiteY20" fmla="*/ 1861834 h 4858808"/>
                  <a:gd name="connsiteX21" fmla="*/ 410442 w 2179363"/>
                  <a:gd name="connsiteY21" fmla="*/ 3038034 h 4858808"/>
                  <a:gd name="connsiteX22" fmla="*/ 408302 w 2179363"/>
                  <a:gd name="connsiteY22" fmla="*/ 4802821 h 4858808"/>
                  <a:gd name="connsiteX0" fmla="*/ 410442 w 2179363"/>
                  <a:gd name="connsiteY0" fmla="*/ 3038034 h 4170698"/>
                  <a:gd name="connsiteX1" fmla="*/ 2686 w 2179363"/>
                  <a:gd name="connsiteY1" fmla="*/ 4105978 h 4170698"/>
                  <a:gd name="connsiteX2" fmla="*/ 4957 w 2179363"/>
                  <a:gd name="connsiteY2" fmla="*/ 1054770 h 4170698"/>
                  <a:gd name="connsiteX3" fmla="*/ 3772 w 2179363"/>
                  <a:gd name="connsiteY3" fmla="*/ 1017192 h 4170698"/>
                  <a:gd name="connsiteX4" fmla="*/ 1737 w 2179363"/>
                  <a:gd name="connsiteY4" fmla="*/ 494424 h 4170698"/>
                  <a:gd name="connsiteX5" fmla="*/ 47228 w 2179363"/>
                  <a:gd name="connsiteY5" fmla="*/ 171698 h 4170698"/>
                  <a:gd name="connsiteX6" fmla="*/ 211835 w 2179363"/>
                  <a:gd name="connsiteY6" fmla="*/ 25112 h 4170698"/>
                  <a:gd name="connsiteX7" fmla="*/ 411481 w 2179363"/>
                  <a:gd name="connsiteY7" fmla="*/ 3326 h 4170698"/>
                  <a:gd name="connsiteX8" fmla="*/ 587185 w 2179363"/>
                  <a:gd name="connsiteY8" fmla="*/ 37548 h 4170698"/>
                  <a:gd name="connsiteX9" fmla="*/ 2138338 w 2179363"/>
                  <a:gd name="connsiteY9" fmla="*/ 924343 h 4170698"/>
                  <a:gd name="connsiteX10" fmla="*/ 2139295 w 2179363"/>
                  <a:gd name="connsiteY10" fmla="*/ 1149844 h 4170698"/>
                  <a:gd name="connsiteX11" fmla="*/ 1965330 w 2179363"/>
                  <a:gd name="connsiteY11" fmla="*/ 1269783 h 4170698"/>
                  <a:gd name="connsiteX12" fmla="*/ 1945483 w 2179363"/>
                  <a:gd name="connsiteY12" fmla="*/ 1262485 h 4170698"/>
                  <a:gd name="connsiteX13" fmla="*/ 480008 w 2179363"/>
                  <a:gd name="connsiteY13" fmla="*/ 431577 h 4170698"/>
                  <a:gd name="connsiteX14" fmla="*/ 479665 w 2179363"/>
                  <a:gd name="connsiteY14" fmla="*/ 431184 h 4170698"/>
                  <a:gd name="connsiteX15" fmla="*/ 457510 w 2179363"/>
                  <a:gd name="connsiteY15" fmla="*/ 437405 h 4170698"/>
                  <a:gd name="connsiteX16" fmla="*/ 414860 w 2179363"/>
                  <a:gd name="connsiteY16" fmla="*/ 539231 h 4170698"/>
                  <a:gd name="connsiteX17" fmla="*/ 414855 w 2179363"/>
                  <a:gd name="connsiteY17" fmla="*/ 1065628 h 4170698"/>
                  <a:gd name="connsiteX18" fmla="*/ 412078 w 2179363"/>
                  <a:gd name="connsiteY18" fmla="*/ 1081825 h 4170698"/>
                  <a:gd name="connsiteX19" fmla="*/ 409252 w 2179363"/>
                  <a:gd name="connsiteY19" fmla="*/ 1858316 h 4170698"/>
                  <a:gd name="connsiteX20" fmla="*/ 411109 w 2179363"/>
                  <a:gd name="connsiteY20" fmla="*/ 1861834 h 4170698"/>
                  <a:gd name="connsiteX21" fmla="*/ 410442 w 2179363"/>
                  <a:gd name="connsiteY21" fmla="*/ 3038034 h 4170698"/>
                  <a:gd name="connsiteX0" fmla="*/ 410442 w 2179363"/>
                  <a:gd name="connsiteY0" fmla="*/ 3038034 h 3038034"/>
                  <a:gd name="connsiteX1" fmla="*/ 4957 w 2179363"/>
                  <a:gd name="connsiteY1" fmla="*/ 1054770 h 3038034"/>
                  <a:gd name="connsiteX2" fmla="*/ 3772 w 2179363"/>
                  <a:gd name="connsiteY2" fmla="*/ 1017192 h 3038034"/>
                  <a:gd name="connsiteX3" fmla="*/ 1737 w 2179363"/>
                  <a:gd name="connsiteY3" fmla="*/ 494424 h 3038034"/>
                  <a:gd name="connsiteX4" fmla="*/ 47228 w 2179363"/>
                  <a:gd name="connsiteY4" fmla="*/ 171698 h 3038034"/>
                  <a:gd name="connsiteX5" fmla="*/ 211835 w 2179363"/>
                  <a:gd name="connsiteY5" fmla="*/ 25112 h 3038034"/>
                  <a:gd name="connsiteX6" fmla="*/ 411481 w 2179363"/>
                  <a:gd name="connsiteY6" fmla="*/ 3326 h 3038034"/>
                  <a:gd name="connsiteX7" fmla="*/ 587185 w 2179363"/>
                  <a:gd name="connsiteY7" fmla="*/ 37548 h 3038034"/>
                  <a:gd name="connsiteX8" fmla="*/ 2138338 w 2179363"/>
                  <a:gd name="connsiteY8" fmla="*/ 924343 h 3038034"/>
                  <a:gd name="connsiteX9" fmla="*/ 2139295 w 2179363"/>
                  <a:gd name="connsiteY9" fmla="*/ 1149844 h 3038034"/>
                  <a:gd name="connsiteX10" fmla="*/ 1965330 w 2179363"/>
                  <a:gd name="connsiteY10" fmla="*/ 1269783 h 3038034"/>
                  <a:gd name="connsiteX11" fmla="*/ 1945483 w 2179363"/>
                  <a:gd name="connsiteY11" fmla="*/ 1262485 h 3038034"/>
                  <a:gd name="connsiteX12" fmla="*/ 480008 w 2179363"/>
                  <a:gd name="connsiteY12" fmla="*/ 431577 h 3038034"/>
                  <a:gd name="connsiteX13" fmla="*/ 479665 w 2179363"/>
                  <a:gd name="connsiteY13" fmla="*/ 431184 h 3038034"/>
                  <a:gd name="connsiteX14" fmla="*/ 457510 w 2179363"/>
                  <a:gd name="connsiteY14" fmla="*/ 437405 h 3038034"/>
                  <a:gd name="connsiteX15" fmla="*/ 414860 w 2179363"/>
                  <a:gd name="connsiteY15" fmla="*/ 539231 h 3038034"/>
                  <a:gd name="connsiteX16" fmla="*/ 414855 w 2179363"/>
                  <a:gd name="connsiteY16" fmla="*/ 1065628 h 3038034"/>
                  <a:gd name="connsiteX17" fmla="*/ 412078 w 2179363"/>
                  <a:gd name="connsiteY17" fmla="*/ 1081825 h 3038034"/>
                  <a:gd name="connsiteX18" fmla="*/ 409252 w 2179363"/>
                  <a:gd name="connsiteY18" fmla="*/ 1858316 h 3038034"/>
                  <a:gd name="connsiteX19" fmla="*/ 411109 w 2179363"/>
                  <a:gd name="connsiteY19" fmla="*/ 1861834 h 3038034"/>
                  <a:gd name="connsiteX20" fmla="*/ 410442 w 2179363"/>
                  <a:gd name="connsiteY20" fmla="*/ 3038034 h 3038034"/>
                  <a:gd name="connsiteX0" fmla="*/ 411109 w 2179363"/>
                  <a:gd name="connsiteY0" fmla="*/ 1861834 h 1861834"/>
                  <a:gd name="connsiteX1" fmla="*/ 4957 w 2179363"/>
                  <a:gd name="connsiteY1" fmla="*/ 1054770 h 1861834"/>
                  <a:gd name="connsiteX2" fmla="*/ 3772 w 2179363"/>
                  <a:gd name="connsiteY2" fmla="*/ 1017192 h 1861834"/>
                  <a:gd name="connsiteX3" fmla="*/ 1737 w 2179363"/>
                  <a:gd name="connsiteY3" fmla="*/ 494424 h 1861834"/>
                  <a:gd name="connsiteX4" fmla="*/ 47228 w 2179363"/>
                  <a:gd name="connsiteY4" fmla="*/ 171698 h 1861834"/>
                  <a:gd name="connsiteX5" fmla="*/ 211835 w 2179363"/>
                  <a:gd name="connsiteY5" fmla="*/ 25112 h 1861834"/>
                  <a:gd name="connsiteX6" fmla="*/ 411481 w 2179363"/>
                  <a:gd name="connsiteY6" fmla="*/ 3326 h 1861834"/>
                  <a:gd name="connsiteX7" fmla="*/ 587185 w 2179363"/>
                  <a:gd name="connsiteY7" fmla="*/ 37548 h 1861834"/>
                  <a:gd name="connsiteX8" fmla="*/ 2138338 w 2179363"/>
                  <a:gd name="connsiteY8" fmla="*/ 924343 h 1861834"/>
                  <a:gd name="connsiteX9" fmla="*/ 2139295 w 2179363"/>
                  <a:gd name="connsiteY9" fmla="*/ 1149844 h 1861834"/>
                  <a:gd name="connsiteX10" fmla="*/ 1965330 w 2179363"/>
                  <a:gd name="connsiteY10" fmla="*/ 1269783 h 1861834"/>
                  <a:gd name="connsiteX11" fmla="*/ 1945483 w 2179363"/>
                  <a:gd name="connsiteY11" fmla="*/ 1262485 h 1861834"/>
                  <a:gd name="connsiteX12" fmla="*/ 480008 w 2179363"/>
                  <a:gd name="connsiteY12" fmla="*/ 431577 h 1861834"/>
                  <a:gd name="connsiteX13" fmla="*/ 479665 w 2179363"/>
                  <a:gd name="connsiteY13" fmla="*/ 431184 h 1861834"/>
                  <a:gd name="connsiteX14" fmla="*/ 457510 w 2179363"/>
                  <a:gd name="connsiteY14" fmla="*/ 437405 h 1861834"/>
                  <a:gd name="connsiteX15" fmla="*/ 414860 w 2179363"/>
                  <a:gd name="connsiteY15" fmla="*/ 539231 h 1861834"/>
                  <a:gd name="connsiteX16" fmla="*/ 414855 w 2179363"/>
                  <a:gd name="connsiteY16" fmla="*/ 1065628 h 1861834"/>
                  <a:gd name="connsiteX17" fmla="*/ 412078 w 2179363"/>
                  <a:gd name="connsiteY17" fmla="*/ 1081825 h 1861834"/>
                  <a:gd name="connsiteX18" fmla="*/ 409252 w 2179363"/>
                  <a:gd name="connsiteY18" fmla="*/ 1858316 h 1861834"/>
                  <a:gd name="connsiteX19" fmla="*/ 411109 w 2179363"/>
                  <a:gd name="connsiteY19" fmla="*/ 1861834 h 1861834"/>
                  <a:gd name="connsiteX0" fmla="*/ 409252 w 2179363"/>
                  <a:gd name="connsiteY0" fmla="*/ 1858316 h 1858316"/>
                  <a:gd name="connsiteX1" fmla="*/ 4957 w 2179363"/>
                  <a:gd name="connsiteY1" fmla="*/ 1054770 h 1858316"/>
                  <a:gd name="connsiteX2" fmla="*/ 3772 w 2179363"/>
                  <a:gd name="connsiteY2" fmla="*/ 1017192 h 1858316"/>
                  <a:gd name="connsiteX3" fmla="*/ 1737 w 2179363"/>
                  <a:gd name="connsiteY3" fmla="*/ 494424 h 1858316"/>
                  <a:gd name="connsiteX4" fmla="*/ 47228 w 2179363"/>
                  <a:gd name="connsiteY4" fmla="*/ 171698 h 1858316"/>
                  <a:gd name="connsiteX5" fmla="*/ 211835 w 2179363"/>
                  <a:gd name="connsiteY5" fmla="*/ 25112 h 1858316"/>
                  <a:gd name="connsiteX6" fmla="*/ 411481 w 2179363"/>
                  <a:gd name="connsiteY6" fmla="*/ 3326 h 1858316"/>
                  <a:gd name="connsiteX7" fmla="*/ 587185 w 2179363"/>
                  <a:gd name="connsiteY7" fmla="*/ 37548 h 1858316"/>
                  <a:gd name="connsiteX8" fmla="*/ 2138338 w 2179363"/>
                  <a:gd name="connsiteY8" fmla="*/ 924343 h 1858316"/>
                  <a:gd name="connsiteX9" fmla="*/ 2139295 w 2179363"/>
                  <a:gd name="connsiteY9" fmla="*/ 1149844 h 1858316"/>
                  <a:gd name="connsiteX10" fmla="*/ 1965330 w 2179363"/>
                  <a:gd name="connsiteY10" fmla="*/ 1269783 h 1858316"/>
                  <a:gd name="connsiteX11" fmla="*/ 1945483 w 2179363"/>
                  <a:gd name="connsiteY11" fmla="*/ 1262485 h 1858316"/>
                  <a:gd name="connsiteX12" fmla="*/ 480008 w 2179363"/>
                  <a:gd name="connsiteY12" fmla="*/ 431577 h 1858316"/>
                  <a:gd name="connsiteX13" fmla="*/ 479665 w 2179363"/>
                  <a:gd name="connsiteY13" fmla="*/ 431184 h 1858316"/>
                  <a:gd name="connsiteX14" fmla="*/ 457510 w 2179363"/>
                  <a:gd name="connsiteY14" fmla="*/ 437405 h 1858316"/>
                  <a:gd name="connsiteX15" fmla="*/ 414860 w 2179363"/>
                  <a:gd name="connsiteY15" fmla="*/ 539231 h 1858316"/>
                  <a:gd name="connsiteX16" fmla="*/ 414855 w 2179363"/>
                  <a:gd name="connsiteY16" fmla="*/ 1065628 h 1858316"/>
                  <a:gd name="connsiteX17" fmla="*/ 412078 w 2179363"/>
                  <a:gd name="connsiteY17" fmla="*/ 1081825 h 1858316"/>
                  <a:gd name="connsiteX18" fmla="*/ 409252 w 2179363"/>
                  <a:gd name="connsiteY18" fmla="*/ 1858316 h 1858316"/>
                  <a:gd name="connsiteX0" fmla="*/ 407757 w 2177868"/>
                  <a:gd name="connsiteY0" fmla="*/ 1858316 h 1858316"/>
                  <a:gd name="connsiteX1" fmla="*/ 3462 w 2177868"/>
                  <a:gd name="connsiteY1" fmla="*/ 1054770 h 1858316"/>
                  <a:gd name="connsiteX2" fmla="*/ 242 w 2177868"/>
                  <a:gd name="connsiteY2" fmla="*/ 494424 h 1858316"/>
                  <a:gd name="connsiteX3" fmla="*/ 45733 w 2177868"/>
                  <a:gd name="connsiteY3" fmla="*/ 171698 h 1858316"/>
                  <a:gd name="connsiteX4" fmla="*/ 210340 w 2177868"/>
                  <a:gd name="connsiteY4" fmla="*/ 25112 h 1858316"/>
                  <a:gd name="connsiteX5" fmla="*/ 409986 w 2177868"/>
                  <a:gd name="connsiteY5" fmla="*/ 3326 h 1858316"/>
                  <a:gd name="connsiteX6" fmla="*/ 585690 w 2177868"/>
                  <a:gd name="connsiteY6" fmla="*/ 37548 h 1858316"/>
                  <a:gd name="connsiteX7" fmla="*/ 2136843 w 2177868"/>
                  <a:gd name="connsiteY7" fmla="*/ 924343 h 1858316"/>
                  <a:gd name="connsiteX8" fmla="*/ 2137800 w 2177868"/>
                  <a:gd name="connsiteY8" fmla="*/ 1149844 h 1858316"/>
                  <a:gd name="connsiteX9" fmla="*/ 1963835 w 2177868"/>
                  <a:gd name="connsiteY9" fmla="*/ 1269783 h 1858316"/>
                  <a:gd name="connsiteX10" fmla="*/ 1943988 w 2177868"/>
                  <a:gd name="connsiteY10" fmla="*/ 1262485 h 1858316"/>
                  <a:gd name="connsiteX11" fmla="*/ 478513 w 2177868"/>
                  <a:gd name="connsiteY11" fmla="*/ 431577 h 1858316"/>
                  <a:gd name="connsiteX12" fmla="*/ 478170 w 2177868"/>
                  <a:gd name="connsiteY12" fmla="*/ 431184 h 1858316"/>
                  <a:gd name="connsiteX13" fmla="*/ 456015 w 2177868"/>
                  <a:gd name="connsiteY13" fmla="*/ 437405 h 1858316"/>
                  <a:gd name="connsiteX14" fmla="*/ 413365 w 2177868"/>
                  <a:gd name="connsiteY14" fmla="*/ 539231 h 1858316"/>
                  <a:gd name="connsiteX15" fmla="*/ 413360 w 2177868"/>
                  <a:gd name="connsiteY15" fmla="*/ 1065628 h 1858316"/>
                  <a:gd name="connsiteX16" fmla="*/ 410583 w 2177868"/>
                  <a:gd name="connsiteY16" fmla="*/ 1081825 h 1858316"/>
                  <a:gd name="connsiteX17" fmla="*/ 407757 w 2177868"/>
                  <a:gd name="connsiteY17" fmla="*/ 1858316 h 1858316"/>
                  <a:gd name="connsiteX0" fmla="*/ 407757 w 2177868"/>
                  <a:gd name="connsiteY0" fmla="*/ 1858316 h 1858316"/>
                  <a:gd name="connsiteX1" fmla="*/ 242 w 2177868"/>
                  <a:gd name="connsiteY1" fmla="*/ 494424 h 1858316"/>
                  <a:gd name="connsiteX2" fmla="*/ 45733 w 2177868"/>
                  <a:gd name="connsiteY2" fmla="*/ 171698 h 1858316"/>
                  <a:gd name="connsiteX3" fmla="*/ 210340 w 2177868"/>
                  <a:gd name="connsiteY3" fmla="*/ 25112 h 1858316"/>
                  <a:gd name="connsiteX4" fmla="*/ 409986 w 2177868"/>
                  <a:gd name="connsiteY4" fmla="*/ 3326 h 1858316"/>
                  <a:gd name="connsiteX5" fmla="*/ 585690 w 2177868"/>
                  <a:gd name="connsiteY5" fmla="*/ 37548 h 1858316"/>
                  <a:gd name="connsiteX6" fmla="*/ 2136843 w 2177868"/>
                  <a:gd name="connsiteY6" fmla="*/ 924343 h 1858316"/>
                  <a:gd name="connsiteX7" fmla="*/ 2137800 w 2177868"/>
                  <a:gd name="connsiteY7" fmla="*/ 1149844 h 1858316"/>
                  <a:gd name="connsiteX8" fmla="*/ 1963835 w 2177868"/>
                  <a:gd name="connsiteY8" fmla="*/ 1269783 h 1858316"/>
                  <a:gd name="connsiteX9" fmla="*/ 1943988 w 2177868"/>
                  <a:gd name="connsiteY9" fmla="*/ 1262485 h 1858316"/>
                  <a:gd name="connsiteX10" fmla="*/ 478513 w 2177868"/>
                  <a:gd name="connsiteY10" fmla="*/ 431577 h 1858316"/>
                  <a:gd name="connsiteX11" fmla="*/ 478170 w 2177868"/>
                  <a:gd name="connsiteY11" fmla="*/ 431184 h 1858316"/>
                  <a:gd name="connsiteX12" fmla="*/ 456015 w 2177868"/>
                  <a:gd name="connsiteY12" fmla="*/ 437405 h 1858316"/>
                  <a:gd name="connsiteX13" fmla="*/ 413365 w 2177868"/>
                  <a:gd name="connsiteY13" fmla="*/ 539231 h 1858316"/>
                  <a:gd name="connsiteX14" fmla="*/ 413360 w 2177868"/>
                  <a:gd name="connsiteY14" fmla="*/ 1065628 h 1858316"/>
                  <a:gd name="connsiteX15" fmla="*/ 410583 w 2177868"/>
                  <a:gd name="connsiteY15" fmla="*/ 1081825 h 1858316"/>
                  <a:gd name="connsiteX16" fmla="*/ 407757 w 2177868"/>
                  <a:gd name="connsiteY16" fmla="*/ 1858316 h 1858316"/>
                  <a:gd name="connsiteX0" fmla="*/ 407757 w 2177868"/>
                  <a:gd name="connsiteY0" fmla="*/ 1858316 h 1858316"/>
                  <a:gd name="connsiteX1" fmla="*/ 242 w 2177868"/>
                  <a:gd name="connsiteY1" fmla="*/ 494424 h 1858316"/>
                  <a:gd name="connsiteX2" fmla="*/ 45733 w 2177868"/>
                  <a:gd name="connsiteY2" fmla="*/ 171698 h 1858316"/>
                  <a:gd name="connsiteX3" fmla="*/ 210340 w 2177868"/>
                  <a:gd name="connsiteY3" fmla="*/ 25112 h 1858316"/>
                  <a:gd name="connsiteX4" fmla="*/ 409986 w 2177868"/>
                  <a:gd name="connsiteY4" fmla="*/ 3326 h 1858316"/>
                  <a:gd name="connsiteX5" fmla="*/ 585690 w 2177868"/>
                  <a:gd name="connsiteY5" fmla="*/ 37548 h 1858316"/>
                  <a:gd name="connsiteX6" fmla="*/ 2136843 w 2177868"/>
                  <a:gd name="connsiteY6" fmla="*/ 924343 h 1858316"/>
                  <a:gd name="connsiteX7" fmla="*/ 2137800 w 2177868"/>
                  <a:gd name="connsiteY7" fmla="*/ 1149844 h 1858316"/>
                  <a:gd name="connsiteX8" fmla="*/ 1963835 w 2177868"/>
                  <a:gd name="connsiteY8" fmla="*/ 1269783 h 1858316"/>
                  <a:gd name="connsiteX9" fmla="*/ 1943988 w 2177868"/>
                  <a:gd name="connsiteY9" fmla="*/ 1262485 h 1858316"/>
                  <a:gd name="connsiteX10" fmla="*/ 478513 w 2177868"/>
                  <a:gd name="connsiteY10" fmla="*/ 431577 h 1858316"/>
                  <a:gd name="connsiteX11" fmla="*/ 478170 w 2177868"/>
                  <a:gd name="connsiteY11" fmla="*/ 431184 h 1858316"/>
                  <a:gd name="connsiteX12" fmla="*/ 456015 w 2177868"/>
                  <a:gd name="connsiteY12" fmla="*/ 437405 h 1858316"/>
                  <a:gd name="connsiteX13" fmla="*/ 413365 w 2177868"/>
                  <a:gd name="connsiteY13" fmla="*/ 539231 h 1858316"/>
                  <a:gd name="connsiteX14" fmla="*/ 413360 w 2177868"/>
                  <a:gd name="connsiteY14" fmla="*/ 1065628 h 1858316"/>
                  <a:gd name="connsiteX15" fmla="*/ 407757 w 2177868"/>
                  <a:gd name="connsiteY15" fmla="*/ 1858316 h 1858316"/>
                  <a:gd name="connsiteX0" fmla="*/ 437026 w 2201534"/>
                  <a:gd name="connsiteY0" fmla="*/ 1065628 h 1271115"/>
                  <a:gd name="connsiteX1" fmla="*/ 23908 w 2201534"/>
                  <a:gd name="connsiteY1" fmla="*/ 494424 h 1271115"/>
                  <a:gd name="connsiteX2" fmla="*/ 69399 w 2201534"/>
                  <a:gd name="connsiteY2" fmla="*/ 171698 h 1271115"/>
                  <a:gd name="connsiteX3" fmla="*/ 234006 w 2201534"/>
                  <a:gd name="connsiteY3" fmla="*/ 25112 h 1271115"/>
                  <a:gd name="connsiteX4" fmla="*/ 433652 w 2201534"/>
                  <a:gd name="connsiteY4" fmla="*/ 3326 h 1271115"/>
                  <a:gd name="connsiteX5" fmla="*/ 609356 w 2201534"/>
                  <a:gd name="connsiteY5" fmla="*/ 37548 h 1271115"/>
                  <a:gd name="connsiteX6" fmla="*/ 2160509 w 2201534"/>
                  <a:gd name="connsiteY6" fmla="*/ 924343 h 1271115"/>
                  <a:gd name="connsiteX7" fmla="*/ 2161466 w 2201534"/>
                  <a:gd name="connsiteY7" fmla="*/ 1149844 h 1271115"/>
                  <a:gd name="connsiteX8" fmla="*/ 1987501 w 2201534"/>
                  <a:gd name="connsiteY8" fmla="*/ 1269783 h 1271115"/>
                  <a:gd name="connsiteX9" fmla="*/ 1967654 w 2201534"/>
                  <a:gd name="connsiteY9" fmla="*/ 1262485 h 1271115"/>
                  <a:gd name="connsiteX10" fmla="*/ 502179 w 2201534"/>
                  <a:gd name="connsiteY10" fmla="*/ 431577 h 1271115"/>
                  <a:gd name="connsiteX11" fmla="*/ 501836 w 2201534"/>
                  <a:gd name="connsiteY11" fmla="*/ 431184 h 1271115"/>
                  <a:gd name="connsiteX12" fmla="*/ 479681 w 2201534"/>
                  <a:gd name="connsiteY12" fmla="*/ 437405 h 1271115"/>
                  <a:gd name="connsiteX13" fmla="*/ 437031 w 2201534"/>
                  <a:gd name="connsiteY13" fmla="*/ 539231 h 1271115"/>
                  <a:gd name="connsiteX14" fmla="*/ 437026 w 2201534"/>
                  <a:gd name="connsiteY14" fmla="*/ 1065628 h 1271115"/>
                  <a:gd name="connsiteX0" fmla="*/ 437031 w 2201534"/>
                  <a:gd name="connsiteY0" fmla="*/ 539231 h 1271115"/>
                  <a:gd name="connsiteX1" fmla="*/ 23908 w 2201534"/>
                  <a:gd name="connsiteY1" fmla="*/ 494424 h 1271115"/>
                  <a:gd name="connsiteX2" fmla="*/ 69399 w 2201534"/>
                  <a:gd name="connsiteY2" fmla="*/ 171698 h 1271115"/>
                  <a:gd name="connsiteX3" fmla="*/ 234006 w 2201534"/>
                  <a:gd name="connsiteY3" fmla="*/ 25112 h 1271115"/>
                  <a:gd name="connsiteX4" fmla="*/ 433652 w 2201534"/>
                  <a:gd name="connsiteY4" fmla="*/ 3326 h 1271115"/>
                  <a:gd name="connsiteX5" fmla="*/ 609356 w 2201534"/>
                  <a:gd name="connsiteY5" fmla="*/ 37548 h 1271115"/>
                  <a:gd name="connsiteX6" fmla="*/ 2160509 w 2201534"/>
                  <a:gd name="connsiteY6" fmla="*/ 924343 h 1271115"/>
                  <a:gd name="connsiteX7" fmla="*/ 2161466 w 2201534"/>
                  <a:gd name="connsiteY7" fmla="*/ 1149844 h 1271115"/>
                  <a:gd name="connsiteX8" fmla="*/ 1987501 w 2201534"/>
                  <a:gd name="connsiteY8" fmla="*/ 1269783 h 1271115"/>
                  <a:gd name="connsiteX9" fmla="*/ 1967654 w 2201534"/>
                  <a:gd name="connsiteY9" fmla="*/ 1262485 h 1271115"/>
                  <a:gd name="connsiteX10" fmla="*/ 502179 w 2201534"/>
                  <a:gd name="connsiteY10" fmla="*/ 431577 h 1271115"/>
                  <a:gd name="connsiteX11" fmla="*/ 501836 w 2201534"/>
                  <a:gd name="connsiteY11" fmla="*/ 431184 h 1271115"/>
                  <a:gd name="connsiteX12" fmla="*/ 479681 w 2201534"/>
                  <a:gd name="connsiteY12" fmla="*/ 437405 h 1271115"/>
                  <a:gd name="connsiteX13" fmla="*/ 437031 w 2201534"/>
                  <a:gd name="connsiteY13" fmla="*/ 539231 h 1271115"/>
                  <a:gd name="connsiteX0" fmla="*/ 372453 w 2136956"/>
                  <a:gd name="connsiteY0" fmla="*/ 539231 h 1271115"/>
                  <a:gd name="connsiteX1" fmla="*/ 4821 w 2136956"/>
                  <a:gd name="connsiteY1" fmla="*/ 171698 h 1271115"/>
                  <a:gd name="connsiteX2" fmla="*/ 169428 w 2136956"/>
                  <a:gd name="connsiteY2" fmla="*/ 25112 h 1271115"/>
                  <a:gd name="connsiteX3" fmla="*/ 369074 w 2136956"/>
                  <a:gd name="connsiteY3" fmla="*/ 3326 h 1271115"/>
                  <a:gd name="connsiteX4" fmla="*/ 544778 w 2136956"/>
                  <a:gd name="connsiteY4" fmla="*/ 37548 h 1271115"/>
                  <a:gd name="connsiteX5" fmla="*/ 2095931 w 2136956"/>
                  <a:gd name="connsiteY5" fmla="*/ 924343 h 1271115"/>
                  <a:gd name="connsiteX6" fmla="*/ 2096888 w 2136956"/>
                  <a:gd name="connsiteY6" fmla="*/ 1149844 h 1271115"/>
                  <a:gd name="connsiteX7" fmla="*/ 1922923 w 2136956"/>
                  <a:gd name="connsiteY7" fmla="*/ 1269783 h 1271115"/>
                  <a:gd name="connsiteX8" fmla="*/ 1903076 w 2136956"/>
                  <a:gd name="connsiteY8" fmla="*/ 1262485 h 1271115"/>
                  <a:gd name="connsiteX9" fmla="*/ 437601 w 2136956"/>
                  <a:gd name="connsiteY9" fmla="*/ 431577 h 1271115"/>
                  <a:gd name="connsiteX10" fmla="*/ 437258 w 2136956"/>
                  <a:gd name="connsiteY10" fmla="*/ 431184 h 1271115"/>
                  <a:gd name="connsiteX11" fmla="*/ 415103 w 2136956"/>
                  <a:gd name="connsiteY11" fmla="*/ 437405 h 1271115"/>
                  <a:gd name="connsiteX12" fmla="*/ 372453 w 2136956"/>
                  <a:gd name="connsiteY12" fmla="*/ 539231 h 1271115"/>
                  <a:gd name="connsiteX0" fmla="*/ 416889 w 2138742"/>
                  <a:gd name="connsiteY0" fmla="*/ 437405 h 1271115"/>
                  <a:gd name="connsiteX1" fmla="*/ 6607 w 2138742"/>
                  <a:gd name="connsiteY1" fmla="*/ 171698 h 1271115"/>
                  <a:gd name="connsiteX2" fmla="*/ 171214 w 2138742"/>
                  <a:gd name="connsiteY2" fmla="*/ 25112 h 1271115"/>
                  <a:gd name="connsiteX3" fmla="*/ 370860 w 2138742"/>
                  <a:gd name="connsiteY3" fmla="*/ 3326 h 1271115"/>
                  <a:gd name="connsiteX4" fmla="*/ 546564 w 2138742"/>
                  <a:gd name="connsiteY4" fmla="*/ 37548 h 1271115"/>
                  <a:gd name="connsiteX5" fmla="*/ 2097717 w 2138742"/>
                  <a:gd name="connsiteY5" fmla="*/ 924343 h 1271115"/>
                  <a:gd name="connsiteX6" fmla="*/ 2098674 w 2138742"/>
                  <a:gd name="connsiteY6" fmla="*/ 1149844 h 1271115"/>
                  <a:gd name="connsiteX7" fmla="*/ 1924709 w 2138742"/>
                  <a:gd name="connsiteY7" fmla="*/ 1269783 h 1271115"/>
                  <a:gd name="connsiteX8" fmla="*/ 1904862 w 2138742"/>
                  <a:gd name="connsiteY8" fmla="*/ 1262485 h 1271115"/>
                  <a:gd name="connsiteX9" fmla="*/ 439387 w 2138742"/>
                  <a:gd name="connsiteY9" fmla="*/ 431577 h 1271115"/>
                  <a:gd name="connsiteX10" fmla="*/ 439044 w 2138742"/>
                  <a:gd name="connsiteY10" fmla="*/ 431184 h 1271115"/>
                  <a:gd name="connsiteX11" fmla="*/ 416889 w 2138742"/>
                  <a:gd name="connsiteY11" fmla="*/ 437405 h 1271115"/>
                  <a:gd name="connsiteX0" fmla="*/ 245969 w 1967822"/>
                  <a:gd name="connsiteY0" fmla="*/ 451897 h 1285607"/>
                  <a:gd name="connsiteX1" fmla="*/ 294 w 1967822"/>
                  <a:gd name="connsiteY1" fmla="*/ 39604 h 1285607"/>
                  <a:gd name="connsiteX2" fmla="*/ 199940 w 1967822"/>
                  <a:gd name="connsiteY2" fmla="*/ 17818 h 1285607"/>
                  <a:gd name="connsiteX3" fmla="*/ 375644 w 1967822"/>
                  <a:gd name="connsiteY3" fmla="*/ 52040 h 1285607"/>
                  <a:gd name="connsiteX4" fmla="*/ 1926797 w 1967822"/>
                  <a:gd name="connsiteY4" fmla="*/ 938835 h 1285607"/>
                  <a:gd name="connsiteX5" fmla="*/ 1927754 w 1967822"/>
                  <a:gd name="connsiteY5" fmla="*/ 1164336 h 1285607"/>
                  <a:gd name="connsiteX6" fmla="*/ 1753789 w 1967822"/>
                  <a:gd name="connsiteY6" fmla="*/ 1284275 h 1285607"/>
                  <a:gd name="connsiteX7" fmla="*/ 1733942 w 1967822"/>
                  <a:gd name="connsiteY7" fmla="*/ 1276977 h 1285607"/>
                  <a:gd name="connsiteX8" fmla="*/ 268467 w 1967822"/>
                  <a:gd name="connsiteY8" fmla="*/ 446069 h 1285607"/>
                  <a:gd name="connsiteX9" fmla="*/ 268124 w 1967822"/>
                  <a:gd name="connsiteY9" fmla="*/ 445676 h 1285607"/>
                  <a:gd name="connsiteX10" fmla="*/ 245969 w 1967822"/>
                  <a:gd name="connsiteY10" fmla="*/ 451897 h 1285607"/>
                  <a:gd name="connsiteX0" fmla="*/ 245969 w 1967822"/>
                  <a:gd name="connsiteY0" fmla="*/ 451897 h 1285607"/>
                  <a:gd name="connsiteX1" fmla="*/ 294 w 1967822"/>
                  <a:gd name="connsiteY1" fmla="*/ 39604 h 1285607"/>
                  <a:gd name="connsiteX2" fmla="*/ 199940 w 1967822"/>
                  <a:gd name="connsiteY2" fmla="*/ 17818 h 1285607"/>
                  <a:gd name="connsiteX3" fmla="*/ 375644 w 1967822"/>
                  <a:gd name="connsiteY3" fmla="*/ 52040 h 1285607"/>
                  <a:gd name="connsiteX4" fmla="*/ 1926797 w 1967822"/>
                  <a:gd name="connsiteY4" fmla="*/ 938835 h 1285607"/>
                  <a:gd name="connsiteX5" fmla="*/ 1927754 w 1967822"/>
                  <a:gd name="connsiteY5" fmla="*/ 1164336 h 1285607"/>
                  <a:gd name="connsiteX6" fmla="*/ 1753789 w 1967822"/>
                  <a:gd name="connsiteY6" fmla="*/ 1284275 h 1285607"/>
                  <a:gd name="connsiteX7" fmla="*/ 1733942 w 1967822"/>
                  <a:gd name="connsiteY7" fmla="*/ 1276977 h 1285607"/>
                  <a:gd name="connsiteX8" fmla="*/ 268467 w 1967822"/>
                  <a:gd name="connsiteY8" fmla="*/ 446069 h 1285607"/>
                  <a:gd name="connsiteX9" fmla="*/ 268124 w 1967822"/>
                  <a:gd name="connsiteY9" fmla="*/ 445676 h 1285607"/>
                  <a:gd name="connsiteX10" fmla="*/ 245969 w 1967822"/>
                  <a:gd name="connsiteY10" fmla="*/ 451897 h 1285607"/>
                  <a:gd name="connsiteX0" fmla="*/ 50925 w 1772778"/>
                  <a:gd name="connsiteY0" fmla="*/ 434079 h 1267789"/>
                  <a:gd name="connsiteX1" fmla="*/ 4896 w 1772778"/>
                  <a:gd name="connsiteY1" fmla="*/ 0 h 1267789"/>
                  <a:gd name="connsiteX2" fmla="*/ 180600 w 1772778"/>
                  <a:gd name="connsiteY2" fmla="*/ 34222 h 1267789"/>
                  <a:gd name="connsiteX3" fmla="*/ 1731753 w 1772778"/>
                  <a:gd name="connsiteY3" fmla="*/ 921017 h 1267789"/>
                  <a:gd name="connsiteX4" fmla="*/ 1732710 w 1772778"/>
                  <a:gd name="connsiteY4" fmla="*/ 1146518 h 1267789"/>
                  <a:gd name="connsiteX5" fmla="*/ 1558745 w 1772778"/>
                  <a:gd name="connsiteY5" fmla="*/ 1266457 h 1267789"/>
                  <a:gd name="connsiteX6" fmla="*/ 1538898 w 1772778"/>
                  <a:gd name="connsiteY6" fmla="*/ 1259159 h 1267789"/>
                  <a:gd name="connsiteX7" fmla="*/ 73423 w 1772778"/>
                  <a:gd name="connsiteY7" fmla="*/ 428251 h 1267789"/>
                  <a:gd name="connsiteX8" fmla="*/ 73080 w 1772778"/>
                  <a:gd name="connsiteY8" fmla="*/ 427858 h 1267789"/>
                  <a:gd name="connsiteX9" fmla="*/ 50925 w 1772778"/>
                  <a:gd name="connsiteY9" fmla="*/ 434079 h 1267789"/>
                  <a:gd name="connsiteX0" fmla="*/ 68184 w 1767882"/>
                  <a:gd name="connsiteY0" fmla="*/ 427858 h 1267789"/>
                  <a:gd name="connsiteX1" fmla="*/ 0 w 1767882"/>
                  <a:gd name="connsiteY1" fmla="*/ 0 h 1267789"/>
                  <a:gd name="connsiteX2" fmla="*/ 175704 w 1767882"/>
                  <a:gd name="connsiteY2" fmla="*/ 34222 h 1267789"/>
                  <a:gd name="connsiteX3" fmla="*/ 1726857 w 1767882"/>
                  <a:gd name="connsiteY3" fmla="*/ 921017 h 1267789"/>
                  <a:gd name="connsiteX4" fmla="*/ 1727814 w 1767882"/>
                  <a:gd name="connsiteY4" fmla="*/ 1146518 h 1267789"/>
                  <a:gd name="connsiteX5" fmla="*/ 1553849 w 1767882"/>
                  <a:gd name="connsiteY5" fmla="*/ 1266457 h 1267789"/>
                  <a:gd name="connsiteX6" fmla="*/ 1534002 w 1767882"/>
                  <a:gd name="connsiteY6" fmla="*/ 1259159 h 1267789"/>
                  <a:gd name="connsiteX7" fmla="*/ 68527 w 1767882"/>
                  <a:gd name="connsiteY7" fmla="*/ 428251 h 1267789"/>
                  <a:gd name="connsiteX8" fmla="*/ 68184 w 1767882"/>
                  <a:gd name="connsiteY8" fmla="*/ 427858 h 1267789"/>
                  <a:gd name="connsiteX0" fmla="*/ 0 w 1823523"/>
                  <a:gd name="connsiteY0" fmla="*/ 412600 h 1290631"/>
                  <a:gd name="connsiteX1" fmla="*/ 55641 w 1823523"/>
                  <a:gd name="connsiteY1" fmla="*/ 22842 h 1290631"/>
                  <a:gd name="connsiteX2" fmla="*/ 231345 w 1823523"/>
                  <a:gd name="connsiteY2" fmla="*/ 57064 h 1290631"/>
                  <a:gd name="connsiteX3" fmla="*/ 1782498 w 1823523"/>
                  <a:gd name="connsiteY3" fmla="*/ 943859 h 1290631"/>
                  <a:gd name="connsiteX4" fmla="*/ 1783455 w 1823523"/>
                  <a:gd name="connsiteY4" fmla="*/ 1169360 h 1290631"/>
                  <a:gd name="connsiteX5" fmla="*/ 1609490 w 1823523"/>
                  <a:gd name="connsiteY5" fmla="*/ 1289299 h 1290631"/>
                  <a:gd name="connsiteX6" fmla="*/ 1589643 w 1823523"/>
                  <a:gd name="connsiteY6" fmla="*/ 1282001 h 1290631"/>
                  <a:gd name="connsiteX7" fmla="*/ 124168 w 1823523"/>
                  <a:gd name="connsiteY7" fmla="*/ 451093 h 1290631"/>
                  <a:gd name="connsiteX8" fmla="*/ 0 w 1823523"/>
                  <a:gd name="connsiteY8" fmla="*/ 412600 h 1290631"/>
                  <a:gd name="connsiteX0" fmla="*/ 121435 w 1944958"/>
                  <a:gd name="connsiteY0" fmla="*/ 388867 h 1266898"/>
                  <a:gd name="connsiteX1" fmla="*/ 5626 w 1944958"/>
                  <a:gd name="connsiteY1" fmla="*/ 30859 h 1266898"/>
                  <a:gd name="connsiteX2" fmla="*/ 352780 w 1944958"/>
                  <a:gd name="connsiteY2" fmla="*/ 33331 h 1266898"/>
                  <a:gd name="connsiteX3" fmla="*/ 1903933 w 1944958"/>
                  <a:gd name="connsiteY3" fmla="*/ 920126 h 1266898"/>
                  <a:gd name="connsiteX4" fmla="*/ 1904890 w 1944958"/>
                  <a:gd name="connsiteY4" fmla="*/ 1145627 h 1266898"/>
                  <a:gd name="connsiteX5" fmla="*/ 1730925 w 1944958"/>
                  <a:gd name="connsiteY5" fmla="*/ 1265566 h 1266898"/>
                  <a:gd name="connsiteX6" fmla="*/ 1711078 w 1944958"/>
                  <a:gd name="connsiteY6" fmla="*/ 1258268 h 1266898"/>
                  <a:gd name="connsiteX7" fmla="*/ 245603 w 1944958"/>
                  <a:gd name="connsiteY7" fmla="*/ 427360 h 1266898"/>
                  <a:gd name="connsiteX8" fmla="*/ 121435 w 1944958"/>
                  <a:gd name="connsiteY8" fmla="*/ 388867 h 1266898"/>
                  <a:gd name="connsiteX0" fmla="*/ 128564 w 1952087"/>
                  <a:gd name="connsiteY0" fmla="*/ 394429 h 1272460"/>
                  <a:gd name="connsiteX1" fmla="*/ 12755 w 1952087"/>
                  <a:gd name="connsiteY1" fmla="*/ 36421 h 1272460"/>
                  <a:gd name="connsiteX2" fmla="*/ 359909 w 1952087"/>
                  <a:gd name="connsiteY2" fmla="*/ 38893 h 1272460"/>
                  <a:gd name="connsiteX3" fmla="*/ 1911062 w 1952087"/>
                  <a:gd name="connsiteY3" fmla="*/ 925688 h 1272460"/>
                  <a:gd name="connsiteX4" fmla="*/ 1912019 w 1952087"/>
                  <a:gd name="connsiteY4" fmla="*/ 1151189 h 1272460"/>
                  <a:gd name="connsiteX5" fmla="*/ 1738054 w 1952087"/>
                  <a:gd name="connsiteY5" fmla="*/ 1271128 h 1272460"/>
                  <a:gd name="connsiteX6" fmla="*/ 1718207 w 1952087"/>
                  <a:gd name="connsiteY6" fmla="*/ 1263830 h 1272460"/>
                  <a:gd name="connsiteX7" fmla="*/ 252732 w 1952087"/>
                  <a:gd name="connsiteY7" fmla="*/ 432922 h 1272460"/>
                  <a:gd name="connsiteX8" fmla="*/ 128564 w 1952087"/>
                  <a:gd name="connsiteY8" fmla="*/ 394429 h 1272460"/>
                  <a:gd name="connsiteX0" fmla="*/ 109676 w 1945899"/>
                  <a:gd name="connsiteY0" fmla="*/ 443373 h 1270604"/>
                  <a:gd name="connsiteX1" fmla="*/ 6567 w 1945899"/>
                  <a:gd name="connsiteY1" fmla="*/ 34565 h 1270604"/>
                  <a:gd name="connsiteX2" fmla="*/ 353721 w 1945899"/>
                  <a:gd name="connsiteY2" fmla="*/ 37037 h 1270604"/>
                  <a:gd name="connsiteX3" fmla="*/ 1904874 w 1945899"/>
                  <a:gd name="connsiteY3" fmla="*/ 923832 h 1270604"/>
                  <a:gd name="connsiteX4" fmla="*/ 1905831 w 1945899"/>
                  <a:gd name="connsiteY4" fmla="*/ 1149333 h 1270604"/>
                  <a:gd name="connsiteX5" fmla="*/ 1731866 w 1945899"/>
                  <a:gd name="connsiteY5" fmla="*/ 1269272 h 1270604"/>
                  <a:gd name="connsiteX6" fmla="*/ 1712019 w 1945899"/>
                  <a:gd name="connsiteY6" fmla="*/ 1261974 h 1270604"/>
                  <a:gd name="connsiteX7" fmla="*/ 246544 w 1945899"/>
                  <a:gd name="connsiteY7" fmla="*/ 431066 h 1270604"/>
                  <a:gd name="connsiteX8" fmla="*/ 109676 w 1945899"/>
                  <a:gd name="connsiteY8" fmla="*/ 443373 h 1270604"/>
                  <a:gd name="connsiteX0" fmla="*/ 250037 w 1949392"/>
                  <a:gd name="connsiteY0" fmla="*/ 431066 h 1270604"/>
                  <a:gd name="connsiteX1" fmla="*/ 10060 w 1949392"/>
                  <a:gd name="connsiteY1" fmla="*/ 34565 h 1270604"/>
                  <a:gd name="connsiteX2" fmla="*/ 357214 w 1949392"/>
                  <a:gd name="connsiteY2" fmla="*/ 37037 h 1270604"/>
                  <a:gd name="connsiteX3" fmla="*/ 1908367 w 1949392"/>
                  <a:gd name="connsiteY3" fmla="*/ 923832 h 1270604"/>
                  <a:gd name="connsiteX4" fmla="*/ 1909324 w 1949392"/>
                  <a:gd name="connsiteY4" fmla="*/ 1149333 h 1270604"/>
                  <a:gd name="connsiteX5" fmla="*/ 1735359 w 1949392"/>
                  <a:gd name="connsiteY5" fmla="*/ 1269272 h 1270604"/>
                  <a:gd name="connsiteX6" fmla="*/ 1715512 w 1949392"/>
                  <a:gd name="connsiteY6" fmla="*/ 1261974 h 1270604"/>
                  <a:gd name="connsiteX7" fmla="*/ 250037 w 1949392"/>
                  <a:gd name="connsiteY7" fmla="*/ 431066 h 1270604"/>
                  <a:gd name="connsiteX0" fmla="*/ 246686 w 1946041"/>
                  <a:gd name="connsiteY0" fmla="*/ 431066 h 1270604"/>
                  <a:gd name="connsiteX1" fmla="*/ 133827 w 1946041"/>
                  <a:gd name="connsiteY1" fmla="*/ 324567 h 1270604"/>
                  <a:gd name="connsiteX2" fmla="*/ 6709 w 1946041"/>
                  <a:gd name="connsiteY2" fmla="*/ 34565 h 1270604"/>
                  <a:gd name="connsiteX3" fmla="*/ 353863 w 1946041"/>
                  <a:gd name="connsiteY3" fmla="*/ 37037 h 1270604"/>
                  <a:gd name="connsiteX4" fmla="*/ 1905016 w 1946041"/>
                  <a:gd name="connsiteY4" fmla="*/ 923832 h 1270604"/>
                  <a:gd name="connsiteX5" fmla="*/ 1905973 w 1946041"/>
                  <a:gd name="connsiteY5" fmla="*/ 1149333 h 1270604"/>
                  <a:gd name="connsiteX6" fmla="*/ 1732008 w 1946041"/>
                  <a:gd name="connsiteY6" fmla="*/ 1269272 h 1270604"/>
                  <a:gd name="connsiteX7" fmla="*/ 1712161 w 1946041"/>
                  <a:gd name="connsiteY7" fmla="*/ 1261974 h 1270604"/>
                  <a:gd name="connsiteX8" fmla="*/ 246686 w 1946041"/>
                  <a:gd name="connsiteY8" fmla="*/ 431066 h 1270604"/>
                  <a:gd name="connsiteX0" fmla="*/ 455481 w 2154836"/>
                  <a:gd name="connsiteY0" fmla="*/ 418337 h 1257875"/>
                  <a:gd name="connsiteX1" fmla="*/ 6416 w 2154836"/>
                  <a:gd name="connsiteY1" fmla="*/ 254688 h 1257875"/>
                  <a:gd name="connsiteX2" fmla="*/ 215504 w 2154836"/>
                  <a:gd name="connsiteY2" fmla="*/ 21836 h 1257875"/>
                  <a:gd name="connsiteX3" fmla="*/ 562658 w 2154836"/>
                  <a:gd name="connsiteY3" fmla="*/ 24308 h 1257875"/>
                  <a:gd name="connsiteX4" fmla="*/ 2113811 w 2154836"/>
                  <a:gd name="connsiteY4" fmla="*/ 911103 h 1257875"/>
                  <a:gd name="connsiteX5" fmla="*/ 2114768 w 2154836"/>
                  <a:gd name="connsiteY5" fmla="*/ 1136604 h 1257875"/>
                  <a:gd name="connsiteX6" fmla="*/ 1940803 w 2154836"/>
                  <a:gd name="connsiteY6" fmla="*/ 1256543 h 1257875"/>
                  <a:gd name="connsiteX7" fmla="*/ 1920956 w 2154836"/>
                  <a:gd name="connsiteY7" fmla="*/ 1249245 h 1257875"/>
                  <a:gd name="connsiteX8" fmla="*/ 455481 w 2154836"/>
                  <a:gd name="connsiteY8" fmla="*/ 418337 h 1257875"/>
                  <a:gd name="connsiteX0" fmla="*/ 458204 w 2157559"/>
                  <a:gd name="connsiteY0" fmla="*/ 439462 h 1279000"/>
                  <a:gd name="connsiteX1" fmla="*/ 9139 w 2157559"/>
                  <a:gd name="connsiteY1" fmla="*/ 275813 h 1279000"/>
                  <a:gd name="connsiteX2" fmla="*/ 160591 w 2157559"/>
                  <a:gd name="connsiteY2" fmla="*/ 14386 h 1279000"/>
                  <a:gd name="connsiteX3" fmla="*/ 565381 w 2157559"/>
                  <a:gd name="connsiteY3" fmla="*/ 45433 h 1279000"/>
                  <a:gd name="connsiteX4" fmla="*/ 2116534 w 2157559"/>
                  <a:gd name="connsiteY4" fmla="*/ 932228 h 1279000"/>
                  <a:gd name="connsiteX5" fmla="*/ 2117491 w 2157559"/>
                  <a:gd name="connsiteY5" fmla="*/ 1157729 h 1279000"/>
                  <a:gd name="connsiteX6" fmla="*/ 1943526 w 2157559"/>
                  <a:gd name="connsiteY6" fmla="*/ 1277668 h 1279000"/>
                  <a:gd name="connsiteX7" fmla="*/ 1923679 w 2157559"/>
                  <a:gd name="connsiteY7" fmla="*/ 1270370 h 1279000"/>
                  <a:gd name="connsiteX8" fmla="*/ 458204 w 2157559"/>
                  <a:gd name="connsiteY8" fmla="*/ 439462 h 1279000"/>
                  <a:gd name="connsiteX0" fmla="*/ 456399 w 2155754"/>
                  <a:gd name="connsiteY0" fmla="*/ 431843 h 1271381"/>
                  <a:gd name="connsiteX1" fmla="*/ 7334 w 2155754"/>
                  <a:gd name="connsiteY1" fmla="*/ 268194 h 1271381"/>
                  <a:gd name="connsiteX2" fmla="*/ 192407 w 2155754"/>
                  <a:gd name="connsiteY2" fmla="*/ 16292 h 1271381"/>
                  <a:gd name="connsiteX3" fmla="*/ 563576 w 2155754"/>
                  <a:gd name="connsiteY3" fmla="*/ 37814 h 1271381"/>
                  <a:gd name="connsiteX4" fmla="*/ 2114729 w 2155754"/>
                  <a:gd name="connsiteY4" fmla="*/ 924609 h 1271381"/>
                  <a:gd name="connsiteX5" fmla="*/ 2115686 w 2155754"/>
                  <a:gd name="connsiteY5" fmla="*/ 1150110 h 1271381"/>
                  <a:gd name="connsiteX6" fmla="*/ 1941721 w 2155754"/>
                  <a:gd name="connsiteY6" fmla="*/ 1270049 h 1271381"/>
                  <a:gd name="connsiteX7" fmla="*/ 1921874 w 2155754"/>
                  <a:gd name="connsiteY7" fmla="*/ 1262751 h 1271381"/>
                  <a:gd name="connsiteX8" fmla="*/ 456399 w 2155754"/>
                  <a:gd name="connsiteY8" fmla="*/ 431843 h 1271381"/>
                  <a:gd name="connsiteX0" fmla="*/ 456399 w 2155754"/>
                  <a:gd name="connsiteY0" fmla="*/ 429388 h 1268926"/>
                  <a:gd name="connsiteX1" fmla="*/ 7334 w 2155754"/>
                  <a:gd name="connsiteY1" fmla="*/ 232402 h 1268926"/>
                  <a:gd name="connsiteX2" fmla="*/ 192407 w 2155754"/>
                  <a:gd name="connsiteY2" fmla="*/ 13837 h 1268926"/>
                  <a:gd name="connsiteX3" fmla="*/ 563576 w 2155754"/>
                  <a:gd name="connsiteY3" fmla="*/ 35359 h 1268926"/>
                  <a:gd name="connsiteX4" fmla="*/ 2114729 w 2155754"/>
                  <a:gd name="connsiteY4" fmla="*/ 922154 h 1268926"/>
                  <a:gd name="connsiteX5" fmla="*/ 2115686 w 2155754"/>
                  <a:gd name="connsiteY5" fmla="*/ 1147655 h 1268926"/>
                  <a:gd name="connsiteX6" fmla="*/ 1941721 w 2155754"/>
                  <a:gd name="connsiteY6" fmla="*/ 1267594 h 1268926"/>
                  <a:gd name="connsiteX7" fmla="*/ 1921874 w 2155754"/>
                  <a:gd name="connsiteY7" fmla="*/ 1260296 h 1268926"/>
                  <a:gd name="connsiteX8" fmla="*/ 456399 w 2155754"/>
                  <a:gd name="connsiteY8" fmla="*/ 429388 h 1268926"/>
                  <a:gd name="connsiteX0" fmla="*/ 458374 w 2157729"/>
                  <a:gd name="connsiteY0" fmla="*/ 437817 h 1277355"/>
                  <a:gd name="connsiteX1" fmla="*/ 9309 w 2157729"/>
                  <a:gd name="connsiteY1" fmla="*/ 240831 h 1277355"/>
                  <a:gd name="connsiteX2" fmla="*/ 194382 w 2157729"/>
                  <a:gd name="connsiteY2" fmla="*/ 22266 h 1277355"/>
                  <a:gd name="connsiteX3" fmla="*/ 565551 w 2157729"/>
                  <a:gd name="connsiteY3" fmla="*/ 43788 h 1277355"/>
                  <a:gd name="connsiteX4" fmla="*/ 2116704 w 2157729"/>
                  <a:gd name="connsiteY4" fmla="*/ 930583 h 1277355"/>
                  <a:gd name="connsiteX5" fmla="*/ 2117661 w 2157729"/>
                  <a:gd name="connsiteY5" fmla="*/ 1156084 h 1277355"/>
                  <a:gd name="connsiteX6" fmla="*/ 1943696 w 2157729"/>
                  <a:gd name="connsiteY6" fmla="*/ 1276023 h 1277355"/>
                  <a:gd name="connsiteX7" fmla="*/ 1923849 w 2157729"/>
                  <a:gd name="connsiteY7" fmla="*/ 1268725 h 1277355"/>
                  <a:gd name="connsiteX8" fmla="*/ 458374 w 2157729"/>
                  <a:gd name="connsiteY8" fmla="*/ 437817 h 12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7729" h="1277355">
                    <a:moveTo>
                      <a:pt x="458374" y="437817"/>
                    </a:moveTo>
                    <a:cubicBezTo>
                      <a:pt x="195318" y="281583"/>
                      <a:pt x="49305" y="306914"/>
                      <a:pt x="9309" y="240831"/>
                    </a:cubicBezTo>
                    <a:cubicBezTo>
                      <a:pt x="-30687" y="174748"/>
                      <a:pt x="63252" y="74157"/>
                      <a:pt x="194382" y="22266"/>
                    </a:cubicBezTo>
                    <a:cubicBezTo>
                      <a:pt x="325512" y="-29625"/>
                      <a:pt x="507689" y="22617"/>
                      <a:pt x="565551" y="43788"/>
                    </a:cubicBezTo>
                    <a:lnTo>
                      <a:pt x="2116704" y="930583"/>
                    </a:lnTo>
                    <a:cubicBezTo>
                      <a:pt x="2171029" y="961947"/>
                      <a:pt x="2171457" y="1062907"/>
                      <a:pt x="2117661" y="1156084"/>
                    </a:cubicBezTo>
                    <a:cubicBezTo>
                      <a:pt x="2070590" y="1237614"/>
                      <a:pt x="1997601" y="1286169"/>
                      <a:pt x="1943696" y="1276023"/>
                    </a:cubicBezTo>
                    <a:lnTo>
                      <a:pt x="1923849" y="1268725"/>
                    </a:lnTo>
                    <a:lnTo>
                      <a:pt x="458374" y="437817"/>
                    </a:lnTo>
                    <a:close/>
                  </a:path>
                </a:pathLst>
              </a:custGeom>
              <a:gradFill flip="none" rotWithShape="1">
                <a:gsLst>
                  <a:gs pos="13000">
                    <a:srgbClr val="D8D8D8"/>
                  </a:gs>
                  <a:gs pos="30000">
                    <a:schemeClr val="accent2">
                      <a:lumMod val="0"/>
                      <a:lumOff val="100000"/>
                      <a:alpha val="0"/>
                    </a:schemeClr>
                  </a:gs>
                </a:gsLst>
                <a:lin ang="42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95" name="Freeform: Shape 794">
                <a:extLst>
                  <a:ext uri="{FF2B5EF4-FFF2-40B4-BE49-F238E27FC236}">
                    <a16:creationId xmlns:a16="http://schemas.microsoft.com/office/drawing/2014/main" id="{ABB7769A-BC48-4D8B-BA84-384AD88B960E}"/>
                  </a:ext>
                </a:extLst>
              </p:cNvPr>
              <p:cNvSpPr/>
              <p:nvPr/>
            </p:nvSpPr>
            <p:spPr bwMode="gray">
              <a:xfrm flipH="1" flipV="1">
                <a:off x="-3475322" y="-510357"/>
                <a:ext cx="4005250" cy="5285287"/>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206180 w 4212730"/>
                  <a:gd name="connsiteY9" fmla="*/ 2392022 h 5285288"/>
                  <a:gd name="connsiteX10" fmla="*/ 407391 w 4212730"/>
                  <a:gd name="connsiteY10" fmla="*/ 2508175 h 5285288"/>
                  <a:gd name="connsiteX11" fmla="*/ 406100 w 4212730"/>
                  <a:gd name="connsiteY11" fmla="*/ 2572658 h 5285288"/>
                  <a:gd name="connsiteX12" fmla="*/ 409165 w 4212730"/>
                  <a:gd name="connsiteY12" fmla="*/ 3888049 h 5285288"/>
                  <a:gd name="connsiteX13" fmla="*/ 407598 w 4212730"/>
                  <a:gd name="connsiteY13" fmla="*/ 3881457 h 5285288"/>
                  <a:gd name="connsiteX14" fmla="*/ 407517 w 4212730"/>
                  <a:gd name="connsiteY14" fmla="*/ 3894265 h 5285288"/>
                  <a:gd name="connsiteX15" fmla="*/ 464772 w 4212730"/>
                  <a:gd name="connsiteY15" fmla="*/ 3993435 h 5285288"/>
                  <a:gd name="connsiteX16" fmla="*/ 1965744 w 4212730"/>
                  <a:gd name="connsiteY16" fmla="*/ 4865353 h 5285288"/>
                  <a:gd name="connsiteX17" fmla="*/ 1966088 w 4212730"/>
                  <a:gd name="connsiteY17" fmla="*/ 4865745 h 5285288"/>
                  <a:gd name="connsiteX18" fmla="*/ 1988129 w 4212730"/>
                  <a:gd name="connsiteY18" fmla="*/ 4859558 h 5285288"/>
                  <a:gd name="connsiteX19" fmla="*/ 2034209 w 4212730"/>
                  <a:gd name="connsiteY19" fmla="*/ 4799004 h 5285288"/>
                  <a:gd name="connsiteX20" fmla="*/ 2036053 w 4212730"/>
                  <a:gd name="connsiteY20" fmla="*/ 4105978 h 5285288"/>
                  <a:gd name="connsiteX21" fmla="*/ 2038324 w 4212730"/>
                  <a:gd name="connsiteY21" fmla="*/ 1054770 h 5285288"/>
                  <a:gd name="connsiteX22" fmla="*/ 2037139 w 4212730"/>
                  <a:gd name="connsiteY22" fmla="*/ 1017192 h 5285288"/>
                  <a:gd name="connsiteX23" fmla="*/ 2035104 w 4212730"/>
                  <a:gd name="connsiteY23" fmla="*/ 494424 h 5285288"/>
                  <a:gd name="connsiteX24" fmla="*/ 2080595 w 4212730"/>
                  <a:gd name="connsiteY24" fmla="*/ 171698 h 5285288"/>
                  <a:gd name="connsiteX25" fmla="*/ 2245202 w 4212730"/>
                  <a:gd name="connsiteY25" fmla="*/ 25112 h 5285288"/>
                  <a:gd name="connsiteX26" fmla="*/ 2444848 w 4212730"/>
                  <a:gd name="connsiteY26" fmla="*/ 3326 h 5285288"/>
                  <a:gd name="connsiteX27" fmla="*/ 2620552 w 4212730"/>
                  <a:gd name="connsiteY27" fmla="*/ 37548 h 5285288"/>
                  <a:gd name="connsiteX28" fmla="*/ 4171705 w 4212730"/>
                  <a:gd name="connsiteY28" fmla="*/ 924343 h 5285288"/>
                  <a:gd name="connsiteX29" fmla="*/ 4172662 w 4212730"/>
                  <a:gd name="connsiteY29" fmla="*/ 1149844 h 5285288"/>
                  <a:gd name="connsiteX30" fmla="*/ 3998697 w 4212730"/>
                  <a:gd name="connsiteY30" fmla="*/ 1269783 h 5285288"/>
                  <a:gd name="connsiteX31" fmla="*/ 3978850 w 4212730"/>
                  <a:gd name="connsiteY31" fmla="*/ 1262485 h 5285288"/>
                  <a:gd name="connsiteX32" fmla="*/ 2513375 w 4212730"/>
                  <a:gd name="connsiteY32" fmla="*/ 431577 h 5285288"/>
                  <a:gd name="connsiteX33" fmla="*/ 2513032 w 4212730"/>
                  <a:gd name="connsiteY33" fmla="*/ 431184 h 5285288"/>
                  <a:gd name="connsiteX34" fmla="*/ 2490877 w 4212730"/>
                  <a:gd name="connsiteY34" fmla="*/ 437405 h 5285288"/>
                  <a:gd name="connsiteX35" fmla="*/ 2448227 w 4212730"/>
                  <a:gd name="connsiteY35" fmla="*/ 539231 h 5285288"/>
                  <a:gd name="connsiteX36" fmla="*/ 2448222 w 4212730"/>
                  <a:gd name="connsiteY36" fmla="*/ 1065628 h 5285288"/>
                  <a:gd name="connsiteX37" fmla="*/ 2445445 w 4212730"/>
                  <a:gd name="connsiteY37" fmla="*/ 1081825 h 5285288"/>
                  <a:gd name="connsiteX38" fmla="*/ 2442619 w 4212730"/>
                  <a:gd name="connsiteY38" fmla="*/ 1858316 h 5285288"/>
                  <a:gd name="connsiteX39" fmla="*/ 2444476 w 4212730"/>
                  <a:gd name="connsiteY39" fmla="*/ 1861834 h 5285288"/>
                  <a:gd name="connsiteX40" fmla="*/ 2443809 w 4212730"/>
                  <a:gd name="connsiteY40" fmla="*/ 3038034 h 5285288"/>
                  <a:gd name="connsiteX41" fmla="*/ 2441669 w 4212730"/>
                  <a:gd name="connsiteY41" fmla="*/ 4802821 h 5285288"/>
                  <a:gd name="connsiteX42" fmla="*/ 2374871 w 4212730"/>
                  <a:gd name="connsiteY42" fmla="*/ 5061801 h 5285288"/>
                  <a:gd name="connsiteX43" fmla="*/ 2230903 w 4212730"/>
                  <a:gd name="connsiteY43" fmla="*/ 5216241 h 5285288"/>
                  <a:gd name="connsiteX44" fmla="*/ 2020267 w 4212730"/>
                  <a:gd name="connsiteY44" fmla="*/ 5284752 h 5285288"/>
                  <a:gd name="connsiteX45" fmla="*/ 1970713 w 4212730"/>
                  <a:gd name="connsiteY45"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206180 w 4212730"/>
                  <a:gd name="connsiteY8" fmla="*/ 2392022 h 5285288"/>
                  <a:gd name="connsiteX9" fmla="*/ 407391 w 4212730"/>
                  <a:gd name="connsiteY9" fmla="*/ 2508175 h 5285288"/>
                  <a:gd name="connsiteX10" fmla="*/ 406100 w 4212730"/>
                  <a:gd name="connsiteY10" fmla="*/ 2572658 h 5285288"/>
                  <a:gd name="connsiteX11" fmla="*/ 409165 w 4212730"/>
                  <a:gd name="connsiteY11" fmla="*/ 3888049 h 5285288"/>
                  <a:gd name="connsiteX12" fmla="*/ 407598 w 4212730"/>
                  <a:gd name="connsiteY12" fmla="*/ 3881457 h 5285288"/>
                  <a:gd name="connsiteX13" fmla="*/ 407517 w 4212730"/>
                  <a:gd name="connsiteY13" fmla="*/ 3894265 h 5285288"/>
                  <a:gd name="connsiteX14" fmla="*/ 464772 w 4212730"/>
                  <a:gd name="connsiteY14" fmla="*/ 3993435 h 5285288"/>
                  <a:gd name="connsiteX15" fmla="*/ 1965744 w 4212730"/>
                  <a:gd name="connsiteY15" fmla="*/ 4865353 h 5285288"/>
                  <a:gd name="connsiteX16" fmla="*/ 1966088 w 4212730"/>
                  <a:gd name="connsiteY16" fmla="*/ 4865745 h 5285288"/>
                  <a:gd name="connsiteX17" fmla="*/ 1988129 w 4212730"/>
                  <a:gd name="connsiteY17" fmla="*/ 4859558 h 5285288"/>
                  <a:gd name="connsiteX18" fmla="*/ 2034209 w 4212730"/>
                  <a:gd name="connsiteY18" fmla="*/ 4799004 h 5285288"/>
                  <a:gd name="connsiteX19" fmla="*/ 2036053 w 4212730"/>
                  <a:gd name="connsiteY19" fmla="*/ 4105978 h 5285288"/>
                  <a:gd name="connsiteX20" fmla="*/ 2038324 w 4212730"/>
                  <a:gd name="connsiteY20" fmla="*/ 1054770 h 5285288"/>
                  <a:gd name="connsiteX21" fmla="*/ 2037139 w 4212730"/>
                  <a:gd name="connsiteY21" fmla="*/ 1017192 h 5285288"/>
                  <a:gd name="connsiteX22" fmla="*/ 2035104 w 4212730"/>
                  <a:gd name="connsiteY22" fmla="*/ 494424 h 5285288"/>
                  <a:gd name="connsiteX23" fmla="*/ 2080595 w 4212730"/>
                  <a:gd name="connsiteY23" fmla="*/ 171698 h 5285288"/>
                  <a:gd name="connsiteX24" fmla="*/ 2245202 w 4212730"/>
                  <a:gd name="connsiteY24" fmla="*/ 25112 h 5285288"/>
                  <a:gd name="connsiteX25" fmla="*/ 2444848 w 4212730"/>
                  <a:gd name="connsiteY25" fmla="*/ 3326 h 5285288"/>
                  <a:gd name="connsiteX26" fmla="*/ 2620552 w 4212730"/>
                  <a:gd name="connsiteY26" fmla="*/ 37548 h 5285288"/>
                  <a:gd name="connsiteX27" fmla="*/ 4171705 w 4212730"/>
                  <a:gd name="connsiteY27" fmla="*/ 924343 h 5285288"/>
                  <a:gd name="connsiteX28" fmla="*/ 4172662 w 4212730"/>
                  <a:gd name="connsiteY28" fmla="*/ 1149844 h 5285288"/>
                  <a:gd name="connsiteX29" fmla="*/ 3998697 w 4212730"/>
                  <a:gd name="connsiteY29" fmla="*/ 1269783 h 5285288"/>
                  <a:gd name="connsiteX30" fmla="*/ 3978850 w 4212730"/>
                  <a:gd name="connsiteY30" fmla="*/ 1262485 h 5285288"/>
                  <a:gd name="connsiteX31" fmla="*/ 2513375 w 4212730"/>
                  <a:gd name="connsiteY31" fmla="*/ 431577 h 5285288"/>
                  <a:gd name="connsiteX32" fmla="*/ 2513032 w 4212730"/>
                  <a:gd name="connsiteY32" fmla="*/ 431184 h 5285288"/>
                  <a:gd name="connsiteX33" fmla="*/ 2490877 w 4212730"/>
                  <a:gd name="connsiteY33" fmla="*/ 437405 h 5285288"/>
                  <a:gd name="connsiteX34" fmla="*/ 2448227 w 4212730"/>
                  <a:gd name="connsiteY34" fmla="*/ 539231 h 5285288"/>
                  <a:gd name="connsiteX35" fmla="*/ 2448222 w 4212730"/>
                  <a:gd name="connsiteY35" fmla="*/ 1065628 h 5285288"/>
                  <a:gd name="connsiteX36" fmla="*/ 2445445 w 4212730"/>
                  <a:gd name="connsiteY36" fmla="*/ 1081825 h 5285288"/>
                  <a:gd name="connsiteX37" fmla="*/ 2442619 w 4212730"/>
                  <a:gd name="connsiteY37" fmla="*/ 1858316 h 5285288"/>
                  <a:gd name="connsiteX38" fmla="*/ 2444476 w 4212730"/>
                  <a:gd name="connsiteY38" fmla="*/ 1861834 h 5285288"/>
                  <a:gd name="connsiteX39" fmla="*/ 2443809 w 4212730"/>
                  <a:gd name="connsiteY39" fmla="*/ 3038034 h 5285288"/>
                  <a:gd name="connsiteX40" fmla="*/ 2441669 w 4212730"/>
                  <a:gd name="connsiteY40" fmla="*/ 4802821 h 5285288"/>
                  <a:gd name="connsiteX41" fmla="*/ 2374871 w 4212730"/>
                  <a:gd name="connsiteY41" fmla="*/ 5061801 h 5285288"/>
                  <a:gd name="connsiteX42" fmla="*/ 2230903 w 4212730"/>
                  <a:gd name="connsiteY42" fmla="*/ 5216241 h 5285288"/>
                  <a:gd name="connsiteX43" fmla="*/ 2020267 w 4212730"/>
                  <a:gd name="connsiteY43" fmla="*/ 5284752 h 5285288"/>
                  <a:gd name="connsiteX44" fmla="*/ 1970713 w 4212730"/>
                  <a:gd name="connsiteY44"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7391 w 4212730"/>
                  <a:gd name="connsiteY8" fmla="*/ 2508175 h 5285288"/>
                  <a:gd name="connsiteX9" fmla="*/ 406100 w 4212730"/>
                  <a:gd name="connsiteY9" fmla="*/ 2572658 h 5285288"/>
                  <a:gd name="connsiteX10" fmla="*/ 409165 w 4212730"/>
                  <a:gd name="connsiteY10" fmla="*/ 3888049 h 5285288"/>
                  <a:gd name="connsiteX11" fmla="*/ 407598 w 4212730"/>
                  <a:gd name="connsiteY11" fmla="*/ 3881457 h 5285288"/>
                  <a:gd name="connsiteX12" fmla="*/ 407517 w 4212730"/>
                  <a:gd name="connsiteY12" fmla="*/ 3894265 h 5285288"/>
                  <a:gd name="connsiteX13" fmla="*/ 464772 w 4212730"/>
                  <a:gd name="connsiteY13" fmla="*/ 3993435 h 5285288"/>
                  <a:gd name="connsiteX14" fmla="*/ 1965744 w 4212730"/>
                  <a:gd name="connsiteY14" fmla="*/ 4865353 h 5285288"/>
                  <a:gd name="connsiteX15" fmla="*/ 1966088 w 4212730"/>
                  <a:gd name="connsiteY15" fmla="*/ 4865745 h 5285288"/>
                  <a:gd name="connsiteX16" fmla="*/ 1988129 w 4212730"/>
                  <a:gd name="connsiteY16" fmla="*/ 4859558 h 5285288"/>
                  <a:gd name="connsiteX17" fmla="*/ 2034209 w 4212730"/>
                  <a:gd name="connsiteY17" fmla="*/ 4799004 h 5285288"/>
                  <a:gd name="connsiteX18" fmla="*/ 2036053 w 4212730"/>
                  <a:gd name="connsiteY18" fmla="*/ 4105978 h 5285288"/>
                  <a:gd name="connsiteX19" fmla="*/ 2038324 w 4212730"/>
                  <a:gd name="connsiteY19" fmla="*/ 1054770 h 5285288"/>
                  <a:gd name="connsiteX20" fmla="*/ 2037139 w 4212730"/>
                  <a:gd name="connsiteY20" fmla="*/ 1017192 h 5285288"/>
                  <a:gd name="connsiteX21" fmla="*/ 2035104 w 4212730"/>
                  <a:gd name="connsiteY21" fmla="*/ 494424 h 5285288"/>
                  <a:gd name="connsiteX22" fmla="*/ 2080595 w 4212730"/>
                  <a:gd name="connsiteY22" fmla="*/ 171698 h 5285288"/>
                  <a:gd name="connsiteX23" fmla="*/ 2245202 w 4212730"/>
                  <a:gd name="connsiteY23" fmla="*/ 25112 h 5285288"/>
                  <a:gd name="connsiteX24" fmla="*/ 2444848 w 4212730"/>
                  <a:gd name="connsiteY24" fmla="*/ 3326 h 5285288"/>
                  <a:gd name="connsiteX25" fmla="*/ 2620552 w 4212730"/>
                  <a:gd name="connsiteY25" fmla="*/ 37548 h 5285288"/>
                  <a:gd name="connsiteX26" fmla="*/ 4171705 w 4212730"/>
                  <a:gd name="connsiteY26" fmla="*/ 924343 h 5285288"/>
                  <a:gd name="connsiteX27" fmla="*/ 4172662 w 4212730"/>
                  <a:gd name="connsiteY27" fmla="*/ 1149844 h 5285288"/>
                  <a:gd name="connsiteX28" fmla="*/ 3998697 w 4212730"/>
                  <a:gd name="connsiteY28" fmla="*/ 1269783 h 5285288"/>
                  <a:gd name="connsiteX29" fmla="*/ 3978850 w 4212730"/>
                  <a:gd name="connsiteY29" fmla="*/ 1262485 h 5285288"/>
                  <a:gd name="connsiteX30" fmla="*/ 2513375 w 4212730"/>
                  <a:gd name="connsiteY30" fmla="*/ 431577 h 5285288"/>
                  <a:gd name="connsiteX31" fmla="*/ 2513032 w 4212730"/>
                  <a:gd name="connsiteY31" fmla="*/ 431184 h 5285288"/>
                  <a:gd name="connsiteX32" fmla="*/ 2490877 w 4212730"/>
                  <a:gd name="connsiteY32" fmla="*/ 437405 h 5285288"/>
                  <a:gd name="connsiteX33" fmla="*/ 2448227 w 4212730"/>
                  <a:gd name="connsiteY33" fmla="*/ 539231 h 5285288"/>
                  <a:gd name="connsiteX34" fmla="*/ 2448222 w 4212730"/>
                  <a:gd name="connsiteY34" fmla="*/ 1065628 h 5285288"/>
                  <a:gd name="connsiteX35" fmla="*/ 2445445 w 4212730"/>
                  <a:gd name="connsiteY35" fmla="*/ 1081825 h 5285288"/>
                  <a:gd name="connsiteX36" fmla="*/ 2442619 w 4212730"/>
                  <a:gd name="connsiteY36" fmla="*/ 1858316 h 5285288"/>
                  <a:gd name="connsiteX37" fmla="*/ 2444476 w 4212730"/>
                  <a:gd name="connsiteY37" fmla="*/ 1861834 h 5285288"/>
                  <a:gd name="connsiteX38" fmla="*/ 2443809 w 4212730"/>
                  <a:gd name="connsiteY38" fmla="*/ 3038034 h 5285288"/>
                  <a:gd name="connsiteX39" fmla="*/ 2441669 w 4212730"/>
                  <a:gd name="connsiteY39" fmla="*/ 4802821 h 5285288"/>
                  <a:gd name="connsiteX40" fmla="*/ 2374871 w 4212730"/>
                  <a:gd name="connsiteY40" fmla="*/ 5061801 h 5285288"/>
                  <a:gd name="connsiteX41" fmla="*/ 2230903 w 4212730"/>
                  <a:gd name="connsiteY41" fmla="*/ 5216241 h 5285288"/>
                  <a:gd name="connsiteX42" fmla="*/ 2020267 w 4212730"/>
                  <a:gd name="connsiteY42" fmla="*/ 5284752 h 5285288"/>
                  <a:gd name="connsiteX43" fmla="*/ 1970713 w 4212730"/>
                  <a:gd name="connsiteY43"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7391 w 4212730"/>
                  <a:gd name="connsiteY8" fmla="*/ 2508175 h 5285288"/>
                  <a:gd name="connsiteX9" fmla="*/ 409165 w 4212730"/>
                  <a:gd name="connsiteY9" fmla="*/ 3888049 h 5285288"/>
                  <a:gd name="connsiteX10" fmla="*/ 407598 w 4212730"/>
                  <a:gd name="connsiteY10" fmla="*/ 3881457 h 5285288"/>
                  <a:gd name="connsiteX11" fmla="*/ 407517 w 4212730"/>
                  <a:gd name="connsiteY11" fmla="*/ 3894265 h 5285288"/>
                  <a:gd name="connsiteX12" fmla="*/ 464772 w 4212730"/>
                  <a:gd name="connsiteY12" fmla="*/ 3993435 h 5285288"/>
                  <a:gd name="connsiteX13" fmla="*/ 1965744 w 4212730"/>
                  <a:gd name="connsiteY13" fmla="*/ 4865353 h 5285288"/>
                  <a:gd name="connsiteX14" fmla="*/ 1966088 w 4212730"/>
                  <a:gd name="connsiteY14" fmla="*/ 4865745 h 5285288"/>
                  <a:gd name="connsiteX15" fmla="*/ 1988129 w 4212730"/>
                  <a:gd name="connsiteY15" fmla="*/ 4859558 h 5285288"/>
                  <a:gd name="connsiteX16" fmla="*/ 2034209 w 4212730"/>
                  <a:gd name="connsiteY16" fmla="*/ 4799004 h 5285288"/>
                  <a:gd name="connsiteX17" fmla="*/ 2036053 w 4212730"/>
                  <a:gd name="connsiteY17" fmla="*/ 4105978 h 5285288"/>
                  <a:gd name="connsiteX18" fmla="*/ 2038324 w 4212730"/>
                  <a:gd name="connsiteY18" fmla="*/ 1054770 h 5285288"/>
                  <a:gd name="connsiteX19" fmla="*/ 2037139 w 4212730"/>
                  <a:gd name="connsiteY19" fmla="*/ 1017192 h 5285288"/>
                  <a:gd name="connsiteX20" fmla="*/ 2035104 w 4212730"/>
                  <a:gd name="connsiteY20" fmla="*/ 494424 h 5285288"/>
                  <a:gd name="connsiteX21" fmla="*/ 2080595 w 4212730"/>
                  <a:gd name="connsiteY21" fmla="*/ 171698 h 5285288"/>
                  <a:gd name="connsiteX22" fmla="*/ 2245202 w 4212730"/>
                  <a:gd name="connsiteY22" fmla="*/ 25112 h 5285288"/>
                  <a:gd name="connsiteX23" fmla="*/ 2444848 w 4212730"/>
                  <a:gd name="connsiteY23" fmla="*/ 3326 h 5285288"/>
                  <a:gd name="connsiteX24" fmla="*/ 2620552 w 4212730"/>
                  <a:gd name="connsiteY24" fmla="*/ 37548 h 5285288"/>
                  <a:gd name="connsiteX25" fmla="*/ 4171705 w 4212730"/>
                  <a:gd name="connsiteY25" fmla="*/ 924343 h 5285288"/>
                  <a:gd name="connsiteX26" fmla="*/ 4172662 w 4212730"/>
                  <a:gd name="connsiteY26" fmla="*/ 1149844 h 5285288"/>
                  <a:gd name="connsiteX27" fmla="*/ 3998697 w 4212730"/>
                  <a:gd name="connsiteY27" fmla="*/ 1269783 h 5285288"/>
                  <a:gd name="connsiteX28" fmla="*/ 3978850 w 4212730"/>
                  <a:gd name="connsiteY28" fmla="*/ 1262485 h 5285288"/>
                  <a:gd name="connsiteX29" fmla="*/ 2513375 w 4212730"/>
                  <a:gd name="connsiteY29" fmla="*/ 431577 h 5285288"/>
                  <a:gd name="connsiteX30" fmla="*/ 2513032 w 4212730"/>
                  <a:gd name="connsiteY30" fmla="*/ 431184 h 5285288"/>
                  <a:gd name="connsiteX31" fmla="*/ 2490877 w 4212730"/>
                  <a:gd name="connsiteY31" fmla="*/ 437405 h 5285288"/>
                  <a:gd name="connsiteX32" fmla="*/ 2448227 w 4212730"/>
                  <a:gd name="connsiteY32" fmla="*/ 539231 h 5285288"/>
                  <a:gd name="connsiteX33" fmla="*/ 2448222 w 4212730"/>
                  <a:gd name="connsiteY33" fmla="*/ 1065628 h 5285288"/>
                  <a:gd name="connsiteX34" fmla="*/ 2445445 w 4212730"/>
                  <a:gd name="connsiteY34" fmla="*/ 1081825 h 5285288"/>
                  <a:gd name="connsiteX35" fmla="*/ 2442619 w 4212730"/>
                  <a:gd name="connsiteY35" fmla="*/ 1858316 h 5285288"/>
                  <a:gd name="connsiteX36" fmla="*/ 2444476 w 4212730"/>
                  <a:gd name="connsiteY36" fmla="*/ 1861834 h 5285288"/>
                  <a:gd name="connsiteX37" fmla="*/ 2443809 w 4212730"/>
                  <a:gd name="connsiteY37" fmla="*/ 3038034 h 5285288"/>
                  <a:gd name="connsiteX38" fmla="*/ 2441669 w 4212730"/>
                  <a:gd name="connsiteY38" fmla="*/ 4802821 h 5285288"/>
                  <a:gd name="connsiteX39" fmla="*/ 2374871 w 4212730"/>
                  <a:gd name="connsiteY39" fmla="*/ 5061801 h 5285288"/>
                  <a:gd name="connsiteX40" fmla="*/ 2230903 w 4212730"/>
                  <a:gd name="connsiteY40" fmla="*/ 5216241 h 5285288"/>
                  <a:gd name="connsiteX41" fmla="*/ 2020267 w 4212730"/>
                  <a:gd name="connsiteY41" fmla="*/ 5284752 h 5285288"/>
                  <a:gd name="connsiteX42" fmla="*/ 1970713 w 4212730"/>
                  <a:gd name="connsiteY42"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9165 w 4212730"/>
                  <a:gd name="connsiteY8" fmla="*/ 3888049 h 5285288"/>
                  <a:gd name="connsiteX9" fmla="*/ 407598 w 4212730"/>
                  <a:gd name="connsiteY9" fmla="*/ 3881457 h 5285288"/>
                  <a:gd name="connsiteX10" fmla="*/ 407517 w 4212730"/>
                  <a:gd name="connsiteY10" fmla="*/ 3894265 h 5285288"/>
                  <a:gd name="connsiteX11" fmla="*/ 464772 w 4212730"/>
                  <a:gd name="connsiteY11" fmla="*/ 3993435 h 5285288"/>
                  <a:gd name="connsiteX12" fmla="*/ 1965744 w 4212730"/>
                  <a:gd name="connsiteY12" fmla="*/ 4865353 h 5285288"/>
                  <a:gd name="connsiteX13" fmla="*/ 1966088 w 4212730"/>
                  <a:gd name="connsiteY13" fmla="*/ 4865745 h 5285288"/>
                  <a:gd name="connsiteX14" fmla="*/ 1988129 w 4212730"/>
                  <a:gd name="connsiteY14" fmla="*/ 4859558 h 5285288"/>
                  <a:gd name="connsiteX15" fmla="*/ 2034209 w 4212730"/>
                  <a:gd name="connsiteY15" fmla="*/ 4799004 h 5285288"/>
                  <a:gd name="connsiteX16" fmla="*/ 2036053 w 4212730"/>
                  <a:gd name="connsiteY16" fmla="*/ 4105978 h 5285288"/>
                  <a:gd name="connsiteX17" fmla="*/ 2038324 w 4212730"/>
                  <a:gd name="connsiteY17" fmla="*/ 1054770 h 5285288"/>
                  <a:gd name="connsiteX18" fmla="*/ 2037139 w 4212730"/>
                  <a:gd name="connsiteY18" fmla="*/ 1017192 h 5285288"/>
                  <a:gd name="connsiteX19" fmla="*/ 2035104 w 4212730"/>
                  <a:gd name="connsiteY19" fmla="*/ 494424 h 5285288"/>
                  <a:gd name="connsiteX20" fmla="*/ 2080595 w 4212730"/>
                  <a:gd name="connsiteY20" fmla="*/ 171698 h 5285288"/>
                  <a:gd name="connsiteX21" fmla="*/ 2245202 w 4212730"/>
                  <a:gd name="connsiteY21" fmla="*/ 25112 h 5285288"/>
                  <a:gd name="connsiteX22" fmla="*/ 2444848 w 4212730"/>
                  <a:gd name="connsiteY22" fmla="*/ 3326 h 5285288"/>
                  <a:gd name="connsiteX23" fmla="*/ 2620552 w 4212730"/>
                  <a:gd name="connsiteY23" fmla="*/ 37548 h 5285288"/>
                  <a:gd name="connsiteX24" fmla="*/ 4171705 w 4212730"/>
                  <a:gd name="connsiteY24" fmla="*/ 924343 h 5285288"/>
                  <a:gd name="connsiteX25" fmla="*/ 4172662 w 4212730"/>
                  <a:gd name="connsiteY25" fmla="*/ 1149844 h 5285288"/>
                  <a:gd name="connsiteX26" fmla="*/ 3998697 w 4212730"/>
                  <a:gd name="connsiteY26" fmla="*/ 1269783 h 5285288"/>
                  <a:gd name="connsiteX27" fmla="*/ 3978850 w 4212730"/>
                  <a:gd name="connsiteY27" fmla="*/ 1262485 h 5285288"/>
                  <a:gd name="connsiteX28" fmla="*/ 2513375 w 4212730"/>
                  <a:gd name="connsiteY28" fmla="*/ 431577 h 5285288"/>
                  <a:gd name="connsiteX29" fmla="*/ 2513032 w 4212730"/>
                  <a:gd name="connsiteY29" fmla="*/ 431184 h 5285288"/>
                  <a:gd name="connsiteX30" fmla="*/ 2490877 w 4212730"/>
                  <a:gd name="connsiteY30" fmla="*/ 437405 h 5285288"/>
                  <a:gd name="connsiteX31" fmla="*/ 2448227 w 4212730"/>
                  <a:gd name="connsiteY31" fmla="*/ 539231 h 5285288"/>
                  <a:gd name="connsiteX32" fmla="*/ 2448222 w 4212730"/>
                  <a:gd name="connsiteY32" fmla="*/ 1065628 h 5285288"/>
                  <a:gd name="connsiteX33" fmla="*/ 2445445 w 4212730"/>
                  <a:gd name="connsiteY33" fmla="*/ 1081825 h 5285288"/>
                  <a:gd name="connsiteX34" fmla="*/ 2442619 w 4212730"/>
                  <a:gd name="connsiteY34" fmla="*/ 1858316 h 5285288"/>
                  <a:gd name="connsiteX35" fmla="*/ 2444476 w 4212730"/>
                  <a:gd name="connsiteY35" fmla="*/ 1861834 h 5285288"/>
                  <a:gd name="connsiteX36" fmla="*/ 2443809 w 4212730"/>
                  <a:gd name="connsiteY36" fmla="*/ 3038034 h 5285288"/>
                  <a:gd name="connsiteX37" fmla="*/ 2441669 w 4212730"/>
                  <a:gd name="connsiteY37" fmla="*/ 4802821 h 5285288"/>
                  <a:gd name="connsiteX38" fmla="*/ 2374871 w 4212730"/>
                  <a:gd name="connsiteY38" fmla="*/ 5061801 h 5285288"/>
                  <a:gd name="connsiteX39" fmla="*/ 2230903 w 4212730"/>
                  <a:gd name="connsiteY39" fmla="*/ 5216241 h 5285288"/>
                  <a:gd name="connsiteX40" fmla="*/ 2020267 w 4212730"/>
                  <a:gd name="connsiteY40" fmla="*/ 5284752 h 5285288"/>
                  <a:gd name="connsiteX41" fmla="*/ 1970713 w 4212730"/>
                  <a:gd name="connsiteY41" fmla="*/ 5285252 h 5285288"/>
                  <a:gd name="connsiteX0" fmla="*/ 1970594 w 4212611"/>
                  <a:gd name="connsiteY0" fmla="*/ 5285252 h 5285288"/>
                  <a:gd name="connsiteX1" fmla="*/ 1858970 w 4212611"/>
                  <a:gd name="connsiteY1" fmla="*/ 5257452 h 5285288"/>
                  <a:gd name="connsiteX2" fmla="*/ 1798969 w 4212611"/>
                  <a:gd name="connsiteY2" fmla="*/ 5227600 h 5285288"/>
                  <a:gd name="connsiteX3" fmla="*/ 257622 w 4212611"/>
                  <a:gd name="connsiteY3" fmla="*/ 4344402 h 5285288"/>
                  <a:gd name="connsiteX4" fmla="*/ 66736 w 4212611"/>
                  <a:gd name="connsiteY4" fmla="*/ 4157062 h 5285288"/>
                  <a:gd name="connsiteX5" fmla="*/ 4966 w 4212611"/>
                  <a:gd name="connsiteY5" fmla="*/ 3955159 h 5285288"/>
                  <a:gd name="connsiteX6" fmla="*/ -2 w 4212611"/>
                  <a:gd name="connsiteY6" fmla="*/ 3898769 h 5285288"/>
                  <a:gd name="connsiteX7" fmla="*/ 409046 w 4212611"/>
                  <a:gd name="connsiteY7" fmla="*/ 3888049 h 5285288"/>
                  <a:gd name="connsiteX8" fmla="*/ 407479 w 4212611"/>
                  <a:gd name="connsiteY8" fmla="*/ 3881457 h 5285288"/>
                  <a:gd name="connsiteX9" fmla="*/ 407398 w 4212611"/>
                  <a:gd name="connsiteY9" fmla="*/ 3894265 h 5285288"/>
                  <a:gd name="connsiteX10" fmla="*/ 464653 w 4212611"/>
                  <a:gd name="connsiteY10" fmla="*/ 3993435 h 5285288"/>
                  <a:gd name="connsiteX11" fmla="*/ 1965625 w 4212611"/>
                  <a:gd name="connsiteY11" fmla="*/ 4865353 h 5285288"/>
                  <a:gd name="connsiteX12" fmla="*/ 1965969 w 4212611"/>
                  <a:gd name="connsiteY12" fmla="*/ 4865745 h 5285288"/>
                  <a:gd name="connsiteX13" fmla="*/ 1988010 w 4212611"/>
                  <a:gd name="connsiteY13" fmla="*/ 4859558 h 5285288"/>
                  <a:gd name="connsiteX14" fmla="*/ 2034090 w 4212611"/>
                  <a:gd name="connsiteY14" fmla="*/ 4799004 h 5285288"/>
                  <a:gd name="connsiteX15" fmla="*/ 2035934 w 4212611"/>
                  <a:gd name="connsiteY15" fmla="*/ 4105978 h 5285288"/>
                  <a:gd name="connsiteX16" fmla="*/ 2038205 w 4212611"/>
                  <a:gd name="connsiteY16" fmla="*/ 1054770 h 5285288"/>
                  <a:gd name="connsiteX17" fmla="*/ 2037020 w 4212611"/>
                  <a:gd name="connsiteY17" fmla="*/ 1017192 h 5285288"/>
                  <a:gd name="connsiteX18" fmla="*/ 2034985 w 4212611"/>
                  <a:gd name="connsiteY18" fmla="*/ 494424 h 5285288"/>
                  <a:gd name="connsiteX19" fmla="*/ 2080476 w 4212611"/>
                  <a:gd name="connsiteY19" fmla="*/ 171698 h 5285288"/>
                  <a:gd name="connsiteX20" fmla="*/ 2245083 w 4212611"/>
                  <a:gd name="connsiteY20" fmla="*/ 25112 h 5285288"/>
                  <a:gd name="connsiteX21" fmla="*/ 2444729 w 4212611"/>
                  <a:gd name="connsiteY21" fmla="*/ 3326 h 5285288"/>
                  <a:gd name="connsiteX22" fmla="*/ 2620433 w 4212611"/>
                  <a:gd name="connsiteY22" fmla="*/ 37548 h 5285288"/>
                  <a:gd name="connsiteX23" fmla="*/ 4171586 w 4212611"/>
                  <a:gd name="connsiteY23" fmla="*/ 924343 h 5285288"/>
                  <a:gd name="connsiteX24" fmla="*/ 4172543 w 4212611"/>
                  <a:gd name="connsiteY24" fmla="*/ 1149844 h 5285288"/>
                  <a:gd name="connsiteX25" fmla="*/ 3998578 w 4212611"/>
                  <a:gd name="connsiteY25" fmla="*/ 1269783 h 5285288"/>
                  <a:gd name="connsiteX26" fmla="*/ 3978731 w 4212611"/>
                  <a:gd name="connsiteY26" fmla="*/ 1262485 h 5285288"/>
                  <a:gd name="connsiteX27" fmla="*/ 2513256 w 4212611"/>
                  <a:gd name="connsiteY27" fmla="*/ 431577 h 5285288"/>
                  <a:gd name="connsiteX28" fmla="*/ 2512913 w 4212611"/>
                  <a:gd name="connsiteY28" fmla="*/ 431184 h 5285288"/>
                  <a:gd name="connsiteX29" fmla="*/ 2490758 w 4212611"/>
                  <a:gd name="connsiteY29" fmla="*/ 437405 h 5285288"/>
                  <a:gd name="connsiteX30" fmla="*/ 2448108 w 4212611"/>
                  <a:gd name="connsiteY30" fmla="*/ 539231 h 5285288"/>
                  <a:gd name="connsiteX31" fmla="*/ 2448103 w 4212611"/>
                  <a:gd name="connsiteY31" fmla="*/ 1065628 h 5285288"/>
                  <a:gd name="connsiteX32" fmla="*/ 2445326 w 4212611"/>
                  <a:gd name="connsiteY32" fmla="*/ 1081825 h 5285288"/>
                  <a:gd name="connsiteX33" fmla="*/ 2442500 w 4212611"/>
                  <a:gd name="connsiteY33" fmla="*/ 1858316 h 5285288"/>
                  <a:gd name="connsiteX34" fmla="*/ 2444357 w 4212611"/>
                  <a:gd name="connsiteY34" fmla="*/ 1861834 h 5285288"/>
                  <a:gd name="connsiteX35" fmla="*/ 2443690 w 4212611"/>
                  <a:gd name="connsiteY35" fmla="*/ 3038034 h 5285288"/>
                  <a:gd name="connsiteX36" fmla="*/ 2441550 w 4212611"/>
                  <a:gd name="connsiteY36" fmla="*/ 4802821 h 5285288"/>
                  <a:gd name="connsiteX37" fmla="*/ 2374752 w 4212611"/>
                  <a:gd name="connsiteY37" fmla="*/ 5061801 h 5285288"/>
                  <a:gd name="connsiteX38" fmla="*/ 2230784 w 4212611"/>
                  <a:gd name="connsiteY38" fmla="*/ 5216241 h 5285288"/>
                  <a:gd name="connsiteX39" fmla="*/ 2020148 w 4212611"/>
                  <a:gd name="connsiteY39" fmla="*/ 5284752 h 5285288"/>
                  <a:gd name="connsiteX40" fmla="*/ 1970594 w 4212611"/>
                  <a:gd name="connsiteY40" fmla="*/ 5285252 h 5285288"/>
                  <a:gd name="connsiteX0" fmla="*/ 1965630 w 4207647"/>
                  <a:gd name="connsiteY0" fmla="*/ 5285252 h 5285288"/>
                  <a:gd name="connsiteX1" fmla="*/ 1854006 w 4207647"/>
                  <a:gd name="connsiteY1" fmla="*/ 5257452 h 5285288"/>
                  <a:gd name="connsiteX2" fmla="*/ 1794005 w 4207647"/>
                  <a:gd name="connsiteY2" fmla="*/ 5227600 h 5285288"/>
                  <a:gd name="connsiteX3" fmla="*/ 252658 w 4207647"/>
                  <a:gd name="connsiteY3" fmla="*/ 4344402 h 5285288"/>
                  <a:gd name="connsiteX4" fmla="*/ 61772 w 4207647"/>
                  <a:gd name="connsiteY4" fmla="*/ 4157062 h 5285288"/>
                  <a:gd name="connsiteX5" fmla="*/ 2 w 4207647"/>
                  <a:gd name="connsiteY5" fmla="*/ 3955159 h 5285288"/>
                  <a:gd name="connsiteX6" fmla="*/ 404082 w 4207647"/>
                  <a:gd name="connsiteY6" fmla="*/ 3888049 h 5285288"/>
                  <a:gd name="connsiteX7" fmla="*/ 402515 w 4207647"/>
                  <a:gd name="connsiteY7" fmla="*/ 3881457 h 5285288"/>
                  <a:gd name="connsiteX8" fmla="*/ 402434 w 4207647"/>
                  <a:gd name="connsiteY8" fmla="*/ 3894265 h 5285288"/>
                  <a:gd name="connsiteX9" fmla="*/ 459689 w 4207647"/>
                  <a:gd name="connsiteY9" fmla="*/ 3993435 h 5285288"/>
                  <a:gd name="connsiteX10" fmla="*/ 1960661 w 4207647"/>
                  <a:gd name="connsiteY10" fmla="*/ 4865353 h 5285288"/>
                  <a:gd name="connsiteX11" fmla="*/ 1961005 w 4207647"/>
                  <a:gd name="connsiteY11" fmla="*/ 4865745 h 5285288"/>
                  <a:gd name="connsiteX12" fmla="*/ 1983046 w 4207647"/>
                  <a:gd name="connsiteY12" fmla="*/ 4859558 h 5285288"/>
                  <a:gd name="connsiteX13" fmla="*/ 2029126 w 4207647"/>
                  <a:gd name="connsiteY13" fmla="*/ 4799004 h 5285288"/>
                  <a:gd name="connsiteX14" fmla="*/ 2030970 w 4207647"/>
                  <a:gd name="connsiteY14" fmla="*/ 4105978 h 5285288"/>
                  <a:gd name="connsiteX15" fmla="*/ 2033241 w 4207647"/>
                  <a:gd name="connsiteY15" fmla="*/ 1054770 h 5285288"/>
                  <a:gd name="connsiteX16" fmla="*/ 2032056 w 4207647"/>
                  <a:gd name="connsiteY16" fmla="*/ 1017192 h 5285288"/>
                  <a:gd name="connsiteX17" fmla="*/ 2030021 w 4207647"/>
                  <a:gd name="connsiteY17" fmla="*/ 494424 h 5285288"/>
                  <a:gd name="connsiteX18" fmla="*/ 2075512 w 4207647"/>
                  <a:gd name="connsiteY18" fmla="*/ 171698 h 5285288"/>
                  <a:gd name="connsiteX19" fmla="*/ 2240119 w 4207647"/>
                  <a:gd name="connsiteY19" fmla="*/ 25112 h 5285288"/>
                  <a:gd name="connsiteX20" fmla="*/ 2439765 w 4207647"/>
                  <a:gd name="connsiteY20" fmla="*/ 3326 h 5285288"/>
                  <a:gd name="connsiteX21" fmla="*/ 2615469 w 4207647"/>
                  <a:gd name="connsiteY21" fmla="*/ 37548 h 5285288"/>
                  <a:gd name="connsiteX22" fmla="*/ 4166622 w 4207647"/>
                  <a:gd name="connsiteY22" fmla="*/ 924343 h 5285288"/>
                  <a:gd name="connsiteX23" fmla="*/ 4167579 w 4207647"/>
                  <a:gd name="connsiteY23" fmla="*/ 1149844 h 5285288"/>
                  <a:gd name="connsiteX24" fmla="*/ 3993614 w 4207647"/>
                  <a:gd name="connsiteY24" fmla="*/ 1269783 h 5285288"/>
                  <a:gd name="connsiteX25" fmla="*/ 3973767 w 4207647"/>
                  <a:gd name="connsiteY25" fmla="*/ 1262485 h 5285288"/>
                  <a:gd name="connsiteX26" fmla="*/ 2508292 w 4207647"/>
                  <a:gd name="connsiteY26" fmla="*/ 431577 h 5285288"/>
                  <a:gd name="connsiteX27" fmla="*/ 2507949 w 4207647"/>
                  <a:gd name="connsiteY27" fmla="*/ 431184 h 5285288"/>
                  <a:gd name="connsiteX28" fmla="*/ 2485794 w 4207647"/>
                  <a:gd name="connsiteY28" fmla="*/ 437405 h 5285288"/>
                  <a:gd name="connsiteX29" fmla="*/ 2443144 w 4207647"/>
                  <a:gd name="connsiteY29" fmla="*/ 539231 h 5285288"/>
                  <a:gd name="connsiteX30" fmla="*/ 2443139 w 4207647"/>
                  <a:gd name="connsiteY30" fmla="*/ 1065628 h 5285288"/>
                  <a:gd name="connsiteX31" fmla="*/ 2440362 w 4207647"/>
                  <a:gd name="connsiteY31" fmla="*/ 1081825 h 5285288"/>
                  <a:gd name="connsiteX32" fmla="*/ 2437536 w 4207647"/>
                  <a:gd name="connsiteY32" fmla="*/ 1858316 h 5285288"/>
                  <a:gd name="connsiteX33" fmla="*/ 2439393 w 4207647"/>
                  <a:gd name="connsiteY33" fmla="*/ 1861834 h 5285288"/>
                  <a:gd name="connsiteX34" fmla="*/ 2438726 w 4207647"/>
                  <a:gd name="connsiteY34" fmla="*/ 3038034 h 5285288"/>
                  <a:gd name="connsiteX35" fmla="*/ 2436586 w 4207647"/>
                  <a:gd name="connsiteY35" fmla="*/ 4802821 h 5285288"/>
                  <a:gd name="connsiteX36" fmla="*/ 2369788 w 4207647"/>
                  <a:gd name="connsiteY36" fmla="*/ 5061801 h 5285288"/>
                  <a:gd name="connsiteX37" fmla="*/ 2225820 w 4207647"/>
                  <a:gd name="connsiteY37" fmla="*/ 5216241 h 5285288"/>
                  <a:gd name="connsiteX38" fmla="*/ 2015184 w 4207647"/>
                  <a:gd name="connsiteY38" fmla="*/ 5284752 h 5285288"/>
                  <a:gd name="connsiteX39" fmla="*/ 1965630 w 4207647"/>
                  <a:gd name="connsiteY39" fmla="*/ 5285252 h 5285288"/>
                  <a:gd name="connsiteX0" fmla="*/ 1906706 w 4148723"/>
                  <a:gd name="connsiteY0" fmla="*/ 5285252 h 5285288"/>
                  <a:gd name="connsiteX1" fmla="*/ 1795082 w 4148723"/>
                  <a:gd name="connsiteY1" fmla="*/ 5257452 h 5285288"/>
                  <a:gd name="connsiteX2" fmla="*/ 1735081 w 4148723"/>
                  <a:gd name="connsiteY2" fmla="*/ 5227600 h 5285288"/>
                  <a:gd name="connsiteX3" fmla="*/ 193734 w 4148723"/>
                  <a:gd name="connsiteY3" fmla="*/ 4344402 h 5285288"/>
                  <a:gd name="connsiteX4" fmla="*/ 2848 w 4148723"/>
                  <a:gd name="connsiteY4" fmla="*/ 4157062 h 5285288"/>
                  <a:gd name="connsiteX5" fmla="*/ 345158 w 4148723"/>
                  <a:gd name="connsiteY5" fmla="*/ 3888049 h 5285288"/>
                  <a:gd name="connsiteX6" fmla="*/ 343591 w 4148723"/>
                  <a:gd name="connsiteY6" fmla="*/ 3881457 h 5285288"/>
                  <a:gd name="connsiteX7" fmla="*/ 343510 w 4148723"/>
                  <a:gd name="connsiteY7" fmla="*/ 3894265 h 5285288"/>
                  <a:gd name="connsiteX8" fmla="*/ 400765 w 4148723"/>
                  <a:gd name="connsiteY8" fmla="*/ 3993435 h 5285288"/>
                  <a:gd name="connsiteX9" fmla="*/ 1901737 w 4148723"/>
                  <a:gd name="connsiteY9" fmla="*/ 4865353 h 5285288"/>
                  <a:gd name="connsiteX10" fmla="*/ 1902081 w 4148723"/>
                  <a:gd name="connsiteY10" fmla="*/ 4865745 h 5285288"/>
                  <a:gd name="connsiteX11" fmla="*/ 1924122 w 4148723"/>
                  <a:gd name="connsiteY11" fmla="*/ 4859558 h 5285288"/>
                  <a:gd name="connsiteX12" fmla="*/ 1970202 w 4148723"/>
                  <a:gd name="connsiteY12" fmla="*/ 4799004 h 5285288"/>
                  <a:gd name="connsiteX13" fmla="*/ 1972046 w 4148723"/>
                  <a:gd name="connsiteY13" fmla="*/ 4105978 h 5285288"/>
                  <a:gd name="connsiteX14" fmla="*/ 1974317 w 4148723"/>
                  <a:gd name="connsiteY14" fmla="*/ 1054770 h 5285288"/>
                  <a:gd name="connsiteX15" fmla="*/ 1973132 w 4148723"/>
                  <a:gd name="connsiteY15" fmla="*/ 1017192 h 5285288"/>
                  <a:gd name="connsiteX16" fmla="*/ 1971097 w 4148723"/>
                  <a:gd name="connsiteY16" fmla="*/ 494424 h 5285288"/>
                  <a:gd name="connsiteX17" fmla="*/ 2016588 w 4148723"/>
                  <a:gd name="connsiteY17" fmla="*/ 171698 h 5285288"/>
                  <a:gd name="connsiteX18" fmla="*/ 2181195 w 4148723"/>
                  <a:gd name="connsiteY18" fmla="*/ 25112 h 5285288"/>
                  <a:gd name="connsiteX19" fmla="*/ 2380841 w 4148723"/>
                  <a:gd name="connsiteY19" fmla="*/ 3326 h 5285288"/>
                  <a:gd name="connsiteX20" fmla="*/ 2556545 w 4148723"/>
                  <a:gd name="connsiteY20" fmla="*/ 37548 h 5285288"/>
                  <a:gd name="connsiteX21" fmla="*/ 4107698 w 4148723"/>
                  <a:gd name="connsiteY21" fmla="*/ 924343 h 5285288"/>
                  <a:gd name="connsiteX22" fmla="*/ 4108655 w 4148723"/>
                  <a:gd name="connsiteY22" fmla="*/ 1149844 h 5285288"/>
                  <a:gd name="connsiteX23" fmla="*/ 3934690 w 4148723"/>
                  <a:gd name="connsiteY23" fmla="*/ 1269783 h 5285288"/>
                  <a:gd name="connsiteX24" fmla="*/ 3914843 w 4148723"/>
                  <a:gd name="connsiteY24" fmla="*/ 1262485 h 5285288"/>
                  <a:gd name="connsiteX25" fmla="*/ 2449368 w 4148723"/>
                  <a:gd name="connsiteY25" fmla="*/ 431577 h 5285288"/>
                  <a:gd name="connsiteX26" fmla="*/ 2449025 w 4148723"/>
                  <a:gd name="connsiteY26" fmla="*/ 431184 h 5285288"/>
                  <a:gd name="connsiteX27" fmla="*/ 2426870 w 4148723"/>
                  <a:gd name="connsiteY27" fmla="*/ 437405 h 5285288"/>
                  <a:gd name="connsiteX28" fmla="*/ 2384220 w 4148723"/>
                  <a:gd name="connsiteY28" fmla="*/ 539231 h 5285288"/>
                  <a:gd name="connsiteX29" fmla="*/ 2384215 w 4148723"/>
                  <a:gd name="connsiteY29" fmla="*/ 1065628 h 5285288"/>
                  <a:gd name="connsiteX30" fmla="*/ 2381438 w 4148723"/>
                  <a:gd name="connsiteY30" fmla="*/ 1081825 h 5285288"/>
                  <a:gd name="connsiteX31" fmla="*/ 2378612 w 4148723"/>
                  <a:gd name="connsiteY31" fmla="*/ 1858316 h 5285288"/>
                  <a:gd name="connsiteX32" fmla="*/ 2380469 w 4148723"/>
                  <a:gd name="connsiteY32" fmla="*/ 1861834 h 5285288"/>
                  <a:gd name="connsiteX33" fmla="*/ 2379802 w 4148723"/>
                  <a:gd name="connsiteY33" fmla="*/ 3038034 h 5285288"/>
                  <a:gd name="connsiteX34" fmla="*/ 2377662 w 4148723"/>
                  <a:gd name="connsiteY34" fmla="*/ 4802821 h 5285288"/>
                  <a:gd name="connsiteX35" fmla="*/ 2310864 w 4148723"/>
                  <a:gd name="connsiteY35" fmla="*/ 5061801 h 5285288"/>
                  <a:gd name="connsiteX36" fmla="*/ 2166896 w 4148723"/>
                  <a:gd name="connsiteY36" fmla="*/ 5216241 h 5285288"/>
                  <a:gd name="connsiteX37" fmla="*/ 1956260 w 4148723"/>
                  <a:gd name="connsiteY37" fmla="*/ 5284752 h 5285288"/>
                  <a:gd name="connsiteX38" fmla="*/ 1906706 w 4148723"/>
                  <a:gd name="connsiteY38" fmla="*/ 5285252 h 5285288"/>
                  <a:gd name="connsiteX0" fmla="*/ 1906706 w 4148723"/>
                  <a:gd name="connsiteY0" fmla="*/ 5285252 h 5285288"/>
                  <a:gd name="connsiteX1" fmla="*/ 1795082 w 4148723"/>
                  <a:gd name="connsiteY1" fmla="*/ 5257452 h 5285288"/>
                  <a:gd name="connsiteX2" fmla="*/ 1735081 w 4148723"/>
                  <a:gd name="connsiteY2" fmla="*/ 5227600 h 5285288"/>
                  <a:gd name="connsiteX3" fmla="*/ 193734 w 4148723"/>
                  <a:gd name="connsiteY3" fmla="*/ 4344402 h 5285288"/>
                  <a:gd name="connsiteX4" fmla="*/ 2848 w 4148723"/>
                  <a:gd name="connsiteY4" fmla="*/ 4157062 h 5285288"/>
                  <a:gd name="connsiteX5" fmla="*/ 345158 w 4148723"/>
                  <a:gd name="connsiteY5" fmla="*/ 3888049 h 5285288"/>
                  <a:gd name="connsiteX6" fmla="*/ 343591 w 4148723"/>
                  <a:gd name="connsiteY6" fmla="*/ 3881457 h 5285288"/>
                  <a:gd name="connsiteX7" fmla="*/ 400765 w 4148723"/>
                  <a:gd name="connsiteY7" fmla="*/ 3993435 h 5285288"/>
                  <a:gd name="connsiteX8" fmla="*/ 1901737 w 4148723"/>
                  <a:gd name="connsiteY8" fmla="*/ 4865353 h 5285288"/>
                  <a:gd name="connsiteX9" fmla="*/ 1902081 w 4148723"/>
                  <a:gd name="connsiteY9" fmla="*/ 4865745 h 5285288"/>
                  <a:gd name="connsiteX10" fmla="*/ 1924122 w 4148723"/>
                  <a:gd name="connsiteY10" fmla="*/ 4859558 h 5285288"/>
                  <a:gd name="connsiteX11" fmla="*/ 1970202 w 4148723"/>
                  <a:gd name="connsiteY11" fmla="*/ 4799004 h 5285288"/>
                  <a:gd name="connsiteX12" fmla="*/ 1972046 w 4148723"/>
                  <a:gd name="connsiteY12" fmla="*/ 4105978 h 5285288"/>
                  <a:gd name="connsiteX13" fmla="*/ 1974317 w 4148723"/>
                  <a:gd name="connsiteY13" fmla="*/ 1054770 h 5285288"/>
                  <a:gd name="connsiteX14" fmla="*/ 1973132 w 4148723"/>
                  <a:gd name="connsiteY14" fmla="*/ 1017192 h 5285288"/>
                  <a:gd name="connsiteX15" fmla="*/ 1971097 w 4148723"/>
                  <a:gd name="connsiteY15" fmla="*/ 494424 h 5285288"/>
                  <a:gd name="connsiteX16" fmla="*/ 2016588 w 4148723"/>
                  <a:gd name="connsiteY16" fmla="*/ 171698 h 5285288"/>
                  <a:gd name="connsiteX17" fmla="*/ 2181195 w 4148723"/>
                  <a:gd name="connsiteY17" fmla="*/ 25112 h 5285288"/>
                  <a:gd name="connsiteX18" fmla="*/ 2380841 w 4148723"/>
                  <a:gd name="connsiteY18" fmla="*/ 3326 h 5285288"/>
                  <a:gd name="connsiteX19" fmla="*/ 2556545 w 4148723"/>
                  <a:gd name="connsiteY19" fmla="*/ 37548 h 5285288"/>
                  <a:gd name="connsiteX20" fmla="*/ 4107698 w 4148723"/>
                  <a:gd name="connsiteY20" fmla="*/ 924343 h 5285288"/>
                  <a:gd name="connsiteX21" fmla="*/ 4108655 w 4148723"/>
                  <a:gd name="connsiteY21" fmla="*/ 1149844 h 5285288"/>
                  <a:gd name="connsiteX22" fmla="*/ 3934690 w 4148723"/>
                  <a:gd name="connsiteY22" fmla="*/ 1269783 h 5285288"/>
                  <a:gd name="connsiteX23" fmla="*/ 3914843 w 4148723"/>
                  <a:gd name="connsiteY23" fmla="*/ 1262485 h 5285288"/>
                  <a:gd name="connsiteX24" fmla="*/ 2449368 w 4148723"/>
                  <a:gd name="connsiteY24" fmla="*/ 431577 h 5285288"/>
                  <a:gd name="connsiteX25" fmla="*/ 2449025 w 4148723"/>
                  <a:gd name="connsiteY25" fmla="*/ 431184 h 5285288"/>
                  <a:gd name="connsiteX26" fmla="*/ 2426870 w 4148723"/>
                  <a:gd name="connsiteY26" fmla="*/ 437405 h 5285288"/>
                  <a:gd name="connsiteX27" fmla="*/ 2384220 w 4148723"/>
                  <a:gd name="connsiteY27" fmla="*/ 539231 h 5285288"/>
                  <a:gd name="connsiteX28" fmla="*/ 2384215 w 4148723"/>
                  <a:gd name="connsiteY28" fmla="*/ 1065628 h 5285288"/>
                  <a:gd name="connsiteX29" fmla="*/ 2381438 w 4148723"/>
                  <a:gd name="connsiteY29" fmla="*/ 1081825 h 5285288"/>
                  <a:gd name="connsiteX30" fmla="*/ 2378612 w 4148723"/>
                  <a:gd name="connsiteY30" fmla="*/ 1858316 h 5285288"/>
                  <a:gd name="connsiteX31" fmla="*/ 2380469 w 4148723"/>
                  <a:gd name="connsiteY31" fmla="*/ 1861834 h 5285288"/>
                  <a:gd name="connsiteX32" fmla="*/ 2379802 w 4148723"/>
                  <a:gd name="connsiteY32" fmla="*/ 3038034 h 5285288"/>
                  <a:gd name="connsiteX33" fmla="*/ 2377662 w 4148723"/>
                  <a:gd name="connsiteY33" fmla="*/ 4802821 h 5285288"/>
                  <a:gd name="connsiteX34" fmla="*/ 2310864 w 4148723"/>
                  <a:gd name="connsiteY34" fmla="*/ 5061801 h 5285288"/>
                  <a:gd name="connsiteX35" fmla="*/ 2166896 w 4148723"/>
                  <a:gd name="connsiteY35" fmla="*/ 5216241 h 5285288"/>
                  <a:gd name="connsiteX36" fmla="*/ 1956260 w 4148723"/>
                  <a:gd name="connsiteY36" fmla="*/ 5284752 h 5285288"/>
                  <a:gd name="connsiteX37" fmla="*/ 1906706 w 4148723"/>
                  <a:gd name="connsiteY37" fmla="*/ 5285252 h 5285288"/>
                  <a:gd name="connsiteX0" fmla="*/ 1906706 w 4148723"/>
                  <a:gd name="connsiteY0" fmla="*/ 5285252 h 5285288"/>
                  <a:gd name="connsiteX1" fmla="*/ 1795082 w 4148723"/>
                  <a:gd name="connsiteY1" fmla="*/ 5257452 h 5285288"/>
                  <a:gd name="connsiteX2" fmla="*/ 1735081 w 4148723"/>
                  <a:gd name="connsiteY2" fmla="*/ 5227600 h 5285288"/>
                  <a:gd name="connsiteX3" fmla="*/ 193734 w 4148723"/>
                  <a:gd name="connsiteY3" fmla="*/ 4344402 h 5285288"/>
                  <a:gd name="connsiteX4" fmla="*/ 2848 w 4148723"/>
                  <a:gd name="connsiteY4" fmla="*/ 4157062 h 5285288"/>
                  <a:gd name="connsiteX5" fmla="*/ 345158 w 4148723"/>
                  <a:gd name="connsiteY5" fmla="*/ 3888049 h 5285288"/>
                  <a:gd name="connsiteX6" fmla="*/ 400765 w 4148723"/>
                  <a:gd name="connsiteY6" fmla="*/ 3993435 h 5285288"/>
                  <a:gd name="connsiteX7" fmla="*/ 1901737 w 4148723"/>
                  <a:gd name="connsiteY7" fmla="*/ 4865353 h 5285288"/>
                  <a:gd name="connsiteX8" fmla="*/ 1902081 w 4148723"/>
                  <a:gd name="connsiteY8" fmla="*/ 4865745 h 5285288"/>
                  <a:gd name="connsiteX9" fmla="*/ 1924122 w 4148723"/>
                  <a:gd name="connsiteY9" fmla="*/ 4859558 h 5285288"/>
                  <a:gd name="connsiteX10" fmla="*/ 1970202 w 4148723"/>
                  <a:gd name="connsiteY10" fmla="*/ 4799004 h 5285288"/>
                  <a:gd name="connsiteX11" fmla="*/ 1972046 w 4148723"/>
                  <a:gd name="connsiteY11" fmla="*/ 4105978 h 5285288"/>
                  <a:gd name="connsiteX12" fmla="*/ 1974317 w 4148723"/>
                  <a:gd name="connsiteY12" fmla="*/ 1054770 h 5285288"/>
                  <a:gd name="connsiteX13" fmla="*/ 1973132 w 4148723"/>
                  <a:gd name="connsiteY13" fmla="*/ 1017192 h 5285288"/>
                  <a:gd name="connsiteX14" fmla="*/ 1971097 w 4148723"/>
                  <a:gd name="connsiteY14" fmla="*/ 494424 h 5285288"/>
                  <a:gd name="connsiteX15" fmla="*/ 2016588 w 4148723"/>
                  <a:gd name="connsiteY15" fmla="*/ 171698 h 5285288"/>
                  <a:gd name="connsiteX16" fmla="*/ 2181195 w 4148723"/>
                  <a:gd name="connsiteY16" fmla="*/ 25112 h 5285288"/>
                  <a:gd name="connsiteX17" fmla="*/ 2380841 w 4148723"/>
                  <a:gd name="connsiteY17" fmla="*/ 3326 h 5285288"/>
                  <a:gd name="connsiteX18" fmla="*/ 2556545 w 4148723"/>
                  <a:gd name="connsiteY18" fmla="*/ 37548 h 5285288"/>
                  <a:gd name="connsiteX19" fmla="*/ 4107698 w 4148723"/>
                  <a:gd name="connsiteY19" fmla="*/ 924343 h 5285288"/>
                  <a:gd name="connsiteX20" fmla="*/ 4108655 w 4148723"/>
                  <a:gd name="connsiteY20" fmla="*/ 1149844 h 5285288"/>
                  <a:gd name="connsiteX21" fmla="*/ 3934690 w 4148723"/>
                  <a:gd name="connsiteY21" fmla="*/ 1269783 h 5285288"/>
                  <a:gd name="connsiteX22" fmla="*/ 3914843 w 4148723"/>
                  <a:gd name="connsiteY22" fmla="*/ 1262485 h 5285288"/>
                  <a:gd name="connsiteX23" fmla="*/ 2449368 w 4148723"/>
                  <a:gd name="connsiteY23" fmla="*/ 431577 h 5285288"/>
                  <a:gd name="connsiteX24" fmla="*/ 2449025 w 4148723"/>
                  <a:gd name="connsiteY24" fmla="*/ 431184 h 5285288"/>
                  <a:gd name="connsiteX25" fmla="*/ 2426870 w 4148723"/>
                  <a:gd name="connsiteY25" fmla="*/ 437405 h 5285288"/>
                  <a:gd name="connsiteX26" fmla="*/ 2384220 w 4148723"/>
                  <a:gd name="connsiteY26" fmla="*/ 539231 h 5285288"/>
                  <a:gd name="connsiteX27" fmla="*/ 2384215 w 4148723"/>
                  <a:gd name="connsiteY27" fmla="*/ 1065628 h 5285288"/>
                  <a:gd name="connsiteX28" fmla="*/ 2381438 w 4148723"/>
                  <a:gd name="connsiteY28" fmla="*/ 1081825 h 5285288"/>
                  <a:gd name="connsiteX29" fmla="*/ 2378612 w 4148723"/>
                  <a:gd name="connsiteY29" fmla="*/ 1858316 h 5285288"/>
                  <a:gd name="connsiteX30" fmla="*/ 2380469 w 4148723"/>
                  <a:gd name="connsiteY30" fmla="*/ 1861834 h 5285288"/>
                  <a:gd name="connsiteX31" fmla="*/ 2379802 w 4148723"/>
                  <a:gd name="connsiteY31" fmla="*/ 3038034 h 5285288"/>
                  <a:gd name="connsiteX32" fmla="*/ 2377662 w 4148723"/>
                  <a:gd name="connsiteY32" fmla="*/ 4802821 h 5285288"/>
                  <a:gd name="connsiteX33" fmla="*/ 2310864 w 4148723"/>
                  <a:gd name="connsiteY33" fmla="*/ 5061801 h 5285288"/>
                  <a:gd name="connsiteX34" fmla="*/ 2166896 w 4148723"/>
                  <a:gd name="connsiteY34" fmla="*/ 5216241 h 5285288"/>
                  <a:gd name="connsiteX35" fmla="*/ 1956260 w 4148723"/>
                  <a:gd name="connsiteY35" fmla="*/ 5284752 h 5285288"/>
                  <a:gd name="connsiteX36" fmla="*/ 1906706 w 4148723"/>
                  <a:gd name="connsiteY36" fmla="*/ 5285252 h 5285288"/>
                  <a:gd name="connsiteX0" fmla="*/ 1908717 w 4150734"/>
                  <a:gd name="connsiteY0" fmla="*/ 5285252 h 5285288"/>
                  <a:gd name="connsiteX1" fmla="*/ 1797093 w 4150734"/>
                  <a:gd name="connsiteY1" fmla="*/ 5257452 h 5285288"/>
                  <a:gd name="connsiteX2" fmla="*/ 1737092 w 4150734"/>
                  <a:gd name="connsiteY2" fmla="*/ 5227600 h 5285288"/>
                  <a:gd name="connsiteX3" fmla="*/ 195745 w 4150734"/>
                  <a:gd name="connsiteY3" fmla="*/ 4344402 h 5285288"/>
                  <a:gd name="connsiteX4" fmla="*/ 4859 w 4150734"/>
                  <a:gd name="connsiteY4" fmla="*/ 4157062 h 5285288"/>
                  <a:gd name="connsiteX5" fmla="*/ 402776 w 4150734"/>
                  <a:gd name="connsiteY5" fmla="*/ 3993435 h 5285288"/>
                  <a:gd name="connsiteX6" fmla="*/ 1903748 w 4150734"/>
                  <a:gd name="connsiteY6" fmla="*/ 4865353 h 5285288"/>
                  <a:gd name="connsiteX7" fmla="*/ 1904092 w 4150734"/>
                  <a:gd name="connsiteY7" fmla="*/ 4865745 h 5285288"/>
                  <a:gd name="connsiteX8" fmla="*/ 1926133 w 4150734"/>
                  <a:gd name="connsiteY8" fmla="*/ 4859558 h 5285288"/>
                  <a:gd name="connsiteX9" fmla="*/ 1972213 w 4150734"/>
                  <a:gd name="connsiteY9" fmla="*/ 4799004 h 5285288"/>
                  <a:gd name="connsiteX10" fmla="*/ 1974057 w 4150734"/>
                  <a:gd name="connsiteY10" fmla="*/ 4105978 h 5285288"/>
                  <a:gd name="connsiteX11" fmla="*/ 1976328 w 4150734"/>
                  <a:gd name="connsiteY11" fmla="*/ 1054770 h 5285288"/>
                  <a:gd name="connsiteX12" fmla="*/ 1975143 w 4150734"/>
                  <a:gd name="connsiteY12" fmla="*/ 1017192 h 5285288"/>
                  <a:gd name="connsiteX13" fmla="*/ 1973108 w 4150734"/>
                  <a:gd name="connsiteY13" fmla="*/ 494424 h 5285288"/>
                  <a:gd name="connsiteX14" fmla="*/ 2018599 w 4150734"/>
                  <a:gd name="connsiteY14" fmla="*/ 171698 h 5285288"/>
                  <a:gd name="connsiteX15" fmla="*/ 2183206 w 4150734"/>
                  <a:gd name="connsiteY15" fmla="*/ 25112 h 5285288"/>
                  <a:gd name="connsiteX16" fmla="*/ 2382852 w 4150734"/>
                  <a:gd name="connsiteY16" fmla="*/ 3326 h 5285288"/>
                  <a:gd name="connsiteX17" fmla="*/ 2558556 w 4150734"/>
                  <a:gd name="connsiteY17" fmla="*/ 37548 h 5285288"/>
                  <a:gd name="connsiteX18" fmla="*/ 4109709 w 4150734"/>
                  <a:gd name="connsiteY18" fmla="*/ 924343 h 5285288"/>
                  <a:gd name="connsiteX19" fmla="*/ 4110666 w 4150734"/>
                  <a:gd name="connsiteY19" fmla="*/ 1149844 h 5285288"/>
                  <a:gd name="connsiteX20" fmla="*/ 3936701 w 4150734"/>
                  <a:gd name="connsiteY20" fmla="*/ 1269783 h 5285288"/>
                  <a:gd name="connsiteX21" fmla="*/ 3916854 w 4150734"/>
                  <a:gd name="connsiteY21" fmla="*/ 1262485 h 5285288"/>
                  <a:gd name="connsiteX22" fmla="*/ 2451379 w 4150734"/>
                  <a:gd name="connsiteY22" fmla="*/ 431577 h 5285288"/>
                  <a:gd name="connsiteX23" fmla="*/ 2451036 w 4150734"/>
                  <a:gd name="connsiteY23" fmla="*/ 431184 h 5285288"/>
                  <a:gd name="connsiteX24" fmla="*/ 2428881 w 4150734"/>
                  <a:gd name="connsiteY24" fmla="*/ 437405 h 5285288"/>
                  <a:gd name="connsiteX25" fmla="*/ 2386231 w 4150734"/>
                  <a:gd name="connsiteY25" fmla="*/ 539231 h 5285288"/>
                  <a:gd name="connsiteX26" fmla="*/ 2386226 w 4150734"/>
                  <a:gd name="connsiteY26" fmla="*/ 1065628 h 5285288"/>
                  <a:gd name="connsiteX27" fmla="*/ 2383449 w 4150734"/>
                  <a:gd name="connsiteY27" fmla="*/ 1081825 h 5285288"/>
                  <a:gd name="connsiteX28" fmla="*/ 2380623 w 4150734"/>
                  <a:gd name="connsiteY28" fmla="*/ 1858316 h 5285288"/>
                  <a:gd name="connsiteX29" fmla="*/ 2382480 w 4150734"/>
                  <a:gd name="connsiteY29" fmla="*/ 1861834 h 5285288"/>
                  <a:gd name="connsiteX30" fmla="*/ 2381813 w 4150734"/>
                  <a:gd name="connsiteY30" fmla="*/ 3038034 h 5285288"/>
                  <a:gd name="connsiteX31" fmla="*/ 2379673 w 4150734"/>
                  <a:gd name="connsiteY31" fmla="*/ 4802821 h 5285288"/>
                  <a:gd name="connsiteX32" fmla="*/ 2312875 w 4150734"/>
                  <a:gd name="connsiteY32" fmla="*/ 5061801 h 5285288"/>
                  <a:gd name="connsiteX33" fmla="*/ 2168907 w 4150734"/>
                  <a:gd name="connsiteY33" fmla="*/ 5216241 h 5285288"/>
                  <a:gd name="connsiteX34" fmla="*/ 1958271 w 4150734"/>
                  <a:gd name="connsiteY34" fmla="*/ 5284752 h 5285288"/>
                  <a:gd name="connsiteX35" fmla="*/ 1908717 w 4150734"/>
                  <a:gd name="connsiteY35" fmla="*/ 5285252 h 5285288"/>
                  <a:gd name="connsiteX0" fmla="*/ 1821416 w 4063433"/>
                  <a:gd name="connsiteY0" fmla="*/ 5285252 h 5285288"/>
                  <a:gd name="connsiteX1" fmla="*/ 1709792 w 4063433"/>
                  <a:gd name="connsiteY1" fmla="*/ 5257452 h 5285288"/>
                  <a:gd name="connsiteX2" fmla="*/ 1649791 w 4063433"/>
                  <a:gd name="connsiteY2" fmla="*/ 5227600 h 5285288"/>
                  <a:gd name="connsiteX3" fmla="*/ 108444 w 4063433"/>
                  <a:gd name="connsiteY3" fmla="*/ 4344402 h 5285288"/>
                  <a:gd name="connsiteX4" fmla="*/ 315475 w 4063433"/>
                  <a:gd name="connsiteY4" fmla="*/ 3993435 h 5285288"/>
                  <a:gd name="connsiteX5" fmla="*/ 1816447 w 4063433"/>
                  <a:gd name="connsiteY5" fmla="*/ 4865353 h 5285288"/>
                  <a:gd name="connsiteX6" fmla="*/ 1816791 w 4063433"/>
                  <a:gd name="connsiteY6" fmla="*/ 4865745 h 5285288"/>
                  <a:gd name="connsiteX7" fmla="*/ 1838832 w 4063433"/>
                  <a:gd name="connsiteY7" fmla="*/ 4859558 h 5285288"/>
                  <a:gd name="connsiteX8" fmla="*/ 1884912 w 4063433"/>
                  <a:gd name="connsiteY8" fmla="*/ 4799004 h 5285288"/>
                  <a:gd name="connsiteX9" fmla="*/ 1886756 w 4063433"/>
                  <a:gd name="connsiteY9" fmla="*/ 4105978 h 5285288"/>
                  <a:gd name="connsiteX10" fmla="*/ 1889027 w 4063433"/>
                  <a:gd name="connsiteY10" fmla="*/ 1054770 h 5285288"/>
                  <a:gd name="connsiteX11" fmla="*/ 1887842 w 4063433"/>
                  <a:gd name="connsiteY11" fmla="*/ 1017192 h 5285288"/>
                  <a:gd name="connsiteX12" fmla="*/ 1885807 w 4063433"/>
                  <a:gd name="connsiteY12" fmla="*/ 494424 h 5285288"/>
                  <a:gd name="connsiteX13" fmla="*/ 1931298 w 4063433"/>
                  <a:gd name="connsiteY13" fmla="*/ 171698 h 5285288"/>
                  <a:gd name="connsiteX14" fmla="*/ 2095905 w 4063433"/>
                  <a:gd name="connsiteY14" fmla="*/ 25112 h 5285288"/>
                  <a:gd name="connsiteX15" fmla="*/ 2295551 w 4063433"/>
                  <a:gd name="connsiteY15" fmla="*/ 3326 h 5285288"/>
                  <a:gd name="connsiteX16" fmla="*/ 2471255 w 4063433"/>
                  <a:gd name="connsiteY16" fmla="*/ 37548 h 5285288"/>
                  <a:gd name="connsiteX17" fmla="*/ 4022408 w 4063433"/>
                  <a:gd name="connsiteY17" fmla="*/ 924343 h 5285288"/>
                  <a:gd name="connsiteX18" fmla="*/ 4023365 w 4063433"/>
                  <a:gd name="connsiteY18" fmla="*/ 1149844 h 5285288"/>
                  <a:gd name="connsiteX19" fmla="*/ 3849400 w 4063433"/>
                  <a:gd name="connsiteY19" fmla="*/ 1269783 h 5285288"/>
                  <a:gd name="connsiteX20" fmla="*/ 3829553 w 4063433"/>
                  <a:gd name="connsiteY20" fmla="*/ 1262485 h 5285288"/>
                  <a:gd name="connsiteX21" fmla="*/ 2364078 w 4063433"/>
                  <a:gd name="connsiteY21" fmla="*/ 431577 h 5285288"/>
                  <a:gd name="connsiteX22" fmla="*/ 2363735 w 4063433"/>
                  <a:gd name="connsiteY22" fmla="*/ 431184 h 5285288"/>
                  <a:gd name="connsiteX23" fmla="*/ 2341580 w 4063433"/>
                  <a:gd name="connsiteY23" fmla="*/ 437405 h 5285288"/>
                  <a:gd name="connsiteX24" fmla="*/ 2298930 w 4063433"/>
                  <a:gd name="connsiteY24" fmla="*/ 539231 h 5285288"/>
                  <a:gd name="connsiteX25" fmla="*/ 2298925 w 4063433"/>
                  <a:gd name="connsiteY25" fmla="*/ 1065628 h 5285288"/>
                  <a:gd name="connsiteX26" fmla="*/ 2296148 w 4063433"/>
                  <a:gd name="connsiteY26" fmla="*/ 1081825 h 5285288"/>
                  <a:gd name="connsiteX27" fmla="*/ 2293322 w 4063433"/>
                  <a:gd name="connsiteY27" fmla="*/ 1858316 h 5285288"/>
                  <a:gd name="connsiteX28" fmla="*/ 2295179 w 4063433"/>
                  <a:gd name="connsiteY28" fmla="*/ 1861834 h 5285288"/>
                  <a:gd name="connsiteX29" fmla="*/ 2294512 w 4063433"/>
                  <a:gd name="connsiteY29" fmla="*/ 3038034 h 5285288"/>
                  <a:gd name="connsiteX30" fmla="*/ 2292372 w 4063433"/>
                  <a:gd name="connsiteY30" fmla="*/ 4802821 h 5285288"/>
                  <a:gd name="connsiteX31" fmla="*/ 2225574 w 4063433"/>
                  <a:gd name="connsiteY31" fmla="*/ 5061801 h 5285288"/>
                  <a:gd name="connsiteX32" fmla="*/ 2081606 w 4063433"/>
                  <a:gd name="connsiteY32" fmla="*/ 5216241 h 5285288"/>
                  <a:gd name="connsiteX33" fmla="*/ 1870970 w 4063433"/>
                  <a:gd name="connsiteY33" fmla="*/ 5284752 h 5285288"/>
                  <a:gd name="connsiteX34" fmla="*/ 1821416 w 4063433"/>
                  <a:gd name="connsiteY34" fmla="*/ 5285252 h 5285288"/>
                  <a:gd name="connsiteX0" fmla="*/ 1792965 w 4034982"/>
                  <a:gd name="connsiteY0" fmla="*/ 5285252 h 5285288"/>
                  <a:gd name="connsiteX1" fmla="*/ 1681341 w 4034982"/>
                  <a:gd name="connsiteY1" fmla="*/ 5257452 h 5285288"/>
                  <a:gd name="connsiteX2" fmla="*/ 1621340 w 4034982"/>
                  <a:gd name="connsiteY2" fmla="*/ 5227600 h 5285288"/>
                  <a:gd name="connsiteX3" fmla="*/ 79993 w 4034982"/>
                  <a:gd name="connsiteY3" fmla="*/ 4344402 h 5285288"/>
                  <a:gd name="connsiteX4" fmla="*/ 287024 w 4034982"/>
                  <a:gd name="connsiteY4" fmla="*/ 3993435 h 5285288"/>
                  <a:gd name="connsiteX5" fmla="*/ 1787996 w 4034982"/>
                  <a:gd name="connsiteY5" fmla="*/ 4865353 h 5285288"/>
                  <a:gd name="connsiteX6" fmla="*/ 1788340 w 4034982"/>
                  <a:gd name="connsiteY6" fmla="*/ 4865745 h 5285288"/>
                  <a:gd name="connsiteX7" fmla="*/ 1810381 w 4034982"/>
                  <a:gd name="connsiteY7" fmla="*/ 4859558 h 5285288"/>
                  <a:gd name="connsiteX8" fmla="*/ 1856461 w 4034982"/>
                  <a:gd name="connsiteY8" fmla="*/ 4799004 h 5285288"/>
                  <a:gd name="connsiteX9" fmla="*/ 1858305 w 4034982"/>
                  <a:gd name="connsiteY9" fmla="*/ 4105978 h 5285288"/>
                  <a:gd name="connsiteX10" fmla="*/ 1860576 w 4034982"/>
                  <a:gd name="connsiteY10" fmla="*/ 1054770 h 5285288"/>
                  <a:gd name="connsiteX11" fmla="*/ 1859391 w 4034982"/>
                  <a:gd name="connsiteY11" fmla="*/ 1017192 h 5285288"/>
                  <a:gd name="connsiteX12" fmla="*/ 1857356 w 4034982"/>
                  <a:gd name="connsiteY12" fmla="*/ 494424 h 5285288"/>
                  <a:gd name="connsiteX13" fmla="*/ 1902847 w 4034982"/>
                  <a:gd name="connsiteY13" fmla="*/ 171698 h 5285288"/>
                  <a:gd name="connsiteX14" fmla="*/ 2067454 w 4034982"/>
                  <a:gd name="connsiteY14" fmla="*/ 25112 h 5285288"/>
                  <a:gd name="connsiteX15" fmla="*/ 2267100 w 4034982"/>
                  <a:gd name="connsiteY15" fmla="*/ 3326 h 5285288"/>
                  <a:gd name="connsiteX16" fmla="*/ 2442804 w 4034982"/>
                  <a:gd name="connsiteY16" fmla="*/ 37548 h 5285288"/>
                  <a:gd name="connsiteX17" fmla="*/ 3993957 w 4034982"/>
                  <a:gd name="connsiteY17" fmla="*/ 924343 h 5285288"/>
                  <a:gd name="connsiteX18" fmla="*/ 3994914 w 4034982"/>
                  <a:gd name="connsiteY18" fmla="*/ 1149844 h 5285288"/>
                  <a:gd name="connsiteX19" fmla="*/ 3820949 w 4034982"/>
                  <a:gd name="connsiteY19" fmla="*/ 1269783 h 5285288"/>
                  <a:gd name="connsiteX20" fmla="*/ 3801102 w 4034982"/>
                  <a:gd name="connsiteY20" fmla="*/ 1262485 h 5285288"/>
                  <a:gd name="connsiteX21" fmla="*/ 2335627 w 4034982"/>
                  <a:gd name="connsiteY21" fmla="*/ 431577 h 5285288"/>
                  <a:gd name="connsiteX22" fmla="*/ 2335284 w 4034982"/>
                  <a:gd name="connsiteY22" fmla="*/ 431184 h 5285288"/>
                  <a:gd name="connsiteX23" fmla="*/ 2313129 w 4034982"/>
                  <a:gd name="connsiteY23" fmla="*/ 437405 h 5285288"/>
                  <a:gd name="connsiteX24" fmla="*/ 2270479 w 4034982"/>
                  <a:gd name="connsiteY24" fmla="*/ 539231 h 5285288"/>
                  <a:gd name="connsiteX25" fmla="*/ 2270474 w 4034982"/>
                  <a:gd name="connsiteY25" fmla="*/ 1065628 h 5285288"/>
                  <a:gd name="connsiteX26" fmla="*/ 2267697 w 4034982"/>
                  <a:gd name="connsiteY26" fmla="*/ 1081825 h 5285288"/>
                  <a:gd name="connsiteX27" fmla="*/ 2264871 w 4034982"/>
                  <a:gd name="connsiteY27" fmla="*/ 1858316 h 5285288"/>
                  <a:gd name="connsiteX28" fmla="*/ 2266728 w 4034982"/>
                  <a:gd name="connsiteY28" fmla="*/ 1861834 h 5285288"/>
                  <a:gd name="connsiteX29" fmla="*/ 2266061 w 4034982"/>
                  <a:gd name="connsiteY29" fmla="*/ 3038034 h 5285288"/>
                  <a:gd name="connsiteX30" fmla="*/ 2263921 w 4034982"/>
                  <a:gd name="connsiteY30" fmla="*/ 4802821 h 5285288"/>
                  <a:gd name="connsiteX31" fmla="*/ 2197123 w 4034982"/>
                  <a:gd name="connsiteY31" fmla="*/ 5061801 h 5285288"/>
                  <a:gd name="connsiteX32" fmla="*/ 2053155 w 4034982"/>
                  <a:gd name="connsiteY32" fmla="*/ 5216241 h 5285288"/>
                  <a:gd name="connsiteX33" fmla="*/ 1842519 w 4034982"/>
                  <a:gd name="connsiteY33" fmla="*/ 5284752 h 5285288"/>
                  <a:gd name="connsiteX34" fmla="*/ 1792965 w 4034982"/>
                  <a:gd name="connsiteY34" fmla="*/ 5285252 h 5285288"/>
                  <a:gd name="connsiteX0" fmla="*/ 1763235 w 4005252"/>
                  <a:gd name="connsiteY0" fmla="*/ 5285252 h 5285288"/>
                  <a:gd name="connsiteX1" fmla="*/ 1651611 w 4005252"/>
                  <a:gd name="connsiteY1" fmla="*/ 5257452 h 5285288"/>
                  <a:gd name="connsiteX2" fmla="*/ 1591610 w 4005252"/>
                  <a:gd name="connsiteY2" fmla="*/ 5227600 h 5285288"/>
                  <a:gd name="connsiteX3" fmla="*/ 50263 w 4005252"/>
                  <a:gd name="connsiteY3" fmla="*/ 4344402 h 5285288"/>
                  <a:gd name="connsiteX4" fmla="*/ 257294 w 4005252"/>
                  <a:gd name="connsiteY4" fmla="*/ 3993435 h 5285288"/>
                  <a:gd name="connsiteX5" fmla="*/ 1758266 w 4005252"/>
                  <a:gd name="connsiteY5" fmla="*/ 4865353 h 5285288"/>
                  <a:gd name="connsiteX6" fmla="*/ 1758610 w 4005252"/>
                  <a:gd name="connsiteY6" fmla="*/ 4865745 h 5285288"/>
                  <a:gd name="connsiteX7" fmla="*/ 1780651 w 4005252"/>
                  <a:gd name="connsiteY7" fmla="*/ 4859558 h 5285288"/>
                  <a:gd name="connsiteX8" fmla="*/ 1826731 w 4005252"/>
                  <a:gd name="connsiteY8" fmla="*/ 4799004 h 5285288"/>
                  <a:gd name="connsiteX9" fmla="*/ 1828575 w 4005252"/>
                  <a:gd name="connsiteY9" fmla="*/ 4105978 h 5285288"/>
                  <a:gd name="connsiteX10" fmla="*/ 1830846 w 4005252"/>
                  <a:gd name="connsiteY10" fmla="*/ 1054770 h 5285288"/>
                  <a:gd name="connsiteX11" fmla="*/ 1829661 w 4005252"/>
                  <a:gd name="connsiteY11" fmla="*/ 1017192 h 5285288"/>
                  <a:gd name="connsiteX12" fmla="*/ 1827626 w 4005252"/>
                  <a:gd name="connsiteY12" fmla="*/ 494424 h 5285288"/>
                  <a:gd name="connsiteX13" fmla="*/ 1873117 w 4005252"/>
                  <a:gd name="connsiteY13" fmla="*/ 171698 h 5285288"/>
                  <a:gd name="connsiteX14" fmla="*/ 2037724 w 4005252"/>
                  <a:gd name="connsiteY14" fmla="*/ 25112 h 5285288"/>
                  <a:gd name="connsiteX15" fmla="*/ 2237370 w 4005252"/>
                  <a:gd name="connsiteY15" fmla="*/ 3326 h 5285288"/>
                  <a:gd name="connsiteX16" fmla="*/ 2413074 w 4005252"/>
                  <a:gd name="connsiteY16" fmla="*/ 37548 h 5285288"/>
                  <a:gd name="connsiteX17" fmla="*/ 3964227 w 4005252"/>
                  <a:gd name="connsiteY17" fmla="*/ 924343 h 5285288"/>
                  <a:gd name="connsiteX18" fmla="*/ 3965184 w 4005252"/>
                  <a:gd name="connsiteY18" fmla="*/ 1149844 h 5285288"/>
                  <a:gd name="connsiteX19" fmla="*/ 3791219 w 4005252"/>
                  <a:gd name="connsiteY19" fmla="*/ 1269783 h 5285288"/>
                  <a:gd name="connsiteX20" fmla="*/ 3771372 w 4005252"/>
                  <a:gd name="connsiteY20" fmla="*/ 1262485 h 5285288"/>
                  <a:gd name="connsiteX21" fmla="*/ 2305897 w 4005252"/>
                  <a:gd name="connsiteY21" fmla="*/ 431577 h 5285288"/>
                  <a:gd name="connsiteX22" fmla="*/ 2305554 w 4005252"/>
                  <a:gd name="connsiteY22" fmla="*/ 431184 h 5285288"/>
                  <a:gd name="connsiteX23" fmla="*/ 2283399 w 4005252"/>
                  <a:gd name="connsiteY23" fmla="*/ 437405 h 5285288"/>
                  <a:gd name="connsiteX24" fmla="*/ 2240749 w 4005252"/>
                  <a:gd name="connsiteY24" fmla="*/ 539231 h 5285288"/>
                  <a:gd name="connsiteX25" fmla="*/ 2240744 w 4005252"/>
                  <a:gd name="connsiteY25" fmla="*/ 1065628 h 5285288"/>
                  <a:gd name="connsiteX26" fmla="*/ 2237967 w 4005252"/>
                  <a:gd name="connsiteY26" fmla="*/ 1081825 h 5285288"/>
                  <a:gd name="connsiteX27" fmla="*/ 2235141 w 4005252"/>
                  <a:gd name="connsiteY27" fmla="*/ 1858316 h 5285288"/>
                  <a:gd name="connsiteX28" fmla="*/ 2236998 w 4005252"/>
                  <a:gd name="connsiteY28" fmla="*/ 1861834 h 5285288"/>
                  <a:gd name="connsiteX29" fmla="*/ 2236331 w 4005252"/>
                  <a:gd name="connsiteY29" fmla="*/ 3038034 h 5285288"/>
                  <a:gd name="connsiteX30" fmla="*/ 2234191 w 4005252"/>
                  <a:gd name="connsiteY30" fmla="*/ 4802821 h 5285288"/>
                  <a:gd name="connsiteX31" fmla="*/ 2167393 w 4005252"/>
                  <a:gd name="connsiteY31" fmla="*/ 5061801 h 5285288"/>
                  <a:gd name="connsiteX32" fmla="*/ 2023425 w 4005252"/>
                  <a:gd name="connsiteY32" fmla="*/ 5216241 h 5285288"/>
                  <a:gd name="connsiteX33" fmla="*/ 1812789 w 4005252"/>
                  <a:gd name="connsiteY33" fmla="*/ 5284752 h 5285288"/>
                  <a:gd name="connsiteX34" fmla="*/ 1763235 w 4005252"/>
                  <a:gd name="connsiteY34" fmla="*/ 5285252 h 528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05252" h="5285288">
                    <a:moveTo>
                      <a:pt x="1763235" y="5285252"/>
                    </a:moveTo>
                    <a:cubicBezTo>
                      <a:pt x="1734816" y="5285662"/>
                      <a:pt x="1709627" y="5282948"/>
                      <a:pt x="1651611" y="5257452"/>
                    </a:cubicBezTo>
                    <a:lnTo>
                      <a:pt x="1591610" y="5227600"/>
                    </a:lnTo>
                    <a:lnTo>
                      <a:pt x="50263" y="4344402"/>
                    </a:lnTo>
                    <a:cubicBezTo>
                      <a:pt x="-101337" y="4197689"/>
                      <a:pt x="125988" y="3906611"/>
                      <a:pt x="257294" y="3993435"/>
                    </a:cubicBezTo>
                    <a:lnTo>
                      <a:pt x="1758266" y="4865353"/>
                    </a:lnTo>
                    <a:lnTo>
                      <a:pt x="1758610" y="4865745"/>
                    </a:lnTo>
                    <a:lnTo>
                      <a:pt x="1780651" y="4859558"/>
                    </a:lnTo>
                    <a:cubicBezTo>
                      <a:pt x="1804453" y="4852878"/>
                      <a:pt x="1824030" y="4839446"/>
                      <a:pt x="1826731" y="4799004"/>
                    </a:cubicBezTo>
                    <a:cubicBezTo>
                      <a:pt x="1827346" y="4567995"/>
                      <a:pt x="1827960" y="4336987"/>
                      <a:pt x="1828575" y="4105978"/>
                    </a:cubicBezTo>
                    <a:lnTo>
                      <a:pt x="1830846" y="1054770"/>
                    </a:lnTo>
                    <a:lnTo>
                      <a:pt x="1829661" y="1017192"/>
                    </a:lnTo>
                    <a:cubicBezTo>
                      <a:pt x="1825529" y="883195"/>
                      <a:pt x="1824703" y="685526"/>
                      <a:pt x="1827626" y="494424"/>
                    </a:cubicBezTo>
                    <a:cubicBezTo>
                      <a:pt x="1825423" y="341098"/>
                      <a:pt x="1838101" y="249917"/>
                      <a:pt x="1873117" y="171698"/>
                    </a:cubicBezTo>
                    <a:cubicBezTo>
                      <a:pt x="1908133" y="93479"/>
                      <a:pt x="1993115" y="53875"/>
                      <a:pt x="2037724" y="25112"/>
                    </a:cubicBezTo>
                    <a:cubicBezTo>
                      <a:pt x="2119591" y="-9906"/>
                      <a:pt x="2174812" y="1253"/>
                      <a:pt x="2237370" y="3326"/>
                    </a:cubicBezTo>
                    <a:cubicBezTo>
                      <a:pt x="2299928" y="5399"/>
                      <a:pt x="2355212" y="16377"/>
                      <a:pt x="2413074" y="37548"/>
                    </a:cubicBezTo>
                    <a:lnTo>
                      <a:pt x="3964227" y="924343"/>
                    </a:lnTo>
                    <a:cubicBezTo>
                      <a:pt x="4018552" y="955707"/>
                      <a:pt x="4018980" y="1056667"/>
                      <a:pt x="3965184" y="1149844"/>
                    </a:cubicBezTo>
                    <a:cubicBezTo>
                      <a:pt x="3918113" y="1231374"/>
                      <a:pt x="3845124" y="1279929"/>
                      <a:pt x="3791219" y="1269783"/>
                    </a:cubicBezTo>
                    <a:lnTo>
                      <a:pt x="3771372" y="1262485"/>
                    </a:lnTo>
                    <a:lnTo>
                      <a:pt x="2305897" y="431577"/>
                    </a:lnTo>
                    <a:cubicBezTo>
                      <a:pt x="2305783" y="431448"/>
                      <a:pt x="2305668" y="431313"/>
                      <a:pt x="2305554" y="431184"/>
                    </a:cubicBezTo>
                    <a:lnTo>
                      <a:pt x="2283399" y="437405"/>
                    </a:lnTo>
                    <a:cubicBezTo>
                      <a:pt x="2272598" y="455412"/>
                      <a:pt x="2247858" y="434527"/>
                      <a:pt x="2240749" y="539231"/>
                    </a:cubicBezTo>
                    <a:cubicBezTo>
                      <a:pt x="2240749" y="714697"/>
                      <a:pt x="2240744" y="890162"/>
                      <a:pt x="2240744" y="1065628"/>
                    </a:cubicBezTo>
                    <a:lnTo>
                      <a:pt x="2237967" y="1081825"/>
                    </a:lnTo>
                    <a:lnTo>
                      <a:pt x="2235141" y="1858316"/>
                    </a:lnTo>
                    <a:lnTo>
                      <a:pt x="2236998" y="1861834"/>
                    </a:lnTo>
                    <a:cubicBezTo>
                      <a:pt x="2237196" y="2058454"/>
                      <a:pt x="2236331" y="2841791"/>
                      <a:pt x="2236331" y="3038034"/>
                    </a:cubicBezTo>
                    <a:cubicBezTo>
                      <a:pt x="2235617" y="3626297"/>
                      <a:pt x="2234903" y="4214559"/>
                      <a:pt x="2234191" y="4802821"/>
                    </a:cubicBezTo>
                    <a:cubicBezTo>
                      <a:pt x="2221400" y="4887762"/>
                      <a:pt x="2247354" y="4926970"/>
                      <a:pt x="2167393" y="5061801"/>
                    </a:cubicBezTo>
                    <a:cubicBezTo>
                      <a:pt x="2107423" y="5162924"/>
                      <a:pt x="2067817" y="5187619"/>
                      <a:pt x="2023425" y="5216241"/>
                    </a:cubicBezTo>
                    <a:cubicBezTo>
                      <a:pt x="1941956" y="5251083"/>
                      <a:pt x="1894121" y="5287513"/>
                      <a:pt x="1812789" y="5284752"/>
                    </a:cubicBezTo>
                    <a:cubicBezTo>
                      <a:pt x="1792460" y="5284061"/>
                      <a:pt x="1777443" y="5285046"/>
                      <a:pt x="1763235" y="5285252"/>
                    </a:cubicBezTo>
                    <a:close/>
                  </a:path>
                </a:pathLst>
              </a:cu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grpSp>
        <p:nvGrpSpPr>
          <p:cNvPr id="988" name="Group 987">
            <a:extLst>
              <a:ext uri="{FF2B5EF4-FFF2-40B4-BE49-F238E27FC236}">
                <a16:creationId xmlns:a16="http://schemas.microsoft.com/office/drawing/2014/main" id="{80099924-7BDD-422D-B67B-E0E004461818}"/>
              </a:ext>
            </a:extLst>
          </p:cNvPr>
          <p:cNvGrpSpPr/>
          <p:nvPr/>
        </p:nvGrpSpPr>
        <p:grpSpPr bwMode="gray">
          <a:xfrm>
            <a:off x="9172780" y="3579677"/>
            <a:ext cx="1062949" cy="1324130"/>
            <a:chOff x="8662706" y="3768432"/>
            <a:chExt cx="1062949" cy="1324130"/>
          </a:xfrm>
        </p:grpSpPr>
        <p:grpSp>
          <p:nvGrpSpPr>
            <p:cNvPr id="989" name="Group 988">
              <a:extLst>
                <a:ext uri="{FF2B5EF4-FFF2-40B4-BE49-F238E27FC236}">
                  <a16:creationId xmlns:a16="http://schemas.microsoft.com/office/drawing/2014/main" id="{B1A724F5-B1EC-4DC4-A7EA-DECCCF3C7B2C}"/>
                </a:ext>
              </a:extLst>
            </p:cNvPr>
            <p:cNvGrpSpPr>
              <a:grpSpLocks noChangeAspect="1"/>
            </p:cNvGrpSpPr>
            <p:nvPr/>
          </p:nvGrpSpPr>
          <p:grpSpPr bwMode="gray">
            <a:xfrm>
              <a:off x="9465583" y="3768432"/>
              <a:ext cx="260072" cy="869376"/>
              <a:chOff x="12676185" y="-2160831"/>
              <a:chExt cx="1918718" cy="6413936"/>
            </a:xfrm>
          </p:grpSpPr>
          <p:sp>
            <p:nvSpPr>
              <p:cNvPr id="1002" name="Freeform: Shape 1001">
                <a:extLst>
                  <a:ext uri="{FF2B5EF4-FFF2-40B4-BE49-F238E27FC236}">
                    <a16:creationId xmlns:a16="http://schemas.microsoft.com/office/drawing/2014/main" id="{F8593EE8-804F-4732-85EA-3F62D2BA8FBD}"/>
                  </a:ext>
                </a:extLst>
              </p:cNvPr>
              <p:cNvSpPr/>
              <p:nvPr/>
            </p:nvSpPr>
            <p:spPr bwMode="gray">
              <a:xfrm>
                <a:off x="12676197" y="-1380013"/>
                <a:ext cx="1918706" cy="5633118"/>
              </a:xfrm>
              <a:custGeom>
                <a:avLst/>
                <a:gdLst>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581962 h 5633118"/>
                  <a:gd name="connsiteX6" fmla="*/ 1918706 w 1918706"/>
                  <a:gd name="connsiteY6" fmla="*/ 981092 h 5633118"/>
                  <a:gd name="connsiteX7" fmla="*/ 1918706 w 1918706"/>
                  <a:gd name="connsiteY7" fmla="*/ 1004563 h 5633118"/>
                  <a:gd name="connsiteX8" fmla="*/ 1918706 w 1918706"/>
                  <a:gd name="connsiteY8" fmla="*/ 1068547 h 5633118"/>
                  <a:gd name="connsiteX9" fmla="*/ 1918706 w 1918706"/>
                  <a:gd name="connsiteY9" fmla="*/ 1076469 h 5633118"/>
                  <a:gd name="connsiteX10" fmla="*/ 1918706 w 1918706"/>
                  <a:gd name="connsiteY10" fmla="*/ 1491148 h 5633118"/>
                  <a:gd name="connsiteX11" fmla="*/ 1918706 w 1918706"/>
                  <a:gd name="connsiteY11" fmla="*/ 1499070 h 5633118"/>
                  <a:gd name="connsiteX12" fmla="*/ 1918706 w 1918706"/>
                  <a:gd name="connsiteY12" fmla="*/ 1506844 h 5633118"/>
                  <a:gd name="connsiteX13" fmla="*/ 1918706 w 1918706"/>
                  <a:gd name="connsiteY13" fmla="*/ 1563054 h 5633118"/>
                  <a:gd name="connsiteX14" fmla="*/ 1918706 w 1918706"/>
                  <a:gd name="connsiteY14" fmla="*/ 1586524 h 5633118"/>
                  <a:gd name="connsiteX15" fmla="*/ 1918706 w 1918706"/>
                  <a:gd name="connsiteY15" fmla="*/ 1985655 h 5633118"/>
                  <a:gd name="connsiteX16" fmla="*/ 1918706 w 1918706"/>
                  <a:gd name="connsiteY16" fmla="*/ 2001351 h 5633118"/>
                  <a:gd name="connsiteX17" fmla="*/ 1918706 w 1918706"/>
                  <a:gd name="connsiteY17" fmla="*/ 2009125 h 5633118"/>
                  <a:gd name="connsiteX18" fmla="*/ 1918706 w 1918706"/>
                  <a:gd name="connsiteY18" fmla="*/ 2073109 h 5633118"/>
                  <a:gd name="connsiteX19" fmla="*/ 1918706 w 1918706"/>
                  <a:gd name="connsiteY19" fmla="*/ 2081031 h 5633118"/>
                  <a:gd name="connsiteX20" fmla="*/ 1918706 w 1918706"/>
                  <a:gd name="connsiteY20" fmla="*/ 2088805 h 5633118"/>
                  <a:gd name="connsiteX21" fmla="*/ 1918706 w 1918706"/>
                  <a:gd name="connsiteY21" fmla="*/ 2503632 h 5633118"/>
                  <a:gd name="connsiteX22" fmla="*/ 1918706 w 1918706"/>
                  <a:gd name="connsiteY22" fmla="*/ 2511407 h 5633118"/>
                  <a:gd name="connsiteX23" fmla="*/ 1918706 w 1918706"/>
                  <a:gd name="connsiteY23" fmla="*/ 2567616 h 5633118"/>
                  <a:gd name="connsiteX24" fmla="*/ 1918706 w 1918706"/>
                  <a:gd name="connsiteY24" fmla="*/ 2583313 h 5633118"/>
                  <a:gd name="connsiteX25" fmla="*/ 1918706 w 1918706"/>
                  <a:gd name="connsiteY25" fmla="*/ 2591087 h 5633118"/>
                  <a:gd name="connsiteX26" fmla="*/ 1918706 w 1918706"/>
                  <a:gd name="connsiteY26" fmla="*/ 2992759 h 5633118"/>
                  <a:gd name="connsiteX27" fmla="*/ 1918706 w 1918706"/>
                  <a:gd name="connsiteY27" fmla="*/ 3005914 h 5633118"/>
                  <a:gd name="connsiteX28" fmla="*/ 1918706 w 1918706"/>
                  <a:gd name="connsiteY28" fmla="*/ 3013688 h 5633118"/>
                  <a:gd name="connsiteX29" fmla="*/ 1918706 w 1918706"/>
                  <a:gd name="connsiteY29" fmla="*/ 3085594 h 5633118"/>
                  <a:gd name="connsiteX30" fmla="*/ 1918706 w 1918706"/>
                  <a:gd name="connsiteY30" fmla="*/ 3093368 h 5633118"/>
                  <a:gd name="connsiteX31" fmla="*/ 1918706 w 1918706"/>
                  <a:gd name="connsiteY31" fmla="*/ 3487266 h 5633118"/>
                  <a:gd name="connsiteX32" fmla="*/ 1918706 w 1918706"/>
                  <a:gd name="connsiteY32" fmla="*/ 3508195 h 5633118"/>
                  <a:gd name="connsiteX33" fmla="*/ 1918706 w 1918706"/>
                  <a:gd name="connsiteY33" fmla="*/ 3515969 h 5633118"/>
                  <a:gd name="connsiteX34" fmla="*/ 1918706 w 1918706"/>
                  <a:gd name="connsiteY34" fmla="*/ 3574721 h 5633118"/>
                  <a:gd name="connsiteX35" fmla="*/ 1918706 w 1918706"/>
                  <a:gd name="connsiteY35" fmla="*/ 3587875 h 5633118"/>
                  <a:gd name="connsiteX36" fmla="*/ 1918706 w 1918706"/>
                  <a:gd name="connsiteY36" fmla="*/ 3595649 h 5633118"/>
                  <a:gd name="connsiteX37" fmla="*/ 1918706 w 1918706"/>
                  <a:gd name="connsiteY37" fmla="*/ 3997322 h 5633118"/>
                  <a:gd name="connsiteX38" fmla="*/ 1918706 w 1918706"/>
                  <a:gd name="connsiteY38" fmla="*/ 4010476 h 5633118"/>
                  <a:gd name="connsiteX39" fmla="*/ 1918706 w 1918706"/>
                  <a:gd name="connsiteY39" fmla="*/ 4069228 h 5633118"/>
                  <a:gd name="connsiteX40" fmla="*/ 1918706 w 1918706"/>
                  <a:gd name="connsiteY40" fmla="*/ 4090156 h 5633118"/>
                  <a:gd name="connsiteX41" fmla="*/ 1918706 w 1918706"/>
                  <a:gd name="connsiteY41" fmla="*/ 4097931 h 5633118"/>
                  <a:gd name="connsiteX42" fmla="*/ 1918706 w 1918706"/>
                  <a:gd name="connsiteY42" fmla="*/ 4491829 h 5633118"/>
                  <a:gd name="connsiteX43" fmla="*/ 1918706 w 1918706"/>
                  <a:gd name="connsiteY43" fmla="*/ 4579284 h 5633118"/>
                  <a:gd name="connsiteX44" fmla="*/ 1918706 w 1918706"/>
                  <a:gd name="connsiteY44" fmla="*/ 4592438 h 5633118"/>
                  <a:gd name="connsiteX45" fmla="*/ 1918706 w 1918706"/>
                  <a:gd name="connsiteY45" fmla="*/ 5073791 h 5633118"/>
                  <a:gd name="connsiteX46" fmla="*/ 959355 w 1918706"/>
                  <a:gd name="connsiteY46" fmla="*/ 5633118 h 5633118"/>
                  <a:gd name="connsiteX47" fmla="*/ 0 w 1918706"/>
                  <a:gd name="connsiteY47" fmla="*/ 5073791 h 5633118"/>
                  <a:gd name="connsiteX48" fmla="*/ 0 w 1918706"/>
                  <a:gd name="connsiteY48" fmla="*/ 4592438 h 5633118"/>
                  <a:gd name="connsiteX49" fmla="*/ 0 w 1918706"/>
                  <a:gd name="connsiteY49" fmla="*/ 4579284 h 5633118"/>
                  <a:gd name="connsiteX50" fmla="*/ 0 w 1918706"/>
                  <a:gd name="connsiteY50" fmla="*/ 4491829 h 5633118"/>
                  <a:gd name="connsiteX51" fmla="*/ 0 w 1918706"/>
                  <a:gd name="connsiteY51" fmla="*/ 4097931 h 5633118"/>
                  <a:gd name="connsiteX52" fmla="*/ 0 w 1918706"/>
                  <a:gd name="connsiteY52" fmla="*/ 4090156 h 5633118"/>
                  <a:gd name="connsiteX53" fmla="*/ 0 w 1918706"/>
                  <a:gd name="connsiteY53" fmla="*/ 4069228 h 5633118"/>
                  <a:gd name="connsiteX54" fmla="*/ 0 w 1918706"/>
                  <a:gd name="connsiteY54" fmla="*/ 4010476 h 5633118"/>
                  <a:gd name="connsiteX55" fmla="*/ 0 w 1918706"/>
                  <a:gd name="connsiteY55" fmla="*/ 3997322 h 5633118"/>
                  <a:gd name="connsiteX56" fmla="*/ 0 w 1918706"/>
                  <a:gd name="connsiteY56" fmla="*/ 3595649 h 5633118"/>
                  <a:gd name="connsiteX57" fmla="*/ 0 w 1918706"/>
                  <a:gd name="connsiteY57" fmla="*/ 3587875 h 5633118"/>
                  <a:gd name="connsiteX58" fmla="*/ 0 w 1918706"/>
                  <a:gd name="connsiteY58" fmla="*/ 3574721 h 5633118"/>
                  <a:gd name="connsiteX59" fmla="*/ 0 w 1918706"/>
                  <a:gd name="connsiteY59" fmla="*/ 3515969 h 5633118"/>
                  <a:gd name="connsiteX60" fmla="*/ 0 w 1918706"/>
                  <a:gd name="connsiteY60" fmla="*/ 3508195 h 5633118"/>
                  <a:gd name="connsiteX61" fmla="*/ 0 w 1918706"/>
                  <a:gd name="connsiteY61" fmla="*/ 3487266 h 5633118"/>
                  <a:gd name="connsiteX62" fmla="*/ 0 w 1918706"/>
                  <a:gd name="connsiteY62" fmla="*/ 3093368 h 5633118"/>
                  <a:gd name="connsiteX63" fmla="*/ 0 w 1918706"/>
                  <a:gd name="connsiteY63" fmla="*/ 3085594 h 5633118"/>
                  <a:gd name="connsiteX64" fmla="*/ 0 w 1918706"/>
                  <a:gd name="connsiteY64" fmla="*/ 3013688 h 5633118"/>
                  <a:gd name="connsiteX65" fmla="*/ 0 w 1918706"/>
                  <a:gd name="connsiteY65" fmla="*/ 3005914 h 5633118"/>
                  <a:gd name="connsiteX66" fmla="*/ 0 w 1918706"/>
                  <a:gd name="connsiteY66" fmla="*/ 2992759 h 5633118"/>
                  <a:gd name="connsiteX67" fmla="*/ 0 w 1918706"/>
                  <a:gd name="connsiteY67" fmla="*/ 2591087 h 5633118"/>
                  <a:gd name="connsiteX68" fmla="*/ 0 w 1918706"/>
                  <a:gd name="connsiteY68" fmla="*/ 2583313 h 5633118"/>
                  <a:gd name="connsiteX69" fmla="*/ 0 w 1918706"/>
                  <a:gd name="connsiteY69" fmla="*/ 2567616 h 5633118"/>
                  <a:gd name="connsiteX70" fmla="*/ 0 w 1918706"/>
                  <a:gd name="connsiteY70" fmla="*/ 2511407 h 5633118"/>
                  <a:gd name="connsiteX71" fmla="*/ 0 w 1918706"/>
                  <a:gd name="connsiteY71" fmla="*/ 2503632 h 5633118"/>
                  <a:gd name="connsiteX72" fmla="*/ 0 w 1918706"/>
                  <a:gd name="connsiteY72" fmla="*/ 2088805 h 5633118"/>
                  <a:gd name="connsiteX73" fmla="*/ 0 w 1918706"/>
                  <a:gd name="connsiteY73" fmla="*/ 2081031 h 5633118"/>
                  <a:gd name="connsiteX74" fmla="*/ 0 w 1918706"/>
                  <a:gd name="connsiteY74" fmla="*/ 2073109 h 5633118"/>
                  <a:gd name="connsiteX75" fmla="*/ 0 w 1918706"/>
                  <a:gd name="connsiteY75" fmla="*/ 2009125 h 5633118"/>
                  <a:gd name="connsiteX76" fmla="*/ 0 w 1918706"/>
                  <a:gd name="connsiteY76" fmla="*/ 2001351 h 5633118"/>
                  <a:gd name="connsiteX77" fmla="*/ 0 w 1918706"/>
                  <a:gd name="connsiteY77" fmla="*/ 1985655 h 5633118"/>
                  <a:gd name="connsiteX78" fmla="*/ 0 w 1918706"/>
                  <a:gd name="connsiteY78" fmla="*/ 1586524 h 5633118"/>
                  <a:gd name="connsiteX79" fmla="*/ 0 w 1918706"/>
                  <a:gd name="connsiteY79" fmla="*/ 1563054 h 5633118"/>
                  <a:gd name="connsiteX80" fmla="*/ 0 w 1918706"/>
                  <a:gd name="connsiteY80" fmla="*/ 1506844 h 5633118"/>
                  <a:gd name="connsiteX81" fmla="*/ 0 w 1918706"/>
                  <a:gd name="connsiteY81" fmla="*/ 1499070 h 5633118"/>
                  <a:gd name="connsiteX82" fmla="*/ 0 w 1918706"/>
                  <a:gd name="connsiteY82" fmla="*/ 1491148 h 5633118"/>
                  <a:gd name="connsiteX83" fmla="*/ 0 w 1918706"/>
                  <a:gd name="connsiteY83" fmla="*/ 1076469 h 5633118"/>
                  <a:gd name="connsiteX84" fmla="*/ 0 w 1918706"/>
                  <a:gd name="connsiteY84" fmla="*/ 1068547 h 5633118"/>
                  <a:gd name="connsiteX85" fmla="*/ 0 w 1918706"/>
                  <a:gd name="connsiteY85" fmla="*/ 1004563 h 5633118"/>
                  <a:gd name="connsiteX86" fmla="*/ 0 w 1918706"/>
                  <a:gd name="connsiteY86" fmla="*/ 981092 h 5633118"/>
                  <a:gd name="connsiteX87" fmla="*/ 0 w 1918706"/>
                  <a:gd name="connsiteY87" fmla="*/ 581962 h 5633118"/>
                  <a:gd name="connsiteX88" fmla="*/ 0 w 1918706"/>
                  <a:gd name="connsiteY88" fmla="*/ 494507 h 5633118"/>
                  <a:gd name="connsiteX89" fmla="*/ 0 w 1918706"/>
                  <a:gd name="connsiteY89" fmla="*/ 486585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981092 h 5633118"/>
                  <a:gd name="connsiteX6" fmla="*/ 1918706 w 1918706"/>
                  <a:gd name="connsiteY6" fmla="*/ 1004563 h 5633118"/>
                  <a:gd name="connsiteX7" fmla="*/ 1918706 w 1918706"/>
                  <a:gd name="connsiteY7" fmla="*/ 1068547 h 5633118"/>
                  <a:gd name="connsiteX8" fmla="*/ 1918706 w 1918706"/>
                  <a:gd name="connsiteY8" fmla="*/ 1076469 h 5633118"/>
                  <a:gd name="connsiteX9" fmla="*/ 1918706 w 1918706"/>
                  <a:gd name="connsiteY9" fmla="*/ 1491148 h 5633118"/>
                  <a:gd name="connsiteX10" fmla="*/ 1918706 w 1918706"/>
                  <a:gd name="connsiteY10" fmla="*/ 1499070 h 5633118"/>
                  <a:gd name="connsiteX11" fmla="*/ 1918706 w 1918706"/>
                  <a:gd name="connsiteY11" fmla="*/ 1506844 h 5633118"/>
                  <a:gd name="connsiteX12" fmla="*/ 1918706 w 1918706"/>
                  <a:gd name="connsiteY12" fmla="*/ 1563054 h 5633118"/>
                  <a:gd name="connsiteX13" fmla="*/ 1918706 w 1918706"/>
                  <a:gd name="connsiteY13" fmla="*/ 1586524 h 5633118"/>
                  <a:gd name="connsiteX14" fmla="*/ 1918706 w 1918706"/>
                  <a:gd name="connsiteY14" fmla="*/ 1985655 h 5633118"/>
                  <a:gd name="connsiteX15" fmla="*/ 1918706 w 1918706"/>
                  <a:gd name="connsiteY15" fmla="*/ 2001351 h 5633118"/>
                  <a:gd name="connsiteX16" fmla="*/ 1918706 w 1918706"/>
                  <a:gd name="connsiteY16" fmla="*/ 2009125 h 5633118"/>
                  <a:gd name="connsiteX17" fmla="*/ 1918706 w 1918706"/>
                  <a:gd name="connsiteY17" fmla="*/ 2073109 h 5633118"/>
                  <a:gd name="connsiteX18" fmla="*/ 1918706 w 1918706"/>
                  <a:gd name="connsiteY18" fmla="*/ 2081031 h 5633118"/>
                  <a:gd name="connsiteX19" fmla="*/ 1918706 w 1918706"/>
                  <a:gd name="connsiteY19" fmla="*/ 2088805 h 5633118"/>
                  <a:gd name="connsiteX20" fmla="*/ 1918706 w 1918706"/>
                  <a:gd name="connsiteY20" fmla="*/ 2503632 h 5633118"/>
                  <a:gd name="connsiteX21" fmla="*/ 1918706 w 1918706"/>
                  <a:gd name="connsiteY21" fmla="*/ 2511407 h 5633118"/>
                  <a:gd name="connsiteX22" fmla="*/ 1918706 w 1918706"/>
                  <a:gd name="connsiteY22" fmla="*/ 2567616 h 5633118"/>
                  <a:gd name="connsiteX23" fmla="*/ 1918706 w 1918706"/>
                  <a:gd name="connsiteY23" fmla="*/ 2583313 h 5633118"/>
                  <a:gd name="connsiteX24" fmla="*/ 1918706 w 1918706"/>
                  <a:gd name="connsiteY24" fmla="*/ 2591087 h 5633118"/>
                  <a:gd name="connsiteX25" fmla="*/ 1918706 w 1918706"/>
                  <a:gd name="connsiteY25" fmla="*/ 2992759 h 5633118"/>
                  <a:gd name="connsiteX26" fmla="*/ 1918706 w 1918706"/>
                  <a:gd name="connsiteY26" fmla="*/ 3005914 h 5633118"/>
                  <a:gd name="connsiteX27" fmla="*/ 1918706 w 1918706"/>
                  <a:gd name="connsiteY27" fmla="*/ 3013688 h 5633118"/>
                  <a:gd name="connsiteX28" fmla="*/ 1918706 w 1918706"/>
                  <a:gd name="connsiteY28" fmla="*/ 3085594 h 5633118"/>
                  <a:gd name="connsiteX29" fmla="*/ 1918706 w 1918706"/>
                  <a:gd name="connsiteY29" fmla="*/ 3093368 h 5633118"/>
                  <a:gd name="connsiteX30" fmla="*/ 1918706 w 1918706"/>
                  <a:gd name="connsiteY30" fmla="*/ 3487266 h 5633118"/>
                  <a:gd name="connsiteX31" fmla="*/ 1918706 w 1918706"/>
                  <a:gd name="connsiteY31" fmla="*/ 3508195 h 5633118"/>
                  <a:gd name="connsiteX32" fmla="*/ 1918706 w 1918706"/>
                  <a:gd name="connsiteY32" fmla="*/ 3515969 h 5633118"/>
                  <a:gd name="connsiteX33" fmla="*/ 1918706 w 1918706"/>
                  <a:gd name="connsiteY33" fmla="*/ 3574721 h 5633118"/>
                  <a:gd name="connsiteX34" fmla="*/ 1918706 w 1918706"/>
                  <a:gd name="connsiteY34" fmla="*/ 3587875 h 5633118"/>
                  <a:gd name="connsiteX35" fmla="*/ 1918706 w 1918706"/>
                  <a:gd name="connsiteY35" fmla="*/ 3595649 h 5633118"/>
                  <a:gd name="connsiteX36" fmla="*/ 1918706 w 1918706"/>
                  <a:gd name="connsiteY36" fmla="*/ 3997322 h 5633118"/>
                  <a:gd name="connsiteX37" fmla="*/ 1918706 w 1918706"/>
                  <a:gd name="connsiteY37" fmla="*/ 4010476 h 5633118"/>
                  <a:gd name="connsiteX38" fmla="*/ 1918706 w 1918706"/>
                  <a:gd name="connsiteY38" fmla="*/ 4069228 h 5633118"/>
                  <a:gd name="connsiteX39" fmla="*/ 1918706 w 1918706"/>
                  <a:gd name="connsiteY39" fmla="*/ 4090156 h 5633118"/>
                  <a:gd name="connsiteX40" fmla="*/ 1918706 w 1918706"/>
                  <a:gd name="connsiteY40" fmla="*/ 4097931 h 5633118"/>
                  <a:gd name="connsiteX41" fmla="*/ 1918706 w 1918706"/>
                  <a:gd name="connsiteY41" fmla="*/ 4491829 h 5633118"/>
                  <a:gd name="connsiteX42" fmla="*/ 1918706 w 1918706"/>
                  <a:gd name="connsiteY42" fmla="*/ 4579284 h 5633118"/>
                  <a:gd name="connsiteX43" fmla="*/ 1918706 w 1918706"/>
                  <a:gd name="connsiteY43" fmla="*/ 4592438 h 5633118"/>
                  <a:gd name="connsiteX44" fmla="*/ 1918706 w 1918706"/>
                  <a:gd name="connsiteY44" fmla="*/ 5073791 h 5633118"/>
                  <a:gd name="connsiteX45" fmla="*/ 959355 w 1918706"/>
                  <a:gd name="connsiteY45" fmla="*/ 5633118 h 5633118"/>
                  <a:gd name="connsiteX46" fmla="*/ 0 w 1918706"/>
                  <a:gd name="connsiteY46" fmla="*/ 5073791 h 5633118"/>
                  <a:gd name="connsiteX47" fmla="*/ 0 w 1918706"/>
                  <a:gd name="connsiteY47" fmla="*/ 4592438 h 5633118"/>
                  <a:gd name="connsiteX48" fmla="*/ 0 w 1918706"/>
                  <a:gd name="connsiteY48" fmla="*/ 4579284 h 5633118"/>
                  <a:gd name="connsiteX49" fmla="*/ 0 w 1918706"/>
                  <a:gd name="connsiteY49" fmla="*/ 4491829 h 5633118"/>
                  <a:gd name="connsiteX50" fmla="*/ 0 w 1918706"/>
                  <a:gd name="connsiteY50" fmla="*/ 4097931 h 5633118"/>
                  <a:gd name="connsiteX51" fmla="*/ 0 w 1918706"/>
                  <a:gd name="connsiteY51" fmla="*/ 4090156 h 5633118"/>
                  <a:gd name="connsiteX52" fmla="*/ 0 w 1918706"/>
                  <a:gd name="connsiteY52" fmla="*/ 4069228 h 5633118"/>
                  <a:gd name="connsiteX53" fmla="*/ 0 w 1918706"/>
                  <a:gd name="connsiteY53" fmla="*/ 4010476 h 5633118"/>
                  <a:gd name="connsiteX54" fmla="*/ 0 w 1918706"/>
                  <a:gd name="connsiteY54" fmla="*/ 3997322 h 5633118"/>
                  <a:gd name="connsiteX55" fmla="*/ 0 w 1918706"/>
                  <a:gd name="connsiteY55" fmla="*/ 3595649 h 5633118"/>
                  <a:gd name="connsiteX56" fmla="*/ 0 w 1918706"/>
                  <a:gd name="connsiteY56" fmla="*/ 3587875 h 5633118"/>
                  <a:gd name="connsiteX57" fmla="*/ 0 w 1918706"/>
                  <a:gd name="connsiteY57" fmla="*/ 3574721 h 5633118"/>
                  <a:gd name="connsiteX58" fmla="*/ 0 w 1918706"/>
                  <a:gd name="connsiteY58" fmla="*/ 3515969 h 5633118"/>
                  <a:gd name="connsiteX59" fmla="*/ 0 w 1918706"/>
                  <a:gd name="connsiteY59" fmla="*/ 3508195 h 5633118"/>
                  <a:gd name="connsiteX60" fmla="*/ 0 w 1918706"/>
                  <a:gd name="connsiteY60" fmla="*/ 3487266 h 5633118"/>
                  <a:gd name="connsiteX61" fmla="*/ 0 w 1918706"/>
                  <a:gd name="connsiteY61" fmla="*/ 3093368 h 5633118"/>
                  <a:gd name="connsiteX62" fmla="*/ 0 w 1918706"/>
                  <a:gd name="connsiteY62" fmla="*/ 3085594 h 5633118"/>
                  <a:gd name="connsiteX63" fmla="*/ 0 w 1918706"/>
                  <a:gd name="connsiteY63" fmla="*/ 3013688 h 5633118"/>
                  <a:gd name="connsiteX64" fmla="*/ 0 w 1918706"/>
                  <a:gd name="connsiteY64" fmla="*/ 3005914 h 5633118"/>
                  <a:gd name="connsiteX65" fmla="*/ 0 w 1918706"/>
                  <a:gd name="connsiteY65" fmla="*/ 2992759 h 5633118"/>
                  <a:gd name="connsiteX66" fmla="*/ 0 w 1918706"/>
                  <a:gd name="connsiteY66" fmla="*/ 2591087 h 5633118"/>
                  <a:gd name="connsiteX67" fmla="*/ 0 w 1918706"/>
                  <a:gd name="connsiteY67" fmla="*/ 2583313 h 5633118"/>
                  <a:gd name="connsiteX68" fmla="*/ 0 w 1918706"/>
                  <a:gd name="connsiteY68" fmla="*/ 2567616 h 5633118"/>
                  <a:gd name="connsiteX69" fmla="*/ 0 w 1918706"/>
                  <a:gd name="connsiteY69" fmla="*/ 2511407 h 5633118"/>
                  <a:gd name="connsiteX70" fmla="*/ 0 w 1918706"/>
                  <a:gd name="connsiteY70" fmla="*/ 2503632 h 5633118"/>
                  <a:gd name="connsiteX71" fmla="*/ 0 w 1918706"/>
                  <a:gd name="connsiteY71" fmla="*/ 2088805 h 5633118"/>
                  <a:gd name="connsiteX72" fmla="*/ 0 w 1918706"/>
                  <a:gd name="connsiteY72" fmla="*/ 2081031 h 5633118"/>
                  <a:gd name="connsiteX73" fmla="*/ 0 w 1918706"/>
                  <a:gd name="connsiteY73" fmla="*/ 2073109 h 5633118"/>
                  <a:gd name="connsiteX74" fmla="*/ 0 w 1918706"/>
                  <a:gd name="connsiteY74" fmla="*/ 2009125 h 5633118"/>
                  <a:gd name="connsiteX75" fmla="*/ 0 w 1918706"/>
                  <a:gd name="connsiteY75" fmla="*/ 2001351 h 5633118"/>
                  <a:gd name="connsiteX76" fmla="*/ 0 w 1918706"/>
                  <a:gd name="connsiteY76" fmla="*/ 1985655 h 5633118"/>
                  <a:gd name="connsiteX77" fmla="*/ 0 w 1918706"/>
                  <a:gd name="connsiteY77" fmla="*/ 1586524 h 5633118"/>
                  <a:gd name="connsiteX78" fmla="*/ 0 w 1918706"/>
                  <a:gd name="connsiteY78" fmla="*/ 1563054 h 5633118"/>
                  <a:gd name="connsiteX79" fmla="*/ 0 w 1918706"/>
                  <a:gd name="connsiteY79" fmla="*/ 1506844 h 5633118"/>
                  <a:gd name="connsiteX80" fmla="*/ 0 w 1918706"/>
                  <a:gd name="connsiteY80" fmla="*/ 1499070 h 5633118"/>
                  <a:gd name="connsiteX81" fmla="*/ 0 w 1918706"/>
                  <a:gd name="connsiteY81" fmla="*/ 1491148 h 5633118"/>
                  <a:gd name="connsiteX82" fmla="*/ 0 w 1918706"/>
                  <a:gd name="connsiteY82" fmla="*/ 1076469 h 5633118"/>
                  <a:gd name="connsiteX83" fmla="*/ 0 w 1918706"/>
                  <a:gd name="connsiteY83" fmla="*/ 1068547 h 5633118"/>
                  <a:gd name="connsiteX84" fmla="*/ 0 w 1918706"/>
                  <a:gd name="connsiteY84" fmla="*/ 1004563 h 5633118"/>
                  <a:gd name="connsiteX85" fmla="*/ 0 w 1918706"/>
                  <a:gd name="connsiteY85" fmla="*/ 981092 h 5633118"/>
                  <a:gd name="connsiteX86" fmla="*/ 0 w 1918706"/>
                  <a:gd name="connsiteY86" fmla="*/ 581962 h 5633118"/>
                  <a:gd name="connsiteX87" fmla="*/ 0 w 1918706"/>
                  <a:gd name="connsiteY87" fmla="*/ 494507 h 5633118"/>
                  <a:gd name="connsiteX88" fmla="*/ 0 w 1918706"/>
                  <a:gd name="connsiteY88" fmla="*/ 486585 h 5633118"/>
                  <a:gd name="connsiteX89" fmla="*/ 0 w 1918706"/>
                  <a:gd name="connsiteY8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981092 h 5633118"/>
                  <a:gd name="connsiteX5" fmla="*/ 1918706 w 1918706"/>
                  <a:gd name="connsiteY5" fmla="*/ 1004563 h 5633118"/>
                  <a:gd name="connsiteX6" fmla="*/ 1918706 w 1918706"/>
                  <a:gd name="connsiteY6" fmla="*/ 1068547 h 5633118"/>
                  <a:gd name="connsiteX7" fmla="*/ 1918706 w 1918706"/>
                  <a:gd name="connsiteY7" fmla="*/ 1076469 h 5633118"/>
                  <a:gd name="connsiteX8" fmla="*/ 1918706 w 1918706"/>
                  <a:gd name="connsiteY8" fmla="*/ 1491148 h 5633118"/>
                  <a:gd name="connsiteX9" fmla="*/ 1918706 w 1918706"/>
                  <a:gd name="connsiteY9" fmla="*/ 1499070 h 5633118"/>
                  <a:gd name="connsiteX10" fmla="*/ 1918706 w 1918706"/>
                  <a:gd name="connsiteY10" fmla="*/ 1506844 h 5633118"/>
                  <a:gd name="connsiteX11" fmla="*/ 1918706 w 1918706"/>
                  <a:gd name="connsiteY11" fmla="*/ 1563054 h 5633118"/>
                  <a:gd name="connsiteX12" fmla="*/ 1918706 w 1918706"/>
                  <a:gd name="connsiteY12" fmla="*/ 1586524 h 5633118"/>
                  <a:gd name="connsiteX13" fmla="*/ 1918706 w 1918706"/>
                  <a:gd name="connsiteY13" fmla="*/ 1985655 h 5633118"/>
                  <a:gd name="connsiteX14" fmla="*/ 1918706 w 1918706"/>
                  <a:gd name="connsiteY14" fmla="*/ 2001351 h 5633118"/>
                  <a:gd name="connsiteX15" fmla="*/ 1918706 w 1918706"/>
                  <a:gd name="connsiteY15" fmla="*/ 2009125 h 5633118"/>
                  <a:gd name="connsiteX16" fmla="*/ 1918706 w 1918706"/>
                  <a:gd name="connsiteY16" fmla="*/ 2073109 h 5633118"/>
                  <a:gd name="connsiteX17" fmla="*/ 1918706 w 1918706"/>
                  <a:gd name="connsiteY17" fmla="*/ 2081031 h 5633118"/>
                  <a:gd name="connsiteX18" fmla="*/ 1918706 w 1918706"/>
                  <a:gd name="connsiteY18" fmla="*/ 2088805 h 5633118"/>
                  <a:gd name="connsiteX19" fmla="*/ 1918706 w 1918706"/>
                  <a:gd name="connsiteY19" fmla="*/ 2503632 h 5633118"/>
                  <a:gd name="connsiteX20" fmla="*/ 1918706 w 1918706"/>
                  <a:gd name="connsiteY20" fmla="*/ 2511407 h 5633118"/>
                  <a:gd name="connsiteX21" fmla="*/ 1918706 w 1918706"/>
                  <a:gd name="connsiteY21" fmla="*/ 2567616 h 5633118"/>
                  <a:gd name="connsiteX22" fmla="*/ 1918706 w 1918706"/>
                  <a:gd name="connsiteY22" fmla="*/ 2583313 h 5633118"/>
                  <a:gd name="connsiteX23" fmla="*/ 1918706 w 1918706"/>
                  <a:gd name="connsiteY23" fmla="*/ 2591087 h 5633118"/>
                  <a:gd name="connsiteX24" fmla="*/ 1918706 w 1918706"/>
                  <a:gd name="connsiteY24" fmla="*/ 2992759 h 5633118"/>
                  <a:gd name="connsiteX25" fmla="*/ 1918706 w 1918706"/>
                  <a:gd name="connsiteY25" fmla="*/ 3005914 h 5633118"/>
                  <a:gd name="connsiteX26" fmla="*/ 1918706 w 1918706"/>
                  <a:gd name="connsiteY26" fmla="*/ 3013688 h 5633118"/>
                  <a:gd name="connsiteX27" fmla="*/ 1918706 w 1918706"/>
                  <a:gd name="connsiteY27" fmla="*/ 3085594 h 5633118"/>
                  <a:gd name="connsiteX28" fmla="*/ 1918706 w 1918706"/>
                  <a:gd name="connsiteY28" fmla="*/ 3093368 h 5633118"/>
                  <a:gd name="connsiteX29" fmla="*/ 1918706 w 1918706"/>
                  <a:gd name="connsiteY29" fmla="*/ 3487266 h 5633118"/>
                  <a:gd name="connsiteX30" fmla="*/ 1918706 w 1918706"/>
                  <a:gd name="connsiteY30" fmla="*/ 3508195 h 5633118"/>
                  <a:gd name="connsiteX31" fmla="*/ 1918706 w 1918706"/>
                  <a:gd name="connsiteY31" fmla="*/ 3515969 h 5633118"/>
                  <a:gd name="connsiteX32" fmla="*/ 1918706 w 1918706"/>
                  <a:gd name="connsiteY32" fmla="*/ 3574721 h 5633118"/>
                  <a:gd name="connsiteX33" fmla="*/ 1918706 w 1918706"/>
                  <a:gd name="connsiteY33" fmla="*/ 3587875 h 5633118"/>
                  <a:gd name="connsiteX34" fmla="*/ 1918706 w 1918706"/>
                  <a:gd name="connsiteY34" fmla="*/ 3595649 h 5633118"/>
                  <a:gd name="connsiteX35" fmla="*/ 1918706 w 1918706"/>
                  <a:gd name="connsiteY35" fmla="*/ 3997322 h 5633118"/>
                  <a:gd name="connsiteX36" fmla="*/ 1918706 w 1918706"/>
                  <a:gd name="connsiteY36" fmla="*/ 4010476 h 5633118"/>
                  <a:gd name="connsiteX37" fmla="*/ 1918706 w 1918706"/>
                  <a:gd name="connsiteY37" fmla="*/ 4069228 h 5633118"/>
                  <a:gd name="connsiteX38" fmla="*/ 1918706 w 1918706"/>
                  <a:gd name="connsiteY38" fmla="*/ 4090156 h 5633118"/>
                  <a:gd name="connsiteX39" fmla="*/ 1918706 w 1918706"/>
                  <a:gd name="connsiteY39" fmla="*/ 4097931 h 5633118"/>
                  <a:gd name="connsiteX40" fmla="*/ 1918706 w 1918706"/>
                  <a:gd name="connsiteY40" fmla="*/ 4491829 h 5633118"/>
                  <a:gd name="connsiteX41" fmla="*/ 1918706 w 1918706"/>
                  <a:gd name="connsiteY41" fmla="*/ 4579284 h 5633118"/>
                  <a:gd name="connsiteX42" fmla="*/ 1918706 w 1918706"/>
                  <a:gd name="connsiteY42" fmla="*/ 4592438 h 5633118"/>
                  <a:gd name="connsiteX43" fmla="*/ 1918706 w 1918706"/>
                  <a:gd name="connsiteY43" fmla="*/ 5073791 h 5633118"/>
                  <a:gd name="connsiteX44" fmla="*/ 959355 w 1918706"/>
                  <a:gd name="connsiteY44" fmla="*/ 5633118 h 5633118"/>
                  <a:gd name="connsiteX45" fmla="*/ 0 w 1918706"/>
                  <a:gd name="connsiteY45" fmla="*/ 5073791 h 5633118"/>
                  <a:gd name="connsiteX46" fmla="*/ 0 w 1918706"/>
                  <a:gd name="connsiteY46" fmla="*/ 4592438 h 5633118"/>
                  <a:gd name="connsiteX47" fmla="*/ 0 w 1918706"/>
                  <a:gd name="connsiteY47" fmla="*/ 4579284 h 5633118"/>
                  <a:gd name="connsiteX48" fmla="*/ 0 w 1918706"/>
                  <a:gd name="connsiteY48" fmla="*/ 4491829 h 5633118"/>
                  <a:gd name="connsiteX49" fmla="*/ 0 w 1918706"/>
                  <a:gd name="connsiteY49" fmla="*/ 4097931 h 5633118"/>
                  <a:gd name="connsiteX50" fmla="*/ 0 w 1918706"/>
                  <a:gd name="connsiteY50" fmla="*/ 4090156 h 5633118"/>
                  <a:gd name="connsiteX51" fmla="*/ 0 w 1918706"/>
                  <a:gd name="connsiteY51" fmla="*/ 4069228 h 5633118"/>
                  <a:gd name="connsiteX52" fmla="*/ 0 w 1918706"/>
                  <a:gd name="connsiteY52" fmla="*/ 4010476 h 5633118"/>
                  <a:gd name="connsiteX53" fmla="*/ 0 w 1918706"/>
                  <a:gd name="connsiteY53" fmla="*/ 3997322 h 5633118"/>
                  <a:gd name="connsiteX54" fmla="*/ 0 w 1918706"/>
                  <a:gd name="connsiteY54" fmla="*/ 3595649 h 5633118"/>
                  <a:gd name="connsiteX55" fmla="*/ 0 w 1918706"/>
                  <a:gd name="connsiteY55" fmla="*/ 3587875 h 5633118"/>
                  <a:gd name="connsiteX56" fmla="*/ 0 w 1918706"/>
                  <a:gd name="connsiteY56" fmla="*/ 3574721 h 5633118"/>
                  <a:gd name="connsiteX57" fmla="*/ 0 w 1918706"/>
                  <a:gd name="connsiteY57" fmla="*/ 3515969 h 5633118"/>
                  <a:gd name="connsiteX58" fmla="*/ 0 w 1918706"/>
                  <a:gd name="connsiteY58" fmla="*/ 3508195 h 5633118"/>
                  <a:gd name="connsiteX59" fmla="*/ 0 w 1918706"/>
                  <a:gd name="connsiteY59" fmla="*/ 3487266 h 5633118"/>
                  <a:gd name="connsiteX60" fmla="*/ 0 w 1918706"/>
                  <a:gd name="connsiteY60" fmla="*/ 3093368 h 5633118"/>
                  <a:gd name="connsiteX61" fmla="*/ 0 w 1918706"/>
                  <a:gd name="connsiteY61" fmla="*/ 3085594 h 5633118"/>
                  <a:gd name="connsiteX62" fmla="*/ 0 w 1918706"/>
                  <a:gd name="connsiteY62" fmla="*/ 3013688 h 5633118"/>
                  <a:gd name="connsiteX63" fmla="*/ 0 w 1918706"/>
                  <a:gd name="connsiteY63" fmla="*/ 3005914 h 5633118"/>
                  <a:gd name="connsiteX64" fmla="*/ 0 w 1918706"/>
                  <a:gd name="connsiteY64" fmla="*/ 2992759 h 5633118"/>
                  <a:gd name="connsiteX65" fmla="*/ 0 w 1918706"/>
                  <a:gd name="connsiteY65" fmla="*/ 2591087 h 5633118"/>
                  <a:gd name="connsiteX66" fmla="*/ 0 w 1918706"/>
                  <a:gd name="connsiteY66" fmla="*/ 2583313 h 5633118"/>
                  <a:gd name="connsiteX67" fmla="*/ 0 w 1918706"/>
                  <a:gd name="connsiteY67" fmla="*/ 2567616 h 5633118"/>
                  <a:gd name="connsiteX68" fmla="*/ 0 w 1918706"/>
                  <a:gd name="connsiteY68" fmla="*/ 2511407 h 5633118"/>
                  <a:gd name="connsiteX69" fmla="*/ 0 w 1918706"/>
                  <a:gd name="connsiteY69" fmla="*/ 2503632 h 5633118"/>
                  <a:gd name="connsiteX70" fmla="*/ 0 w 1918706"/>
                  <a:gd name="connsiteY70" fmla="*/ 2088805 h 5633118"/>
                  <a:gd name="connsiteX71" fmla="*/ 0 w 1918706"/>
                  <a:gd name="connsiteY71" fmla="*/ 2081031 h 5633118"/>
                  <a:gd name="connsiteX72" fmla="*/ 0 w 1918706"/>
                  <a:gd name="connsiteY72" fmla="*/ 2073109 h 5633118"/>
                  <a:gd name="connsiteX73" fmla="*/ 0 w 1918706"/>
                  <a:gd name="connsiteY73" fmla="*/ 2009125 h 5633118"/>
                  <a:gd name="connsiteX74" fmla="*/ 0 w 1918706"/>
                  <a:gd name="connsiteY74" fmla="*/ 2001351 h 5633118"/>
                  <a:gd name="connsiteX75" fmla="*/ 0 w 1918706"/>
                  <a:gd name="connsiteY75" fmla="*/ 1985655 h 5633118"/>
                  <a:gd name="connsiteX76" fmla="*/ 0 w 1918706"/>
                  <a:gd name="connsiteY76" fmla="*/ 1586524 h 5633118"/>
                  <a:gd name="connsiteX77" fmla="*/ 0 w 1918706"/>
                  <a:gd name="connsiteY77" fmla="*/ 1563054 h 5633118"/>
                  <a:gd name="connsiteX78" fmla="*/ 0 w 1918706"/>
                  <a:gd name="connsiteY78" fmla="*/ 1506844 h 5633118"/>
                  <a:gd name="connsiteX79" fmla="*/ 0 w 1918706"/>
                  <a:gd name="connsiteY79" fmla="*/ 1499070 h 5633118"/>
                  <a:gd name="connsiteX80" fmla="*/ 0 w 1918706"/>
                  <a:gd name="connsiteY80" fmla="*/ 1491148 h 5633118"/>
                  <a:gd name="connsiteX81" fmla="*/ 0 w 1918706"/>
                  <a:gd name="connsiteY81" fmla="*/ 1076469 h 5633118"/>
                  <a:gd name="connsiteX82" fmla="*/ 0 w 1918706"/>
                  <a:gd name="connsiteY82" fmla="*/ 1068547 h 5633118"/>
                  <a:gd name="connsiteX83" fmla="*/ 0 w 1918706"/>
                  <a:gd name="connsiteY83" fmla="*/ 1004563 h 5633118"/>
                  <a:gd name="connsiteX84" fmla="*/ 0 w 1918706"/>
                  <a:gd name="connsiteY84" fmla="*/ 981092 h 5633118"/>
                  <a:gd name="connsiteX85" fmla="*/ 0 w 1918706"/>
                  <a:gd name="connsiteY85" fmla="*/ 581962 h 5633118"/>
                  <a:gd name="connsiteX86" fmla="*/ 0 w 1918706"/>
                  <a:gd name="connsiteY86" fmla="*/ 494507 h 5633118"/>
                  <a:gd name="connsiteX87" fmla="*/ 0 w 1918706"/>
                  <a:gd name="connsiteY87" fmla="*/ 486585 h 5633118"/>
                  <a:gd name="connsiteX88" fmla="*/ 0 w 1918706"/>
                  <a:gd name="connsiteY8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486585 h 5633118"/>
                  <a:gd name="connsiteX87" fmla="*/ 0 w 1918706"/>
                  <a:gd name="connsiteY8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076469 h 5633118"/>
                  <a:gd name="connsiteX80" fmla="*/ 0 w 1918706"/>
                  <a:gd name="connsiteY8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591087 h 5633118"/>
                  <a:gd name="connsiteX64" fmla="*/ 0 w 1918706"/>
                  <a:gd name="connsiteY6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2591087 h 5633118"/>
                  <a:gd name="connsiteX63" fmla="*/ 0 w 1918706"/>
                  <a:gd name="connsiteY6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2591087 h 5633118"/>
                  <a:gd name="connsiteX62" fmla="*/ 0 w 1918706"/>
                  <a:gd name="connsiteY6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2591087 h 5633118"/>
                  <a:gd name="connsiteX61" fmla="*/ 0 w 1918706"/>
                  <a:gd name="connsiteY6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68547 h 5633118"/>
                  <a:gd name="connsiteX5" fmla="*/ 1918706 w 1918706"/>
                  <a:gd name="connsiteY5" fmla="*/ 1076469 h 5633118"/>
                  <a:gd name="connsiteX6" fmla="*/ 1918706 w 1918706"/>
                  <a:gd name="connsiteY6" fmla="*/ 1491148 h 5633118"/>
                  <a:gd name="connsiteX7" fmla="*/ 1918706 w 1918706"/>
                  <a:gd name="connsiteY7" fmla="*/ 1499070 h 5633118"/>
                  <a:gd name="connsiteX8" fmla="*/ 1918706 w 1918706"/>
                  <a:gd name="connsiteY8" fmla="*/ 1506844 h 5633118"/>
                  <a:gd name="connsiteX9" fmla="*/ 1918706 w 1918706"/>
                  <a:gd name="connsiteY9" fmla="*/ 1563054 h 5633118"/>
                  <a:gd name="connsiteX10" fmla="*/ 1918706 w 1918706"/>
                  <a:gd name="connsiteY10" fmla="*/ 1586524 h 5633118"/>
                  <a:gd name="connsiteX11" fmla="*/ 1918706 w 1918706"/>
                  <a:gd name="connsiteY11" fmla="*/ 1985655 h 5633118"/>
                  <a:gd name="connsiteX12" fmla="*/ 1918706 w 1918706"/>
                  <a:gd name="connsiteY12" fmla="*/ 2001351 h 5633118"/>
                  <a:gd name="connsiteX13" fmla="*/ 1918706 w 1918706"/>
                  <a:gd name="connsiteY13" fmla="*/ 2009125 h 5633118"/>
                  <a:gd name="connsiteX14" fmla="*/ 1918706 w 1918706"/>
                  <a:gd name="connsiteY14" fmla="*/ 2073109 h 5633118"/>
                  <a:gd name="connsiteX15" fmla="*/ 1918706 w 1918706"/>
                  <a:gd name="connsiteY15" fmla="*/ 2081031 h 5633118"/>
                  <a:gd name="connsiteX16" fmla="*/ 1918706 w 1918706"/>
                  <a:gd name="connsiteY16" fmla="*/ 2088805 h 5633118"/>
                  <a:gd name="connsiteX17" fmla="*/ 1918706 w 1918706"/>
                  <a:gd name="connsiteY17" fmla="*/ 2503632 h 5633118"/>
                  <a:gd name="connsiteX18" fmla="*/ 1918706 w 1918706"/>
                  <a:gd name="connsiteY18" fmla="*/ 2511407 h 5633118"/>
                  <a:gd name="connsiteX19" fmla="*/ 1918706 w 1918706"/>
                  <a:gd name="connsiteY19" fmla="*/ 2567616 h 5633118"/>
                  <a:gd name="connsiteX20" fmla="*/ 1918706 w 1918706"/>
                  <a:gd name="connsiteY20" fmla="*/ 2583313 h 5633118"/>
                  <a:gd name="connsiteX21" fmla="*/ 1918706 w 1918706"/>
                  <a:gd name="connsiteY21" fmla="*/ 2591087 h 5633118"/>
                  <a:gd name="connsiteX22" fmla="*/ 1918706 w 1918706"/>
                  <a:gd name="connsiteY22" fmla="*/ 2992759 h 5633118"/>
                  <a:gd name="connsiteX23" fmla="*/ 1918706 w 1918706"/>
                  <a:gd name="connsiteY23" fmla="*/ 3005914 h 5633118"/>
                  <a:gd name="connsiteX24" fmla="*/ 1918706 w 1918706"/>
                  <a:gd name="connsiteY24" fmla="*/ 3013688 h 5633118"/>
                  <a:gd name="connsiteX25" fmla="*/ 1918706 w 1918706"/>
                  <a:gd name="connsiteY25" fmla="*/ 3085594 h 5633118"/>
                  <a:gd name="connsiteX26" fmla="*/ 1918706 w 1918706"/>
                  <a:gd name="connsiteY26" fmla="*/ 3093368 h 5633118"/>
                  <a:gd name="connsiteX27" fmla="*/ 1918706 w 1918706"/>
                  <a:gd name="connsiteY27" fmla="*/ 3487266 h 5633118"/>
                  <a:gd name="connsiteX28" fmla="*/ 1918706 w 1918706"/>
                  <a:gd name="connsiteY28" fmla="*/ 3508195 h 5633118"/>
                  <a:gd name="connsiteX29" fmla="*/ 1918706 w 1918706"/>
                  <a:gd name="connsiteY29" fmla="*/ 3515969 h 5633118"/>
                  <a:gd name="connsiteX30" fmla="*/ 1918706 w 1918706"/>
                  <a:gd name="connsiteY30" fmla="*/ 3574721 h 5633118"/>
                  <a:gd name="connsiteX31" fmla="*/ 1918706 w 1918706"/>
                  <a:gd name="connsiteY31" fmla="*/ 3587875 h 5633118"/>
                  <a:gd name="connsiteX32" fmla="*/ 1918706 w 1918706"/>
                  <a:gd name="connsiteY32" fmla="*/ 3595649 h 5633118"/>
                  <a:gd name="connsiteX33" fmla="*/ 1918706 w 1918706"/>
                  <a:gd name="connsiteY33" fmla="*/ 3997322 h 5633118"/>
                  <a:gd name="connsiteX34" fmla="*/ 1918706 w 1918706"/>
                  <a:gd name="connsiteY34" fmla="*/ 4010476 h 5633118"/>
                  <a:gd name="connsiteX35" fmla="*/ 1918706 w 1918706"/>
                  <a:gd name="connsiteY35" fmla="*/ 4069228 h 5633118"/>
                  <a:gd name="connsiteX36" fmla="*/ 1918706 w 1918706"/>
                  <a:gd name="connsiteY36" fmla="*/ 4090156 h 5633118"/>
                  <a:gd name="connsiteX37" fmla="*/ 1918706 w 1918706"/>
                  <a:gd name="connsiteY37" fmla="*/ 4097931 h 5633118"/>
                  <a:gd name="connsiteX38" fmla="*/ 1918706 w 1918706"/>
                  <a:gd name="connsiteY38" fmla="*/ 4491829 h 5633118"/>
                  <a:gd name="connsiteX39" fmla="*/ 1918706 w 1918706"/>
                  <a:gd name="connsiteY39" fmla="*/ 4579284 h 5633118"/>
                  <a:gd name="connsiteX40" fmla="*/ 1918706 w 1918706"/>
                  <a:gd name="connsiteY40" fmla="*/ 4592438 h 5633118"/>
                  <a:gd name="connsiteX41" fmla="*/ 1918706 w 1918706"/>
                  <a:gd name="connsiteY41" fmla="*/ 5073791 h 5633118"/>
                  <a:gd name="connsiteX42" fmla="*/ 959355 w 1918706"/>
                  <a:gd name="connsiteY42" fmla="*/ 5633118 h 5633118"/>
                  <a:gd name="connsiteX43" fmla="*/ 0 w 1918706"/>
                  <a:gd name="connsiteY43" fmla="*/ 5073791 h 5633118"/>
                  <a:gd name="connsiteX44" fmla="*/ 0 w 1918706"/>
                  <a:gd name="connsiteY44" fmla="*/ 4592438 h 5633118"/>
                  <a:gd name="connsiteX45" fmla="*/ 0 w 1918706"/>
                  <a:gd name="connsiteY45" fmla="*/ 4579284 h 5633118"/>
                  <a:gd name="connsiteX46" fmla="*/ 0 w 1918706"/>
                  <a:gd name="connsiteY46" fmla="*/ 4491829 h 5633118"/>
                  <a:gd name="connsiteX47" fmla="*/ 0 w 1918706"/>
                  <a:gd name="connsiteY47" fmla="*/ 4097931 h 5633118"/>
                  <a:gd name="connsiteX48" fmla="*/ 0 w 1918706"/>
                  <a:gd name="connsiteY48" fmla="*/ 4090156 h 5633118"/>
                  <a:gd name="connsiteX49" fmla="*/ 0 w 1918706"/>
                  <a:gd name="connsiteY49" fmla="*/ 4069228 h 5633118"/>
                  <a:gd name="connsiteX50" fmla="*/ 0 w 1918706"/>
                  <a:gd name="connsiteY50" fmla="*/ 4010476 h 5633118"/>
                  <a:gd name="connsiteX51" fmla="*/ 0 w 1918706"/>
                  <a:gd name="connsiteY51" fmla="*/ 3997322 h 5633118"/>
                  <a:gd name="connsiteX52" fmla="*/ 0 w 1918706"/>
                  <a:gd name="connsiteY52" fmla="*/ 3595649 h 5633118"/>
                  <a:gd name="connsiteX53" fmla="*/ 0 w 1918706"/>
                  <a:gd name="connsiteY53" fmla="*/ 3587875 h 5633118"/>
                  <a:gd name="connsiteX54" fmla="*/ 0 w 1918706"/>
                  <a:gd name="connsiteY54" fmla="*/ 3574721 h 5633118"/>
                  <a:gd name="connsiteX55" fmla="*/ 0 w 1918706"/>
                  <a:gd name="connsiteY55" fmla="*/ 3515969 h 5633118"/>
                  <a:gd name="connsiteX56" fmla="*/ 0 w 1918706"/>
                  <a:gd name="connsiteY56" fmla="*/ 3508195 h 5633118"/>
                  <a:gd name="connsiteX57" fmla="*/ 0 w 1918706"/>
                  <a:gd name="connsiteY57" fmla="*/ 3487266 h 5633118"/>
                  <a:gd name="connsiteX58" fmla="*/ 0 w 1918706"/>
                  <a:gd name="connsiteY5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076469 h 5633118"/>
                  <a:gd name="connsiteX5" fmla="*/ 1918706 w 1918706"/>
                  <a:gd name="connsiteY5" fmla="*/ 1491148 h 5633118"/>
                  <a:gd name="connsiteX6" fmla="*/ 1918706 w 1918706"/>
                  <a:gd name="connsiteY6" fmla="*/ 1499070 h 5633118"/>
                  <a:gd name="connsiteX7" fmla="*/ 1918706 w 1918706"/>
                  <a:gd name="connsiteY7" fmla="*/ 1506844 h 5633118"/>
                  <a:gd name="connsiteX8" fmla="*/ 1918706 w 1918706"/>
                  <a:gd name="connsiteY8" fmla="*/ 1563054 h 5633118"/>
                  <a:gd name="connsiteX9" fmla="*/ 1918706 w 1918706"/>
                  <a:gd name="connsiteY9" fmla="*/ 1586524 h 5633118"/>
                  <a:gd name="connsiteX10" fmla="*/ 1918706 w 1918706"/>
                  <a:gd name="connsiteY10" fmla="*/ 1985655 h 5633118"/>
                  <a:gd name="connsiteX11" fmla="*/ 1918706 w 1918706"/>
                  <a:gd name="connsiteY11" fmla="*/ 2001351 h 5633118"/>
                  <a:gd name="connsiteX12" fmla="*/ 1918706 w 1918706"/>
                  <a:gd name="connsiteY12" fmla="*/ 2009125 h 5633118"/>
                  <a:gd name="connsiteX13" fmla="*/ 1918706 w 1918706"/>
                  <a:gd name="connsiteY13" fmla="*/ 2073109 h 5633118"/>
                  <a:gd name="connsiteX14" fmla="*/ 1918706 w 1918706"/>
                  <a:gd name="connsiteY14" fmla="*/ 2081031 h 5633118"/>
                  <a:gd name="connsiteX15" fmla="*/ 1918706 w 1918706"/>
                  <a:gd name="connsiteY15" fmla="*/ 2088805 h 5633118"/>
                  <a:gd name="connsiteX16" fmla="*/ 1918706 w 1918706"/>
                  <a:gd name="connsiteY16" fmla="*/ 2503632 h 5633118"/>
                  <a:gd name="connsiteX17" fmla="*/ 1918706 w 1918706"/>
                  <a:gd name="connsiteY17" fmla="*/ 2511407 h 5633118"/>
                  <a:gd name="connsiteX18" fmla="*/ 1918706 w 1918706"/>
                  <a:gd name="connsiteY18" fmla="*/ 2567616 h 5633118"/>
                  <a:gd name="connsiteX19" fmla="*/ 1918706 w 1918706"/>
                  <a:gd name="connsiteY19" fmla="*/ 2583313 h 5633118"/>
                  <a:gd name="connsiteX20" fmla="*/ 1918706 w 1918706"/>
                  <a:gd name="connsiteY20" fmla="*/ 2591087 h 5633118"/>
                  <a:gd name="connsiteX21" fmla="*/ 1918706 w 1918706"/>
                  <a:gd name="connsiteY21" fmla="*/ 2992759 h 5633118"/>
                  <a:gd name="connsiteX22" fmla="*/ 1918706 w 1918706"/>
                  <a:gd name="connsiteY22" fmla="*/ 3005914 h 5633118"/>
                  <a:gd name="connsiteX23" fmla="*/ 1918706 w 1918706"/>
                  <a:gd name="connsiteY23" fmla="*/ 3013688 h 5633118"/>
                  <a:gd name="connsiteX24" fmla="*/ 1918706 w 1918706"/>
                  <a:gd name="connsiteY24" fmla="*/ 3085594 h 5633118"/>
                  <a:gd name="connsiteX25" fmla="*/ 1918706 w 1918706"/>
                  <a:gd name="connsiteY25" fmla="*/ 3093368 h 5633118"/>
                  <a:gd name="connsiteX26" fmla="*/ 1918706 w 1918706"/>
                  <a:gd name="connsiteY26" fmla="*/ 3487266 h 5633118"/>
                  <a:gd name="connsiteX27" fmla="*/ 1918706 w 1918706"/>
                  <a:gd name="connsiteY27" fmla="*/ 3508195 h 5633118"/>
                  <a:gd name="connsiteX28" fmla="*/ 1918706 w 1918706"/>
                  <a:gd name="connsiteY28" fmla="*/ 3515969 h 5633118"/>
                  <a:gd name="connsiteX29" fmla="*/ 1918706 w 1918706"/>
                  <a:gd name="connsiteY29" fmla="*/ 3574721 h 5633118"/>
                  <a:gd name="connsiteX30" fmla="*/ 1918706 w 1918706"/>
                  <a:gd name="connsiteY30" fmla="*/ 3587875 h 5633118"/>
                  <a:gd name="connsiteX31" fmla="*/ 1918706 w 1918706"/>
                  <a:gd name="connsiteY31" fmla="*/ 3595649 h 5633118"/>
                  <a:gd name="connsiteX32" fmla="*/ 1918706 w 1918706"/>
                  <a:gd name="connsiteY32" fmla="*/ 3997322 h 5633118"/>
                  <a:gd name="connsiteX33" fmla="*/ 1918706 w 1918706"/>
                  <a:gd name="connsiteY33" fmla="*/ 4010476 h 5633118"/>
                  <a:gd name="connsiteX34" fmla="*/ 1918706 w 1918706"/>
                  <a:gd name="connsiteY34" fmla="*/ 4069228 h 5633118"/>
                  <a:gd name="connsiteX35" fmla="*/ 1918706 w 1918706"/>
                  <a:gd name="connsiteY35" fmla="*/ 4090156 h 5633118"/>
                  <a:gd name="connsiteX36" fmla="*/ 1918706 w 1918706"/>
                  <a:gd name="connsiteY36" fmla="*/ 4097931 h 5633118"/>
                  <a:gd name="connsiteX37" fmla="*/ 1918706 w 1918706"/>
                  <a:gd name="connsiteY37" fmla="*/ 4491829 h 5633118"/>
                  <a:gd name="connsiteX38" fmla="*/ 1918706 w 1918706"/>
                  <a:gd name="connsiteY38" fmla="*/ 4579284 h 5633118"/>
                  <a:gd name="connsiteX39" fmla="*/ 1918706 w 1918706"/>
                  <a:gd name="connsiteY39" fmla="*/ 4592438 h 5633118"/>
                  <a:gd name="connsiteX40" fmla="*/ 1918706 w 1918706"/>
                  <a:gd name="connsiteY40" fmla="*/ 5073791 h 5633118"/>
                  <a:gd name="connsiteX41" fmla="*/ 959355 w 1918706"/>
                  <a:gd name="connsiteY41" fmla="*/ 5633118 h 5633118"/>
                  <a:gd name="connsiteX42" fmla="*/ 0 w 1918706"/>
                  <a:gd name="connsiteY42" fmla="*/ 5073791 h 5633118"/>
                  <a:gd name="connsiteX43" fmla="*/ 0 w 1918706"/>
                  <a:gd name="connsiteY43" fmla="*/ 4592438 h 5633118"/>
                  <a:gd name="connsiteX44" fmla="*/ 0 w 1918706"/>
                  <a:gd name="connsiteY44" fmla="*/ 4579284 h 5633118"/>
                  <a:gd name="connsiteX45" fmla="*/ 0 w 1918706"/>
                  <a:gd name="connsiteY45" fmla="*/ 4491829 h 5633118"/>
                  <a:gd name="connsiteX46" fmla="*/ 0 w 1918706"/>
                  <a:gd name="connsiteY46" fmla="*/ 4097931 h 5633118"/>
                  <a:gd name="connsiteX47" fmla="*/ 0 w 1918706"/>
                  <a:gd name="connsiteY47" fmla="*/ 4090156 h 5633118"/>
                  <a:gd name="connsiteX48" fmla="*/ 0 w 1918706"/>
                  <a:gd name="connsiteY48" fmla="*/ 4069228 h 5633118"/>
                  <a:gd name="connsiteX49" fmla="*/ 0 w 1918706"/>
                  <a:gd name="connsiteY49" fmla="*/ 4010476 h 5633118"/>
                  <a:gd name="connsiteX50" fmla="*/ 0 w 1918706"/>
                  <a:gd name="connsiteY50" fmla="*/ 3997322 h 5633118"/>
                  <a:gd name="connsiteX51" fmla="*/ 0 w 1918706"/>
                  <a:gd name="connsiteY51" fmla="*/ 3595649 h 5633118"/>
                  <a:gd name="connsiteX52" fmla="*/ 0 w 1918706"/>
                  <a:gd name="connsiteY52" fmla="*/ 3587875 h 5633118"/>
                  <a:gd name="connsiteX53" fmla="*/ 0 w 1918706"/>
                  <a:gd name="connsiteY53" fmla="*/ 3574721 h 5633118"/>
                  <a:gd name="connsiteX54" fmla="*/ 0 w 1918706"/>
                  <a:gd name="connsiteY54" fmla="*/ 3515969 h 5633118"/>
                  <a:gd name="connsiteX55" fmla="*/ 0 w 1918706"/>
                  <a:gd name="connsiteY55" fmla="*/ 3508195 h 5633118"/>
                  <a:gd name="connsiteX56" fmla="*/ 0 w 1918706"/>
                  <a:gd name="connsiteY56" fmla="*/ 3487266 h 5633118"/>
                  <a:gd name="connsiteX57" fmla="*/ 0 w 1918706"/>
                  <a:gd name="connsiteY5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491148 h 5633118"/>
                  <a:gd name="connsiteX5" fmla="*/ 1918706 w 1918706"/>
                  <a:gd name="connsiteY5" fmla="*/ 1499070 h 5633118"/>
                  <a:gd name="connsiteX6" fmla="*/ 1918706 w 1918706"/>
                  <a:gd name="connsiteY6" fmla="*/ 1506844 h 5633118"/>
                  <a:gd name="connsiteX7" fmla="*/ 1918706 w 1918706"/>
                  <a:gd name="connsiteY7" fmla="*/ 1563054 h 5633118"/>
                  <a:gd name="connsiteX8" fmla="*/ 1918706 w 1918706"/>
                  <a:gd name="connsiteY8" fmla="*/ 1586524 h 5633118"/>
                  <a:gd name="connsiteX9" fmla="*/ 1918706 w 1918706"/>
                  <a:gd name="connsiteY9" fmla="*/ 1985655 h 5633118"/>
                  <a:gd name="connsiteX10" fmla="*/ 1918706 w 1918706"/>
                  <a:gd name="connsiteY10" fmla="*/ 2001351 h 5633118"/>
                  <a:gd name="connsiteX11" fmla="*/ 1918706 w 1918706"/>
                  <a:gd name="connsiteY11" fmla="*/ 2009125 h 5633118"/>
                  <a:gd name="connsiteX12" fmla="*/ 1918706 w 1918706"/>
                  <a:gd name="connsiteY12" fmla="*/ 2073109 h 5633118"/>
                  <a:gd name="connsiteX13" fmla="*/ 1918706 w 1918706"/>
                  <a:gd name="connsiteY13" fmla="*/ 2081031 h 5633118"/>
                  <a:gd name="connsiteX14" fmla="*/ 1918706 w 1918706"/>
                  <a:gd name="connsiteY14" fmla="*/ 2088805 h 5633118"/>
                  <a:gd name="connsiteX15" fmla="*/ 1918706 w 1918706"/>
                  <a:gd name="connsiteY15" fmla="*/ 2503632 h 5633118"/>
                  <a:gd name="connsiteX16" fmla="*/ 1918706 w 1918706"/>
                  <a:gd name="connsiteY16" fmla="*/ 2511407 h 5633118"/>
                  <a:gd name="connsiteX17" fmla="*/ 1918706 w 1918706"/>
                  <a:gd name="connsiteY17" fmla="*/ 2567616 h 5633118"/>
                  <a:gd name="connsiteX18" fmla="*/ 1918706 w 1918706"/>
                  <a:gd name="connsiteY18" fmla="*/ 2583313 h 5633118"/>
                  <a:gd name="connsiteX19" fmla="*/ 1918706 w 1918706"/>
                  <a:gd name="connsiteY19" fmla="*/ 2591087 h 5633118"/>
                  <a:gd name="connsiteX20" fmla="*/ 1918706 w 1918706"/>
                  <a:gd name="connsiteY20" fmla="*/ 2992759 h 5633118"/>
                  <a:gd name="connsiteX21" fmla="*/ 1918706 w 1918706"/>
                  <a:gd name="connsiteY21" fmla="*/ 3005914 h 5633118"/>
                  <a:gd name="connsiteX22" fmla="*/ 1918706 w 1918706"/>
                  <a:gd name="connsiteY22" fmla="*/ 3013688 h 5633118"/>
                  <a:gd name="connsiteX23" fmla="*/ 1918706 w 1918706"/>
                  <a:gd name="connsiteY23" fmla="*/ 3085594 h 5633118"/>
                  <a:gd name="connsiteX24" fmla="*/ 1918706 w 1918706"/>
                  <a:gd name="connsiteY24" fmla="*/ 3093368 h 5633118"/>
                  <a:gd name="connsiteX25" fmla="*/ 1918706 w 1918706"/>
                  <a:gd name="connsiteY25" fmla="*/ 3487266 h 5633118"/>
                  <a:gd name="connsiteX26" fmla="*/ 1918706 w 1918706"/>
                  <a:gd name="connsiteY26" fmla="*/ 3508195 h 5633118"/>
                  <a:gd name="connsiteX27" fmla="*/ 1918706 w 1918706"/>
                  <a:gd name="connsiteY27" fmla="*/ 3515969 h 5633118"/>
                  <a:gd name="connsiteX28" fmla="*/ 1918706 w 1918706"/>
                  <a:gd name="connsiteY28" fmla="*/ 3574721 h 5633118"/>
                  <a:gd name="connsiteX29" fmla="*/ 1918706 w 1918706"/>
                  <a:gd name="connsiteY29" fmla="*/ 3587875 h 5633118"/>
                  <a:gd name="connsiteX30" fmla="*/ 1918706 w 1918706"/>
                  <a:gd name="connsiteY30" fmla="*/ 3595649 h 5633118"/>
                  <a:gd name="connsiteX31" fmla="*/ 1918706 w 1918706"/>
                  <a:gd name="connsiteY31" fmla="*/ 3997322 h 5633118"/>
                  <a:gd name="connsiteX32" fmla="*/ 1918706 w 1918706"/>
                  <a:gd name="connsiteY32" fmla="*/ 4010476 h 5633118"/>
                  <a:gd name="connsiteX33" fmla="*/ 1918706 w 1918706"/>
                  <a:gd name="connsiteY33" fmla="*/ 4069228 h 5633118"/>
                  <a:gd name="connsiteX34" fmla="*/ 1918706 w 1918706"/>
                  <a:gd name="connsiteY34" fmla="*/ 4090156 h 5633118"/>
                  <a:gd name="connsiteX35" fmla="*/ 1918706 w 1918706"/>
                  <a:gd name="connsiteY35" fmla="*/ 4097931 h 5633118"/>
                  <a:gd name="connsiteX36" fmla="*/ 1918706 w 1918706"/>
                  <a:gd name="connsiteY36" fmla="*/ 4491829 h 5633118"/>
                  <a:gd name="connsiteX37" fmla="*/ 1918706 w 1918706"/>
                  <a:gd name="connsiteY37" fmla="*/ 4579284 h 5633118"/>
                  <a:gd name="connsiteX38" fmla="*/ 1918706 w 1918706"/>
                  <a:gd name="connsiteY38" fmla="*/ 4592438 h 5633118"/>
                  <a:gd name="connsiteX39" fmla="*/ 1918706 w 1918706"/>
                  <a:gd name="connsiteY39" fmla="*/ 5073791 h 5633118"/>
                  <a:gd name="connsiteX40" fmla="*/ 959355 w 1918706"/>
                  <a:gd name="connsiteY40" fmla="*/ 5633118 h 5633118"/>
                  <a:gd name="connsiteX41" fmla="*/ 0 w 1918706"/>
                  <a:gd name="connsiteY41" fmla="*/ 5073791 h 5633118"/>
                  <a:gd name="connsiteX42" fmla="*/ 0 w 1918706"/>
                  <a:gd name="connsiteY42" fmla="*/ 4592438 h 5633118"/>
                  <a:gd name="connsiteX43" fmla="*/ 0 w 1918706"/>
                  <a:gd name="connsiteY43" fmla="*/ 4579284 h 5633118"/>
                  <a:gd name="connsiteX44" fmla="*/ 0 w 1918706"/>
                  <a:gd name="connsiteY44" fmla="*/ 4491829 h 5633118"/>
                  <a:gd name="connsiteX45" fmla="*/ 0 w 1918706"/>
                  <a:gd name="connsiteY45" fmla="*/ 4097931 h 5633118"/>
                  <a:gd name="connsiteX46" fmla="*/ 0 w 1918706"/>
                  <a:gd name="connsiteY46" fmla="*/ 4090156 h 5633118"/>
                  <a:gd name="connsiteX47" fmla="*/ 0 w 1918706"/>
                  <a:gd name="connsiteY47" fmla="*/ 4069228 h 5633118"/>
                  <a:gd name="connsiteX48" fmla="*/ 0 w 1918706"/>
                  <a:gd name="connsiteY48" fmla="*/ 4010476 h 5633118"/>
                  <a:gd name="connsiteX49" fmla="*/ 0 w 1918706"/>
                  <a:gd name="connsiteY49" fmla="*/ 3997322 h 5633118"/>
                  <a:gd name="connsiteX50" fmla="*/ 0 w 1918706"/>
                  <a:gd name="connsiteY50" fmla="*/ 3595649 h 5633118"/>
                  <a:gd name="connsiteX51" fmla="*/ 0 w 1918706"/>
                  <a:gd name="connsiteY51" fmla="*/ 3587875 h 5633118"/>
                  <a:gd name="connsiteX52" fmla="*/ 0 w 1918706"/>
                  <a:gd name="connsiteY52" fmla="*/ 3574721 h 5633118"/>
                  <a:gd name="connsiteX53" fmla="*/ 0 w 1918706"/>
                  <a:gd name="connsiteY53" fmla="*/ 3515969 h 5633118"/>
                  <a:gd name="connsiteX54" fmla="*/ 0 w 1918706"/>
                  <a:gd name="connsiteY54" fmla="*/ 3508195 h 5633118"/>
                  <a:gd name="connsiteX55" fmla="*/ 0 w 1918706"/>
                  <a:gd name="connsiteY55" fmla="*/ 3487266 h 5633118"/>
                  <a:gd name="connsiteX56" fmla="*/ 0 w 1918706"/>
                  <a:gd name="connsiteY5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06844 h 5633118"/>
                  <a:gd name="connsiteX6" fmla="*/ 1918706 w 1918706"/>
                  <a:gd name="connsiteY6" fmla="*/ 1563054 h 5633118"/>
                  <a:gd name="connsiteX7" fmla="*/ 1918706 w 1918706"/>
                  <a:gd name="connsiteY7" fmla="*/ 1586524 h 5633118"/>
                  <a:gd name="connsiteX8" fmla="*/ 1918706 w 1918706"/>
                  <a:gd name="connsiteY8" fmla="*/ 1985655 h 5633118"/>
                  <a:gd name="connsiteX9" fmla="*/ 1918706 w 1918706"/>
                  <a:gd name="connsiteY9" fmla="*/ 2001351 h 5633118"/>
                  <a:gd name="connsiteX10" fmla="*/ 1918706 w 1918706"/>
                  <a:gd name="connsiteY10" fmla="*/ 2009125 h 5633118"/>
                  <a:gd name="connsiteX11" fmla="*/ 1918706 w 1918706"/>
                  <a:gd name="connsiteY11" fmla="*/ 2073109 h 5633118"/>
                  <a:gd name="connsiteX12" fmla="*/ 1918706 w 1918706"/>
                  <a:gd name="connsiteY12" fmla="*/ 2081031 h 5633118"/>
                  <a:gd name="connsiteX13" fmla="*/ 1918706 w 1918706"/>
                  <a:gd name="connsiteY13" fmla="*/ 2088805 h 5633118"/>
                  <a:gd name="connsiteX14" fmla="*/ 1918706 w 1918706"/>
                  <a:gd name="connsiteY14" fmla="*/ 2503632 h 5633118"/>
                  <a:gd name="connsiteX15" fmla="*/ 1918706 w 1918706"/>
                  <a:gd name="connsiteY15" fmla="*/ 2511407 h 5633118"/>
                  <a:gd name="connsiteX16" fmla="*/ 1918706 w 1918706"/>
                  <a:gd name="connsiteY16" fmla="*/ 2567616 h 5633118"/>
                  <a:gd name="connsiteX17" fmla="*/ 1918706 w 1918706"/>
                  <a:gd name="connsiteY17" fmla="*/ 2583313 h 5633118"/>
                  <a:gd name="connsiteX18" fmla="*/ 1918706 w 1918706"/>
                  <a:gd name="connsiteY18" fmla="*/ 2591087 h 5633118"/>
                  <a:gd name="connsiteX19" fmla="*/ 1918706 w 1918706"/>
                  <a:gd name="connsiteY19" fmla="*/ 2992759 h 5633118"/>
                  <a:gd name="connsiteX20" fmla="*/ 1918706 w 1918706"/>
                  <a:gd name="connsiteY20" fmla="*/ 3005914 h 5633118"/>
                  <a:gd name="connsiteX21" fmla="*/ 1918706 w 1918706"/>
                  <a:gd name="connsiteY21" fmla="*/ 3013688 h 5633118"/>
                  <a:gd name="connsiteX22" fmla="*/ 1918706 w 1918706"/>
                  <a:gd name="connsiteY22" fmla="*/ 3085594 h 5633118"/>
                  <a:gd name="connsiteX23" fmla="*/ 1918706 w 1918706"/>
                  <a:gd name="connsiteY23" fmla="*/ 3093368 h 5633118"/>
                  <a:gd name="connsiteX24" fmla="*/ 1918706 w 1918706"/>
                  <a:gd name="connsiteY24" fmla="*/ 3487266 h 5633118"/>
                  <a:gd name="connsiteX25" fmla="*/ 1918706 w 1918706"/>
                  <a:gd name="connsiteY25" fmla="*/ 3508195 h 5633118"/>
                  <a:gd name="connsiteX26" fmla="*/ 1918706 w 1918706"/>
                  <a:gd name="connsiteY26" fmla="*/ 3515969 h 5633118"/>
                  <a:gd name="connsiteX27" fmla="*/ 1918706 w 1918706"/>
                  <a:gd name="connsiteY27" fmla="*/ 3574721 h 5633118"/>
                  <a:gd name="connsiteX28" fmla="*/ 1918706 w 1918706"/>
                  <a:gd name="connsiteY28" fmla="*/ 3587875 h 5633118"/>
                  <a:gd name="connsiteX29" fmla="*/ 1918706 w 1918706"/>
                  <a:gd name="connsiteY29" fmla="*/ 3595649 h 5633118"/>
                  <a:gd name="connsiteX30" fmla="*/ 1918706 w 1918706"/>
                  <a:gd name="connsiteY30" fmla="*/ 3997322 h 5633118"/>
                  <a:gd name="connsiteX31" fmla="*/ 1918706 w 1918706"/>
                  <a:gd name="connsiteY31" fmla="*/ 4010476 h 5633118"/>
                  <a:gd name="connsiteX32" fmla="*/ 1918706 w 1918706"/>
                  <a:gd name="connsiteY32" fmla="*/ 4069228 h 5633118"/>
                  <a:gd name="connsiteX33" fmla="*/ 1918706 w 1918706"/>
                  <a:gd name="connsiteY33" fmla="*/ 4090156 h 5633118"/>
                  <a:gd name="connsiteX34" fmla="*/ 1918706 w 1918706"/>
                  <a:gd name="connsiteY34" fmla="*/ 4097931 h 5633118"/>
                  <a:gd name="connsiteX35" fmla="*/ 1918706 w 1918706"/>
                  <a:gd name="connsiteY35" fmla="*/ 4491829 h 5633118"/>
                  <a:gd name="connsiteX36" fmla="*/ 1918706 w 1918706"/>
                  <a:gd name="connsiteY36" fmla="*/ 4579284 h 5633118"/>
                  <a:gd name="connsiteX37" fmla="*/ 1918706 w 1918706"/>
                  <a:gd name="connsiteY37" fmla="*/ 4592438 h 5633118"/>
                  <a:gd name="connsiteX38" fmla="*/ 1918706 w 1918706"/>
                  <a:gd name="connsiteY38" fmla="*/ 5073791 h 5633118"/>
                  <a:gd name="connsiteX39" fmla="*/ 959355 w 1918706"/>
                  <a:gd name="connsiteY39" fmla="*/ 5633118 h 5633118"/>
                  <a:gd name="connsiteX40" fmla="*/ 0 w 1918706"/>
                  <a:gd name="connsiteY40" fmla="*/ 5073791 h 5633118"/>
                  <a:gd name="connsiteX41" fmla="*/ 0 w 1918706"/>
                  <a:gd name="connsiteY41" fmla="*/ 4592438 h 5633118"/>
                  <a:gd name="connsiteX42" fmla="*/ 0 w 1918706"/>
                  <a:gd name="connsiteY42" fmla="*/ 4579284 h 5633118"/>
                  <a:gd name="connsiteX43" fmla="*/ 0 w 1918706"/>
                  <a:gd name="connsiteY43" fmla="*/ 4491829 h 5633118"/>
                  <a:gd name="connsiteX44" fmla="*/ 0 w 1918706"/>
                  <a:gd name="connsiteY44" fmla="*/ 4097931 h 5633118"/>
                  <a:gd name="connsiteX45" fmla="*/ 0 w 1918706"/>
                  <a:gd name="connsiteY45" fmla="*/ 4090156 h 5633118"/>
                  <a:gd name="connsiteX46" fmla="*/ 0 w 1918706"/>
                  <a:gd name="connsiteY46" fmla="*/ 4069228 h 5633118"/>
                  <a:gd name="connsiteX47" fmla="*/ 0 w 1918706"/>
                  <a:gd name="connsiteY47" fmla="*/ 4010476 h 5633118"/>
                  <a:gd name="connsiteX48" fmla="*/ 0 w 1918706"/>
                  <a:gd name="connsiteY48" fmla="*/ 3997322 h 5633118"/>
                  <a:gd name="connsiteX49" fmla="*/ 0 w 1918706"/>
                  <a:gd name="connsiteY49" fmla="*/ 3595649 h 5633118"/>
                  <a:gd name="connsiteX50" fmla="*/ 0 w 1918706"/>
                  <a:gd name="connsiteY50" fmla="*/ 3587875 h 5633118"/>
                  <a:gd name="connsiteX51" fmla="*/ 0 w 1918706"/>
                  <a:gd name="connsiteY51" fmla="*/ 3574721 h 5633118"/>
                  <a:gd name="connsiteX52" fmla="*/ 0 w 1918706"/>
                  <a:gd name="connsiteY52" fmla="*/ 3515969 h 5633118"/>
                  <a:gd name="connsiteX53" fmla="*/ 0 w 1918706"/>
                  <a:gd name="connsiteY53" fmla="*/ 3508195 h 5633118"/>
                  <a:gd name="connsiteX54" fmla="*/ 0 w 1918706"/>
                  <a:gd name="connsiteY54" fmla="*/ 3487266 h 5633118"/>
                  <a:gd name="connsiteX55" fmla="*/ 0 w 1918706"/>
                  <a:gd name="connsiteY5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63054 h 5633118"/>
                  <a:gd name="connsiteX6" fmla="*/ 1918706 w 1918706"/>
                  <a:gd name="connsiteY6" fmla="*/ 1586524 h 5633118"/>
                  <a:gd name="connsiteX7" fmla="*/ 1918706 w 1918706"/>
                  <a:gd name="connsiteY7" fmla="*/ 1985655 h 5633118"/>
                  <a:gd name="connsiteX8" fmla="*/ 1918706 w 1918706"/>
                  <a:gd name="connsiteY8" fmla="*/ 2001351 h 5633118"/>
                  <a:gd name="connsiteX9" fmla="*/ 1918706 w 1918706"/>
                  <a:gd name="connsiteY9" fmla="*/ 2009125 h 5633118"/>
                  <a:gd name="connsiteX10" fmla="*/ 1918706 w 1918706"/>
                  <a:gd name="connsiteY10" fmla="*/ 2073109 h 5633118"/>
                  <a:gd name="connsiteX11" fmla="*/ 1918706 w 1918706"/>
                  <a:gd name="connsiteY11" fmla="*/ 2081031 h 5633118"/>
                  <a:gd name="connsiteX12" fmla="*/ 1918706 w 1918706"/>
                  <a:gd name="connsiteY12" fmla="*/ 2088805 h 5633118"/>
                  <a:gd name="connsiteX13" fmla="*/ 1918706 w 1918706"/>
                  <a:gd name="connsiteY13" fmla="*/ 2503632 h 5633118"/>
                  <a:gd name="connsiteX14" fmla="*/ 1918706 w 1918706"/>
                  <a:gd name="connsiteY14" fmla="*/ 2511407 h 5633118"/>
                  <a:gd name="connsiteX15" fmla="*/ 1918706 w 1918706"/>
                  <a:gd name="connsiteY15" fmla="*/ 2567616 h 5633118"/>
                  <a:gd name="connsiteX16" fmla="*/ 1918706 w 1918706"/>
                  <a:gd name="connsiteY16" fmla="*/ 2583313 h 5633118"/>
                  <a:gd name="connsiteX17" fmla="*/ 1918706 w 1918706"/>
                  <a:gd name="connsiteY17" fmla="*/ 2591087 h 5633118"/>
                  <a:gd name="connsiteX18" fmla="*/ 1918706 w 1918706"/>
                  <a:gd name="connsiteY18" fmla="*/ 2992759 h 5633118"/>
                  <a:gd name="connsiteX19" fmla="*/ 1918706 w 1918706"/>
                  <a:gd name="connsiteY19" fmla="*/ 3005914 h 5633118"/>
                  <a:gd name="connsiteX20" fmla="*/ 1918706 w 1918706"/>
                  <a:gd name="connsiteY20" fmla="*/ 3013688 h 5633118"/>
                  <a:gd name="connsiteX21" fmla="*/ 1918706 w 1918706"/>
                  <a:gd name="connsiteY21" fmla="*/ 3085594 h 5633118"/>
                  <a:gd name="connsiteX22" fmla="*/ 1918706 w 1918706"/>
                  <a:gd name="connsiteY22" fmla="*/ 3093368 h 5633118"/>
                  <a:gd name="connsiteX23" fmla="*/ 1918706 w 1918706"/>
                  <a:gd name="connsiteY23" fmla="*/ 3487266 h 5633118"/>
                  <a:gd name="connsiteX24" fmla="*/ 1918706 w 1918706"/>
                  <a:gd name="connsiteY24" fmla="*/ 3508195 h 5633118"/>
                  <a:gd name="connsiteX25" fmla="*/ 1918706 w 1918706"/>
                  <a:gd name="connsiteY25" fmla="*/ 3515969 h 5633118"/>
                  <a:gd name="connsiteX26" fmla="*/ 1918706 w 1918706"/>
                  <a:gd name="connsiteY26" fmla="*/ 3574721 h 5633118"/>
                  <a:gd name="connsiteX27" fmla="*/ 1918706 w 1918706"/>
                  <a:gd name="connsiteY27" fmla="*/ 3587875 h 5633118"/>
                  <a:gd name="connsiteX28" fmla="*/ 1918706 w 1918706"/>
                  <a:gd name="connsiteY28" fmla="*/ 3595649 h 5633118"/>
                  <a:gd name="connsiteX29" fmla="*/ 1918706 w 1918706"/>
                  <a:gd name="connsiteY29" fmla="*/ 3997322 h 5633118"/>
                  <a:gd name="connsiteX30" fmla="*/ 1918706 w 1918706"/>
                  <a:gd name="connsiteY30" fmla="*/ 4010476 h 5633118"/>
                  <a:gd name="connsiteX31" fmla="*/ 1918706 w 1918706"/>
                  <a:gd name="connsiteY31" fmla="*/ 4069228 h 5633118"/>
                  <a:gd name="connsiteX32" fmla="*/ 1918706 w 1918706"/>
                  <a:gd name="connsiteY32" fmla="*/ 4090156 h 5633118"/>
                  <a:gd name="connsiteX33" fmla="*/ 1918706 w 1918706"/>
                  <a:gd name="connsiteY33" fmla="*/ 4097931 h 5633118"/>
                  <a:gd name="connsiteX34" fmla="*/ 1918706 w 1918706"/>
                  <a:gd name="connsiteY34" fmla="*/ 4491829 h 5633118"/>
                  <a:gd name="connsiteX35" fmla="*/ 1918706 w 1918706"/>
                  <a:gd name="connsiteY35" fmla="*/ 4579284 h 5633118"/>
                  <a:gd name="connsiteX36" fmla="*/ 1918706 w 1918706"/>
                  <a:gd name="connsiteY36" fmla="*/ 4592438 h 5633118"/>
                  <a:gd name="connsiteX37" fmla="*/ 1918706 w 1918706"/>
                  <a:gd name="connsiteY37" fmla="*/ 5073791 h 5633118"/>
                  <a:gd name="connsiteX38" fmla="*/ 959355 w 1918706"/>
                  <a:gd name="connsiteY38" fmla="*/ 5633118 h 5633118"/>
                  <a:gd name="connsiteX39" fmla="*/ 0 w 1918706"/>
                  <a:gd name="connsiteY39" fmla="*/ 5073791 h 5633118"/>
                  <a:gd name="connsiteX40" fmla="*/ 0 w 1918706"/>
                  <a:gd name="connsiteY40" fmla="*/ 4592438 h 5633118"/>
                  <a:gd name="connsiteX41" fmla="*/ 0 w 1918706"/>
                  <a:gd name="connsiteY41" fmla="*/ 4579284 h 5633118"/>
                  <a:gd name="connsiteX42" fmla="*/ 0 w 1918706"/>
                  <a:gd name="connsiteY42" fmla="*/ 4491829 h 5633118"/>
                  <a:gd name="connsiteX43" fmla="*/ 0 w 1918706"/>
                  <a:gd name="connsiteY43" fmla="*/ 4097931 h 5633118"/>
                  <a:gd name="connsiteX44" fmla="*/ 0 w 1918706"/>
                  <a:gd name="connsiteY44" fmla="*/ 4090156 h 5633118"/>
                  <a:gd name="connsiteX45" fmla="*/ 0 w 1918706"/>
                  <a:gd name="connsiteY45" fmla="*/ 4069228 h 5633118"/>
                  <a:gd name="connsiteX46" fmla="*/ 0 w 1918706"/>
                  <a:gd name="connsiteY46" fmla="*/ 4010476 h 5633118"/>
                  <a:gd name="connsiteX47" fmla="*/ 0 w 1918706"/>
                  <a:gd name="connsiteY47" fmla="*/ 3997322 h 5633118"/>
                  <a:gd name="connsiteX48" fmla="*/ 0 w 1918706"/>
                  <a:gd name="connsiteY48" fmla="*/ 3595649 h 5633118"/>
                  <a:gd name="connsiteX49" fmla="*/ 0 w 1918706"/>
                  <a:gd name="connsiteY49" fmla="*/ 3587875 h 5633118"/>
                  <a:gd name="connsiteX50" fmla="*/ 0 w 1918706"/>
                  <a:gd name="connsiteY50" fmla="*/ 3574721 h 5633118"/>
                  <a:gd name="connsiteX51" fmla="*/ 0 w 1918706"/>
                  <a:gd name="connsiteY51" fmla="*/ 3515969 h 5633118"/>
                  <a:gd name="connsiteX52" fmla="*/ 0 w 1918706"/>
                  <a:gd name="connsiteY52" fmla="*/ 3508195 h 5633118"/>
                  <a:gd name="connsiteX53" fmla="*/ 0 w 1918706"/>
                  <a:gd name="connsiteY53" fmla="*/ 3487266 h 5633118"/>
                  <a:gd name="connsiteX54" fmla="*/ 0 w 1918706"/>
                  <a:gd name="connsiteY5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563054 h 5633118"/>
                  <a:gd name="connsiteX5" fmla="*/ 1918706 w 1918706"/>
                  <a:gd name="connsiteY5" fmla="*/ 1586524 h 5633118"/>
                  <a:gd name="connsiteX6" fmla="*/ 1918706 w 1918706"/>
                  <a:gd name="connsiteY6" fmla="*/ 1985655 h 5633118"/>
                  <a:gd name="connsiteX7" fmla="*/ 1918706 w 1918706"/>
                  <a:gd name="connsiteY7" fmla="*/ 2001351 h 5633118"/>
                  <a:gd name="connsiteX8" fmla="*/ 1918706 w 1918706"/>
                  <a:gd name="connsiteY8" fmla="*/ 2009125 h 5633118"/>
                  <a:gd name="connsiteX9" fmla="*/ 1918706 w 1918706"/>
                  <a:gd name="connsiteY9" fmla="*/ 2073109 h 5633118"/>
                  <a:gd name="connsiteX10" fmla="*/ 1918706 w 1918706"/>
                  <a:gd name="connsiteY10" fmla="*/ 2081031 h 5633118"/>
                  <a:gd name="connsiteX11" fmla="*/ 1918706 w 1918706"/>
                  <a:gd name="connsiteY11" fmla="*/ 2088805 h 5633118"/>
                  <a:gd name="connsiteX12" fmla="*/ 1918706 w 1918706"/>
                  <a:gd name="connsiteY12" fmla="*/ 2503632 h 5633118"/>
                  <a:gd name="connsiteX13" fmla="*/ 1918706 w 1918706"/>
                  <a:gd name="connsiteY13" fmla="*/ 2511407 h 5633118"/>
                  <a:gd name="connsiteX14" fmla="*/ 1918706 w 1918706"/>
                  <a:gd name="connsiteY14" fmla="*/ 2567616 h 5633118"/>
                  <a:gd name="connsiteX15" fmla="*/ 1918706 w 1918706"/>
                  <a:gd name="connsiteY15" fmla="*/ 2583313 h 5633118"/>
                  <a:gd name="connsiteX16" fmla="*/ 1918706 w 1918706"/>
                  <a:gd name="connsiteY16" fmla="*/ 2591087 h 5633118"/>
                  <a:gd name="connsiteX17" fmla="*/ 1918706 w 1918706"/>
                  <a:gd name="connsiteY17" fmla="*/ 2992759 h 5633118"/>
                  <a:gd name="connsiteX18" fmla="*/ 1918706 w 1918706"/>
                  <a:gd name="connsiteY18" fmla="*/ 3005914 h 5633118"/>
                  <a:gd name="connsiteX19" fmla="*/ 1918706 w 1918706"/>
                  <a:gd name="connsiteY19" fmla="*/ 3013688 h 5633118"/>
                  <a:gd name="connsiteX20" fmla="*/ 1918706 w 1918706"/>
                  <a:gd name="connsiteY20" fmla="*/ 3085594 h 5633118"/>
                  <a:gd name="connsiteX21" fmla="*/ 1918706 w 1918706"/>
                  <a:gd name="connsiteY21" fmla="*/ 3093368 h 5633118"/>
                  <a:gd name="connsiteX22" fmla="*/ 1918706 w 1918706"/>
                  <a:gd name="connsiteY22" fmla="*/ 3487266 h 5633118"/>
                  <a:gd name="connsiteX23" fmla="*/ 1918706 w 1918706"/>
                  <a:gd name="connsiteY23" fmla="*/ 3508195 h 5633118"/>
                  <a:gd name="connsiteX24" fmla="*/ 1918706 w 1918706"/>
                  <a:gd name="connsiteY24" fmla="*/ 3515969 h 5633118"/>
                  <a:gd name="connsiteX25" fmla="*/ 1918706 w 1918706"/>
                  <a:gd name="connsiteY25" fmla="*/ 3574721 h 5633118"/>
                  <a:gd name="connsiteX26" fmla="*/ 1918706 w 1918706"/>
                  <a:gd name="connsiteY26" fmla="*/ 3587875 h 5633118"/>
                  <a:gd name="connsiteX27" fmla="*/ 1918706 w 1918706"/>
                  <a:gd name="connsiteY27" fmla="*/ 3595649 h 5633118"/>
                  <a:gd name="connsiteX28" fmla="*/ 1918706 w 1918706"/>
                  <a:gd name="connsiteY28" fmla="*/ 3997322 h 5633118"/>
                  <a:gd name="connsiteX29" fmla="*/ 1918706 w 1918706"/>
                  <a:gd name="connsiteY29" fmla="*/ 4010476 h 5633118"/>
                  <a:gd name="connsiteX30" fmla="*/ 1918706 w 1918706"/>
                  <a:gd name="connsiteY30" fmla="*/ 4069228 h 5633118"/>
                  <a:gd name="connsiteX31" fmla="*/ 1918706 w 1918706"/>
                  <a:gd name="connsiteY31" fmla="*/ 4090156 h 5633118"/>
                  <a:gd name="connsiteX32" fmla="*/ 1918706 w 1918706"/>
                  <a:gd name="connsiteY32" fmla="*/ 4097931 h 5633118"/>
                  <a:gd name="connsiteX33" fmla="*/ 1918706 w 1918706"/>
                  <a:gd name="connsiteY33" fmla="*/ 4491829 h 5633118"/>
                  <a:gd name="connsiteX34" fmla="*/ 1918706 w 1918706"/>
                  <a:gd name="connsiteY34" fmla="*/ 4579284 h 5633118"/>
                  <a:gd name="connsiteX35" fmla="*/ 1918706 w 1918706"/>
                  <a:gd name="connsiteY35" fmla="*/ 4592438 h 5633118"/>
                  <a:gd name="connsiteX36" fmla="*/ 1918706 w 1918706"/>
                  <a:gd name="connsiteY36" fmla="*/ 5073791 h 5633118"/>
                  <a:gd name="connsiteX37" fmla="*/ 959355 w 1918706"/>
                  <a:gd name="connsiteY37" fmla="*/ 5633118 h 5633118"/>
                  <a:gd name="connsiteX38" fmla="*/ 0 w 1918706"/>
                  <a:gd name="connsiteY38" fmla="*/ 5073791 h 5633118"/>
                  <a:gd name="connsiteX39" fmla="*/ 0 w 1918706"/>
                  <a:gd name="connsiteY39" fmla="*/ 4592438 h 5633118"/>
                  <a:gd name="connsiteX40" fmla="*/ 0 w 1918706"/>
                  <a:gd name="connsiteY40" fmla="*/ 4579284 h 5633118"/>
                  <a:gd name="connsiteX41" fmla="*/ 0 w 1918706"/>
                  <a:gd name="connsiteY41" fmla="*/ 4491829 h 5633118"/>
                  <a:gd name="connsiteX42" fmla="*/ 0 w 1918706"/>
                  <a:gd name="connsiteY42" fmla="*/ 4097931 h 5633118"/>
                  <a:gd name="connsiteX43" fmla="*/ 0 w 1918706"/>
                  <a:gd name="connsiteY43" fmla="*/ 4090156 h 5633118"/>
                  <a:gd name="connsiteX44" fmla="*/ 0 w 1918706"/>
                  <a:gd name="connsiteY44" fmla="*/ 4069228 h 5633118"/>
                  <a:gd name="connsiteX45" fmla="*/ 0 w 1918706"/>
                  <a:gd name="connsiteY45" fmla="*/ 4010476 h 5633118"/>
                  <a:gd name="connsiteX46" fmla="*/ 0 w 1918706"/>
                  <a:gd name="connsiteY46" fmla="*/ 3997322 h 5633118"/>
                  <a:gd name="connsiteX47" fmla="*/ 0 w 1918706"/>
                  <a:gd name="connsiteY47" fmla="*/ 3595649 h 5633118"/>
                  <a:gd name="connsiteX48" fmla="*/ 0 w 1918706"/>
                  <a:gd name="connsiteY48" fmla="*/ 3587875 h 5633118"/>
                  <a:gd name="connsiteX49" fmla="*/ 0 w 1918706"/>
                  <a:gd name="connsiteY49" fmla="*/ 3574721 h 5633118"/>
                  <a:gd name="connsiteX50" fmla="*/ 0 w 1918706"/>
                  <a:gd name="connsiteY50" fmla="*/ 3515969 h 5633118"/>
                  <a:gd name="connsiteX51" fmla="*/ 0 w 1918706"/>
                  <a:gd name="connsiteY51" fmla="*/ 3508195 h 5633118"/>
                  <a:gd name="connsiteX52" fmla="*/ 0 w 1918706"/>
                  <a:gd name="connsiteY52" fmla="*/ 3487266 h 5633118"/>
                  <a:gd name="connsiteX53" fmla="*/ 0 w 1918706"/>
                  <a:gd name="connsiteY5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586524 h 5633118"/>
                  <a:gd name="connsiteX5" fmla="*/ 1918706 w 1918706"/>
                  <a:gd name="connsiteY5" fmla="*/ 1985655 h 5633118"/>
                  <a:gd name="connsiteX6" fmla="*/ 1918706 w 1918706"/>
                  <a:gd name="connsiteY6" fmla="*/ 2001351 h 5633118"/>
                  <a:gd name="connsiteX7" fmla="*/ 1918706 w 1918706"/>
                  <a:gd name="connsiteY7" fmla="*/ 2009125 h 5633118"/>
                  <a:gd name="connsiteX8" fmla="*/ 1918706 w 1918706"/>
                  <a:gd name="connsiteY8" fmla="*/ 2073109 h 5633118"/>
                  <a:gd name="connsiteX9" fmla="*/ 1918706 w 1918706"/>
                  <a:gd name="connsiteY9" fmla="*/ 2081031 h 5633118"/>
                  <a:gd name="connsiteX10" fmla="*/ 1918706 w 1918706"/>
                  <a:gd name="connsiteY10" fmla="*/ 2088805 h 5633118"/>
                  <a:gd name="connsiteX11" fmla="*/ 1918706 w 1918706"/>
                  <a:gd name="connsiteY11" fmla="*/ 2503632 h 5633118"/>
                  <a:gd name="connsiteX12" fmla="*/ 1918706 w 1918706"/>
                  <a:gd name="connsiteY12" fmla="*/ 2511407 h 5633118"/>
                  <a:gd name="connsiteX13" fmla="*/ 1918706 w 1918706"/>
                  <a:gd name="connsiteY13" fmla="*/ 2567616 h 5633118"/>
                  <a:gd name="connsiteX14" fmla="*/ 1918706 w 1918706"/>
                  <a:gd name="connsiteY14" fmla="*/ 2583313 h 5633118"/>
                  <a:gd name="connsiteX15" fmla="*/ 1918706 w 1918706"/>
                  <a:gd name="connsiteY15" fmla="*/ 2591087 h 5633118"/>
                  <a:gd name="connsiteX16" fmla="*/ 1918706 w 1918706"/>
                  <a:gd name="connsiteY16" fmla="*/ 2992759 h 5633118"/>
                  <a:gd name="connsiteX17" fmla="*/ 1918706 w 1918706"/>
                  <a:gd name="connsiteY17" fmla="*/ 3005914 h 5633118"/>
                  <a:gd name="connsiteX18" fmla="*/ 1918706 w 1918706"/>
                  <a:gd name="connsiteY18" fmla="*/ 3013688 h 5633118"/>
                  <a:gd name="connsiteX19" fmla="*/ 1918706 w 1918706"/>
                  <a:gd name="connsiteY19" fmla="*/ 3085594 h 5633118"/>
                  <a:gd name="connsiteX20" fmla="*/ 1918706 w 1918706"/>
                  <a:gd name="connsiteY20" fmla="*/ 3093368 h 5633118"/>
                  <a:gd name="connsiteX21" fmla="*/ 1918706 w 1918706"/>
                  <a:gd name="connsiteY21" fmla="*/ 3487266 h 5633118"/>
                  <a:gd name="connsiteX22" fmla="*/ 1918706 w 1918706"/>
                  <a:gd name="connsiteY22" fmla="*/ 3508195 h 5633118"/>
                  <a:gd name="connsiteX23" fmla="*/ 1918706 w 1918706"/>
                  <a:gd name="connsiteY23" fmla="*/ 3515969 h 5633118"/>
                  <a:gd name="connsiteX24" fmla="*/ 1918706 w 1918706"/>
                  <a:gd name="connsiteY24" fmla="*/ 3574721 h 5633118"/>
                  <a:gd name="connsiteX25" fmla="*/ 1918706 w 1918706"/>
                  <a:gd name="connsiteY25" fmla="*/ 3587875 h 5633118"/>
                  <a:gd name="connsiteX26" fmla="*/ 1918706 w 1918706"/>
                  <a:gd name="connsiteY26" fmla="*/ 3595649 h 5633118"/>
                  <a:gd name="connsiteX27" fmla="*/ 1918706 w 1918706"/>
                  <a:gd name="connsiteY27" fmla="*/ 3997322 h 5633118"/>
                  <a:gd name="connsiteX28" fmla="*/ 1918706 w 1918706"/>
                  <a:gd name="connsiteY28" fmla="*/ 4010476 h 5633118"/>
                  <a:gd name="connsiteX29" fmla="*/ 1918706 w 1918706"/>
                  <a:gd name="connsiteY29" fmla="*/ 4069228 h 5633118"/>
                  <a:gd name="connsiteX30" fmla="*/ 1918706 w 1918706"/>
                  <a:gd name="connsiteY30" fmla="*/ 4090156 h 5633118"/>
                  <a:gd name="connsiteX31" fmla="*/ 1918706 w 1918706"/>
                  <a:gd name="connsiteY31" fmla="*/ 4097931 h 5633118"/>
                  <a:gd name="connsiteX32" fmla="*/ 1918706 w 1918706"/>
                  <a:gd name="connsiteY32" fmla="*/ 4491829 h 5633118"/>
                  <a:gd name="connsiteX33" fmla="*/ 1918706 w 1918706"/>
                  <a:gd name="connsiteY33" fmla="*/ 4579284 h 5633118"/>
                  <a:gd name="connsiteX34" fmla="*/ 1918706 w 1918706"/>
                  <a:gd name="connsiteY34" fmla="*/ 4592438 h 5633118"/>
                  <a:gd name="connsiteX35" fmla="*/ 1918706 w 1918706"/>
                  <a:gd name="connsiteY35" fmla="*/ 5073791 h 5633118"/>
                  <a:gd name="connsiteX36" fmla="*/ 959355 w 1918706"/>
                  <a:gd name="connsiteY36" fmla="*/ 5633118 h 5633118"/>
                  <a:gd name="connsiteX37" fmla="*/ 0 w 1918706"/>
                  <a:gd name="connsiteY37" fmla="*/ 5073791 h 5633118"/>
                  <a:gd name="connsiteX38" fmla="*/ 0 w 1918706"/>
                  <a:gd name="connsiteY38" fmla="*/ 4592438 h 5633118"/>
                  <a:gd name="connsiteX39" fmla="*/ 0 w 1918706"/>
                  <a:gd name="connsiteY39" fmla="*/ 4579284 h 5633118"/>
                  <a:gd name="connsiteX40" fmla="*/ 0 w 1918706"/>
                  <a:gd name="connsiteY40" fmla="*/ 4491829 h 5633118"/>
                  <a:gd name="connsiteX41" fmla="*/ 0 w 1918706"/>
                  <a:gd name="connsiteY41" fmla="*/ 4097931 h 5633118"/>
                  <a:gd name="connsiteX42" fmla="*/ 0 w 1918706"/>
                  <a:gd name="connsiteY42" fmla="*/ 4090156 h 5633118"/>
                  <a:gd name="connsiteX43" fmla="*/ 0 w 1918706"/>
                  <a:gd name="connsiteY43" fmla="*/ 4069228 h 5633118"/>
                  <a:gd name="connsiteX44" fmla="*/ 0 w 1918706"/>
                  <a:gd name="connsiteY44" fmla="*/ 4010476 h 5633118"/>
                  <a:gd name="connsiteX45" fmla="*/ 0 w 1918706"/>
                  <a:gd name="connsiteY45" fmla="*/ 3997322 h 5633118"/>
                  <a:gd name="connsiteX46" fmla="*/ 0 w 1918706"/>
                  <a:gd name="connsiteY46" fmla="*/ 3595649 h 5633118"/>
                  <a:gd name="connsiteX47" fmla="*/ 0 w 1918706"/>
                  <a:gd name="connsiteY47" fmla="*/ 3587875 h 5633118"/>
                  <a:gd name="connsiteX48" fmla="*/ 0 w 1918706"/>
                  <a:gd name="connsiteY48" fmla="*/ 3574721 h 5633118"/>
                  <a:gd name="connsiteX49" fmla="*/ 0 w 1918706"/>
                  <a:gd name="connsiteY49" fmla="*/ 3515969 h 5633118"/>
                  <a:gd name="connsiteX50" fmla="*/ 0 w 1918706"/>
                  <a:gd name="connsiteY50" fmla="*/ 3508195 h 5633118"/>
                  <a:gd name="connsiteX51" fmla="*/ 0 w 1918706"/>
                  <a:gd name="connsiteY51" fmla="*/ 3487266 h 5633118"/>
                  <a:gd name="connsiteX52" fmla="*/ 0 w 1918706"/>
                  <a:gd name="connsiteY5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985655 h 5633118"/>
                  <a:gd name="connsiteX5" fmla="*/ 1918706 w 1918706"/>
                  <a:gd name="connsiteY5" fmla="*/ 2001351 h 5633118"/>
                  <a:gd name="connsiteX6" fmla="*/ 1918706 w 1918706"/>
                  <a:gd name="connsiteY6" fmla="*/ 2009125 h 5633118"/>
                  <a:gd name="connsiteX7" fmla="*/ 1918706 w 1918706"/>
                  <a:gd name="connsiteY7" fmla="*/ 2073109 h 5633118"/>
                  <a:gd name="connsiteX8" fmla="*/ 1918706 w 1918706"/>
                  <a:gd name="connsiteY8" fmla="*/ 2081031 h 5633118"/>
                  <a:gd name="connsiteX9" fmla="*/ 1918706 w 1918706"/>
                  <a:gd name="connsiteY9" fmla="*/ 2088805 h 5633118"/>
                  <a:gd name="connsiteX10" fmla="*/ 1918706 w 1918706"/>
                  <a:gd name="connsiteY10" fmla="*/ 2503632 h 5633118"/>
                  <a:gd name="connsiteX11" fmla="*/ 1918706 w 1918706"/>
                  <a:gd name="connsiteY11" fmla="*/ 2511407 h 5633118"/>
                  <a:gd name="connsiteX12" fmla="*/ 1918706 w 1918706"/>
                  <a:gd name="connsiteY12" fmla="*/ 2567616 h 5633118"/>
                  <a:gd name="connsiteX13" fmla="*/ 1918706 w 1918706"/>
                  <a:gd name="connsiteY13" fmla="*/ 2583313 h 5633118"/>
                  <a:gd name="connsiteX14" fmla="*/ 1918706 w 1918706"/>
                  <a:gd name="connsiteY14" fmla="*/ 2591087 h 5633118"/>
                  <a:gd name="connsiteX15" fmla="*/ 1918706 w 1918706"/>
                  <a:gd name="connsiteY15" fmla="*/ 2992759 h 5633118"/>
                  <a:gd name="connsiteX16" fmla="*/ 1918706 w 1918706"/>
                  <a:gd name="connsiteY16" fmla="*/ 3005914 h 5633118"/>
                  <a:gd name="connsiteX17" fmla="*/ 1918706 w 1918706"/>
                  <a:gd name="connsiteY17" fmla="*/ 3013688 h 5633118"/>
                  <a:gd name="connsiteX18" fmla="*/ 1918706 w 1918706"/>
                  <a:gd name="connsiteY18" fmla="*/ 3085594 h 5633118"/>
                  <a:gd name="connsiteX19" fmla="*/ 1918706 w 1918706"/>
                  <a:gd name="connsiteY19" fmla="*/ 3093368 h 5633118"/>
                  <a:gd name="connsiteX20" fmla="*/ 1918706 w 1918706"/>
                  <a:gd name="connsiteY20" fmla="*/ 3487266 h 5633118"/>
                  <a:gd name="connsiteX21" fmla="*/ 1918706 w 1918706"/>
                  <a:gd name="connsiteY21" fmla="*/ 3508195 h 5633118"/>
                  <a:gd name="connsiteX22" fmla="*/ 1918706 w 1918706"/>
                  <a:gd name="connsiteY22" fmla="*/ 3515969 h 5633118"/>
                  <a:gd name="connsiteX23" fmla="*/ 1918706 w 1918706"/>
                  <a:gd name="connsiteY23" fmla="*/ 3574721 h 5633118"/>
                  <a:gd name="connsiteX24" fmla="*/ 1918706 w 1918706"/>
                  <a:gd name="connsiteY24" fmla="*/ 3587875 h 5633118"/>
                  <a:gd name="connsiteX25" fmla="*/ 1918706 w 1918706"/>
                  <a:gd name="connsiteY25" fmla="*/ 3595649 h 5633118"/>
                  <a:gd name="connsiteX26" fmla="*/ 1918706 w 1918706"/>
                  <a:gd name="connsiteY26" fmla="*/ 3997322 h 5633118"/>
                  <a:gd name="connsiteX27" fmla="*/ 1918706 w 1918706"/>
                  <a:gd name="connsiteY27" fmla="*/ 4010476 h 5633118"/>
                  <a:gd name="connsiteX28" fmla="*/ 1918706 w 1918706"/>
                  <a:gd name="connsiteY28" fmla="*/ 4069228 h 5633118"/>
                  <a:gd name="connsiteX29" fmla="*/ 1918706 w 1918706"/>
                  <a:gd name="connsiteY29" fmla="*/ 4090156 h 5633118"/>
                  <a:gd name="connsiteX30" fmla="*/ 1918706 w 1918706"/>
                  <a:gd name="connsiteY30" fmla="*/ 4097931 h 5633118"/>
                  <a:gd name="connsiteX31" fmla="*/ 1918706 w 1918706"/>
                  <a:gd name="connsiteY31" fmla="*/ 4491829 h 5633118"/>
                  <a:gd name="connsiteX32" fmla="*/ 1918706 w 1918706"/>
                  <a:gd name="connsiteY32" fmla="*/ 4579284 h 5633118"/>
                  <a:gd name="connsiteX33" fmla="*/ 1918706 w 1918706"/>
                  <a:gd name="connsiteY33" fmla="*/ 4592438 h 5633118"/>
                  <a:gd name="connsiteX34" fmla="*/ 1918706 w 1918706"/>
                  <a:gd name="connsiteY34" fmla="*/ 5073791 h 5633118"/>
                  <a:gd name="connsiteX35" fmla="*/ 959355 w 1918706"/>
                  <a:gd name="connsiteY35" fmla="*/ 5633118 h 5633118"/>
                  <a:gd name="connsiteX36" fmla="*/ 0 w 1918706"/>
                  <a:gd name="connsiteY36" fmla="*/ 5073791 h 5633118"/>
                  <a:gd name="connsiteX37" fmla="*/ 0 w 1918706"/>
                  <a:gd name="connsiteY37" fmla="*/ 4592438 h 5633118"/>
                  <a:gd name="connsiteX38" fmla="*/ 0 w 1918706"/>
                  <a:gd name="connsiteY38" fmla="*/ 4579284 h 5633118"/>
                  <a:gd name="connsiteX39" fmla="*/ 0 w 1918706"/>
                  <a:gd name="connsiteY39" fmla="*/ 4491829 h 5633118"/>
                  <a:gd name="connsiteX40" fmla="*/ 0 w 1918706"/>
                  <a:gd name="connsiteY40" fmla="*/ 4097931 h 5633118"/>
                  <a:gd name="connsiteX41" fmla="*/ 0 w 1918706"/>
                  <a:gd name="connsiteY41" fmla="*/ 4090156 h 5633118"/>
                  <a:gd name="connsiteX42" fmla="*/ 0 w 1918706"/>
                  <a:gd name="connsiteY42" fmla="*/ 4069228 h 5633118"/>
                  <a:gd name="connsiteX43" fmla="*/ 0 w 1918706"/>
                  <a:gd name="connsiteY43" fmla="*/ 4010476 h 5633118"/>
                  <a:gd name="connsiteX44" fmla="*/ 0 w 1918706"/>
                  <a:gd name="connsiteY44" fmla="*/ 3997322 h 5633118"/>
                  <a:gd name="connsiteX45" fmla="*/ 0 w 1918706"/>
                  <a:gd name="connsiteY45" fmla="*/ 3595649 h 5633118"/>
                  <a:gd name="connsiteX46" fmla="*/ 0 w 1918706"/>
                  <a:gd name="connsiteY46" fmla="*/ 3587875 h 5633118"/>
                  <a:gd name="connsiteX47" fmla="*/ 0 w 1918706"/>
                  <a:gd name="connsiteY47" fmla="*/ 3574721 h 5633118"/>
                  <a:gd name="connsiteX48" fmla="*/ 0 w 1918706"/>
                  <a:gd name="connsiteY48" fmla="*/ 3515969 h 5633118"/>
                  <a:gd name="connsiteX49" fmla="*/ 0 w 1918706"/>
                  <a:gd name="connsiteY49" fmla="*/ 3508195 h 5633118"/>
                  <a:gd name="connsiteX50" fmla="*/ 0 w 1918706"/>
                  <a:gd name="connsiteY50" fmla="*/ 3487266 h 5633118"/>
                  <a:gd name="connsiteX51" fmla="*/ 0 w 1918706"/>
                  <a:gd name="connsiteY5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09125 h 5633118"/>
                  <a:gd name="connsiteX6" fmla="*/ 1918706 w 1918706"/>
                  <a:gd name="connsiteY6" fmla="*/ 2073109 h 5633118"/>
                  <a:gd name="connsiteX7" fmla="*/ 1918706 w 1918706"/>
                  <a:gd name="connsiteY7" fmla="*/ 2081031 h 5633118"/>
                  <a:gd name="connsiteX8" fmla="*/ 1918706 w 1918706"/>
                  <a:gd name="connsiteY8" fmla="*/ 2088805 h 5633118"/>
                  <a:gd name="connsiteX9" fmla="*/ 1918706 w 1918706"/>
                  <a:gd name="connsiteY9" fmla="*/ 2503632 h 5633118"/>
                  <a:gd name="connsiteX10" fmla="*/ 1918706 w 1918706"/>
                  <a:gd name="connsiteY10" fmla="*/ 2511407 h 5633118"/>
                  <a:gd name="connsiteX11" fmla="*/ 1918706 w 1918706"/>
                  <a:gd name="connsiteY11" fmla="*/ 2567616 h 5633118"/>
                  <a:gd name="connsiteX12" fmla="*/ 1918706 w 1918706"/>
                  <a:gd name="connsiteY12" fmla="*/ 2583313 h 5633118"/>
                  <a:gd name="connsiteX13" fmla="*/ 1918706 w 1918706"/>
                  <a:gd name="connsiteY13" fmla="*/ 2591087 h 5633118"/>
                  <a:gd name="connsiteX14" fmla="*/ 1918706 w 1918706"/>
                  <a:gd name="connsiteY14" fmla="*/ 2992759 h 5633118"/>
                  <a:gd name="connsiteX15" fmla="*/ 1918706 w 1918706"/>
                  <a:gd name="connsiteY15" fmla="*/ 3005914 h 5633118"/>
                  <a:gd name="connsiteX16" fmla="*/ 1918706 w 1918706"/>
                  <a:gd name="connsiteY16" fmla="*/ 3013688 h 5633118"/>
                  <a:gd name="connsiteX17" fmla="*/ 1918706 w 1918706"/>
                  <a:gd name="connsiteY17" fmla="*/ 3085594 h 5633118"/>
                  <a:gd name="connsiteX18" fmla="*/ 1918706 w 1918706"/>
                  <a:gd name="connsiteY18" fmla="*/ 3093368 h 5633118"/>
                  <a:gd name="connsiteX19" fmla="*/ 1918706 w 1918706"/>
                  <a:gd name="connsiteY19" fmla="*/ 3487266 h 5633118"/>
                  <a:gd name="connsiteX20" fmla="*/ 1918706 w 1918706"/>
                  <a:gd name="connsiteY20" fmla="*/ 3508195 h 5633118"/>
                  <a:gd name="connsiteX21" fmla="*/ 1918706 w 1918706"/>
                  <a:gd name="connsiteY21" fmla="*/ 3515969 h 5633118"/>
                  <a:gd name="connsiteX22" fmla="*/ 1918706 w 1918706"/>
                  <a:gd name="connsiteY22" fmla="*/ 3574721 h 5633118"/>
                  <a:gd name="connsiteX23" fmla="*/ 1918706 w 1918706"/>
                  <a:gd name="connsiteY23" fmla="*/ 3587875 h 5633118"/>
                  <a:gd name="connsiteX24" fmla="*/ 1918706 w 1918706"/>
                  <a:gd name="connsiteY24" fmla="*/ 3595649 h 5633118"/>
                  <a:gd name="connsiteX25" fmla="*/ 1918706 w 1918706"/>
                  <a:gd name="connsiteY25" fmla="*/ 3997322 h 5633118"/>
                  <a:gd name="connsiteX26" fmla="*/ 1918706 w 1918706"/>
                  <a:gd name="connsiteY26" fmla="*/ 4010476 h 5633118"/>
                  <a:gd name="connsiteX27" fmla="*/ 1918706 w 1918706"/>
                  <a:gd name="connsiteY27" fmla="*/ 4069228 h 5633118"/>
                  <a:gd name="connsiteX28" fmla="*/ 1918706 w 1918706"/>
                  <a:gd name="connsiteY28" fmla="*/ 4090156 h 5633118"/>
                  <a:gd name="connsiteX29" fmla="*/ 1918706 w 1918706"/>
                  <a:gd name="connsiteY29" fmla="*/ 4097931 h 5633118"/>
                  <a:gd name="connsiteX30" fmla="*/ 1918706 w 1918706"/>
                  <a:gd name="connsiteY30" fmla="*/ 4491829 h 5633118"/>
                  <a:gd name="connsiteX31" fmla="*/ 1918706 w 1918706"/>
                  <a:gd name="connsiteY31" fmla="*/ 4579284 h 5633118"/>
                  <a:gd name="connsiteX32" fmla="*/ 1918706 w 1918706"/>
                  <a:gd name="connsiteY32" fmla="*/ 4592438 h 5633118"/>
                  <a:gd name="connsiteX33" fmla="*/ 1918706 w 1918706"/>
                  <a:gd name="connsiteY33" fmla="*/ 5073791 h 5633118"/>
                  <a:gd name="connsiteX34" fmla="*/ 959355 w 1918706"/>
                  <a:gd name="connsiteY34" fmla="*/ 5633118 h 5633118"/>
                  <a:gd name="connsiteX35" fmla="*/ 0 w 1918706"/>
                  <a:gd name="connsiteY35" fmla="*/ 5073791 h 5633118"/>
                  <a:gd name="connsiteX36" fmla="*/ 0 w 1918706"/>
                  <a:gd name="connsiteY36" fmla="*/ 4592438 h 5633118"/>
                  <a:gd name="connsiteX37" fmla="*/ 0 w 1918706"/>
                  <a:gd name="connsiteY37" fmla="*/ 4579284 h 5633118"/>
                  <a:gd name="connsiteX38" fmla="*/ 0 w 1918706"/>
                  <a:gd name="connsiteY38" fmla="*/ 4491829 h 5633118"/>
                  <a:gd name="connsiteX39" fmla="*/ 0 w 1918706"/>
                  <a:gd name="connsiteY39" fmla="*/ 4097931 h 5633118"/>
                  <a:gd name="connsiteX40" fmla="*/ 0 w 1918706"/>
                  <a:gd name="connsiteY40" fmla="*/ 4090156 h 5633118"/>
                  <a:gd name="connsiteX41" fmla="*/ 0 w 1918706"/>
                  <a:gd name="connsiteY41" fmla="*/ 4069228 h 5633118"/>
                  <a:gd name="connsiteX42" fmla="*/ 0 w 1918706"/>
                  <a:gd name="connsiteY42" fmla="*/ 4010476 h 5633118"/>
                  <a:gd name="connsiteX43" fmla="*/ 0 w 1918706"/>
                  <a:gd name="connsiteY43" fmla="*/ 3997322 h 5633118"/>
                  <a:gd name="connsiteX44" fmla="*/ 0 w 1918706"/>
                  <a:gd name="connsiteY44" fmla="*/ 3595649 h 5633118"/>
                  <a:gd name="connsiteX45" fmla="*/ 0 w 1918706"/>
                  <a:gd name="connsiteY45" fmla="*/ 3587875 h 5633118"/>
                  <a:gd name="connsiteX46" fmla="*/ 0 w 1918706"/>
                  <a:gd name="connsiteY46" fmla="*/ 3574721 h 5633118"/>
                  <a:gd name="connsiteX47" fmla="*/ 0 w 1918706"/>
                  <a:gd name="connsiteY47" fmla="*/ 3515969 h 5633118"/>
                  <a:gd name="connsiteX48" fmla="*/ 0 w 1918706"/>
                  <a:gd name="connsiteY48" fmla="*/ 3508195 h 5633118"/>
                  <a:gd name="connsiteX49" fmla="*/ 0 w 1918706"/>
                  <a:gd name="connsiteY49" fmla="*/ 3487266 h 5633118"/>
                  <a:gd name="connsiteX50" fmla="*/ 0 w 1918706"/>
                  <a:gd name="connsiteY5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73109 h 5633118"/>
                  <a:gd name="connsiteX6" fmla="*/ 1918706 w 1918706"/>
                  <a:gd name="connsiteY6" fmla="*/ 2081031 h 5633118"/>
                  <a:gd name="connsiteX7" fmla="*/ 1918706 w 1918706"/>
                  <a:gd name="connsiteY7" fmla="*/ 2088805 h 5633118"/>
                  <a:gd name="connsiteX8" fmla="*/ 1918706 w 1918706"/>
                  <a:gd name="connsiteY8" fmla="*/ 2503632 h 5633118"/>
                  <a:gd name="connsiteX9" fmla="*/ 1918706 w 1918706"/>
                  <a:gd name="connsiteY9" fmla="*/ 2511407 h 5633118"/>
                  <a:gd name="connsiteX10" fmla="*/ 1918706 w 1918706"/>
                  <a:gd name="connsiteY10" fmla="*/ 2567616 h 5633118"/>
                  <a:gd name="connsiteX11" fmla="*/ 1918706 w 1918706"/>
                  <a:gd name="connsiteY11" fmla="*/ 2583313 h 5633118"/>
                  <a:gd name="connsiteX12" fmla="*/ 1918706 w 1918706"/>
                  <a:gd name="connsiteY12" fmla="*/ 2591087 h 5633118"/>
                  <a:gd name="connsiteX13" fmla="*/ 1918706 w 1918706"/>
                  <a:gd name="connsiteY13" fmla="*/ 2992759 h 5633118"/>
                  <a:gd name="connsiteX14" fmla="*/ 1918706 w 1918706"/>
                  <a:gd name="connsiteY14" fmla="*/ 3005914 h 5633118"/>
                  <a:gd name="connsiteX15" fmla="*/ 1918706 w 1918706"/>
                  <a:gd name="connsiteY15" fmla="*/ 3013688 h 5633118"/>
                  <a:gd name="connsiteX16" fmla="*/ 1918706 w 1918706"/>
                  <a:gd name="connsiteY16" fmla="*/ 3085594 h 5633118"/>
                  <a:gd name="connsiteX17" fmla="*/ 1918706 w 1918706"/>
                  <a:gd name="connsiteY17" fmla="*/ 3093368 h 5633118"/>
                  <a:gd name="connsiteX18" fmla="*/ 1918706 w 1918706"/>
                  <a:gd name="connsiteY18" fmla="*/ 3487266 h 5633118"/>
                  <a:gd name="connsiteX19" fmla="*/ 1918706 w 1918706"/>
                  <a:gd name="connsiteY19" fmla="*/ 3508195 h 5633118"/>
                  <a:gd name="connsiteX20" fmla="*/ 1918706 w 1918706"/>
                  <a:gd name="connsiteY20" fmla="*/ 3515969 h 5633118"/>
                  <a:gd name="connsiteX21" fmla="*/ 1918706 w 1918706"/>
                  <a:gd name="connsiteY21" fmla="*/ 3574721 h 5633118"/>
                  <a:gd name="connsiteX22" fmla="*/ 1918706 w 1918706"/>
                  <a:gd name="connsiteY22" fmla="*/ 3587875 h 5633118"/>
                  <a:gd name="connsiteX23" fmla="*/ 1918706 w 1918706"/>
                  <a:gd name="connsiteY23" fmla="*/ 3595649 h 5633118"/>
                  <a:gd name="connsiteX24" fmla="*/ 1918706 w 1918706"/>
                  <a:gd name="connsiteY24" fmla="*/ 3997322 h 5633118"/>
                  <a:gd name="connsiteX25" fmla="*/ 1918706 w 1918706"/>
                  <a:gd name="connsiteY25" fmla="*/ 4010476 h 5633118"/>
                  <a:gd name="connsiteX26" fmla="*/ 1918706 w 1918706"/>
                  <a:gd name="connsiteY26" fmla="*/ 4069228 h 5633118"/>
                  <a:gd name="connsiteX27" fmla="*/ 1918706 w 1918706"/>
                  <a:gd name="connsiteY27" fmla="*/ 4090156 h 5633118"/>
                  <a:gd name="connsiteX28" fmla="*/ 1918706 w 1918706"/>
                  <a:gd name="connsiteY28" fmla="*/ 4097931 h 5633118"/>
                  <a:gd name="connsiteX29" fmla="*/ 1918706 w 1918706"/>
                  <a:gd name="connsiteY29" fmla="*/ 4491829 h 5633118"/>
                  <a:gd name="connsiteX30" fmla="*/ 1918706 w 1918706"/>
                  <a:gd name="connsiteY30" fmla="*/ 4579284 h 5633118"/>
                  <a:gd name="connsiteX31" fmla="*/ 1918706 w 1918706"/>
                  <a:gd name="connsiteY31" fmla="*/ 4592438 h 5633118"/>
                  <a:gd name="connsiteX32" fmla="*/ 1918706 w 1918706"/>
                  <a:gd name="connsiteY32" fmla="*/ 5073791 h 5633118"/>
                  <a:gd name="connsiteX33" fmla="*/ 959355 w 1918706"/>
                  <a:gd name="connsiteY33" fmla="*/ 5633118 h 5633118"/>
                  <a:gd name="connsiteX34" fmla="*/ 0 w 1918706"/>
                  <a:gd name="connsiteY34" fmla="*/ 5073791 h 5633118"/>
                  <a:gd name="connsiteX35" fmla="*/ 0 w 1918706"/>
                  <a:gd name="connsiteY35" fmla="*/ 4592438 h 5633118"/>
                  <a:gd name="connsiteX36" fmla="*/ 0 w 1918706"/>
                  <a:gd name="connsiteY36" fmla="*/ 4579284 h 5633118"/>
                  <a:gd name="connsiteX37" fmla="*/ 0 w 1918706"/>
                  <a:gd name="connsiteY37" fmla="*/ 4491829 h 5633118"/>
                  <a:gd name="connsiteX38" fmla="*/ 0 w 1918706"/>
                  <a:gd name="connsiteY38" fmla="*/ 4097931 h 5633118"/>
                  <a:gd name="connsiteX39" fmla="*/ 0 w 1918706"/>
                  <a:gd name="connsiteY39" fmla="*/ 4090156 h 5633118"/>
                  <a:gd name="connsiteX40" fmla="*/ 0 w 1918706"/>
                  <a:gd name="connsiteY40" fmla="*/ 4069228 h 5633118"/>
                  <a:gd name="connsiteX41" fmla="*/ 0 w 1918706"/>
                  <a:gd name="connsiteY41" fmla="*/ 4010476 h 5633118"/>
                  <a:gd name="connsiteX42" fmla="*/ 0 w 1918706"/>
                  <a:gd name="connsiteY42" fmla="*/ 3997322 h 5633118"/>
                  <a:gd name="connsiteX43" fmla="*/ 0 w 1918706"/>
                  <a:gd name="connsiteY43" fmla="*/ 3595649 h 5633118"/>
                  <a:gd name="connsiteX44" fmla="*/ 0 w 1918706"/>
                  <a:gd name="connsiteY44" fmla="*/ 3587875 h 5633118"/>
                  <a:gd name="connsiteX45" fmla="*/ 0 w 1918706"/>
                  <a:gd name="connsiteY45" fmla="*/ 3574721 h 5633118"/>
                  <a:gd name="connsiteX46" fmla="*/ 0 w 1918706"/>
                  <a:gd name="connsiteY46" fmla="*/ 3515969 h 5633118"/>
                  <a:gd name="connsiteX47" fmla="*/ 0 w 1918706"/>
                  <a:gd name="connsiteY47" fmla="*/ 3508195 h 5633118"/>
                  <a:gd name="connsiteX48" fmla="*/ 0 w 1918706"/>
                  <a:gd name="connsiteY48" fmla="*/ 3487266 h 5633118"/>
                  <a:gd name="connsiteX49" fmla="*/ 0 w 1918706"/>
                  <a:gd name="connsiteY4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73109 h 5633118"/>
                  <a:gd name="connsiteX5" fmla="*/ 1918706 w 1918706"/>
                  <a:gd name="connsiteY5" fmla="*/ 2081031 h 5633118"/>
                  <a:gd name="connsiteX6" fmla="*/ 1918706 w 1918706"/>
                  <a:gd name="connsiteY6" fmla="*/ 2088805 h 5633118"/>
                  <a:gd name="connsiteX7" fmla="*/ 1918706 w 1918706"/>
                  <a:gd name="connsiteY7" fmla="*/ 2503632 h 5633118"/>
                  <a:gd name="connsiteX8" fmla="*/ 1918706 w 1918706"/>
                  <a:gd name="connsiteY8" fmla="*/ 2511407 h 5633118"/>
                  <a:gd name="connsiteX9" fmla="*/ 1918706 w 1918706"/>
                  <a:gd name="connsiteY9" fmla="*/ 2567616 h 5633118"/>
                  <a:gd name="connsiteX10" fmla="*/ 1918706 w 1918706"/>
                  <a:gd name="connsiteY10" fmla="*/ 2583313 h 5633118"/>
                  <a:gd name="connsiteX11" fmla="*/ 1918706 w 1918706"/>
                  <a:gd name="connsiteY11" fmla="*/ 2591087 h 5633118"/>
                  <a:gd name="connsiteX12" fmla="*/ 1918706 w 1918706"/>
                  <a:gd name="connsiteY12" fmla="*/ 2992759 h 5633118"/>
                  <a:gd name="connsiteX13" fmla="*/ 1918706 w 1918706"/>
                  <a:gd name="connsiteY13" fmla="*/ 3005914 h 5633118"/>
                  <a:gd name="connsiteX14" fmla="*/ 1918706 w 1918706"/>
                  <a:gd name="connsiteY14" fmla="*/ 3013688 h 5633118"/>
                  <a:gd name="connsiteX15" fmla="*/ 1918706 w 1918706"/>
                  <a:gd name="connsiteY15" fmla="*/ 3085594 h 5633118"/>
                  <a:gd name="connsiteX16" fmla="*/ 1918706 w 1918706"/>
                  <a:gd name="connsiteY16" fmla="*/ 3093368 h 5633118"/>
                  <a:gd name="connsiteX17" fmla="*/ 1918706 w 1918706"/>
                  <a:gd name="connsiteY17" fmla="*/ 3487266 h 5633118"/>
                  <a:gd name="connsiteX18" fmla="*/ 1918706 w 1918706"/>
                  <a:gd name="connsiteY18" fmla="*/ 3508195 h 5633118"/>
                  <a:gd name="connsiteX19" fmla="*/ 1918706 w 1918706"/>
                  <a:gd name="connsiteY19" fmla="*/ 3515969 h 5633118"/>
                  <a:gd name="connsiteX20" fmla="*/ 1918706 w 1918706"/>
                  <a:gd name="connsiteY20" fmla="*/ 3574721 h 5633118"/>
                  <a:gd name="connsiteX21" fmla="*/ 1918706 w 1918706"/>
                  <a:gd name="connsiteY21" fmla="*/ 3587875 h 5633118"/>
                  <a:gd name="connsiteX22" fmla="*/ 1918706 w 1918706"/>
                  <a:gd name="connsiteY22" fmla="*/ 3595649 h 5633118"/>
                  <a:gd name="connsiteX23" fmla="*/ 1918706 w 1918706"/>
                  <a:gd name="connsiteY23" fmla="*/ 3997322 h 5633118"/>
                  <a:gd name="connsiteX24" fmla="*/ 1918706 w 1918706"/>
                  <a:gd name="connsiteY24" fmla="*/ 4010476 h 5633118"/>
                  <a:gd name="connsiteX25" fmla="*/ 1918706 w 1918706"/>
                  <a:gd name="connsiteY25" fmla="*/ 4069228 h 5633118"/>
                  <a:gd name="connsiteX26" fmla="*/ 1918706 w 1918706"/>
                  <a:gd name="connsiteY26" fmla="*/ 4090156 h 5633118"/>
                  <a:gd name="connsiteX27" fmla="*/ 1918706 w 1918706"/>
                  <a:gd name="connsiteY27" fmla="*/ 4097931 h 5633118"/>
                  <a:gd name="connsiteX28" fmla="*/ 1918706 w 1918706"/>
                  <a:gd name="connsiteY28" fmla="*/ 4491829 h 5633118"/>
                  <a:gd name="connsiteX29" fmla="*/ 1918706 w 1918706"/>
                  <a:gd name="connsiteY29" fmla="*/ 4579284 h 5633118"/>
                  <a:gd name="connsiteX30" fmla="*/ 1918706 w 1918706"/>
                  <a:gd name="connsiteY30" fmla="*/ 4592438 h 5633118"/>
                  <a:gd name="connsiteX31" fmla="*/ 1918706 w 1918706"/>
                  <a:gd name="connsiteY31" fmla="*/ 5073791 h 5633118"/>
                  <a:gd name="connsiteX32" fmla="*/ 959355 w 1918706"/>
                  <a:gd name="connsiteY32" fmla="*/ 5633118 h 5633118"/>
                  <a:gd name="connsiteX33" fmla="*/ 0 w 1918706"/>
                  <a:gd name="connsiteY33" fmla="*/ 5073791 h 5633118"/>
                  <a:gd name="connsiteX34" fmla="*/ 0 w 1918706"/>
                  <a:gd name="connsiteY34" fmla="*/ 4592438 h 5633118"/>
                  <a:gd name="connsiteX35" fmla="*/ 0 w 1918706"/>
                  <a:gd name="connsiteY35" fmla="*/ 4579284 h 5633118"/>
                  <a:gd name="connsiteX36" fmla="*/ 0 w 1918706"/>
                  <a:gd name="connsiteY36" fmla="*/ 4491829 h 5633118"/>
                  <a:gd name="connsiteX37" fmla="*/ 0 w 1918706"/>
                  <a:gd name="connsiteY37" fmla="*/ 4097931 h 5633118"/>
                  <a:gd name="connsiteX38" fmla="*/ 0 w 1918706"/>
                  <a:gd name="connsiteY38" fmla="*/ 4090156 h 5633118"/>
                  <a:gd name="connsiteX39" fmla="*/ 0 w 1918706"/>
                  <a:gd name="connsiteY39" fmla="*/ 4069228 h 5633118"/>
                  <a:gd name="connsiteX40" fmla="*/ 0 w 1918706"/>
                  <a:gd name="connsiteY40" fmla="*/ 4010476 h 5633118"/>
                  <a:gd name="connsiteX41" fmla="*/ 0 w 1918706"/>
                  <a:gd name="connsiteY41" fmla="*/ 3997322 h 5633118"/>
                  <a:gd name="connsiteX42" fmla="*/ 0 w 1918706"/>
                  <a:gd name="connsiteY42" fmla="*/ 3595649 h 5633118"/>
                  <a:gd name="connsiteX43" fmla="*/ 0 w 1918706"/>
                  <a:gd name="connsiteY43" fmla="*/ 3587875 h 5633118"/>
                  <a:gd name="connsiteX44" fmla="*/ 0 w 1918706"/>
                  <a:gd name="connsiteY44" fmla="*/ 3574721 h 5633118"/>
                  <a:gd name="connsiteX45" fmla="*/ 0 w 1918706"/>
                  <a:gd name="connsiteY45" fmla="*/ 3515969 h 5633118"/>
                  <a:gd name="connsiteX46" fmla="*/ 0 w 1918706"/>
                  <a:gd name="connsiteY46" fmla="*/ 3508195 h 5633118"/>
                  <a:gd name="connsiteX47" fmla="*/ 0 w 1918706"/>
                  <a:gd name="connsiteY47" fmla="*/ 3487266 h 5633118"/>
                  <a:gd name="connsiteX48" fmla="*/ 0 w 1918706"/>
                  <a:gd name="connsiteY4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088805 h 5633118"/>
                  <a:gd name="connsiteX6" fmla="*/ 1918706 w 1918706"/>
                  <a:gd name="connsiteY6" fmla="*/ 2503632 h 5633118"/>
                  <a:gd name="connsiteX7" fmla="*/ 1918706 w 1918706"/>
                  <a:gd name="connsiteY7" fmla="*/ 2511407 h 5633118"/>
                  <a:gd name="connsiteX8" fmla="*/ 1918706 w 1918706"/>
                  <a:gd name="connsiteY8" fmla="*/ 2567616 h 5633118"/>
                  <a:gd name="connsiteX9" fmla="*/ 1918706 w 1918706"/>
                  <a:gd name="connsiteY9" fmla="*/ 2583313 h 5633118"/>
                  <a:gd name="connsiteX10" fmla="*/ 1918706 w 1918706"/>
                  <a:gd name="connsiteY10" fmla="*/ 2591087 h 5633118"/>
                  <a:gd name="connsiteX11" fmla="*/ 1918706 w 1918706"/>
                  <a:gd name="connsiteY11" fmla="*/ 2992759 h 5633118"/>
                  <a:gd name="connsiteX12" fmla="*/ 1918706 w 1918706"/>
                  <a:gd name="connsiteY12" fmla="*/ 3005914 h 5633118"/>
                  <a:gd name="connsiteX13" fmla="*/ 1918706 w 1918706"/>
                  <a:gd name="connsiteY13" fmla="*/ 3013688 h 5633118"/>
                  <a:gd name="connsiteX14" fmla="*/ 1918706 w 1918706"/>
                  <a:gd name="connsiteY14" fmla="*/ 3085594 h 5633118"/>
                  <a:gd name="connsiteX15" fmla="*/ 1918706 w 1918706"/>
                  <a:gd name="connsiteY15" fmla="*/ 3093368 h 5633118"/>
                  <a:gd name="connsiteX16" fmla="*/ 1918706 w 1918706"/>
                  <a:gd name="connsiteY16" fmla="*/ 3487266 h 5633118"/>
                  <a:gd name="connsiteX17" fmla="*/ 1918706 w 1918706"/>
                  <a:gd name="connsiteY17" fmla="*/ 3508195 h 5633118"/>
                  <a:gd name="connsiteX18" fmla="*/ 1918706 w 1918706"/>
                  <a:gd name="connsiteY18" fmla="*/ 3515969 h 5633118"/>
                  <a:gd name="connsiteX19" fmla="*/ 1918706 w 1918706"/>
                  <a:gd name="connsiteY19" fmla="*/ 3574721 h 5633118"/>
                  <a:gd name="connsiteX20" fmla="*/ 1918706 w 1918706"/>
                  <a:gd name="connsiteY20" fmla="*/ 3587875 h 5633118"/>
                  <a:gd name="connsiteX21" fmla="*/ 1918706 w 1918706"/>
                  <a:gd name="connsiteY21" fmla="*/ 3595649 h 5633118"/>
                  <a:gd name="connsiteX22" fmla="*/ 1918706 w 1918706"/>
                  <a:gd name="connsiteY22" fmla="*/ 3997322 h 5633118"/>
                  <a:gd name="connsiteX23" fmla="*/ 1918706 w 1918706"/>
                  <a:gd name="connsiteY23" fmla="*/ 4010476 h 5633118"/>
                  <a:gd name="connsiteX24" fmla="*/ 1918706 w 1918706"/>
                  <a:gd name="connsiteY24" fmla="*/ 4069228 h 5633118"/>
                  <a:gd name="connsiteX25" fmla="*/ 1918706 w 1918706"/>
                  <a:gd name="connsiteY25" fmla="*/ 4090156 h 5633118"/>
                  <a:gd name="connsiteX26" fmla="*/ 1918706 w 1918706"/>
                  <a:gd name="connsiteY26" fmla="*/ 4097931 h 5633118"/>
                  <a:gd name="connsiteX27" fmla="*/ 1918706 w 1918706"/>
                  <a:gd name="connsiteY27" fmla="*/ 4491829 h 5633118"/>
                  <a:gd name="connsiteX28" fmla="*/ 1918706 w 1918706"/>
                  <a:gd name="connsiteY28" fmla="*/ 4579284 h 5633118"/>
                  <a:gd name="connsiteX29" fmla="*/ 1918706 w 1918706"/>
                  <a:gd name="connsiteY29" fmla="*/ 4592438 h 5633118"/>
                  <a:gd name="connsiteX30" fmla="*/ 1918706 w 1918706"/>
                  <a:gd name="connsiteY30" fmla="*/ 5073791 h 5633118"/>
                  <a:gd name="connsiteX31" fmla="*/ 959355 w 1918706"/>
                  <a:gd name="connsiteY31" fmla="*/ 5633118 h 5633118"/>
                  <a:gd name="connsiteX32" fmla="*/ 0 w 1918706"/>
                  <a:gd name="connsiteY32" fmla="*/ 5073791 h 5633118"/>
                  <a:gd name="connsiteX33" fmla="*/ 0 w 1918706"/>
                  <a:gd name="connsiteY33" fmla="*/ 4592438 h 5633118"/>
                  <a:gd name="connsiteX34" fmla="*/ 0 w 1918706"/>
                  <a:gd name="connsiteY34" fmla="*/ 4579284 h 5633118"/>
                  <a:gd name="connsiteX35" fmla="*/ 0 w 1918706"/>
                  <a:gd name="connsiteY35" fmla="*/ 4491829 h 5633118"/>
                  <a:gd name="connsiteX36" fmla="*/ 0 w 1918706"/>
                  <a:gd name="connsiteY36" fmla="*/ 4097931 h 5633118"/>
                  <a:gd name="connsiteX37" fmla="*/ 0 w 1918706"/>
                  <a:gd name="connsiteY37" fmla="*/ 4090156 h 5633118"/>
                  <a:gd name="connsiteX38" fmla="*/ 0 w 1918706"/>
                  <a:gd name="connsiteY38" fmla="*/ 4069228 h 5633118"/>
                  <a:gd name="connsiteX39" fmla="*/ 0 w 1918706"/>
                  <a:gd name="connsiteY39" fmla="*/ 4010476 h 5633118"/>
                  <a:gd name="connsiteX40" fmla="*/ 0 w 1918706"/>
                  <a:gd name="connsiteY40" fmla="*/ 3997322 h 5633118"/>
                  <a:gd name="connsiteX41" fmla="*/ 0 w 1918706"/>
                  <a:gd name="connsiteY41" fmla="*/ 3595649 h 5633118"/>
                  <a:gd name="connsiteX42" fmla="*/ 0 w 1918706"/>
                  <a:gd name="connsiteY42" fmla="*/ 3587875 h 5633118"/>
                  <a:gd name="connsiteX43" fmla="*/ 0 w 1918706"/>
                  <a:gd name="connsiteY43" fmla="*/ 3574721 h 5633118"/>
                  <a:gd name="connsiteX44" fmla="*/ 0 w 1918706"/>
                  <a:gd name="connsiteY44" fmla="*/ 3515969 h 5633118"/>
                  <a:gd name="connsiteX45" fmla="*/ 0 w 1918706"/>
                  <a:gd name="connsiteY45" fmla="*/ 3508195 h 5633118"/>
                  <a:gd name="connsiteX46" fmla="*/ 0 w 1918706"/>
                  <a:gd name="connsiteY46" fmla="*/ 3487266 h 5633118"/>
                  <a:gd name="connsiteX47" fmla="*/ 0 w 1918706"/>
                  <a:gd name="connsiteY4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503632 h 5633118"/>
                  <a:gd name="connsiteX6" fmla="*/ 1918706 w 1918706"/>
                  <a:gd name="connsiteY6" fmla="*/ 2511407 h 5633118"/>
                  <a:gd name="connsiteX7" fmla="*/ 1918706 w 1918706"/>
                  <a:gd name="connsiteY7" fmla="*/ 2567616 h 5633118"/>
                  <a:gd name="connsiteX8" fmla="*/ 1918706 w 1918706"/>
                  <a:gd name="connsiteY8" fmla="*/ 2583313 h 5633118"/>
                  <a:gd name="connsiteX9" fmla="*/ 1918706 w 1918706"/>
                  <a:gd name="connsiteY9" fmla="*/ 2591087 h 5633118"/>
                  <a:gd name="connsiteX10" fmla="*/ 1918706 w 1918706"/>
                  <a:gd name="connsiteY10" fmla="*/ 2992759 h 5633118"/>
                  <a:gd name="connsiteX11" fmla="*/ 1918706 w 1918706"/>
                  <a:gd name="connsiteY11" fmla="*/ 3005914 h 5633118"/>
                  <a:gd name="connsiteX12" fmla="*/ 1918706 w 1918706"/>
                  <a:gd name="connsiteY12" fmla="*/ 3013688 h 5633118"/>
                  <a:gd name="connsiteX13" fmla="*/ 1918706 w 1918706"/>
                  <a:gd name="connsiteY13" fmla="*/ 3085594 h 5633118"/>
                  <a:gd name="connsiteX14" fmla="*/ 1918706 w 1918706"/>
                  <a:gd name="connsiteY14" fmla="*/ 3093368 h 5633118"/>
                  <a:gd name="connsiteX15" fmla="*/ 1918706 w 1918706"/>
                  <a:gd name="connsiteY15" fmla="*/ 3487266 h 5633118"/>
                  <a:gd name="connsiteX16" fmla="*/ 1918706 w 1918706"/>
                  <a:gd name="connsiteY16" fmla="*/ 3508195 h 5633118"/>
                  <a:gd name="connsiteX17" fmla="*/ 1918706 w 1918706"/>
                  <a:gd name="connsiteY17" fmla="*/ 3515969 h 5633118"/>
                  <a:gd name="connsiteX18" fmla="*/ 1918706 w 1918706"/>
                  <a:gd name="connsiteY18" fmla="*/ 3574721 h 5633118"/>
                  <a:gd name="connsiteX19" fmla="*/ 1918706 w 1918706"/>
                  <a:gd name="connsiteY19" fmla="*/ 3587875 h 5633118"/>
                  <a:gd name="connsiteX20" fmla="*/ 1918706 w 1918706"/>
                  <a:gd name="connsiteY20" fmla="*/ 3595649 h 5633118"/>
                  <a:gd name="connsiteX21" fmla="*/ 1918706 w 1918706"/>
                  <a:gd name="connsiteY21" fmla="*/ 3997322 h 5633118"/>
                  <a:gd name="connsiteX22" fmla="*/ 1918706 w 1918706"/>
                  <a:gd name="connsiteY22" fmla="*/ 4010476 h 5633118"/>
                  <a:gd name="connsiteX23" fmla="*/ 1918706 w 1918706"/>
                  <a:gd name="connsiteY23" fmla="*/ 4069228 h 5633118"/>
                  <a:gd name="connsiteX24" fmla="*/ 1918706 w 1918706"/>
                  <a:gd name="connsiteY24" fmla="*/ 4090156 h 5633118"/>
                  <a:gd name="connsiteX25" fmla="*/ 1918706 w 1918706"/>
                  <a:gd name="connsiteY25" fmla="*/ 4097931 h 5633118"/>
                  <a:gd name="connsiteX26" fmla="*/ 1918706 w 1918706"/>
                  <a:gd name="connsiteY26" fmla="*/ 4491829 h 5633118"/>
                  <a:gd name="connsiteX27" fmla="*/ 1918706 w 1918706"/>
                  <a:gd name="connsiteY27" fmla="*/ 4579284 h 5633118"/>
                  <a:gd name="connsiteX28" fmla="*/ 1918706 w 1918706"/>
                  <a:gd name="connsiteY28" fmla="*/ 4592438 h 5633118"/>
                  <a:gd name="connsiteX29" fmla="*/ 1918706 w 1918706"/>
                  <a:gd name="connsiteY29" fmla="*/ 5073791 h 5633118"/>
                  <a:gd name="connsiteX30" fmla="*/ 959355 w 1918706"/>
                  <a:gd name="connsiteY30" fmla="*/ 5633118 h 5633118"/>
                  <a:gd name="connsiteX31" fmla="*/ 0 w 1918706"/>
                  <a:gd name="connsiteY31" fmla="*/ 5073791 h 5633118"/>
                  <a:gd name="connsiteX32" fmla="*/ 0 w 1918706"/>
                  <a:gd name="connsiteY32" fmla="*/ 4592438 h 5633118"/>
                  <a:gd name="connsiteX33" fmla="*/ 0 w 1918706"/>
                  <a:gd name="connsiteY33" fmla="*/ 4579284 h 5633118"/>
                  <a:gd name="connsiteX34" fmla="*/ 0 w 1918706"/>
                  <a:gd name="connsiteY34" fmla="*/ 4491829 h 5633118"/>
                  <a:gd name="connsiteX35" fmla="*/ 0 w 1918706"/>
                  <a:gd name="connsiteY35" fmla="*/ 4097931 h 5633118"/>
                  <a:gd name="connsiteX36" fmla="*/ 0 w 1918706"/>
                  <a:gd name="connsiteY36" fmla="*/ 4090156 h 5633118"/>
                  <a:gd name="connsiteX37" fmla="*/ 0 w 1918706"/>
                  <a:gd name="connsiteY37" fmla="*/ 4069228 h 5633118"/>
                  <a:gd name="connsiteX38" fmla="*/ 0 w 1918706"/>
                  <a:gd name="connsiteY38" fmla="*/ 4010476 h 5633118"/>
                  <a:gd name="connsiteX39" fmla="*/ 0 w 1918706"/>
                  <a:gd name="connsiteY39" fmla="*/ 3997322 h 5633118"/>
                  <a:gd name="connsiteX40" fmla="*/ 0 w 1918706"/>
                  <a:gd name="connsiteY40" fmla="*/ 3595649 h 5633118"/>
                  <a:gd name="connsiteX41" fmla="*/ 0 w 1918706"/>
                  <a:gd name="connsiteY41" fmla="*/ 3587875 h 5633118"/>
                  <a:gd name="connsiteX42" fmla="*/ 0 w 1918706"/>
                  <a:gd name="connsiteY42" fmla="*/ 3574721 h 5633118"/>
                  <a:gd name="connsiteX43" fmla="*/ 0 w 1918706"/>
                  <a:gd name="connsiteY43" fmla="*/ 3515969 h 5633118"/>
                  <a:gd name="connsiteX44" fmla="*/ 0 w 1918706"/>
                  <a:gd name="connsiteY44" fmla="*/ 3508195 h 5633118"/>
                  <a:gd name="connsiteX45" fmla="*/ 0 w 1918706"/>
                  <a:gd name="connsiteY45" fmla="*/ 3487266 h 5633118"/>
                  <a:gd name="connsiteX46" fmla="*/ 0 w 1918706"/>
                  <a:gd name="connsiteY4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503632 h 5633118"/>
                  <a:gd name="connsiteX5" fmla="*/ 1918706 w 1918706"/>
                  <a:gd name="connsiteY5" fmla="*/ 2511407 h 5633118"/>
                  <a:gd name="connsiteX6" fmla="*/ 1918706 w 1918706"/>
                  <a:gd name="connsiteY6" fmla="*/ 2567616 h 5633118"/>
                  <a:gd name="connsiteX7" fmla="*/ 1918706 w 1918706"/>
                  <a:gd name="connsiteY7" fmla="*/ 2583313 h 5633118"/>
                  <a:gd name="connsiteX8" fmla="*/ 1918706 w 1918706"/>
                  <a:gd name="connsiteY8" fmla="*/ 2591087 h 5633118"/>
                  <a:gd name="connsiteX9" fmla="*/ 1918706 w 1918706"/>
                  <a:gd name="connsiteY9" fmla="*/ 2992759 h 5633118"/>
                  <a:gd name="connsiteX10" fmla="*/ 1918706 w 1918706"/>
                  <a:gd name="connsiteY10" fmla="*/ 3005914 h 5633118"/>
                  <a:gd name="connsiteX11" fmla="*/ 1918706 w 1918706"/>
                  <a:gd name="connsiteY11" fmla="*/ 3013688 h 5633118"/>
                  <a:gd name="connsiteX12" fmla="*/ 1918706 w 1918706"/>
                  <a:gd name="connsiteY12" fmla="*/ 3085594 h 5633118"/>
                  <a:gd name="connsiteX13" fmla="*/ 1918706 w 1918706"/>
                  <a:gd name="connsiteY13" fmla="*/ 3093368 h 5633118"/>
                  <a:gd name="connsiteX14" fmla="*/ 1918706 w 1918706"/>
                  <a:gd name="connsiteY14" fmla="*/ 3487266 h 5633118"/>
                  <a:gd name="connsiteX15" fmla="*/ 1918706 w 1918706"/>
                  <a:gd name="connsiteY15" fmla="*/ 3508195 h 5633118"/>
                  <a:gd name="connsiteX16" fmla="*/ 1918706 w 1918706"/>
                  <a:gd name="connsiteY16" fmla="*/ 3515969 h 5633118"/>
                  <a:gd name="connsiteX17" fmla="*/ 1918706 w 1918706"/>
                  <a:gd name="connsiteY17" fmla="*/ 3574721 h 5633118"/>
                  <a:gd name="connsiteX18" fmla="*/ 1918706 w 1918706"/>
                  <a:gd name="connsiteY18" fmla="*/ 3587875 h 5633118"/>
                  <a:gd name="connsiteX19" fmla="*/ 1918706 w 1918706"/>
                  <a:gd name="connsiteY19" fmla="*/ 3595649 h 5633118"/>
                  <a:gd name="connsiteX20" fmla="*/ 1918706 w 1918706"/>
                  <a:gd name="connsiteY20" fmla="*/ 3997322 h 5633118"/>
                  <a:gd name="connsiteX21" fmla="*/ 1918706 w 1918706"/>
                  <a:gd name="connsiteY21" fmla="*/ 4010476 h 5633118"/>
                  <a:gd name="connsiteX22" fmla="*/ 1918706 w 1918706"/>
                  <a:gd name="connsiteY22" fmla="*/ 4069228 h 5633118"/>
                  <a:gd name="connsiteX23" fmla="*/ 1918706 w 1918706"/>
                  <a:gd name="connsiteY23" fmla="*/ 4090156 h 5633118"/>
                  <a:gd name="connsiteX24" fmla="*/ 1918706 w 1918706"/>
                  <a:gd name="connsiteY24" fmla="*/ 4097931 h 5633118"/>
                  <a:gd name="connsiteX25" fmla="*/ 1918706 w 1918706"/>
                  <a:gd name="connsiteY25" fmla="*/ 4491829 h 5633118"/>
                  <a:gd name="connsiteX26" fmla="*/ 1918706 w 1918706"/>
                  <a:gd name="connsiteY26" fmla="*/ 4579284 h 5633118"/>
                  <a:gd name="connsiteX27" fmla="*/ 1918706 w 1918706"/>
                  <a:gd name="connsiteY27" fmla="*/ 4592438 h 5633118"/>
                  <a:gd name="connsiteX28" fmla="*/ 1918706 w 1918706"/>
                  <a:gd name="connsiteY28" fmla="*/ 5073791 h 5633118"/>
                  <a:gd name="connsiteX29" fmla="*/ 959355 w 1918706"/>
                  <a:gd name="connsiteY29" fmla="*/ 5633118 h 5633118"/>
                  <a:gd name="connsiteX30" fmla="*/ 0 w 1918706"/>
                  <a:gd name="connsiteY30" fmla="*/ 5073791 h 5633118"/>
                  <a:gd name="connsiteX31" fmla="*/ 0 w 1918706"/>
                  <a:gd name="connsiteY31" fmla="*/ 4592438 h 5633118"/>
                  <a:gd name="connsiteX32" fmla="*/ 0 w 1918706"/>
                  <a:gd name="connsiteY32" fmla="*/ 4579284 h 5633118"/>
                  <a:gd name="connsiteX33" fmla="*/ 0 w 1918706"/>
                  <a:gd name="connsiteY33" fmla="*/ 4491829 h 5633118"/>
                  <a:gd name="connsiteX34" fmla="*/ 0 w 1918706"/>
                  <a:gd name="connsiteY34" fmla="*/ 4097931 h 5633118"/>
                  <a:gd name="connsiteX35" fmla="*/ 0 w 1918706"/>
                  <a:gd name="connsiteY35" fmla="*/ 4090156 h 5633118"/>
                  <a:gd name="connsiteX36" fmla="*/ 0 w 1918706"/>
                  <a:gd name="connsiteY36" fmla="*/ 4069228 h 5633118"/>
                  <a:gd name="connsiteX37" fmla="*/ 0 w 1918706"/>
                  <a:gd name="connsiteY37" fmla="*/ 4010476 h 5633118"/>
                  <a:gd name="connsiteX38" fmla="*/ 0 w 1918706"/>
                  <a:gd name="connsiteY38" fmla="*/ 3997322 h 5633118"/>
                  <a:gd name="connsiteX39" fmla="*/ 0 w 1918706"/>
                  <a:gd name="connsiteY39" fmla="*/ 3595649 h 5633118"/>
                  <a:gd name="connsiteX40" fmla="*/ 0 w 1918706"/>
                  <a:gd name="connsiteY40" fmla="*/ 3587875 h 5633118"/>
                  <a:gd name="connsiteX41" fmla="*/ 0 w 1918706"/>
                  <a:gd name="connsiteY41" fmla="*/ 3574721 h 5633118"/>
                  <a:gd name="connsiteX42" fmla="*/ 0 w 1918706"/>
                  <a:gd name="connsiteY42" fmla="*/ 3515969 h 5633118"/>
                  <a:gd name="connsiteX43" fmla="*/ 0 w 1918706"/>
                  <a:gd name="connsiteY43" fmla="*/ 3508195 h 5633118"/>
                  <a:gd name="connsiteX44" fmla="*/ 0 w 1918706"/>
                  <a:gd name="connsiteY44" fmla="*/ 3487266 h 5633118"/>
                  <a:gd name="connsiteX45" fmla="*/ 0 w 1918706"/>
                  <a:gd name="connsiteY4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11407 h 5633118"/>
                  <a:gd name="connsiteX5" fmla="*/ 1918706 w 1918706"/>
                  <a:gd name="connsiteY5" fmla="*/ 2567616 h 5633118"/>
                  <a:gd name="connsiteX6" fmla="*/ 1918706 w 1918706"/>
                  <a:gd name="connsiteY6" fmla="*/ 2583313 h 5633118"/>
                  <a:gd name="connsiteX7" fmla="*/ 1918706 w 1918706"/>
                  <a:gd name="connsiteY7" fmla="*/ 2591087 h 5633118"/>
                  <a:gd name="connsiteX8" fmla="*/ 1918706 w 1918706"/>
                  <a:gd name="connsiteY8" fmla="*/ 2992759 h 5633118"/>
                  <a:gd name="connsiteX9" fmla="*/ 1918706 w 1918706"/>
                  <a:gd name="connsiteY9" fmla="*/ 3005914 h 5633118"/>
                  <a:gd name="connsiteX10" fmla="*/ 1918706 w 1918706"/>
                  <a:gd name="connsiteY10" fmla="*/ 3013688 h 5633118"/>
                  <a:gd name="connsiteX11" fmla="*/ 1918706 w 1918706"/>
                  <a:gd name="connsiteY11" fmla="*/ 3085594 h 5633118"/>
                  <a:gd name="connsiteX12" fmla="*/ 1918706 w 1918706"/>
                  <a:gd name="connsiteY12" fmla="*/ 3093368 h 5633118"/>
                  <a:gd name="connsiteX13" fmla="*/ 1918706 w 1918706"/>
                  <a:gd name="connsiteY13" fmla="*/ 3487266 h 5633118"/>
                  <a:gd name="connsiteX14" fmla="*/ 1918706 w 1918706"/>
                  <a:gd name="connsiteY14" fmla="*/ 3508195 h 5633118"/>
                  <a:gd name="connsiteX15" fmla="*/ 1918706 w 1918706"/>
                  <a:gd name="connsiteY15" fmla="*/ 3515969 h 5633118"/>
                  <a:gd name="connsiteX16" fmla="*/ 1918706 w 1918706"/>
                  <a:gd name="connsiteY16" fmla="*/ 3574721 h 5633118"/>
                  <a:gd name="connsiteX17" fmla="*/ 1918706 w 1918706"/>
                  <a:gd name="connsiteY17" fmla="*/ 3587875 h 5633118"/>
                  <a:gd name="connsiteX18" fmla="*/ 1918706 w 1918706"/>
                  <a:gd name="connsiteY18" fmla="*/ 3595649 h 5633118"/>
                  <a:gd name="connsiteX19" fmla="*/ 1918706 w 1918706"/>
                  <a:gd name="connsiteY19" fmla="*/ 3997322 h 5633118"/>
                  <a:gd name="connsiteX20" fmla="*/ 1918706 w 1918706"/>
                  <a:gd name="connsiteY20" fmla="*/ 4010476 h 5633118"/>
                  <a:gd name="connsiteX21" fmla="*/ 1918706 w 1918706"/>
                  <a:gd name="connsiteY21" fmla="*/ 4069228 h 5633118"/>
                  <a:gd name="connsiteX22" fmla="*/ 1918706 w 1918706"/>
                  <a:gd name="connsiteY22" fmla="*/ 4090156 h 5633118"/>
                  <a:gd name="connsiteX23" fmla="*/ 1918706 w 1918706"/>
                  <a:gd name="connsiteY23" fmla="*/ 4097931 h 5633118"/>
                  <a:gd name="connsiteX24" fmla="*/ 1918706 w 1918706"/>
                  <a:gd name="connsiteY24" fmla="*/ 4491829 h 5633118"/>
                  <a:gd name="connsiteX25" fmla="*/ 1918706 w 1918706"/>
                  <a:gd name="connsiteY25" fmla="*/ 4579284 h 5633118"/>
                  <a:gd name="connsiteX26" fmla="*/ 1918706 w 1918706"/>
                  <a:gd name="connsiteY26" fmla="*/ 4592438 h 5633118"/>
                  <a:gd name="connsiteX27" fmla="*/ 1918706 w 1918706"/>
                  <a:gd name="connsiteY27" fmla="*/ 5073791 h 5633118"/>
                  <a:gd name="connsiteX28" fmla="*/ 959355 w 1918706"/>
                  <a:gd name="connsiteY28" fmla="*/ 5633118 h 5633118"/>
                  <a:gd name="connsiteX29" fmla="*/ 0 w 1918706"/>
                  <a:gd name="connsiteY29" fmla="*/ 5073791 h 5633118"/>
                  <a:gd name="connsiteX30" fmla="*/ 0 w 1918706"/>
                  <a:gd name="connsiteY30" fmla="*/ 4592438 h 5633118"/>
                  <a:gd name="connsiteX31" fmla="*/ 0 w 1918706"/>
                  <a:gd name="connsiteY31" fmla="*/ 4579284 h 5633118"/>
                  <a:gd name="connsiteX32" fmla="*/ 0 w 1918706"/>
                  <a:gd name="connsiteY32" fmla="*/ 4491829 h 5633118"/>
                  <a:gd name="connsiteX33" fmla="*/ 0 w 1918706"/>
                  <a:gd name="connsiteY33" fmla="*/ 4097931 h 5633118"/>
                  <a:gd name="connsiteX34" fmla="*/ 0 w 1918706"/>
                  <a:gd name="connsiteY34" fmla="*/ 4090156 h 5633118"/>
                  <a:gd name="connsiteX35" fmla="*/ 0 w 1918706"/>
                  <a:gd name="connsiteY35" fmla="*/ 4069228 h 5633118"/>
                  <a:gd name="connsiteX36" fmla="*/ 0 w 1918706"/>
                  <a:gd name="connsiteY36" fmla="*/ 4010476 h 5633118"/>
                  <a:gd name="connsiteX37" fmla="*/ 0 w 1918706"/>
                  <a:gd name="connsiteY37" fmla="*/ 3997322 h 5633118"/>
                  <a:gd name="connsiteX38" fmla="*/ 0 w 1918706"/>
                  <a:gd name="connsiteY38" fmla="*/ 3595649 h 5633118"/>
                  <a:gd name="connsiteX39" fmla="*/ 0 w 1918706"/>
                  <a:gd name="connsiteY39" fmla="*/ 3587875 h 5633118"/>
                  <a:gd name="connsiteX40" fmla="*/ 0 w 1918706"/>
                  <a:gd name="connsiteY40" fmla="*/ 3574721 h 5633118"/>
                  <a:gd name="connsiteX41" fmla="*/ 0 w 1918706"/>
                  <a:gd name="connsiteY41" fmla="*/ 3515969 h 5633118"/>
                  <a:gd name="connsiteX42" fmla="*/ 0 w 1918706"/>
                  <a:gd name="connsiteY42" fmla="*/ 3508195 h 5633118"/>
                  <a:gd name="connsiteX43" fmla="*/ 0 w 1918706"/>
                  <a:gd name="connsiteY43" fmla="*/ 3487266 h 5633118"/>
                  <a:gd name="connsiteX44" fmla="*/ 0 w 1918706"/>
                  <a:gd name="connsiteY4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67616 h 5633118"/>
                  <a:gd name="connsiteX5" fmla="*/ 1918706 w 1918706"/>
                  <a:gd name="connsiteY5" fmla="*/ 2583313 h 5633118"/>
                  <a:gd name="connsiteX6" fmla="*/ 1918706 w 1918706"/>
                  <a:gd name="connsiteY6" fmla="*/ 2591087 h 5633118"/>
                  <a:gd name="connsiteX7" fmla="*/ 1918706 w 1918706"/>
                  <a:gd name="connsiteY7" fmla="*/ 2992759 h 5633118"/>
                  <a:gd name="connsiteX8" fmla="*/ 1918706 w 1918706"/>
                  <a:gd name="connsiteY8" fmla="*/ 3005914 h 5633118"/>
                  <a:gd name="connsiteX9" fmla="*/ 1918706 w 1918706"/>
                  <a:gd name="connsiteY9" fmla="*/ 3013688 h 5633118"/>
                  <a:gd name="connsiteX10" fmla="*/ 1918706 w 1918706"/>
                  <a:gd name="connsiteY10" fmla="*/ 3085594 h 5633118"/>
                  <a:gd name="connsiteX11" fmla="*/ 1918706 w 1918706"/>
                  <a:gd name="connsiteY11" fmla="*/ 3093368 h 5633118"/>
                  <a:gd name="connsiteX12" fmla="*/ 1918706 w 1918706"/>
                  <a:gd name="connsiteY12" fmla="*/ 3487266 h 5633118"/>
                  <a:gd name="connsiteX13" fmla="*/ 1918706 w 1918706"/>
                  <a:gd name="connsiteY13" fmla="*/ 3508195 h 5633118"/>
                  <a:gd name="connsiteX14" fmla="*/ 1918706 w 1918706"/>
                  <a:gd name="connsiteY14" fmla="*/ 3515969 h 5633118"/>
                  <a:gd name="connsiteX15" fmla="*/ 1918706 w 1918706"/>
                  <a:gd name="connsiteY15" fmla="*/ 3574721 h 5633118"/>
                  <a:gd name="connsiteX16" fmla="*/ 1918706 w 1918706"/>
                  <a:gd name="connsiteY16" fmla="*/ 3587875 h 5633118"/>
                  <a:gd name="connsiteX17" fmla="*/ 1918706 w 1918706"/>
                  <a:gd name="connsiteY17" fmla="*/ 3595649 h 5633118"/>
                  <a:gd name="connsiteX18" fmla="*/ 1918706 w 1918706"/>
                  <a:gd name="connsiteY18" fmla="*/ 3997322 h 5633118"/>
                  <a:gd name="connsiteX19" fmla="*/ 1918706 w 1918706"/>
                  <a:gd name="connsiteY19" fmla="*/ 4010476 h 5633118"/>
                  <a:gd name="connsiteX20" fmla="*/ 1918706 w 1918706"/>
                  <a:gd name="connsiteY20" fmla="*/ 4069228 h 5633118"/>
                  <a:gd name="connsiteX21" fmla="*/ 1918706 w 1918706"/>
                  <a:gd name="connsiteY21" fmla="*/ 4090156 h 5633118"/>
                  <a:gd name="connsiteX22" fmla="*/ 1918706 w 1918706"/>
                  <a:gd name="connsiteY22" fmla="*/ 4097931 h 5633118"/>
                  <a:gd name="connsiteX23" fmla="*/ 1918706 w 1918706"/>
                  <a:gd name="connsiteY23" fmla="*/ 4491829 h 5633118"/>
                  <a:gd name="connsiteX24" fmla="*/ 1918706 w 1918706"/>
                  <a:gd name="connsiteY24" fmla="*/ 4579284 h 5633118"/>
                  <a:gd name="connsiteX25" fmla="*/ 1918706 w 1918706"/>
                  <a:gd name="connsiteY25" fmla="*/ 4592438 h 5633118"/>
                  <a:gd name="connsiteX26" fmla="*/ 1918706 w 1918706"/>
                  <a:gd name="connsiteY26" fmla="*/ 5073791 h 5633118"/>
                  <a:gd name="connsiteX27" fmla="*/ 959355 w 1918706"/>
                  <a:gd name="connsiteY27" fmla="*/ 5633118 h 5633118"/>
                  <a:gd name="connsiteX28" fmla="*/ 0 w 1918706"/>
                  <a:gd name="connsiteY28" fmla="*/ 5073791 h 5633118"/>
                  <a:gd name="connsiteX29" fmla="*/ 0 w 1918706"/>
                  <a:gd name="connsiteY29" fmla="*/ 4592438 h 5633118"/>
                  <a:gd name="connsiteX30" fmla="*/ 0 w 1918706"/>
                  <a:gd name="connsiteY30" fmla="*/ 4579284 h 5633118"/>
                  <a:gd name="connsiteX31" fmla="*/ 0 w 1918706"/>
                  <a:gd name="connsiteY31" fmla="*/ 4491829 h 5633118"/>
                  <a:gd name="connsiteX32" fmla="*/ 0 w 1918706"/>
                  <a:gd name="connsiteY32" fmla="*/ 4097931 h 5633118"/>
                  <a:gd name="connsiteX33" fmla="*/ 0 w 1918706"/>
                  <a:gd name="connsiteY33" fmla="*/ 4090156 h 5633118"/>
                  <a:gd name="connsiteX34" fmla="*/ 0 w 1918706"/>
                  <a:gd name="connsiteY34" fmla="*/ 4069228 h 5633118"/>
                  <a:gd name="connsiteX35" fmla="*/ 0 w 1918706"/>
                  <a:gd name="connsiteY35" fmla="*/ 4010476 h 5633118"/>
                  <a:gd name="connsiteX36" fmla="*/ 0 w 1918706"/>
                  <a:gd name="connsiteY36" fmla="*/ 3997322 h 5633118"/>
                  <a:gd name="connsiteX37" fmla="*/ 0 w 1918706"/>
                  <a:gd name="connsiteY37" fmla="*/ 3595649 h 5633118"/>
                  <a:gd name="connsiteX38" fmla="*/ 0 w 1918706"/>
                  <a:gd name="connsiteY38" fmla="*/ 3587875 h 5633118"/>
                  <a:gd name="connsiteX39" fmla="*/ 0 w 1918706"/>
                  <a:gd name="connsiteY39" fmla="*/ 3574721 h 5633118"/>
                  <a:gd name="connsiteX40" fmla="*/ 0 w 1918706"/>
                  <a:gd name="connsiteY40" fmla="*/ 3515969 h 5633118"/>
                  <a:gd name="connsiteX41" fmla="*/ 0 w 1918706"/>
                  <a:gd name="connsiteY41" fmla="*/ 3508195 h 5633118"/>
                  <a:gd name="connsiteX42" fmla="*/ 0 w 1918706"/>
                  <a:gd name="connsiteY42" fmla="*/ 3487266 h 5633118"/>
                  <a:gd name="connsiteX43" fmla="*/ 0 w 1918706"/>
                  <a:gd name="connsiteY4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591087 h 5633118"/>
                  <a:gd name="connsiteX6" fmla="*/ 1918706 w 1918706"/>
                  <a:gd name="connsiteY6" fmla="*/ 2992759 h 5633118"/>
                  <a:gd name="connsiteX7" fmla="*/ 1918706 w 1918706"/>
                  <a:gd name="connsiteY7" fmla="*/ 3005914 h 5633118"/>
                  <a:gd name="connsiteX8" fmla="*/ 1918706 w 1918706"/>
                  <a:gd name="connsiteY8" fmla="*/ 3013688 h 5633118"/>
                  <a:gd name="connsiteX9" fmla="*/ 1918706 w 1918706"/>
                  <a:gd name="connsiteY9" fmla="*/ 3085594 h 5633118"/>
                  <a:gd name="connsiteX10" fmla="*/ 1918706 w 1918706"/>
                  <a:gd name="connsiteY10" fmla="*/ 3093368 h 5633118"/>
                  <a:gd name="connsiteX11" fmla="*/ 1918706 w 1918706"/>
                  <a:gd name="connsiteY11" fmla="*/ 3487266 h 5633118"/>
                  <a:gd name="connsiteX12" fmla="*/ 1918706 w 1918706"/>
                  <a:gd name="connsiteY12" fmla="*/ 3508195 h 5633118"/>
                  <a:gd name="connsiteX13" fmla="*/ 1918706 w 1918706"/>
                  <a:gd name="connsiteY13" fmla="*/ 3515969 h 5633118"/>
                  <a:gd name="connsiteX14" fmla="*/ 1918706 w 1918706"/>
                  <a:gd name="connsiteY14" fmla="*/ 3574721 h 5633118"/>
                  <a:gd name="connsiteX15" fmla="*/ 1918706 w 1918706"/>
                  <a:gd name="connsiteY15" fmla="*/ 3587875 h 5633118"/>
                  <a:gd name="connsiteX16" fmla="*/ 1918706 w 1918706"/>
                  <a:gd name="connsiteY16" fmla="*/ 3595649 h 5633118"/>
                  <a:gd name="connsiteX17" fmla="*/ 1918706 w 1918706"/>
                  <a:gd name="connsiteY17" fmla="*/ 3997322 h 5633118"/>
                  <a:gd name="connsiteX18" fmla="*/ 1918706 w 1918706"/>
                  <a:gd name="connsiteY18" fmla="*/ 4010476 h 5633118"/>
                  <a:gd name="connsiteX19" fmla="*/ 1918706 w 1918706"/>
                  <a:gd name="connsiteY19" fmla="*/ 4069228 h 5633118"/>
                  <a:gd name="connsiteX20" fmla="*/ 1918706 w 1918706"/>
                  <a:gd name="connsiteY20" fmla="*/ 4090156 h 5633118"/>
                  <a:gd name="connsiteX21" fmla="*/ 1918706 w 1918706"/>
                  <a:gd name="connsiteY21" fmla="*/ 4097931 h 5633118"/>
                  <a:gd name="connsiteX22" fmla="*/ 1918706 w 1918706"/>
                  <a:gd name="connsiteY22" fmla="*/ 4491829 h 5633118"/>
                  <a:gd name="connsiteX23" fmla="*/ 1918706 w 1918706"/>
                  <a:gd name="connsiteY23" fmla="*/ 4579284 h 5633118"/>
                  <a:gd name="connsiteX24" fmla="*/ 1918706 w 1918706"/>
                  <a:gd name="connsiteY24" fmla="*/ 4592438 h 5633118"/>
                  <a:gd name="connsiteX25" fmla="*/ 1918706 w 1918706"/>
                  <a:gd name="connsiteY25" fmla="*/ 5073791 h 5633118"/>
                  <a:gd name="connsiteX26" fmla="*/ 959355 w 1918706"/>
                  <a:gd name="connsiteY26" fmla="*/ 5633118 h 5633118"/>
                  <a:gd name="connsiteX27" fmla="*/ 0 w 1918706"/>
                  <a:gd name="connsiteY27" fmla="*/ 5073791 h 5633118"/>
                  <a:gd name="connsiteX28" fmla="*/ 0 w 1918706"/>
                  <a:gd name="connsiteY28" fmla="*/ 4592438 h 5633118"/>
                  <a:gd name="connsiteX29" fmla="*/ 0 w 1918706"/>
                  <a:gd name="connsiteY29" fmla="*/ 4579284 h 5633118"/>
                  <a:gd name="connsiteX30" fmla="*/ 0 w 1918706"/>
                  <a:gd name="connsiteY30" fmla="*/ 4491829 h 5633118"/>
                  <a:gd name="connsiteX31" fmla="*/ 0 w 1918706"/>
                  <a:gd name="connsiteY31" fmla="*/ 4097931 h 5633118"/>
                  <a:gd name="connsiteX32" fmla="*/ 0 w 1918706"/>
                  <a:gd name="connsiteY32" fmla="*/ 4090156 h 5633118"/>
                  <a:gd name="connsiteX33" fmla="*/ 0 w 1918706"/>
                  <a:gd name="connsiteY33" fmla="*/ 4069228 h 5633118"/>
                  <a:gd name="connsiteX34" fmla="*/ 0 w 1918706"/>
                  <a:gd name="connsiteY34" fmla="*/ 4010476 h 5633118"/>
                  <a:gd name="connsiteX35" fmla="*/ 0 w 1918706"/>
                  <a:gd name="connsiteY35" fmla="*/ 3997322 h 5633118"/>
                  <a:gd name="connsiteX36" fmla="*/ 0 w 1918706"/>
                  <a:gd name="connsiteY36" fmla="*/ 3595649 h 5633118"/>
                  <a:gd name="connsiteX37" fmla="*/ 0 w 1918706"/>
                  <a:gd name="connsiteY37" fmla="*/ 3587875 h 5633118"/>
                  <a:gd name="connsiteX38" fmla="*/ 0 w 1918706"/>
                  <a:gd name="connsiteY38" fmla="*/ 3574721 h 5633118"/>
                  <a:gd name="connsiteX39" fmla="*/ 0 w 1918706"/>
                  <a:gd name="connsiteY39" fmla="*/ 3515969 h 5633118"/>
                  <a:gd name="connsiteX40" fmla="*/ 0 w 1918706"/>
                  <a:gd name="connsiteY40" fmla="*/ 3508195 h 5633118"/>
                  <a:gd name="connsiteX41" fmla="*/ 0 w 1918706"/>
                  <a:gd name="connsiteY41" fmla="*/ 3487266 h 5633118"/>
                  <a:gd name="connsiteX42" fmla="*/ 0 w 1918706"/>
                  <a:gd name="connsiteY4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992759 h 5633118"/>
                  <a:gd name="connsiteX6" fmla="*/ 1918706 w 1918706"/>
                  <a:gd name="connsiteY6" fmla="*/ 3005914 h 5633118"/>
                  <a:gd name="connsiteX7" fmla="*/ 1918706 w 1918706"/>
                  <a:gd name="connsiteY7" fmla="*/ 3013688 h 5633118"/>
                  <a:gd name="connsiteX8" fmla="*/ 1918706 w 1918706"/>
                  <a:gd name="connsiteY8" fmla="*/ 3085594 h 5633118"/>
                  <a:gd name="connsiteX9" fmla="*/ 1918706 w 1918706"/>
                  <a:gd name="connsiteY9" fmla="*/ 3093368 h 5633118"/>
                  <a:gd name="connsiteX10" fmla="*/ 1918706 w 1918706"/>
                  <a:gd name="connsiteY10" fmla="*/ 3487266 h 5633118"/>
                  <a:gd name="connsiteX11" fmla="*/ 1918706 w 1918706"/>
                  <a:gd name="connsiteY11" fmla="*/ 3508195 h 5633118"/>
                  <a:gd name="connsiteX12" fmla="*/ 1918706 w 1918706"/>
                  <a:gd name="connsiteY12" fmla="*/ 3515969 h 5633118"/>
                  <a:gd name="connsiteX13" fmla="*/ 1918706 w 1918706"/>
                  <a:gd name="connsiteY13" fmla="*/ 3574721 h 5633118"/>
                  <a:gd name="connsiteX14" fmla="*/ 1918706 w 1918706"/>
                  <a:gd name="connsiteY14" fmla="*/ 3587875 h 5633118"/>
                  <a:gd name="connsiteX15" fmla="*/ 1918706 w 1918706"/>
                  <a:gd name="connsiteY15" fmla="*/ 3595649 h 5633118"/>
                  <a:gd name="connsiteX16" fmla="*/ 1918706 w 1918706"/>
                  <a:gd name="connsiteY16" fmla="*/ 3997322 h 5633118"/>
                  <a:gd name="connsiteX17" fmla="*/ 1918706 w 1918706"/>
                  <a:gd name="connsiteY17" fmla="*/ 4010476 h 5633118"/>
                  <a:gd name="connsiteX18" fmla="*/ 1918706 w 1918706"/>
                  <a:gd name="connsiteY18" fmla="*/ 4069228 h 5633118"/>
                  <a:gd name="connsiteX19" fmla="*/ 1918706 w 1918706"/>
                  <a:gd name="connsiteY19" fmla="*/ 4090156 h 5633118"/>
                  <a:gd name="connsiteX20" fmla="*/ 1918706 w 1918706"/>
                  <a:gd name="connsiteY20" fmla="*/ 4097931 h 5633118"/>
                  <a:gd name="connsiteX21" fmla="*/ 1918706 w 1918706"/>
                  <a:gd name="connsiteY21" fmla="*/ 4491829 h 5633118"/>
                  <a:gd name="connsiteX22" fmla="*/ 1918706 w 1918706"/>
                  <a:gd name="connsiteY22" fmla="*/ 4579284 h 5633118"/>
                  <a:gd name="connsiteX23" fmla="*/ 1918706 w 1918706"/>
                  <a:gd name="connsiteY23" fmla="*/ 4592438 h 5633118"/>
                  <a:gd name="connsiteX24" fmla="*/ 1918706 w 1918706"/>
                  <a:gd name="connsiteY24" fmla="*/ 5073791 h 5633118"/>
                  <a:gd name="connsiteX25" fmla="*/ 959355 w 1918706"/>
                  <a:gd name="connsiteY25" fmla="*/ 5633118 h 5633118"/>
                  <a:gd name="connsiteX26" fmla="*/ 0 w 1918706"/>
                  <a:gd name="connsiteY26" fmla="*/ 5073791 h 5633118"/>
                  <a:gd name="connsiteX27" fmla="*/ 0 w 1918706"/>
                  <a:gd name="connsiteY27" fmla="*/ 4592438 h 5633118"/>
                  <a:gd name="connsiteX28" fmla="*/ 0 w 1918706"/>
                  <a:gd name="connsiteY28" fmla="*/ 4579284 h 5633118"/>
                  <a:gd name="connsiteX29" fmla="*/ 0 w 1918706"/>
                  <a:gd name="connsiteY29" fmla="*/ 4491829 h 5633118"/>
                  <a:gd name="connsiteX30" fmla="*/ 0 w 1918706"/>
                  <a:gd name="connsiteY30" fmla="*/ 4097931 h 5633118"/>
                  <a:gd name="connsiteX31" fmla="*/ 0 w 1918706"/>
                  <a:gd name="connsiteY31" fmla="*/ 4090156 h 5633118"/>
                  <a:gd name="connsiteX32" fmla="*/ 0 w 1918706"/>
                  <a:gd name="connsiteY32" fmla="*/ 4069228 h 5633118"/>
                  <a:gd name="connsiteX33" fmla="*/ 0 w 1918706"/>
                  <a:gd name="connsiteY33" fmla="*/ 4010476 h 5633118"/>
                  <a:gd name="connsiteX34" fmla="*/ 0 w 1918706"/>
                  <a:gd name="connsiteY34" fmla="*/ 3997322 h 5633118"/>
                  <a:gd name="connsiteX35" fmla="*/ 0 w 1918706"/>
                  <a:gd name="connsiteY35" fmla="*/ 3595649 h 5633118"/>
                  <a:gd name="connsiteX36" fmla="*/ 0 w 1918706"/>
                  <a:gd name="connsiteY36" fmla="*/ 3587875 h 5633118"/>
                  <a:gd name="connsiteX37" fmla="*/ 0 w 1918706"/>
                  <a:gd name="connsiteY37" fmla="*/ 3574721 h 5633118"/>
                  <a:gd name="connsiteX38" fmla="*/ 0 w 1918706"/>
                  <a:gd name="connsiteY38" fmla="*/ 3515969 h 5633118"/>
                  <a:gd name="connsiteX39" fmla="*/ 0 w 1918706"/>
                  <a:gd name="connsiteY39" fmla="*/ 3508195 h 5633118"/>
                  <a:gd name="connsiteX40" fmla="*/ 0 w 1918706"/>
                  <a:gd name="connsiteY40" fmla="*/ 3487266 h 5633118"/>
                  <a:gd name="connsiteX41" fmla="*/ 0 w 1918706"/>
                  <a:gd name="connsiteY4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992759 h 5633118"/>
                  <a:gd name="connsiteX5" fmla="*/ 1918706 w 1918706"/>
                  <a:gd name="connsiteY5" fmla="*/ 3005914 h 5633118"/>
                  <a:gd name="connsiteX6" fmla="*/ 1918706 w 1918706"/>
                  <a:gd name="connsiteY6" fmla="*/ 3013688 h 5633118"/>
                  <a:gd name="connsiteX7" fmla="*/ 1918706 w 1918706"/>
                  <a:gd name="connsiteY7" fmla="*/ 3085594 h 5633118"/>
                  <a:gd name="connsiteX8" fmla="*/ 1918706 w 1918706"/>
                  <a:gd name="connsiteY8" fmla="*/ 3093368 h 5633118"/>
                  <a:gd name="connsiteX9" fmla="*/ 1918706 w 1918706"/>
                  <a:gd name="connsiteY9" fmla="*/ 3487266 h 5633118"/>
                  <a:gd name="connsiteX10" fmla="*/ 1918706 w 1918706"/>
                  <a:gd name="connsiteY10" fmla="*/ 3508195 h 5633118"/>
                  <a:gd name="connsiteX11" fmla="*/ 1918706 w 1918706"/>
                  <a:gd name="connsiteY11" fmla="*/ 3515969 h 5633118"/>
                  <a:gd name="connsiteX12" fmla="*/ 1918706 w 1918706"/>
                  <a:gd name="connsiteY12" fmla="*/ 3574721 h 5633118"/>
                  <a:gd name="connsiteX13" fmla="*/ 1918706 w 1918706"/>
                  <a:gd name="connsiteY13" fmla="*/ 3587875 h 5633118"/>
                  <a:gd name="connsiteX14" fmla="*/ 1918706 w 1918706"/>
                  <a:gd name="connsiteY14" fmla="*/ 3595649 h 5633118"/>
                  <a:gd name="connsiteX15" fmla="*/ 1918706 w 1918706"/>
                  <a:gd name="connsiteY15" fmla="*/ 3997322 h 5633118"/>
                  <a:gd name="connsiteX16" fmla="*/ 1918706 w 1918706"/>
                  <a:gd name="connsiteY16" fmla="*/ 4010476 h 5633118"/>
                  <a:gd name="connsiteX17" fmla="*/ 1918706 w 1918706"/>
                  <a:gd name="connsiteY17" fmla="*/ 4069228 h 5633118"/>
                  <a:gd name="connsiteX18" fmla="*/ 1918706 w 1918706"/>
                  <a:gd name="connsiteY18" fmla="*/ 4090156 h 5633118"/>
                  <a:gd name="connsiteX19" fmla="*/ 1918706 w 1918706"/>
                  <a:gd name="connsiteY19" fmla="*/ 4097931 h 5633118"/>
                  <a:gd name="connsiteX20" fmla="*/ 1918706 w 1918706"/>
                  <a:gd name="connsiteY20" fmla="*/ 4491829 h 5633118"/>
                  <a:gd name="connsiteX21" fmla="*/ 1918706 w 1918706"/>
                  <a:gd name="connsiteY21" fmla="*/ 4579284 h 5633118"/>
                  <a:gd name="connsiteX22" fmla="*/ 1918706 w 1918706"/>
                  <a:gd name="connsiteY22" fmla="*/ 4592438 h 5633118"/>
                  <a:gd name="connsiteX23" fmla="*/ 1918706 w 1918706"/>
                  <a:gd name="connsiteY23" fmla="*/ 5073791 h 5633118"/>
                  <a:gd name="connsiteX24" fmla="*/ 959355 w 1918706"/>
                  <a:gd name="connsiteY24" fmla="*/ 5633118 h 5633118"/>
                  <a:gd name="connsiteX25" fmla="*/ 0 w 1918706"/>
                  <a:gd name="connsiteY25" fmla="*/ 5073791 h 5633118"/>
                  <a:gd name="connsiteX26" fmla="*/ 0 w 1918706"/>
                  <a:gd name="connsiteY26" fmla="*/ 4592438 h 5633118"/>
                  <a:gd name="connsiteX27" fmla="*/ 0 w 1918706"/>
                  <a:gd name="connsiteY27" fmla="*/ 4579284 h 5633118"/>
                  <a:gd name="connsiteX28" fmla="*/ 0 w 1918706"/>
                  <a:gd name="connsiteY28" fmla="*/ 4491829 h 5633118"/>
                  <a:gd name="connsiteX29" fmla="*/ 0 w 1918706"/>
                  <a:gd name="connsiteY29" fmla="*/ 4097931 h 5633118"/>
                  <a:gd name="connsiteX30" fmla="*/ 0 w 1918706"/>
                  <a:gd name="connsiteY30" fmla="*/ 4090156 h 5633118"/>
                  <a:gd name="connsiteX31" fmla="*/ 0 w 1918706"/>
                  <a:gd name="connsiteY31" fmla="*/ 4069228 h 5633118"/>
                  <a:gd name="connsiteX32" fmla="*/ 0 w 1918706"/>
                  <a:gd name="connsiteY32" fmla="*/ 4010476 h 5633118"/>
                  <a:gd name="connsiteX33" fmla="*/ 0 w 1918706"/>
                  <a:gd name="connsiteY33" fmla="*/ 3997322 h 5633118"/>
                  <a:gd name="connsiteX34" fmla="*/ 0 w 1918706"/>
                  <a:gd name="connsiteY34" fmla="*/ 3595649 h 5633118"/>
                  <a:gd name="connsiteX35" fmla="*/ 0 w 1918706"/>
                  <a:gd name="connsiteY35" fmla="*/ 3587875 h 5633118"/>
                  <a:gd name="connsiteX36" fmla="*/ 0 w 1918706"/>
                  <a:gd name="connsiteY36" fmla="*/ 3574721 h 5633118"/>
                  <a:gd name="connsiteX37" fmla="*/ 0 w 1918706"/>
                  <a:gd name="connsiteY37" fmla="*/ 3515969 h 5633118"/>
                  <a:gd name="connsiteX38" fmla="*/ 0 w 1918706"/>
                  <a:gd name="connsiteY38" fmla="*/ 3508195 h 5633118"/>
                  <a:gd name="connsiteX39" fmla="*/ 0 w 1918706"/>
                  <a:gd name="connsiteY39" fmla="*/ 3487266 h 5633118"/>
                  <a:gd name="connsiteX40" fmla="*/ 0 w 1918706"/>
                  <a:gd name="connsiteY4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13688 h 5633118"/>
                  <a:gd name="connsiteX6" fmla="*/ 1918706 w 1918706"/>
                  <a:gd name="connsiteY6" fmla="*/ 3085594 h 5633118"/>
                  <a:gd name="connsiteX7" fmla="*/ 1918706 w 1918706"/>
                  <a:gd name="connsiteY7" fmla="*/ 3093368 h 5633118"/>
                  <a:gd name="connsiteX8" fmla="*/ 1918706 w 1918706"/>
                  <a:gd name="connsiteY8" fmla="*/ 3487266 h 5633118"/>
                  <a:gd name="connsiteX9" fmla="*/ 1918706 w 1918706"/>
                  <a:gd name="connsiteY9" fmla="*/ 3508195 h 5633118"/>
                  <a:gd name="connsiteX10" fmla="*/ 1918706 w 1918706"/>
                  <a:gd name="connsiteY10" fmla="*/ 3515969 h 5633118"/>
                  <a:gd name="connsiteX11" fmla="*/ 1918706 w 1918706"/>
                  <a:gd name="connsiteY11" fmla="*/ 3574721 h 5633118"/>
                  <a:gd name="connsiteX12" fmla="*/ 1918706 w 1918706"/>
                  <a:gd name="connsiteY12" fmla="*/ 3587875 h 5633118"/>
                  <a:gd name="connsiteX13" fmla="*/ 1918706 w 1918706"/>
                  <a:gd name="connsiteY13" fmla="*/ 3595649 h 5633118"/>
                  <a:gd name="connsiteX14" fmla="*/ 1918706 w 1918706"/>
                  <a:gd name="connsiteY14" fmla="*/ 3997322 h 5633118"/>
                  <a:gd name="connsiteX15" fmla="*/ 1918706 w 1918706"/>
                  <a:gd name="connsiteY15" fmla="*/ 4010476 h 5633118"/>
                  <a:gd name="connsiteX16" fmla="*/ 1918706 w 1918706"/>
                  <a:gd name="connsiteY16" fmla="*/ 4069228 h 5633118"/>
                  <a:gd name="connsiteX17" fmla="*/ 1918706 w 1918706"/>
                  <a:gd name="connsiteY17" fmla="*/ 4090156 h 5633118"/>
                  <a:gd name="connsiteX18" fmla="*/ 1918706 w 1918706"/>
                  <a:gd name="connsiteY18" fmla="*/ 4097931 h 5633118"/>
                  <a:gd name="connsiteX19" fmla="*/ 1918706 w 1918706"/>
                  <a:gd name="connsiteY19" fmla="*/ 4491829 h 5633118"/>
                  <a:gd name="connsiteX20" fmla="*/ 1918706 w 1918706"/>
                  <a:gd name="connsiteY20" fmla="*/ 4579284 h 5633118"/>
                  <a:gd name="connsiteX21" fmla="*/ 1918706 w 1918706"/>
                  <a:gd name="connsiteY21" fmla="*/ 4592438 h 5633118"/>
                  <a:gd name="connsiteX22" fmla="*/ 1918706 w 1918706"/>
                  <a:gd name="connsiteY22" fmla="*/ 5073791 h 5633118"/>
                  <a:gd name="connsiteX23" fmla="*/ 959355 w 1918706"/>
                  <a:gd name="connsiteY23" fmla="*/ 5633118 h 5633118"/>
                  <a:gd name="connsiteX24" fmla="*/ 0 w 1918706"/>
                  <a:gd name="connsiteY24" fmla="*/ 5073791 h 5633118"/>
                  <a:gd name="connsiteX25" fmla="*/ 0 w 1918706"/>
                  <a:gd name="connsiteY25" fmla="*/ 4592438 h 5633118"/>
                  <a:gd name="connsiteX26" fmla="*/ 0 w 1918706"/>
                  <a:gd name="connsiteY26" fmla="*/ 4579284 h 5633118"/>
                  <a:gd name="connsiteX27" fmla="*/ 0 w 1918706"/>
                  <a:gd name="connsiteY27" fmla="*/ 4491829 h 5633118"/>
                  <a:gd name="connsiteX28" fmla="*/ 0 w 1918706"/>
                  <a:gd name="connsiteY28" fmla="*/ 4097931 h 5633118"/>
                  <a:gd name="connsiteX29" fmla="*/ 0 w 1918706"/>
                  <a:gd name="connsiteY29" fmla="*/ 4090156 h 5633118"/>
                  <a:gd name="connsiteX30" fmla="*/ 0 w 1918706"/>
                  <a:gd name="connsiteY30" fmla="*/ 4069228 h 5633118"/>
                  <a:gd name="connsiteX31" fmla="*/ 0 w 1918706"/>
                  <a:gd name="connsiteY31" fmla="*/ 4010476 h 5633118"/>
                  <a:gd name="connsiteX32" fmla="*/ 0 w 1918706"/>
                  <a:gd name="connsiteY32" fmla="*/ 3997322 h 5633118"/>
                  <a:gd name="connsiteX33" fmla="*/ 0 w 1918706"/>
                  <a:gd name="connsiteY33" fmla="*/ 3595649 h 5633118"/>
                  <a:gd name="connsiteX34" fmla="*/ 0 w 1918706"/>
                  <a:gd name="connsiteY34" fmla="*/ 3587875 h 5633118"/>
                  <a:gd name="connsiteX35" fmla="*/ 0 w 1918706"/>
                  <a:gd name="connsiteY35" fmla="*/ 3574721 h 5633118"/>
                  <a:gd name="connsiteX36" fmla="*/ 0 w 1918706"/>
                  <a:gd name="connsiteY36" fmla="*/ 3515969 h 5633118"/>
                  <a:gd name="connsiteX37" fmla="*/ 0 w 1918706"/>
                  <a:gd name="connsiteY37" fmla="*/ 3508195 h 5633118"/>
                  <a:gd name="connsiteX38" fmla="*/ 0 w 1918706"/>
                  <a:gd name="connsiteY38" fmla="*/ 3487266 h 5633118"/>
                  <a:gd name="connsiteX39" fmla="*/ 0 w 1918706"/>
                  <a:gd name="connsiteY3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85594 h 5633118"/>
                  <a:gd name="connsiteX6" fmla="*/ 1918706 w 1918706"/>
                  <a:gd name="connsiteY6" fmla="*/ 3093368 h 5633118"/>
                  <a:gd name="connsiteX7" fmla="*/ 1918706 w 1918706"/>
                  <a:gd name="connsiteY7" fmla="*/ 3487266 h 5633118"/>
                  <a:gd name="connsiteX8" fmla="*/ 1918706 w 1918706"/>
                  <a:gd name="connsiteY8" fmla="*/ 3508195 h 5633118"/>
                  <a:gd name="connsiteX9" fmla="*/ 1918706 w 1918706"/>
                  <a:gd name="connsiteY9" fmla="*/ 3515969 h 5633118"/>
                  <a:gd name="connsiteX10" fmla="*/ 1918706 w 1918706"/>
                  <a:gd name="connsiteY10" fmla="*/ 3574721 h 5633118"/>
                  <a:gd name="connsiteX11" fmla="*/ 1918706 w 1918706"/>
                  <a:gd name="connsiteY11" fmla="*/ 3587875 h 5633118"/>
                  <a:gd name="connsiteX12" fmla="*/ 1918706 w 1918706"/>
                  <a:gd name="connsiteY12" fmla="*/ 3595649 h 5633118"/>
                  <a:gd name="connsiteX13" fmla="*/ 1918706 w 1918706"/>
                  <a:gd name="connsiteY13" fmla="*/ 3997322 h 5633118"/>
                  <a:gd name="connsiteX14" fmla="*/ 1918706 w 1918706"/>
                  <a:gd name="connsiteY14" fmla="*/ 4010476 h 5633118"/>
                  <a:gd name="connsiteX15" fmla="*/ 1918706 w 1918706"/>
                  <a:gd name="connsiteY15" fmla="*/ 4069228 h 5633118"/>
                  <a:gd name="connsiteX16" fmla="*/ 1918706 w 1918706"/>
                  <a:gd name="connsiteY16" fmla="*/ 4090156 h 5633118"/>
                  <a:gd name="connsiteX17" fmla="*/ 1918706 w 1918706"/>
                  <a:gd name="connsiteY17" fmla="*/ 4097931 h 5633118"/>
                  <a:gd name="connsiteX18" fmla="*/ 1918706 w 1918706"/>
                  <a:gd name="connsiteY18" fmla="*/ 4491829 h 5633118"/>
                  <a:gd name="connsiteX19" fmla="*/ 1918706 w 1918706"/>
                  <a:gd name="connsiteY19" fmla="*/ 4579284 h 5633118"/>
                  <a:gd name="connsiteX20" fmla="*/ 1918706 w 1918706"/>
                  <a:gd name="connsiteY20" fmla="*/ 4592438 h 5633118"/>
                  <a:gd name="connsiteX21" fmla="*/ 1918706 w 1918706"/>
                  <a:gd name="connsiteY21" fmla="*/ 5073791 h 5633118"/>
                  <a:gd name="connsiteX22" fmla="*/ 959355 w 1918706"/>
                  <a:gd name="connsiteY22" fmla="*/ 5633118 h 5633118"/>
                  <a:gd name="connsiteX23" fmla="*/ 0 w 1918706"/>
                  <a:gd name="connsiteY23" fmla="*/ 5073791 h 5633118"/>
                  <a:gd name="connsiteX24" fmla="*/ 0 w 1918706"/>
                  <a:gd name="connsiteY24" fmla="*/ 4592438 h 5633118"/>
                  <a:gd name="connsiteX25" fmla="*/ 0 w 1918706"/>
                  <a:gd name="connsiteY25" fmla="*/ 4579284 h 5633118"/>
                  <a:gd name="connsiteX26" fmla="*/ 0 w 1918706"/>
                  <a:gd name="connsiteY26" fmla="*/ 4491829 h 5633118"/>
                  <a:gd name="connsiteX27" fmla="*/ 0 w 1918706"/>
                  <a:gd name="connsiteY27" fmla="*/ 4097931 h 5633118"/>
                  <a:gd name="connsiteX28" fmla="*/ 0 w 1918706"/>
                  <a:gd name="connsiteY28" fmla="*/ 4090156 h 5633118"/>
                  <a:gd name="connsiteX29" fmla="*/ 0 w 1918706"/>
                  <a:gd name="connsiteY29" fmla="*/ 4069228 h 5633118"/>
                  <a:gd name="connsiteX30" fmla="*/ 0 w 1918706"/>
                  <a:gd name="connsiteY30" fmla="*/ 4010476 h 5633118"/>
                  <a:gd name="connsiteX31" fmla="*/ 0 w 1918706"/>
                  <a:gd name="connsiteY31" fmla="*/ 3997322 h 5633118"/>
                  <a:gd name="connsiteX32" fmla="*/ 0 w 1918706"/>
                  <a:gd name="connsiteY32" fmla="*/ 3595649 h 5633118"/>
                  <a:gd name="connsiteX33" fmla="*/ 0 w 1918706"/>
                  <a:gd name="connsiteY33" fmla="*/ 3587875 h 5633118"/>
                  <a:gd name="connsiteX34" fmla="*/ 0 w 1918706"/>
                  <a:gd name="connsiteY34" fmla="*/ 3574721 h 5633118"/>
                  <a:gd name="connsiteX35" fmla="*/ 0 w 1918706"/>
                  <a:gd name="connsiteY35" fmla="*/ 3515969 h 5633118"/>
                  <a:gd name="connsiteX36" fmla="*/ 0 w 1918706"/>
                  <a:gd name="connsiteY36" fmla="*/ 3508195 h 5633118"/>
                  <a:gd name="connsiteX37" fmla="*/ 0 w 1918706"/>
                  <a:gd name="connsiteY37" fmla="*/ 3487266 h 5633118"/>
                  <a:gd name="connsiteX38" fmla="*/ 0 w 1918706"/>
                  <a:gd name="connsiteY3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85594 h 5633118"/>
                  <a:gd name="connsiteX5" fmla="*/ 1918706 w 1918706"/>
                  <a:gd name="connsiteY5" fmla="*/ 3093368 h 5633118"/>
                  <a:gd name="connsiteX6" fmla="*/ 1918706 w 1918706"/>
                  <a:gd name="connsiteY6" fmla="*/ 3487266 h 5633118"/>
                  <a:gd name="connsiteX7" fmla="*/ 1918706 w 1918706"/>
                  <a:gd name="connsiteY7" fmla="*/ 3508195 h 5633118"/>
                  <a:gd name="connsiteX8" fmla="*/ 1918706 w 1918706"/>
                  <a:gd name="connsiteY8" fmla="*/ 3515969 h 5633118"/>
                  <a:gd name="connsiteX9" fmla="*/ 1918706 w 1918706"/>
                  <a:gd name="connsiteY9" fmla="*/ 3574721 h 5633118"/>
                  <a:gd name="connsiteX10" fmla="*/ 1918706 w 1918706"/>
                  <a:gd name="connsiteY10" fmla="*/ 3587875 h 5633118"/>
                  <a:gd name="connsiteX11" fmla="*/ 1918706 w 1918706"/>
                  <a:gd name="connsiteY11" fmla="*/ 3595649 h 5633118"/>
                  <a:gd name="connsiteX12" fmla="*/ 1918706 w 1918706"/>
                  <a:gd name="connsiteY12" fmla="*/ 3997322 h 5633118"/>
                  <a:gd name="connsiteX13" fmla="*/ 1918706 w 1918706"/>
                  <a:gd name="connsiteY13" fmla="*/ 4010476 h 5633118"/>
                  <a:gd name="connsiteX14" fmla="*/ 1918706 w 1918706"/>
                  <a:gd name="connsiteY14" fmla="*/ 4069228 h 5633118"/>
                  <a:gd name="connsiteX15" fmla="*/ 1918706 w 1918706"/>
                  <a:gd name="connsiteY15" fmla="*/ 4090156 h 5633118"/>
                  <a:gd name="connsiteX16" fmla="*/ 1918706 w 1918706"/>
                  <a:gd name="connsiteY16" fmla="*/ 4097931 h 5633118"/>
                  <a:gd name="connsiteX17" fmla="*/ 1918706 w 1918706"/>
                  <a:gd name="connsiteY17" fmla="*/ 4491829 h 5633118"/>
                  <a:gd name="connsiteX18" fmla="*/ 1918706 w 1918706"/>
                  <a:gd name="connsiteY18" fmla="*/ 4579284 h 5633118"/>
                  <a:gd name="connsiteX19" fmla="*/ 1918706 w 1918706"/>
                  <a:gd name="connsiteY19" fmla="*/ 4592438 h 5633118"/>
                  <a:gd name="connsiteX20" fmla="*/ 1918706 w 1918706"/>
                  <a:gd name="connsiteY20" fmla="*/ 5073791 h 5633118"/>
                  <a:gd name="connsiteX21" fmla="*/ 959355 w 1918706"/>
                  <a:gd name="connsiteY21" fmla="*/ 5633118 h 5633118"/>
                  <a:gd name="connsiteX22" fmla="*/ 0 w 1918706"/>
                  <a:gd name="connsiteY22" fmla="*/ 5073791 h 5633118"/>
                  <a:gd name="connsiteX23" fmla="*/ 0 w 1918706"/>
                  <a:gd name="connsiteY23" fmla="*/ 4592438 h 5633118"/>
                  <a:gd name="connsiteX24" fmla="*/ 0 w 1918706"/>
                  <a:gd name="connsiteY24" fmla="*/ 4579284 h 5633118"/>
                  <a:gd name="connsiteX25" fmla="*/ 0 w 1918706"/>
                  <a:gd name="connsiteY25" fmla="*/ 4491829 h 5633118"/>
                  <a:gd name="connsiteX26" fmla="*/ 0 w 1918706"/>
                  <a:gd name="connsiteY26" fmla="*/ 4097931 h 5633118"/>
                  <a:gd name="connsiteX27" fmla="*/ 0 w 1918706"/>
                  <a:gd name="connsiteY27" fmla="*/ 4090156 h 5633118"/>
                  <a:gd name="connsiteX28" fmla="*/ 0 w 1918706"/>
                  <a:gd name="connsiteY28" fmla="*/ 4069228 h 5633118"/>
                  <a:gd name="connsiteX29" fmla="*/ 0 w 1918706"/>
                  <a:gd name="connsiteY29" fmla="*/ 4010476 h 5633118"/>
                  <a:gd name="connsiteX30" fmla="*/ 0 w 1918706"/>
                  <a:gd name="connsiteY30" fmla="*/ 3997322 h 5633118"/>
                  <a:gd name="connsiteX31" fmla="*/ 0 w 1918706"/>
                  <a:gd name="connsiteY31" fmla="*/ 3595649 h 5633118"/>
                  <a:gd name="connsiteX32" fmla="*/ 0 w 1918706"/>
                  <a:gd name="connsiteY32" fmla="*/ 3587875 h 5633118"/>
                  <a:gd name="connsiteX33" fmla="*/ 0 w 1918706"/>
                  <a:gd name="connsiteY33" fmla="*/ 3574721 h 5633118"/>
                  <a:gd name="connsiteX34" fmla="*/ 0 w 1918706"/>
                  <a:gd name="connsiteY34" fmla="*/ 3515969 h 5633118"/>
                  <a:gd name="connsiteX35" fmla="*/ 0 w 1918706"/>
                  <a:gd name="connsiteY35" fmla="*/ 3508195 h 5633118"/>
                  <a:gd name="connsiteX36" fmla="*/ 0 w 1918706"/>
                  <a:gd name="connsiteY36" fmla="*/ 3487266 h 5633118"/>
                  <a:gd name="connsiteX37" fmla="*/ 0 w 1918706"/>
                  <a:gd name="connsiteY3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093368 h 5633118"/>
                  <a:gd name="connsiteX5" fmla="*/ 1918706 w 1918706"/>
                  <a:gd name="connsiteY5" fmla="*/ 3487266 h 5633118"/>
                  <a:gd name="connsiteX6" fmla="*/ 1918706 w 1918706"/>
                  <a:gd name="connsiteY6" fmla="*/ 3508195 h 5633118"/>
                  <a:gd name="connsiteX7" fmla="*/ 1918706 w 1918706"/>
                  <a:gd name="connsiteY7" fmla="*/ 3515969 h 5633118"/>
                  <a:gd name="connsiteX8" fmla="*/ 1918706 w 1918706"/>
                  <a:gd name="connsiteY8" fmla="*/ 3574721 h 5633118"/>
                  <a:gd name="connsiteX9" fmla="*/ 1918706 w 1918706"/>
                  <a:gd name="connsiteY9" fmla="*/ 3587875 h 5633118"/>
                  <a:gd name="connsiteX10" fmla="*/ 1918706 w 1918706"/>
                  <a:gd name="connsiteY10" fmla="*/ 3595649 h 5633118"/>
                  <a:gd name="connsiteX11" fmla="*/ 1918706 w 1918706"/>
                  <a:gd name="connsiteY11" fmla="*/ 3997322 h 5633118"/>
                  <a:gd name="connsiteX12" fmla="*/ 1918706 w 1918706"/>
                  <a:gd name="connsiteY12" fmla="*/ 4010476 h 5633118"/>
                  <a:gd name="connsiteX13" fmla="*/ 1918706 w 1918706"/>
                  <a:gd name="connsiteY13" fmla="*/ 4069228 h 5633118"/>
                  <a:gd name="connsiteX14" fmla="*/ 1918706 w 1918706"/>
                  <a:gd name="connsiteY14" fmla="*/ 4090156 h 5633118"/>
                  <a:gd name="connsiteX15" fmla="*/ 1918706 w 1918706"/>
                  <a:gd name="connsiteY15" fmla="*/ 4097931 h 5633118"/>
                  <a:gd name="connsiteX16" fmla="*/ 1918706 w 1918706"/>
                  <a:gd name="connsiteY16" fmla="*/ 4491829 h 5633118"/>
                  <a:gd name="connsiteX17" fmla="*/ 1918706 w 1918706"/>
                  <a:gd name="connsiteY17" fmla="*/ 4579284 h 5633118"/>
                  <a:gd name="connsiteX18" fmla="*/ 1918706 w 1918706"/>
                  <a:gd name="connsiteY18" fmla="*/ 4592438 h 5633118"/>
                  <a:gd name="connsiteX19" fmla="*/ 1918706 w 1918706"/>
                  <a:gd name="connsiteY19" fmla="*/ 5073791 h 5633118"/>
                  <a:gd name="connsiteX20" fmla="*/ 959355 w 1918706"/>
                  <a:gd name="connsiteY20" fmla="*/ 5633118 h 5633118"/>
                  <a:gd name="connsiteX21" fmla="*/ 0 w 1918706"/>
                  <a:gd name="connsiteY21" fmla="*/ 5073791 h 5633118"/>
                  <a:gd name="connsiteX22" fmla="*/ 0 w 1918706"/>
                  <a:gd name="connsiteY22" fmla="*/ 4592438 h 5633118"/>
                  <a:gd name="connsiteX23" fmla="*/ 0 w 1918706"/>
                  <a:gd name="connsiteY23" fmla="*/ 4579284 h 5633118"/>
                  <a:gd name="connsiteX24" fmla="*/ 0 w 1918706"/>
                  <a:gd name="connsiteY24" fmla="*/ 4491829 h 5633118"/>
                  <a:gd name="connsiteX25" fmla="*/ 0 w 1918706"/>
                  <a:gd name="connsiteY25" fmla="*/ 4097931 h 5633118"/>
                  <a:gd name="connsiteX26" fmla="*/ 0 w 1918706"/>
                  <a:gd name="connsiteY26" fmla="*/ 4090156 h 5633118"/>
                  <a:gd name="connsiteX27" fmla="*/ 0 w 1918706"/>
                  <a:gd name="connsiteY27" fmla="*/ 4069228 h 5633118"/>
                  <a:gd name="connsiteX28" fmla="*/ 0 w 1918706"/>
                  <a:gd name="connsiteY28" fmla="*/ 4010476 h 5633118"/>
                  <a:gd name="connsiteX29" fmla="*/ 0 w 1918706"/>
                  <a:gd name="connsiteY29" fmla="*/ 3997322 h 5633118"/>
                  <a:gd name="connsiteX30" fmla="*/ 0 w 1918706"/>
                  <a:gd name="connsiteY30" fmla="*/ 3595649 h 5633118"/>
                  <a:gd name="connsiteX31" fmla="*/ 0 w 1918706"/>
                  <a:gd name="connsiteY31" fmla="*/ 3587875 h 5633118"/>
                  <a:gd name="connsiteX32" fmla="*/ 0 w 1918706"/>
                  <a:gd name="connsiteY32" fmla="*/ 3574721 h 5633118"/>
                  <a:gd name="connsiteX33" fmla="*/ 0 w 1918706"/>
                  <a:gd name="connsiteY33" fmla="*/ 3515969 h 5633118"/>
                  <a:gd name="connsiteX34" fmla="*/ 0 w 1918706"/>
                  <a:gd name="connsiteY34" fmla="*/ 3508195 h 5633118"/>
                  <a:gd name="connsiteX35" fmla="*/ 0 w 1918706"/>
                  <a:gd name="connsiteY35" fmla="*/ 3487266 h 5633118"/>
                  <a:gd name="connsiteX36" fmla="*/ 0 w 1918706"/>
                  <a:gd name="connsiteY3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487266 h 5633118"/>
                  <a:gd name="connsiteX5" fmla="*/ 1918706 w 1918706"/>
                  <a:gd name="connsiteY5" fmla="*/ 3508195 h 5633118"/>
                  <a:gd name="connsiteX6" fmla="*/ 1918706 w 1918706"/>
                  <a:gd name="connsiteY6" fmla="*/ 3515969 h 5633118"/>
                  <a:gd name="connsiteX7" fmla="*/ 1918706 w 1918706"/>
                  <a:gd name="connsiteY7" fmla="*/ 3574721 h 5633118"/>
                  <a:gd name="connsiteX8" fmla="*/ 1918706 w 1918706"/>
                  <a:gd name="connsiteY8" fmla="*/ 3587875 h 5633118"/>
                  <a:gd name="connsiteX9" fmla="*/ 1918706 w 1918706"/>
                  <a:gd name="connsiteY9" fmla="*/ 3595649 h 5633118"/>
                  <a:gd name="connsiteX10" fmla="*/ 1918706 w 1918706"/>
                  <a:gd name="connsiteY10" fmla="*/ 3997322 h 5633118"/>
                  <a:gd name="connsiteX11" fmla="*/ 1918706 w 1918706"/>
                  <a:gd name="connsiteY11" fmla="*/ 4010476 h 5633118"/>
                  <a:gd name="connsiteX12" fmla="*/ 1918706 w 1918706"/>
                  <a:gd name="connsiteY12" fmla="*/ 4069228 h 5633118"/>
                  <a:gd name="connsiteX13" fmla="*/ 1918706 w 1918706"/>
                  <a:gd name="connsiteY13" fmla="*/ 4090156 h 5633118"/>
                  <a:gd name="connsiteX14" fmla="*/ 1918706 w 1918706"/>
                  <a:gd name="connsiteY14" fmla="*/ 4097931 h 5633118"/>
                  <a:gd name="connsiteX15" fmla="*/ 1918706 w 1918706"/>
                  <a:gd name="connsiteY15" fmla="*/ 4491829 h 5633118"/>
                  <a:gd name="connsiteX16" fmla="*/ 1918706 w 1918706"/>
                  <a:gd name="connsiteY16" fmla="*/ 4579284 h 5633118"/>
                  <a:gd name="connsiteX17" fmla="*/ 1918706 w 1918706"/>
                  <a:gd name="connsiteY17" fmla="*/ 4592438 h 5633118"/>
                  <a:gd name="connsiteX18" fmla="*/ 1918706 w 1918706"/>
                  <a:gd name="connsiteY18" fmla="*/ 5073791 h 5633118"/>
                  <a:gd name="connsiteX19" fmla="*/ 959355 w 1918706"/>
                  <a:gd name="connsiteY19" fmla="*/ 5633118 h 5633118"/>
                  <a:gd name="connsiteX20" fmla="*/ 0 w 1918706"/>
                  <a:gd name="connsiteY20" fmla="*/ 5073791 h 5633118"/>
                  <a:gd name="connsiteX21" fmla="*/ 0 w 1918706"/>
                  <a:gd name="connsiteY21" fmla="*/ 4592438 h 5633118"/>
                  <a:gd name="connsiteX22" fmla="*/ 0 w 1918706"/>
                  <a:gd name="connsiteY22" fmla="*/ 4579284 h 5633118"/>
                  <a:gd name="connsiteX23" fmla="*/ 0 w 1918706"/>
                  <a:gd name="connsiteY23" fmla="*/ 4491829 h 5633118"/>
                  <a:gd name="connsiteX24" fmla="*/ 0 w 1918706"/>
                  <a:gd name="connsiteY24" fmla="*/ 4097931 h 5633118"/>
                  <a:gd name="connsiteX25" fmla="*/ 0 w 1918706"/>
                  <a:gd name="connsiteY25" fmla="*/ 4090156 h 5633118"/>
                  <a:gd name="connsiteX26" fmla="*/ 0 w 1918706"/>
                  <a:gd name="connsiteY26" fmla="*/ 4069228 h 5633118"/>
                  <a:gd name="connsiteX27" fmla="*/ 0 w 1918706"/>
                  <a:gd name="connsiteY27" fmla="*/ 4010476 h 5633118"/>
                  <a:gd name="connsiteX28" fmla="*/ 0 w 1918706"/>
                  <a:gd name="connsiteY28" fmla="*/ 3997322 h 5633118"/>
                  <a:gd name="connsiteX29" fmla="*/ 0 w 1918706"/>
                  <a:gd name="connsiteY29" fmla="*/ 3595649 h 5633118"/>
                  <a:gd name="connsiteX30" fmla="*/ 0 w 1918706"/>
                  <a:gd name="connsiteY30" fmla="*/ 3587875 h 5633118"/>
                  <a:gd name="connsiteX31" fmla="*/ 0 w 1918706"/>
                  <a:gd name="connsiteY31" fmla="*/ 3574721 h 5633118"/>
                  <a:gd name="connsiteX32" fmla="*/ 0 w 1918706"/>
                  <a:gd name="connsiteY32" fmla="*/ 3515969 h 5633118"/>
                  <a:gd name="connsiteX33" fmla="*/ 0 w 1918706"/>
                  <a:gd name="connsiteY33" fmla="*/ 3508195 h 5633118"/>
                  <a:gd name="connsiteX34" fmla="*/ 0 w 1918706"/>
                  <a:gd name="connsiteY34" fmla="*/ 3487266 h 5633118"/>
                  <a:gd name="connsiteX35" fmla="*/ 0 w 1918706"/>
                  <a:gd name="connsiteY3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74721 h 5633118"/>
                  <a:gd name="connsiteX7" fmla="*/ 1918706 w 1918706"/>
                  <a:gd name="connsiteY7" fmla="*/ 3587875 h 5633118"/>
                  <a:gd name="connsiteX8" fmla="*/ 1918706 w 1918706"/>
                  <a:gd name="connsiteY8" fmla="*/ 3595649 h 5633118"/>
                  <a:gd name="connsiteX9" fmla="*/ 1918706 w 1918706"/>
                  <a:gd name="connsiteY9" fmla="*/ 3997322 h 5633118"/>
                  <a:gd name="connsiteX10" fmla="*/ 1918706 w 1918706"/>
                  <a:gd name="connsiteY10" fmla="*/ 4010476 h 5633118"/>
                  <a:gd name="connsiteX11" fmla="*/ 1918706 w 1918706"/>
                  <a:gd name="connsiteY11" fmla="*/ 4069228 h 5633118"/>
                  <a:gd name="connsiteX12" fmla="*/ 1918706 w 1918706"/>
                  <a:gd name="connsiteY12" fmla="*/ 4090156 h 5633118"/>
                  <a:gd name="connsiteX13" fmla="*/ 1918706 w 1918706"/>
                  <a:gd name="connsiteY13" fmla="*/ 4097931 h 5633118"/>
                  <a:gd name="connsiteX14" fmla="*/ 1918706 w 1918706"/>
                  <a:gd name="connsiteY14" fmla="*/ 4491829 h 5633118"/>
                  <a:gd name="connsiteX15" fmla="*/ 1918706 w 1918706"/>
                  <a:gd name="connsiteY15" fmla="*/ 4579284 h 5633118"/>
                  <a:gd name="connsiteX16" fmla="*/ 1918706 w 1918706"/>
                  <a:gd name="connsiteY16" fmla="*/ 4592438 h 5633118"/>
                  <a:gd name="connsiteX17" fmla="*/ 1918706 w 1918706"/>
                  <a:gd name="connsiteY17" fmla="*/ 5073791 h 5633118"/>
                  <a:gd name="connsiteX18" fmla="*/ 959355 w 1918706"/>
                  <a:gd name="connsiteY18" fmla="*/ 5633118 h 5633118"/>
                  <a:gd name="connsiteX19" fmla="*/ 0 w 1918706"/>
                  <a:gd name="connsiteY19" fmla="*/ 5073791 h 5633118"/>
                  <a:gd name="connsiteX20" fmla="*/ 0 w 1918706"/>
                  <a:gd name="connsiteY20" fmla="*/ 4592438 h 5633118"/>
                  <a:gd name="connsiteX21" fmla="*/ 0 w 1918706"/>
                  <a:gd name="connsiteY21" fmla="*/ 4579284 h 5633118"/>
                  <a:gd name="connsiteX22" fmla="*/ 0 w 1918706"/>
                  <a:gd name="connsiteY22" fmla="*/ 4491829 h 5633118"/>
                  <a:gd name="connsiteX23" fmla="*/ 0 w 1918706"/>
                  <a:gd name="connsiteY23" fmla="*/ 4097931 h 5633118"/>
                  <a:gd name="connsiteX24" fmla="*/ 0 w 1918706"/>
                  <a:gd name="connsiteY24" fmla="*/ 4090156 h 5633118"/>
                  <a:gd name="connsiteX25" fmla="*/ 0 w 1918706"/>
                  <a:gd name="connsiteY25" fmla="*/ 4069228 h 5633118"/>
                  <a:gd name="connsiteX26" fmla="*/ 0 w 1918706"/>
                  <a:gd name="connsiteY26" fmla="*/ 4010476 h 5633118"/>
                  <a:gd name="connsiteX27" fmla="*/ 0 w 1918706"/>
                  <a:gd name="connsiteY27" fmla="*/ 3997322 h 5633118"/>
                  <a:gd name="connsiteX28" fmla="*/ 0 w 1918706"/>
                  <a:gd name="connsiteY28" fmla="*/ 3595649 h 5633118"/>
                  <a:gd name="connsiteX29" fmla="*/ 0 w 1918706"/>
                  <a:gd name="connsiteY29" fmla="*/ 3587875 h 5633118"/>
                  <a:gd name="connsiteX30" fmla="*/ 0 w 1918706"/>
                  <a:gd name="connsiteY30" fmla="*/ 3574721 h 5633118"/>
                  <a:gd name="connsiteX31" fmla="*/ 0 w 1918706"/>
                  <a:gd name="connsiteY31" fmla="*/ 3515969 h 5633118"/>
                  <a:gd name="connsiteX32" fmla="*/ 0 w 1918706"/>
                  <a:gd name="connsiteY32" fmla="*/ 3508195 h 5633118"/>
                  <a:gd name="connsiteX33" fmla="*/ 0 w 1918706"/>
                  <a:gd name="connsiteY33" fmla="*/ 3487266 h 5633118"/>
                  <a:gd name="connsiteX34" fmla="*/ 0 w 1918706"/>
                  <a:gd name="connsiteY3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87875 h 5633118"/>
                  <a:gd name="connsiteX7" fmla="*/ 1918706 w 1918706"/>
                  <a:gd name="connsiteY7" fmla="*/ 3595649 h 5633118"/>
                  <a:gd name="connsiteX8" fmla="*/ 1918706 w 1918706"/>
                  <a:gd name="connsiteY8" fmla="*/ 3997322 h 5633118"/>
                  <a:gd name="connsiteX9" fmla="*/ 1918706 w 1918706"/>
                  <a:gd name="connsiteY9" fmla="*/ 4010476 h 5633118"/>
                  <a:gd name="connsiteX10" fmla="*/ 1918706 w 1918706"/>
                  <a:gd name="connsiteY10" fmla="*/ 4069228 h 5633118"/>
                  <a:gd name="connsiteX11" fmla="*/ 1918706 w 1918706"/>
                  <a:gd name="connsiteY11" fmla="*/ 4090156 h 5633118"/>
                  <a:gd name="connsiteX12" fmla="*/ 1918706 w 1918706"/>
                  <a:gd name="connsiteY12" fmla="*/ 4097931 h 5633118"/>
                  <a:gd name="connsiteX13" fmla="*/ 1918706 w 1918706"/>
                  <a:gd name="connsiteY13" fmla="*/ 4491829 h 5633118"/>
                  <a:gd name="connsiteX14" fmla="*/ 1918706 w 1918706"/>
                  <a:gd name="connsiteY14" fmla="*/ 4579284 h 5633118"/>
                  <a:gd name="connsiteX15" fmla="*/ 1918706 w 1918706"/>
                  <a:gd name="connsiteY15" fmla="*/ 4592438 h 5633118"/>
                  <a:gd name="connsiteX16" fmla="*/ 1918706 w 1918706"/>
                  <a:gd name="connsiteY16" fmla="*/ 5073791 h 5633118"/>
                  <a:gd name="connsiteX17" fmla="*/ 959355 w 1918706"/>
                  <a:gd name="connsiteY17" fmla="*/ 5633118 h 5633118"/>
                  <a:gd name="connsiteX18" fmla="*/ 0 w 1918706"/>
                  <a:gd name="connsiteY18" fmla="*/ 5073791 h 5633118"/>
                  <a:gd name="connsiteX19" fmla="*/ 0 w 1918706"/>
                  <a:gd name="connsiteY19" fmla="*/ 4592438 h 5633118"/>
                  <a:gd name="connsiteX20" fmla="*/ 0 w 1918706"/>
                  <a:gd name="connsiteY20" fmla="*/ 4579284 h 5633118"/>
                  <a:gd name="connsiteX21" fmla="*/ 0 w 1918706"/>
                  <a:gd name="connsiteY21" fmla="*/ 4491829 h 5633118"/>
                  <a:gd name="connsiteX22" fmla="*/ 0 w 1918706"/>
                  <a:gd name="connsiteY22" fmla="*/ 4097931 h 5633118"/>
                  <a:gd name="connsiteX23" fmla="*/ 0 w 1918706"/>
                  <a:gd name="connsiteY23" fmla="*/ 4090156 h 5633118"/>
                  <a:gd name="connsiteX24" fmla="*/ 0 w 1918706"/>
                  <a:gd name="connsiteY24" fmla="*/ 4069228 h 5633118"/>
                  <a:gd name="connsiteX25" fmla="*/ 0 w 1918706"/>
                  <a:gd name="connsiteY25" fmla="*/ 4010476 h 5633118"/>
                  <a:gd name="connsiteX26" fmla="*/ 0 w 1918706"/>
                  <a:gd name="connsiteY26" fmla="*/ 3997322 h 5633118"/>
                  <a:gd name="connsiteX27" fmla="*/ 0 w 1918706"/>
                  <a:gd name="connsiteY27" fmla="*/ 3595649 h 5633118"/>
                  <a:gd name="connsiteX28" fmla="*/ 0 w 1918706"/>
                  <a:gd name="connsiteY28" fmla="*/ 3587875 h 5633118"/>
                  <a:gd name="connsiteX29" fmla="*/ 0 w 1918706"/>
                  <a:gd name="connsiteY29" fmla="*/ 3574721 h 5633118"/>
                  <a:gd name="connsiteX30" fmla="*/ 0 w 1918706"/>
                  <a:gd name="connsiteY30" fmla="*/ 3515969 h 5633118"/>
                  <a:gd name="connsiteX31" fmla="*/ 0 w 1918706"/>
                  <a:gd name="connsiteY31" fmla="*/ 3508195 h 5633118"/>
                  <a:gd name="connsiteX32" fmla="*/ 0 w 1918706"/>
                  <a:gd name="connsiteY32" fmla="*/ 3487266 h 5633118"/>
                  <a:gd name="connsiteX33" fmla="*/ 0 w 1918706"/>
                  <a:gd name="connsiteY3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87875 h 5633118"/>
                  <a:gd name="connsiteX6" fmla="*/ 1918706 w 1918706"/>
                  <a:gd name="connsiteY6" fmla="*/ 3595649 h 5633118"/>
                  <a:gd name="connsiteX7" fmla="*/ 1918706 w 1918706"/>
                  <a:gd name="connsiteY7" fmla="*/ 3997322 h 5633118"/>
                  <a:gd name="connsiteX8" fmla="*/ 1918706 w 1918706"/>
                  <a:gd name="connsiteY8" fmla="*/ 4010476 h 5633118"/>
                  <a:gd name="connsiteX9" fmla="*/ 1918706 w 1918706"/>
                  <a:gd name="connsiteY9" fmla="*/ 4069228 h 5633118"/>
                  <a:gd name="connsiteX10" fmla="*/ 1918706 w 1918706"/>
                  <a:gd name="connsiteY10" fmla="*/ 4090156 h 5633118"/>
                  <a:gd name="connsiteX11" fmla="*/ 1918706 w 1918706"/>
                  <a:gd name="connsiteY11" fmla="*/ 4097931 h 5633118"/>
                  <a:gd name="connsiteX12" fmla="*/ 1918706 w 1918706"/>
                  <a:gd name="connsiteY12" fmla="*/ 4491829 h 5633118"/>
                  <a:gd name="connsiteX13" fmla="*/ 1918706 w 1918706"/>
                  <a:gd name="connsiteY13" fmla="*/ 4579284 h 5633118"/>
                  <a:gd name="connsiteX14" fmla="*/ 1918706 w 1918706"/>
                  <a:gd name="connsiteY14" fmla="*/ 4592438 h 5633118"/>
                  <a:gd name="connsiteX15" fmla="*/ 1918706 w 1918706"/>
                  <a:gd name="connsiteY15" fmla="*/ 5073791 h 5633118"/>
                  <a:gd name="connsiteX16" fmla="*/ 959355 w 1918706"/>
                  <a:gd name="connsiteY16" fmla="*/ 5633118 h 5633118"/>
                  <a:gd name="connsiteX17" fmla="*/ 0 w 1918706"/>
                  <a:gd name="connsiteY17" fmla="*/ 5073791 h 5633118"/>
                  <a:gd name="connsiteX18" fmla="*/ 0 w 1918706"/>
                  <a:gd name="connsiteY18" fmla="*/ 4592438 h 5633118"/>
                  <a:gd name="connsiteX19" fmla="*/ 0 w 1918706"/>
                  <a:gd name="connsiteY19" fmla="*/ 4579284 h 5633118"/>
                  <a:gd name="connsiteX20" fmla="*/ 0 w 1918706"/>
                  <a:gd name="connsiteY20" fmla="*/ 4491829 h 5633118"/>
                  <a:gd name="connsiteX21" fmla="*/ 0 w 1918706"/>
                  <a:gd name="connsiteY21" fmla="*/ 4097931 h 5633118"/>
                  <a:gd name="connsiteX22" fmla="*/ 0 w 1918706"/>
                  <a:gd name="connsiteY22" fmla="*/ 4090156 h 5633118"/>
                  <a:gd name="connsiteX23" fmla="*/ 0 w 1918706"/>
                  <a:gd name="connsiteY23" fmla="*/ 4069228 h 5633118"/>
                  <a:gd name="connsiteX24" fmla="*/ 0 w 1918706"/>
                  <a:gd name="connsiteY24" fmla="*/ 4010476 h 5633118"/>
                  <a:gd name="connsiteX25" fmla="*/ 0 w 1918706"/>
                  <a:gd name="connsiteY25" fmla="*/ 3997322 h 5633118"/>
                  <a:gd name="connsiteX26" fmla="*/ 0 w 1918706"/>
                  <a:gd name="connsiteY26" fmla="*/ 3595649 h 5633118"/>
                  <a:gd name="connsiteX27" fmla="*/ 0 w 1918706"/>
                  <a:gd name="connsiteY27" fmla="*/ 3587875 h 5633118"/>
                  <a:gd name="connsiteX28" fmla="*/ 0 w 1918706"/>
                  <a:gd name="connsiteY28" fmla="*/ 3574721 h 5633118"/>
                  <a:gd name="connsiteX29" fmla="*/ 0 w 1918706"/>
                  <a:gd name="connsiteY29" fmla="*/ 3515969 h 5633118"/>
                  <a:gd name="connsiteX30" fmla="*/ 0 w 1918706"/>
                  <a:gd name="connsiteY30" fmla="*/ 3508195 h 5633118"/>
                  <a:gd name="connsiteX31" fmla="*/ 0 w 1918706"/>
                  <a:gd name="connsiteY31" fmla="*/ 3487266 h 5633118"/>
                  <a:gd name="connsiteX32" fmla="*/ 0 w 1918706"/>
                  <a:gd name="connsiteY3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595649 h 5633118"/>
                  <a:gd name="connsiteX6" fmla="*/ 1918706 w 1918706"/>
                  <a:gd name="connsiteY6" fmla="*/ 3997322 h 5633118"/>
                  <a:gd name="connsiteX7" fmla="*/ 1918706 w 1918706"/>
                  <a:gd name="connsiteY7" fmla="*/ 4010476 h 5633118"/>
                  <a:gd name="connsiteX8" fmla="*/ 1918706 w 1918706"/>
                  <a:gd name="connsiteY8" fmla="*/ 4069228 h 5633118"/>
                  <a:gd name="connsiteX9" fmla="*/ 1918706 w 1918706"/>
                  <a:gd name="connsiteY9" fmla="*/ 4090156 h 5633118"/>
                  <a:gd name="connsiteX10" fmla="*/ 1918706 w 1918706"/>
                  <a:gd name="connsiteY10" fmla="*/ 4097931 h 5633118"/>
                  <a:gd name="connsiteX11" fmla="*/ 1918706 w 1918706"/>
                  <a:gd name="connsiteY11" fmla="*/ 4491829 h 5633118"/>
                  <a:gd name="connsiteX12" fmla="*/ 1918706 w 1918706"/>
                  <a:gd name="connsiteY12" fmla="*/ 4579284 h 5633118"/>
                  <a:gd name="connsiteX13" fmla="*/ 1918706 w 1918706"/>
                  <a:gd name="connsiteY13" fmla="*/ 4592438 h 5633118"/>
                  <a:gd name="connsiteX14" fmla="*/ 1918706 w 1918706"/>
                  <a:gd name="connsiteY14" fmla="*/ 5073791 h 5633118"/>
                  <a:gd name="connsiteX15" fmla="*/ 959355 w 1918706"/>
                  <a:gd name="connsiteY15" fmla="*/ 5633118 h 5633118"/>
                  <a:gd name="connsiteX16" fmla="*/ 0 w 1918706"/>
                  <a:gd name="connsiteY16" fmla="*/ 5073791 h 5633118"/>
                  <a:gd name="connsiteX17" fmla="*/ 0 w 1918706"/>
                  <a:gd name="connsiteY17" fmla="*/ 4592438 h 5633118"/>
                  <a:gd name="connsiteX18" fmla="*/ 0 w 1918706"/>
                  <a:gd name="connsiteY18" fmla="*/ 4579284 h 5633118"/>
                  <a:gd name="connsiteX19" fmla="*/ 0 w 1918706"/>
                  <a:gd name="connsiteY19" fmla="*/ 4491829 h 5633118"/>
                  <a:gd name="connsiteX20" fmla="*/ 0 w 1918706"/>
                  <a:gd name="connsiteY20" fmla="*/ 4097931 h 5633118"/>
                  <a:gd name="connsiteX21" fmla="*/ 0 w 1918706"/>
                  <a:gd name="connsiteY21" fmla="*/ 4090156 h 5633118"/>
                  <a:gd name="connsiteX22" fmla="*/ 0 w 1918706"/>
                  <a:gd name="connsiteY22" fmla="*/ 4069228 h 5633118"/>
                  <a:gd name="connsiteX23" fmla="*/ 0 w 1918706"/>
                  <a:gd name="connsiteY23" fmla="*/ 4010476 h 5633118"/>
                  <a:gd name="connsiteX24" fmla="*/ 0 w 1918706"/>
                  <a:gd name="connsiteY24" fmla="*/ 3997322 h 5633118"/>
                  <a:gd name="connsiteX25" fmla="*/ 0 w 1918706"/>
                  <a:gd name="connsiteY25" fmla="*/ 3595649 h 5633118"/>
                  <a:gd name="connsiteX26" fmla="*/ 0 w 1918706"/>
                  <a:gd name="connsiteY26" fmla="*/ 3587875 h 5633118"/>
                  <a:gd name="connsiteX27" fmla="*/ 0 w 1918706"/>
                  <a:gd name="connsiteY27" fmla="*/ 3574721 h 5633118"/>
                  <a:gd name="connsiteX28" fmla="*/ 0 w 1918706"/>
                  <a:gd name="connsiteY28" fmla="*/ 3515969 h 5633118"/>
                  <a:gd name="connsiteX29" fmla="*/ 0 w 1918706"/>
                  <a:gd name="connsiteY29" fmla="*/ 3508195 h 5633118"/>
                  <a:gd name="connsiteX30" fmla="*/ 0 w 1918706"/>
                  <a:gd name="connsiteY30" fmla="*/ 3487266 h 5633118"/>
                  <a:gd name="connsiteX31" fmla="*/ 0 w 1918706"/>
                  <a:gd name="connsiteY3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997322 h 5633118"/>
                  <a:gd name="connsiteX6" fmla="*/ 1918706 w 1918706"/>
                  <a:gd name="connsiteY6" fmla="*/ 4010476 h 5633118"/>
                  <a:gd name="connsiteX7" fmla="*/ 1918706 w 1918706"/>
                  <a:gd name="connsiteY7" fmla="*/ 4069228 h 5633118"/>
                  <a:gd name="connsiteX8" fmla="*/ 1918706 w 1918706"/>
                  <a:gd name="connsiteY8" fmla="*/ 4090156 h 5633118"/>
                  <a:gd name="connsiteX9" fmla="*/ 1918706 w 1918706"/>
                  <a:gd name="connsiteY9" fmla="*/ 4097931 h 5633118"/>
                  <a:gd name="connsiteX10" fmla="*/ 1918706 w 1918706"/>
                  <a:gd name="connsiteY10" fmla="*/ 4491829 h 5633118"/>
                  <a:gd name="connsiteX11" fmla="*/ 1918706 w 1918706"/>
                  <a:gd name="connsiteY11" fmla="*/ 4579284 h 5633118"/>
                  <a:gd name="connsiteX12" fmla="*/ 1918706 w 1918706"/>
                  <a:gd name="connsiteY12" fmla="*/ 4592438 h 5633118"/>
                  <a:gd name="connsiteX13" fmla="*/ 1918706 w 1918706"/>
                  <a:gd name="connsiteY13" fmla="*/ 5073791 h 5633118"/>
                  <a:gd name="connsiteX14" fmla="*/ 959355 w 1918706"/>
                  <a:gd name="connsiteY14" fmla="*/ 5633118 h 5633118"/>
                  <a:gd name="connsiteX15" fmla="*/ 0 w 1918706"/>
                  <a:gd name="connsiteY15" fmla="*/ 5073791 h 5633118"/>
                  <a:gd name="connsiteX16" fmla="*/ 0 w 1918706"/>
                  <a:gd name="connsiteY16" fmla="*/ 4592438 h 5633118"/>
                  <a:gd name="connsiteX17" fmla="*/ 0 w 1918706"/>
                  <a:gd name="connsiteY17" fmla="*/ 4579284 h 5633118"/>
                  <a:gd name="connsiteX18" fmla="*/ 0 w 1918706"/>
                  <a:gd name="connsiteY18" fmla="*/ 4491829 h 5633118"/>
                  <a:gd name="connsiteX19" fmla="*/ 0 w 1918706"/>
                  <a:gd name="connsiteY19" fmla="*/ 4097931 h 5633118"/>
                  <a:gd name="connsiteX20" fmla="*/ 0 w 1918706"/>
                  <a:gd name="connsiteY20" fmla="*/ 4090156 h 5633118"/>
                  <a:gd name="connsiteX21" fmla="*/ 0 w 1918706"/>
                  <a:gd name="connsiteY21" fmla="*/ 4069228 h 5633118"/>
                  <a:gd name="connsiteX22" fmla="*/ 0 w 1918706"/>
                  <a:gd name="connsiteY22" fmla="*/ 4010476 h 5633118"/>
                  <a:gd name="connsiteX23" fmla="*/ 0 w 1918706"/>
                  <a:gd name="connsiteY23" fmla="*/ 3997322 h 5633118"/>
                  <a:gd name="connsiteX24" fmla="*/ 0 w 1918706"/>
                  <a:gd name="connsiteY24" fmla="*/ 3595649 h 5633118"/>
                  <a:gd name="connsiteX25" fmla="*/ 0 w 1918706"/>
                  <a:gd name="connsiteY25" fmla="*/ 3587875 h 5633118"/>
                  <a:gd name="connsiteX26" fmla="*/ 0 w 1918706"/>
                  <a:gd name="connsiteY26" fmla="*/ 3574721 h 5633118"/>
                  <a:gd name="connsiteX27" fmla="*/ 0 w 1918706"/>
                  <a:gd name="connsiteY27" fmla="*/ 3515969 h 5633118"/>
                  <a:gd name="connsiteX28" fmla="*/ 0 w 1918706"/>
                  <a:gd name="connsiteY28" fmla="*/ 3508195 h 5633118"/>
                  <a:gd name="connsiteX29" fmla="*/ 0 w 1918706"/>
                  <a:gd name="connsiteY29" fmla="*/ 3487266 h 5633118"/>
                  <a:gd name="connsiteX30" fmla="*/ 0 w 1918706"/>
                  <a:gd name="connsiteY3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997322 h 5633118"/>
                  <a:gd name="connsiteX5" fmla="*/ 1918706 w 1918706"/>
                  <a:gd name="connsiteY5" fmla="*/ 4010476 h 5633118"/>
                  <a:gd name="connsiteX6" fmla="*/ 1918706 w 1918706"/>
                  <a:gd name="connsiteY6" fmla="*/ 4069228 h 5633118"/>
                  <a:gd name="connsiteX7" fmla="*/ 1918706 w 1918706"/>
                  <a:gd name="connsiteY7" fmla="*/ 4090156 h 5633118"/>
                  <a:gd name="connsiteX8" fmla="*/ 1918706 w 1918706"/>
                  <a:gd name="connsiteY8" fmla="*/ 4097931 h 5633118"/>
                  <a:gd name="connsiteX9" fmla="*/ 1918706 w 1918706"/>
                  <a:gd name="connsiteY9" fmla="*/ 4491829 h 5633118"/>
                  <a:gd name="connsiteX10" fmla="*/ 1918706 w 1918706"/>
                  <a:gd name="connsiteY10" fmla="*/ 4579284 h 5633118"/>
                  <a:gd name="connsiteX11" fmla="*/ 1918706 w 1918706"/>
                  <a:gd name="connsiteY11" fmla="*/ 4592438 h 5633118"/>
                  <a:gd name="connsiteX12" fmla="*/ 1918706 w 1918706"/>
                  <a:gd name="connsiteY12" fmla="*/ 5073791 h 5633118"/>
                  <a:gd name="connsiteX13" fmla="*/ 959355 w 1918706"/>
                  <a:gd name="connsiteY13" fmla="*/ 5633118 h 5633118"/>
                  <a:gd name="connsiteX14" fmla="*/ 0 w 1918706"/>
                  <a:gd name="connsiteY14" fmla="*/ 5073791 h 5633118"/>
                  <a:gd name="connsiteX15" fmla="*/ 0 w 1918706"/>
                  <a:gd name="connsiteY15" fmla="*/ 4592438 h 5633118"/>
                  <a:gd name="connsiteX16" fmla="*/ 0 w 1918706"/>
                  <a:gd name="connsiteY16" fmla="*/ 4579284 h 5633118"/>
                  <a:gd name="connsiteX17" fmla="*/ 0 w 1918706"/>
                  <a:gd name="connsiteY17" fmla="*/ 4491829 h 5633118"/>
                  <a:gd name="connsiteX18" fmla="*/ 0 w 1918706"/>
                  <a:gd name="connsiteY18" fmla="*/ 4097931 h 5633118"/>
                  <a:gd name="connsiteX19" fmla="*/ 0 w 1918706"/>
                  <a:gd name="connsiteY19" fmla="*/ 4090156 h 5633118"/>
                  <a:gd name="connsiteX20" fmla="*/ 0 w 1918706"/>
                  <a:gd name="connsiteY20" fmla="*/ 4069228 h 5633118"/>
                  <a:gd name="connsiteX21" fmla="*/ 0 w 1918706"/>
                  <a:gd name="connsiteY21" fmla="*/ 4010476 h 5633118"/>
                  <a:gd name="connsiteX22" fmla="*/ 0 w 1918706"/>
                  <a:gd name="connsiteY22" fmla="*/ 3997322 h 5633118"/>
                  <a:gd name="connsiteX23" fmla="*/ 0 w 1918706"/>
                  <a:gd name="connsiteY23" fmla="*/ 3595649 h 5633118"/>
                  <a:gd name="connsiteX24" fmla="*/ 0 w 1918706"/>
                  <a:gd name="connsiteY24" fmla="*/ 3587875 h 5633118"/>
                  <a:gd name="connsiteX25" fmla="*/ 0 w 1918706"/>
                  <a:gd name="connsiteY25" fmla="*/ 3574721 h 5633118"/>
                  <a:gd name="connsiteX26" fmla="*/ 0 w 1918706"/>
                  <a:gd name="connsiteY26" fmla="*/ 3515969 h 5633118"/>
                  <a:gd name="connsiteX27" fmla="*/ 0 w 1918706"/>
                  <a:gd name="connsiteY27" fmla="*/ 3508195 h 5633118"/>
                  <a:gd name="connsiteX28" fmla="*/ 0 w 1918706"/>
                  <a:gd name="connsiteY28" fmla="*/ 3487266 h 5633118"/>
                  <a:gd name="connsiteX29" fmla="*/ 0 w 1918706"/>
                  <a:gd name="connsiteY2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10476 h 5633118"/>
                  <a:gd name="connsiteX5" fmla="*/ 1918706 w 1918706"/>
                  <a:gd name="connsiteY5" fmla="*/ 4069228 h 5633118"/>
                  <a:gd name="connsiteX6" fmla="*/ 1918706 w 1918706"/>
                  <a:gd name="connsiteY6" fmla="*/ 4090156 h 5633118"/>
                  <a:gd name="connsiteX7" fmla="*/ 1918706 w 1918706"/>
                  <a:gd name="connsiteY7" fmla="*/ 4097931 h 5633118"/>
                  <a:gd name="connsiteX8" fmla="*/ 1918706 w 1918706"/>
                  <a:gd name="connsiteY8" fmla="*/ 4491829 h 5633118"/>
                  <a:gd name="connsiteX9" fmla="*/ 1918706 w 1918706"/>
                  <a:gd name="connsiteY9" fmla="*/ 4579284 h 5633118"/>
                  <a:gd name="connsiteX10" fmla="*/ 1918706 w 1918706"/>
                  <a:gd name="connsiteY10" fmla="*/ 4592438 h 5633118"/>
                  <a:gd name="connsiteX11" fmla="*/ 1918706 w 1918706"/>
                  <a:gd name="connsiteY11" fmla="*/ 5073791 h 5633118"/>
                  <a:gd name="connsiteX12" fmla="*/ 959355 w 1918706"/>
                  <a:gd name="connsiteY12" fmla="*/ 5633118 h 5633118"/>
                  <a:gd name="connsiteX13" fmla="*/ 0 w 1918706"/>
                  <a:gd name="connsiteY13" fmla="*/ 5073791 h 5633118"/>
                  <a:gd name="connsiteX14" fmla="*/ 0 w 1918706"/>
                  <a:gd name="connsiteY14" fmla="*/ 4592438 h 5633118"/>
                  <a:gd name="connsiteX15" fmla="*/ 0 w 1918706"/>
                  <a:gd name="connsiteY15" fmla="*/ 4579284 h 5633118"/>
                  <a:gd name="connsiteX16" fmla="*/ 0 w 1918706"/>
                  <a:gd name="connsiteY16" fmla="*/ 4491829 h 5633118"/>
                  <a:gd name="connsiteX17" fmla="*/ 0 w 1918706"/>
                  <a:gd name="connsiteY17" fmla="*/ 4097931 h 5633118"/>
                  <a:gd name="connsiteX18" fmla="*/ 0 w 1918706"/>
                  <a:gd name="connsiteY18" fmla="*/ 4090156 h 5633118"/>
                  <a:gd name="connsiteX19" fmla="*/ 0 w 1918706"/>
                  <a:gd name="connsiteY19" fmla="*/ 4069228 h 5633118"/>
                  <a:gd name="connsiteX20" fmla="*/ 0 w 1918706"/>
                  <a:gd name="connsiteY20" fmla="*/ 4010476 h 5633118"/>
                  <a:gd name="connsiteX21" fmla="*/ 0 w 1918706"/>
                  <a:gd name="connsiteY21" fmla="*/ 3997322 h 5633118"/>
                  <a:gd name="connsiteX22" fmla="*/ 0 w 1918706"/>
                  <a:gd name="connsiteY22" fmla="*/ 3595649 h 5633118"/>
                  <a:gd name="connsiteX23" fmla="*/ 0 w 1918706"/>
                  <a:gd name="connsiteY23" fmla="*/ 3587875 h 5633118"/>
                  <a:gd name="connsiteX24" fmla="*/ 0 w 1918706"/>
                  <a:gd name="connsiteY24" fmla="*/ 3574721 h 5633118"/>
                  <a:gd name="connsiteX25" fmla="*/ 0 w 1918706"/>
                  <a:gd name="connsiteY25" fmla="*/ 3515969 h 5633118"/>
                  <a:gd name="connsiteX26" fmla="*/ 0 w 1918706"/>
                  <a:gd name="connsiteY26" fmla="*/ 3508195 h 5633118"/>
                  <a:gd name="connsiteX27" fmla="*/ 0 w 1918706"/>
                  <a:gd name="connsiteY27" fmla="*/ 3487266 h 5633118"/>
                  <a:gd name="connsiteX28" fmla="*/ 0 w 1918706"/>
                  <a:gd name="connsiteY2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69228 h 5633118"/>
                  <a:gd name="connsiteX5" fmla="*/ 1918706 w 1918706"/>
                  <a:gd name="connsiteY5" fmla="*/ 4090156 h 5633118"/>
                  <a:gd name="connsiteX6" fmla="*/ 1918706 w 1918706"/>
                  <a:gd name="connsiteY6" fmla="*/ 4097931 h 5633118"/>
                  <a:gd name="connsiteX7" fmla="*/ 1918706 w 1918706"/>
                  <a:gd name="connsiteY7" fmla="*/ 4491829 h 5633118"/>
                  <a:gd name="connsiteX8" fmla="*/ 1918706 w 1918706"/>
                  <a:gd name="connsiteY8" fmla="*/ 4579284 h 5633118"/>
                  <a:gd name="connsiteX9" fmla="*/ 1918706 w 1918706"/>
                  <a:gd name="connsiteY9" fmla="*/ 4592438 h 5633118"/>
                  <a:gd name="connsiteX10" fmla="*/ 1918706 w 1918706"/>
                  <a:gd name="connsiteY10" fmla="*/ 5073791 h 5633118"/>
                  <a:gd name="connsiteX11" fmla="*/ 959355 w 1918706"/>
                  <a:gd name="connsiteY11" fmla="*/ 5633118 h 5633118"/>
                  <a:gd name="connsiteX12" fmla="*/ 0 w 1918706"/>
                  <a:gd name="connsiteY12" fmla="*/ 5073791 h 5633118"/>
                  <a:gd name="connsiteX13" fmla="*/ 0 w 1918706"/>
                  <a:gd name="connsiteY13" fmla="*/ 4592438 h 5633118"/>
                  <a:gd name="connsiteX14" fmla="*/ 0 w 1918706"/>
                  <a:gd name="connsiteY14" fmla="*/ 4579284 h 5633118"/>
                  <a:gd name="connsiteX15" fmla="*/ 0 w 1918706"/>
                  <a:gd name="connsiteY15" fmla="*/ 4491829 h 5633118"/>
                  <a:gd name="connsiteX16" fmla="*/ 0 w 1918706"/>
                  <a:gd name="connsiteY16" fmla="*/ 4097931 h 5633118"/>
                  <a:gd name="connsiteX17" fmla="*/ 0 w 1918706"/>
                  <a:gd name="connsiteY17" fmla="*/ 4090156 h 5633118"/>
                  <a:gd name="connsiteX18" fmla="*/ 0 w 1918706"/>
                  <a:gd name="connsiteY18" fmla="*/ 4069228 h 5633118"/>
                  <a:gd name="connsiteX19" fmla="*/ 0 w 1918706"/>
                  <a:gd name="connsiteY19" fmla="*/ 4010476 h 5633118"/>
                  <a:gd name="connsiteX20" fmla="*/ 0 w 1918706"/>
                  <a:gd name="connsiteY20" fmla="*/ 3997322 h 5633118"/>
                  <a:gd name="connsiteX21" fmla="*/ 0 w 1918706"/>
                  <a:gd name="connsiteY21" fmla="*/ 3595649 h 5633118"/>
                  <a:gd name="connsiteX22" fmla="*/ 0 w 1918706"/>
                  <a:gd name="connsiteY22" fmla="*/ 3587875 h 5633118"/>
                  <a:gd name="connsiteX23" fmla="*/ 0 w 1918706"/>
                  <a:gd name="connsiteY23" fmla="*/ 3574721 h 5633118"/>
                  <a:gd name="connsiteX24" fmla="*/ 0 w 1918706"/>
                  <a:gd name="connsiteY24" fmla="*/ 3515969 h 5633118"/>
                  <a:gd name="connsiteX25" fmla="*/ 0 w 1918706"/>
                  <a:gd name="connsiteY25" fmla="*/ 3508195 h 5633118"/>
                  <a:gd name="connsiteX26" fmla="*/ 0 w 1918706"/>
                  <a:gd name="connsiteY26" fmla="*/ 3487266 h 5633118"/>
                  <a:gd name="connsiteX27" fmla="*/ 0 w 1918706"/>
                  <a:gd name="connsiteY2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097931 h 5633118"/>
                  <a:gd name="connsiteX6" fmla="*/ 1918706 w 1918706"/>
                  <a:gd name="connsiteY6" fmla="*/ 4491829 h 5633118"/>
                  <a:gd name="connsiteX7" fmla="*/ 1918706 w 1918706"/>
                  <a:gd name="connsiteY7" fmla="*/ 4579284 h 5633118"/>
                  <a:gd name="connsiteX8" fmla="*/ 1918706 w 1918706"/>
                  <a:gd name="connsiteY8" fmla="*/ 4592438 h 5633118"/>
                  <a:gd name="connsiteX9" fmla="*/ 1918706 w 1918706"/>
                  <a:gd name="connsiteY9" fmla="*/ 5073791 h 5633118"/>
                  <a:gd name="connsiteX10" fmla="*/ 959355 w 1918706"/>
                  <a:gd name="connsiteY10" fmla="*/ 5633118 h 5633118"/>
                  <a:gd name="connsiteX11" fmla="*/ 0 w 1918706"/>
                  <a:gd name="connsiteY11" fmla="*/ 5073791 h 5633118"/>
                  <a:gd name="connsiteX12" fmla="*/ 0 w 1918706"/>
                  <a:gd name="connsiteY12" fmla="*/ 4592438 h 5633118"/>
                  <a:gd name="connsiteX13" fmla="*/ 0 w 1918706"/>
                  <a:gd name="connsiteY13" fmla="*/ 4579284 h 5633118"/>
                  <a:gd name="connsiteX14" fmla="*/ 0 w 1918706"/>
                  <a:gd name="connsiteY14" fmla="*/ 4491829 h 5633118"/>
                  <a:gd name="connsiteX15" fmla="*/ 0 w 1918706"/>
                  <a:gd name="connsiteY15" fmla="*/ 4097931 h 5633118"/>
                  <a:gd name="connsiteX16" fmla="*/ 0 w 1918706"/>
                  <a:gd name="connsiteY16" fmla="*/ 4090156 h 5633118"/>
                  <a:gd name="connsiteX17" fmla="*/ 0 w 1918706"/>
                  <a:gd name="connsiteY17" fmla="*/ 4069228 h 5633118"/>
                  <a:gd name="connsiteX18" fmla="*/ 0 w 1918706"/>
                  <a:gd name="connsiteY18" fmla="*/ 4010476 h 5633118"/>
                  <a:gd name="connsiteX19" fmla="*/ 0 w 1918706"/>
                  <a:gd name="connsiteY19" fmla="*/ 3997322 h 5633118"/>
                  <a:gd name="connsiteX20" fmla="*/ 0 w 1918706"/>
                  <a:gd name="connsiteY20" fmla="*/ 3595649 h 5633118"/>
                  <a:gd name="connsiteX21" fmla="*/ 0 w 1918706"/>
                  <a:gd name="connsiteY21" fmla="*/ 3587875 h 5633118"/>
                  <a:gd name="connsiteX22" fmla="*/ 0 w 1918706"/>
                  <a:gd name="connsiteY22" fmla="*/ 3574721 h 5633118"/>
                  <a:gd name="connsiteX23" fmla="*/ 0 w 1918706"/>
                  <a:gd name="connsiteY23" fmla="*/ 3515969 h 5633118"/>
                  <a:gd name="connsiteX24" fmla="*/ 0 w 1918706"/>
                  <a:gd name="connsiteY24" fmla="*/ 3508195 h 5633118"/>
                  <a:gd name="connsiteX25" fmla="*/ 0 w 1918706"/>
                  <a:gd name="connsiteY25" fmla="*/ 3487266 h 5633118"/>
                  <a:gd name="connsiteX26" fmla="*/ 0 w 1918706"/>
                  <a:gd name="connsiteY2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491829 h 5633118"/>
                  <a:gd name="connsiteX6" fmla="*/ 1918706 w 1918706"/>
                  <a:gd name="connsiteY6" fmla="*/ 4579284 h 5633118"/>
                  <a:gd name="connsiteX7" fmla="*/ 1918706 w 1918706"/>
                  <a:gd name="connsiteY7" fmla="*/ 4592438 h 5633118"/>
                  <a:gd name="connsiteX8" fmla="*/ 1918706 w 1918706"/>
                  <a:gd name="connsiteY8" fmla="*/ 5073791 h 5633118"/>
                  <a:gd name="connsiteX9" fmla="*/ 959355 w 1918706"/>
                  <a:gd name="connsiteY9" fmla="*/ 5633118 h 5633118"/>
                  <a:gd name="connsiteX10" fmla="*/ 0 w 1918706"/>
                  <a:gd name="connsiteY10" fmla="*/ 5073791 h 5633118"/>
                  <a:gd name="connsiteX11" fmla="*/ 0 w 1918706"/>
                  <a:gd name="connsiteY11" fmla="*/ 4592438 h 5633118"/>
                  <a:gd name="connsiteX12" fmla="*/ 0 w 1918706"/>
                  <a:gd name="connsiteY12" fmla="*/ 4579284 h 5633118"/>
                  <a:gd name="connsiteX13" fmla="*/ 0 w 1918706"/>
                  <a:gd name="connsiteY13" fmla="*/ 4491829 h 5633118"/>
                  <a:gd name="connsiteX14" fmla="*/ 0 w 1918706"/>
                  <a:gd name="connsiteY14" fmla="*/ 4097931 h 5633118"/>
                  <a:gd name="connsiteX15" fmla="*/ 0 w 1918706"/>
                  <a:gd name="connsiteY15" fmla="*/ 4090156 h 5633118"/>
                  <a:gd name="connsiteX16" fmla="*/ 0 w 1918706"/>
                  <a:gd name="connsiteY16" fmla="*/ 4069228 h 5633118"/>
                  <a:gd name="connsiteX17" fmla="*/ 0 w 1918706"/>
                  <a:gd name="connsiteY17" fmla="*/ 4010476 h 5633118"/>
                  <a:gd name="connsiteX18" fmla="*/ 0 w 1918706"/>
                  <a:gd name="connsiteY18" fmla="*/ 3997322 h 5633118"/>
                  <a:gd name="connsiteX19" fmla="*/ 0 w 1918706"/>
                  <a:gd name="connsiteY19" fmla="*/ 3595649 h 5633118"/>
                  <a:gd name="connsiteX20" fmla="*/ 0 w 1918706"/>
                  <a:gd name="connsiteY20" fmla="*/ 3587875 h 5633118"/>
                  <a:gd name="connsiteX21" fmla="*/ 0 w 1918706"/>
                  <a:gd name="connsiteY21" fmla="*/ 3574721 h 5633118"/>
                  <a:gd name="connsiteX22" fmla="*/ 0 w 1918706"/>
                  <a:gd name="connsiteY22" fmla="*/ 3515969 h 5633118"/>
                  <a:gd name="connsiteX23" fmla="*/ 0 w 1918706"/>
                  <a:gd name="connsiteY23" fmla="*/ 3508195 h 5633118"/>
                  <a:gd name="connsiteX24" fmla="*/ 0 w 1918706"/>
                  <a:gd name="connsiteY24" fmla="*/ 3487266 h 5633118"/>
                  <a:gd name="connsiteX25" fmla="*/ 0 w 1918706"/>
                  <a:gd name="connsiteY2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090156 h 5633118"/>
                  <a:gd name="connsiteX4" fmla="*/ 1918706 w 1918706"/>
                  <a:gd name="connsiteY4" fmla="*/ 4491829 h 5633118"/>
                  <a:gd name="connsiteX5" fmla="*/ 1918706 w 1918706"/>
                  <a:gd name="connsiteY5" fmla="*/ 4579284 h 5633118"/>
                  <a:gd name="connsiteX6" fmla="*/ 1918706 w 1918706"/>
                  <a:gd name="connsiteY6" fmla="*/ 4592438 h 5633118"/>
                  <a:gd name="connsiteX7" fmla="*/ 1918706 w 1918706"/>
                  <a:gd name="connsiteY7" fmla="*/ 5073791 h 5633118"/>
                  <a:gd name="connsiteX8" fmla="*/ 959355 w 1918706"/>
                  <a:gd name="connsiteY8" fmla="*/ 5633118 h 5633118"/>
                  <a:gd name="connsiteX9" fmla="*/ 0 w 1918706"/>
                  <a:gd name="connsiteY9" fmla="*/ 5073791 h 5633118"/>
                  <a:gd name="connsiteX10" fmla="*/ 0 w 1918706"/>
                  <a:gd name="connsiteY10" fmla="*/ 4592438 h 5633118"/>
                  <a:gd name="connsiteX11" fmla="*/ 0 w 1918706"/>
                  <a:gd name="connsiteY11" fmla="*/ 4579284 h 5633118"/>
                  <a:gd name="connsiteX12" fmla="*/ 0 w 1918706"/>
                  <a:gd name="connsiteY12" fmla="*/ 4491829 h 5633118"/>
                  <a:gd name="connsiteX13" fmla="*/ 0 w 1918706"/>
                  <a:gd name="connsiteY13" fmla="*/ 4097931 h 5633118"/>
                  <a:gd name="connsiteX14" fmla="*/ 0 w 1918706"/>
                  <a:gd name="connsiteY14" fmla="*/ 4090156 h 5633118"/>
                  <a:gd name="connsiteX15" fmla="*/ 0 w 1918706"/>
                  <a:gd name="connsiteY15" fmla="*/ 4069228 h 5633118"/>
                  <a:gd name="connsiteX16" fmla="*/ 0 w 1918706"/>
                  <a:gd name="connsiteY16" fmla="*/ 4010476 h 5633118"/>
                  <a:gd name="connsiteX17" fmla="*/ 0 w 1918706"/>
                  <a:gd name="connsiteY17" fmla="*/ 3997322 h 5633118"/>
                  <a:gd name="connsiteX18" fmla="*/ 0 w 1918706"/>
                  <a:gd name="connsiteY18" fmla="*/ 3595649 h 5633118"/>
                  <a:gd name="connsiteX19" fmla="*/ 0 w 1918706"/>
                  <a:gd name="connsiteY19" fmla="*/ 3587875 h 5633118"/>
                  <a:gd name="connsiteX20" fmla="*/ 0 w 1918706"/>
                  <a:gd name="connsiteY20" fmla="*/ 3574721 h 5633118"/>
                  <a:gd name="connsiteX21" fmla="*/ 0 w 1918706"/>
                  <a:gd name="connsiteY21" fmla="*/ 3515969 h 5633118"/>
                  <a:gd name="connsiteX22" fmla="*/ 0 w 1918706"/>
                  <a:gd name="connsiteY22" fmla="*/ 3508195 h 5633118"/>
                  <a:gd name="connsiteX23" fmla="*/ 0 w 1918706"/>
                  <a:gd name="connsiteY23" fmla="*/ 3487266 h 5633118"/>
                  <a:gd name="connsiteX24" fmla="*/ 0 w 1918706"/>
                  <a:gd name="connsiteY2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491829 h 5633118"/>
                  <a:gd name="connsiteX4" fmla="*/ 1918706 w 1918706"/>
                  <a:gd name="connsiteY4" fmla="*/ 4579284 h 5633118"/>
                  <a:gd name="connsiteX5" fmla="*/ 1918706 w 1918706"/>
                  <a:gd name="connsiteY5" fmla="*/ 4592438 h 5633118"/>
                  <a:gd name="connsiteX6" fmla="*/ 1918706 w 1918706"/>
                  <a:gd name="connsiteY6" fmla="*/ 5073791 h 5633118"/>
                  <a:gd name="connsiteX7" fmla="*/ 959355 w 1918706"/>
                  <a:gd name="connsiteY7" fmla="*/ 5633118 h 5633118"/>
                  <a:gd name="connsiteX8" fmla="*/ 0 w 1918706"/>
                  <a:gd name="connsiteY8" fmla="*/ 5073791 h 5633118"/>
                  <a:gd name="connsiteX9" fmla="*/ 0 w 1918706"/>
                  <a:gd name="connsiteY9" fmla="*/ 4592438 h 5633118"/>
                  <a:gd name="connsiteX10" fmla="*/ 0 w 1918706"/>
                  <a:gd name="connsiteY10" fmla="*/ 4579284 h 5633118"/>
                  <a:gd name="connsiteX11" fmla="*/ 0 w 1918706"/>
                  <a:gd name="connsiteY11" fmla="*/ 4491829 h 5633118"/>
                  <a:gd name="connsiteX12" fmla="*/ 0 w 1918706"/>
                  <a:gd name="connsiteY12" fmla="*/ 4097931 h 5633118"/>
                  <a:gd name="connsiteX13" fmla="*/ 0 w 1918706"/>
                  <a:gd name="connsiteY13" fmla="*/ 4090156 h 5633118"/>
                  <a:gd name="connsiteX14" fmla="*/ 0 w 1918706"/>
                  <a:gd name="connsiteY14" fmla="*/ 4069228 h 5633118"/>
                  <a:gd name="connsiteX15" fmla="*/ 0 w 1918706"/>
                  <a:gd name="connsiteY15" fmla="*/ 4010476 h 5633118"/>
                  <a:gd name="connsiteX16" fmla="*/ 0 w 1918706"/>
                  <a:gd name="connsiteY16" fmla="*/ 3997322 h 5633118"/>
                  <a:gd name="connsiteX17" fmla="*/ 0 w 1918706"/>
                  <a:gd name="connsiteY17" fmla="*/ 3595649 h 5633118"/>
                  <a:gd name="connsiteX18" fmla="*/ 0 w 1918706"/>
                  <a:gd name="connsiteY18" fmla="*/ 3587875 h 5633118"/>
                  <a:gd name="connsiteX19" fmla="*/ 0 w 1918706"/>
                  <a:gd name="connsiteY19" fmla="*/ 3574721 h 5633118"/>
                  <a:gd name="connsiteX20" fmla="*/ 0 w 1918706"/>
                  <a:gd name="connsiteY20" fmla="*/ 3515969 h 5633118"/>
                  <a:gd name="connsiteX21" fmla="*/ 0 w 1918706"/>
                  <a:gd name="connsiteY21" fmla="*/ 3508195 h 5633118"/>
                  <a:gd name="connsiteX22" fmla="*/ 0 w 1918706"/>
                  <a:gd name="connsiteY22" fmla="*/ 3487266 h 5633118"/>
                  <a:gd name="connsiteX23" fmla="*/ 0 w 1918706"/>
                  <a:gd name="connsiteY2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4592438 h 5633118"/>
                  <a:gd name="connsiteX5" fmla="*/ 1918706 w 1918706"/>
                  <a:gd name="connsiteY5" fmla="*/ 5073791 h 5633118"/>
                  <a:gd name="connsiteX6" fmla="*/ 959355 w 1918706"/>
                  <a:gd name="connsiteY6" fmla="*/ 5633118 h 5633118"/>
                  <a:gd name="connsiteX7" fmla="*/ 0 w 1918706"/>
                  <a:gd name="connsiteY7" fmla="*/ 5073791 h 5633118"/>
                  <a:gd name="connsiteX8" fmla="*/ 0 w 1918706"/>
                  <a:gd name="connsiteY8" fmla="*/ 4592438 h 5633118"/>
                  <a:gd name="connsiteX9" fmla="*/ 0 w 1918706"/>
                  <a:gd name="connsiteY9" fmla="*/ 4579284 h 5633118"/>
                  <a:gd name="connsiteX10" fmla="*/ 0 w 1918706"/>
                  <a:gd name="connsiteY10" fmla="*/ 4491829 h 5633118"/>
                  <a:gd name="connsiteX11" fmla="*/ 0 w 1918706"/>
                  <a:gd name="connsiteY11" fmla="*/ 4097931 h 5633118"/>
                  <a:gd name="connsiteX12" fmla="*/ 0 w 1918706"/>
                  <a:gd name="connsiteY12" fmla="*/ 4090156 h 5633118"/>
                  <a:gd name="connsiteX13" fmla="*/ 0 w 1918706"/>
                  <a:gd name="connsiteY13" fmla="*/ 4069228 h 5633118"/>
                  <a:gd name="connsiteX14" fmla="*/ 0 w 1918706"/>
                  <a:gd name="connsiteY14" fmla="*/ 4010476 h 5633118"/>
                  <a:gd name="connsiteX15" fmla="*/ 0 w 1918706"/>
                  <a:gd name="connsiteY15" fmla="*/ 3997322 h 5633118"/>
                  <a:gd name="connsiteX16" fmla="*/ 0 w 1918706"/>
                  <a:gd name="connsiteY16" fmla="*/ 3595649 h 5633118"/>
                  <a:gd name="connsiteX17" fmla="*/ 0 w 1918706"/>
                  <a:gd name="connsiteY17" fmla="*/ 3587875 h 5633118"/>
                  <a:gd name="connsiteX18" fmla="*/ 0 w 1918706"/>
                  <a:gd name="connsiteY18" fmla="*/ 3574721 h 5633118"/>
                  <a:gd name="connsiteX19" fmla="*/ 0 w 1918706"/>
                  <a:gd name="connsiteY19" fmla="*/ 3515969 h 5633118"/>
                  <a:gd name="connsiteX20" fmla="*/ 0 w 1918706"/>
                  <a:gd name="connsiteY20" fmla="*/ 3508195 h 5633118"/>
                  <a:gd name="connsiteX21" fmla="*/ 0 w 1918706"/>
                  <a:gd name="connsiteY21" fmla="*/ 3487266 h 5633118"/>
                  <a:gd name="connsiteX22" fmla="*/ 0 w 1918706"/>
                  <a:gd name="connsiteY2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5073791 h 5633118"/>
                  <a:gd name="connsiteX5" fmla="*/ 959355 w 1918706"/>
                  <a:gd name="connsiteY5" fmla="*/ 5633118 h 5633118"/>
                  <a:gd name="connsiteX6" fmla="*/ 0 w 1918706"/>
                  <a:gd name="connsiteY6" fmla="*/ 5073791 h 5633118"/>
                  <a:gd name="connsiteX7" fmla="*/ 0 w 1918706"/>
                  <a:gd name="connsiteY7" fmla="*/ 4592438 h 5633118"/>
                  <a:gd name="connsiteX8" fmla="*/ 0 w 1918706"/>
                  <a:gd name="connsiteY8" fmla="*/ 4579284 h 5633118"/>
                  <a:gd name="connsiteX9" fmla="*/ 0 w 1918706"/>
                  <a:gd name="connsiteY9" fmla="*/ 4491829 h 5633118"/>
                  <a:gd name="connsiteX10" fmla="*/ 0 w 1918706"/>
                  <a:gd name="connsiteY10" fmla="*/ 4097931 h 5633118"/>
                  <a:gd name="connsiteX11" fmla="*/ 0 w 1918706"/>
                  <a:gd name="connsiteY11" fmla="*/ 4090156 h 5633118"/>
                  <a:gd name="connsiteX12" fmla="*/ 0 w 1918706"/>
                  <a:gd name="connsiteY12" fmla="*/ 4069228 h 5633118"/>
                  <a:gd name="connsiteX13" fmla="*/ 0 w 1918706"/>
                  <a:gd name="connsiteY13" fmla="*/ 4010476 h 5633118"/>
                  <a:gd name="connsiteX14" fmla="*/ 0 w 1918706"/>
                  <a:gd name="connsiteY14" fmla="*/ 3997322 h 5633118"/>
                  <a:gd name="connsiteX15" fmla="*/ 0 w 1918706"/>
                  <a:gd name="connsiteY15" fmla="*/ 3595649 h 5633118"/>
                  <a:gd name="connsiteX16" fmla="*/ 0 w 1918706"/>
                  <a:gd name="connsiteY16" fmla="*/ 3587875 h 5633118"/>
                  <a:gd name="connsiteX17" fmla="*/ 0 w 1918706"/>
                  <a:gd name="connsiteY17" fmla="*/ 3574721 h 5633118"/>
                  <a:gd name="connsiteX18" fmla="*/ 0 w 1918706"/>
                  <a:gd name="connsiteY18" fmla="*/ 3515969 h 5633118"/>
                  <a:gd name="connsiteX19" fmla="*/ 0 w 1918706"/>
                  <a:gd name="connsiteY19" fmla="*/ 3508195 h 5633118"/>
                  <a:gd name="connsiteX20" fmla="*/ 0 w 1918706"/>
                  <a:gd name="connsiteY20" fmla="*/ 3487266 h 5633118"/>
                  <a:gd name="connsiteX21" fmla="*/ 0 w 1918706"/>
                  <a:gd name="connsiteY2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3487266 h 5633118"/>
                  <a:gd name="connsiteX20" fmla="*/ 0 w 1918706"/>
                  <a:gd name="connsiteY2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10064 w 1928770"/>
                  <a:gd name="connsiteY7" fmla="*/ 4579284 h 5633118"/>
                  <a:gd name="connsiteX8" fmla="*/ 0 w 1928770"/>
                  <a:gd name="connsiteY8" fmla="*/ 4484457 h 5633118"/>
                  <a:gd name="connsiteX9" fmla="*/ 10064 w 1928770"/>
                  <a:gd name="connsiteY9"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0 w 1928770"/>
                  <a:gd name="connsiteY7" fmla="*/ 4484457 h 5633118"/>
                  <a:gd name="connsiteX8" fmla="*/ 10064 w 1928770"/>
                  <a:gd name="connsiteY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0 h 563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8706" h="5633118">
                    <a:moveTo>
                      <a:pt x="0" y="0"/>
                    </a:moveTo>
                    <a:cubicBezTo>
                      <a:pt x="0" y="308912"/>
                      <a:pt x="429517" y="559332"/>
                      <a:pt x="959355" y="559332"/>
                    </a:cubicBezTo>
                    <a:cubicBezTo>
                      <a:pt x="1489193" y="559332"/>
                      <a:pt x="1918706" y="308912"/>
                      <a:pt x="1918706" y="0"/>
                    </a:cubicBezTo>
                    <a:lnTo>
                      <a:pt x="1918706" y="5073791"/>
                    </a:lnTo>
                    <a:cubicBezTo>
                      <a:pt x="1918706" y="5382699"/>
                      <a:pt x="1489193" y="5633118"/>
                      <a:pt x="959355" y="5633118"/>
                    </a:cubicBezTo>
                    <a:cubicBezTo>
                      <a:pt x="429517" y="5633118"/>
                      <a:pt x="0" y="5382699"/>
                      <a:pt x="0" y="5073791"/>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003" name="Oval 386">
                <a:extLst>
                  <a:ext uri="{FF2B5EF4-FFF2-40B4-BE49-F238E27FC236}">
                    <a16:creationId xmlns:a16="http://schemas.microsoft.com/office/drawing/2014/main" id="{E3DFDDB4-F5D2-4D4B-92F6-01AFCA887048}"/>
                  </a:ext>
                </a:extLst>
              </p:cNvPr>
              <p:cNvSpPr/>
              <p:nvPr/>
            </p:nvSpPr>
            <p:spPr bwMode="gray">
              <a:xfrm>
                <a:off x="12676185" y="-2160831"/>
                <a:ext cx="1918706" cy="1340175"/>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990" name="Group 989">
              <a:extLst>
                <a:ext uri="{FF2B5EF4-FFF2-40B4-BE49-F238E27FC236}">
                  <a16:creationId xmlns:a16="http://schemas.microsoft.com/office/drawing/2014/main" id="{03A346BC-0950-4A28-8425-C1DF4B7F7349}"/>
                </a:ext>
              </a:extLst>
            </p:cNvPr>
            <p:cNvGrpSpPr>
              <a:grpSpLocks noChangeAspect="1"/>
            </p:cNvGrpSpPr>
            <p:nvPr/>
          </p:nvGrpSpPr>
          <p:grpSpPr bwMode="gray">
            <a:xfrm>
              <a:off x="9264875" y="3882121"/>
              <a:ext cx="260073" cy="869376"/>
              <a:chOff x="12676185" y="-2160831"/>
              <a:chExt cx="1918718" cy="6413936"/>
            </a:xfrm>
          </p:grpSpPr>
          <p:sp>
            <p:nvSpPr>
              <p:cNvPr id="1000" name="Freeform: Shape 999">
                <a:extLst>
                  <a:ext uri="{FF2B5EF4-FFF2-40B4-BE49-F238E27FC236}">
                    <a16:creationId xmlns:a16="http://schemas.microsoft.com/office/drawing/2014/main" id="{566C0596-D9E7-490A-A7F5-A96109529788}"/>
                  </a:ext>
                </a:extLst>
              </p:cNvPr>
              <p:cNvSpPr/>
              <p:nvPr/>
            </p:nvSpPr>
            <p:spPr bwMode="gray">
              <a:xfrm>
                <a:off x="12676197" y="-1380013"/>
                <a:ext cx="1918706" cy="5633118"/>
              </a:xfrm>
              <a:custGeom>
                <a:avLst/>
                <a:gdLst>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581962 h 5633118"/>
                  <a:gd name="connsiteX6" fmla="*/ 1918706 w 1918706"/>
                  <a:gd name="connsiteY6" fmla="*/ 981092 h 5633118"/>
                  <a:gd name="connsiteX7" fmla="*/ 1918706 w 1918706"/>
                  <a:gd name="connsiteY7" fmla="*/ 1004563 h 5633118"/>
                  <a:gd name="connsiteX8" fmla="*/ 1918706 w 1918706"/>
                  <a:gd name="connsiteY8" fmla="*/ 1068547 h 5633118"/>
                  <a:gd name="connsiteX9" fmla="*/ 1918706 w 1918706"/>
                  <a:gd name="connsiteY9" fmla="*/ 1076469 h 5633118"/>
                  <a:gd name="connsiteX10" fmla="*/ 1918706 w 1918706"/>
                  <a:gd name="connsiteY10" fmla="*/ 1491148 h 5633118"/>
                  <a:gd name="connsiteX11" fmla="*/ 1918706 w 1918706"/>
                  <a:gd name="connsiteY11" fmla="*/ 1499070 h 5633118"/>
                  <a:gd name="connsiteX12" fmla="*/ 1918706 w 1918706"/>
                  <a:gd name="connsiteY12" fmla="*/ 1506844 h 5633118"/>
                  <a:gd name="connsiteX13" fmla="*/ 1918706 w 1918706"/>
                  <a:gd name="connsiteY13" fmla="*/ 1563054 h 5633118"/>
                  <a:gd name="connsiteX14" fmla="*/ 1918706 w 1918706"/>
                  <a:gd name="connsiteY14" fmla="*/ 1586524 h 5633118"/>
                  <a:gd name="connsiteX15" fmla="*/ 1918706 w 1918706"/>
                  <a:gd name="connsiteY15" fmla="*/ 1985655 h 5633118"/>
                  <a:gd name="connsiteX16" fmla="*/ 1918706 w 1918706"/>
                  <a:gd name="connsiteY16" fmla="*/ 2001351 h 5633118"/>
                  <a:gd name="connsiteX17" fmla="*/ 1918706 w 1918706"/>
                  <a:gd name="connsiteY17" fmla="*/ 2009125 h 5633118"/>
                  <a:gd name="connsiteX18" fmla="*/ 1918706 w 1918706"/>
                  <a:gd name="connsiteY18" fmla="*/ 2073109 h 5633118"/>
                  <a:gd name="connsiteX19" fmla="*/ 1918706 w 1918706"/>
                  <a:gd name="connsiteY19" fmla="*/ 2081031 h 5633118"/>
                  <a:gd name="connsiteX20" fmla="*/ 1918706 w 1918706"/>
                  <a:gd name="connsiteY20" fmla="*/ 2088805 h 5633118"/>
                  <a:gd name="connsiteX21" fmla="*/ 1918706 w 1918706"/>
                  <a:gd name="connsiteY21" fmla="*/ 2503632 h 5633118"/>
                  <a:gd name="connsiteX22" fmla="*/ 1918706 w 1918706"/>
                  <a:gd name="connsiteY22" fmla="*/ 2511407 h 5633118"/>
                  <a:gd name="connsiteX23" fmla="*/ 1918706 w 1918706"/>
                  <a:gd name="connsiteY23" fmla="*/ 2567616 h 5633118"/>
                  <a:gd name="connsiteX24" fmla="*/ 1918706 w 1918706"/>
                  <a:gd name="connsiteY24" fmla="*/ 2583313 h 5633118"/>
                  <a:gd name="connsiteX25" fmla="*/ 1918706 w 1918706"/>
                  <a:gd name="connsiteY25" fmla="*/ 2591087 h 5633118"/>
                  <a:gd name="connsiteX26" fmla="*/ 1918706 w 1918706"/>
                  <a:gd name="connsiteY26" fmla="*/ 2992759 h 5633118"/>
                  <a:gd name="connsiteX27" fmla="*/ 1918706 w 1918706"/>
                  <a:gd name="connsiteY27" fmla="*/ 3005914 h 5633118"/>
                  <a:gd name="connsiteX28" fmla="*/ 1918706 w 1918706"/>
                  <a:gd name="connsiteY28" fmla="*/ 3013688 h 5633118"/>
                  <a:gd name="connsiteX29" fmla="*/ 1918706 w 1918706"/>
                  <a:gd name="connsiteY29" fmla="*/ 3085594 h 5633118"/>
                  <a:gd name="connsiteX30" fmla="*/ 1918706 w 1918706"/>
                  <a:gd name="connsiteY30" fmla="*/ 3093368 h 5633118"/>
                  <a:gd name="connsiteX31" fmla="*/ 1918706 w 1918706"/>
                  <a:gd name="connsiteY31" fmla="*/ 3487266 h 5633118"/>
                  <a:gd name="connsiteX32" fmla="*/ 1918706 w 1918706"/>
                  <a:gd name="connsiteY32" fmla="*/ 3508195 h 5633118"/>
                  <a:gd name="connsiteX33" fmla="*/ 1918706 w 1918706"/>
                  <a:gd name="connsiteY33" fmla="*/ 3515969 h 5633118"/>
                  <a:gd name="connsiteX34" fmla="*/ 1918706 w 1918706"/>
                  <a:gd name="connsiteY34" fmla="*/ 3574721 h 5633118"/>
                  <a:gd name="connsiteX35" fmla="*/ 1918706 w 1918706"/>
                  <a:gd name="connsiteY35" fmla="*/ 3587875 h 5633118"/>
                  <a:gd name="connsiteX36" fmla="*/ 1918706 w 1918706"/>
                  <a:gd name="connsiteY36" fmla="*/ 3595649 h 5633118"/>
                  <a:gd name="connsiteX37" fmla="*/ 1918706 w 1918706"/>
                  <a:gd name="connsiteY37" fmla="*/ 3997322 h 5633118"/>
                  <a:gd name="connsiteX38" fmla="*/ 1918706 w 1918706"/>
                  <a:gd name="connsiteY38" fmla="*/ 4010476 h 5633118"/>
                  <a:gd name="connsiteX39" fmla="*/ 1918706 w 1918706"/>
                  <a:gd name="connsiteY39" fmla="*/ 4069228 h 5633118"/>
                  <a:gd name="connsiteX40" fmla="*/ 1918706 w 1918706"/>
                  <a:gd name="connsiteY40" fmla="*/ 4090156 h 5633118"/>
                  <a:gd name="connsiteX41" fmla="*/ 1918706 w 1918706"/>
                  <a:gd name="connsiteY41" fmla="*/ 4097931 h 5633118"/>
                  <a:gd name="connsiteX42" fmla="*/ 1918706 w 1918706"/>
                  <a:gd name="connsiteY42" fmla="*/ 4491829 h 5633118"/>
                  <a:gd name="connsiteX43" fmla="*/ 1918706 w 1918706"/>
                  <a:gd name="connsiteY43" fmla="*/ 4579284 h 5633118"/>
                  <a:gd name="connsiteX44" fmla="*/ 1918706 w 1918706"/>
                  <a:gd name="connsiteY44" fmla="*/ 4592438 h 5633118"/>
                  <a:gd name="connsiteX45" fmla="*/ 1918706 w 1918706"/>
                  <a:gd name="connsiteY45" fmla="*/ 5073791 h 5633118"/>
                  <a:gd name="connsiteX46" fmla="*/ 959355 w 1918706"/>
                  <a:gd name="connsiteY46" fmla="*/ 5633118 h 5633118"/>
                  <a:gd name="connsiteX47" fmla="*/ 0 w 1918706"/>
                  <a:gd name="connsiteY47" fmla="*/ 5073791 h 5633118"/>
                  <a:gd name="connsiteX48" fmla="*/ 0 w 1918706"/>
                  <a:gd name="connsiteY48" fmla="*/ 4592438 h 5633118"/>
                  <a:gd name="connsiteX49" fmla="*/ 0 w 1918706"/>
                  <a:gd name="connsiteY49" fmla="*/ 4579284 h 5633118"/>
                  <a:gd name="connsiteX50" fmla="*/ 0 w 1918706"/>
                  <a:gd name="connsiteY50" fmla="*/ 4491829 h 5633118"/>
                  <a:gd name="connsiteX51" fmla="*/ 0 w 1918706"/>
                  <a:gd name="connsiteY51" fmla="*/ 4097931 h 5633118"/>
                  <a:gd name="connsiteX52" fmla="*/ 0 w 1918706"/>
                  <a:gd name="connsiteY52" fmla="*/ 4090156 h 5633118"/>
                  <a:gd name="connsiteX53" fmla="*/ 0 w 1918706"/>
                  <a:gd name="connsiteY53" fmla="*/ 4069228 h 5633118"/>
                  <a:gd name="connsiteX54" fmla="*/ 0 w 1918706"/>
                  <a:gd name="connsiteY54" fmla="*/ 4010476 h 5633118"/>
                  <a:gd name="connsiteX55" fmla="*/ 0 w 1918706"/>
                  <a:gd name="connsiteY55" fmla="*/ 3997322 h 5633118"/>
                  <a:gd name="connsiteX56" fmla="*/ 0 w 1918706"/>
                  <a:gd name="connsiteY56" fmla="*/ 3595649 h 5633118"/>
                  <a:gd name="connsiteX57" fmla="*/ 0 w 1918706"/>
                  <a:gd name="connsiteY57" fmla="*/ 3587875 h 5633118"/>
                  <a:gd name="connsiteX58" fmla="*/ 0 w 1918706"/>
                  <a:gd name="connsiteY58" fmla="*/ 3574721 h 5633118"/>
                  <a:gd name="connsiteX59" fmla="*/ 0 w 1918706"/>
                  <a:gd name="connsiteY59" fmla="*/ 3515969 h 5633118"/>
                  <a:gd name="connsiteX60" fmla="*/ 0 w 1918706"/>
                  <a:gd name="connsiteY60" fmla="*/ 3508195 h 5633118"/>
                  <a:gd name="connsiteX61" fmla="*/ 0 w 1918706"/>
                  <a:gd name="connsiteY61" fmla="*/ 3487266 h 5633118"/>
                  <a:gd name="connsiteX62" fmla="*/ 0 w 1918706"/>
                  <a:gd name="connsiteY62" fmla="*/ 3093368 h 5633118"/>
                  <a:gd name="connsiteX63" fmla="*/ 0 w 1918706"/>
                  <a:gd name="connsiteY63" fmla="*/ 3085594 h 5633118"/>
                  <a:gd name="connsiteX64" fmla="*/ 0 w 1918706"/>
                  <a:gd name="connsiteY64" fmla="*/ 3013688 h 5633118"/>
                  <a:gd name="connsiteX65" fmla="*/ 0 w 1918706"/>
                  <a:gd name="connsiteY65" fmla="*/ 3005914 h 5633118"/>
                  <a:gd name="connsiteX66" fmla="*/ 0 w 1918706"/>
                  <a:gd name="connsiteY66" fmla="*/ 2992759 h 5633118"/>
                  <a:gd name="connsiteX67" fmla="*/ 0 w 1918706"/>
                  <a:gd name="connsiteY67" fmla="*/ 2591087 h 5633118"/>
                  <a:gd name="connsiteX68" fmla="*/ 0 w 1918706"/>
                  <a:gd name="connsiteY68" fmla="*/ 2583313 h 5633118"/>
                  <a:gd name="connsiteX69" fmla="*/ 0 w 1918706"/>
                  <a:gd name="connsiteY69" fmla="*/ 2567616 h 5633118"/>
                  <a:gd name="connsiteX70" fmla="*/ 0 w 1918706"/>
                  <a:gd name="connsiteY70" fmla="*/ 2511407 h 5633118"/>
                  <a:gd name="connsiteX71" fmla="*/ 0 w 1918706"/>
                  <a:gd name="connsiteY71" fmla="*/ 2503632 h 5633118"/>
                  <a:gd name="connsiteX72" fmla="*/ 0 w 1918706"/>
                  <a:gd name="connsiteY72" fmla="*/ 2088805 h 5633118"/>
                  <a:gd name="connsiteX73" fmla="*/ 0 w 1918706"/>
                  <a:gd name="connsiteY73" fmla="*/ 2081031 h 5633118"/>
                  <a:gd name="connsiteX74" fmla="*/ 0 w 1918706"/>
                  <a:gd name="connsiteY74" fmla="*/ 2073109 h 5633118"/>
                  <a:gd name="connsiteX75" fmla="*/ 0 w 1918706"/>
                  <a:gd name="connsiteY75" fmla="*/ 2009125 h 5633118"/>
                  <a:gd name="connsiteX76" fmla="*/ 0 w 1918706"/>
                  <a:gd name="connsiteY76" fmla="*/ 2001351 h 5633118"/>
                  <a:gd name="connsiteX77" fmla="*/ 0 w 1918706"/>
                  <a:gd name="connsiteY77" fmla="*/ 1985655 h 5633118"/>
                  <a:gd name="connsiteX78" fmla="*/ 0 w 1918706"/>
                  <a:gd name="connsiteY78" fmla="*/ 1586524 h 5633118"/>
                  <a:gd name="connsiteX79" fmla="*/ 0 w 1918706"/>
                  <a:gd name="connsiteY79" fmla="*/ 1563054 h 5633118"/>
                  <a:gd name="connsiteX80" fmla="*/ 0 w 1918706"/>
                  <a:gd name="connsiteY80" fmla="*/ 1506844 h 5633118"/>
                  <a:gd name="connsiteX81" fmla="*/ 0 w 1918706"/>
                  <a:gd name="connsiteY81" fmla="*/ 1499070 h 5633118"/>
                  <a:gd name="connsiteX82" fmla="*/ 0 w 1918706"/>
                  <a:gd name="connsiteY82" fmla="*/ 1491148 h 5633118"/>
                  <a:gd name="connsiteX83" fmla="*/ 0 w 1918706"/>
                  <a:gd name="connsiteY83" fmla="*/ 1076469 h 5633118"/>
                  <a:gd name="connsiteX84" fmla="*/ 0 w 1918706"/>
                  <a:gd name="connsiteY84" fmla="*/ 1068547 h 5633118"/>
                  <a:gd name="connsiteX85" fmla="*/ 0 w 1918706"/>
                  <a:gd name="connsiteY85" fmla="*/ 1004563 h 5633118"/>
                  <a:gd name="connsiteX86" fmla="*/ 0 w 1918706"/>
                  <a:gd name="connsiteY86" fmla="*/ 981092 h 5633118"/>
                  <a:gd name="connsiteX87" fmla="*/ 0 w 1918706"/>
                  <a:gd name="connsiteY87" fmla="*/ 581962 h 5633118"/>
                  <a:gd name="connsiteX88" fmla="*/ 0 w 1918706"/>
                  <a:gd name="connsiteY88" fmla="*/ 494507 h 5633118"/>
                  <a:gd name="connsiteX89" fmla="*/ 0 w 1918706"/>
                  <a:gd name="connsiteY89" fmla="*/ 486585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981092 h 5633118"/>
                  <a:gd name="connsiteX6" fmla="*/ 1918706 w 1918706"/>
                  <a:gd name="connsiteY6" fmla="*/ 1004563 h 5633118"/>
                  <a:gd name="connsiteX7" fmla="*/ 1918706 w 1918706"/>
                  <a:gd name="connsiteY7" fmla="*/ 1068547 h 5633118"/>
                  <a:gd name="connsiteX8" fmla="*/ 1918706 w 1918706"/>
                  <a:gd name="connsiteY8" fmla="*/ 1076469 h 5633118"/>
                  <a:gd name="connsiteX9" fmla="*/ 1918706 w 1918706"/>
                  <a:gd name="connsiteY9" fmla="*/ 1491148 h 5633118"/>
                  <a:gd name="connsiteX10" fmla="*/ 1918706 w 1918706"/>
                  <a:gd name="connsiteY10" fmla="*/ 1499070 h 5633118"/>
                  <a:gd name="connsiteX11" fmla="*/ 1918706 w 1918706"/>
                  <a:gd name="connsiteY11" fmla="*/ 1506844 h 5633118"/>
                  <a:gd name="connsiteX12" fmla="*/ 1918706 w 1918706"/>
                  <a:gd name="connsiteY12" fmla="*/ 1563054 h 5633118"/>
                  <a:gd name="connsiteX13" fmla="*/ 1918706 w 1918706"/>
                  <a:gd name="connsiteY13" fmla="*/ 1586524 h 5633118"/>
                  <a:gd name="connsiteX14" fmla="*/ 1918706 w 1918706"/>
                  <a:gd name="connsiteY14" fmla="*/ 1985655 h 5633118"/>
                  <a:gd name="connsiteX15" fmla="*/ 1918706 w 1918706"/>
                  <a:gd name="connsiteY15" fmla="*/ 2001351 h 5633118"/>
                  <a:gd name="connsiteX16" fmla="*/ 1918706 w 1918706"/>
                  <a:gd name="connsiteY16" fmla="*/ 2009125 h 5633118"/>
                  <a:gd name="connsiteX17" fmla="*/ 1918706 w 1918706"/>
                  <a:gd name="connsiteY17" fmla="*/ 2073109 h 5633118"/>
                  <a:gd name="connsiteX18" fmla="*/ 1918706 w 1918706"/>
                  <a:gd name="connsiteY18" fmla="*/ 2081031 h 5633118"/>
                  <a:gd name="connsiteX19" fmla="*/ 1918706 w 1918706"/>
                  <a:gd name="connsiteY19" fmla="*/ 2088805 h 5633118"/>
                  <a:gd name="connsiteX20" fmla="*/ 1918706 w 1918706"/>
                  <a:gd name="connsiteY20" fmla="*/ 2503632 h 5633118"/>
                  <a:gd name="connsiteX21" fmla="*/ 1918706 w 1918706"/>
                  <a:gd name="connsiteY21" fmla="*/ 2511407 h 5633118"/>
                  <a:gd name="connsiteX22" fmla="*/ 1918706 w 1918706"/>
                  <a:gd name="connsiteY22" fmla="*/ 2567616 h 5633118"/>
                  <a:gd name="connsiteX23" fmla="*/ 1918706 w 1918706"/>
                  <a:gd name="connsiteY23" fmla="*/ 2583313 h 5633118"/>
                  <a:gd name="connsiteX24" fmla="*/ 1918706 w 1918706"/>
                  <a:gd name="connsiteY24" fmla="*/ 2591087 h 5633118"/>
                  <a:gd name="connsiteX25" fmla="*/ 1918706 w 1918706"/>
                  <a:gd name="connsiteY25" fmla="*/ 2992759 h 5633118"/>
                  <a:gd name="connsiteX26" fmla="*/ 1918706 w 1918706"/>
                  <a:gd name="connsiteY26" fmla="*/ 3005914 h 5633118"/>
                  <a:gd name="connsiteX27" fmla="*/ 1918706 w 1918706"/>
                  <a:gd name="connsiteY27" fmla="*/ 3013688 h 5633118"/>
                  <a:gd name="connsiteX28" fmla="*/ 1918706 w 1918706"/>
                  <a:gd name="connsiteY28" fmla="*/ 3085594 h 5633118"/>
                  <a:gd name="connsiteX29" fmla="*/ 1918706 w 1918706"/>
                  <a:gd name="connsiteY29" fmla="*/ 3093368 h 5633118"/>
                  <a:gd name="connsiteX30" fmla="*/ 1918706 w 1918706"/>
                  <a:gd name="connsiteY30" fmla="*/ 3487266 h 5633118"/>
                  <a:gd name="connsiteX31" fmla="*/ 1918706 w 1918706"/>
                  <a:gd name="connsiteY31" fmla="*/ 3508195 h 5633118"/>
                  <a:gd name="connsiteX32" fmla="*/ 1918706 w 1918706"/>
                  <a:gd name="connsiteY32" fmla="*/ 3515969 h 5633118"/>
                  <a:gd name="connsiteX33" fmla="*/ 1918706 w 1918706"/>
                  <a:gd name="connsiteY33" fmla="*/ 3574721 h 5633118"/>
                  <a:gd name="connsiteX34" fmla="*/ 1918706 w 1918706"/>
                  <a:gd name="connsiteY34" fmla="*/ 3587875 h 5633118"/>
                  <a:gd name="connsiteX35" fmla="*/ 1918706 w 1918706"/>
                  <a:gd name="connsiteY35" fmla="*/ 3595649 h 5633118"/>
                  <a:gd name="connsiteX36" fmla="*/ 1918706 w 1918706"/>
                  <a:gd name="connsiteY36" fmla="*/ 3997322 h 5633118"/>
                  <a:gd name="connsiteX37" fmla="*/ 1918706 w 1918706"/>
                  <a:gd name="connsiteY37" fmla="*/ 4010476 h 5633118"/>
                  <a:gd name="connsiteX38" fmla="*/ 1918706 w 1918706"/>
                  <a:gd name="connsiteY38" fmla="*/ 4069228 h 5633118"/>
                  <a:gd name="connsiteX39" fmla="*/ 1918706 w 1918706"/>
                  <a:gd name="connsiteY39" fmla="*/ 4090156 h 5633118"/>
                  <a:gd name="connsiteX40" fmla="*/ 1918706 w 1918706"/>
                  <a:gd name="connsiteY40" fmla="*/ 4097931 h 5633118"/>
                  <a:gd name="connsiteX41" fmla="*/ 1918706 w 1918706"/>
                  <a:gd name="connsiteY41" fmla="*/ 4491829 h 5633118"/>
                  <a:gd name="connsiteX42" fmla="*/ 1918706 w 1918706"/>
                  <a:gd name="connsiteY42" fmla="*/ 4579284 h 5633118"/>
                  <a:gd name="connsiteX43" fmla="*/ 1918706 w 1918706"/>
                  <a:gd name="connsiteY43" fmla="*/ 4592438 h 5633118"/>
                  <a:gd name="connsiteX44" fmla="*/ 1918706 w 1918706"/>
                  <a:gd name="connsiteY44" fmla="*/ 5073791 h 5633118"/>
                  <a:gd name="connsiteX45" fmla="*/ 959355 w 1918706"/>
                  <a:gd name="connsiteY45" fmla="*/ 5633118 h 5633118"/>
                  <a:gd name="connsiteX46" fmla="*/ 0 w 1918706"/>
                  <a:gd name="connsiteY46" fmla="*/ 5073791 h 5633118"/>
                  <a:gd name="connsiteX47" fmla="*/ 0 w 1918706"/>
                  <a:gd name="connsiteY47" fmla="*/ 4592438 h 5633118"/>
                  <a:gd name="connsiteX48" fmla="*/ 0 w 1918706"/>
                  <a:gd name="connsiteY48" fmla="*/ 4579284 h 5633118"/>
                  <a:gd name="connsiteX49" fmla="*/ 0 w 1918706"/>
                  <a:gd name="connsiteY49" fmla="*/ 4491829 h 5633118"/>
                  <a:gd name="connsiteX50" fmla="*/ 0 w 1918706"/>
                  <a:gd name="connsiteY50" fmla="*/ 4097931 h 5633118"/>
                  <a:gd name="connsiteX51" fmla="*/ 0 w 1918706"/>
                  <a:gd name="connsiteY51" fmla="*/ 4090156 h 5633118"/>
                  <a:gd name="connsiteX52" fmla="*/ 0 w 1918706"/>
                  <a:gd name="connsiteY52" fmla="*/ 4069228 h 5633118"/>
                  <a:gd name="connsiteX53" fmla="*/ 0 w 1918706"/>
                  <a:gd name="connsiteY53" fmla="*/ 4010476 h 5633118"/>
                  <a:gd name="connsiteX54" fmla="*/ 0 w 1918706"/>
                  <a:gd name="connsiteY54" fmla="*/ 3997322 h 5633118"/>
                  <a:gd name="connsiteX55" fmla="*/ 0 w 1918706"/>
                  <a:gd name="connsiteY55" fmla="*/ 3595649 h 5633118"/>
                  <a:gd name="connsiteX56" fmla="*/ 0 w 1918706"/>
                  <a:gd name="connsiteY56" fmla="*/ 3587875 h 5633118"/>
                  <a:gd name="connsiteX57" fmla="*/ 0 w 1918706"/>
                  <a:gd name="connsiteY57" fmla="*/ 3574721 h 5633118"/>
                  <a:gd name="connsiteX58" fmla="*/ 0 w 1918706"/>
                  <a:gd name="connsiteY58" fmla="*/ 3515969 h 5633118"/>
                  <a:gd name="connsiteX59" fmla="*/ 0 w 1918706"/>
                  <a:gd name="connsiteY59" fmla="*/ 3508195 h 5633118"/>
                  <a:gd name="connsiteX60" fmla="*/ 0 w 1918706"/>
                  <a:gd name="connsiteY60" fmla="*/ 3487266 h 5633118"/>
                  <a:gd name="connsiteX61" fmla="*/ 0 w 1918706"/>
                  <a:gd name="connsiteY61" fmla="*/ 3093368 h 5633118"/>
                  <a:gd name="connsiteX62" fmla="*/ 0 w 1918706"/>
                  <a:gd name="connsiteY62" fmla="*/ 3085594 h 5633118"/>
                  <a:gd name="connsiteX63" fmla="*/ 0 w 1918706"/>
                  <a:gd name="connsiteY63" fmla="*/ 3013688 h 5633118"/>
                  <a:gd name="connsiteX64" fmla="*/ 0 w 1918706"/>
                  <a:gd name="connsiteY64" fmla="*/ 3005914 h 5633118"/>
                  <a:gd name="connsiteX65" fmla="*/ 0 w 1918706"/>
                  <a:gd name="connsiteY65" fmla="*/ 2992759 h 5633118"/>
                  <a:gd name="connsiteX66" fmla="*/ 0 w 1918706"/>
                  <a:gd name="connsiteY66" fmla="*/ 2591087 h 5633118"/>
                  <a:gd name="connsiteX67" fmla="*/ 0 w 1918706"/>
                  <a:gd name="connsiteY67" fmla="*/ 2583313 h 5633118"/>
                  <a:gd name="connsiteX68" fmla="*/ 0 w 1918706"/>
                  <a:gd name="connsiteY68" fmla="*/ 2567616 h 5633118"/>
                  <a:gd name="connsiteX69" fmla="*/ 0 w 1918706"/>
                  <a:gd name="connsiteY69" fmla="*/ 2511407 h 5633118"/>
                  <a:gd name="connsiteX70" fmla="*/ 0 w 1918706"/>
                  <a:gd name="connsiteY70" fmla="*/ 2503632 h 5633118"/>
                  <a:gd name="connsiteX71" fmla="*/ 0 w 1918706"/>
                  <a:gd name="connsiteY71" fmla="*/ 2088805 h 5633118"/>
                  <a:gd name="connsiteX72" fmla="*/ 0 w 1918706"/>
                  <a:gd name="connsiteY72" fmla="*/ 2081031 h 5633118"/>
                  <a:gd name="connsiteX73" fmla="*/ 0 w 1918706"/>
                  <a:gd name="connsiteY73" fmla="*/ 2073109 h 5633118"/>
                  <a:gd name="connsiteX74" fmla="*/ 0 w 1918706"/>
                  <a:gd name="connsiteY74" fmla="*/ 2009125 h 5633118"/>
                  <a:gd name="connsiteX75" fmla="*/ 0 w 1918706"/>
                  <a:gd name="connsiteY75" fmla="*/ 2001351 h 5633118"/>
                  <a:gd name="connsiteX76" fmla="*/ 0 w 1918706"/>
                  <a:gd name="connsiteY76" fmla="*/ 1985655 h 5633118"/>
                  <a:gd name="connsiteX77" fmla="*/ 0 w 1918706"/>
                  <a:gd name="connsiteY77" fmla="*/ 1586524 h 5633118"/>
                  <a:gd name="connsiteX78" fmla="*/ 0 w 1918706"/>
                  <a:gd name="connsiteY78" fmla="*/ 1563054 h 5633118"/>
                  <a:gd name="connsiteX79" fmla="*/ 0 w 1918706"/>
                  <a:gd name="connsiteY79" fmla="*/ 1506844 h 5633118"/>
                  <a:gd name="connsiteX80" fmla="*/ 0 w 1918706"/>
                  <a:gd name="connsiteY80" fmla="*/ 1499070 h 5633118"/>
                  <a:gd name="connsiteX81" fmla="*/ 0 w 1918706"/>
                  <a:gd name="connsiteY81" fmla="*/ 1491148 h 5633118"/>
                  <a:gd name="connsiteX82" fmla="*/ 0 w 1918706"/>
                  <a:gd name="connsiteY82" fmla="*/ 1076469 h 5633118"/>
                  <a:gd name="connsiteX83" fmla="*/ 0 w 1918706"/>
                  <a:gd name="connsiteY83" fmla="*/ 1068547 h 5633118"/>
                  <a:gd name="connsiteX84" fmla="*/ 0 w 1918706"/>
                  <a:gd name="connsiteY84" fmla="*/ 1004563 h 5633118"/>
                  <a:gd name="connsiteX85" fmla="*/ 0 w 1918706"/>
                  <a:gd name="connsiteY85" fmla="*/ 981092 h 5633118"/>
                  <a:gd name="connsiteX86" fmla="*/ 0 w 1918706"/>
                  <a:gd name="connsiteY86" fmla="*/ 581962 h 5633118"/>
                  <a:gd name="connsiteX87" fmla="*/ 0 w 1918706"/>
                  <a:gd name="connsiteY87" fmla="*/ 494507 h 5633118"/>
                  <a:gd name="connsiteX88" fmla="*/ 0 w 1918706"/>
                  <a:gd name="connsiteY88" fmla="*/ 486585 h 5633118"/>
                  <a:gd name="connsiteX89" fmla="*/ 0 w 1918706"/>
                  <a:gd name="connsiteY8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981092 h 5633118"/>
                  <a:gd name="connsiteX5" fmla="*/ 1918706 w 1918706"/>
                  <a:gd name="connsiteY5" fmla="*/ 1004563 h 5633118"/>
                  <a:gd name="connsiteX6" fmla="*/ 1918706 w 1918706"/>
                  <a:gd name="connsiteY6" fmla="*/ 1068547 h 5633118"/>
                  <a:gd name="connsiteX7" fmla="*/ 1918706 w 1918706"/>
                  <a:gd name="connsiteY7" fmla="*/ 1076469 h 5633118"/>
                  <a:gd name="connsiteX8" fmla="*/ 1918706 w 1918706"/>
                  <a:gd name="connsiteY8" fmla="*/ 1491148 h 5633118"/>
                  <a:gd name="connsiteX9" fmla="*/ 1918706 w 1918706"/>
                  <a:gd name="connsiteY9" fmla="*/ 1499070 h 5633118"/>
                  <a:gd name="connsiteX10" fmla="*/ 1918706 w 1918706"/>
                  <a:gd name="connsiteY10" fmla="*/ 1506844 h 5633118"/>
                  <a:gd name="connsiteX11" fmla="*/ 1918706 w 1918706"/>
                  <a:gd name="connsiteY11" fmla="*/ 1563054 h 5633118"/>
                  <a:gd name="connsiteX12" fmla="*/ 1918706 w 1918706"/>
                  <a:gd name="connsiteY12" fmla="*/ 1586524 h 5633118"/>
                  <a:gd name="connsiteX13" fmla="*/ 1918706 w 1918706"/>
                  <a:gd name="connsiteY13" fmla="*/ 1985655 h 5633118"/>
                  <a:gd name="connsiteX14" fmla="*/ 1918706 w 1918706"/>
                  <a:gd name="connsiteY14" fmla="*/ 2001351 h 5633118"/>
                  <a:gd name="connsiteX15" fmla="*/ 1918706 w 1918706"/>
                  <a:gd name="connsiteY15" fmla="*/ 2009125 h 5633118"/>
                  <a:gd name="connsiteX16" fmla="*/ 1918706 w 1918706"/>
                  <a:gd name="connsiteY16" fmla="*/ 2073109 h 5633118"/>
                  <a:gd name="connsiteX17" fmla="*/ 1918706 w 1918706"/>
                  <a:gd name="connsiteY17" fmla="*/ 2081031 h 5633118"/>
                  <a:gd name="connsiteX18" fmla="*/ 1918706 w 1918706"/>
                  <a:gd name="connsiteY18" fmla="*/ 2088805 h 5633118"/>
                  <a:gd name="connsiteX19" fmla="*/ 1918706 w 1918706"/>
                  <a:gd name="connsiteY19" fmla="*/ 2503632 h 5633118"/>
                  <a:gd name="connsiteX20" fmla="*/ 1918706 w 1918706"/>
                  <a:gd name="connsiteY20" fmla="*/ 2511407 h 5633118"/>
                  <a:gd name="connsiteX21" fmla="*/ 1918706 w 1918706"/>
                  <a:gd name="connsiteY21" fmla="*/ 2567616 h 5633118"/>
                  <a:gd name="connsiteX22" fmla="*/ 1918706 w 1918706"/>
                  <a:gd name="connsiteY22" fmla="*/ 2583313 h 5633118"/>
                  <a:gd name="connsiteX23" fmla="*/ 1918706 w 1918706"/>
                  <a:gd name="connsiteY23" fmla="*/ 2591087 h 5633118"/>
                  <a:gd name="connsiteX24" fmla="*/ 1918706 w 1918706"/>
                  <a:gd name="connsiteY24" fmla="*/ 2992759 h 5633118"/>
                  <a:gd name="connsiteX25" fmla="*/ 1918706 w 1918706"/>
                  <a:gd name="connsiteY25" fmla="*/ 3005914 h 5633118"/>
                  <a:gd name="connsiteX26" fmla="*/ 1918706 w 1918706"/>
                  <a:gd name="connsiteY26" fmla="*/ 3013688 h 5633118"/>
                  <a:gd name="connsiteX27" fmla="*/ 1918706 w 1918706"/>
                  <a:gd name="connsiteY27" fmla="*/ 3085594 h 5633118"/>
                  <a:gd name="connsiteX28" fmla="*/ 1918706 w 1918706"/>
                  <a:gd name="connsiteY28" fmla="*/ 3093368 h 5633118"/>
                  <a:gd name="connsiteX29" fmla="*/ 1918706 w 1918706"/>
                  <a:gd name="connsiteY29" fmla="*/ 3487266 h 5633118"/>
                  <a:gd name="connsiteX30" fmla="*/ 1918706 w 1918706"/>
                  <a:gd name="connsiteY30" fmla="*/ 3508195 h 5633118"/>
                  <a:gd name="connsiteX31" fmla="*/ 1918706 w 1918706"/>
                  <a:gd name="connsiteY31" fmla="*/ 3515969 h 5633118"/>
                  <a:gd name="connsiteX32" fmla="*/ 1918706 w 1918706"/>
                  <a:gd name="connsiteY32" fmla="*/ 3574721 h 5633118"/>
                  <a:gd name="connsiteX33" fmla="*/ 1918706 w 1918706"/>
                  <a:gd name="connsiteY33" fmla="*/ 3587875 h 5633118"/>
                  <a:gd name="connsiteX34" fmla="*/ 1918706 w 1918706"/>
                  <a:gd name="connsiteY34" fmla="*/ 3595649 h 5633118"/>
                  <a:gd name="connsiteX35" fmla="*/ 1918706 w 1918706"/>
                  <a:gd name="connsiteY35" fmla="*/ 3997322 h 5633118"/>
                  <a:gd name="connsiteX36" fmla="*/ 1918706 w 1918706"/>
                  <a:gd name="connsiteY36" fmla="*/ 4010476 h 5633118"/>
                  <a:gd name="connsiteX37" fmla="*/ 1918706 w 1918706"/>
                  <a:gd name="connsiteY37" fmla="*/ 4069228 h 5633118"/>
                  <a:gd name="connsiteX38" fmla="*/ 1918706 w 1918706"/>
                  <a:gd name="connsiteY38" fmla="*/ 4090156 h 5633118"/>
                  <a:gd name="connsiteX39" fmla="*/ 1918706 w 1918706"/>
                  <a:gd name="connsiteY39" fmla="*/ 4097931 h 5633118"/>
                  <a:gd name="connsiteX40" fmla="*/ 1918706 w 1918706"/>
                  <a:gd name="connsiteY40" fmla="*/ 4491829 h 5633118"/>
                  <a:gd name="connsiteX41" fmla="*/ 1918706 w 1918706"/>
                  <a:gd name="connsiteY41" fmla="*/ 4579284 h 5633118"/>
                  <a:gd name="connsiteX42" fmla="*/ 1918706 w 1918706"/>
                  <a:gd name="connsiteY42" fmla="*/ 4592438 h 5633118"/>
                  <a:gd name="connsiteX43" fmla="*/ 1918706 w 1918706"/>
                  <a:gd name="connsiteY43" fmla="*/ 5073791 h 5633118"/>
                  <a:gd name="connsiteX44" fmla="*/ 959355 w 1918706"/>
                  <a:gd name="connsiteY44" fmla="*/ 5633118 h 5633118"/>
                  <a:gd name="connsiteX45" fmla="*/ 0 w 1918706"/>
                  <a:gd name="connsiteY45" fmla="*/ 5073791 h 5633118"/>
                  <a:gd name="connsiteX46" fmla="*/ 0 w 1918706"/>
                  <a:gd name="connsiteY46" fmla="*/ 4592438 h 5633118"/>
                  <a:gd name="connsiteX47" fmla="*/ 0 w 1918706"/>
                  <a:gd name="connsiteY47" fmla="*/ 4579284 h 5633118"/>
                  <a:gd name="connsiteX48" fmla="*/ 0 w 1918706"/>
                  <a:gd name="connsiteY48" fmla="*/ 4491829 h 5633118"/>
                  <a:gd name="connsiteX49" fmla="*/ 0 w 1918706"/>
                  <a:gd name="connsiteY49" fmla="*/ 4097931 h 5633118"/>
                  <a:gd name="connsiteX50" fmla="*/ 0 w 1918706"/>
                  <a:gd name="connsiteY50" fmla="*/ 4090156 h 5633118"/>
                  <a:gd name="connsiteX51" fmla="*/ 0 w 1918706"/>
                  <a:gd name="connsiteY51" fmla="*/ 4069228 h 5633118"/>
                  <a:gd name="connsiteX52" fmla="*/ 0 w 1918706"/>
                  <a:gd name="connsiteY52" fmla="*/ 4010476 h 5633118"/>
                  <a:gd name="connsiteX53" fmla="*/ 0 w 1918706"/>
                  <a:gd name="connsiteY53" fmla="*/ 3997322 h 5633118"/>
                  <a:gd name="connsiteX54" fmla="*/ 0 w 1918706"/>
                  <a:gd name="connsiteY54" fmla="*/ 3595649 h 5633118"/>
                  <a:gd name="connsiteX55" fmla="*/ 0 w 1918706"/>
                  <a:gd name="connsiteY55" fmla="*/ 3587875 h 5633118"/>
                  <a:gd name="connsiteX56" fmla="*/ 0 w 1918706"/>
                  <a:gd name="connsiteY56" fmla="*/ 3574721 h 5633118"/>
                  <a:gd name="connsiteX57" fmla="*/ 0 w 1918706"/>
                  <a:gd name="connsiteY57" fmla="*/ 3515969 h 5633118"/>
                  <a:gd name="connsiteX58" fmla="*/ 0 w 1918706"/>
                  <a:gd name="connsiteY58" fmla="*/ 3508195 h 5633118"/>
                  <a:gd name="connsiteX59" fmla="*/ 0 w 1918706"/>
                  <a:gd name="connsiteY59" fmla="*/ 3487266 h 5633118"/>
                  <a:gd name="connsiteX60" fmla="*/ 0 w 1918706"/>
                  <a:gd name="connsiteY60" fmla="*/ 3093368 h 5633118"/>
                  <a:gd name="connsiteX61" fmla="*/ 0 w 1918706"/>
                  <a:gd name="connsiteY61" fmla="*/ 3085594 h 5633118"/>
                  <a:gd name="connsiteX62" fmla="*/ 0 w 1918706"/>
                  <a:gd name="connsiteY62" fmla="*/ 3013688 h 5633118"/>
                  <a:gd name="connsiteX63" fmla="*/ 0 w 1918706"/>
                  <a:gd name="connsiteY63" fmla="*/ 3005914 h 5633118"/>
                  <a:gd name="connsiteX64" fmla="*/ 0 w 1918706"/>
                  <a:gd name="connsiteY64" fmla="*/ 2992759 h 5633118"/>
                  <a:gd name="connsiteX65" fmla="*/ 0 w 1918706"/>
                  <a:gd name="connsiteY65" fmla="*/ 2591087 h 5633118"/>
                  <a:gd name="connsiteX66" fmla="*/ 0 w 1918706"/>
                  <a:gd name="connsiteY66" fmla="*/ 2583313 h 5633118"/>
                  <a:gd name="connsiteX67" fmla="*/ 0 w 1918706"/>
                  <a:gd name="connsiteY67" fmla="*/ 2567616 h 5633118"/>
                  <a:gd name="connsiteX68" fmla="*/ 0 w 1918706"/>
                  <a:gd name="connsiteY68" fmla="*/ 2511407 h 5633118"/>
                  <a:gd name="connsiteX69" fmla="*/ 0 w 1918706"/>
                  <a:gd name="connsiteY69" fmla="*/ 2503632 h 5633118"/>
                  <a:gd name="connsiteX70" fmla="*/ 0 w 1918706"/>
                  <a:gd name="connsiteY70" fmla="*/ 2088805 h 5633118"/>
                  <a:gd name="connsiteX71" fmla="*/ 0 w 1918706"/>
                  <a:gd name="connsiteY71" fmla="*/ 2081031 h 5633118"/>
                  <a:gd name="connsiteX72" fmla="*/ 0 w 1918706"/>
                  <a:gd name="connsiteY72" fmla="*/ 2073109 h 5633118"/>
                  <a:gd name="connsiteX73" fmla="*/ 0 w 1918706"/>
                  <a:gd name="connsiteY73" fmla="*/ 2009125 h 5633118"/>
                  <a:gd name="connsiteX74" fmla="*/ 0 w 1918706"/>
                  <a:gd name="connsiteY74" fmla="*/ 2001351 h 5633118"/>
                  <a:gd name="connsiteX75" fmla="*/ 0 w 1918706"/>
                  <a:gd name="connsiteY75" fmla="*/ 1985655 h 5633118"/>
                  <a:gd name="connsiteX76" fmla="*/ 0 w 1918706"/>
                  <a:gd name="connsiteY76" fmla="*/ 1586524 h 5633118"/>
                  <a:gd name="connsiteX77" fmla="*/ 0 w 1918706"/>
                  <a:gd name="connsiteY77" fmla="*/ 1563054 h 5633118"/>
                  <a:gd name="connsiteX78" fmla="*/ 0 w 1918706"/>
                  <a:gd name="connsiteY78" fmla="*/ 1506844 h 5633118"/>
                  <a:gd name="connsiteX79" fmla="*/ 0 w 1918706"/>
                  <a:gd name="connsiteY79" fmla="*/ 1499070 h 5633118"/>
                  <a:gd name="connsiteX80" fmla="*/ 0 w 1918706"/>
                  <a:gd name="connsiteY80" fmla="*/ 1491148 h 5633118"/>
                  <a:gd name="connsiteX81" fmla="*/ 0 w 1918706"/>
                  <a:gd name="connsiteY81" fmla="*/ 1076469 h 5633118"/>
                  <a:gd name="connsiteX82" fmla="*/ 0 w 1918706"/>
                  <a:gd name="connsiteY82" fmla="*/ 1068547 h 5633118"/>
                  <a:gd name="connsiteX83" fmla="*/ 0 w 1918706"/>
                  <a:gd name="connsiteY83" fmla="*/ 1004563 h 5633118"/>
                  <a:gd name="connsiteX84" fmla="*/ 0 w 1918706"/>
                  <a:gd name="connsiteY84" fmla="*/ 981092 h 5633118"/>
                  <a:gd name="connsiteX85" fmla="*/ 0 w 1918706"/>
                  <a:gd name="connsiteY85" fmla="*/ 581962 h 5633118"/>
                  <a:gd name="connsiteX86" fmla="*/ 0 w 1918706"/>
                  <a:gd name="connsiteY86" fmla="*/ 494507 h 5633118"/>
                  <a:gd name="connsiteX87" fmla="*/ 0 w 1918706"/>
                  <a:gd name="connsiteY87" fmla="*/ 486585 h 5633118"/>
                  <a:gd name="connsiteX88" fmla="*/ 0 w 1918706"/>
                  <a:gd name="connsiteY8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486585 h 5633118"/>
                  <a:gd name="connsiteX87" fmla="*/ 0 w 1918706"/>
                  <a:gd name="connsiteY8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076469 h 5633118"/>
                  <a:gd name="connsiteX80" fmla="*/ 0 w 1918706"/>
                  <a:gd name="connsiteY8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591087 h 5633118"/>
                  <a:gd name="connsiteX64" fmla="*/ 0 w 1918706"/>
                  <a:gd name="connsiteY6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2591087 h 5633118"/>
                  <a:gd name="connsiteX63" fmla="*/ 0 w 1918706"/>
                  <a:gd name="connsiteY6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2591087 h 5633118"/>
                  <a:gd name="connsiteX62" fmla="*/ 0 w 1918706"/>
                  <a:gd name="connsiteY6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2591087 h 5633118"/>
                  <a:gd name="connsiteX61" fmla="*/ 0 w 1918706"/>
                  <a:gd name="connsiteY6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68547 h 5633118"/>
                  <a:gd name="connsiteX5" fmla="*/ 1918706 w 1918706"/>
                  <a:gd name="connsiteY5" fmla="*/ 1076469 h 5633118"/>
                  <a:gd name="connsiteX6" fmla="*/ 1918706 w 1918706"/>
                  <a:gd name="connsiteY6" fmla="*/ 1491148 h 5633118"/>
                  <a:gd name="connsiteX7" fmla="*/ 1918706 w 1918706"/>
                  <a:gd name="connsiteY7" fmla="*/ 1499070 h 5633118"/>
                  <a:gd name="connsiteX8" fmla="*/ 1918706 w 1918706"/>
                  <a:gd name="connsiteY8" fmla="*/ 1506844 h 5633118"/>
                  <a:gd name="connsiteX9" fmla="*/ 1918706 w 1918706"/>
                  <a:gd name="connsiteY9" fmla="*/ 1563054 h 5633118"/>
                  <a:gd name="connsiteX10" fmla="*/ 1918706 w 1918706"/>
                  <a:gd name="connsiteY10" fmla="*/ 1586524 h 5633118"/>
                  <a:gd name="connsiteX11" fmla="*/ 1918706 w 1918706"/>
                  <a:gd name="connsiteY11" fmla="*/ 1985655 h 5633118"/>
                  <a:gd name="connsiteX12" fmla="*/ 1918706 w 1918706"/>
                  <a:gd name="connsiteY12" fmla="*/ 2001351 h 5633118"/>
                  <a:gd name="connsiteX13" fmla="*/ 1918706 w 1918706"/>
                  <a:gd name="connsiteY13" fmla="*/ 2009125 h 5633118"/>
                  <a:gd name="connsiteX14" fmla="*/ 1918706 w 1918706"/>
                  <a:gd name="connsiteY14" fmla="*/ 2073109 h 5633118"/>
                  <a:gd name="connsiteX15" fmla="*/ 1918706 w 1918706"/>
                  <a:gd name="connsiteY15" fmla="*/ 2081031 h 5633118"/>
                  <a:gd name="connsiteX16" fmla="*/ 1918706 w 1918706"/>
                  <a:gd name="connsiteY16" fmla="*/ 2088805 h 5633118"/>
                  <a:gd name="connsiteX17" fmla="*/ 1918706 w 1918706"/>
                  <a:gd name="connsiteY17" fmla="*/ 2503632 h 5633118"/>
                  <a:gd name="connsiteX18" fmla="*/ 1918706 w 1918706"/>
                  <a:gd name="connsiteY18" fmla="*/ 2511407 h 5633118"/>
                  <a:gd name="connsiteX19" fmla="*/ 1918706 w 1918706"/>
                  <a:gd name="connsiteY19" fmla="*/ 2567616 h 5633118"/>
                  <a:gd name="connsiteX20" fmla="*/ 1918706 w 1918706"/>
                  <a:gd name="connsiteY20" fmla="*/ 2583313 h 5633118"/>
                  <a:gd name="connsiteX21" fmla="*/ 1918706 w 1918706"/>
                  <a:gd name="connsiteY21" fmla="*/ 2591087 h 5633118"/>
                  <a:gd name="connsiteX22" fmla="*/ 1918706 w 1918706"/>
                  <a:gd name="connsiteY22" fmla="*/ 2992759 h 5633118"/>
                  <a:gd name="connsiteX23" fmla="*/ 1918706 w 1918706"/>
                  <a:gd name="connsiteY23" fmla="*/ 3005914 h 5633118"/>
                  <a:gd name="connsiteX24" fmla="*/ 1918706 w 1918706"/>
                  <a:gd name="connsiteY24" fmla="*/ 3013688 h 5633118"/>
                  <a:gd name="connsiteX25" fmla="*/ 1918706 w 1918706"/>
                  <a:gd name="connsiteY25" fmla="*/ 3085594 h 5633118"/>
                  <a:gd name="connsiteX26" fmla="*/ 1918706 w 1918706"/>
                  <a:gd name="connsiteY26" fmla="*/ 3093368 h 5633118"/>
                  <a:gd name="connsiteX27" fmla="*/ 1918706 w 1918706"/>
                  <a:gd name="connsiteY27" fmla="*/ 3487266 h 5633118"/>
                  <a:gd name="connsiteX28" fmla="*/ 1918706 w 1918706"/>
                  <a:gd name="connsiteY28" fmla="*/ 3508195 h 5633118"/>
                  <a:gd name="connsiteX29" fmla="*/ 1918706 w 1918706"/>
                  <a:gd name="connsiteY29" fmla="*/ 3515969 h 5633118"/>
                  <a:gd name="connsiteX30" fmla="*/ 1918706 w 1918706"/>
                  <a:gd name="connsiteY30" fmla="*/ 3574721 h 5633118"/>
                  <a:gd name="connsiteX31" fmla="*/ 1918706 w 1918706"/>
                  <a:gd name="connsiteY31" fmla="*/ 3587875 h 5633118"/>
                  <a:gd name="connsiteX32" fmla="*/ 1918706 w 1918706"/>
                  <a:gd name="connsiteY32" fmla="*/ 3595649 h 5633118"/>
                  <a:gd name="connsiteX33" fmla="*/ 1918706 w 1918706"/>
                  <a:gd name="connsiteY33" fmla="*/ 3997322 h 5633118"/>
                  <a:gd name="connsiteX34" fmla="*/ 1918706 w 1918706"/>
                  <a:gd name="connsiteY34" fmla="*/ 4010476 h 5633118"/>
                  <a:gd name="connsiteX35" fmla="*/ 1918706 w 1918706"/>
                  <a:gd name="connsiteY35" fmla="*/ 4069228 h 5633118"/>
                  <a:gd name="connsiteX36" fmla="*/ 1918706 w 1918706"/>
                  <a:gd name="connsiteY36" fmla="*/ 4090156 h 5633118"/>
                  <a:gd name="connsiteX37" fmla="*/ 1918706 w 1918706"/>
                  <a:gd name="connsiteY37" fmla="*/ 4097931 h 5633118"/>
                  <a:gd name="connsiteX38" fmla="*/ 1918706 w 1918706"/>
                  <a:gd name="connsiteY38" fmla="*/ 4491829 h 5633118"/>
                  <a:gd name="connsiteX39" fmla="*/ 1918706 w 1918706"/>
                  <a:gd name="connsiteY39" fmla="*/ 4579284 h 5633118"/>
                  <a:gd name="connsiteX40" fmla="*/ 1918706 w 1918706"/>
                  <a:gd name="connsiteY40" fmla="*/ 4592438 h 5633118"/>
                  <a:gd name="connsiteX41" fmla="*/ 1918706 w 1918706"/>
                  <a:gd name="connsiteY41" fmla="*/ 5073791 h 5633118"/>
                  <a:gd name="connsiteX42" fmla="*/ 959355 w 1918706"/>
                  <a:gd name="connsiteY42" fmla="*/ 5633118 h 5633118"/>
                  <a:gd name="connsiteX43" fmla="*/ 0 w 1918706"/>
                  <a:gd name="connsiteY43" fmla="*/ 5073791 h 5633118"/>
                  <a:gd name="connsiteX44" fmla="*/ 0 w 1918706"/>
                  <a:gd name="connsiteY44" fmla="*/ 4592438 h 5633118"/>
                  <a:gd name="connsiteX45" fmla="*/ 0 w 1918706"/>
                  <a:gd name="connsiteY45" fmla="*/ 4579284 h 5633118"/>
                  <a:gd name="connsiteX46" fmla="*/ 0 w 1918706"/>
                  <a:gd name="connsiteY46" fmla="*/ 4491829 h 5633118"/>
                  <a:gd name="connsiteX47" fmla="*/ 0 w 1918706"/>
                  <a:gd name="connsiteY47" fmla="*/ 4097931 h 5633118"/>
                  <a:gd name="connsiteX48" fmla="*/ 0 w 1918706"/>
                  <a:gd name="connsiteY48" fmla="*/ 4090156 h 5633118"/>
                  <a:gd name="connsiteX49" fmla="*/ 0 w 1918706"/>
                  <a:gd name="connsiteY49" fmla="*/ 4069228 h 5633118"/>
                  <a:gd name="connsiteX50" fmla="*/ 0 w 1918706"/>
                  <a:gd name="connsiteY50" fmla="*/ 4010476 h 5633118"/>
                  <a:gd name="connsiteX51" fmla="*/ 0 w 1918706"/>
                  <a:gd name="connsiteY51" fmla="*/ 3997322 h 5633118"/>
                  <a:gd name="connsiteX52" fmla="*/ 0 w 1918706"/>
                  <a:gd name="connsiteY52" fmla="*/ 3595649 h 5633118"/>
                  <a:gd name="connsiteX53" fmla="*/ 0 w 1918706"/>
                  <a:gd name="connsiteY53" fmla="*/ 3587875 h 5633118"/>
                  <a:gd name="connsiteX54" fmla="*/ 0 w 1918706"/>
                  <a:gd name="connsiteY54" fmla="*/ 3574721 h 5633118"/>
                  <a:gd name="connsiteX55" fmla="*/ 0 w 1918706"/>
                  <a:gd name="connsiteY55" fmla="*/ 3515969 h 5633118"/>
                  <a:gd name="connsiteX56" fmla="*/ 0 w 1918706"/>
                  <a:gd name="connsiteY56" fmla="*/ 3508195 h 5633118"/>
                  <a:gd name="connsiteX57" fmla="*/ 0 w 1918706"/>
                  <a:gd name="connsiteY57" fmla="*/ 3487266 h 5633118"/>
                  <a:gd name="connsiteX58" fmla="*/ 0 w 1918706"/>
                  <a:gd name="connsiteY5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076469 h 5633118"/>
                  <a:gd name="connsiteX5" fmla="*/ 1918706 w 1918706"/>
                  <a:gd name="connsiteY5" fmla="*/ 1491148 h 5633118"/>
                  <a:gd name="connsiteX6" fmla="*/ 1918706 w 1918706"/>
                  <a:gd name="connsiteY6" fmla="*/ 1499070 h 5633118"/>
                  <a:gd name="connsiteX7" fmla="*/ 1918706 w 1918706"/>
                  <a:gd name="connsiteY7" fmla="*/ 1506844 h 5633118"/>
                  <a:gd name="connsiteX8" fmla="*/ 1918706 w 1918706"/>
                  <a:gd name="connsiteY8" fmla="*/ 1563054 h 5633118"/>
                  <a:gd name="connsiteX9" fmla="*/ 1918706 w 1918706"/>
                  <a:gd name="connsiteY9" fmla="*/ 1586524 h 5633118"/>
                  <a:gd name="connsiteX10" fmla="*/ 1918706 w 1918706"/>
                  <a:gd name="connsiteY10" fmla="*/ 1985655 h 5633118"/>
                  <a:gd name="connsiteX11" fmla="*/ 1918706 w 1918706"/>
                  <a:gd name="connsiteY11" fmla="*/ 2001351 h 5633118"/>
                  <a:gd name="connsiteX12" fmla="*/ 1918706 w 1918706"/>
                  <a:gd name="connsiteY12" fmla="*/ 2009125 h 5633118"/>
                  <a:gd name="connsiteX13" fmla="*/ 1918706 w 1918706"/>
                  <a:gd name="connsiteY13" fmla="*/ 2073109 h 5633118"/>
                  <a:gd name="connsiteX14" fmla="*/ 1918706 w 1918706"/>
                  <a:gd name="connsiteY14" fmla="*/ 2081031 h 5633118"/>
                  <a:gd name="connsiteX15" fmla="*/ 1918706 w 1918706"/>
                  <a:gd name="connsiteY15" fmla="*/ 2088805 h 5633118"/>
                  <a:gd name="connsiteX16" fmla="*/ 1918706 w 1918706"/>
                  <a:gd name="connsiteY16" fmla="*/ 2503632 h 5633118"/>
                  <a:gd name="connsiteX17" fmla="*/ 1918706 w 1918706"/>
                  <a:gd name="connsiteY17" fmla="*/ 2511407 h 5633118"/>
                  <a:gd name="connsiteX18" fmla="*/ 1918706 w 1918706"/>
                  <a:gd name="connsiteY18" fmla="*/ 2567616 h 5633118"/>
                  <a:gd name="connsiteX19" fmla="*/ 1918706 w 1918706"/>
                  <a:gd name="connsiteY19" fmla="*/ 2583313 h 5633118"/>
                  <a:gd name="connsiteX20" fmla="*/ 1918706 w 1918706"/>
                  <a:gd name="connsiteY20" fmla="*/ 2591087 h 5633118"/>
                  <a:gd name="connsiteX21" fmla="*/ 1918706 w 1918706"/>
                  <a:gd name="connsiteY21" fmla="*/ 2992759 h 5633118"/>
                  <a:gd name="connsiteX22" fmla="*/ 1918706 w 1918706"/>
                  <a:gd name="connsiteY22" fmla="*/ 3005914 h 5633118"/>
                  <a:gd name="connsiteX23" fmla="*/ 1918706 w 1918706"/>
                  <a:gd name="connsiteY23" fmla="*/ 3013688 h 5633118"/>
                  <a:gd name="connsiteX24" fmla="*/ 1918706 w 1918706"/>
                  <a:gd name="connsiteY24" fmla="*/ 3085594 h 5633118"/>
                  <a:gd name="connsiteX25" fmla="*/ 1918706 w 1918706"/>
                  <a:gd name="connsiteY25" fmla="*/ 3093368 h 5633118"/>
                  <a:gd name="connsiteX26" fmla="*/ 1918706 w 1918706"/>
                  <a:gd name="connsiteY26" fmla="*/ 3487266 h 5633118"/>
                  <a:gd name="connsiteX27" fmla="*/ 1918706 w 1918706"/>
                  <a:gd name="connsiteY27" fmla="*/ 3508195 h 5633118"/>
                  <a:gd name="connsiteX28" fmla="*/ 1918706 w 1918706"/>
                  <a:gd name="connsiteY28" fmla="*/ 3515969 h 5633118"/>
                  <a:gd name="connsiteX29" fmla="*/ 1918706 w 1918706"/>
                  <a:gd name="connsiteY29" fmla="*/ 3574721 h 5633118"/>
                  <a:gd name="connsiteX30" fmla="*/ 1918706 w 1918706"/>
                  <a:gd name="connsiteY30" fmla="*/ 3587875 h 5633118"/>
                  <a:gd name="connsiteX31" fmla="*/ 1918706 w 1918706"/>
                  <a:gd name="connsiteY31" fmla="*/ 3595649 h 5633118"/>
                  <a:gd name="connsiteX32" fmla="*/ 1918706 w 1918706"/>
                  <a:gd name="connsiteY32" fmla="*/ 3997322 h 5633118"/>
                  <a:gd name="connsiteX33" fmla="*/ 1918706 w 1918706"/>
                  <a:gd name="connsiteY33" fmla="*/ 4010476 h 5633118"/>
                  <a:gd name="connsiteX34" fmla="*/ 1918706 w 1918706"/>
                  <a:gd name="connsiteY34" fmla="*/ 4069228 h 5633118"/>
                  <a:gd name="connsiteX35" fmla="*/ 1918706 w 1918706"/>
                  <a:gd name="connsiteY35" fmla="*/ 4090156 h 5633118"/>
                  <a:gd name="connsiteX36" fmla="*/ 1918706 w 1918706"/>
                  <a:gd name="connsiteY36" fmla="*/ 4097931 h 5633118"/>
                  <a:gd name="connsiteX37" fmla="*/ 1918706 w 1918706"/>
                  <a:gd name="connsiteY37" fmla="*/ 4491829 h 5633118"/>
                  <a:gd name="connsiteX38" fmla="*/ 1918706 w 1918706"/>
                  <a:gd name="connsiteY38" fmla="*/ 4579284 h 5633118"/>
                  <a:gd name="connsiteX39" fmla="*/ 1918706 w 1918706"/>
                  <a:gd name="connsiteY39" fmla="*/ 4592438 h 5633118"/>
                  <a:gd name="connsiteX40" fmla="*/ 1918706 w 1918706"/>
                  <a:gd name="connsiteY40" fmla="*/ 5073791 h 5633118"/>
                  <a:gd name="connsiteX41" fmla="*/ 959355 w 1918706"/>
                  <a:gd name="connsiteY41" fmla="*/ 5633118 h 5633118"/>
                  <a:gd name="connsiteX42" fmla="*/ 0 w 1918706"/>
                  <a:gd name="connsiteY42" fmla="*/ 5073791 h 5633118"/>
                  <a:gd name="connsiteX43" fmla="*/ 0 w 1918706"/>
                  <a:gd name="connsiteY43" fmla="*/ 4592438 h 5633118"/>
                  <a:gd name="connsiteX44" fmla="*/ 0 w 1918706"/>
                  <a:gd name="connsiteY44" fmla="*/ 4579284 h 5633118"/>
                  <a:gd name="connsiteX45" fmla="*/ 0 w 1918706"/>
                  <a:gd name="connsiteY45" fmla="*/ 4491829 h 5633118"/>
                  <a:gd name="connsiteX46" fmla="*/ 0 w 1918706"/>
                  <a:gd name="connsiteY46" fmla="*/ 4097931 h 5633118"/>
                  <a:gd name="connsiteX47" fmla="*/ 0 w 1918706"/>
                  <a:gd name="connsiteY47" fmla="*/ 4090156 h 5633118"/>
                  <a:gd name="connsiteX48" fmla="*/ 0 w 1918706"/>
                  <a:gd name="connsiteY48" fmla="*/ 4069228 h 5633118"/>
                  <a:gd name="connsiteX49" fmla="*/ 0 w 1918706"/>
                  <a:gd name="connsiteY49" fmla="*/ 4010476 h 5633118"/>
                  <a:gd name="connsiteX50" fmla="*/ 0 w 1918706"/>
                  <a:gd name="connsiteY50" fmla="*/ 3997322 h 5633118"/>
                  <a:gd name="connsiteX51" fmla="*/ 0 w 1918706"/>
                  <a:gd name="connsiteY51" fmla="*/ 3595649 h 5633118"/>
                  <a:gd name="connsiteX52" fmla="*/ 0 w 1918706"/>
                  <a:gd name="connsiteY52" fmla="*/ 3587875 h 5633118"/>
                  <a:gd name="connsiteX53" fmla="*/ 0 w 1918706"/>
                  <a:gd name="connsiteY53" fmla="*/ 3574721 h 5633118"/>
                  <a:gd name="connsiteX54" fmla="*/ 0 w 1918706"/>
                  <a:gd name="connsiteY54" fmla="*/ 3515969 h 5633118"/>
                  <a:gd name="connsiteX55" fmla="*/ 0 w 1918706"/>
                  <a:gd name="connsiteY55" fmla="*/ 3508195 h 5633118"/>
                  <a:gd name="connsiteX56" fmla="*/ 0 w 1918706"/>
                  <a:gd name="connsiteY56" fmla="*/ 3487266 h 5633118"/>
                  <a:gd name="connsiteX57" fmla="*/ 0 w 1918706"/>
                  <a:gd name="connsiteY5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491148 h 5633118"/>
                  <a:gd name="connsiteX5" fmla="*/ 1918706 w 1918706"/>
                  <a:gd name="connsiteY5" fmla="*/ 1499070 h 5633118"/>
                  <a:gd name="connsiteX6" fmla="*/ 1918706 w 1918706"/>
                  <a:gd name="connsiteY6" fmla="*/ 1506844 h 5633118"/>
                  <a:gd name="connsiteX7" fmla="*/ 1918706 w 1918706"/>
                  <a:gd name="connsiteY7" fmla="*/ 1563054 h 5633118"/>
                  <a:gd name="connsiteX8" fmla="*/ 1918706 w 1918706"/>
                  <a:gd name="connsiteY8" fmla="*/ 1586524 h 5633118"/>
                  <a:gd name="connsiteX9" fmla="*/ 1918706 w 1918706"/>
                  <a:gd name="connsiteY9" fmla="*/ 1985655 h 5633118"/>
                  <a:gd name="connsiteX10" fmla="*/ 1918706 w 1918706"/>
                  <a:gd name="connsiteY10" fmla="*/ 2001351 h 5633118"/>
                  <a:gd name="connsiteX11" fmla="*/ 1918706 w 1918706"/>
                  <a:gd name="connsiteY11" fmla="*/ 2009125 h 5633118"/>
                  <a:gd name="connsiteX12" fmla="*/ 1918706 w 1918706"/>
                  <a:gd name="connsiteY12" fmla="*/ 2073109 h 5633118"/>
                  <a:gd name="connsiteX13" fmla="*/ 1918706 w 1918706"/>
                  <a:gd name="connsiteY13" fmla="*/ 2081031 h 5633118"/>
                  <a:gd name="connsiteX14" fmla="*/ 1918706 w 1918706"/>
                  <a:gd name="connsiteY14" fmla="*/ 2088805 h 5633118"/>
                  <a:gd name="connsiteX15" fmla="*/ 1918706 w 1918706"/>
                  <a:gd name="connsiteY15" fmla="*/ 2503632 h 5633118"/>
                  <a:gd name="connsiteX16" fmla="*/ 1918706 w 1918706"/>
                  <a:gd name="connsiteY16" fmla="*/ 2511407 h 5633118"/>
                  <a:gd name="connsiteX17" fmla="*/ 1918706 w 1918706"/>
                  <a:gd name="connsiteY17" fmla="*/ 2567616 h 5633118"/>
                  <a:gd name="connsiteX18" fmla="*/ 1918706 w 1918706"/>
                  <a:gd name="connsiteY18" fmla="*/ 2583313 h 5633118"/>
                  <a:gd name="connsiteX19" fmla="*/ 1918706 w 1918706"/>
                  <a:gd name="connsiteY19" fmla="*/ 2591087 h 5633118"/>
                  <a:gd name="connsiteX20" fmla="*/ 1918706 w 1918706"/>
                  <a:gd name="connsiteY20" fmla="*/ 2992759 h 5633118"/>
                  <a:gd name="connsiteX21" fmla="*/ 1918706 w 1918706"/>
                  <a:gd name="connsiteY21" fmla="*/ 3005914 h 5633118"/>
                  <a:gd name="connsiteX22" fmla="*/ 1918706 w 1918706"/>
                  <a:gd name="connsiteY22" fmla="*/ 3013688 h 5633118"/>
                  <a:gd name="connsiteX23" fmla="*/ 1918706 w 1918706"/>
                  <a:gd name="connsiteY23" fmla="*/ 3085594 h 5633118"/>
                  <a:gd name="connsiteX24" fmla="*/ 1918706 w 1918706"/>
                  <a:gd name="connsiteY24" fmla="*/ 3093368 h 5633118"/>
                  <a:gd name="connsiteX25" fmla="*/ 1918706 w 1918706"/>
                  <a:gd name="connsiteY25" fmla="*/ 3487266 h 5633118"/>
                  <a:gd name="connsiteX26" fmla="*/ 1918706 w 1918706"/>
                  <a:gd name="connsiteY26" fmla="*/ 3508195 h 5633118"/>
                  <a:gd name="connsiteX27" fmla="*/ 1918706 w 1918706"/>
                  <a:gd name="connsiteY27" fmla="*/ 3515969 h 5633118"/>
                  <a:gd name="connsiteX28" fmla="*/ 1918706 w 1918706"/>
                  <a:gd name="connsiteY28" fmla="*/ 3574721 h 5633118"/>
                  <a:gd name="connsiteX29" fmla="*/ 1918706 w 1918706"/>
                  <a:gd name="connsiteY29" fmla="*/ 3587875 h 5633118"/>
                  <a:gd name="connsiteX30" fmla="*/ 1918706 w 1918706"/>
                  <a:gd name="connsiteY30" fmla="*/ 3595649 h 5633118"/>
                  <a:gd name="connsiteX31" fmla="*/ 1918706 w 1918706"/>
                  <a:gd name="connsiteY31" fmla="*/ 3997322 h 5633118"/>
                  <a:gd name="connsiteX32" fmla="*/ 1918706 w 1918706"/>
                  <a:gd name="connsiteY32" fmla="*/ 4010476 h 5633118"/>
                  <a:gd name="connsiteX33" fmla="*/ 1918706 w 1918706"/>
                  <a:gd name="connsiteY33" fmla="*/ 4069228 h 5633118"/>
                  <a:gd name="connsiteX34" fmla="*/ 1918706 w 1918706"/>
                  <a:gd name="connsiteY34" fmla="*/ 4090156 h 5633118"/>
                  <a:gd name="connsiteX35" fmla="*/ 1918706 w 1918706"/>
                  <a:gd name="connsiteY35" fmla="*/ 4097931 h 5633118"/>
                  <a:gd name="connsiteX36" fmla="*/ 1918706 w 1918706"/>
                  <a:gd name="connsiteY36" fmla="*/ 4491829 h 5633118"/>
                  <a:gd name="connsiteX37" fmla="*/ 1918706 w 1918706"/>
                  <a:gd name="connsiteY37" fmla="*/ 4579284 h 5633118"/>
                  <a:gd name="connsiteX38" fmla="*/ 1918706 w 1918706"/>
                  <a:gd name="connsiteY38" fmla="*/ 4592438 h 5633118"/>
                  <a:gd name="connsiteX39" fmla="*/ 1918706 w 1918706"/>
                  <a:gd name="connsiteY39" fmla="*/ 5073791 h 5633118"/>
                  <a:gd name="connsiteX40" fmla="*/ 959355 w 1918706"/>
                  <a:gd name="connsiteY40" fmla="*/ 5633118 h 5633118"/>
                  <a:gd name="connsiteX41" fmla="*/ 0 w 1918706"/>
                  <a:gd name="connsiteY41" fmla="*/ 5073791 h 5633118"/>
                  <a:gd name="connsiteX42" fmla="*/ 0 w 1918706"/>
                  <a:gd name="connsiteY42" fmla="*/ 4592438 h 5633118"/>
                  <a:gd name="connsiteX43" fmla="*/ 0 w 1918706"/>
                  <a:gd name="connsiteY43" fmla="*/ 4579284 h 5633118"/>
                  <a:gd name="connsiteX44" fmla="*/ 0 w 1918706"/>
                  <a:gd name="connsiteY44" fmla="*/ 4491829 h 5633118"/>
                  <a:gd name="connsiteX45" fmla="*/ 0 w 1918706"/>
                  <a:gd name="connsiteY45" fmla="*/ 4097931 h 5633118"/>
                  <a:gd name="connsiteX46" fmla="*/ 0 w 1918706"/>
                  <a:gd name="connsiteY46" fmla="*/ 4090156 h 5633118"/>
                  <a:gd name="connsiteX47" fmla="*/ 0 w 1918706"/>
                  <a:gd name="connsiteY47" fmla="*/ 4069228 h 5633118"/>
                  <a:gd name="connsiteX48" fmla="*/ 0 w 1918706"/>
                  <a:gd name="connsiteY48" fmla="*/ 4010476 h 5633118"/>
                  <a:gd name="connsiteX49" fmla="*/ 0 w 1918706"/>
                  <a:gd name="connsiteY49" fmla="*/ 3997322 h 5633118"/>
                  <a:gd name="connsiteX50" fmla="*/ 0 w 1918706"/>
                  <a:gd name="connsiteY50" fmla="*/ 3595649 h 5633118"/>
                  <a:gd name="connsiteX51" fmla="*/ 0 w 1918706"/>
                  <a:gd name="connsiteY51" fmla="*/ 3587875 h 5633118"/>
                  <a:gd name="connsiteX52" fmla="*/ 0 w 1918706"/>
                  <a:gd name="connsiteY52" fmla="*/ 3574721 h 5633118"/>
                  <a:gd name="connsiteX53" fmla="*/ 0 w 1918706"/>
                  <a:gd name="connsiteY53" fmla="*/ 3515969 h 5633118"/>
                  <a:gd name="connsiteX54" fmla="*/ 0 w 1918706"/>
                  <a:gd name="connsiteY54" fmla="*/ 3508195 h 5633118"/>
                  <a:gd name="connsiteX55" fmla="*/ 0 w 1918706"/>
                  <a:gd name="connsiteY55" fmla="*/ 3487266 h 5633118"/>
                  <a:gd name="connsiteX56" fmla="*/ 0 w 1918706"/>
                  <a:gd name="connsiteY5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06844 h 5633118"/>
                  <a:gd name="connsiteX6" fmla="*/ 1918706 w 1918706"/>
                  <a:gd name="connsiteY6" fmla="*/ 1563054 h 5633118"/>
                  <a:gd name="connsiteX7" fmla="*/ 1918706 w 1918706"/>
                  <a:gd name="connsiteY7" fmla="*/ 1586524 h 5633118"/>
                  <a:gd name="connsiteX8" fmla="*/ 1918706 w 1918706"/>
                  <a:gd name="connsiteY8" fmla="*/ 1985655 h 5633118"/>
                  <a:gd name="connsiteX9" fmla="*/ 1918706 w 1918706"/>
                  <a:gd name="connsiteY9" fmla="*/ 2001351 h 5633118"/>
                  <a:gd name="connsiteX10" fmla="*/ 1918706 w 1918706"/>
                  <a:gd name="connsiteY10" fmla="*/ 2009125 h 5633118"/>
                  <a:gd name="connsiteX11" fmla="*/ 1918706 w 1918706"/>
                  <a:gd name="connsiteY11" fmla="*/ 2073109 h 5633118"/>
                  <a:gd name="connsiteX12" fmla="*/ 1918706 w 1918706"/>
                  <a:gd name="connsiteY12" fmla="*/ 2081031 h 5633118"/>
                  <a:gd name="connsiteX13" fmla="*/ 1918706 w 1918706"/>
                  <a:gd name="connsiteY13" fmla="*/ 2088805 h 5633118"/>
                  <a:gd name="connsiteX14" fmla="*/ 1918706 w 1918706"/>
                  <a:gd name="connsiteY14" fmla="*/ 2503632 h 5633118"/>
                  <a:gd name="connsiteX15" fmla="*/ 1918706 w 1918706"/>
                  <a:gd name="connsiteY15" fmla="*/ 2511407 h 5633118"/>
                  <a:gd name="connsiteX16" fmla="*/ 1918706 w 1918706"/>
                  <a:gd name="connsiteY16" fmla="*/ 2567616 h 5633118"/>
                  <a:gd name="connsiteX17" fmla="*/ 1918706 w 1918706"/>
                  <a:gd name="connsiteY17" fmla="*/ 2583313 h 5633118"/>
                  <a:gd name="connsiteX18" fmla="*/ 1918706 w 1918706"/>
                  <a:gd name="connsiteY18" fmla="*/ 2591087 h 5633118"/>
                  <a:gd name="connsiteX19" fmla="*/ 1918706 w 1918706"/>
                  <a:gd name="connsiteY19" fmla="*/ 2992759 h 5633118"/>
                  <a:gd name="connsiteX20" fmla="*/ 1918706 w 1918706"/>
                  <a:gd name="connsiteY20" fmla="*/ 3005914 h 5633118"/>
                  <a:gd name="connsiteX21" fmla="*/ 1918706 w 1918706"/>
                  <a:gd name="connsiteY21" fmla="*/ 3013688 h 5633118"/>
                  <a:gd name="connsiteX22" fmla="*/ 1918706 w 1918706"/>
                  <a:gd name="connsiteY22" fmla="*/ 3085594 h 5633118"/>
                  <a:gd name="connsiteX23" fmla="*/ 1918706 w 1918706"/>
                  <a:gd name="connsiteY23" fmla="*/ 3093368 h 5633118"/>
                  <a:gd name="connsiteX24" fmla="*/ 1918706 w 1918706"/>
                  <a:gd name="connsiteY24" fmla="*/ 3487266 h 5633118"/>
                  <a:gd name="connsiteX25" fmla="*/ 1918706 w 1918706"/>
                  <a:gd name="connsiteY25" fmla="*/ 3508195 h 5633118"/>
                  <a:gd name="connsiteX26" fmla="*/ 1918706 w 1918706"/>
                  <a:gd name="connsiteY26" fmla="*/ 3515969 h 5633118"/>
                  <a:gd name="connsiteX27" fmla="*/ 1918706 w 1918706"/>
                  <a:gd name="connsiteY27" fmla="*/ 3574721 h 5633118"/>
                  <a:gd name="connsiteX28" fmla="*/ 1918706 w 1918706"/>
                  <a:gd name="connsiteY28" fmla="*/ 3587875 h 5633118"/>
                  <a:gd name="connsiteX29" fmla="*/ 1918706 w 1918706"/>
                  <a:gd name="connsiteY29" fmla="*/ 3595649 h 5633118"/>
                  <a:gd name="connsiteX30" fmla="*/ 1918706 w 1918706"/>
                  <a:gd name="connsiteY30" fmla="*/ 3997322 h 5633118"/>
                  <a:gd name="connsiteX31" fmla="*/ 1918706 w 1918706"/>
                  <a:gd name="connsiteY31" fmla="*/ 4010476 h 5633118"/>
                  <a:gd name="connsiteX32" fmla="*/ 1918706 w 1918706"/>
                  <a:gd name="connsiteY32" fmla="*/ 4069228 h 5633118"/>
                  <a:gd name="connsiteX33" fmla="*/ 1918706 w 1918706"/>
                  <a:gd name="connsiteY33" fmla="*/ 4090156 h 5633118"/>
                  <a:gd name="connsiteX34" fmla="*/ 1918706 w 1918706"/>
                  <a:gd name="connsiteY34" fmla="*/ 4097931 h 5633118"/>
                  <a:gd name="connsiteX35" fmla="*/ 1918706 w 1918706"/>
                  <a:gd name="connsiteY35" fmla="*/ 4491829 h 5633118"/>
                  <a:gd name="connsiteX36" fmla="*/ 1918706 w 1918706"/>
                  <a:gd name="connsiteY36" fmla="*/ 4579284 h 5633118"/>
                  <a:gd name="connsiteX37" fmla="*/ 1918706 w 1918706"/>
                  <a:gd name="connsiteY37" fmla="*/ 4592438 h 5633118"/>
                  <a:gd name="connsiteX38" fmla="*/ 1918706 w 1918706"/>
                  <a:gd name="connsiteY38" fmla="*/ 5073791 h 5633118"/>
                  <a:gd name="connsiteX39" fmla="*/ 959355 w 1918706"/>
                  <a:gd name="connsiteY39" fmla="*/ 5633118 h 5633118"/>
                  <a:gd name="connsiteX40" fmla="*/ 0 w 1918706"/>
                  <a:gd name="connsiteY40" fmla="*/ 5073791 h 5633118"/>
                  <a:gd name="connsiteX41" fmla="*/ 0 w 1918706"/>
                  <a:gd name="connsiteY41" fmla="*/ 4592438 h 5633118"/>
                  <a:gd name="connsiteX42" fmla="*/ 0 w 1918706"/>
                  <a:gd name="connsiteY42" fmla="*/ 4579284 h 5633118"/>
                  <a:gd name="connsiteX43" fmla="*/ 0 w 1918706"/>
                  <a:gd name="connsiteY43" fmla="*/ 4491829 h 5633118"/>
                  <a:gd name="connsiteX44" fmla="*/ 0 w 1918706"/>
                  <a:gd name="connsiteY44" fmla="*/ 4097931 h 5633118"/>
                  <a:gd name="connsiteX45" fmla="*/ 0 w 1918706"/>
                  <a:gd name="connsiteY45" fmla="*/ 4090156 h 5633118"/>
                  <a:gd name="connsiteX46" fmla="*/ 0 w 1918706"/>
                  <a:gd name="connsiteY46" fmla="*/ 4069228 h 5633118"/>
                  <a:gd name="connsiteX47" fmla="*/ 0 w 1918706"/>
                  <a:gd name="connsiteY47" fmla="*/ 4010476 h 5633118"/>
                  <a:gd name="connsiteX48" fmla="*/ 0 w 1918706"/>
                  <a:gd name="connsiteY48" fmla="*/ 3997322 h 5633118"/>
                  <a:gd name="connsiteX49" fmla="*/ 0 w 1918706"/>
                  <a:gd name="connsiteY49" fmla="*/ 3595649 h 5633118"/>
                  <a:gd name="connsiteX50" fmla="*/ 0 w 1918706"/>
                  <a:gd name="connsiteY50" fmla="*/ 3587875 h 5633118"/>
                  <a:gd name="connsiteX51" fmla="*/ 0 w 1918706"/>
                  <a:gd name="connsiteY51" fmla="*/ 3574721 h 5633118"/>
                  <a:gd name="connsiteX52" fmla="*/ 0 w 1918706"/>
                  <a:gd name="connsiteY52" fmla="*/ 3515969 h 5633118"/>
                  <a:gd name="connsiteX53" fmla="*/ 0 w 1918706"/>
                  <a:gd name="connsiteY53" fmla="*/ 3508195 h 5633118"/>
                  <a:gd name="connsiteX54" fmla="*/ 0 w 1918706"/>
                  <a:gd name="connsiteY54" fmla="*/ 3487266 h 5633118"/>
                  <a:gd name="connsiteX55" fmla="*/ 0 w 1918706"/>
                  <a:gd name="connsiteY5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63054 h 5633118"/>
                  <a:gd name="connsiteX6" fmla="*/ 1918706 w 1918706"/>
                  <a:gd name="connsiteY6" fmla="*/ 1586524 h 5633118"/>
                  <a:gd name="connsiteX7" fmla="*/ 1918706 w 1918706"/>
                  <a:gd name="connsiteY7" fmla="*/ 1985655 h 5633118"/>
                  <a:gd name="connsiteX8" fmla="*/ 1918706 w 1918706"/>
                  <a:gd name="connsiteY8" fmla="*/ 2001351 h 5633118"/>
                  <a:gd name="connsiteX9" fmla="*/ 1918706 w 1918706"/>
                  <a:gd name="connsiteY9" fmla="*/ 2009125 h 5633118"/>
                  <a:gd name="connsiteX10" fmla="*/ 1918706 w 1918706"/>
                  <a:gd name="connsiteY10" fmla="*/ 2073109 h 5633118"/>
                  <a:gd name="connsiteX11" fmla="*/ 1918706 w 1918706"/>
                  <a:gd name="connsiteY11" fmla="*/ 2081031 h 5633118"/>
                  <a:gd name="connsiteX12" fmla="*/ 1918706 w 1918706"/>
                  <a:gd name="connsiteY12" fmla="*/ 2088805 h 5633118"/>
                  <a:gd name="connsiteX13" fmla="*/ 1918706 w 1918706"/>
                  <a:gd name="connsiteY13" fmla="*/ 2503632 h 5633118"/>
                  <a:gd name="connsiteX14" fmla="*/ 1918706 w 1918706"/>
                  <a:gd name="connsiteY14" fmla="*/ 2511407 h 5633118"/>
                  <a:gd name="connsiteX15" fmla="*/ 1918706 w 1918706"/>
                  <a:gd name="connsiteY15" fmla="*/ 2567616 h 5633118"/>
                  <a:gd name="connsiteX16" fmla="*/ 1918706 w 1918706"/>
                  <a:gd name="connsiteY16" fmla="*/ 2583313 h 5633118"/>
                  <a:gd name="connsiteX17" fmla="*/ 1918706 w 1918706"/>
                  <a:gd name="connsiteY17" fmla="*/ 2591087 h 5633118"/>
                  <a:gd name="connsiteX18" fmla="*/ 1918706 w 1918706"/>
                  <a:gd name="connsiteY18" fmla="*/ 2992759 h 5633118"/>
                  <a:gd name="connsiteX19" fmla="*/ 1918706 w 1918706"/>
                  <a:gd name="connsiteY19" fmla="*/ 3005914 h 5633118"/>
                  <a:gd name="connsiteX20" fmla="*/ 1918706 w 1918706"/>
                  <a:gd name="connsiteY20" fmla="*/ 3013688 h 5633118"/>
                  <a:gd name="connsiteX21" fmla="*/ 1918706 w 1918706"/>
                  <a:gd name="connsiteY21" fmla="*/ 3085594 h 5633118"/>
                  <a:gd name="connsiteX22" fmla="*/ 1918706 w 1918706"/>
                  <a:gd name="connsiteY22" fmla="*/ 3093368 h 5633118"/>
                  <a:gd name="connsiteX23" fmla="*/ 1918706 w 1918706"/>
                  <a:gd name="connsiteY23" fmla="*/ 3487266 h 5633118"/>
                  <a:gd name="connsiteX24" fmla="*/ 1918706 w 1918706"/>
                  <a:gd name="connsiteY24" fmla="*/ 3508195 h 5633118"/>
                  <a:gd name="connsiteX25" fmla="*/ 1918706 w 1918706"/>
                  <a:gd name="connsiteY25" fmla="*/ 3515969 h 5633118"/>
                  <a:gd name="connsiteX26" fmla="*/ 1918706 w 1918706"/>
                  <a:gd name="connsiteY26" fmla="*/ 3574721 h 5633118"/>
                  <a:gd name="connsiteX27" fmla="*/ 1918706 w 1918706"/>
                  <a:gd name="connsiteY27" fmla="*/ 3587875 h 5633118"/>
                  <a:gd name="connsiteX28" fmla="*/ 1918706 w 1918706"/>
                  <a:gd name="connsiteY28" fmla="*/ 3595649 h 5633118"/>
                  <a:gd name="connsiteX29" fmla="*/ 1918706 w 1918706"/>
                  <a:gd name="connsiteY29" fmla="*/ 3997322 h 5633118"/>
                  <a:gd name="connsiteX30" fmla="*/ 1918706 w 1918706"/>
                  <a:gd name="connsiteY30" fmla="*/ 4010476 h 5633118"/>
                  <a:gd name="connsiteX31" fmla="*/ 1918706 w 1918706"/>
                  <a:gd name="connsiteY31" fmla="*/ 4069228 h 5633118"/>
                  <a:gd name="connsiteX32" fmla="*/ 1918706 w 1918706"/>
                  <a:gd name="connsiteY32" fmla="*/ 4090156 h 5633118"/>
                  <a:gd name="connsiteX33" fmla="*/ 1918706 w 1918706"/>
                  <a:gd name="connsiteY33" fmla="*/ 4097931 h 5633118"/>
                  <a:gd name="connsiteX34" fmla="*/ 1918706 w 1918706"/>
                  <a:gd name="connsiteY34" fmla="*/ 4491829 h 5633118"/>
                  <a:gd name="connsiteX35" fmla="*/ 1918706 w 1918706"/>
                  <a:gd name="connsiteY35" fmla="*/ 4579284 h 5633118"/>
                  <a:gd name="connsiteX36" fmla="*/ 1918706 w 1918706"/>
                  <a:gd name="connsiteY36" fmla="*/ 4592438 h 5633118"/>
                  <a:gd name="connsiteX37" fmla="*/ 1918706 w 1918706"/>
                  <a:gd name="connsiteY37" fmla="*/ 5073791 h 5633118"/>
                  <a:gd name="connsiteX38" fmla="*/ 959355 w 1918706"/>
                  <a:gd name="connsiteY38" fmla="*/ 5633118 h 5633118"/>
                  <a:gd name="connsiteX39" fmla="*/ 0 w 1918706"/>
                  <a:gd name="connsiteY39" fmla="*/ 5073791 h 5633118"/>
                  <a:gd name="connsiteX40" fmla="*/ 0 w 1918706"/>
                  <a:gd name="connsiteY40" fmla="*/ 4592438 h 5633118"/>
                  <a:gd name="connsiteX41" fmla="*/ 0 w 1918706"/>
                  <a:gd name="connsiteY41" fmla="*/ 4579284 h 5633118"/>
                  <a:gd name="connsiteX42" fmla="*/ 0 w 1918706"/>
                  <a:gd name="connsiteY42" fmla="*/ 4491829 h 5633118"/>
                  <a:gd name="connsiteX43" fmla="*/ 0 w 1918706"/>
                  <a:gd name="connsiteY43" fmla="*/ 4097931 h 5633118"/>
                  <a:gd name="connsiteX44" fmla="*/ 0 w 1918706"/>
                  <a:gd name="connsiteY44" fmla="*/ 4090156 h 5633118"/>
                  <a:gd name="connsiteX45" fmla="*/ 0 w 1918706"/>
                  <a:gd name="connsiteY45" fmla="*/ 4069228 h 5633118"/>
                  <a:gd name="connsiteX46" fmla="*/ 0 w 1918706"/>
                  <a:gd name="connsiteY46" fmla="*/ 4010476 h 5633118"/>
                  <a:gd name="connsiteX47" fmla="*/ 0 w 1918706"/>
                  <a:gd name="connsiteY47" fmla="*/ 3997322 h 5633118"/>
                  <a:gd name="connsiteX48" fmla="*/ 0 w 1918706"/>
                  <a:gd name="connsiteY48" fmla="*/ 3595649 h 5633118"/>
                  <a:gd name="connsiteX49" fmla="*/ 0 w 1918706"/>
                  <a:gd name="connsiteY49" fmla="*/ 3587875 h 5633118"/>
                  <a:gd name="connsiteX50" fmla="*/ 0 w 1918706"/>
                  <a:gd name="connsiteY50" fmla="*/ 3574721 h 5633118"/>
                  <a:gd name="connsiteX51" fmla="*/ 0 w 1918706"/>
                  <a:gd name="connsiteY51" fmla="*/ 3515969 h 5633118"/>
                  <a:gd name="connsiteX52" fmla="*/ 0 w 1918706"/>
                  <a:gd name="connsiteY52" fmla="*/ 3508195 h 5633118"/>
                  <a:gd name="connsiteX53" fmla="*/ 0 w 1918706"/>
                  <a:gd name="connsiteY53" fmla="*/ 3487266 h 5633118"/>
                  <a:gd name="connsiteX54" fmla="*/ 0 w 1918706"/>
                  <a:gd name="connsiteY5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563054 h 5633118"/>
                  <a:gd name="connsiteX5" fmla="*/ 1918706 w 1918706"/>
                  <a:gd name="connsiteY5" fmla="*/ 1586524 h 5633118"/>
                  <a:gd name="connsiteX6" fmla="*/ 1918706 w 1918706"/>
                  <a:gd name="connsiteY6" fmla="*/ 1985655 h 5633118"/>
                  <a:gd name="connsiteX7" fmla="*/ 1918706 w 1918706"/>
                  <a:gd name="connsiteY7" fmla="*/ 2001351 h 5633118"/>
                  <a:gd name="connsiteX8" fmla="*/ 1918706 w 1918706"/>
                  <a:gd name="connsiteY8" fmla="*/ 2009125 h 5633118"/>
                  <a:gd name="connsiteX9" fmla="*/ 1918706 w 1918706"/>
                  <a:gd name="connsiteY9" fmla="*/ 2073109 h 5633118"/>
                  <a:gd name="connsiteX10" fmla="*/ 1918706 w 1918706"/>
                  <a:gd name="connsiteY10" fmla="*/ 2081031 h 5633118"/>
                  <a:gd name="connsiteX11" fmla="*/ 1918706 w 1918706"/>
                  <a:gd name="connsiteY11" fmla="*/ 2088805 h 5633118"/>
                  <a:gd name="connsiteX12" fmla="*/ 1918706 w 1918706"/>
                  <a:gd name="connsiteY12" fmla="*/ 2503632 h 5633118"/>
                  <a:gd name="connsiteX13" fmla="*/ 1918706 w 1918706"/>
                  <a:gd name="connsiteY13" fmla="*/ 2511407 h 5633118"/>
                  <a:gd name="connsiteX14" fmla="*/ 1918706 w 1918706"/>
                  <a:gd name="connsiteY14" fmla="*/ 2567616 h 5633118"/>
                  <a:gd name="connsiteX15" fmla="*/ 1918706 w 1918706"/>
                  <a:gd name="connsiteY15" fmla="*/ 2583313 h 5633118"/>
                  <a:gd name="connsiteX16" fmla="*/ 1918706 w 1918706"/>
                  <a:gd name="connsiteY16" fmla="*/ 2591087 h 5633118"/>
                  <a:gd name="connsiteX17" fmla="*/ 1918706 w 1918706"/>
                  <a:gd name="connsiteY17" fmla="*/ 2992759 h 5633118"/>
                  <a:gd name="connsiteX18" fmla="*/ 1918706 w 1918706"/>
                  <a:gd name="connsiteY18" fmla="*/ 3005914 h 5633118"/>
                  <a:gd name="connsiteX19" fmla="*/ 1918706 w 1918706"/>
                  <a:gd name="connsiteY19" fmla="*/ 3013688 h 5633118"/>
                  <a:gd name="connsiteX20" fmla="*/ 1918706 w 1918706"/>
                  <a:gd name="connsiteY20" fmla="*/ 3085594 h 5633118"/>
                  <a:gd name="connsiteX21" fmla="*/ 1918706 w 1918706"/>
                  <a:gd name="connsiteY21" fmla="*/ 3093368 h 5633118"/>
                  <a:gd name="connsiteX22" fmla="*/ 1918706 w 1918706"/>
                  <a:gd name="connsiteY22" fmla="*/ 3487266 h 5633118"/>
                  <a:gd name="connsiteX23" fmla="*/ 1918706 w 1918706"/>
                  <a:gd name="connsiteY23" fmla="*/ 3508195 h 5633118"/>
                  <a:gd name="connsiteX24" fmla="*/ 1918706 w 1918706"/>
                  <a:gd name="connsiteY24" fmla="*/ 3515969 h 5633118"/>
                  <a:gd name="connsiteX25" fmla="*/ 1918706 w 1918706"/>
                  <a:gd name="connsiteY25" fmla="*/ 3574721 h 5633118"/>
                  <a:gd name="connsiteX26" fmla="*/ 1918706 w 1918706"/>
                  <a:gd name="connsiteY26" fmla="*/ 3587875 h 5633118"/>
                  <a:gd name="connsiteX27" fmla="*/ 1918706 w 1918706"/>
                  <a:gd name="connsiteY27" fmla="*/ 3595649 h 5633118"/>
                  <a:gd name="connsiteX28" fmla="*/ 1918706 w 1918706"/>
                  <a:gd name="connsiteY28" fmla="*/ 3997322 h 5633118"/>
                  <a:gd name="connsiteX29" fmla="*/ 1918706 w 1918706"/>
                  <a:gd name="connsiteY29" fmla="*/ 4010476 h 5633118"/>
                  <a:gd name="connsiteX30" fmla="*/ 1918706 w 1918706"/>
                  <a:gd name="connsiteY30" fmla="*/ 4069228 h 5633118"/>
                  <a:gd name="connsiteX31" fmla="*/ 1918706 w 1918706"/>
                  <a:gd name="connsiteY31" fmla="*/ 4090156 h 5633118"/>
                  <a:gd name="connsiteX32" fmla="*/ 1918706 w 1918706"/>
                  <a:gd name="connsiteY32" fmla="*/ 4097931 h 5633118"/>
                  <a:gd name="connsiteX33" fmla="*/ 1918706 w 1918706"/>
                  <a:gd name="connsiteY33" fmla="*/ 4491829 h 5633118"/>
                  <a:gd name="connsiteX34" fmla="*/ 1918706 w 1918706"/>
                  <a:gd name="connsiteY34" fmla="*/ 4579284 h 5633118"/>
                  <a:gd name="connsiteX35" fmla="*/ 1918706 w 1918706"/>
                  <a:gd name="connsiteY35" fmla="*/ 4592438 h 5633118"/>
                  <a:gd name="connsiteX36" fmla="*/ 1918706 w 1918706"/>
                  <a:gd name="connsiteY36" fmla="*/ 5073791 h 5633118"/>
                  <a:gd name="connsiteX37" fmla="*/ 959355 w 1918706"/>
                  <a:gd name="connsiteY37" fmla="*/ 5633118 h 5633118"/>
                  <a:gd name="connsiteX38" fmla="*/ 0 w 1918706"/>
                  <a:gd name="connsiteY38" fmla="*/ 5073791 h 5633118"/>
                  <a:gd name="connsiteX39" fmla="*/ 0 w 1918706"/>
                  <a:gd name="connsiteY39" fmla="*/ 4592438 h 5633118"/>
                  <a:gd name="connsiteX40" fmla="*/ 0 w 1918706"/>
                  <a:gd name="connsiteY40" fmla="*/ 4579284 h 5633118"/>
                  <a:gd name="connsiteX41" fmla="*/ 0 w 1918706"/>
                  <a:gd name="connsiteY41" fmla="*/ 4491829 h 5633118"/>
                  <a:gd name="connsiteX42" fmla="*/ 0 w 1918706"/>
                  <a:gd name="connsiteY42" fmla="*/ 4097931 h 5633118"/>
                  <a:gd name="connsiteX43" fmla="*/ 0 w 1918706"/>
                  <a:gd name="connsiteY43" fmla="*/ 4090156 h 5633118"/>
                  <a:gd name="connsiteX44" fmla="*/ 0 w 1918706"/>
                  <a:gd name="connsiteY44" fmla="*/ 4069228 h 5633118"/>
                  <a:gd name="connsiteX45" fmla="*/ 0 w 1918706"/>
                  <a:gd name="connsiteY45" fmla="*/ 4010476 h 5633118"/>
                  <a:gd name="connsiteX46" fmla="*/ 0 w 1918706"/>
                  <a:gd name="connsiteY46" fmla="*/ 3997322 h 5633118"/>
                  <a:gd name="connsiteX47" fmla="*/ 0 w 1918706"/>
                  <a:gd name="connsiteY47" fmla="*/ 3595649 h 5633118"/>
                  <a:gd name="connsiteX48" fmla="*/ 0 w 1918706"/>
                  <a:gd name="connsiteY48" fmla="*/ 3587875 h 5633118"/>
                  <a:gd name="connsiteX49" fmla="*/ 0 w 1918706"/>
                  <a:gd name="connsiteY49" fmla="*/ 3574721 h 5633118"/>
                  <a:gd name="connsiteX50" fmla="*/ 0 w 1918706"/>
                  <a:gd name="connsiteY50" fmla="*/ 3515969 h 5633118"/>
                  <a:gd name="connsiteX51" fmla="*/ 0 w 1918706"/>
                  <a:gd name="connsiteY51" fmla="*/ 3508195 h 5633118"/>
                  <a:gd name="connsiteX52" fmla="*/ 0 w 1918706"/>
                  <a:gd name="connsiteY52" fmla="*/ 3487266 h 5633118"/>
                  <a:gd name="connsiteX53" fmla="*/ 0 w 1918706"/>
                  <a:gd name="connsiteY5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586524 h 5633118"/>
                  <a:gd name="connsiteX5" fmla="*/ 1918706 w 1918706"/>
                  <a:gd name="connsiteY5" fmla="*/ 1985655 h 5633118"/>
                  <a:gd name="connsiteX6" fmla="*/ 1918706 w 1918706"/>
                  <a:gd name="connsiteY6" fmla="*/ 2001351 h 5633118"/>
                  <a:gd name="connsiteX7" fmla="*/ 1918706 w 1918706"/>
                  <a:gd name="connsiteY7" fmla="*/ 2009125 h 5633118"/>
                  <a:gd name="connsiteX8" fmla="*/ 1918706 w 1918706"/>
                  <a:gd name="connsiteY8" fmla="*/ 2073109 h 5633118"/>
                  <a:gd name="connsiteX9" fmla="*/ 1918706 w 1918706"/>
                  <a:gd name="connsiteY9" fmla="*/ 2081031 h 5633118"/>
                  <a:gd name="connsiteX10" fmla="*/ 1918706 w 1918706"/>
                  <a:gd name="connsiteY10" fmla="*/ 2088805 h 5633118"/>
                  <a:gd name="connsiteX11" fmla="*/ 1918706 w 1918706"/>
                  <a:gd name="connsiteY11" fmla="*/ 2503632 h 5633118"/>
                  <a:gd name="connsiteX12" fmla="*/ 1918706 w 1918706"/>
                  <a:gd name="connsiteY12" fmla="*/ 2511407 h 5633118"/>
                  <a:gd name="connsiteX13" fmla="*/ 1918706 w 1918706"/>
                  <a:gd name="connsiteY13" fmla="*/ 2567616 h 5633118"/>
                  <a:gd name="connsiteX14" fmla="*/ 1918706 w 1918706"/>
                  <a:gd name="connsiteY14" fmla="*/ 2583313 h 5633118"/>
                  <a:gd name="connsiteX15" fmla="*/ 1918706 w 1918706"/>
                  <a:gd name="connsiteY15" fmla="*/ 2591087 h 5633118"/>
                  <a:gd name="connsiteX16" fmla="*/ 1918706 w 1918706"/>
                  <a:gd name="connsiteY16" fmla="*/ 2992759 h 5633118"/>
                  <a:gd name="connsiteX17" fmla="*/ 1918706 w 1918706"/>
                  <a:gd name="connsiteY17" fmla="*/ 3005914 h 5633118"/>
                  <a:gd name="connsiteX18" fmla="*/ 1918706 w 1918706"/>
                  <a:gd name="connsiteY18" fmla="*/ 3013688 h 5633118"/>
                  <a:gd name="connsiteX19" fmla="*/ 1918706 w 1918706"/>
                  <a:gd name="connsiteY19" fmla="*/ 3085594 h 5633118"/>
                  <a:gd name="connsiteX20" fmla="*/ 1918706 w 1918706"/>
                  <a:gd name="connsiteY20" fmla="*/ 3093368 h 5633118"/>
                  <a:gd name="connsiteX21" fmla="*/ 1918706 w 1918706"/>
                  <a:gd name="connsiteY21" fmla="*/ 3487266 h 5633118"/>
                  <a:gd name="connsiteX22" fmla="*/ 1918706 w 1918706"/>
                  <a:gd name="connsiteY22" fmla="*/ 3508195 h 5633118"/>
                  <a:gd name="connsiteX23" fmla="*/ 1918706 w 1918706"/>
                  <a:gd name="connsiteY23" fmla="*/ 3515969 h 5633118"/>
                  <a:gd name="connsiteX24" fmla="*/ 1918706 w 1918706"/>
                  <a:gd name="connsiteY24" fmla="*/ 3574721 h 5633118"/>
                  <a:gd name="connsiteX25" fmla="*/ 1918706 w 1918706"/>
                  <a:gd name="connsiteY25" fmla="*/ 3587875 h 5633118"/>
                  <a:gd name="connsiteX26" fmla="*/ 1918706 w 1918706"/>
                  <a:gd name="connsiteY26" fmla="*/ 3595649 h 5633118"/>
                  <a:gd name="connsiteX27" fmla="*/ 1918706 w 1918706"/>
                  <a:gd name="connsiteY27" fmla="*/ 3997322 h 5633118"/>
                  <a:gd name="connsiteX28" fmla="*/ 1918706 w 1918706"/>
                  <a:gd name="connsiteY28" fmla="*/ 4010476 h 5633118"/>
                  <a:gd name="connsiteX29" fmla="*/ 1918706 w 1918706"/>
                  <a:gd name="connsiteY29" fmla="*/ 4069228 h 5633118"/>
                  <a:gd name="connsiteX30" fmla="*/ 1918706 w 1918706"/>
                  <a:gd name="connsiteY30" fmla="*/ 4090156 h 5633118"/>
                  <a:gd name="connsiteX31" fmla="*/ 1918706 w 1918706"/>
                  <a:gd name="connsiteY31" fmla="*/ 4097931 h 5633118"/>
                  <a:gd name="connsiteX32" fmla="*/ 1918706 w 1918706"/>
                  <a:gd name="connsiteY32" fmla="*/ 4491829 h 5633118"/>
                  <a:gd name="connsiteX33" fmla="*/ 1918706 w 1918706"/>
                  <a:gd name="connsiteY33" fmla="*/ 4579284 h 5633118"/>
                  <a:gd name="connsiteX34" fmla="*/ 1918706 w 1918706"/>
                  <a:gd name="connsiteY34" fmla="*/ 4592438 h 5633118"/>
                  <a:gd name="connsiteX35" fmla="*/ 1918706 w 1918706"/>
                  <a:gd name="connsiteY35" fmla="*/ 5073791 h 5633118"/>
                  <a:gd name="connsiteX36" fmla="*/ 959355 w 1918706"/>
                  <a:gd name="connsiteY36" fmla="*/ 5633118 h 5633118"/>
                  <a:gd name="connsiteX37" fmla="*/ 0 w 1918706"/>
                  <a:gd name="connsiteY37" fmla="*/ 5073791 h 5633118"/>
                  <a:gd name="connsiteX38" fmla="*/ 0 w 1918706"/>
                  <a:gd name="connsiteY38" fmla="*/ 4592438 h 5633118"/>
                  <a:gd name="connsiteX39" fmla="*/ 0 w 1918706"/>
                  <a:gd name="connsiteY39" fmla="*/ 4579284 h 5633118"/>
                  <a:gd name="connsiteX40" fmla="*/ 0 w 1918706"/>
                  <a:gd name="connsiteY40" fmla="*/ 4491829 h 5633118"/>
                  <a:gd name="connsiteX41" fmla="*/ 0 w 1918706"/>
                  <a:gd name="connsiteY41" fmla="*/ 4097931 h 5633118"/>
                  <a:gd name="connsiteX42" fmla="*/ 0 w 1918706"/>
                  <a:gd name="connsiteY42" fmla="*/ 4090156 h 5633118"/>
                  <a:gd name="connsiteX43" fmla="*/ 0 w 1918706"/>
                  <a:gd name="connsiteY43" fmla="*/ 4069228 h 5633118"/>
                  <a:gd name="connsiteX44" fmla="*/ 0 w 1918706"/>
                  <a:gd name="connsiteY44" fmla="*/ 4010476 h 5633118"/>
                  <a:gd name="connsiteX45" fmla="*/ 0 w 1918706"/>
                  <a:gd name="connsiteY45" fmla="*/ 3997322 h 5633118"/>
                  <a:gd name="connsiteX46" fmla="*/ 0 w 1918706"/>
                  <a:gd name="connsiteY46" fmla="*/ 3595649 h 5633118"/>
                  <a:gd name="connsiteX47" fmla="*/ 0 w 1918706"/>
                  <a:gd name="connsiteY47" fmla="*/ 3587875 h 5633118"/>
                  <a:gd name="connsiteX48" fmla="*/ 0 w 1918706"/>
                  <a:gd name="connsiteY48" fmla="*/ 3574721 h 5633118"/>
                  <a:gd name="connsiteX49" fmla="*/ 0 w 1918706"/>
                  <a:gd name="connsiteY49" fmla="*/ 3515969 h 5633118"/>
                  <a:gd name="connsiteX50" fmla="*/ 0 w 1918706"/>
                  <a:gd name="connsiteY50" fmla="*/ 3508195 h 5633118"/>
                  <a:gd name="connsiteX51" fmla="*/ 0 w 1918706"/>
                  <a:gd name="connsiteY51" fmla="*/ 3487266 h 5633118"/>
                  <a:gd name="connsiteX52" fmla="*/ 0 w 1918706"/>
                  <a:gd name="connsiteY5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985655 h 5633118"/>
                  <a:gd name="connsiteX5" fmla="*/ 1918706 w 1918706"/>
                  <a:gd name="connsiteY5" fmla="*/ 2001351 h 5633118"/>
                  <a:gd name="connsiteX6" fmla="*/ 1918706 w 1918706"/>
                  <a:gd name="connsiteY6" fmla="*/ 2009125 h 5633118"/>
                  <a:gd name="connsiteX7" fmla="*/ 1918706 w 1918706"/>
                  <a:gd name="connsiteY7" fmla="*/ 2073109 h 5633118"/>
                  <a:gd name="connsiteX8" fmla="*/ 1918706 w 1918706"/>
                  <a:gd name="connsiteY8" fmla="*/ 2081031 h 5633118"/>
                  <a:gd name="connsiteX9" fmla="*/ 1918706 w 1918706"/>
                  <a:gd name="connsiteY9" fmla="*/ 2088805 h 5633118"/>
                  <a:gd name="connsiteX10" fmla="*/ 1918706 w 1918706"/>
                  <a:gd name="connsiteY10" fmla="*/ 2503632 h 5633118"/>
                  <a:gd name="connsiteX11" fmla="*/ 1918706 w 1918706"/>
                  <a:gd name="connsiteY11" fmla="*/ 2511407 h 5633118"/>
                  <a:gd name="connsiteX12" fmla="*/ 1918706 w 1918706"/>
                  <a:gd name="connsiteY12" fmla="*/ 2567616 h 5633118"/>
                  <a:gd name="connsiteX13" fmla="*/ 1918706 w 1918706"/>
                  <a:gd name="connsiteY13" fmla="*/ 2583313 h 5633118"/>
                  <a:gd name="connsiteX14" fmla="*/ 1918706 w 1918706"/>
                  <a:gd name="connsiteY14" fmla="*/ 2591087 h 5633118"/>
                  <a:gd name="connsiteX15" fmla="*/ 1918706 w 1918706"/>
                  <a:gd name="connsiteY15" fmla="*/ 2992759 h 5633118"/>
                  <a:gd name="connsiteX16" fmla="*/ 1918706 w 1918706"/>
                  <a:gd name="connsiteY16" fmla="*/ 3005914 h 5633118"/>
                  <a:gd name="connsiteX17" fmla="*/ 1918706 w 1918706"/>
                  <a:gd name="connsiteY17" fmla="*/ 3013688 h 5633118"/>
                  <a:gd name="connsiteX18" fmla="*/ 1918706 w 1918706"/>
                  <a:gd name="connsiteY18" fmla="*/ 3085594 h 5633118"/>
                  <a:gd name="connsiteX19" fmla="*/ 1918706 w 1918706"/>
                  <a:gd name="connsiteY19" fmla="*/ 3093368 h 5633118"/>
                  <a:gd name="connsiteX20" fmla="*/ 1918706 w 1918706"/>
                  <a:gd name="connsiteY20" fmla="*/ 3487266 h 5633118"/>
                  <a:gd name="connsiteX21" fmla="*/ 1918706 w 1918706"/>
                  <a:gd name="connsiteY21" fmla="*/ 3508195 h 5633118"/>
                  <a:gd name="connsiteX22" fmla="*/ 1918706 w 1918706"/>
                  <a:gd name="connsiteY22" fmla="*/ 3515969 h 5633118"/>
                  <a:gd name="connsiteX23" fmla="*/ 1918706 w 1918706"/>
                  <a:gd name="connsiteY23" fmla="*/ 3574721 h 5633118"/>
                  <a:gd name="connsiteX24" fmla="*/ 1918706 w 1918706"/>
                  <a:gd name="connsiteY24" fmla="*/ 3587875 h 5633118"/>
                  <a:gd name="connsiteX25" fmla="*/ 1918706 w 1918706"/>
                  <a:gd name="connsiteY25" fmla="*/ 3595649 h 5633118"/>
                  <a:gd name="connsiteX26" fmla="*/ 1918706 w 1918706"/>
                  <a:gd name="connsiteY26" fmla="*/ 3997322 h 5633118"/>
                  <a:gd name="connsiteX27" fmla="*/ 1918706 w 1918706"/>
                  <a:gd name="connsiteY27" fmla="*/ 4010476 h 5633118"/>
                  <a:gd name="connsiteX28" fmla="*/ 1918706 w 1918706"/>
                  <a:gd name="connsiteY28" fmla="*/ 4069228 h 5633118"/>
                  <a:gd name="connsiteX29" fmla="*/ 1918706 w 1918706"/>
                  <a:gd name="connsiteY29" fmla="*/ 4090156 h 5633118"/>
                  <a:gd name="connsiteX30" fmla="*/ 1918706 w 1918706"/>
                  <a:gd name="connsiteY30" fmla="*/ 4097931 h 5633118"/>
                  <a:gd name="connsiteX31" fmla="*/ 1918706 w 1918706"/>
                  <a:gd name="connsiteY31" fmla="*/ 4491829 h 5633118"/>
                  <a:gd name="connsiteX32" fmla="*/ 1918706 w 1918706"/>
                  <a:gd name="connsiteY32" fmla="*/ 4579284 h 5633118"/>
                  <a:gd name="connsiteX33" fmla="*/ 1918706 w 1918706"/>
                  <a:gd name="connsiteY33" fmla="*/ 4592438 h 5633118"/>
                  <a:gd name="connsiteX34" fmla="*/ 1918706 w 1918706"/>
                  <a:gd name="connsiteY34" fmla="*/ 5073791 h 5633118"/>
                  <a:gd name="connsiteX35" fmla="*/ 959355 w 1918706"/>
                  <a:gd name="connsiteY35" fmla="*/ 5633118 h 5633118"/>
                  <a:gd name="connsiteX36" fmla="*/ 0 w 1918706"/>
                  <a:gd name="connsiteY36" fmla="*/ 5073791 h 5633118"/>
                  <a:gd name="connsiteX37" fmla="*/ 0 w 1918706"/>
                  <a:gd name="connsiteY37" fmla="*/ 4592438 h 5633118"/>
                  <a:gd name="connsiteX38" fmla="*/ 0 w 1918706"/>
                  <a:gd name="connsiteY38" fmla="*/ 4579284 h 5633118"/>
                  <a:gd name="connsiteX39" fmla="*/ 0 w 1918706"/>
                  <a:gd name="connsiteY39" fmla="*/ 4491829 h 5633118"/>
                  <a:gd name="connsiteX40" fmla="*/ 0 w 1918706"/>
                  <a:gd name="connsiteY40" fmla="*/ 4097931 h 5633118"/>
                  <a:gd name="connsiteX41" fmla="*/ 0 w 1918706"/>
                  <a:gd name="connsiteY41" fmla="*/ 4090156 h 5633118"/>
                  <a:gd name="connsiteX42" fmla="*/ 0 w 1918706"/>
                  <a:gd name="connsiteY42" fmla="*/ 4069228 h 5633118"/>
                  <a:gd name="connsiteX43" fmla="*/ 0 w 1918706"/>
                  <a:gd name="connsiteY43" fmla="*/ 4010476 h 5633118"/>
                  <a:gd name="connsiteX44" fmla="*/ 0 w 1918706"/>
                  <a:gd name="connsiteY44" fmla="*/ 3997322 h 5633118"/>
                  <a:gd name="connsiteX45" fmla="*/ 0 w 1918706"/>
                  <a:gd name="connsiteY45" fmla="*/ 3595649 h 5633118"/>
                  <a:gd name="connsiteX46" fmla="*/ 0 w 1918706"/>
                  <a:gd name="connsiteY46" fmla="*/ 3587875 h 5633118"/>
                  <a:gd name="connsiteX47" fmla="*/ 0 w 1918706"/>
                  <a:gd name="connsiteY47" fmla="*/ 3574721 h 5633118"/>
                  <a:gd name="connsiteX48" fmla="*/ 0 w 1918706"/>
                  <a:gd name="connsiteY48" fmla="*/ 3515969 h 5633118"/>
                  <a:gd name="connsiteX49" fmla="*/ 0 w 1918706"/>
                  <a:gd name="connsiteY49" fmla="*/ 3508195 h 5633118"/>
                  <a:gd name="connsiteX50" fmla="*/ 0 w 1918706"/>
                  <a:gd name="connsiteY50" fmla="*/ 3487266 h 5633118"/>
                  <a:gd name="connsiteX51" fmla="*/ 0 w 1918706"/>
                  <a:gd name="connsiteY5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09125 h 5633118"/>
                  <a:gd name="connsiteX6" fmla="*/ 1918706 w 1918706"/>
                  <a:gd name="connsiteY6" fmla="*/ 2073109 h 5633118"/>
                  <a:gd name="connsiteX7" fmla="*/ 1918706 w 1918706"/>
                  <a:gd name="connsiteY7" fmla="*/ 2081031 h 5633118"/>
                  <a:gd name="connsiteX8" fmla="*/ 1918706 w 1918706"/>
                  <a:gd name="connsiteY8" fmla="*/ 2088805 h 5633118"/>
                  <a:gd name="connsiteX9" fmla="*/ 1918706 w 1918706"/>
                  <a:gd name="connsiteY9" fmla="*/ 2503632 h 5633118"/>
                  <a:gd name="connsiteX10" fmla="*/ 1918706 w 1918706"/>
                  <a:gd name="connsiteY10" fmla="*/ 2511407 h 5633118"/>
                  <a:gd name="connsiteX11" fmla="*/ 1918706 w 1918706"/>
                  <a:gd name="connsiteY11" fmla="*/ 2567616 h 5633118"/>
                  <a:gd name="connsiteX12" fmla="*/ 1918706 w 1918706"/>
                  <a:gd name="connsiteY12" fmla="*/ 2583313 h 5633118"/>
                  <a:gd name="connsiteX13" fmla="*/ 1918706 w 1918706"/>
                  <a:gd name="connsiteY13" fmla="*/ 2591087 h 5633118"/>
                  <a:gd name="connsiteX14" fmla="*/ 1918706 w 1918706"/>
                  <a:gd name="connsiteY14" fmla="*/ 2992759 h 5633118"/>
                  <a:gd name="connsiteX15" fmla="*/ 1918706 w 1918706"/>
                  <a:gd name="connsiteY15" fmla="*/ 3005914 h 5633118"/>
                  <a:gd name="connsiteX16" fmla="*/ 1918706 w 1918706"/>
                  <a:gd name="connsiteY16" fmla="*/ 3013688 h 5633118"/>
                  <a:gd name="connsiteX17" fmla="*/ 1918706 w 1918706"/>
                  <a:gd name="connsiteY17" fmla="*/ 3085594 h 5633118"/>
                  <a:gd name="connsiteX18" fmla="*/ 1918706 w 1918706"/>
                  <a:gd name="connsiteY18" fmla="*/ 3093368 h 5633118"/>
                  <a:gd name="connsiteX19" fmla="*/ 1918706 w 1918706"/>
                  <a:gd name="connsiteY19" fmla="*/ 3487266 h 5633118"/>
                  <a:gd name="connsiteX20" fmla="*/ 1918706 w 1918706"/>
                  <a:gd name="connsiteY20" fmla="*/ 3508195 h 5633118"/>
                  <a:gd name="connsiteX21" fmla="*/ 1918706 w 1918706"/>
                  <a:gd name="connsiteY21" fmla="*/ 3515969 h 5633118"/>
                  <a:gd name="connsiteX22" fmla="*/ 1918706 w 1918706"/>
                  <a:gd name="connsiteY22" fmla="*/ 3574721 h 5633118"/>
                  <a:gd name="connsiteX23" fmla="*/ 1918706 w 1918706"/>
                  <a:gd name="connsiteY23" fmla="*/ 3587875 h 5633118"/>
                  <a:gd name="connsiteX24" fmla="*/ 1918706 w 1918706"/>
                  <a:gd name="connsiteY24" fmla="*/ 3595649 h 5633118"/>
                  <a:gd name="connsiteX25" fmla="*/ 1918706 w 1918706"/>
                  <a:gd name="connsiteY25" fmla="*/ 3997322 h 5633118"/>
                  <a:gd name="connsiteX26" fmla="*/ 1918706 w 1918706"/>
                  <a:gd name="connsiteY26" fmla="*/ 4010476 h 5633118"/>
                  <a:gd name="connsiteX27" fmla="*/ 1918706 w 1918706"/>
                  <a:gd name="connsiteY27" fmla="*/ 4069228 h 5633118"/>
                  <a:gd name="connsiteX28" fmla="*/ 1918706 w 1918706"/>
                  <a:gd name="connsiteY28" fmla="*/ 4090156 h 5633118"/>
                  <a:gd name="connsiteX29" fmla="*/ 1918706 w 1918706"/>
                  <a:gd name="connsiteY29" fmla="*/ 4097931 h 5633118"/>
                  <a:gd name="connsiteX30" fmla="*/ 1918706 w 1918706"/>
                  <a:gd name="connsiteY30" fmla="*/ 4491829 h 5633118"/>
                  <a:gd name="connsiteX31" fmla="*/ 1918706 w 1918706"/>
                  <a:gd name="connsiteY31" fmla="*/ 4579284 h 5633118"/>
                  <a:gd name="connsiteX32" fmla="*/ 1918706 w 1918706"/>
                  <a:gd name="connsiteY32" fmla="*/ 4592438 h 5633118"/>
                  <a:gd name="connsiteX33" fmla="*/ 1918706 w 1918706"/>
                  <a:gd name="connsiteY33" fmla="*/ 5073791 h 5633118"/>
                  <a:gd name="connsiteX34" fmla="*/ 959355 w 1918706"/>
                  <a:gd name="connsiteY34" fmla="*/ 5633118 h 5633118"/>
                  <a:gd name="connsiteX35" fmla="*/ 0 w 1918706"/>
                  <a:gd name="connsiteY35" fmla="*/ 5073791 h 5633118"/>
                  <a:gd name="connsiteX36" fmla="*/ 0 w 1918706"/>
                  <a:gd name="connsiteY36" fmla="*/ 4592438 h 5633118"/>
                  <a:gd name="connsiteX37" fmla="*/ 0 w 1918706"/>
                  <a:gd name="connsiteY37" fmla="*/ 4579284 h 5633118"/>
                  <a:gd name="connsiteX38" fmla="*/ 0 w 1918706"/>
                  <a:gd name="connsiteY38" fmla="*/ 4491829 h 5633118"/>
                  <a:gd name="connsiteX39" fmla="*/ 0 w 1918706"/>
                  <a:gd name="connsiteY39" fmla="*/ 4097931 h 5633118"/>
                  <a:gd name="connsiteX40" fmla="*/ 0 w 1918706"/>
                  <a:gd name="connsiteY40" fmla="*/ 4090156 h 5633118"/>
                  <a:gd name="connsiteX41" fmla="*/ 0 w 1918706"/>
                  <a:gd name="connsiteY41" fmla="*/ 4069228 h 5633118"/>
                  <a:gd name="connsiteX42" fmla="*/ 0 w 1918706"/>
                  <a:gd name="connsiteY42" fmla="*/ 4010476 h 5633118"/>
                  <a:gd name="connsiteX43" fmla="*/ 0 w 1918706"/>
                  <a:gd name="connsiteY43" fmla="*/ 3997322 h 5633118"/>
                  <a:gd name="connsiteX44" fmla="*/ 0 w 1918706"/>
                  <a:gd name="connsiteY44" fmla="*/ 3595649 h 5633118"/>
                  <a:gd name="connsiteX45" fmla="*/ 0 w 1918706"/>
                  <a:gd name="connsiteY45" fmla="*/ 3587875 h 5633118"/>
                  <a:gd name="connsiteX46" fmla="*/ 0 w 1918706"/>
                  <a:gd name="connsiteY46" fmla="*/ 3574721 h 5633118"/>
                  <a:gd name="connsiteX47" fmla="*/ 0 w 1918706"/>
                  <a:gd name="connsiteY47" fmla="*/ 3515969 h 5633118"/>
                  <a:gd name="connsiteX48" fmla="*/ 0 w 1918706"/>
                  <a:gd name="connsiteY48" fmla="*/ 3508195 h 5633118"/>
                  <a:gd name="connsiteX49" fmla="*/ 0 w 1918706"/>
                  <a:gd name="connsiteY49" fmla="*/ 3487266 h 5633118"/>
                  <a:gd name="connsiteX50" fmla="*/ 0 w 1918706"/>
                  <a:gd name="connsiteY5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73109 h 5633118"/>
                  <a:gd name="connsiteX6" fmla="*/ 1918706 w 1918706"/>
                  <a:gd name="connsiteY6" fmla="*/ 2081031 h 5633118"/>
                  <a:gd name="connsiteX7" fmla="*/ 1918706 w 1918706"/>
                  <a:gd name="connsiteY7" fmla="*/ 2088805 h 5633118"/>
                  <a:gd name="connsiteX8" fmla="*/ 1918706 w 1918706"/>
                  <a:gd name="connsiteY8" fmla="*/ 2503632 h 5633118"/>
                  <a:gd name="connsiteX9" fmla="*/ 1918706 w 1918706"/>
                  <a:gd name="connsiteY9" fmla="*/ 2511407 h 5633118"/>
                  <a:gd name="connsiteX10" fmla="*/ 1918706 w 1918706"/>
                  <a:gd name="connsiteY10" fmla="*/ 2567616 h 5633118"/>
                  <a:gd name="connsiteX11" fmla="*/ 1918706 w 1918706"/>
                  <a:gd name="connsiteY11" fmla="*/ 2583313 h 5633118"/>
                  <a:gd name="connsiteX12" fmla="*/ 1918706 w 1918706"/>
                  <a:gd name="connsiteY12" fmla="*/ 2591087 h 5633118"/>
                  <a:gd name="connsiteX13" fmla="*/ 1918706 w 1918706"/>
                  <a:gd name="connsiteY13" fmla="*/ 2992759 h 5633118"/>
                  <a:gd name="connsiteX14" fmla="*/ 1918706 w 1918706"/>
                  <a:gd name="connsiteY14" fmla="*/ 3005914 h 5633118"/>
                  <a:gd name="connsiteX15" fmla="*/ 1918706 w 1918706"/>
                  <a:gd name="connsiteY15" fmla="*/ 3013688 h 5633118"/>
                  <a:gd name="connsiteX16" fmla="*/ 1918706 w 1918706"/>
                  <a:gd name="connsiteY16" fmla="*/ 3085594 h 5633118"/>
                  <a:gd name="connsiteX17" fmla="*/ 1918706 w 1918706"/>
                  <a:gd name="connsiteY17" fmla="*/ 3093368 h 5633118"/>
                  <a:gd name="connsiteX18" fmla="*/ 1918706 w 1918706"/>
                  <a:gd name="connsiteY18" fmla="*/ 3487266 h 5633118"/>
                  <a:gd name="connsiteX19" fmla="*/ 1918706 w 1918706"/>
                  <a:gd name="connsiteY19" fmla="*/ 3508195 h 5633118"/>
                  <a:gd name="connsiteX20" fmla="*/ 1918706 w 1918706"/>
                  <a:gd name="connsiteY20" fmla="*/ 3515969 h 5633118"/>
                  <a:gd name="connsiteX21" fmla="*/ 1918706 w 1918706"/>
                  <a:gd name="connsiteY21" fmla="*/ 3574721 h 5633118"/>
                  <a:gd name="connsiteX22" fmla="*/ 1918706 w 1918706"/>
                  <a:gd name="connsiteY22" fmla="*/ 3587875 h 5633118"/>
                  <a:gd name="connsiteX23" fmla="*/ 1918706 w 1918706"/>
                  <a:gd name="connsiteY23" fmla="*/ 3595649 h 5633118"/>
                  <a:gd name="connsiteX24" fmla="*/ 1918706 w 1918706"/>
                  <a:gd name="connsiteY24" fmla="*/ 3997322 h 5633118"/>
                  <a:gd name="connsiteX25" fmla="*/ 1918706 w 1918706"/>
                  <a:gd name="connsiteY25" fmla="*/ 4010476 h 5633118"/>
                  <a:gd name="connsiteX26" fmla="*/ 1918706 w 1918706"/>
                  <a:gd name="connsiteY26" fmla="*/ 4069228 h 5633118"/>
                  <a:gd name="connsiteX27" fmla="*/ 1918706 w 1918706"/>
                  <a:gd name="connsiteY27" fmla="*/ 4090156 h 5633118"/>
                  <a:gd name="connsiteX28" fmla="*/ 1918706 w 1918706"/>
                  <a:gd name="connsiteY28" fmla="*/ 4097931 h 5633118"/>
                  <a:gd name="connsiteX29" fmla="*/ 1918706 w 1918706"/>
                  <a:gd name="connsiteY29" fmla="*/ 4491829 h 5633118"/>
                  <a:gd name="connsiteX30" fmla="*/ 1918706 w 1918706"/>
                  <a:gd name="connsiteY30" fmla="*/ 4579284 h 5633118"/>
                  <a:gd name="connsiteX31" fmla="*/ 1918706 w 1918706"/>
                  <a:gd name="connsiteY31" fmla="*/ 4592438 h 5633118"/>
                  <a:gd name="connsiteX32" fmla="*/ 1918706 w 1918706"/>
                  <a:gd name="connsiteY32" fmla="*/ 5073791 h 5633118"/>
                  <a:gd name="connsiteX33" fmla="*/ 959355 w 1918706"/>
                  <a:gd name="connsiteY33" fmla="*/ 5633118 h 5633118"/>
                  <a:gd name="connsiteX34" fmla="*/ 0 w 1918706"/>
                  <a:gd name="connsiteY34" fmla="*/ 5073791 h 5633118"/>
                  <a:gd name="connsiteX35" fmla="*/ 0 w 1918706"/>
                  <a:gd name="connsiteY35" fmla="*/ 4592438 h 5633118"/>
                  <a:gd name="connsiteX36" fmla="*/ 0 w 1918706"/>
                  <a:gd name="connsiteY36" fmla="*/ 4579284 h 5633118"/>
                  <a:gd name="connsiteX37" fmla="*/ 0 w 1918706"/>
                  <a:gd name="connsiteY37" fmla="*/ 4491829 h 5633118"/>
                  <a:gd name="connsiteX38" fmla="*/ 0 w 1918706"/>
                  <a:gd name="connsiteY38" fmla="*/ 4097931 h 5633118"/>
                  <a:gd name="connsiteX39" fmla="*/ 0 w 1918706"/>
                  <a:gd name="connsiteY39" fmla="*/ 4090156 h 5633118"/>
                  <a:gd name="connsiteX40" fmla="*/ 0 w 1918706"/>
                  <a:gd name="connsiteY40" fmla="*/ 4069228 h 5633118"/>
                  <a:gd name="connsiteX41" fmla="*/ 0 w 1918706"/>
                  <a:gd name="connsiteY41" fmla="*/ 4010476 h 5633118"/>
                  <a:gd name="connsiteX42" fmla="*/ 0 w 1918706"/>
                  <a:gd name="connsiteY42" fmla="*/ 3997322 h 5633118"/>
                  <a:gd name="connsiteX43" fmla="*/ 0 w 1918706"/>
                  <a:gd name="connsiteY43" fmla="*/ 3595649 h 5633118"/>
                  <a:gd name="connsiteX44" fmla="*/ 0 w 1918706"/>
                  <a:gd name="connsiteY44" fmla="*/ 3587875 h 5633118"/>
                  <a:gd name="connsiteX45" fmla="*/ 0 w 1918706"/>
                  <a:gd name="connsiteY45" fmla="*/ 3574721 h 5633118"/>
                  <a:gd name="connsiteX46" fmla="*/ 0 w 1918706"/>
                  <a:gd name="connsiteY46" fmla="*/ 3515969 h 5633118"/>
                  <a:gd name="connsiteX47" fmla="*/ 0 w 1918706"/>
                  <a:gd name="connsiteY47" fmla="*/ 3508195 h 5633118"/>
                  <a:gd name="connsiteX48" fmla="*/ 0 w 1918706"/>
                  <a:gd name="connsiteY48" fmla="*/ 3487266 h 5633118"/>
                  <a:gd name="connsiteX49" fmla="*/ 0 w 1918706"/>
                  <a:gd name="connsiteY4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73109 h 5633118"/>
                  <a:gd name="connsiteX5" fmla="*/ 1918706 w 1918706"/>
                  <a:gd name="connsiteY5" fmla="*/ 2081031 h 5633118"/>
                  <a:gd name="connsiteX6" fmla="*/ 1918706 w 1918706"/>
                  <a:gd name="connsiteY6" fmla="*/ 2088805 h 5633118"/>
                  <a:gd name="connsiteX7" fmla="*/ 1918706 w 1918706"/>
                  <a:gd name="connsiteY7" fmla="*/ 2503632 h 5633118"/>
                  <a:gd name="connsiteX8" fmla="*/ 1918706 w 1918706"/>
                  <a:gd name="connsiteY8" fmla="*/ 2511407 h 5633118"/>
                  <a:gd name="connsiteX9" fmla="*/ 1918706 w 1918706"/>
                  <a:gd name="connsiteY9" fmla="*/ 2567616 h 5633118"/>
                  <a:gd name="connsiteX10" fmla="*/ 1918706 w 1918706"/>
                  <a:gd name="connsiteY10" fmla="*/ 2583313 h 5633118"/>
                  <a:gd name="connsiteX11" fmla="*/ 1918706 w 1918706"/>
                  <a:gd name="connsiteY11" fmla="*/ 2591087 h 5633118"/>
                  <a:gd name="connsiteX12" fmla="*/ 1918706 w 1918706"/>
                  <a:gd name="connsiteY12" fmla="*/ 2992759 h 5633118"/>
                  <a:gd name="connsiteX13" fmla="*/ 1918706 w 1918706"/>
                  <a:gd name="connsiteY13" fmla="*/ 3005914 h 5633118"/>
                  <a:gd name="connsiteX14" fmla="*/ 1918706 w 1918706"/>
                  <a:gd name="connsiteY14" fmla="*/ 3013688 h 5633118"/>
                  <a:gd name="connsiteX15" fmla="*/ 1918706 w 1918706"/>
                  <a:gd name="connsiteY15" fmla="*/ 3085594 h 5633118"/>
                  <a:gd name="connsiteX16" fmla="*/ 1918706 w 1918706"/>
                  <a:gd name="connsiteY16" fmla="*/ 3093368 h 5633118"/>
                  <a:gd name="connsiteX17" fmla="*/ 1918706 w 1918706"/>
                  <a:gd name="connsiteY17" fmla="*/ 3487266 h 5633118"/>
                  <a:gd name="connsiteX18" fmla="*/ 1918706 w 1918706"/>
                  <a:gd name="connsiteY18" fmla="*/ 3508195 h 5633118"/>
                  <a:gd name="connsiteX19" fmla="*/ 1918706 w 1918706"/>
                  <a:gd name="connsiteY19" fmla="*/ 3515969 h 5633118"/>
                  <a:gd name="connsiteX20" fmla="*/ 1918706 w 1918706"/>
                  <a:gd name="connsiteY20" fmla="*/ 3574721 h 5633118"/>
                  <a:gd name="connsiteX21" fmla="*/ 1918706 w 1918706"/>
                  <a:gd name="connsiteY21" fmla="*/ 3587875 h 5633118"/>
                  <a:gd name="connsiteX22" fmla="*/ 1918706 w 1918706"/>
                  <a:gd name="connsiteY22" fmla="*/ 3595649 h 5633118"/>
                  <a:gd name="connsiteX23" fmla="*/ 1918706 w 1918706"/>
                  <a:gd name="connsiteY23" fmla="*/ 3997322 h 5633118"/>
                  <a:gd name="connsiteX24" fmla="*/ 1918706 w 1918706"/>
                  <a:gd name="connsiteY24" fmla="*/ 4010476 h 5633118"/>
                  <a:gd name="connsiteX25" fmla="*/ 1918706 w 1918706"/>
                  <a:gd name="connsiteY25" fmla="*/ 4069228 h 5633118"/>
                  <a:gd name="connsiteX26" fmla="*/ 1918706 w 1918706"/>
                  <a:gd name="connsiteY26" fmla="*/ 4090156 h 5633118"/>
                  <a:gd name="connsiteX27" fmla="*/ 1918706 w 1918706"/>
                  <a:gd name="connsiteY27" fmla="*/ 4097931 h 5633118"/>
                  <a:gd name="connsiteX28" fmla="*/ 1918706 w 1918706"/>
                  <a:gd name="connsiteY28" fmla="*/ 4491829 h 5633118"/>
                  <a:gd name="connsiteX29" fmla="*/ 1918706 w 1918706"/>
                  <a:gd name="connsiteY29" fmla="*/ 4579284 h 5633118"/>
                  <a:gd name="connsiteX30" fmla="*/ 1918706 w 1918706"/>
                  <a:gd name="connsiteY30" fmla="*/ 4592438 h 5633118"/>
                  <a:gd name="connsiteX31" fmla="*/ 1918706 w 1918706"/>
                  <a:gd name="connsiteY31" fmla="*/ 5073791 h 5633118"/>
                  <a:gd name="connsiteX32" fmla="*/ 959355 w 1918706"/>
                  <a:gd name="connsiteY32" fmla="*/ 5633118 h 5633118"/>
                  <a:gd name="connsiteX33" fmla="*/ 0 w 1918706"/>
                  <a:gd name="connsiteY33" fmla="*/ 5073791 h 5633118"/>
                  <a:gd name="connsiteX34" fmla="*/ 0 w 1918706"/>
                  <a:gd name="connsiteY34" fmla="*/ 4592438 h 5633118"/>
                  <a:gd name="connsiteX35" fmla="*/ 0 w 1918706"/>
                  <a:gd name="connsiteY35" fmla="*/ 4579284 h 5633118"/>
                  <a:gd name="connsiteX36" fmla="*/ 0 w 1918706"/>
                  <a:gd name="connsiteY36" fmla="*/ 4491829 h 5633118"/>
                  <a:gd name="connsiteX37" fmla="*/ 0 w 1918706"/>
                  <a:gd name="connsiteY37" fmla="*/ 4097931 h 5633118"/>
                  <a:gd name="connsiteX38" fmla="*/ 0 w 1918706"/>
                  <a:gd name="connsiteY38" fmla="*/ 4090156 h 5633118"/>
                  <a:gd name="connsiteX39" fmla="*/ 0 w 1918706"/>
                  <a:gd name="connsiteY39" fmla="*/ 4069228 h 5633118"/>
                  <a:gd name="connsiteX40" fmla="*/ 0 w 1918706"/>
                  <a:gd name="connsiteY40" fmla="*/ 4010476 h 5633118"/>
                  <a:gd name="connsiteX41" fmla="*/ 0 w 1918706"/>
                  <a:gd name="connsiteY41" fmla="*/ 3997322 h 5633118"/>
                  <a:gd name="connsiteX42" fmla="*/ 0 w 1918706"/>
                  <a:gd name="connsiteY42" fmla="*/ 3595649 h 5633118"/>
                  <a:gd name="connsiteX43" fmla="*/ 0 w 1918706"/>
                  <a:gd name="connsiteY43" fmla="*/ 3587875 h 5633118"/>
                  <a:gd name="connsiteX44" fmla="*/ 0 w 1918706"/>
                  <a:gd name="connsiteY44" fmla="*/ 3574721 h 5633118"/>
                  <a:gd name="connsiteX45" fmla="*/ 0 w 1918706"/>
                  <a:gd name="connsiteY45" fmla="*/ 3515969 h 5633118"/>
                  <a:gd name="connsiteX46" fmla="*/ 0 w 1918706"/>
                  <a:gd name="connsiteY46" fmla="*/ 3508195 h 5633118"/>
                  <a:gd name="connsiteX47" fmla="*/ 0 w 1918706"/>
                  <a:gd name="connsiteY47" fmla="*/ 3487266 h 5633118"/>
                  <a:gd name="connsiteX48" fmla="*/ 0 w 1918706"/>
                  <a:gd name="connsiteY4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088805 h 5633118"/>
                  <a:gd name="connsiteX6" fmla="*/ 1918706 w 1918706"/>
                  <a:gd name="connsiteY6" fmla="*/ 2503632 h 5633118"/>
                  <a:gd name="connsiteX7" fmla="*/ 1918706 w 1918706"/>
                  <a:gd name="connsiteY7" fmla="*/ 2511407 h 5633118"/>
                  <a:gd name="connsiteX8" fmla="*/ 1918706 w 1918706"/>
                  <a:gd name="connsiteY8" fmla="*/ 2567616 h 5633118"/>
                  <a:gd name="connsiteX9" fmla="*/ 1918706 w 1918706"/>
                  <a:gd name="connsiteY9" fmla="*/ 2583313 h 5633118"/>
                  <a:gd name="connsiteX10" fmla="*/ 1918706 w 1918706"/>
                  <a:gd name="connsiteY10" fmla="*/ 2591087 h 5633118"/>
                  <a:gd name="connsiteX11" fmla="*/ 1918706 w 1918706"/>
                  <a:gd name="connsiteY11" fmla="*/ 2992759 h 5633118"/>
                  <a:gd name="connsiteX12" fmla="*/ 1918706 w 1918706"/>
                  <a:gd name="connsiteY12" fmla="*/ 3005914 h 5633118"/>
                  <a:gd name="connsiteX13" fmla="*/ 1918706 w 1918706"/>
                  <a:gd name="connsiteY13" fmla="*/ 3013688 h 5633118"/>
                  <a:gd name="connsiteX14" fmla="*/ 1918706 w 1918706"/>
                  <a:gd name="connsiteY14" fmla="*/ 3085594 h 5633118"/>
                  <a:gd name="connsiteX15" fmla="*/ 1918706 w 1918706"/>
                  <a:gd name="connsiteY15" fmla="*/ 3093368 h 5633118"/>
                  <a:gd name="connsiteX16" fmla="*/ 1918706 w 1918706"/>
                  <a:gd name="connsiteY16" fmla="*/ 3487266 h 5633118"/>
                  <a:gd name="connsiteX17" fmla="*/ 1918706 w 1918706"/>
                  <a:gd name="connsiteY17" fmla="*/ 3508195 h 5633118"/>
                  <a:gd name="connsiteX18" fmla="*/ 1918706 w 1918706"/>
                  <a:gd name="connsiteY18" fmla="*/ 3515969 h 5633118"/>
                  <a:gd name="connsiteX19" fmla="*/ 1918706 w 1918706"/>
                  <a:gd name="connsiteY19" fmla="*/ 3574721 h 5633118"/>
                  <a:gd name="connsiteX20" fmla="*/ 1918706 w 1918706"/>
                  <a:gd name="connsiteY20" fmla="*/ 3587875 h 5633118"/>
                  <a:gd name="connsiteX21" fmla="*/ 1918706 w 1918706"/>
                  <a:gd name="connsiteY21" fmla="*/ 3595649 h 5633118"/>
                  <a:gd name="connsiteX22" fmla="*/ 1918706 w 1918706"/>
                  <a:gd name="connsiteY22" fmla="*/ 3997322 h 5633118"/>
                  <a:gd name="connsiteX23" fmla="*/ 1918706 w 1918706"/>
                  <a:gd name="connsiteY23" fmla="*/ 4010476 h 5633118"/>
                  <a:gd name="connsiteX24" fmla="*/ 1918706 w 1918706"/>
                  <a:gd name="connsiteY24" fmla="*/ 4069228 h 5633118"/>
                  <a:gd name="connsiteX25" fmla="*/ 1918706 w 1918706"/>
                  <a:gd name="connsiteY25" fmla="*/ 4090156 h 5633118"/>
                  <a:gd name="connsiteX26" fmla="*/ 1918706 w 1918706"/>
                  <a:gd name="connsiteY26" fmla="*/ 4097931 h 5633118"/>
                  <a:gd name="connsiteX27" fmla="*/ 1918706 w 1918706"/>
                  <a:gd name="connsiteY27" fmla="*/ 4491829 h 5633118"/>
                  <a:gd name="connsiteX28" fmla="*/ 1918706 w 1918706"/>
                  <a:gd name="connsiteY28" fmla="*/ 4579284 h 5633118"/>
                  <a:gd name="connsiteX29" fmla="*/ 1918706 w 1918706"/>
                  <a:gd name="connsiteY29" fmla="*/ 4592438 h 5633118"/>
                  <a:gd name="connsiteX30" fmla="*/ 1918706 w 1918706"/>
                  <a:gd name="connsiteY30" fmla="*/ 5073791 h 5633118"/>
                  <a:gd name="connsiteX31" fmla="*/ 959355 w 1918706"/>
                  <a:gd name="connsiteY31" fmla="*/ 5633118 h 5633118"/>
                  <a:gd name="connsiteX32" fmla="*/ 0 w 1918706"/>
                  <a:gd name="connsiteY32" fmla="*/ 5073791 h 5633118"/>
                  <a:gd name="connsiteX33" fmla="*/ 0 w 1918706"/>
                  <a:gd name="connsiteY33" fmla="*/ 4592438 h 5633118"/>
                  <a:gd name="connsiteX34" fmla="*/ 0 w 1918706"/>
                  <a:gd name="connsiteY34" fmla="*/ 4579284 h 5633118"/>
                  <a:gd name="connsiteX35" fmla="*/ 0 w 1918706"/>
                  <a:gd name="connsiteY35" fmla="*/ 4491829 h 5633118"/>
                  <a:gd name="connsiteX36" fmla="*/ 0 w 1918706"/>
                  <a:gd name="connsiteY36" fmla="*/ 4097931 h 5633118"/>
                  <a:gd name="connsiteX37" fmla="*/ 0 w 1918706"/>
                  <a:gd name="connsiteY37" fmla="*/ 4090156 h 5633118"/>
                  <a:gd name="connsiteX38" fmla="*/ 0 w 1918706"/>
                  <a:gd name="connsiteY38" fmla="*/ 4069228 h 5633118"/>
                  <a:gd name="connsiteX39" fmla="*/ 0 w 1918706"/>
                  <a:gd name="connsiteY39" fmla="*/ 4010476 h 5633118"/>
                  <a:gd name="connsiteX40" fmla="*/ 0 w 1918706"/>
                  <a:gd name="connsiteY40" fmla="*/ 3997322 h 5633118"/>
                  <a:gd name="connsiteX41" fmla="*/ 0 w 1918706"/>
                  <a:gd name="connsiteY41" fmla="*/ 3595649 h 5633118"/>
                  <a:gd name="connsiteX42" fmla="*/ 0 w 1918706"/>
                  <a:gd name="connsiteY42" fmla="*/ 3587875 h 5633118"/>
                  <a:gd name="connsiteX43" fmla="*/ 0 w 1918706"/>
                  <a:gd name="connsiteY43" fmla="*/ 3574721 h 5633118"/>
                  <a:gd name="connsiteX44" fmla="*/ 0 w 1918706"/>
                  <a:gd name="connsiteY44" fmla="*/ 3515969 h 5633118"/>
                  <a:gd name="connsiteX45" fmla="*/ 0 w 1918706"/>
                  <a:gd name="connsiteY45" fmla="*/ 3508195 h 5633118"/>
                  <a:gd name="connsiteX46" fmla="*/ 0 w 1918706"/>
                  <a:gd name="connsiteY46" fmla="*/ 3487266 h 5633118"/>
                  <a:gd name="connsiteX47" fmla="*/ 0 w 1918706"/>
                  <a:gd name="connsiteY4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503632 h 5633118"/>
                  <a:gd name="connsiteX6" fmla="*/ 1918706 w 1918706"/>
                  <a:gd name="connsiteY6" fmla="*/ 2511407 h 5633118"/>
                  <a:gd name="connsiteX7" fmla="*/ 1918706 w 1918706"/>
                  <a:gd name="connsiteY7" fmla="*/ 2567616 h 5633118"/>
                  <a:gd name="connsiteX8" fmla="*/ 1918706 w 1918706"/>
                  <a:gd name="connsiteY8" fmla="*/ 2583313 h 5633118"/>
                  <a:gd name="connsiteX9" fmla="*/ 1918706 w 1918706"/>
                  <a:gd name="connsiteY9" fmla="*/ 2591087 h 5633118"/>
                  <a:gd name="connsiteX10" fmla="*/ 1918706 w 1918706"/>
                  <a:gd name="connsiteY10" fmla="*/ 2992759 h 5633118"/>
                  <a:gd name="connsiteX11" fmla="*/ 1918706 w 1918706"/>
                  <a:gd name="connsiteY11" fmla="*/ 3005914 h 5633118"/>
                  <a:gd name="connsiteX12" fmla="*/ 1918706 w 1918706"/>
                  <a:gd name="connsiteY12" fmla="*/ 3013688 h 5633118"/>
                  <a:gd name="connsiteX13" fmla="*/ 1918706 w 1918706"/>
                  <a:gd name="connsiteY13" fmla="*/ 3085594 h 5633118"/>
                  <a:gd name="connsiteX14" fmla="*/ 1918706 w 1918706"/>
                  <a:gd name="connsiteY14" fmla="*/ 3093368 h 5633118"/>
                  <a:gd name="connsiteX15" fmla="*/ 1918706 w 1918706"/>
                  <a:gd name="connsiteY15" fmla="*/ 3487266 h 5633118"/>
                  <a:gd name="connsiteX16" fmla="*/ 1918706 w 1918706"/>
                  <a:gd name="connsiteY16" fmla="*/ 3508195 h 5633118"/>
                  <a:gd name="connsiteX17" fmla="*/ 1918706 w 1918706"/>
                  <a:gd name="connsiteY17" fmla="*/ 3515969 h 5633118"/>
                  <a:gd name="connsiteX18" fmla="*/ 1918706 w 1918706"/>
                  <a:gd name="connsiteY18" fmla="*/ 3574721 h 5633118"/>
                  <a:gd name="connsiteX19" fmla="*/ 1918706 w 1918706"/>
                  <a:gd name="connsiteY19" fmla="*/ 3587875 h 5633118"/>
                  <a:gd name="connsiteX20" fmla="*/ 1918706 w 1918706"/>
                  <a:gd name="connsiteY20" fmla="*/ 3595649 h 5633118"/>
                  <a:gd name="connsiteX21" fmla="*/ 1918706 w 1918706"/>
                  <a:gd name="connsiteY21" fmla="*/ 3997322 h 5633118"/>
                  <a:gd name="connsiteX22" fmla="*/ 1918706 w 1918706"/>
                  <a:gd name="connsiteY22" fmla="*/ 4010476 h 5633118"/>
                  <a:gd name="connsiteX23" fmla="*/ 1918706 w 1918706"/>
                  <a:gd name="connsiteY23" fmla="*/ 4069228 h 5633118"/>
                  <a:gd name="connsiteX24" fmla="*/ 1918706 w 1918706"/>
                  <a:gd name="connsiteY24" fmla="*/ 4090156 h 5633118"/>
                  <a:gd name="connsiteX25" fmla="*/ 1918706 w 1918706"/>
                  <a:gd name="connsiteY25" fmla="*/ 4097931 h 5633118"/>
                  <a:gd name="connsiteX26" fmla="*/ 1918706 w 1918706"/>
                  <a:gd name="connsiteY26" fmla="*/ 4491829 h 5633118"/>
                  <a:gd name="connsiteX27" fmla="*/ 1918706 w 1918706"/>
                  <a:gd name="connsiteY27" fmla="*/ 4579284 h 5633118"/>
                  <a:gd name="connsiteX28" fmla="*/ 1918706 w 1918706"/>
                  <a:gd name="connsiteY28" fmla="*/ 4592438 h 5633118"/>
                  <a:gd name="connsiteX29" fmla="*/ 1918706 w 1918706"/>
                  <a:gd name="connsiteY29" fmla="*/ 5073791 h 5633118"/>
                  <a:gd name="connsiteX30" fmla="*/ 959355 w 1918706"/>
                  <a:gd name="connsiteY30" fmla="*/ 5633118 h 5633118"/>
                  <a:gd name="connsiteX31" fmla="*/ 0 w 1918706"/>
                  <a:gd name="connsiteY31" fmla="*/ 5073791 h 5633118"/>
                  <a:gd name="connsiteX32" fmla="*/ 0 w 1918706"/>
                  <a:gd name="connsiteY32" fmla="*/ 4592438 h 5633118"/>
                  <a:gd name="connsiteX33" fmla="*/ 0 w 1918706"/>
                  <a:gd name="connsiteY33" fmla="*/ 4579284 h 5633118"/>
                  <a:gd name="connsiteX34" fmla="*/ 0 w 1918706"/>
                  <a:gd name="connsiteY34" fmla="*/ 4491829 h 5633118"/>
                  <a:gd name="connsiteX35" fmla="*/ 0 w 1918706"/>
                  <a:gd name="connsiteY35" fmla="*/ 4097931 h 5633118"/>
                  <a:gd name="connsiteX36" fmla="*/ 0 w 1918706"/>
                  <a:gd name="connsiteY36" fmla="*/ 4090156 h 5633118"/>
                  <a:gd name="connsiteX37" fmla="*/ 0 w 1918706"/>
                  <a:gd name="connsiteY37" fmla="*/ 4069228 h 5633118"/>
                  <a:gd name="connsiteX38" fmla="*/ 0 w 1918706"/>
                  <a:gd name="connsiteY38" fmla="*/ 4010476 h 5633118"/>
                  <a:gd name="connsiteX39" fmla="*/ 0 w 1918706"/>
                  <a:gd name="connsiteY39" fmla="*/ 3997322 h 5633118"/>
                  <a:gd name="connsiteX40" fmla="*/ 0 w 1918706"/>
                  <a:gd name="connsiteY40" fmla="*/ 3595649 h 5633118"/>
                  <a:gd name="connsiteX41" fmla="*/ 0 w 1918706"/>
                  <a:gd name="connsiteY41" fmla="*/ 3587875 h 5633118"/>
                  <a:gd name="connsiteX42" fmla="*/ 0 w 1918706"/>
                  <a:gd name="connsiteY42" fmla="*/ 3574721 h 5633118"/>
                  <a:gd name="connsiteX43" fmla="*/ 0 w 1918706"/>
                  <a:gd name="connsiteY43" fmla="*/ 3515969 h 5633118"/>
                  <a:gd name="connsiteX44" fmla="*/ 0 w 1918706"/>
                  <a:gd name="connsiteY44" fmla="*/ 3508195 h 5633118"/>
                  <a:gd name="connsiteX45" fmla="*/ 0 w 1918706"/>
                  <a:gd name="connsiteY45" fmla="*/ 3487266 h 5633118"/>
                  <a:gd name="connsiteX46" fmla="*/ 0 w 1918706"/>
                  <a:gd name="connsiteY4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503632 h 5633118"/>
                  <a:gd name="connsiteX5" fmla="*/ 1918706 w 1918706"/>
                  <a:gd name="connsiteY5" fmla="*/ 2511407 h 5633118"/>
                  <a:gd name="connsiteX6" fmla="*/ 1918706 w 1918706"/>
                  <a:gd name="connsiteY6" fmla="*/ 2567616 h 5633118"/>
                  <a:gd name="connsiteX7" fmla="*/ 1918706 w 1918706"/>
                  <a:gd name="connsiteY7" fmla="*/ 2583313 h 5633118"/>
                  <a:gd name="connsiteX8" fmla="*/ 1918706 w 1918706"/>
                  <a:gd name="connsiteY8" fmla="*/ 2591087 h 5633118"/>
                  <a:gd name="connsiteX9" fmla="*/ 1918706 w 1918706"/>
                  <a:gd name="connsiteY9" fmla="*/ 2992759 h 5633118"/>
                  <a:gd name="connsiteX10" fmla="*/ 1918706 w 1918706"/>
                  <a:gd name="connsiteY10" fmla="*/ 3005914 h 5633118"/>
                  <a:gd name="connsiteX11" fmla="*/ 1918706 w 1918706"/>
                  <a:gd name="connsiteY11" fmla="*/ 3013688 h 5633118"/>
                  <a:gd name="connsiteX12" fmla="*/ 1918706 w 1918706"/>
                  <a:gd name="connsiteY12" fmla="*/ 3085594 h 5633118"/>
                  <a:gd name="connsiteX13" fmla="*/ 1918706 w 1918706"/>
                  <a:gd name="connsiteY13" fmla="*/ 3093368 h 5633118"/>
                  <a:gd name="connsiteX14" fmla="*/ 1918706 w 1918706"/>
                  <a:gd name="connsiteY14" fmla="*/ 3487266 h 5633118"/>
                  <a:gd name="connsiteX15" fmla="*/ 1918706 w 1918706"/>
                  <a:gd name="connsiteY15" fmla="*/ 3508195 h 5633118"/>
                  <a:gd name="connsiteX16" fmla="*/ 1918706 w 1918706"/>
                  <a:gd name="connsiteY16" fmla="*/ 3515969 h 5633118"/>
                  <a:gd name="connsiteX17" fmla="*/ 1918706 w 1918706"/>
                  <a:gd name="connsiteY17" fmla="*/ 3574721 h 5633118"/>
                  <a:gd name="connsiteX18" fmla="*/ 1918706 w 1918706"/>
                  <a:gd name="connsiteY18" fmla="*/ 3587875 h 5633118"/>
                  <a:gd name="connsiteX19" fmla="*/ 1918706 w 1918706"/>
                  <a:gd name="connsiteY19" fmla="*/ 3595649 h 5633118"/>
                  <a:gd name="connsiteX20" fmla="*/ 1918706 w 1918706"/>
                  <a:gd name="connsiteY20" fmla="*/ 3997322 h 5633118"/>
                  <a:gd name="connsiteX21" fmla="*/ 1918706 w 1918706"/>
                  <a:gd name="connsiteY21" fmla="*/ 4010476 h 5633118"/>
                  <a:gd name="connsiteX22" fmla="*/ 1918706 w 1918706"/>
                  <a:gd name="connsiteY22" fmla="*/ 4069228 h 5633118"/>
                  <a:gd name="connsiteX23" fmla="*/ 1918706 w 1918706"/>
                  <a:gd name="connsiteY23" fmla="*/ 4090156 h 5633118"/>
                  <a:gd name="connsiteX24" fmla="*/ 1918706 w 1918706"/>
                  <a:gd name="connsiteY24" fmla="*/ 4097931 h 5633118"/>
                  <a:gd name="connsiteX25" fmla="*/ 1918706 w 1918706"/>
                  <a:gd name="connsiteY25" fmla="*/ 4491829 h 5633118"/>
                  <a:gd name="connsiteX26" fmla="*/ 1918706 w 1918706"/>
                  <a:gd name="connsiteY26" fmla="*/ 4579284 h 5633118"/>
                  <a:gd name="connsiteX27" fmla="*/ 1918706 w 1918706"/>
                  <a:gd name="connsiteY27" fmla="*/ 4592438 h 5633118"/>
                  <a:gd name="connsiteX28" fmla="*/ 1918706 w 1918706"/>
                  <a:gd name="connsiteY28" fmla="*/ 5073791 h 5633118"/>
                  <a:gd name="connsiteX29" fmla="*/ 959355 w 1918706"/>
                  <a:gd name="connsiteY29" fmla="*/ 5633118 h 5633118"/>
                  <a:gd name="connsiteX30" fmla="*/ 0 w 1918706"/>
                  <a:gd name="connsiteY30" fmla="*/ 5073791 h 5633118"/>
                  <a:gd name="connsiteX31" fmla="*/ 0 w 1918706"/>
                  <a:gd name="connsiteY31" fmla="*/ 4592438 h 5633118"/>
                  <a:gd name="connsiteX32" fmla="*/ 0 w 1918706"/>
                  <a:gd name="connsiteY32" fmla="*/ 4579284 h 5633118"/>
                  <a:gd name="connsiteX33" fmla="*/ 0 w 1918706"/>
                  <a:gd name="connsiteY33" fmla="*/ 4491829 h 5633118"/>
                  <a:gd name="connsiteX34" fmla="*/ 0 w 1918706"/>
                  <a:gd name="connsiteY34" fmla="*/ 4097931 h 5633118"/>
                  <a:gd name="connsiteX35" fmla="*/ 0 w 1918706"/>
                  <a:gd name="connsiteY35" fmla="*/ 4090156 h 5633118"/>
                  <a:gd name="connsiteX36" fmla="*/ 0 w 1918706"/>
                  <a:gd name="connsiteY36" fmla="*/ 4069228 h 5633118"/>
                  <a:gd name="connsiteX37" fmla="*/ 0 w 1918706"/>
                  <a:gd name="connsiteY37" fmla="*/ 4010476 h 5633118"/>
                  <a:gd name="connsiteX38" fmla="*/ 0 w 1918706"/>
                  <a:gd name="connsiteY38" fmla="*/ 3997322 h 5633118"/>
                  <a:gd name="connsiteX39" fmla="*/ 0 w 1918706"/>
                  <a:gd name="connsiteY39" fmla="*/ 3595649 h 5633118"/>
                  <a:gd name="connsiteX40" fmla="*/ 0 w 1918706"/>
                  <a:gd name="connsiteY40" fmla="*/ 3587875 h 5633118"/>
                  <a:gd name="connsiteX41" fmla="*/ 0 w 1918706"/>
                  <a:gd name="connsiteY41" fmla="*/ 3574721 h 5633118"/>
                  <a:gd name="connsiteX42" fmla="*/ 0 w 1918706"/>
                  <a:gd name="connsiteY42" fmla="*/ 3515969 h 5633118"/>
                  <a:gd name="connsiteX43" fmla="*/ 0 w 1918706"/>
                  <a:gd name="connsiteY43" fmla="*/ 3508195 h 5633118"/>
                  <a:gd name="connsiteX44" fmla="*/ 0 w 1918706"/>
                  <a:gd name="connsiteY44" fmla="*/ 3487266 h 5633118"/>
                  <a:gd name="connsiteX45" fmla="*/ 0 w 1918706"/>
                  <a:gd name="connsiteY4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11407 h 5633118"/>
                  <a:gd name="connsiteX5" fmla="*/ 1918706 w 1918706"/>
                  <a:gd name="connsiteY5" fmla="*/ 2567616 h 5633118"/>
                  <a:gd name="connsiteX6" fmla="*/ 1918706 w 1918706"/>
                  <a:gd name="connsiteY6" fmla="*/ 2583313 h 5633118"/>
                  <a:gd name="connsiteX7" fmla="*/ 1918706 w 1918706"/>
                  <a:gd name="connsiteY7" fmla="*/ 2591087 h 5633118"/>
                  <a:gd name="connsiteX8" fmla="*/ 1918706 w 1918706"/>
                  <a:gd name="connsiteY8" fmla="*/ 2992759 h 5633118"/>
                  <a:gd name="connsiteX9" fmla="*/ 1918706 w 1918706"/>
                  <a:gd name="connsiteY9" fmla="*/ 3005914 h 5633118"/>
                  <a:gd name="connsiteX10" fmla="*/ 1918706 w 1918706"/>
                  <a:gd name="connsiteY10" fmla="*/ 3013688 h 5633118"/>
                  <a:gd name="connsiteX11" fmla="*/ 1918706 w 1918706"/>
                  <a:gd name="connsiteY11" fmla="*/ 3085594 h 5633118"/>
                  <a:gd name="connsiteX12" fmla="*/ 1918706 w 1918706"/>
                  <a:gd name="connsiteY12" fmla="*/ 3093368 h 5633118"/>
                  <a:gd name="connsiteX13" fmla="*/ 1918706 w 1918706"/>
                  <a:gd name="connsiteY13" fmla="*/ 3487266 h 5633118"/>
                  <a:gd name="connsiteX14" fmla="*/ 1918706 w 1918706"/>
                  <a:gd name="connsiteY14" fmla="*/ 3508195 h 5633118"/>
                  <a:gd name="connsiteX15" fmla="*/ 1918706 w 1918706"/>
                  <a:gd name="connsiteY15" fmla="*/ 3515969 h 5633118"/>
                  <a:gd name="connsiteX16" fmla="*/ 1918706 w 1918706"/>
                  <a:gd name="connsiteY16" fmla="*/ 3574721 h 5633118"/>
                  <a:gd name="connsiteX17" fmla="*/ 1918706 w 1918706"/>
                  <a:gd name="connsiteY17" fmla="*/ 3587875 h 5633118"/>
                  <a:gd name="connsiteX18" fmla="*/ 1918706 w 1918706"/>
                  <a:gd name="connsiteY18" fmla="*/ 3595649 h 5633118"/>
                  <a:gd name="connsiteX19" fmla="*/ 1918706 w 1918706"/>
                  <a:gd name="connsiteY19" fmla="*/ 3997322 h 5633118"/>
                  <a:gd name="connsiteX20" fmla="*/ 1918706 w 1918706"/>
                  <a:gd name="connsiteY20" fmla="*/ 4010476 h 5633118"/>
                  <a:gd name="connsiteX21" fmla="*/ 1918706 w 1918706"/>
                  <a:gd name="connsiteY21" fmla="*/ 4069228 h 5633118"/>
                  <a:gd name="connsiteX22" fmla="*/ 1918706 w 1918706"/>
                  <a:gd name="connsiteY22" fmla="*/ 4090156 h 5633118"/>
                  <a:gd name="connsiteX23" fmla="*/ 1918706 w 1918706"/>
                  <a:gd name="connsiteY23" fmla="*/ 4097931 h 5633118"/>
                  <a:gd name="connsiteX24" fmla="*/ 1918706 w 1918706"/>
                  <a:gd name="connsiteY24" fmla="*/ 4491829 h 5633118"/>
                  <a:gd name="connsiteX25" fmla="*/ 1918706 w 1918706"/>
                  <a:gd name="connsiteY25" fmla="*/ 4579284 h 5633118"/>
                  <a:gd name="connsiteX26" fmla="*/ 1918706 w 1918706"/>
                  <a:gd name="connsiteY26" fmla="*/ 4592438 h 5633118"/>
                  <a:gd name="connsiteX27" fmla="*/ 1918706 w 1918706"/>
                  <a:gd name="connsiteY27" fmla="*/ 5073791 h 5633118"/>
                  <a:gd name="connsiteX28" fmla="*/ 959355 w 1918706"/>
                  <a:gd name="connsiteY28" fmla="*/ 5633118 h 5633118"/>
                  <a:gd name="connsiteX29" fmla="*/ 0 w 1918706"/>
                  <a:gd name="connsiteY29" fmla="*/ 5073791 h 5633118"/>
                  <a:gd name="connsiteX30" fmla="*/ 0 w 1918706"/>
                  <a:gd name="connsiteY30" fmla="*/ 4592438 h 5633118"/>
                  <a:gd name="connsiteX31" fmla="*/ 0 w 1918706"/>
                  <a:gd name="connsiteY31" fmla="*/ 4579284 h 5633118"/>
                  <a:gd name="connsiteX32" fmla="*/ 0 w 1918706"/>
                  <a:gd name="connsiteY32" fmla="*/ 4491829 h 5633118"/>
                  <a:gd name="connsiteX33" fmla="*/ 0 w 1918706"/>
                  <a:gd name="connsiteY33" fmla="*/ 4097931 h 5633118"/>
                  <a:gd name="connsiteX34" fmla="*/ 0 w 1918706"/>
                  <a:gd name="connsiteY34" fmla="*/ 4090156 h 5633118"/>
                  <a:gd name="connsiteX35" fmla="*/ 0 w 1918706"/>
                  <a:gd name="connsiteY35" fmla="*/ 4069228 h 5633118"/>
                  <a:gd name="connsiteX36" fmla="*/ 0 w 1918706"/>
                  <a:gd name="connsiteY36" fmla="*/ 4010476 h 5633118"/>
                  <a:gd name="connsiteX37" fmla="*/ 0 w 1918706"/>
                  <a:gd name="connsiteY37" fmla="*/ 3997322 h 5633118"/>
                  <a:gd name="connsiteX38" fmla="*/ 0 w 1918706"/>
                  <a:gd name="connsiteY38" fmla="*/ 3595649 h 5633118"/>
                  <a:gd name="connsiteX39" fmla="*/ 0 w 1918706"/>
                  <a:gd name="connsiteY39" fmla="*/ 3587875 h 5633118"/>
                  <a:gd name="connsiteX40" fmla="*/ 0 w 1918706"/>
                  <a:gd name="connsiteY40" fmla="*/ 3574721 h 5633118"/>
                  <a:gd name="connsiteX41" fmla="*/ 0 w 1918706"/>
                  <a:gd name="connsiteY41" fmla="*/ 3515969 h 5633118"/>
                  <a:gd name="connsiteX42" fmla="*/ 0 w 1918706"/>
                  <a:gd name="connsiteY42" fmla="*/ 3508195 h 5633118"/>
                  <a:gd name="connsiteX43" fmla="*/ 0 w 1918706"/>
                  <a:gd name="connsiteY43" fmla="*/ 3487266 h 5633118"/>
                  <a:gd name="connsiteX44" fmla="*/ 0 w 1918706"/>
                  <a:gd name="connsiteY4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67616 h 5633118"/>
                  <a:gd name="connsiteX5" fmla="*/ 1918706 w 1918706"/>
                  <a:gd name="connsiteY5" fmla="*/ 2583313 h 5633118"/>
                  <a:gd name="connsiteX6" fmla="*/ 1918706 w 1918706"/>
                  <a:gd name="connsiteY6" fmla="*/ 2591087 h 5633118"/>
                  <a:gd name="connsiteX7" fmla="*/ 1918706 w 1918706"/>
                  <a:gd name="connsiteY7" fmla="*/ 2992759 h 5633118"/>
                  <a:gd name="connsiteX8" fmla="*/ 1918706 w 1918706"/>
                  <a:gd name="connsiteY8" fmla="*/ 3005914 h 5633118"/>
                  <a:gd name="connsiteX9" fmla="*/ 1918706 w 1918706"/>
                  <a:gd name="connsiteY9" fmla="*/ 3013688 h 5633118"/>
                  <a:gd name="connsiteX10" fmla="*/ 1918706 w 1918706"/>
                  <a:gd name="connsiteY10" fmla="*/ 3085594 h 5633118"/>
                  <a:gd name="connsiteX11" fmla="*/ 1918706 w 1918706"/>
                  <a:gd name="connsiteY11" fmla="*/ 3093368 h 5633118"/>
                  <a:gd name="connsiteX12" fmla="*/ 1918706 w 1918706"/>
                  <a:gd name="connsiteY12" fmla="*/ 3487266 h 5633118"/>
                  <a:gd name="connsiteX13" fmla="*/ 1918706 w 1918706"/>
                  <a:gd name="connsiteY13" fmla="*/ 3508195 h 5633118"/>
                  <a:gd name="connsiteX14" fmla="*/ 1918706 w 1918706"/>
                  <a:gd name="connsiteY14" fmla="*/ 3515969 h 5633118"/>
                  <a:gd name="connsiteX15" fmla="*/ 1918706 w 1918706"/>
                  <a:gd name="connsiteY15" fmla="*/ 3574721 h 5633118"/>
                  <a:gd name="connsiteX16" fmla="*/ 1918706 w 1918706"/>
                  <a:gd name="connsiteY16" fmla="*/ 3587875 h 5633118"/>
                  <a:gd name="connsiteX17" fmla="*/ 1918706 w 1918706"/>
                  <a:gd name="connsiteY17" fmla="*/ 3595649 h 5633118"/>
                  <a:gd name="connsiteX18" fmla="*/ 1918706 w 1918706"/>
                  <a:gd name="connsiteY18" fmla="*/ 3997322 h 5633118"/>
                  <a:gd name="connsiteX19" fmla="*/ 1918706 w 1918706"/>
                  <a:gd name="connsiteY19" fmla="*/ 4010476 h 5633118"/>
                  <a:gd name="connsiteX20" fmla="*/ 1918706 w 1918706"/>
                  <a:gd name="connsiteY20" fmla="*/ 4069228 h 5633118"/>
                  <a:gd name="connsiteX21" fmla="*/ 1918706 w 1918706"/>
                  <a:gd name="connsiteY21" fmla="*/ 4090156 h 5633118"/>
                  <a:gd name="connsiteX22" fmla="*/ 1918706 w 1918706"/>
                  <a:gd name="connsiteY22" fmla="*/ 4097931 h 5633118"/>
                  <a:gd name="connsiteX23" fmla="*/ 1918706 w 1918706"/>
                  <a:gd name="connsiteY23" fmla="*/ 4491829 h 5633118"/>
                  <a:gd name="connsiteX24" fmla="*/ 1918706 w 1918706"/>
                  <a:gd name="connsiteY24" fmla="*/ 4579284 h 5633118"/>
                  <a:gd name="connsiteX25" fmla="*/ 1918706 w 1918706"/>
                  <a:gd name="connsiteY25" fmla="*/ 4592438 h 5633118"/>
                  <a:gd name="connsiteX26" fmla="*/ 1918706 w 1918706"/>
                  <a:gd name="connsiteY26" fmla="*/ 5073791 h 5633118"/>
                  <a:gd name="connsiteX27" fmla="*/ 959355 w 1918706"/>
                  <a:gd name="connsiteY27" fmla="*/ 5633118 h 5633118"/>
                  <a:gd name="connsiteX28" fmla="*/ 0 w 1918706"/>
                  <a:gd name="connsiteY28" fmla="*/ 5073791 h 5633118"/>
                  <a:gd name="connsiteX29" fmla="*/ 0 w 1918706"/>
                  <a:gd name="connsiteY29" fmla="*/ 4592438 h 5633118"/>
                  <a:gd name="connsiteX30" fmla="*/ 0 w 1918706"/>
                  <a:gd name="connsiteY30" fmla="*/ 4579284 h 5633118"/>
                  <a:gd name="connsiteX31" fmla="*/ 0 w 1918706"/>
                  <a:gd name="connsiteY31" fmla="*/ 4491829 h 5633118"/>
                  <a:gd name="connsiteX32" fmla="*/ 0 w 1918706"/>
                  <a:gd name="connsiteY32" fmla="*/ 4097931 h 5633118"/>
                  <a:gd name="connsiteX33" fmla="*/ 0 w 1918706"/>
                  <a:gd name="connsiteY33" fmla="*/ 4090156 h 5633118"/>
                  <a:gd name="connsiteX34" fmla="*/ 0 w 1918706"/>
                  <a:gd name="connsiteY34" fmla="*/ 4069228 h 5633118"/>
                  <a:gd name="connsiteX35" fmla="*/ 0 w 1918706"/>
                  <a:gd name="connsiteY35" fmla="*/ 4010476 h 5633118"/>
                  <a:gd name="connsiteX36" fmla="*/ 0 w 1918706"/>
                  <a:gd name="connsiteY36" fmla="*/ 3997322 h 5633118"/>
                  <a:gd name="connsiteX37" fmla="*/ 0 w 1918706"/>
                  <a:gd name="connsiteY37" fmla="*/ 3595649 h 5633118"/>
                  <a:gd name="connsiteX38" fmla="*/ 0 w 1918706"/>
                  <a:gd name="connsiteY38" fmla="*/ 3587875 h 5633118"/>
                  <a:gd name="connsiteX39" fmla="*/ 0 w 1918706"/>
                  <a:gd name="connsiteY39" fmla="*/ 3574721 h 5633118"/>
                  <a:gd name="connsiteX40" fmla="*/ 0 w 1918706"/>
                  <a:gd name="connsiteY40" fmla="*/ 3515969 h 5633118"/>
                  <a:gd name="connsiteX41" fmla="*/ 0 w 1918706"/>
                  <a:gd name="connsiteY41" fmla="*/ 3508195 h 5633118"/>
                  <a:gd name="connsiteX42" fmla="*/ 0 w 1918706"/>
                  <a:gd name="connsiteY42" fmla="*/ 3487266 h 5633118"/>
                  <a:gd name="connsiteX43" fmla="*/ 0 w 1918706"/>
                  <a:gd name="connsiteY4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591087 h 5633118"/>
                  <a:gd name="connsiteX6" fmla="*/ 1918706 w 1918706"/>
                  <a:gd name="connsiteY6" fmla="*/ 2992759 h 5633118"/>
                  <a:gd name="connsiteX7" fmla="*/ 1918706 w 1918706"/>
                  <a:gd name="connsiteY7" fmla="*/ 3005914 h 5633118"/>
                  <a:gd name="connsiteX8" fmla="*/ 1918706 w 1918706"/>
                  <a:gd name="connsiteY8" fmla="*/ 3013688 h 5633118"/>
                  <a:gd name="connsiteX9" fmla="*/ 1918706 w 1918706"/>
                  <a:gd name="connsiteY9" fmla="*/ 3085594 h 5633118"/>
                  <a:gd name="connsiteX10" fmla="*/ 1918706 w 1918706"/>
                  <a:gd name="connsiteY10" fmla="*/ 3093368 h 5633118"/>
                  <a:gd name="connsiteX11" fmla="*/ 1918706 w 1918706"/>
                  <a:gd name="connsiteY11" fmla="*/ 3487266 h 5633118"/>
                  <a:gd name="connsiteX12" fmla="*/ 1918706 w 1918706"/>
                  <a:gd name="connsiteY12" fmla="*/ 3508195 h 5633118"/>
                  <a:gd name="connsiteX13" fmla="*/ 1918706 w 1918706"/>
                  <a:gd name="connsiteY13" fmla="*/ 3515969 h 5633118"/>
                  <a:gd name="connsiteX14" fmla="*/ 1918706 w 1918706"/>
                  <a:gd name="connsiteY14" fmla="*/ 3574721 h 5633118"/>
                  <a:gd name="connsiteX15" fmla="*/ 1918706 w 1918706"/>
                  <a:gd name="connsiteY15" fmla="*/ 3587875 h 5633118"/>
                  <a:gd name="connsiteX16" fmla="*/ 1918706 w 1918706"/>
                  <a:gd name="connsiteY16" fmla="*/ 3595649 h 5633118"/>
                  <a:gd name="connsiteX17" fmla="*/ 1918706 w 1918706"/>
                  <a:gd name="connsiteY17" fmla="*/ 3997322 h 5633118"/>
                  <a:gd name="connsiteX18" fmla="*/ 1918706 w 1918706"/>
                  <a:gd name="connsiteY18" fmla="*/ 4010476 h 5633118"/>
                  <a:gd name="connsiteX19" fmla="*/ 1918706 w 1918706"/>
                  <a:gd name="connsiteY19" fmla="*/ 4069228 h 5633118"/>
                  <a:gd name="connsiteX20" fmla="*/ 1918706 w 1918706"/>
                  <a:gd name="connsiteY20" fmla="*/ 4090156 h 5633118"/>
                  <a:gd name="connsiteX21" fmla="*/ 1918706 w 1918706"/>
                  <a:gd name="connsiteY21" fmla="*/ 4097931 h 5633118"/>
                  <a:gd name="connsiteX22" fmla="*/ 1918706 w 1918706"/>
                  <a:gd name="connsiteY22" fmla="*/ 4491829 h 5633118"/>
                  <a:gd name="connsiteX23" fmla="*/ 1918706 w 1918706"/>
                  <a:gd name="connsiteY23" fmla="*/ 4579284 h 5633118"/>
                  <a:gd name="connsiteX24" fmla="*/ 1918706 w 1918706"/>
                  <a:gd name="connsiteY24" fmla="*/ 4592438 h 5633118"/>
                  <a:gd name="connsiteX25" fmla="*/ 1918706 w 1918706"/>
                  <a:gd name="connsiteY25" fmla="*/ 5073791 h 5633118"/>
                  <a:gd name="connsiteX26" fmla="*/ 959355 w 1918706"/>
                  <a:gd name="connsiteY26" fmla="*/ 5633118 h 5633118"/>
                  <a:gd name="connsiteX27" fmla="*/ 0 w 1918706"/>
                  <a:gd name="connsiteY27" fmla="*/ 5073791 h 5633118"/>
                  <a:gd name="connsiteX28" fmla="*/ 0 w 1918706"/>
                  <a:gd name="connsiteY28" fmla="*/ 4592438 h 5633118"/>
                  <a:gd name="connsiteX29" fmla="*/ 0 w 1918706"/>
                  <a:gd name="connsiteY29" fmla="*/ 4579284 h 5633118"/>
                  <a:gd name="connsiteX30" fmla="*/ 0 w 1918706"/>
                  <a:gd name="connsiteY30" fmla="*/ 4491829 h 5633118"/>
                  <a:gd name="connsiteX31" fmla="*/ 0 w 1918706"/>
                  <a:gd name="connsiteY31" fmla="*/ 4097931 h 5633118"/>
                  <a:gd name="connsiteX32" fmla="*/ 0 w 1918706"/>
                  <a:gd name="connsiteY32" fmla="*/ 4090156 h 5633118"/>
                  <a:gd name="connsiteX33" fmla="*/ 0 w 1918706"/>
                  <a:gd name="connsiteY33" fmla="*/ 4069228 h 5633118"/>
                  <a:gd name="connsiteX34" fmla="*/ 0 w 1918706"/>
                  <a:gd name="connsiteY34" fmla="*/ 4010476 h 5633118"/>
                  <a:gd name="connsiteX35" fmla="*/ 0 w 1918706"/>
                  <a:gd name="connsiteY35" fmla="*/ 3997322 h 5633118"/>
                  <a:gd name="connsiteX36" fmla="*/ 0 w 1918706"/>
                  <a:gd name="connsiteY36" fmla="*/ 3595649 h 5633118"/>
                  <a:gd name="connsiteX37" fmla="*/ 0 w 1918706"/>
                  <a:gd name="connsiteY37" fmla="*/ 3587875 h 5633118"/>
                  <a:gd name="connsiteX38" fmla="*/ 0 w 1918706"/>
                  <a:gd name="connsiteY38" fmla="*/ 3574721 h 5633118"/>
                  <a:gd name="connsiteX39" fmla="*/ 0 w 1918706"/>
                  <a:gd name="connsiteY39" fmla="*/ 3515969 h 5633118"/>
                  <a:gd name="connsiteX40" fmla="*/ 0 w 1918706"/>
                  <a:gd name="connsiteY40" fmla="*/ 3508195 h 5633118"/>
                  <a:gd name="connsiteX41" fmla="*/ 0 w 1918706"/>
                  <a:gd name="connsiteY41" fmla="*/ 3487266 h 5633118"/>
                  <a:gd name="connsiteX42" fmla="*/ 0 w 1918706"/>
                  <a:gd name="connsiteY4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992759 h 5633118"/>
                  <a:gd name="connsiteX6" fmla="*/ 1918706 w 1918706"/>
                  <a:gd name="connsiteY6" fmla="*/ 3005914 h 5633118"/>
                  <a:gd name="connsiteX7" fmla="*/ 1918706 w 1918706"/>
                  <a:gd name="connsiteY7" fmla="*/ 3013688 h 5633118"/>
                  <a:gd name="connsiteX8" fmla="*/ 1918706 w 1918706"/>
                  <a:gd name="connsiteY8" fmla="*/ 3085594 h 5633118"/>
                  <a:gd name="connsiteX9" fmla="*/ 1918706 w 1918706"/>
                  <a:gd name="connsiteY9" fmla="*/ 3093368 h 5633118"/>
                  <a:gd name="connsiteX10" fmla="*/ 1918706 w 1918706"/>
                  <a:gd name="connsiteY10" fmla="*/ 3487266 h 5633118"/>
                  <a:gd name="connsiteX11" fmla="*/ 1918706 w 1918706"/>
                  <a:gd name="connsiteY11" fmla="*/ 3508195 h 5633118"/>
                  <a:gd name="connsiteX12" fmla="*/ 1918706 w 1918706"/>
                  <a:gd name="connsiteY12" fmla="*/ 3515969 h 5633118"/>
                  <a:gd name="connsiteX13" fmla="*/ 1918706 w 1918706"/>
                  <a:gd name="connsiteY13" fmla="*/ 3574721 h 5633118"/>
                  <a:gd name="connsiteX14" fmla="*/ 1918706 w 1918706"/>
                  <a:gd name="connsiteY14" fmla="*/ 3587875 h 5633118"/>
                  <a:gd name="connsiteX15" fmla="*/ 1918706 w 1918706"/>
                  <a:gd name="connsiteY15" fmla="*/ 3595649 h 5633118"/>
                  <a:gd name="connsiteX16" fmla="*/ 1918706 w 1918706"/>
                  <a:gd name="connsiteY16" fmla="*/ 3997322 h 5633118"/>
                  <a:gd name="connsiteX17" fmla="*/ 1918706 w 1918706"/>
                  <a:gd name="connsiteY17" fmla="*/ 4010476 h 5633118"/>
                  <a:gd name="connsiteX18" fmla="*/ 1918706 w 1918706"/>
                  <a:gd name="connsiteY18" fmla="*/ 4069228 h 5633118"/>
                  <a:gd name="connsiteX19" fmla="*/ 1918706 w 1918706"/>
                  <a:gd name="connsiteY19" fmla="*/ 4090156 h 5633118"/>
                  <a:gd name="connsiteX20" fmla="*/ 1918706 w 1918706"/>
                  <a:gd name="connsiteY20" fmla="*/ 4097931 h 5633118"/>
                  <a:gd name="connsiteX21" fmla="*/ 1918706 w 1918706"/>
                  <a:gd name="connsiteY21" fmla="*/ 4491829 h 5633118"/>
                  <a:gd name="connsiteX22" fmla="*/ 1918706 w 1918706"/>
                  <a:gd name="connsiteY22" fmla="*/ 4579284 h 5633118"/>
                  <a:gd name="connsiteX23" fmla="*/ 1918706 w 1918706"/>
                  <a:gd name="connsiteY23" fmla="*/ 4592438 h 5633118"/>
                  <a:gd name="connsiteX24" fmla="*/ 1918706 w 1918706"/>
                  <a:gd name="connsiteY24" fmla="*/ 5073791 h 5633118"/>
                  <a:gd name="connsiteX25" fmla="*/ 959355 w 1918706"/>
                  <a:gd name="connsiteY25" fmla="*/ 5633118 h 5633118"/>
                  <a:gd name="connsiteX26" fmla="*/ 0 w 1918706"/>
                  <a:gd name="connsiteY26" fmla="*/ 5073791 h 5633118"/>
                  <a:gd name="connsiteX27" fmla="*/ 0 w 1918706"/>
                  <a:gd name="connsiteY27" fmla="*/ 4592438 h 5633118"/>
                  <a:gd name="connsiteX28" fmla="*/ 0 w 1918706"/>
                  <a:gd name="connsiteY28" fmla="*/ 4579284 h 5633118"/>
                  <a:gd name="connsiteX29" fmla="*/ 0 w 1918706"/>
                  <a:gd name="connsiteY29" fmla="*/ 4491829 h 5633118"/>
                  <a:gd name="connsiteX30" fmla="*/ 0 w 1918706"/>
                  <a:gd name="connsiteY30" fmla="*/ 4097931 h 5633118"/>
                  <a:gd name="connsiteX31" fmla="*/ 0 w 1918706"/>
                  <a:gd name="connsiteY31" fmla="*/ 4090156 h 5633118"/>
                  <a:gd name="connsiteX32" fmla="*/ 0 w 1918706"/>
                  <a:gd name="connsiteY32" fmla="*/ 4069228 h 5633118"/>
                  <a:gd name="connsiteX33" fmla="*/ 0 w 1918706"/>
                  <a:gd name="connsiteY33" fmla="*/ 4010476 h 5633118"/>
                  <a:gd name="connsiteX34" fmla="*/ 0 w 1918706"/>
                  <a:gd name="connsiteY34" fmla="*/ 3997322 h 5633118"/>
                  <a:gd name="connsiteX35" fmla="*/ 0 w 1918706"/>
                  <a:gd name="connsiteY35" fmla="*/ 3595649 h 5633118"/>
                  <a:gd name="connsiteX36" fmla="*/ 0 w 1918706"/>
                  <a:gd name="connsiteY36" fmla="*/ 3587875 h 5633118"/>
                  <a:gd name="connsiteX37" fmla="*/ 0 w 1918706"/>
                  <a:gd name="connsiteY37" fmla="*/ 3574721 h 5633118"/>
                  <a:gd name="connsiteX38" fmla="*/ 0 w 1918706"/>
                  <a:gd name="connsiteY38" fmla="*/ 3515969 h 5633118"/>
                  <a:gd name="connsiteX39" fmla="*/ 0 w 1918706"/>
                  <a:gd name="connsiteY39" fmla="*/ 3508195 h 5633118"/>
                  <a:gd name="connsiteX40" fmla="*/ 0 w 1918706"/>
                  <a:gd name="connsiteY40" fmla="*/ 3487266 h 5633118"/>
                  <a:gd name="connsiteX41" fmla="*/ 0 w 1918706"/>
                  <a:gd name="connsiteY4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992759 h 5633118"/>
                  <a:gd name="connsiteX5" fmla="*/ 1918706 w 1918706"/>
                  <a:gd name="connsiteY5" fmla="*/ 3005914 h 5633118"/>
                  <a:gd name="connsiteX6" fmla="*/ 1918706 w 1918706"/>
                  <a:gd name="connsiteY6" fmla="*/ 3013688 h 5633118"/>
                  <a:gd name="connsiteX7" fmla="*/ 1918706 w 1918706"/>
                  <a:gd name="connsiteY7" fmla="*/ 3085594 h 5633118"/>
                  <a:gd name="connsiteX8" fmla="*/ 1918706 w 1918706"/>
                  <a:gd name="connsiteY8" fmla="*/ 3093368 h 5633118"/>
                  <a:gd name="connsiteX9" fmla="*/ 1918706 w 1918706"/>
                  <a:gd name="connsiteY9" fmla="*/ 3487266 h 5633118"/>
                  <a:gd name="connsiteX10" fmla="*/ 1918706 w 1918706"/>
                  <a:gd name="connsiteY10" fmla="*/ 3508195 h 5633118"/>
                  <a:gd name="connsiteX11" fmla="*/ 1918706 w 1918706"/>
                  <a:gd name="connsiteY11" fmla="*/ 3515969 h 5633118"/>
                  <a:gd name="connsiteX12" fmla="*/ 1918706 w 1918706"/>
                  <a:gd name="connsiteY12" fmla="*/ 3574721 h 5633118"/>
                  <a:gd name="connsiteX13" fmla="*/ 1918706 w 1918706"/>
                  <a:gd name="connsiteY13" fmla="*/ 3587875 h 5633118"/>
                  <a:gd name="connsiteX14" fmla="*/ 1918706 w 1918706"/>
                  <a:gd name="connsiteY14" fmla="*/ 3595649 h 5633118"/>
                  <a:gd name="connsiteX15" fmla="*/ 1918706 w 1918706"/>
                  <a:gd name="connsiteY15" fmla="*/ 3997322 h 5633118"/>
                  <a:gd name="connsiteX16" fmla="*/ 1918706 w 1918706"/>
                  <a:gd name="connsiteY16" fmla="*/ 4010476 h 5633118"/>
                  <a:gd name="connsiteX17" fmla="*/ 1918706 w 1918706"/>
                  <a:gd name="connsiteY17" fmla="*/ 4069228 h 5633118"/>
                  <a:gd name="connsiteX18" fmla="*/ 1918706 w 1918706"/>
                  <a:gd name="connsiteY18" fmla="*/ 4090156 h 5633118"/>
                  <a:gd name="connsiteX19" fmla="*/ 1918706 w 1918706"/>
                  <a:gd name="connsiteY19" fmla="*/ 4097931 h 5633118"/>
                  <a:gd name="connsiteX20" fmla="*/ 1918706 w 1918706"/>
                  <a:gd name="connsiteY20" fmla="*/ 4491829 h 5633118"/>
                  <a:gd name="connsiteX21" fmla="*/ 1918706 w 1918706"/>
                  <a:gd name="connsiteY21" fmla="*/ 4579284 h 5633118"/>
                  <a:gd name="connsiteX22" fmla="*/ 1918706 w 1918706"/>
                  <a:gd name="connsiteY22" fmla="*/ 4592438 h 5633118"/>
                  <a:gd name="connsiteX23" fmla="*/ 1918706 w 1918706"/>
                  <a:gd name="connsiteY23" fmla="*/ 5073791 h 5633118"/>
                  <a:gd name="connsiteX24" fmla="*/ 959355 w 1918706"/>
                  <a:gd name="connsiteY24" fmla="*/ 5633118 h 5633118"/>
                  <a:gd name="connsiteX25" fmla="*/ 0 w 1918706"/>
                  <a:gd name="connsiteY25" fmla="*/ 5073791 h 5633118"/>
                  <a:gd name="connsiteX26" fmla="*/ 0 w 1918706"/>
                  <a:gd name="connsiteY26" fmla="*/ 4592438 h 5633118"/>
                  <a:gd name="connsiteX27" fmla="*/ 0 w 1918706"/>
                  <a:gd name="connsiteY27" fmla="*/ 4579284 h 5633118"/>
                  <a:gd name="connsiteX28" fmla="*/ 0 w 1918706"/>
                  <a:gd name="connsiteY28" fmla="*/ 4491829 h 5633118"/>
                  <a:gd name="connsiteX29" fmla="*/ 0 w 1918706"/>
                  <a:gd name="connsiteY29" fmla="*/ 4097931 h 5633118"/>
                  <a:gd name="connsiteX30" fmla="*/ 0 w 1918706"/>
                  <a:gd name="connsiteY30" fmla="*/ 4090156 h 5633118"/>
                  <a:gd name="connsiteX31" fmla="*/ 0 w 1918706"/>
                  <a:gd name="connsiteY31" fmla="*/ 4069228 h 5633118"/>
                  <a:gd name="connsiteX32" fmla="*/ 0 w 1918706"/>
                  <a:gd name="connsiteY32" fmla="*/ 4010476 h 5633118"/>
                  <a:gd name="connsiteX33" fmla="*/ 0 w 1918706"/>
                  <a:gd name="connsiteY33" fmla="*/ 3997322 h 5633118"/>
                  <a:gd name="connsiteX34" fmla="*/ 0 w 1918706"/>
                  <a:gd name="connsiteY34" fmla="*/ 3595649 h 5633118"/>
                  <a:gd name="connsiteX35" fmla="*/ 0 w 1918706"/>
                  <a:gd name="connsiteY35" fmla="*/ 3587875 h 5633118"/>
                  <a:gd name="connsiteX36" fmla="*/ 0 w 1918706"/>
                  <a:gd name="connsiteY36" fmla="*/ 3574721 h 5633118"/>
                  <a:gd name="connsiteX37" fmla="*/ 0 w 1918706"/>
                  <a:gd name="connsiteY37" fmla="*/ 3515969 h 5633118"/>
                  <a:gd name="connsiteX38" fmla="*/ 0 w 1918706"/>
                  <a:gd name="connsiteY38" fmla="*/ 3508195 h 5633118"/>
                  <a:gd name="connsiteX39" fmla="*/ 0 w 1918706"/>
                  <a:gd name="connsiteY39" fmla="*/ 3487266 h 5633118"/>
                  <a:gd name="connsiteX40" fmla="*/ 0 w 1918706"/>
                  <a:gd name="connsiteY4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13688 h 5633118"/>
                  <a:gd name="connsiteX6" fmla="*/ 1918706 w 1918706"/>
                  <a:gd name="connsiteY6" fmla="*/ 3085594 h 5633118"/>
                  <a:gd name="connsiteX7" fmla="*/ 1918706 w 1918706"/>
                  <a:gd name="connsiteY7" fmla="*/ 3093368 h 5633118"/>
                  <a:gd name="connsiteX8" fmla="*/ 1918706 w 1918706"/>
                  <a:gd name="connsiteY8" fmla="*/ 3487266 h 5633118"/>
                  <a:gd name="connsiteX9" fmla="*/ 1918706 w 1918706"/>
                  <a:gd name="connsiteY9" fmla="*/ 3508195 h 5633118"/>
                  <a:gd name="connsiteX10" fmla="*/ 1918706 w 1918706"/>
                  <a:gd name="connsiteY10" fmla="*/ 3515969 h 5633118"/>
                  <a:gd name="connsiteX11" fmla="*/ 1918706 w 1918706"/>
                  <a:gd name="connsiteY11" fmla="*/ 3574721 h 5633118"/>
                  <a:gd name="connsiteX12" fmla="*/ 1918706 w 1918706"/>
                  <a:gd name="connsiteY12" fmla="*/ 3587875 h 5633118"/>
                  <a:gd name="connsiteX13" fmla="*/ 1918706 w 1918706"/>
                  <a:gd name="connsiteY13" fmla="*/ 3595649 h 5633118"/>
                  <a:gd name="connsiteX14" fmla="*/ 1918706 w 1918706"/>
                  <a:gd name="connsiteY14" fmla="*/ 3997322 h 5633118"/>
                  <a:gd name="connsiteX15" fmla="*/ 1918706 w 1918706"/>
                  <a:gd name="connsiteY15" fmla="*/ 4010476 h 5633118"/>
                  <a:gd name="connsiteX16" fmla="*/ 1918706 w 1918706"/>
                  <a:gd name="connsiteY16" fmla="*/ 4069228 h 5633118"/>
                  <a:gd name="connsiteX17" fmla="*/ 1918706 w 1918706"/>
                  <a:gd name="connsiteY17" fmla="*/ 4090156 h 5633118"/>
                  <a:gd name="connsiteX18" fmla="*/ 1918706 w 1918706"/>
                  <a:gd name="connsiteY18" fmla="*/ 4097931 h 5633118"/>
                  <a:gd name="connsiteX19" fmla="*/ 1918706 w 1918706"/>
                  <a:gd name="connsiteY19" fmla="*/ 4491829 h 5633118"/>
                  <a:gd name="connsiteX20" fmla="*/ 1918706 w 1918706"/>
                  <a:gd name="connsiteY20" fmla="*/ 4579284 h 5633118"/>
                  <a:gd name="connsiteX21" fmla="*/ 1918706 w 1918706"/>
                  <a:gd name="connsiteY21" fmla="*/ 4592438 h 5633118"/>
                  <a:gd name="connsiteX22" fmla="*/ 1918706 w 1918706"/>
                  <a:gd name="connsiteY22" fmla="*/ 5073791 h 5633118"/>
                  <a:gd name="connsiteX23" fmla="*/ 959355 w 1918706"/>
                  <a:gd name="connsiteY23" fmla="*/ 5633118 h 5633118"/>
                  <a:gd name="connsiteX24" fmla="*/ 0 w 1918706"/>
                  <a:gd name="connsiteY24" fmla="*/ 5073791 h 5633118"/>
                  <a:gd name="connsiteX25" fmla="*/ 0 w 1918706"/>
                  <a:gd name="connsiteY25" fmla="*/ 4592438 h 5633118"/>
                  <a:gd name="connsiteX26" fmla="*/ 0 w 1918706"/>
                  <a:gd name="connsiteY26" fmla="*/ 4579284 h 5633118"/>
                  <a:gd name="connsiteX27" fmla="*/ 0 w 1918706"/>
                  <a:gd name="connsiteY27" fmla="*/ 4491829 h 5633118"/>
                  <a:gd name="connsiteX28" fmla="*/ 0 w 1918706"/>
                  <a:gd name="connsiteY28" fmla="*/ 4097931 h 5633118"/>
                  <a:gd name="connsiteX29" fmla="*/ 0 w 1918706"/>
                  <a:gd name="connsiteY29" fmla="*/ 4090156 h 5633118"/>
                  <a:gd name="connsiteX30" fmla="*/ 0 w 1918706"/>
                  <a:gd name="connsiteY30" fmla="*/ 4069228 h 5633118"/>
                  <a:gd name="connsiteX31" fmla="*/ 0 w 1918706"/>
                  <a:gd name="connsiteY31" fmla="*/ 4010476 h 5633118"/>
                  <a:gd name="connsiteX32" fmla="*/ 0 w 1918706"/>
                  <a:gd name="connsiteY32" fmla="*/ 3997322 h 5633118"/>
                  <a:gd name="connsiteX33" fmla="*/ 0 w 1918706"/>
                  <a:gd name="connsiteY33" fmla="*/ 3595649 h 5633118"/>
                  <a:gd name="connsiteX34" fmla="*/ 0 w 1918706"/>
                  <a:gd name="connsiteY34" fmla="*/ 3587875 h 5633118"/>
                  <a:gd name="connsiteX35" fmla="*/ 0 w 1918706"/>
                  <a:gd name="connsiteY35" fmla="*/ 3574721 h 5633118"/>
                  <a:gd name="connsiteX36" fmla="*/ 0 w 1918706"/>
                  <a:gd name="connsiteY36" fmla="*/ 3515969 h 5633118"/>
                  <a:gd name="connsiteX37" fmla="*/ 0 w 1918706"/>
                  <a:gd name="connsiteY37" fmla="*/ 3508195 h 5633118"/>
                  <a:gd name="connsiteX38" fmla="*/ 0 w 1918706"/>
                  <a:gd name="connsiteY38" fmla="*/ 3487266 h 5633118"/>
                  <a:gd name="connsiteX39" fmla="*/ 0 w 1918706"/>
                  <a:gd name="connsiteY3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85594 h 5633118"/>
                  <a:gd name="connsiteX6" fmla="*/ 1918706 w 1918706"/>
                  <a:gd name="connsiteY6" fmla="*/ 3093368 h 5633118"/>
                  <a:gd name="connsiteX7" fmla="*/ 1918706 w 1918706"/>
                  <a:gd name="connsiteY7" fmla="*/ 3487266 h 5633118"/>
                  <a:gd name="connsiteX8" fmla="*/ 1918706 w 1918706"/>
                  <a:gd name="connsiteY8" fmla="*/ 3508195 h 5633118"/>
                  <a:gd name="connsiteX9" fmla="*/ 1918706 w 1918706"/>
                  <a:gd name="connsiteY9" fmla="*/ 3515969 h 5633118"/>
                  <a:gd name="connsiteX10" fmla="*/ 1918706 w 1918706"/>
                  <a:gd name="connsiteY10" fmla="*/ 3574721 h 5633118"/>
                  <a:gd name="connsiteX11" fmla="*/ 1918706 w 1918706"/>
                  <a:gd name="connsiteY11" fmla="*/ 3587875 h 5633118"/>
                  <a:gd name="connsiteX12" fmla="*/ 1918706 w 1918706"/>
                  <a:gd name="connsiteY12" fmla="*/ 3595649 h 5633118"/>
                  <a:gd name="connsiteX13" fmla="*/ 1918706 w 1918706"/>
                  <a:gd name="connsiteY13" fmla="*/ 3997322 h 5633118"/>
                  <a:gd name="connsiteX14" fmla="*/ 1918706 w 1918706"/>
                  <a:gd name="connsiteY14" fmla="*/ 4010476 h 5633118"/>
                  <a:gd name="connsiteX15" fmla="*/ 1918706 w 1918706"/>
                  <a:gd name="connsiteY15" fmla="*/ 4069228 h 5633118"/>
                  <a:gd name="connsiteX16" fmla="*/ 1918706 w 1918706"/>
                  <a:gd name="connsiteY16" fmla="*/ 4090156 h 5633118"/>
                  <a:gd name="connsiteX17" fmla="*/ 1918706 w 1918706"/>
                  <a:gd name="connsiteY17" fmla="*/ 4097931 h 5633118"/>
                  <a:gd name="connsiteX18" fmla="*/ 1918706 w 1918706"/>
                  <a:gd name="connsiteY18" fmla="*/ 4491829 h 5633118"/>
                  <a:gd name="connsiteX19" fmla="*/ 1918706 w 1918706"/>
                  <a:gd name="connsiteY19" fmla="*/ 4579284 h 5633118"/>
                  <a:gd name="connsiteX20" fmla="*/ 1918706 w 1918706"/>
                  <a:gd name="connsiteY20" fmla="*/ 4592438 h 5633118"/>
                  <a:gd name="connsiteX21" fmla="*/ 1918706 w 1918706"/>
                  <a:gd name="connsiteY21" fmla="*/ 5073791 h 5633118"/>
                  <a:gd name="connsiteX22" fmla="*/ 959355 w 1918706"/>
                  <a:gd name="connsiteY22" fmla="*/ 5633118 h 5633118"/>
                  <a:gd name="connsiteX23" fmla="*/ 0 w 1918706"/>
                  <a:gd name="connsiteY23" fmla="*/ 5073791 h 5633118"/>
                  <a:gd name="connsiteX24" fmla="*/ 0 w 1918706"/>
                  <a:gd name="connsiteY24" fmla="*/ 4592438 h 5633118"/>
                  <a:gd name="connsiteX25" fmla="*/ 0 w 1918706"/>
                  <a:gd name="connsiteY25" fmla="*/ 4579284 h 5633118"/>
                  <a:gd name="connsiteX26" fmla="*/ 0 w 1918706"/>
                  <a:gd name="connsiteY26" fmla="*/ 4491829 h 5633118"/>
                  <a:gd name="connsiteX27" fmla="*/ 0 w 1918706"/>
                  <a:gd name="connsiteY27" fmla="*/ 4097931 h 5633118"/>
                  <a:gd name="connsiteX28" fmla="*/ 0 w 1918706"/>
                  <a:gd name="connsiteY28" fmla="*/ 4090156 h 5633118"/>
                  <a:gd name="connsiteX29" fmla="*/ 0 w 1918706"/>
                  <a:gd name="connsiteY29" fmla="*/ 4069228 h 5633118"/>
                  <a:gd name="connsiteX30" fmla="*/ 0 w 1918706"/>
                  <a:gd name="connsiteY30" fmla="*/ 4010476 h 5633118"/>
                  <a:gd name="connsiteX31" fmla="*/ 0 w 1918706"/>
                  <a:gd name="connsiteY31" fmla="*/ 3997322 h 5633118"/>
                  <a:gd name="connsiteX32" fmla="*/ 0 w 1918706"/>
                  <a:gd name="connsiteY32" fmla="*/ 3595649 h 5633118"/>
                  <a:gd name="connsiteX33" fmla="*/ 0 w 1918706"/>
                  <a:gd name="connsiteY33" fmla="*/ 3587875 h 5633118"/>
                  <a:gd name="connsiteX34" fmla="*/ 0 w 1918706"/>
                  <a:gd name="connsiteY34" fmla="*/ 3574721 h 5633118"/>
                  <a:gd name="connsiteX35" fmla="*/ 0 w 1918706"/>
                  <a:gd name="connsiteY35" fmla="*/ 3515969 h 5633118"/>
                  <a:gd name="connsiteX36" fmla="*/ 0 w 1918706"/>
                  <a:gd name="connsiteY36" fmla="*/ 3508195 h 5633118"/>
                  <a:gd name="connsiteX37" fmla="*/ 0 w 1918706"/>
                  <a:gd name="connsiteY37" fmla="*/ 3487266 h 5633118"/>
                  <a:gd name="connsiteX38" fmla="*/ 0 w 1918706"/>
                  <a:gd name="connsiteY3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85594 h 5633118"/>
                  <a:gd name="connsiteX5" fmla="*/ 1918706 w 1918706"/>
                  <a:gd name="connsiteY5" fmla="*/ 3093368 h 5633118"/>
                  <a:gd name="connsiteX6" fmla="*/ 1918706 w 1918706"/>
                  <a:gd name="connsiteY6" fmla="*/ 3487266 h 5633118"/>
                  <a:gd name="connsiteX7" fmla="*/ 1918706 w 1918706"/>
                  <a:gd name="connsiteY7" fmla="*/ 3508195 h 5633118"/>
                  <a:gd name="connsiteX8" fmla="*/ 1918706 w 1918706"/>
                  <a:gd name="connsiteY8" fmla="*/ 3515969 h 5633118"/>
                  <a:gd name="connsiteX9" fmla="*/ 1918706 w 1918706"/>
                  <a:gd name="connsiteY9" fmla="*/ 3574721 h 5633118"/>
                  <a:gd name="connsiteX10" fmla="*/ 1918706 w 1918706"/>
                  <a:gd name="connsiteY10" fmla="*/ 3587875 h 5633118"/>
                  <a:gd name="connsiteX11" fmla="*/ 1918706 w 1918706"/>
                  <a:gd name="connsiteY11" fmla="*/ 3595649 h 5633118"/>
                  <a:gd name="connsiteX12" fmla="*/ 1918706 w 1918706"/>
                  <a:gd name="connsiteY12" fmla="*/ 3997322 h 5633118"/>
                  <a:gd name="connsiteX13" fmla="*/ 1918706 w 1918706"/>
                  <a:gd name="connsiteY13" fmla="*/ 4010476 h 5633118"/>
                  <a:gd name="connsiteX14" fmla="*/ 1918706 w 1918706"/>
                  <a:gd name="connsiteY14" fmla="*/ 4069228 h 5633118"/>
                  <a:gd name="connsiteX15" fmla="*/ 1918706 w 1918706"/>
                  <a:gd name="connsiteY15" fmla="*/ 4090156 h 5633118"/>
                  <a:gd name="connsiteX16" fmla="*/ 1918706 w 1918706"/>
                  <a:gd name="connsiteY16" fmla="*/ 4097931 h 5633118"/>
                  <a:gd name="connsiteX17" fmla="*/ 1918706 w 1918706"/>
                  <a:gd name="connsiteY17" fmla="*/ 4491829 h 5633118"/>
                  <a:gd name="connsiteX18" fmla="*/ 1918706 w 1918706"/>
                  <a:gd name="connsiteY18" fmla="*/ 4579284 h 5633118"/>
                  <a:gd name="connsiteX19" fmla="*/ 1918706 w 1918706"/>
                  <a:gd name="connsiteY19" fmla="*/ 4592438 h 5633118"/>
                  <a:gd name="connsiteX20" fmla="*/ 1918706 w 1918706"/>
                  <a:gd name="connsiteY20" fmla="*/ 5073791 h 5633118"/>
                  <a:gd name="connsiteX21" fmla="*/ 959355 w 1918706"/>
                  <a:gd name="connsiteY21" fmla="*/ 5633118 h 5633118"/>
                  <a:gd name="connsiteX22" fmla="*/ 0 w 1918706"/>
                  <a:gd name="connsiteY22" fmla="*/ 5073791 h 5633118"/>
                  <a:gd name="connsiteX23" fmla="*/ 0 w 1918706"/>
                  <a:gd name="connsiteY23" fmla="*/ 4592438 h 5633118"/>
                  <a:gd name="connsiteX24" fmla="*/ 0 w 1918706"/>
                  <a:gd name="connsiteY24" fmla="*/ 4579284 h 5633118"/>
                  <a:gd name="connsiteX25" fmla="*/ 0 w 1918706"/>
                  <a:gd name="connsiteY25" fmla="*/ 4491829 h 5633118"/>
                  <a:gd name="connsiteX26" fmla="*/ 0 w 1918706"/>
                  <a:gd name="connsiteY26" fmla="*/ 4097931 h 5633118"/>
                  <a:gd name="connsiteX27" fmla="*/ 0 w 1918706"/>
                  <a:gd name="connsiteY27" fmla="*/ 4090156 h 5633118"/>
                  <a:gd name="connsiteX28" fmla="*/ 0 w 1918706"/>
                  <a:gd name="connsiteY28" fmla="*/ 4069228 h 5633118"/>
                  <a:gd name="connsiteX29" fmla="*/ 0 w 1918706"/>
                  <a:gd name="connsiteY29" fmla="*/ 4010476 h 5633118"/>
                  <a:gd name="connsiteX30" fmla="*/ 0 w 1918706"/>
                  <a:gd name="connsiteY30" fmla="*/ 3997322 h 5633118"/>
                  <a:gd name="connsiteX31" fmla="*/ 0 w 1918706"/>
                  <a:gd name="connsiteY31" fmla="*/ 3595649 h 5633118"/>
                  <a:gd name="connsiteX32" fmla="*/ 0 w 1918706"/>
                  <a:gd name="connsiteY32" fmla="*/ 3587875 h 5633118"/>
                  <a:gd name="connsiteX33" fmla="*/ 0 w 1918706"/>
                  <a:gd name="connsiteY33" fmla="*/ 3574721 h 5633118"/>
                  <a:gd name="connsiteX34" fmla="*/ 0 w 1918706"/>
                  <a:gd name="connsiteY34" fmla="*/ 3515969 h 5633118"/>
                  <a:gd name="connsiteX35" fmla="*/ 0 w 1918706"/>
                  <a:gd name="connsiteY35" fmla="*/ 3508195 h 5633118"/>
                  <a:gd name="connsiteX36" fmla="*/ 0 w 1918706"/>
                  <a:gd name="connsiteY36" fmla="*/ 3487266 h 5633118"/>
                  <a:gd name="connsiteX37" fmla="*/ 0 w 1918706"/>
                  <a:gd name="connsiteY3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093368 h 5633118"/>
                  <a:gd name="connsiteX5" fmla="*/ 1918706 w 1918706"/>
                  <a:gd name="connsiteY5" fmla="*/ 3487266 h 5633118"/>
                  <a:gd name="connsiteX6" fmla="*/ 1918706 w 1918706"/>
                  <a:gd name="connsiteY6" fmla="*/ 3508195 h 5633118"/>
                  <a:gd name="connsiteX7" fmla="*/ 1918706 w 1918706"/>
                  <a:gd name="connsiteY7" fmla="*/ 3515969 h 5633118"/>
                  <a:gd name="connsiteX8" fmla="*/ 1918706 w 1918706"/>
                  <a:gd name="connsiteY8" fmla="*/ 3574721 h 5633118"/>
                  <a:gd name="connsiteX9" fmla="*/ 1918706 w 1918706"/>
                  <a:gd name="connsiteY9" fmla="*/ 3587875 h 5633118"/>
                  <a:gd name="connsiteX10" fmla="*/ 1918706 w 1918706"/>
                  <a:gd name="connsiteY10" fmla="*/ 3595649 h 5633118"/>
                  <a:gd name="connsiteX11" fmla="*/ 1918706 w 1918706"/>
                  <a:gd name="connsiteY11" fmla="*/ 3997322 h 5633118"/>
                  <a:gd name="connsiteX12" fmla="*/ 1918706 w 1918706"/>
                  <a:gd name="connsiteY12" fmla="*/ 4010476 h 5633118"/>
                  <a:gd name="connsiteX13" fmla="*/ 1918706 w 1918706"/>
                  <a:gd name="connsiteY13" fmla="*/ 4069228 h 5633118"/>
                  <a:gd name="connsiteX14" fmla="*/ 1918706 w 1918706"/>
                  <a:gd name="connsiteY14" fmla="*/ 4090156 h 5633118"/>
                  <a:gd name="connsiteX15" fmla="*/ 1918706 w 1918706"/>
                  <a:gd name="connsiteY15" fmla="*/ 4097931 h 5633118"/>
                  <a:gd name="connsiteX16" fmla="*/ 1918706 w 1918706"/>
                  <a:gd name="connsiteY16" fmla="*/ 4491829 h 5633118"/>
                  <a:gd name="connsiteX17" fmla="*/ 1918706 w 1918706"/>
                  <a:gd name="connsiteY17" fmla="*/ 4579284 h 5633118"/>
                  <a:gd name="connsiteX18" fmla="*/ 1918706 w 1918706"/>
                  <a:gd name="connsiteY18" fmla="*/ 4592438 h 5633118"/>
                  <a:gd name="connsiteX19" fmla="*/ 1918706 w 1918706"/>
                  <a:gd name="connsiteY19" fmla="*/ 5073791 h 5633118"/>
                  <a:gd name="connsiteX20" fmla="*/ 959355 w 1918706"/>
                  <a:gd name="connsiteY20" fmla="*/ 5633118 h 5633118"/>
                  <a:gd name="connsiteX21" fmla="*/ 0 w 1918706"/>
                  <a:gd name="connsiteY21" fmla="*/ 5073791 h 5633118"/>
                  <a:gd name="connsiteX22" fmla="*/ 0 w 1918706"/>
                  <a:gd name="connsiteY22" fmla="*/ 4592438 h 5633118"/>
                  <a:gd name="connsiteX23" fmla="*/ 0 w 1918706"/>
                  <a:gd name="connsiteY23" fmla="*/ 4579284 h 5633118"/>
                  <a:gd name="connsiteX24" fmla="*/ 0 w 1918706"/>
                  <a:gd name="connsiteY24" fmla="*/ 4491829 h 5633118"/>
                  <a:gd name="connsiteX25" fmla="*/ 0 w 1918706"/>
                  <a:gd name="connsiteY25" fmla="*/ 4097931 h 5633118"/>
                  <a:gd name="connsiteX26" fmla="*/ 0 w 1918706"/>
                  <a:gd name="connsiteY26" fmla="*/ 4090156 h 5633118"/>
                  <a:gd name="connsiteX27" fmla="*/ 0 w 1918706"/>
                  <a:gd name="connsiteY27" fmla="*/ 4069228 h 5633118"/>
                  <a:gd name="connsiteX28" fmla="*/ 0 w 1918706"/>
                  <a:gd name="connsiteY28" fmla="*/ 4010476 h 5633118"/>
                  <a:gd name="connsiteX29" fmla="*/ 0 w 1918706"/>
                  <a:gd name="connsiteY29" fmla="*/ 3997322 h 5633118"/>
                  <a:gd name="connsiteX30" fmla="*/ 0 w 1918706"/>
                  <a:gd name="connsiteY30" fmla="*/ 3595649 h 5633118"/>
                  <a:gd name="connsiteX31" fmla="*/ 0 w 1918706"/>
                  <a:gd name="connsiteY31" fmla="*/ 3587875 h 5633118"/>
                  <a:gd name="connsiteX32" fmla="*/ 0 w 1918706"/>
                  <a:gd name="connsiteY32" fmla="*/ 3574721 h 5633118"/>
                  <a:gd name="connsiteX33" fmla="*/ 0 w 1918706"/>
                  <a:gd name="connsiteY33" fmla="*/ 3515969 h 5633118"/>
                  <a:gd name="connsiteX34" fmla="*/ 0 w 1918706"/>
                  <a:gd name="connsiteY34" fmla="*/ 3508195 h 5633118"/>
                  <a:gd name="connsiteX35" fmla="*/ 0 w 1918706"/>
                  <a:gd name="connsiteY35" fmla="*/ 3487266 h 5633118"/>
                  <a:gd name="connsiteX36" fmla="*/ 0 w 1918706"/>
                  <a:gd name="connsiteY3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487266 h 5633118"/>
                  <a:gd name="connsiteX5" fmla="*/ 1918706 w 1918706"/>
                  <a:gd name="connsiteY5" fmla="*/ 3508195 h 5633118"/>
                  <a:gd name="connsiteX6" fmla="*/ 1918706 w 1918706"/>
                  <a:gd name="connsiteY6" fmla="*/ 3515969 h 5633118"/>
                  <a:gd name="connsiteX7" fmla="*/ 1918706 w 1918706"/>
                  <a:gd name="connsiteY7" fmla="*/ 3574721 h 5633118"/>
                  <a:gd name="connsiteX8" fmla="*/ 1918706 w 1918706"/>
                  <a:gd name="connsiteY8" fmla="*/ 3587875 h 5633118"/>
                  <a:gd name="connsiteX9" fmla="*/ 1918706 w 1918706"/>
                  <a:gd name="connsiteY9" fmla="*/ 3595649 h 5633118"/>
                  <a:gd name="connsiteX10" fmla="*/ 1918706 w 1918706"/>
                  <a:gd name="connsiteY10" fmla="*/ 3997322 h 5633118"/>
                  <a:gd name="connsiteX11" fmla="*/ 1918706 w 1918706"/>
                  <a:gd name="connsiteY11" fmla="*/ 4010476 h 5633118"/>
                  <a:gd name="connsiteX12" fmla="*/ 1918706 w 1918706"/>
                  <a:gd name="connsiteY12" fmla="*/ 4069228 h 5633118"/>
                  <a:gd name="connsiteX13" fmla="*/ 1918706 w 1918706"/>
                  <a:gd name="connsiteY13" fmla="*/ 4090156 h 5633118"/>
                  <a:gd name="connsiteX14" fmla="*/ 1918706 w 1918706"/>
                  <a:gd name="connsiteY14" fmla="*/ 4097931 h 5633118"/>
                  <a:gd name="connsiteX15" fmla="*/ 1918706 w 1918706"/>
                  <a:gd name="connsiteY15" fmla="*/ 4491829 h 5633118"/>
                  <a:gd name="connsiteX16" fmla="*/ 1918706 w 1918706"/>
                  <a:gd name="connsiteY16" fmla="*/ 4579284 h 5633118"/>
                  <a:gd name="connsiteX17" fmla="*/ 1918706 w 1918706"/>
                  <a:gd name="connsiteY17" fmla="*/ 4592438 h 5633118"/>
                  <a:gd name="connsiteX18" fmla="*/ 1918706 w 1918706"/>
                  <a:gd name="connsiteY18" fmla="*/ 5073791 h 5633118"/>
                  <a:gd name="connsiteX19" fmla="*/ 959355 w 1918706"/>
                  <a:gd name="connsiteY19" fmla="*/ 5633118 h 5633118"/>
                  <a:gd name="connsiteX20" fmla="*/ 0 w 1918706"/>
                  <a:gd name="connsiteY20" fmla="*/ 5073791 h 5633118"/>
                  <a:gd name="connsiteX21" fmla="*/ 0 w 1918706"/>
                  <a:gd name="connsiteY21" fmla="*/ 4592438 h 5633118"/>
                  <a:gd name="connsiteX22" fmla="*/ 0 w 1918706"/>
                  <a:gd name="connsiteY22" fmla="*/ 4579284 h 5633118"/>
                  <a:gd name="connsiteX23" fmla="*/ 0 w 1918706"/>
                  <a:gd name="connsiteY23" fmla="*/ 4491829 h 5633118"/>
                  <a:gd name="connsiteX24" fmla="*/ 0 w 1918706"/>
                  <a:gd name="connsiteY24" fmla="*/ 4097931 h 5633118"/>
                  <a:gd name="connsiteX25" fmla="*/ 0 w 1918706"/>
                  <a:gd name="connsiteY25" fmla="*/ 4090156 h 5633118"/>
                  <a:gd name="connsiteX26" fmla="*/ 0 w 1918706"/>
                  <a:gd name="connsiteY26" fmla="*/ 4069228 h 5633118"/>
                  <a:gd name="connsiteX27" fmla="*/ 0 w 1918706"/>
                  <a:gd name="connsiteY27" fmla="*/ 4010476 h 5633118"/>
                  <a:gd name="connsiteX28" fmla="*/ 0 w 1918706"/>
                  <a:gd name="connsiteY28" fmla="*/ 3997322 h 5633118"/>
                  <a:gd name="connsiteX29" fmla="*/ 0 w 1918706"/>
                  <a:gd name="connsiteY29" fmla="*/ 3595649 h 5633118"/>
                  <a:gd name="connsiteX30" fmla="*/ 0 w 1918706"/>
                  <a:gd name="connsiteY30" fmla="*/ 3587875 h 5633118"/>
                  <a:gd name="connsiteX31" fmla="*/ 0 w 1918706"/>
                  <a:gd name="connsiteY31" fmla="*/ 3574721 h 5633118"/>
                  <a:gd name="connsiteX32" fmla="*/ 0 w 1918706"/>
                  <a:gd name="connsiteY32" fmla="*/ 3515969 h 5633118"/>
                  <a:gd name="connsiteX33" fmla="*/ 0 w 1918706"/>
                  <a:gd name="connsiteY33" fmla="*/ 3508195 h 5633118"/>
                  <a:gd name="connsiteX34" fmla="*/ 0 w 1918706"/>
                  <a:gd name="connsiteY34" fmla="*/ 3487266 h 5633118"/>
                  <a:gd name="connsiteX35" fmla="*/ 0 w 1918706"/>
                  <a:gd name="connsiteY3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74721 h 5633118"/>
                  <a:gd name="connsiteX7" fmla="*/ 1918706 w 1918706"/>
                  <a:gd name="connsiteY7" fmla="*/ 3587875 h 5633118"/>
                  <a:gd name="connsiteX8" fmla="*/ 1918706 w 1918706"/>
                  <a:gd name="connsiteY8" fmla="*/ 3595649 h 5633118"/>
                  <a:gd name="connsiteX9" fmla="*/ 1918706 w 1918706"/>
                  <a:gd name="connsiteY9" fmla="*/ 3997322 h 5633118"/>
                  <a:gd name="connsiteX10" fmla="*/ 1918706 w 1918706"/>
                  <a:gd name="connsiteY10" fmla="*/ 4010476 h 5633118"/>
                  <a:gd name="connsiteX11" fmla="*/ 1918706 w 1918706"/>
                  <a:gd name="connsiteY11" fmla="*/ 4069228 h 5633118"/>
                  <a:gd name="connsiteX12" fmla="*/ 1918706 w 1918706"/>
                  <a:gd name="connsiteY12" fmla="*/ 4090156 h 5633118"/>
                  <a:gd name="connsiteX13" fmla="*/ 1918706 w 1918706"/>
                  <a:gd name="connsiteY13" fmla="*/ 4097931 h 5633118"/>
                  <a:gd name="connsiteX14" fmla="*/ 1918706 w 1918706"/>
                  <a:gd name="connsiteY14" fmla="*/ 4491829 h 5633118"/>
                  <a:gd name="connsiteX15" fmla="*/ 1918706 w 1918706"/>
                  <a:gd name="connsiteY15" fmla="*/ 4579284 h 5633118"/>
                  <a:gd name="connsiteX16" fmla="*/ 1918706 w 1918706"/>
                  <a:gd name="connsiteY16" fmla="*/ 4592438 h 5633118"/>
                  <a:gd name="connsiteX17" fmla="*/ 1918706 w 1918706"/>
                  <a:gd name="connsiteY17" fmla="*/ 5073791 h 5633118"/>
                  <a:gd name="connsiteX18" fmla="*/ 959355 w 1918706"/>
                  <a:gd name="connsiteY18" fmla="*/ 5633118 h 5633118"/>
                  <a:gd name="connsiteX19" fmla="*/ 0 w 1918706"/>
                  <a:gd name="connsiteY19" fmla="*/ 5073791 h 5633118"/>
                  <a:gd name="connsiteX20" fmla="*/ 0 w 1918706"/>
                  <a:gd name="connsiteY20" fmla="*/ 4592438 h 5633118"/>
                  <a:gd name="connsiteX21" fmla="*/ 0 w 1918706"/>
                  <a:gd name="connsiteY21" fmla="*/ 4579284 h 5633118"/>
                  <a:gd name="connsiteX22" fmla="*/ 0 w 1918706"/>
                  <a:gd name="connsiteY22" fmla="*/ 4491829 h 5633118"/>
                  <a:gd name="connsiteX23" fmla="*/ 0 w 1918706"/>
                  <a:gd name="connsiteY23" fmla="*/ 4097931 h 5633118"/>
                  <a:gd name="connsiteX24" fmla="*/ 0 w 1918706"/>
                  <a:gd name="connsiteY24" fmla="*/ 4090156 h 5633118"/>
                  <a:gd name="connsiteX25" fmla="*/ 0 w 1918706"/>
                  <a:gd name="connsiteY25" fmla="*/ 4069228 h 5633118"/>
                  <a:gd name="connsiteX26" fmla="*/ 0 w 1918706"/>
                  <a:gd name="connsiteY26" fmla="*/ 4010476 h 5633118"/>
                  <a:gd name="connsiteX27" fmla="*/ 0 w 1918706"/>
                  <a:gd name="connsiteY27" fmla="*/ 3997322 h 5633118"/>
                  <a:gd name="connsiteX28" fmla="*/ 0 w 1918706"/>
                  <a:gd name="connsiteY28" fmla="*/ 3595649 h 5633118"/>
                  <a:gd name="connsiteX29" fmla="*/ 0 w 1918706"/>
                  <a:gd name="connsiteY29" fmla="*/ 3587875 h 5633118"/>
                  <a:gd name="connsiteX30" fmla="*/ 0 w 1918706"/>
                  <a:gd name="connsiteY30" fmla="*/ 3574721 h 5633118"/>
                  <a:gd name="connsiteX31" fmla="*/ 0 w 1918706"/>
                  <a:gd name="connsiteY31" fmla="*/ 3515969 h 5633118"/>
                  <a:gd name="connsiteX32" fmla="*/ 0 w 1918706"/>
                  <a:gd name="connsiteY32" fmla="*/ 3508195 h 5633118"/>
                  <a:gd name="connsiteX33" fmla="*/ 0 w 1918706"/>
                  <a:gd name="connsiteY33" fmla="*/ 3487266 h 5633118"/>
                  <a:gd name="connsiteX34" fmla="*/ 0 w 1918706"/>
                  <a:gd name="connsiteY3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87875 h 5633118"/>
                  <a:gd name="connsiteX7" fmla="*/ 1918706 w 1918706"/>
                  <a:gd name="connsiteY7" fmla="*/ 3595649 h 5633118"/>
                  <a:gd name="connsiteX8" fmla="*/ 1918706 w 1918706"/>
                  <a:gd name="connsiteY8" fmla="*/ 3997322 h 5633118"/>
                  <a:gd name="connsiteX9" fmla="*/ 1918706 w 1918706"/>
                  <a:gd name="connsiteY9" fmla="*/ 4010476 h 5633118"/>
                  <a:gd name="connsiteX10" fmla="*/ 1918706 w 1918706"/>
                  <a:gd name="connsiteY10" fmla="*/ 4069228 h 5633118"/>
                  <a:gd name="connsiteX11" fmla="*/ 1918706 w 1918706"/>
                  <a:gd name="connsiteY11" fmla="*/ 4090156 h 5633118"/>
                  <a:gd name="connsiteX12" fmla="*/ 1918706 w 1918706"/>
                  <a:gd name="connsiteY12" fmla="*/ 4097931 h 5633118"/>
                  <a:gd name="connsiteX13" fmla="*/ 1918706 w 1918706"/>
                  <a:gd name="connsiteY13" fmla="*/ 4491829 h 5633118"/>
                  <a:gd name="connsiteX14" fmla="*/ 1918706 w 1918706"/>
                  <a:gd name="connsiteY14" fmla="*/ 4579284 h 5633118"/>
                  <a:gd name="connsiteX15" fmla="*/ 1918706 w 1918706"/>
                  <a:gd name="connsiteY15" fmla="*/ 4592438 h 5633118"/>
                  <a:gd name="connsiteX16" fmla="*/ 1918706 w 1918706"/>
                  <a:gd name="connsiteY16" fmla="*/ 5073791 h 5633118"/>
                  <a:gd name="connsiteX17" fmla="*/ 959355 w 1918706"/>
                  <a:gd name="connsiteY17" fmla="*/ 5633118 h 5633118"/>
                  <a:gd name="connsiteX18" fmla="*/ 0 w 1918706"/>
                  <a:gd name="connsiteY18" fmla="*/ 5073791 h 5633118"/>
                  <a:gd name="connsiteX19" fmla="*/ 0 w 1918706"/>
                  <a:gd name="connsiteY19" fmla="*/ 4592438 h 5633118"/>
                  <a:gd name="connsiteX20" fmla="*/ 0 w 1918706"/>
                  <a:gd name="connsiteY20" fmla="*/ 4579284 h 5633118"/>
                  <a:gd name="connsiteX21" fmla="*/ 0 w 1918706"/>
                  <a:gd name="connsiteY21" fmla="*/ 4491829 h 5633118"/>
                  <a:gd name="connsiteX22" fmla="*/ 0 w 1918706"/>
                  <a:gd name="connsiteY22" fmla="*/ 4097931 h 5633118"/>
                  <a:gd name="connsiteX23" fmla="*/ 0 w 1918706"/>
                  <a:gd name="connsiteY23" fmla="*/ 4090156 h 5633118"/>
                  <a:gd name="connsiteX24" fmla="*/ 0 w 1918706"/>
                  <a:gd name="connsiteY24" fmla="*/ 4069228 h 5633118"/>
                  <a:gd name="connsiteX25" fmla="*/ 0 w 1918706"/>
                  <a:gd name="connsiteY25" fmla="*/ 4010476 h 5633118"/>
                  <a:gd name="connsiteX26" fmla="*/ 0 w 1918706"/>
                  <a:gd name="connsiteY26" fmla="*/ 3997322 h 5633118"/>
                  <a:gd name="connsiteX27" fmla="*/ 0 w 1918706"/>
                  <a:gd name="connsiteY27" fmla="*/ 3595649 h 5633118"/>
                  <a:gd name="connsiteX28" fmla="*/ 0 w 1918706"/>
                  <a:gd name="connsiteY28" fmla="*/ 3587875 h 5633118"/>
                  <a:gd name="connsiteX29" fmla="*/ 0 w 1918706"/>
                  <a:gd name="connsiteY29" fmla="*/ 3574721 h 5633118"/>
                  <a:gd name="connsiteX30" fmla="*/ 0 w 1918706"/>
                  <a:gd name="connsiteY30" fmla="*/ 3515969 h 5633118"/>
                  <a:gd name="connsiteX31" fmla="*/ 0 w 1918706"/>
                  <a:gd name="connsiteY31" fmla="*/ 3508195 h 5633118"/>
                  <a:gd name="connsiteX32" fmla="*/ 0 w 1918706"/>
                  <a:gd name="connsiteY32" fmla="*/ 3487266 h 5633118"/>
                  <a:gd name="connsiteX33" fmla="*/ 0 w 1918706"/>
                  <a:gd name="connsiteY3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87875 h 5633118"/>
                  <a:gd name="connsiteX6" fmla="*/ 1918706 w 1918706"/>
                  <a:gd name="connsiteY6" fmla="*/ 3595649 h 5633118"/>
                  <a:gd name="connsiteX7" fmla="*/ 1918706 w 1918706"/>
                  <a:gd name="connsiteY7" fmla="*/ 3997322 h 5633118"/>
                  <a:gd name="connsiteX8" fmla="*/ 1918706 w 1918706"/>
                  <a:gd name="connsiteY8" fmla="*/ 4010476 h 5633118"/>
                  <a:gd name="connsiteX9" fmla="*/ 1918706 w 1918706"/>
                  <a:gd name="connsiteY9" fmla="*/ 4069228 h 5633118"/>
                  <a:gd name="connsiteX10" fmla="*/ 1918706 w 1918706"/>
                  <a:gd name="connsiteY10" fmla="*/ 4090156 h 5633118"/>
                  <a:gd name="connsiteX11" fmla="*/ 1918706 w 1918706"/>
                  <a:gd name="connsiteY11" fmla="*/ 4097931 h 5633118"/>
                  <a:gd name="connsiteX12" fmla="*/ 1918706 w 1918706"/>
                  <a:gd name="connsiteY12" fmla="*/ 4491829 h 5633118"/>
                  <a:gd name="connsiteX13" fmla="*/ 1918706 w 1918706"/>
                  <a:gd name="connsiteY13" fmla="*/ 4579284 h 5633118"/>
                  <a:gd name="connsiteX14" fmla="*/ 1918706 w 1918706"/>
                  <a:gd name="connsiteY14" fmla="*/ 4592438 h 5633118"/>
                  <a:gd name="connsiteX15" fmla="*/ 1918706 w 1918706"/>
                  <a:gd name="connsiteY15" fmla="*/ 5073791 h 5633118"/>
                  <a:gd name="connsiteX16" fmla="*/ 959355 w 1918706"/>
                  <a:gd name="connsiteY16" fmla="*/ 5633118 h 5633118"/>
                  <a:gd name="connsiteX17" fmla="*/ 0 w 1918706"/>
                  <a:gd name="connsiteY17" fmla="*/ 5073791 h 5633118"/>
                  <a:gd name="connsiteX18" fmla="*/ 0 w 1918706"/>
                  <a:gd name="connsiteY18" fmla="*/ 4592438 h 5633118"/>
                  <a:gd name="connsiteX19" fmla="*/ 0 w 1918706"/>
                  <a:gd name="connsiteY19" fmla="*/ 4579284 h 5633118"/>
                  <a:gd name="connsiteX20" fmla="*/ 0 w 1918706"/>
                  <a:gd name="connsiteY20" fmla="*/ 4491829 h 5633118"/>
                  <a:gd name="connsiteX21" fmla="*/ 0 w 1918706"/>
                  <a:gd name="connsiteY21" fmla="*/ 4097931 h 5633118"/>
                  <a:gd name="connsiteX22" fmla="*/ 0 w 1918706"/>
                  <a:gd name="connsiteY22" fmla="*/ 4090156 h 5633118"/>
                  <a:gd name="connsiteX23" fmla="*/ 0 w 1918706"/>
                  <a:gd name="connsiteY23" fmla="*/ 4069228 h 5633118"/>
                  <a:gd name="connsiteX24" fmla="*/ 0 w 1918706"/>
                  <a:gd name="connsiteY24" fmla="*/ 4010476 h 5633118"/>
                  <a:gd name="connsiteX25" fmla="*/ 0 w 1918706"/>
                  <a:gd name="connsiteY25" fmla="*/ 3997322 h 5633118"/>
                  <a:gd name="connsiteX26" fmla="*/ 0 w 1918706"/>
                  <a:gd name="connsiteY26" fmla="*/ 3595649 h 5633118"/>
                  <a:gd name="connsiteX27" fmla="*/ 0 w 1918706"/>
                  <a:gd name="connsiteY27" fmla="*/ 3587875 h 5633118"/>
                  <a:gd name="connsiteX28" fmla="*/ 0 w 1918706"/>
                  <a:gd name="connsiteY28" fmla="*/ 3574721 h 5633118"/>
                  <a:gd name="connsiteX29" fmla="*/ 0 w 1918706"/>
                  <a:gd name="connsiteY29" fmla="*/ 3515969 h 5633118"/>
                  <a:gd name="connsiteX30" fmla="*/ 0 w 1918706"/>
                  <a:gd name="connsiteY30" fmla="*/ 3508195 h 5633118"/>
                  <a:gd name="connsiteX31" fmla="*/ 0 w 1918706"/>
                  <a:gd name="connsiteY31" fmla="*/ 3487266 h 5633118"/>
                  <a:gd name="connsiteX32" fmla="*/ 0 w 1918706"/>
                  <a:gd name="connsiteY3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595649 h 5633118"/>
                  <a:gd name="connsiteX6" fmla="*/ 1918706 w 1918706"/>
                  <a:gd name="connsiteY6" fmla="*/ 3997322 h 5633118"/>
                  <a:gd name="connsiteX7" fmla="*/ 1918706 w 1918706"/>
                  <a:gd name="connsiteY7" fmla="*/ 4010476 h 5633118"/>
                  <a:gd name="connsiteX8" fmla="*/ 1918706 w 1918706"/>
                  <a:gd name="connsiteY8" fmla="*/ 4069228 h 5633118"/>
                  <a:gd name="connsiteX9" fmla="*/ 1918706 w 1918706"/>
                  <a:gd name="connsiteY9" fmla="*/ 4090156 h 5633118"/>
                  <a:gd name="connsiteX10" fmla="*/ 1918706 w 1918706"/>
                  <a:gd name="connsiteY10" fmla="*/ 4097931 h 5633118"/>
                  <a:gd name="connsiteX11" fmla="*/ 1918706 w 1918706"/>
                  <a:gd name="connsiteY11" fmla="*/ 4491829 h 5633118"/>
                  <a:gd name="connsiteX12" fmla="*/ 1918706 w 1918706"/>
                  <a:gd name="connsiteY12" fmla="*/ 4579284 h 5633118"/>
                  <a:gd name="connsiteX13" fmla="*/ 1918706 w 1918706"/>
                  <a:gd name="connsiteY13" fmla="*/ 4592438 h 5633118"/>
                  <a:gd name="connsiteX14" fmla="*/ 1918706 w 1918706"/>
                  <a:gd name="connsiteY14" fmla="*/ 5073791 h 5633118"/>
                  <a:gd name="connsiteX15" fmla="*/ 959355 w 1918706"/>
                  <a:gd name="connsiteY15" fmla="*/ 5633118 h 5633118"/>
                  <a:gd name="connsiteX16" fmla="*/ 0 w 1918706"/>
                  <a:gd name="connsiteY16" fmla="*/ 5073791 h 5633118"/>
                  <a:gd name="connsiteX17" fmla="*/ 0 w 1918706"/>
                  <a:gd name="connsiteY17" fmla="*/ 4592438 h 5633118"/>
                  <a:gd name="connsiteX18" fmla="*/ 0 w 1918706"/>
                  <a:gd name="connsiteY18" fmla="*/ 4579284 h 5633118"/>
                  <a:gd name="connsiteX19" fmla="*/ 0 w 1918706"/>
                  <a:gd name="connsiteY19" fmla="*/ 4491829 h 5633118"/>
                  <a:gd name="connsiteX20" fmla="*/ 0 w 1918706"/>
                  <a:gd name="connsiteY20" fmla="*/ 4097931 h 5633118"/>
                  <a:gd name="connsiteX21" fmla="*/ 0 w 1918706"/>
                  <a:gd name="connsiteY21" fmla="*/ 4090156 h 5633118"/>
                  <a:gd name="connsiteX22" fmla="*/ 0 w 1918706"/>
                  <a:gd name="connsiteY22" fmla="*/ 4069228 h 5633118"/>
                  <a:gd name="connsiteX23" fmla="*/ 0 w 1918706"/>
                  <a:gd name="connsiteY23" fmla="*/ 4010476 h 5633118"/>
                  <a:gd name="connsiteX24" fmla="*/ 0 w 1918706"/>
                  <a:gd name="connsiteY24" fmla="*/ 3997322 h 5633118"/>
                  <a:gd name="connsiteX25" fmla="*/ 0 w 1918706"/>
                  <a:gd name="connsiteY25" fmla="*/ 3595649 h 5633118"/>
                  <a:gd name="connsiteX26" fmla="*/ 0 w 1918706"/>
                  <a:gd name="connsiteY26" fmla="*/ 3587875 h 5633118"/>
                  <a:gd name="connsiteX27" fmla="*/ 0 w 1918706"/>
                  <a:gd name="connsiteY27" fmla="*/ 3574721 h 5633118"/>
                  <a:gd name="connsiteX28" fmla="*/ 0 w 1918706"/>
                  <a:gd name="connsiteY28" fmla="*/ 3515969 h 5633118"/>
                  <a:gd name="connsiteX29" fmla="*/ 0 w 1918706"/>
                  <a:gd name="connsiteY29" fmla="*/ 3508195 h 5633118"/>
                  <a:gd name="connsiteX30" fmla="*/ 0 w 1918706"/>
                  <a:gd name="connsiteY30" fmla="*/ 3487266 h 5633118"/>
                  <a:gd name="connsiteX31" fmla="*/ 0 w 1918706"/>
                  <a:gd name="connsiteY3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997322 h 5633118"/>
                  <a:gd name="connsiteX6" fmla="*/ 1918706 w 1918706"/>
                  <a:gd name="connsiteY6" fmla="*/ 4010476 h 5633118"/>
                  <a:gd name="connsiteX7" fmla="*/ 1918706 w 1918706"/>
                  <a:gd name="connsiteY7" fmla="*/ 4069228 h 5633118"/>
                  <a:gd name="connsiteX8" fmla="*/ 1918706 w 1918706"/>
                  <a:gd name="connsiteY8" fmla="*/ 4090156 h 5633118"/>
                  <a:gd name="connsiteX9" fmla="*/ 1918706 w 1918706"/>
                  <a:gd name="connsiteY9" fmla="*/ 4097931 h 5633118"/>
                  <a:gd name="connsiteX10" fmla="*/ 1918706 w 1918706"/>
                  <a:gd name="connsiteY10" fmla="*/ 4491829 h 5633118"/>
                  <a:gd name="connsiteX11" fmla="*/ 1918706 w 1918706"/>
                  <a:gd name="connsiteY11" fmla="*/ 4579284 h 5633118"/>
                  <a:gd name="connsiteX12" fmla="*/ 1918706 w 1918706"/>
                  <a:gd name="connsiteY12" fmla="*/ 4592438 h 5633118"/>
                  <a:gd name="connsiteX13" fmla="*/ 1918706 w 1918706"/>
                  <a:gd name="connsiteY13" fmla="*/ 5073791 h 5633118"/>
                  <a:gd name="connsiteX14" fmla="*/ 959355 w 1918706"/>
                  <a:gd name="connsiteY14" fmla="*/ 5633118 h 5633118"/>
                  <a:gd name="connsiteX15" fmla="*/ 0 w 1918706"/>
                  <a:gd name="connsiteY15" fmla="*/ 5073791 h 5633118"/>
                  <a:gd name="connsiteX16" fmla="*/ 0 w 1918706"/>
                  <a:gd name="connsiteY16" fmla="*/ 4592438 h 5633118"/>
                  <a:gd name="connsiteX17" fmla="*/ 0 w 1918706"/>
                  <a:gd name="connsiteY17" fmla="*/ 4579284 h 5633118"/>
                  <a:gd name="connsiteX18" fmla="*/ 0 w 1918706"/>
                  <a:gd name="connsiteY18" fmla="*/ 4491829 h 5633118"/>
                  <a:gd name="connsiteX19" fmla="*/ 0 w 1918706"/>
                  <a:gd name="connsiteY19" fmla="*/ 4097931 h 5633118"/>
                  <a:gd name="connsiteX20" fmla="*/ 0 w 1918706"/>
                  <a:gd name="connsiteY20" fmla="*/ 4090156 h 5633118"/>
                  <a:gd name="connsiteX21" fmla="*/ 0 w 1918706"/>
                  <a:gd name="connsiteY21" fmla="*/ 4069228 h 5633118"/>
                  <a:gd name="connsiteX22" fmla="*/ 0 w 1918706"/>
                  <a:gd name="connsiteY22" fmla="*/ 4010476 h 5633118"/>
                  <a:gd name="connsiteX23" fmla="*/ 0 w 1918706"/>
                  <a:gd name="connsiteY23" fmla="*/ 3997322 h 5633118"/>
                  <a:gd name="connsiteX24" fmla="*/ 0 w 1918706"/>
                  <a:gd name="connsiteY24" fmla="*/ 3595649 h 5633118"/>
                  <a:gd name="connsiteX25" fmla="*/ 0 w 1918706"/>
                  <a:gd name="connsiteY25" fmla="*/ 3587875 h 5633118"/>
                  <a:gd name="connsiteX26" fmla="*/ 0 w 1918706"/>
                  <a:gd name="connsiteY26" fmla="*/ 3574721 h 5633118"/>
                  <a:gd name="connsiteX27" fmla="*/ 0 w 1918706"/>
                  <a:gd name="connsiteY27" fmla="*/ 3515969 h 5633118"/>
                  <a:gd name="connsiteX28" fmla="*/ 0 w 1918706"/>
                  <a:gd name="connsiteY28" fmla="*/ 3508195 h 5633118"/>
                  <a:gd name="connsiteX29" fmla="*/ 0 w 1918706"/>
                  <a:gd name="connsiteY29" fmla="*/ 3487266 h 5633118"/>
                  <a:gd name="connsiteX30" fmla="*/ 0 w 1918706"/>
                  <a:gd name="connsiteY3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997322 h 5633118"/>
                  <a:gd name="connsiteX5" fmla="*/ 1918706 w 1918706"/>
                  <a:gd name="connsiteY5" fmla="*/ 4010476 h 5633118"/>
                  <a:gd name="connsiteX6" fmla="*/ 1918706 w 1918706"/>
                  <a:gd name="connsiteY6" fmla="*/ 4069228 h 5633118"/>
                  <a:gd name="connsiteX7" fmla="*/ 1918706 w 1918706"/>
                  <a:gd name="connsiteY7" fmla="*/ 4090156 h 5633118"/>
                  <a:gd name="connsiteX8" fmla="*/ 1918706 w 1918706"/>
                  <a:gd name="connsiteY8" fmla="*/ 4097931 h 5633118"/>
                  <a:gd name="connsiteX9" fmla="*/ 1918706 w 1918706"/>
                  <a:gd name="connsiteY9" fmla="*/ 4491829 h 5633118"/>
                  <a:gd name="connsiteX10" fmla="*/ 1918706 w 1918706"/>
                  <a:gd name="connsiteY10" fmla="*/ 4579284 h 5633118"/>
                  <a:gd name="connsiteX11" fmla="*/ 1918706 w 1918706"/>
                  <a:gd name="connsiteY11" fmla="*/ 4592438 h 5633118"/>
                  <a:gd name="connsiteX12" fmla="*/ 1918706 w 1918706"/>
                  <a:gd name="connsiteY12" fmla="*/ 5073791 h 5633118"/>
                  <a:gd name="connsiteX13" fmla="*/ 959355 w 1918706"/>
                  <a:gd name="connsiteY13" fmla="*/ 5633118 h 5633118"/>
                  <a:gd name="connsiteX14" fmla="*/ 0 w 1918706"/>
                  <a:gd name="connsiteY14" fmla="*/ 5073791 h 5633118"/>
                  <a:gd name="connsiteX15" fmla="*/ 0 w 1918706"/>
                  <a:gd name="connsiteY15" fmla="*/ 4592438 h 5633118"/>
                  <a:gd name="connsiteX16" fmla="*/ 0 w 1918706"/>
                  <a:gd name="connsiteY16" fmla="*/ 4579284 h 5633118"/>
                  <a:gd name="connsiteX17" fmla="*/ 0 w 1918706"/>
                  <a:gd name="connsiteY17" fmla="*/ 4491829 h 5633118"/>
                  <a:gd name="connsiteX18" fmla="*/ 0 w 1918706"/>
                  <a:gd name="connsiteY18" fmla="*/ 4097931 h 5633118"/>
                  <a:gd name="connsiteX19" fmla="*/ 0 w 1918706"/>
                  <a:gd name="connsiteY19" fmla="*/ 4090156 h 5633118"/>
                  <a:gd name="connsiteX20" fmla="*/ 0 w 1918706"/>
                  <a:gd name="connsiteY20" fmla="*/ 4069228 h 5633118"/>
                  <a:gd name="connsiteX21" fmla="*/ 0 w 1918706"/>
                  <a:gd name="connsiteY21" fmla="*/ 4010476 h 5633118"/>
                  <a:gd name="connsiteX22" fmla="*/ 0 w 1918706"/>
                  <a:gd name="connsiteY22" fmla="*/ 3997322 h 5633118"/>
                  <a:gd name="connsiteX23" fmla="*/ 0 w 1918706"/>
                  <a:gd name="connsiteY23" fmla="*/ 3595649 h 5633118"/>
                  <a:gd name="connsiteX24" fmla="*/ 0 w 1918706"/>
                  <a:gd name="connsiteY24" fmla="*/ 3587875 h 5633118"/>
                  <a:gd name="connsiteX25" fmla="*/ 0 w 1918706"/>
                  <a:gd name="connsiteY25" fmla="*/ 3574721 h 5633118"/>
                  <a:gd name="connsiteX26" fmla="*/ 0 w 1918706"/>
                  <a:gd name="connsiteY26" fmla="*/ 3515969 h 5633118"/>
                  <a:gd name="connsiteX27" fmla="*/ 0 w 1918706"/>
                  <a:gd name="connsiteY27" fmla="*/ 3508195 h 5633118"/>
                  <a:gd name="connsiteX28" fmla="*/ 0 w 1918706"/>
                  <a:gd name="connsiteY28" fmla="*/ 3487266 h 5633118"/>
                  <a:gd name="connsiteX29" fmla="*/ 0 w 1918706"/>
                  <a:gd name="connsiteY2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10476 h 5633118"/>
                  <a:gd name="connsiteX5" fmla="*/ 1918706 w 1918706"/>
                  <a:gd name="connsiteY5" fmla="*/ 4069228 h 5633118"/>
                  <a:gd name="connsiteX6" fmla="*/ 1918706 w 1918706"/>
                  <a:gd name="connsiteY6" fmla="*/ 4090156 h 5633118"/>
                  <a:gd name="connsiteX7" fmla="*/ 1918706 w 1918706"/>
                  <a:gd name="connsiteY7" fmla="*/ 4097931 h 5633118"/>
                  <a:gd name="connsiteX8" fmla="*/ 1918706 w 1918706"/>
                  <a:gd name="connsiteY8" fmla="*/ 4491829 h 5633118"/>
                  <a:gd name="connsiteX9" fmla="*/ 1918706 w 1918706"/>
                  <a:gd name="connsiteY9" fmla="*/ 4579284 h 5633118"/>
                  <a:gd name="connsiteX10" fmla="*/ 1918706 w 1918706"/>
                  <a:gd name="connsiteY10" fmla="*/ 4592438 h 5633118"/>
                  <a:gd name="connsiteX11" fmla="*/ 1918706 w 1918706"/>
                  <a:gd name="connsiteY11" fmla="*/ 5073791 h 5633118"/>
                  <a:gd name="connsiteX12" fmla="*/ 959355 w 1918706"/>
                  <a:gd name="connsiteY12" fmla="*/ 5633118 h 5633118"/>
                  <a:gd name="connsiteX13" fmla="*/ 0 w 1918706"/>
                  <a:gd name="connsiteY13" fmla="*/ 5073791 h 5633118"/>
                  <a:gd name="connsiteX14" fmla="*/ 0 w 1918706"/>
                  <a:gd name="connsiteY14" fmla="*/ 4592438 h 5633118"/>
                  <a:gd name="connsiteX15" fmla="*/ 0 w 1918706"/>
                  <a:gd name="connsiteY15" fmla="*/ 4579284 h 5633118"/>
                  <a:gd name="connsiteX16" fmla="*/ 0 w 1918706"/>
                  <a:gd name="connsiteY16" fmla="*/ 4491829 h 5633118"/>
                  <a:gd name="connsiteX17" fmla="*/ 0 w 1918706"/>
                  <a:gd name="connsiteY17" fmla="*/ 4097931 h 5633118"/>
                  <a:gd name="connsiteX18" fmla="*/ 0 w 1918706"/>
                  <a:gd name="connsiteY18" fmla="*/ 4090156 h 5633118"/>
                  <a:gd name="connsiteX19" fmla="*/ 0 w 1918706"/>
                  <a:gd name="connsiteY19" fmla="*/ 4069228 h 5633118"/>
                  <a:gd name="connsiteX20" fmla="*/ 0 w 1918706"/>
                  <a:gd name="connsiteY20" fmla="*/ 4010476 h 5633118"/>
                  <a:gd name="connsiteX21" fmla="*/ 0 w 1918706"/>
                  <a:gd name="connsiteY21" fmla="*/ 3997322 h 5633118"/>
                  <a:gd name="connsiteX22" fmla="*/ 0 w 1918706"/>
                  <a:gd name="connsiteY22" fmla="*/ 3595649 h 5633118"/>
                  <a:gd name="connsiteX23" fmla="*/ 0 w 1918706"/>
                  <a:gd name="connsiteY23" fmla="*/ 3587875 h 5633118"/>
                  <a:gd name="connsiteX24" fmla="*/ 0 w 1918706"/>
                  <a:gd name="connsiteY24" fmla="*/ 3574721 h 5633118"/>
                  <a:gd name="connsiteX25" fmla="*/ 0 w 1918706"/>
                  <a:gd name="connsiteY25" fmla="*/ 3515969 h 5633118"/>
                  <a:gd name="connsiteX26" fmla="*/ 0 w 1918706"/>
                  <a:gd name="connsiteY26" fmla="*/ 3508195 h 5633118"/>
                  <a:gd name="connsiteX27" fmla="*/ 0 w 1918706"/>
                  <a:gd name="connsiteY27" fmla="*/ 3487266 h 5633118"/>
                  <a:gd name="connsiteX28" fmla="*/ 0 w 1918706"/>
                  <a:gd name="connsiteY2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69228 h 5633118"/>
                  <a:gd name="connsiteX5" fmla="*/ 1918706 w 1918706"/>
                  <a:gd name="connsiteY5" fmla="*/ 4090156 h 5633118"/>
                  <a:gd name="connsiteX6" fmla="*/ 1918706 w 1918706"/>
                  <a:gd name="connsiteY6" fmla="*/ 4097931 h 5633118"/>
                  <a:gd name="connsiteX7" fmla="*/ 1918706 w 1918706"/>
                  <a:gd name="connsiteY7" fmla="*/ 4491829 h 5633118"/>
                  <a:gd name="connsiteX8" fmla="*/ 1918706 w 1918706"/>
                  <a:gd name="connsiteY8" fmla="*/ 4579284 h 5633118"/>
                  <a:gd name="connsiteX9" fmla="*/ 1918706 w 1918706"/>
                  <a:gd name="connsiteY9" fmla="*/ 4592438 h 5633118"/>
                  <a:gd name="connsiteX10" fmla="*/ 1918706 w 1918706"/>
                  <a:gd name="connsiteY10" fmla="*/ 5073791 h 5633118"/>
                  <a:gd name="connsiteX11" fmla="*/ 959355 w 1918706"/>
                  <a:gd name="connsiteY11" fmla="*/ 5633118 h 5633118"/>
                  <a:gd name="connsiteX12" fmla="*/ 0 w 1918706"/>
                  <a:gd name="connsiteY12" fmla="*/ 5073791 h 5633118"/>
                  <a:gd name="connsiteX13" fmla="*/ 0 w 1918706"/>
                  <a:gd name="connsiteY13" fmla="*/ 4592438 h 5633118"/>
                  <a:gd name="connsiteX14" fmla="*/ 0 w 1918706"/>
                  <a:gd name="connsiteY14" fmla="*/ 4579284 h 5633118"/>
                  <a:gd name="connsiteX15" fmla="*/ 0 w 1918706"/>
                  <a:gd name="connsiteY15" fmla="*/ 4491829 h 5633118"/>
                  <a:gd name="connsiteX16" fmla="*/ 0 w 1918706"/>
                  <a:gd name="connsiteY16" fmla="*/ 4097931 h 5633118"/>
                  <a:gd name="connsiteX17" fmla="*/ 0 w 1918706"/>
                  <a:gd name="connsiteY17" fmla="*/ 4090156 h 5633118"/>
                  <a:gd name="connsiteX18" fmla="*/ 0 w 1918706"/>
                  <a:gd name="connsiteY18" fmla="*/ 4069228 h 5633118"/>
                  <a:gd name="connsiteX19" fmla="*/ 0 w 1918706"/>
                  <a:gd name="connsiteY19" fmla="*/ 4010476 h 5633118"/>
                  <a:gd name="connsiteX20" fmla="*/ 0 w 1918706"/>
                  <a:gd name="connsiteY20" fmla="*/ 3997322 h 5633118"/>
                  <a:gd name="connsiteX21" fmla="*/ 0 w 1918706"/>
                  <a:gd name="connsiteY21" fmla="*/ 3595649 h 5633118"/>
                  <a:gd name="connsiteX22" fmla="*/ 0 w 1918706"/>
                  <a:gd name="connsiteY22" fmla="*/ 3587875 h 5633118"/>
                  <a:gd name="connsiteX23" fmla="*/ 0 w 1918706"/>
                  <a:gd name="connsiteY23" fmla="*/ 3574721 h 5633118"/>
                  <a:gd name="connsiteX24" fmla="*/ 0 w 1918706"/>
                  <a:gd name="connsiteY24" fmla="*/ 3515969 h 5633118"/>
                  <a:gd name="connsiteX25" fmla="*/ 0 w 1918706"/>
                  <a:gd name="connsiteY25" fmla="*/ 3508195 h 5633118"/>
                  <a:gd name="connsiteX26" fmla="*/ 0 w 1918706"/>
                  <a:gd name="connsiteY26" fmla="*/ 3487266 h 5633118"/>
                  <a:gd name="connsiteX27" fmla="*/ 0 w 1918706"/>
                  <a:gd name="connsiteY2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097931 h 5633118"/>
                  <a:gd name="connsiteX6" fmla="*/ 1918706 w 1918706"/>
                  <a:gd name="connsiteY6" fmla="*/ 4491829 h 5633118"/>
                  <a:gd name="connsiteX7" fmla="*/ 1918706 w 1918706"/>
                  <a:gd name="connsiteY7" fmla="*/ 4579284 h 5633118"/>
                  <a:gd name="connsiteX8" fmla="*/ 1918706 w 1918706"/>
                  <a:gd name="connsiteY8" fmla="*/ 4592438 h 5633118"/>
                  <a:gd name="connsiteX9" fmla="*/ 1918706 w 1918706"/>
                  <a:gd name="connsiteY9" fmla="*/ 5073791 h 5633118"/>
                  <a:gd name="connsiteX10" fmla="*/ 959355 w 1918706"/>
                  <a:gd name="connsiteY10" fmla="*/ 5633118 h 5633118"/>
                  <a:gd name="connsiteX11" fmla="*/ 0 w 1918706"/>
                  <a:gd name="connsiteY11" fmla="*/ 5073791 h 5633118"/>
                  <a:gd name="connsiteX12" fmla="*/ 0 w 1918706"/>
                  <a:gd name="connsiteY12" fmla="*/ 4592438 h 5633118"/>
                  <a:gd name="connsiteX13" fmla="*/ 0 w 1918706"/>
                  <a:gd name="connsiteY13" fmla="*/ 4579284 h 5633118"/>
                  <a:gd name="connsiteX14" fmla="*/ 0 w 1918706"/>
                  <a:gd name="connsiteY14" fmla="*/ 4491829 h 5633118"/>
                  <a:gd name="connsiteX15" fmla="*/ 0 w 1918706"/>
                  <a:gd name="connsiteY15" fmla="*/ 4097931 h 5633118"/>
                  <a:gd name="connsiteX16" fmla="*/ 0 w 1918706"/>
                  <a:gd name="connsiteY16" fmla="*/ 4090156 h 5633118"/>
                  <a:gd name="connsiteX17" fmla="*/ 0 w 1918706"/>
                  <a:gd name="connsiteY17" fmla="*/ 4069228 h 5633118"/>
                  <a:gd name="connsiteX18" fmla="*/ 0 w 1918706"/>
                  <a:gd name="connsiteY18" fmla="*/ 4010476 h 5633118"/>
                  <a:gd name="connsiteX19" fmla="*/ 0 w 1918706"/>
                  <a:gd name="connsiteY19" fmla="*/ 3997322 h 5633118"/>
                  <a:gd name="connsiteX20" fmla="*/ 0 w 1918706"/>
                  <a:gd name="connsiteY20" fmla="*/ 3595649 h 5633118"/>
                  <a:gd name="connsiteX21" fmla="*/ 0 w 1918706"/>
                  <a:gd name="connsiteY21" fmla="*/ 3587875 h 5633118"/>
                  <a:gd name="connsiteX22" fmla="*/ 0 w 1918706"/>
                  <a:gd name="connsiteY22" fmla="*/ 3574721 h 5633118"/>
                  <a:gd name="connsiteX23" fmla="*/ 0 w 1918706"/>
                  <a:gd name="connsiteY23" fmla="*/ 3515969 h 5633118"/>
                  <a:gd name="connsiteX24" fmla="*/ 0 w 1918706"/>
                  <a:gd name="connsiteY24" fmla="*/ 3508195 h 5633118"/>
                  <a:gd name="connsiteX25" fmla="*/ 0 w 1918706"/>
                  <a:gd name="connsiteY25" fmla="*/ 3487266 h 5633118"/>
                  <a:gd name="connsiteX26" fmla="*/ 0 w 1918706"/>
                  <a:gd name="connsiteY2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491829 h 5633118"/>
                  <a:gd name="connsiteX6" fmla="*/ 1918706 w 1918706"/>
                  <a:gd name="connsiteY6" fmla="*/ 4579284 h 5633118"/>
                  <a:gd name="connsiteX7" fmla="*/ 1918706 w 1918706"/>
                  <a:gd name="connsiteY7" fmla="*/ 4592438 h 5633118"/>
                  <a:gd name="connsiteX8" fmla="*/ 1918706 w 1918706"/>
                  <a:gd name="connsiteY8" fmla="*/ 5073791 h 5633118"/>
                  <a:gd name="connsiteX9" fmla="*/ 959355 w 1918706"/>
                  <a:gd name="connsiteY9" fmla="*/ 5633118 h 5633118"/>
                  <a:gd name="connsiteX10" fmla="*/ 0 w 1918706"/>
                  <a:gd name="connsiteY10" fmla="*/ 5073791 h 5633118"/>
                  <a:gd name="connsiteX11" fmla="*/ 0 w 1918706"/>
                  <a:gd name="connsiteY11" fmla="*/ 4592438 h 5633118"/>
                  <a:gd name="connsiteX12" fmla="*/ 0 w 1918706"/>
                  <a:gd name="connsiteY12" fmla="*/ 4579284 h 5633118"/>
                  <a:gd name="connsiteX13" fmla="*/ 0 w 1918706"/>
                  <a:gd name="connsiteY13" fmla="*/ 4491829 h 5633118"/>
                  <a:gd name="connsiteX14" fmla="*/ 0 w 1918706"/>
                  <a:gd name="connsiteY14" fmla="*/ 4097931 h 5633118"/>
                  <a:gd name="connsiteX15" fmla="*/ 0 w 1918706"/>
                  <a:gd name="connsiteY15" fmla="*/ 4090156 h 5633118"/>
                  <a:gd name="connsiteX16" fmla="*/ 0 w 1918706"/>
                  <a:gd name="connsiteY16" fmla="*/ 4069228 h 5633118"/>
                  <a:gd name="connsiteX17" fmla="*/ 0 w 1918706"/>
                  <a:gd name="connsiteY17" fmla="*/ 4010476 h 5633118"/>
                  <a:gd name="connsiteX18" fmla="*/ 0 w 1918706"/>
                  <a:gd name="connsiteY18" fmla="*/ 3997322 h 5633118"/>
                  <a:gd name="connsiteX19" fmla="*/ 0 w 1918706"/>
                  <a:gd name="connsiteY19" fmla="*/ 3595649 h 5633118"/>
                  <a:gd name="connsiteX20" fmla="*/ 0 w 1918706"/>
                  <a:gd name="connsiteY20" fmla="*/ 3587875 h 5633118"/>
                  <a:gd name="connsiteX21" fmla="*/ 0 w 1918706"/>
                  <a:gd name="connsiteY21" fmla="*/ 3574721 h 5633118"/>
                  <a:gd name="connsiteX22" fmla="*/ 0 w 1918706"/>
                  <a:gd name="connsiteY22" fmla="*/ 3515969 h 5633118"/>
                  <a:gd name="connsiteX23" fmla="*/ 0 w 1918706"/>
                  <a:gd name="connsiteY23" fmla="*/ 3508195 h 5633118"/>
                  <a:gd name="connsiteX24" fmla="*/ 0 w 1918706"/>
                  <a:gd name="connsiteY24" fmla="*/ 3487266 h 5633118"/>
                  <a:gd name="connsiteX25" fmla="*/ 0 w 1918706"/>
                  <a:gd name="connsiteY2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090156 h 5633118"/>
                  <a:gd name="connsiteX4" fmla="*/ 1918706 w 1918706"/>
                  <a:gd name="connsiteY4" fmla="*/ 4491829 h 5633118"/>
                  <a:gd name="connsiteX5" fmla="*/ 1918706 w 1918706"/>
                  <a:gd name="connsiteY5" fmla="*/ 4579284 h 5633118"/>
                  <a:gd name="connsiteX6" fmla="*/ 1918706 w 1918706"/>
                  <a:gd name="connsiteY6" fmla="*/ 4592438 h 5633118"/>
                  <a:gd name="connsiteX7" fmla="*/ 1918706 w 1918706"/>
                  <a:gd name="connsiteY7" fmla="*/ 5073791 h 5633118"/>
                  <a:gd name="connsiteX8" fmla="*/ 959355 w 1918706"/>
                  <a:gd name="connsiteY8" fmla="*/ 5633118 h 5633118"/>
                  <a:gd name="connsiteX9" fmla="*/ 0 w 1918706"/>
                  <a:gd name="connsiteY9" fmla="*/ 5073791 h 5633118"/>
                  <a:gd name="connsiteX10" fmla="*/ 0 w 1918706"/>
                  <a:gd name="connsiteY10" fmla="*/ 4592438 h 5633118"/>
                  <a:gd name="connsiteX11" fmla="*/ 0 w 1918706"/>
                  <a:gd name="connsiteY11" fmla="*/ 4579284 h 5633118"/>
                  <a:gd name="connsiteX12" fmla="*/ 0 w 1918706"/>
                  <a:gd name="connsiteY12" fmla="*/ 4491829 h 5633118"/>
                  <a:gd name="connsiteX13" fmla="*/ 0 w 1918706"/>
                  <a:gd name="connsiteY13" fmla="*/ 4097931 h 5633118"/>
                  <a:gd name="connsiteX14" fmla="*/ 0 w 1918706"/>
                  <a:gd name="connsiteY14" fmla="*/ 4090156 h 5633118"/>
                  <a:gd name="connsiteX15" fmla="*/ 0 w 1918706"/>
                  <a:gd name="connsiteY15" fmla="*/ 4069228 h 5633118"/>
                  <a:gd name="connsiteX16" fmla="*/ 0 w 1918706"/>
                  <a:gd name="connsiteY16" fmla="*/ 4010476 h 5633118"/>
                  <a:gd name="connsiteX17" fmla="*/ 0 w 1918706"/>
                  <a:gd name="connsiteY17" fmla="*/ 3997322 h 5633118"/>
                  <a:gd name="connsiteX18" fmla="*/ 0 w 1918706"/>
                  <a:gd name="connsiteY18" fmla="*/ 3595649 h 5633118"/>
                  <a:gd name="connsiteX19" fmla="*/ 0 w 1918706"/>
                  <a:gd name="connsiteY19" fmla="*/ 3587875 h 5633118"/>
                  <a:gd name="connsiteX20" fmla="*/ 0 w 1918706"/>
                  <a:gd name="connsiteY20" fmla="*/ 3574721 h 5633118"/>
                  <a:gd name="connsiteX21" fmla="*/ 0 w 1918706"/>
                  <a:gd name="connsiteY21" fmla="*/ 3515969 h 5633118"/>
                  <a:gd name="connsiteX22" fmla="*/ 0 w 1918706"/>
                  <a:gd name="connsiteY22" fmla="*/ 3508195 h 5633118"/>
                  <a:gd name="connsiteX23" fmla="*/ 0 w 1918706"/>
                  <a:gd name="connsiteY23" fmla="*/ 3487266 h 5633118"/>
                  <a:gd name="connsiteX24" fmla="*/ 0 w 1918706"/>
                  <a:gd name="connsiteY2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491829 h 5633118"/>
                  <a:gd name="connsiteX4" fmla="*/ 1918706 w 1918706"/>
                  <a:gd name="connsiteY4" fmla="*/ 4579284 h 5633118"/>
                  <a:gd name="connsiteX5" fmla="*/ 1918706 w 1918706"/>
                  <a:gd name="connsiteY5" fmla="*/ 4592438 h 5633118"/>
                  <a:gd name="connsiteX6" fmla="*/ 1918706 w 1918706"/>
                  <a:gd name="connsiteY6" fmla="*/ 5073791 h 5633118"/>
                  <a:gd name="connsiteX7" fmla="*/ 959355 w 1918706"/>
                  <a:gd name="connsiteY7" fmla="*/ 5633118 h 5633118"/>
                  <a:gd name="connsiteX8" fmla="*/ 0 w 1918706"/>
                  <a:gd name="connsiteY8" fmla="*/ 5073791 h 5633118"/>
                  <a:gd name="connsiteX9" fmla="*/ 0 w 1918706"/>
                  <a:gd name="connsiteY9" fmla="*/ 4592438 h 5633118"/>
                  <a:gd name="connsiteX10" fmla="*/ 0 w 1918706"/>
                  <a:gd name="connsiteY10" fmla="*/ 4579284 h 5633118"/>
                  <a:gd name="connsiteX11" fmla="*/ 0 w 1918706"/>
                  <a:gd name="connsiteY11" fmla="*/ 4491829 h 5633118"/>
                  <a:gd name="connsiteX12" fmla="*/ 0 w 1918706"/>
                  <a:gd name="connsiteY12" fmla="*/ 4097931 h 5633118"/>
                  <a:gd name="connsiteX13" fmla="*/ 0 w 1918706"/>
                  <a:gd name="connsiteY13" fmla="*/ 4090156 h 5633118"/>
                  <a:gd name="connsiteX14" fmla="*/ 0 w 1918706"/>
                  <a:gd name="connsiteY14" fmla="*/ 4069228 h 5633118"/>
                  <a:gd name="connsiteX15" fmla="*/ 0 w 1918706"/>
                  <a:gd name="connsiteY15" fmla="*/ 4010476 h 5633118"/>
                  <a:gd name="connsiteX16" fmla="*/ 0 w 1918706"/>
                  <a:gd name="connsiteY16" fmla="*/ 3997322 h 5633118"/>
                  <a:gd name="connsiteX17" fmla="*/ 0 w 1918706"/>
                  <a:gd name="connsiteY17" fmla="*/ 3595649 h 5633118"/>
                  <a:gd name="connsiteX18" fmla="*/ 0 w 1918706"/>
                  <a:gd name="connsiteY18" fmla="*/ 3587875 h 5633118"/>
                  <a:gd name="connsiteX19" fmla="*/ 0 w 1918706"/>
                  <a:gd name="connsiteY19" fmla="*/ 3574721 h 5633118"/>
                  <a:gd name="connsiteX20" fmla="*/ 0 w 1918706"/>
                  <a:gd name="connsiteY20" fmla="*/ 3515969 h 5633118"/>
                  <a:gd name="connsiteX21" fmla="*/ 0 w 1918706"/>
                  <a:gd name="connsiteY21" fmla="*/ 3508195 h 5633118"/>
                  <a:gd name="connsiteX22" fmla="*/ 0 w 1918706"/>
                  <a:gd name="connsiteY22" fmla="*/ 3487266 h 5633118"/>
                  <a:gd name="connsiteX23" fmla="*/ 0 w 1918706"/>
                  <a:gd name="connsiteY2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4592438 h 5633118"/>
                  <a:gd name="connsiteX5" fmla="*/ 1918706 w 1918706"/>
                  <a:gd name="connsiteY5" fmla="*/ 5073791 h 5633118"/>
                  <a:gd name="connsiteX6" fmla="*/ 959355 w 1918706"/>
                  <a:gd name="connsiteY6" fmla="*/ 5633118 h 5633118"/>
                  <a:gd name="connsiteX7" fmla="*/ 0 w 1918706"/>
                  <a:gd name="connsiteY7" fmla="*/ 5073791 h 5633118"/>
                  <a:gd name="connsiteX8" fmla="*/ 0 w 1918706"/>
                  <a:gd name="connsiteY8" fmla="*/ 4592438 h 5633118"/>
                  <a:gd name="connsiteX9" fmla="*/ 0 w 1918706"/>
                  <a:gd name="connsiteY9" fmla="*/ 4579284 h 5633118"/>
                  <a:gd name="connsiteX10" fmla="*/ 0 w 1918706"/>
                  <a:gd name="connsiteY10" fmla="*/ 4491829 h 5633118"/>
                  <a:gd name="connsiteX11" fmla="*/ 0 w 1918706"/>
                  <a:gd name="connsiteY11" fmla="*/ 4097931 h 5633118"/>
                  <a:gd name="connsiteX12" fmla="*/ 0 w 1918706"/>
                  <a:gd name="connsiteY12" fmla="*/ 4090156 h 5633118"/>
                  <a:gd name="connsiteX13" fmla="*/ 0 w 1918706"/>
                  <a:gd name="connsiteY13" fmla="*/ 4069228 h 5633118"/>
                  <a:gd name="connsiteX14" fmla="*/ 0 w 1918706"/>
                  <a:gd name="connsiteY14" fmla="*/ 4010476 h 5633118"/>
                  <a:gd name="connsiteX15" fmla="*/ 0 w 1918706"/>
                  <a:gd name="connsiteY15" fmla="*/ 3997322 h 5633118"/>
                  <a:gd name="connsiteX16" fmla="*/ 0 w 1918706"/>
                  <a:gd name="connsiteY16" fmla="*/ 3595649 h 5633118"/>
                  <a:gd name="connsiteX17" fmla="*/ 0 w 1918706"/>
                  <a:gd name="connsiteY17" fmla="*/ 3587875 h 5633118"/>
                  <a:gd name="connsiteX18" fmla="*/ 0 w 1918706"/>
                  <a:gd name="connsiteY18" fmla="*/ 3574721 h 5633118"/>
                  <a:gd name="connsiteX19" fmla="*/ 0 w 1918706"/>
                  <a:gd name="connsiteY19" fmla="*/ 3515969 h 5633118"/>
                  <a:gd name="connsiteX20" fmla="*/ 0 w 1918706"/>
                  <a:gd name="connsiteY20" fmla="*/ 3508195 h 5633118"/>
                  <a:gd name="connsiteX21" fmla="*/ 0 w 1918706"/>
                  <a:gd name="connsiteY21" fmla="*/ 3487266 h 5633118"/>
                  <a:gd name="connsiteX22" fmla="*/ 0 w 1918706"/>
                  <a:gd name="connsiteY2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5073791 h 5633118"/>
                  <a:gd name="connsiteX5" fmla="*/ 959355 w 1918706"/>
                  <a:gd name="connsiteY5" fmla="*/ 5633118 h 5633118"/>
                  <a:gd name="connsiteX6" fmla="*/ 0 w 1918706"/>
                  <a:gd name="connsiteY6" fmla="*/ 5073791 h 5633118"/>
                  <a:gd name="connsiteX7" fmla="*/ 0 w 1918706"/>
                  <a:gd name="connsiteY7" fmla="*/ 4592438 h 5633118"/>
                  <a:gd name="connsiteX8" fmla="*/ 0 w 1918706"/>
                  <a:gd name="connsiteY8" fmla="*/ 4579284 h 5633118"/>
                  <a:gd name="connsiteX9" fmla="*/ 0 w 1918706"/>
                  <a:gd name="connsiteY9" fmla="*/ 4491829 h 5633118"/>
                  <a:gd name="connsiteX10" fmla="*/ 0 w 1918706"/>
                  <a:gd name="connsiteY10" fmla="*/ 4097931 h 5633118"/>
                  <a:gd name="connsiteX11" fmla="*/ 0 w 1918706"/>
                  <a:gd name="connsiteY11" fmla="*/ 4090156 h 5633118"/>
                  <a:gd name="connsiteX12" fmla="*/ 0 w 1918706"/>
                  <a:gd name="connsiteY12" fmla="*/ 4069228 h 5633118"/>
                  <a:gd name="connsiteX13" fmla="*/ 0 w 1918706"/>
                  <a:gd name="connsiteY13" fmla="*/ 4010476 h 5633118"/>
                  <a:gd name="connsiteX14" fmla="*/ 0 w 1918706"/>
                  <a:gd name="connsiteY14" fmla="*/ 3997322 h 5633118"/>
                  <a:gd name="connsiteX15" fmla="*/ 0 w 1918706"/>
                  <a:gd name="connsiteY15" fmla="*/ 3595649 h 5633118"/>
                  <a:gd name="connsiteX16" fmla="*/ 0 w 1918706"/>
                  <a:gd name="connsiteY16" fmla="*/ 3587875 h 5633118"/>
                  <a:gd name="connsiteX17" fmla="*/ 0 w 1918706"/>
                  <a:gd name="connsiteY17" fmla="*/ 3574721 h 5633118"/>
                  <a:gd name="connsiteX18" fmla="*/ 0 w 1918706"/>
                  <a:gd name="connsiteY18" fmla="*/ 3515969 h 5633118"/>
                  <a:gd name="connsiteX19" fmla="*/ 0 w 1918706"/>
                  <a:gd name="connsiteY19" fmla="*/ 3508195 h 5633118"/>
                  <a:gd name="connsiteX20" fmla="*/ 0 w 1918706"/>
                  <a:gd name="connsiteY20" fmla="*/ 3487266 h 5633118"/>
                  <a:gd name="connsiteX21" fmla="*/ 0 w 1918706"/>
                  <a:gd name="connsiteY2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3487266 h 5633118"/>
                  <a:gd name="connsiteX20" fmla="*/ 0 w 1918706"/>
                  <a:gd name="connsiteY2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10064 w 1928770"/>
                  <a:gd name="connsiteY7" fmla="*/ 4579284 h 5633118"/>
                  <a:gd name="connsiteX8" fmla="*/ 0 w 1928770"/>
                  <a:gd name="connsiteY8" fmla="*/ 4484457 h 5633118"/>
                  <a:gd name="connsiteX9" fmla="*/ 10064 w 1928770"/>
                  <a:gd name="connsiteY9"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0 w 1928770"/>
                  <a:gd name="connsiteY7" fmla="*/ 4484457 h 5633118"/>
                  <a:gd name="connsiteX8" fmla="*/ 10064 w 1928770"/>
                  <a:gd name="connsiteY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0 h 563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8706" h="5633118">
                    <a:moveTo>
                      <a:pt x="0" y="0"/>
                    </a:moveTo>
                    <a:cubicBezTo>
                      <a:pt x="0" y="308912"/>
                      <a:pt x="429517" y="559332"/>
                      <a:pt x="959355" y="559332"/>
                    </a:cubicBezTo>
                    <a:cubicBezTo>
                      <a:pt x="1489193" y="559332"/>
                      <a:pt x="1918706" y="308912"/>
                      <a:pt x="1918706" y="0"/>
                    </a:cubicBezTo>
                    <a:lnTo>
                      <a:pt x="1918706" y="5073791"/>
                    </a:lnTo>
                    <a:cubicBezTo>
                      <a:pt x="1918706" y="5382699"/>
                      <a:pt x="1489193" y="5633118"/>
                      <a:pt x="959355" y="5633118"/>
                    </a:cubicBezTo>
                    <a:cubicBezTo>
                      <a:pt x="429517" y="5633118"/>
                      <a:pt x="0" y="5382699"/>
                      <a:pt x="0" y="5073791"/>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001" name="Oval 386">
                <a:extLst>
                  <a:ext uri="{FF2B5EF4-FFF2-40B4-BE49-F238E27FC236}">
                    <a16:creationId xmlns:a16="http://schemas.microsoft.com/office/drawing/2014/main" id="{339135D3-607A-48EC-A64A-1721DE68D0D5}"/>
                  </a:ext>
                </a:extLst>
              </p:cNvPr>
              <p:cNvSpPr/>
              <p:nvPr/>
            </p:nvSpPr>
            <p:spPr bwMode="gray">
              <a:xfrm>
                <a:off x="12676185" y="-2160831"/>
                <a:ext cx="1918706" cy="1340175"/>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991" name="Group 990">
              <a:extLst>
                <a:ext uri="{FF2B5EF4-FFF2-40B4-BE49-F238E27FC236}">
                  <a16:creationId xmlns:a16="http://schemas.microsoft.com/office/drawing/2014/main" id="{C20D182F-1213-4A9A-AE3B-463294A0F3DC}"/>
                </a:ext>
              </a:extLst>
            </p:cNvPr>
            <p:cNvGrpSpPr>
              <a:grpSpLocks noChangeAspect="1"/>
            </p:cNvGrpSpPr>
            <p:nvPr/>
          </p:nvGrpSpPr>
          <p:grpSpPr bwMode="gray">
            <a:xfrm>
              <a:off x="9064148" y="3995810"/>
              <a:ext cx="260073" cy="869376"/>
              <a:chOff x="12676185" y="-2160831"/>
              <a:chExt cx="1918718" cy="6413936"/>
            </a:xfrm>
          </p:grpSpPr>
          <p:sp>
            <p:nvSpPr>
              <p:cNvPr id="998" name="Freeform: Shape 997">
                <a:extLst>
                  <a:ext uri="{FF2B5EF4-FFF2-40B4-BE49-F238E27FC236}">
                    <a16:creationId xmlns:a16="http://schemas.microsoft.com/office/drawing/2014/main" id="{525F914A-AD8F-47C2-B156-03BA26897CB9}"/>
                  </a:ext>
                </a:extLst>
              </p:cNvPr>
              <p:cNvSpPr/>
              <p:nvPr/>
            </p:nvSpPr>
            <p:spPr bwMode="gray">
              <a:xfrm>
                <a:off x="12676197" y="-1380013"/>
                <a:ext cx="1918706" cy="5633118"/>
              </a:xfrm>
              <a:custGeom>
                <a:avLst/>
                <a:gdLst>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581962 h 5633118"/>
                  <a:gd name="connsiteX6" fmla="*/ 1918706 w 1918706"/>
                  <a:gd name="connsiteY6" fmla="*/ 981092 h 5633118"/>
                  <a:gd name="connsiteX7" fmla="*/ 1918706 w 1918706"/>
                  <a:gd name="connsiteY7" fmla="*/ 1004563 h 5633118"/>
                  <a:gd name="connsiteX8" fmla="*/ 1918706 w 1918706"/>
                  <a:gd name="connsiteY8" fmla="*/ 1068547 h 5633118"/>
                  <a:gd name="connsiteX9" fmla="*/ 1918706 w 1918706"/>
                  <a:gd name="connsiteY9" fmla="*/ 1076469 h 5633118"/>
                  <a:gd name="connsiteX10" fmla="*/ 1918706 w 1918706"/>
                  <a:gd name="connsiteY10" fmla="*/ 1491148 h 5633118"/>
                  <a:gd name="connsiteX11" fmla="*/ 1918706 w 1918706"/>
                  <a:gd name="connsiteY11" fmla="*/ 1499070 h 5633118"/>
                  <a:gd name="connsiteX12" fmla="*/ 1918706 w 1918706"/>
                  <a:gd name="connsiteY12" fmla="*/ 1506844 h 5633118"/>
                  <a:gd name="connsiteX13" fmla="*/ 1918706 w 1918706"/>
                  <a:gd name="connsiteY13" fmla="*/ 1563054 h 5633118"/>
                  <a:gd name="connsiteX14" fmla="*/ 1918706 w 1918706"/>
                  <a:gd name="connsiteY14" fmla="*/ 1586524 h 5633118"/>
                  <a:gd name="connsiteX15" fmla="*/ 1918706 w 1918706"/>
                  <a:gd name="connsiteY15" fmla="*/ 1985655 h 5633118"/>
                  <a:gd name="connsiteX16" fmla="*/ 1918706 w 1918706"/>
                  <a:gd name="connsiteY16" fmla="*/ 2001351 h 5633118"/>
                  <a:gd name="connsiteX17" fmla="*/ 1918706 w 1918706"/>
                  <a:gd name="connsiteY17" fmla="*/ 2009125 h 5633118"/>
                  <a:gd name="connsiteX18" fmla="*/ 1918706 w 1918706"/>
                  <a:gd name="connsiteY18" fmla="*/ 2073109 h 5633118"/>
                  <a:gd name="connsiteX19" fmla="*/ 1918706 w 1918706"/>
                  <a:gd name="connsiteY19" fmla="*/ 2081031 h 5633118"/>
                  <a:gd name="connsiteX20" fmla="*/ 1918706 w 1918706"/>
                  <a:gd name="connsiteY20" fmla="*/ 2088805 h 5633118"/>
                  <a:gd name="connsiteX21" fmla="*/ 1918706 w 1918706"/>
                  <a:gd name="connsiteY21" fmla="*/ 2503632 h 5633118"/>
                  <a:gd name="connsiteX22" fmla="*/ 1918706 w 1918706"/>
                  <a:gd name="connsiteY22" fmla="*/ 2511407 h 5633118"/>
                  <a:gd name="connsiteX23" fmla="*/ 1918706 w 1918706"/>
                  <a:gd name="connsiteY23" fmla="*/ 2567616 h 5633118"/>
                  <a:gd name="connsiteX24" fmla="*/ 1918706 w 1918706"/>
                  <a:gd name="connsiteY24" fmla="*/ 2583313 h 5633118"/>
                  <a:gd name="connsiteX25" fmla="*/ 1918706 w 1918706"/>
                  <a:gd name="connsiteY25" fmla="*/ 2591087 h 5633118"/>
                  <a:gd name="connsiteX26" fmla="*/ 1918706 w 1918706"/>
                  <a:gd name="connsiteY26" fmla="*/ 2992759 h 5633118"/>
                  <a:gd name="connsiteX27" fmla="*/ 1918706 w 1918706"/>
                  <a:gd name="connsiteY27" fmla="*/ 3005914 h 5633118"/>
                  <a:gd name="connsiteX28" fmla="*/ 1918706 w 1918706"/>
                  <a:gd name="connsiteY28" fmla="*/ 3013688 h 5633118"/>
                  <a:gd name="connsiteX29" fmla="*/ 1918706 w 1918706"/>
                  <a:gd name="connsiteY29" fmla="*/ 3085594 h 5633118"/>
                  <a:gd name="connsiteX30" fmla="*/ 1918706 w 1918706"/>
                  <a:gd name="connsiteY30" fmla="*/ 3093368 h 5633118"/>
                  <a:gd name="connsiteX31" fmla="*/ 1918706 w 1918706"/>
                  <a:gd name="connsiteY31" fmla="*/ 3487266 h 5633118"/>
                  <a:gd name="connsiteX32" fmla="*/ 1918706 w 1918706"/>
                  <a:gd name="connsiteY32" fmla="*/ 3508195 h 5633118"/>
                  <a:gd name="connsiteX33" fmla="*/ 1918706 w 1918706"/>
                  <a:gd name="connsiteY33" fmla="*/ 3515969 h 5633118"/>
                  <a:gd name="connsiteX34" fmla="*/ 1918706 w 1918706"/>
                  <a:gd name="connsiteY34" fmla="*/ 3574721 h 5633118"/>
                  <a:gd name="connsiteX35" fmla="*/ 1918706 w 1918706"/>
                  <a:gd name="connsiteY35" fmla="*/ 3587875 h 5633118"/>
                  <a:gd name="connsiteX36" fmla="*/ 1918706 w 1918706"/>
                  <a:gd name="connsiteY36" fmla="*/ 3595649 h 5633118"/>
                  <a:gd name="connsiteX37" fmla="*/ 1918706 w 1918706"/>
                  <a:gd name="connsiteY37" fmla="*/ 3997322 h 5633118"/>
                  <a:gd name="connsiteX38" fmla="*/ 1918706 w 1918706"/>
                  <a:gd name="connsiteY38" fmla="*/ 4010476 h 5633118"/>
                  <a:gd name="connsiteX39" fmla="*/ 1918706 w 1918706"/>
                  <a:gd name="connsiteY39" fmla="*/ 4069228 h 5633118"/>
                  <a:gd name="connsiteX40" fmla="*/ 1918706 w 1918706"/>
                  <a:gd name="connsiteY40" fmla="*/ 4090156 h 5633118"/>
                  <a:gd name="connsiteX41" fmla="*/ 1918706 w 1918706"/>
                  <a:gd name="connsiteY41" fmla="*/ 4097931 h 5633118"/>
                  <a:gd name="connsiteX42" fmla="*/ 1918706 w 1918706"/>
                  <a:gd name="connsiteY42" fmla="*/ 4491829 h 5633118"/>
                  <a:gd name="connsiteX43" fmla="*/ 1918706 w 1918706"/>
                  <a:gd name="connsiteY43" fmla="*/ 4579284 h 5633118"/>
                  <a:gd name="connsiteX44" fmla="*/ 1918706 w 1918706"/>
                  <a:gd name="connsiteY44" fmla="*/ 4592438 h 5633118"/>
                  <a:gd name="connsiteX45" fmla="*/ 1918706 w 1918706"/>
                  <a:gd name="connsiteY45" fmla="*/ 5073791 h 5633118"/>
                  <a:gd name="connsiteX46" fmla="*/ 959355 w 1918706"/>
                  <a:gd name="connsiteY46" fmla="*/ 5633118 h 5633118"/>
                  <a:gd name="connsiteX47" fmla="*/ 0 w 1918706"/>
                  <a:gd name="connsiteY47" fmla="*/ 5073791 h 5633118"/>
                  <a:gd name="connsiteX48" fmla="*/ 0 w 1918706"/>
                  <a:gd name="connsiteY48" fmla="*/ 4592438 h 5633118"/>
                  <a:gd name="connsiteX49" fmla="*/ 0 w 1918706"/>
                  <a:gd name="connsiteY49" fmla="*/ 4579284 h 5633118"/>
                  <a:gd name="connsiteX50" fmla="*/ 0 w 1918706"/>
                  <a:gd name="connsiteY50" fmla="*/ 4491829 h 5633118"/>
                  <a:gd name="connsiteX51" fmla="*/ 0 w 1918706"/>
                  <a:gd name="connsiteY51" fmla="*/ 4097931 h 5633118"/>
                  <a:gd name="connsiteX52" fmla="*/ 0 w 1918706"/>
                  <a:gd name="connsiteY52" fmla="*/ 4090156 h 5633118"/>
                  <a:gd name="connsiteX53" fmla="*/ 0 w 1918706"/>
                  <a:gd name="connsiteY53" fmla="*/ 4069228 h 5633118"/>
                  <a:gd name="connsiteX54" fmla="*/ 0 w 1918706"/>
                  <a:gd name="connsiteY54" fmla="*/ 4010476 h 5633118"/>
                  <a:gd name="connsiteX55" fmla="*/ 0 w 1918706"/>
                  <a:gd name="connsiteY55" fmla="*/ 3997322 h 5633118"/>
                  <a:gd name="connsiteX56" fmla="*/ 0 w 1918706"/>
                  <a:gd name="connsiteY56" fmla="*/ 3595649 h 5633118"/>
                  <a:gd name="connsiteX57" fmla="*/ 0 w 1918706"/>
                  <a:gd name="connsiteY57" fmla="*/ 3587875 h 5633118"/>
                  <a:gd name="connsiteX58" fmla="*/ 0 w 1918706"/>
                  <a:gd name="connsiteY58" fmla="*/ 3574721 h 5633118"/>
                  <a:gd name="connsiteX59" fmla="*/ 0 w 1918706"/>
                  <a:gd name="connsiteY59" fmla="*/ 3515969 h 5633118"/>
                  <a:gd name="connsiteX60" fmla="*/ 0 w 1918706"/>
                  <a:gd name="connsiteY60" fmla="*/ 3508195 h 5633118"/>
                  <a:gd name="connsiteX61" fmla="*/ 0 w 1918706"/>
                  <a:gd name="connsiteY61" fmla="*/ 3487266 h 5633118"/>
                  <a:gd name="connsiteX62" fmla="*/ 0 w 1918706"/>
                  <a:gd name="connsiteY62" fmla="*/ 3093368 h 5633118"/>
                  <a:gd name="connsiteX63" fmla="*/ 0 w 1918706"/>
                  <a:gd name="connsiteY63" fmla="*/ 3085594 h 5633118"/>
                  <a:gd name="connsiteX64" fmla="*/ 0 w 1918706"/>
                  <a:gd name="connsiteY64" fmla="*/ 3013688 h 5633118"/>
                  <a:gd name="connsiteX65" fmla="*/ 0 w 1918706"/>
                  <a:gd name="connsiteY65" fmla="*/ 3005914 h 5633118"/>
                  <a:gd name="connsiteX66" fmla="*/ 0 w 1918706"/>
                  <a:gd name="connsiteY66" fmla="*/ 2992759 h 5633118"/>
                  <a:gd name="connsiteX67" fmla="*/ 0 w 1918706"/>
                  <a:gd name="connsiteY67" fmla="*/ 2591087 h 5633118"/>
                  <a:gd name="connsiteX68" fmla="*/ 0 w 1918706"/>
                  <a:gd name="connsiteY68" fmla="*/ 2583313 h 5633118"/>
                  <a:gd name="connsiteX69" fmla="*/ 0 w 1918706"/>
                  <a:gd name="connsiteY69" fmla="*/ 2567616 h 5633118"/>
                  <a:gd name="connsiteX70" fmla="*/ 0 w 1918706"/>
                  <a:gd name="connsiteY70" fmla="*/ 2511407 h 5633118"/>
                  <a:gd name="connsiteX71" fmla="*/ 0 w 1918706"/>
                  <a:gd name="connsiteY71" fmla="*/ 2503632 h 5633118"/>
                  <a:gd name="connsiteX72" fmla="*/ 0 w 1918706"/>
                  <a:gd name="connsiteY72" fmla="*/ 2088805 h 5633118"/>
                  <a:gd name="connsiteX73" fmla="*/ 0 w 1918706"/>
                  <a:gd name="connsiteY73" fmla="*/ 2081031 h 5633118"/>
                  <a:gd name="connsiteX74" fmla="*/ 0 w 1918706"/>
                  <a:gd name="connsiteY74" fmla="*/ 2073109 h 5633118"/>
                  <a:gd name="connsiteX75" fmla="*/ 0 w 1918706"/>
                  <a:gd name="connsiteY75" fmla="*/ 2009125 h 5633118"/>
                  <a:gd name="connsiteX76" fmla="*/ 0 w 1918706"/>
                  <a:gd name="connsiteY76" fmla="*/ 2001351 h 5633118"/>
                  <a:gd name="connsiteX77" fmla="*/ 0 w 1918706"/>
                  <a:gd name="connsiteY77" fmla="*/ 1985655 h 5633118"/>
                  <a:gd name="connsiteX78" fmla="*/ 0 w 1918706"/>
                  <a:gd name="connsiteY78" fmla="*/ 1586524 h 5633118"/>
                  <a:gd name="connsiteX79" fmla="*/ 0 w 1918706"/>
                  <a:gd name="connsiteY79" fmla="*/ 1563054 h 5633118"/>
                  <a:gd name="connsiteX80" fmla="*/ 0 w 1918706"/>
                  <a:gd name="connsiteY80" fmla="*/ 1506844 h 5633118"/>
                  <a:gd name="connsiteX81" fmla="*/ 0 w 1918706"/>
                  <a:gd name="connsiteY81" fmla="*/ 1499070 h 5633118"/>
                  <a:gd name="connsiteX82" fmla="*/ 0 w 1918706"/>
                  <a:gd name="connsiteY82" fmla="*/ 1491148 h 5633118"/>
                  <a:gd name="connsiteX83" fmla="*/ 0 w 1918706"/>
                  <a:gd name="connsiteY83" fmla="*/ 1076469 h 5633118"/>
                  <a:gd name="connsiteX84" fmla="*/ 0 w 1918706"/>
                  <a:gd name="connsiteY84" fmla="*/ 1068547 h 5633118"/>
                  <a:gd name="connsiteX85" fmla="*/ 0 w 1918706"/>
                  <a:gd name="connsiteY85" fmla="*/ 1004563 h 5633118"/>
                  <a:gd name="connsiteX86" fmla="*/ 0 w 1918706"/>
                  <a:gd name="connsiteY86" fmla="*/ 981092 h 5633118"/>
                  <a:gd name="connsiteX87" fmla="*/ 0 w 1918706"/>
                  <a:gd name="connsiteY87" fmla="*/ 581962 h 5633118"/>
                  <a:gd name="connsiteX88" fmla="*/ 0 w 1918706"/>
                  <a:gd name="connsiteY88" fmla="*/ 494507 h 5633118"/>
                  <a:gd name="connsiteX89" fmla="*/ 0 w 1918706"/>
                  <a:gd name="connsiteY89" fmla="*/ 486585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981092 h 5633118"/>
                  <a:gd name="connsiteX6" fmla="*/ 1918706 w 1918706"/>
                  <a:gd name="connsiteY6" fmla="*/ 1004563 h 5633118"/>
                  <a:gd name="connsiteX7" fmla="*/ 1918706 w 1918706"/>
                  <a:gd name="connsiteY7" fmla="*/ 1068547 h 5633118"/>
                  <a:gd name="connsiteX8" fmla="*/ 1918706 w 1918706"/>
                  <a:gd name="connsiteY8" fmla="*/ 1076469 h 5633118"/>
                  <a:gd name="connsiteX9" fmla="*/ 1918706 w 1918706"/>
                  <a:gd name="connsiteY9" fmla="*/ 1491148 h 5633118"/>
                  <a:gd name="connsiteX10" fmla="*/ 1918706 w 1918706"/>
                  <a:gd name="connsiteY10" fmla="*/ 1499070 h 5633118"/>
                  <a:gd name="connsiteX11" fmla="*/ 1918706 w 1918706"/>
                  <a:gd name="connsiteY11" fmla="*/ 1506844 h 5633118"/>
                  <a:gd name="connsiteX12" fmla="*/ 1918706 w 1918706"/>
                  <a:gd name="connsiteY12" fmla="*/ 1563054 h 5633118"/>
                  <a:gd name="connsiteX13" fmla="*/ 1918706 w 1918706"/>
                  <a:gd name="connsiteY13" fmla="*/ 1586524 h 5633118"/>
                  <a:gd name="connsiteX14" fmla="*/ 1918706 w 1918706"/>
                  <a:gd name="connsiteY14" fmla="*/ 1985655 h 5633118"/>
                  <a:gd name="connsiteX15" fmla="*/ 1918706 w 1918706"/>
                  <a:gd name="connsiteY15" fmla="*/ 2001351 h 5633118"/>
                  <a:gd name="connsiteX16" fmla="*/ 1918706 w 1918706"/>
                  <a:gd name="connsiteY16" fmla="*/ 2009125 h 5633118"/>
                  <a:gd name="connsiteX17" fmla="*/ 1918706 w 1918706"/>
                  <a:gd name="connsiteY17" fmla="*/ 2073109 h 5633118"/>
                  <a:gd name="connsiteX18" fmla="*/ 1918706 w 1918706"/>
                  <a:gd name="connsiteY18" fmla="*/ 2081031 h 5633118"/>
                  <a:gd name="connsiteX19" fmla="*/ 1918706 w 1918706"/>
                  <a:gd name="connsiteY19" fmla="*/ 2088805 h 5633118"/>
                  <a:gd name="connsiteX20" fmla="*/ 1918706 w 1918706"/>
                  <a:gd name="connsiteY20" fmla="*/ 2503632 h 5633118"/>
                  <a:gd name="connsiteX21" fmla="*/ 1918706 w 1918706"/>
                  <a:gd name="connsiteY21" fmla="*/ 2511407 h 5633118"/>
                  <a:gd name="connsiteX22" fmla="*/ 1918706 w 1918706"/>
                  <a:gd name="connsiteY22" fmla="*/ 2567616 h 5633118"/>
                  <a:gd name="connsiteX23" fmla="*/ 1918706 w 1918706"/>
                  <a:gd name="connsiteY23" fmla="*/ 2583313 h 5633118"/>
                  <a:gd name="connsiteX24" fmla="*/ 1918706 w 1918706"/>
                  <a:gd name="connsiteY24" fmla="*/ 2591087 h 5633118"/>
                  <a:gd name="connsiteX25" fmla="*/ 1918706 w 1918706"/>
                  <a:gd name="connsiteY25" fmla="*/ 2992759 h 5633118"/>
                  <a:gd name="connsiteX26" fmla="*/ 1918706 w 1918706"/>
                  <a:gd name="connsiteY26" fmla="*/ 3005914 h 5633118"/>
                  <a:gd name="connsiteX27" fmla="*/ 1918706 w 1918706"/>
                  <a:gd name="connsiteY27" fmla="*/ 3013688 h 5633118"/>
                  <a:gd name="connsiteX28" fmla="*/ 1918706 w 1918706"/>
                  <a:gd name="connsiteY28" fmla="*/ 3085594 h 5633118"/>
                  <a:gd name="connsiteX29" fmla="*/ 1918706 w 1918706"/>
                  <a:gd name="connsiteY29" fmla="*/ 3093368 h 5633118"/>
                  <a:gd name="connsiteX30" fmla="*/ 1918706 w 1918706"/>
                  <a:gd name="connsiteY30" fmla="*/ 3487266 h 5633118"/>
                  <a:gd name="connsiteX31" fmla="*/ 1918706 w 1918706"/>
                  <a:gd name="connsiteY31" fmla="*/ 3508195 h 5633118"/>
                  <a:gd name="connsiteX32" fmla="*/ 1918706 w 1918706"/>
                  <a:gd name="connsiteY32" fmla="*/ 3515969 h 5633118"/>
                  <a:gd name="connsiteX33" fmla="*/ 1918706 w 1918706"/>
                  <a:gd name="connsiteY33" fmla="*/ 3574721 h 5633118"/>
                  <a:gd name="connsiteX34" fmla="*/ 1918706 w 1918706"/>
                  <a:gd name="connsiteY34" fmla="*/ 3587875 h 5633118"/>
                  <a:gd name="connsiteX35" fmla="*/ 1918706 w 1918706"/>
                  <a:gd name="connsiteY35" fmla="*/ 3595649 h 5633118"/>
                  <a:gd name="connsiteX36" fmla="*/ 1918706 w 1918706"/>
                  <a:gd name="connsiteY36" fmla="*/ 3997322 h 5633118"/>
                  <a:gd name="connsiteX37" fmla="*/ 1918706 w 1918706"/>
                  <a:gd name="connsiteY37" fmla="*/ 4010476 h 5633118"/>
                  <a:gd name="connsiteX38" fmla="*/ 1918706 w 1918706"/>
                  <a:gd name="connsiteY38" fmla="*/ 4069228 h 5633118"/>
                  <a:gd name="connsiteX39" fmla="*/ 1918706 w 1918706"/>
                  <a:gd name="connsiteY39" fmla="*/ 4090156 h 5633118"/>
                  <a:gd name="connsiteX40" fmla="*/ 1918706 w 1918706"/>
                  <a:gd name="connsiteY40" fmla="*/ 4097931 h 5633118"/>
                  <a:gd name="connsiteX41" fmla="*/ 1918706 w 1918706"/>
                  <a:gd name="connsiteY41" fmla="*/ 4491829 h 5633118"/>
                  <a:gd name="connsiteX42" fmla="*/ 1918706 w 1918706"/>
                  <a:gd name="connsiteY42" fmla="*/ 4579284 h 5633118"/>
                  <a:gd name="connsiteX43" fmla="*/ 1918706 w 1918706"/>
                  <a:gd name="connsiteY43" fmla="*/ 4592438 h 5633118"/>
                  <a:gd name="connsiteX44" fmla="*/ 1918706 w 1918706"/>
                  <a:gd name="connsiteY44" fmla="*/ 5073791 h 5633118"/>
                  <a:gd name="connsiteX45" fmla="*/ 959355 w 1918706"/>
                  <a:gd name="connsiteY45" fmla="*/ 5633118 h 5633118"/>
                  <a:gd name="connsiteX46" fmla="*/ 0 w 1918706"/>
                  <a:gd name="connsiteY46" fmla="*/ 5073791 h 5633118"/>
                  <a:gd name="connsiteX47" fmla="*/ 0 w 1918706"/>
                  <a:gd name="connsiteY47" fmla="*/ 4592438 h 5633118"/>
                  <a:gd name="connsiteX48" fmla="*/ 0 w 1918706"/>
                  <a:gd name="connsiteY48" fmla="*/ 4579284 h 5633118"/>
                  <a:gd name="connsiteX49" fmla="*/ 0 w 1918706"/>
                  <a:gd name="connsiteY49" fmla="*/ 4491829 h 5633118"/>
                  <a:gd name="connsiteX50" fmla="*/ 0 w 1918706"/>
                  <a:gd name="connsiteY50" fmla="*/ 4097931 h 5633118"/>
                  <a:gd name="connsiteX51" fmla="*/ 0 w 1918706"/>
                  <a:gd name="connsiteY51" fmla="*/ 4090156 h 5633118"/>
                  <a:gd name="connsiteX52" fmla="*/ 0 w 1918706"/>
                  <a:gd name="connsiteY52" fmla="*/ 4069228 h 5633118"/>
                  <a:gd name="connsiteX53" fmla="*/ 0 w 1918706"/>
                  <a:gd name="connsiteY53" fmla="*/ 4010476 h 5633118"/>
                  <a:gd name="connsiteX54" fmla="*/ 0 w 1918706"/>
                  <a:gd name="connsiteY54" fmla="*/ 3997322 h 5633118"/>
                  <a:gd name="connsiteX55" fmla="*/ 0 w 1918706"/>
                  <a:gd name="connsiteY55" fmla="*/ 3595649 h 5633118"/>
                  <a:gd name="connsiteX56" fmla="*/ 0 w 1918706"/>
                  <a:gd name="connsiteY56" fmla="*/ 3587875 h 5633118"/>
                  <a:gd name="connsiteX57" fmla="*/ 0 w 1918706"/>
                  <a:gd name="connsiteY57" fmla="*/ 3574721 h 5633118"/>
                  <a:gd name="connsiteX58" fmla="*/ 0 w 1918706"/>
                  <a:gd name="connsiteY58" fmla="*/ 3515969 h 5633118"/>
                  <a:gd name="connsiteX59" fmla="*/ 0 w 1918706"/>
                  <a:gd name="connsiteY59" fmla="*/ 3508195 h 5633118"/>
                  <a:gd name="connsiteX60" fmla="*/ 0 w 1918706"/>
                  <a:gd name="connsiteY60" fmla="*/ 3487266 h 5633118"/>
                  <a:gd name="connsiteX61" fmla="*/ 0 w 1918706"/>
                  <a:gd name="connsiteY61" fmla="*/ 3093368 h 5633118"/>
                  <a:gd name="connsiteX62" fmla="*/ 0 w 1918706"/>
                  <a:gd name="connsiteY62" fmla="*/ 3085594 h 5633118"/>
                  <a:gd name="connsiteX63" fmla="*/ 0 w 1918706"/>
                  <a:gd name="connsiteY63" fmla="*/ 3013688 h 5633118"/>
                  <a:gd name="connsiteX64" fmla="*/ 0 w 1918706"/>
                  <a:gd name="connsiteY64" fmla="*/ 3005914 h 5633118"/>
                  <a:gd name="connsiteX65" fmla="*/ 0 w 1918706"/>
                  <a:gd name="connsiteY65" fmla="*/ 2992759 h 5633118"/>
                  <a:gd name="connsiteX66" fmla="*/ 0 w 1918706"/>
                  <a:gd name="connsiteY66" fmla="*/ 2591087 h 5633118"/>
                  <a:gd name="connsiteX67" fmla="*/ 0 w 1918706"/>
                  <a:gd name="connsiteY67" fmla="*/ 2583313 h 5633118"/>
                  <a:gd name="connsiteX68" fmla="*/ 0 w 1918706"/>
                  <a:gd name="connsiteY68" fmla="*/ 2567616 h 5633118"/>
                  <a:gd name="connsiteX69" fmla="*/ 0 w 1918706"/>
                  <a:gd name="connsiteY69" fmla="*/ 2511407 h 5633118"/>
                  <a:gd name="connsiteX70" fmla="*/ 0 w 1918706"/>
                  <a:gd name="connsiteY70" fmla="*/ 2503632 h 5633118"/>
                  <a:gd name="connsiteX71" fmla="*/ 0 w 1918706"/>
                  <a:gd name="connsiteY71" fmla="*/ 2088805 h 5633118"/>
                  <a:gd name="connsiteX72" fmla="*/ 0 w 1918706"/>
                  <a:gd name="connsiteY72" fmla="*/ 2081031 h 5633118"/>
                  <a:gd name="connsiteX73" fmla="*/ 0 w 1918706"/>
                  <a:gd name="connsiteY73" fmla="*/ 2073109 h 5633118"/>
                  <a:gd name="connsiteX74" fmla="*/ 0 w 1918706"/>
                  <a:gd name="connsiteY74" fmla="*/ 2009125 h 5633118"/>
                  <a:gd name="connsiteX75" fmla="*/ 0 w 1918706"/>
                  <a:gd name="connsiteY75" fmla="*/ 2001351 h 5633118"/>
                  <a:gd name="connsiteX76" fmla="*/ 0 w 1918706"/>
                  <a:gd name="connsiteY76" fmla="*/ 1985655 h 5633118"/>
                  <a:gd name="connsiteX77" fmla="*/ 0 w 1918706"/>
                  <a:gd name="connsiteY77" fmla="*/ 1586524 h 5633118"/>
                  <a:gd name="connsiteX78" fmla="*/ 0 w 1918706"/>
                  <a:gd name="connsiteY78" fmla="*/ 1563054 h 5633118"/>
                  <a:gd name="connsiteX79" fmla="*/ 0 w 1918706"/>
                  <a:gd name="connsiteY79" fmla="*/ 1506844 h 5633118"/>
                  <a:gd name="connsiteX80" fmla="*/ 0 w 1918706"/>
                  <a:gd name="connsiteY80" fmla="*/ 1499070 h 5633118"/>
                  <a:gd name="connsiteX81" fmla="*/ 0 w 1918706"/>
                  <a:gd name="connsiteY81" fmla="*/ 1491148 h 5633118"/>
                  <a:gd name="connsiteX82" fmla="*/ 0 w 1918706"/>
                  <a:gd name="connsiteY82" fmla="*/ 1076469 h 5633118"/>
                  <a:gd name="connsiteX83" fmla="*/ 0 w 1918706"/>
                  <a:gd name="connsiteY83" fmla="*/ 1068547 h 5633118"/>
                  <a:gd name="connsiteX84" fmla="*/ 0 w 1918706"/>
                  <a:gd name="connsiteY84" fmla="*/ 1004563 h 5633118"/>
                  <a:gd name="connsiteX85" fmla="*/ 0 w 1918706"/>
                  <a:gd name="connsiteY85" fmla="*/ 981092 h 5633118"/>
                  <a:gd name="connsiteX86" fmla="*/ 0 w 1918706"/>
                  <a:gd name="connsiteY86" fmla="*/ 581962 h 5633118"/>
                  <a:gd name="connsiteX87" fmla="*/ 0 w 1918706"/>
                  <a:gd name="connsiteY87" fmla="*/ 494507 h 5633118"/>
                  <a:gd name="connsiteX88" fmla="*/ 0 w 1918706"/>
                  <a:gd name="connsiteY88" fmla="*/ 486585 h 5633118"/>
                  <a:gd name="connsiteX89" fmla="*/ 0 w 1918706"/>
                  <a:gd name="connsiteY8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981092 h 5633118"/>
                  <a:gd name="connsiteX5" fmla="*/ 1918706 w 1918706"/>
                  <a:gd name="connsiteY5" fmla="*/ 1004563 h 5633118"/>
                  <a:gd name="connsiteX6" fmla="*/ 1918706 w 1918706"/>
                  <a:gd name="connsiteY6" fmla="*/ 1068547 h 5633118"/>
                  <a:gd name="connsiteX7" fmla="*/ 1918706 w 1918706"/>
                  <a:gd name="connsiteY7" fmla="*/ 1076469 h 5633118"/>
                  <a:gd name="connsiteX8" fmla="*/ 1918706 w 1918706"/>
                  <a:gd name="connsiteY8" fmla="*/ 1491148 h 5633118"/>
                  <a:gd name="connsiteX9" fmla="*/ 1918706 w 1918706"/>
                  <a:gd name="connsiteY9" fmla="*/ 1499070 h 5633118"/>
                  <a:gd name="connsiteX10" fmla="*/ 1918706 w 1918706"/>
                  <a:gd name="connsiteY10" fmla="*/ 1506844 h 5633118"/>
                  <a:gd name="connsiteX11" fmla="*/ 1918706 w 1918706"/>
                  <a:gd name="connsiteY11" fmla="*/ 1563054 h 5633118"/>
                  <a:gd name="connsiteX12" fmla="*/ 1918706 w 1918706"/>
                  <a:gd name="connsiteY12" fmla="*/ 1586524 h 5633118"/>
                  <a:gd name="connsiteX13" fmla="*/ 1918706 w 1918706"/>
                  <a:gd name="connsiteY13" fmla="*/ 1985655 h 5633118"/>
                  <a:gd name="connsiteX14" fmla="*/ 1918706 w 1918706"/>
                  <a:gd name="connsiteY14" fmla="*/ 2001351 h 5633118"/>
                  <a:gd name="connsiteX15" fmla="*/ 1918706 w 1918706"/>
                  <a:gd name="connsiteY15" fmla="*/ 2009125 h 5633118"/>
                  <a:gd name="connsiteX16" fmla="*/ 1918706 w 1918706"/>
                  <a:gd name="connsiteY16" fmla="*/ 2073109 h 5633118"/>
                  <a:gd name="connsiteX17" fmla="*/ 1918706 w 1918706"/>
                  <a:gd name="connsiteY17" fmla="*/ 2081031 h 5633118"/>
                  <a:gd name="connsiteX18" fmla="*/ 1918706 w 1918706"/>
                  <a:gd name="connsiteY18" fmla="*/ 2088805 h 5633118"/>
                  <a:gd name="connsiteX19" fmla="*/ 1918706 w 1918706"/>
                  <a:gd name="connsiteY19" fmla="*/ 2503632 h 5633118"/>
                  <a:gd name="connsiteX20" fmla="*/ 1918706 w 1918706"/>
                  <a:gd name="connsiteY20" fmla="*/ 2511407 h 5633118"/>
                  <a:gd name="connsiteX21" fmla="*/ 1918706 w 1918706"/>
                  <a:gd name="connsiteY21" fmla="*/ 2567616 h 5633118"/>
                  <a:gd name="connsiteX22" fmla="*/ 1918706 w 1918706"/>
                  <a:gd name="connsiteY22" fmla="*/ 2583313 h 5633118"/>
                  <a:gd name="connsiteX23" fmla="*/ 1918706 w 1918706"/>
                  <a:gd name="connsiteY23" fmla="*/ 2591087 h 5633118"/>
                  <a:gd name="connsiteX24" fmla="*/ 1918706 w 1918706"/>
                  <a:gd name="connsiteY24" fmla="*/ 2992759 h 5633118"/>
                  <a:gd name="connsiteX25" fmla="*/ 1918706 w 1918706"/>
                  <a:gd name="connsiteY25" fmla="*/ 3005914 h 5633118"/>
                  <a:gd name="connsiteX26" fmla="*/ 1918706 w 1918706"/>
                  <a:gd name="connsiteY26" fmla="*/ 3013688 h 5633118"/>
                  <a:gd name="connsiteX27" fmla="*/ 1918706 w 1918706"/>
                  <a:gd name="connsiteY27" fmla="*/ 3085594 h 5633118"/>
                  <a:gd name="connsiteX28" fmla="*/ 1918706 w 1918706"/>
                  <a:gd name="connsiteY28" fmla="*/ 3093368 h 5633118"/>
                  <a:gd name="connsiteX29" fmla="*/ 1918706 w 1918706"/>
                  <a:gd name="connsiteY29" fmla="*/ 3487266 h 5633118"/>
                  <a:gd name="connsiteX30" fmla="*/ 1918706 w 1918706"/>
                  <a:gd name="connsiteY30" fmla="*/ 3508195 h 5633118"/>
                  <a:gd name="connsiteX31" fmla="*/ 1918706 w 1918706"/>
                  <a:gd name="connsiteY31" fmla="*/ 3515969 h 5633118"/>
                  <a:gd name="connsiteX32" fmla="*/ 1918706 w 1918706"/>
                  <a:gd name="connsiteY32" fmla="*/ 3574721 h 5633118"/>
                  <a:gd name="connsiteX33" fmla="*/ 1918706 w 1918706"/>
                  <a:gd name="connsiteY33" fmla="*/ 3587875 h 5633118"/>
                  <a:gd name="connsiteX34" fmla="*/ 1918706 w 1918706"/>
                  <a:gd name="connsiteY34" fmla="*/ 3595649 h 5633118"/>
                  <a:gd name="connsiteX35" fmla="*/ 1918706 w 1918706"/>
                  <a:gd name="connsiteY35" fmla="*/ 3997322 h 5633118"/>
                  <a:gd name="connsiteX36" fmla="*/ 1918706 w 1918706"/>
                  <a:gd name="connsiteY36" fmla="*/ 4010476 h 5633118"/>
                  <a:gd name="connsiteX37" fmla="*/ 1918706 w 1918706"/>
                  <a:gd name="connsiteY37" fmla="*/ 4069228 h 5633118"/>
                  <a:gd name="connsiteX38" fmla="*/ 1918706 w 1918706"/>
                  <a:gd name="connsiteY38" fmla="*/ 4090156 h 5633118"/>
                  <a:gd name="connsiteX39" fmla="*/ 1918706 w 1918706"/>
                  <a:gd name="connsiteY39" fmla="*/ 4097931 h 5633118"/>
                  <a:gd name="connsiteX40" fmla="*/ 1918706 w 1918706"/>
                  <a:gd name="connsiteY40" fmla="*/ 4491829 h 5633118"/>
                  <a:gd name="connsiteX41" fmla="*/ 1918706 w 1918706"/>
                  <a:gd name="connsiteY41" fmla="*/ 4579284 h 5633118"/>
                  <a:gd name="connsiteX42" fmla="*/ 1918706 w 1918706"/>
                  <a:gd name="connsiteY42" fmla="*/ 4592438 h 5633118"/>
                  <a:gd name="connsiteX43" fmla="*/ 1918706 w 1918706"/>
                  <a:gd name="connsiteY43" fmla="*/ 5073791 h 5633118"/>
                  <a:gd name="connsiteX44" fmla="*/ 959355 w 1918706"/>
                  <a:gd name="connsiteY44" fmla="*/ 5633118 h 5633118"/>
                  <a:gd name="connsiteX45" fmla="*/ 0 w 1918706"/>
                  <a:gd name="connsiteY45" fmla="*/ 5073791 h 5633118"/>
                  <a:gd name="connsiteX46" fmla="*/ 0 w 1918706"/>
                  <a:gd name="connsiteY46" fmla="*/ 4592438 h 5633118"/>
                  <a:gd name="connsiteX47" fmla="*/ 0 w 1918706"/>
                  <a:gd name="connsiteY47" fmla="*/ 4579284 h 5633118"/>
                  <a:gd name="connsiteX48" fmla="*/ 0 w 1918706"/>
                  <a:gd name="connsiteY48" fmla="*/ 4491829 h 5633118"/>
                  <a:gd name="connsiteX49" fmla="*/ 0 w 1918706"/>
                  <a:gd name="connsiteY49" fmla="*/ 4097931 h 5633118"/>
                  <a:gd name="connsiteX50" fmla="*/ 0 w 1918706"/>
                  <a:gd name="connsiteY50" fmla="*/ 4090156 h 5633118"/>
                  <a:gd name="connsiteX51" fmla="*/ 0 w 1918706"/>
                  <a:gd name="connsiteY51" fmla="*/ 4069228 h 5633118"/>
                  <a:gd name="connsiteX52" fmla="*/ 0 w 1918706"/>
                  <a:gd name="connsiteY52" fmla="*/ 4010476 h 5633118"/>
                  <a:gd name="connsiteX53" fmla="*/ 0 w 1918706"/>
                  <a:gd name="connsiteY53" fmla="*/ 3997322 h 5633118"/>
                  <a:gd name="connsiteX54" fmla="*/ 0 w 1918706"/>
                  <a:gd name="connsiteY54" fmla="*/ 3595649 h 5633118"/>
                  <a:gd name="connsiteX55" fmla="*/ 0 w 1918706"/>
                  <a:gd name="connsiteY55" fmla="*/ 3587875 h 5633118"/>
                  <a:gd name="connsiteX56" fmla="*/ 0 w 1918706"/>
                  <a:gd name="connsiteY56" fmla="*/ 3574721 h 5633118"/>
                  <a:gd name="connsiteX57" fmla="*/ 0 w 1918706"/>
                  <a:gd name="connsiteY57" fmla="*/ 3515969 h 5633118"/>
                  <a:gd name="connsiteX58" fmla="*/ 0 w 1918706"/>
                  <a:gd name="connsiteY58" fmla="*/ 3508195 h 5633118"/>
                  <a:gd name="connsiteX59" fmla="*/ 0 w 1918706"/>
                  <a:gd name="connsiteY59" fmla="*/ 3487266 h 5633118"/>
                  <a:gd name="connsiteX60" fmla="*/ 0 w 1918706"/>
                  <a:gd name="connsiteY60" fmla="*/ 3093368 h 5633118"/>
                  <a:gd name="connsiteX61" fmla="*/ 0 w 1918706"/>
                  <a:gd name="connsiteY61" fmla="*/ 3085594 h 5633118"/>
                  <a:gd name="connsiteX62" fmla="*/ 0 w 1918706"/>
                  <a:gd name="connsiteY62" fmla="*/ 3013688 h 5633118"/>
                  <a:gd name="connsiteX63" fmla="*/ 0 w 1918706"/>
                  <a:gd name="connsiteY63" fmla="*/ 3005914 h 5633118"/>
                  <a:gd name="connsiteX64" fmla="*/ 0 w 1918706"/>
                  <a:gd name="connsiteY64" fmla="*/ 2992759 h 5633118"/>
                  <a:gd name="connsiteX65" fmla="*/ 0 w 1918706"/>
                  <a:gd name="connsiteY65" fmla="*/ 2591087 h 5633118"/>
                  <a:gd name="connsiteX66" fmla="*/ 0 w 1918706"/>
                  <a:gd name="connsiteY66" fmla="*/ 2583313 h 5633118"/>
                  <a:gd name="connsiteX67" fmla="*/ 0 w 1918706"/>
                  <a:gd name="connsiteY67" fmla="*/ 2567616 h 5633118"/>
                  <a:gd name="connsiteX68" fmla="*/ 0 w 1918706"/>
                  <a:gd name="connsiteY68" fmla="*/ 2511407 h 5633118"/>
                  <a:gd name="connsiteX69" fmla="*/ 0 w 1918706"/>
                  <a:gd name="connsiteY69" fmla="*/ 2503632 h 5633118"/>
                  <a:gd name="connsiteX70" fmla="*/ 0 w 1918706"/>
                  <a:gd name="connsiteY70" fmla="*/ 2088805 h 5633118"/>
                  <a:gd name="connsiteX71" fmla="*/ 0 w 1918706"/>
                  <a:gd name="connsiteY71" fmla="*/ 2081031 h 5633118"/>
                  <a:gd name="connsiteX72" fmla="*/ 0 w 1918706"/>
                  <a:gd name="connsiteY72" fmla="*/ 2073109 h 5633118"/>
                  <a:gd name="connsiteX73" fmla="*/ 0 w 1918706"/>
                  <a:gd name="connsiteY73" fmla="*/ 2009125 h 5633118"/>
                  <a:gd name="connsiteX74" fmla="*/ 0 w 1918706"/>
                  <a:gd name="connsiteY74" fmla="*/ 2001351 h 5633118"/>
                  <a:gd name="connsiteX75" fmla="*/ 0 w 1918706"/>
                  <a:gd name="connsiteY75" fmla="*/ 1985655 h 5633118"/>
                  <a:gd name="connsiteX76" fmla="*/ 0 w 1918706"/>
                  <a:gd name="connsiteY76" fmla="*/ 1586524 h 5633118"/>
                  <a:gd name="connsiteX77" fmla="*/ 0 w 1918706"/>
                  <a:gd name="connsiteY77" fmla="*/ 1563054 h 5633118"/>
                  <a:gd name="connsiteX78" fmla="*/ 0 w 1918706"/>
                  <a:gd name="connsiteY78" fmla="*/ 1506844 h 5633118"/>
                  <a:gd name="connsiteX79" fmla="*/ 0 w 1918706"/>
                  <a:gd name="connsiteY79" fmla="*/ 1499070 h 5633118"/>
                  <a:gd name="connsiteX80" fmla="*/ 0 w 1918706"/>
                  <a:gd name="connsiteY80" fmla="*/ 1491148 h 5633118"/>
                  <a:gd name="connsiteX81" fmla="*/ 0 w 1918706"/>
                  <a:gd name="connsiteY81" fmla="*/ 1076469 h 5633118"/>
                  <a:gd name="connsiteX82" fmla="*/ 0 w 1918706"/>
                  <a:gd name="connsiteY82" fmla="*/ 1068547 h 5633118"/>
                  <a:gd name="connsiteX83" fmla="*/ 0 w 1918706"/>
                  <a:gd name="connsiteY83" fmla="*/ 1004563 h 5633118"/>
                  <a:gd name="connsiteX84" fmla="*/ 0 w 1918706"/>
                  <a:gd name="connsiteY84" fmla="*/ 981092 h 5633118"/>
                  <a:gd name="connsiteX85" fmla="*/ 0 w 1918706"/>
                  <a:gd name="connsiteY85" fmla="*/ 581962 h 5633118"/>
                  <a:gd name="connsiteX86" fmla="*/ 0 w 1918706"/>
                  <a:gd name="connsiteY86" fmla="*/ 494507 h 5633118"/>
                  <a:gd name="connsiteX87" fmla="*/ 0 w 1918706"/>
                  <a:gd name="connsiteY87" fmla="*/ 486585 h 5633118"/>
                  <a:gd name="connsiteX88" fmla="*/ 0 w 1918706"/>
                  <a:gd name="connsiteY8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486585 h 5633118"/>
                  <a:gd name="connsiteX87" fmla="*/ 0 w 1918706"/>
                  <a:gd name="connsiteY8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076469 h 5633118"/>
                  <a:gd name="connsiteX80" fmla="*/ 0 w 1918706"/>
                  <a:gd name="connsiteY8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591087 h 5633118"/>
                  <a:gd name="connsiteX64" fmla="*/ 0 w 1918706"/>
                  <a:gd name="connsiteY6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2591087 h 5633118"/>
                  <a:gd name="connsiteX63" fmla="*/ 0 w 1918706"/>
                  <a:gd name="connsiteY6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2591087 h 5633118"/>
                  <a:gd name="connsiteX62" fmla="*/ 0 w 1918706"/>
                  <a:gd name="connsiteY6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2591087 h 5633118"/>
                  <a:gd name="connsiteX61" fmla="*/ 0 w 1918706"/>
                  <a:gd name="connsiteY6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68547 h 5633118"/>
                  <a:gd name="connsiteX5" fmla="*/ 1918706 w 1918706"/>
                  <a:gd name="connsiteY5" fmla="*/ 1076469 h 5633118"/>
                  <a:gd name="connsiteX6" fmla="*/ 1918706 w 1918706"/>
                  <a:gd name="connsiteY6" fmla="*/ 1491148 h 5633118"/>
                  <a:gd name="connsiteX7" fmla="*/ 1918706 w 1918706"/>
                  <a:gd name="connsiteY7" fmla="*/ 1499070 h 5633118"/>
                  <a:gd name="connsiteX8" fmla="*/ 1918706 w 1918706"/>
                  <a:gd name="connsiteY8" fmla="*/ 1506844 h 5633118"/>
                  <a:gd name="connsiteX9" fmla="*/ 1918706 w 1918706"/>
                  <a:gd name="connsiteY9" fmla="*/ 1563054 h 5633118"/>
                  <a:gd name="connsiteX10" fmla="*/ 1918706 w 1918706"/>
                  <a:gd name="connsiteY10" fmla="*/ 1586524 h 5633118"/>
                  <a:gd name="connsiteX11" fmla="*/ 1918706 w 1918706"/>
                  <a:gd name="connsiteY11" fmla="*/ 1985655 h 5633118"/>
                  <a:gd name="connsiteX12" fmla="*/ 1918706 w 1918706"/>
                  <a:gd name="connsiteY12" fmla="*/ 2001351 h 5633118"/>
                  <a:gd name="connsiteX13" fmla="*/ 1918706 w 1918706"/>
                  <a:gd name="connsiteY13" fmla="*/ 2009125 h 5633118"/>
                  <a:gd name="connsiteX14" fmla="*/ 1918706 w 1918706"/>
                  <a:gd name="connsiteY14" fmla="*/ 2073109 h 5633118"/>
                  <a:gd name="connsiteX15" fmla="*/ 1918706 w 1918706"/>
                  <a:gd name="connsiteY15" fmla="*/ 2081031 h 5633118"/>
                  <a:gd name="connsiteX16" fmla="*/ 1918706 w 1918706"/>
                  <a:gd name="connsiteY16" fmla="*/ 2088805 h 5633118"/>
                  <a:gd name="connsiteX17" fmla="*/ 1918706 w 1918706"/>
                  <a:gd name="connsiteY17" fmla="*/ 2503632 h 5633118"/>
                  <a:gd name="connsiteX18" fmla="*/ 1918706 w 1918706"/>
                  <a:gd name="connsiteY18" fmla="*/ 2511407 h 5633118"/>
                  <a:gd name="connsiteX19" fmla="*/ 1918706 w 1918706"/>
                  <a:gd name="connsiteY19" fmla="*/ 2567616 h 5633118"/>
                  <a:gd name="connsiteX20" fmla="*/ 1918706 w 1918706"/>
                  <a:gd name="connsiteY20" fmla="*/ 2583313 h 5633118"/>
                  <a:gd name="connsiteX21" fmla="*/ 1918706 w 1918706"/>
                  <a:gd name="connsiteY21" fmla="*/ 2591087 h 5633118"/>
                  <a:gd name="connsiteX22" fmla="*/ 1918706 w 1918706"/>
                  <a:gd name="connsiteY22" fmla="*/ 2992759 h 5633118"/>
                  <a:gd name="connsiteX23" fmla="*/ 1918706 w 1918706"/>
                  <a:gd name="connsiteY23" fmla="*/ 3005914 h 5633118"/>
                  <a:gd name="connsiteX24" fmla="*/ 1918706 w 1918706"/>
                  <a:gd name="connsiteY24" fmla="*/ 3013688 h 5633118"/>
                  <a:gd name="connsiteX25" fmla="*/ 1918706 w 1918706"/>
                  <a:gd name="connsiteY25" fmla="*/ 3085594 h 5633118"/>
                  <a:gd name="connsiteX26" fmla="*/ 1918706 w 1918706"/>
                  <a:gd name="connsiteY26" fmla="*/ 3093368 h 5633118"/>
                  <a:gd name="connsiteX27" fmla="*/ 1918706 w 1918706"/>
                  <a:gd name="connsiteY27" fmla="*/ 3487266 h 5633118"/>
                  <a:gd name="connsiteX28" fmla="*/ 1918706 w 1918706"/>
                  <a:gd name="connsiteY28" fmla="*/ 3508195 h 5633118"/>
                  <a:gd name="connsiteX29" fmla="*/ 1918706 w 1918706"/>
                  <a:gd name="connsiteY29" fmla="*/ 3515969 h 5633118"/>
                  <a:gd name="connsiteX30" fmla="*/ 1918706 w 1918706"/>
                  <a:gd name="connsiteY30" fmla="*/ 3574721 h 5633118"/>
                  <a:gd name="connsiteX31" fmla="*/ 1918706 w 1918706"/>
                  <a:gd name="connsiteY31" fmla="*/ 3587875 h 5633118"/>
                  <a:gd name="connsiteX32" fmla="*/ 1918706 w 1918706"/>
                  <a:gd name="connsiteY32" fmla="*/ 3595649 h 5633118"/>
                  <a:gd name="connsiteX33" fmla="*/ 1918706 w 1918706"/>
                  <a:gd name="connsiteY33" fmla="*/ 3997322 h 5633118"/>
                  <a:gd name="connsiteX34" fmla="*/ 1918706 w 1918706"/>
                  <a:gd name="connsiteY34" fmla="*/ 4010476 h 5633118"/>
                  <a:gd name="connsiteX35" fmla="*/ 1918706 w 1918706"/>
                  <a:gd name="connsiteY35" fmla="*/ 4069228 h 5633118"/>
                  <a:gd name="connsiteX36" fmla="*/ 1918706 w 1918706"/>
                  <a:gd name="connsiteY36" fmla="*/ 4090156 h 5633118"/>
                  <a:gd name="connsiteX37" fmla="*/ 1918706 w 1918706"/>
                  <a:gd name="connsiteY37" fmla="*/ 4097931 h 5633118"/>
                  <a:gd name="connsiteX38" fmla="*/ 1918706 w 1918706"/>
                  <a:gd name="connsiteY38" fmla="*/ 4491829 h 5633118"/>
                  <a:gd name="connsiteX39" fmla="*/ 1918706 w 1918706"/>
                  <a:gd name="connsiteY39" fmla="*/ 4579284 h 5633118"/>
                  <a:gd name="connsiteX40" fmla="*/ 1918706 w 1918706"/>
                  <a:gd name="connsiteY40" fmla="*/ 4592438 h 5633118"/>
                  <a:gd name="connsiteX41" fmla="*/ 1918706 w 1918706"/>
                  <a:gd name="connsiteY41" fmla="*/ 5073791 h 5633118"/>
                  <a:gd name="connsiteX42" fmla="*/ 959355 w 1918706"/>
                  <a:gd name="connsiteY42" fmla="*/ 5633118 h 5633118"/>
                  <a:gd name="connsiteX43" fmla="*/ 0 w 1918706"/>
                  <a:gd name="connsiteY43" fmla="*/ 5073791 h 5633118"/>
                  <a:gd name="connsiteX44" fmla="*/ 0 w 1918706"/>
                  <a:gd name="connsiteY44" fmla="*/ 4592438 h 5633118"/>
                  <a:gd name="connsiteX45" fmla="*/ 0 w 1918706"/>
                  <a:gd name="connsiteY45" fmla="*/ 4579284 h 5633118"/>
                  <a:gd name="connsiteX46" fmla="*/ 0 w 1918706"/>
                  <a:gd name="connsiteY46" fmla="*/ 4491829 h 5633118"/>
                  <a:gd name="connsiteX47" fmla="*/ 0 w 1918706"/>
                  <a:gd name="connsiteY47" fmla="*/ 4097931 h 5633118"/>
                  <a:gd name="connsiteX48" fmla="*/ 0 w 1918706"/>
                  <a:gd name="connsiteY48" fmla="*/ 4090156 h 5633118"/>
                  <a:gd name="connsiteX49" fmla="*/ 0 w 1918706"/>
                  <a:gd name="connsiteY49" fmla="*/ 4069228 h 5633118"/>
                  <a:gd name="connsiteX50" fmla="*/ 0 w 1918706"/>
                  <a:gd name="connsiteY50" fmla="*/ 4010476 h 5633118"/>
                  <a:gd name="connsiteX51" fmla="*/ 0 w 1918706"/>
                  <a:gd name="connsiteY51" fmla="*/ 3997322 h 5633118"/>
                  <a:gd name="connsiteX52" fmla="*/ 0 w 1918706"/>
                  <a:gd name="connsiteY52" fmla="*/ 3595649 h 5633118"/>
                  <a:gd name="connsiteX53" fmla="*/ 0 w 1918706"/>
                  <a:gd name="connsiteY53" fmla="*/ 3587875 h 5633118"/>
                  <a:gd name="connsiteX54" fmla="*/ 0 w 1918706"/>
                  <a:gd name="connsiteY54" fmla="*/ 3574721 h 5633118"/>
                  <a:gd name="connsiteX55" fmla="*/ 0 w 1918706"/>
                  <a:gd name="connsiteY55" fmla="*/ 3515969 h 5633118"/>
                  <a:gd name="connsiteX56" fmla="*/ 0 w 1918706"/>
                  <a:gd name="connsiteY56" fmla="*/ 3508195 h 5633118"/>
                  <a:gd name="connsiteX57" fmla="*/ 0 w 1918706"/>
                  <a:gd name="connsiteY57" fmla="*/ 3487266 h 5633118"/>
                  <a:gd name="connsiteX58" fmla="*/ 0 w 1918706"/>
                  <a:gd name="connsiteY5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076469 h 5633118"/>
                  <a:gd name="connsiteX5" fmla="*/ 1918706 w 1918706"/>
                  <a:gd name="connsiteY5" fmla="*/ 1491148 h 5633118"/>
                  <a:gd name="connsiteX6" fmla="*/ 1918706 w 1918706"/>
                  <a:gd name="connsiteY6" fmla="*/ 1499070 h 5633118"/>
                  <a:gd name="connsiteX7" fmla="*/ 1918706 w 1918706"/>
                  <a:gd name="connsiteY7" fmla="*/ 1506844 h 5633118"/>
                  <a:gd name="connsiteX8" fmla="*/ 1918706 w 1918706"/>
                  <a:gd name="connsiteY8" fmla="*/ 1563054 h 5633118"/>
                  <a:gd name="connsiteX9" fmla="*/ 1918706 w 1918706"/>
                  <a:gd name="connsiteY9" fmla="*/ 1586524 h 5633118"/>
                  <a:gd name="connsiteX10" fmla="*/ 1918706 w 1918706"/>
                  <a:gd name="connsiteY10" fmla="*/ 1985655 h 5633118"/>
                  <a:gd name="connsiteX11" fmla="*/ 1918706 w 1918706"/>
                  <a:gd name="connsiteY11" fmla="*/ 2001351 h 5633118"/>
                  <a:gd name="connsiteX12" fmla="*/ 1918706 w 1918706"/>
                  <a:gd name="connsiteY12" fmla="*/ 2009125 h 5633118"/>
                  <a:gd name="connsiteX13" fmla="*/ 1918706 w 1918706"/>
                  <a:gd name="connsiteY13" fmla="*/ 2073109 h 5633118"/>
                  <a:gd name="connsiteX14" fmla="*/ 1918706 w 1918706"/>
                  <a:gd name="connsiteY14" fmla="*/ 2081031 h 5633118"/>
                  <a:gd name="connsiteX15" fmla="*/ 1918706 w 1918706"/>
                  <a:gd name="connsiteY15" fmla="*/ 2088805 h 5633118"/>
                  <a:gd name="connsiteX16" fmla="*/ 1918706 w 1918706"/>
                  <a:gd name="connsiteY16" fmla="*/ 2503632 h 5633118"/>
                  <a:gd name="connsiteX17" fmla="*/ 1918706 w 1918706"/>
                  <a:gd name="connsiteY17" fmla="*/ 2511407 h 5633118"/>
                  <a:gd name="connsiteX18" fmla="*/ 1918706 w 1918706"/>
                  <a:gd name="connsiteY18" fmla="*/ 2567616 h 5633118"/>
                  <a:gd name="connsiteX19" fmla="*/ 1918706 w 1918706"/>
                  <a:gd name="connsiteY19" fmla="*/ 2583313 h 5633118"/>
                  <a:gd name="connsiteX20" fmla="*/ 1918706 w 1918706"/>
                  <a:gd name="connsiteY20" fmla="*/ 2591087 h 5633118"/>
                  <a:gd name="connsiteX21" fmla="*/ 1918706 w 1918706"/>
                  <a:gd name="connsiteY21" fmla="*/ 2992759 h 5633118"/>
                  <a:gd name="connsiteX22" fmla="*/ 1918706 w 1918706"/>
                  <a:gd name="connsiteY22" fmla="*/ 3005914 h 5633118"/>
                  <a:gd name="connsiteX23" fmla="*/ 1918706 w 1918706"/>
                  <a:gd name="connsiteY23" fmla="*/ 3013688 h 5633118"/>
                  <a:gd name="connsiteX24" fmla="*/ 1918706 w 1918706"/>
                  <a:gd name="connsiteY24" fmla="*/ 3085594 h 5633118"/>
                  <a:gd name="connsiteX25" fmla="*/ 1918706 w 1918706"/>
                  <a:gd name="connsiteY25" fmla="*/ 3093368 h 5633118"/>
                  <a:gd name="connsiteX26" fmla="*/ 1918706 w 1918706"/>
                  <a:gd name="connsiteY26" fmla="*/ 3487266 h 5633118"/>
                  <a:gd name="connsiteX27" fmla="*/ 1918706 w 1918706"/>
                  <a:gd name="connsiteY27" fmla="*/ 3508195 h 5633118"/>
                  <a:gd name="connsiteX28" fmla="*/ 1918706 w 1918706"/>
                  <a:gd name="connsiteY28" fmla="*/ 3515969 h 5633118"/>
                  <a:gd name="connsiteX29" fmla="*/ 1918706 w 1918706"/>
                  <a:gd name="connsiteY29" fmla="*/ 3574721 h 5633118"/>
                  <a:gd name="connsiteX30" fmla="*/ 1918706 w 1918706"/>
                  <a:gd name="connsiteY30" fmla="*/ 3587875 h 5633118"/>
                  <a:gd name="connsiteX31" fmla="*/ 1918706 w 1918706"/>
                  <a:gd name="connsiteY31" fmla="*/ 3595649 h 5633118"/>
                  <a:gd name="connsiteX32" fmla="*/ 1918706 w 1918706"/>
                  <a:gd name="connsiteY32" fmla="*/ 3997322 h 5633118"/>
                  <a:gd name="connsiteX33" fmla="*/ 1918706 w 1918706"/>
                  <a:gd name="connsiteY33" fmla="*/ 4010476 h 5633118"/>
                  <a:gd name="connsiteX34" fmla="*/ 1918706 w 1918706"/>
                  <a:gd name="connsiteY34" fmla="*/ 4069228 h 5633118"/>
                  <a:gd name="connsiteX35" fmla="*/ 1918706 w 1918706"/>
                  <a:gd name="connsiteY35" fmla="*/ 4090156 h 5633118"/>
                  <a:gd name="connsiteX36" fmla="*/ 1918706 w 1918706"/>
                  <a:gd name="connsiteY36" fmla="*/ 4097931 h 5633118"/>
                  <a:gd name="connsiteX37" fmla="*/ 1918706 w 1918706"/>
                  <a:gd name="connsiteY37" fmla="*/ 4491829 h 5633118"/>
                  <a:gd name="connsiteX38" fmla="*/ 1918706 w 1918706"/>
                  <a:gd name="connsiteY38" fmla="*/ 4579284 h 5633118"/>
                  <a:gd name="connsiteX39" fmla="*/ 1918706 w 1918706"/>
                  <a:gd name="connsiteY39" fmla="*/ 4592438 h 5633118"/>
                  <a:gd name="connsiteX40" fmla="*/ 1918706 w 1918706"/>
                  <a:gd name="connsiteY40" fmla="*/ 5073791 h 5633118"/>
                  <a:gd name="connsiteX41" fmla="*/ 959355 w 1918706"/>
                  <a:gd name="connsiteY41" fmla="*/ 5633118 h 5633118"/>
                  <a:gd name="connsiteX42" fmla="*/ 0 w 1918706"/>
                  <a:gd name="connsiteY42" fmla="*/ 5073791 h 5633118"/>
                  <a:gd name="connsiteX43" fmla="*/ 0 w 1918706"/>
                  <a:gd name="connsiteY43" fmla="*/ 4592438 h 5633118"/>
                  <a:gd name="connsiteX44" fmla="*/ 0 w 1918706"/>
                  <a:gd name="connsiteY44" fmla="*/ 4579284 h 5633118"/>
                  <a:gd name="connsiteX45" fmla="*/ 0 w 1918706"/>
                  <a:gd name="connsiteY45" fmla="*/ 4491829 h 5633118"/>
                  <a:gd name="connsiteX46" fmla="*/ 0 w 1918706"/>
                  <a:gd name="connsiteY46" fmla="*/ 4097931 h 5633118"/>
                  <a:gd name="connsiteX47" fmla="*/ 0 w 1918706"/>
                  <a:gd name="connsiteY47" fmla="*/ 4090156 h 5633118"/>
                  <a:gd name="connsiteX48" fmla="*/ 0 w 1918706"/>
                  <a:gd name="connsiteY48" fmla="*/ 4069228 h 5633118"/>
                  <a:gd name="connsiteX49" fmla="*/ 0 w 1918706"/>
                  <a:gd name="connsiteY49" fmla="*/ 4010476 h 5633118"/>
                  <a:gd name="connsiteX50" fmla="*/ 0 w 1918706"/>
                  <a:gd name="connsiteY50" fmla="*/ 3997322 h 5633118"/>
                  <a:gd name="connsiteX51" fmla="*/ 0 w 1918706"/>
                  <a:gd name="connsiteY51" fmla="*/ 3595649 h 5633118"/>
                  <a:gd name="connsiteX52" fmla="*/ 0 w 1918706"/>
                  <a:gd name="connsiteY52" fmla="*/ 3587875 h 5633118"/>
                  <a:gd name="connsiteX53" fmla="*/ 0 w 1918706"/>
                  <a:gd name="connsiteY53" fmla="*/ 3574721 h 5633118"/>
                  <a:gd name="connsiteX54" fmla="*/ 0 w 1918706"/>
                  <a:gd name="connsiteY54" fmla="*/ 3515969 h 5633118"/>
                  <a:gd name="connsiteX55" fmla="*/ 0 w 1918706"/>
                  <a:gd name="connsiteY55" fmla="*/ 3508195 h 5633118"/>
                  <a:gd name="connsiteX56" fmla="*/ 0 w 1918706"/>
                  <a:gd name="connsiteY56" fmla="*/ 3487266 h 5633118"/>
                  <a:gd name="connsiteX57" fmla="*/ 0 w 1918706"/>
                  <a:gd name="connsiteY5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491148 h 5633118"/>
                  <a:gd name="connsiteX5" fmla="*/ 1918706 w 1918706"/>
                  <a:gd name="connsiteY5" fmla="*/ 1499070 h 5633118"/>
                  <a:gd name="connsiteX6" fmla="*/ 1918706 w 1918706"/>
                  <a:gd name="connsiteY6" fmla="*/ 1506844 h 5633118"/>
                  <a:gd name="connsiteX7" fmla="*/ 1918706 w 1918706"/>
                  <a:gd name="connsiteY7" fmla="*/ 1563054 h 5633118"/>
                  <a:gd name="connsiteX8" fmla="*/ 1918706 w 1918706"/>
                  <a:gd name="connsiteY8" fmla="*/ 1586524 h 5633118"/>
                  <a:gd name="connsiteX9" fmla="*/ 1918706 w 1918706"/>
                  <a:gd name="connsiteY9" fmla="*/ 1985655 h 5633118"/>
                  <a:gd name="connsiteX10" fmla="*/ 1918706 w 1918706"/>
                  <a:gd name="connsiteY10" fmla="*/ 2001351 h 5633118"/>
                  <a:gd name="connsiteX11" fmla="*/ 1918706 w 1918706"/>
                  <a:gd name="connsiteY11" fmla="*/ 2009125 h 5633118"/>
                  <a:gd name="connsiteX12" fmla="*/ 1918706 w 1918706"/>
                  <a:gd name="connsiteY12" fmla="*/ 2073109 h 5633118"/>
                  <a:gd name="connsiteX13" fmla="*/ 1918706 w 1918706"/>
                  <a:gd name="connsiteY13" fmla="*/ 2081031 h 5633118"/>
                  <a:gd name="connsiteX14" fmla="*/ 1918706 w 1918706"/>
                  <a:gd name="connsiteY14" fmla="*/ 2088805 h 5633118"/>
                  <a:gd name="connsiteX15" fmla="*/ 1918706 w 1918706"/>
                  <a:gd name="connsiteY15" fmla="*/ 2503632 h 5633118"/>
                  <a:gd name="connsiteX16" fmla="*/ 1918706 w 1918706"/>
                  <a:gd name="connsiteY16" fmla="*/ 2511407 h 5633118"/>
                  <a:gd name="connsiteX17" fmla="*/ 1918706 w 1918706"/>
                  <a:gd name="connsiteY17" fmla="*/ 2567616 h 5633118"/>
                  <a:gd name="connsiteX18" fmla="*/ 1918706 w 1918706"/>
                  <a:gd name="connsiteY18" fmla="*/ 2583313 h 5633118"/>
                  <a:gd name="connsiteX19" fmla="*/ 1918706 w 1918706"/>
                  <a:gd name="connsiteY19" fmla="*/ 2591087 h 5633118"/>
                  <a:gd name="connsiteX20" fmla="*/ 1918706 w 1918706"/>
                  <a:gd name="connsiteY20" fmla="*/ 2992759 h 5633118"/>
                  <a:gd name="connsiteX21" fmla="*/ 1918706 w 1918706"/>
                  <a:gd name="connsiteY21" fmla="*/ 3005914 h 5633118"/>
                  <a:gd name="connsiteX22" fmla="*/ 1918706 w 1918706"/>
                  <a:gd name="connsiteY22" fmla="*/ 3013688 h 5633118"/>
                  <a:gd name="connsiteX23" fmla="*/ 1918706 w 1918706"/>
                  <a:gd name="connsiteY23" fmla="*/ 3085594 h 5633118"/>
                  <a:gd name="connsiteX24" fmla="*/ 1918706 w 1918706"/>
                  <a:gd name="connsiteY24" fmla="*/ 3093368 h 5633118"/>
                  <a:gd name="connsiteX25" fmla="*/ 1918706 w 1918706"/>
                  <a:gd name="connsiteY25" fmla="*/ 3487266 h 5633118"/>
                  <a:gd name="connsiteX26" fmla="*/ 1918706 w 1918706"/>
                  <a:gd name="connsiteY26" fmla="*/ 3508195 h 5633118"/>
                  <a:gd name="connsiteX27" fmla="*/ 1918706 w 1918706"/>
                  <a:gd name="connsiteY27" fmla="*/ 3515969 h 5633118"/>
                  <a:gd name="connsiteX28" fmla="*/ 1918706 w 1918706"/>
                  <a:gd name="connsiteY28" fmla="*/ 3574721 h 5633118"/>
                  <a:gd name="connsiteX29" fmla="*/ 1918706 w 1918706"/>
                  <a:gd name="connsiteY29" fmla="*/ 3587875 h 5633118"/>
                  <a:gd name="connsiteX30" fmla="*/ 1918706 w 1918706"/>
                  <a:gd name="connsiteY30" fmla="*/ 3595649 h 5633118"/>
                  <a:gd name="connsiteX31" fmla="*/ 1918706 w 1918706"/>
                  <a:gd name="connsiteY31" fmla="*/ 3997322 h 5633118"/>
                  <a:gd name="connsiteX32" fmla="*/ 1918706 w 1918706"/>
                  <a:gd name="connsiteY32" fmla="*/ 4010476 h 5633118"/>
                  <a:gd name="connsiteX33" fmla="*/ 1918706 w 1918706"/>
                  <a:gd name="connsiteY33" fmla="*/ 4069228 h 5633118"/>
                  <a:gd name="connsiteX34" fmla="*/ 1918706 w 1918706"/>
                  <a:gd name="connsiteY34" fmla="*/ 4090156 h 5633118"/>
                  <a:gd name="connsiteX35" fmla="*/ 1918706 w 1918706"/>
                  <a:gd name="connsiteY35" fmla="*/ 4097931 h 5633118"/>
                  <a:gd name="connsiteX36" fmla="*/ 1918706 w 1918706"/>
                  <a:gd name="connsiteY36" fmla="*/ 4491829 h 5633118"/>
                  <a:gd name="connsiteX37" fmla="*/ 1918706 w 1918706"/>
                  <a:gd name="connsiteY37" fmla="*/ 4579284 h 5633118"/>
                  <a:gd name="connsiteX38" fmla="*/ 1918706 w 1918706"/>
                  <a:gd name="connsiteY38" fmla="*/ 4592438 h 5633118"/>
                  <a:gd name="connsiteX39" fmla="*/ 1918706 w 1918706"/>
                  <a:gd name="connsiteY39" fmla="*/ 5073791 h 5633118"/>
                  <a:gd name="connsiteX40" fmla="*/ 959355 w 1918706"/>
                  <a:gd name="connsiteY40" fmla="*/ 5633118 h 5633118"/>
                  <a:gd name="connsiteX41" fmla="*/ 0 w 1918706"/>
                  <a:gd name="connsiteY41" fmla="*/ 5073791 h 5633118"/>
                  <a:gd name="connsiteX42" fmla="*/ 0 w 1918706"/>
                  <a:gd name="connsiteY42" fmla="*/ 4592438 h 5633118"/>
                  <a:gd name="connsiteX43" fmla="*/ 0 w 1918706"/>
                  <a:gd name="connsiteY43" fmla="*/ 4579284 h 5633118"/>
                  <a:gd name="connsiteX44" fmla="*/ 0 w 1918706"/>
                  <a:gd name="connsiteY44" fmla="*/ 4491829 h 5633118"/>
                  <a:gd name="connsiteX45" fmla="*/ 0 w 1918706"/>
                  <a:gd name="connsiteY45" fmla="*/ 4097931 h 5633118"/>
                  <a:gd name="connsiteX46" fmla="*/ 0 w 1918706"/>
                  <a:gd name="connsiteY46" fmla="*/ 4090156 h 5633118"/>
                  <a:gd name="connsiteX47" fmla="*/ 0 w 1918706"/>
                  <a:gd name="connsiteY47" fmla="*/ 4069228 h 5633118"/>
                  <a:gd name="connsiteX48" fmla="*/ 0 w 1918706"/>
                  <a:gd name="connsiteY48" fmla="*/ 4010476 h 5633118"/>
                  <a:gd name="connsiteX49" fmla="*/ 0 w 1918706"/>
                  <a:gd name="connsiteY49" fmla="*/ 3997322 h 5633118"/>
                  <a:gd name="connsiteX50" fmla="*/ 0 w 1918706"/>
                  <a:gd name="connsiteY50" fmla="*/ 3595649 h 5633118"/>
                  <a:gd name="connsiteX51" fmla="*/ 0 w 1918706"/>
                  <a:gd name="connsiteY51" fmla="*/ 3587875 h 5633118"/>
                  <a:gd name="connsiteX52" fmla="*/ 0 w 1918706"/>
                  <a:gd name="connsiteY52" fmla="*/ 3574721 h 5633118"/>
                  <a:gd name="connsiteX53" fmla="*/ 0 w 1918706"/>
                  <a:gd name="connsiteY53" fmla="*/ 3515969 h 5633118"/>
                  <a:gd name="connsiteX54" fmla="*/ 0 w 1918706"/>
                  <a:gd name="connsiteY54" fmla="*/ 3508195 h 5633118"/>
                  <a:gd name="connsiteX55" fmla="*/ 0 w 1918706"/>
                  <a:gd name="connsiteY55" fmla="*/ 3487266 h 5633118"/>
                  <a:gd name="connsiteX56" fmla="*/ 0 w 1918706"/>
                  <a:gd name="connsiteY5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06844 h 5633118"/>
                  <a:gd name="connsiteX6" fmla="*/ 1918706 w 1918706"/>
                  <a:gd name="connsiteY6" fmla="*/ 1563054 h 5633118"/>
                  <a:gd name="connsiteX7" fmla="*/ 1918706 w 1918706"/>
                  <a:gd name="connsiteY7" fmla="*/ 1586524 h 5633118"/>
                  <a:gd name="connsiteX8" fmla="*/ 1918706 w 1918706"/>
                  <a:gd name="connsiteY8" fmla="*/ 1985655 h 5633118"/>
                  <a:gd name="connsiteX9" fmla="*/ 1918706 w 1918706"/>
                  <a:gd name="connsiteY9" fmla="*/ 2001351 h 5633118"/>
                  <a:gd name="connsiteX10" fmla="*/ 1918706 w 1918706"/>
                  <a:gd name="connsiteY10" fmla="*/ 2009125 h 5633118"/>
                  <a:gd name="connsiteX11" fmla="*/ 1918706 w 1918706"/>
                  <a:gd name="connsiteY11" fmla="*/ 2073109 h 5633118"/>
                  <a:gd name="connsiteX12" fmla="*/ 1918706 w 1918706"/>
                  <a:gd name="connsiteY12" fmla="*/ 2081031 h 5633118"/>
                  <a:gd name="connsiteX13" fmla="*/ 1918706 w 1918706"/>
                  <a:gd name="connsiteY13" fmla="*/ 2088805 h 5633118"/>
                  <a:gd name="connsiteX14" fmla="*/ 1918706 w 1918706"/>
                  <a:gd name="connsiteY14" fmla="*/ 2503632 h 5633118"/>
                  <a:gd name="connsiteX15" fmla="*/ 1918706 w 1918706"/>
                  <a:gd name="connsiteY15" fmla="*/ 2511407 h 5633118"/>
                  <a:gd name="connsiteX16" fmla="*/ 1918706 w 1918706"/>
                  <a:gd name="connsiteY16" fmla="*/ 2567616 h 5633118"/>
                  <a:gd name="connsiteX17" fmla="*/ 1918706 w 1918706"/>
                  <a:gd name="connsiteY17" fmla="*/ 2583313 h 5633118"/>
                  <a:gd name="connsiteX18" fmla="*/ 1918706 w 1918706"/>
                  <a:gd name="connsiteY18" fmla="*/ 2591087 h 5633118"/>
                  <a:gd name="connsiteX19" fmla="*/ 1918706 w 1918706"/>
                  <a:gd name="connsiteY19" fmla="*/ 2992759 h 5633118"/>
                  <a:gd name="connsiteX20" fmla="*/ 1918706 w 1918706"/>
                  <a:gd name="connsiteY20" fmla="*/ 3005914 h 5633118"/>
                  <a:gd name="connsiteX21" fmla="*/ 1918706 w 1918706"/>
                  <a:gd name="connsiteY21" fmla="*/ 3013688 h 5633118"/>
                  <a:gd name="connsiteX22" fmla="*/ 1918706 w 1918706"/>
                  <a:gd name="connsiteY22" fmla="*/ 3085594 h 5633118"/>
                  <a:gd name="connsiteX23" fmla="*/ 1918706 w 1918706"/>
                  <a:gd name="connsiteY23" fmla="*/ 3093368 h 5633118"/>
                  <a:gd name="connsiteX24" fmla="*/ 1918706 w 1918706"/>
                  <a:gd name="connsiteY24" fmla="*/ 3487266 h 5633118"/>
                  <a:gd name="connsiteX25" fmla="*/ 1918706 w 1918706"/>
                  <a:gd name="connsiteY25" fmla="*/ 3508195 h 5633118"/>
                  <a:gd name="connsiteX26" fmla="*/ 1918706 w 1918706"/>
                  <a:gd name="connsiteY26" fmla="*/ 3515969 h 5633118"/>
                  <a:gd name="connsiteX27" fmla="*/ 1918706 w 1918706"/>
                  <a:gd name="connsiteY27" fmla="*/ 3574721 h 5633118"/>
                  <a:gd name="connsiteX28" fmla="*/ 1918706 w 1918706"/>
                  <a:gd name="connsiteY28" fmla="*/ 3587875 h 5633118"/>
                  <a:gd name="connsiteX29" fmla="*/ 1918706 w 1918706"/>
                  <a:gd name="connsiteY29" fmla="*/ 3595649 h 5633118"/>
                  <a:gd name="connsiteX30" fmla="*/ 1918706 w 1918706"/>
                  <a:gd name="connsiteY30" fmla="*/ 3997322 h 5633118"/>
                  <a:gd name="connsiteX31" fmla="*/ 1918706 w 1918706"/>
                  <a:gd name="connsiteY31" fmla="*/ 4010476 h 5633118"/>
                  <a:gd name="connsiteX32" fmla="*/ 1918706 w 1918706"/>
                  <a:gd name="connsiteY32" fmla="*/ 4069228 h 5633118"/>
                  <a:gd name="connsiteX33" fmla="*/ 1918706 w 1918706"/>
                  <a:gd name="connsiteY33" fmla="*/ 4090156 h 5633118"/>
                  <a:gd name="connsiteX34" fmla="*/ 1918706 w 1918706"/>
                  <a:gd name="connsiteY34" fmla="*/ 4097931 h 5633118"/>
                  <a:gd name="connsiteX35" fmla="*/ 1918706 w 1918706"/>
                  <a:gd name="connsiteY35" fmla="*/ 4491829 h 5633118"/>
                  <a:gd name="connsiteX36" fmla="*/ 1918706 w 1918706"/>
                  <a:gd name="connsiteY36" fmla="*/ 4579284 h 5633118"/>
                  <a:gd name="connsiteX37" fmla="*/ 1918706 w 1918706"/>
                  <a:gd name="connsiteY37" fmla="*/ 4592438 h 5633118"/>
                  <a:gd name="connsiteX38" fmla="*/ 1918706 w 1918706"/>
                  <a:gd name="connsiteY38" fmla="*/ 5073791 h 5633118"/>
                  <a:gd name="connsiteX39" fmla="*/ 959355 w 1918706"/>
                  <a:gd name="connsiteY39" fmla="*/ 5633118 h 5633118"/>
                  <a:gd name="connsiteX40" fmla="*/ 0 w 1918706"/>
                  <a:gd name="connsiteY40" fmla="*/ 5073791 h 5633118"/>
                  <a:gd name="connsiteX41" fmla="*/ 0 w 1918706"/>
                  <a:gd name="connsiteY41" fmla="*/ 4592438 h 5633118"/>
                  <a:gd name="connsiteX42" fmla="*/ 0 w 1918706"/>
                  <a:gd name="connsiteY42" fmla="*/ 4579284 h 5633118"/>
                  <a:gd name="connsiteX43" fmla="*/ 0 w 1918706"/>
                  <a:gd name="connsiteY43" fmla="*/ 4491829 h 5633118"/>
                  <a:gd name="connsiteX44" fmla="*/ 0 w 1918706"/>
                  <a:gd name="connsiteY44" fmla="*/ 4097931 h 5633118"/>
                  <a:gd name="connsiteX45" fmla="*/ 0 w 1918706"/>
                  <a:gd name="connsiteY45" fmla="*/ 4090156 h 5633118"/>
                  <a:gd name="connsiteX46" fmla="*/ 0 w 1918706"/>
                  <a:gd name="connsiteY46" fmla="*/ 4069228 h 5633118"/>
                  <a:gd name="connsiteX47" fmla="*/ 0 w 1918706"/>
                  <a:gd name="connsiteY47" fmla="*/ 4010476 h 5633118"/>
                  <a:gd name="connsiteX48" fmla="*/ 0 w 1918706"/>
                  <a:gd name="connsiteY48" fmla="*/ 3997322 h 5633118"/>
                  <a:gd name="connsiteX49" fmla="*/ 0 w 1918706"/>
                  <a:gd name="connsiteY49" fmla="*/ 3595649 h 5633118"/>
                  <a:gd name="connsiteX50" fmla="*/ 0 w 1918706"/>
                  <a:gd name="connsiteY50" fmla="*/ 3587875 h 5633118"/>
                  <a:gd name="connsiteX51" fmla="*/ 0 w 1918706"/>
                  <a:gd name="connsiteY51" fmla="*/ 3574721 h 5633118"/>
                  <a:gd name="connsiteX52" fmla="*/ 0 w 1918706"/>
                  <a:gd name="connsiteY52" fmla="*/ 3515969 h 5633118"/>
                  <a:gd name="connsiteX53" fmla="*/ 0 w 1918706"/>
                  <a:gd name="connsiteY53" fmla="*/ 3508195 h 5633118"/>
                  <a:gd name="connsiteX54" fmla="*/ 0 w 1918706"/>
                  <a:gd name="connsiteY54" fmla="*/ 3487266 h 5633118"/>
                  <a:gd name="connsiteX55" fmla="*/ 0 w 1918706"/>
                  <a:gd name="connsiteY5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63054 h 5633118"/>
                  <a:gd name="connsiteX6" fmla="*/ 1918706 w 1918706"/>
                  <a:gd name="connsiteY6" fmla="*/ 1586524 h 5633118"/>
                  <a:gd name="connsiteX7" fmla="*/ 1918706 w 1918706"/>
                  <a:gd name="connsiteY7" fmla="*/ 1985655 h 5633118"/>
                  <a:gd name="connsiteX8" fmla="*/ 1918706 w 1918706"/>
                  <a:gd name="connsiteY8" fmla="*/ 2001351 h 5633118"/>
                  <a:gd name="connsiteX9" fmla="*/ 1918706 w 1918706"/>
                  <a:gd name="connsiteY9" fmla="*/ 2009125 h 5633118"/>
                  <a:gd name="connsiteX10" fmla="*/ 1918706 w 1918706"/>
                  <a:gd name="connsiteY10" fmla="*/ 2073109 h 5633118"/>
                  <a:gd name="connsiteX11" fmla="*/ 1918706 w 1918706"/>
                  <a:gd name="connsiteY11" fmla="*/ 2081031 h 5633118"/>
                  <a:gd name="connsiteX12" fmla="*/ 1918706 w 1918706"/>
                  <a:gd name="connsiteY12" fmla="*/ 2088805 h 5633118"/>
                  <a:gd name="connsiteX13" fmla="*/ 1918706 w 1918706"/>
                  <a:gd name="connsiteY13" fmla="*/ 2503632 h 5633118"/>
                  <a:gd name="connsiteX14" fmla="*/ 1918706 w 1918706"/>
                  <a:gd name="connsiteY14" fmla="*/ 2511407 h 5633118"/>
                  <a:gd name="connsiteX15" fmla="*/ 1918706 w 1918706"/>
                  <a:gd name="connsiteY15" fmla="*/ 2567616 h 5633118"/>
                  <a:gd name="connsiteX16" fmla="*/ 1918706 w 1918706"/>
                  <a:gd name="connsiteY16" fmla="*/ 2583313 h 5633118"/>
                  <a:gd name="connsiteX17" fmla="*/ 1918706 w 1918706"/>
                  <a:gd name="connsiteY17" fmla="*/ 2591087 h 5633118"/>
                  <a:gd name="connsiteX18" fmla="*/ 1918706 w 1918706"/>
                  <a:gd name="connsiteY18" fmla="*/ 2992759 h 5633118"/>
                  <a:gd name="connsiteX19" fmla="*/ 1918706 w 1918706"/>
                  <a:gd name="connsiteY19" fmla="*/ 3005914 h 5633118"/>
                  <a:gd name="connsiteX20" fmla="*/ 1918706 w 1918706"/>
                  <a:gd name="connsiteY20" fmla="*/ 3013688 h 5633118"/>
                  <a:gd name="connsiteX21" fmla="*/ 1918706 w 1918706"/>
                  <a:gd name="connsiteY21" fmla="*/ 3085594 h 5633118"/>
                  <a:gd name="connsiteX22" fmla="*/ 1918706 w 1918706"/>
                  <a:gd name="connsiteY22" fmla="*/ 3093368 h 5633118"/>
                  <a:gd name="connsiteX23" fmla="*/ 1918706 w 1918706"/>
                  <a:gd name="connsiteY23" fmla="*/ 3487266 h 5633118"/>
                  <a:gd name="connsiteX24" fmla="*/ 1918706 w 1918706"/>
                  <a:gd name="connsiteY24" fmla="*/ 3508195 h 5633118"/>
                  <a:gd name="connsiteX25" fmla="*/ 1918706 w 1918706"/>
                  <a:gd name="connsiteY25" fmla="*/ 3515969 h 5633118"/>
                  <a:gd name="connsiteX26" fmla="*/ 1918706 w 1918706"/>
                  <a:gd name="connsiteY26" fmla="*/ 3574721 h 5633118"/>
                  <a:gd name="connsiteX27" fmla="*/ 1918706 w 1918706"/>
                  <a:gd name="connsiteY27" fmla="*/ 3587875 h 5633118"/>
                  <a:gd name="connsiteX28" fmla="*/ 1918706 w 1918706"/>
                  <a:gd name="connsiteY28" fmla="*/ 3595649 h 5633118"/>
                  <a:gd name="connsiteX29" fmla="*/ 1918706 w 1918706"/>
                  <a:gd name="connsiteY29" fmla="*/ 3997322 h 5633118"/>
                  <a:gd name="connsiteX30" fmla="*/ 1918706 w 1918706"/>
                  <a:gd name="connsiteY30" fmla="*/ 4010476 h 5633118"/>
                  <a:gd name="connsiteX31" fmla="*/ 1918706 w 1918706"/>
                  <a:gd name="connsiteY31" fmla="*/ 4069228 h 5633118"/>
                  <a:gd name="connsiteX32" fmla="*/ 1918706 w 1918706"/>
                  <a:gd name="connsiteY32" fmla="*/ 4090156 h 5633118"/>
                  <a:gd name="connsiteX33" fmla="*/ 1918706 w 1918706"/>
                  <a:gd name="connsiteY33" fmla="*/ 4097931 h 5633118"/>
                  <a:gd name="connsiteX34" fmla="*/ 1918706 w 1918706"/>
                  <a:gd name="connsiteY34" fmla="*/ 4491829 h 5633118"/>
                  <a:gd name="connsiteX35" fmla="*/ 1918706 w 1918706"/>
                  <a:gd name="connsiteY35" fmla="*/ 4579284 h 5633118"/>
                  <a:gd name="connsiteX36" fmla="*/ 1918706 w 1918706"/>
                  <a:gd name="connsiteY36" fmla="*/ 4592438 h 5633118"/>
                  <a:gd name="connsiteX37" fmla="*/ 1918706 w 1918706"/>
                  <a:gd name="connsiteY37" fmla="*/ 5073791 h 5633118"/>
                  <a:gd name="connsiteX38" fmla="*/ 959355 w 1918706"/>
                  <a:gd name="connsiteY38" fmla="*/ 5633118 h 5633118"/>
                  <a:gd name="connsiteX39" fmla="*/ 0 w 1918706"/>
                  <a:gd name="connsiteY39" fmla="*/ 5073791 h 5633118"/>
                  <a:gd name="connsiteX40" fmla="*/ 0 w 1918706"/>
                  <a:gd name="connsiteY40" fmla="*/ 4592438 h 5633118"/>
                  <a:gd name="connsiteX41" fmla="*/ 0 w 1918706"/>
                  <a:gd name="connsiteY41" fmla="*/ 4579284 h 5633118"/>
                  <a:gd name="connsiteX42" fmla="*/ 0 w 1918706"/>
                  <a:gd name="connsiteY42" fmla="*/ 4491829 h 5633118"/>
                  <a:gd name="connsiteX43" fmla="*/ 0 w 1918706"/>
                  <a:gd name="connsiteY43" fmla="*/ 4097931 h 5633118"/>
                  <a:gd name="connsiteX44" fmla="*/ 0 w 1918706"/>
                  <a:gd name="connsiteY44" fmla="*/ 4090156 h 5633118"/>
                  <a:gd name="connsiteX45" fmla="*/ 0 w 1918706"/>
                  <a:gd name="connsiteY45" fmla="*/ 4069228 h 5633118"/>
                  <a:gd name="connsiteX46" fmla="*/ 0 w 1918706"/>
                  <a:gd name="connsiteY46" fmla="*/ 4010476 h 5633118"/>
                  <a:gd name="connsiteX47" fmla="*/ 0 w 1918706"/>
                  <a:gd name="connsiteY47" fmla="*/ 3997322 h 5633118"/>
                  <a:gd name="connsiteX48" fmla="*/ 0 w 1918706"/>
                  <a:gd name="connsiteY48" fmla="*/ 3595649 h 5633118"/>
                  <a:gd name="connsiteX49" fmla="*/ 0 w 1918706"/>
                  <a:gd name="connsiteY49" fmla="*/ 3587875 h 5633118"/>
                  <a:gd name="connsiteX50" fmla="*/ 0 w 1918706"/>
                  <a:gd name="connsiteY50" fmla="*/ 3574721 h 5633118"/>
                  <a:gd name="connsiteX51" fmla="*/ 0 w 1918706"/>
                  <a:gd name="connsiteY51" fmla="*/ 3515969 h 5633118"/>
                  <a:gd name="connsiteX52" fmla="*/ 0 w 1918706"/>
                  <a:gd name="connsiteY52" fmla="*/ 3508195 h 5633118"/>
                  <a:gd name="connsiteX53" fmla="*/ 0 w 1918706"/>
                  <a:gd name="connsiteY53" fmla="*/ 3487266 h 5633118"/>
                  <a:gd name="connsiteX54" fmla="*/ 0 w 1918706"/>
                  <a:gd name="connsiteY5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563054 h 5633118"/>
                  <a:gd name="connsiteX5" fmla="*/ 1918706 w 1918706"/>
                  <a:gd name="connsiteY5" fmla="*/ 1586524 h 5633118"/>
                  <a:gd name="connsiteX6" fmla="*/ 1918706 w 1918706"/>
                  <a:gd name="connsiteY6" fmla="*/ 1985655 h 5633118"/>
                  <a:gd name="connsiteX7" fmla="*/ 1918706 w 1918706"/>
                  <a:gd name="connsiteY7" fmla="*/ 2001351 h 5633118"/>
                  <a:gd name="connsiteX8" fmla="*/ 1918706 w 1918706"/>
                  <a:gd name="connsiteY8" fmla="*/ 2009125 h 5633118"/>
                  <a:gd name="connsiteX9" fmla="*/ 1918706 w 1918706"/>
                  <a:gd name="connsiteY9" fmla="*/ 2073109 h 5633118"/>
                  <a:gd name="connsiteX10" fmla="*/ 1918706 w 1918706"/>
                  <a:gd name="connsiteY10" fmla="*/ 2081031 h 5633118"/>
                  <a:gd name="connsiteX11" fmla="*/ 1918706 w 1918706"/>
                  <a:gd name="connsiteY11" fmla="*/ 2088805 h 5633118"/>
                  <a:gd name="connsiteX12" fmla="*/ 1918706 w 1918706"/>
                  <a:gd name="connsiteY12" fmla="*/ 2503632 h 5633118"/>
                  <a:gd name="connsiteX13" fmla="*/ 1918706 w 1918706"/>
                  <a:gd name="connsiteY13" fmla="*/ 2511407 h 5633118"/>
                  <a:gd name="connsiteX14" fmla="*/ 1918706 w 1918706"/>
                  <a:gd name="connsiteY14" fmla="*/ 2567616 h 5633118"/>
                  <a:gd name="connsiteX15" fmla="*/ 1918706 w 1918706"/>
                  <a:gd name="connsiteY15" fmla="*/ 2583313 h 5633118"/>
                  <a:gd name="connsiteX16" fmla="*/ 1918706 w 1918706"/>
                  <a:gd name="connsiteY16" fmla="*/ 2591087 h 5633118"/>
                  <a:gd name="connsiteX17" fmla="*/ 1918706 w 1918706"/>
                  <a:gd name="connsiteY17" fmla="*/ 2992759 h 5633118"/>
                  <a:gd name="connsiteX18" fmla="*/ 1918706 w 1918706"/>
                  <a:gd name="connsiteY18" fmla="*/ 3005914 h 5633118"/>
                  <a:gd name="connsiteX19" fmla="*/ 1918706 w 1918706"/>
                  <a:gd name="connsiteY19" fmla="*/ 3013688 h 5633118"/>
                  <a:gd name="connsiteX20" fmla="*/ 1918706 w 1918706"/>
                  <a:gd name="connsiteY20" fmla="*/ 3085594 h 5633118"/>
                  <a:gd name="connsiteX21" fmla="*/ 1918706 w 1918706"/>
                  <a:gd name="connsiteY21" fmla="*/ 3093368 h 5633118"/>
                  <a:gd name="connsiteX22" fmla="*/ 1918706 w 1918706"/>
                  <a:gd name="connsiteY22" fmla="*/ 3487266 h 5633118"/>
                  <a:gd name="connsiteX23" fmla="*/ 1918706 w 1918706"/>
                  <a:gd name="connsiteY23" fmla="*/ 3508195 h 5633118"/>
                  <a:gd name="connsiteX24" fmla="*/ 1918706 w 1918706"/>
                  <a:gd name="connsiteY24" fmla="*/ 3515969 h 5633118"/>
                  <a:gd name="connsiteX25" fmla="*/ 1918706 w 1918706"/>
                  <a:gd name="connsiteY25" fmla="*/ 3574721 h 5633118"/>
                  <a:gd name="connsiteX26" fmla="*/ 1918706 w 1918706"/>
                  <a:gd name="connsiteY26" fmla="*/ 3587875 h 5633118"/>
                  <a:gd name="connsiteX27" fmla="*/ 1918706 w 1918706"/>
                  <a:gd name="connsiteY27" fmla="*/ 3595649 h 5633118"/>
                  <a:gd name="connsiteX28" fmla="*/ 1918706 w 1918706"/>
                  <a:gd name="connsiteY28" fmla="*/ 3997322 h 5633118"/>
                  <a:gd name="connsiteX29" fmla="*/ 1918706 w 1918706"/>
                  <a:gd name="connsiteY29" fmla="*/ 4010476 h 5633118"/>
                  <a:gd name="connsiteX30" fmla="*/ 1918706 w 1918706"/>
                  <a:gd name="connsiteY30" fmla="*/ 4069228 h 5633118"/>
                  <a:gd name="connsiteX31" fmla="*/ 1918706 w 1918706"/>
                  <a:gd name="connsiteY31" fmla="*/ 4090156 h 5633118"/>
                  <a:gd name="connsiteX32" fmla="*/ 1918706 w 1918706"/>
                  <a:gd name="connsiteY32" fmla="*/ 4097931 h 5633118"/>
                  <a:gd name="connsiteX33" fmla="*/ 1918706 w 1918706"/>
                  <a:gd name="connsiteY33" fmla="*/ 4491829 h 5633118"/>
                  <a:gd name="connsiteX34" fmla="*/ 1918706 w 1918706"/>
                  <a:gd name="connsiteY34" fmla="*/ 4579284 h 5633118"/>
                  <a:gd name="connsiteX35" fmla="*/ 1918706 w 1918706"/>
                  <a:gd name="connsiteY35" fmla="*/ 4592438 h 5633118"/>
                  <a:gd name="connsiteX36" fmla="*/ 1918706 w 1918706"/>
                  <a:gd name="connsiteY36" fmla="*/ 5073791 h 5633118"/>
                  <a:gd name="connsiteX37" fmla="*/ 959355 w 1918706"/>
                  <a:gd name="connsiteY37" fmla="*/ 5633118 h 5633118"/>
                  <a:gd name="connsiteX38" fmla="*/ 0 w 1918706"/>
                  <a:gd name="connsiteY38" fmla="*/ 5073791 h 5633118"/>
                  <a:gd name="connsiteX39" fmla="*/ 0 w 1918706"/>
                  <a:gd name="connsiteY39" fmla="*/ 4592438 h 5633118"/>
                  <a:gd name="connsiteX40" fmla="*/ 0 w 1918706"/>
                  <a:gd name="connsiteY40" fmla="*/ 4579284 h 5633118"/>
                  <a:gd name="connsiteX41" fmla="*/ 0 w 1918706"/>
                  <a:gd name="connsiteY41" fmla="*/ 4491829 h 5633118"/>
                  <a:gd name="connsiteX42" fmla="*/ 0 w 1918706"/>
                  <a:gd name="connsiteY42" fmla="*/ 4097931 h 5633118"/>
                  <a:gd name="connsiteX43" fmla="*/ 0 w 1918706"/>
                  <a:gd name="connsiteY43" fmla="*/ 4090156 h 5633118"/>
                  <a:gd name="connsiteX44" fmla="*/ 0 w 1918706"/>
                  <a:gd name="connsiteY44" fmla="*/ 4069228 h 5633118"/>
                  <a:gd name="connsiteX45" fmla="*/ 0 w 1918706"/>
                  <a:gd name="connsiteY45" fmla="*/ 4010476 h 5633118"/>
                  <a:gd name="connsiteX46" fmla="*/ 0 w 1918706"/>
                  <a:gd name="connsiteY46" fmla="*/ 3997322 h 5633118"/>
                  <a:gd name="connsiteX47" fmla="*/ 0 w 1918706"/>
                  <a:gd name="connsiteY47" fmla="*/ 3595649 h 5633118"/>
                  <a:gd name="connsiteX48" fmla="*/ 0 w 1918706"/>
                  <a:gd name="connsiteY48" fmla="*/ 3587875 h 5633118"/>
                  <a:gd name="connsiteX49" fmla="*/ 0 w 1918706"/>
                  <a:gd name="connsiteY49" fmla="*/ 3574721 h 5633118"/>
                  <a:gd name="connsiteX50" fmla="*/ 0 w 1918706"/>
                  <a:gd name="connsiteY50" fmla="*/ 3515969 h 5633118"/>
                  <a:gd name="connsiteX51" fmla="*/ 0 w 1918706"/>
                  <a:gd name="connsiteY51" fmla="*/ 3508195 h 5633118"/>
                  <a:gd name="connsiteX52" fmla="*/ 0 w 1918706"/>
                  <a:gd name="connsiteY52" fmla="*/ 3487266 h 5633118"/>
                  <a:gd name="connsiteX53" fmla="*/ 0 w 1918706"/>
                  <a:gd name="connsiteY5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586524 h 5633118"/>
                  <a:gd name="connsiteX5" fmla="*/ 1918706 w 1918706"/>
                  <a:gd name="connsiteY5" fmla="*/ 1985655 h 5633118"/>
                  <a:gd name="connsiteX6" fmla="*/ 1918706 w 1918706"/>
                  <a:gd name="connsiteY6" fmla="*/ 2001351 h 5633118"/>
                  <a:gd name="connsiteX7" fmla="*/ 1918706 w 1918706"/>
                  <a:gd name="connsiteY7" fmla="*/ 2009125 h 5633118"/>
                  <a:gd name="connsiteX8" fmla="*/ 1918706 w 1918706"/>
                  <a:gd name="connsiteY8" fmla="*/ 2073109 h 5633118"/>
                  <a:gd name="connsiteX9" fmla="*/ 1918706 w 1918706"/>
                  <a:gd name="connsiteY9" fmla="*/ 2081031 h 5633118"/>
                  <a:gd name="connsiteX10" fmla="*/ 1918706 w 1918706"/>
                  <a:gd name="connsiteY10" fmla="*/ 2088805 h 5633118"/>
                  <a:gd name="connsiteX11" fmla="*/ 1918706 w 1918706"/>
                  <a:gd name="connsiteY11" fmla="*/ 2503632 h 5633118"/>
                  <a:gd name="connsiteX12" fmla="*/ 1918706 w 1918706"/>
                  <a:gd name="connsiteY12" fmla="*/ 2511407 h 5633118"/>
                  <a:gd name="connsiteX13" fmla="*/ 1918706 w 1918706"/>
                  <a:gd name="connsiteY13" fmla="*/ 2567616 h 5633118"/>
                  <a:gd name="connsiteX14" fmla="*/ 1918706 w 1918706"/>
                  <a:gd name="connsiteY14" fmla="*/ 2583313 h 5633118"/>
                  <a:gd name="connsiteX15" fmla="*/ 1918706 w 1918706"/>
                  <a:gd name="connsiteY15" fmla="*/ 2591087 h 5633118"/>
                  <a:gd name="connsiteX16" fmla="*/ 1918706 w 1918706"/>
                  <a:gd name="connsiteY16" fmla="*/ 2992759 h 5633118"/>
                  <a:gd name="connsiteX17" fmla="*/ 1918706 w 1918706"/>
                  <a:gd name="connsiteY17" fmla="*/ 3005914 h 5633118"/>
                  <a:gd name="connsiteX18" fmla="*/ 1918706 w 1918706"/>
                  <a:gd name="connsiteY18" fmla="*/ 3013688 h 5633118"/>
                  <a:gd name="connsiteX19" fmla="*/ 1918706 w 1918706"/>
                  <a:gd name="connsiteY19" fmla="*/ 3085594 h 5633118"/>
                  <a:gd name="connsiteX20" fmla="*/ 1918706 w 1918706"/>
                  <a:gd name="connsiteY20" fmla="*/ 3093368 h 5633118"/>
                  <a:gd name="connsiteX21" fmla="*/ 1918706 w 1918706"/>
                  <a:gd name="connsiteY21" fmla="*/ 3487266 h 5633118"/>
                  <a:gd name="connsiteX22" fmla="*/ 1918706 w 1918706"/>
                  <a:gd name="connsiteY22" fmla="*/ 3508195 h 5633118"/>
                  <a:gd name="connsiteX23" fmla="*/ 1918706 w 1918706"/>
                  <a:gd name="connsiteY23" fmla="*/ 3515969 h 5633118"/>
                  <a:gd name="connsiteX24" fmla="*/ 1918706 w 1918706"/>
                  <a:gd name="connsiteY24" fmla="*/ 3574721 h 5633118"/>
                  <a:gd name="connsiteX25" fmla="*/ 1918706 w 1918706"/>
                  <a:gd name="connsiteY25" fmla="*/ 3587875 h 5633118"/>
                  <a:gd name="connsiteX26" fmla="*/ 1918706 w 1918706"/>
                  <a:gd name="connsiteY26" fmla="*/ 3595649 h 5633118"/>
                  <a:gd name="connsiteX27" fmla="*/ 1918706 w 1918706"/>
                  <a:gd name="connsiteY27" fmla="*/ 3997322 h 5633118"/>
                  <a:gd name="connsiteX28" fmla="*/ 1918706 w 1918706"/>
                  <a:gd name="connsiteY28" fmla="*/ 4010476 h 5633118"/>
                  <a:gd name="connsiteX29" fmla="*/ 1918706 w 1918706"/>
                  <a:gd name="connsiteY29" fmla="*/ 4069228 h 5633118"/>
                  <a:gd name="connsiteX30" fmla="*/ 1918706 w 1918706"/>
                  <a:gd name="connsiteY30" fmla="*/ 4090156 h 5633118"/>
                  <a:gd name="connsiteX31" fmla="*/ 1918706 w 1918706"/>
                  <a:gd name="connsiteY31" fmla="*/ 4097931 h 5633118"/>
                  <a:gd name="connsiteX32" fmla="*/ 1918706 w 1918706"/>
                  <a:gd name="connsiteY32" fmla="*/ 4491829 h 5633118"/>
                  <a:gd name="connsiteX33" fmla="*/ 1918706 w 1918706"/>
                  <a:gd name="connsiteY33" fmla="*/ 4579284 h 5633118"/>
                  <a:gd name="connsiteX34" fmla="*/ 1918706 w 1918706"/>
                  <a:gd name="connsiteY34" fmla="*/ 4592438 h 5633118"/>
                  <a:gd name="connsiteX35" fmla="*/ 1918706 w 1918706"/>
                  <a:gd name="connsiteY35" fmla="*/ 5073791 h 5633118"/>
                  <a:gd name="connsiteX36" fmla="*/ 959355 w 1918706"/>
                  <a:gd name="connsiteY36" fmla="*/ 5633118 h 5633118"/>
                  <a:gd name="connsiteX37" fmla="*/ 0 w 1918706"/>
                  <a:gd name="connsiteY37" fmla="*/ 5073791 h 5633118"/>
                  <a:gd name="connsiteX38" fmla="*/ 0 w 1918706"/>
                  <a:gd name="connsiteY38" fmla="*/ 4592438 h 5633118"/>
                  <a:gd name="connsiteX39" fmla="*/ 0 w 1918706"/>
                  <a:gd name="connsiteY39" fmla="*/ 4579284 h 5633118"/>
                  <a:gd name="connsiteX40" fmla="*/ 0 w 1918706"/>
                  <a:gd name="connsiteY40" fmla="*/ 4491829 h 5633118"/>
                  <a:gd name="connsiteX41" fmla="*/ 0 w 1918706"/>
                  <a:gd name="connsiteY41" fmla="*/ 4097931 h 5633118"/>
                  <a:gd name="connsiteX42" fmla="*/ 0 w 1918706"/>
                  <a:gd name="connsiteY42" fmla="*/ 4090156 h 5633118"/>
                  <a:gd name="connsiteX43" fmla="*/ 0 w 1918706"/>
                  <a:gd name="connsiteY43" fmla="*/ 4069228 h 5633118"/>
                  <a:gd name="connsiteX44" fmla="*/ 0 w 1918706"/>
                  <a:gd name="connsiteY44" fmla="*/ 4010476 h 5633118"/>
                  <a:gd name="connsiteX45" fmla="*/ 0 w 1918706"/>
                  <a:gd name="connsiteY45" fmla="*/ 3997322 h 5633118"/>
                  <a:gd name="connsiteX46" fmla="*/ 0 w 1918706"/>
                  <a:gd name="connsiteY46" fmla="*/ 3595649 h 5633118"/>
                  <a:gd name="connsiteX47" fmla="*/ 0 w 1918706"/>
                  <a:gd name="connsiteY47" fmla="*/ 3587875 h 5633118"/>
                  <a:gd name="connsiteX48" fmla="*/ 0 w 1918706"/>
                  <a:gd name="connsiteY48" fmla="*/ 3574721 h 5633118"/>
                  <a:gd name="connsiteX49" fmla="*/ 0 w 1918706"/>
                  <a:gd name="connsiteY49" fmla="*/ 3515969 h 5633118"/>
                  <a:gd name="connsiteX50" fmla="*/ 0 w 1918706"/>
                  <a:gd name="connsiteY50" fmla="*/ 3508195 h 5633118"/>
                  <a:gd name="connsiteX51" fmla="*/ 0 w 1918706"/>
                  <a:gd name="connsiteY51" fmla="*/ 3487266 h 5633118"/>
                  <a:gd name="connsiteX52" fmla="*/ 0 w 1918706"/>
                  <a:gd name="connsiteY5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985655 h 5633118"/>
                  <a:gd name="connsiteX5" fmla="*/ 1918706 w 1918706"/>
                  <a:gd name="connsiteY5" fmla="*/ 2001351 h 5633118"/>
                  <a:gd name="connsiteX6" fmla="*/ 1918706 w 1918706"/>
                  <a:gd name="connsiteY6" fmla="*/ 2009125 h 5633118"/>
                  <a:gd name="connsiteX7" fmla="*/ 1918706 w 1918706"/>
                  <a:gd name="connsiteY7" fmla="*/ 2073109 h 5633118"/>
                  <a:gd name="connsiteX8" fmla="*/ 1918706 w 1918706"/>
                  <a:gd name="connsiteY8" fmla="*/ 2081031 h 5633118"/>
                  <a:gd name="connsiteX9" fmla="*/ 1918706 w 1918706"/>
                  <a:gd name="connsiteY9" fmla="*/ 2088805 h 5633118"/>
                  <a:gd name="connsiteX10" fmla="*/ 1918706 w 1918706"/>
                  <a:gd name="connsiteY10" fmla="*/ 2503632 h 5633118"/>
                  <a:gd name="connsiteX11" fmla="*/ 1918706 w 1918706"/>
                  <a:gd name="connsiteY11" fmla="*/ 2511407 h 5633118"/>
                  <a:gd name="connsiteX12" fmla="*/ 1918706 w 1918706"/>
                  <a:gd name="connsiteY12" fmla="*/ 2567616 h 5633118"/>
                  <a:gd name="connsiteX13" fmla="*/ 1918706 w 1918706"/>
                  <a:gd name="connsiteY13" fmla="*/ 2583313 h 5633118"/>
                  <a:gd name="connsiteX14" fmla="*/ 1918706 w 1918706"/>
                  <a:gd name="connsiteY14" fmla="*/ 2591087 h 5633118"/>
                  <a:gd name="connsiteX15" fmla="*/ 1918706 w 1918706"/>
                  <a:gd name="connsiteY15" fmla="*/ 2992759 h 5633118"/>
                  <a:gd name="connsiteX16" fmla="*/ 1918706 w 1918706"/>
                  <a:gd name="connsiteY16" fmla="*/ 3005914 h 5633118"/>
                  <a:gd name="connsiteX17" fmla="*/ 1918706 w 1918706"/>
                  <a:gd name="connsiteY17" fmla="*/ 3013688 h 5633118"/>
                  <a:gd name="connsiteX18" fmla="*/ 1918706 w 1918706"/>
                  <a:gd name="connsiteY18" fmla="*/ 3085594 h 5633118"/>
                  <a:gd name="connsiteX19" fmla="*/ 1918706 w 1918706"/>
                  <a:gd name="connsiteY19" fmla="*/ 3093368 h 5633118"/>
                  <a:gd name="connsiteX20" fmla="*/ 1918706 w 1918706"/>
                  <a:gd name="connsiteY20" fmla="*/ 3487266 h 5633118"/>
                  <a:gd name="connsiteX21" fmla="*/ 1918706 w 1918706"/>
                  <a:gd name="connsiteY21" fmla="*/ 3508195 h 5633118"/>
                  <a:gd name="connsiteX22" fmla="*/ 1918706 w 1918706"/>
                  <a:gd name="connsiteY22" fmla="*/ 3515969 h 5633118"/>
                  <a:gd name="connsiteX23" fmla="*/ 1918706 w 1918706"/>
                  <a:gd name="connsiteY23" fmla="*/ 3574721 h 5633118"/>
                  <a:gd name="connsiteX24" fmla="*/ 1918706 w 1918706"/>
                  <a:gd name="connsiteY24" fmla="*/ 3587875 h 5633118"/>
                  <a:gd name="connsiteX25" fmla="*/ 1918706 w 1918706"/>
                  <a:gd name="connsiteY25" fmla="*/ 3595649 h 5633118"/>
                  <a:gd name="connsiteX26" fmla="*/ 1918706 w 1918706"/>
                  <a:gd name="connsiteY26" fmla="*/ 3997322 h 5633118"/>
                  <a:gd name="connsiteX27" fmla="*/ 1918706 w 1918706"/>
                  <a:gd name="connsiteY27" fmla="*/ 4010476 h 5633118"/>
                  <a:gd name="connsiteX28" fmla="*/ 1918706 w 1918706"/>
                  <a:gd name="connsiteY28" fmla="*/ 4069228 h 5633118"/>
                  <a:gd name="connsiteX29" fmla="*/ 1918706 w 1918706"/>
                  <a:gd name="connsiteY29" fmla="*/ 4090156 h 5633118"/>
                  <a:gd name="connsiteX30" fmla="*/ 1918706 w 1918706"/>
                  <a:gd name="connsiteY30" fmla="*/ 4097931 h 5633118"/>
                  <a:gd name="connsiteX31" fmla="*/ 1918706 w 1918706"/>
                  <a:gd name="connsiteY31" fmla="*/ 4491829 h 5633118"/>
                  <a:gd name="connsiteX32" fmla="*/ 1918706 w 1918706"/>
                  <a:gd name="connsiteY32" fmla="*/ 4579284 h 5633118"/>
                  <a:gd name="connsiteX33" fmla="*/ 1918706 w 1918706"/>
                  <a:gd name="connsiteY33" fmla="*/ 4592438 h 5633118"/>
                  <a:gd name="connsiteX34" fmla="*/ 1918706 w 1918706"/>
                  <a:gd name="connsiteY34" fmla="*/ 5073791 h 5633118"/>
                  <a:gd name="connsiteX35" fmla="*/ 959355 w 1918706"/>
                  <a:gd name="connsiteY35" fmla="*/ 5633118 h 5633118"/>
                  <a:gd name="connsiteX36" fmla="*/ 0 w 1918706"/>
                  <a:gd name="connsiteY36" fmla="*/ 5073791 h 5633118"/>
                  <a:gd name="connsiteX37" fmla="*/ 0 w 1918706"/>
                  <a:gd name="connsiteY37" fmla="*/ 4592438 h 5633118"/>
                  <a:gd name="connsiteX38" fmla="*/ 0 w 1918706"/>
                  <a:gd name="connsiteY38" fmla="*/ 4579284 h 5633118"/>
                  <a:gd name="connsiteX39" fmla="*/ 0 w 1918706"/>
                  <a:gd name="connsiteY39" fmla="*/ 4491829 h 5633118"/>
                  <a:gd name="connsiteX40" fmla="*/ 0 w 1918706"/>
                  <a:gd name="connsiteY40" fmla="*/ 4097931 h 5633118"/>
                  <a:gd name="connsiteX41" fmla="*/ 0 w 1918706"/>
                  <a:gd name="connsiteY41" fmla="*/ 4090156 h 5633118"/>
                  <a:gd name="connsiteX42" fmla="*/ 0 w 1918706"/>
                  <a:gd name="connsiteY42" fmla="*/ 4069228 h 5633118"/>
                  <a:gd name="connsiteX43" fmla="*/ 0 w 1918706"/>
                  <a:gd name="connsiteY43" fmla="*/ 4010476 h 5633118"/>
                  <a:gd name="connsiteX44" fmla="*/ 0 w 1918706"/>
                  <a:gd name="connsiteY44" fmla="*/ 3997322 h 5633118"/>
                  <a:gd name="connsiteX45" fmla="*/ 0 w 1918706"/>
                  <a:gd name="connsiteY45" fmla="*/ 3595649 h 5633118"/>
                  <a:gd name="connsiteX46" fmla="*/ 0 w 1918706"/>
                  <a:gd name="connsiteY46" fmla="*/ 3587875 h 5633118"/>
                  <a:gd name="connsiteX47" fmla="*/ 0 w 1918706"/>
                  <a:gd name="connsiteY47" fmla="*/ 3574721 h 5633118"/>
                  <a:gd name="connsiteX48" fmla="*/ 0 w 1918706"/>
                  <a:gd name="connsiteY48" fmla="*/ 3515969 h 5633118"/>
                  <a:gd name="connsiteX49" fmla="*/ 0 w 1918706"/>
                  <a:gd name="connsiteY49" fmla="*/ 3508195 h 5633118"/>
                  <a:gd name="connsiteX50" fmla="*/ 0 w 1918706"/>
                  <a:gd name="connsiteY50" fmla="*/ 3487266 h 5633118"/>
                  <a:gd name="connsiteX51" fmla="*/ 0 w 1918706"/>
                  <a:gd name="connsiteY5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09125 h 5633118"/>
                  <a:gd name="connsiteX6" fmla="*/ 1918706 w 1918706"/>
                  <a:gd name="connsiteY6" fmla="*/ 2073109 h 5633118"/>
                  <a:gd name="connsiteX7" fmla="*/ 1918706 w 1918706"/>
                  <a:gd name="connsiteY7" fmla="*/ 2081031 h 5633118"/>
                  <a:gd name="connsiteX8" fmla="*/ 1918706 w 1918706"/>
                  <a:gd name="connsiteY8" fmla="*/ 2088805 h 5633118"/>
                  <a:gd name="connsiteX9" fmla="*/ 1918706 w 1918706"/>
                  <a:gd name="connsiteY9" fmla="*/ 2503632 h 5633118"/>
                  <a:gd name="connsiteX10" fmla="*/ 1918706 w 1918706"/>
                  <a:gd name="connsiteY10" fmla="*/ 2511407 h 5633118"/>
                  <a:gd name="connsiteX11" fmla="*/ 1918706 w 1918706"/>
                  <a:gd name="connsiteY11" fmla="*/ 2567616 h 5633118"/>
                  <a:gd name="connsiteX12" fmla="*/ 1918706 w 1918706"/>
                  <a:gd name="connsiteY12" fmla="*/ 2583313 h 5633118"/>
                  <a:gd name="connsiteX13" fmla="*/ 1918706 w 1918706"/>
                  <a:gd name="connsiteY13" fmla="*/ 2591087 h 5633118"/>
                  <a:gd name="connsiteX14" fmla="*/ 1918706 w 1918706"/>
                  <a:gd name="connsiteY14" fmla="*/ 2992759 h 5633118"/>
                  <a:gd name="connsiteX15" fmla="*/ 1918706 w 1918706"/>
                  <a:gd name="connsiteY15" fmla="*/ 3005914 h 5633118"/>
                  <a:gd name="connsiteX16" fmla="*/ 1918706 w 1918706"/>
                  <a:gd name="connsiteY16" fmla="*/ 3013688 h 5633118"/>
                  <a:gd name="connsiteX17" fmla="*/ 1918706 w 1918706"/>
                  <a:gd name="connsiteY17" fmla="*/ 3085594 h 5633118"/>
                  <a:gd name="connsiteX18" fmla="*/ 1918706 w 1918706"/>
                  <a:gd name="connsiteY18" fmla="*/ 3093368 h 5633118"/>
                  <a:gd name="connsiteX19" fmla="*/ 1918706 w 1918706"/>
                  <a:gd name="connsiteY19" fmla="*/ 3487266 h 5633118"/>
                  <a:gd name="connsiteX20" fmla="*/ 1918706 w 1918706"/>
                  <a:gd name="connsiteY20" fmla="*/ 3508195 h 5633118"/>
                  <a:gd name="connsiteX21" fmla="*/ 1918706 w 1918706"/>
                  <a:gd name="connsiteY21" fmla="*/ 3515969 h 5633118"/>
                  <a:gd name="connsiteX22" fmla="*/ 1918706 w 1918706"/>
                  <a:gd name="connsiteY22" fmla="*/ 3574721 h 5633118"/>
                  <a:gd name="connsiteX23" fmla="*/ 1918706 w 1918706"/>
                  <a:gd name="connsiteY23" fmla="*/ 3587875 h 5633118"/>
                  <a:gd name="connsiteX24" fmla="*/ 1918706 w 1918706"/>
                  <a:gd name="connsiteY24" fmla="*/ 3595649 h 5633118"/>
                  <a:gd name="connsiteX25" fmla="*/ 1918706 w 1918706"/>
                  <a:gd name="connsiteY25" fmla="*/ 3997322 h 5633118"/>
                  <a:gd name="connsiteX26" fmla="*/ 1918706 w 1918706"/>
                  <a:gd name="connsiteY26" fmla="*/ 4010476 h 5633118"/>
                  <a:gd name="connsiteX27" fmla="*/ 1918706 w 1918706"/>
                  <a:gd name="connsiteY27" fmla="*/ 4069228 h 5633118"/>
                  <a:gd name="connsiteX28" fmla="*/ 1918706 w 1918706"/>
                  <a:gd name="connsiteY28" fmla="*/ 4090156 h 5633118"/>
                  <a:gd name="connsiteX29" fmla="*/ 1918706 w 1918706"/>
                  <a:gd name="connsiteY29" fmla="*/ 4097931 h 5633118"/>
                  <a:gd name="connsiteX30" fmla="*/ 1918706 w 1918706"/>
                  <a:gd name="connsiteY30" fmla="*/ 4491829 h 5633118"/>
                  <a:gd name="connsiteX31" fmla="*/ 1918706 w 1918706"/>
                  <a:gd name="connsiteY31" fmla="*/ 4579284 h 5633118"/>
                  <a:gd name="connsiteX32" fmla="*/ 1918706 w 1918706"/>
                  <a:gd name="connsiteY32" fmla="*/ 4592438 h 5633118"/>
                  <a:gd name="connsiteX33" fmla="*/ 1918706 w 1918706"/>
                  <a:gd name="connsiteY33" fmla="*/ 5073791 h 5633118"/>
                  <a:gd name="connsiteX34" fmla="*/ 959355 w 1918706"/>
                  <a:gd name="connsiteY34" fmla="*/ 5633118 h 5633118"/>
                  <a:gd name="connsiteX35" fmla="*/ 0 w 1918706"/>
                  <a:gd name="connsiteY35" fmla="*/ 5073791 h 5633118"/>
                  <a:gd name="connsiteX36" fmla="*/ 0 w 1918706"/>
                  <a:gd name="connsiteY36" fmla="*/ 4592438 h 5633118"/>
                  <a:gd name="connsiteX37" fmla="*/ 0 w 1918706"/>
                  <a:gd name="connsiteY37" fmla="*/ 4579284 h 5633118"/>
                  <a:gd name="connsiteX38" fmla="*/ 0 w 1918706"/>
                  <a:gd name="connsiteY38" fmla="*/ 4491829 h 5633118"/>
                  <a:gd name="connsiteX39" fmla="*/ 0 w 1918706"/>
                  <a:gd name="connsiteY39" fmla="*/ 4097931 h 5633118"/>
                  <a:gd name="connsiteX40" fmla="*/ 0 w 1918706"/>
                  <a:gd name="connsiteY40" fmla="*/ 4090156 h 5633118"/>
                  <a:gd name="connsiteX41" fmla="*/ 0 w 1918706"/>
                  <a:gd name="connsiteY41" fmla="*/ 4069228 h 5633118"/>
                  <a:gd name="connsiteX42" fmla="*/ 0 w 1918706"/>
                  <a:gd name="connsiteY42" fmla="*/ 4010476 h 5633118"/>
                  <a:gd name="connsiteX43" fmla="*/ 0 w 1918706"/>
                  <a:gd name="connsiteY43" fmla="*/ 3997322 h 5633118"/>
                  <a:gd name="connsiteX44" fmla="*/ 0 w 1918706"/>
                  <a:gd name="connsiteY44" fmla="*/ 3595649 h 5633118"/>
                  <a:gd name="connsiteX45" fmla="*/ 0 w 1918706"/>
                  <a:gd name="connsiteY45" fmla="*/ 3587875 h 5633118"/>
                  <a:gd name="connsiteX46" fmla="*/ 0 w 1918706"/>
                  <a:gd name="connsiteY46" fmla="*/ 3574721 h 5633118"/>
                  <a:gd name="connsiteX47" fmla="*/ 0 w 1918706"/>
                  <a:gd name="connsiteY47" fmla="*/ 3515969 h 5633118"/>
                  <a:gd name="connsiteX48" fmla="*/ 0 w 1918706"/>
                  <a:gd name="connsiteY48" fmla="*/ 3508195 h 5633118"/>
                  <a:gd name="connsiteX49" fmla="*/ 0 w 1918706"/>
                  <a:gd name="connsiteY49" fmla="*/ 3487266 h 5633118"/>
                  <a:gd name="connsiteX50" fmla="*/ 0 w 1918706"/>
                  <a:gd name="connsiteY5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73109 h 5633118"/>
                  <a:gd name="connsiteX6" fmla="*/ 1918706 w 1918706"/>
                  <a:gd name="connsiteY6" fmla="*/ 2081031 h 5633118"/>
                  <a:gd name="connsiteX7" fmla="*/ 1918706 w 1918706"/>
                  <a:gd name="connsiteY7" fmla="*/ 2088805 h 5633118"/>
                  <a:gd name="connsiteX8" fmla="*/ 1918706 w 1918706"/>
                  <a:gd name="connsiteY8" fmla="*/ 2503632 h 5633118"/>
                  <a:gd name="connsiteX9" fmla="*/ 1918706 w 1918706"/>
                  <a:gd name="connsiteY9" fmla="*/ 2511407 h 5633118"/>
                  <a:gd name="connsiteX10" fmla="*/ 1918706 w 1918706"/>
                  <a:gd name="connsiteY10" fmla="*/ 2567616 h 5633118"/>
                  <a:gd name="connsiteX11" fmla="*/ 1918706 w 1918706"/>
                  <a:gd name="connsiteY11" fmla="*/ 2583313 h 5633118"/>
                  <a:gd name="connsiteX12" fmla="*/ 1918706 w 1918706"/>
                  <a:gd name="connsiteY12" fmla="*/ 2591087 h 5633118"/>
                  <a:gd name="connsiteX13" fmla="*/ 1918706 w 1918706"/>
                  <a:gd name="connsiteY13" fmla="*/ 2992759 h 5633118"/>
                  <a:gd name="connsiteX14" fmla="*/ 1918706 w 1918706"/>
                  <a:gd name="connsiteY14" fmla="*/ 3005914 h 5633118"/>
                  <a:gd name="connsiteX15" fmla="*/ 1918706 w 1918706"/>
                  <a:gd name="connsiteY15" fmla="*/ 3013688 h 5633118"/>
                  <a:gd name="connsiteX16" fmla="*/ 1918706 w 1918706"/>
                  <a:gd name="connsiteY16" fmla="*/ 3085594 h 5633118"/>
                  <a:gd name="connsiteX17" fmla="*/ 1918706 w 1918706"/>
                  <a:gd name="connsiteY17" fmla="*/ 3093368 h 5633118"/>
                  <a:gd name="connsiteX18" fmla="*/ 1918706 w 1918706"/>
                  <a:gd name="connsiteY18" fmla="*/ 3487266 h 5633118"/>
                  <a:gd name="connsiteX19" fmla="*/ 1918706 w 1918706"/>
                  <a:gd name="connsiteY19" fmla="*/ 3508195 h 5633118"/>
                  <a:gd name="connsiteX20" fmla="*/ 1918706 w 1918706"/>
                  <a:gd name="connsiteY20" fmla="*/ 3515969 h 5633118"/>
                  <a:gd name="connsiteX21" fmla="*/ 1918706 w 1918706"/>
                  <a:gd name="connsiteY21" fmla="*/ 3574721 h 5633118"/>
                  <a:gd name="connsiteX22" fmla="*/ 1918706 w 1918706"/>
                  <a:gd name="connsiteY22" fmla="*/ 3587875 h 5633118"/>
                  <a:gd name="connsiteX23" fmla="*/ 1918706 w 1918706"/>
                  <a:gd name="connsiteY23" fmla="*/ 3595649 h 5633118"/>
                  <a:gd name="connsiteX24" fmla="*/ 1918706 w 1918706"/>
                  <a:gd name="connsiteY24" fmla="*/ 3997322 h 5633118"/>
                  <a:gd name="connsiteX25" fmla="*/ 1918706 w 1918706"/>
                  <a:gd name="connsiteY25" fmla="*/ 4010476 h 5633118"/>
                  <a:gd name="connsiteX26" fmla="*/ 1918706 w 1918706"/>
                  <a:gd name="connsiteY26" fmla="*/ 4069228 h 5633118"/>
                  <a:gd name="connsiteX27" fmla="*/ 1918706 w 1918706"/>
                  <a:gd name="connsiteY27" fmla="*/ 4090156 h 5633118"/>
                  <a:gd name="connsiteX28" fmla="*/ 1918706 w 1918706"/>
                  <a:gd name="connsiteY28" fmla="*/ 4097931 h 5633118"/>
                  <a:gd name="connsiteX29" fmla="*/ 1918706 w 1918706"/>
                  <a:gd name="connsiteY29" fmla="*/ 4491829 h 5633118"/>
                  <a:gd name="connsiteX30" fmla="*/ 1918706 w 1918706"/>
                  <a:gd name="connsiteY30" fmla="*/ 4579284 h 5633118"/>
                  <a:gd name="connsiteX31" fmla="*/ 1918706 w 1918706"/>
                  <a:gd name="connsiteY31" fmla="*/ 4592438 h 5633118"/>
                  <a:gd name="connsiteX32" fmla="*/ 1918706 w 1918706"/>
                  <a:gd name="connsiteY32" fmla="*/ 5073791 h 5633118"/>
                  <a:gd name="connsiteX33" fmla="*/ 959355 w 1918706"/>
                  <a:gd name="connsiteY33" fmla="*/ 5633118 h 5633118"/>
                  <a:gd name="connsiteX34" fmla="*/ 0 w 1918706"/>
                  <a:gd name="connsiteY34" fmla="*/ 5073791 h 5633118"/>
                  <a:gd name="connsiteX35" fmla="*/ 0 w 1918706"/>
                  <a:gd name="connsiteY35" fmla="*/ 4592438 h 5633118"/>
                  <a:gd name="connsiteX36" fmla="*/ 0 w 1918706"/>
                  <a:gd name="connsiteY36" fmla="*/ 4579284 h 5633118"/>
                  <a:gd name="connsiteX37" fmla="*/ 0 w 1918706"/>
                  <a:gd name="connsiteY37" fmla="*/ 4491829 h 5633118"/>
                  <a:gd name="connsiteX38" fmla="*/ 0 w 1918706"/>
                  <a:gd name="connsiteY38" fmla="*/ 4097931 h 5633118"/>
                  <a:gd name="connsiteX39" fmla="*/ 0 w 1918706"/>
                  <a:gd name="connsiteY39" fmla="*/ 4090156 h 5633118"/>
                  <a:gd name="connsiteX40" fmla="*/ 0 w 1918706"/>
                  <a:gd name="connsiteY40" fmla="*/ 4069228 h 5633118"/>
                  <a:gd name="connsiteX41" fmla="*/ 0 w 1918706"/>
                  <a:gd name="connsiteY41" fmla="*/ 4010476 h 5633118"/>
                  <a:gd name="connsiteX42" fmla="*/ 0 w 1918706"/>
                  <a:gd name="connsiteY42" fmla="*/ 3997322 h 5633118"/>
                  <a:gd name="connsiteX43" fmla="*/ 0 w 1918706"/>
                  <a:gd name="connsiteY43" fmla="*/ 3595649 h 5633118"/>
                  <a:gd name="connsiteX44" fmla="*/ 0 w 1918706"/>
                  <a:gd name="connsiteY44" fmla="*/ 3587875 h 5633118"/>
                  <a:gd name="connsiteX45" fmla="*/ 0 w 1918706"/>
                  <a:gd name="connsiteY45" fmla="*/ 3574721 h 5633118"/>
                  <a:gd name="connsiteX46" fmla="*/ 0 w 1918706"/>
                  <a:gd name="connsiteY46" fmla="*/ 3515969 h 5633118"/>
                  <a:gd name="connsiteX47" fmla="*/ 0 w 1918706"/>
                  <a:gd name="connsiteY47" fmla="*/ 3508195 h 5633118"/>
                  <a:gd name="connsiteX48" fmla="*/ 0 w 1918706"/>
                  <a:gd name="connsiteY48" fmla="*/ 3487266 h 5633118"/>
                  <a:gd name="connsiteX49" fmla="*/ 0 w 1918706"/>
                  <a:gd name="connsiteY4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73109 h 5633118"/>
                  <a:gd name="connsiteX5" fmla="*/ 1918706 w 1918706"/>
                  <a:gd name="connsiteY5" fmla="*/ 2081031 h 5633118"/>
                  <a:gd name="connsiteX6" fmla="*/ 1918706 w 1918706"/>
                  <a:gd name="connsiteY6" fmla="*/ 2088805 h 5633118"/>
                  <a:gd name="connsiteX7" fmla="*/ 1918706 w 1918706"/>
                  <a:gd name="connsiteY7" fmla="*/ 2503632 h 5633118"/>
                  <a:gd name="connsiteX8" fmla="*/ 1918706 w 1918706"/>
                  <a:gd name="connsiteY8" fmla="*/ 2511407 h 5633118"/>
                  <a:gd name="connsiteX9" fmla="*/ 1918706 w 1918706"/>
                  <a:gd name="connsiteY9" fmla="*/ 2567616 h 5633118"/>
                  <a:gd name="connsiteX10" fmla="*/ 1918706 w 1918706"/>
                  <a:gd name="connsiteY10" fmla="*/ 2583313 h 5633118"/>
                  <a:gd name="connsiteX11" fmla="*/ 1918706 w 1918706"/>
                  <a:gd name="connsiteY11" fmla="*/ 2591087 h 5633118"/>
                  <a:gd name="connsiteX12" fmla="*/ 1918706 w 1918706"/>
                  <a:gd name="connsiteY12" fmla="*/ 2992759 h 5633118"/>
                  <a:gd name="connsiteX13" fmla="*/ 1918706 w 1918706"/>
                  <a:gd name="connsiteY13" fmla="*/ 3005914 h 5633118"/>
                  <a:gd name="connsiteX14" fmla="*/ 1918706 w 1918706"/>
                  <a:gd name="connsiteY14" fmla="*/ 3013688 h 5633118"/>
                  <a:gd name="connsiteX15" fmla="*/ 1918706 w 1918706"/>
                  <a:gd name="connsiteY15" fmla="*/ 3085594 h 5633118"/>
                  <a:gd name="connsiteX16" fmla="*/ 1918706 w 1918706"/>
                  <a:gd name="connsiteY16" fmla="*/ 3093368 h 5633118"/>
                  <a:gd name="connsiteX17" fmla="*/ 1918706 w 1918706"/>
                  <a:gd name="connsiteY17" fmla="*/ 3487266 h 5633118"/>
                  <a:gd name="connsiteX18" fmla="*/ 1918706 w 1918706"/>
                  <a:gd name="connsiteY18" fmla="*/ 3508195 h 5633118"/>
                  <a:gd name="connsiteX19" fmla="*/ 1918706 w 1918706"/>
                  <a:gd name="connsiteY19" fmla="*/ 3515969 h 5633118"/>
                  <a:gd name="connsiteX20" fmla="*/ 1918706 w 1918706"/>
                  <a:gd name="connsiteY20" fmla="*/ 3574721 h 5633118"/>
                  <a:gd name="connsiteX21" fmla="*/ 1918706 w 1918706"/>
                  <a:gd name="connsiteY21" fmla="*/ 3587875 h 5633118"/>
                  <a:gd name="connsiteX22" fmla="*/ 1918706 w 1918706"/>
                  <a:gd name="connsiteY22" fmla="*/ 3595649 h 5633118"/>
                  <a:gd name="connsiteX23" fmla="*/ 1918706 w 1918706"/>
                  <a:gd name="connsiteY23" fmla="*/ 3997322 h 5633118"/>
                  <a:gd name="connsiteX24" fmla="*/ 1918706 w 1918706"/>
                  <a:gd name="connsiteY24" fmla="*/ 4010476 h 5633118"/>
                  <a:gd name="connsiteX25" fmla="*/ 1918706 w 1918706"/>
                  <a:gd name="connsiteY25" fmla="*/ 4069228 h 5633118"/>
                  <a:gd name="connsiteX26" fmla="*/ 1918706 w 1918706"/>
                  <a:gd name="connsiteY26" fmla="*/ 4090156 h 5633118"/>
                  <a:gd name="connsiteX27" fmla="*/ 1918706 w 1918706"/>
                  <a:gd name="connsiteY27" fmla="*/ 4097931 h 5633118"/>
                  <a:gd name="connsiteX28" fmla="*/ 1918706 w 1918706"/>
                  <a:gd name="connsiteY28" fmla="*/ 4491829 h 5633118"/>
                  <a:gd name="connsiteX29" fmla="*/ 1918706 w 1918706"/>
                  <a:gd name="connsiteY29" fmla="*/ 4579284 h 5633118"/>
                  <a:gd name="connsiteX30" fmla="*/ 1918706 w 1918706"/>
                  <a:gd name="connsiteY30" fmla="*/ 4592438 h 5633118"/>
                  <a:gd name="connsiteX31" fmla="*/ 1918706 w 1918706"/>
                  <a:gd name="connsiteY31" fmla="*/ 5073791 h 5633118"/>
                  <a:gd name="connsiteX32" fmla="*/ 959355 w 1918706"/>
                  <a:gd name="connsiteY32" fmla="*/ 5633118 h 5633118"/>
                  <a:gd name="connsiteX33" fmla="*/ 0 w 1918706"/>
                  <a:gd name="connsiteY33" fmla="*/ 5073791 h 5633118"/>
                  <a:gd name="connsiteX34" fmla="*/ 0 w 1918706"/>
                  <a:gd name="connsiteY34" fmla="*/ 4592438 h 5633118"/>
                  <a:gd name="connsiteX35" fmla="*/ 0 w 1918706"/>
                  <a:gd name="connsiteY35" fmla="*/ 4579284 h 5633118"/>
                  <a:gd name="connsiteX36" fmla="*/ 0 w 1918706"/>
                  <a:gd name="connsiteY36" fmla="*/ 4491829 h 5633118"/>
                  <a:gd name="connsiteX37" fmla="*/ 0 w 1918706"/>
                  <a:gd name="connsiteY37" fmla="*/ 4097931 h 5633118"/>
                  <a:gd name="connsiteX38" fmla="*/ 0 w 1918706"/>
                  <a:gd name="connsiteY38" fmla="*/ 4090156 h 5633118"/>
                  <a:gd name="connsiteX39" fmla="*/ 0 w 1918706"/>
                  <a:gd name="connsiteY39" fmla="*/ 4069228 h 5633118"/>
                  <a:gd name="connsiteX40" fmla="*/ 0 w 1918706"/>
                  <a:gd name="connsiteY40" fmla="*/ 4010476 h 5633118"/>
                  <a:gd name="connsiteX41" fmla="*/ 0 w 1918706"/>
                  <a:gd name="connsiteY41" fmla="*/ 3997322 h 5633118"/>
                  <a:gd name="connsiteX42" fmla="*/ 0 w 1918706"/>
                  <a:gd name="connsiteY42" fmla="*/ 3595649 h 5633118"/>
                  <a:gd name="connsiteX43" fmla="*/ 0 w 1918706"/>
                  <a:gd name="connsiteY43" fmla="*/ 3587875 h 5633118"/>
                  <a:gd name="connsiteX44" fmla="*/ 0 w 1918706"/>
                  <a:gd name="connsiteY44" fmla="*/ 3574721 h 5633118"/>
                  <a:gd name="connsiteX45" fmla="*/ 0 w 1918706"/>
                  <a:gd name="connsiteY45" fmla="*/ 3515969 h 5633118"/>
                  <a:gd name="connsiteX46" fmla="*/ 0 w 1918706"/>
                  <a:gd name="connsiteY46" fmla="*/ 3508195 h 5633118"/>
                  <a:gd name="connsiteX47" fmla="*/ 0 w 1918706"/>
                  <a:gd name="connsiteY47" fmla="*/ 3487266 h 5633118"/>
                  <a:gd name="connsiteX48" fmla="*/ 0 w 1918706"/>
                  <a:gd name="connsiteY4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088805 h 5633118"/>
                  <a:gd name="connsiteX6" fmla="*/ 1918706 w 1918706"/>
                  <a:gd name="connsiteY6" fmla="*/ 2503632 h 5633118"/>
                  <a:gd name="connsiteX7" fmla="*/ 1918706 w 1918706"/>
                  <a:gd name="connsiteY7" fmla="*/ 2511407 h 5633118"/>
                  <a:gd name="connsiteX8" fmla="*/ 1918706 w 1918706"/>
                  <a:gd name="connsiteY8" fmla="*/ 2567616 h 5633118"/>
                  <a:gd name="connsiteX9" fmla="*/ 1918706 w 1918706"/>
                  <a:gd name="connsiteY9" fmla="*/ 2583313 h 5633118"/>
                  <a:gd name="connsiteX10" fmla="*/ 1918706 w 1918706"/>
                  <a:gd name="connsiteY10" fmla="*/ 2591087 h 5633118"/>
                  <a:gd name="connsiteX11" fmla="*/ 1918706 w 1918706"/>
                  <a:gd name="connsiteY11" fmla="*/ 2992759 h 5633118"/>
                  <a:gd name="connsiteX12" fmla="*/ 1918706 w 1918706"/>
                  <a:gd name="connsiteY12" fmla="*/ 3005914 h 5633118"/>
                  <a:gd name="connsiteX13" fmla="*/ 1918706 w 1918706"/>
                  <a:gd name="connsiteY13" fmla="*/ 3013688 h 5633118"/>
                  <a:gd name="connsiteX14" fmla="*/ 1918706 w 1918706"/>
                  <a:gd name="connsiteY14" fmla="*/ 3085594 h 5633118"/>
                  <a:gd name="connsiteX15" fmla="*/ 1918706 w 1918706"/>
                  <a:gd name="connsiteY15" fmla="*/ 3093368 h 5633118"/>
                  <a:gd name="connsiteX16" fmla="*/ 1918706 w 1918706"/>
                  <a:gd name="connsiteY16" fmla="*/ 3487266 h 5633118"/>
                  <a:gd name="connsiteX17" fmla="*/ 1918706 w 1918706"/>
                  <a:gd name="connsiteY17" fmla="*/ 3508195 h 5633118"/>
                  <a:gd name="connsiteX18" fmla="*/ 1918706 w 1918706"/>
                  <a:gd name="connsiteY18" fmla="*/ 3515969 h 5633118"/>
                  <a:gd name="connsiteX19" fmla="*/ 1918706 w 1918706"/>
                  <a:gd name="connsiteY19" fmla="*/ 3574721 h 5633118"/>
                  <a:gd name="connsiteX20" fmla="*/ 1918706 w 1918706"/>
                  <a:gd name="connsiteY20" fmla="*/ 3587875 h 5633118"/>
                  <a:gd name="connsiteX21" fmla="*/ 1918706 w 1918706"/>
                  <a:gd name="connsiteY21" fmla="*/ 3595649 h 5633118"/>
                  <a:gd name="connsiteX22" fmla="*/ 1918706 w 1918706"/>
                  <a:gd name="connsiteY22" fmla="*/ 3997322 h 5633118"/>
                  <a:gd name="connsiteX23" fmla="*/ 1918706 w 1918706"/>
                  <a:gd name="connsiteY23" fmla="*/ 4010476 h 5633118"/>
                  <a:gd name="connsiteX24" fmla="*/ 1918706 w 1918706"/>
                  <a:gd name="connsiteY24" fmla="*/ 4069228 h 5633118"/>
                  <a:gd name="connsiteX25" fmla="*/ 1918706 w 1918706"/>
                  <a:gd name="connsiteY25" fmla="*/ 4090156 h 5633118"/>
                  <a:gd name="connsiteX26" fmla="*/ 1918706 w 1918706"/>
                  <a:gd name="connsiteY26" fmla="*/ 4097931 h 5633118"/>
                  <a:gd name="connsiteX27" fmla="*/ 1918706 w 1918706"/>
                  <a:gd name="connsiteY27" fmla="*/ 4491829 h 5633118"/>
                  <a:gd name="connsiteX28" fmla="*/ 1918706 w 1918706"/>
                  <a:gd name="connsiteY28" fmla="*/ 4579284 h 5633118"/>
                  <a:gd name="connsiteX29" fmla="*/ 1918706 w 1918706"/>
                  <a:gd name="connsiteY29" fmla="*/ 4592438 h 5633118"/>
                  <a:gd name="connsiteX30" fmla="*/ 1918706 w 1918706"/>
                  <a:gd name="connsiteY30" fmla="*/ 5073791 h 5633118"/>
                  <a:gd name="connsiteX31" fmla="*/ 959355 w 1918706"/>
                  <a:gd name="connsiteY31" fmla="*/ 5633118 h 5633118"/>
                  <a:gd name="connsiteX32" fmla="*/ 0 w 1918706"/>
                  <a:gd name="connsiteY32" fmla="*/ 5073791 h 5633118"/>
                  <a:gd name="connsiteX33" fmla="*/ 0 w 1918706"/>
                  <a:gd name="connsiteY33" fmla="*/ 4592438 h 5633118"/>
                  <a:gd name="connsiteX34" fmla="*/ 0 w 1918706"/>
                  <a:gd name="connsiteY34" fmla="*/ 4579284 h 5633118"/>
                  <a:gd name="connsiteX35" fmla="*/ 0 w 1918706"/>
                  <a:gd name="connsiteY35" fmla="*/ 4491829 h 5633118"/>
                  <a:gd name="connsiteX36" fmla="*/ 0 w 1918706"/>
                  <a:gd name="connsiteY36" fmla="*/ 4097931 h 5633118"/>
                  <a:gd name="connsiteX37" fmla="*/ 0 w 1918706"/>
                  <a:gd name="connsiteY37" fmla="*/ 4090156 h 5633118"/>
                  <a:gd name="connsiteX38" fmla="*/ 0 w 1918706"/>
                  <a:gd name="connsiteY38" fmla="*/ 4069228 h 5633118"/>
                  <a:gd name="connsiteX39" fmla="*/ 0 w 1918706"/>
                  <a:gd name="connsiteY39" fmla="*/ 4010476 h 5633118"/>
                  <a:gd name="connsiteX40" fmla="*/ 0 w 1918706"/>
                  <a:gd name="connsiteY40" fmla="*/ 3997322 h 5633118"/>
                  <a:gd name="connsiteX41" fmla="*/ 0 w 1918706"/>
                  <a:gd name="connsiteY41" fmla="*/ 3595649 h 5633118"/>
                  <a:gd name="connsiteX42" fmla="*/ 0 w 1918706"/>
                  <a:gd name="connsiteY42" fmla="*/ 3587875 h 5633118"/>
                  <a:gd name="connsiteX43" fmla="*/ 0 w 1918706"/>
                  <a:gd name="connsiteY43" fmla="*/ 3574721 h 5633118"/>
                  <a:gd name="connsiteX44" fmla="*/ 0 w 1918706"/>
                  <a:gd name="connsiteY44" fmla="*/ 3515969 h 5633118"/>
                  <a:gd name="connsiteX45" fmla="*/ 0 w 1918706"/>
                  <a:gd name="connsiteY45" fmla="*/ 3508195 h 5633118"/>
                  <a:gd name="connsiteX46" fmla="*/ 0 w 1918706"/>
                  <a:gd name="connsiteY46" fmla="*/ 3487266 h 5633118"/>
                  <a:gd name="connsiteX47" fmla="*/ 0 w 1918706"/>
                  <a:gd name="connsiteY4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503632 h 5633118"/>
                  <a:gd name="connsiteX6" fmla="*/ 1918706 w 1918706"/>
                  <a:gd name="connsiteY6" fmla="*/ 2511407 h 5633118"/>
                  <a:gd name="connsiteX7" fmla="*/ 1918706 w 1918706"/>
                  <a:gd name="connsiteY7" fmla="*/ 2567616 h 5633118"/>
                  <a:gd name="connsiteX8" fmla="*/ 1918706 w 1918706"/>
                  <a:gd name="connsiteY8" fmla="*/ 2583313 h 5633118"/>
                  <a:gd name="connsiteX9" fmla="*/ 1918706 w 1918706"/>
                  <a:gd name="connsiteY9" fmla="*/ 2591087 h 5633118"/>
                  <a:gd name="connsiteX10" fmla="*/ 1918706 w 1918706"/>
                  <a:gd name="connsiteY10" fmla="*/ 2992759 h 5633118"/>
                  <a:gd name="connsiteX11" fmla="*/ 1918706 w 1918706"/>
                  <a:gd name="connsiteY11" fmla="*/ 3005914 h 5633118"/>
                  <a:gd name="connsiteX12" fmla="*/ 1918706 w 1918706"/>
                  <a:gd name="connsiteY12" fmla="*/ 3013688 h 5633118"/>
                  <a:gd name="connsiteX13" fmla="*/ 1918706 w 1918706"/>
                  <a:gd name="connsiteY13" fmla="*/ 3085594 h 5633118"/>
                  <a:gd name="connsiteX14" fmla="*/ 1918706 w 1918706"/>
                  <a:gd name="connsiteY14" fmla="*/ 3093368 h 5633118"/>
                  <a:gd name="connsiteX15" fmla="*/ 1918706 w 1918706"/>
                  <a:gd name="connsiteY15" fmla="*/ 3487266 h 5633118"/>
                  <a:gd name="connsiteX16" fmla="*/ 1918706 w 1918706"/>
                  <a:gd name="connsiteY16" fmla="*/ 3508195 h 5633118"/>
                  <a:gd name="connsiteX17" fmla="*/ 1918706 w 1918706"/>
                  <a:gd name="connsiteY17" fmla="*/ 3515969 h 5633118"/>
                  <a:gd name="connsiteX18" fmla="*/ 1918706 w 1918706"/>
                  <a:gd name="connsiteY18" fmla="*/ 3574721 h 5633118"/>
                  <a:gd name="connsiteX19" fmla="*/ 1918706 w 1918706"/>
                  <a:gd name="connsiteY19" fmla="*/ 3587875 h 5633118"/>
                  <a:gd name="connsiteX20" fmla="*/ 1918706 w 1918706"/>
                  <a:gd name="connsiteY20" fmla="*/ 3595649 h 5633118"/>
                  <a:gd name="connsiteX21" fmla="*/ 1918706 w 1918706"/>
                  <a:gd name="connsiteY21" fmla="*/ 3997322 h 5633118"/>
                  <a:gd name="connsiteX22" fmla="*/ 1918706 w 1918706"/>
                  <a:gd name="connsiteY22" fmla="*/ 4010476 h 5633118"/>
                  <a:gd name="connsiteX23" fmla="*/ 1918706 w 1918706"/>
                  <a:gd name="connsiteY23" fmla="*/ 4069228 h 5633118"/>
                  <a:gd name="connsiteX24" fmla="*/ 1918706 w 1918706"/>
                  <a:gd name="connsiteY24" fmla="*/ 4090156 h 5633118"/>
                  <a:gd name="connsiteX25" fmla="*/ 1918706 w 1918706"/>
                  <a:gd name="connsiteY25" fmla="*/ 4097931 h 5633118"/>
                  <a:gd name="connsiteX26" fmla="*/ 1918706 w 1918706"/>
                  <a:gd name="connsiteY26" fmla="*/ 4491829 h 5633118"/>
                  <a:gd name="connsiteX27" fmla="*/ 1918706 w 1918706"/>
                  <a:gd name="connsiteY27" fmla="*/ 4579284 h 5633118"/>
                  <a:gd name="connsiteX28" fmla="*/ 1918706 w 1918706"/>
                  <a:gd name="connsiteY28" fmla="*/ 4592438 h 5633118"/>
                  <a:gd name="connsiteX29" fmla="*/ 1918706 w 1918706"/>
                  <a:gd name="connsiteY29" fmla="*/ 5073791 h 5633118"/>
                  <a:gd name="connsiteX30" fmla="*/ 959355 w 1918706"/>
                  <a:gd name="connsiteY30" fmla="*/ 5633118 h 5633118"/>
                  <a:gd name="connsiteX31" fmla="*/ 0 w 1918706"/>
                  <a:gd name="connsiteY31" fmla="*/ 5073791 h 5633118"/>
                  <a:gd name="connsiteX32" fmla="*/ 0 w 1918706"/>
                  <a:gd name="connsiteY32" fmla="*/ 4592438 h 5633118"/>
                  <a:gd name="connsiteX33" fmla="*/ 0 w 1918706"/>
                  <a:gd name="connsiteY33" fmla="*/ 4579284 h 5633118"/>
                  <a:gd name="connsiteX34" fmla="*/ 0 w 1918706"/>
                  <a:gd name="connsiteY34" fmla="*/ 4491829 h 5633118"/>
                  <a:gd name="connsiteX35" fmla="*/ 0 w 1918706"/>
                  <a:gd name="connsiteY35" fmla="*/ 4097931 h 5633118"/>
                  <a:gd name="connsiteX36" fmla="*/ 0 w 1918706"/>
                  <a:gd name="connsiteY36" fmla="*/ 4090156 h 5633118"/>
                  <a:gd name="connsiteX37" fmla="*/ 0 w 1918706"/>
                  <a:gd name="connsiteY37" fmla="*/ 4069228 h 5633118"/>
                  <a:gd name="connsiteX38" fmla="*/ 0 w 1918706"/>
                  <a:gd name="connsiteY38" fmla="*/ 4010476 h 5633118"/>
                  <a:gd name="connsiteX39" fmla="*/ 0 w 1918706"/>
                  <a:gd name="connsiteY39" fmla="*/ 3997322 h 5633118"/>
                  <a:gd name="connsiteX40" fmla="*/ 0 w 1918706"/>
                  <a:gd name="connsiteY40" fmla="*/ 3595649 h 5633118"/>
                  <a:gd name="connsiteX41" fmla="*/ 0 w 1918706"/>
                  <a:gd name="connsiteY41" fmla="*/ 3587875 h 5633118"/>
                  <a:gd name="connsiteX42" fmla="*/ 0 w 1918706"/>
                  <a:gd name="connsiteY42" fmla="*/ 3574721 h 5633118"/>
                  <a:gd name="connsiteX43" fmla="*/ 0 w 1918706"/>
                  <a:gd name="connsiteY43" fmla="*/ 3515969 h 5633118"/>
                  <a:gd name="connsiteX44" fmla="*/ 0 w 1918706"/>
                  <a:gd name="connsiteY44" fmla="*/ 3508195 h 5633118"/>
                  <a:gd name="connsiteX45" fmla="*/ 0 w 1918706"/>
                  <a:gd name="connsiteY45" fmla="*/ 3487266 h 5633118"/>
                  <a:gd name="connsiteX46" fmla="*/ 0 w 1918706"/>
                  <a:gd name="connsiteY4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503632 h 5633118"/>
                  <a:gd name="connsiteX5" fmla="*/ 1918706 w 1918706"/>
                  <a:gd name="connsiteY5" fmla="*/ 2511407 h 5633118"/>
                  <a:gd name="connsiteX6" fmla="*/ 1918706 w 1918706"/>
                  <a:gd name="connsiteY6" fmla="*/ 2567616 h 5633118"/>
                  <a:gd name="connsiteX7" fmla="*/ 1918706 w 1918706"/>
                  <a:gd name="connsiteY7" fmla="*/ 2583313 h 5633118"/>
                  <a:gd name="connsiteX8" fmla="*/ 1918706 w 1918706"/>
                  <a:gd name="connsiteY8" fmla="*/ 2591087 h 5633118"/>
                  <a:gd name="connsiteX9" fmla="*/ 1918706 w 1918706"/>
                  <a:gd name="connsiteY9" fmla="*/ 2992759 h 5633118"/>
                  <a:gd name="connsiteX10" fmla="*/ 1918706 w 1918706"/>
                  <a:gd name="connsiteY10" fmla="*/ 3005914 h 5633118"/>
                  <a:gd name="connsiteX11" fmla="*/ 1918706 w 1918706"/>
                  <a:gd name="connsiteY11" fmla="*/ 3013688 h 5633118"/>
                  <a:gd name="connsiteX12" fmla="*/ 1918706 w 1918706"/>
                  <a:gd name="connsiteY12" fmla="*/ 3085594 h 5633118"/>
                  <a:gd name="connsiteX13" fmla="*/ 1918706 w 1918706"/>
                  <a:gd name="connsiteY13" fmla="*/ 3093368 h 5633118"/>
                  <a:gd name="connsiteX14" fmla="*/ 1918706 w 1918706"/>
                  <a:gd name="connsiteY14" fmla="*/ 3487266 h 5633118"/>
                  <a:gd name="connsiteX15" fmla="*/ 1918706 w 1918706"/>
                  <a:gd name="connsiteY15" fmla="*/ 3508195 h 5633118"/>
                  <a:gd name="connsiteX16" fmla="*/ 1918706 w 1918706"/>
                  <a:gd name="connsiteY16" fmla="*/ 3515969 h 5633118"/>
                  <a:gd name="connsiteX17" fmla="*/ 1918706 w 1918706"/>
                  <a:gd name="connsiteY17" fmla="*/ 3574721 h 5633118"/>
                  <a:gd name="connsiteX18" fmla="*/ 1918706 w 1918706"/>
                  <a:gd name="connsiteY18" fmla="*/ 3587875 h 5633118"/>
                  <a:gd name="connsiteX19" fmla="*/ 1918706 w 1918706"/>
                  <a:gd name="connsiteY19" fmla="*/ 3595649 h 5633118"/>
                  <a:gd name="connsiteX20" fmla="*/ 1918706 w 1918706"/>
                  <a:gd name="connsiteY20" fmla="*/ 3997322 h 5633118"/>
                  <a:gd name="connsiteX21" fmla="*/ 1918706 w 1918706"/>
                  <a:gd name="connsiteY21" fmla="*/ 4010476 h 5633118"/>
                  <a:gd name="connsiteX22" fmla="*/ 1918706 w 1918706"/>
                  <a:gd name="connsiteY22" fmla="*/ 4069228 h 5633118"/>
                  <a:gd name="connsiteX23" fmla="*/ 1918706 w 1918706"/>
                  <a:gd name="connsiteY23" fmla="*/ 4090156 h 5633118"/>
                  <a:gd name="connsiteX24" fmla="*/ 1918706 w 1918706"/>
                  <a:gd name="connsiteY24" fmla="*/ 4097931 h 5633118"/>
                  <a:gd name="connsiteX25" fmla="*/ 1918706 w 1918706"/>
                  <a:gd name="connsiteY25" fmla="*/ 4491829 h 5633118"/>
                  <a:gd name="connsiteX26" fmla="*/ 1918706 w 1918706"/>
                  <a:gd name="connsiteY26" fmla="*/ 4579284 h 5633118"/>
                  <a:gd name="connsiteX27" fmla="*/ 1918706 w 1918706"/>
                  <a:gd name="connsiteY27" fmla="*/ 4592438 h 5633118"/>
                  <a:gd name="connsiteX28" fmla="*/ 1918706 w 1918706"/>
                  <a:gd name="connsiteY28" fmla="*/ 5073791 h 5633118"/>
                  <a:gd name="connsiteX29" fmla="*/ 959355 w 1918706"/>
                  <a:gd name="connsiteY29" fmla="*/ 5633118 h 5633118"/>
                  <a:gd name="connsiteX30" fmla="*/ 0 w 1918706"/>
                  <a:gd name="connsiteY30" fmla="*/ 5073791 h 5633118"/>
                  <a:gd name="connsiteX31" fmla="*/ 0 w 1918706"/>
                  <a:gd name="connsiteY31" fmla="*/ 4592438 h 5633118"/>
                  <a:gd name="connsiteX32" fmla="*/ 0 w 1918706"/>
                  <a:gd name="connsiteY32" fmla="*/ 4579284 h 5633118"/>
                  <a:gd name="connsiteX33" fmla="*/ 0 w 1918706"/>
                  <a:gd name="connsiteY33" fmla="*/ 4491829 h 5633118"/>
                  <a:gd name="connsiteX34" fmla="*/ 0 w 1918706"/>
                  <a:gd name="connsiteY34" fmla="*/ 4097931 h 5633118"/>
                  <a:gd name="connsiteX35" fmla="*/ 0 w 1918706"/>
                  <a:gd name="connsiteY35" fmla="*/ 4090156 h 5633118"/>
                  <a:gd name="connsiteX36" fmla="*/ 0 w 1918706"/>
                  <a:gd name="connsiteY36" fmla="*/ 4069228 h 5633118"/>
                  <a:gd name="connsiteX37" fmla="*/ 0 w 1918706"/>
                  <a:gd name="connsiteY37" fmla="*/ 4010476 h 5633118"/>
                  <a:gd name="connsiteX38" fmla="*/ 0 w 1918706"/>
                  <a:gd name="connsiteY38" fmla="*/ 3997322 h 5633118"/>
                  <a:gd name="connsiteX39" fmla="*/ 0 w 1918706"/>
                  <a:gd name="connsiteY39" fmla="*/ 3595649 h 5633118"/>
                  <a:gd name="connsiteX40" fmla="*/ 0 w 1918706"/>
                  <a:gd name="connsiteY40" fmla="*/ 3587875 h 5633118"/>
                  <a:gd name="connsiteX41" fmla="*/ 0 w 1918706"/>
                  <a:gd name="connsiteY41" fmla="*/ 3574721 h 5633118"/>
                  <a:gd name="connsiteX42" fmla="*/ 0 w 1918706"/>
                  <a:gd name="connsiteY42" fmla="*/ 3515969 h 5633118"/>
                  <a:gd name="connsiteX43" fmla="*/ 0 w 1918706"/>
                  <a:gd name="connsiteY43" fmla="*/ 3508195 h 5633118"/>
                  <a:gd name="connsiteX44" fmla="*/ 0 w 1918706"/>
                  <a:gd name="connsiteY44" fmla="*/ 3487266 h 5633118"/>
                  <a:gd name="connsiteX45" fmla="*/ 0 w 1918706"/>
                  <a:gd name="connsiteY4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11407 h 5633118"/>
                  <a:gd name="connsiteX5" fmla="*/ 1918706 w 1918706"/>
                  <a:gd name="connsiteY5" fmla="*/ 2567616 h 5633118"/>
                  <a:gd name="connsiteX6" fmla="*/ 1918706 w 1918706"/>
                  <a:gd name="connsiteY6" fmla="*/ 2583313 h 5633118"/>
                  <a:gd name="connsiteX7" fmla="*/ 1918706 w 1918706"/>
                  <a:gd name="connsiteY7" fmla="*/ 2591087 h 5633118"/>
                  <a:gd name="connsiteX8" fmla="*/ 1918706 w 1918706"/>
                  <a:gd name="connsiteY8" fmla="*/ 2992759 h 5633118"/>
                  <a:gd name="connsiteX9" fmla="*/ 1918706 w 1918706"/>
                  <a:gd name="connsiteY9" fmla="*/ 3005914 h 5633118"/>
                  <a:gd name="connsiteX10" fmla="*/ 1918706 w 1918706"/>
                  <a:gd name="connsiteY10" fmla="*/ 3013688 h 5633118"/>
                  <a:gd name="connsiteX11" fmla="*/ 1918706 w 1918706"/>
                  <a:gd name="connsiteY11" fmla="*/ 3085594 h 5633118"/>
                  <a:gd name="connsiteX12" fmla="*/ 1918706 w 1918706"/>
                  <a:gd name="connsiteY12" fmla="*/ 3093368 h 5633118"/>
                  <a:gd name="connsiteX13" fmla="*/ 1918706 w 1918706"/>
                  <a:gd name="connsiteY13" fmla="*/ 3487266 h 5633118"/>
                  <a:gd name="connsiteX14" fmla="*/ 1918706 w 1918706"/>
                  <a:gd name="connsiteY14" fmla="*/ 3508195 h 5633118"/>
                  <a:gd name="connsiteX15" fmla="*/ 1918706 w 1918706"/>
                  <a:gd name="connsiteY15" fmla="*/ 3515969 h 5633118"/>
                  <a:gd name="connsiteX16" fmla="*/ 1918706 w 1918706"/>
                  <a:gd name="connsiteY16" fmla="*/ 3574721 h 5633118"/>
                  <a:gd name="connsiteX17" fmla="*/ 1918706 w 1918706"/>
                  <a:gd name="connsiteY17" fmla="*/ 3587875 h 5633118"/>
                  <a:gd name="connsiteX18" fmla="*/ 1918706 w 1918706"/>
                  <a:gd name="connsiteY18" fmla="*/ 3595649 h 5633118"/>
                  <a:gd name="connsiteX19" fmla="*/ 1918706 w 1918706"/>
                  <a:gd name="connsiteY19" fmla="*/ 3997322 h 5633118"/>
                  <a:gd name="connsiteX20" fmla="*/ 1918706 w 1918706"/>
                  <a:gd name="connsiteY20" fmla="*/ 4010476 h 5633118"/>
                  <a:gd name="connsiteX21" fmla="*/ 1918706 w 1918706"/>
                  <a:gd name="connsiteY21" fmla="*/ 4069228 h 5633118"/>
                  <a:gd name="connsiteX22" fmla="*/ 1918706 w 1918706"/>
                  <a:gd name="connsiteY22" fmla="*/ 4090156 h 5633118"/>
                  <a:gd name="connsiteX23" fmla="*/ 1918706 w 1918706"/>
                  <a:gd name="connsiteY23" fmla="*/ 4097931 h 5633118"/>
                  <a:gd name="connsiteX24" fmla="*/ 1918706 w 1918706"/>
                  <a:gd name="connsiteY24" fmla="*/ 4491829 h 5633118"/>
                  <a:gd name="connsiteX25" fmla="*/ 1918706 w 1918706"/>
                  <a:gd name="connsiteY25" fmla="*/ 4579284 h 5633118"/>
                  <a:gd name="connsiteX26" fmla="*/ 1918706 w 1918706"/>
                  <a:gd name="connsiteY26" fmla="*/ 4592438 h 5633118"/>
                  <a:gd name="connsiteX27" fmla="*/ 1918706 w 1918706"/>
                  <a:gd name="connsiteY27" fmla="*/ 5073791 h 5633118"/>
                  <a:gd name="connsiteX28" fmla="*/ 959355 w 1918706"/>
                  <a:gd name="connsiteY28" fmla="*/ 5633118 h 5633118"/>
                  <a:gd name="connsiteX29" fmla="*/ 0 w 1918706"/>
                  <a:gd name="connsiteY29" fmla="*/ 5073791 h 5633118"/>
                  <a:gd name="connsiteX30" fmla="*/ 0 w 1918706"/>
                  <a:gd name="connsiteY30" fmla="*/ 4592438 h 5633118"/>
                  <a:gd name="connsiteX31" fmla="*/ 0 w 1918706"/>
                  <a:gd name="connsiteY31" fmla="*/ 4579284 h 5633118"/>
                  <a:gd name="connsiteX32" fmla="*/ 0 w 1918706"/>
                  <a:gd name="connsiteY32" fmla="*/ 4491829 h 5633118"/>
                  <a:gd name="connsiteX33" fmla="*/ 0 w 1918706"/>
                  <a:gd name="connsiteY33" fmla="*/ 4097931 h 5633118"/>
                  <a:gd name="connsiteX34" fmla="*/ 0 w 1918706"/>
                  <a:gd name="connsiteY34" fmla="*/ 4090156 h 5633118"/>
                  <a:gd name="connsiteX35" fmla="*/ 0 w 1918706"/>
                  <a:gd name="connsiteY35" fmla="*/ 4069228 h 5633118"/>
                  <a:gd name="connsiteX36" fmla="*/ 0 w 1918706"/>
                  <a:gd name="connsiteY36" fmla="*/ 4010476 h 5633118"/>
                  <a:gd name="connsiteX37" fmla="*/ 0 w 1918706"/>
                  <a:gd name="connsiteY37" fmla="*/ 3997322 h 5633118"/>
                  <a:gd name="connsiteX38" fmla="*/ 0 w 1918706"/>
                  <a:gd name="connsiteY38" fmla="*/ 3595649 h 5633118"/>
                  <a:gd name="connsiteX39" fmla="*/ 0 w 1918706"/>
                  <a:gd name="connsiteY39" fmla="*/ 3587875 h 5633118"/>
                  <a:gd name="connsiteX40" fmla="*/ 0 w 1918706"/>
                  <a:gd name="connsiteY40" fmla="*/ 3574721 h 5633118"/>
                  <a:gd name="connsiteX41" fmla="*/ 0 w 1918706"/>
                  <a:gd name="connsiteY41" fmla="*/ 3515969 h 5633118"/>
                  <a:gd name="connsiteX42" fmla="*/ 0 w 1918706"/>
                  <a:gd name="connsiteY42" fmla="*/ 3508195 h 5633118"/>
                  <a:gd name="connsiteX43" fmla="*/ 0 w 1918706"/>
                  <a:gd name="connsiteY43" fmla="*/ 3487266 h 5633118"/>
                  <a:gd name="connsiteX44" fmla="*/ 0 w 1918706"/>
                  <a:gd name="connsiteY4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67616 h 5633118"/>
                  <a:gd name="connsiteX5" fmla="*/ 1918706 w 1918706"/>
                  <a:gd name="connsiteY5" fmla="*/ 2583313 h 5633118"/>
                  <a:gd name="connsiteX6" fmla="*/ 1918706 w 1918706"/>
                  <a:gd name="connsiteY6" fmla="*/ 2591087 h 5633118"/>
                  <a:gd name="connsiteX7" fmla="*/ 1918706 w 1918706"/>
                  <a:gd name="connsiteY7" fmla="*/ 2992759 h 5633118"/>
                  <a:gd name="connsiteX8" fmla="*/ 1918706 w 1918706"/>
                  <a:gd name="connsiteY8" fmla="*/ 3005914 h 5633118"/>
                  <a:gd name="connsiteX9" fmla="*/ 1918706 w 1918706"/>
                  <a:gd name="connsiteY9" fmla="*/ 3013688 h 5633118"/>
                  <a:gd name="connsiteX10" fmla="*/ 1918706 w 1918706"/>
                  <a:gd name="connsiteY10" fmla="*/ 3085594 h 5633118"/>
                  <a:gd name="connsiteX11" fmla="*/ 1918706 w 1918706"/>
                  <a:gd name="connsiteY11" fmla="*/ 3093368 h 5633118"/>
                  <a:gd name="connsiteX12" fmla="*/ 1918706 w 1918706"/>
                  <a:gd name="connsiteY12" fmla="*/ 3487266 h 5633118"/>
                  <a:gd name="connsiteX13" fmla="*/ 1918706 w 1918706"/>
                  <a:gd name="connsiteY13" fmla="*/ 3508195 h 5633118"/>
                  <a:gd name="connsiteX14" fmla="*/ 1918706 w 1918706"/>
                  <a:gd name="connsiteY14" fmla="*/ 3515969 h 5633118"/>
                  <a:gd name="connsiteX15" fmla="*/ 1918706 w 1918706"/>
                  <a:gd name="connsiteY15" fmla="*/ 3574721 h 5633118"/>
                  <a:gd name="connsiteX16" fmla="*/ 1918706 w 1918706"/>
                  <a:gd name="connsiteY16" fmla="*/ 3587875 h 5633118"/>
                  <a:gd name="connsiteX17" fmla="*/ 1918706 w 1918706"/>
                  <a:gd name="connsiteY17" fmla="*/ 3595649 h 5633118"/>
                  <a:gd name="connsiteX18" fmla="*/ 1918706 w 1918706"/>
                  <a:gd name="connsiteY18" fmla="*/ 3997322 h 5633118"/>
                  <a:gd name="connsiteX19" fmla="*/ 1918706 w 1918706"/>
                  <a:gd name="connsiteY19" fmla="*/ 4010476 h 5633118"/>
                  <a:gd name="connsiteX20" fmla="*/ 1918706 w 1918706"/>
                  <a:gd name="connsiteY20" fmla="*/ 4069228 h 5633118"/>
                  <a:gd name="connsiteX21" fmla="*/ 1918706 w 1918706"/>
                  <a:gd name="connsiteY21" fmla="*/ 4090156 h 5633118"/>
                  <a:gd name="connsiteX22" fmla="*/ 1918706 w 1918706"/>
                  <a:gd name="connsiteY22" fmla="*/ 4097931 h 5633118"/>
                  <a:gd name="connsiteX23" fmla="*/ 1918706 w 1918706"/>
                  <a:gd name="connsiteY23" fmla="*/ 4491829 h 5633118"/>
                  <a:gd name="connsiteX24" fmla="*/ 1918706 w 1918706"/>
                  <a:gd name="connsiteY24" fmla="*/ 4579284 h 5633118"/>
                  <a:gd name="connsiteX25" fmla="*/ 1918706 w 1918706"/>
                  <a:gd name="connsiteY25" fmla="*/ 4592438 h 5633118"/>
                  <a:gd name="connsiteX26" fmla="*/ 1918706 w 1918706"/>
                  <a:gd name="connsiteY26" fmla="*/ 5073791 h 5633118"/>
                  <a:gd name="connsiteX27" fmla="*/ 959355 w 1918706"/>
                  <a:gd name="connsiteY27" fmla="*/ 5633118 h 5633118"/>
                  <a:gd name="connsiteX28" fmla="*/ 0 w 1918706"/>
                  <a:gd name="connsiteY28" fmla="*/ 5073791 h 5633118"/>
                  <a:gd name="connsiteX29" fmla="*/ 0 w 1918706"/>
                  <a:gd name="connsiteY29" fmla="*/ 4592438 h 5633118"/>
                  <a:gd name="connsiteX30" fmla="*/ 0 w 1918706"/>
                  <a:gd name="connsiteY30" fmla="*/ 4579284 h 5633118"/>
                  <a:gd name="connsiteX31" fmla="*/ 0 w 1918706"/>
                  <a:gd name="connsiteY31" fmla="*/ 4491829 h 5633118"/>
                  <a:gd name="connsiteX32" fmla="*/ 0 w 1918706"/>
                  <a:gd name="connsiteY32" fmla="*/ 4097931 h 5633118"/>
                  <a:gd name="connsiteX33" fmla="*/ 0 w 1918706"/>
                  <a:gd name="connsiteY33" fmla="*/ 4090156 h 5633118"/>
                  <a:gd name="connsiteX34" fmla="*/ 0 w 1918706"/>
                  <a:gd name="connsiteY34" fmla="*/ 4069228 h 5633118"/>
                  <a:gd name="connsiteX35" fmla="*/ 0 w 1918706"/>
                  <a:gd name="connsiteY35" fmla="*/ 4010476 h 5633118"/>
                  <a:gd name="connsiteX36" fmla="*/ 0 w 1918706"/>
                  <a:gd name="connsiteY36" fmla="*/ 3997322 h 5633118"/>
                  <a:gd name="connsiteX37" fmla="*/ 0 w 1918706"/>
                  <a:gd name="connsiteY37" fmla="*/ 3595649 h 5633118"/>
                  <a:gd name="connsiteX38" fmla="*/ 0 w 1918706"/>
                  <a:gd name="connsiteY38" fmla="*/ 3587875 h 5633118"/>
                  <a:gd name="connsiteX39" fmla="*/ 0 w 1918706"/>
                  <a:gd name="connsiteY39" fmla="*/ 3574721 h 5633118"/>
                  <a:gd name="connsiteX40" fmla="*/ 0 w 1918706"/>
                  <a:gd name="connsiteY40" fmla="*/ 3515969 h 5633118"/>
                  <a:gd name="connsiteX41" fmla="*/ 0 w 1918706"/>
                  <a:gd name="connsiteY41" fmla="*/ 3508195 h 5633118"/>
                  <a:gd name="connsiteX42" fmla="*/ 0 w 1918706"/>
                  <a:gd name="connsiteY42" fmla="*/ 3487266 h 5633118"/>
                  <a:gd name="connsiteX43" fmla="*/ 0 w 1918706"/>
                  <a:gd name="connsiteY4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591087 h 5633118"/>
                  <a:gd name="connsiteX6" fmla="*/ 1918706 w 1918706"/>
                  <a:gd name="connsiteY6" fmla="*/ 2992759 h 5633118"/>
                  <a:gd name="connsiteX7" fmla="*/ 1918706 w 1918706"/>
                  <a:gd name="connsiteY7" fmla="*/ 3005914 h 5633118"/>
                  <a:gd name="connsiteX8" fmla="*/ 1918706 w 1918706"/>
                  <a:gd name="connsiteY8" fmla="*/ 3013688 h 5633118"/>
                  <a:gd name="connsiteX9" fmla="*/ 1918706 w 1918706"/>
                  <a:gd name="connsiteY9" fmla="*/ 3085594 h 5633118"/>
                  <a:gd name="connsiteX10" fmla="*/ 1918706 w 1918706"/>
                  <a:gd name="connsiteY10" fmla="*/ 3093368 h 5633118"/>
                  <a:gd name="connsiteX11" fmla="*/ 1918706 w 1918706"/>
                  <a:gd name="connsiteY11" fmla="*/ 3487266 h 5633118"/>
                  <a:gd name="connsiteX12" fmla="*/ 1918706 w 1918706"/>
                  <a:gd name="connsiteY12" fmla="*/ 3508195 h 5633118"/>
                  <a:gd name="connsiteX13" fmla="*/ 1918706 w 1918706"/>
                  <a:gd name="connsiteY13" fmla="*/ 3515969 h 5633118"/>
                  <a:gd name="connsiteX14" fmla="*/ 1918706 w 1918706"/>
                  <a:gd name="connsiteY14" fmla="*/ 3574721 h 5633118"/>
                  <a:gd name="connsiteX15" fmla="*/ 1918706 w 1918706"/>
                  <a:gd name="connsiteY15" fmla="*/ 3587875 h 5633118"/>
                  <a:gd name="connsiteX16" fmla="*/ 1918706 w 1918706"/>
                  <a:gd name="connsiteY16" fmla="*/ 3595649 h 5633118"/>
                  <a:gd name="connsiteX17" fmla="*/ 1918706 w 1918706"/>
                  <a:gd name="connsiteY17" fmla="*/ 3997322 h 5633118"/>
                  <a:gd name="connsiteX18" fmla="*/ 1918706 w 1918706"/>
                  <a:gd name="connsiteY18" fmla="*/ 4010476 h 5633118"/>
                  <a:gd name="connsiteX19" fmla="*/ 1918706 w 1918706"/>
                  <a:gd name="connsiteY19" fmla="*/ 4069228 h 5633118"/>
                  <a:gd name="connsiteX20" fmla="*/ 1918706 w 1918706"/>
                  <a:gd name="connsiteY20" fmla="*/ 4090156 h 5633118"/>
                  <a:gd name="connsiteX21" fmla="*/ 1918706 w 1918706"/>
                  <a:gd name="connsiteY21" fmla="*/ 4097931 h 5633118"/>
                  <a:gd name="connsiteX22" fmla="*/ 1918706 w 1918706"/>
                  <a:gd name="connsiteY22" fmla="*/ 4491829 h 5633118"/>
                  <a:gd name="connsiteX23" fmla="*/ 1918706 w 1918706"/>
                  <a:gd name="connsiteY23" fmla="*/ 4579284 h 5633118"/>
                  <a:gd name="connsiteX24" fmla="*/ 1918706 w 1918706"/>
                  <a:gd name="connsiteY24" fmla="*/ 4592438 h 5633118"/>
                  <a:gd name="connsiteX25" fmla="*/ 1918706 w 1918706"/>
                  <a:gd name="connsiteY25" fmla="*/ 5073791 h 5633118"/>
                  <a:gd name="connsiteX26" fmla="*/ 959355 w 1918706"/>
                  <a:gd name="connsiteY26" fmla="*/ 5633118 h 5633118"/>
                  <a:gd name="connsiteX27" fmla="*/ 0 w 1918706"/>
                  <a:gd name="connsiteY27" fmla="*/ 5073791 h 5633118"/>
                  <a:gd name="connsiteX28" fmla="*/ 0 w 1918706"/>
                  <a:gd name="connsiteY28" fmla="*/ 4592438 h 5633118"/>
                  <a:gd name="connsiteX29" fmla="*/ 0 w 1918706"/>
                  <a:gd name="connsiteY29" fmla="*/ 4579284 h 5633118"/>
                  <a:gd name="connsiteX30" fmla="*/ 0 w 1918706"/>
                  <a:gd name="connsiteY30" fmla="*/ 4491829 h 5633118"/>
                  <a:gd name="connsiteX31" fmla="*/ 0 w 1918706"/>
                  <a:gd name="connsiteY31" fmla="*/ 4097931 h 5633118"/>
                  <a:gd name="connsiteX32" fmla="*/ 0 w 1918706"/>
                  <a:gd name="connsiteY32" fmla="*/ 4090156 h 5633118"/>
                  <a:gd name="connsiteX33" fmla="*/ 0 w 1918706"/>
                  <a:gd name="connsiteY33" fmla="*/ 4069228 h 5633118"/>
                  <a:gd name="connsiteX34" fmla="*/ 0 w 1918706"/>
                  <a:gd name="connsiteY34" fmla="*/ 4010476 h 5633118"/>
                  <a:gd name="connsiteX35" fmla="*/ 0 w 1918706"/>
                  <a:gd name="connsiteY35" fmla="*/ 3997322 h 5633118"/>
                  <a:gd name="connsiteX36" fmla="*/ 0 w 1918706"/>
                  <a:gd name="connsiteY36" fmla="*/ 3595649 h 5633118"/>
                  <a:gd name="connsiteX37" fmla="*/ 0 w 1918706"/>
                  <a:gd name="connsiteY37" fmla="*/ 3587875 h 5633118"/>
                  <a:gd name="connsiteX38" fmla="*/ 0 w 1918706"/>
                  <a:gd name="connsiteY38" fmla="*/ 3574721 h 5633118"/>
                  <a:gd name="connsiteX39" fmla="*/ 0 w 1918706"/>
                  <a:gd name="connsiteY39" fmla="*/ 3515969 h 5633118"/>
                  <a:gd name="connsiteX40" fmla="*/ 0 w 1918706"/>
                  <a:gd name="connsiteY40" fmla="*/ 3508195 h 5633118"/>
                  <a:gd name="connsiteX41" fmla="*/ 0 w 1918706"/>
                  <a:gd name="connsiteY41" fmla="*/ 3487266 h 5633118"/>
                  <a:gd name="connsiteX42" fmla="*/ 0 w 1918706"/>
                  <a:gd name="connsiteY4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992759 h 5633118"/>
                  <a:gd name="connsiteX6" fmla="*/ 1918706 w 1918706"/>
                  <a:gd name="connsiteY6" fmla="*/ 3005914 h 5633118"/>
                  <a:gd name="connsiteX7" fmla="*/ 1918706 w 1918706"/>
                  <a:gd name="connsiteY7" fmla="*/ 3013688 h 5633118"/>
                  <a:gd name="connsiteX8" fmla="*/ 1918706 w 1918706"/>
                  <a:gd name="connsiteY8" fmla="*/ 3085594 h 5633118"/>
                  <a:gd name="connsiteX9" fmla="*/ 1918706 w 1918706"/>
                  <a:gd name="connsiteY9" fmla="*/ 3093368 h 5633118"/>
                  <a:gd name="connsiteX10" fmla="*/ 1918706 w 1918706"/>
                  <a:gd name="connsiteY10" fmla="*/ 3487266 h 5633118"/>
                  <a:gd name="connsiteX11" fmla="*/ 1918706 w 1918706"/>
                  <a:gd name="connsiteY11" fmla="*/ 3508195 h 5633118"/>
                  <a:gd name="connsiteX12" fmla="*/ 1918706 w 1918706"/>
                  <a:gd name="connsiteY12" fmla="*/ 3515969 h 5633118"/>
                  <a:gd name="connsiteX13" fmla="*/ 1918706 w 1918706"/>
                  <a:gd name="connsiteY13" fmla="*/ 3574721 h 5633118"/>
                  <a:gd name="connsiteX14" fmla="*/ 1918706 w 1918706"/>
                  <a:gd name="connsiteY14" fmla="*/ 3587875 h 5633118"/>
                  <a:gd name="connsiteX15" fmla="*/ 1918706 w 1918706"/>
                  <a:gd name="connsiteY15" fmla="*/ 3595649 h 5633118"/>
                  <a:gd name="connsiteX16" fmla="*/ 1918706 w 1918706"/>
                  <a:gd name="connsiteY16" fmla="*/ 3997322 h 5633118"/>
                  <a:gd name="connsiteX17" fmla="*/ 1918706 w 1918706"/>
                  <a:gd name="connsiteY17" fmla="*/ 4010476 h 5633118"/>
                  <a:gd name="connsiteX18" fmla="*/ 1918706 w 1918706"/>
                  <a:gd name="connsiteY18" fmla="*/ 4069228 h 5633118"/>
                  <a:gd name="connsiteX19" fmla="*/ 1918706 w 1918706"/>
                  <a:gd name="connsiteY19" fmla="*/ 4090156 h 5633118"/>
                  <a:gd name="connsiteX20" fmla="*/ 1918706 w 1918706"/>
                  <a:gd name="connsiteY20" fmla="*/ 4097931 h 5633118"/>
                  <a:gd name="connsiteX21" fmla="*/ 1918706 w 1918706"/>
                  <a:gd name="connsiteY21" fmla="*/ 4491829 h 5633118"/>
                  <a:gd name="connsiteX22" fmla="*/ 1918706 w 1918706"/>
                  <a:gd name="connsiteY22" fmla="*/ 4579284 h 5633118"/>
                  <a:gd name="connsiteX23" fmla="*/ 1918706 w 1918706"/>
                  <a:gd name="connsiteY23" fmla="*/ 4592438 h 5633118"/>
                  <a:gd name="connsiteX24" fmla="*/ 1918706 w 1918706"/>
                  <a:gd name="connsiteY24" fmla="*/ 5073791 h 5633118"/>
                  <a:gd name="connsiteX25" fmla="*/ 959355 w 1918706"/>
                  <a:gd name="connsiteY25" fmla="*/ 5633118 h 5633118"/>
                  <a:gd name="connsiteX26" fmla="*/ 0 w 1918706"/>
                  <a:gd name="connsiteY26" fmla="*/ 5073791 h 5633118"/>
                  <a:gd name="connsiteX27" fmla="*/ 0 w 1918706"/>
                  <a:gd name="connsiteY27" fmla="*/ 4592438 h 5633118"/>
                  <a:gd name="connsiteX28" fmla="*/ 0 w 1918706"/>
                  <a:gd name="connsiteY28" fmla="*/ 4579284 h 5633118"/>
                  <a:gd name="connsiteX29" fmla="*/ 0 w 1918706"/>
                  <a:gd name="connsiteY29" fmla="*/ 4491829 h 5633118"/>
                  <a:gd name="connsiteX30" fmla="*/ 0 w 1918706"/>
                  <a:gd name="connsiteY30" fmla="*/ 4097931 h 5633118"/>
                  <a:gd name="connsiteX31" fmla="*/ 0 w 1918706"/>
                  <a:gd name="connsiteY31" fmla="*/ 4090156 h 5633118"/>
                  <a:gd name="connsiteX32" fmla="*/ 0 w 1918706"/>
                  <a:gd name="connsiteY32" fmla="*/ 4069228 h 5633118"/>
                  <a:gd name="connsiteX33" fmla="*/ 0 w 1918706"/>
                  <a:gd name="connsiteY33" fmla="*/ 4010476 h 5633118"/>
                  <a:gd name="connsiteX34" fmla="*/ 0 w 1918706"/>
                  <a:gd name="connsiteY34" fmla="*/ 3997322 h 5633118"/>
                  <a:gd name="connsiteX35" fmla="*/ 0 w 1918706"/>
                  <a:gd name="connsiteY35" fmla="*/ 3595649 h 5633118"/>
                  <a:gd name="connsiteX36" fmla="*/ 0 w 1918706"/>
                  <a:gd name="connsiteY36" fmla="*/ 3587875 h 5633118"/>
                  <a:gd name="connsiteX37" fmla="*/ 0 w 1918706"/>
                  <a:gd name="connsiteY37" fmla="*/ 3574721 h 5633118"/>
                  <a:gd name="connsiteX38" fmla="*/ 0 w 1918706"/>
                  <a:gd name="connsiteY38" fmla="*/ 3515969 h 5633118"/>
                  <a:gd name="connsiteX39" fmla="*/ 0 w 1918706"/>
                  <a:gd name="connsiteY39" fmla="*/ 3508195 h 5633118"/>
                  <a:gd name="connsiteX40" fmla="*/ 0 w 1918706"/>
                  <a:gd name="connsiteY40" fmla="*/ 3487266 h 5633118"/>
                  <a:gd name="connsiteX41" fmla="*/ 0 w 1918706"/>
                  <a:gd name="connsiteY4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992759 h 5633118"/>
                  <a:gd name="connsiteX5" fmla="*/ 1918706 w 1918706"/>
                  <a:gd name="connsiteY5" fmla="*/ 3005914 h 5633118"/>
                  <a:gd name="connsiteX6" fmla="*/ 1918706 w 1918706"/>
                  <a:gd name="connsiteY6" fmla="*/ 3013688 h 5633118"/>
                  <a:gd name="connsiteX7" fmla="*/ 1918706 w 1918706"/>
                  <a:gd name="connsiteY7" fmla="*/ 3085594 h 5633118"/>
                  <a:gd name="connsiteX8" fmla="*/ 1918706 w 1918706"/>
                  <a:gd name="connsiteY8" fmla="*/ 3093368 h 5633118"/>
                  <a:gd name="connsiteX9" fmla="*/ 1918706 w 1918706"/>
                  <a:gd name="connsiteY9" fmla="*/ 3487266 h 5633118"/>
                  <a:gd name="connsiteX10" fmla="*/ 1918706 w 1918706"/>
                  <a:gd name="connsiteY10" fmla="*/ 3508195 h 5633118"/>
                  <a:gd name="connsiteX11" fmla="*/ 1918706 w 1918706"/>
                  <a:gd name="connsiteY11" fmla="*/ 3515969 h 5633118"/>
                  <a:gd name="connsiteX12" fmla="*/ 1918706 w 1918706"/>
                  <a:gd name="connsiteY12" fmla="*/ 3574721 h 5633118"/>
                  <a:gd name="connsiteX13" fmla="*/ 1918706 w 1918706"/>
                  <a:gd name="connsiteY13" fmla="*/ 3587875 h 5633118"/>
                  <a:gd name="connsiteX14" fmla="*/ 1918706 w 1918706"/>
                  <a:gd name="connsiteY14" fmla="*/ 3595649 h 5633118"/>
                  <a:gd name="connsiteX15" fmla="*/ 1918706 w 1918706"/>
                  <a:gd name="connsiteY15" fmla="*/ 3997322 h 5633118"/>
                  <a:gd name="connsiteX16" fmla="*/ 1918706 w 1918706"/>
                  <a:gd name="connsiteY16" fmla="*/ 4010476 h 5633118"/>
                  <a:gd name="connsiteX17" fmla="*/ 1918706 w 1918706"/>
                  <a:gd name="connsiteY17" fmla="*/ 4069228 h 5633118"/>
                  <a:gd name="connsiteX18" fmla="*/ 1918706 w 1918706"/>
                  <a:gd name="connsiteY18" fmla="*/ 4090156 h 5633118"/>
                  <a:gd name="connsiteX19" fmla="*/ 1918706 w 1918706"/>
                  <a:gd name="connsiteY19" fmla="*/ 4097931 h 5633118"/>
                  <a:gd name="connsiteX20" fmla="*/ 1918706 w 1918706"/>
                  <a:gd name="connsiteY20" fmla="*/ 4491829 h 5633118"/>
                  <a:gd name="connsiteX21" fmla="*/ 1918706 w 1918706"/>
                  <a:gd name="connsiteY21" fmla="*/ 4579284 h 5633118"/>
                  <a:gd name="connsiteX22" fmla="*/ 1918706 w 1918706"/>
                  <a:gd name="connsiteY22" fmla="*/ 4592438 h 5633118"/>
                  <a:gd name="connsiteX23" fmla="*/ 1918706 w 1918706"/>
                  <a:gd name="connsiteY23" fmla="*/ 5073791 h 5633118"/>
                  <a:gd name="connsiteX24" fmla="*/ 959355 w 1918706"/>
                  <a:gd name="connsiteY24" fmla="*/ 5633118 h 5633118"/>
                  <a:gd name="connsiteX25" fmla="*/ 0 w 1918706"/>
                  <a:gd name="connsiteY25" fmla="*/ 5073791 h 5633118"/>
                  <a:gd name="connsiteX26" fmla="*/ 0 w 1918706"/>
                  <a:gd name="connsiteY26" fmla="*/ 4592438 h 5633118"/>
                  <a:gd name="connsiteX27" fmla="*/ 0 w 1918706"/>
                  <a:gd name="connsiteY27" fmla="*/ 4579284 h 5633118"/>
                  <a:gd name="connsiteX28" fmla="*/ 0 w 1918706"/>
                  <a:gd name="connsiteY28" fmla="*/ 4491829 h 5633118"/>
                  <a:gd name="connsiteX29" fmla="*/ 0 w 1918706"/>
                  <a:gd name="connsiteY29" fmla="*/ 4097931 h 5633118"/>
                  <a:gd name="connsiteX30" fmla="*/ 0 w 1918706"/>
                  <a:gd name="connsiteY30" fmla="*/ 4090156 h 5633118"/>
                  <a:gd name="connsiteX31" fmla="*/ 0 w 1918706"/>
                  <a:gd name="connsiteY31" fmla="*/ 4069228 h 5633118"/>
                  <a:gd name="connsiteX32" fmla="*/ 0 w 1918706"/>
                  <a:gd name="connsiteY32" fmla="*/ 4010476 h 5633118"/>
                  <a:gd name="connsiteX33" fmla="*/ 0 w 1918706"/>
                  <a:gd name="connsiteY33" fmla="*/ 3997322 h 5633118"/>
                  <a:gd name="connsiteX34" fmla="*/ 0 w 1918706"/>
                  <a:gd name="connsiteY34" fmla="*/ 3595649 h 5633118"/>
                  <a:gd name="connsiteX35" fmla="*/ 0 w 1918706"/>
                  <a:gd name="connsiteY35" fmla="*/ 3587875 h 5633118"/>
                  <a:gd name="connsiteX36" fmla="*/ 0 w 1918706"/>
                  <a:gd name="connsiteY36" fmla="*/ 3574721 h 5633118"/>
                  <a:gd name="connsiteX37" fmla="*/ 0 w 1918706"/>
                  <a:gd name="connsiteY37" fmla="*/ 3515969 h 5633118"/>
                  <a:gd name="connsiteX38" fmla="*/ 0 w 1918706"/>
                  <a:gd name="connsiteY38" fmla="*/ 3508195 h 5633118"/>
                  <a:gd name="connsiteX39" fmla="*/ 0 w 1918706"/>
                  <a:gd name="connsiteY39" fmla="*/ 3487266 h 5633118"/>
                  <a:gd name="connsiteX40" fmla="*/ 0 w 1918706"/>
                  <a:gd name="connsiteY4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13688 h 5633118"/>
                  <a:gd name="connsiteX6" fmla="*/ 1918706 w 1918706"/>
                  <a:gd name="connsiteY6" fmla="*/ 3085594 h 5633118"/>
                  <a:gd name="connsiteX7" fmla="*/ 1918706 w 1918706"/>
                  <a:gd name="connsiteY7" fmla="*/ 3093368 h 5633118"/>
                  <a:gd name="connsiteX8" fmla="*/ 1918706 w 1918706"/>
                  <a:gd name="connsiteY8" fmla="*/ 3487266 h 5633118"/>
                  <a:gd name="connsiteX9" fmla="*/ 1918706 w 1918706"/>
                  <a:gd name="connsiteY9" fmla="*/ 3508195 h 5633118"/>
                  <a:gd name="connsiteX10" fmla="*/ 1918706 w 1918706"/>
                  <a:gd name="connsiteY10" fmla="*/ 3515969 h 5633118"/>
                  <a:gd name="connsiteX11" fmla="*/ 1918706 w 1918706"/>
                  <a:gd name="connsiteY11" fmla="*/ 3574721 h 5633118"/>
                  <a:gd name="connsiteX12" fmla="*/ 1918706 w 1918706"/>
                  <a:gd name="connsiteY12" fmla="*/ 3587875 h 5633118"/>
                  <a:gd name="connsiteX13" fmla="*/ 1918706 w 1918706"/>
                  <a:gd name="connsiteY13" fmla="*/ 3595649 h 5633118"/>
                  <a:gd name="connsiteX14" fmla="*/ 1918706 w 1918706"/>
                  <a:gd name="connsiteY14" fmla="*/ 3997322 h 5633118"/>
                  <a:gd name="connsiteX15" fmla="*/ 1918706 w 1918706"/>
                  <a:gd name="connsiteY15" fmla="*/ 4010476 h 5633118"/>
                  <a:gd name="connsiteX16" fmla="*/ 1918706 w 1918706"/>
                  <a:gd name="connsiteY16" fmla="*/ 4069228 h 5633118"/>
                  <a:gd name="connsiteX17" fmla="*/ 1918706 w 1918706"/>
                  <a:gd name="connsiteY17" fmla="*/ 4090156 h 5633118"/>
                  <a:gd name="connsiteX18" fmla="*/ 1918706 w 1918706"/>
                  <a:gd name="connsiteY18" fmla="*/ 4097931 h 5633118"/>
                  <a:gd name="connsiteX19" fmla="*/ 1918706 w 1918706"/>
                  <a:gd name="connsiteY19" fmla="*/ 4491829 h 5633118"/>
                  <a:gd name="connsiteX20" fmla="*/ 1918706 w 1918706"/>
                  <a:gd name="connsiteY20" fmla="*/ 4579284 h 5633118"/>
                  <a:gd name="connsiteX21" fmla="*/ 1918706 w 1918706"/>
                  <a:gd name="connsiteY21" fmla="*/ 4592438 h 5633118"/>
                  <a:gd name="connsiteX22" fmla="*/ 1918706 w 1918706"/>
                  <a:gd name="connsiteY22" fmla="*/ 5073791 h 5633118"/>
                  <a:gd name="connsiteX23" fmla="*/ 959355 w 1918706"/>
                  <a:gd name="connsiteY23" fmla="*/ 5633118 h 5633118"/>
                  <a:gd name="connsiteX24" fmla="*/ 0 w 1918706"/>
                  <a:gd name="connsiteY24" fmla="*/ 5073791 h 5633118"/>
                  <a:gd name="connsiteX25" fmla="*/ 0 w 1918706"/>
                  <a:gd name="connsiteY25" fmla="*/ 4592438 h 5633118"/>
                  <a:gd name="connsiteX26" fmla="*/ 0 w 1918706"/>
                  <a:gd name="connsiteY26" fmla="*/ 4579284 h 5633118"/>
                  <a:gd name="connsiteX27" fmla="*/ 0 w 1918706"/>
                  <a:gd name="connsiteY27" fmla="*/ 4491829 h 5633118"/>
                  <a:gd name="connsiteX28" fmla="*/ 0 w 1918706"/>
                  <a:gd name="connsiteY28" fmla="*/ 4097931 h 5633118"/>
                  <a:gd name="connsiteX29" fmla="*/ 0 w 1918706"/>
                  <a:gd name="connsiteY29" fmla="*/ 4090156 h 5633118"/>
                  <a:gd name="connsiteX30" fmla="*/ 0 w 1918706"/>
                  <a:gd name="connsiteY30" fmla="*/ 4069228 h 5633118"/>
                  <a:gd name="connsiteX31" fmla="*/ 0 w 1918706"/>
                  <a:gd name="connsiteY31" fmla="*/ 4010476 h 5633118"/>
                  <a:gd name="connsiteX32" fmla="*/ 0 w 1918706"/>
                  <a:gd name="connsiteY32" fmla="*/ 3997322 h 5633118"/>
                  <a:gd name="connsiteX33" fmla="*/ 0 w 1918706"/>
                  <a:gd name="connsiteY33" fmla="*/ 3595649 h 5633118"/>
                  <a:gd name="connsiteX34" fmla="*/ 0 w 1918706"/>
                  <a:gd name="connsiteY34" fmla="*/ 3587875 h 5633118"/>
                  <a:gd name="connsiteX35" fmla="*/ 0 w 1918706"/>
                  <a:gd name="connsiteY35" fmla="*/ 3574721 h 5633118"/>
                  <a:gd name="connsiteX36" fmla="*/ 0 w 1918706"/>
                  <a:gd name="connsiteY36" fmla="*/ 3515969 h 5633118"/>
                  <a:gd name="connsiteX37" fmla="*/ 0 w 1918706"/>
                  <a:gd name="connsiteY37" fmla="*/ 3508195 h 5633118"/>
                  <a:gd name="connsiteX38" fmla="*/ 0 w 1918706"/>
                  <a:gd name="connsiteY38" fmla="*/ 3487266 h 5633118"/>
                  <a:gd name="connsiteX39" fmla="*/ 0 w 1918706"/>
                  <a:gd name="connsiteY3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85594 h 5633118"/>
                  <a:gd name="connsiteX6" fmla="*/ 1918706 w 1918706"/>
                  <a:gd name="connsiteY6" fmla="*/ 3093368 h 5633118"/>
                  <a:gd name="connsiteX7" fmla="*/ 1918706 w 1918706"/>
                  <a:gd name="connsiteY7" fmla="*/ 3487266 h 5633118"/>
                  <a:gd name="connsiteX8" fmla="*/ 1918706 w 1918706"/>
                  <a:gd name="connsiteY8" fmla="*/ 3508195 h 5633118"/>
                  <a:gd name="connsiteX9" fmla="*/ 1918706 w 1918706"/>
                  <a:gd name="connsiteY9" fmla="*/ 3515969 h 5633118"/>
                  <a:gd name="connsiteX10" fmla="*/ 1918706 w 1918706"/>
                  <a:gd name="connsiteY10" fmla="*/ 3574721 h 5633118"/>
                  <a:gd name="connsiteX11" fmla="*/ 1918706 w 1918706"/>
                  <a:gd name="connsiteY11" fmla="*/ 3587875 h 5633118"/>
                  <a:gd name="connsiteX12" fmla="*/ 1918706 w 1918706"/>
                  <a:gd name="connsiteY12" fmla="*/ 3595649 h 5633118"/>
                  <a:gd name="connsiteX13" fmla="*/ 1918706 w 1918706"/>
                  <a:gd name="connsiteY13" fmla="*/ 3997322 h 5633118"/>
                  <a:gd name="connsiteX14" fmla="*/ 1918706 w 1918706"/>
                  <a:gd name="connsiteY14" fmla="*/ 4010476 h 5633118"/>
                  <a:gd name="connsiteX15" fmla="*/ 1918706 w 1918706"/>
                  <a:gd name="connsiteY15" fmla="*/ 4069228 h 5633118"/>
                  <a:gd name="connsiteX16" fmla="*/ 1918706 w 1918706"/>
                  <a:gd name="connsiteY16" fmla="*/ 4090156 h 5633118"/>
                  <a:gd name="connsiteX17" fmla="*/ 1918706 w 1918706"/>
                  <a:gd name="connsiteY17" fmla="*/ 4097931 h 5633118"/>
                  <a:gd name="connsiteX18" fmla="*/ 1918706 w 1918706"/>
                  <a:gd name="connsiteY18" fmla="*/ 4491829 h 5633118"/>
                  <a:gd name="connsiteX19" fmla="*/ 1918706 w 1918706"/>
                  <a:gd name="connsiteY19" fmla="*/ 4579284 h 5633118"/>
                  <a:gd name="connsiteX20" fmla="*/ 1918706 w 1918706"/>
                  <a:gd name="connsiteY20" fmla="*/ 4592438 h 5633118"/>
                  <a:gd name="connsiteX21" fmla="*/ 1918706 w 1918706"/>
                  <a:gd name="connsiteY21" fmla="*/ 5073791 h 5633118"/>
                  <a:gd name="connsiteX22" fmla="*/ 959355 w 1918706"/>
                  <a:gd name="connsiteY22" fmla="*/ 5633118 h 5633118"/>
                  <a:gd name="connsiteX23" fmla="*/ 0 w 1918706"/>
                  <a:gd name="connsiteY23" fmla="*/ 5073791 h 5633118"/>
                  <a:gd name="connsiteX24" fmla="*/ 0 w 1918706"/>
                  <a:gd name="connsiteY24" fmla="*/ 4592438 h 5633118"/>
                  <a:gd name="connsiteX25" fmla="*/ 0 w 1918706"/>
                  <a:gd name="connsiteY25" fmla="*/ 4579284 h 5633118"/>
                  <a:gd name="connsiteX26" fmla="*/ 0 w 1918706"/>
                  <a:gd name="connsiteY26" fmla="*/ 4491829 h 5633118"/>
                  <a:gd name="connsiteX27" fmla="*/ 0 w 1918706"/>
                  <a:gd name="connsiteY27" fmla="*/ 4097931 h 5633118"/>
                  <a:gd name="connsiteX28" fmla="*/ 0 w 1918706"/>
                  <a:gd name="connsiteY28" fmla="*/ 4090156 h 5633118"/>
                  <a:gd name="connsiteX29" fmla="*/ 0 w 1918706"/>
                  <a:gd name="connsiteY29" fmla="*/ 4069228 h 5633118"/>
                  <a:gd name="connsiteX30" fmla="*/ 0 w 1918706"/>
                  <a:gd name="connsiteY30" fmla="*/ 4010476 h 5633118"/>
                  <a:gd name="connsiteX31" fmla="*/ 0 w 1918706"/>
                  <a:gd name="connsiteY31" fmla="*/ 3997322 h 5633118"/>
                  <a:gd name="connsiteX32" fmla="*/ 0 w 1918706"/>
                  <a:gd name="connsiteY32" fmla="*/ 3595649 h 5633118"/>
                  <a:gd name="connsiteX33" fmla="*/ 0 w 1918706"/>
                  <a:gd name="connsiteY33" fmla="*/ 3587875 h 5633118"/>
                  <a:gd name="connsiteX34" fmla="*/ 0 w 1918706"/>
                  <a:gd name="connsiteY34" fmla="*/ 3574721 h 5633118"/>
                  <a:gd name="connsiteX35" fmla="*/ 0 w 1918706"/>
                  <a:gd name="connsiteY35" fmla="*/ 3515969 h 5633118"/>
                  <a:gd name="connsiteX36" fmla="*/ 0 w 1918706"/>
                  <a:gd name="connsiteY36" fmla="*/ 3508195 h 5633118"/>
                  <a:gd name="connsiteX37" fmla="*/ 0 w 1918706"/>
                  <a:gd name="connsiteY37" fmla="*/ 3487266 h 5633118"/>
                  <a:gd name="connsiteX38" fmla="*/ 0 w 1918706"/>
                  <a:gd name="connsiteY3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85594 h 5633118"/>
                  <a:gd name="connsiteX5" fmla="*/ 1918706 w 1918706"/>
                  <a:gd name="connsiteY5" fmla="*/ 3093368 h 5633118"/>
                  <a:gd name="connsiteX6" fmla="*/ 1918706 w 1918706"/>
                  <a:gd name="connsiteY6" fmla="*/ 3487266 h 5633118"/>
                  <a:gd name="connsiteX7" fmla="*/ 1918706 w 1918706"/>
                  <a:gd name="connsiteY7" fmla="*/ 3508195 h 5633118"/>
                  <a:gd name="connsiteX8" fmla="*/ 1918706 w 1918706"/>
                  <a:gd name="connsiteY8" fmla="*/ 3515969 h 5633118"/>
                  <a:gd name="connsiteX9" fmla="*/ 1918706 w 1918706"/>
                  <a:gd name="connsiteY9" fmla="*/ 3574721 h 5633118"/>
                  <a:gd name="connsiteX10" fmla="*/ 1918706 w 1918706"/>
                  <a:gd name="connsiteY10" fmla="*/ 3587875 h 5633118"/>
                  <a:gd name="connsiteX11" fmla="*/ 1918706 w 1918706"/>
                  <a:gd name="connsiteY11" fmla="*/ 3595649 h 5633118"/>
                  <a:gd name="connsiteX12" fmla="*/ 1918706 w 1918706"/>
                  <a:gd name="connsiteY12" fmla="*/ 3997322 h 5633118"/>
                  <a:gd name="connsiteX13" fmla="*/ 1918706 w 1918706"/>
                  <a:gd name="connsiteY13" fmla="*/ 4010476 h 5633118"/>
                  <a:gd name="connsiteX14" fmla="*/ 1918706 w 1918706"/>
                  <a:gd name="connsiteY14" fmla="*/ 4069228 h 5633118"/>
                  <a:gd name="connsiteX15" fmla="*/ 1918706 w 1918706"/>
                  <a:gd name="connsiteY15" fmla="*/ 4090156 h 5633118"/>
                  <a:gd name="connsiteX16" fmla="*/ 1918706 w 1918706"/>
                  <a:gd name="connsiteY16" fmla="*/ 4097931 h 5633118"/>
                  <a:gd name="connsiteX17" fmla="*/ 1918706 w 1918706"/>
                  <a:gd name="connsiteY17" fmla="*/ 4491829 h 5633118"/>
                  <a:gd name="connsiteX18" fmla="*/ 1918706 w 1918706"/>
                  <a:gd name="connsiteY18" fmla="*/ 4579284 h 5633118"/>
                  <a:gd name="connsiteX19" fmla="*/ 1918706 w 1918706"/>
                  <a:gd name="connsiteY19" fmla="*/ 4592438 h 5633118"/>
                  <a:gd name="connsiteX20" fmla="*/ 1918706 w 1918706"/>
                  <a:gd name="connsiteY20" fmla="*/ 5073791 h 5633118"/>
                  <a:gd name="connsiteX21" fmla="*/ 959355 w 1918706"/>
                  <a:gd name="connsiteY21" fmla="*/ 5633118 h 5633118"/>
                  <a:gd name="connsiteX22" fmla="*/ 0 w 1918706"/>
                  <a:gd name="connsiteY22" fmla="*/ 5073791 h 5633118"/>
                  <a:gd name="connsiteX23" fmla="*/ 0 w 1918706"/>
                  <a:gd name="connsiteY23" fmla="*/ 4592438 h 5633118"/>
                  <a:gd name="connsiteX24" fmla="*/ 0 w 1918706"/>
                  <a:gd name="connsiteY24" fmla="*/ 4579284 h 5633118"/>
                  <a:gd name="connsiteX25" fmla="*/ 0 w 1918706"/>
                  <a:gd name="connsiteY25" fmla="*/ 4491829 h 5633118"/>
                  <a:gd name="connsiteX26" fmla="*/ 0 w 1918706"/>
                  <a:gd name="connsiteY26" fmla="*/ 4097931 h 5633118"/>
                  <a:gd name="connsiteX27" fmla="*/ 0 w 1918706"/>
                  <a:gd name="connsiteY27" fmla="*/ 4090156 h 5633118"/>
                  <a:gd name="connsiteX28" fmla="*/ 0 w 1918706"/>
                  <a:gd name="connsiteY28" fmla="*/ 4069228 h 5633118"/>
                  <a:gd name="connsiteX29" fmla="*/ 0 w 1918706"/>
                  <a:gd name="connsiteY29" fmla="*/ 4010476 h 5633118"/>
                  <a:gd name="connsiteX30" fmla="*/ 0 w 1918706"/>
                  <a:gd name="connsiteY30" fmla="*/ 3997322 h 5633118"/>
                  <a:gd name="connsiteX31" fmla="*/ 0 w 1918706"/>
                  <a:gd name="connsiteY31" fmla="*/ 3595649 h 5633118"/>
                  <a:gd name="connsiteX32" fmla="*/ 0 w 1918706"/>
                  <a:gd name="connsiteY32" fmla="*/ 3587875 h 5633118"/>
                  <a:gd name="connsiteX33" fmla="*/ 0 w 1918706"/>
                  <a:gd name="connsiteY33" fmla="*/ 3574721 h 5633118"/>
                  <a:gd name="connsiteX34" fmla="*/ 0 w 1918706"/>
                  <a:gd name="connsiteY34" fmla="*/ 3515969 h 5633118"/>
                  <a:gd name="connsiteX35" fmla="*/ 0 w 1918706"/>
                  <a:gd name="connsiteY35" fmla="*/ 3508195 h 5633118"/>
                  <a:gd name="connsiteX36" fmla="*/ 0 w 1918706"/>
                  <a:gd name="connsiteY36" fmla="*/ 3487266 h 5633118"/>
                  <a:gd name="connsiteX37" fmla="*/ 0 w 1918706"/>
                  <a:gd name="connsiteY3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093368 h 5633118"/>
                  <a:gd name="connsiteX5" fmla="*/ 1918706 w 1918706"/>
                  <a:gd name="connsiteY5" fmla="*/ 3487266 h 5633118"/>
                  <a:gd name="connsiteX6" fmla="*/ 1918706 w 1918706"/>
                  <a:gd name="connsiteY6" fmla="*/ 3508195 h 5633118"/>
                  <a:gd name="connsiteX7" fmla="*/ 1918706 w 1918706"/>
                  <a:gd name="connsiteY7" fmla="*/ 3515969 h 5633118"/>
                  <a:gd name="connsiteX8" fmla="*/ 1918706 w 1918706"/>
                  <a:gd name="connsiteY8" fmla="*/ 3574721 h 5633118"/>
                  <a:gd name="connsiteX9" fmla="*/ 1918706 w 1918706"/>
                  <a:gd name="connsiteY9" fmla="*/ 3587875 h 5633118"/>
                  <a:gd name="connsiteX10" fmla="*/ 1918706 w 1918706"/>
                  <a:gd name="connsiteY10" fmla="*/ 3595649 h 5633118"/>
                  <a:gd name="connsiteX11" fmla="*/ 1918706 w 1918706"/>
                  <a:gd name="connsiteY11" fmla="*/ 3997322 h 5633118"/>
                  <a:gd name="connsiteX12" fmla="*/ 1918706 w 1918706"/>
                  <a:gd name="connsiteY12" fmla="*/ 4010476 h 5633118"/>
                  <a:gd name="connsiteX13" fmla="*/ 1918706 w 1918706"/>
                  <a:gd name="connsiteY13" fmla="*/ 4069228 h 5633118"/>
                  <a:gd name="connsiteX14" fmla="*/ 1918706 w 1918706"/>
                  <a:gd name="connsiteY14" fmla="*/ 4090156 h 5633118"/>
                  <a:gd name="connsiteX15" fmla="*/ 1918706 w 1918706"/>
                  <a:gd name="connsiteY15" fmla="*/ 4097931 h 5633118"/>
                  <a:gd name="connsiteX16" fmla="*/ 1918706 w 1918706"/>
                  <a:gd name="connsiteY16" fmla="*/ 4491829 h 5633118"/>
                  <a:gd name="connsiteX17" fmla="*/ 1918706 w 1918706"/>
                  <a:gd name="connsiteY17" fmla="*/ 4579284 h 5633118"/>
                  <a:gd name="connsiteX18" fmla="*/ 1918706 w 1918706"/>
                  <a:gd name="connsiteY18" fmla="*/ 4592438 h 5633118"/>
                  <a:gd name="connsiteX19" fmla="*/ 1918706 w 1918706"/>
                  <a:gd name="connsiteY19" fmla="*/ 5073791 h 5633118"/>
                  <a:gd name="connsiteX20" fmla="*/ 959355 w 1918706"/>
                  <a:gd name="connsiteY20" fmla="*/ 5633118 h 5633118"/>
                  <a:gd name="connsiteX21" fmla="*/ 0 w 1918706"/>
                  <a:gd name="connsiteY21" fmla="*/ 5073791 h 5633118"/>
                  <a:gd name="connsiteX22" fmla="*/ 0 w 1918706"/>
                  <a:gd name="connsiteY22" fmla="*/ 4592438 h 5633118"/>
                  <a:gd name="connsiteX23" fmla="*/ 0 w 1918706"/>
                  <a:gd name="connsiteY23" fmla="*/ 4579284 h 5633118"/>
                  <a:gd name="connsiteX24" fmla="*/ 0 w 1918706"/>
                  <a:gd name="connsiteY24" fmla="*/ 4491829 h 5633118"/>
                  <a:gd name="connsiteX25" fmla="*/ 0 w 1918706"/>
                  <a:gd name="connsiteY25" fmla="*/ 4097931 h 5633118"/>
                  <a:gd name="connsiteX26" fmla="*/ 0 w 1918706"/>
                  <a:gd name="connsiteY26" fmla="*/ 4090156 h 5633118"/>
                  <a:gd name="connsiteX27" fmla="*/ 0 w 1918706"/>
                  <a:gd name="connsiteY27" fmla="*/ 4069228 h 5633118"/>
                  <a:gd name="connsiteX28" fmla="*/ 0 w 1918706"/>
                  <a:gd name="connsiteY28" fmla="*/ 4010476 h 5633118"/>
                  <a:gd name="connsiteX29" fmla="*/ 0 w 1918706"/>
                  <a:gd name="connsiteY29" fmla="*/ 3997322 h 5633118"/>
                  <a:gd name="connsiteX30" fmla="*/ 0 w 1918706"/>
                  <a:gd name="connsiteY30" fmla="*/ 3595649 h 5633118"/>
                  <a:gd name="connsiteX31" fmla="*/ 0 w 1918706"/>
                  <a:gd name="connsiteY31" fmla="*/ 3587875 h 5633118"/>
                  <a:gd name="connsiteX32" fmla="*/ 0 w 1918706"/>
                  <a:gd name="connsiteY32" fmla="*/ 3574721 h 5633118"/>
                  <a:gd name="connsiteX33" fmla="*/ 0 w 1918706"/>
                  <a:gd name="connsiteY33" fmla="*/ 3515969 h 5633118"/>
                  <a:gd name="connsiteX34" fmla="*/ 0 w 1918706"/>
                  <a:gd name="connsiteY34" fmla="*/ 3508195 h 5633118"/>
                  <a:gd name="connsiteX35" fmla="*/ 0 w 1918706"/>
                  <a:gd name="connsiteY35" fmla="*/ 3487266 h 5633118"/>
                  <a:gd name="connsiteX36" fmla="*/ 0 w 1918706"/>
                  <a:gd name="connsiteY3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487266 h 5633118"/>
                  <a:gd name="connsiteX5" fmla="*/ 1918706 w 1918706"/>
                  <a:gd name="connsiteY5" fmla="*/ 3508195 h 5633118"/>
                  <a:gd name="connsiteX6" fmla="*/ 1918706 w 1918706"/>
                  <a:gd name="connsiteY6" fmla="*/ 3515969 h 5633118"/>
                  <a:gd name="connsiteX7" fmla="*/ 1918706 w 1918706"/>
                  <a:gd name="connsiteY7" fmla="*/ 3574721 h 5633118"/>
                  <a:gd name="connsiteX8" fmla="*/ 1918706 w 1918706"/>
                  <a:gd name="connsiteY8" fmla="*/ 3587875 h 5633118"/>
                  <a:gd name="connsiteX9" fmla="*/ 1918706 w 1918706"/>
                  <a:gd name="connsiteY9" fmla="*/ 3595649 h 5633118"/>
                  <a:gd name="connsiteX10" fmla="*/ 1918706 w 1918706"/>
                  <a:gd name="connsiteY10" fmla="*/ 3997322 h 5633118"/>
                  <a:gd name="connsiteX11" fmla="*/ 1918706 w 1918706"/>
                  <a:gd name="connsiteY11" fmla="*/ 4010476 h 5633118"/>
                  <a:gd name="connsiteX12" fmla="*/ 1918706 w 1918706"/>
                  <a:gd name="connsiteY12" fmla="*/ 4069228 h 5633118"/>
                  <a:gd name="connsiteX13" fmla="*/ 1918706 w 1918706"/>
                  <a:gd name="connsiteY13" fmla="*/ 4090156 h 5633118"/>
                  <a:gd name="connsiteX14" fmla="*/ 1918706 w 1918706"/>
                  <a:gd name="connsiteY14" fmla="*/ 4097931 h 5633118"/>
                  <a:gd name="connsiteX15" fmla="*/ 1918706 w 1918706"/>
                  <a:gd name="connsiteY15" fmla="*/ 4491829 h 5633118"/>
                  <a:gd name="connsiteX16" fmla="*/ 1918706 w 1918706"/>
                  <a:gd name="connsiteY16" fmla="*/ 4579284 h 5633118"/>
                  <a:gd name="connsiteX17" fmla="*/ 1918706 w 1918706"/>
                  <a:gd name="connsiteY17" fmla="*/ 4592438 h 5633118"/>
                  <a:gd name="connsiteX18" fmla="*/ 1918706 w 1918706"/>
                  <a:gd name="connsiteY18" fmla="*/ 5073791 h 5633118"/>
                  <a:gd name="connsiteX19" fmla="*/ 959355 w 1918706"/>
                  <a:gd name="connsiteY19" fmla="*/ 5633118 h 5633118"/>
                  <a:gd name="connsiteX20" fmla="*/ 0 w 1918706"/>
                  <a:gd name="connsiteY20" fmla="*/ 5073791 h 5633118"/>
                  <a:gd name="connsiteX21" fmla="*/ 0 w 1918706"/>
                  <a:gd name="connsiteY21" fmla="*/ 4592438 h 5633118"/>
                  <a:gd name="connsiteX22" fmla="*/ 0 w 1918706"/>
                  <a:gd name="connsiteY22" fmla="*/ 4579284 h 5633118"/>
                  <a:gd name="connsiteX23" fmla="*/ 0 w 1918706"/>
                  <a:gd name="connsiteY23" fmla="*/ 4491829 h 5633118"/>
                  <a:gd name="connsiteX24" fmla="*/ 0 w 1918706"/>
                  <a:gd name="connsiteY24" fmla="*/ 4097931 h 5633118"/>
                  <a:gd name="connsiteX25" fmla="*/ 0 w 1918706"/>
                  <a:gd name="connsiteY25" fmla="*/ 4090156 h 5633118"/>
                  <a:gd name="connsiteX26" fmla="*/ 0 w 1918706"/>
                  <a:gd name="connsiteY26" fmla="*/ 4069228 h 5633118"/>
                  <a:gd name="connsiteX27" fmla="*/ 0 w 1918706"/>
                  <a:gd name="connsiteY27" fmla="*/ 4010476 h 5633118"/>
                  <a:gd name="connsiteX28" fmla="*/ 0 w 1918706"/>
                  <a:gd name="connsiteY28" fmla="*/ 3997322 h 5633118"/>
                  <a:gd name="connsiteX29" fmla="*/ 0 w 1918706"/>
                  <a:gd name="connsiteY29" fmla="*/ 3595649 h 5633118"/>
                  <a:gd name="connsiteX30" fmla="*/ 0 w 1918706"/>
                  <a:gd name="connsiteY30" fmla="*/ 3587875 h 5633118"/>
                  <a:gd name="connsiteX31" fmla="*/ 0 w 1918706"/>
                  <a:gd name="connsiteY31" fmla="*/ 3574721 h 5633118"/>
                  <a:gd name="connsiteX32" fmla="*/ 0 w 1918706"/>
                  <a:gd name="connsiteY32" fmla="*/ 3515969 h 5633118"/>
                  <a:gd name="connsiteX33" fmla="*/ 0 w 1918706"/>
                  <a:gd name="connsiteY33" fmla="*/ 3508195 h 5633118"/>
                  <a:gd name="connsiteX34" fmla="*/ 0 w 1918706"/>
                  <a:gd name="connsiteY34" fmla="*/ 3487266 h 5633118"/>
                  <a:gd name="connsiteX35" fmla="*/ 0 w 1918706"/>
                  <a:gd name="connsiteY3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74721 h 5633118"/>
                  <a:gd name="connsiteX7" fmla="*/ 1918706 w 1918706"/>
                  <a:gd name="connsiteY7" fmla="*/ 3587875 h 5633118"/>
                  <a:gd name="connsiteX8" fmla="*/ 1918706 w 1918706"/>
                  <a:gd name="connsiteY8" fmla="*/ 3595649 h 5633118"/>
                  <a:gd name="connsiteX9" fmla="*/ 1918706 w 1918706"/>
                  <a:gd name="connsiteY9" fmla="*/ 3997322 h 5633118"/>
                  <a:gd name="connsiteX10" fmla="*/ 1918706 w 1918706"/>
                  <a:gd name="connsiteY10" fmla="*/ 4010476 h 5633118"/>
                  <a:gd name="connsiteX11" fmla="*/ 1918706 w 1918706"/>
                  <a:gd name="connsiteY11" fmla="*/ 4069228 h 5633118"/>
                  <a:gd name="connsiteX12" fmla="*/ 1918706 w 1918706"/>
                  <a:gd name="connsiteY12" fmla="*/ 4090156 h 5633118"/>
                  <a:gd name="connsiteX13" fmla="*/ 1918706 w 1918706"/>
                  <a:gd name="connsiteY13" fmla="*/ 4097931 h 5633118"/>
                  <a:gd name="connsiteX14" fmla="*/ 1918706 w 1918706"/>
                  <a:gd name="connsiteY14" fmla="*/ 4491829 h 5633118"/>
                  <a:gd name="connsiteX15" fmla="*/ 1918706 w 1918706"/>
                  <a:gd name="connsiteY15" fmla="*/ 4579284 h 5633118"/>
                  <a:gd name="connsiteX16" fmla="*/ 1918706 w 1918706"/>
                  <a:gd name="connsiteY16" fmla="*/ 4592438 h 5633118"/>
                  <a:gd name="connsiteX17" fmla="*/ 1918706 w 1918706"/>
                  <a:gd name="connsiteY17" fmla="*/ 5073791 h 5633118"/>
                  <a:gd name="connsiteX18" fmla="*/ 959355 w 1918706"/>
                  <a:gd name="connsiteY18" fmla="*/ 5633118 h 5633118"/>
                  <a:gd name="connsiteX19" fmla="*/ 0 w 1918706"/>
                  <a:gd name="connsiteY19" fmla="*/ 5073791 h 5633118"/>
                  <a:gd name="connsiteX20" fmla="*/ 0 w 1918706"/>
                  <a:gd name="connsiteY20" fmla="*/ 4592438 h 5633118"/>
                  <a:gd name="connsiteX21" fmla="*/ 0 w 1918706"/>
                  <a:gd name="connsiteY21" fmla="*/ 4579284 h 5633118"/>
                  <a:gd name="connsiteX22" fmla="*/ 0 w 1918706"/>
                  <a:gd name="connsiteY22" fmla="*/ 4491829 h 5633118"/>
                  <a:gd name="connsiteX23" fmla="*/ 0 w 1918706"/>
                  <a:gd name="connsiteY23" fmla="*/ 4097931 h 5633118"/>
                  <a:gd name="connsiteX24" fmla="*/ 0 w 1918706"/>
                  <a:gd name="connsiteY24" fmla="*/ 4090156 h 5633118"/>
                  <a:gd name="connsiteX25" fmla="*/ 0 w 1918706"/>
                  <a:gd name="connsiteY25" fmla="*/ 4069228 h 5633118"/>
                  <a:gd name="connsiteX26" fmla="*/ 0 w 1918706"/>
                  <a:gd name="connsiteY26" fmla="*/ 4010476 h 5633118"/>
                  <a:gd name="connsiteX27" fmla="*/ 0 w 1918706"/>
                  <a:gd name="connsiteY27" fmla="*/ 3997322 h 5633118"/>
                  <a:gd name="connsiteX28" fmla="*/ 0 w 1918706"/>
                  <a:gd name="connsiteY28" fmla="*/ 3595649 h 5633118"/>
                  <a:gd name="connsiteX29" fmla="*/ 0 w 1918706"/>
                  <a:gd name="connsiteY29" fmla="*/ 3587875 h 5633118"/>
                  <a:gd name="connsiteX30" fmla="*/ 0 w 1918706"/>
                  <a:gd name="connsiteY30" fmla="*/ 3574721 h 5633118"/>
                  <a:gd name="connsiteX31" fmla="*/ 0 w 1918706"/>
                  <a:gd name="connsiteY31" fmla="*/ 3515969 h 5633118"/>
                  <a:gd name="connsiteX32" fmla="*/ 0 w 1918706"/>
                  <a:gd name="connsiteY32" fmla="*/ 3508195 h 5633118"/>
                  <a:gd name="connsiteX33" fmla="*/ 0 w 1918706"/>
                  <a:gd name="connsiteY33" fmla="*/ 3487266 h 5633118"/>
                  <a:gd name="connsiteX34" fmla="*/ 0 w 1918706"/>
                  <a:gd name="connsiteY3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87875 h 5633118"/>
                  <a:gd name="connsiteX7" fmla="*/ 1918706 w 1918706"/>
                  <a:gd name="connsiteY7" fmla="*/ 3595649 h 5633118"/>
                  <a:gd name="connsiteX8" fmla="*/ 1918706 w 1918706"/>
                  <a:gd name="connsiteY8" fmla="*/ 3997322 h 5633118"/>
                  <a:gd name="connsiteX9" fmla="*/ 1918706 w 1918706"/>
                  <a:gd name="connsiteY9" fmla="*/ 4010476 h 5633118"/>
                  <a:gd name="connsiteX10" fmla="*/ 1918706 w 1918706"/>
                  <a:gd name="connsiteY10" fmla="*/ 4069228 h 5633118"/>
                  <a:gd name="connsiteX11" fmla="*/ 1918706 w 1918706"/>
                  <a:gd name="connsiteY11" fmla="*/ 4090156 h 5633118"/>
                  <a:gd name="connsiteX12" fmla="*/ 1918706 w 1918706"/>
                  <a:gd name="connsiteY12" fmla="*/ 4097931 h 5633118"/>
                  <a:gd name="connsiteX13" fmla="*/ 1918706 w 1918706"/>
                  <a:gd name="connsiteY13" fmla="*/ 4491829 h 5633118"/>
                  <a:gd name="connsiteX14" fmla="*/ 1918706 w 1918706"/>
                  <a:gd name="connsiteY14" fmla="*/ 4579284 h 5633118"/>
                  <a:gd name="connsiteX15" fmla="*/ 1918706 w 1918706"/>
                  <a:gd name="connsiteY15" fmla="*/ 4592438 h 5633118"/>
                  <a:gd name="connsiteX16" fmla="*/ 1918706 w 1918706"/>
                  <a:gd name="connsiteY16" fmla="*/ 5073791 h 5633118"/>
                  <a:gd name="connsiteX17" fmla="*/ 959355 w 1918706"/>
                  <a:gd name="connsiteY17" fmla="*/ 5633118 h 5633118"/>
                  <a:gd name="connsiteX18" fmla="*/ 0 w 1918706"/>
                  <a:gd name="connsiteY18" fmla="*/ 5073791 h 5633118"/>
                  <a:gd name="connsiteX19" fmla="*/ 0 w 1918706"/>
                  <a:gd name="connsiteY19" fmla="*/ 4592438 h 5633118"/>
                  <a:gd name="connsiteX20" fmla="*/ 0 w 1918706"/>
                  <a:gd name="connsiteY20" fmla="*/ 4579284 h 5633118"/>
                  <a:gd name="connsiteX21" fmla="*/ 0 w 1918706"/>
                  <a:gd name="connsiteY21" fmla="*/ 4491829 h 5633118"/>
                  <a:gd name="connsiteX22" fmla="*/ 0 w 1918706"/>
                  <a:gd name="connsiteY22" fmla="*/ 4097931 h 5633118"/>
                  <a:gd name="connsiteX23" fmla="*/ 0 w 1918706"/>
                  <a:gd name="connsiteY23" fmla="*/ 4090156 h 5633118"/>
                  <a:gd name="connsiteX24" fmla="*/ 0 w 1918706"/>
                  <a:gd name="connsiteY24" fmla="*/ 4069228 h 5633118"/>
                  <a:gd name="connsiteX25" fmla="*/ 0 w 1918706"/>
                  <a:gd name="connsiteY25" fmla="*/ 4010476 h 5633118"/>
                  <a:gd name="connsiteX26" fmla="*/ 0 w 1918706"/>
                  <a:gd name="connsiteY26" fmla="*/ 3997322 h 5633118"/>
                  <a:gd name="connsiteX27" fmla="*/ 0 w 1918706"/>
                  <a:gd name="connsiteY27" fmla="*/ 3595649 h 5633118"/>
                  <a:gd name="connsiteX28" fmla="*/ 0 w 1918706"/>
                  <a:gd name="connsiteY28" fmla="*/ 3587875 h 5633118"/>
                  <a:gd name="connsiteX29" fmla="*/ 0 w 1918706"/>
                  <a:gd name="connsiteY29" fmla="*/ 3574721 h 5633118"/>
                  <a:gd name="connsiteX30" fmla="*/ 0 w 1918706"/>
                  <a:gd name="connsiteY30" fmla="*/ 3515969 h 5633118"/>
                  <a:gd name="connsiteX31" fmla="*/ 0 w 1918706"/>
                  <a:gd name="connsiteY31" fmla="*/ 3508195 h 5633118"/>
                  <a:gd name="connsiteX32" fmla="*/ 0 w 1918706"/>
                  <a:gd name="connsiteY32" fmla="*/ 3487266 h 5633118"/>
                  <a:gd name="connsiteX33" fmla="*/ 0 w 1918706"/>
                  <a:gd name="connsiteY3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87875 h 5633118"/>
                  <a:gd name="connsiteX6" fmla="*/ 1918706 w 1918706"/>
                  <a:gd name="connsiteY6" fmla="*/ 3595649 h 5633118"/>
                  <a:gd name="connsiteX7" fmla="*/ 1918706 w 1918706"/>
                  <a:gd name="connsiteY7" fmla="*/ 3997322 h 5633118"/>
                  <a:gd name="connsiteX8" fmla="*/ 1918706 w 1918706"/>
                  <a:gd name="connsiteY8" fmla="*/ 4010476 h 5633118"/>
                  <a:gd name="connsiteX9" fmla="*/ 1918706 w 1918706"/>
                  <a:gd name="connsiteY9" fmla="*/ 4069228 h 5633118"/>
                  <a:gd name="connsiteX10" fmla="*/ 1918706 w 1918706"/>
                  <a:gd name="connsiteY10" fmla="*/ 4090156 h 5633118"/>
                  <a:gd name="connsiteX11" fmla="*/ 1918706 w 1918706"/>
                  <a:gd name="connsiteY11" fmla="*/ 4097931 h 5633118"/>
                  <a:gd name="connsiteX12" fmla="*/ 1918706 w 1918706"/>
                  <a:gd name="connsiteY12" fmla="*/ 4491829 h 5633118"/>
                  <a:gd name="connsiteX13" fmla="*/ 1918706 w 1918706"/>
                  <a:gd name="connsiteY13" fmla="*/ 4579284 h 5633118"/>
                  <a:gd name="connsiteX14" fmla="*/ 1918706 w 1918706"/>
                  <a:gd name="connsiteY14" fmla="*/ 4592438 h 5633118"/>
                  <a:gd name="connsiteX15" fmla="*/ 1918706 w 1918706"/>
                  <a:gd name="connsiteY15" fmla="*/ 5073791 h 5633118"/>
                  <a:gd name="connsiteX16" fmla="*/ 959355 w 1918706"/>
                  <a:gd name="connsiteY16" fmla="*/ 5633118 h 5633118"/>
                  <a:gd name="connsiteX17" fmla="*/ 0 w 1918706"/>
                  <a:gd name="connsiteY17" fmla="*/ 5073791 h 5633118"/>
                  <a:gd name="connsiteX18" fmla="*/ 0 w 1918706"/>
                  <a:gd name="connsiteY18" fmla="*/ 4592438 h 5633118"/>
                  <a:gd name="connsiteX19" fmla="*/ 0 w 1918706"/>
                  <a:gd name="connsiteY19" fmla="*/ 4579284 h 5633118"/>
                  <a:gd name="connsiteX20" fmla="*/ 0 w 1918706"/>
                  <a:gd name="connsiteY20" fmla="*/ 4491829 h 5633118"/>
                  <a:gd name="connsiteX21" fmla="*/ 0 w 1918706"/>
                  <a:gd name="connsiteY21" fmla="*/ 4097931 h 5633118"/>
                  <a:gd name="connsiteX22" fmla="*/ 0 w 1918706"/>
                  <a:gd name="connsiteY22" fmla="*/ 4090156 h 5633118"/>
                  <a:gd name="connsiteX23" fmla="*/ 0 w 1918706"/>
                  <a:gd name="connsiteY23" fmla="*/ 4069228 h 5633118"/>
                  <a:gd name="connsiteX24" fmla="*/ 0 w 1918706"/>
                  <a:gd name="connsiteY24" fmla="*/ 4010476 h 5633118"/>
                  <a:gd name="connsiteX25" fmla="*/ 0 w 1918706"/>
                  <a:gd name="connsiteY25" fmla="*/ 3997322 h 5633118"/>
                  <a:gd name="connsiteX26" fmla="*/ 0 w 1918706"/>
                  <a:gd name="connsiteY26" fmla="*/ 3595649 h 5633118"/>
                  <a:gd name="connsiteX27" fmla="*/ 0 w 1918706"/>
                  <a:gd name="connsiteY27" fmla="*/ 3587875 h 5633118"/>
                  <a:gd name="connsiteX28" fmla="*/ 0 w 1918706"/>
                  <a:gd name="connsiteY28" fmla="*/ 3574721 h 5633118"/>
                  <a:gd name="connsiteX29" fmla="*/ 0 w 1918706"/>
                  <a:gd name="connsiteY29" fmla="*/ 3515969 h 5633118"/>
                  <a:gd name="connsiteX30" fmla="*/ 0 w 1918706"/>
                  <a:gd name="connsiteY30" fmla="*/ 3508195 h 5633118"/>
                  <a:gd name="connsiteX31" fmla="*/ 0 w 1918706"/>
                  <a:gd name="connsiteY31" fmla="*/ 3487266 h 5633118"/>
                  <a:gd name="connsiteX32" fmla="*/ 0 w 1918706"/>
                  <a:gd name="connsiteY3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595649 h 5633118"/>
                  <a:gd name="connsiteX6" fmla="*/ 1918706 w 1918706"/>
                  <a:gd name="connsiteY6" fmla="*/ 3997322 h 5633118"/>
                  <a:gd name="connsiteX7" fmla="*/ 1918706 w 1918706"/>
                  <a:gd name="connsiteY7" fmla="*/ 4010476 h 5633118"/>
                  <a:gd name="connsiteX8" fmla="*/ 1918706 w 1918706"/>
                  <a:gd name="connsiteY8" fmla="*/ 4069228 h 5633118"/>
                  <a:gd name="connsiteX9" fmla="*/ 1918706 w 1918706"/>
                  <a:gd name="connsiteY9" fmla="*/ 4090156 h 5633118"/>
                  <a:gd name="connsiteX10" fmla="*/ 1918706 w 1918706"/>
                  <a:gd name="connsiteY10" fmla="*/ 4097931 h 5633118"/>
                  <a:gd name="connsiteX11" fmla="*/ 1918706 w 1918706"/>
                  <a:gd name="connsiteY11" fmla="*/ 4491829 h 5633118"/>
                  <a:gd name="connsiteX12" fmla="*/ 1918706 w 1918706"/>
                  <a:gd name="connsiteY12" fmla="*/ 4579284 h 5633118"/>
                  <a:gd name="connsiteX13" fmla="*/ 1918706 w 1918706"/>
                  <a:gd name="connsiteY13" fmla="*/ 4592438 h 5633118"/>
                  <a:gd name="connsiteX14" fmla="*/ 1918706 w 1918706"/>
                  <a:gd name="connsiteY14" fmla="*/ 5073791 h 5633118"/>
                  <a:gd name="connsiteX15" fmla="*/ 959355 w 1918706"/>
                  <a:gd name="connsiteY15" fmla="*/ 5633118 h 5633118"/>
                  <a:gd name="connsiteX16" fmla="*/ 0 w 1918706"/>
                  <a:gd name="connsiteY16" fmla="*/ 5073791 h 5633118"/>
                  <a:gd name="connsiteX17" fmla="*/ 0 w 1918706"/>
                  <a:gd name="connsiteY17" fmla="*/ 4592438 h 5633118"/>
                  <a:gd name="connsiteX18" fmla="*/ 0 w 1918706"/>
                  <a:gd name="connsiteY18" fmla="*/ 4579284 h 5633118"/>
                  <a:gd name="connsiteX19" fmla="*/ 0 w 1918706"/>
                  <a:gd name="connsiteY19" fmla="*/ 4491829 h 5633118"/>
                  <a:gd name="connsiteX20" fmla="*/ 0 w 1918706"/>
                  <a:gd name="connsiteY20" fmla="*/ 4097931 h 5633118"/>
                  <a:gd name="connsiteX21" fmla="*/ 0 w 1918706"/>
                  <a:gd name="connsiteY21" fmla="*/ 4090156 h 5633118"/>
                  <a:gd name="connsiteX22" fmla="*/ 0 w 1918706"/>
                  <a:gd name="connsiteY22" fmla="*/ 4069228 h 5633118"/>
                  <a:gd name="connsiteX23" fmla="*/ 0 w 1918706"/>
                  <a:gd name="connsiteY23" fmla="*/ 4010476 h 5633118"/>
                  <a:gd name="connsiteX24" fmla="*/ 0 w 1918706"/>
                  <a:gd name="connsiteY24" fmla="*/ 3997322 h 5633118"/>
                  <a:gd name="connsiteX25" fmla="*/ 0 w 1918706"/>
                  <a:gd name="connsiteY25" fmla="*/ 3595649 h 5633118"/>
                  <a:gd name="connsiteX26" fmla="*/ 0 w 1918706"/>
                  <a:gd name="connsiteY26" fmla="*/ 3587875 h 5633118"/>
                  <a:gd name="connsiteX27" fmla="*/ 0 w 1918706"/>
                  <a:gd name="connsiteY27" fmla="*/ 3574721 h 5633118"/>
                  <a:gd name="connsiteX28" fmla="*/ 0 w 1918706"/>
                  <a:gd name="connsiteY28" fmla="*/ 3515969 h 5633118"/>
                  <a:gd name="connsiteX29" fmla="*/ 0 w 1918706"/>
                  <a:gd name="connsiteY29" fmla="*/ 3508195 h 5633118"/>
                  <a:gd name="connsiteX30" fmla="*/ 0 w 1918706"/>
                  <a:gd name="connsiteY30" fmla="*/ 3487266 h 5633118"/>
                  <a:gd name="connsiteX31" fmla="*/ 0 w 1918706"/>
                  <a:gd name="connsiteY3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997322 h 5633118"/>
                  <a:gd name="connsiteX6" fmla="*/ 1918706 w 1918706"/>
                  <a:gd name="connsiteY6" fmla="*/ 4010476 h 5633118"/>
                  <a:gd name="connsiteX7" fmla="*/ 1918706 w 1918706"/>
                  <a:gd name="connsiteY7" fmla="*/ 4069228 h 5633118"/>
                  <a:gd name="connsiteX8" fmla="*/ 1918706 w 1918706"/>
                  <a:gd name="connsiteY8" fmla="*/ 4090156 h 5633118"/>
                  <a:gd name="connsiteX9" fmla="*/ 1918706 w 1918706"/>
                  <a:gd name="connsiteY9" fmla="*/ 4097931 h 5633118"/>
                  <a:gd name="connsiteX10" fmla="*/ 1918706 w 1918706"/>
                  <a:gd name="connsiteY10" fmla="*/ 4491829 h 5633118"/>
                  <a:gd name="connsiteX11" fmla="*/ 1918706 w 1918706"/>
                  <a:gd name="connsiteY11" fmla="*/ 4579284 h 5633118"/>
                  <a:gd name="connsiteX12" fmla="*/ 1918706 w 1918706"/>
                  <a:gd name="connsiteY12" fmla="*/ 4592438 h 5633118"/>
                  <a:gd name="connsiteX13" fmla="*/ 1918706 w 1918706"/>
                  <a:gd name="connsiteY13" fmla="*/ 5073791 h 5633118"/>
                  <a:gd name="connsiteX14" fmla="*/ 959355 w 1918706"/>
                  <a:gd name="connsiteY14" fmla="*/ 5633118 h 5633118"/>
                  <a:gd name="connsiteX15" fmla="*/ 0 w 1918706"/>
                  <a:gd name="connsiteY15" fmla="*/ 5073791 h 5633118"/>
                  <a:gd name="connsiteX16" fmla="*/ 0 w 1918706"/>
                  <a:gd name="connsiteY16" fmla="*/ 4592438 h 5633118"/>
                  <a:gd name="connsiteX17" fmla="*/ 0 w 1918706"/>
                  <a:gd name="connsiteY17" fmla="*/ 4579284 h 5633118"/>
                  <a:gd name="connsiteX18" fmla="*/ 0 w 1918706"/>
                  <a:gd name="connsiteY18" fmla="*/ 4491829 h 5633118"/>
                  <a:gd name="connsiteX19" fmla="*/ 0 w 1918706"/>
                  <a:gd name="connsiteY19" fmla="*/ 4097931 h 5633118"/>
                  <a:gd name="connsiteX20" fmla="*/ 0 w 1918706"/>
                  <a:gd name="connsiteY20" fmla="*/ 4090156 h 5633118"/>
                  <a:gd name="connsiteX21" fmla="*/ 0 w 1918706"/>
                  <a:gd name="connsiteY21" fmla="*/ 4069228 h 5633118"/>
                  <a:gd name="connsiteX22" fmla="*/ 0 w 1918706"/>
                  <a:gd name="connsiteY22" fmla="*/ 4010476 h 5633118"/>
                  <a:gd name="connsiteX23" fmla="*/ 0 w 1918706"/>
                  <a:gd name="connsiteY23" fmla="*/ 3997322 h 5633118"/>
                  <a:gd name="connsiteX24" fmla="*/ 0 w 1918706"/>
                  <a:gd name="connsiteY24" fmla="*/ 3595649 h 5633118"/>
                  <a:gd name="connsiteX25" fmla="*/ 0 w 1918706"/>
                  <a:gd name="connsiteY25" fmla="*/ 3587875 h 5633118"/>
                  <a:gd name="connsiteX26" fmla="*/ 0 w 1918706"/>
                  <a:gd name="connsiteY26" fmla="*/ 3574721 h 5633118"/>
                  <a:gd name="connsiteX27" fmla="*/ 0 w 1918706"/>
                  <a:gd name="connsiteY27" fmla="*/ 3515969 h 5633118"/>
                  <a:gd name="connsiteX28" fmla="*/ 0 w 1918706"/>
                  <a:gd name="connsiteY28" fmla="*/ 3508195 h 5633118"/>
                  <a:gd name="connsiteX29" fmla="*/ 0 w 1918706"/>
                  <a:gd name="connsiteY29" fmla="*/ 3487266 h 5633118"/>
                  <a:gd name="connsiteX30" fmla="*/ 0 w 1918706"/>
                  <a:gd name="connsiteY3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997322 h 5633118"/>
                  <a:gd name="connsiteX5" fmla="*/ 1918706 w 1918706"/>
                  <a:gd name="connsiteY5" fmla="*/ 4010476 h 5633118"/>
                  <a:gd name="connsiteX6" fmla="*/ 1918706 w 1918706"/>
                  <a:gd name="connsiteY6" fmla="*/ 4069228 h 5633118"/>
                  <a:gd name="connsiteX7" fmla="*/ 1918706 w 1918706"/>
                  <a:gd name="connsiteY7" fmla="*/ 4090156 h 5633118"/>
                  <a:gd name="connsiteX8" fmla="*/ 1918706 w 1918706"/>
                  <a:gd name="connsiteY8" fmla="*/ 4097931 h 5633118"/>
                  <a:gd name="connsiteX9" fmla="*/ 1918706 w 1918706"/>
                  <a:gd name="connsiteY9" fmla="*/ 4491829 h 5633118"/>
                  <a:gd name="connsiteX10" fmla="*/ 1918706 w 1918706"/>
                  <a:gd name="connsiteY10" fmla="*/ 4579284 h 5633118"/>
                  <a:gd name="connsiteX11" fmla="*/ 1918706 w 1918706"/>
                  <a:gd name="connsiteY11" fmla="*/ 4592438 h 5633118"/>
                  <a:gd name="connsiteX12" fmla="*/ 1918706 w 1918706"/>
                  <a:gd name="connsiteY12" fmla="*/ 5073791 h 5633118"/>
                  <a:gd name="connsiteX13" fmla="*/ 959355 w 1918706"/>
                  <a:gd name="connsiteY13" fmla="*/ 5633118 h 5633118"/>
                  <a:gd name="connsiteX14" fmla="*/ 0 w 1918706"/>
                  <a:gd name="connsiteY14" fmla="*/ 5073791 h 5633118"/>
                  <a:gd name="connsiteX15" fmla="*/ 0 w 1918706"/>
                  <a:gd name="connsiteY15" fmla="*/ 4592438 h 5633118"/>
                  <a:gd name="connsiteX16" fmla="*/ 0 w 1918706"/>
                  <a:gd name="connsiteY16" fmla="*/ 4579284 h 5633118"/>
                  <a:gd name="connsiteX17" fmla="*/ 0 w 1918706"/>
                  <a:gd name="connsiteY17" fmla="*/ 4491829 h 5633118"/>
                  <a:gd name="connsiteX18" fmla="*/ 0 w 1918706"/>
                  <a:gd name="connsiteY18" fmla="*/ 4097931 h 5633118"/>
                  <a:gd name="connsiteX19" fmla="*/ 0 w 1918706"/>
                  <a:gd name="connsiteY19" fmla="*/ 4090156 h 5633118"/>
                  <a:gd name="connsiteX20" fmla="*/ 0 w 1918706"/>
                  <a:gd name="connsiteY20" fmla="*/ 4069228 h 5633118"/>
                  <a:gd name="connsiteX21" fmla="*/ 0 w 1918706"/>
                  <a:gd name="connsiteY21" fmla="*/ 4010476 h 5633118"/>
                  <a:gd name="connsiteX22" fmla="*/ 0 w 1918706"/>
                  <a:gd name="connsiteY22" fmla="*/ 3997322 h 5633118"/>
                  <a:gd name="connsiteX23" fmla="*/ 0 w 1918706"/>
                  <a:gd name="connsiteY23" fmla="*/ 3595649 h 5633118"/>
                  <a:gd name="connsiteX24" fmla="*/ 0 w 1918706"/>
                  <a:gd name="connsiteY24" fmla="*/ 3587875 h 5633118"/>
                  <a:gd name="connsiteX25" fmla="*/ 0 w 1918706"/>
                  <a:gd name="connsiteY25" fmla="*/ 3574721 h 5633118"/>
                  <a:gd name="connsiteX26" fmla="*/ 0 w 1918706"/>
                  <a:gd name="connsiteY26" fmla="*/ 3515969 h 5633118"/>
                  <a:gd name="connsiteX27" fmla="*/ 0 w 1918706"/>
                  <a:gd name="connsiteY27" fmla="*/ 3508195 h 5633118"/>
                  <a:gd name="connsiteX28" fmla="*/ 0 w 1918706"/>
                  <a:gd name="connsiteY28" fmla="*/ 3487266 h 5633118"/>
                  <a:gd name="connsiteX29" fmla="*/ 0 w 1918706"/>
                  <a:gd name="connsiteY2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10476 h 5633118"/>
                  <a:gd name="connsiteX5" fmla="*/ 1918706 w 1918706"/>
                  <a:gd name="connsiteY5" fmla="*/ 4069228 h 5633118"/>
                  <a:gd name="connsiteX6" fmla="*/ 1918706 w 1918706"/>
                  <a:gd name="connsiteY6" fmla="*/ 4090156 h 5633118"/>
                  <a:gd name="connsiteX7" fmla="*/ 1918706 w 1918706"/>
                  <a:gd name="connsiteY7" fmla="*/ 4097931 h 5633118"/>
                  <a:gd name="connsiteX8" fmla="*/ 1918706 w 1918706"/>
                  <a:gd name="connsiteY8" fmla="*/ 4491829 h 5633118"/>
                  <a:gd name="connsiteX9" fmla="*/ 1918706 w 1918706"/>
                  <a:gd name="connsiteY9" fmla="*/ 4579284 h 5633118"/>
                  <a:gd name="connsiteX10" fmla="*/ 1918706 w 1918706"/>
                  <a:gd name="connsiteY10" fmla="*/ 4592438 h 5633118"/>
                  <a:gd name="connsiteX11" fmla="*/ 1918706 w 1918706"/>
                  <a:gd name="connsiteY11" fmla="*/ 5073791 h 5633118"/>
                  <a:gd name="connsiteX12" fmla="*/ 959355 w 1918706"/>
                  <a:gd name="connsiteY12" fmla="*/ 5633118 h 5633118"/>
                  <a:gd name="connsiteX13" fmla="*/ 0 w 1918706"/>
                  <a:gd name="connsiteY13" fmla="*/ 5073791 h 5633118"/>
                  <a:gd name="connsiteX14" fmla="*/ 0 w 1918706"/>
                  <a:gd name="connsiteY14" fmla="*/ 4592438 h 5633118"/>
                  <a:gd name="connsiteX15" fmla="*/ 0 w 1918706"/>
                  <a:gd name="connsiteY15" fmla="*/ 4579284 h 5633118"/>
                  <a:gd name="connsiteX16" fmla="*/ 0 w 1918706"/>
                  <a:gd name="connsiteY16" fmla="*/ 4491829 h 5633118"/>
                  <a:gd name="connsiteX17" fmla="*/ 0 w 1918706"/>
                  <a:gd name="connsiteY17" fmla="*/ 4097931 h 5633118"/>
                  <a:gd name="connsiteX18" fmla="*/ 0 w 1918706"/>
                  <a:gd name="connsiteY18" fmla="*/ 4090156 h 5633118"/>
                  <a:gd name="connsiteX19" fmla="*/ 0 w 1918706"/>
                  <a:gd name="connsiteY19" fmla="*/ 4069228 h 5633118"/>
                  <a:gd name="connsiteX20" fmla="*/ 0 w 1918706"/>
                  <a:gd name="connsiteY20" fmla="*/ 4010476 h 5633118"/>
                  <a:gd name="connsiteX21" fmla="*/ 0 w 1918706"/>
                  <a:gd name="connsiteY21" fmla="*/ 3997322 h 5633118"/>
                  <a:gd name="connsiteX22" fmla="*/ 0 w 1918706"/>
                  <a:gd name="connsiteY22" fmla="*/ 3595649 h 5633118"/>
                  <a:gd name="connsiteX23" fmla="*/ 0 w 1918706"/>
                  <a:gd name="connsiteY23" fmla="*/ 3587875 h 5633118"/>
                  <a:gd name="connsiteX24" fmla="*/ 0 w 1918706"/>
                  <a:gd name="connsiteY24" fmla="*/ 3574721 h 5633118"/>
                  <a:gd name="connsiteX25" fmla="*/ 0 w 1918706"/>
                  <a:gd name="connsiteY25" fmla="*/ 3515969 h 5633118"/>
                  <a:gd name="connsiteX26" fmla="*/ 0 w 1918706"/>
                  <a:gd name="connsiteY26" fmla="*/ 3508195 h 5633118"/>
                  <a:gd name="connsiteX27" fmla="*/ 0 w 1918706"/>
                  <a:gd name="connsiteY27" fmla="*/ 3487266 h 5633118"/>
                  <a:gd name="connsiteX28" fmla="*/ 0 w 1918706"/>
                  <a:gd name="connsiteY2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69228 h 5633118"/>
                  <a:gd name="connsiteX5" fmla="*/ 1918706 w 1918706"/>
                  <a:gd name="connsiteY5" fmla="*/ 4090156 h 5633118"/>
                  <a:gd name="connsiteX6" fmla="*/ 1918706 w 1918706"/>
                  <a:gd name="connsiteY6" fmla="*/ 4097931 h 5633118"/>
                  <a:gd name="connsiteX7" fmla="*/ 1918706 w 1918706"/>
                  <a:gd name="connsiteY7" fmla="*/ 4491829 h 5633118"/>
                  <a:gd name="connsiteX8" fmla="*/ 1918706 w 1918706"/>
                  <a:gd name="connsiteY8" fmla="*/ 4579284 h 5633118"/>
                  <a:gd name="connsiteX9" fmla="*/ 1918706 w 1918706"/>
                  <a:gd name="connsiteY9" fmla="*/ 4592438 h 5633118"/>
                  <a:gd name="connsiteX10" fmla="*/ 1918706 w 1918706"/>
                  <a:gd name="connsiteY10" fmla="*/ 5073791 h 5633118"/>
                  <a:gd name="connsiteX11" fmla="*/ 959355 w 1918706"/>
                  <a:gd name="connsiteY11" fmla="*/ 5633118 h 5633118"/>
                  <a:gd name="connsiteX12" fmla="*/ 0 w 1918706"/>
                  <a:gd name="connsiteY12" fmla="*/ 5073791 h 5633118"/>
                  <a:gd name="connsiteX13" fmla="*/ 0 w 1918706"/>
                  <a:gd name="connsiteY13" fmla="*/ 4592438 h 5633118"/>
                  <a:gd name="connsiteX14" fmla="*/ 0 w 1918706"/>
                  <a:gd name="connsiteY14" fmla="*/ 4579284 h 5633118"/>
                  <a:gd name="connsiteX15" fmla="*/ 0 w 1918706"/>
                  <a:gd name="connsiteY15" fmla="*/ 4491829 h 5633118"/>
                  <a:gd name="connsiteX16" fmla="*/ 0 w 1918706"/>
                  <a:gd name="connsiteY16" fmla="*/ 4097931 h 5633118"/>
                  <a:gd name="connsiteX17" fmla="*/ 0 w 1918706"/>
                  <a:gd name="connsiteY17" fmla="*/ 4090156 h 5633118"/>
                  <a:gd name="connsiteX18" fmla="*/ 0 w 1918706"/>
                  <a:gd name="connsiteY18" fmla="*/ 4069228 h 5633118"/>
                  <a:gd name="connsiteX19" fmla="*/ 0 w 1918706"/>
                  <a:gd name="connsiteY19" fmla="*/ 4010476 h 5633118"/>
                  <a:gd name="connsiteX20" fmla="*/ 0 w 1918706"/>
                  <a:gd name="connsiteY20" fmla="*/ 3997322 h 5633118"/>
                  <a:gd name="connsiteX21" fmla="*/ 0 w 1918706"/>
                  <a:gd name="connsiteY21" fmla="*/ 3595649 h 5633118"/>
                  <a:gd name="connsiteX22" fmla="*/ 0 w 1918706"/>
                  <a:gd name="connsiteY22" fmla="*/ 3587875 h 5633118"/>
                  <a:gd name="connsiteX23" fmla="*/ 0 w 1918706"/>
                  <a:gd name="connsiteY23" fmla="*/ 3574721 h 5633118"/>
                  <a:gd name="connsiteX24" fmla="*/ 0 w 1918706"/>
                  <a:gd name="connsiteY24" fmla="*/ 3515969 h 5633118"/>
                  <a:gd name="connsiteX25" fmla="*/ 0 w 1918706"/>
                  <a:gd name="connsiteY25" fmla="*/ 3508195 h 5633118"/>
                  <a:gd name="connsiteX26" fmla="*/ 0 w 1918706"/>
                  <a:gd name="connsiteY26" fmla="*/ 3487266 h 5633118"/>
                  <a:gd name="connsiteX27" fmla="*/ 0 w 1918706"/>
                  <a:gd name="connsiteY2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097931 h 5633118"/>
                  <a:gd name="connsiteX6" fmla="*/ 1918706 w 1918706"/>
                  <a:gd name="connsiteY6" fmla="*/ 4491829 h 5633118"/>
                  <a:gd name="connsiteX7" fmla="*/ 1918706 w 1918706"/>
                  <a:gd name="connsiteY7" fmla="*/ 4579284 h 5633118"/>
                  <a:gd name="connsiteX8" fmla="*/ 1918706 w 1918706"/>
                  <a:gd name="connsiteY8" fmla="*/ 4592438 h 5633118"/>
                  <a:gd name="connsiteX9" fmla="*/ 1918706 w 1918706"/>
                  <a:gd name="connsiteY9" fmla="*/ 5073791 h 5633118"/>
                  <a:gd name="connsiteX10" fmla="*/ 959355 w 1918706"/>
                  <a:gd name="connsiteY10" fmla="*/ 5633118 h 5633118"/>
                  <a:gd name="connsiteX11" fmla="*/ 0 w 1918706"/>
                  <a:gd name="connsiteY11" fmla="*/ 5073791 h 5633118"/>
                  <a:gd name="connsiteX12" fmla="*/ 0 w 1918706"/>
                  <a:gd name="connsiteY12" fmla="*/ 4592438 h 5633118"/>
                  <a:gd name="connsiteX13" fmla="*/ 0 w 1918706"/>
                  <a:gd name="connsiteY13" fmla="*/ 4579284 h 5633118"/>
                  <a:gd name="connsiteX14" fmla="*/ 0 w 1918706"/>
                  <a:gd name="connsiteY14" fmla="*/ 4491829 h 5633118"/>
                  <a:gd name="connsiteX15" fmla="*/ 0 w 1918706"/>
                  <a:gd name="connsiteY15" fmla="*/ 4097931 h 5633118"/>
                  <a:gd name="connsiteX16" fmla="*/ 0 w 1918706"/>
                  <a:gd name="connsiteY16" fmla="*/ 4090156 h 5633118"/>
                  <a:gd name="connsiteX17" fmla="*/ 0 w 1918706"/>
                  <a:gd name="connsiteY17" fmla="*/ 4069228 h 5633118"/>
                  <a:gd name="connsiteX18" fmla="*/ 0 w 1918706"/>
                  <a:gd name="connsiteY18" fmla="*/ 4010476 h 5633118"/>
                  <a:gd name="connsiteX19" fmla="*/ 0 w 1918706"/>
                  <a:gd name="connsiteY19" fmla="*/ 3997322 h 5633118"/>
                  <a:gd name="connsiteX20" fmla="*/ 0 w 1918706"/>
                  <a:gd name="connsiteY20" fmla="*/ 3595649 h 5633118"/>
                  <a:gd name="connsiteX21" fmla="*/ 0 w 1918706"/>
                  <a:gd name="connsiteY21" fmla="*/ 3587875 h 5633118"/>
                  <a:gd name="connsiteX22" fmla="*/ 0 w 1918706"/>
                  <a:gd name="connsiteY22" fmla="*/ 3574721 h 5633118"/>
                  <a:gd name="connsiteX23" fmla="*/ 0 w 1918706"/>
                  <a:gd name="connsiteY23" fmla="*/ 3515969 h 5633118"/>
                  <a:gd name="connsiteX24" fmla="*/ 0 w 1918706"/>
                  <a:gd name="connsiteY24" fmla="*/ 3508195 h 5633118"/>
                  <a:gd name="connsiteX25" fmla="*/ 0 w 1918706"/>
                  <a:gd name="connsiteY25" fmla="*/ 3487266 h 5633118"/>
                  <a:gd name="connsiteX26" fmla="*/ 0 w 1918706"/>
                  <a:gd name="connsiteY2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491829 h 5633118"/>
                  <a:gd name="connsiteX6" fmla="*/ 1918706 w 1918706"/>
                  <a:gd name="connsiteY6" fmla="*/ 4579284 h 5633118"/>
                  <a:gd name="connsiteX7" fmla="*/ 1918706 w 1918706"/>
                  <a:gd name="connsiteY7" fmla="*/ 4592438 h 5633118"/>
                  <a:gd name="connsiteX8" fmla="*/ 1918706 w 1918706"/>
                  <a:gd name="connsiteY8" fmla="*/ 5073791 h 5633118"/>
                  <a:gd name="connsiteX9" fmla="*/ 959355 w 1918706"/>
                  <a:gd name="connsiteY9" fmla="*/ 5633118 h 5633118"/>
                  <a:gd name="connsiteX10" fmla="*/ 0 w 1918706"/>
                  <a:gd name="connsiteY10" fmla="*/ 5073791 h 5633118"/>
                  <a:gd name="connsiteX11" fmla="*/ 0 w 1918706"/>
                  <a:gd name="connsiteY11" fmla="*/ 4592438 h 5633118"/>
                  <a:gd name="connsiteX12" fmla="*/ 0 w 1918706"/>
                  <a:gd name="connsiteY12" fmla="*/ 4579284 h 5633118"/>
                  <a:gd name="connsiteX13" fmla="*/ 0 w 1918706"/>
                  <a:gd name="connsiteY13" fmla="*/ 4491829 h 5633118"/>
                  <a:gd name="connsiteX14" fmla="*/ 0 w 1918706"/>
                  <a:gd name="connsiteY14" fmla="*/ 4097931 h 5633118"/>
                  <a:gd name="connsiteX15" fmla="*/ 0 w 1918706"/>
                  <a:gd name="connsiteY15" fmla="*/ 4090156 h 5633118"/>
                  <a:gd name="connsiteX16" fmla="*/ 0 w 1918706"/>
                  <a:gd name="connsiteY16" fmla="*/ 4069228 h 5633118"/>
                  <a:gd name="connsiteX17" fmla="*/ 0 w 1918706"/>
                  <a:gd name="connsiteY17" fmla="*/ 4010476 h 5633118"/>
                  <a:gd name="connsiteX18" fmla="*/ 0 w 1918706"/>
                  <a:gd name="connsiteY18" fmla="*/ 3997322 h 5633118"/>
                  <a:gd name="connsiteX19" fmla="*/ 0 w 1918706"/>
                  <a:gd name="connsiteY19" fmla="*/ 3595649 h 5633118"/>
                  <a:gd name="connsiteX20" fmla="*/ 0 w 1918706"/>
                  <a:gd name="connsiteY20" fmla="*/ 3587875 h 5633118"/>
                  <a:gd name="connsiteX21" fmla="*/ 0 w 1918706"/>
                  <a:gd name="connsiteY21" fmla="*/ 3574721 h 5633118"/>
                  <a:gd name="connsiteX22" fmla="*/ 0 w 1918706"/>
                  <a:gd name="connsiteY22" fmla="*/ 3515969 h 5633118"/>
                  <a:gd name="connsiteX23" fmla="*/ 0 w 1918706"/>
                  <a:gd name="connsiteY23" fmla="*/ 3508195 h 5633118"/>
                  <a:gd name="connsiteX24" fmla="*/ 0 w 1918706"/>
                  <a:gd name="connsiteY24" fmla="*/ 3487266 h 5633118"/>
                  <a:gd name="connsiteX25" fmla="*/ 0 w 1918706"/>
                  <a:gd name="connsiteY2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090156 h 5633118"/>
                  <a:gd name="connsiteX4" fmla="*/ 1918706 w 1918706"/>
                  <a:gd name="connsiteY4" fmla="*/ 4491829 h 5633118"/>
                  <a:gd name="connsiteX5" fmla="*/ 1918706 w 1918706"/>
                  <a:gd name="connsiteY5" fmla="*/ 4579284 h 5633118"/>
                  <a:gd name="connsiteX6" fmla="*/ 1918706 w 1918706"/>
                  <a:gd name="connsiteY6" fmla="*/ 4592438 h 5633118"/>
                  <a:gd name="connsiteX7" fmla="*/ 1918706 w 1918706"/>
                  <a:gd name="connsiteY7" fmla="*/ 5073791 h 5633118"/>
                  <a:gd name="connsiteX8" fmla="*/ 959355 w 1918706"/>
                  <a:gd name="connsiteY8" fmla="*/ 5633118 h 5633118"/>
                  <a:gd name="connsiteX9" fmla="*/ 0 w 1918706"/>
                  <a:gd name="connsiteY9" fmla="*/ 5073791 h 5633118"/>
                  <a:gd name="connsiteX10" fmla="*/ 0 w 1918706"/>
                  <a:gd name="connsiteY10" fmla="*/ 4592438 h 5633118"/>
                  <a:gd name="connsiteX11" fmla="*/ 0 w 1918706"/>
                  <a:gd name="connsiteY11" fmla="*/ 4579284 h 5633118"/>
                  <a:gd name="connsiteX12" fmla="*/ 0 w 1918706"/>
                  <a:gd name="connsiteY12" fmla="*/ 4491829 h 5633118"/>
                  <a:gd name="connsiteX13" fmla="*/ 0 w 1918706"/>
                  <a:gd name="connsiteY13" fmla="*/ 4097931 h 5633118"/>
                  <a:gd name="connsiteX14" fmla="*/ 0 w 1918706"/>
                  <a:gd name="connsiteY14" fmla="*/ 4090156 h 5633118"/>
                  <a:gd name="connsiteX15" fmla="*/ 0 w 1918706"/>
                  <a:gd name="connsiteY15" fmla="*/ 4069228 h 5633118"/>
                  <a:gd name="connsiteX16" fmla="*/ 0 w 1918706"/>
                  <a:gd name="connsiteY16" fmla="*/ 4010476 h 5633118"/>
                  <a:gd name="connsiteX17" fmla="*/ 0 w 1918706"/>
                  <a:gd name="connsiteY17" fmla="*/ 3997322 h 5633118"/>
                  <a:gd name="connsiteX18" fmla="*/ 0 w 1918706"/>
                  <a:gd name="connsiteY18" fmla="*/ 3595649 h 5633118"/>
                  <a:gd name="connsiteX19" fmla="*/ 0 w 1918706"/>
                  <a:gd name="connsiteY19" fmla="*/ 3587875 h 5633118"/>
                  <a:gd name="connsiteX20" fmla="*/ 0 w 1918706"/>
                  <a:gd name="connsiteY20" fmla="*/ 3574721 h 5633118"/>
                  <a:gd name="connsiteX21" fmla="*/ 0 w 1918706"/>
                  <a:gd name="connsiteY21" fmla="*/ 3515969 h 5633118"/>
                  <a:gd name="connsiteX22" fmla="*/ 0 w 1918706"/>
                  <a:gd name="connsiteY22" fmla="*/ 3508195 h 5633118"/>
                  <a:gd name="connsiteX23" fmla="*/ 0 w 1918706"/>
                  <a:gd name="connsiteY23" fmla="*/ 3487266 h 5633118"/>
                  <a:gd name="connsiteX24" fmla="*/ 0 w 1918706"/>
                  <a:gd name="connsiteY2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491829 h 5633118"/>
                  <a:gd name="connsiteX4" fmla="*/ 1918706 w 1918706"/>
                  <a:gd name="connsiteY4" fmla="*/ 4579284 h 5633118"/>
                  <a:gd name="connsiteX5" fmla="*/ 1918706 w 1918706"/>
                  <a:gd name="connsiteY5" fmla="*/ 4592438 h 5633118"/>
                  <a:gd name="connsiteX6" fmla="*/ 1918706 w 1918706"/>
                  <a:gd name="connsiteY6" fmla="*/ 5073791 h 5633118"/>
                  <a:gd name="connsiteX7" fmla="*/ 959355 w 1918706"/>
                  <a:gd name="connsiteY7" fmla="*/ 5633118 h 5633118"/>
                  <a:gd name="connsiteX8" fmla="*/ 0 w 1918706"/>
                  <a:gd name="connsiteY8" fmla="*/ 5073791 h 5633118"/>
                  <a:gd name="connsiteX9" fmla="*/ 0 w 1918706"/>
                  <a:gd name="connsiteY9" fmla="*/ 4592438 h 5633118"/>
                  <a:gd name="connsiteX10" fmla="*/ 0 w 1918706"/>
                  <a:gd name="connsiteY10" fmla="*/ 4579284 h 5633118"/>
                  <a:gd name="connsiteX11" fmla="*/ 0 w 1918706"/>
                  <a:gd name="connsiteY11" fmla="*/ 4491829 h 5633118"/>
                  <a:gd name="connsiteX12" fmla="*/ 0 w 1918706"/>
                  <a:gd name="connsiteY12" fmla="*/ 4097931 h 5633118"/>
                  <a:gd name="connsiteX13" fmla="*/ 0 w 1918706"/>
                  <a:gd name="connsiteY13" fmla="*/ 4090156 h 5633118"/>
                  <a:gd name="connsiteX14" fmla="*/ 0 w 1918706"/>
                  <a:gd name="connsiteY14" fmla="*/ 4069228 h 5633118"/>
                  <a:gd name="connsiteX15" fmla="*/ 0 w 1918706"/>
                  <a:gd name="connsiteY15" fmla="*/ 4010476 h 5633118"/>
                  <a:gd name="connsiteX16" fmla="*/ 0 w 1918706"/>
                  <a:gd name="connsiteY16" fmla="*/ 3997322 h 5633118"/>
                  <a:gd name="connsiteX17" fmla="*/ 0 w 1918706"/>
                  <a:gd name="connsiteY17" fmla="*/ 3595649 h 5633118"/>
                  <a:gd name="connsiteX18" fmla="*/ 0 w 1918706"/>
                  <a:gd name="connsiteY18" fmla="*/ 3587875 h 5633118"/>
                  <a:gd name="connsiteX19" fmla="*/ 0 w 1918706"/>
                  <a:gd name="connsiteY19" fmla="*/ 3574721 h 5633118"/>
                  <a:gd name="connsiteX20" fmla="*/ 0 w 1918706"/>
                  <a:gd name="connsiteY20" fmla="*/ 3515969 h 5633118"/>
                  <a:gd name="connsiteX21" fmla="*/ 0 w 1918706"/>
                  <a:gd name="connsiteY21" fmla="*/ 3508195 h 5633118"/>
                  <a:gd name="connsiteX22" fmla="*/ 0 w 1918706"/>
                  <a:gd name="connsiteY22" fmla="*/ 3487266 h 5633118"/>
                  <a:gd name="connsiteX23" fmla="*/ 0 w 1918706"/>
                  <a:gd name="connsiteY2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4592438 h 5633118"/>
                  <a:gd name="connsiteX5" fmla="*/ 1918706 w 1918706"/>
                  <a:gd name="connsiteY5" fmla="*/ 5073791 h 5633118"/>
                  <a:gd name="connsiteX6" fmla="*/ 959355 w 1918706"/>
                  <a:gd name="connsiteY6" fmla="*/ 5633118 h 5633118"/>
                  <a:gd name="connsiteX7" fmla="*/ 0 w 1918706"/>
                  <a:gd name="connsiteY7" fmla="*/ 5073791 h 5633118"/>
                  <a:gd name="connsiteX8" fmla="*/ 0 w 1918706"/>
                  <a:gd name="connsiteY8" fmla="*/ 4592438 h 5633118"/>
                  <a:gd name="connsiteX9" fmla="*/ 0 w 1918706"/>
                  <a:gd name="connsiteY9" fmla="*/ 4579284 h 5633118"/>
                  <a:gd name="connsiteX10" fmla="*/ 0 w 1918706"/>
                  <a:gd name="connsiteY10" fmla="*/ 4491829 h 5633118"/>
                  <a:gd name="connsiteX11" fmla="*/ 0 w 1918706"/>
                  <a:gd name="connsiteY11" fmla="*/ 4097931 h 5633118"/>
                  <a:gd name="connsiteX12" fmla="*/ 0 w 1918706"/>
                  <a:gd name="connsiteY12" fmla="*/ 4090156 h 5633118"/>
                  <a:gd name="connsiteX13" fmla="*/ 0 w 1918706"/>
                  <a:gd name="connsiteY13" fmla="*/ 4069228 h 5633118"/>
                  <a:gd name="connsiteX14" fmla="*/ 0 w 1918706"/>
                  <a:gd name="connsiteY14" fmla="*/ 4010476 h 5633118"/>
                  <a:gd name="connsiteX15" fmla="*/ 0 w 1918706"/>
                  <a:gd name="connsiteY15" fmla="*/ 3997322 h 5633118"/>
                  <a:gd name="connsiteX16" fmla="*/ 0 w 1918706"/>
                  <a:gd name="connsiteY16" fmla="*/ 3595649 h 5633118"/>
                  <a:gd name="connsiteX17" fmla="*/ 0 w 1918706"/>
                  <a:gd name="connsiteY17" fmla="*/ 3587875 h 5633118"/>
                  <a:gd name="connsiteX18" fmla="*/ 0 w 1918706"/>
                  <a:gd name="connsiteY18" fmla="*/ 3574721 h 5633118"/>
                  <a:gd name="connsiteX19" fmla="*/ 0 w 1918706"/>
                  <a:gd name="connsiteY19" fmla="*/ 3515969 h 5633118"/>
                  <a:gd name="connsiteX20" fmla="*/ 0 w 1918706"/>
                  <a:gd name="connsiteY20" fmla="*/ 3508195 h 5633118"/>
                  <a:gd name="connsiteX21" fmla="*/ 0 w 1918706"/>
                  <a:gd name="connsiteY21" fmla="*/ 3487266 h 5633118"/>
                  <a:gd name="connsiteX22" fmla="*/ 0 w 1918706"/>
                  <a:gd name="connsiteY2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5073791 h 5633118"/>
                  <a:gd name="connsiteX5" fmla="*/ 959355 w 1918706"/>
                  <a:gd name="connsiteY5" fmla="*/ 5633118 h 5633118"/>
                  <a:gd name="connsiteX6" fmla="*/ 0 w 1918706"/>
                  <a:gd name="connsiteY6" fmla="*/ 5073791 h 5633118"/>
                  <a:gd name="connsiteX7" fmla="*/ 0 w 1918706"/>
                  <a:gd name="connsiteY7" fmla="*/ 4592438 h 5633118"/>
                  <a:gd name="connsiteX8" fmla="*/ 0 w 1918706"/>
                  <a:gd name="connsiteY8" fmla="*/ 4579284 h 5633118"/>
                  <a:gd name="connsiteX9" fmla="*/ 0 w 1918706"/>
                  <a:gd name="connsiteY9" fmla="*/ 4491829 h 5633118"/>
                  <a:gd name="connsiteX10" fmla="*/ 0 w 1918706"/>
                  <a:gd name="connsiteY10" fmla="*/ 4097931 h 5633118"/>
                  <a:gd name="connsiteX11" fmla="*/ 0 w 1918706"/>
                  <a:gd name="connsiteY11" fmla="*/ 4090156 h 5633118"/>
                  <a:gd name="connsiteX12" fmla="*/ 0 w 1918706"/>
                  <a:gd name="connsiteY12" fmla="*/ 4069228 h 5633118"/>
                  <a:gd name="connsiteX13" fmla="*/ 0 w 1918706"/>
                  <a:gd name="connsiteY13" fmla="*/ 4010476 h 5633118"/>
                  <a:gd name="connsiteX14" fmla="*/ 0 w 1918706"/>
                  <a:gd name="connsiteY14" fmla="*/ 3997322 h 5633118"/>
                  <a:gd name="connsiteX15" fmla="*/ 0 w 1918706"/>
                  <a:gd name="connsiteY15" fmla="*/ 3595649 h 5633118"/>
                  <a:gd name="connsiteX16" fmla="*/ 0 w 1918706"/>
                  <a:gd name="connsiteY16" fmla="*/ 3587875 h 5633118"/>
                  <a:gd name="connsiteX17" fmla="*/ 0 w 1918706"/>
                  <a:gd name="connsiteY17" fmla="*/ 3574721 h 5633118"/>
                  <a:gd name="connsiteX18" fmla="*/ 0 w 1918706"/>
                  <a:gd name="connsiteY18" fmla="*/ 3515969 h 5633118"/>
                  <a:gd name="connsiteX19" fmla="*/ 0 w 1918706"/>
                  <a:gd name="connsiteY19" fmla="*/ 3508195 h 5633118"/>
                  <a:gd name="connsiteX20" fmla="*/ 0 w 1918706"/>
                  <a:gd name="connsiteY20" fmla="*/ 3487266 h 5633118"/>
                  <a:gd name="connsiteX21" fmla="*/ 0 w 1918706"/>
                  <a:gd name="connsiteY2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3487266 h 5633118"/>
                  <a:gd name="connsiteX20" fmla="*/ 0 w 1918706"/>
                  <a:gd name="connsiteY2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10064 w 1928770"/>
                  <a:gd name="connsiteY7" fmla="*/ 4579284 h 5633118"/>
                  <a:gd name="connsiteX8" fmla="*/ 0 w 1928770"/>
                  <a:gd name="connsiteY8" fmla="*/ 4484457 h 5633118"/>
                  <a:gd name="connsiteX9" fmla="*/ 10064 w 1928770"/>
                  <a:gd name="connsiteY9"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0 w 1928770"/>
                  <a:gd name="connsiteY7" fmla="*/ 4484457 h 5633118"/>
                  <a:gd name="connsiteX8" fmla="*/ 10064 w 1928770"/>
                  <a:gd name="connsiteY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0 h 563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8706" h="5633118">
                    <a:moveTo>
                      <a:pt x="0" y="0"/>
                    </a:moveTo>
                    <a:cubicBezTo>
                      <a:pt x="0" y="308912"/>
                      <a:pt x="429517" y="559332"/>
                      <a:pt x="959355" y="559332"/>
                    </a:cubicBezTo>
                    <a:cubicBezTo>
                      <a:pt x="1489193" y="559332"/>
                      <a:pt x="1918706" y="308912"/>
                      <a:pt x="1918706" y="0"/>
                    </a:cubicBezTo>
                    <a:lnTo>
                      <a:pt x="1918706" y="5073791"/>
                    </a:lnTo>
                    <a:cubicBezTo>
                      <a:pt x="1918706" y="5382699"/>
                      <a:pt x="1489193" y="5633118"/>
                      <a:pt x="959355" y="5633118"/>
                    </a:cubicBezTo>
                    <a:cubicBezTo>
                      <a:pt x="429517" y="5633118"/>
                      <a:pt x="0" y="5382699"/>
                      <a:pt x="0" y="5073791"/>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999" name="Oval 386">
                <a:extLst>
                  <a:ext uri="{FF2B5EF4-FFF2-40B4-BE49-F238E27FC236}">
                    <a16:creationId xmlns:a16="http://schemas.microsoft.com/office/drawing/2014/main" id="{DC72143E-CC9B-477C-A81B-10B41B8DD325}"/>
                  </a:ext>
                </a:extLst>
              </p:cNvPr>
              <p:cNvSpPr/>
              <p:nvPr/>
            </p:nvSpPr>
            <p:spPr bwMode="gray">
              <a:xfrm>
                <a:off x="12676185" y="-2160831"/>
                <a:ext cx="1918706" cy="1340175"/>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992" name="Group 991">
              <a:extLst>
                <a:ext uri="{FF2B5EF4-FFF2-40B4-BE49-F238E27FC236}">
                  <a16:creationId xmlns:a16="http://schemas.microsoft.com/office/drawing/2014/main" id="{5E25501A-D866-46A8-8B34-4A847CC75120}"/>
                </a:ext>
              </a:extLst>
            </p:cNvPr>
            <p:cNvGrpSpPr>
              <a:grpSpLocks noChangeAspect="1"/>
            </p:cNvGrpSpPr>
            <p:nvPr/>
          </p:nvGrpSpPr>
          <p:grpSpPr bwMode="gray">
            <a:xfrm>
              <a:off x="8863433" y="4109499"/>
              <a:ext cx="260073" cy="869376"/>
              <a:chOff x="12676185" y="-2160831"/>
              <a:chExt cx="1918718" cy="6413936"/>
            </a:xfrm>
          </p:grpSpPr>
          <p:sp>
            <p:nvSpPr>
              <p:cNvPr id="996" name="Freeform: Shape 995">
                <a:extLst>
                  <a:ext uri="{FF2B5EF4-FFF2-40B4-BE49-F238E27FC236}">
                    <a16:creationId xmlns:a16="http://schemas.microsoft.com/office/drawing/2014/main" id="{351DA221-3E11-493B-BF91-8862B6AC8D17}"/>
                  </a:ext>
                </a:extLst>
              </p:cNvPr>
              <p:cNvSpPr/>
              <p:nvPr/>
            </p:nvSpPr>
            <p:spPr bwMode="gray">
              <a:xfrm>
                <a:off x="12676197" y="-1380013"/>
                <a:ext cx="1918706" cy="5633118"/>
              </a:xfrm>
              <a:custGeom>
                <a:avLst/>
                <a:gdLst>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581962 h 5633118"/>
                  <a:gd name="connsiteX6" fmla="*/ 1918706 w 1918706"/>
                  <a:gd name="connsiteY6" fmla="*/ 981092 h 5633118"/>
                  <a:gd name="connsiteX7" fmla="*/ 1918706 w 1918706"/>
                  <a:gd name="connsiteY7" fmla="*/ 1004563 h 5633118"/>
                  <a:gd name="connsiteX8" fmla="*/ 1918706 w 1918706"/>
                  <a:gd name="connsiteY8" fmla="*/ 1068547 h 5633118"/>
                  <a:gd name="connsiteX9" fmla="*/ 1918706 w 1918706"/>
                  <a:gd name="connsiteY9" fmla="*/ 1076469 h 5633118"/>
                  <a:gd name="connsiteX10" fmla="*/ 1918706 w 1918706"/>
                  <a:gd name="connsiteY10" fmla="*/ 1491148 h 5633118"/>
                  <a:gd name="connsiteX11" fmla="*/ 1918706 w 1918706"/>
                  <a:gd name="connsiteY11" fmla="*/ 1499070 h 5633118"/>
                  <a:gd name="connsiteX12" fmla="*/ 1918706 w 1918706"/>
                  <a:gd name="connsiteY12" fmla="*/ 1506844 h 5633118"/>
                  <a:gd name="connsiteX13" fmla="*/ 1918706 w 1918706"/>
                  <a:gd name="connsiteY13" fmla="*/ 1563054 h 5633118"/>
                  <a:gd name="connsiteX14" fmla="*/ 1918706 w 1918706"/>
                  <a:gd name="connsiteY14" fmla="*/ 1586524 h 5633118"/>
                  <a:gd name="connsiteX15" fmla="*/ 1918706 w 1918706"/>
                  <a:gd name="connsiteY15" fmla="*/ 1985655 h 5633118"/>
                  <a:gd name="connsiteX16" fmla="*/ 1918706 w 1918706"/>
                  <a:gd name="connsiteY16" fmla="*/ 2001351 h 5633118"/>
                  <a:gd name="connsiteX17" fmla="*/ 1918706 w 1918706"/>
                  <a:gd name="connsiteY17" fmla="*/ 2009125 h 5633118"/>
                  <a:gd name="connsiteX18" fmla="*/ 1918706 w 1918706"/>
                  <a:gd name="connsiteY18" fmla="*/ 2073109 h 5633118"/>
                  <a:gd name="connsiteX19" fmla="*/ 1918706 w 1918706"/>
                  <a:gd name="connsiteY19" fmla="*/ 2081031 h 5633118"/>
                  <a:gd name="connsiteX20" fmla="*/ 1918706 w 1918706"/>
                  <a:gd name="connsiteY20" fmla="*/ 2088805 h 5633118"/>
                  <a:gd name="connsiteX21" fmla="*/ 1918706 w 1918706"/>
                  <a:gd name="connsiteY21" fmla="*/ 2503632 h 5633118"/>
                  <a:gd name="connsiteX22" fmla="*/ 1918706 w 1918706"/>
                  <a:gd name="connsiteY22" fmla="*/ 2511407 h 5633118"/>
                  <a:gd name="connsiteX23" fmla="*/ 1918706 w 1918706"/>
                  <a:gd name="connsiteY23" fmla="*/ 2567616 h 5633118"/>
                  <a:gd name="connsiteX24" fmla="*/ 1918706 w 1918706"/>
                  <a:gd name="connsiteY24" fmla="*/ 2583313 h 5633118"/>
                  <a:gd name="connsiteX25" fmla="*/ 1918706 w 1918706"/>
                  <a:gd name="connsiteY25" fmla="*/ 2591087 h 5633118"/>
                  <a:gd name="connsiteX26" fmla="*/ 1918706 w 1918706"/>
                  <a:gd name="connsiteY26" fmla="*/ 2992759 h 5633118"/>
                  <a:gd name="connsiteX27" fmla="*/ 1918706 w 1918706"/>
                  <a:gd name="connsiteY27" fmla="*/ 3005914 h 5633118"/>
                  <a:gd name="connsiteX28" fmla="*/ 1918706 w 1918706"/>
                  <a:gd name="connsiteY28" fmla="*/ 3013688 h 5633118"/>
                  <a:gd name="connsiteX29" fmla="*/ 1918706 w 1918706"/>
                  <a:gd name="connsiteY29" fmla="*/ 3085594 h 5633118"/>
                  <a:gd name="connsiteX30" fmla="*/ 1918706 w 1918706"/>
                  <a:gd name="connsiteY30" fmla="*/ 3093368 h 5633118"/>
                  <a:gd name="connsiteX31" fmla="*/ 1918706 w 1918706"/>
                  <a:gd name="connsiteY31" fmla="*/ 3487266 h 5633118"/>
                  <a:gd name="connsiteX32" fmla="*/ 1918706 w 1918706"/>
                  <a:gd name="connsiteY32" fmla="*/ 3508195 h 5633118"/>
                  <a:gd name="connsiteX33" fmla="*/ 1918706 w 1918706"/>
                  <a:gd name="connsiteY33" fmla="*/ 3515969 h 5633118"/>
                  <a:gd name="connsiteX34" fmla="*/ 1918706 w 1918706"/>
                  <a:gd name="connsiteY34" fmla="*/ 3574721 h 5633118"/>
                  <a:gd name="connsiteX35" fmla="*/ 1918706 w 1918706"/>
                  <a:gd name="connsiteY35" fmla="*/ 3587875 h 5633118"/>
                  <a:gd name="connsiteX36" fmla="*/ 1918706 w 1918706"/>
                  <a:gd name="connsiteY36" fmla="*/ 3595649 h 5633118"/>
                  <a:gd name="connsiteX37" fmla="*/ 1918706 w 1918706"/>
                  <a:gd name="connsiteY37" fmla="*/ 3997322 h 5633118"/>
                  <a:gd name="connsiteX38" fmla="*/ 1918706 w 1918706"/>
                  <a:gd name="connsiteY38" fmla="*/ 4010476 h 5633118"/>
                  <a:gd name="connsiteX39" fmla="*/ 1918706 w 1918706"/>
                  <a:gd name="connsiteY39" fmla="*/ 4069228 h 5633118"/>
                  <a:gd name="connsiteX40" fmla="*/ 1918706 w 1918706"/>
                  <a:gd name="connsiteY40" fmla="*/ 4090156 h 5633118"/>
                  <a:gd name="connsiteX41" fmla="*/ 1918706 w 1918706"/>
                  <a:gd name="connsiteY41" fmla="*/ 4097931 h 5633118"/>
                  <a:gd name="connsiteX42" fmla="*/ 1918706 w 1918706"/>
                  <a:gd name="connsiteY42" fmla="*/ 4491829 h 5633118"/>
                  <a:gd name="connsiteX43" fmla="*/ 1918706 w 1918706"/>
                  <a:gd name="connsiteY43" fmla="*/ 4579284 h 5633118"/>
                  <a:gd name="connsiteX44" fmla="*/ 1918706 w 1918706"/>
                  <a:gd name="connsiteY44" fmla="*/ 4592438 h 5633118"/>
                  <a:gd name="connsiteX45" fmla="*/ 1918706 w 1918706"/>
                  <a:gd name="connsiteY45" fmla="*/ 5073791 h 5633118"/>
                  <a:gd name="connsiteX46" fmla="*/ 959355 w 1918706"/>
                  <a:gd name="connsiteY46" fmla="*/ 5633118 h 5633118"/>
                  <a:gd name="connsiteX47" fmla="*/ 0 w 1918706"/>
                  <a:gd name="connsiteY47" fmla="*/ 5073791 h 5633118"/>
                  <a:gd name="connsiteX48" fmla="*/ 0 w 1918706"/>
                  <a:gd name="connsiteY48" fmla="*/ 4592438 h 5633118"/>
                  <a:gd name="connsiteX49" fmla="*/ 0 w 1918706"/>
                  <a:gd name="connsiteY49" fmla="*/ 4579284 h 5633118"/>
                  <a:gd name="connsiteX50" fmla="*/ 0 w 1918706"/>
                  <a:gd name="connsiteY50" fmla="*/ 4491829 h 5633118"/>
                  <a:gd name="connsiteX51" fmla="*/ 0 w 1918706"/>
                  <a:gd name="connsiteY51" fmla="*/ 4097931 h 5633118"/>
                  <a:gd name="connsiteX52" fmla="*/ 0 w 1918706"/>
                  <a:gd name="connsiteY52" fmla="*/ 4090156 h 5633118"/>
                  <a:gd name="connsiteX53" fmla="*/ 0 w 1918706"/>
                  <a:gd name="connsiteY53" fmla="*/ 4069228 h 5633118"/>
                  <a:gd name="connsiteX54" fmla="*/ 0 w 1918706"/>
                  <a:gd name="connsiteY54" fmla="*/ 4010476 h 5633118"/>
                  <a:gd name="connsiteX55" fmla="*/ 0 w 1918706"/>
                  <a:gd name="connsiteY55" fmla="*/ 3997322 h 5633118"/>
                  <a:gd name="connsiteX56" fmla="*/ 0 w 1918706"/>
                  <a:gd name="connsiteY56" fmla="*/ 3595649 h 5633118"/>
                  <a:gd name="connsiteX57" fmla="*/ 0 w 1918706"/>
                  <a:gd name="connsiteY57" fmla="*/ 3587875 h 5633118"/>
                  <a:gd name="connsiteX58" fmla="*/ 0 w 1918706"/>
                  <a:gd name="connsiteY58" fmla="*/ 3574721 h 5633118"/>
                  <a:gd name="connsiteX59" fmla="*/ 0 w 1918706"/>
                  <a:gd name="connsiteY59" fmla="*/ 3515969 h 5633118"/>
                  <a:gd name="connsiteX60" fmla="*/ 0 w 1918706"/>
                  <a:gd name="connsiteY60" fmla="*/ 3508195 h 5633118"/>
                  <a:gd name="connsiteX61" fmla="*/ 0 w 1918706"/>
                  <a:gd name="connsiteY61" fmla="*/ 3487266 h 5633118"/>
                  <a:gd name="connsiteX62" fmla="*/ 0 w 1918706"/>
                  <a:gd name="connsiteY62" fmla="*/ 3093368 h 5633118"/>
                  <a:gd name="connsiteX63" fmla="*/ 0 w 1918706"/>
                  <a:gd name="connsiteY63" fmla="*/ 3085594 h 5633118"/>
                  <a:gd name="connsiteX64" fmla="*/ 0 w 1918706"/>
                  <a:gd name="connsiteY64" fmla="*/ 3013688 h 5633118"/>
                  <a:gd name="connsiteX65" fmla="*/ 0 w 1918706"/>
                  <a:gd name="connsiteY65" fmla="*/ 3005914 h 5633118"/>
                  <a:gd name="connsiteX66" fmla="*/ 0 w 1918706"/>
                  <a:gd name="connsiteY66" fmla="*/ 2992759 h 5633118"/>
                  <a:gd name="connsiteX67" fmla="*/ 0 w 1918706"/>
                  <a:gd name="connsiteY67" fmla="*/ 2591087 h 5633118"/>
                  <a:gd name="connsiteX68" fmla="*/ 0 w 1918706"/>
                  <a:gd name="connsiteY68" fmla="*/ 2583313 h 5633118"/>
                  <a:gd name="connsiteX69" fmla="*/ 0 w 1918706"/>
                  <a:gd name="connsiteY69" fmla="*/ 2567616 h 5633118"/>
                  <a:gd name="connsiteX70" fmla="*/ 0 w 1918706"/>
                  <a:gd name="connsiteY70" fmla="*/ 2511407 h 5633118"/>
                  <a:gd name="connsiteX71" fmla="*/ 0 w 1918706"/>
                  <a:gd name="connsiteY71" fmla="*/ 2503632 h 5633118"/>
                  <a:gd name="connsiteX72" fmla="*/ 0 w 1918706"/>
                  <a:gd name="connsiteY72" fmla="*/ 2088805 h 5633118"/>
                  <a:gd name="connsiteX73" fmla="*/ 0 w 1918706"/>
                  <a:gd name="connsiteY73" fmla="*/ 2081031 h 5633118"/>
                  <a:gd name="connsiteX74" fmla="*/ 0 w 1918706"/>
                  <a:gd name="connsiteY74" fmla="*/ 2073109 h 5633118"/>
                  <a:gd name="connsiteX75" fmla="*/ 0 w 1918706"/>
                  <a:gd name="connsiteY75" fmla="*/ 2009125 h 5633118"/>
                  <a:gd name="connsiteX76" fmla="*/ 0 w 1918706"/>
                  <a:gd name="connsiteY76" fmla="*/ 2001351 h 5633118"/>
                  <a:gd name="connsiteX77" fmla="*/ 0 w 1918706"/>
                  <a:gd name="connsiteY77" fmla="*/ 1985655 h 5633118"/>
                  <a:gd name="connsiteX78" fmla="*/ 0 w 1918706"/>
                  <a:gd name="connsiteY78" fmla="*/ 1586524 h 5633118"/>
                  <a:gd name="connsiteX79" fmla="*/ 0 w 1918706"/>
                  <a:gd name="connsiteY79" fmla="*/ 1563054 h 5633118"/>
                  <a:gd name="connsiteX80" fmla="*/ 0 w 1918706"/>
                  <a:gd name="connsiteY80" fmla="*/ 1506844 h 5633118"/>
                  <a:gd name="connsiteX81" fmla="*/ 0 w 1918706"/>
                  <a:gd name="connsiteY81" fmla="*/ 1499070 h 5633118"/>
                  <a:gd name="connsiteX82" fmla="*/ 0 w 1918706"/>
                  <a:gd name="connsiteY82" fmla="*/ 1491148 h 5633118"/>
                  <a:gd name="connsiteX83" fmla="*/ 0 w 1918706"/>
                  <a:gd name="connsiteY83" fmla="*/ 1076469 h 5633118"/>
                  <a:gd name="connsiteX84" fmla="*/ 0 w 1918706"/>
                  <a:gd name="connsiteY84" fmla="*/ 1068547 h 5633118"/>
                  <a:gd name="connsiteX85" fmla="*/ 0 w 1918706"/>
                  <a:gd name="connsiteY85" fmla="*/ 1004563 h 5633118"/>
                  <a:gd name="connsiteX86" fmla="*/ 0 w 1918706"/>
                  <a:gd name="connsiteY86" fmla="*/ 981092 h 5633118"/>
                  <a:gd name="connsiteX87" fmla="*/ 0 w 1918706"/>
                  <a:gd name="connsiteY87" fmla="*/ 581962 h 5633118"/>
                  <a:gd name="connsiteX88" fmla="*/ 0 w 1918706"/>
                  <a:gd name="connsiteY88" fmla="*/ 494507 h 5633118"/>
                  <a:gd name="connsiteX89" fmla="*/ 0 w 1918706"/>
                  <a:gd name="connsiteY89" fmla="*/ 486585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981092 h 5633118"/>
                  <a:gd name="connsiteX6" fmla="*/ 1918706 w 1918706"/>
                  <a:gd name="connsiteY6" fmla="*/ 1004563 h 5633118"/>
                  <a:gd name="connsiteX7" fmla="*/ 1918706 w 1918706"/>
                  <a:gd name="connsiteY7" fmla="*/ 1068547 h 5633118"/>
                  <a:gd name="connsiteX8" fmla="*/ 1918706 w 1918706"/>
                  <a:gd name="connsiteY8" fmla="*/ 1076469 h 5633118"/>
                  <a:gd name="connsiteX9" fmla="*/ 1918706 w 1918706"/>
                  <a:gd name="connsiteY9" fmla="*/ 1491148 h 5633118"/>
                  <a:gd name="connsiteX10" fmla="*/ 1918706 w 1918706"/>
                  <a:gd name="connsiteY10" fmla="*/ 1499070 h 5633118"/>
                  <a:gd name="connsiteX11" fmla="*/ 1918706 w 1918706"/>
                  <a:gd name="connsiteY11" fmla="*/ 1506844 h 5633118"/>
                  <a:gd name="connsiteX12" fmla="*/ 1918706 w 1918706"/>
                  <a:gd name="connsiteY12" fmla="*/ 1563054 h 5633118"/>
                  <a:gd name="connsiteX13" fmla="*/ 1918706 w 1918706"/>
                  <a:gd name="connsiteY13" fmla="*/ 1586524 h 5633118"/>
                  <a:gd name="connsiteX14" fmla="*/ 1918706 w 1918706"/>
                  <a:gd name="connsiteY14" fmla="*/ 1985655 h 5633118"/>
                  <a:gd name="connsiteX15" fmla="*/ 1918706 w 1918706"/>
                  <a:gd name="connsiteY15" fmla="*/ 2001351 h 5633118"/>
                  <a:gd name="connsiteX16" fmla="*/ 1918706 w 1918706"/>
                  <a:gd name="connsiteY16" fmla="*/ 2009125 h 5633118"/>
                  <a:gd name="connsiteX17" fmla="*/ 1918706 w 1918706"/>
                  <a:gd name="connsiteY17" fmla="*/ 2073109 h 5633118"/>
                  <a:gd name="connsiteX18" fmla="*/ 1918706 w 1918706"/>
                  <a:gd name="connsiteY18" fmla="*/ 2081031 h 5633118"/>
                  <a:gd name="connsiteX19" fmla="*/ 1918706 w 1918706"/>
                  <a:gd name="connsiteY19" fmla="*/ 2088805 h 5633118"/>
                  <a:gd name="connsiteX20" fmla="*/ 1918706 w 1918706"/>
                  <a:gd name="connsiteY20" fmla="*/ 2503632 h 5633118"/>
                  <a:gd name="connsiteX21" fmla="*/ 1918706 w 1918706"/>
                  <a:gd name="connsiteY21" fmla="*/ 2511407 h 5633118"/>
                  <a:gd name="connsiteX22" fmla="*/ 1918706 w 1918706"/>
                  <a:gd name="connsiteY22" fmla="*/ 2567616 h 5633118"/>
                  <a:gd name="connsiteX23" fmla="*/ 1918706 w 1918706"/>
                  <a:gd name="connsiteY23" fmla="*/ 2583313 h 5633118"/>
                  <a:gd name="connsiteX24" fmla="*/ 1918706 w 1918706"/>
                  <a:gd name="connsiteY24" fmla="*/ 2591087 h 5633118"/>
                  <a:gd name="connsiteX25" fmla="*/ 1918706 w 1918706"/>
                  <a:gd name="connsiteY25" fmla="*/ 2992759 h 5633118"/>
                  <a:gd name="connsiteX26" fmla="*/ 1918706 w 1918706"/>
                  <a:gd name="connsiteY26" fmla="*/ 3005914 h 5633118"/>
                  <a:gd name="connsiteX27" fmla="*/ 1918706 w 1918706"/>
                  <a:gd name="connsiteY27" fmla="*/ 3013688 h 5633118"/>
                  <a:gd name="connsiteX28" fmla="*/ 1918706 w 1918706"/>
                  <a:gd name="connsiteY28" fmla="*/ 3085594 h 5633118"/>
                  <a:gd name="connsiteX29" fmla="*/ 1918706 w 1918706"/>
                  <a:gd name="connsiteY29" fmla="*/ 3093368 h 5633118"/>
                  <a:gd name="connsiteX30" fmla="*/ 1918706 w 1918706"/>
                  <a:gd name="connsiteY30" fmla="*/ 3487266 h 5633118"/>
                  <a:gd name="connsiteX31" fmla="*/ 1918706 w 1918706"/>
                  <a:gd name="connsiteY31" fmla="*/ 3508195 h 5633118"/>
                  <a:gd name="connsiteX32" fmla="*/ 1918706 w 1918706"/>
                  <a:gd name="connsiteY32" fmla="*/ 3515969 h 5633118"/>
                  <a:gd name="connsiteX33" fmla="*/ 1918706 w 1918706"/>
                  <a:gd name="connsiteY33" fmla="*/ 3574721 h 5633118"/>
                  <a:gd name="connsiteX34" fmla="*/ 1918706 w 1918706"/>
                  <a:gd name="connsiteY34" fmla="*/ 3587875 h 5633118"/>
                  <a:gd name="connsiteX35" fmla="*/ 1918706 w 1918706"/>
                  <a:gd name="connsiteY35" fmla="*/ 3595649 h 5633118"/>
                  <a:gd name="connsiteX36" fmla="*/ 1918706 w 1918706"/>
                  <a:gd name="connsiteY36" fmla="*/ 3997322 h 5633118"/>
                  <a:gd name="connsiteX37" fmla="*/ 1918706 w 1918706"/>
                  <a:gd name="connsiteY37" fmla="*/ 4010476 h 5633118"/>
                  <a:gd name="connsiteX38" fmla="*/ 1918706 w 1918706"/>
                  <a:gd name="connsiteY38" fmla="*/ 4069228 h 5633118"/>
                  <a:gd name="connsiteX39" fmla="*/ 1918706 w 1918706"/>
                  <a:gd name="connsiteY39" fmla="*/ 4090156 h 5633118"/>
                  <a:gd name="connsiteX40" fmla="*/ 1918706 w 1918706"/>
                  <a:gd name="connsiteY40" fmla="*/ 4097931 h 5633118"/>
                  <a:gd name="connsiteX41" fmla="*/ 1918706 w 1918706"/>
                  <a:gd name="connsiteY41" fmla="*/ 4491829 h 5633118"/>
                  <a:gd name="connsiteX42" fmla="*/ 1918706 w 1918706"/>
                  <a:gd name="connsiteY42" fmla="*/ 4579284 h 5633118"/>
                  <a:gd name="connsiteX43" fmla="*/ 1918706 w 1918706"/>
                  <a:gd name="connsiteY43" fmla="*/ 4592438 h 5633118"/>
                  <a:gd name="connsiteX44" fmla="*/ 1918706 w 1918706"/>
                  <a:gd name="connsiteY44" fmla="*/ 5073791 h 5633118"/>
                  <a:gd name="connsiteX45" fmla="*/ 959355 w 1918706"/>
                  <a:gd name="connsiteY45" fmla="*/ 5633118 h 5633118"/>
                  <a:gd name="connsiteX46" fmla="*/ 0 w 1918706"/>
                  <a:gd name="connsiteY46" fmla="*/ 5073791 h 5633118"/>
                  <a:gd name="connsiteX47" fmla="*/ 0 w 1918706"/>
                  <a:gd name="connsiteY47" fmla="*/ 4592438 h 5633118"/>
                  <a:gd name="connsiteX48" fmla="*/ 0 w 1918706"/>
                  <a:gd name="connsiteY48" fmla="*/ 4579284 h 5633118"/>
                  <a:gd name="connsiteX49" fmla="*/ 0 w 1918706"/>
                  <a:gd name="connsiteY49" fmla="*/ 4491829 h 5633118"/>
                  <a:gd name="connsiteX50" fmla="*/ 0 w 1918706"/>
                  <a:gd name="connsiteY50" fmla="*/ 4097931 h 5633118"/>
                  <a:gd name="connsiteX51" fmla="*/ 0 w 1918706"/>
                  <a:gd name="connsiteY51" fmla="*/ 4090156 h 5633118"/>
                  <a:gd name="connsiteX52" fmla="*/ 0 w 1918706"/>
                  <a:gd name="connsiteY52" fmla="*/ 4069228 h 5633118"/>
                  <a:gd name="connsiteX53" fmla="*/ 0 w 1918706"/>
                  <a:gd name="connsiteY53" fmla="*/ 4010476 h 5633118"/>
                  <a:gd name="connsiteX54" fmla="*/ 0 w 1918706"/>
                  <a:gd name="connsiteY54" fmla="*/ 3997322 h 5633118"/>
                  <a:gd name="connsiteX55" fmla="*/ 0 w 1918706"/>
                  <a:gd name="connsiteY55" fmla="*/ 3595649 h 5633118"/>
                  <a:gd name="connsiteX56" fmla="*/ 0 w 1918706"/>
                  <a:gd name="connsiteY56" fmla="*/ 3587875 h 5633118"/>
                  <a:gd name="connsiteX57" fmla="*/ 0 w 1918706"/>
                  <a:gd name="connsiteY57" fmla="*/ 3574721 h 5633118"/>
                  <a:gd name="connsiteX58" fmla="*/ 0 w 1918706"/>
                  <a:gd name="connsiteY58" fmla="*/ 3515969 h 5633118"/>
                  <a:gd name="connsiteX59" fmla="*/ 0 w 1918706"/>
                  <a:gd name="connsiteY59" fmla="*/ 3508195 h 5633118"/>
                  <a:gd name="connsiteX60" fmla="*/ 0 w 1918706"/>
                  <a:gd name="connsiteY60" fmla="*/ 3487266 h 5633118"/>
                  <a:gd name="connsiteX61" fmla="*/ 0 w 1918706"/>
                  <a:gd name="connsiteY61" fmla="*/ 3093368 h 5633118"/>
                  <a:gd name="connsiteX62" fmla="*/ 0 w 1918706"/>
                  <a:gd name="connsiteY62" fmla="*/ 3085594 h 5633118"/>
                  <a:gd name="connsiteX63" fmla="*/ 0 w 1918706"/>
                  <a:gd name="connsiteY63" fmla="*/ 3013688 h 5633118"/>
                  <a:gd name="connsiteX64" fmla="*/ 0 w 1918706"/>
                  <a:gd name="connsiteY64" fmla="*/ 3005914 h 5633118"/>
                  <a:gd name="connsiteX65" fmla="*/ 0 w 1918706"/>
                  <a:gd name="connsiteY65" fmla="*/ 2992759 h 5633118"/>
                  <a:gd name="connsiteX66" fmla="*/ 0 w 1918706"/>
                  <a:gd name="connsiteY66" fmla="*/ 2591087 h 5633118"/>
                  <a:gd name="connsiteX67" fmla="*/ 0 w 1918706"/>
                  <a:gd name="connsiteY67" fmla="*/ 2583313 h 5633118"/>
                  <a:gd name="connsiteX68" fmla="*/ 0 w 1918706"/>
                  <a:gd name="connsiteY68" fmla="*/ 2567616 h 5633118"/>
                  <a:gd name="connsiteX69" fmla="*/ 0 w 1918706"/>
                  <a:gd name="connsiteY69" fmla="*/ 2511407 h 5633118"/>
                  <a:gd name="connsiteX70" fmla="*/ 0 w 1918706"/>
                  <a:gd name="connsiteY70" fmla="*/ 2503632 h 5633118"/>
                  <a:gd name="connsiteX71" fmla="*/ 0 w 1918706"/>
                  <a:gd name="connsiteY71" fmla="*/ 2088805 h 5633118"/>
                  <a:gd name="connsiteX72" fmla="*/ 0 w 1918706"/>
                  <a:gd name="connsiteY72" fmla="*/ 2081031 h 5633118"/>
                  <a:gd name="connsiteX73" fmla="*/ 0 w 1918706"/>
                  <a:gd name="connsiteY73" fmla="*/ 2073109 h 5633118"/>
                  <a:gd name="connsiteX74" fmla="*/ 0 w 1918706"/>
                  <a:gd name="connsiteY74" fmla="*/ 2009125 h 5633118"/>
                  <a:gd name="connsiteX75" fmla="*/ 0 w 1918706"/>
                  <a:gd name="connsiteY75" fmla="*/ 2001351 h 5633118"/>
                  <a:gd name="connsiteX76" fmla="*/ 0 w 1918706"/>
                  <a:gd name="connsiteY76" fmla="*/ 1985655 h 5633118"/>
                  <a:gd name="connsiteX77" fmla="*/ 0 w 1918706"/>
                  <a:gd name="connsiteY77" fmla="*/ 1586524 h 5633118"/>
                  <a:gd name="connsiteX78" fmla="*/ 0 w 1918706"/>
                  <a:gd name="connsiteY78" fmla="*/ 1563054 h 5633118"/>
                  <a:gd name="connsiteX79" fmla="*/ 0 w 1918706"/>
                  <a:gd name="connsiteY79" fmla="*/ 1506844 h 5633118"/>
                  <a:gd name="connsiteX80" fmla="*/ 0 w 1918706"/>
                  <a:gd name="connsiteY80" fmla="*/ 1499070 h 5633118"/>
                  <a:gd name="connsiteX81" fmla="*/ 0 w 1918706"/>
                  <a:gd name="connsiteY81" fmla="*/ 1491148 h 5633118"/>
                  <a:gd name="connsiteX82" fmla="*/ 0 w 1918706"/>
                  <a:gd name="connsiteY82" fmla="*/ 1076469 h 5633118"/>
                  <a:gd name="connsiteX83" fmla="*/ 0 w 1918706"/>
                  <a:gd name="connsiteY83" fmla="*/ 1068547 h 5633118"/>
                  <a:gd name="connsiteX84" fmla="*/ 0 w 1918706"/>
                  <a:gd name="connsiteY84" fmla="*/ 1004563 h 5633118"/>
                  <a:gd name="connsiteX85" fmla="*/ 0 w 1918706"/>
                  <a:gd name="connsiteY85" fmla="*/ 981092 h 5633118"/>
                  <a:gd name="connsiteX86" fmla="*/ 0 w 1918706"/>
                  <a:gd name="connsiteY86" fmla="*/ 581962 h 5633118"/>
                  <a:gd name="connsiteX87" fmla="*/ 0 w 1918706"/>
                  <a:gd name="connsiteY87" fmla="*/ 494507 h 5633118"/>
                  <a:gd name="connsiteX88" fmla="*/ 0 w 1918706"/>
                  <a:gd name="connsiteY88" fmla="*/ 486585 h 5633118"/>
                  <a:gd name="connsiteX89" fmla="*/ 0 w 1918706"/>
                  <a:gd name="connsiteY8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981092 h 5633118"/>
                  <a:gd name="connsiteX5" fmla="*/ 1918706 w 1918706"/>
                  <a:gd name="connsiteY5" fmla="*/ 1004563 h 5633118"/>
                  <a:gd name="connsiteX6" fmla="*/ 1918706 w 1918706"/>
                  <a:gd name="connsiteY6" fmla="*/ 1068547 h 5633118"/>
                  <a:gd name="connsiteX7" fmla="*/ 1918706 w 1918706"/>
                  <a:gd name="connsiteY7" fmla="*/ 1076469 h 5633118"/>
                  <a:gd name="connsiteX8" fmla="*/ 1918706 w 1918706"/>
                  <a:gd name="connsiteY8" fmla="*/ 1491148 h 5633118"/>
                  <a:gd name="connsiteX9" fmla="*/ 1918706 w 1918706"/>
                  <a:gd name="connsiteY9" fmla="*/ 1499070 h 5633118"/>
                  <a:gd name="connsiteX10" fmla="*/ 1918706 w 1918706"/>
                  <a:gd name="connsiteY10" fmla="*/ 1506844 h 5633118"/>
                  <a:gd name="connsiteX11" fmla="*/ 1918706 w 1918706"/>
                  <a:gd name="connsiteY11" fmla="*/ 1563054 h 5633118"/>
                  <a:gd name="connsiteX12" fmla="*/ 1918706 w 1918706"/>
                  <a:gd name="connsiteY12" fmla="*/ 1586524 h 5633118"/>
                  <a:gd name="connsiteX13" fmla="*/ 1918706 w 1918706"/>
                  <a:gd name="connsiteY13" fmla="*/ 1985655 h 5633118"/>
                  <a:gd name="connsiteX14" fmla="*/ 1918706 w 1918706"/>
                  <a:gd name="connsiteY14" fmla="*/ 2001351 h 5633118"/>
                  <a:gd name="connsiteX15" fmla="*/ 1918706 w 1918706"/>
                  <a:gd name="connsiteY15" fmla="*/ 2009125 h 5633118"/>
                  <a:gd name="connsiteX16" fmla="*/ 1918706 w 1918706"/>
                  <a:gd name="connsiteY16" fmla="*/ 2073109 h 5633118"/>
                  <a:gd name="connsiteX17" fmla="*/ 1918706 w 1918706"/>
                  <a:gd name="connsiteY17" fmla="*/ 2081031 h 5633118"/>
                  <a:gd name="connsiteX18" fmla="*/ 1918706 w 1918706"/>
                  <a:gd name="connsiteY18" fmla="*/ 2088805 h 5633118"/>
                  <a:gd name="connsiteX19" fmla="*/ 1918706 w 1918706"/>
                  <a:gd name="connsiteY19" fmla="*/ 2503632 h 5633118"/>
                  <a:gd name="connsiteX20" fmla="*/ 1918706 w 1918706"/>
                  <a:gd name="connsiteY20" fmla="*/ 2511407 h 5633118"/>
                  <a:gd name="connsiteX21" fmla="*/ 1918706 w 1918706"/>
                  <a:gd name="connsiteY21" fmla="*/ 2567616 h 5633118"/>
                  <a:gd name="connsiteX22" fmla="*/ 1918706 w 1918706"/>
                  <a:gd name="connsiteY22" fmla="*/ 2583313 h 5633118"/>
                  <a:gd name="connsiteX23" fmla="*/ 1918706 w 1918706"/>
                  <a:gd name="connsiteY23" fmla="*/ 2591087 h 5633118"/>
                  <a:gd name="connsiteX24" fmla="*/ 1918706 w 1918706"/>
                  <a:gd name="connsiteY24" fmla="*/ 2992759 h 5633118"/>
                  <a:gd name="connsiteX25" fmla="*/ 1918706 w 1918706"/>
                  <a:gd name="connsiteY25" fmla="*/ 3005914 h 5633118"/>
                  <a:gd name="connsiteX26" fmla="*/ 1918706 w 1918706"/>
                  <a:gd name="connsiteY26" fmla="*/ 3013688 h 5633118"/>
                  <a:gd name="connsiteX27" fmla="*/ 1918706 w 1918706"/>
                  <a:gd name="connsiteY27" fmla="*/ 3085594 h 5633118"/>
                  <a:gd name="connsiteX28" fmla="*/ 1918706 w 1918706"/>
                  <a:gd name="connsiteY28" fmla="*/ 3093368 h 5633118"/>
                  <a:gd name="connsiteX29" fmla="*/ 1918706 w 1918706"/>
                  <a:gd name="connsiteY29" fmla="*/ 3487266 h 5633118"/>
                  <a:gd name="connsiteX30" fmla="*/ 1918706 w 1918706"/>
                  <a:gd name="connsiteY30" fmla="*/ 3508195 h 5633118"/>
                  <a:gd name="connsiteX31" fmla="*/ 1918706 w 1918706"/>
                  <a:gd name="connsiteY31" fmla="*/ 3515969 h 5633118"/>
                  <a:gd name="connsiteX32" fmla="*/ 1918706 w 1918706"/>
                  <a:gd name="connsiteY32" fmla="*/ 3574721 h 5633118"/>
                  <a:gd name="connsiteX33" fmla="*/ 1918706 w 1918706"/>
                  <a:gd name="connsiteY33" fmla="*/ 3587875 h 5633118"/>
                  <a:gd name="connsiteX34" fmla="*/ 1918706 w 1918706"/>
                  <a:gd name="connsiteY34" fmla="*/ 3595649 h 5633118"/>
                  <a:gd name="connsiteX35" fmla="*/ 1918706 w 1918706"/>
                  <a:gd name="connsiteY35" fmla="*/ 3997322 h 5633118"/>
                  <a:gd name="connsiteX36" fmla="*/ 1918706 w 1918706"/>
                  <a:gd name="connsiteY36" fmla="*/ 4010476 h 5633118"/>
                  <a:gd name="connsiteX37" fmla="*/ 1918706 w 1918706"/>
                  <a:gd name="connsiteY37" fmla="*/ 4069228 h 5633118"/>
                  <a:gd name="connsiteX38" fmla="*/ 1918706 w 1918706"/>
                  <a:gd name="connsiteY38" fmla="*/ 4090156 h 5633118"/>
                  <a:gd name="connsiteX39" fmla="*/ 1918706 w 1918706"/>
                  <a:gd name="connsiteY39" fmla="*/ 4097931 h 5633118"/>
                  <a:gd name="connsiteX40" fmla="*/ 1918706 w 1918706"/>
                  <a:gd name="connsiteY40" fmla="*/ 4491829 h 5633118"/>
                  <a:gd name="connsiteX41" fmla="*/ 1918706 w 1918706"/>
                  <a:gd name="connsiteY41" fmla="*/ 4579284 h 5633118"/>
                  <a:gd name="connsiteX42" fmla="*/ 1918706 w 1918706"/>
                  <a:gd name="connsiteY42" fmla="*/ 4592438 h 5633118"/>
                  <a:gd name="connsiteX43" fmla="*/ 1918706 w 1918706"/>
                  <a:gd name="connsiteY43" fmla="*/ 5073791 h 5633118"/>
                  <a:gd name="connsiteX44" fmla="*/ 959355 w 1918706"/>
                  <a:gd name="connsiteY44" fmla="*/ 5633118 h 5633118"/>
                  <a:gd name="connsiteX45" fmla="*/ 0 w 1918706"/>
                  <a:gd name="connsiteY45" fmla="*/ 5073791 h 5633118"/>
                  <a:gd name="connsiteX46" fmla="*/ 0 w 1918706"/>
                  <a:gd name="connsiteY46" fmla="*/ 4592438 h 5633118"/>
                  <a:gd name="connsiteX47" fmla="*/ 0 w 1918706"/>
                  <a:gd name="connsiteY47" fmla="*/ 4579284 h 5633118"/>
                  <a:gd name="connsiteX48" fmla="*/ 0 w 1918706"/>
                  <a:gd name="connsiteY48" fmla="*/ 4491829 h 5633118"/>
                  <a:gd name="connsiteX49" fmla="*/ 0 w 1918706"/>
                  <a:gd name="connsiteY49" fmla="*/ 4097931 h 5633118"/>
                  <a:gd name="connsiteX50" fmla="*/ 0 w 1918706"/>
                  <a:gd name="connsiteY50" fmla="*/ 4090156 h 5633118"/>
                  <a:gd name="connsiteX51" fmla="*/ 0 w 1918706"/>
                  <a:gd name="connsiteY51" fmla="*/ 4069228 h 5633118"/>
                  <a:gd name="connsiteX52" fmla="*/ 0 w 1918706"/>
                  <a:gd name="connsiteY52" fmla="*/ 4010476 h 5633118"/>
                  <a:gd name="connsiteX53" fmla="*/ 0 w 1918706"/>
                  <a:gd name="connsiteY53" fmla="*/ 3997322 h 5633118"/>
                  <a:gd name="connsiteX54" fmla="*/ 0 w 1918706"/>
                  <a:gd name="connsiteY54" fmla="*/ 3595649 h 5633118"/>
                  <a:gd name="connsiteX55" fmla="*/ 0 w 1918706"/>
                  <a:gd name="connsiteY55" fmla="*/ 3587875 h 5633118"/>
                  <a:gd name="connsiteX56" fmla="*/ 0 w 1918706"/>
                  <a:gd name="connsiteY56" fmla="*/ 3574721 h 5633118"/>
                  <a:gd name="connsiteX57" fmla="*/ 0 w 1918706"/>
                  <a:gd name="connsiteY57" fmla="*/ 3515969 h 5633118"/>
                  <a:gd name="connsiteX58" fmla="*/ 0 w 1918706"/>
                  <a:gd name="connsiteY58" fmla="*/ 3508195 h 5633118"/>
                  <a:gd name="connsiteX59" fmla="*/ 0 w 1918706"/>
                  <a:gd name="connsiteY59" fmla="*/ 3487266 h 5633118"/>
                  <a:gd name="connsiteX60" fmla="*/ 0 w 1918706"/>
                  <a:gd name="connsiteY60" fmla="*/ 3093368 h 5633118"/>
                  <a:gd name="connsiteX61" fmla="*/ 0 w 1918706"/>
                  <a:gd name="connsiteY61" fmla="*/ 3085594 h 5633118"/>
                  <a:gd name="connsiteX62" fmla="*/ 0 w 1918706"/>
                  <a:gd name="connsiteY62" fmla="*/ 3013688 h 5633118"/>
                  <a:gd name="connsiteX63" fmla="*/ 0 w 1918706"/>
                  <a:gd name="connsiteY63" fmla="*/ 3005914 h 5633118"/>
                  <a:gd name="connsiteX64" fmla="*/ 0 w 1918706"/>
                  <a:gd name="connsiteY64" fmla="*/ 2992759 h 5633118"/>
                  <a:gd name="connsiteX65" fmla="*/ 0 w 1918706"/>
                  <a:gd name="connsiteY65" fmla="*/ 2591087 h 5633118"/>
                  <a:gd name="connsiteX66" fmla="*/ 0 w 1918706"/>
                  <a:gd name="connsiteY66" fmla="*/ 2583313 h 5633118"/>
                  <a:gd name="connsiteX67" fmla="*/ 0 w 1918706"/>
                  <a:gd name="connsiteY67" fmla="*/ 2567616 h 5633118"/>
                  <a:gd name="connsiteX68" fmla="*/ 0 w 1918706"/>
                  <a:gd name="connsiteY68" fmla="*/ 2511407 h 5633118"/>
                  <a:gd name="connsiteX69" fmla="*/ 0 w 1918706"/>
                  <a:gd name="connsiteY69" fmla="*/ 2503632 h 5633118"/>
                  <a:gd name="connsiteX70" fmla="*/ 0 w 1918706"/>
                  <a:gd name="connsiteY70" fmla="*/ 2088805 h 5633118"/>
                  <a:gd name="connsiteX71" fmla="*/ 0 w 1918706"/>
                  <a:gd name="connsiteY71" fmla="*/ 2081031 h 5633118"/>
                  <a:gd name="connsiteX72" fmla="*/ 0 w 1918706"/>
                  <a:gd name="connsiteY72" fmla="*/ 2073109 h 5633118"/>
                  <a:gd name="connsiteX73" fmla="*/ 0 w 1918706"/>
                  <a:gd name="connsiteY73" fmla="*/ 2009125 h 5633118"/>
                  <a:gd name="connsiteX74" fmla="*/ 0 w 1918706"/>
                  <a:gd name="connsiteY74" fmla="*/ 2001351 h 5633118"/>
                  <a:gd name="connsiteX75" fmla="*/ 0 w 1918706"/>
                  <a:gd name="connsiteY75" fmla="*/ 1985655 h 5633118"/>
                  <a:gd name="connsiteX76" fmla="*/ 0 w 1918706"/>
                  <a:gd name="connsiteY76" fmla="*/ 1586524 h 5633118"/>
                  <a:gd name="connsiteX77" fmla="*/ 0 w 1918706"/>
                  <a:gd name="connsiteY77" fmla="*/ 1563054 h 5633118"/>
                  <a:gd name="connsiteX78" fmla="*/ 0 w 1918706"/>
                  <a:gd name="connsiteY78" fmla="*/ 1506844 h 5633118"/>
                  <a:gd name="connsiteX79" fmla="*/ 0 w 1918706"/>
                  <a:gd name="connsiteY79" fmla="*/ 1499070 h 5633118"/>
                  <a:gd name="connsiteX80" fmla="*/ 0 w 1918706"/>
                  <a:gd name="connsiteY80" fmla="*/ 1491148 h 5633118"/>
                  <a:gd name="connsiteX81" fmla="*/ 0 w 1918706"/>
                  <a:gd name="connsiteY81" fmla="*/ 1076469 h 5633118"/>
                  <a:gd name="connsiteX82" fmla="*/ 0 w 1918706"/>
                  <a:gd name="connsiteY82" fmla="*/ 1068547 h 5633118"/>
                  <a:gd name="connsiteX83" fmla="*/ 0 w 1918706"/>
                  <a:gd name="connsiteY83" fmla="*/ 1004563 h 5633118"/>
                  <a:gd name="connsiteX84" fmla="*/ 0 w 1918706"/>
                  <a:gd name="connsiteY84" fmla="*/ 981092 h 5633118"/>
                  <a:gd name="connsiteX85" fmla="*/ 0 w 1918706"/>
                  <a:gd name="connsiteY85" fmla="*/ 581962 h 5633118"/>
                  <a:gd name="connsiteX86" fmla="*/ 0 w 1918706"/>
                  <a:gd name="connsiteY86" fmla="*/ 494507 h 5633118"/>
                  <a:gd name="connsiteX87" fmla="*/ 0 w 1918706"/>
                  <a:gd name="connsiteY87" fmla="*/ 486585 h 5633118"/>
                  <a:gd name="connsiteX88" fmla="*/ 0 w 1918706"/>
                  <a:gd name="connsiteY8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486585 h 5633118"/>
                  <a:gd name="connsiteX87" fmla="*/ 0 w 1918706"/>
                  <a:gd name="connsiteY8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076469 h 5633118"/>
                  <a:gd name="connsiteX80" fmla="*/ 0 w 1918706"/>
                  <a:gd name="connsiteY8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591087 h 5633118"/>
                  <a:gd name="connsiteX64" fmla="*/ 0 w 1918706"/>
                  <a:gd name="connsiteY6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2591087 h 5633118"/>
                  <a:gd name="connsiteX63" fmla="*/ 0 w 1918706"/>
                  <a:gd name="connsiteY6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2591087 h 5633118"/>
                  <a:gd name="connsiteX62" fmla="*/ 0 w 1918706"/>
                  <a:gd name="connsiteY6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2591087 h 5633118"/>
                  <a:gd name="connsiteX61" fmla="*/ 0 w 1918706"/>
                  <a:gd name="connsiteY6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68547 h 5633118"/>
                  <a:gd name="connsiteX5" fmla="*/ 1918706 w 1918706"/>
                  <a:gd name="connsiteY5" fmla="*/ 1076469 h 5633118"/>
                  <a:gd name="connsiteX6" fmla="*/ 1918706 w 1918706"/>
                  <a:gd name="connsiteY6" fmla="*/ 1491148 h 5633118"/>
                  <a:gd name="connsiteX7" fmla="*/ 1918706 w 1918706"/>
                  <a:gd name="connsiteY7" fmla="*/ 1499070 h 5633118"/>
                  <a:gd name="connsiteX8" fmla="*/ 1918706 w 1918706"/>
                  <a:gd name="connsiteY8" fmla="*/ 1506844 h 5633118"/>
                  <a:gd name="connsiteX9" fmla="*/ 1918706 w 1918706"/>
                  <a:gd name="connsiteY9" fmla="*/ 1563054 h 5633118"/>
                  <a:gd name="connsiteX10" fmla="*/ 1918706 w 1918706"/>
                  <a:gd name="connsiteY10" fmla="*/ 1586524 h 5633118"/>
                  <a:gd name="connsiteX11" fmla="*/ 1918706 w 1918706"/>
                  <a:gd name="connsiteY11" fmla="*/ 1985655 h 5633118"/>
                  <a:gd name="connsiteX12" fmla="*/ 1918706 w 1918706"/>
                  <a:gd name="connsiteY12" fmla="*/ 2001351 h 5633118"/>
                  <a:gd name="connsiteX13" fmla="*/ 1918706 w 1918706"/>
                  <a:gd name="connsiteY13" fmla="*/ 2009125 h 5633118"/>
                  <a:gd name="connsiteX14" fmla="*/ 1918706 w 1918706"/>
                  <a:gd name="connsiteY14" fmla="*/ 2073109 h 5633118"/>
                  <a:gd name="connsiteX15" fmla="*/ 1918706 w 1918706"/>
                  <a:gd name="connsiteY15" fmla="*/ 2081031 h 5633118"/>
                  <a:gd name="connsiteX16" fmla="*/ 1918706 w 1918706"/>
                  <a:gd name="connsiteY16" fmla="*/ 2088805 h 5633118"/>
                  <a:gd name="connsiteX17" fmla="*/ 1918706 w 1918706"/>
                  <a:gd name="connsiteY17" fmla="*/ 2503632 h 5633118"/>
                  <a:gd name="connsiteX18" fmla="*/ 1918706 w 1918706"/>
                  <a:gd name="connsiteY18" fmla="*/ 2511407 h 5633118"/>
                  <a:gd name="connsiteX19" fmla="*/ 1918706 w 1918706"/>
                  <a:gd name="connsiteY19" fmla="*/ 2567616 h 5633118"/>
                  <a:gd name="connsiteX20" fmla="*/ 1918706 w 1918706"/>
                  <a:gd name="connsiteY20" fmla="*/ 2583313 h 5633118"/>
                  <a:gd name="connsiteX21" fmla="*/ 1918706 w 1918706"/>
                  <a:gd name="connsiteY21" fmla="*/ 2591087 h 5633118"/>
                  <a:gd name="connsiteX22" fmla="*/ 1918706 w 1918706"/>
                  <a:gd name="connsiteY22" fmla="*/ 2992759 h 5633118"/>
                  <a:gd name="connsiteX23" fmla="*/ 1918706 w 1918706"/>
                  <a:gd name="connsiteY23" fmla="*/ 3005914 h 5633118"/>
                  <a:gd name="connsiteX24" fmla="*/ 1918706 w 1918706"/>
                  <a:gd name="connsiteY24" fmla="*/ 3013688 h 5633118"/>
                  <a:gd name="connsiteX25" fmla="*/ 1918706 w 1918706"/>
                  <a:gd name="connsiteY25" fmla="*/ 3085594 h 5633118"/>
                  <a:gd name="connsiteX26" fmla="*/ 1918706 w 1918706"/>
                  <a:gd name="connsiteY26" fmla="*/ 3093368 h 5633118"/>
                  <a:gd name="connsiteX27" fmla="*/ 1918706 w 1918706"/>
                  <a:gd name="connsiteY27" fmla="*/ 3487266 h 5633118"/>
                  <a:gd name="connsiteX28" fmla="*/ 1918706 w 1918706"/>
                  <a:gd name="connsiteY28" fmla="*/ 3508195 h 5633118"/>
                  <a:gd name="connsiteX29" fmla="*/ 1918706 w 1918706"/>
                  <a:gd name="connsiteY29" fmla="*/ 3515969 h 5633118"/>
                  <a:gd name="connsiteX30" fmla="*/ 1918706 w 1918706"/>
                  <a:gd name="connsiteY30" fmla="*/ 3574721 h 5633118"/>
                  <a:gd name="connsiteX31" fmla="*/ 1918706 w 1918706"/>
                  <a:gd name="connsiteY31" fmla="*/ 3587875 h 5633118"/>
                  <a:gd name="connsiteX32" fmla="*/ 1918706 w 1918706"/>
                  <a:gd name="connsiteY32" fmla="*/ 3595649 h 5633118"/>
                  <a:gd name="connsiteX33" fmla="*/ 1918706 w 1918706"/>
                  <a:gd name="connsiteY33" fmla="*/ 3997322 h 5633118"/>
                  <a:gd name="connsiteX34" fmla="*/ 1918706 w 1918706"/>
                  <a:gd name="connsiteY34" fmla="*/ 4010476 h 5633118"/>
                  <a:gd name="connsiteX35" fmla="*/ 1918706 w 1918706"/>
                  <a:gd name="connsiteY35" fmla="*/ 4069228 h 5633118"/>
                  <a:gd name="connsiteX36" fmla="*/ 1918706 w 1918706"/>
                  <a:gd name="connsiteY36" fmla="*/ 4090156 h 5633118"/>
                  <a:gd name="connsiteX37" fmla="*/ 1918706 w 1918706"/>
                  <a:gd name="connsiteY37" fmla="*/ 4097931 h 5633118"/>
                  <a:gd name="connsiteX38" fmla="*/ 1918706 w 1918706"/>
                  <a:gd name="connsiteY38" fmla="*/ 4491829 h 5633118"/>
                  <a:gd name="connsiteX39" fmla="*/ 1918706 w 1918706"/>
                  <a:gd name="connsiteY39" fmla="*/ 4579284 h 5633118"/>
                  <a:gd name="connsiteX40" fmla="*/ 1918706 w 1918706"/>
                  <a:gd name="connsiteY40" fmla="*/ 4592438 h 5633118"/>
                  <a:gd name="connsiteX41" fmla="*/ 1918706 w 1918706"/>
                  <a:gd name="connsiteY41" fmla="*/ 5073791 h 5633118"/>
                  <a:gd name="connsiteX42" fmla="*/ 959355 w 1918706"/>
                  <a:gd name="connsiteY42" fmla="*/ 5633118 h 5633118"/>
                  <a:gd name="connsiteX43" fmla="*/ 0 w 1918706"/>
                  <a:gd name="connsiteY43" fmla="*/ 5073791 h 5633118"/>
                  <a:gd name="connsiteX44" fmla="*/ 0 w 1918706"/>
                  <a:gd name="connsiteY44" fmla="*/ 4592438 h 5633118"/>
                  <a:gd name="connsiteX45" fmla="*/ 0 w 1918706"/>
                  <a:gd name="connsiteY45" fmla="*/ 4579284 h 5633118"/>
                  <a:gd name="connsiteX46" fmla="*/ 0 w 1918706"/>
                  <a:gd name="connsiteY46" fmla="*/ 4491829 h 5633118"/>
                  <a:gd name="connsiteX47" fmla="*/ 0 w 1918706"/>
                  <a:gd name="connsiteY47" fmla="*/ 4097931 h 5633118"/>
                  <a:gd name="connsiteX48" fmla="*/ 0 w 1918706"/>
                  <a:gd name="connsiteY48" fmla="*/ 4090156 h 5633118"/>
                  <a:gd name="connsiteX49" fmla="*/ 0 w 1918706"/>
                  <a:gd name="connsiteY49" fmla="*/ 4069228 h 5633118"/>
                  <a:gd name="connsiteX50" fmla="*/ 0 w 1918706"/>
                  <a:gd name="connsiteY50" fmla="*/ 4010476 h 5633118"/>
                  <a:gd name="connsiteX51" fmla="*/ 0 w 1918706"/>
                  <a:gd name="connsiteY51" fmla="*/ 3997322 h 5633118"/>
                  <a:gd name="connsiteX52" fmla="*/ 0 w 1918706"/>
                  <a:gd name="connsiteY52" fmla="*/ 3595649 h 5633118"/>
                  <a:gd name="connsiteX53" fmla="*/ 0 w 1918706"/>
                  <a:gd name="connsiteY53" fmla="*/ 3587875 h 5633118"/>
                  <a:gd name="connsiteX54" fmla="*/ 0 w 1918706"/>
                  <a:gd name="connsiteY54" fmla="*/ 3574721 h 5633118"/>
                  <a:gd name="connsiteX55" fmla="*/ 0 w 1918706"/>
                  <a:gd name="connsiteY55" fmla="*/ 3515969 h 5633118"/>
                  <a:gd name="connsiteX56" fmla="*/ 0 w 1918706"/>
                  <a:gd name="connsiteY56" fmla="*/ 3508195 h 5633118"/>
                  <a:gd name="connsiteX57" fmla="*/ 0 w 1918706"/>
                  <a:gd name="connsiteY57" fmla="*/ 3487266 h 5633118"/>
                  <a:gd name="connsiteX58" fmla="*/ 0 w 1918706"/>
                  <a:gd name="connsiteY5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076469 h 5633118"/>
                  <a:gd name="connsiteX5" fmla="*/ 1918706 w 1918706"/>
                  <a:gd name="connsiteY5" fmla="*/ 1491148 h 5633118"/>
                  <a:gd name="connsiteX6" fmla="*/ 1918706 w 1918706"/>
                  <a:gd name="connsiteY6" fmla="*/ 1499070 h 5633118"/>
                  <a:gd name="connsiteX7" fmla="*/ 1918706 w 1918706"/>
                  <a:gd name="connsiteY7" fmla="*/ 1506844 h 5633118"/>
                  <a:gd name="connsiteX8" fmla="*/ 1918706 w 1918706"/>
                  <a:gd name="connsiteY8" fmla="*/ 1563054 h 5633118"/>
                  <a:gd name="connsiteX9" fmla="*/ 1918706 w 1918706"/>
                  <a:gd name="connsiteY9" fmla="*/ 1586524 h 5633118"/>
                  <a:gd name="connsiteX10" fmla="*/ 1918706 w 1918706"/>
                  <a:gd name="connsiteY10" fmla="*/ 1985655 h 5633118"/>
                  <a:gd name="connsiteX11" fmla="*/ 1918706 w 1918706"/>
                  <a:gd name="connsiteY11" fmla="*/ 2001351 h 5633118"/>
                  <a:gd name="connsiteX12" fmla="*/ 1918706 w 1918706"/>
                  <a:gd name="connsiteY12" fmla="*/ 2009125 h 5633118"/>
                  <a:gd name="connsiteX13" fmla="*/ 1918706 w 1918706"/>
                  <a:gd name="connsiteY13" fmla="*/ 2073109 h 5633118"/>
                  <a:gd name="connsiteX14" fmla="*/ 1918706 w 1918706"/>
                  <a:gd name="connsiteY14" fmla="*/ 2081031 h 5633118"/>
                  <a:gd name="connsiteX15" fmla="*/ 1918706 w 1918706"/>
                  <a:gd name="connsiteY15" fmla="*/ 2088805 h 5633118"/>
                  <a:gd name="connsiteX16" fmla="*/ 1918706 w 1918706"/>
                  <a:gd name="connsiteY16" fmla="*/ 2503632 h 5633118"/>
                  <a:gd name="connsiteX17" fmla="*/ 1918706 w 1918706"/>
                  <a:gd name="connsiteY17" fmla="*/ 2511407 h 5633118"/>
                  <a:gd name="connsiteX18" fmla="*/ 1918706 w 1918706"/>
                  <a:gd name="connsiteY18" fmla="*/ 2567616 h 5633118"/>
                  <a:gd name="connsiteX19" fmla="*/ 1918706 w 1918706"/>
                  <a:gd name="connsiteY19" fmla="*/ 2583313 h 5633118"/>
                  <a:gd name="connsiteX20" fmla="*/ 1918706 w 1918706"/>
                  <a:gd name="connsiteY20" fmla="*/ 2591087 h 5633118"/>
                  <a:gd name="connsiteX21" fmla="*/ 1918706 w 1918706"/>
                  <a:gd name="connsiteY21" fmla="*/ 2992759 h 5633118"/>
                  <a:gd name="connsiteX22" fmla="*/ 1918706 w 1918706"/>
                  <a:gd name="connsiteY22" fmla="*/ 3005914 h 5633118"/>
                  <a:gd name="connsiteX23" fmla="*/ 1918706 w 1918706"/>
                  <a:gd name="connsiteY23" fmla="*/ 3013688 h 5633118"/>
                  <a:gd name="connsiteX24" fmla="*/ 1918706 w 1918706"/>
                  <a:gd name="connsiteY24" fmla="*/ 3085594 h 5633118"/>
                  <a:gd name="connsiteX25" fmla="*/ 1918706 w 1918706"/>
                  <a:gd name="connsiteY25" fmla="*/ 3093368 h 5633118"/>
                  <a:gd name="connsiteX26" fmla="*/ 1918706 w 1918706"/>
                  <a:gd name="connsiteY26" fmla="*/ 3487266 h 5633118"/>
                  <a:gd name="connsiteX27" fmla="*/ 1918706 w 1918706"/>
                  <a:gd name="connsiteY27" fmla="*/ 3508195 h 5633118"/>
                  <a:gd name="connsiteX28" fmla="*/ 1918706 w 1918706"/>
                  <a:gd name="connsiteY28" fmla="*/ 3515969 h 5633118"/>
                  <a:gd name="connsiteX29" fmla="*/ 1918706 w 1918706"/>
                  <a:gd name="connsiteY29" fmla="*/ 3574721 h 5633118"/>
                  <a:gd name="connsiteX30" fmla="*/ 1918706 w 1918706"/>
                  <a:gd name="connsiteY30" fmla="*/ 3587875 h 5633118"/>
                  <a:gd name="connsiteX31" fmla="*/ 1918706 w 1918706"/>
                  <a:gd name="connsiteY31" fmla="*/ 3595649 h 5633118"/>
                  <a:gd name="connsiteX32" fmla="*/ 1918706 w 1918706"/>
                  <a:gd name="connsiteY32" fmla="*/ 3997322 h 5633118"/>
                  <a:gd name="connsiteX33" fmla="*/ 1918706 w 1918706"/>
                  <a:gd name="connsiteY33" fmla="*/ 4010476 h 5633118"/>
                  <a:gd name="connsiteX34" fmla="*/ 1918706 w 1918706"/>
                  <a:gd name="connsiteY34" fmla="*/ 4069228 h 5633118"/>
                  <a:gd name="connsiteX35" fmla="*/ 1918706 w 1918706"/>
                  <a:gd name="connsiteY35" fmla="*/ 4090156 h 5633118"/>
                  <a:gd name="connsiteX36" fmla="*/ 1918706 w 1918706"/>
                  <a:gd name="connsiteY36" fmla="*/ 4097931 h 5633118"/>
                  <a:gd name="connsiteX37" fmla="*/ 1918706 w 1918706"/>
                  <a:gd name="connsiteY37" fmla="*/ 4491829 h 5633118"/>
                  <a:gd name="connsiteX38" fmla="*/ 1918706 w 1918706"/>
                  <a:gd name="connsiteY38" fmla="*/ 4579284 h 5633118"/>
                  <a:gd name="connsiteX39" fmla="*/ 1918706 w 1918706"/>
                  <a:gd name="connsiteY39" fmla="*/ 4592438 h 5633118"/>
                  <a:gd name="connsiteX40" fmla="*/ 1918706 w 1918706"/>
                  <a:gd name="connsiteY40" fmla="*/ 5073791 h 5633118"/>
                  <a:gd name="connsiteX41" fmla="*/ 959355 w 1918706"/>
                  <a:gd name="connsiteY41" fmla="*/ 5633118 h 5633118"/>
                  <a:gd name="connsiteX42" fmla="*/ 0 w 1918706"/>
                  <a:gd name="connsiteY42" fmla="*/ 5073791 h 5633118"/>
                  <a:gd name="connsiteX43" fmla="*/ 0 w 1918706"/>
                  <a:gd name="connsiteY43" fmla="*/ 4592438 h 5633118"/>
                  <a:gd name="connsiteX44" fmla="*/ 0 w 1918706"/>
                  <a:gd name="connsiteY44" fmla="*/ 4579284 h 5633118"/>
                  <a:gd name="connsiteX45" fmla="*/ 0 w 1918706"/>
                  <a:gd name="connsiteY45" fmla="*/ 4491829 h 5633118"/>
                  <a:gd name="connsiteX46" fmla="*/ 0 w 1918706"/>
                  <a:gd name="connsiteY46" fmla="*/ 4097931 h 5633118"/>
                  <a:gd name="connsiteX47" fmla="*/ 0 w 1918706"/>
                  <a:gd name="connsiteY47" fmla="*/ 4090156 h 5633118"/>
                  <a:gd name="connsiteX48" fmla="*/ 0 w 1918706"/>
                  <a:gd name="connsiteY48" fmla="*/ 4069228 h 5633118"/>
                  <a:gd name="connsiteX49" fmla="*/ 0 w 1918706"/>
                  <a:gd name="connsiteY49" fmla="*/ 4010476 h 5633118"/>
                  <a:gd name="connsiteX50" fmla="*/ 0 w 1918706"/>
                  <a:gd name="connsiteY50" fmla="*/ 3997322 h 5633118"/>
                  <a:gd name="connsiteX51" fmla="*/ 0 w 1918706"/>
                  <a:gd name="connsiteY51" fmla="*/ 3595649 h 5633118"/>
                  <a:gd name="connsiteX52" fmla="*/ 0 w 1918706"/>
                  <a:gd name="connsiteY52" fmla="*/ 3587875 h 5633118"/>
                  <a:gd name="connsiteX53" fmla="*/ 0 w 1918706"/>
                  <a:gd name="connsiteY53" fmla="*/ 3574721 h 5633118"/>
                  <a:gd name="connsiteX54" fmla="*/ 0 w 1918706"/>
                  <a:gd name="connsiteY54" fmla="*/ 3515969 h 5633118"/>
                  <a:gd name="connsiteX55" fmla="*/ 0 w 1918706"/>
                  <a:gd name="connsiteY55" fmla="*/ 3508195 h 5633118"/>
                  <a:gd name="connsiteX56" fmla="*/ 0 w 1918706"/>
                  <a:gd name="connsiteY56" fmla="*/ 3487266 h 5633118"/>
                  <a:gd name="connsiteX57" fmla="*/ 0 w 1918706"/>
                  <a:gd name="connsiteY5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491148 h 5633118"/>
                  <a:gd name="connsiteX5" fmla="*/ 1918706 w 1918706"/>
                  <a:gd name="connsiteY5" fmla="*/ 1499070 h 5633118"/>
                  <a:gd name="connsiteX6" fmla="*/ 1918706 w 1918706"/>
                  <a:gd name="connsiteY6" fmla="*/ 1506844 h 5633118"/>
                  <a:gd name="connsiteX7" fmla="*/ 1918706 w 1918706"/>
                  <a:gd name="connsiteY7" fmla="*/ 1563054 h 5633118"/>
                  <a:gd name="connsiteX8" fmla="*/ 1918706 w 1918706"/>
                  <a:gd name="connsiteY8" fmla="*/ 1586524 h 5633118"/>
                  <a:gd name="connsiteX9" fmla="*/ 1918706 w 1918706"/>
                  <a:gd name="connsiteY9" fmla="*/ 1985655 h 5633118"/>
                  <a:gd name="connsiteX10" fmla="*/ 1918706 w 1918706"/>
                  <a:gd name="connsiteY10" fmla="*/ 2001351 h 5633118"/>
                  <a:gd name="connsiteX11" fmla="*/ 1918706 w 1918706"/>
                  <a:gd name="connsiteY11" fmla="*/ 2009125 h 5633118"/>
                  <a:gd name="connsiteX12" fmla="*/ 1918706 w 1918706"/>
                  <a:gd name="connsiteY12" fmla="*/ 2073109 h 5633118"/>
                  <a:gd name="connsiteX13" fmla="*/ 1918706 w 1918706"/>
                  <a:gd name="connsiteY13" fmla="*/ 2081031 h 5633118"/>
                  <a:gd name="connsiteX14" fmla="*/ 1918706 w 1918706"/>
                  <a:gd name="connsiteY14" fmla="*/ 2088805 h 5633118"/>
                  <a:gd name="connsiteX15" fmla="*/ 1918706 w 1918706"/>
                  <a:gd name="connsiteY15" fmla="*/ 2503632 h 5633118"/>
                  <a:gd name="connsiteX16" fmla="*/ 1918706 w 1918706"/>
                  <a:gd name="connsiteY16" fmla="*/ 2511407 h 5633118"/>
                  <a:gd name="connsiteX17" fmla="*/ 1918706 w 1918706"/>
                  <a:gd name="connsiteY17" fmla="*/ 2567616 h 5633118"/>
                  <a:gd name="connsiteX18" fmla="*/ 1918706 w 1918706"/>
                  <a:gd name="connsiteY18" fmla="*/ 2583313 h 5633118"/>
                  <a:gd name="connsiteX19" fmla="*/ 1918706 w 1918706"/>
                  <a:gd name="connsiteY19" fmla="*/ 2591087 h 5633118"/>
                  <a:gd name="connsiteX20" fmla="*/ 1918706 w 1918706"/>
                  <a:gd name="connsiteY20" fmla="*/ 2992759 h 5633118"/>
                  <a:gd name="connsiteX21" fmla="*/ 1918706 w 1918706"/>
                  <a:gd name="connsiteY21" fmla="*/ 3005914 h 5633118"/>
                  <a:gd name="connsiteX22" fmla="*/ 1918706 w 1918706"/>
                  <a:gd name="connsiteY22" fmla="*/ 3013688 h 5633118"/>
                  <a:gd name="connsiteX23" fmla="*/ 1918706 w 1918706"/>
                  <a:gd name="connsiteY23" fmla="*/ 3085594 h 5633118"/>
                  <a:gd name="connsiteX24" fmla="*/ 1918706 w 1918706"/>
                  <a:gd name="connsiteY24" fmla="*/ 3093368 h 5633118"/>
                  <a:gd name="connsiteX25" fmla="*/ 1918706 w 1918706"/>
                  <a:gd name="connsiteY25" fmla="*/ 3487266 h 5633118"/>
                  <a:gd name="connsiteX26" fmla="*/ 1918706 w 1918706"/>
                  <a:gd name="connsiteY26" fmla="*/ 3508195 h 5633118"/>
                  <a:gd name="connsiteX27" fmla="*/ 1918706 w 1918706"/>
                  <a:gd name="connsiteY27" fmla="*/ 3515969 h 5633118"/>
                  <a:gd name="connsiteX28" fmla="*/ 1918706 w 1918706"/>
                  <a:gd name="connsiteY28" fmla="*/ 3574721 h 5633118"/>
                  <a:gd name="connsiteX29" fmla="*/ 1918706 w 1918706"/>
                  <a:gd name="connsiteY29" fmla="*/ 3587875 h 5633118"/>
                  <a:gd name="connsiteX30" fmla="*/ 1918706 w 1918706"/>
                  <a:gd name="connsiteY30" fmla="*/ 3595649 h 5633118"/>
                  <a:gd name="connsiteX31" fmla="*/ 1918706 w 1918706"/>
                  <a:gd name="connsiteY31" fmla="*/ 3997322 h 5633118"/>
                  <a:gd name="connsiteX32" fmla="*/ 1918706 w 1918706"/>
                  <a:gd name="connsiteY32" fmla="*/ 4010476 h 5633118"/>
                  <a:gd name="connsiteX33" fmla="*/ 1918706 w 1918706"/>
                  <a:gd name="connsiteY33" fmla="*/ 4069228 h 5633118"/>
                  <a:gd name="connsiteX34" fmla="*/ 1918706 w 1918706"/>
                  <a:gd name="connsiteY34" fmla="*/ 4090156 h 5633118"/>
                  <a:gd name="connsiteX35" fmla="*/ 1918706 w 1918706"/>
                  <a:gd name="connsiteY35" fmla="*/ 4097931 h 5633118"/>
                  <a:gd name="connsiteX36" fmla="*/ 1918706 w 1918706"/>
                  <a:gd name="connsiteY36" fmla="*/ 4491829 h 5633118"/>
                  <a:gd name="connsiteX37" fmla="*/ 1918706 w 1918706"/>
                  <a:gd name="connsiteY37" fmla="*/ 4579284 h 5633118"/>
                  <a:gd name="connsiteX38" fmla="*/ 1918706 w 1918706"/>
                  <a:gd name="connsiteY38" fmla="*/ 4592438 h 5633118"/>
                  <a:gd name="connsiteX39" fmla="*/ 1918706 w 1918706"/>
                  <a:gd name="connsiteY39" fmla="*/ 5073791 h 5633118"/>
                  <a:gd name="connsiteX40" fmla="*/ 959355 w 1918706"/>
                  <a:gd name="connsiteY40" fmla="*/ 5633118 h 5633118"/>
                  <a:gd name="connsiteX41" fmla="*/ 0 w 1918706"/>
                  <a:gd name="connsiteY41" fmla="*/ 5073791 h 5633118"/>
                  <a:gd name="connsiteX42" fmla="*/ 0 w 1918706"/>
                  <a:gd name="connsiteY42" fmla="*/ 4592438 h 5633118"/>
                  <a:gd name="connsiteX43" fmla="*/ 0 w 1918706"/>
                  <a:gd name="connsiteY43" fmla="*/ 4579284 h 5633118"/>
                  <a:gd name="connsiteX44" fmla="*/ 0 w 1918706"/>
                  <a:gd name="connsiteY44" fmla="*/ 4491829 h 5633118"/>
                  <a:gd name="connsiteX45" fmla="*/ 0 w 1918706"/>
                  <a:gd name="connsiteY45" fmla="*/ 4097931 h 5633118"/>
                  <a:gd name="connsiteX46" fmla="*/ 0 w 1918706"/>
                  <a:gd name="connsiteY46" fmla="*/ 4090156 h 5633118"/>
                  <a:gd name="connsiteX47" fmla="*/ 0 w 1918706"/>
                  <a:gd name="connsiteY47" fmla="*/ 4069228 h 5633118"/>
                  <a:gd name="connsiteX48" fmla="*/ 0 w 1918706"/>
                  <a:gd name="connsiteY48" fmla="*/ 4010476 h 5633118"/>
                  <a:gd name="connsiteX49" fmla="*/ 0 w 1918706"/>
                  <a:gd name="connsiteY49" fmla="*/ 3997322 h 5633118"/>
                  <a:gd name="connsiteX50" fmla="*/ 0 w 1918706"/>
                  <a:gd name="connsiteY50" fmla="*/ 3595649 h 5633118"/>
                  <a:gd name="connsiteX51" fmla="*/ 0 w 1918706"/>
                  <a:gd name="connsiteY51" fmla="*/ 3587875 h 5633118"/>
                  <a:gd name="connsiteX52" fmla="*/ 0 w 1918706"/>
                  <a:gd name="connsiteY52" fmla="*/ 3574721 h 5633118"/>
                  <a:gd name="connsiteX53" fmla="*/ 0 w 1918706"/>
                  <a:gd name="connsiteY53" fmla="*/ 3515969 h 5633118"/>
                  <a:gd name="connsiteX54" fmla="*/ 0 w 1918706"/>
                  <a:gd name="connsiteY54" fmla="*/ 3508195 h 5633118"/>
                  <a:gd name="connsiteX55" fmla="*/ 0 w 1918706"/>
                  <a:gd name="connsiteY55" fmla="*/ 3487266 h 5633118"/>
                  <a:gd name="connsiteX56" fmla="*/ 0 w 1918706"/>
                  <a:gd name="connsiteY5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06844 h 5633118"/>
                  <a:gd name="connsiteX6" fmla="*/ 1918706 w 1918706"/>
                  <a:gd name="connsiteY6" fmla="*/ 1563054 h 5633118"/>
                  <a:gd name="connsiteX7" fmla="*/ 1918706 w 1918706"/>
                  <a:gd name="connsiteY7" fmla="*/ 1586524 h 5633118"/>
                  <a:gd name="connsiteX8" fmla="*/ 1918706 w 1918706"/>
                  <a:gd name="connsiteY8" fmla="*/ 1985655 h 5633118"/>
                  <a:gd name="connsiteX9" fmla="*/ 1918706 w 1918706"/>
                  <a:gd name="connsiteY9" fmla="*/ 2001351 h 5633118"/>
                  <a:gd name="connsiteX10" fmla="*/ 1918706 w 1918706"/>
                  <a:gd name="connsiteY10" fmla="*/ 2009125 h 5633118"/>
                  <a:gd name="connsiteX11" fmla="*/ 1918706 w 1918706"/>
                  <a:gd name="connsiteY11" fmla="*/ 2073109 h 5633118"/>
                  <a:gd name="connsiteX12" fmla="*/ 1918706 w 1918706"/>
                  <a:gd name="connsiteY12" fmla="*/ 2081031 h 5633118"/>
                  <a:gd name="connsiteX13" fmla="*/ 1918706 w 1918706"/>
                  <a:gd name="connsiteY13" fmla="*/ 2088805 h 5633118"/>
                  <a:gd name="connsiteX14" fmla="*/ 1918706 w 1918706"/>
                  <a:gd name="connsiteY14" fmla="*/ 2503632 h 5633118"/>
                  <a:gd name="connsiteX15" fmla="*/ 1918706 w 1918706"/>
                  <a:gd name="connsiteY15" fmla="*/ 2511407 h 5633118"/>
                  <a:gd name="connsiteX16" fmla="*/ 1918706 w 1918706"/>
                  <a:gd name="connsiteY16" fmla="*/ 2567616 h 5633118"/>
                  <a:gd name="connsiteX17" fmla="*/ 1918706 w 1918706"/>
                  <a:gd name="connsiteY17" fmla="*/ 2583313 h 5633118"/>
                  <a:gd name="connsiteX18" fmla="*/ 1918706 w 1918706"/>
                  <a:gd name="connsiteY18" fmla="*/ 2591087 h 5633118"/>
                  <a:gd name="connsiteX19" fmla="*/ 1918706 w 1918706"/>
                  <a:gd name="connsiteY19" fmla="*/ 2992759 h 5633118"/>
                  <a:gd name="connsiteX20" fmla="*/ 1918706 w 1918706"/>
                  <a:gd name="connsiteY20" fmla="*/ 3005914 h 5633118"/>
                  <a:gd name="connsiteX21" fmla="*/ 1918706 w 1918706"/>
                  <a:gd name="connsiteY21" fmla="*/ 3013688 h 5633118"/>
                  <a:gd name="connsiteX22" fmla="*/ 1918706 w 1918706"/>
                  <a:gd name="connsiteY22" fmla="*/ 3085594 h 5633118"/>
                  <a:gd name="connsiteX23" fmla="*/ 1918706 w 1918706"/>
                  <a:gd name="connsiteY23" fmla="*/ 3093368 h 5633118"/>
                  <a:gd name="connsiteX24" fmla="*/ 1918706 w 1918706"/>
                  <a:gd name="connsiteY24" fmla="*/ 3487266 h 5633118"/>
                  <a:gd name="connsiteX25" fmla="*/ 1918706 w 1918706"/>
                  <a:gd name="connsiteY25" fmla="*/ 3508195 h 5633118"/>
                  <a:gd name="connsiteX26" fmla="*/ 1918706 w 1918706"/>
                  <a:gd name="connsiteY26" fmla="*/ 3515969 h 5633118"/>
                  <a:gd name="connsiteX27" fmla="*/ 1918706 w 1918706"/>
                  <a:gd name="connsiteY27" fmla="*/ 3574721 h 5633118"/>
                  <a:gd name="connsiteX28" fmla="*/ 1918706 w 1918706"/>
                  <a:gd name="connsiteY28" fmla="*/ 3587875 h 5633118"/>
                  <a:gd name="connsiteX29" fmla="*/ 1918706 w 1918706"/>
                  <a:gd name="connsiteY29" fmla="*/ 3595649 h 5633118"/>
                  <a:gd name="connsiteX30" fmla="*/ 1918706 w 1918706"/>
                  <a:gd name="connsiteY30" fmla="*/ 3997322 h 5633118"/>
                  <a:gd name="connsiteX31" fmla="*/ 1918706 w 1918706"/>
                  <a:gd name="connsiteY31" fmla="*/ 4010476 h 5633118"/>
                  <a:gd name="connsiteX32" fmla="*/ 1918706 w 1918706"/>
                  <a:gd name="connsiteY32" fmla="*/ 4069228 h 5633118"/>
                  <a:gd name="connsiteX33" fmla="*/ 1918706 w 1918706"/>
                  <a:gd name="connsiteY33" fmla="*/ 4090156 h 5633118"/>
                  <a:gd name="connsiteX34" fmla="*/ 1918706 w 1918706"/>
                  <a:gd name="connsiteY34" fmla="*/ 4097931 h 5633118"/>
                  <a:gd name="connsiteX35" fmla="*/ 1918706 w 1918706"/>
                  <a:gd name="connsiteY35" fmla="*/ 4491829 h 5633118"/>
                  <a:gd name="connsiteX36" fmla="*/ 1918706 w 1918706"/>
                  <a:gd name="connsiteY36" fmla="*/ 4579284 h 5633118"/>
                  <a:gd name="connsiteX37" fmla="*/ 1918706 w 1918706"/>
                  <a:gd name="connsiteY37" fmla="*/ 4592438 h 5633118"/>
                  <a:gd name="connsiteX38" fmla="*/ 1918706 w 1918706"/>
                  <a:gd name="connsiteY38" fmla="*/ 5073791 h 5633118"/>
                  <a:gd name="connsiteX39" fmla="*/ 959355 w 1918706"/>
                  <a:gd name="connsiteY39" fmla="*/ 5633118 h 5633118"/>
                  <a:gd name="connsiteX40" fmla="*/ 0 w 1918706"/>
                  <a:gd name="connsiteY40" fmla="*/ 5073791 h 5633118"/>
                  <a:gd name="connsiteX41" fmla="*/ 0 w 1918706"/>
                  <a:gd name="connsiteY41" fmla="*/ 4592438 h 5633118"/>
                  <a:gd name="connsiteX42" fmla="*/ 0 w 1918706"/>
                  <a:gd name="connsiteY42" fmla="*/ 4579284 h 5633118"/>
                  <a:gd name="connsiteX43" fmla="*/ 0 w 1918706"/>
                  <a:gd name="connsiteY43" fmla="*/ 4491829 h 5633118"/>
                  <a:gd name="connsiteX44" fmla="*/ 0 w 1918706"/>
                  <a:gd name="connsiteY44" fmla="*/ 4097931 h 5633118"/>
                  <a:gd name="connsiteX45" fmla="*/ 0 w 1918706"/>
                  <a:gd name="connsiteY45" fmla="*/ 4090156 h 5633118"/>
                  <a:gd name="connsiteX46" fmla="*/ 0 w 1918706"/>
                  <a:gd name="connsiteY46" fmla="*/ 4069228 h 5633118"/>
                  <a:gd name="connsiteX47" fmla="*/ 0 w 1918706"/>
                  <a:gd name="connsiteY47" fmla="*/ 4010476 h 5633118"/>
                  <a:gd name="connsiteX48" fmla="*/ 0 w 1918706"/>
                  <a:gd name="connsiteY48" fmla="*/ 3997322 h 5633118"/>
                  <a:gd name="connsiteX49" fmla="*/ 0 w 1918706"/>
                  <a:gd name="connsiteY49" fmla="*/ 3595649 h 5633118"/>
                  <a:gd name="connsiteX50" fmla="*/ 0 w 1918706"/>
                  <a:gd name="connsiteY50" fmla="*/ 3587875 h 5633118"/>
                  <a:gd name="connsiteX51" fmla="*/ 0 w 1918706"/>
                  <a:gd name="connsiteY51" fmla="*/ 3574721 h 5633118"/>
                  <a:gd name="connsiteX52" fmla="*/ 0 w 1918706"/>
                  <a:gd name="connsiteY52" fmla="*/ 3515969 h 5633118"/>
                  <a:gd name="connsiteX53" fmla="*/ 0 w 1918706"/>
                  <a:gd name="connsiteY53" fmla="*/ 3508195 h 5633118"/>
                  <a:gd name="connsiteX54" fmla="*/ 0 w 1918706"/>
                  <a:gd name="connsiteY54" fmla="*/ 3487266 h 5633118"/>
                  <a:gd name="connsiteX55" fmla="*/ 0 w 1918706"/>
                  <a:gd name="connsiteY5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63054 h 5633118"/>
                  <a:gd name="connsiteX6" fmla="*/ 1918706 w 1918706"/>
                  <a:gd name="connsiteY6" fmla="*/ 1586524 h 5633118"/>
                  <a:gd name="connsiteX7" fmla="*/ 1918706 w 1918706"/>
                  <a:gd name="connsiteY7" fmla="*/ 1985655 h 5633118"/>
                  <a:gd name="connsiteX8" fmla="*/ 1918706 w 1918706"/>
                  <a:gd name="connsiteY8" fmla="*/ 2001351 h 5633118"/>
                  <a:gd name="connsiteX9" fmla="*/ 1918706 w 1918706"/>
                  <a:gd name="connsiteY9" fmla="*/ 2009125 h 5633118"/>
                  <a:gd name="connsiteX10" fmla="*/ 1918706 w 1918706"/>
                  <a:gd name="connsiteY10" fmla="*/ 2073109 h 5633118"/>
                  <a:gd name="connsiteX11" fmla="*/ 1918706 w 1918706"/>
                  <a:gd name="connsiteY11" fmla="*/ 2081031 h 5633118"/>
                  <a:gd name="connsiteX12" fmla="*/ 1918706 w 1918706"/>
                  <a:gd name="connsiteY12" fmla="*/ 2088805 h 5633118"/>
                  <a:gd name="connsiteX13" fmla="*/ 1918706 w 1918706"/>
                  <a:gd name="connsiteY13" fmla="*/ 2503632 h 5633118"/>
                  <a:gd name="connsiteX14" fmla="*/ 1918706 w 1918706"/>
                  <a:gd name="connsiteY14" fmla="*/ 2511407 h 5633118"/>
                  <a:gd name="connsiteX15" fmla="*/ 1918706 w 1918706"/>
                  <a:gd name="connsiteY15" fmla="*/ 2567616 h 5633118"/>
                  <a:gd name="connsiteX16" fmla="*/ 1918706 w 1918706"/>
                  <a:gd name="connsiteY16" fmla="*/ 2583313 h 5633118"/>
                  <a:gd name="connsiteX17" fmla="*/ 1918706 w 1918706"/>
                  <a:gd name="connsiteY17" fmla="*/ 2591087 h 5633118"/>
                  <a:gd name="connsiteX18" fmla="*/ 1918706 w 1918706"/>
                  <a:gd name="connsiteY18" fmla="*/ 2992759 h 5633118"/>
                  <a:gd name="connsiteX19" fmla="*/ 1918706 w 1918706"/>
                  <a:gd name="connsiteY19" fmla="*/ 3005914 h 5633118"/>
                  <a:gd name="connsiteX20" fmla="*/ 1918706 w 1918706"/>
                  <a:gd name="connsiteY20" fmla="*/ 3013688 h 5633118"/>
                  <a:gd name="connsiteX21" fmla="*/ 1918706 w 1918706"/>
                  <a:gd name="connsiteY21" fmla="*/ 3085594 h 5633118"/>
                  <a:gd name="connsiteX22" fmla="*/ 1918706 w 1918706"/>
                  <a:gd name="connsiteY22" fmla="*/ 3093368 h 5633118"/>
                  <a:gd name="connsiteX23" fmla="*/ 1918706 w 1918706"/>
                  <a:gd name="connsiteY23" fmla="*/ 3487266 h 5633118"/>
                  <a:gd name="connsiteX24" fmla="*/ 1918706 w 1918706"/>
                  <a:gd name="connsiteY24" fmla="*/ 3508195 h 5633118"/>
                  <a:gd name="connsiteX25" fmla="*/ 1918706 w 1918706"/>
                  <a:gd name="connsiteY25" fmla="*/ 3515969 h 5633118"/>
                  <a:gd name="connsiteX26" fmla="*/ 1918706 w 1918706"/>
                  <a:gd name="connsiteY26" fmla="*/ 3574721 h 5633118"/>
                  <a:gd name="connsiteX27" fmla="*/ 1918706 w 1918706"/>
                  <a:gd name="connsiteY27" fmla="*/ 3587875 h 5633118"/>
                  <a:gd name="connsiteX28" fmla="*/ 1918706 w 1918706"/>
                  <a:gd name="connsiteY28" fmla="*/ 3595649 h 5633118"/>
                  <a:gd name="connsiteX29" fmla="*/ 1918706 w 1918706"/>
                  <a:gd name="connsiteY29" fmla="*/ 3997322 h 5633118"/>
                  <a:gd name="connsiteX30" fmla="*/ 1918706 w 1918706"/>
                  <a:gd name="connsiteY30" fmla="*/ 4010476 h 5633118"/>
                  <a:gd name="connsiteX31" fmla="*/ 1918706 w 1918706"/>
                  <a:gd name="connsiteY31" fmla="*/ 4069228 h 5633118"/>
                  <a:gd name="connsiteX32" fmla="*/ 1918706 w 1918706"/>
                  <a:gd name="connsiteY32" fmla="*/ 4090156 h 5633118"/>
                  <a:gd name="connsiteX33" fmla="*/ 1918706 w 1918706"/>
                  <a:gd name="connsiteY33" fmla="*/ 4097931 h 5633118"/>
                  <a:gd name="connsiteX34" fmla="*/ 1918706 w 1918706"/>
                  <a:gd name="connsiteY34" fmla="*/ 4491829 h 5633118"/>
                  <a:gd name="connsiteX35" fmla="*/ 1918706 w 1918706"/>
                  <a:gd name="connsiteY35" fmla="*/ 4579284 h 5633118"/>
                  <a:gd name="connsiteX36" fmla="*/ 1918706 w 1918706"/>
                  <a:gd name="connsiteY36" fmla="*/ 4592438 h 5633118"/>
                  <a:gd name="connsiteX37" fmla="*/ 1918706 w 1918706"/>
                  <a:gd name="connsiteY37" fmla="*/ 5073791 h 5633118"/>
                  <a:gd name="connsiteX38" fmla="*/ 959355 w 1918706"/>
                  <a:gd name="connsiteY38" fmla="*/ 5633118 h 5633118"/>
                  <a:gd name="connsiteX39" fmla="*/ 0 w 1918706"/>
                  <a:gd name="connsiteY39" fmla="*/ 5073791 h 5633118"/>
                  <a:gd name="connsiteX40" fmla="*/ 0 w 1918706"/>
                  <a:gd name="connsiteY40" fmla="*/ 4592438 h 5633118"/>
                  <a:gd name="connsiteX41" fmla="*/ 0 w 1918706"/>
                  <a:gd name="connsiteY41" fmla="*/ 4579284 h 5633118"/>
                  <a:gd name="connsiteX42" fmla="*/ 0 w 1918706"/>
                  <a:gd name="connsiteY42" fmla="*/ 4491829 h 5633118"/>
                  <a:gd name="connsiteX43" fmla="*/ 0 w 1918706"/>
                  <a:gd name="connsiteY43" fmla="*/ 4097931 h 5633118"/>
                  <a:gd name="connsiteX44" fmla="*/ 0 w 1918706"/>
                  <a:gd name="connsiteY44" fmla="*/ 4090156 h 5633118"/>
                  <a:gd name="connsiteX45" fmla="*/ 0 w 1918706"/>
                  <a:gd name="connsiteY45" fmla="*/ 4069228 h 5633118"/>
                  <a:gd name="connsiteX46" fmla="*/ 0 w 1918706"/>
                  <a:gd name="connsiteY46" fmla="*/ 4010476 h 5633118"/>
                  <a:gd name="connsiteX47" fmla="*/ 0 w 1918706"/>
                  <a:gd name="connsiteY47" fmla="*/ 3997322 h 5633118"/>
                  <a:gd name="connsiteX48" fmla="*/ 0 w 1918706"/>
                  <a:gd name="connsiteY48" fmla="*/ 3595649 h 5633118"/>
                  <a:gd name="connsiteX49" fmla="*/ 0 w 1918706"/>
                  <a:gd name="connsiteY49" fmla="*/ 3587875 h 5633118"/>
                  <a:gd name="connsiteX50" fmla="*/ 0 w 1918706"/>
                  <a:gd name="connsiteY50" fmla="*/ 3574721 h 5633118"/>
                  <a:gd name="connsiteX51" fmla="*/ 0 w 1918706"/>
                  <a:gd name="connsiteY51" fmla="*/ 3515969 h 5633118"/>
                  <a:gd name="connsiteX52" fmla="*/ 0 w 1918706"/>
                  <a:gd name="connsiteY52" fmla="*/ 3508195 h 5633118"/>
                  <a:gd name="connsiteX53" fmla="*/ 0 w 1918706"/>
                  <a:gd name="connsiteY53" fmla="*/ 3487266 h 5633118"/>
                  <a:gd name="connsiteX54" fmla="*/ 0 w 1918706"/>
                  <a:gd name="connsiteY5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563054 h 5633118"/>
                  <a:gd name="connsiteX5" fmla="*/ 1918706 w 1918706"/>
                  <a:gd name="connsiteY5" fmla="*/ 1586524 h 5633118"/>
                  <a:gd name="connsiteX6" fmla="*/ 1918706 w 1918706"/>
                  <a:gd name="connsiteY6" fmla="*/ 1985655 h 5633118"/>
                  <a:gd name="connsiteX7" fmla="*/ 1918706 w 1918706"/>
                  <a:gd name="connsiteY7" fmla="*/ 2001351 h 5633118"/>
                  <a:gd name="connsiteX8" fmla="*/ 1918706 w 1918706"/>
                  <a:gd name="connsiteY8" fmla="*/ 2009125 h 5633118"/>
                  <a:gd name="connsiteX9" fmla="*/ 1918706 w 1918706"/>
                  <a:gd name="connsiteY9" fmla="*/ 2073109 h 5633118"/>
                  <a:gd name="connsiteX10" fmla="*/ 1918706 w 1918706"/>
                  <a:gd name="connsiteY10" fmla="*/ 2081031 h 5633118"/>
                  <a:gd name="connsiteX11" fmla="*/ 1918706 w 1918706"/>
                  <a:gd name="connsiteY11" fmla="*/ 2088805 h 5633118"/>
                  <a:gd name="connsiteX12" fmla="*/ 1918706 w 1918706"/>
                  <a:gd name="connsiteY12" fmla="*/ 2503632 h 5633118"/>
                  <a:gd name="connsiteX13" fmla="*/ 1918706 w 1918706"/>
                  <a:gd name="connsiteY13" fmla="*/ 2511407 h 5633118"/>
                  <a:gd name="connsiteX14" fmla="*/ 1918706 w 1918706"/>
                  <a:gd name="connsiteY14" fmla="*/ 2567616 h 5633118"/>
                  <a:gd name="connsiteX15" fmla="*/ 1918706 w 1918706"/>
                  <a:gd name="connsiteY15" fmla="*/ 2583313 h 5633118"/>
                  <a:gd name="connsiteX16" fmla="*/ 1918706 w 1918706"/>
                  <a:gd name="connsiteY16" fmla="*/ 2591087 h 5633118"/>
                  <a:gd name="connsiteX17" fmla="*/ 1918706 w 1918706"/>
                  <a:gd name="connsiteY17" fmla="*/ 2992759 h 5633118"/>
                  <a:gd name="connsiteX18" fmla="*/ 1918706 w 1918706"/>
                  <a:gd name="connsiteY18" fmla="*/ 3005914 h 5633118"/>
                  <a:gd name="connsiteX19" fmla="*/ 1918706 w 1918706"/>
                  <a:gd name="connsiteY19" fmla="*/ 3013688 h 5633118"/>
                  <a:gd name="connsiteX20" fmla="*/ 1918706 w 1918706"/>
                  <a:gd name="connsiteY20" fmla="*/ 3085594 h 5633118"/>
                  <a:gd name="connsiteX21" fmla="*/ 1918706 w 1918706"/>
                  <a:gd name="connsiteY21" fmla="*/ 3093368 h 5633118"/>
                  <a:gd name="connsiteX22" fmla="*/ 1918706 w 1918706"/>
                  <a:gd name="connsiteY22" fmla="*/ 3487266 h 5633118"/>
                  <a:gd name="connsiteX23" fmla="*/ 1918706 w 1918706"/>
                  <a:gd name="connsiteY23" fmla="*/ 3508195 h 5633118"/>
                  <a:gd name="connsiteX24" fmla="*/ 1918706 w 1918706"/>
                  <a:gd name="connsiteY24" fmla="*/ 3515969 h 5633118"/>
                  <a:gd name="connsiteX25" fmla="*/ 1918706 w 1918706"/>
                  <a:gd name="connsiteY25" fmla="*/ 3574721 h 5633118"/>
                  <a:gd name="connsiteX26" fmla="*/ 1918706 w 1918706"/>
                  <a:gd name="connsiteY26" fmla="*/ 3587875 h 5633118"/>
                  <a:gd name="connsiteX27" fmla="*/ 1918706 w 1918706"/>
                  <a:gd name="connsiteY27" fmla="*/ 3595649 h 5633118"/>
                  <a:gd name="connsiteX28" fmla="*/ 1918706 w 1918706"/>
                  <a:gd name="connsiteY28" fmla="*/ 3997322 h 5633118"/>
                  <a:gd name="connsiteX29" fmla="*/ 1918706 w 1918706"/>
                  <a:gd name="connsiteY29" fmla="*/ 4010476 h 5633118"/>
                  <a:gd name="connsiteX30" fmla="*/ 1918706 w 1918706"/>
                  <a:gd name="connsiteY30" fmla="*/ 4069228 h 5633118"/>
                  <a:gd name="connsiteX31" fmla="*/ 1918706 w 1918706"/>
                  <a:gd name="connsiteY31" fmla="*/ 4090156 h 5633118"/>
                  <a:gd name="connsiteX32" fmla="*/ 1918706 w 1918706"/>
                  <a:gd name="connsiteY32" fmla="*/ 4097931 h 5633118"/>
                  <a:gd name="connsiteX33" fmla="*/ 1918706 w 1918706"/>
                  <a:gd name="connsiteY33" fmla="*/ 4491829 h 5633118"/>
                  <a:gd name="connsiteX34" fmla="*/ 1918706 w 1918706"/>
                  <a:gd name="connsiteY34" fmla="*/ 4579284 h 5633118"/>
                  <a:gd name="connsiteX35" fmla="*/ 1918706 w 1918706"/>
                  <a:gd name="connsiteY35" fmla="*/ 4592438 h 5633118"/>
                  <a:gd name="connsiteX36" fmla="*/ 1918706 w 1918706"/>
                  <a:gd name="connsiteY36" fmla="*/ 5073791 h 5633118"/>
                  <a:gd name="connsiteX37" fmla="*/ 959355 w 1918706"/>
                  <a:gd name="connsiteY37" fmla="*/ 5633118 h 5633118"/>
                  <a:gd name="connsiteX38" fmla="*/ 0 w 1918706"/>
                  <a:gd name="connsiteY38" fmla="*/ 5073791 h 5633118"/>
                  <a:gd name="connsiteX39" fmla="*/ 0 w 1918706"/>
                  <a:gd name="connsiteY39" fmla="*/ 4592438 h 5633118"/>
                  <a:gd name="connsiteX40" fmla="*/ 0 w 1918706"/>
                  <a:gd name="connsiteY40" fmla="*/ 4579284 h 5633118"/>
                  <a:gd name="connsiteX41" fmla="*/ 0 w 1918706"/>
                  <a:gd name="connsiteY41" fmla="*/ 4491829 h 5633118"/>
                  <a:gd name="connsiteX42" fmla="*/ 0 w 1918706"/>
                  <a:gd name="connsiteY42" fmla="*/ 4097931 h 5633118"/>
                  <a:gd name="connsiteX43" fmla="*/ 0 w 1918706"/>
                  <a:gd name="connsiteY43" fmla="*/ 4090156 h 5633118"/>
                  <a:gd name="connsiteX44" fmla="*/ 0 w 1918706"/>
                  <a:gd name="connsiteY44" fmla="*/ 4069228 h 5633118"/>
                  <a:gd name="connsiteX45" fmla="*/ 0 w 1918706"/>
                  <a:gd name="connsiteY45" fmla="*/ 4010476 h 5633118"/>
                  <a:gd name="connsiteX46" fmla="*/ 0 w 1918706"/>
                  <a:gd name="connsiteY46" fmla="*/ 3997322 h 5633118"/>
                  <a:gd name="connsiteX47" fmla="*/ 0 w 1918706"/>
                  <a:gd name="connsiteY47" fmla="*/ 3595649 h 5633118"/>
                  <a:gd name="connsiteX48" fmla="*/ 0 w 1918706"/>
                  <a:gd name="connsiteY48" fmla="*/ 3587875 h 5633118"/>
                  <a:gd name="connsiteX49" fmla="*/ 0 w 1918706"/>
                  <a:gd name="connsiteY49" fmla="*/ 3574721 h 5633118"/>
                  <a:gd name="connsiteX50" fmla="*/ 0 w 1918706"/>
                  <a:gd name="connsiteY50" fmla="*/ 3515969 h 5633118"/>
                  <a:gd name="connsiteX51" fmla="*/ 0 w 1918706"/>
                  <a:gd name="connsiteY51" fmla="*/ 3508195 h 5633118"/>
                  <a:gd name="connsiteX52" fmla="*/ 0 w 1918706"/>
                  <a:gd name="connsiteY52" fmla="*/ 3487266 h 5633118"/>
                  <a:gd name="connsiteX53" fmla="*/ 0 w 1918706"/>
                  <a:gd name="connsiteY5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586524 h 5633118"/>
                  <a:gd name="connsiteX5" fmla="*/ 1918706 w 1918706"/>
                  <a:gd name="connsiteY5" fmla="*/ 1985655 h 5633118"/>
                  <a:gd name="connsiteX6" fmla="*/ 1918706 w 1918706"/>
                  <a:gd name="connsiteY6" fmla="*/ 2001351 h 5633118"/>
                  <a:gd name="connsiteX7" fmla="*/ 1918706 w 1918706"/>
                  <a:gd name="connsiteY7" fmla="*/ 2009125 h 5633118"/>
                  <a:gd name="connsiteX8" fmla="*/ 1918706 w 1918706"/>
                  <a:gd name="connsiteY8" fmla="*/ 2073109 h 5633118"/>
                  <a:gd name="connsiteX9" fmla="*/ 1918706 w 1918706"/>
                  <a:gd name="connsiteY9" fmla="*/ 2081031 h 5633118"/>
                  <a:gd name="connsiteX10" fmla="*/ 1918706 w 1918706"/>
                  <a:gd name="connsiteY10" fmla="*/ 2088805 h 5633118"/>
                  <a:gd name="connsiteX11" fmla="*/ 1918706 w 1918706"/>
                  <a:gd name="connsiteY11" fmla="*/ 2503632 h 5633118"/>
                  <a:gd name="connsiteX12" fmla="*/ 1918706 w 1918706"/>
                  <a:gd name="connsiteY12" fmla="*/ 2511407 h 5633118"/>
                  <a:gd name="connsiteX13" fmla="*/ 1918706 w 1918706"/>
                  <a:gd name="connsiteY13" fmla="*/ 2567616 h 5633118"/>
                  <a:gd name="connsiteX14" fmla="*/ 1918706 w 1918706"/>
                  <a:gd name="connsiteY14" fmla="*/ 2583313 h 5633118"/>
                  <a:gd name="connsiteX15" fmla="*/ 1918706 w 1918706"/>
                  <a:gd name="connsiteY15" fmla="*/ 2591087 h 5633118"/>
                  <a:gd name="connsiteX16" fmla="*/ 1918706 w 1918706"/>
                  <a:gd name="connsiteY16" fmla="*/ 2992759 h 5633118"/>
                  <a:gd name="connsiteX17" fmla="*/ 1918706 w 1918706"/>
                  <a:gd name="connsiteY17" fmla="*/ 3005914 h 5633118"/>
                  <a:gd name="connsiteX18" fmla="*/ 1918706 w 1918706"/>
                  <a:gd name="connsiteY18" fmla="*/ 3013688 h 5633118"/>
                  <a:gd name="connsiteX19" fmla="*/ 1918706 w 1918706"/>
                  <a:gd name="connsiteY19" fmla="*/ 3085594 h 5633118"/>
                  <a:gd name="connsiteX20" fmla="*/ 1918706 w 1918706"/>
                  <a:gd name="connsiteY20" fmla="*/ 3093368 h 5633118"/>
                  <a:gd name="connsiteX21" fmla="*/ 1918706 w 1918706"/>
                  <a:gd name="connsiteY21" fmla="*/ 3487266 h 5633118"/>
                  <a:gd name="connsiteX22" fmla="*/ 1918706 w 1918706"/>
                  <a:gd name="connsiteY22" fmla="*/ 3508195 h 5633118"/>
                  <a:gd name="connsiteX23" fmla="*/ 1918706 w 1918706"/>
                  <a:gd name="connsiteY23" fmla="*/ 3515969 h 5633118"/>
                  <a:gd name="connsiteX24" fmla="*/ 1918706 w 1918706"/>
                  <a:gd name="connsiteY24" fmla="*/ 3574721 h 5633118"/>
                  <a:gd name="connsiteX25" fmla="*/ 1918706 w 1918706"/>
                  <a:gd name="connsiteY25" fmla="*/ 3587875 h 5633118"/>
                  <a:gd name="connsiteX26" fmla="*/ 1918706 w 1918706"/>
                  <a:gd name="connsiteY26" fmla="*/ 3595649 h 5633118"/>
                  <a:gd name="connsiteX27" fmla="*/ 1918706 w 1918706"/>
                  <a:gd name="connsiteY27" fmla="*/ 3997322 h 5633118"/>
                  <a:gd name="connsiteX28" fmla="*/ 1918706 w 1918706"/>
                  <a:gd name="connsiteY28" fmla="*/ 4010476 h 5633118"/>
                  <a:gd name="connsiteX29" fmla="*/ 1918706 w 1918706"/>
                  <a:gd name="connsiteY29" fmla="*/ 4069228 h 5633118"/>
                  <a:gd name="connsiteX30" fmla="*/ 1918706 w 1918706"/>
                  <a:gd name="connsiteY30" fmla="*/ 4090156 h 5633118"/>
                  <a:gd name="connsiteX31" fmla="*/ 1918706 w 1918706"/>
                  <a:gd name="connsiteY31" fmla="*/ 4097931 h 5633118"/>
                  <a:gd name="connsiteX32" fmla="*/ 1918706 w 1918706"/>
                  <a:gd name="connsiteY32" fmla="*/ 4491829 h 5633118"/>
                  <a:gd name="connsiteX33" fmla="*/ 1918706 w 1918706"/>
                  <a:gd name="connsiteY33" fmla="*/ 4579284 h 5633118"/>
                  <a:gd name="connsiteX34" fmla="*/ 1918706 w 1918706"/>
                  <a:gd name="connsiteY34" fmla="*/ 4592438 h 5633118"/>
                  <a:gd name="connsiteX35" fmla="*/ 1918706 w 1918706"/>
                  <a:gd name="connsiteY35" fmla="*/ 5073791 h 5633118"/>
                  <a:gd name="connsiteX36" fmla="*/ 959355 w 1918706"/>
                  <a:gd name="connsiteY36" fmla="*/ 5633118 h 5633118"/>
                  <a:gd name="connsiteX37" fmla="*/ 0 w 1918706"/>
                  <a:gd name="connsiteY37" fmla="*/ 5073791 h 5633118"/>
                  <a:gd name="connsiteX38" fmla="*/ 0 w 1918706"/>
                  <a:gd name="connsiteY38" fmla="*/ 4592438 h 5633118"/>
                  <a:gd name="connsiteX39" fmla="*/ 0 w 1918706"/>
                  <a:gd name="connsiteY39" fmla="*/ 4579284 h 5633118"/>
                  <a:gd name="connsiteX40" fmla="*/ 0 w 1918706"/>
                  <a:gd name="connsiteY40" fmla="*/ 4491829 h 5633118"/>
                  <a:gd name="connsiteX41" fmla="*/ 0 w 1918706"/>
                  <a:gd name="connsiteY41" fmla="*/ 4097931 h 5633118"/>
                  <a:gd name="connsiteX42" fmla="*/ 0 w 1918706"/>
                  <a:gd name="connsiteY42" fmla="*/ 4090156 h 5633118"/>
                  <a:gd name="connsiteX43" fmla="*/ 0 w 1918706"/>
                  <a:gd name="connsiteY43" fmla="*/ 4069228 h 5633118"/>
                  <a:gd name="connsiteX44" fmla="*/ 0 w 1918706"/>
                  <a:gd name="connsiteY44" fmla="*/ 4010476 h 5633118"/>
                  <a:gd name="connsiteX45" fmla="*/ 0 w 1918706"/>
                  <a:gd name="connsiteY45" fmla="*/ 3997322 h 5633118"/>
                  <a:gd name="connsiteX46" fmla="*/ 0 w 1918706"/>
                  <a:gd name="connsiteY46" fmla="*/ 3595649 h 5633118"/>
                  <a:gd name="connsiteX47" fmla="*/ 0 w 1918706"/>
                  <a:gd name="connsiteY47" fmla="*/ 3587875 h 5633118"/>
                  <a:gd name="connsiteX48" fmla="*/ 0 w 1918706"/>
                  <a:gd name="connsiteY48" fmla="*/ 3574721 h 5633118"/>
                  <a:gd name="connsiteX49" fmla="*/ 0 w 1918706"/>
                  <a:gd name="connsiteY49" fmla="*/ 3515969 h 5633118"/>
                  <a:gd name="connsiteX50" fmla="*/ 0 w 1918706"/>
                  <a:gd name="connsiteY50" fmla="*/ 3508195 h 5633118"/>
                  <a:gd name="connsiteX51" fmla="*/ 0 w 1918706"/>
                  <a:gd name="connsiteY51" fmla="*/ 3487266 h 5633118"/>
                  <a:gd name="connsiteX52" fmla="*/ 0 w 1918706"/>
                  <a:gd name="connsiteY5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985655 h 5633118"/>
                  <a:gd name="connsiteX5" fmla="*/ 1918706 w 1918706"/>
                  <a:gd name="connsiteY5" fmla="*/ 2001351 h 5633118"/>
                  <a:gd name="connsiteX6" fmla="*/ 1918706 w 1918706"/>
                  <a:gd name="connsiteY6" fmla="*/ 2009125 h 5633118"/>
                  <a:gd name="connsiteX7" fmla="*/ 1918706 w 1918706"/>
                  <a:gd name="connsiteY7" fmla="*/ 2073109 h 5633118"/>
                  <a:gd name="connsiteX8" fmla="*/ 1918706 w 1918706"/>
                  <a:gd name="connsiteY8" fmla="*/ 2081031 h 5633118"/>
                  <a:gd name="connsiteX9" fmla="*/ 1918706 w 1918706"/>
                  <a:gd name="connsiteY9" fmla="*/ 2088805 h 5633118"/>
                  <a:gd name="connsiteX10" fmla="*/ 1918706 w 1918706"/>
                  <a:gd name="connsiteY10" fmla="*/ 2503632 h 5633118"/>
                  <a:gd name="connsiteX11" fmla="*/ 1918706 w 1918706"/>
                  <a:gd name="connsiteY11" fmla="*/ 2511407 h 5633118"/>
                  <a:gd name="connsiteX12" fmla="*/ 1918706 w 1918706"/>
                  <a:gd name="connsiteY12" fmla="*/ 2567616 h 5633118"/>
                  <a:gd name="connsiteX13" fmla="*/ 1918706 w 1918706"/>
                  <a:gd name="connsiteY13" fmla="*/ 2583313 h 5633118"/>
                  <a:gd name="connsiteX14" fmla="*/ 1918706 w 1918706"/>
                  <a:gd name="connsiteY14" fmla="*/ 2591087 h 5633118"/>
                  <a:gd name="connsiteX15" fmla="*/ 1918706 w 1918706"/>
                  <a:gd name="connsiteY15" fmla="*/ 2992759 h 5633118"/>
                  <a:gd name="connsiteX16" fmla="*/ 1918706 w 1918706"/>
                  <a:gd name="connsiteY16" fmla="*/ 3005914 h 5633118"/>
                  <a:gd name="connsiteX17" fmla="*/ 1918706 w 1918706"/>
                  <a:gd name="connsiteY17" fmla="*/ 3013688 h 5633118"/>
                  <a:gd name="connsiteX18" fmla="*/ 1918706 w 1918706"/>
                  <a:gd name="connsiteY18" fmla="*/ 3085594 h 5633118"/>
                  <a:gd name="connsiteX19" fmla="*/ 1918706 w 1918706"/>
                  <a:gd name="connsiteY19" fmla="*/ 3093368 h 5633118"/>
                  <a:gd name="connsiteX20" fmla="*/ 1918706 w 1918706"/>
                  <a:gd name="connsiteY20" fmla="*/ 3487266 h 5633118"/>
                  <a:gd name="connsiteX21" fmla="*/ 1918706 w 1918706"/>
                  <a:gd name="connsiteY21" fmla="*/ 3508195 h 5633118"/>
                  <a:gd name="connsiteX22" fmla="*/ 1918706 w 1918706"/>
                  <a:gd name="connsiteY22" fmla="*/ 3515969 h 5633118"/>
                  <a:gd name="connsiteX23" fmla="*/ 1918706 w 1918706"/>
                  <a:gd name="connsiteY23" fmla="*/ 3574721 h 5633118"/>
                  <a:gd name="connsiteX24" fmla="*/ 1918706 w 1918706"/>
                  <a:gd name="connsiteY24" fmla="*/ 3587875 h 5633118"/>
                  <a:gd name="connsiteX25" fmla="*/ 1918706 w 1918706"/>
                  <a:gd name="connsiteY25" fmla="*/ 3595649 h 5633118"/>
                  <a:gd name="connsiteX26" fmla="*/ 1918706 w 1918706"/>
                  <a:gd name="connsiteY26" fmla="*/ 3997322 h 5633118"/>
                  <a:gd name="connsiteX27" fmla="*/ 1918706 w 1918706"/>
                  <a:gd name="connsiteY27" fmla="*/ 4010476 h 5633118"/>
                  <a:gd name="connsiteX28" fmla="*/ 1918706 w 1918706"/>
                  <a:gd name="connsiteY28" fmla="*/ 4069228 h 5633118"/>
                  <a:gd name="connsiteX29" fmla="*/ 1918706 w 1918706"/>
                  <a:gd name="connsiteY29" fmla="*/ 4090156 h 5633118"/>
                  <a:gd name="connsiteX30" fmla="*/ 1918706 w 1918706"/>
                  <a:gd name="connsiteY30" fmla="*/ 4097931 h 5633118"/>
                  <a:gd name="connsiteX31" fmla="*/ 1918706 w 1918706"/>
                  <a:gd name="connsiteY31" fmla="*/ 4491829 h 5633118"/>
                  <a:gd name="connsiteX32" fmla="*/ 1918706 w 1918706"/>
                  <a:gd name="connsiteY32" fmla="*/ 4579284 h 5633118"/>
                  <a:gd name="connsiteX33" fmla="*/ 1918706 w 1918706"/>
                  <a:gd name="connsiteY33" fmla="*/ 4592438 h 5633118"/>
                  <a:gd name="connsiteX34" fmla="*/ 1918706 w 1918706"/>
                  <a:gd name="connsiteY34" fmla="*/ 5073791 h 5633118"/>
                  <a:gd name="connsiteX35" fmla="*/ 959355 w 1918706"/>
                  <a:gd name="connsiteY35" fmla="*/ 5633118 h 5633118"/>
                  <a:gd name="connsiteX36" fmla="*/ 0 w 1918706"/>
                  <a:gd name="connsiteY36" fmla="*/ 5073791 h 5633118"/>
                  <a:gd name="connsiteX37" fmla="*/ 0 w 1918706"/>
                  <a:gd name="connsiteY37" fmla="*/ 4592438 h 5633118"/>
                  <a:gd name="connsiteX38" fmla="*/ 0 w 1918706"/>
                  <a:gd name="connsiteY38" fmla="*/ 4579284 h 5633118"/>
                  <a:gd name="connsiteX39" fmla="*/ 0 w 1918706"/>
                  <a:gd name="connsiteY39" fmla="*/ 4491829 h 5633118"/>
                  <a:gd name="connsiteX40" fmla="*/ 0 w 1918706"/>
                  <a:gd name="connsiteY40" fmla="*/ 4097931 h 5633118"/>
                  <a:gd name="connsiteX41" fmla="*/ 0 w 1918706"/>
                  <a:gd name="connsiteY41" fmla="*/ 4090156 h 5633118"/>
                  <a:gd name="connsiteX42" fmla="*/ 0 w 1918706"/>
                  <a:gd name="connsiteY42" fmla="*/ 4069228 h 5633118"/>
                  <a:gd name="connsiteX43" fmla="*/ 0 w 1918706"/>
                  <a:gd name="connsiteY43" fmla="*/ 4010476 h 5633118"/>
                  <a:gd name="connsiteX44" fmla="*/ 0 w 1918706"/>
                  <a:gd name="connsiteY44" fmla="*/ 3997322 h 5633118"/>
                  <a:gd name="connsiteX45" fmla="*/ 0 w 1918706"/>
                  <a:gd name="connsiteY45" fmla="*/ 3595649 h 5633118"/>
                  <a:gd name="connsiteX46" fmla="*/ 0 w 1918706"/>
                  <a:gd name="connsiteY46" fmla="*/ 3587875 h 5633118"/>
                  <a:gd name="connsiteX47" fmla="*/ 0 w 1918706"/>
                  <a:gd name="connsiteY47" fmla="*/ 3574721 h 5633118"/>
                  <a:gd name="connsiteX48" fmla="*/ 0 w 1918706"/>
                  <a:gd name="connsiteY48" fmla="*/ 3515969 h 5633118"/>
                  <a:gd name="connsiteX49" fmla="*/ 0 w 1918706"/>
                  <a:gd name="connsiteY49" fmla="*/ 3508195 h 5633118"/>
                  <a:gd name="connsiteX50" fmla="*/ 0 w 1918706"/>
                  <a:gd name="connsiteY50" fmla="*/ 3487266 h 5633118"/>
                  <a:gd name="connsiteX51" fmla="*/ 0 w 1918706"/>
                  <a:gd name="connsiteY5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09125 h 5633118"/>
                  <a:gd name="connsiteX6" fmla="*/ 1918706 w 1918706"/>
                  <a:gd name="connsiteY6" fmla="*/ 2073109 h 5633118"/>
                  <a:gd name="connsiteX7" fmla="*/ 1918706 w 1918706"/>
                  <a:gd name="connsiteY7" fmla="*/ 2081031 h 5633118"/>
                  <a:gd name="connsiteX8" fmla="*/ 1918706 w 1918706"/>
                  <a:gd name="connsiteY8" fmla="*/ 2088805 h 5633118"/>
                  <a:gd name="connsiteX9" fmla="*/ 1918706 w 1918706"/>
                  <a:gd name="connsiteY9" fmla="*/ 2503632 h 5633118"/>
                  <a:gd name="connsiteX10" fmla="*/ 1918706 w 1918706"/>
                  <a:gd name="connsiteY10" fmla="*/ 2511407 h 5633118"/>
                  <a:gd name="connsiteX11" fmla="*/ 1918706 w 1918706"/>
                  <a:gd name="connsiteY11" fmla="*/ 2567616 h 5633118"/>
                  <a:gd name="connsiteX12" fmla="*/ 1918706 w 1918706"/>
                  <a:gd name="connsiteY12" fmla="*/ 2583313 h 5633118"/>
                  <a:gd name="connsiteX13" fmla="*/ 1918706 w 1918706"/>
                  <a:gd name="connsiteY13" fmla="*/ 2591087 h 5633118"/>
                  <a:gd name="connsiteX14" fmla="*/ 1918706 w 1918706"/>
                  <a:gd name="connsiteY14" fmla="*/ 2992759 h 5633118"/>
                  <a:gd name="connsiteX15" fmla="*/ 1918706 w 1918706"/>
                  <a:gd name="connsiteY15" fmla="*/ 3005914 h 5633118"/>
                  <a:gd name="connsiteX16" fmla="*/ 1918706 w 1918706"/>
                  <a:gd name="connsiteY16" fmla="*/ 3013688 h 5633118"/>
                  <a:gd name="connsiteX17" fmla="*/ 1918706 w 1918706"/>
                  <a:gd name="connsiteY17" fmla="*/ 3085594 h 5633118"/>
                  <a:gd name="connsiteX18" fmla="*/ 1918706 w 1918706"/>
                  <a:gd name="connsiteY18" fmla="*/ 3093368 h 5633118"/>
                  <a:gd name="connsiteX19" fmla="*/ 1918706 w 1918706"/>
                  <a:gd name="connsiteY19" fmla="*/ 3487266 h 5633118"/>
                  <a:gd name="connsiteX20" fmla="*/ 1918706 w 1918706"/>
                  <a:gd name="connsiteY20" fmla="*/ 3508195 h 5633118"/>
                  <a:gd name="connsiteX21" fmla="*/ 1918706 w 1918706"/>
                  <a:gd name="connsiteY21" fmla="*/ 3515969 h 5633118"/>
                  <a:gd name="connsiteX22" fmla="*/ 1918706 w 1918706"/>
                  <a:gd name="connsiteY22" fmla="*/ 3574721 h 5633118"/>
                  <a:gd name="connsiteX23" fmla="*/ 1918706 w 1918706"/>
                  <a:gd name="connsiteY23" fmla="*/ 3587875 h 5633118"/>
                  <a:gd name="connsiteX24" fmla="*/ 1918706 w 1918706"/>
                  <a:gd name="connsiteY24" fmla="*/ 3595649 h 5633118"/>
                  <a:gd name="connsiteX25" fmla="*/ 1918706 w 1918706"/>
                  <a:gd name="connsiteY25" fmla="*/ 3997322 h 5633118"/>
                  <a:gd name="connsiteX26" fmla="*/ 1918706 w 1918706"/>
                  <a:gd name="connsiteY26" fmla="*/ 4010476 h 5633118"/>
                  <a:gd name="connsiteX27" fmla="*/ 1918706 w 1918706"/>
                  <a:gd name="connsiteY27" fmla="*/ 4069228 h 5633118"/>
                  <a:gd name="connsiteX28" fmla="*/ 1918706 w 1918706"/>
                  <a:gd name="connsiteY28" fmla="*/ 4090156 h 5633118"/>
                  <a:gd name="connsiteX29" fmla="*/ 1918706 w 1918706"/>
                  <a:gd name="connsiteY29" fmla="*/ 4097931 h 5633118"/>
                  <a:gd name="connsiteX30" fmla="*/ 1918706 w 1918706"/>
                  <a:gd name="connsiteY30" fmla="*/ 4491829 h 5633118"/>
                  <a:gd name="connsiteX31" fmla="*/ 1918706 w 1918706"/>
                  <a:gd name="connsiteY31" fmla="*/ 4579284 h 5633118"/>
                  <a:gd name="connsiteX32" fmla="*/ 1918706 w 1918706"/>
                  <a:gd name="connsiteY32" fmla="*/ 4592438 h 5633118"/>
                  <a:gd name="connsiteX33" fmla="*/ 1918706 w 1918706"/>
                  <a:gd name="connsiteY33" fmla="*/ 5073791 h 5633118"/>
                  <a:gd name="connsiteX34" fmla="*/ 959355 w 1918706"/>
                  <a:gd name="connsiteY34" fmla="*/ 5633118 h 5633118"/>
                  <a:gd name="connsiteX35" fmla="*/ 0 w 1918706"/>
                  <a:gd name="connsiteY35" fmla="*/ 5073791 h 5633118"/>
                  <a:gd name="connsiteX36" fmla="*/ 0 w 1918706"/>
                  <a:gd name="connsiteY36" fmla="*/ 4592438 h 5633118"/>
                  <a:gd name="connsiteX37" fmla="*/ 0 w 1918706"/>
                  <a:gd name="connsiteY37" fmla="*/ 4579284 h 5633118"/>
                  <a:gd name="connsiteX38" fmla="*/ 0 w 1918706"/>
                  <a:gd name="connsiteY38" fmla="*/ 4491829 h 5633118"/>
                  <a:gd name="connsiteX39" fmla="*/ 0 w 1918706"/>
                  <a:gd name="connsiteY39" fmla="*/ 4097931 h 5633118"/>
                  <a:gd name="connsiteX40" fmla="*/ 0 w 1918706"/>
                  <a:gd name="connsiteY40" fmla="*/ 4090156 h 5633118"/>
                  <a:gd name="connsiteX41" fmla="*/ 0 w 1918706"/>
                  <a:gd name="connsiteY41" fmla="*/ 4069228 h 5633118"/>
                  <a:gd name="connsiteX42" fmla="*/ 0 w 1918706"/>
                  <a:gd name="connsiteY42" fmla="*/ 4010476 h 5633118"/>
                  <a:gd name="connsiteX43" fmla="*/ 0 w 1918706"/>
                  <a:gd name="connsiteY43" fmla="*/ 3997322 h 5633118"/>
                  <a:gd name="connsiteX44" fmla="*/ 0 w 1918706"/>
                  <a:gd name="connsiteY44" fmla="*/ 3595649 h 5633118"/>
                  <a:gd name="connsiteX45" fmla="*/ 0 w 1918706"/>
                  <a:gd name="connsiteY45" fmla="*/ 3587875 h 5633118"/>
                  <a:gd name="connsiteX46" fmla="*/ 0 w 1918706"/>
                  <a:gd name="connsiteY46" fmla="*/ 3574721 h 5633118"/>
                  <a:gd name="connsiteX47" fmla="*/ 0 w 1918706"/>
                  <a:gd name="connsiteY47" fmla="*/ 3515969 h 5633118"/>
                  <a:gd name="connsiteX48" fmla="*/ 0 w 1918706"/>
                  <a:gd name="connsiteY48" fmla="*/ 3508195 h 5633118"/>
                  <a:gd name="connsiteX49" fmla="*/ 0 w 1918706"/>
                  <a:gd name="connsiteY49" fmla="*/ 3487266 h 5633118"/>
                  <a:gd name="connsiteX50" fmla="*/ 0 w 1918706"/>
                  <a:gd name="connsiteY5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73109 h 5633118"/>
                  <a:gd name="connsiteX6" fmla="*/ 1918706 w 1918706"/>
                  <a:gd name="connsiteY6" fmla="*/ 2081031 h 5633118"/>
                  <a:gd name="connsiteX7" fmla="*/ 1918706 w 1918706"/>
                  <a:gd name="connsiteY7" fmla="*/ 2088805 h 5633118"/>
                  <a:gd name="connsiteX8" fmla="*/ 1918706 w 1918706"/>
                  <a:gd name="connsiteY8" fmla="*/ 2503632 h 5633118"/>
                  <a:gd name="connsiteX9" fmla="*/ 1918706 w 1918706"/>
                  <a:gd name="connsiteY9" fmla="*/ 2511407 h 5633118"/>
                  <a:gd name="connsiteX10" fmla="*/ 1918706 w 1918706"/>
                  <a:gd name="connsiteY10" fmla="*/ 2567616 h 5633118"/>
                  <a:gd name="connsiteX11" fmla="*/ 1918706 w 1918706"/>
                  <a:gd name="connsiteY11" fmla="*/ 2583313 h 5633118"/>
                  <a:gd name="connsiteX12" fmla="*/ 1918706 w 1918706"/>
                  <a:gd name="connsiteY12" fmla="*/ 2591087 h 5633118"/>
                  <a:gd name="connsiteX13" fmla="*/ 1918706 w 1918706"/>
                  <a:gd name="connsiteY13" fmla="*/ 2992759 h 5633118"/>
                  <a:gd name="connsiteX14" fmla="*/ 1918706 w 1918706"/>
                  <a:gd name="connsiteY14" fmla="*/ 3005914 h 5633118"/>
                  <a:gd name="connsiteX15" fmla="*/ 1918706 w 1918706"/>
                  <a:gd name="connsiteY15" fmla="*/ 3013688 h 5633118"/>
                  <a:gd name="connsiteX16" fmla="*/ 1918706 w 1918706"/>
                  <a:gd name="connsiteY16" fmla="*/ 3085594 h 5633118"/>
                  <a:gd name="connsiteX17" fmla="*/ 1918706 w 1918706"/>
                  <a:gd name="connsiteY17" fmla="*/ 3093368 h 5633118"/>
                  <a:gd name="connsiteX18" fmla="*/ 1918706 w 1918706"/>
                  <a:gd name="connsiteY18" fmla="*/ 3487266 h 5633118"/>
                  <a:gd name="connsiteX19" fmla="*/ 1918706 w 1918706"/>
                  <a:gd name="connsiteY19" fmla="*/ 3508195 h 5633118"/>
                  <a:gd name="connsiteX20" fmla="*/ 1918706 w 1918706"/>
                  <a:gd name="connsiteY20" fmla="*/ 3515969 h 5633118"/>
                  <a:gd name="connsiteX21" fmla="*/ 1918706 w 1918706"/>
                  <a:gd name="connsiteY21" fmla="*/ 3574721 h 5633118"/>
                  <a:gd name="connsiteX22" fmla="*/ 1918706 w 1918706"/>
                  <a:gd name="connsiteY22" fmla="*/ 3587875 h 5633118"/>
                  <a:gd name="connsiteX23" fmla="*/ 1918706 w 1918706"/>
                  <a:gd name="connsiteY23" fmla="*/ 3595649 h 5633118"/>
                  <a:gd name="connsiteX24" fmla="*/ 1918706 w 1918706"/>
                  <a:gd name="connsiteY24" fmla="*/ 3997322 h 5633118"/>
                  <a:gd name="connsiteX25" fmla="*/ 1918706 w 1918706"/>
                  <a:gd name="connsiteY25" fmla="*/ 4010476 h 5633118"/>
                  <a:gd name="connsiteX26" fmla="*/ 1918706 w 1918706"/>
                  <a:gd name="connsiteY26" fmla="*/ 4069228 h 5633118"/>
                  <a:gd name="connsiteX27" fmla="*/ 1918706 w 1918706"/>
                  <a:gd name="connsiteY27" fmla="*/ 4090156 h 5633118"/>
                  <a:gd name="connsiteX28" fmla="*/ 1918706 w 1918706"/>
                  <a:gd name="connsiteY28" fmla="*/ 4097931 h 5633118"/>
                  <a:gd name="connsiteX29" fmla="*/ 1918706 w 1918706"/>
                  <a:gd name="connsiteY29" fmla="*/ 4491829 h 5633118"/>
                  <a:gd name="connsiteX30" fmla="*/ 1918706 w 1918706"/>
                  <a:gd name="connsiteY30" fmla="*/ 4579284 h 5633118"/>
                  <a:gd name="connsiteX31" fmla="*/ 1918706 w 1918706"/>
                  <a:gd name="connsiteY31" fmla="*/ 4592438 h 5633118"/>
                  <a:gd name="connsiteX32" fmla="*/ 1918706 w 1918706"/>
                  <a:gd name="connsiteY32" fmla="*/ 5073791 h 5633118"/>
                  <a:gd name="connsiteX33" fmla="*/ 959355 w 1918706"/>
                  <a:gd name="connsiteY33" fmla="*/ 5633118 h 5633118"/>
                  <a:gd name="connsiteX34" fmla="*/ 0 w 1918706"/>
                  <a:gd name="connsiteY34" fmla="*/ 5073791 h 5633118"/>
                  <a:gd name="connsiteX35" fmla="*/ 0 w 1918706"/>
                  <a:gd name="connsiteY35" fmla="*/ 4592438 h 5633118"/>
                  <a:gd name="connsiteX36" fmla="*/ 0 w 1918706"/>
                  <a:gd name="connsiteY36" fmla="*/ 4579284 h 5633118"/>
                  <a:gd name="connsiteX37" fmla="*/ 0 w 1918706"/>
                  <a:gd name="connsiteY37" fmla="*/ 4491829 h 5633118"/>
                  <a:gd name="connsiteX38" fmla="*/ 0 w 1918706"/>
                  <a:gd name="connsiteY38" fmla="*/ 4097931 h 5633118"/>
                  <a:gd name="connsiteX39" fmla="*/ 0 w 1918706"/>
                  <a:gd name="connsiteY39" fmla="*/ 4090156 h 5633118"/>
                  <a:gd name="connsiteX40" fmla="*/ 0 w 1918706"/>
                  <a:gd name="connsiteY40" fmla="*/ 4069228 h 5633118"/>
                  <a:gd name="connsiteX41" fmla="*/ 0 w 1918706"/>
                  <a:gd name="connsiteY41" fmla="*/ 4010476 h 5633118"/>
                  <a:gd name="connsiteX42" fmla="*/ 0 w 1918706"/>
                  <a:gd name="connsiteY42" fmla="*/ 3997322 h 5633118"/>
                  <a:gd name="connsiteX43" fmla="*/ 0 w 1918706"/>
                  <a:gd name="connsiteY43" fmla="*/ 3595649 h 5633118"/>
                  <a:gd name="connsiteX44" fmla="*/ 0 w 1918706"/>
                  <a:gd name="connsiteY44" fmla="*/ 3587875 h 5633118"/>
                  <a:gd name="connsiteX45" fmla="*/ 0 w 1918706"/>
                  <a:gd name="connsiteY45" fmla="*/ 3574721 h 5633118"/>
                  <a:gd name="connsiteX46" fmla="*/ 0 w 1918706"/>
                  <a:gd name="connsiteY46" fmla="*/ 3515969 h 5633118"/>
                  <a:gd name="connsiteX47" fmla="*/ 0 w 1918706"/>
                  <a:gd name="connsiteY47" fmla="*/ 3508195 h 5633118"/>
                  <a:gd name="connsiteX48" fmla="*/ 0 w 1918706"/>
                  <a:gd name="connsiteY48" fmla="*/ 3487266 h 5633118"/>
                  <a:gd name="connsiteX49" fmla="*/ 0 w 1918706"/>
                  <a:gd name="connsiteY4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73109 h 5633118"/>
                  <a:gd name="connsiteX5" fmla="*/ 1918706 w 1918706"/>
                  <a:gd name="connsiteY5" fmla="*/ 2081031 h 5633118"/>
                  <a:gd name="connsiteX6" fmla="*/ 1918706 w 1918706"/>
                  <a:gd name="connsiteY6" fmla="*/ 2088805 h 5633118"/>
                  <a:gd name="connsiteX7" fmla="*/ 1918706 w 1918706"/>
                  <a:gd name="connsiteY7" fmla="*/ 2503632 h 5633118"/>
                  <a:gd name="connsiteX8" fmla="*/ 1918706 w 1918706"/>
                  <a:gd name="connsiteY8" fmla="*/ 2511407 h 5633118"/>
                  <a:gd name="connsiteX9" fmla="*/ 1918706 w 1918706"/>
                  <a:gd name="connsiteY9" fmla="*/ 2567616 h 5633118"/>
                  <a:gd name="connsiteX10" fmla="*/ 1918706 w 1918706"/>
                  <a:gd name="connsiteY10" fmla="*/ 2583313 h 5633118"/>
                  <a:gd name="connsiteX11" fmla="*/ 1918706 w 1918706"/>
                  <a:gd name="connsiteY11" fmla="*/ 2591087 h 5633118"/>
                  <a:gd name="connsiteX12" fmla="*/ 1918706 w 1918706"/>
                  <a:gd name="connsiteY12" fmla="*/ 2992759 h 5633118"/>
                  <a:gd name="connsiteX13" fmla="*/ 1918706 w 1918706"/>
                  <a:gd name="connsiteY13" fmla="*/ 3005914 h 5633118"/>
                  <a:gd name="connsiteX14" fmla="*/ 1918706 w 1918706"/>
                  <a:gd name="connsiteY14" fmla="*/ 3013688 h 5633118"/>
                  <a:gd name="connsiteX15" fmla="*/ 1918706 w 1918706"/>
                  <a:gd name="connsiteY15" fmla="*/ 3085594 h 5633118"/>
                  <a:gd name="connsiteX16" fmla="*/ 1918706 w 1918706"/>
                  <a:gd name="connsiteY16" fmla="*/ 3093368 h 5633118"/>
                  <a:gd name="connsiteX17" fmla="*/ 1918706 w 1918706"/>
                  <a:gd name="connsiteY17" fmla="*/ 3487266 h 5633118"/>
                  <a:gd name="connsiteX18" fmla="*/ 1918706 w 1918706"/>
                  <a:gd name="connsiteY18" fmla="*/ 3508195 h 5633118"/>
                  <a:gd name="connsiteX19" fmla="*/ 1918706 w 1918706"/>
                  <a:gd name="connsiteY19" fmla="*/ 3515969 h 5633118"/>
                  <a:gd name="connsiteX20" fmla="*/ 1918706 w 1918706"/>
                  <a:gd name="connsiteY20" fmla="*/ 3574721 h 5633118"/>
                  <a:gd name="connsiteX21" fmla="*/ 1918706 w 1918706"/>
                  <a:gd name="connsiteY21" fmla="*/ 3587875 h 5633118"/>
                  <a:gd name="connsiteX22" fmla="*/ 1918706 w 1918706"/>
                  <a:gd name="connsiteY22" fmla="*/ 3595649 h 5633118"/>
                  <a:gd name="connsiteX23" fmla="*/ 1918706 w 1918706"/>
                  <a:gd name="connsiteY23" fmla="*/ 3997322 h 5633118"/>
                  <a:gd name="connsiteX24" fmla="*/ 1918706 w 1918706"/>
                  <a:gd name="connsiteY24" fmla="*/ 4010476 h 5633118"/>
                  <a:gd name="connsiteX25" fmla="*/ 1918706 w 1918706"/>
                  <a:gd name="connsiteY25" fmla="*/ 4069228 h 5633118"/>
                  <a:gd name="connsiteX26" fmla="*/ 1918706 w 1918706"/>
                  <a:gd name="connsiteY26" fmla="*/ 4090156 h 5633118"/>
                  <a:gd name="connsiteX27" fmla="*/ 1918706 w 1918706"/>
                  <a:gd name="connsiteY27" fmla="*/ 4097931 h 5633118"/>
                  <a:gd name="connsiteX28" fmla="*/ 1918706 w 1918706"/>
                  <a:gd name="connsiteY28" fmla="*/ 4491829 h 5633118"/>
                  <a:gd name="connsiteX29" fmla="*/ 1918706 w 1918706"/>
                  <a:gd name="connsiteY29" fmla="*/ 4579284 h 5633118"/>
                  <a:gd name="connsiteX30" fmla="*/ 1918706 w 1918706"/>
                  <a:gd name="connsiteY30" fmla="*/ 4592438 h 5633118"/>
                  <a:gd name="connsiteX31" fmla="*/ 1918706 w 1918706"/>
                  <a:gd name="connsiteY31" fmla="*/ 5073791 h 5633118"/>
                  <a:gd name="connsiteX32" fmla="*/ 959355 w 1918706"/>
                  <a:gd name="connsiteY32" fmla="*/ 5633118 h 5633118"/>
                  <a:gd name="connsiteX33" fmla="*/ 0 w 1918706"/>
                  <a:gd name="connsiteY33" fmla="*/ 5073791 h 5633118"/>
                  <a:gd name="connsiteX34" fmla="*/ 0 w 1918706"/>
                  <a:gd name="connsiteY34" fmla="*/ 4592438 h 5633118"/>
                  <a:gd name="connsiteX35" fmla="*/ 0 w 1918706"/>
                  <a:gd name="connsiteY35" fmla="*/ 4579284 h 5633118"/>
                  <a:gd name="connsiteX36" fmla="*/ 0 w 1918706"/>
                  <a:gd name="connsiteY36" fmla="*/ 4491829 h 5633118"/>
                  <a:gd name="connsiteX37" fmla="*/ 0 w 1918706"/>
                  <a:gd name="connsiteY37" fmla="*/ 4097931 h 5633118"/>
                  <a:gd name="connsiteX38" fmla="*/ 0 w 1918706"/>
                  <a:gd name="connsiteY38" fmla="*/ 4090156 h 5633118"/>
                  <a:gd name="connsiteX39" fmla="*/ 0 w 1918706"/>
                  <a:gd name="connsiteY39" fmla="*/ 4069228 h 5633118"/>
                  <a:gd name="connsiteX40" fmla="*/ 0 w 1918706"/>
                  <a:gd name="connsiteY40" fmla="*/ 4010476 h 5633118"/>
                  <a:gd name="connsiteX41" fmla="*/ 0 w 1918706"/>
                  <a:gd name="connsiteY41" fmla="*/ 3997322 h 5633118"/>
                  <a:gd name="connsiteX42" fmla="*/ 0 w 1918706"/>
                  <a:gd name="connsiteY42" fmla="*/ 3595649 h 5633118"/>
                  <a:gd name="connsiteX43" fmla="*/ 0 w 1918706"/>
                  <a:gd name="connsiteY43" fmla="*/ 3587875 h 5633118"/>
                  <a:gd name="connsiteX44" fmla="*/ 0 w 1918706"/>
                  <a:gd name="connsiteY44" fmla="*/ 3574721 h 5633118"/>
                  <a:gd name="connsiteX45" fmla="*/ 0 w 1918706"/>
                  <a:gd name="connsiteY45" fmla="*/ 3515969 h 5633118"/>
                  <a:gd name="connsiteX46" fmla="*/ 0 w 1918706"/>
                  <a:gd name="connsiteY46" fmla="*/ 3508195 h 5633118"/>
                  <a:gd name="connsiteX47" fmla="*/ 0 w 1918706"/>
                  <a:gd name="connsiteY47" fmla="*/ 3487266 h 5633118"/>
                  <a:gd name="connsiteX48" fmla="*/ 0 w 1918706"/>
                  <a:gd name="connsiteY4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088805 h 5633118"/>
                  <a:gd name="connsiteX6" fmla="*/ 1918706 w 1918706"/>
                  <a:gd name="connsiteY6" fmla="*/ 2503632 h 5633118"/>
                  <a:gd name="connsiteX7" fmla="*/ 1918706 w 1918706"/>
                  <a:gd name="connsiteY7" fmla="*/ 2511407 h 5633118"/>
                  <a:gd name="connsiteX8" fmla="*/ 1918706 w 1918706"/>
                  <a:gd name="connsiteY8" fmla="*/ 2567616 h 5633118"/>
                  <a:gd name="connsiteX9" fmla="*/ 1918706 w 1918706"/>
                  <a:gd name="connsiteY9" fmla="*/ 2583313 h 5633118"/>
                  <a:gd name="connsiteX10" fmla="*/ 1918706 w 1918706"/>
                  <a:gd name="connsiteY10" fmla="*/ 2591087 h 5633118"/>
                  <a:gd name="connsiteX11" fmla="*/ 1918706 w 1918706"/>
                  <a:gd name="connsiteY11" fmla="*/ 2992759 h 5633118"/>
                  <a:gd name="connsiteX12" fmla="*/ 1918706 w 1918706"/>
                  <a:gd name="connsiteY12" fmla="*/ 3005914 h 5633118"/>
                  <a:gd name="connsiteX13" fmla="*/ 1918706 w 1918706"/>
                  <a:gd name="connsiteY13" fmla="*/ 3013688 h 5633118"/>
                  <a:gd name="connsiteX14" fmla="*/ 1918706 w 1918706"/>
                  <a:gd name="connsiteY14" fmla="*/ 3085594 h 5633118"/>
                  <a:gd name="connsiteX15" fmla="*/ 1918706 w 1918706"/>
                  <a:gd name="connsiteY15" fmla="*/ 3093368 h 5633118"/>
                  <a:gd name="connsiteX16" fmla="*/ 1918706 w 1918706"/>
                  <a:gd name="connsiteY16" fmla="*/ 3487266 h 5633118"/>
                  <a:gd name="connsiteX17" fmla="*/ 1918706 w 1918706"/>
                  <a:gd name="connsiteY17" fmla="*/ 3508195 h 5633118"/>
                  <a:gd name="connsiteX18" fmla="*/ 1918706 w 1918706"/>
                  <a:gd name="connsiteY18" fmla="*/ 3515969 h 5633118"/>
                  <a:gd name="connsiteX19" fmla="*/ 1918706 w 1918706"/>
                  <a:gd name="connsiteY19" fmla="*/ 3574721 h 5633118"/>
                  <a:gd name="connsiteX20" fmla="*/ 1918706 w 1918706"/>
                  <a:gd name="connsiteY20" fmla="*/ 3587875 h 5633118"/>
                  <a:gd name="connsiteX21" fmla="*/ 1918706 w 1918706"/>
                  <a:gd name="connsiteY21" fmla="*/ 3595649 h 5633118"/>
                  <a:gd name="connsiteX22" fmla="*/ 1918706 w 1918706"/>
                  <a:gd name="connsiteY22" fmla="*/ 3997322 h 5633118"/>
                  <a:gd name="connsiteX23" fmla="*/ 1918706 w 1918706"/>
                  <a:gd name="connsiteY23" fmla="*/ 4010476 h 5633118"/>
                  <a:gd name="connsiteX24" fmla="*/ 1918706 w 1918706"/>
                  <a:gd name="connsiteY24" fmla="*/ 4069228 h 5633118"/>
                  <a:gd name="connsiteX25" fmla="*/ 1918706 w 1918706"/>
                  <a:gd name="connsiteY25" fmla="*/ 4090156 h 5633118"/>
                  <a:gd name="connsiteX26" fmla="*/ 1918706 w 1918706"/>
                  <a:gd name="connsiteY26" fmla="*/ 4097931 h 5633118"/>
                  <a:gd name="connsiteX27" fmla="*/ 1918706 w 1918706"/>
                  <a:gd name="connsiteY27" fmla="*/ 4491829 h 5633118"/>
                  <a:gd name="connsiteX28" fmla="*/ 1918706 w 1918706"/>
                  <a:gd name="connsiteY28" fmla="*/ 4579284 h 5633118"/>
                  <a:gd name="connsiteX29" fmla="*/ 1918706 w 1918706"/>
                  <a:gd name="connsiteY29" fmla="*/ 4592438 h 5633118"/>
                  <a:gd name="connsiteX30" fmla="*/ 1918706 w 1918706"/>
                  <a:gd name="connsiteY30" fmla="*/ 5073791 h 5633118"/>
                  <a:gd name="connsiteX31" fmla="*/ 959355 w 1918706"/>
                  <a:gd name="connsiteY31" fmla="*/ 5633118 h 5633118"/>
                  <a:gd name="connsiteX32" fmla="*/ 0 w 1918706"/>
                  <a:gd name="connsiteY32" fmla="*/ 5073791 h 5633118"/>
                  <a:gd name="connsiteX33" fmla="*/ 0 w 1918706"/>
                  <a:gd name="connsiteY33" fmla="*/ 4592438 h 5633118"/>
                  <a:gd name="connsiteX34" fmla="*/ 0 w 1918706"/>
                  <a:gd name="connsiteY34" fmla="*/ 4579284 h 5633118"/>
                  <a:gd name="connsiteX35" fmla="*/ 0 w 1918706"/>
                  <a:gd name="connsiteY35" fmla="*/ 4491829 h 5633118"/>
                  <a:gd name="connsiteX36" fmla="*/ 0 w 1918706"/>
                  <a:gd name="connsiteY36" fmla="*/ 4097931 h 5633118"/>
                  <a:gd name="connsiteX37" fmla="*/ 0 w 1918706"/>
                  <a:gd name="connsiteY37" fmla="*/ 4090156 h 5633118"/>
                  <a:gd name="connsiteX38" fmla="*/ 0 w 1918706"/>
                  <a:gd name="connsiteY38" fmla="*/ 4069228 h 5633118"/>
                  <a:gd name="connsiteX39" fmla="*/ 0 w 1918706"/>
                  <a:gd name="connsiteY39" fmla="*/ 4010476 h 5633118"/>
                  <a:gd name="connsiteX40" fmla="*/ 0 w 1918706"/>
                  <a:gd name="connsiteY40" fmla="*/ 3997322 h 5633118"/>
                  <a:gd name="connsiteX41" fmla="*/ 0 w 1918706"/>
                  <a:gd name="connsiteY41" fmla="*/ 3595649 h 5633118"/>
                  <a:gd name="connsiteX42" fmla="*/ 0 w 1918706"/>
                  <a:gd name="connsiteY42" fmla="*/ 3587875 h 5633118"/>
                  <a:gd name="connsiteX43" fmla="*/ 0 w 1918706"/>
                  <a:gd name="connsiteY43" fmla="*/ 3574721 h 5633118"/>
                  <a:gd name="connsiteX44" fmla="*/ 0 w 1918706"/>
                  <a:gd name="connsiteY44" fmla="*/ 3515969 h 5633118"/>
                  <a:gd name="connsiteX45" fmla="*/ 0 w 1918706"/>
                  <a:gd name="connsiteY45" fmla="*/ 3508195 h 5633118"/>
                  <a:gd name="connsiteX46" fmla="*/ 0 w 1918706"/>
                  <a:gd name="connsiteY46" fmla="*/ 3487266 h 5633118"/>
                  <a:gd name="connsiteX47" fmla="*/ 0 w 1918706"/>
                  <a:gd name="connsiteY4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503632 h 5633118"/>
                  <a:gd name="connsiteX6" fmla="*/ 1918706 w 1918706"/>
                  <a:gd name="connsiteY6" fmla="*/ 2511407 h 5633118"/>
                  <a:gd name="connsiteX7" fmla="*/ 1918706 w 1918706"/>
                  <a:gd name="connsiteY7" fmla="*/ 2567616 h 5633118"/>
                  <a:gd name="connsiteX8" fmla="*/ 1918706 w 1918706"/>
                  <a:gd name="connsiteY8" fmla="*/ 2583313 h 5633118"/>
                  <a:gd name="connsiteX9" fmla="*/ 1918706 w 1918706"/>
                  <a:gd name="connsiteY9" fmla="*/ 2591087 h 5633118"/>
                  <a:gd name="connsiteX10" fmla="*/ 1918706 w 1918706"/>
                  <a:gd name="connsiteY10" fmla="*/ 2992759 h 5633118"/>
                  <a:gd name="connsiteX11" fmla="*/ 1918706 w 1918706"/>
                  <a:gd name="connsiteY11" fmla="*/ 3005914 h 5633118"/>
                  <a:gd name="connsiteX12" fmla="*/ 1918706 w 1918706"/>
                  <a:gd name="connsiteY12" fmla="*/ 3013688 h 5633118"/>
                  <a:gd name="connsiteX13" fmla="*/ 1918706 w 1918706"/>
                  <a:gd name="connsiteY13" fmla="*/ 3085594 h 5633118"/>
                  <a:gd name="connsiteX14" fmla="*/ 1918706 w 1918706"/>
                  <a:gd name="connsiteY14" fmla="*/ 3093368 h 5633118"/>
                  <a:gd name="connsiteX15" fmla="*/ 1918706 w 1918706"/>
                  <a:gd name="connsiteY15" fmla="*/ 3487266 h 5633118"/>
                  <a:gd name="connsiteX16" fmla="*/ 1918706 w 1918706"/>
                  <a:gd name="connsiteY16" fmla="*/ 3508195 h 5633118"/>
                  <a:gd name="connsiteX17" fmla="*/ 1918706 w 1918706"/>
                  <a:gd name="connsiteY17" fmla="*/ 3515969 h 5633118"/>
                  <a:gd name="connsiteX18" fmla="*/ 1918706 w 1918706"/>
                  <a:gd name="connsiteY18" fmla="*/ 3574721 h 5633118"/>
                  <a:gd name="connsiteX19" fmla="*/ 1918706 w 1918706"/>
                  <a:gd name="connsiteY19" fmla="*/ 3587875 h 5633118"/>
                  <a:gd name="connsiteX20" fmla="*/ 1918706 w 1918706"/>
                  <a:gd name="connsiteY20" fmla="*/ 3595649 h 5633118"/>
                  <a:gd name="connsiteX21" fmla="*/ 1918706 w 1918706"/>
                  <a:gd name="connsiteY21" fmla="*/ 3997322 h 5633118"/>
                  <a:gd name="connsiteX22" fmla="*/ 1918706 w 1918706"/>
                  <a:gd name="connsiteY22" fmla="*/ 4010476 h 5633118"/>
                  <a:gd name="connsiteX23" fmla="*/ 1918706 w 1918706"/>
                  <a:gd name="connsiteY23" fmla="*/ 4069228 h 5633118"/>
                  <a:gd name="connsiteX24" fmla="*/ 1918706 w 1918706"/>
                  <a:gd name="connsiteY24" fmla="*/ 4090156 h 5633118"/>
                  <a:gd name="connsiteX25" fmla="*/ 1918706 w 1918706"/>
                  <a:gd name="connsiteY25" fmla="*/ 4097931 h 5633118"/>
                  <a:gd name="connsiteX26" fmla="*/ 1918706 w 1918706"/>
                  <a:gd name="connsiteY26" fmla="*/ 4491829 h 5633118"/>
                  <a:gd name="connsiteX27" fmla="*/ 1918706 w 1918706"/>
                  <a:gd name="connsiteY27" fmla="*/ 4579284 h 5633118"/>
                  <a:gd name="connsiteX28" fmla="*/ 1918706 w 1918706"/>
                  <a:gd name="connsiteY28" fmla="*/ 4592438 h 5633118"/>
                  <a:gd name="connsiteX29" fmla="*/ 1918706 w 1918706"/>
                  <a:gd name="connsiteY29" fmla="*/ 5073791 h 5633118"/>
                  <a:gd name="connsiteX30" fmla="*/ 959355 w 1918706"/>
                  <a:gd name="connsiteY30" fmla="*/ 5633118 h 5633118"/>
                  <a:gd name="connsiteX31" fmla="*/ 0 w 1918706"/>
                  <a:gd name="connsiteY31" fmla="*/ 5073791 h 5633118"/>
                  <a:gd name="connsiteX32" fmla="*/ 0 w 1918706"/>
                  <a:gd name="connsiteY32" fmla="*/ 4592438 h 5633118"/>
                  <a:gd name="connsiteX33" fmla="*/ 0 w 1918706"/>
                  <a:gd name="connsiteY33" fmla="*/ 4579284 h 5633118"/>
                  <a:gd name="connsiteX34" fmla="*/ 0 w 1918706"/>
                  <a:gd name="connsiteY34" fmla="*/ 4491829 h 5633118"/>
                  <a:gd name="connsiteX35" fmla="*/ 0 w 1918706"/>
                  <a:gd name="connsiteY35" fmla="*/ 4097931 h 5633118"/>
                  <a:gd name="connsiteX36" fmla="*/ 0 w 1918706"/>
                  <a:gd name="connsiteY36" fmla="*/ 4090156 h 5633118"/>
                  <a:gd name="connsiteX37" fmla="*/ 0 w 1918706"/>
                  <a:gd name="connsiteY37" fmla="*/ 4069228 h 5633118"/>
                  <a:gd name="connsiteX38" fmla="*/ 0 w 1918706"/>
                  <a:gd name="connsiteY38" fmla="*/ 4010476 h 5633118"/>
                  <a:gd name="connsiteX39" fmla="*/ 0 w 1918706"/>
                  <a:gd name="connsiteY39" fmla="*/ 3997322 h 5633118"/>
                  <a:gd name="connsiteX40" fmla="*/ 0 w 1918706"/>
                  <a:gd name="connsiteY40" fmla="*/ 3595649 h 5633118"/>
                  <a:gd name="connsiteX41" fmla="*/ 0 w 1918706"/>
                  <a:gd name="connsiteY41" fmla="*/ 3587875 h 5633118"/>
                  <a:gd name="connsiteX42" fmla="*/ 0 w 1918706"/>
                  <a:gd name="connsiteY42" fmla="*/ 3574721 h 5633118"/>
                  <a:gd name="connsiteX43" fmla="*/ 0 w 1918706"/>
                  <a:gd name="connsiteY43" fmla="*/ 3515969 h 5633118"/>
                  <a:gd name="connsiteX44" fmla="*/ 0 w 1918706"/>
                  <a:gd name="connsiteY44" fmla="*/ 3508195 h 5633118"/>
                  <a:gd name="connsiteX45" fmla="*/ 0 w 1918706"/>
                  <a:gd name="connsiteY45" fmla="*/ 3487266 h 5633118"/>
                  <a:gd name="connsiteX46" fmla="*/ 0 w 1918706"/>
                  <a:gd name="connsiteY4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503632 h 5633118"/>
                  <a:gd name="connsiteX5" fmla="*/ 1918706 w 1918706"/>
                  <a:gd name="connsiteY5" fmla="*/ 2511407 h 5633118"/>
                  <a:gd name="connsiteX6" fmla="*/ 1918706 w 1918706"/>
                  <a:gd name="connsiteY6" fmla="*/ 2567616 h 5633118"/>
                  <a:gd name="connsiteX7" fmla="*/ 1918706 w 1918706"/>
                  <a:gd name="connsiteY7" fmla="*/ 2583313 h 5633118"/>
                  <a:gd name="connsiteX8" fmla="*/ 1918706 w 1918706"/>
                  <a:gd name="connsiteY8" fmla="*/ 2591087 h 5633118"/>
                  <a:gd name="connsiteX9" fmla="*/ 1918706 w 1918706"/>
                  <a:gd name="connsiteY9" fmla="*/ 2992759 h 5633118"/>
                  <a:gd name="connsiteX10" fmla="*/ 1918706 w 1918706"/>
                  <a:gd name="connsiteY10" fmla="*/ 3005914 h 5633118"/>
                  <a:gd name="connsiteX11" fmla="*/ 1918706 w 1918706"/>
                  <a:gd name="connsiteY11" fmla="*/ 3013688 h 5633118"/>
                  <a:gd name="connsiteX12" fmla="*/ 1918706 w 1918706"/>
                  <a:gd name="connsiteY12" fmla="*/ 3085594 h 5633118"/>
                  <a:gd name="connsiteX13" fmla="*/ 1918706 w 1918706"/>
                  <a:gd name="connsiteY13" fmla="*/ 3093368 h 5633118"/>
                  <a:gd name="connsiteX14" fmla="*/ 1918706 w 1918706"/>
                  <a:gd name="connsiteY14" fmla="*/ 3487266 h 5633118"/>
                  <a:gd name="connsiteX15" fmla="*/ 1918706 w 1918706"/>
                  <a:gd name="connsiteY15" fmla="*/ 3508195 h 5633118"/>
                  <a:gd name="connsiteX16" fmla="*/ 1918706 w 1918706"/>
                  <a:gd name="connsiteY16" fmla="*/ 3515969 h 5633118"/>
                  <a:gd name="connsiteX17" fmla="*/ 1918706 w 1918706"/>
                  <a:gd name="connsiteY17" fmla="*/ 3574721 h 5633118"/>
                  <a:gd name="connsiteX18" fmla="*/ 1918706 w 1918706"/>
                  <a:gd name="connsiteY18" fmla="*/ 3587875 h 5633118"/>
                  <a:gd name="connsiteX19" fmla="*/ 1918706 w 1918706"/>
                  <a:gd name="connsiteY19" fmla="*/ 3595649 h 5633118"/>
                  <a:gd name="connsiteX20" fmla="*/ 1918706 w 1918706"/>
                  <a:gd name="connsiteY20" fmla="*/ 3997322 h 5633118"/>
                  <a:gd name="connsiteX21" fmla="*/ 1918706 w 1918706"/>
                  <a:gd name="connsiteY21" fmla="*/ 4010476 h 5633118"/>
                  <a:gd name="connsiteX22" fmla="*/ 1918706 w 1918706"/>
                  <a:gd name="connsiteY22" fmla="*/ 4069228 h 5633118"/>
                  <a:gd name="connsiteX23" fmla="*/ 1918706 w 1918706"/>
                  <a:gd name="connsiteY23" fmla="*/ 4090156 h 5633118"/>
                  <a:gd name="connsiteX24" fmla="*/ 1918706 w 1918706"/>
                  <a:gd name="connsiteY24" fmla="*/ 4097931 h 5633118"/>
                  <a:gd name="connsiteX25" fmla="*/ 1918706 w 1918706"/>
                  <a:gd name="connsiteY25" fmla="*/ 4491829 h 5633118"/>
                  <a:gd name="connsiteX26" fmla="*/ 1918706 w 1918706"/>
                  <a:gd name="connsiteY26" fmla="*/ 4579284 h 5633118"/>
                  <a:gd name="connsiteX27" fmla="*/ 1918706 w 1918706"/>
                  <a:gd name="connsiteY27" fmla="*/ 4592438 h 5633118"/>
                  <a:gd name="connsiteX28" fmla="*/ 1918706 w 1918706"/>
                  <a:gd name="connsiteY28" fmla="*/ 5073791 h 5633118"/>
                  <a:gd name="connsiteX29" fmla="*/ 959355 w 1918706"/>
                  <a:gd name="connsiteY29" fmla="*/ 5633118 h 5633118"/>
                  <a:gd name="connsiteX30" fmla="*/ 0 w 1918706"/>
                  <a:gd name="connsiteY30" fmla="*/ 5073791 h 5633118"/>
                  <a:gd name="connsiteX31" fmla="*/ 0 w 1918706"/>
                  <a:gd name="connsiteY31" fmla="*/ 4592438 h 5633118"/>
                  <a:gd name="connsiteX32" fmla="*/ 0 w 1918706"/>
                  <a:gd name="connsiteY32" fmla="*/ 4579284 h 5633118"/>
                  <a:gd name="connsiteX33" fmla="*/ 0 w 1918706"/>
                  <a:gd name="connsiteY33" fmla="*/ 4491829 h 5633118"/>
                  <a:gd name="connsiteX34" fmla="*/ 0 w 1918706"/>
                  <a:gd name="connsiteY34" fmla="*/ 4097931 h 5633118"/>
                  <a:gd name="connsiteX35" fmla="*/ 0 w 1918706"/>
                  <a:gd name="connsiteY35" fmla="*/ 4090156 h 5633118"/>
                  <a:gd name="connsiteX36" fmla="*/ 0 w 1918706"/>
                  <a:gd name="connsiteY36" fmla="*/ 4069228 h 5633118"/>
                  <a:gd name="connsiteX37" fmla="*/ 0 w 1918706"/>
                  <a:gd name="connsiteY37" fmla="*/ 4010476 h 5633118"/>
                  <a:gd name="connsiteX38" fmla="*/ 0 w 1918706"/>
                  <a:gd name="connsiteY38" fmla="*/ 3997322 h 5633118"/>
                  <a:gd name="connsiteX39" fmla="*/ 0 w 1918706"/>
                  <a:gd name="connsiteY39" fmla="*/ 3595649 h 5633118"/>
                  <a:gd name="connsiteX40" fmla="*/ 0 w 1918706"/>
                  <a:gd name="connsiteY40" fmla="*/ 3587875 h 5633118"/>
                  <a:gd name="connsiteX41" fmla="*/ 0 w 1918706"/>
                  <a:gd name="connsiteY41" fmla="*/ 3574721 h 5633118"/>
                  <a:gd name="connsiteX42" fmla="*/ 0 w 1918706"/>
                  <a:gd name="connsiteY42" fmla="*/ 3515969 h 5633118"/>
                  <a:gd name="connsiteX43" fmla="*/ 0 w 1918706"/>
                  <a:gd name="connsiteY43" fmla="*/ 3508195 h 5633118"/>
                  <a:gd name="connsiteX44" fmla="*/ 0 w 1918706"/>
                  <a:gd name="connsiteY44" fmla="*/ 3487266 h 5633118"/>
                  <a:gd name="connsiteX45" fmla="*/ 0 w 1918706"/>
                  <a:gd name="connsiteY4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11407 h 5633118"/>
                  <a:gd name="connsiteX5" fmla="*/ 1918706 w 1918706"/>
                  <a:gd name="connsiteY5" fmla="*/ 2567616 h 5633118"/>
                  <a:gd name="connsiteX6" fmla="*/ 1918706 w 1918706"/>
                  <a:gd name="connsiteY6" fmla="*/ 2583313 h 5633118"/>
                  <a:gd name="connsiteX7" fmla="*/ 1918706 w 1918706"/>
                  <a:gd name="connsiteY7" fmla="*/ 2591087 h 5633118"/>
                  <a:gd name="connsiteX8" fmla="*/ 1918706 w 1918706"/>
                  <a:gd name="connsiteY8" fmla="*/ 2992759 h 5633118"/>
                  <a:gd name="connsiteX9" fmla="*/ 1918706 w 1918706"/>
                  <a:gd name="connsiteY9" fmla="*/ 3005914 h 5633118"/>
                  <a:gd name="connsiteX10" fmla="*/ 1918706 w 1918706"/>
                  <a:gd name="connsiteY10" fmla="*/ 3013688 h 5633118"/>
                  <a:gd name="connsiteX11" fmla="*/ 1918706 w 1918706"/>
                  <a:gd name="connsiteY11" fmla="*/ 3085594 h 5633118"/>
                  <a:gd name="connsiteX12" fmla="*/ 1918706 w 1918706"/>
                  <a:gd name="connsiteY12" fmla="*/ 3093368 h 5633118"/>
                  <a:gd name="connsiteX13" fmla="*/ 1918706 w 1918706"/>
                  <a:gd name="connsiteY13" fmla="*/ 3487266 h 5633118"/>
                  <a:gd name="connsiteX14" fmla="*/ 1918706 w 1918706"/>
                  <a:gd name="connsiteY14" fmla="*/ 3508195 h 5633118"/>
                  <a:gd name="connsiteX15" fmla="*/ 1918706 w 1918706"/>
                  <a:gd name="connsiteY15" fmla="*/ 3515969 h 5633118"/>
                  <a:gd name="connsiteX16" fmla="*/ 1918706 w 1918706"/>
                  <a:gd name="connsiteY16" fmla="*/ 3574721 h 5633118"/>
                  <a:gd name="connsiteX17" fmla="*/ 1918706 w 1918706"/>
                  <a:gd name="connsiteY17" fmla="*/ 3587875 h 5633118"/>
                  <a:gd name="connsiteX18" fmla="*/ 1918706 w 1918706"/>
                  <a:gd name="connsiteY18" fmla="*/ 3595649 h 5633118"/>
                  <a:gd name="connsiteX19" fmla="*/ 1918706 w 1918706"/>
                  <a:gd name="connsiteY19" fmla="*/ 3997322 h 5633118"/>
                  <a:gd name="connsiteX20" fmla="*/ 1918706 w 1918706"/>
                  <a:gd name="connsiteY20" fmla="*/ 4010476 h 5633118"/>
                  <a:gd name="connsiteX21" fmla="*/ 1918706 w 1918706"/>
                  <a:gd name="connsiteY21" fmla="*/ 4069228 h 5633118"/>
                  <a:gd name="connsiteX22" fmla="*/ 1918706 w 1918706"/>
                  <a:gd name="connsiteY22" fmla="*/ 4090156 h 5633118"/>
                  <a:gd name="connsiteX23" fmla="*/ 1918706 w 1918706"/>
                  <a:gd name="connsiteY23" fmla="*/ 4097931 h 5633118"/>
                  <a:gd name="connsiteX24" fmla="*/ 1918706 w 1918706"/>
                  <a:gd name="connsiteY24" fmla="*/ 4491829 h 5633118"/>
                  <a:gd name="connsiteX25" fmla="*/ 1918706 w 1918706"/>
                  <a:gd name="connsiteY25" fmla="*/ 4579284 h 5633118"/>
                  <a:gd name="connsiteX26" fmla="*/ 1918706 w 1918706"/>
                  <a:gd name="connsiteY26" fmla="*/ 4592438 h 5633118"/>
                  <a:gd name="connsiteX27" fmla="*/ 1918706 w 1918706"/>
                  <a:gd name="connsiteY27" fmla="*/ 5073791 h 5633118"/>
                  <a:gd name="connsiteX28" fmla="*/ 959355 w 1918706"/>
                  <a:gd name="connsiteY28" fmla="*/ 5633118 h 5633118"/>
                  <a:gd name="connsiteX29" fmla="*/ 0 w 1918706"/>
                  <a:gd name="connsiteY29" fmla="*/ 5073791 h 5633118"/>
                  <a:gd name="connsiteX30" fmla="*/ 0 w 1918706"/>
                  <a:gd name="connsiteY30" fmla="*/ 4592438 h 5633118"/>
                  <a:gd name="connsiteX31" fmla="*/ 0 w 1918706"/>
                  <a:gd name="connsiteY31" fmla="*/ 4579284 h 5633118"/>
                  <a:gd name="connsiteX32" fmla="*/ 0 w 1918706"/>
                  <a:gd name="connsiteY32" fmla="*/ 4491829 h 5633118"/>
                  <a:gd name="connsiteX33" fmla="*/ 0 w 1918706"/>
                  <a:gd name="connsiteY33" fmla="*/ 4097931 h 5633118"/>
                  <a:gd name="connsiteX34" fmla="*/ 0 w 1918706"/>
                  <a:gd name="connsiteY34" fmla="*/ 4090156 h 5633118"/>
                  <a:gd name="connsiteX35" fmla="*/ 0 w 1918706"/>
                  <a:gd name="connsiteY35" fmla="*/ 4069228 h 5633118"/>
                  <a:gd name="connsiteX36" fmla="*/ 0 w 1918706"/>
                  <a:gd name="connsiteY36" fmla="*/ 4010476 h 5633118"/>
                  <a:gd name="connsiteX37" fmla="*/ 0 w 1918706"/>
                  <a:gd name="connsiteY37" fmla="*/ 3997322 h 5633118"/>
                  <a:gd name="connsiteX38" fmla="*/ 0 w 1918706"/>
                  <a:gd name="connsiteY38" fmla="*/ 3595649 h 5633118"/>
                  <a:gd name="connsiteX39" fmla="*/ 0 w 1918706"/>
                  <a:gd name="connsiteY39" fmla="*/ 3587875 h 5633118"/>
                  <a:gd name="connsiteX40" fmla="*/ 0 w 1918706"/>
                  <a:gd name="connsiteY40" fmla="*/ 3574721 h 5633118"/>
                  <a:gd name="connsiteX41" fmla="*/ 0 w 1918706"/>
                  <a:gd name="connsiteY41" fmla="*/ 3515969 h 5633118"/>
                  <a:gd name="connsiteX42" fmla="*/ 0 w 1918706"/>
                  <a:gd name="connsiteY42" fmla="*/ 3508195 h 5633118"/>
                  <a:gd name="connsiteX43" fmla="*/ 0 w 1918706"/>
                  <a:gd name="connsiteY43" fmla="*/ 3487266 h 5633118"/>
                  <a:gd name="connsiteX44" fmla="*/ 0 w 1918706"/>
                  <a:gd name="connsiteY4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67616 h 5633118"/>
                  <a:gd name="connsiteX5" fmla="*/ 1918706 w 1918706"/>
                  <a:gd name="connsiteY5" fmla="*/ 2583313 h 5633118"/>
                  <a:gd name="connsiteX6" fmla="*/ 1918706 w 1918706"/>
                  <a:gd name="connsiteY6" fmla="*/ 2591087 h 5633118"/>
                  <a:gd name="connsiteX7" fmla="*/ 1918706 w 1918706"/>
                  <a:gd name="connsiteY7" fmla="*/ 2992759 h 5633118"/>
                  <a:gd name="connsiteX8" fmla="*/ 1918706 w 1918706"/>
                  <a:gd name="connsiteY8" fmla="*/ 3005914 h 5633118"/>
                  <a:gd name="connsiteX9" fmla="*/ 1918706 w 1918706"/>
                  <a:gd name="connsiteY9" fmla="*/ 3013688 h 5633118"/>
                  <a:gd name="connsiteX10" fmla="*/ 1918706 w 1918706"/>
                  <a:gd name="connsiteY10" fmla="*/ 3085594 h 5633118"/>
                  <a:gd name="connsiteX11" fmla="*/ 1918706 w 1918706"/>
                  <a:gd name="connsiteY11" fmla="*/ 3093368 h 5633118"/>
                  <a:gd name="connsiteX12" fmla="*/ 1918706 w 1918706"/>
                  <a:gd name="connsiteY12" fmla="*/ 3487266 h 5633118"/>
                  <a:gd name="connsiteX13" fmla="*/ 1918706 w 1918706"/>
                  <a:gd name="connsiteY13" fmla="*/ 3508195 h 5633118"/>
                  <a:gd name="connsiteX14" fmla="*/ 1918706 w 1918706"/>
                  <a:gd name="connsiteY14" fmla="*/ 3515969 h 5633118"/>
                  <a:gd name="connsiteX15" fmla="*/ 1918706 w 1918706"/>
                  <a:gd name="connsiteY15" fmla="*/ 3574721 h 5633118"/>
                  <a:gd name="connsiteX16" fmla="*/ 1918706 w 1918706"/>
                  <a:gd name="connsiteY16" fmla="*/ 3587875 h 5633118"/>
                  <a:gd name="connsiteX17" fmla="*/ 1918706 w 1918706"/>
                  <a:gd name="connsiteY17" fmla="*/ 3595649 h 5633118"/>
                  <a:gd name="connsiteX18" fmla="*/ 1918706 w 1918706"/>
                  <a:gd name="connsiteY18" fmla="*/ 3997322 h 5633118"/>
                  <a:gd name="connsiteX19" fmla="*/ 1918706 w 1918706"/>
                  <a:gd name="connsiteY19" fmla="*/ 4010476 h 5633118"/>
                  <a:gd name="connsiteX20" fmla="*/ 1918706 w 1918706"/>
                  <a:gd name="connsiteY20" fmla="*/ 4069228 h 5633118"/>
                  <a:gd name="connsiteX21" fmla="*/ 1918706 w 1918706"/>
                  <a:gd name="connsiteY21" fmla="*/ 4090156 h 5633118"/>
                  <a:gd name="connsiteX22" fmla="*/ 1918706 w 1918706"/>
                  <a:gd name="connsiteY22" fmla="*/ 4097931 h 5633118"/>
                  <a:gd name="connsiteX23" fmla="*/ 1918706 w 1918706"/>
                  <a:gd name="connsiteY23" fmla="*/ 4491829 h 5633118"/>
                  <a:gd name="connsiteX24" fmla="*/ 1918706 w 1918706"/>
                  <a:gd name="connsiteY24" fmla="*/ 4579284 h 5633118"/>
                  <a:gd name="connsiteX25" fmla="*/ 1918706 w 1918706"/>
                  <a:gd name="connsiteY25" fmla="*/ 4592438 h 5633118"/>
                  <a:gd name="connsiteX26" fmla="*/ 1918706 w 1918706"/>
                  <a:gd name="connsiteY26" fmla="*/ 5073791 h 5633118"/>
                  <a:gd name="connsiteX27" fmla="*/ 959355 w 1918706"/>
                  <a:gd name="connsiteY27" fmla="*/ 5633118 h 5633118"/>
                  <a:gd name="connsiteX28" fmla="*/ 0 w 1918706"/>
                  <a:gd name="connsiteY28" fmla="*/ 5073791 h 5633118"/>
                  <a:gd name="connsiteX29" fmla="*/ 0 w 1918706"/>
                  <a:gd name="connsiteY29" fmla="*/ 4592438 h 5633118"/>
                  <a:gd name="connsiteX30" fmla="*/ 0 w 1918706"/>
                  <a:gd name="connsiteY30" fmla="*/ 4579284 h 5633118"/>
                  <a:gd name="connsiteX31" fmla="*/ 0 w 1918706"/>
                  <a:gd name="connsiteY31" fmla="*/ 4491829 h 5633118"/>
                  <a:gd name="connsiteX32" fmla="*/ 0 w 1918706"/>
                  <a:gd name="connsiteY32" fmla="*/ 4097931 h 5633118"/>
                  <a:gd name="connsiteX33" fmla="*/ 0 w 1918706"/>
                  <a:gd name="connsiteY33" fmla="*/ 4090156 h 5633118"/>
                  <a:gd name="connsiteX34" fmla="*/ 0 w 1918706"/>
                  <a:gd name="connsiteY34" fmla="*/ 4069228 h 5633118"/>
                  <a:gd name="connsiteX35" fmla="*/ 0 w 1918706"/>
                  <a:gd name="connsiteY35" fmla="*/ 4010476 h 5633118"/>
                  <a:gd name="connsiteX36" fmla="*/ 0 w 1918706"/>
                  <a:gd name="connsiteY36" fmla="*/ 3997322 h 5633118"/>
                  <a:gd name="connsiteX37" fmla="*/ 0 w 1918706"/>
                  <a:gd name="connsiteY37" fmla="*/ 3595649 h 5633118"/>
                  <a:gd name="connsiteX38" fmla="*/ 0 w 1918706"/>
                  <a:gd name="connsiteY38" fmla="*/ 3587875 h 5633118"/>
                  <a:gd name="connsiteX39" fmla="*/ 0 w 1918706"/>
                  <a:gd name="connsiteY39" fmla="*/ 3574721 h 5633118"/>
                  <a:gd name="connsiteX40" fmla="*/ 0 w 1918706"/>
                  <a:gd name="connsiteY40" fmla="*/ 3515969 h 5633118"/>
                  <a:gd name="connsiteX41" fmla="*/ 0 w 1918706"/>
                  <a:gd name="connsiteY41" fmla="*/ 3508195 h 5633118"/>
                  <a:gd name="connsiteX42" fmla="*/ 0 w 1918706"/>
                  <a:gd name="connsiteY42" fmla="*/ 3487266 h 5633118"/>
                  <a:gd name="connsiteX43" fmla="*/ 0 w 1918706"/>
                  <a:gd name="connsiteY4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591087 h 5633118"/>
                  <a:gd name="connsiteX6" fmla="*/ 1918706 w 1918706"/>
                  <a:gd name="connsiteY6" fmla="*/ 2992759 h 5633118"/>
                  <a:gd name="connsiteX7" fmla="*/ 1918706 w 1918706"/>
                  <a:gd name="connsiteY7" fmla="*/ 3005914 h 5633118"/>
                  <a:gd name="connsiteX8" fmla="*/ 1918706 w 1918706"/>
                  <a:gd name="connsiteY8" fmla="*/ 3013688 h 5633118"/>
                  <a:gd name="connsiteX9" fmla="*/ 1918706 w 1918706"/>
                  <a:gd name="connsiteY9" fmla="*/ 3085594 h 5633118"/>
                  <a:gd name="connsiteX10" fmla="*/ 1918706 w 1918706"/>
                  <a:gd name="connsiteY10" fmla="*/ 3093368 h 5633118"/>
                  <a:gd name="connsiteX11" fmla="*/ 1918706 w 1918706"/>
                  <a:gd name="connsiteY11" fmla="*/ 3487266 h 5633118"/>
                  <a:gd name="connsiteX12" fmla="*/ 1918706 w 1918706"/>
                  <a:gd name="connsiteY12" fmla="*/ 3508195 h 5633118"/>
                  <a:gd name="connsiteX13" fmla="*/ 1918706 w 1918706"/>
                  <a:gd name="connsiteY13" fmla="*/ 3515969 h 5633118"/>
                  <a:gd name="connsiteX14" fmla="*/ 1918706 w 1918706"/>
                  <a:gd name="connsiteY14" fmla="*/ 3574721 h 5633118"/>
                  <a:gd name="connsiteX15" fmla="*/ 1918706 w 1918706"/>
                  <a:gd name="connsiteY15" fmla="*/ 3587875 h 5633118"/>
                  <a:gd name="connsiteX16" fmla="*/ 1918706 w 1918706"/>
                  <a:gd name="connsiteY16" fmla="*/ 3595649 h 5633118"/>
                  <a:gd name="connsiteX17" fmla="*/ 1918706 w 1918706"/>
                  <a:gd name="connsiteY17" fmla="*/ 3997322 h 5633118"/>
                  <a:gd name="connsiteX18" fmla="*/ 1918706 w 1918706"/>
                  <a:gd name="connsiteY18" fmla="*/ 4010476 h 5633118"/>
                  <a:gd name="connsiteX19" fmla="*/ 1918706 w 1918706"/>
                  <a:gd name="connsiteY19" fmla="*/ 4069228 h 5633118"/>
                  <a:gd name="connsiteX20" fmla="*/ 1918706 w 1918706"/>
                  <a:gd name="connsiteY20" fmla="*/ 4090156 h 5633118"/>
                  <a:gd name="connsiteX21" fmla="*/ 1918706 w 1918706"/>
                  <a:gd name="connsiteY21" fmla="*/ 4097931 h 5633118"/>
                  <a:gd name="connsiteX22" fmla="*/ 1918706 w 1918706"/>
                  <a:gd name="connsiteY22" fmla="*/ 4491829 h 5633118"/>
                  <a:gd name="connsiteX23" fmla="*/ 1918706 w 1918706"/>
                  <a:gd name="connsiteY23" fmla="*/ 4579284 h 5633118"/>
                  <a:gd name="connsiteX24" fmla="*/ 1918706 w 1918706"/>
                  <a:gd name="connsiteY24" fmla="*/ 4592438 h 5633118"/>
                  <a:gd name="connsiteX25" fmla="*/ 1918706 w 1918706"/>
                  <a:gd name="connsiteY25" fmla="*/ 5073791 h 5633118"/>
                  <a:gd name="connsiteX26" fmla="*/ 959355 w 1918706"/>
                  <a:gd name="connsiteY26" fmla="*/ 5633118 h 5633118"/>
                  <a:gd name="connsiteX27" fmla="*/ 0 w 1918706"/>
                  <a:gd name="connsiteY27" fmla="*/ 5073791 h 5633118"/>
                  <a:gd name="connsiteX28" fmla="*/ 0 w 1918706"/>
                  <a:gd name="connsiteY28" fmla="*/ 4592438 h 5633118"/>
                  <a:gd name="connsiteX29" fmla="*/ 0 w 1918706"/>
                  <a:gd name="connsiteY29" fmla="*/ 4579284 h 5633118"/>
                  <a:gd name="connsiteX30" fmla="*/ 0 w 1918706"/>
                  <a:gd name="connsiteY30" fmla="*/ 4491829 h 5633118"/>
                  <a:gd name="connsiteX31" fmla="*/ 0 w 1918706"/>
                  <a:gd name="connsiteY31" fmla="*/ 4097931 h 5633118"/>
                  <a:gd name="connsiteX32" fmla="*/ 0 w 1918706"/>
                  <a:gd name="connsiteY32" fmla="*/ 4090156 h 5633118"/>
                  <a:gd name="connsiteX33" fmla="*/ 0 w 1918706"/>
                  <a:gd name="connsiteY33" fmla="*/ 4069228 h 5633118"/>
                  <a:gd name="connsiteX34" fmla="*/ 0 w 1918706"/>
                  <a:gd name="connsiteY34" fmla="*/ 4010476 h 5633118"/>
                  <a:gd name="connsiteX35" fmla="*/ 0 w 1918706"/>
                  <a:gd name="connsiteY35" fmla="*/ 3997322 h 5633118"/>
                  <a:gd name="connsiteX36" fmla="*/ 0 w 1918706"/>
                  <a:gd name="connsiteY36" fmla="*/ 3595649 h 5633118"/>
                  <a:gd name="connsiteX37" fmla="*/ 0 w 1918706"/>
                  <a:gd name="connsiteY37" fmla="*/ 3587875 h 5633118"/>
                  <a:gd name="connsiteX38" fmla="*/ 0 w 1918706"/>
                  <a:gd name="connsiteY38" fmla="*/ 3574721 h 5633118"/>
                  <a:gd name="connsiteX39" fmla="*/ 0 w 1918706"/>
                  <a:gd name="connsiteY39" fmla="*/ 3515969 h 5633118"/>
                  <a:gd name="connsiteX40" fmla="*/ 0 w 1918706"/>
                  <a:gd name="connsiteY40" fmla="*/ 3508195 h 5633118"/>
                  <a:gd name="connsiteX41" fmla="*/ 0 w 1918706"/>
                  <a:gd name="connsiteY41" fmla="*/ 3487266 h 5633118"/>
                  <a:gd name="connsiteX42" fmla="*/ 0 w 1918706"/>
                  <a:gd name="connsiteY4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992759 h 5633118"/>
                  <a:gd name="connsiteX6" fmla="*/ 1918706 w 1918706"/>
                  <a:gd name="connsiteY6" fmla="*/ 3005914 h 5633118"/>
                  <a:gd name="connsiteX7" fmla="*/ 1918706 w 1918706"/>
                  <a:gd name="connsiteY7" fmla="*/ 3013688 h 5633118"/>
                  <a:gd name="connsiteX8" fmla="*/ 1918706 w 1918706"/>
                  <a:gd name="connsiteY8" fmla="*/ 3085594 h 5633118"/>
                  <a:gd name="connsiteX9" fmla="*/ 1918706 w 1918706"/>
                  <a:gd name="connsiteY9" fmla="*/ 3093368 h 5633118"/>
                  <a:gd name="connsiteX10" fmla="*/ 1918706 w 1918706"/>
                  <a:gd name="connsiteY10" fmla="*/ 3487266 h 5633118"/>
                  <a:gd name="connsiteX11" fmla="*/ 1918706 w 1918706"/>
                  <a:gd name="connsiteY11" fmla="*/ 3508195 h 5633118"/>
                  <a:gd name="connsiteX12" fmla="*/ 1918706 w 1918706"/>
                  <a:gd name="connsiteY12" fmla="*/ 3515969 h 5633118"/>
                  <a:gd name="connsiteX13" fmla="*/ 1918706 w 1918706"/>
                  <a:gd name="connsiteY13" fmla="*/ 3574721 h 5633118"/>
                  <a:gd name="connsiteX14" fmla="*/ 1918706 w 1918706"/>
                  <a:gd name="connsiteY14" fmla="*/ 3587875 h 5633118"/>
                  <a:gd name="connsiteX15" fmla="*/ 1918706 w 1918706"/>
                  <a:gd name="connsiteY15" fmla="*/ 3595649 h 5633118"/>
                  <a:gd name="connsiteX16" fmla="*/ 1918706 w 1918706"/>
                  <a:gd name="connsiteY16" fmla="*/ 3997322 h 5633118"/>
                  <a:gd name="connsiteX17" fmla="*/ 1918706 w 1918706"/>
                  <a:gd name="connsiteY17" fmla="*/ 4010476 h 5633118"/>
                  <a:gd name="connsiteX18" fmla="*/ 1918706 w 1918706"/>
                  <a:gd name="connsiteY18" fmla="*/ 4069228 h 5633118"/>
                  <a:gd name="connsiteX19" fmla="*/ 1918706 w 1918706"/>
                  <a:gd name="connsiteY19" fmla="*/ 4090156 h 5633118"/>
                  <a:gd name="connsiteX20" fmla="*/ 1918706 w 1918706"/>
                  <a:gd name="connsiteY20" fmla="*/ 4097931 h 5633118"/>
                  <a:gd name="connsiteX21" fmla="*/ 1918706 w 1918706"/>
                  <a:gd name="connsiteY21" fmla="*/ 4491829 h 5633118"/>
                  <a:gd name="connsiteX22" fmla="*/ 1918706 w 1918706"/>
                  <a:gd name="connsiteY22" fmla="*/ 4579284 h 5633118"/>
                  <a:gd name="connsiteX23" fmla="*/ 1918706 w 1918706"/>
                  <a:gd name="connsiteY23" fmla="*/ 4592438 h 5633118"/>
                  <a:gd name="connsiteX24" fmla="*/ 1918706 w 1918706"/>
                  <a:gd name="connsiteY24" fmla="*/ 5073791 h 5633118"/>
                  <a:gd name="connsiteX25" fmla="*/ 959355 w 1918706"/>
                  <a:gd name="connsiteY25" fmla="*/ 5633118 h 5633118"/>
                  <a:gd name="connsiteX26" fmla="*/ 0 w 1918706"/>
                  <a:gd name="connsiteY26" fmla="*/ 5073791 h 5633118"/>
                  <a:gd name="connsiteX27" fmla="*/ 0 w 1918706"/>
                  <a:gd name="connsiteY27" fmla="*/ 4592438 h 5633118"/>
                  <a:gd name="connsiteX28" fmla="*/ 0 w 1918706"/>
                  <a:gd name="connsiteY28" fmla="*/ 4579284 h 5633118"/>
                  <a:gd name="connsiteX29" fmla="*/ 0 w 1918706"/>
                  <a:gd name="connsiteY29" fmla="*/ 4491829 h 5633118"/>
                  <a:gd name="connsiteX30" fmla="*/ 0 w 1918706"/>
                  <a:gd name="connsiteY30" fmla="*/ 4097931 h 5633118"/>
                  <a:gd name="connsiteX31" fmla="*/ 0 w 1918706"/>
                  <a:gd name="connsiteY31" fmla="*/ 4090156 h 5633118"/>
                  <a:gd name="connsiteX32" fmla="*/ 0 w 1918706"/>
                  <a:gd name="connsiteY32" fmla="*/ 4069228 h 5633118"/>
                  <a:gd name="connsiteX33" fmla="*/ 0 w 1918706"/>
                  <a:gd name="connsiteY33" fmla="*/ 4010476 h 5633118"/>
                  <a:gd name="connsiteX34" fmla="*/ 0 w 1918706"/>
                  <a:gd name="connsiteY34" fmla="*/ 3997322 h 5633118"/>
                  <a:gd name="connsiteX35" fmla="*/ 0 w 1918706"/>
                  <a:gd name="connsiteY35" fmla="*/ 3595649 h 5633118"/>
                  <a:gd name="connsiteX36" fmla="*/ 0 w 1918706"/>
                  <a:gd name="connsiteY36" fmla="*/ 3587875 h 5633118"/>
                  <a:gd name="connsiteX37" fmla="*/ 0 w 1918706"/>
                  <a:gd name="connsiteY37" fmla="*/ 3574721 h 5633118"/>
                  <a:gd name="connsiteX38" fmla="*/ 0 w 1918706"/>
                  <a:gd name="connsiteY38" fmla="*/ 3515969 h 5633118"/>
                  <a:gd name="connsiteX39" fmla="*/ 0 w 1918706"/>
                  <a:gd name="connsiteY39" fmla="*/ 3508195 h 5633118"/>
                  <a:gd name="connsiteX40" fmla="*/ 0 w 1918706"/>
                  <a:gd name="connsiteY40" fmla="*/ 3487266 h 5633118"/>
                  <a:gd name="connsiteX41" fmla="*/ 0 w 1918706"/>
                  <a:gd name="connsiteY4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992759 h 5633118"/>
                  <a:gd name="connsiteX5" fmla="*/ 1918706 w 1918706"/>
                  <a:gd name="connsiteY5" fmla="*/ 3005914 h 5633118"/>
                  <a:gd name="connsiteX6" fmla="*/ 1918706 w 1918706"/>
                  <a:gd name="connsiteY6" fmla="*/ 3013688 h 5633118"/>
                  <a:gd name="connsiteX7" fmla="*/ 1918706 w 1918706"/>
                  <a:gd name="connsiteY7" fmla="*/ 3085594 h 5633118"/>
                  <a:gd name="connsiteX8" fmla="*/ 1918706 w 1918706"/>
                  <a:gd name="connsiteY8" fmla="*/ 3093368 h 5633118"/>
                  <a:gd name="connsiteX9" fmla="*/ 1918706 w 1918706"/>
                  <a:gd name="connsiteY9" fmla="*/ 3487266 h 5633118"/>
                  <a:gd name="connsiteX10" fmla="*/ 1918706 w 1918706"/>
                  <a:gd name="connsiteY10" fmla="*/ 3508195 h 5633118"/>
                  <a:gd name="connsiteX11" fmla="*/ 1918706 w 1918706"/>
                  <a:gd name="connsiteY11" fmla="*/ 3515969 h 5633118"/>
                  <a:gd name="connsiteX12" fmla="*/ 1918706 w 1918706"/>
                  <a:gd name="connsiteY12" fmla="*/ 3574721 h 5633118"/>
                  <a:gd name="connsiteX13" fmla="*/ 1918706 w 1918706"/>
                  <a:gd name="connsiteY13" fmla="*/ 3587875 h 5633118"/>
                  <a:gd name="connsiteX14" fmla="*/ 1918706 w 1918706"/>
                  <a:gd name="connsiteY14" fmla="*/ 3595649 h 5633118"/>
                  <a:gd name="connsiteX15" fmla="*/ 1918706 w 1918706"/>
                  <a:gd name="connsiteY15" fmla="*/ 3997322 h 5633118"/>
                  <a:gd name="connsiteX16" fmla="*/ 1918706 w 1918706"/>
                  <a:gd name="connsiteY16" fmla="*/ 4010476 h 5633118"/>
                  <a:gd name="connsiteX17" fmla="*/ 1918706 w 1918706"/>
                  <a:gd name="connsiteY17" fmla="*/ 4069228 h 5633118"/>
                  <a:gd name="connsiteX18" fmla="*/ 1918706 w 1918706"/>
                  <a:gd name="connsiteY18" fmla="*/ 4090156 h 5633118"/>
                  <a:gd name="connsiteX19" fmla="*/ 1918706 w 1918706"/>
                  <a:gd name="connsiteY19" fmla="*/ 4097931 h 5633118"/>
                  <a:gd name="connsiteX20" fmla="*/ 1918706 w 1918706"/>
                  <a:gd name="connsiteY20" fmla="*/ 4491829 h 5633118"/>
                  <a:gd name="connsiteX21" fmla="*/ 1918706 w 1918706"/>
                  <a:gd name="connsiteY21" fmla="*/ 4579284 h 5633118"/>
                  <a:gd name="connsiteX22" fmla="*/ 1918706 w 1918706"/>
                  <a:gd name="connsiteY22" fmla="*/ 4592438 h 5633118"/>
                  <a:gd name="connsiteX23" fmla="*/ 1918706 w 1918706"/>
                  <a:gd name="connsiteY23" fmla="*/ 5073791 h 5633118"/>
                  <a:gd name="connsiteX24" fmla="*/ 959355 w 1918706"/>
                  <a:gd name="connsiteY24" fmla="*/ 5633118 h 5633118"/>
                  <a:gd name="connsiteX25" fmla="*/ 0 w 1918706"/>
                  <a:gd name="connsiteY25" fmla="*/ 5073791 h 5633118"/>
                  <a:gd name="connsiteX26" fmla="*/ 0 w 1918706"/>
                  <a:gd name="connsiteY26" fmla="*/ 4592438 h 5633118"/>
                  <a:gd name="connsiteX27" fmla="*/ 0 w 1918706"/>
                  <a:gd name="connsiteY27" fmla="*/ 4579284 h 5633118"/>
                  <a:gd name="connsiteX28" fmla="*/ 0 w 1918706"/>
                  <a:gd name="connsiteY28" fmla="*/ 4491829 h 5633118"/>
                  <a:gd name="connsiteX29" fmla="*/ 0 w 1918706"/>
                  <a:gd name="connsiteY29" fmla="*/ 4097931 h 5633118"/>
                  <a:gd name="connsiteX30" fmla="*/ 0 w 1918706"/>
                  <a:gd name="connsiteY30" fmla="*/ 4090156 h 5633118"/>
                  <a:gd name="connsiteX31" fmla="*/ 0 w 1918706"/>
                  <a:gd name="connsiteY31" fmla="*/ 4069228 h 5633118"/>
                  <a:gd name="connsiteX32" fmla="*/ 0 w 1918706"/>
                  <a:gd name="connsiteY32" fmla="*/ 4010476 h 5633118"/>
                  <a:gd name="connsiteX33" fmla="*/ 0 w 1918706"/>
                  <a:gd name="connsiteY33" fmla="*/ 3997322 h 5633118"/>
                  <a:gd name="connsiteX34" fmla="*/ 0 w 1918706"/>
                  <a:gd name="connsiteY34" fmla="*/ 3595649 h 5633118"/>
                  <a:gd name="connsiteX35" fmla="*/ 0 w 1918706"/>
                  <a:gd name="connsiteY35" fmla="*/ 3587875 h 5633118"/>
                  <a:gd name="connsiteX36" fmla="*/ 0 w 1918706"/>
                  <a:gd name="connsiteY36" fmla="*/ 3574721 h 5633118"/>
                  <a:gd name="connsiteX37" fmla="*/ 0 w 1918706"/>
                  <a:gd name="connsiteY37" fmla="*/ 3515969 h 5633118"/>
                  <a:gd name="connsiteX38" fmla="*/ 0 w 1918706"/>
                  <a:gd name="connsiteY38" fmla="*/ 3508195 h 5633118"/>
                  <a:gd name="connsiteX39" fmla="*/ 0 w 1918706"/>
                  <a:gd name="connsiteY39" fmla="*/ 3487266 h 5633118"/>
                  <a:gd name="connsiteX40" fmla="*/ 0 w 1918706"/>
                  <a:gd name="connsiteY4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13688 h 5633118"/>
                  <a:gd name="connsiteX6" fmla="*/ 1918706 w 1918706"/>
                  <a:gd name="connsiteY6" fmla="*/ 3085594 h 5633118"/>
                  <a:gd name="connsiteX7" fmla="*/ 1918706 w 1918706"/>
                  <a:gd name="connsiteY7" fmla="*/ 3093368 h 5633118"/>
                  <a:gd name="connsiteX8" fmla="*/ 1918706 w 1918706"/>
                  <a:gd name="connsiteY8" fmla="*/ 3487266 h 5633118"/>
                  <a:gd name="connsiteX9" fmla="*/ 1918706 w 1918706"/>
                  <a:gd name="connsiteY9" fmla="*/ 3508195 h 5633118"/>
                  <a:gd name="connsiteX10" fmla="*/ 1918706 w 1918706"/>
                  <a:gd name="connsiteY10" fmla="*/ 3515969 h 5633118"/>
                  <a:gd name="connsiteX11" fmla="*/ 1918706 w 1918706"/>
                  <a:gd name="connsiteY11" fmla="*/ 3574721 h 5633118"/>
                  <a:gd name="connsiteX12" fmla="*/ 1918706 w 1918706"/>
                  <a:gd name="connsiteY12" fmla="*/ 3587875 h 5633118"/>
                  <a:gd name="connsiteX13" fmla="*/ 1918706 w 1918706"/>
                  <a:gd name="connsiteY13" fmla="*/ 3595649 h 5633118"/>
                  <a:gd name="connsiteX14" fmla="*/ 1918706 w 1918706"/>
                  <a:gd name="connsiteY14" fmla="*/ 3997322 h 5633118"/>
                  <a:gd name="connsiteX15" fmla="*/ 1918706 w 1918706"/>
                  <a:gd name="connsiteY15" fmla="*/ 4010476 h 5633118"/>
                  <a:gd name="connsiteX16" fmla="*/ 1918706 w 1918706"/>
                  <a:gd name="connsiteY16" fmla="*/ 4069228 h 5633118"/>
                  <a:gd name="connsiteX17" fmla="*/ 1918706 w 1918706"/>
                  <a:gd name="connsiteY17" fmla="*/ 4090156 h 5633118"/>
                  <a:gd name="connsiteX18" fmla="*/ 1918706 w 1918706"/>
                  <a:gd name="connsiteY18" fmla="*/ 4097931 h 5633118"/>
                  <a:gd name="connsiteX19" fmla="*/ 1918706 w 1918706"/>
                  <a:gd name="connsiteY19" fmla="*/ 4491829 h 5633118"/>
                  <a:gd name="connsiteX20" fmla="*/ 1918706 w 1918706"/>
                  <a:gd name="connsiteY20" fmla="*/ 4579284 h 5633118"/>
                  <a:gd name="connsiteX21" fmla="*/ 1918706 w 1918706"/>
                  <a:gd name="connsiteY21" fmla="*/ 4592438 h 5633118"/>
                  <a:gd name="connsiteX22" fmla="*/ 1918706 w 1918706"/>
                  <a:gd name="connsiteY22" fmla="*/ 5073791 h 5633118"/>
                  <a:gd name="connsiteX23" fmla="*/ 959355 w 1918706"/>
                  <a:gd name="connsiteY23" fmla="*/ 5633118 h 5633118"/>
                  <a:gd name="connsiteX24" fmla="*/ 0 w 1918706"/>
                  <a:gd name="connsiteY24" fmla="*/ 5073791 h 5633118"/>
                  <a:gd name="connsiteX25" fmla="*/ 0 w 1918706"/>
                  <a:gd name="connsiteY25" fmla="*/ 4592438 h 5633118"/>
                  <a:gd name="connsiteX26" fmla="*/ 0 w 1918706"/>
                  <a:gd name="connsiteY26" fmla="*/ 4579284 h 5633118"/>
                  <a:gd name="connsiteX27" fmla="*/ 0 w 1918706"/>
                  <a:gd name="connsiteY27" fmla="*/ 4491829 h 5633118"/>
                  <a:gd name="connsiteX28" fmla="*/ 0 w 1918706"/>
                  <a:gd name="connsiteY28" fmla="*/ 4097931 h 5633118"/>
                  <a:gd name="connsiteX29" fmla="*/ 0 w 1918706"/>
                  <a:gd name="connsiteY29" fmla="*/ 4090156 h 5633118"/>
                  <a:gd name="connsiteX30" fmla="*/ 0 w 1918706"/>
                  <a:gd name="connsiteY30" fmla="*/ 4069228 h 5633118"/>
                  <a:gd name="connsiteX31" fmla="*/ 0 w 1918706"/>
                  <a:gd name="connsiteY31" fmla="*/ 4010476 h 5633118"/>
                  <a:gd name="connsiteX32" fmla="*/ 0 w 1918706"/>
                  <a:gd name="connsiteY32" fmla="*/ 3997322 h 5633118"/>
                  <a:gd name="connsiteX33" fmla="*/ 0 w 1918706"/>
                  <a:gd name="connsiteY33" fmla="*/ 3595649 h 5633118"/>
                  <a:gd name="connsiteX34" fmla="*/ 0 w 1918706"/>
                  <a:gd name="connsiteY34" fmla="*/ 3587875 h 5633118"/>
                  <a:gd name="connsiteX35" fmla="*/ 0 w 1918706"/>
                  <a:gd name="connsiteY35" fmla="*/ 3574721 h 5633118"/>
                  <a:gd name="connsiteX36" fmla="*/ 0 w 1918706"/>
                  <a:gd name="connsiteY36" fmla="*/ 3515969 h 5633118"/>
                  <a:gd name="connsiteX37" fmla="*/ 0 w 1918706"/>
                  <a:gd name="connsiteY37" fmla="*/ 3508195 h 5633118"/>
                  <a:gd name="connsiteX38" fmla="*/ 0 w 1918706"/>
                  <a:gd name="connsiteY38" fmla="*/ 3487266 h 5633118"/>
                  <a:gd name="connsiteX39" fmla="*/ 0 w 1918706"/>
                  <a:gd name="connsiteY3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85594 h 5633118"/>
                  <a:gd name="connsiteX6" fmla="*/ 1918706 w 1918706"/>
                  <a:gd name="connsiteY6" fmla="*/ 3093368 h 5633118"/>
                  <a:gd name="connsiteX7" fmla="*/ 1918706 w 1918706"/>
                  <a:gd name="connsiteY7" fmla="*/ 3487266 h 5633118"/>
                  <a:gd name="connsiteX8" fmla="*/ 1918706 w 1918706"/>
                  <a:gd name="connsiteY8" fmla="*/ 3508195 h 5633118"/>
                  <a:gd name="connsiteX9" fmla="*/ 1918706 w 1918706"/>
                  <a:gd name="connsiteY9" fmla="*/ 3515969 h 5633118"/>
                  <a:gd name="connsiteX10" fmla="*/ 1918706 w 1918706"/>
                  <a:gd name="connsiteY10" fmla="*/ 3574721 h 5633118"/>
                  <a:gd name="connsiteX11" fmla="*/ 1918706 w 1918706"/>
                  <a:gd name="connsiteY11" fmla="*/ 3587875 h 5633118"/>
                  <a:gd name="connsiteX12" fmla="*/ 1918706 w 1918706"/>
                  <a:gd name="connsiteY12" fmla="*/ 3595649 h 5633118"/>
                  <a:gd name="connsiteX13" fmla="*/ 1918706 w 1918706"/>
                  <a:gd name="connsiteY13" fmla="*/ 3997322 h 5633118"/>
                  <a:gd name="connsiteX14" fmla="*/ 1918706 w 1918706"/>
                  <a:gd name="connsiteY14" fmla="*/ 4010476 h 5633118"/>
                  <a:gd name="connsiteX15" fmla="*/ 1918706 w 1918706"/>
                  <a:gd name="connsiteY15" fmla="*/ 4069228 h 5633118"/>
                  <a:gd name="connsiteX16" fmla="*/ 1918706 w 1918706"/>
                  <a:gd name="connsiteY16" fmla="*/ 4090156 h 5633118"/>
                  <a:gd name="connsiteX17" fmla="*/ 1918706 w 1918706"/>
                  <a:gd name="connsiteY17" fmla="*/ 4097931 h 5633118"/>
                  <a:gd name="connsiteX18" fmla="*/ 1918706 w 1918706"/>
                  <a:gd name="connsiteY18" fmla="*/ 4491829 h 5633118"/>
                  <a:gd name="connsiteX19" fmla="*/ 1918706 w 1918706"/>
                  <a:gd name="connsiteY19" fmla="*/ 4579284 h 5633118"/>
                  <a:gd name="connsiteX20" fmla="*/ 1918706 w 1918706"/>
                  <a:gd name="connsiteY20" fmla="*/ 4592438 h 5633118"/>
                  <a:gd name="connsiteX21" fmla="*/ 1918706 w 1918706"/>
                  <a:gd name="connsiteY21" fmla="*/ 5073791 h 5633118"/>
                  <a:gd name="connsiteX22" fmla="*/ 959355 w 1918706"/>
                  <a:gd name="connsiteY22" fmla="*/ 5633118 h 5633118"/>
                  <a:gd name="connsiteX23" fmla="*/ 0 w 1918706"/>
                  <a:gd name="connsiteY23" fmla="*/ 5073791 h 5633118"/>
                  <a:gd name="connsiteX24" fmla="*/ 0 w 1918706"/>
                  <a:gd name="connsiteY24" fmla="*/ 4592438 h 5633118"/>
                  <a:gd name="connsiteX25" fmla="*/ 0 w 1918706"/>
                  <a:gd name="connsiteY25" fmla="*/ 4579284 h 5633118"/>
                  <a:gd name="connsiteX26" fmla="*/ 0 w 1918706"/>
                  <a:gd name="connsiteY26" fmla="*/ 4491829 h 5633118"/>
                  <a:gd name="connsiteX27" fmla="*/ 0 w 1918706"/>
                  <a:gd name="connsiteY27" fmla="*/ 4097931 h 5633118"/>
                  <a:gd name="connsiteX28" fmla="*/ 0 w 1918706"/>
                  <a:gd name="connsiteY28" fmla="*/ 4090156 h 5633118"/>
                  <a:gd name="connsiteX29" fmla="*/ 0 w 1918706"/>
                  <a:gd name="connsiteY29" fmla="*/ 4069228 h 5633118"/>
                  <a:gd name="connsiteX30" fmla="*/ 0 w 1918706"/>
                  <a:gd name="connsiteY30" fmla="*/ 4010476 h 5633118"/>
                  <a:gd name="connsiteX31" fmla="*/ 0 w 1918706"/>
                  <a:gd name="connsiteY31" fmla="*/ 3997322 h 5633118"/>
                  <a:gd name="connsiteX32" fmla="*/ 0 w 1918706"/>
                  <a:gd name="connsiteY32" fmla="*/ 3595649 h 5633118"/>
                  <a:gd name="connsiteX33" fmla="*/ 0 w 1918706"/>
                  <a:gd name="connsiteY33" fmla="*/ 3587875 h 5633118"/>
                  <a:gd name="connsiteX34" fmla="*/ 0 w 1918706"/>
                  <a:gd name="connsiteY34" fmla="*/ 3574721 h 5633118"/>
                  <a:gd name="connsiteX35" fmla="*/ 0 w 1918706"/>
                  <a:gd name="connsiteY35" fmla="*/ 3515969 h 5633118"/>
                  <a:gd name="connsiteX36" fmla="*/ 0 w 1918706"/>
                  <a:gd name="connsiteY36" fmla="*/ 3508195 h 5633118"/>
                  <a:gd name="connsiteX37" fmla="*/ 0 w 1918706"/>
                  <a:gd name="connsiteY37" fmla="*/ 3487266 h 5633118"/>
                  <a:gd name="connsiteX38" fmla="*/ 0 w 1918706"/>
                  <a:gd name="connsiteY3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85594 h 5633118"/>
                  <a:gd name="connsiteX5" fmla="*/ 1918706 w 1918706"/>
                  <a:gd name="connsiteY5" fmla="*/ 3093368 h 5633118"/>
                  <a:gd name="connsiteX6" fmla="*/ 1918706 w 1918706"/>
                  <a:gd name="connsiteY6" fmla="*/ 3487266 h 5633118"/>
                  <a:gd name="connsiteX7" fmla="*/ 1918706 w 1918706"/>
                  <a:gd name="connsiteY7" fmla="*/ 3508195 h 5633118"/>
                  <a:gd name="connsiteX8" fmla="*/ 1918706 w 1918706"/>
                  <a:gd name="connsiteY8" fmla="*/ 3515969 h 5633118"/>
                  <a:gd name="connsiteX9" fmla="*/ 1918706 w 1918706"/>
                  <a:gd name="connsiteY9" fmla="*/ 3574721 h 5633118"/>
                  <a:gd name="connsiteX10" fmla="*/ 1918706 w 1918706"/>
                  <a:gd name="connsiteY10" fmla="*/ 3587875 h 5633118"/>
                  <a:gd name="connsiteX11" fmla="*/ 1918706 w 1918706"/>
                  <a:gd name="connsiteY11" fmla="*/ 3595649 h 5633118"/>
                  <a:gd name="connsiteX12" fmla="*/ 1918706 w 1918706"/>
                  <a:gd name="connsiteY12" fmla="*/ 3997322 h 5633118"/>
                  <a:gd name="connsiteX13" fmla="*/ 1918706 w 1918706"/>
                  <a:gd name="connsiteY13" fmla="*/ 4010476 h 5633118"/>
                  <a:gd name="connsiteX14" fmla="*/ 1918706 w 1918706"/>
                  <a:gd name="connsiteY14" fmla="*/ 4069228 h 5633118"/>
                  <a:gd name="connsiteX15" fmla="*/ 1918706 w 1918706"/>
                  <a:gd name="connsiteY15" fmla="*/ 4090156 h 5633118"/>
                  <a:gd name="connsiteX16" fmla="*/ 1918706 w 1918706"/>
                  <a:gd name="connsiteY16" fmla="*/ 4097931 h 5633118"/>
                  <a:gd name="connsiteX17" fmla="*/ 1918706 w 1918706"/>
                  <a:gd name="connsiteY17" fmla="*/ 4491829 h 5633118"/>
                  <a:gd name="connsiteX18" fmla="*/ 1918706 w 1918706"/>
                  <a:gd name="connsiteY18" fmla="*/ 4579284 h 5633118"/>
                  <a:gd name="connsiteX19" fmla="*/ 1918706 w 1918706"/>
                  <a:gd name="connsiteY19" fmla="*/ 4592438 h 5633118"/>
                  <a:gd name="connsiteX20" fmla="*/ 1918706 w 1918706"/>
                  <a:gd name="connsiteY20" fmla="*/ 5073791 h 5633118"/>
                  <a:gd name="connsiteX21" fmla="*/ 959355 w 1918706"/>
                  <a:gd name="connsiteY21" fmla="*/ 5633118 h 5633118"/>
                  <a:gd name="connsiteX22" fmla="*/ 0 w 1918706"/>
                  <a:gd name="connsiteY22" fmla="*/ 5073791 h 5633118"/>
                  <a:gd name="connsiteX23" fmla="*/ 0 w 1918706"/>
                  <a:gd name="connsiteY23" fmla="*/ 4592438 h 5633118"/>
                  <a:gd name="connsiteX24" fmla="*/ 0 w 1918706"/>
                  <a:gd name="connsiteY24" fmla="*/ 4579284 h 5633118"/>
                  <a:gd name="connsiteX25" fmla="*/ 0 w 1918706"/>
                  <a:gd name="connsiteY25" fmla="*/ 4491829 h 5633118"/>
                  <a:gd name="connsiteX26" fmla="*/ 0 w 1918706"/>
                  <a:gd name="connsiteY26" fmla="*/ 4097931 h 5633118"/>
                  <a:gd name="connsiteX27" fmla="*/ 0 w 1918706"/>
                  <a:gd name="connsiteY27" fmla="*/ 4090156 h 5633118"/>
                  <a:gd name="connsiteX28" fmla="*/ 0 w 1918706"/>
                  <a:gd name="connsiteY28" fmla="*/ 4069228 h 5633118"/>
                  <a:gd name="connsiteX29" fmla="*/ 0 w 1918706"/>
                  <a:gd name="connsiteY29" fmla="*/ 4010476 h 5633118"/>
                  <a:gd name="connsiteX30" fmla="*/ 0 w 1918706"/>
                  <a:gd name="connsiteY30" fmla="*/ 3997322 h 5633118"/>
                  <a:gd name="connsiteX31" fmla="*/ 0 w 1918706"/>
                  <a:gd name="connsiteY31" fmla="*/ 3595649 h 5633118"/>
                  <a:gd name="connsiteX32" fmla="*/ 0 w 1918706"/>
                  <a:gd name="connsiteY32" fmla="*/ 3587875 h 5633118"/>
                  <a:gd name="connsiteX33" fmla="*/ 0 w 1918706"/>
                  <a:gd name="connsiteY33" fmla="*/ 3574721 h 5633118"/>
                  <a:gd name="connsiteX34" fmla="*/ 0 w 1918706"/>
                  <a:gd name="connsiteY34" fmla="*/ 3515969 h 5633118"/>
                  <a:gd name="connsiteX35" fmla="*/ 0 w 1918706"/>
                  <a:gd name="connsiteY35" fmla="*/ 3508195 h 5633118"/>
                  <a:gd name="connsiteX36" fmla="*/ 0 w 1918706"/>
                  <a:gd name="connsiteY36" fmla="*/ 3487266 h 5633118"/>
                  <a:gd name="connsiteX37" fmla="*/ 0 w 1918706"/>
                  <a:gd name="connsiteY3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093368 h 5633118"/>
                  <a:gd name="connsiteX5" fmla="*/ 1918706 w 1918706"/>
                  <a:gd name="connsiteY5" fmla="*/ 3487266 h 5633118"/>
                  <a:gd name="connsiteX6" fmla="*/ 1918706 w 1918706"/>
                  <a:gd name="connsiteY6" fmla="*/ 3508195 h 5633118"/>
                  <a:gd name="connsiteX7" fmla="*/ 1918706 w 1918706"/>
                  <a:gd name="connsiteY7" fmla="*/ 3515969 h 5633118"/>
                  <a:gd name="connsiteX8" fmla="*/ 1918706 w 1918706"/>
                  <a:gd name="connsiteY8" fmla="*/ 3574721 h 5633118"/>
                  <a:gd name="connsiteX9" fmla="*/ 1918706 w 1918706"/>
                  <a:gd name="connsiteY9" fmla="*/ 3587875 h 5633118"/>
                  <a:gd name="connsiteX10" fmla="*/ 1918706 w 1918706"/>
                  <a:gd name="connsiteY10" fmla="*/ 3595649 h 5633118"/>
                  <a:gd name="connsiteX11" fmla="*/ 1918706 w 1918706"/>
                  <a:gd name="connsiteY11" fmla="*/ 3997322 h 5633118"/>
                  <a:gd name="connsiteX12" fmla="*/ 1918706 w 1918706"/>
                  <a:gd name="connsiteY12" fmla="*/ 4010476 h 5633118"/>
                  <a:gd name="connsiteX13" fmla="*/ 1918706 w 1918706"/>
                  <a:gd name="connsiteY13" fmla="*/ 4069228 h 5633118"/>
                  <a:gd name="connsiteX14" fmla="*/ 1918706 w 1918706"/>
                  <a:gd name="connsiteY14" fmla="*/ 4090156 h 5633118"/>
                  <a:gd name="connsiteX15" fmla="*/ 1918706 w 1918706"/>
                  <a:gd name="connsiteY15" fmla="*/ 4097931 h 5633118"/>
                  <a:gd name="connsiteX16" fmla="*/ 1918706 w 1918706"/>
                  <a:gd name="connsiteY16" fmla="*/ 4491829 h 5633118"/>
                  <a:gd name="connsiteX17" fmla="*/ 1918706 w 1918706"/>
                  <a:gd name="connsiteY17" fmla="*/ 4579284 h 5633118"/>
                  <a:gd name="connsiteX18" fmla="*/ 1918706 w 1918706"/>
                  <a:gd name="connsiteY18" fmla="*/ 4592438 h 5633118"/>
                  <a:gd name="connsiteX19" fmla="*/ 1918706 w 1918706"/>
                  <a:gd name="connsiteY19" fmla="*/ 5073791 h 5633118"/>
                  <a:gd name="connsiteX20" fmla="*/ 959355 w 1918706"/>
                  <a:gd name="connsiteY20" fmla="*/ 5633118 h 5633118"/>
                  <a:gd name="connsiteX21" fmla="*/ 0 w 1918706"/>
                  <a:gd name="connsiteY21" fmla="*/ 5073791 h 5633118"/>
                  <a:gd name="connsiteX22" fmla="*/ 0 w 1918706"/>
                  <a:gd name="connsiteY22" fmla="*/ 4592438 h 5633118"/>
                  <a:gd name="connsiteX23" fmla="*/ 0 w 1918706"/>
                  <a:gd name="connsiteY23" fmla="*/ 4579284 h 5633118"/>
                  <a:gd name="connsiteX24" fmla="*/ 0 w 1918706"/>
                  <a:gd name="connsiteY24" fmla="*/ 4491829 h 5633118"/>
                  <a:gd name="connsiteX25" fmla="*/ 0 w 1918706"/>
                  <a:gd name="connsiteY25" fmla="*/ 4097931 h 5633118"/>
                  <a:gd name="connsiteX26" fmla="*/ 0 w 1918706"/>
                  <a:gd name="connsiteY26" fmla="*/ 4090156 h 5633118"/>
                  <a:gd name="connsiteX27" fmla="*/ 0 w 1918706"/>
                  <a:gd name="connsiteY27" fmla="*/ 4069228 h 5633118"/>
                  <a:gd name="connsiteX28" fmla="*/ 0 w 1918706"/>
                  <a:gd name="connsiteY28" fmla="*/ 4010476 h 5633118"/>
                  <a:gd name="connsiteX29" fmla="*/ 0 w 1918706"/>
                  <a:gd name="connsiteY29" fmla="*/ 3997322 h 5633118"/>
                  <a:gd name="connsiteX30" fmla="*/ 0 w 1918706"/>
                  <a:gd name="connsiteY30" fmla="*/ 3595649 h 5633118"/>
                  <a:gd name="connsiteX31" fmla="*/ 0 w 1918706"/>
                  <a:gd name="connsiteY31" fmla="*/ 3587875 h 5633118"/>
                  <a:gd name="connsiteX32" fmla="*/ 0 w 1918706"/>
                  <a:gd name="connsiteY32" fmla="*/ 3574721 h 5633118"/>
                  <a:gd name="connsiteX33" fmla="*/ 0 w 1918706"/>
                  <a:gd name="connsiteY33" fmla="*/ 3515969 h 5633118"/>
                  <a:gd name="connsiteX34" fmla="*/ 0 w 1918706"/>
                  <a:gd name="connsiteY34" fmla="*/ 3508195 h 5633118"/>
                  <a:gd name="connsiteX35" fmla="*/ 0 w 1918706"/>
                  <a:gd name="connsiteY35" fmla="*/ 3487266 h 5633118"/>
                  <a:gd name="connsiteX36" fmla="*/ 0 w 1918706"/>
                  <a:gd name="connsiteY3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487266 h 5633118"/>
                  <a:gd name="connsiteX5" fmla="*/ 1918706 w 1918706"/>
                  <a:gd name="connsiteY5" fmla="*/ 3508195 h 5633118"/>
                  <a:gd name="connsiteX6" fmla="*/ 1918706 w 1918706"/>
                  <a:gd name="connsiteY6" fmla="*/ 3515969 h 5633118"/>
                  <a:gd name="connsiteX7" fmla="*/ 1918706 w 1918706"/>
                  <a:gd name="connsiteY7" fmla="*/ 3574721 h 5633118"/>
                  <a:gd name="connsiteX8" fmla="*/ 1918706 w 1918706"/>
                  <a:gd name="connsiteY8" fmla="*/ 3587875 h 5633118"/>
                  <a:gd name="connsiteX9" fmla="*/ 1918706 w 1918706"/>
                  <a:gd name="connsiteY9" fmla="*/ 3595649 h 5633118"/>
                  <a:gd name="connsiteX10" fmla="*/ 1918706 w 1918706"/>
                  <a:gd name="connsiteY10" fmla="*/ 3997322 h 5633118"/>
                  <a:gd name="connsiteX11" fmla="*/ 1918706 w 1918706"/>
                  <a:gd name="connsiteY11" fmla="*/ 4010476 h 5633118"/>
                  <a:gd name="connsiteX12" fmla="*/ 1918706 w 1918706"/>
                  <a:gd name="connsiteY12" fmla="*/ 4069228 h 5633118"/>
                  <a:gd name="connsiteX13" fmla="*/ 1918706 w 1918706"/>
                  <a:gd name="connsiteY13" fmla="*/ 4090156 h 5633118"/>
                  <a:gd name="connsiteX14" fmla="*/ 1918706 w 1918706"/>
                  <a:gd name="connsiteY14" fmla="*/ 4097931 h 5633118"/>
                  <a:gd name="connsiteX15" fmla="*/ 1918706 w 1918706"/>
                  <a:gd name="connsiteY15" fmla="*/ 4491829 h 5633118"/>
                  <a:gd name="connsiteX16" fmla="*/ 1918706 w 1918706"/>
                  <a:gd name="connsiteY16" fmla="*/ 4579284 h 5633118"/>
                  <a:gd name="connsiteX17" fmla="*/ 1918706 w 1918706"/>
                  <a:gd name="connsiteY17" fmla="*/ 4592438 h 5633118"/>
                  <a:gd name="connsiteX18" fmla="*/ 1918706 w 1918706"/>
                  <a:gd name="connsiteY18" fmla="*/ 5073791 h 5633118"/>
                  <a:gd name="connsiteX19" fmla="*/ 959355 w 1918706"/>
                  <a:gd name="connsiteY19" fmla="*/ 5633118 h 5633118"/>
                  <a:gd name="connsiteX20" fmla="*/ 0 w 1918706"/>
                  <a:gd name="connsiteY20" fmla="*/ 5073791 h 5633118"/>
                  <a:gd name="connsiteX21" fmla="*/ 0 w 1918706"/>
                  <a:gd name="connsiteY21" fmla="*/ 4592438 h 5633118"/>
                  <a:gd name="connsiteX22" fmla="*/ 0 w 1918706"/>
                  <a:gd name="connsiteY22" fmla="*/ 4579284 h 5633118"/>
                  <a:gd name="connsiteX23" fmla="*/ 0 w 1918706"/>
                  <a:gd name="connsiteY23" fmla="*/ 4491829 h 5633118"/>
                  <a:gd name="connsiteX24" fmla="*/ 0 w 1918706"/>
                  <a:gd name="connsiteY24" fmla="*/ 4097931 h 5633118"/>
                  <a:gd name="connsiteX25" fmla="*/ 0 w 1918706"/>
                  <a:gd name="connsiteY25" fmla="*/ 4090156 h 5633118"/>
                  <a:gd name="connsiteX26" fmla="*/ 0 w 1918706"/>
                  <a:gd name="connsiteY26" fmla="*/ 4069228 h 5633118"/>
                  <a:gd name="connsiteX27" fmla="*/ 0 w 1918706"/>
                  <a:gd name="connsiteY27" fmla="*/ 4010476 h 5633118"/>
                  <a:gd name="connsiteX28" fmla="*/ 0 w 1918706"/>
                  <a:gd name="connsiteY28" fmla="*/ 3997322 h 5633118"/>
                  <a:gd name="connsiteX29" fmla="*/ 0 w 1918706"/>
                  <a:gd name="connsiteY29" fmla="*/ 3595649 h 5633118"/>
                  <a:gd name="connsiteX30" fmla="*/ 0 w 1918706"/>
                  <a:gd name="connsiteY30" fmla="*/ 3587875 h 5633118"/>
                  <a:gd name="connsiteX31" fmla="*/ 0 w 1918706"/>
                  <a:gd name="connsiteY31" fmla="*/ 3574721 h 5633118"/>
                  <a:gd name="connsiteX32" fmla="*/ 0 w 1918706"/>
                  <a:gd name="connsiteY32" fmla="*/ 3515969 h 5633118"/>
                  <a:gd name="connsiteX33" fmla="*/ 0 w 1918706"/>
                  <a:gd name="connsiteY33" fmla="*/ 3508195 h 5633118"/>
                  <a:gd name="connsiteX34" fmla="*/ 0 w 1918706"/>
                  <a:gd name="connsiteY34" fmla="*/ 3487266 h 5633118"/>
                  <a:gd name="connsiteX35" fmla="*/ 0 w 1918706"/>
                  <a:gd name="connsiteY3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74721 h 5633118"/>
                  <a:gd name="connsiteX7" fmla="*/ 1918706 w 1918706"/>
                  <a:gd name="connsiteY7" fmla="*/ 3587875 h 5633118"/>
                  <a:gd name="connsiteX8" fmla="*/ 1918706 w 1918706"/>
                  <a:gd name="connsiteY8" fmla="*/ 3595649 h 5633118"/>
                  <a:gd name="connsiteX9" fmla="*/ 1918706 w 1918706"/>
                  <a:gd name="connsiteY9" fmla="*/ 3997322 h 5633118"/>
                  <a:gd name="connsiteX10" fmla="*/ 1918706 w 1918706"/>
                  <a:gd name="connsiteY10" fmla="*/ 4010476 h 5633118"/>
                  <a:gd name="connsiteX11" fmla="*/ 1918706 w 1918706"/>
                  <a:gd name="connsiteY11" fmla="*/ 4069228 h 5633118"/>
                  <a:gd name="connsiteX12" fmla="*/ 1918706 w 1918706"/>
                  <a:gd name="connsiteY12" fmla="*/ 4090156 h 5633118"/>
                  <a:gd name="connsiteX13" fmla="*/ 1918706 w 1918706"/>
                  <a:gd name="connsiteY13" fmla="*/ 4097931 h 5633118"/>
                  <a:gd name="connsiteX14" fmla="*/ 1918706 w 1918706"/>
                  <a:gd name="connsiteY14" fmla="*/ 4491829 h 5633118"/>
                  <a:gd name="connsiteX15" fmla="*/ 1918706 w 1918706"/>
                  <a:gd name="connsiteY15" fmla="*/ 4579284 h 5633118"/>
                  <a:gd name="connsiteX16" fmla="*/ 1918706 w 1918706"/>
                  <a:gd name="connsiteY16" fmla="*/ 4592438 h 5633118"/>
                  <a:gd name="connsiteX17" fmla="*/ 1918706 w 1918706"/>
                  <a:gd name="connsiteY17" fmla="*/ 5073791 h 5633118"/>
                  <a:gd name="connsiteX18" fmla="*/ 959355 w 1918706"/>
                  <a:gd name="connsiteY18" fmla="*/ 5633118 h 5633118"/>
                  <a:gd name="connsiteX19" fmla="*/ 0 w 1918706"/>
                  <a:gd name="connsiteY19" fmla="*/ 5073791 h 5633118"/>
                  <a:gd name="connsiteX20" fmla="*/ 0 w 1918706"/>
                  <a:gd name="connsiteY20" fmla="*/ 4592438 h 5633118"/>
                  <a:gd name="connsiteX21" fmla="*/ 0 w 1918706"/>
                  <a:gd name="connsiteY21" fmla="*/ 4579284 h 5633118"/>
                  <a:gd name="connsiteX22" fmla="*/ 0 w 1918706"/>
                  <a:gd name="connsiteY22" fmla="*/ 4491829 h 5633118"/>
                  <a:gd name="connsiteX23" fmla="*/ 0 w 1918706"/>
                  <a:gd name="connsiteY23" fmla="*/ 4097931 h 5633118"/>
                  <a:gd name="connsiteX24" fmla="*/ 0 w 1918706"/>
                  <a:gd name="connsiteY24" fmla="*/ 4090156 h 5633118"/>
                  <a:gd name="connsiteX25" fmla="*/ 0 w 1918706"/>
                  <a:gd name="connsiteY25" fmla="*/ 4069228 h 5633118"/>
                  <a:gd name="connsiteX26" fmla="*/ 0 w 1918706"/>
                  <a:gd name="connsiteY26" fmla="*/ 4010476 h 5633118"/>
                  <a:gd name="connsiteX27" fmla="*/ 0 w 1918706"/>
                  <a:gd name="connsiteY27" fmla="*/ 3997322 h 5633118"/>
                  <a:gd name="connsiteX28" fmla="*/ 0 w 1918706"/>
                  <a:gd name="connsiteY28" fmla="*/ 3595649 h 5633118"/>
                  <a:gd name="connsiteX29" fmla="*/ 0 w 1918706"/>
                  <a:gd name="connsiteY29" fmla="*/ 3587875 h 5633118"/>
                  <a:gd name="connsiteX30" fmla="*/ 0 w 1918706"/>
                  <a:gd name="connsiteY30" fmla="*/ 3574721 h 5633118"/>
                  <a:gd name="connsiteX31" fmla="*/ 0 w 1918706"/>
                  <a:gd name="connsiteY31" fmla="*/ 3515969 h 5633118"/>
                  <a:gd name="connsiteX32" fmla="*/ 0 w 1918706"/>
                  <a:gd name="connsiteY32" fmla="*/ 3508195 h 5633118"/>
                  <a:gd name="connsiteX33" fmla="*/ 0 w 1918706"/>
                  <a:gd name="connsiteY33" fmla="*/ 3487266 h 5633118"/>
                  <a:gd name="connsiteX34" fmla="*/ 0 w 1918706"/>
                  <a:gd name="connsiteY3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87875 h 5633118"/>
                  <a:gd name="connsiteX7" fmla="*/ 1918706 w 1918706"/>
                  <a:gd name="connsiteY7" fmla="*/ 3595649 h 5633118"/>
                  <a:gd name="connsiteX8" fmla="*/ 1918706 w 1918706"/>
                  <a:gd name="connsiteY8" fmla="*/ 3997322 h 5633118"/>
                  <a:gd name="connsiteX9" fmla="*/ 1918706 w 1918706"/>
                  <a:gd name="connsiteY9" fmla="*/ 4010476 h 5633118"/>
                  <a:gd name="connsiteX10" fmla="*/ 1918706 w 1918706"/>
                  <a:gd name="connsiteY10" fmla="*/ 4069228 h 5633118"/>
                  <a:gd name="connsiteX11" fmla="*/ 1918706 w 1918706"/>
                  <a:gd name="connsiteY11" fmla="*/ 4090156 h 5633118"/>
                  <a:gd name="connsiteX12" fmla="*/ 1918706 w 1918706"/>
                  <a:gd name="connsiteY12" fmla="*/ 4097931 h 5633118"/>
                  <a:gd name="connsiteX13" fmla="*/ 1918706 w 1918706"/>
                  <a:gd name="connsiteY13" fmla="*/ 4491829 h 5633118"/>
                  <a:gd name="connsiteX14" fmla="*/ 1918706 w 1918706"/>
                  <a:gd name="connsiteY14" fmla="*/ 4579284 h 5633118"/>
                  <a:gd name="connsiteX15" fmla="*/ 1918706 w 1918706"/>
                  <a:gd name="connsiteY15" fmla="*/ 4592438 h 5633118"/>
                  <a:gd name="connsiteX16" fmla="*/ 1918706 w 1918706"/>
                  <a:gd name="connsiteY16" fmla="*/ 5073791 h 5633118"/>
                  <a:gd name="connsiteX17" fmla="*/ 959355 w 1918706"/>
                  <a:gd name="connsiteY17" fmla="*/ 5633118 h 5633118"/>
                  <a:gd name="connsiteX18" fmla="*/ 0 w 1918706"/>
                  <a:gd name="connsiteY18" fmla="*/ 5073791 h 5633118"/>
                  <a:gd name="connsiteX19" fmla="*/ 0 w 1918706"/>
                  <a:gd name="connsiteY19" fmla="*/ 4592438 h 5633118"/>
                  <a:gd name="connsiteX20" fmla="*/ 0 w 1918706"/>
                  <a:gd name="connsiteY20" fmla="*/ 4579284 h 5633118"/>
                  <a:gd name="connsiteX21" fmla="*/ 0 w 1918706"/>
                  <a:gd name="connsiteY21" fmla="*/ 4491829 h 5633118"/>
                  <a:gd name="connsiteX22" fmla="*/ 0 w 1918706"/>
                  <a:gd name="connsiteY22" fmla="*/ 4097931 h 5633118"/>
                  <a:gd name="connsiteX23" fmla="*/ 0 w 1918706"/>
                  <a:gd name="connsiteY23" fmla="*/ 4090156 h 5633118"/>
                  <a:gd name="connsiteX24" fmla="*/ 0 w 1918706"/>
                  <a:gd name="connsiteY24" fmla="*/ 4069228 h 5633118"/>
                  <a:gd name="connsiteX25" fmla="*/ 0 w 1918706"/>
                  <a:gd name="connsiteY25" fmla="*/ 4010476 h 5633118"/>
                  <a:gd name="connsiteX26" fmla="*/ 0 w 1918706"/>
                  <a:gd name="connsiteY26" fmla="*/ 3997322 h 5633118"/>
                  <a:gd name="connsiteX27" fmla="*/ 0 w 1918706"/>
                  <a:gd name="connsiteY27" fmla="*/ 3595649 h 5633118"/>
                  <a:gd name="connsiteX28" fmla="*/ 0 w 1918706"/>
                  <a:gd name="connsiteY28" fmla="*/ 3587875 h 5633118"/>
                  <a:gd name="connsiteX29" fmla="*/ 0 w 1918706"/>
                  <a:gd name="connsiteY29" fmla="*/ 3574721 h 5633118"/>
                  <a:gd name="connsiteX30" fmla="*/ 0 w 1918706"/>
                  <a:gd name="connsiteY30" fmla="*/ 3515969 h 5633118"/>
                  <a:gd name="connsiteX31" fmla="*/ 0 w 1918706"/>
                  <a:gd name="connsiteY31" fmla="*/ 3508195 h 5633118"/>
                  <a:gd name="connsiteX32" fmla="*/ 0 w 1918706"/>
                  <a:gd name="connsiteY32" fmla="*/ 3487266 h 5633118"/>
                  <a:gd name="connsiteX33" fmla="*/ 0 w 1918706"/>
                  <a:gd name="connsiteY3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87875 h 5633118"/>
                  <a:gd name="connsiteX6" fmla="*/ 1918706 w 1918706"/>
                  <a:gd name="connsiteY6" fmla="*/ 3595649 h 5633118"/>
                  <a:gd name="connsiteX7" fmla="*/ 1918706 w 1918706"/>
                  <a:gd name="connsiteY7" fmla="*/ 3997322 h 5633118"/>
                  <a:gd name="connsiteX8" fmla="*/ 1918706 w 1918706"/>
                  <a:gd name="connsiteY8" fmla="*/ 4010476 h 5633118"/>
                  <a:gd name="connsiteX9" fmla="*/ 1918706 w 1918706"/>
                  <a:gd name="connsiteY9" fmla="*/ 4069228 h 5633118"/>
                  <a:gd name="connsiteX10" fmla="*/ 1918706 w 1918706"/>
                  <a:gd name="connsiteY10" fmla="*/ 4090156 h 5633118"/>
                  <a:gd name="connsiteX11" fmla="*/ 1918706 w 1918706"/>
                  <a:gd name="connsiteY11" fmla="*/ 4097931 h 5633118"/>
                  <a:gd name="connsiteX12" fmla="*/ 1918706 w 1918706"/>
                  <a:gd name="connsiteY12" fmla="*/ 4491829 h 5633118"/>
                  <a:gd name="connsiteX13" fmla="*/ 1918706 w 1918706"/>
                  <a:gd name="connsiteY13" fmla="*/ 4579284 h 5633118"/>
                  <a:gd name="connsiteX14" fmla="*/ 1918706 w 1918706"/>
                  <a:gd name="connsiteY14" fmla="*/ 4592438 h 5633118"/>
                  <a:gd name="connsiteX15" fmla="*/ 1918706 w 1918706"/>
                  <a:gd name="connsiteY15" fmla="*/ 5073791 h 5633118"/>
                  <a:gd name="connsiteX16" fmla="*/ 959355 w 1918706"/>
                  <a:gd name="connsiteY16" fmla="*/ 5633118 h 5633118"/>
                  <a:gd name="connsiteX17" fmla="*/ 0 w 1918706"/>
                  <a:gd name="connsiteY17" fmla="*/ 5073791 h 5633118"/>
                  <a:gd name="connsiteX18" fmla="*/ 0 w 1918706"/>
                  <a:gd name="connsiteY18" fmla="*/ 4592438 h 5633118"/>
                  <a:gd name="connsiteX19" fmla="*/ 0 w 1918706"/>
                  <a:gd name="connsiteY19" fmla="*/ 4579284 h 5633118"/>
                  <a:gd name="connsiteX20" fmla="*/ 0 w 1918706"/>
                  <a:gd name="connsiteY20" fmla="*/ 4491829 h 5633118"/>
                  <a:gd name="connsiteX21" fmla="*/ 0 w 1918706"/>
                  <a:gd name="connsiteY21" fmla="*/ 4097931 h 5633118"/>
                  <a:gd name="connsiteX22" fmla="*/ 0 w 1918706"/>
                  <a:gd name="connsiteY22" fmla="*/ 4090156 h 5633118"/>
                  <a:gd name="connsiteX23" fmla="*/ 0 w 1918706"/>
                  <a:gd name="connsiteY23" fmla="*/ 4069228 h 5633118"/>
                  <a:gd name="connsiteX24" fmla="*/ 0 w 1918706"/>
                  <a:gd name="connsiteY24" fmla="*/ 4010476 h 5633118"/>
                  <a:gd name="connsiteX25" fmla="*/ 0 w 1918706"/>
                  <a:gd name="connsiteY25" fmla="*/ 3997322 h 5633118"/>
                  <a:gd name="connsiteX26" fmla="*/ 0 w 1918706"/>
                  <a:gd name="connsiteY26" fmla="*/ 3595649 h 5633118"/>
                  <a:gd name="connsiteX27" fmla="*/ 0 w 1918706"/>
                  <a:gd name="connsiteY27" fmla="*/ 3587875 h 5633118"/>
                  <a:gd name="connsiteX28" fmla="*/ 0 w 1918706"/>
                  <a:gd name="connsiteY28" fmla="*/ 3574721 h 5633118"/>
                  <a:gd name="connsiteX29" fmla="*/ 0 w 1918706"/>
                  <a:gd name="connsiteY29" fmla="*/ 3515969 h 5633118"/>
                  <a:gd name="connsiteX30" fmla="*/ 0 w 1918706"/>
                  <a:gd name="connsiteY30" fmla="*/ 3508195 h 5633118"/>
                  <a:gd name="connsiteX31" fmla="*/ 0 w 1918706"/>
                  <a:gd name="connsiteY31" fmla="*/ 3487266 h 5633118"/>
                  <a:gd name="connsiteX32" fmla="*/ 0 w 1918706"/>
                  <a:gd name="connsiteY3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595649 h 5633118"/>
                  <a:gd name="connsiteX6" fmla="*/ 1918706 w 1918706"/>
                  <a:gd name="connsiteY6" fmla="*/ 3997322 h 5633118"/>
                  <a:gd name="connsiteX7" fmla="*/ 1918706 w 1918706"/>
                  <a:gd name="connsiteY7" fmla="*/ 4010476 h 5633118"/>
                  <a:gd name="connsiteX8" fmla="*/ 1918706 w 1918706"/>
                  <a:gd name="connsiteY8" fmla="*/ 4069228 h 5633118"/>
                  <a:gd name="connsiteX9" fmla="*/ 1918706 w 1918706"/>
                  <a:gd name="connsiteY9" fmla="*/ 4090156 h 5633118"/>
                  <a:gd name="connsiteX10" fmla="*/ 1918706 w 1918706"/>
                  <a:gd name="connsiteY10" fmla="*/ 4097931 h 5633118"/>
                  <a:gd name="connsiteX11" fmla="*/ 1918706 w 1918706"/>
                  <a:gd name="connsiteY11" fmla="*/ 4491829 h 5633118"/>
                  <a:gd name="connsiteX12" fmla="*/ 1918706 w 1918706"/>
                  <a:gd name="connsiteY12" fmla="*/ 4579284 h 5633118"/>
                  <a:gd name="connsiteX13" fmla="*/ 1918706 w 1918706"/>
                  <a:gd name="connsiteY13" fmla="*/ 4592438 h 5633118"/>
                  <a:gd name="connsiteX14" fmla="*/ 1918706 w 1918706"/>
                  <a:gd name="connsiteY14" fmla="*/ 5073791 h 5633118"/>
                  <a:gd name="connsiteX15" fmla="*/ 959355 w 1918706"/>
                  <a:gd name="connsiteY15" fmla="*/ 5633118 h 5633118"/>
                  <a:gd name="connsiteX16" fmla="*/ 0 w 1918706"/>
                  <a:gd name="connsiteY16" fmla="*/ 5073791 h 5633118"/>
                  <a:gd name="connsiteX17" fmla="*/ 0 w 1918706"/>
                  <a:gd name="connsiteY17" fmla="*/ 4592438 h 5633118"/>
                  <a:gd name="connsiteX18" fmla="*/ 0 w 1918706"/>
                  <a:gd name="connsiteY18" fmla="*/ 4579284 h 5633118"/>
                  <a:gd name="connsiteX19" fmla="*/ 0 w 1918706"/>
                  <a:gd name="connsiteY19" fmla="*/ 4491829 h 5633118"/>
                  <a:gd name="connsiteX20" fmla="*/ 0 w 1918706"/>
                  <a:gd name="connsiteY20" fmla="*/ 4097931 h 5633118"/>
                  <a:gd name="connsiteX21" fmla="*/ 0 w 1918706"/>
                  <a:gd name="connsiteY21" fmla="*/ 4090156 h 5633118"/>
                  <a:gd name="connsiteX22" fmla="*/ 0 w 1918706"/>
                  <a:gd name="connsiteY22" fmla="*/ 4069228 h 5633118"/>
                  <a:gd name="connsiteX23" fmla="*/ 0 w 1918706"/>
                  <a:gd name="connsiteY23" fmla="*/ 4010476 h 5633118"/>
                  <a:gd name="connsiteX24" fmla="*/ 0 w 1918706"/>
                  <a:gd name="connsiteY24" fmla="*/ 3997322 h 5633118"/>
                  <a:gd name="connsiteX25" fmla="*/ 0 w 1918706"/>
                  <a:gd name="connsiteY25" fmla="*/ 3595649 h 5633118"/>
                  <a:gd name="connsiteX26" fmla="*/ 0 w 1918706"/>
                  <a:gd name="connsiteY26" fmla="*/ 3587875 h 5633118"/>
                  <a:gd name="connsiteX27" fmla="*/ 0 w 1918706"/>
                  <a:gd name="connsiteY27" fmla="*/ 3574721 h 5633118"/>
                  <a:gd name="connsiteX28" fmla="*/ 0 w 1918706"/>
                  <a:gd name="connsiteY28" fmla="*/ 3515969 h 5633118"/>
                  <a:gd name="connsiteX29" fmla="*/ 0 w 1918706"/>
                  <a:gd name="connsiteY29" fmla="*/ 3508195 h 5633118"/>
                  <a:gd name="connsiteX30" fmla="*/ 0 w 1918706"/>
                  <a:gd name="connsiteY30" fmla="*/ 3487266 h 5633118"/>
                  <a:gd name="connsiteX31" fmla="*/ 0 w 1918706"/>
                  <a:gd name="connsiteY3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997322 h 5633118"/>
                  <a:gd name="connsiteX6" fmla="*/ 1918706 w 1918706"/>
                  <a:gd name="connsiteY6" fmla="*/ 4010476 h 5633118"/>
                  <a:gd name="connsiteX7" fmla="*/ 1918706 w 1918706"/>
                  <a:gd name="connsiteY7" fmla="*/ 4069228 h 5633118"/>
                  <a:gd name="connsiteX8" fmla="*/ 1918706 w 1918706"/>
                  <a:gd name="connsiteY8" fmla="*/ 4090156 h 5633118"/>
                  <a:gd name="connsiteX9" fmla="*/ 1918706 w 1918706"/>
                  <a:gd name="connsiteY9" fmla="*/ 4097931 h 5633118"/>
                  <a:gd name="connsiteX10" fmla="*/ 1918706 w 1918706"/>
                  <a:gd name="connsiteY10" fmla="*/ 4491829 h 5633118"/>
                  <a:gd name="connsiteX11" fmla="*/ 1918706 w 1918706"/>
                  <a:gd name="connsiteY11" fmla="*/ 4579284 h 5633118"/>
                  <a:gd name="connsiteX12" fmla="*/ 1918706 w 1918706"/>
                  <a:gd name="connsiteY12" fmla="*/ 4592438 h 5633118"/>
                  <a:gd name="connsiteX13" fmla="*/ 1918706 w 1918706"/>
                  <a:gd name="connsiteY13" fmla="*/ 5073791 h 5633118"/>
                  <a:gd name="connsiteX14" fmla="*/ 959355 w 1918706"/>
                  <a:gd name="connsiteY14" fmla="*/ 5633118 h 5633118"/>
                  <a:gd name="connsiteX15" fmla="*/ 0 w 1918706"/>
                  <a:gd name="connsiteY15" fmla="*/ 5073791 h 5633118"/>
                  <a:gd name="connsiteX16" fmla="*/ 0 w 1918706"/>
                  <a:gd name="connsiteY16" fmla="*/ 4592438 h 5633118"/>
                  <a:gd name="connsiteX17" fmla="*/ 0 w 1918706"/>
                  <a:gd name="connsiteY17" fmla="*/ 4579284 h 5633118"/>
                  <a:gd name="connsiteX18" fmla="*/ 0 w 1918706"/>
                  <a:gd name="connsiteY18" fmla="*/ 4491829 h 5633118"/>
                  <a:gd name="connsiteX19" fmla="*/ 0 w 1918706"/>
                  <a:gd name="connsiteY19" fmla="*/ 4097931 h 5633118"/>
                  <a:gd name="connsiteX20" fmla="*/ 0 w 1918706"/>
                  <a:gd name="connsiteY20" fmla="*/ 4090156 h 5633118"/>
                  <a:gd name="connsiteX21" fmla="*/ 0 w 1918706"/>
                  <a:gd name="connsiteY21" fmla="*/ 4069228 h 5633118"/>
                  <a:gd name="connsiteX22" fmla="*/ 0 w 1918706"/>
                  <a:gd name="connsiteY22" fmla="*/ 4010476 h 5633118"/>
                  <a:gd name="connsiteX23" fmla="*/ 0 w 1918706"/>
                  <a:gd name="connsiteY23" fmla="*/ 3997322 h 5633118"/>
                  <a:gd name="connsiteX24" fmla="*/ 0 w 1918706"/>
                  <a:gd name="connsiteY24" fmla="*/ 3595649 h 5633118"/>
                  <a:gd name="connsiteX25" fmla="*/ 0 w 1918706"/>
                  <a:gd name="connsiteY25" fmla="*/ 3587875 h 5633118"/>
                  <a:gd name="connsiteX26" fmla="*/ 0 w 1918706"/>
                  <a:gd name="connsiteY26" fmla="*/ 3574721 h 5633118"/>
                  <a:gd name="connsiteX27" fmla="*/ 0 w 1918706"/>
                  <a:gd name="connsiteY27" fmla="*/ 3515969 h 5633118"/>
                  <a:gd name="connsiteX28" fmla="*/ 0 w 1918706"/>
                  <a:gd name="connsiteY28" fmla="*/ 3508195 h 5633118"/>
                  <a:gd name="connsiteX29" fmla="*/ 0 w 1918706"/>
                  <a:gd name="connsiteY29" fmla="*/ 3487266 h 5633118"/>
                  <a:gd name="connsiteX30" fmla="*/ 0 w 1918706"/>
                  <a:gd name="connsiteY3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997322 h 5633118"/>
                  <a:gd name="connsiteX5" fmla="*/ 1918706 w 1918706"/>
                  <a:gd name="connsiteY5" fmla="*/ 4010476 h 5633118"/>
                  <a:gd name="connsiteX6" fmla="*/ 1918706 w 1918706"/>
                  <a:gd name="connsiteY6" fmla="*/ 4069228 h 5633118"/>
                  <a:gd name="connsiteX7" fmla="*/ 1918706 w 1918706"/>
                  <a:gd name="connsiteY7" fmla="*/ 4090156 h 5633118"/>
                  <a:gd name="connsiteX8" fmla="*/ 1918706 w 1918706"/>
                  <a:gd name="connsiteY8" fmla="*/ 4097931 h 5633118"/>
                  <a:gd name="connsiteX9" fmla="*/ 1918706 w 1918706"/>
                  <a:gd name="connsiteY9" fmla="*/ 4491829 h 5633118"/>
                  <a:gd name="connsiteX10" fmla="*/ 1918706 w 1918706"/>
                  <a:gd name="connsiteY10" fmla="*/ 4579284 h 5633118"/>
                  <a:gd name="connsiteX11" fmla="*/ 1918706 w 1918706"/>
                  <a:gd name="connsiteY11" fmla="*/ 4592438 h 5633118"/>
                  <a:gd name="connsiteX12" fmla="*/ 1918706 w 1918706"/>
                  <a:gd name="connsiteY12" fmla="*/ 5073791 h 5633118"/>
                  <a:gd name="connsiteX13" fmla="*/ 959355 w 1918706"/>
                  <a:gd name="connsiteY13" fmla="*/ 5633118 h 5633118"/>
                  <a:gd name="connsiteX14" fmla="*/ 0 w 1918706"/>
                  <a:gd name="connsiteY14" fmla="*/ 5073791 h 5633118"/>
                  <a:gd name="connsiteX15" fmla="*/ 0 w 1918706"/>
                  <a:gd name="connsiteY15" fmla="*/ 4592438 h 5633118"/>
                  <a:gd name="connsiteX16" fmla="*/ 0 w 1918706"/>
                  <a:gd name="connsiteY16" fmla="*/ 4579284 h 5633118"/>
                  <a:gd name="connsiteX17" fmla="*/ 0 w 1918706"/>
                  <a:gd name="connsiteY17" fmla="*/ 4491829 h 5633118"/>
                  <a:gd name="connsiteX18" fmla="*/ 0 w 1918706"/>
                  <a:gd name="connsiteY18" fmla="*/ 4097931 h 5633118"/>
                  <a:gd name="connsiteX19" fmla="*/ 0 w 1918706"/>
                  <a:gd name="connsiteY19" fmla="*/ 4090156 h 5633118"/>
                  <a:gd name="connsiteX20" fmla="*/ 0 w 1918706"/>
                  <a:gd name="connsiteY20" fmla="*/ 4069228 h 5633118"/>
                  <a:gd name="connsiteX21" fmla="*/ 0 w 1918706"/>
                  <a:gd name="connsiteY21" fmla="*/ 4010476 h 5633118"/>
                  <a:gd name="connsiteX22" fmla="*/ 0 w 1918706"/>
                  <a:gd name="connsiteY22" fmla="*/ 3997322 h 5633118"/>
                  <a:gd name="connsiteX23" fmla="*/ 0 w 1918706"/>
                  <a:gd name="connsiteY23" fmla="*/ 3595649 h 5633118"/>
                  <a:gd name="connsiteX24" fmla="*/ 0 w 1918706"/>
                  <a:gd name="connsiteY24" fmla="*/ 3587875 h 5633118"/>
                  <a:gd name="connsiteX25" fmla="*/ 0 w 1918706"/>
                  <a:gd name="connsiteY25" fmla="*/ 3574721 h 5633118"/>
                  <a:gd name="connsiteX26" fmla="*/ 0 w 1918706"/>
                  <a:gd name="connsiteY26" fmla="*/ 3515969 h 5633118"/>
                  <a:gd name="connsiteX27" fmla="*/ 0 w 1918706"/>
                  <a:gd name="connsiteY27" fmla="*/ 3508195 h 5633118"/>
                  <a:gd name="connsiteX28" fmla="*/ 0 w 1918706"/>
                  <a:gd name="connsiteY28" fmla="*/ 3487266 h 5633118"/>
                  <a:gd name="connsiteX29" fmla="*/ 0 w 1918706"/>
                  <a:gd name="connsiteY2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10476 h 5633118"/>
                  <a:gd name="connsiteX5" fmla="*/ 1918706 w 1918706"/>
                  <a:gd name="connsiteY5" fmla="*/ 4069228 h 5633118"/>
                  <a:gd name="connsiteX6" fmla="*/ 1918706 w 1918706"/>
                  <a:gd name="connsiteY6" fmla="*/ 4090156 h 5633118"/>
                  <a:gd name="connsiteX7" fmla="*/ 1918706 w 1918706"/>
                  <a:gd name="connsiteY7" fmla="*/ 4097931 h 5633118"/>
                  <a:gd name="connsiteX8" fmla="*/ 1918706 w 1918706"/>
                  <a:gd name="connsiteY8" fmla="*/ 4491829 h 5633118"/>
                  <a:gd name="connsiteX9" fmla="*/ 1918706 w 1918706"/>
                  <a:gd name="connsiteY9" fmla="*/ 4579284 h 5633118"/>
                  <a:gd name="connsiteX10" fmla="*/ 1918706 w 1918706"/>
                  <a:gd name="connsiteY10" fmla="*/ 4592438 h 5633118"/>
                  <a:gd name="connsiteX11" fmla="*/ 1918706 w 1918706"/>
                  <a:gd name="connsiteY11" fmla="*/ 5073791 h 5633118"/>
                  <a:gd name="connsiteX12" fmla="*/ 959355 w 1918706"/>
                  <a:gd name="connsiteY12" fmla="*/ 5633118 h 5633118"/>
                  <a:gd name="connsiteX13" fmla="*/ 0 w 1918706"/>
                  <a:gd name="connsiteY13" fmla="*/ 5073791 h 5633118"/>
                  <a:gd name="connsiteX14" fmla="*/ 0 w 1918706"/>
                  <a:gd name="connsiteY14" fmla="*/ 4592438 h 5633118"/>
                  <a:gd name="connsiteX15" fmla="*/ 0 w 1918706"/>
                  <a:gd name="connsiteY15" fmla="*/ 4579284 h 5633118"/>
                  <a:gd name="connsiteX16" fmla="*/ 0 w 1918706"/>
                  <a:gd name="connsiteY16" fmla="*/ 4491829 h 5633118"/>
                  <a:gd name="connsiteX17" fmla="*/ 0 w 1918706"/>
                  <a:gd name="connsiteY17" fmla="*/ 4097931 h 5633118"/>
                  <a:gd name="connsiteX18" fmla="*/ 0 w 1918706"/>
                  <a:gd name="connsiteY18" fmla="*/ 4090156 h 5633118"/>
                  <a:gd name="connsiteX19" fmla="*/ 0 w 1918706"/>
                  <a:gd name="connsiteY19" fmla="*/ 4069228 h 5633118"/>
                  <a:gd name="connsiteX20" fmla="*/ 0 w 1918706"/>
                  <a:gd name="connsiteY20" fmla="*/ 4010476 h 5633118"/>
                  <a:gd name="connsiteX21" fmla="*/ 0 w 1918706"/>
                  <a:gd name="connsiteY21" fmla="*/ 3997322 h 5633118"/>
                  <a:gd name="connsiteX22" fmla="*/ 0 w 1918706"/>
                  <a:gd name="connsiteY22" fmla="*/ 3595649 h 5633118"/>
                  <a:gd name="connsiteX23" fmla="*/ 0 w 1918706"/>
                  <a:gd name="connsiteY23" fmla="*/ 3587875 h 5633118"/>
                  <a:gd name="connsiteX24" fmla="*/ 0 w 1918706"/>
                  <a:gd name="connsiteY24" fmla="*/ 3574721 h 5633118"/>
                  <a:gd name="connsiteX25" fmla="*/ 0 w 1918706"/>
                  <a:gd name="connsiteY25" fmla="*/ 3515969 h 5633118"/>
                  <a:gd name="connsiteX26" fmla="*/ 0 w 1918706"/>
                  <a:gd name="connsiteY26" fmla="*/ 3508195 h 5633118"/>
                  <a:gd name="connsiteX27" fmla="*/ 0 w 1918706"/>
                  <a:gd name="connsiteY27" fmla="*/ 3487266 h 5633118"/>
                  <a:gd name="connsiteX28" fmla="*/ 0 w 1918706"/>
                  <a:gd name="connsiteY2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69228 h 5633118"/>
                  <a:gd name="connsiteX5" fmla="*/ 1918706 w 1918706"/>
                  <a:gd name="connsiteY5" fmla="*/ 4090156 h 5633118"/>
                  <a:gd name="connsiteX6" fmla="*/ 1918706 w 1918706"/>
                  <a:gd name="connsiteY6" fmla="*/ 4097931 h 5633118"/>
                  <a:gd name="connsiteX7" fmla="*/ 1918706 w 1918706"/>
                  <a:gd name="connsiteY7" fmla="*/ 4491829 h 5633118"/>
                  <a:gd name="connsiteX8" fmla="*/ 1918706 w 1918706"/>
                  <a:gd name="connsiteY8" fmla="*/ 4579284 h 5633118"/>
                  <a:gd name="connsiteX9" fmla="*/ 1918706 w 1918706"/>
                  <a:gd name="connsiteY9" fmla="*/ 4592438 h 5633118"/>
                  <a:gd name="connsiteX10" fmla="*/ 1918706 w 1918706"/>
                  <a:gd name="connsiteY10" fmla="*/ 5073791 h 5633118"/>
                  <a:gd name="connsiteX11" fmla="*/ 959355 w 1918706"/>
                  <a:gd name="connsiteY11" fmla="*/ 5633118 h 5633118"/>
                  <a:gd name="connsiteX12" fmla="*/ 0 w 1918706"/>
                  <a:gd name="connsiteY12" fmla="*/ 5073791 h 5633118"/>
                  <a:gd name="connsiteX13" fmla="*/ 0 w 1918706"/>
                  <a:gd name="connsiteY13" fmla="*/ 4592438 h 5633118"/>
                  <a:gd name="connsiteX14" fmla="*/ 0 w 1918706"/>
                  <a:gd name="connsiteY14" fmla="*/ 4579284 h 5633118"/>
                  <a:gd name="connsiteX15" fmla="*/ 0 w 1918706"/>
                  <a:gd name="connsiteY15" fmla="*/ 4491829 h 5633118"/>
                  <a:gd name="connsiteX16" fmla="*/ 0 w 1918706"/>
                  <a:gd name="connsiteY16" fmla="*/ 4097931 h 5633118"/>
                  <a:gd name="connsiteX17" fmla="*/ 0 w 1918706"/>
                  <a:gd name="connsiteY17" fmla="*/ 4090156 h 5633118"/>
                  <a:gd name="connsiteX18" fmla="*/ 0 w 1918706"/>
                  <a:gd name="connsiteY18" fmla="*/ 4069228 h 5633118"/>
                  <a:gd name="connsiteX19" fmla="*/ 0 w 1918706"/>
                  <a:gd name="connsiteY19" fmla="*/ 4010476 h 5633118"/>
                  <a:gd name="connsiteX20" fmla="*/ 0 w 1918706"/>
                  <a:gd name="connsiteY20" fmla="*/ 3997322 h 5633118"/>
                  <a:gd name="connsiteX21" fmla="*/ 0 w 1918706"/>
                  <a:gd name="connsiteY21" fmla="*/ 3595649 h 5633118"/>
                  <a:gd name="connsiteX22" fmla="*/ 0 w 1918706"/>
                  <a:gd name="connsiteY22" fmla="*/ 3587875 h 5633118"/>
                  <a:gd name="connsiteX23" fmla="*/ 0 w 1918706"/>
                  <a:gd name="connsiteY23" fmla="*/ 3574721 h 5633118"/>
                  <a:gd name="connsiteX24" fmla="*/ 0 w 1918706"/>
                  <a:gd name="connsiteY24" fmla="*/ 3515969 h 5633118"/>
                  <a:gd name="connsiteX25" fmla="*/ 0 w 1918706"/>
                  <a:gd name="connsiteY25" fmla="*/ 3508195 h 5633118"/>
                  <a:gd name="connsiteX26" fmla="*/ 0 w 1918706"/>
                  <a:gd name="connsiteY26" fmla="*/ 3487266 h 5633118"/>
                  <a:gd name="connsiteX27" fmla="*/ 0 w 1918706"/>
                  <a:gd name="connsiteY2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097931 h 5633118"/>
                  <a:gd name="connsiteX6" fmla="*/ 1918706 w 1918706"/>
                  <a:gd name="connsiteY6" fmla="*/ 4491829 h 5633118"/>
                  <a:gd name="connsiteX7" fmla="*/ 1918706 w 1918706"/>
                  <a:gd name="connsiteY7" fmla="*/ 4579284 h 5633118"/>
                  <a:gd name="connsiteX8" fmla="*/ 1918706 w 1918706"/>
                  <a:gd name="connsiteY8" fmla="*/ 4592438 h 5633118"/>
                  <a:gd name="connsiteX9" fmla="*/ 1918706 w 1918706"/>
                  <a:gd name="connsiteY9" fmla="*/ 5073791 h 5633118"/>
                  <a:gd name="connsiteX10" fmla="*/ 959355 w 1918706"/>
                  <a:gd name="connsiteY10" fmla="*/ 5633118 h 5633118"/>
                  <a:gd name="connsiteX11" fmla="*/ 0 w 1918706"/>
                  <a:gd name="connsiteY11" fmla="*/ 5073791 h 5633118"/>
                  <a:gd name="connsiteX12" fmla="*/ 0 w 1918706"/>
                  <a:gd name="connsiteY12" fmla="*/ 4592438 h 5633118"/>
                  <a:gd name="connsiteX13" fmla="*/ 0 w 1918706"/>
                  <a:gd name="connsiteY13" fmla="*/ 4579284 h 5633118"/>
                  <a:gd name="connsiteX14" fmla="*/ 0 w 1918706"/>
                  <a:gd name="connsiteY14" fmla="*/ 4491829 h 5633118"/>
                  <a:gd name="connsiteX15" fmla="*/ 0 w 1918706"/>
                  <a:gd name="connsiteY15" fmla="*/ 4097931 h 5633118"/>
                  <a:gd name="connsiteX16" fmla="*/ 0 w 1918706"/>
                  <a:gd name="connsiteY16" fmla="*/ 4090156 h 5633118"/>
                  <a:gd name="connsiteX17" fmla="*/ 0 w 1918706"/>
                  <a:gd name="connsiteY17" fmla="*/ 4069228 h 5633118"/>
                  <a:gd name="connsiteX18" fmla="*/ 0 w 1918706"/>
                  <a:gd name="connsiteY18" fmla="*/ 4010476 h 5633118"/>
                  <a:gd name="connsiteX19" fmla="*/ 0 w 1918706"/>
                  <a:gd name="connsiteY19" fmla="*/ 3997322 h 5633118"/>
                  <a:gd name="connsiteX20" fmla="*/ 0 w 1918706"/>
                  <a:gd name="connsiteY20" fmla="*/ 3595649 h 5633118"/>
                  <a:gd name="connsiteX21" fmla="*/ 0 w 1918706"/>
                  <a:gd name="connsiteY21" fmla="*/ 3587875 h 5633118"/>
                  <a:gd name="connsiteX22" fmla="*/ 0 w 1918706"/>
                  <a:gd name="connsiteY22" fmla="*/ 3574721 h 5633118"/>
                  <a:gd name="connsiteX23" fmla="*/ 0 w 1918706"/>
                  <a:gd name="connsiteY23" fmla="*/ 3515969 h 5633118"/>
                  <a:gd name="connsiteX24" fmla="*/ 0 w 1918706"/>
                  <a:gd name="connsiteY24" fmla="*/ 3508195 h 5633118"/>
                  <a:gd name="connsiteX25" fmla="*/ 0 w 1918706"/>
                  <a:gd name="connsiteY25" fmla="*/ 3487266 h 5633118"/>
                  <a:gd name="connsiteX26" fmla="*/ 0 w 1918706"/>
                  <a:gd name="connsiteY2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491829 h 5633118"/>
                  <a:gd name="connsiteX6" fmla="*/ 1918706 w 1918706"/>
                  <a:gd name="connsiteY6" fmla="*/ 4579284 h 5633118"/>
                  <a:gd name="connsiteX7" fmla="*/ 1918706 w 1918706"/>
                  <a:gd name="connsiteY7" fmla="*/ 4592438 h 5633118"/>
                  <a:gd name="connsiteX8" fmla="*/ 1918706 w 1918706"/>
                  <a:gd name="connsiteY8" fmla="*/ 5073791 h 5633118"/>
                  <a:gd name="connsiteX9" fmla="*/ 959355 w 1918706"/>
                  <a:gd name="connsiteY9" fmla="*/ 5633118 h 5633118"/>
                  <a:gd name="connsiteX10" fmla="*/ 0 w 1918706"/>
                  <a:gd name="connsiteY10" fmla="*/ 5073791 h 5633118"/>
                  <a:gd name="connsiteX11" fmla="*/ 0 w 1918706"/>
                  <a:gd name="connsiteY11" fmla="*/ 4592438 h 5633118"/>
                  <a:gd name="connsiteX12" fmla="*/ 0 w 1918706"/>
                  <a:gd name="connsiteY12" fmla="*/ 4579284 h 5633118"/>
                  <a:gd name="connsiteX13" fmla="*/ 0 w 1918706"/>
                  <a:gd name="connsiteY13" fmla="*/ 4491829 h 5633118"/>
                  <a:gd name="connsiteX14" fmla="*/ 0 w 1918706"/>
                  <a:gd name="connsiteY14" fmla="*/ 4097931 h 5633118"/>
                  <a:gd name="connsiteX15" fmla="*/ 0 w 1918706"/>
                  <a:gd name="connsiteY15" fmla="*/ 4090156 h 5633118"/>
                  <a:gd name="connsiteX16" fmla="*/ 0 w 1918706"/>
                  <a:gd name="connsiteY16" fmla="*/ 4069228 h 5633118"/>
                  <a:gd name="connsiteX17" fmla="*/ 0 w 1918706"/>
                  <a:gd name="connsiteY17" fmla="*/ 4010476 h 5633118"/>
                  <a:gd name="connsiteX18" fmla="*/ 0 w 1918706"/>
                  <a:gd name="connsiteY18" fmla="*/ 3997322 h 5633118"/>
                  <a:gd name="connsiteX19" fmla="*/ 0 w 1918706"/>
                  <a:gd name="connsiteY19" fmla="*/ 3595649 h 5633118"/>
                  <a:gd name="connsiteX20" fmla="*/ 0 w 1918706"/>
                  <a:gd name="connsiteY20" fmla="*/ 3587875 h 5633118"/>
                  <a:gd name="connsiteX21" fmla="*/ 0 w 1918706"/>
                  <a:gd name="connsiteY21" fmla="*/ 3574721 h 5633118"/>
                  <a:gd name="connsiteX22" fmla="*/ 0 w 1918706"/>
                  <a:gd name="connsiteY22" fmla="*/ 3515969 h 5633118"/>
                  <a:gd name="connsiteX23" fmla="*/ 0 w 1918706"/>
                  <a:gd name="connsiteY23" fmla="*/ 3508195 h 5633118"/>
                  <a:gd name="connsiteX24" fmla="*/ 0 w 1918706"/>
                  <a:gd name="connsiteY24" fmla="*/ 3487266 h 5633118"/>
                  <a:gd name="connsiteX25" fmla="*/ 0 w 1918706"/>
                  <a:gd name="connsiteY2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090156 h 5633118"/>
                  <a:gd name="connsiteX4" fmla="*/ 1918706 w 1918706"/>
                  <a:gd name="connsiteY4" fmla="*/ 4491829 h 5633118"/>
                  <a:gd name="connsiteX5" fmla="*/ 1918706 w 1918706"/>
                  <a:gd name="connsiteY5" fmla="*/ 4579284 h 5633118"/>
                  <a:gd name="connsiteX6" fmla="*/ 1918706 w 1918706"/>
                  <a:gd name="connsiteY6" fmla="*/ 4592438 h 5633118"/>
                  <a:gd name="connsiteX7" fmla="*/ 1918706 w 1918706"/>
                  <a:gd name="connsiteY7" fmla="*/ 5073791 h 5633118"/>
                  <a:gd name="connsiteX8" fmla="*/ 959355 w 1918706"/>
                  <a:gd name="connsiteY8" fmla="*/ 5633118 h 5633118"/>
                  <a:gd name="connsiteX9" fmla="*/ 0 w 1918706"/>
                  <a:gd name="connsiteY9" fmla="*/ 5073791 h 5633118"/>
                  <a:gd name="connsiteX10" fmla="*/ 0 w 1918706"/>
                  <a:gd name="connsiteY10" fmla="*/ 4592438 h 5633118"/>
                  <a:gd name="connsiteX11" fmla="*/ 0 w 1918706"/>
                  <a:gd name="connsiteY11" fmla="*/ 4579284 h 5633118"/>
                  <a:gd name="connsiteX12" fmla="*/ 0 w 1918706"/>
                  <a:gd name="connsiteY12" fmla="*/ 4491829 h 5633118"/>
                  <a:gd name="connsiteX13" fmla="*/ 0 w 1918706"/>
                  <a:gd name="connsiteY13" fmla="*/ 4097931 h 5633118"/>
                  <a:gd name="connsiteX14" fmla="*/ 0 w 1918706"/>
                  <a:gd name="connsiteY14" fmla="*/ 4090156 h 5633118"/>
                  <a:gd name="connsiteX15" fmla="*/ 0 w 1918706"/>
                  <a:gd name="connsiteY15" fmla="*/ 4069228 h 5633118"/>
                  <a:gd name="connsiteX16" fmla="*/ 0 w 1918706"/>
                  <a:gd name="connsiteY16" fmla="*/ 4010476 h 5633118"/>
                  <a:gd name="connsiteX17" fmla="*/ 0 w 1918706"/>
                  <a:gd name="connsiteY17" fmla="*/ 3997322 h 5633118"/>
                  <a:gd name="connsiteX18" fmla="*/ 0 w 1918706"/>
                  <a:gd name="connsiteY18" fmla="*/ 3595649 h 5633118"/>
                  <a:gd name="connsiteX19" fmla="*/ 0 w 1918706"/>
                  <a:gd name="connsiteY19" fmla="*/ 3587875 h 5633118"/>
                  <a:gd name="connsiteX20" fmla="*/ 0 w 1918706"/>
                  <a:gd name="connsiteY20" fmla="*/ 3574721 h 5633118"/>
                  <a:gd name="connsiteX21" fmla="*/ 0 w 1918706"/>
                  <a:gd name="connsiteY21" fmla="*/ 3515969 h 5633118"/>
                  <a:gd name="connsiteX22" fmla="*/ 0 w 1918706"/>
                  <a:gd name="connsiteY22" fmla="*/ 3508195 h 5633118"/>
                  <a:gd name="connsiteX23" fmla="*/ 0 w 1918706"/>
                  <a:gd name="connsiteY23" fmla="*/ 3487266 h 5633118"/>
                  <a:gd name="connsiteX24" fmla="*/ 0 w 1918706"/>
                  <a:gd name="connsiteY2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491829 h 5633118"/>
                  <a:gd name="connsiteX4" fmla="*/ 1918706 w 1918706"/>
                  <a:gd name="connsiteY4" fmla="*/ 4579284 h 5633118"/>
                  <a:gd name="connsiteX5" fmla="*/ 1918706 w 1918706"/>
                  <a:gd name="connsiteY5" fmla="*/ 4592438 h 5633118"/>
                  <a:gd name="connsiteX6" fmla="*/ 1918706 w 1918706"/>
                  <a:gd name="connsiteY6" fmla="*/ 5073791 h 5633118"/>
                  <a:gd name="connsiteX7" fmla="*/ 959355 w 1918706"/>
                  <a:gd name="connsiteY7" fmla="*/ 5633118 h 5633118"/>
                  <a:gd name="connsiteX8" fmla="*/ 0 w 1918706"/>
                  <a:gd name="connsiteY8" fmla="*/ 5073791 h 5633118"/>
                  <a:gd name="connsiteX9" fmla="*/ 0 w 1918706"/>
                  <a:gd name="connsiteY9" fmla="*/ 4592438 h 5633118"/>
                  <a:gd name="connsiteX10" fmla="*/ 0 w 1918706"/>
                  <a:gd name="connsiteY10" fmla="*/ 4579284 h 5633118"/>
                  <a:gd name="connsiteX11" fmla="*/ 0 w 1918706"/>
                  <a:gd name="connsiteY11" fmla="*/ 4491829 h 5633118"/>
                  <a:gd name="connsiteX12" fmla="*/ 0 w 1918706"/>
                  <a:gd name="connsiteY12" fmla="*/ 4097931 h 5633118"/>
                  <a:gd name="connsiteX13" fmla="*/ 0 w 1918706"/>
                  <a:gd name="connsiteY13" fmla="*/ 4090156 h 5633118"/>
                  <a:gd name="connsiteX14" fmla="*/ 0 w 1918706"/>
                  <a:gd name="connsiteY14" fmla="*/ 4069228 h 5633118"/>
                  <a:gd name="connsiteX15" fmla="*/ 0 w 1918706"/>
                  <a:gd name="connsiteY15" fmla="*/ 4010476 h 5633118"/>
                  <a:gd name="connsiteX16" fmla="*/ 0 w 1918706"/>
                  <a:gd name="connsiteY16" fmla="*/ 3997322 h 5633118"/>
                  <a:gd name="connsiteX17" fmla="*/ 0 w 1918706"/>
                  <a:gd name="connsiteY17" fmla="*/ 3595649 h 5633118"/>
                  <a:gd name="connsiteX18" fmla="*/ 0 w 1918706"/>
                  <a:gd name="connsiteY18" fmla="*/ 3587875 h 5633118"/>
                  <a:gd name="connsiteX19" fmla="*/ 0 w 1918706"/>
                  <a:gd name="connsiteY19" fmla="*/ 3574721 h 5633118"/>
                  <a:gd name="connsiteX20" fmla="*/ 0 w 1918706"/>
                  <a:gd name="connsiteY20" fmla="*/ 3515969 h 5633118"/>
                  <a:gd name="connsiteX21" fmla="*/ 0 w 1918706"/>
                  <a:gd name="connsiteY21" fmla="*/ 3508195 h 5633118"/>
                  <a:gd name="connsiteX22" fmla="*/ 0 w 1918706"/>
                  <a:gd name="connsiteY22" fmla="*/ 3487266 h 5633118"/>
                  <a:gd name="connsiteX23" fmla="*/ 0 w 1918706"/>
                  <a:gd name="connsiteY2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4592438 h 5633118"/>
                  <a:gd name="connsiteX5" fmla="*/ 1918706 w 1918706"/>
                  <a:gd name="connsiteY5" fmla="*/ 5073791 h 5633118"/>
                  <a:gd name="connsiteX6" fmla="*/ 959355 w 1918706"/>
                  <a:gd name="connsiteY6" fmla="*/ 5633118 h 5633118"/>
                  <a:gd name="connsiteX7" fmla="*/ 0 w 1918706"/>
                  <a:gd name="connsiteY7" fmla="*/ 5073791 h 5633118"/>
                  <a:gd name="connsiteX8" fmla="*/ 0 w 1918706"/>
                  <a:gd name="connsiteY8" fmla="*/ 4592438 h 5633118"/>
                  <a:gd name="connsiteX9" fmla="*/ 0 w 1918706"/>
                  <a:gd name="connsiteY9" fmla="*/ 4579284 h 5633118"/>
                  <a:gd name="connsiteX10" fmla="*/ 0 w 1918706"/>
                  <a:gd name="connsiteY10" fmla="*/ 4491829 h 5633118"/>
                  <a:gd name="connsiteX11" fmla="*/ 0 w 1918706"/>
                  <a:gd name="connsiteY11" fmla="*/ 4097931 h 5633118"/>
                  <a:gd name="connsiteX12" fmla="*/ 0 w 1918706"/>
                  <a:gd name="connsiteY12" fmla="*/ 4090156 h 5633118"/>
                  <a:gd name="connsiteX13" fmla="*/ 0 w 1918706"/>
                  <a:gd name="connsiteY13" fmla="*/ 4069228 h 5633118"/>
                  <a:gd name="connsiteX14" fmla="*/ 0 w 1918706"/>
                  <a:gd name="connsiteY14" fmla="*/ 4010476 h 5633118"/>
                  <a:gd name="connsiteX15" fmla="*/ 0 w 1918706"/>
                  <a:gd name="connsiteY15" fmla="*/ 3997322 h 5633118"/>
                  <a:gd name="connsiteX16" fmla="*/ 0 w 1918706"/>
                  <a:gd name="connsiteY16" fmla="*/ 3595649 h 5633118"/>
                  <a:gd name="connsiteX17" fmla="*/ 0 w 1918706"/>
                  <a:gd name="connsiteY17" fmla="*/ 3587875 h 5633118"/>
                  <a:gd name="connsiteX18" fmla="*/ 0 w 1918706"/>
                  <a:gd name="connsiteY18" fmla="*/ 3574721 h 5633118"/>
                  <a:gd name="connsiteX19" fmla="*/ 0 w 1918706"/>
                  <a:gd name="connsiteY19" fmla="*/ 3515969 h 5633118"/>
                  <a:gd name="connsiteX20" fmla="*/ 0 w 1918706"/>
                  <a:gd name="connsiteY20" fmla="*/ 3508195 h 5633118"/>
                  <a:gd name="connsiteX21" fmla="*/ 0 w 1918706"/>
                  <a:gd name="connsiteY21" fmla="*/ 3487266 h 5633118"/>
                  <a:gd name="connsiteX22" fmla="*/ 0 w 1918706"/>
                  <a:gd name="connsiteY2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5073791 h 5633118"/>
                  <a:gd name="connsiteX5" fmla="*/ 959355 w 1918706"/>
                  <a:gd name="connsiteY5" fmla="*/ 5633118 h 5633118"/>
                  <a:gd name="connsiteX6" fmla="*/ 0 w 1918706"/>
                  <a:gd name="connsiteY6" fmla="*/ 5073791 h 5633118"/>
                  <a:gd name="connsiteX7" fmla="*/ 0 w 1918706"/>
                  <a:gd name="connsiteY7" fmla="*/ 4592438 h 5633118"/>
                  <a:gd name="connsiteX8" fmla="*/ 0 w 1918706"/>
                  <a:gd name="connsiteY8" fmla="*/ 4579284 h 5633118"/>
                  <a:gd name="connsiteX9" fmla="*/ 0 w 1918706"/>
                  <a:gd name="connsiteY9" fmla="*/ 4491829 h 5633118"/>
                  <a:gd name="connsiteX10" fmla="*/ 0 w 1918706"/>
                  <a:gd name="connsiteY10" fmla="*/ 4097931 h 5633118"/>
                  <a:gd name="connsiteX11" fmla="*/ 0 w 1918706"/>
                  <a:gd name="connsiteY11" fmla="*/ 4090156 h 5633118"/>
                  <a:gd name="connsiteX12" fmla="*/ 0 w 1918706"/>
                  <a:gd name="connsiteY12" fmla="*/ 4069228 h 5633118"/>
                  <a:gd name="connsiteX13" fmla="*/ 0 w 1918706"/>
                  <a:gd name="connsiteY13" fmla="*/ 4010476 h 5633118"/>
                  <a:gd name="connsiteX14" fmla="*/ 0 w 1918706"/>
                  <a:gd name="connsiteY14" fmla="*/ 3997322 h 5633118"/>
                  <a:gd name="connsiteX15" fmla="*/ 0 w 1918706"/>
                  <a:gd name="connsiteY15" fmla="*/ 3595649 h 5633118"/>
                  <a:gd name="connsiteX16" fmla="*/ 0 w 1918706"/>
                  <a:gd name="connsiteY16" fmla="*/ 3587875 h 5633118"/>
                  <a:gd name="connsiteX17" fmla="*/ 0 w 1918706"/>
                  <a:gd name="connsiteY17" fmla="*/ 3574721 h 5633118"/>
                  <a:gd name="connsiteX18" fmla="*/ 0 w 1918706"/>
                  <a:gd name="connsiteY18" fmla="*/ 3515969 h 5633118"/>
                  <a:gd name="connsiteX19" fmla="*/ 0 w 1918706"/>
                  <a:gd name="connsiteY19" fmla="*/ 3508195 h 5633118"/>
                  <a:gd name="connsiteX20" fmla="*/ 0 w 1918706"/>
                  <a:gd name="connsiteY20" fmla="*/ 3487266 h 5633118"/>
                  <a:gd name="connsiteX21" fmla="*/ 0 w 1918706"/>
                  <a:gd name="connsiteY2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3487266 h 5633118"/>
                  <a:gd name="connsiteX20" fmla="*/ 0 w 1918706"/>
                  <a:gd name="connsiteY2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10064 w 1928770"/>
                  <a:gd name="connsiteY7" fmla="*/ 4579284 h 5633118"/>
                  <a:gd name="connsiteX8" fmla="*/ 0 w 1928770"/>
                  <a:gd name="connsiteY8" fmla="*/ 4484457 h 5633118"/>
                  <a:gd name="connsiteX9" fmla="*/ 10064 w 1928770"/>
                  <a:gd name="connsiteY9"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0 w 1928770"/>
                  <a:gd name="connsiteY7" fmla="*/ 4484457 h 5633118"/>
                  <a:gd name="connsiteX8" fmla="*/ 10064 w 1928770"/>
                  <a:gd name="connsiteY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0 h 563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8706" h="5633118">
                    <a:moveTo>
                      <a:pt x="0" y="0"/>
                    </a:moveTo>
                    <a:cubicBezTo>
                      <a:pt x="0" y="308912"/>
                      <a:pt x="429517" y="559332"/>
                      <a:pt x="959355" y="559332"/>
                    </a:cubicBezTo>
                    <a:cubicBezTo>
                      <a:pt x="1489193" y="559332"/>
                      <a:pt x="1918706" y="308912"/>
                      <a:pt x="1918706" y="0"/>
                    </a:cubicBezTo>
                    <a:lnTo>
                      <a:pt x="1918706" y="5073791"/>
                    </a:lnTo>
                    <a:cubicBezTo>
                      <a:pt x="1918706" y="5382699"/>
                      <a:pt x="1489193" y="5633118"/>
                      <a:pt x="959355" y="5633118"/>
                    </a:cubicBezTo>
                    <a:cubicBezTo>
                      <a:pt x="429517" y="5633118"/>
                      <a:pt x="0" y="5382699"/>
                      <a:pt x="0" y="5073791"/>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997" name="Oval 386">
                <a:extLst>
                  <a:ext uri="{FF2B5EF4-FFF2-40B4-BE49-F238E27FC236}">
                    <a16:creationId xmlns:a16="http://schemas.microsoft.com/office/drawing/2014/main" id="{E209193E-41D5-4C39-9ADD-EA6E26FFE81B}"/>
                  </a:ext>
                </a:extLst>
              </p:cNvPr>
              <p:cNvSpPr/>
              <p:nvPr/>
            </p:nvSpPr>
            <p:spPr bwMode="gray">
              <a:xfrm>
                <a:off x="12676185" y="-2160831"/>
                <a:ext cx="1918706" cy="1340175"/>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993" name="Group 992">
              <a:extLst>
                <a:ext uri="{FF2B5EF4-FFF2-40B4-BE49-F238E27FC236}">
                  <a16:creationId xmlns:a16="http://schemas.microsoft.com/office/drawing/2014/main" id="{690EFE47-9E7B-4FF7-84A8-CA21315D4E23}"/>
                </a:ext>
              </a:extLst>
            </p:cNvPr>
            <p:cNvGrpSpPr>
              <a:grpSpLocks noChangeAspect="1"/>
            </p:cNvGrpSpPr>
            <p:nvPr/>
          </p:nvGrpSpPr>
          <p:grpSpPr bwMode="gray">
            <a:xfrm>
              <a:off x="8662706" y="4223186"/>
              <a:ext cx="260073" cy="869376"/>
              <a:chOff x="12676185" y="-2160831"/>
              <a:chExt cx="1918718" cy="6413936"/>
            </a:xfrm>
          </p:grpSpPr>
          <p:sp>
            <p:nvSpPr>
              <p:cNvPr id="994" name="Freeform: Shape 993">
                <a:extLst>
                  <a:ext uri="{FF2B5EF4-FFF2-40B4-BE49-F238E27FC236}">
                    <a16:creationId xmlns:a16="http://schemas.microsoft.com/office/drawing/2014/main" id="{65D2775A-27BD-4423-8176-DE91432F27F3}"/>
                  </a:ext>
                </a:extLst>
              </p:cNvPr>
              <p:cNvSpPr/>
              <p:nvPr/>
            </p:nvSpPr>
            <p:spPr bwMode="gray">
              <a:xfrm>
                <a:off x="12676197" y="-1380013"/>
                <a:ext cx="1918706" cy="5633118"/>
              </a:xfrm>
              <a:custGeom>
                <a:avLst/>
                <a:gdLst>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581962 h 5633118"/>
                  <a:gd name="connsiteX6" fmla="*/ 1918706 w 1918706"/>
                  <a:gd name="connsiteY6" fmla="*/ 981092 h 5633118"/>
                  <a:gd name="connsiteX7" fmla="*/ 1918706 w 1918706"/>
                  <a:gd name="connsiteY7" fmla="*/ 1004563 h 5633118"/>
                  <a:gd name="connsiteX8" fmla="*/ 1918706 w 1918706"/>
                  <a:gd name="connsiteY8" fmla="*/ 1068547 h 5633118"/>
                  <a:gd name="connsiteX9" fmla="*/ 1918706 w 1918706"/>
                  <a:gd name="connsiteY9" fmla="*/ 1076469 h 5633118"/>
                  <a:gd name="connsiteX10" fmla="*/ 1918706 w 1918706"/>
                  <a:gd name="connsiteY10" fmla="*/ 1491148 h 5633118"/>
                  <a:gd name="connsiteX11" fmla="*/ 1918706 w 1918706"/>
                  <a:gd name="connsiteY11" fmla="*/ 1499070 h 5633118"/>
                  <a:gd name="connsiteX12" fmla="*/ 1918706 w 1918706"/>
                  <a:gd name="connsiteY12" fmla="*/ 1506844 h 5633118"/>
                  <a:gd name="connsiteX13" fmla="*/ 1918706 w 1918706"/>
                  <a:gd name="connsiteY13" fmla="*/ 1563054 h 5633118"/>
                  <a:gd name="connsiteX14" fmla="*/ 1918706 w 1918706"/>
                  <a:gd name="connsiteY14" fmla="*/ 1586524 h 5633118"/>
                  <a:gd name="connsiteX15" fmla="*/ 1918706 w 1918706"/>
                  <a:gd name="connsiteY15" fmla="*/ 1985655 h 5633118"/>
                  <a:gd name="connsiteX16" fmla="*/ 1918706 w 1918706"/>
                  <a:gd name="connsiteY16" fmla="*/ 2001351 h 5633118"/>
                  <a:gd name="connsiteX17" fmla="*/ 1918706 w 1918706"/>
                  <a:gd name="connsiteY17" fmla="*/ 2009125 h 5633118"/>
                  <a:gd name="connsiteX18" fmla="*/ 1918706 w 1918706"/>
                  <a:gd name="connsiteY18" fmla="*/ 2073109 h 5633118"/>
                  <a:gd name="connsiteX19" fmla="*/ 1918706 w 1918706"/>
                  <a:gd name="connsiteY19" fmla="*/ 2081031 h 5633118"/>
                  <a:gd name="connsiteX20" fmla="*/ 1918706 w 1918706"/>
                  <a:gd name="connsiteY20" fmla="*/ 2088805 h 5633118"/>
                  <a:gd name="connsiteX21" fmla="*/ 1918706 w 1918706"/>
                  <a:gd name="connsiteY21" fmla="*/ 2503632 h 5633118"/>
                  <a:gd name="connsiteX22" fmla="*/ 1918706 w 1918706"/>
                  <a:gd name="connsiteY22" fmla="*/ 2511407 h 5633118"/>
                  <a:gd name="connsiteX23" fmla="*/ 1918706 w 1918706"/>
                  <a:gd name="connsiteY23" fmla="*/ 2567616 h 5633118"/>
                  <a:gd name="connsiteX24" fmla="*/ 1918706 w 1918706"/>
                  <a:gd name="connsiteY24" fmla="*/ 2583313 h 5633118"/>
                  <a:gd name="connsiteX25" fmla="*/ 1918706 w 1918706"/>
                  <a:gd name="connsiteY25" fmla="*/ 2591087 h 5633118"/>
                  <a:gd name="connsiteX26" fmla="*/ 1918706 w 1918706"/>
                  <a:gd name="connsiteY26" fmla="*/ 2992759 h 5633118"/>
                  <a:gd name="connsiteX27" fmla="*/ 1918706 w 1918706"/>
                  <a:gd name="connsiteY27" fmla="*/ 3005914 h 5633118"/>
                  <a:gd name="connsiteX28" fmla="*/ 1918706 w 1918706"/>
                  <a:gd name="connsiteY28" fmla="*/ 3013688 h 5633118"/>
                  <a:gd name="connsiteX29" fmla="*/ 1918706 w 1918706"/>
                  <a:gd name="connsiteY29" fmla="*/ 3085594 h 5633118"/>
                  <a:gd name="connsiteX30" fmla="*/ 1918706 w 1918706"/>
                  <a:gd name="connsiteY30" fmla="*/ 3093368 h 5633118"/>
                  <a:gd name="connsiteX31" fmla="*/ 1918706 w 1918706"/>
                  <a:gd name="connsiteY31" fmla="*/ 3487266 h 5633118"/>
                  <a:gd name="connsiteX32" fmla="*/ 1918706 w 1918706"/>
                  <a:gd name="connsiteY32" fmla="*/ 3508195 h 5633118"/>
                  <a:gd name="connsiteX33" fmla="*/ 1918706 w 1918706"/>
                  <a:gd name="connsiteY33" fmla="*/ 3515969 h 5633118"/>
                  <a:gd name="connsiteX34" fmla="*/ 1918706 w 1918706"/>
                  <a:gd name="connsiteY34" fmla="*/ 3574721 h 5633118"/>
                  <a:gd name="connsiteX35" fmla="*/ 1918706 w 1918706"/>
                  <a:gd name="connsiteY35" fmla="*/ 3587875 h 5633118"/>
                  <a:gd name="connsiteX36" fmla="*/ 1918706 w 1918706"/>
                  <a:gd name="connsiteY36" fmla="*/ 3595649 h 5633118"/>
                  <a:gd name="connsiteX37" fmla="*/ 1918706 w 1918706"/>
                  <a:gd name="connsiteY37" fmla="*/ 3997322 h 5633118"/>
                  <a:gd name="connsiteX38" fmla="*/ 1918706 w 1918706"/>
                  <a:gd name="connsiteY38" fmla="*/ 4010476 h 5633118"/>
                  <a:gd name="connsiteX39" fmla="*/ 1918706 w 1918706"/>
                  <a:gd name="connsiteY39" fmla="*/ 4069228 h 5633118"/>
                  <a:gd name="connsiteX40" fmla="*/ 1918706 w 1918706"/>
                  <a:gd name="connsiteY40" fmla="*/ 4090156 h 5633118"/>
                  <a:gd name="connsiteX41" fmla="*/ 1918706 w 1918706"/>
                  <a:gd name="connsiteY41" fmla="*/ 4097931 h 5633118"/>
                  <a:gd name="connsiteX42" fmla="*/ 1918706 w 1918706"/>
                  <a:gd name="connsiteY42" fmla="*/ 4491829 h 5633118"/>
                  <a:gd name="connsiteX43" fmla="*/ 1918706 w 1918706"/>
                  <a:gd name="connsiteY43" fmla="*/ 4579284 h 5633118"/>
                  <a:gd name="connsiteX44" fmla="*/ 1918706 w 1918706"/>
                  <a:gd name="connsiteY44" fmla="*/ 4592438 h 5633118"/>
                  <a:gd name="connsiteX45" fmla="*/ 1918706 w 1918706"/>
                  <a:gd name="connsiteY45" fmla="*/ 5073791 h 5633118"/>
                  <a:gd name="connsiteX46" fmla="*/ 959355 w 1918706"/>
                  <a:gd name="connsiteY46" fmla="*/ 5633118 h 5633118"/>
                  <a:gd name="connsiteX47" fmla="*/ 0 w 1918706"/>
                  <a:gd name="connsiteY47" fmla="*/ 5073791 h 5633118"/>
                  <a:gd name="connsiteX48" fmla="*/ 0 w 1918706"/>
                  <a:gd name="connsiteY48" fmla="*/ 4592438 h 5633118"/>
                  <a:gd name="connsiteX49" fmla="*/ 0 w 1918706"/>
                  <a:gd name="connsiteY49" fmla="*/ 4579284 h 5633118"/>
                  <a:gd name="connsiteX50" fmla="*/ 0 w 1918706"/>
                  <a:gd name="connsiteY50" fmla="*/ 4491829 h 5633118"/>
                  <a:gd name="connsiteX51" fmla="*/ 0 w 1918706"/>
                  <a:gd name="connsiteY51" fmla="*/ 4097931 h 5633118"/>
                  <a:gd name="connsiteX52" fmla="*/ 0 w 1918706"/>
                  <a:gd name="connsiteY52" fmla="*/ 4090156 h 5633118"/>
                  <a:gd name="connsiteX53" fmla="*/ 0 w 1918706"/>
                  <a:gd name="connsiteY53" fmla="*/ 4069228 h 5633118"/>
                  <a:gd name="connsiteX54" fmla="*/ 0 w 1918706"/>
                  <a:gd name="connsiteY54" fmla="*/ 4010476 h 5633118"/>
                  <a:gd name="connsiteX55" fmla="*/ 0 w 1918706"/>
                  <a:gd name="connsiteY55" fmla="*/ 3997322 h 5633118"/>
                  <a:gd name="connsiteX56" fmla="*/ 0 w 1918706"/>
                  <a:gd name="connsiteY56" fmla="*/ 3595649 h 5633118"/>
                  <a:gd name="connsiteX57" fmla="*/ 0 w 1918706"/>
                  <a:gd name="connsiteY57" fmla="*/ 3587875 h 5633118"/>
                  <a:gd name="connsiteX58" fmla="*/ 0 w 1918706"/>
                  <a:gd name="connsiteY58" fmla="*/ 3574721 h 5633118"/>
                  <a:gd name="connsiteX59" fmla="*/ 0 w 1918706"/>
                  <a:gd name="connsiteY59" fmla="*/ 3515969 h 5633118"/>
                  <a:gd name="connsiteX60" fmla="*/ 0 w 1918706"/>
                  <a:gd name="connsiteY60" fmla="*/ 3508195 h 5633118"/>
                  <a:gd name="connsiteX61" fmla="*/ 0 w 1918706"/>
                  <a:gd name="connsiteY61" fmla="*/ 3487266 h 5633118"/>
                  <a:gd name="connsiteX62" fmla="*/ 0 w 1918706"/>
                  <a:gd name="connsiteY62" fmla="*/ 3093368 h 5633118"/>
                  <a:gd name="connsiteX63" fmla="*/ 0 w 1918706"/>
                  <a:gd name="connsiteY63" fmla="*/ 3085594 h 5633118"/>
                  <a:gd name="connsiteX64" fmla="*/ 0 w 1918706"/>
                  <a:gd name="connsiteY64" fmla="*/ 3013688 h 5633118"/>
                  <a:gd name="connsiteX65" fmla="*/ 0 w 1918706"/>
                  <a:gd name="connsiteY65" fmla="*/ 3005914 h 5633118"/>
                  <a:gd name="connsiteX66" fmla="*/ 0 w 1918706"/>
                  <a:gd name="connsiteY66" fmla="*/ 2992759 h 5633118"/>
                  <a:gd name="connsiteX67" fmla="*/ 0 w 1918706"/>
                  <a:gd name="connsiteY67" fmla="*/ 2591087 h 5633118"/>
                  <a:gd name="connsiteX68" fmla="*/ 0 w 1918706"/>
                  <a:gd name="connsiteY68" fmla="*/ 2583313 h 5633118"/>
                  <a:gd name="connsiteX69" fmla="*/ 0 w 1918706"/>
                  <a:gd name="connsiteY69" fmla="*/ 2567616 h 5633118"/>
                  <a:gd name="connsiteX70" fmla="*/ 0 w 1918706"/>
                  <a:gd name="connsiteY70" fmla="*/ 2511407 h 5633118"/>
                  <a:gd name="connsiteX71" fmla="*/ 0 w 1918706"/>
                  <a:gd name="connsiteY71" fmla="*/ 2503632 h 5633118"/>
                  <a:gd name="connsiteX72" fmla="*/ 0 w 1918706"/>
                  <a:gd name="connsiteY72" fmla="*/ 2088805 h 5633118"/>
                  <a:gd name="connsiteX73" fmla="*/ 0 w 1918706"/>
                  <a:gd name="connsiteY73" fmla="*/ 2081031 h 5633118"/>
                  <a:gd name="connsiteX74" fmla="*/ 0 w 1918706"/>
                  <a:gd name="connsiteY74" fmla="*/ 2073109 h 5633118"/>
                  <a:gd name="connsiteX75" fmla="*/ 0 w 1918706"/>
                  <a:gd name="connsiteY75" fmla="*/ 2009125 h 5633118"/>
                  <a:gd name="connsiteX76" fmla="*/ 0 w 1918706"/>
                  <a:gd name="connsiteY76" fmla="*/ 2001351 h 5633118"/>
                  <a:gd name="connsiteX77" fmla="*/ 0 w 1918706"/>
                  <a:gd name="connsiteY77" fmla="*/ 1985655 h 5633118"/>
                  <a:gd name="connsiteX78" fmla="*/ 0 w 1918706"/>
                  <a:gd name="connsiteY78" fmla="*/ 1586524 h 5633118"/>
                  <a:gd name="connsiteX79" fmla="*/ 0 w 1918706"/>
                  <a:gd name="connsiteY79" fmla="*/ 1563054 h 5633118"/>
                  <a:gd name="connsiteX80" fmla="*/ 0 w 1918706"/>
                  <a:gd name="connsiteY80" fmla="*/ 1506844 h 5633118"/>
                  <a:gd name="connsiteX81" fmla="*/ 0 w 1918706"/>
                  <a:gd name="connsiteY81" fmla="*/ 1499070 h 5633118"/>
                  <a:gd name="connsiteX82" fmla="*/ 0 w 1918706"/>
                  <a:gd name="connsiteY82" fmla="*/ 1491148 h 5633118"/>
                  <a:gd name="connsiteX83" fmla="*/ 0 w 1918706"/>
                  <a:gd name="connsiteY83" fmla="*/ 1076469 h 5633118"/>
                  <a:gd name="connsiteX84" fmla="*/ 0 w 1918706"/>
                  <a:gd name="connsiteY84" fmla="*/ 1068547 h 5633118"/>
                  <a:gd name="connsiteX85" fmla="*/ 0 w 1918706"/>
                  <a:gd name="connsiteY85" fmla="*/ 1004563 h 5633118"/>
                  <a:gd name="connsiteX86" fmla="*/ 0 w 1918706"/>
                  <a:gd name="connsiteY86" fmla="*/ 981092 h 5633118"/>
                  <a:gd name="connsiteX87" fmla="*/ 0 w 1918706"/>
                  <a:gd name="connsiteY87" fmla="*/ 581962 h 5633118"/>
                  <a:gd name="connsiteX88" fmla="*/ 0 w 1918706"/>
                  <a:gd name="connsiteY88" fmla="*/ 494507 h 5633118"/>
                  <a:gd name="connsiteX89" fmla="*/ 0 w 1918706"/>
                  <a:gd name="connsiteY89" fmla="*/ 486585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981092 h 5633118"/>
                  <a:gd name="connsiteX6" fmla="*/ 1918706 w 1918706"/>
                  <a:gd name="connsiteY6" fmla="*/ 1004563 h 5633118"/>
                  <a:gd name="connsiteX7" fmla="*/ 1918706 w 1918706"/>
                  <a:gd name="connsiteY7" fmla="*/ 1068547 h 5633118"/>
                  <a:gd name="connsiteX8" fmla="*/ 1918706 w 1918706"/>
                  <a:gd name="connsiteY8" fmla="*/ 1076469 h 5633118"/>
                  <a:gd name="connsiteX9" fmla="*/ 1918706 w 1918706"/>
                  <a:gd name="connsiteY9" fmla="*/ 1491148 h 5633118"/>
                  <a:gd name="connsiteX10" fmla="*/ 1918706 w 1918706"/>
                  <a:gd name="connsiteY10" fmla="*/ 1499070 h 5633118"/>
                  <a:gd name="connsiteX11" fmla="*/ 1918706 w 1918706"/>
                  <a:gd name="connsiteY11" fmla="*/ 1506844 h 5633118"/>
                  <a:gd name="connsiteX12" fmla="*/ 1918706 w 1918706"/>
                  <a:gd name="connsiteY12" fmla="*/ 1563054 h 5633118"/>
                  <a:gd name="connsiteX13" fmla="*/ 1918706 w 1918706"/>
                  <a:gd name="connsiteY13" fmla="*/ 1586524 h 5633118"/>
                  <a:gd name="connsiteX14" fmla="*/ 1918706 w 1918706"/>
                  <a:gd name="connsiteY14" fmla="*/ 1985655 h 5633118"/>
                  <a:gd name="connsiteX15" fmla="*/ 1918706 w 1918706"/>
                  <a:gd name="connsiteY15" fmla="*/ 2001351 h 5633118"/>
                  <a:gd name="connsiteX16" fmla="*/ 1918706 w 1918706"/>
                  <a:gd name="connsiteY16" fmla="*/ 2009125 h 5633118"/>
                  <a:gd name="connsiteX17" fmla="*/ 1918706 w 1918706"/>
                  <a:gd name="connsiteY17" fmla="*/ 2073109 h 5633118"/>
                  <a:gd name="connsiteX18" fmla="*/ 1918706 w 1918706"/>
                  <a:gd name="connsiteY18" fmla="*/ 2081031 h 5633118"/>
                  <a:gd name="connsiteX19" fmla="*/ 1918706 w 1918706"/>
                  <a:gd name="connsiteY19" fmla="*/ 2088805 h 5633118"/>
                  <a:gd name="connsiteX20" fmla="*/ 1918706 w 1918706"/>
                  <a:gd name="connsiteY20" fmla="*/ 2503632 h 5633118"/>
                  <a:gd name="connsiteX21" fmla="*/ 1918706 w 1918706"/>
                  <a:gd name="connsiteY21" fmla="*/ 2511407 h 5633118"/>
                  <a:gd name="connsiteX22" fmla="*/ 1918706 w 1918706"/>
                  <a:gd name="connsiteY22" fmla="*/ 2567616 h 5633118"/>
                  <a:gd name="connsiteX23" fmla="*/ 1918706 w 1918706"/>
                  <a:gd name="connsiteY23" fmla="*/ 2583313 h 5633118"/>
                  <a:gd name="connsiteX24" fmla="*/ 1918706 w 1918706"/>
                  <a:gd name="connsiteY24" fmla="*/ 2591087 h 5633118"/>
                  <a:gd name="connsiteX25" fmla="*/ 1918706 w 1918706"/>
                  <a:gd name="connsiteY25" fmla="*/ 2992759 h 5633118"/>
                  <a:gd name="connsiteX26" fmla="*/ 1918706 w 1918706"/>
                  <a:gd name="connsiteY26" fmla="*/ 3005914 h 5633118"/>
                  <a:gd name="connsiteX27" fmla="*/ 1918706 w 1918706"/>
                  <a:gd name="connsiteY27" fmla="*/ 3013688 h 5633118"/>
                  <a:gd name="connsiteX28" fmla="*/ 1918706 w 1918706"/>
                  <a:gd name="connsiteY28" fmla="*/ 3085594 h 5633118"/>
                  <a:gd name="connsiteX29" fmla="*/ 1918706 w 1918706"/>
                  <a:gd name="connsiteY29" fmla="*/ 3093368 h 5633118"/>
                  <a:gd name="connsiteX30" fmla="*/ 1918706 w 1918706"/>
                  <a:gd name="connsiteY30" fmla="*/ 3487266 h 5633118"/>
                  <a:gd name="connsiteX31" fmla="*/ 1918706 w 1918706"/>
                  <a:gd name="connsiteY31" fmla="*/ 3508195 h 5633118"/>
                  <a:gd name="connsiteX32" fmla="*/ 1918706 w 1918706"/>
                  <a:gd name="connsiteY32" fmla="*/ 3515969 h 5633118"/>
                  <a:gd name="connsiteX33" fmla="*/ 1918706 w 1918706"/>
                  <a:gd name="connsiteY33" fmla="*/ 3574721 h 5633118"/>
                  <a:gd name="connsiteX34" fmla="*/ 1918706 w 1918706"/>
                  <a:gd name="connsiteY34" fmla="*/ 3587875 h 5633118"/>
                  <a:gd name="connsiteX35" fmla="*/ 1918706 w 1918706"/>
                  <a:gd name="connsiteY35" fmla="*/ 3595649 h 5633118"/>
                  <a:gd name="connsiteX36" fmla="*/ 1918706 w 1918706"/>
                  <a:gd name="connsiteY36" fmla="*/ 3997322 h 5633118"/>
                  <a:gd name="connsiteX37" fmla="*/ 1918706 w 1918706"/>
                  <a:gd name="connsiteY37" fmla="*/ 4010476 h 5633118"/>
                  <a:gd name="connsiteX38" fmla="*/ 1918706 w 1918706"/>
                  <a:gd name="connsiteY38" fmla="*/ 4069228 h 5633118"/>
                  <a:gd name="connsiteX39" fmla="*/ 1918706 w 1918706"/>
                  <a:gd name="connsiteY39" fmla="*/ 4090156 h 5633118"/>
                  <a:gd name="connsiteX40" fmla="*/ 1918706 w 1918706"/>
                  <a:gd name="connsiteY40" fmla="*/ 4097931 h 5633118"/>
                  <a:gd name="connsiteX41" fmla="*/ 1918706 w 1918706"/>
                  <a:gd name="connsiteY41" fmla="*/ 4491829 h 5633118"/>
                  <a:gd name="connsiteX42" fmla="*/ 1918706 w 1918706"/>
                  <a:gd name="connsiteY42" fmla="*/ 4579284 h 5633118"/>
                  <a:gd name="connsiteX43" fmla="*/ 1918706 w 1918706"/>
                  <a:gd name="connsiteY43" fmla="*/ 4592438 h 5633118"/>
                  <a:gd name="connsiteX44" fmla="*/ 1918706 w 1918706"/>
                  <a:gd name="connsiteY44" fmla="*/ 5073791 h 5633118"/>
                  <a:gd name="connsiteX45" fmla="*/ 959355 w 1918706"/>
                  <a:gd name="connsiteY45" fmla="*/ 5633118 h 5633118"/>
                  <a:gd name="connsiteX46" fmla="*/ 0 w 1918706"/>
                  <a:gd name="connsiteY46" fmla="*/ 5073791 h 5633118"/>
                  <a:gd name="connsiteX47" fmla="*/ 0 w 1918706"/>
                  <a:gd name="connsiteY47" fmla="*/ 4592438 h 5633118"/>
                  <a:gd name="connsiteX48" fmla="*/ 0 w 1918706"/>
                  <a:gd name="connsiteY48" fmla="*/ 4579284 h 5633118"/>
                  <a:gd name="connsiteX49" fmla="*/ 0 w 1918706"/>
                  <a:gd name="connsiteY49" fmla="*/ 4491829 h 5633118"/>
                  <a:gd name="connsiteX50" fmla="*/ 0 w 1918706"/>
                  <a:gd name="connsiteY50" fmla="*/ 4097931 h 5633118"/>
                  <a:gd name="connsiteX51" fmla="*/ 0 w 1918706"/>
                  <a:gd name="connsiteY51" fmla="*/ 4090156 h 5633118"/>
                  <a:gd name="connsiteX52" fmla="*/ 0 w 1918706"/>
                  <a:gd name="connsiteY52" fmla="*/ 4069228 h 5633118"/>
                  <a:gd name="connsiteX53" fmla="*/ 0 w 1918706"/>
                  <a:gd name="connsiteY53" fmla="*/ 4010476 h 5633118"/>
                  <a:gd name="connsiteX54" fmla="*/ 0 w 1918706"/>
                  <a:gd name="connsiteY54" fmla="*/ 3997322 h 5633118"/>
                  <a:gd name="connsiteX55" fmla="*/ 0 w 1918706"/>
                  <a:gd name="connsiteY55" fmla="*/ 3595649 h 5633118"/>
                  <a:gd name="connsiteX56" fmla="*/ 0 w 1918706"/>
                  <a:gd name="connsiteY56" fmla="*/ 3587875 h 5633118"/>
                  <a:gd name="connsiteX57" fmla="*/ 0 w 1918706"/>
                  <a:gd name="connsiteY57" fmla="*/ 3574721 h 5633118"/>
                  <a:gd name="connsiteX58" fmla="*/ 0 w 1918706"/>
                  <a:gd name="connsiteY58" fmla="*/ 3515969 h 5633118"/>
                  <a:gd name="connsiteX59" fmla="*/ 0 w 1918706"/>
                  <a:gd name="connsiteY59" fmla="*/ 3508195 h 5633118"/>
                  <a:gd name="connsiteX60" fmla="*/ 0 w 1918706"/>
                  <a:gd name="connsiteY60" fmla="*/ 3487266 h 5633118"/>
                  <a:gd name="connsiteX61" fmla="*/ 0 w 1918706"/>
                  <a:gd name="connsiteY61" fmla="*/ 3093368 h 5633118"/>
                  <a:gd name="connsiteX62" fmla="*/ 0 w 1918706"/>
                  <a:gd name="connsiteY62" fmla="*/ 3085594 h 5633118"/>
                  <a:gd name="connsiteX63" fmla="*/ 0 w 1918706"/>
                  <a:gd name="connsiteY63" fmla="*/ 3013688 h 5633118"/>
                  <a:gd name="connsiteX64" fmla="*/ 0 w 1918706"/>
                  <a:gd name="connsiteY64" fmla="*/ 3005914 h 5633118"/>
                  <a:gd name="connsiteX65" fmla="*/ 0 w 1918706"/>
                  <a:gd name="connsiteY65" fmla="*/ 2992759 h 5633118"/>
                  <a:gd name="connsiteX66" fmla="*/ 0 w 1918706"/>
                  <a:gd name="connsiteY66" fmla="*/ 2591087 h 5633118"/>
                  <a:gd name="connsiteX67" fmla="*/ 0 w 1918706"/>
                  <a:gd name="connsiteY67" fmla="*/ 2583313 h 5633118"/>
                  <a:gd name="connsiteX68" fmla="*/ 0 w 1918706"/>
                  <a:gd name="connsiteY68" fmla="*/ 2567616 h 5633118"/>
                  <a:gd name="connsiteX69" fmla="*/ 0 w 1918706"/>
                  <a:gd name="connsiteY69" fmla="*/ 2511407 h 5633118"/>
                  <a:gd name="connsiteX70" fmla="*/ 0 w 1918706"/>
                  <a:gd name="connsiteY70" fmla="*/ 2503632 h 5633118"/>
                  <a:gd name="connsiteX71" fmla="*/ 0 w 1918706"/>
                  <a:gd name="connsiteY71" fmla="*/ 2088805 h 5633118"/>
                  <a:gd name="connsiteX72" fmla="*/ 0 w 1918706"/>
                  <a:gd name="connsiteY72" fmla="*/ 2081031 h 5633118"/>
                  <a:gd name="connsiteX73" fmla="*/ 0 w 1918706"/>
                  <a:gd name="connsiteY73" fmla="*/ 2073109 h 5633118"/>
                  <a:gd name="connsiteX74" fmla="*/ 0 w 1918706"/>
                  <a:gd name="connsiteY74" fmla="*/ 2009125 h 5633118"/>
                  <a:gd name="connsiteX75" fmla="*/ 0 w 1918706"/>
                  <a:gd name="connsiteY75" fmla="*/ 2001351 h 5633118"/>
                  <a:gd name="connsiteX76" fmla="*/ 0 w 1918706"/>
                  <a:gd name="connsiteY76" fmla="*/ 1985655 h 5633118"/>
                  <a:gd name="connsiteX77" fmla="*/ 0 w 1918706"/>
                  <a:gd name="connsiteY77" fmla="*/ 1586524 h 5633118"/>
                  <a:gd name="connsiteX78" fmla="*/ 0 w 1918706"/>
                  <a:gd name="connsiteY78" fmla="*/ 1563054 h 5633118"/>
                  <a:gd name="connsiteX79" fmla="*/ 0 w 1918706"/>
                  <a:gd name="connsiteY79" fmla="*/ 1506844 h 5633118"/>
                  <a:gd name="connsiteX80" fmla="*/ 0 w 1918706"/>
                  <a:gd name="connsiteY80" fmla="*/ 1499070 h 5633118"/>
                  <a:gd name="connsiteX81" fmla="*/ 0 w 1918706"/>
                  <a:gd name="connsiteY81" fmla="*/ 1491148 h 5633118"/>
                  <a:gd name="connsiteX82" fmla="*/ 0 w 1918706"/>
                  <a:gd name="connsiteY82" fmla="*/ 1076469 h 5633118"/>
                  <a:gd name="connsiteX83" fmla="*/ 0 w 1918706"/>
                  <a:gd name="connsiteY83" fmla="*/ 1068547 h 5633118"/>
                  <a:gd name="connsiteX84" fmla="*/ 0 w 1918706"/>
                  <a:gd name="connsiteY84" fmla="*/ 1004563 h 5633118"/>
                  <a:gd name="connsiteX85" fmla="*/ 0 w 1918706"/>
                  <a:gd name="connsiteY85" fmla="*/ 981092 h 5633118"/>
                  <a:gd name="connsiteX86" fmla="*/ 0 w 1918706"/>
                  <a:gd name="connsiteY86" fmla="*/ 581962 h 5633118"/>
                  <a:gd name="connsiteX87" fmla="*/ 0 w 1918706"/>
                  <a:gd name="connsiteY87" fmla="*/ 494507 h 5633118"/>
                  <a:gd name="connsiteX88" fmla="*/ 0 w 1918706"/>
                  <a:gd name="connsiteY88" fmla="*/ 486585 h 5633118"/>
                  <a:gd name="connsiteX89" fmla="*/ 0 w 1918706"/>
                  <a:gd name="connsiteY8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981092 h 5633118"/>
                  <a:gd name="connsiteX5" fmla="*/ 1918706 w 1918706"/>
                  <a:gd name="connsiteY5" fmla="*/ 1004563 h 5633118"/>
                  <a:gd name="connsiteX6" fmla="*/ 1918706 w 1918706"/>
                  <a:gd name="connsiteY6" fmla="*/ 1068547 h 5633118"/>
                  <a:gd name="connsiteX7" fmla="*/ 1918706 w 1918706"/>
                  <a:gd name="connsiteY7" fmla="*/ 1076469 h 5633118"/>
                  <a:gd name="connsiteX8" fmla="*/ 1918706 w 1918706"/>
                  <a:gd name="connsiteY8" fmla="*/ 1491148 h 5633118"/>
                  <a:gd name="connsiteX9" fmla="*/ 1918706 w 1918706"/>
                  <a:gd name="connsiteY9" fmla="*/ 1499070 h 5633118"/>
                  <a:gd name="connsiteX10" fmla="*/ 1918706 w 1918706"/>
                  <a:gd name="connsiteY10" fmla="*/ 1506844 h 5633118"/>
                  <a:gd name="connsiteX11" fmla="*/ 1918706 w 1918706"/>
                  <a:gd name="connsiteY11" fmla="*/ 1563054 h 5633118"/>
                  <a:gd name="connsiteX12" fmla="*/ 1918706 w 1918706"/>
                  <a:gd name="connsiteY12" fmla="*/ 1586524 h 5633118"/>
                  <a:gd name="connsiteX13" fmla="*/ 1918706 w 1918706"/>
                  <a:gd name="connsiteY13" fmla="*/ 1985655 h 5633118"/>
                  <a:gd name="connsiteX14" fmla="*/ 1918706 w 1918706"/>
                  <a:gd name="connsiteY14" fmla="*/ 2001351 h 5633118"/>
                  <a:gd name="connsiteX15" fmla="*/ 1918706 w 1918706"/>
                  <a:gd name="connsiteY15" fmla="*/ 2009125 h 5633118"/>
                  <a:gd name="connsiteX16" fmla="*/ 1918706 w 1918706"/>
                  <a:gd name="connsiteY16" fmla="*/ 2073109 h 5633118"/>
                  <a:gd name="connsiteX17" fmla="*/ 1918706 w 1918706"/>
                  <a:gd name="connsiteY17" fmla="*/ 2081031 h 5633118"/>
                  <a:gd name="connsiteX18" fmla="*/ 1918706 w 1918706"/>
                  <a:gd name="connsiteY18" fmla="*/ 2088805 h 5633118"/>
                  <a:gd name="connsiteX19" fmla="*/ 1918706 w 1918706"/>
                  <a:gd name="connsiteY19" fmla="*/ 2503632 h 5633118"/>
                  <a:gd name="connsiteX20" fmla="*/ 1918706 w 1918706"/>
                  <a:gd name="connsiteY20" fmla="*/ 2511407 h 5633118"/>
                  <a:gd name="connsiteX21" fmla="*/ 1918706 w 1918706"/>
                  <a:gd name="connsiteY21" fmla="*/ 2567616 h 5633118"/>
                  <a:gd name="connsiteX22" fmla="*/ 1918706 w 1918706"/>
                  <a:gd name="connsiteY22" fmla="*/ 2583313 h 5633118"/>
                  <a:gd name="connsiteX23" fmla="*/ 1918706 w 1918706"/>
                  <a:gd name="connsiteY23" fmla="*/ 2591087 h 5633118"/>
                  <a:gd name="connsiteX24" fmla="*/ 1918706 w 1918706"/>
                  <a:gd name="connsiteY24" fmla="*/ 2992759 h 5633118"/>
                  <a:gd name="connsiteX25" fmla="*/ 1918706 w 1918706"/>
                  <a:gd name="connsiteY25" fmla="*/ 3005914 h 5633118"/>
                  <a:gd name="connsiteX26" fmla="*/ 1918706 w 1918706"/>
                  <a:gd name="connsiteY26" fmla="*/ 3013688 h 5633118"/>
                  <a:gd name="connsiteX27" fmla="*/ 1918706 w 1918706"/>
                  <a:gd name="connsiteY27" fmla="*/ 3085594 h 5633118"/>
                  <a:gd name="connsiteX28" fmla="*/ 1918706 w 1918706"/>
                  <a:gd name="connsiteY28" fmla="*/ 3093368 h 5633118"/>
                  <a:gd name="connsiteX29" fmla="*/ 1918706 w 1918706"/>
                  <a:gd name="connsiteY29" fmla="*/ 3487266 h 5633118"/>
                  <a:gd name="connsiteX30" fmla="*/ 1918706 w 1918706"/>
                  <a:gd name="connsiteY30" fmla="*/ 3508195 h 5633118"/>
                  <a:gd name="connsiteX31" fmla="*/ 1918706 w 1918706"/>
                  <a:gd name="connsiteY31" fmla="*/ 3515969 h 5633118"/>
                  <a:gd name="connsiteX32" fmla="*/ 1918706 w 1918706"/>
                  <a:gd name="connsiteY32" fmla="*/ 3574721 h 5633118"/>
                  <a:gd name="connsiteX33" fmla="*/ 1918706 w 1918706"/>
                  <a:gd name="connsiteY33" fmla="*/ 3587875 h 5633118"/>
                  <a:gd name="connsiteX34" fmla="*/ 1918706 w 1918706"/>
                  <a:gd name="connsiteY34" fmla="*/ 3595649 h 5633118"/>
                  <a:gd name="connsiteX35" fmla="*/ 1918706 w 1918706"/>
                  <a:gd name="connsiteY35" fmla="*/ 3997322 h 5633118"/>
                  <a:gd name="connsiteX36" fmla="*/ 1918706 w 1918706"/>
                  <a:gd name="connsiteY36" fmla="*/ 4010476 h 5633118"/>
                  <a:gd name="connsiteX37" fmla="*/ 1918706 w 1918706"/>
                  <a:gd name="connsiteY37" fmla="*/ 4069228 h 5633118"/>
                  <a:gd name="connsiteX38" fmla="*/ 1918706 w 1918706"/>
                  <a:gd name="connsiteY38" fmla="*/ 4090156 h 5633118"/>
                  <a:gd name="connsiteX39" fmla="*/ 1918706 w 1918706"/>
                  <a:gd name="connsiteY39" fmla="*/ 4097931 h 5633118"/>
                  <a:gd name="connsiteX40" fmla="*/ 1918706 w 1918706"/>
                  <a:gd name="connsiteY40" fmla="*/ 4491829 h 5633118"/>
                  <a:gd name="connsiteX41" fmla="*/ 1918706 w 1918706"/>
                  <a:gd name="connsiteY41" fmla="*/ 4579284 h 5633118"/>
                  <a:gd name="connsiteX42" fmla="*/ 1918706 w 1918706"/>
                  <a:gd name="connsiteY42" fmla="*/ 4592438 h 5633118"/>
                  <a:gd name="connsiteX43" fmla="*/ 1918706 w 1918706"/>
                  <a:gd name="connsiteY43" fmla="*/ 5073791 h 5633118"/>
                  <a:gd name="connsiteX44" fmla="*/ 959355 w 1918706"/>
                  <a:gd name="connsiteY44" fmla="*/ 5633118 h 5633118"/>
                  <a:gd name="connsiteX45" fmla="*/ 0 w 1918706"/>
                  <a:gd name="connsiteY45" fmla="*/ 5073791 h 5633118"/>
                  <a:gd name="connsiteX46" fmla="*/ 0 w 1918706"/>
                  <a:gd name="connsiteY46" fmla="*/ 4592438 h 5633118"/>
                  <a:gd name="connsiteX47" fmla="*/ 0 w 1918706"/>
                  <a:gd name="connsiteY47" fmla="*/ 4579284 h 5633118"/>
                  <a:gd name="connsiteX48" fmla="*/ 0 w 1918706"/>
                  <a:gd name="connsiteY48" fmla="*/ 4491829 h 5633118"/>
                  <a:gd name="connsiteX49" fmla="*/ 0 w 1918706"/>
                  <a:gd name="connsiteY49" fmla="*/ 4097931 h 5633118"/>
                  <a:gd name="connsiteX50" fmla="*/ 0 w 1918706"/>
                  <a:gd name="connsiteY50" fmla="*/ 4090156 h 5633118"/>
                  <a:gd name="connsiteX51" fmla="*/ 0 w 1918706"/>
                  <a:gd name="connsiteY51" fmla="*/ 4069228 h 5633118"/>
                  <a:gd name="connsiteX52" fmla="*/ 0 w 1918706"/>
                  <a:gd name="connsiteY52" fmla="*/ 4010476 h 5633118"/>
                  <a:gd name="connsiteX53" fmla="*/ 0 w 1918706"/>
                  <a:gd name="connsiteY53" fmla="*/ 3997322 h 5633118"/>
                  <a:gd name="connsiteX54" fmla="*/ 0 w 1918706"/>
                  <a:gd name="connsiteY54" fmla="*/ 3595649 h 5633118"/>
                  <a:gd name="connsiteX55" fmla="*/ 0 w 1918706"/>
                  <a:gd name="connsiteY55" fmla="*/ 3587875 h 5633118"/>
                  <a:gd name="connsiteX56" fmla="*/ 0 w 1918706"/>
                  <a:gd name="connsiteY56" fmla="*/ 3574721 h 5633118"/>
                  <a:gd name="connsiteX57" fmla="*/ 0 w 1918706"/>
                  <a:gd name="connsiteY57" fmla="*/ 3515969 h 5633118"/>
                  <a:gd name="connsiteX58" fmla="*/ 0 w 1918706"/>
                  <a:gd name="connsiteY58" fmla="*/ 3508195 h 5633118"/>
                  <a:gd name="connsiteX59" fmla="*/ 0 w 1918706"/>
                  <a:gd name="connsiteY59" fmla="*/ 3487266 h 5633118"/>
                  <a:gd name="connsiteX60" fmla="*/ 0 w 1918706"/>
                  <a:gd name="connsiteY60" fmla="*/ 3093368 h 5633118"/>
                  <a:gd name="connsiteX61" fmla="*/ 0 w 1918706"/>
                  <a:gd name="connsiteY61" fmla="*/ 3085594 h 5633118"/>
                  <a:gd name="connsiteX62" fmla="*/ 0 w 1918706"/>
                  <a:gd name="connsiteY62" fmla="*/ 3013688 h 5633118"/>
                  <a:gd name="connsiteX63" fmla="*/ 0 w 1918706"/>
                  <a:gd name="connsiteY63" fmla="*/ 3005914 h 5633118"/>
                  <a:gd name="connsiteX64" fmla="*/ 0 w 1918706"/>
                  <a:gd name="connsiteY64" fmla="*/ 2992759 h 5633118"/>
                  <a:gd name="connsiteX65" fmla="*/ 0 w 1918706"/>
                  <a:gd name="connsiteY65" fmla="*/ 2591087 h 5633118"/>
                  <a:gd name="connsiteX66" fmla="*/ 0 w 1918706"/>
                  <a:gd name="connsiteY66" fmla="*/ 2583313 h 5633118"/>
                  <a:gd name="connsiteX67" fmla="*/ 0 w 1918706"/>
                  <a:gd name="connsiteY67" fmla="*/ 2567616 h 5633118"/>
                  <a:gd name="connsiteX68" fmla="*/ 0 w 1918706"/>
                  <a:gd name="connsiteY68" fmla="*/ 2511407 h 5633118"/>
                  <a:gd name="connsiteX69" fmla="*/ 0 w 1918706"/>
                  <a:gd name="connsiteY69" fmla="*/ 2503632 h 5633118"/>
                  <a:gd name="connsiteX70" fmla="*/ 0 w 1918706"/>
                  <a:gd name="connsiteY70" fmla="*/ 2088805 h 5633118"/>
                  <a:gd name="connsiteX71" fmla="*/ 0 w 1918706"/>
                  <a:gd name="connsiteY71" fmla="*/ 2081031 h 5633118"/>
                  <a:gd name="connsiteX72" fmla="*/ 0 w 1918706"/>
                  <a:gd name="connsiteY72" fmla="*/ 2073109 h 5633118"/>
                  <a:gd name="connsiteX73" fmla="*/ 0 w 1918706"/>
                  <a:gd name="connsiteY73" fmla="*/ 2009125 h 5633118"/>
                  <a:gd name="connsiteX74" fmla="*/ 0 w 1918706"/>
                  <a:gd name="connsiteY74" fmla="*/ 2001351 h 5633118"/>
                  <a:gd name="connsiteX75" fmla="*/ 0 w 1918706"/>
                  <a:gd name="connsiteY75" fmla="*/ 1985655 h 5633118"/>
                  <a:gd name="connsiteX76" fmla="*/ 0 w 1918706"/>
                  <a:gd name="connsiteY76" fmla="*/ 1586524 h 5633118"/>
                  <a:gd name="connsiteX77" fmla="*/ 0 w 1918706"/>
                  <a:gd name="connsiteY77" fmla="*/ 1563054 h 5633118"/>
                  <a:gd name="connsiteX78" fmla="*/ 0 w 1918706"/>
                  <a:gd name="connsiteY78" fmla="*/ 1506844 h 5633118"/>
                  <a:gd name="connsiteX79" fmla="*/ 0 w 1918706"/>
                  <a:gd name="connsiteY79" fmla="*/ 1499070 h 5633118"/>
                  <a:gd name="connsiteX80" fmla="*/ 0 w 1918706"/>
                  <a:gd name="connsiteY80" fmla="*/ 1491148 h 5633118"/>
                  <a:gd name="connsiteX81" fmla="*/ 0 w 1918706"/>
                  <a:gd name="connsiteY81" fmla="*/ 1076469 h 5633118"/>
                  <a:gd name="connsiteX82" fmla="*/ 0 w 1918706"/>
                  <a:gd name="connsiteY82" fmla="*/ 1068547 h 5633118"/>
                  <a:gd name="connsiteX83" fmla="*/ 0 w 1918706"/>
                  <a:gd name="connsiteY83" fmla="*/ 1004563 h 5633118"/>
                  <a:gd name="connsiteX84" fmla="*/ 0 w 1918706"/>
                  <a:gd name="connsiteY84" fmla="*/ 981092 h 5633118"/>
                  <a:gd name="connsiteX85" fmla="*/ 0 w 1918706"/>
                  <a:gd name="connsiteY85" fmla="*/ 581962 h 5633118"/>
                  <a:gd name="connsiteX86" fmla="*/ 0 w 1918706"/>
                  <a:gd name="connsiteY86" fmla="*/ 494507 h 5633118"/>
                  <a:gd name="connsiteX87" fmla="*/ 0 w 1918706"/>
                  <a:gd name="connsiteY87" fmla="*/ 486585 h 5633118"/>
                  <a:gd name="connsiteX88" fmla="*/ 0 w 1918706"/>
                  <a:gd name="connsiteY8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486585 h 5633118"/>
                  <a:gd name="connsiteX87" fmla="*/ 0 w 1918706"/>
                  <a:gd name="connsiteY8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076469 h 5633118"/>
                  <a:gd name="connsiteX80" fmla="*/ 0 w 1918706"/>
                  <a:gd name="connsiteY8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591087 h 5633118"/>
                  <a:gd name="connsiteX64" fmla="*/ 0 w 1918706"/>
                  <a:gd name="connsiteY6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2591087 h 5633118"/>
                  <a:gd name="connsiteX63" fmla="*/ 0 w 1918706"/>
                  <a:gd name="connsiteY6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2591087 h 5633118"/>
                  <a:gd name="connsiteX62" fmla="*/ 0 w 1918706"/>
                  <a:gd name="connsiteY6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2591087 h 5633118"/>
                  <a:gd name="connsiteX61" fmla="*/ 0 w 1918706"/>
                  <a:gd name="connsiteY6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68547 h 5633118"/>
                  <a:gd name="connsiteX5" fmla="*/ 1918706 w 1918706"/>
                  <a:gd name="connsiteY5" fmla="*/ 1076469 h 5633118"/>
                  <a:gd name="connsiteX6" fmla="*/ 1918706 w 1918706"/>
                  <a:gd name="connsiteY6" fmla="*/ 1491148 h 5633118"/>
                  <a:gd name="connsiteX7" fmla="*/ 1918706 w 1918706"/>
                  <a:gd name="connsiteY7" fmla="*/ 1499070 h 5633118"/>
                  <a:gd name="connsiteX8" fmla="*/ 1918706 w 1918706"/>
                  <a:gd name="connsiteY8" fmla="*/ 1506844 h 5633118"/>
                  <a:gd name="connsiteX9" fmla="*/ 1918706 w 1918706"/>
                  <a:gd name="connsiteY9" fmla="*/ 1563054 h 5633118"/>
                  <a:gd name="connsiteX10" fmla="*/ 1918706 w 1918706"/>
                  <a:gd name="connsiteY10" fmla="*/ 1586524 h 5633118"/>
                  <a:gd name="connsiteX11" fmla="*/ 1918706 w 1918706"/>
                  <a:gd name="connsiteY11" fmla="*/ 1985655 h 5633118"/>
                  <a:gd name="connsiteX12" fmla="*/ 1918706 w 1918706"/>
                  <a:gd name="connsiteY12" fmla="*/ 2001351 h 5633118"/>
                  <a:gd name="connsiteX13" fmla="*/ 1918706 w 1918706"/>
                  <a:gd name="connsiteY13" fmla="*/ 2009125 h 5633118"/>
                  <a:gd name="connsiteX14" fmla="*/ 1918706 w 1918706"/>
                  <a:gd name="connsiteY14" fmla="*/ 2073109 h 5633118"/>
                  <a:gd name="connsiteX15" fmla="*/ 1918706 w 1918706"/>
                  <a:gd name="connsiteY15" fmla="*/ 2081031 h 5633118"/>
                  <a:gd name="connsiteX16" fmla="*/ 1918706 w 1918706"/>
                  <a:gd name="connsiteY16" fmla="*/ 2088805 h 5633118"/>
                  <a:gd name="connsiteX17" fmla="*/ 1918706 w 1918706"/>
                  <a:gd name="connsiteY17" fmla="*/ 2503632 h 5633118"/>
                  <a:gd name="connsiteX18" fmla="*/ 1918706 w 1918706"/>
                  <a:gd name="connsiteY18" fmla="*/ 2511407 h 5633118"/>
                  <a:gd name="connsiteX19" fmla="*/ 1918706 w 1918706"/>
                  <a:gd name="connsiteY19" fmla="*/ 2567616 h 5633118"/>
                  <a:gd name="connsiteX20" fmla="*/ 1918706 w 1918706"/>
                  <a:gd name="connsiteY20" fmla="*/ 2583313 h 5633118"/>
                  <a:gd name="connsiteX21" fmla="*/ 1918706 w 1918706"/>
                  <a:gd name="connsiteY21" fmla="*/ 2591087 h 5633118"/>
                  <a:gd name="connsiteX22" fmla="*/ 1918706 w 1918706"/>
                  <a:gd name="connsiteY22" fmla="*/ 2992759 h 5633118"/>
                  <a:gd name="connsiteX23" fmla="*/ 1918706 w 1918706"/>
                  <a:gd name="connsiteY23" fmla="*/ 3005914 h 5633118"/>
                  <a:gd name="connsiteX24" fmla="*/ 1918706 w 1918706"/>
                  <a:gd name="connsiteY24" fmla="*/ 3013688 h 5633118"/>
                  <a:gd name="connsiteX25" fmla="*/ 1918706 w 1918706"/>
                  <a:gd name="connsiteY25" fmla="*/ 3085594 h 5633118"/>
                  <a:gd name="connsiteX26" fmla="*/ 1918706 w 1918706"/>
                  <a:gd name="connsiteY26" fmla="*/ 3093368 h 5633118"/>
                  <a:gd name="connsiteX27" fmla="*/ 1918706 w 1918706"/>
                  <a:gd name="connsiteY27" fmla="*/ 3487266 h 5633118"/>
                  <a:gd name="connsiteX28" fmla="*/ 1918706 w 1918706"/>
                  <a:gd name="connsiteY28" fmla="*/ 3508195 h 5633118"/>
                  <a:gd name="connsiteX29" fmla="*/ 1918706 w 1918706"/>
                  <a:gd name="connsiteY29" fmla="*/ 3515969 h 5633118"/>
                  <a:gd name="connsiteX30" fmla="*/ 1918706 w 1918706"/>
                  <a:gd name="connsiteY30" fmla="*/ 3574721 h 5633118"/>
                  <a:gd name="connsiteX31" fmla="*/ 1918706 w 1918706"/>
                  <a:gd name="connsiteY31" fmla="*/ 3587875 h 5633118"/>
                  <a:gd name="connsiteX32" fmla="*/ 1918706 w 1918706"/>
                  <a:gd name="connsiteY32" fmla="*/ 3595649 h 5633118"/>
                  <a:gd name="connsiteX33" fmla="*/ 1918706 w 1918706"/>
                  <a:gd name="connsiteY33" fmla="*/ 3997322 h 5633118"/>
                  <a:gd name="connsiteX34" fmla="*/ 1918706 w 1918706"/>
                  <a:gd name="connsiteY34" fmla="*/ 4010476 h 5633118"/>
                  <a:gd name="connsiteX35" fmla="*/ 1918706 w 1918706"/>
                  <a:gd name="connsiteY35" fmla="*/ 4069228 h 5633118"/>
                  <a:gd name="connsiteX36" fmla="*/ 1918706 w 1918706"/>
                  <a:gd name="connsiteY36" fmla="*/ 4090156 h 5633118"/>
                  <a:gd name="connsiteX37" fmla="*/ 1918706 w 1918706"/>
                  <a:gd name="connsiteY37" fmla="*/ 4097931 h 5633118"/>
                  <a:gd name="connsiteX38" fmla="*/ 1918706 w 1918706"/>
                  <a:gd name="connsiteY38" fmla="*/ 4491829 h 5633118"/>
                  <a:gd name="connsiteX39" fmla="*/ 1918706 w 1918706"/>
                  <a:gd name="connsiteY39" fmla="*/ 4579284 h 5633118"/>
                  <a:gd name="connsiteX40" fmla="*/ 1918706 w 1918706"/>
                  <a:gd name="connsiteY40" fmla="*/ 4592438 h 5633118"/>
                  <a:gd name="connsiteX41" fmla="*/ 1918706 w 1918706"/>
                  <a:gd name="connsiteY41" fmla="*/ 5073791 h 5633118"/>
                  <a:gd name="connsiteX42" fmla="*/ 959355 w 1918706"/>
                  <a:gd name="connsiteY42" fmla="*/ 5633118 h 5633118"/>
                  <a:gd name="connsiteX43" fmla="*/ 0 w 1918706"/>
                  <a:gd name="connsiteY43" fmla="*/ 5073791 h 5633118"/>
                  <a:gd name="connsiteX44" fmla="*/ 0 w 1918706"/>
                  <a:gd name="connsiteY44" fmla="*/ 4592438 h 5633118"/>
                  <a:gd name="connsiteX45" fmla="*/ 0 w 1918706"/>
                  <a:gd name="connsiteY45" fmla="*/ 4579284 h 5633118"/>
                  <a:gd name="connsiteX46" fmla="*/ 0 w 1918706"/>
                  <a:gd name="connsiteY46" fmla="*/ 4491829 h 5633118"/>
                  <a:gd name="connsiteX47" fmla="*/ 0 w 1918706"/>
                  <a:gd name="connsiteY47" fmla="*/ 4097931 h 5633118"/>
                  <a:gd name="connsiteX48" fmla="*/ 0 w 1918706"/>
                  <a:gd name="connsiteY48" fmla="*/ 4090156 h 5633118"/>
                  <a:gd name="connsiteX49" fmla="*/ 0 w 1918706"/>
                  <a:gd name="connsiteY49" fmla="*/ 4069228 h 5633118"/>
                  <a:gd name="connsiteX50" fmla="*/ 0 w 1918706"/>
                  <a:gd name="connsiteY50" fmla="*/ 4010476 h 5633118"/>
                  <a:gd name="connsiteX51" fmla="*/ 0 w 1918706"/>
                  <a:gd name="connsiteY51" fmla="*/ 3997322 h 5633118"/>
                  <a:gd name="connsiteX52" fmla="*/ 0 w 1918706"/>
                  <a:gd name="connsiteY52" fmla="*/ 3595649 h 5633118"/>
                  <a:gd name="connsiteX53" fmla="*/ 0 w 1918706"/>
                  <a:gd name="connsiteY53" fmla="*/ 3587875 h 5633118"/>
                  <a:gd name="connsiteX54" fmla="*/ 0 w 1918706"/>
                  <a:gd name="connsiteY54" fmla="*/ 3574721 h 5633118"/>
                  <a:gd name="connsiteX55" fmla="*/ 0 w 1918706"/>
                  <a:gd name="connsiteY55" fmla="*/ 3515969 h 5633118"/>
                  <a:gd name="connsiteX56" fmla="*/ 0 w 1918706"/>
                  <a:gd name="connsiteY56" fmla="*/ 3508195 h 5633118"/>
                  <a:gd name="connsiteX57" fmla="*/ 0 w 1918706"/>
                  <a:gd name="connsiteY57" fmla="*/ 3487266 h 5633118"/>
                  <a:gd name="connsiteX58" fmla="*/ 0 w 1918706"/>
                  <a:gd name="connsiteY5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076469 h 5633118"/>
                  <a:gd name="connsiteX5" fmla="*/ 1918706 w 1918706"/>
                  <a:gd name="connsiteY5" fmla="*/ 1491148 h 5633118"/>
                  <a:gd name="connsiteX6" fmla="*/ 1918706 w 1918706"/>
                  <a:gd name="connsiteY6" fmla="*/ 1499070 h 5633118"/>
                  <a:gd name="connsiteX7" fmla="*/ 1918706 w 1918706"/>
                  <a:gd name="connsiteY7" fmla="*/ 1506844 h 5633118"/>
                  <a:gd name="connsiteX8" fmla="*/ 1918706 w 1918706"/>
                  <a:gd name="connsiteY8" fmla="*/ 1563054 h 5633118"/>
                  <a:gd name="connsiteX9" fmla="*/ 1918706 w 1918706"/>
                  <a:gd name="connsiteY9" fmla="*/ 1586524 h 5633118"/>
                  <a:gd name="connsiteX10" fmla="*/ 1918706 w 1918706"/>
                  <a:gd name="connsiteY10" fmla="*/ 1985655 h 5633118"/>
                  <a:gd name="connsiteX11" fmla="*/ 1918706 w 1918706"/>
                  <a:gd name="connsiteY11" fmla="*/ 2001351 h 5633118"/>
                  <a:gd name="connsiteX12" fmla="*/ 1918706 w 1918706"/>
                  <a:gd name="connsiteY12" fmla="*/ 2009125 h 5633118"/>
                  <a:gd name="connsiteX13" fmla="*/ 1918706 w 1918706"/>
                  <a:gd name="connsiteY13" fmla="*/ 2073109 h 5633118"/>
                  <a:gd name="connsiteX14" fmla="*/ 1918706 w 1918706"/>
                  <a:gd name="connsiteY14" fmla="*/ 2081031 h 5633118"/>
                  <a:gd name="connsiteX15" fmla="*/ 1918706 w 1918706"/>
                  <a:gd name="connsiteY15" fmla="*/ 2088805 h 5633118"/>
                  <a:gd name="connsiteX16" fmla="*/ 1918706 w 1918706"/>
                  <a:gd name="connsiteY16" fmla="*/ 2503632 h 5633118"/>
                  <a:gd name="connsiteX17" fmla="*/ 1918706 w 1918706"/>
                  <a:gd name="connsiteY17" fmla="*/ 2511407 h 5633118"/>
                  <a:gd name="connsiteX18" fmla="*/ 1918706 w 1918706"/>
                  <a:gd name="connsiteY18" fmla="*/ 2567616 h 5633118"/>
                  <a:gd name="connsiteX19" fmla="*/ 1918706 w 1918706"/>
                  <a:gd name="connsiteY19" fmla="*/ 2583313 h 5633118"/>
                  <a:gd name="connsiteX20" fmla="*/ 1918706 w 1918706"/>
                  <a:gd name="connsiteY20" fmla="*/ 2591087 h 5633118"/>
                  <a:gd name="connsiteX21" fmla="*/ 1918706 w 1918706"/>
                  <a:gd name="connsiteY21" fmla="*/ 2992759 h 5633118"/>
                  <a:gd name="connsiteX22" fmla="*/ 1918706 w 1918706"/>
                  <a:gd name="connsiteY22" fmla="*/ 3005914 h 5633118"/>
                  <a:gd name="connsiteX23" fmla="*/ 1918706 w 1918706"/>
                  <a:gd name="connsiteY23" fmla="*/ 3013688 h 5633118"/>
                  <a:gd name="connsiteX24" fmla="*/ 1918706 w 1918706"/>
                  <a:gd name="connsiteY24" fmla="*/ 3085594 h 5633118"/>
                  <a:gd name="connsiteX25" fmla="*/ 1918706 w 1918706"/>
                  <a:gd name="connsiteY25" fmla="*/ 3093368 h 5633118"/>
                  <a:gd name="connsiteX26" fmla="*/ 1918706 w 1918706"/>
                  <a:gd name="connsiteY26" fmla="*/ 3487266 h 5633118"/>
                  <a:gd name="connsiteX27" fmla="*/ 1918706 w 1918706"/>
                  <a:gd name="connsiteY27" fmla="*/ 3508195 h 5633118"/>
                  <a:gd name="connsiteX28" fmla="*/ 1918706 w 1918706"/>
                  <a:gd name="connsiteY28" fmla="*/ 3515969 h 5633118"/>
                  <a:gd name="connsiteX29" fmla="*/ 1918706 w 1918706"/>
                  <a:gd name="connsiteY29" fmla="*/ 3574721 h 5633118"/>
                  <a:gd name="connsiteX30" fmla="*/ 1918706 w 1918706"/>
                  <a:gd name="connsiteY30" fmla="*/ 3587875 h 5633118"/>
                  <a:gd name="connsiteX31" fmla="*/ 1918706 w 1918706"/>
                  <a:gd name="connsiteY31" fmla="*/ 3595649 h 5633118"/>
                  <a:gd name="connsiteX32" fmla="*/ 1918706 w 1918706"/>
                  <a:gd name="connsiteY32" fmla="*/ 3997322 h 5633118"/>
                  <a:gd name="connsiteX33" fmla="*/ 1918706 w 1918706"/>
                  <a:gd name="connsiteY33" fmla="*/ 4010476 h 5633118"/>
                  <a:gd name="connsiteX34" fmla="*/ 1918706 w 1918706"/>
                  <a:gd name="connsiteY34" fmla="*/ 4069228 h 5633118"/>
                  <a:gd name="connsiteX35" fmla="*/ 1918706 w 1918706"/>
                  <a:gd name="connsiteY35" fmla="*/ 4090156 h 5633118"/>
                  <a:gd name="connsiteX36" fmla="*/ 1918706 w 1918706"/>
                  <a:gd name="connsiteY36" fmla="*/ 4097931 h 5633118"/>
                  <a:gd name="connsiteX37" fmla="*/ 1918706 w 1918706"/>
                  <a:gd name="connsiteY37" fmla="*/ 4491829 h 5633118"/>
                  <a:gd name="connsiteX38" fmla="*/ 1918706 w 1918706"/>
                  <a:gd name="connsiteY38" fmla="*/ 4579284 h 5633118"/>
                  <a:gd name="connsiteX39" fmla="*/ 1918706 w 1918706"/>
                  <a:gd name="connsiteY39" fmla="*/ 4592438 h 5633118"/>
                  <a:gd name="connsiteX40" fmla="*/ 1918706 w 1918706"/>
                  <a:gd name="connsiteY40" fmla="*/ 5073791 h 5633118"/>
                  <a:gd name="connsiteX41" fmla="*/ 959355 w 1918706"/>
                  <a:gd name="connsiteY41" fmla="*/ 5633118 h 5633118"/>
                  <a:gd name="connsiteX42" fmla="*/ 0 w 1918706"/>
                  <a:gd name="connsiteY42" fmla="*/ 5073791 h 5633118"/>
                  <a:gd name="connsiteX43" fmla="*/ 0 w 1918706"/>
                  <a:gd name="connsiteY43" fmla="*/ 4592438 h 5633118"/>
                  <a:gd name="connsiteX44" fmla="*/ 0 w 1918706"/>
                  <a:gd name="connsiteY44" fmla="*/ 4579284 h 5633118"/>
                  <a:gd name="connsiteX45" fmla="*/ 0 w 1918706"/>
                  <a:gd name="connsiteY45" fmla="*/ 4491829 h 5633118"/>
                  <a:gd name="connsiteX46" fmla="*/ 0 w 1918706"/>
                  <a:gd name="connsiteY46" fmla="*/ 4097931 h 5633118"/>
                  <a:gd name="connsiteX47" fmla="*/ 0 w 1918706"/>
                  <a:gd name="connsiteY47" fmla="*/ 4090156 h 5633118"/>
                  <a:gd name="connsiteX48" fmla="*/ 0 w 1918706"/>
                  <a:gd name="connsiteY48" fmla="*/ 4069228 h 5633118"/>
                  <a:gd name="connsiteX49" fmla="*/ 0 w 1918706"/>
                  <a:gd name="connsiteY49" fmla="*/ 4010476 h 5633118"/>
                  <a:gd name="connsiteX50" fmla="*/ 0 w 1918706"/>
                  <a:gd name="connsiteY50" fmla="*/ 3997322 h 5633118"/>
                  <a:gd name="connsiteX51" fmla="*/ 0 w 1918706"/>
                  <a:gd name="connsiteY51" fmla="*/ 3595649 h 5633118"/>
                  <a:gd name="connsiteX52" fmla="*/ 0 w 1918706"/>
                  <a:gd name="connsiteY52" fmla="*/ 3587875 h 5633118"/>
                  <a:gd name="connsiteX53" fmla="*/ 0 w 1918706"/>
                  <a:gd name="connsiteY53" fmla="*/ 3574721 h 5633118"/>
                  <a:gd name="connsiteX54" fmla="*/ 0 w 1918706"/>
                  <a:gd name="connsiteY54" fmla="*/ 3515969 h 5633118"/>
                  <a:gd name="connsiteX55" fmla="*/ 0 w 1918706"/>
                  <a:gd name="connsiteY55" fmla="*/ 3508195 h 5633118"/>
                  <a:gd name="connsiteX56" fmla="*/ 0 w 1918706"/>
                  <a:gd name="connsiteY56" fmla="*/ 3487266 h 5633118"/>
                  <a:gd name="connsiteX57" fmla="*/ 0 w 1918706"/>
                  <a:gd name="connsiteY5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491148 h 5633118"/>
                  <a:gd name="connsiteX5" fmla="*/ 1918706 w 1918706"/>
                  <a:gd name="connsiteY5" fmla="*/ 1499070 h 5633118"/>
                  <a:gd name="connsiteX6" fmla="*/ 1918706 w 1918706"/>
                  <a:gd name="connsiteY6" fmla="*/ 1506844 h 5633118"/>
                  <a:gd name="connsiteX7" fmla="*/ 1918706 w 1918706"/>
                  <a:gd name="connsiteY7" fmla="*/ 1563054 h 5633118"/>
                  <a:gd name="connsiteX8" fmla="*/ 1918706 w 1918706"/>
                  <a:gd name="connsiteY8" fmla="*/ 1586524 h 5633118"/>
                  <a:gd name="connsiteX9" fmla="*/ 1918706 w 1918706"/>
                  <a:gd name="connsiteY9" fmla="*/ 1985655 h 5633118"/>
                  <a:gd name="connsiteX10" fmla="*/ 1918706 w 1918706"/>
                  <a:gd name="connsiteY10" fmla="*/ 2001351 h 5633118"/>
                  <a:gd name="connsiteX11" fmla="*/ 1918706 w 1918706"/>
                  <a:gd name="connsiteY11" fmla="*/ 2009125 h 5633118"/>
                  <a:gd name="connsiteX12" fmla="*/ 1918706 w 1918706"/>
                  <a:gd name="connsiteY12" fmla="*/ 2073109 h 5633118"/>
                  <a:gd name="connsiteX13" fmla="*/ 1918706 w 1918706"/>
                  <a:gd name="connsiteY13" fmla="*/ 2081031 h 5633118"/>
                  <a:gd name="connsiteX14" fmla="*/ 1918706 w 1918706"/>
                  <a:gd name="connsiteY14" fmla="*/ 2088805 h 5633118"/>
                  <a:gd name="connsiteX15" fmla="*/ 1918706 w 1918706"/>
                  <a:gd name="connsiteY15" fmla="*/ 2503632 h 5633118"/>
                  <a:gd name="connsiteX16" fmla="*/ 1918706 w 1918706"/>
                  <a:gd name="connsiteY16" fmla="*/ 2511407 h 5633118"/>
                  <a:gd name="connsiteX17" fmla="*/ 1918706 w 1918706"/>
                  <a:gd name="connsiteY17" fmla="*/ 2567616 h 5633118"/>
                  <a:gd name="connsiteX18" fmla="*/ 1918706 w 1918706"/>
                  <a:gd name="connsiteY18" fmla="*/ 2583313 h 5633118"/>
                  <a:gd name="connsiteX19" fmla="*/ 1918706 w 1918706"/>
                  <a:gd name="connsiteY19" fmla="*/ 2591087 h 5633118"/>
                  <a:gd name="connsiteX20" fmla="*/ 1918706 w 1918706"/>
                  <a:gd name="connsiteY20" fmla="*/ 2992759 h 5633118"/>
                  <a:gd name="connsiteX21" fmla="*/ 1918706 w 1918706"/>
                  <a:gd name="connsiteY21" fmla="*/ 3005914 h 5633118"/>
                  <a:gd name="connsiteX22" fmla="*/ 1918706 w 1918706"/>
                  <a:gd name="connsiteY22" fmla="*/ 3013688 h 5633118"/>
                  <a:gd name="connsiteX23" fmla="*/ 1918706 w 1918706"/>
                  <a:gd name="connsiteY23" fmla="*/ 3085594 h 5633118"/>
                  <a:gd name="connsiteX24" fmla="*/ 1918706 w 1918706"/>
                  <a:gd name="connsiteY24" fmla="*/ 3093368 h 5633118"/>
                  <a:gd name="connsiteX25" fmla="*/ 1918706 w 1918706"/>
                  <a:gd name="connsiteY25" fmla="*/ 3487266 h 5633118"/>
                  <a:gd name="connsiteX26" fmla="*/ 1918706 w 1918706"/>
                  <a:gd name="connsiteY26" fmla="*/ 3508195 h 5633118"/>
                  <a:gd name="connsiteX27" fmla="*/ 1918706 w 1918706"/>
                  <a:gd name="connsiteY27" fmla="*/ 3515969 h 5633118"/>
                  <a:gd name="connsiteX28" fmla="*/ 1918706 w 1918706"/>
                  <a:gd name="connsiteY28" fmla="*/ 3574721 h 5633118"/>
                  <a:gd name="connsiteX29" fmla="*/ 1918706 w 1918706"/>
                  <a:gd name="connsiteY29" fmla="*/ 3587875 h 5633118"/>
                  <a:gd name="connsiteX30" fmla="*/ 1918706 w 1918706"/>
                  <a:gd name="connsiteY30" fmla="*/ 3595649 h 5633118"/>
                  <a:gd name="connsiteX31" fmla="*/ 1918706 w 1918706"/>
                  <a:gd name="connsiteY31" fmla="*/ 3997322 h 5633118"/>
                  <a:gd name="connsiteX32" fmla="*/ 1918706 w 1918706"/>
                  <a:gd name="connsiteY32" fmla="*/ 4010476 h 5633118"/>
                  <a:gd name="connsiteX33" fmla="*/ 1918706 w 1918706"/>
                  <a:gd name="connsiteY33" fmla="*/ 4069228 h 5633118"/>
                  <a:gd name="connsiteX34" fmla="*/ 1918706 w 1918706"/>
                  <a:gd name="connsiteY34" fmla="*/ 4090156 h 5633118"/>
                  <a:gd name="connsiteX35" fmla="*/ 1918706 w 1918706"/>
                  <a:gd name="connsiteY35" fmla="*/ 4097931 h 5633118"/>
                  <a:gd name="connsiteX36" fmla="*/ 1918706 w 1918706"/>
                  <a:gd name="connsiteY36" fmla="*/ 4491829 h 5633118"/>
                  <a:gd name="connsiteX37" fmla="*/ 1918706 w 1918706"/>
                  <a:gd name="connsiteY37" fmla="*/ 4579284 h 5633118"/>
                  <a:gd name="connsiteX38" fmla="*/ 1918706 w 1918706"/>
                  <a:gd name="connsiteY38" fmla="*/ 4592438 h 5633118"/>
                  <a:gd name="connsiteX39" fmla="*/ 1918706 w 1918706"/>
                  <a:gd name="connsiteY39" fmla="*/ 5073791 h 5633118"/>
                  <a:gd name="connsiteX40" fmla="*/ 959355 w 1918706"/>
                  <a:gd name="connsiteY40" fmla="*/ 5633118 h 5633118"/>
                  <a:gd name="connsiteX41" fmla="*/ 0 w 1918706"/>
                  <a:gd name="connsiteY41" fmla="*/ 5073791 h 5633118"/>
                  <a:gd name="connsiteX42" fmla="*/ 0 w 1918706"/>
                  <a:gd name="connsiteY42" fmla="*/ 4592438 h 5633118"/>
                  <a:gd name="connsiteX43" fmla="*/ 0 w 1918706"/>
                  <a:gd name="connsiteY43" fmla="*/ 4579284 h 5633118"/>
                  <a:gd name="connsiteX44" fmla="*/ 0 w 1918706"/>
                  <a:gd name="connsiteY44" fmla="*/ 4491829 h 5633118"/>
                  <a:gd name="connsiteX45" fmla="*/ 0 w 1918706"/>
                  <a:gd name="connsiteY45" fmla="*/ 4097931 h 5633118"/>
                  <a:gd name="connsiteX46" fmla="*/ 0 w 1918706"/>
                  <a:gd name="connsiteY46" fmla="*/ 4090156 h 5633118"/>
                  <a:gd name="connsiteX47" fmla="*/ 0 w 1918706"/>
                  <a:gd name="connsiteY47" fmla="*/ 4069228 h 5633118"/>
                  <a:gd name="connsiteX48" fmla="*/ 0 w 1918706"/>
                  <a:gd name="connsiteY48" fmla="*/ 4010476 h 5633118"/>
                  <a:gd name="connsiteX49" fmla="*/ 0 w 1918706"/>
                  <a:gd name="connsiteY49" fmla="*/ 3997322 h 5633118"/>
                  <a:gd name="connsiteX50" fmla="*/ 0 w 1918706"/>
                  <a:gd name="connsiteY50" fmla="*/ 3595649 h 5633118"/>
                  <a:gd name="connsiteX51" fmla="*/ 0 w 1918706"/>
                  <a:gd name="connsiteY51" fmla="*/ 3587875 h 5633118"/>
                  <a:gd name="connsiteX52" fmla="*/ 0 w 1918706"/>
                  <a:gd name="connsiteY52" fmla="*/ 3574721 h 5633118"/>
                  <a:gd name="connsiteX53" fmla="*/ 0 w 1918706"/>
                  <a:gd name="connsiteY53" fmla="*/ 3515969 h 5633118"/>
                  <a:gd name="connsiteX54" fmla="*/ 0 w 1918706"/>
                  <a:gd name="connsiteY54" fmla="*/ 3508195 h 5633118"/>
                  <a:gd name="connsiteX55" fmla="*/ 0 w 1918706"/>
                  <a:gd name="connsiteY55" fmla="*/ 3487266 h 5633118"/>
                  <a:gd name="connsiteX56" fmla="*/ 0 w 1918706"/>
                  <a:gd name="connsiteY5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06844 h 5633118"/>
                  <a:gd name="connsiteX6" fmla="*/ 1918706 w 1918706"/>
                  <a:gd name="connsiteY6" fmla="*/ 1563054 h 5633118"/>
                  <a:gd name="connsiteX7" fmla="*/ 1918706 w 1918706"/>
                  <a:gd name="connsiteY7" fmla="*/ 1586524 h 5633118"/>
                  <a:gd name="connsiteX8" fmla="*/ 1918706 w 1918706"/>
                  <a:gd name="connsiteY8" fmla="*/ 1985655 h 5633118"/>
                  <a:gd name="connsiteX9" fmla="*/ 1918706 w 1918706"/>
                  <a:gd name="connsiteY9" fmla="*/ 2001351 h 5633118"/>
                  <a:gd name="connsiteX10" fmla="*/ 1918706 w 1918706"/>
                  <a:gd name="connsiteY10" fmla="*/ 2009125 h 5633118"/>
                  <a:gd name="connsiteX11" fmla="*/ 1918706 w 1918706"/>
                  <a:gd name="connsiteY11" fmla="*/ 2073109 h 5633118"/>
                  <a:gd name="connsiteX12" fmla="*/ 1918706 w 1918706"/>
                  <a:gd name="connsiteY12" fmla="*/ 2081031 h 5633118"/>
                  <a:gd name="connsiteX13" fmla="*/ 1918706 w 1918706"/>
                  <a:gd name="connsiteY13" fmla="*/ 2088805 h 5633118"/>
                  <a:gd name="connsiteX14" fmla="*/ 1918706 w 1918706"/>
                  <a:gd name="connsiteY14" fmla="*/ 2503632 h 5633118"/>
                  <a:gd name="connsiteX15" fmla="*/ 1918706 w 1918706"/>
                  <a:gd name="connsiteY15" fmla="*/ 2511407 h 5633118"/>
                  <a:gd name="connsiteX16" fmla="*/ 1918706 w 1918706"/>
                  <a:gd name="connsiteY16" fmla="*/ 2567616 h 5633118"/>
                  <a:gd name="connsiteX17" fmla="*/ 1918706 w 1918706"/>
                  <a:gd name="connsiteY17" fmla="*/ 2583313 h 5633118"/>
                  <a:gd name="connsiteX18" fmla="*/ 1918706 w 1918706"/>
                  <a:gd name="connsiteY18" fmla="*/ 2591087 h 5633118"/>
                  <a:gd name="connsiteX19" fmla="*/ 1918706 w 1918706"/>
                  <a:gd name="connsiteY19" fmla="*/ 2992759 h 5633118"/>
                  <a:gd name="connsiteX20" fmla="*/ 1918706 w 1918706"/>
                  <a:gd name="connsiteY20" fmla="*/ 3005914 h 5633118"/>
                  <a:gd name="connsiteX21" fmla="*/ 1918706 w 1918706"/>
                  <a:gd name="connsiteY21" fmla="*/ 3013688 h 5633118"/>
                  <a:gd name="connsiteX22" fmla="*/ 1918706 w 1918706"/>
                  <a:gd name="connsiteY22" fmla="*/ 3085594 h 5633118"/>
                  <a:gd name="connsiteX23" fmla="*/ 1918706 w 1918706"/>
                  <a:gd name="connsiteY23" fmla="*/ 3093368 h 5633118"/>
                  <a:gd name="connsiteX24" fmla="*/ 1918706 w 1918706"/>
                  <a:gd name="connsiteY24" fmla="*/ 3487266 h 5633118"/>
                  <a:gd name="connsiteX25" fmla="*/ 1918706 w 1918706"/>
                  <a:gd name="connsiteY25" fmla="*/ 3508195 h 5633118"/>
                  <a:gd name="connsiteX26" fmla="*/ 1918706 w 1918706"/>
                  <a:gd name="connsiteY26" fmla="*/ 3515969 h 5633118"/>
                  <a:gd name="connsiteX27" fmla="*/ 1918706 w 1918706"/>
                  <a:gd name="connsiteY27" fmla="*/ 3574721 h 5633118"/>
                  <a:gd name="connsiteX28" fmla="*/ 1918706 w 1918706"/>
                  <a:gd name="connsiteY28" fmla="*/ 3587875 h 5633118"/>
                  <a:gd name="connsiteX29" fmla="*/ 1918706 w 1918706"/>
                  <a:gd name="connsiteY29" fmla="*/ 3595649 h 5633118"/>
                  <a:gd name="connsiteX30" fmla="*/ 1918706 w 1918706"/>
                  <a:gd name="connsiteY30" fmla="*/ 3997322 h 5633118"/>
                  <a:gd name="connsiteX31" fmla="*/ 1918706 w 1918706"/>
                  <a:gd name="connsiteY31" fmla="*/ 4010476 h 5633118"/>
                  <a:gd name="connsiteX32" fmla="*/ 1918706 w 1918706"/>
                  <a:gd name="connsiteY32" fmla="*/ 4069228 h 5633118"/>
                  <a:gd name="connsiteX33" fmla="*/ 1918706 w 1918706"/>
                  <a:gd name="connsiteY33" fmla="*/ 4090156 h 5633118"/>
                  <a:gd name="connsiteX34" fmla="*/ 1918706 w 1918706"/>
                  <a:gd name="connsiteY34" fmla="*/ 4097931 h 5633118"/>
                  <a:gd name="connsiteX35" fmla="*/ 1918706 w 1918706"/>
                  <a:gd name="connsiteY35" fmla="*/ 4491829 h 5633118"/>
                  <a:gd name="connsiteX36" fmla="*/ 1918706 w 1918706"/>
                  <a:gd name="connsiteY36" fmla="*/ 4579284 h 5633118"/>
                  <a:gd name="connsiteX37" fmla="*/ 1918706 w 1918706"/>
                  <a:gd name="connsiteY37" fmla="*/ 4592438 h 5633118"/>
                  <a:gd name="connsiteX38" fmla="*/ 1918706 w 1918706"/>
                  <a:gd name="connsiteY38" fmla="*/ 5073791 h 5633118"/>
                  <a:gd name="connsiteX39" fmla="*/ 959355 w 1918706"/>
                  <a:gd name="connsiteY39" fmla="*/ 5633118 h 5633118"/>
                  <a:gd name="connsiteX40" fmla="*/ 0 w 1918706"/>
                  <a:gd name="connsiteY40" fmla="*/ 5073791 h 5633118"/>
                  <a:gd name="connsiteX41" fmla="*/ 0 w 1918706"/>
                  <a:gd name="connsiteY41" fmla="*/ 4592438 h 5633118"/>
                  <a:gd name="connsiteX42" fmla="*/ 0 w 1918706"/>
                  <a:gd name="connsiteY42" fmla="*/ 4579284 h 5633118"/>
                  <a:gd name="connsiteX43" fmla="*/ 0 w 1918706"/>
                  <a:gd name="connsiteY43" fmla="*/ 4491829 h 5633118"/>
                  <a:gd name="connsiteX44" fmla="*/ 0 w 1918706"/>
                  <a:gd name="connsiteY44" fmla="*/ 4097931 h 5633118"/>
                  <a:gd name="connsiteX45" fmla="*/ 0 w 1918706"/>
                  <a:gd name="connsiteY45" fmla="*/ 4090156 h 5633118"/>
                  <a:gd name="connsiteX46" fmla="*/ 0 w 1918706"/>
                  <a:gd name="connsiteY46" fmla="*/ 4069228 h 5633118"/>
                  <a:gd name="connsiteX47" fmla="*/ 0 w 1918706"/>
                  <a:gd name="connsiteY47" fmla="*/ 4010476 h 5633118"/>
                  <a:gd name="connsiteX48" fmla="*/ 0 w 1918706"/>
                  <a:gd name="connsiteY48" fmla="*/ 3997322 h 5633118"/>
                  <a:gd name="connsiteX49" fmla="*/ 0 w 1918706"/>
                  <a:gd name="connsiteY49" fmla="*/ 3595649 h 5633118"/>
                  <a:gd name="connsiteX50" fmla="*/ 0 w 1918706"/>
                  <a:gd name="connsiteY50" fmla="*/ 3587875 h 5633118"/>
                  <a:gd name="connsiteX51" fmla="*/ 0 w 1918706"/>
                  <a:gd name="connsiteY51" fmla="*/ 3574721 h 5633118"/>
                  <a:gd name="connsiteX52" fmla="*/ 0 w 1918706"/>
                  <a:gd name="connsiteY52" fmla="*/ 3515969 h 5633118"/>
                  <a:gd name="connsiteX53" fmla="*/ 0 w 1918706"/>
                  <a:gd name="connsiteY53" fmla="*/ 3508195 h 5633118"/>
                  <a:gd name="connsiteX54" fmla="*/ 0 w 1918706"/>
                  <a:gd name="connsiteY54" fmla="*/ 3487266 h 5633118"/>
                  <a:gd name="connsiteX55" fmla="*/ 0 w 1918706"/>
                  <a:gd name="connsiteY5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63054 h 5633118"/>
                  <a:gd name="connsiteX6" fmla="*/ 1918706 w 1918706"/>
                  <a:gd name="connsiteY6" fmla="*/ 1586524 h 5633118"/>
                  <a:gd name="connsiteX7" fmla="*/ 1918706 w 1918706"/>
                  <a:gd name="connsiteY7" fmla="*/ 1985655 h 5633118"/>
                  <a:gd name="connsiteX8" fmla="*/ 1918706 w 1918706"/>
                  <a:gd name="connsiteY8" fmla="*/ 2001351 h 5633118"/>
                  <a:gd name="connsiteX9" fmla="*/ 1918706 w 1918706"/>
                  <a:gd name="connsiteY9" fmla="*/ 2009125 h 5633118"/>
                  <a:gd name="connsiteX10" fmla="*/ 1918706 w 1918706"/>
                  <a:gd name="connsiteY10" fmla="*/ 2073109 h 5633118"/>
                  <a:gd name="connsiteX11" fmla="*/ 1918706 w 1918706"/>
                  <a:gd name="connsiteY11" fmla="*/ 2081031 h 5633118"/>
                  <a:gd name="connsiteX12" fmla="*/ 1918706 w 1918706"/>
                  <a:gd name="connsiteY12" fmla="*/ 2088805 h 5633118"/>
                  <a:gd name="connsiteX13" fmla="*/ 1918706 w 1918706"/>
                  <a:gd name="connsiteY13" fmla="*/ 2503632 h 5633118"/>
                  <a:gd name="connsiteX14" fmla="*/ 1918706 w 1918706"/>
                  <a:gd name="connsiteY14" fmla="*/ 2511407 h 5633118"/>
                  <a:gd name="connsiteX15" fmla="*/ 1918706 w 1918706"/>
                  <a:gd name="connsiteY15" fmla="*/ 2567616 h 5633118"/>
                  <a:gd name="connsiteX16" fmla="*/ 1918706 w 1918706"/>
                  <a:gd name="connsiteY16" fmla="*/ 2583313 h 5633118"/>
                  <a:gd name="connsiteX17" fmla="*/ 1918706 w 1918706"/>
                  <a:gd name="connsiteY17" fmla="*/ 2591087 h 5633118"/>
                  <a:gd name="connsiteX18" fmla="*/ 1918706 w 1918706"/>
                  <a:gd name="connsiteY18" fmla="*/ 2992759 h 5633118"/>
                  <a:gd name="connsiteX19" fmla="*/ 1918706 w 1918706"/>
                  <a:gd name="connsiteY19" fmla="*/ 3005914 h 5633118"/>
                  <a:gd name="connsiteX20" fmla="*/ 1918706 w 1918706"/>
                  <a:gd name="connsiteY20" fmla="*/ 3013688 h 5633118"/>
                  <a:gd name="connsiteX21" fmla="*/ 1918706 w 1918706"/>
                  <a:gd name="connsiteY21" fmla="*/ 3085594 h 5633118"/>
                  <a:gd name="connsiteX22" fmla="*/ 1918706 w 1918706"/>
                  <a:gd name="connsiteY22" fmla="*/ 3093368 h 5633118"/>
                  <a:gd name="connsiteX23" fmla="*/ 1918706 w 1918706"/>
                  <a:gd name="connsiteY23" fmla="*/ 3487266 h 5633118"/>
                  <a:gd name="connsiteX24" fmla="*/ 1918706 w 1918706"/>
                  <a:gd name="connsiteY24" fmla="*/ 3508195 h 5633118"/>
                  <a:gd name="connsiteX25" fmla="*/ 1918706 w 1918706"/>
                  <a:gd name="connsiteY25" fmla="*/ 3515969 h 5633118"/>
                  <a:gd name="connsiteX26" fmla="*/ 1918706 w 1918706"/>
                  <a:gd name="connsiteY26" fmla="*/ 3574721 h 5633118"/>
                  <a:gd name="connsiteX27" fmla="*/ 1918706 w 1918706"/>
                  <a:gd name="connsiteY27" fmla="*/ 3587875 h 5633118"/>
                  <a:gd name="connsiteX28" fmla="*/ 1918706 w 1918706"/>
                  <a:gd name="connsiteY28" fmla="*/ 3595649 h 5633118"/>
                  <a:gd name="connsiteX29" fmla="*/ 1918706 w 1918706"/>
                  <a:gd name="connsiteY29" fmla="*/ 3997322 h 5633118"/>
                  <a:gd name="connsiteX30" fmla="*/ 1918706 w 1918706"/>
                  <a:gd name="connsiteY30" fmla="*/ 4010476 h 5633118"/>
                  <a:gd name="connsiteX31" fmla="*/ 1918706 w 1918706"/>
                  <a:gd name="connsiteY31" fmla="*/ 4069228 h 5633118"/>
                  <a:gd name="connsiteX32" fmla="*/ 1918706 w 1918706"/>
                  <a:gd name="connsiteY32" fmla="*/ 4090156 h 5633118"/>
                  <a:gd name="connsiteX33" fmla="*/ 1918706 w 1918706"/>
                  <a:gd name="connsiteY33" fmla="*/ 4097931 h 5633118"/>
                  <a:gd name="connsiteX34" fmla="*/ 1918706 w 1918706"/>
                  <a:gd name="connsiteY34" fmla="*/ 4491829 h 5633118"/>
                  <a:gd name="connsiteX35" fmla="*/ 1918706 w 1918706"/>
                  <a:gd name="connsiteY35" fmla="*/ 4579284 h 5633118"/>
                  <a:gd name="connsiteX36" fmla="*/ 1918706 w 1918706"/>
                  <a:gd name="connsiteY36" fmla="*/ 4592438 h 5633118"/>
                  <a:gd name="connsiteX37" fmla="*/ 1918706 w 1918706"/>
                  <a:gd name="connsiteY37" fmla="*/ 5073791 h 5633118"/>
                  <a:gd name="connsiteX38" fmla="*/ 959355 w 1918706"/>
                  <a:gd name="connsiteY38" fmla="*/ 5633118 h 5633118"/>
                  <a:gd name="connsiteX39" fmla="*/ 0 w 1918706"/>
                  <a:gd name="connsiteY39" fmla="*/ 5073791 h 5633118"/>
                  <a:gd name="connsiteX40" fmla="*/ 0 w 1918706"/>
                  <a:gd name="connsiteY40" fmla="*/ 4592438 h 5633118"/>
                  <a:gd name="connsiteX41" fmla="*/ 0 w 1918706"/>
                  <a:gd name="connsiteY41" fmla="*/ 4579284 h 5633118"/>
                  <a:gd name="connsiteX42" fmla="*/ 0 w 1918706"/>
                  <a:gd name="connsiteY42" fmla="*/ 4491829 h 5633118"/>
                  <a:gd name="connsiteX43" fmla="*/ 0 w 1918706"/>
                  <a:gd name="connsiteY43" fmla="*/ 4097931 h 5633118"/>
                  <a:gd name="connsiteX44" fmla="*/ 0 w 1918706"/>
                  <a:gd name="connsiteY44" fmla="*/ 4090156 h 5633118"/>
                  <a:gd name="connsiteX45" fmla="*/ 0 w 1918706"/>
                  <a:gd name="connsiteY45" fmla="*/ 4069228 h 5633118"/>
                  <a:gd name="connsiteX46" fmla="*/ 0 w 1918706"/>
                  <a:gd name="connsiteY46" fmla="*/ 4010476 h 5633118"/>
                  <a:gd name="connsiteX47" fmla="*/ 0 w 1918706"/>
                  <a:gd name="connsiteY47" fmla="*/ 3997322 h 5633118"/>
                  <a:gd name="connsiteX48" fmla="*/ 0 w 1918706"/>
                  <a:gd name="connsiteY48" fmla="*/ 3595649 h 5633118"/>
                  <a:gd name="connsiteX49" fmla="*/ 0 w 1918706"/>
                  <a:gd name="connsiteY49" fmla="*/ 3587875 h 5633118"/>
                  <a:gd name="connsiteX50" fmla="*/ 0 w 1918706"/>
                  <a:gd name="connsiteY50" fmla="*/ 3574721 h 5633118"/>
                  <a:gd name="connsiteX51" fmla="*/ 0 w 1918706"/>
                  <a:gd name="connsiteY51" fmla="*/ 3515969 h 5633118"/>
                  <a:gd name="connsiteX52" fmla="*/ 0 w 1918706"/>
                  <a:gd name="connsiteY52" fmla="*/ 3508195 h 5633118"/>
                  <a:gd name="connsiteX53" fmla="*/ 0 w 1918706"/>
                  <a:gd name="connsiteY53" fmla="*/ 3487266 h 5633118"/>
                  <a:gd name="connsiteX54" fmla="*/ 0 w 1918706"/>
                  <a:gd name="connsiteY5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563054 h 5633118"/>
                  <a:gd name="connsiteX5" fmla="*/ 1918706 w 1918706"/>
                  <a:gd name="connsiteY5" fmla="*/ 1586524 h 5633118"/>
                  <a:gd name="connsiteX6" fmla="*/ 1918706 w 1918706"/>
                  <a:gd name="connsiteY6" fmla="*/ 1985655 h 5633118"/>
                  <a:gd name="connsiteX7" fmla="*/ 1918706 w 1918706"/>
                  <a:gd name="connsiteY7" fmla="*/ 2001351 h 5633118"/>
                  <a:gd name="connsiteX8" fmla="*/ 1918706 w 1918706"/>
                  <a:gd name="connsiteY8" fmla="*/ 2009125 h 5633118"/>
                  <a:gd name="connsiteX9" fmla="*/ 1918706 w 1918706"/>
                  <a:gd name="connsiteY9" fmla="*/ 2073109 h 5633118"/>
                  <a:gd name="connsiteX10" fmla="*/ 1918706 w 1918706"/>
                  <a:gd name="connsiteY10" fmla="*/ 2081031 h 5633118"/>
                  <a:gd name="connsiteX11" fmla="*/ 1918706 w 1918706"/>
                  <a:gd name="connsiteY11" fmla="*/ 2088805 h 5633118"/>
                  <a:gd name="connsiteX12" fmla="*/ 1918706 w 1918706"/>
                  <a:gd name="connsiteY12" fmla="*/ 2503632 h 5633118"/>
                  <a:gd name="connsiteX13" fmla="*/ 1918706 w 1918706"/>
                  <a:gd name="connsiteY13" fmla="*/ 2511407 h 5633118"/>
                  <a:gd name="connsiteX14" fmla="*/ 1918706 w 1918706"/>
                  <a:gd name="connsiteY14" fmla="*/ 2567616 h 5633118"/>
                  <a:gd name="connsiteX15" fmla="*/ 1918706 w 1918706"/>
                  <a:gd name="connsiteY15" fmla="*/ 2583313 h 5633118"/>
                  <a:gd name="connsiteX16" fmla="*/ 1918706 w 1918706"/>
                  <a:gd name="connsiteY16" fmla="*/ 2591087 h 5633118"/>
                  <a:gd name="connsiteX17" fmla="*/ 1918706 w 1918706"/>
                  <a:gd name="connsiteY17" fmla="*/ 2992759 h 5633118"/>
                  <a:gd name="connsiteX18" fmla="*/ 1918706 w 1918706"/>
                  <a:gd name="connsiteY18" fmla="*/ 3005914 h 5633118"/>
                  <a:gd name="connsiteX19" fmla="*/ 1918706 w 1918706"/>
                  <a:gd name="connsiteY19" fmla="*/ 3013688 h 5633118"/>
                  <a:gd name="connsiteX20" fmla="*/ 1918706 w 1918706"/>
                  <a:gd name="connsiteY20" fmla="*/ 3085594 h 5633118"/>
                  <a:gd name="connsiteX21" fmla="*/ 1918706 w 1918706"/>
                  <a:gd name="connsiteY21" fmla="*/ 3093368 h 5633118"/>
                  <a:gd name="connsiteX22" fmla="*/ 1918706 w 1918706"/>
                  <a:gd name="connsiteY22" fmla="*/ 3487266 h 5633118"/>
                  <a:gd name="connsiteX23" fmla="*/ 1918706 w 1918706"/>
                  <a:gd name="connsiteY23" fmla="*/ 3508195 h 5633118"/>
                  <a:gd name="connsiteX24" fmla="*/ 1918706 w 1918706"/>
                  <a:gd name="connsiteY24" fmla="*/ 3515969 h 5633118"/>
                  <a:gd name="connsiteX25" fmla="*/ 1918706 w 1918706"/>
                  <a:gd name="connsiteY25" fmla="*/ 3574721 h 5633118"/>
                  <a:gd name="connsiteX26" fmla="*/ 1918706 w 1918706"/>
                  <a:gd name="connsiteY26" fmla="*/ 3587875 h 5633118"/>
                  <a:gd name="connsiteX27" fmla="*/ 1918706 w 1918706"/>
                  <a:gd name="connsiteY27" fmla="*/ 3595649 h 5633118"/>
                  <a:gd name="connsiteX28" fmla="*/ 1918706 w 1918706"/>
                  <a:gd name="connsiteY28" fmla="*/ 3997322 h 5633118"/>
                  <a:gd name="connsiteX29" fmla="*/ 1918706 w 1918706"/>
                  <a:gd name="connsiteY29" fmla="*/ 4010476 h 5633118"/>
                  <a:gd name="connsiteX30" fmla="*/ 1918706 w 1918706"/>
                  <a:gd name="connsiteY30" fmla="*/ 4069228 h 5633118"/>
                  <a:gd name="connsiteX31" fmla="*/ 1918706 w 1918706"/>
                  <a:gd name="connsiteY31" fmla="*/ 4090156 h 5633118"/>
                  <a:gd name="connsiteX32" fmla="*/ 1918706 w 1918706"/>
                  <a:gd name="connsiteY32" fmla="*/ 4097931 h 5633118"/>
                  <a:gd name="connsiteX33" fmla="*/ 1918706 w 1918706"/>
                  <a:gd name="connsiteY33" fmla="*/ 4491829 h 5633118"/>
                  <a:gd name="connsiteX34" fmla="*/ 1918706 w 1918706"/>
                  <a:gd name="connsiteY34" fmla="*/ 4579284 h 5633118"/>
                  <a:gd name="connsiteX35" fmla="*/ 1918706 w 1918706"/>
                  <a:gd name="connsiteY35" fmla="*/ 4592438 h 5633118"/>
                  <a:gd name="connsiteX36" fmla="*/ 1918706 w 1918706"/>
                  <a:gd name="connsiteY36" fmla="*/ 5073791 h 5633118"/>
                  <a:gd name="connsiteX37" fmla="*/ 959355 w 1918706"/>
                  <a:gd name="connsiteY37" fmla="*/ 5633118 h 5633118"/>
                  <a:gd name="connsiteX38" fmla="*/ 0 w 1918706"/>
                  <a:gd name="connsiteY38" fmla="*/ 5073791 h 5633118"/>
                  <a:gd name="connsiteX39" fmla="*/ 0 w 1918706"/>
                  <a:gd name="connsiteY39" fmla="*/ 4592438 h 5633118"/>
                  <a:gd name="connsiteX40" fmla="*/ 0 w 1918706"/>
                  <a:gd name="connsiteY40" fmla="*/ 4579284 h 5633118"/>
                  <a:gd name="connsiteX41" fmla="*/ 0 w 1918706"/>
                  <a:gd name="connsiteY41" fmla="*/ 4491829 h 5633118"/>
                  <a:gd name="connsiteX42" fmla="*/ 0 w 1918706"/>
                  <a:gd name="connsiteY42" fmla="*/ 4097931 h 5633118"/>
                  <a:gd name="connsiteX43" fmla="*/ 0 w 1918706"/>
                  <a:gd name="connsiteY43" fmla="*/ 4090156 h 5633118"/>
                  <a:gd name="connsiteX44" fmla="*/ 0 w 1918706"/>
                  <a:gd name="connsiteY44" fmla="*/ 4069228 h 5633118"/>
                  <a:gd name="connsiteX45" fmla="*/ 0 w 1918706"/>
                  <a:gd name="connsiteY45" fmla="*/ 4010476 h 5633118"/>
                  <a:gd name="connsiteX46" fmla="*/ 0 w 1918706"/>
                  <a:gd name="connsiteY46" fmla="*/ 3997322 h 5633118"/>
                  <a:gd name="connsiteX47" fmla="*/ 0 w 1918706"/>
                  <a:gd name="connsiteY47" fmla="*/ 3595649 h 5633118"/>
                  <a:gd name="connsiteX48" fmla="*/ 0 w 1918706"/>
                  <a:gd name="connsiteY48" fmla="*/ 3587875 h 5633118"/>
                  <a:gd name="connsiteX49" fmla="*/ 0 w 1918706"/>
                  <a:gd name="connsiteY49" fmla="*/ 3574721 h 5633118"/>
                  <a:gd name="connsiteX50" fmla="*/ 0 w 1918706"/>
                  <a:gd name="connsiteY50" fmla="*/ 3515969 h 5633118"/>
                  <a:gd name="connsiteX51" fmla="*/ 0 w 1918706"/>
                  <a:gd name="connsiteY51" fmla="*/ 3508195 h 5633118"/>
                  <a:gd name="connsiteX52" fmla="*/ 0 w 1918706"/>
                  <a:gd name="connsiteY52" fmla="*/ 3487266 h 5633118"/>
                  <a:gd name="connsiteX53" fmla="*/ 0 w 1918706"/>
                  <a:gd name="connsiteY5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586524 h 5633118"/>
                  <a:gd name="connsiteX5" fmla="*/ 1918706 w 1918706"/>
                  <a:gd name="connsiteY5" fmla="*/ 1985655 h 5633118"/>
                  <a:gd name="connsiteX6" fmla="*/ 1918706 w 1918706"/>
                  <a:gd name="connsiteY6" fmla="*/ 2001351 h 5633118"/>
                  <a:gd name="connsiteX7" fmla="*/ 1918706 w 1918706"/>
                  <a:gd name="connsiteY7" fmla="*/ 2009125 h 5633118"/>
                  <a:gd name="connsiteX8" fmla="*/ 1918706 w 1918706"/>
                  <a:gd name="connsiteY8" fmla="*/ 2073109 h 5633118"/>
                  <a:gd name="connsiteX9" fmla="*/ 1918706 w 1918706"/>
                  <a:gd name="connsiteY9" fmla="*/ 2081031 h 5633118"/>
                  <a:gd name="connsiteX10" fmla="*/ 1918706 w 1918706"/>
                  <a:gd name="connsiteY10" fmla="*/ 2088805 h 5633118"/>
                  <a:gd name="connsiteX11" fmla="*/ 1918706 w 1918706"/>
                  <a:gd name="connsiteY11" fmla="*/ 2503632 h 5633118"/>
                  <a:gd name="connsiteX12" fmla="*/ 1918706 w 1918706"/>
                  <a:gd name="connsiteY12" fmla="*/ 2511407 h 5633118"/>
                  <a:gd name="connsiteX13" fmla="*/ 1918706 w 1918706"/>
                  <a:gd name="connsiteY13" fmla="*/ 2567616 h 5633118"/>
                  <a:gd name="connsiteX14" fmla="*/ 1918706 w 1918706"/>
                  <a:gd name="connsiteY14" fmla="*/ 2583313 h 5633118"/>
                  <a:gd name="connsiteX15" fmla="*/ 1918706 w 1918706"/>
                  <a:gd name="connsiteY15" fmla="*/ 2591087 h 5633118"/>
                  <a:gd name="connsiteX16" fmla="*/ 1918706 w 1918706"/>
                  <a:gd name="connsiteY16" fmla="*/ 2992759 h 5633118"/>
                  <a:gd name="connsiteX17" fmla="*/ 1918706 w 1918706"/>
                  <a:gd name="connsiteY17" fmla="*/ 3005914 h 5633118"/>
                  <a:gd name="connsiteX18" fmla="*/ 1918706 w 1918706"/>
                  <a:gd name="connsiteY18" fmla="*/ 3013688 h 5633118"/>
                  <a:gd name="connsiteX19" fmla="*/ 1918706 w 1918706"/>
                  <a:gd name="connsiteY19" fmla="*/ 3085594 h 5633118"/>
                  <a:gd name="connsiteX20" fmla="*/ 1918706 w 1918706"/>
                  <a:gd name="connsiteY20" fmla="*/ 3093368 h 5633118"/>
                  <a:gd name="connsiteX21" fmla="*/ 1918706 w 1918706"/>
                  <a:gd name="connsiteY21" fmla="*/ 3487266 h 5633118"/>
                  <a:gd name="connsiteX22" fmla="*/ 1918706 w 1918706"/>
                  <a:gd name="connsiteY22" fmla="*/ 3508195 h 5633118"/>
                  <a:gd name="connsiteX23" fmla="*/ 1918706 w 1918706"/>
                  <a:gd name="connsiteY23" fmla="*/ 3515969 h 5633118"/>
                  <a:gd name="connsiteX24" fmla="*/ 1918706 w 1918706"/>
                  <a:gd name="connsiteY24" fmla="*/ 3574721 h 5633118"/>
                  <a:gd name="connsiteX25" fmla="*/ 1918706 w 1918706"/>
                  <a:gd name="connsiteY25" fmla="*/ 3587875 h 5633118"/>
                  <a:gd name="connsiteX26" fmla="*/ 1918706 w 1918706"/>
                  <a:gd name="connsiteY26" fmla="*/ 3595649 h 5633118"/>
                  <a:gd name="connsiteX27" fmla="*/ 1918706 w 1918706"/>
                  <a:gd name="connsiteY27" fmla="*/ 3997322 h 5633118"/>
                  <a:gd name="connsiteX28" fmla="*/ 1918706 w 1918706"/>
                  <a:gd name="connsiteY28" fmla="*/ 4010476 h 5633118"/>
                  <a:gd name="connsiteX29" fmla="*/ 1918706 w 1918706"/>
                  <a:gd name="connsiteY29" fmla="*/ 4069228 h 5633118"/>
                  <a:gd name="connsiteX30" fmla="*/ 1918706 w 1918706"/>
                  <a:gd name="connsiteY30" fmla="*/ 4090156 h 5633118"/>
                  <a:gd name="connsiteX31" fmla="*/ 1918706 w 1918706"/>
                  <a:gd name="connsiteY31" fmla="*/ 4097931 h 5633118"/>
                  <a:gd name="connsiteX32" fmla="*/ 1918706 w 1918706"/>
                  <a:gd name="connsiteY32" fmla="*/ 4491829 h 5633118"/>
                  <a:gd name="connsiteX33" fmla="*/ 1918706 w 1918706"/>
                  <a:gd name="connsiteY33" fmla="*/ 4579284 h 5633118"/>
                  <a:gd name="connsiteX34" fmla="*/ 1918706 w 1918706"/>
                  <a:gd name="connsiteY34" fmla="*/ 4592438 h 5633118"/>
                  <a:gd name="connsiteX35" fmla="*/ 1918706 w 1918706"/>
                  <a:gd name="connsiteY35" fmla="*/ 5073791 h 5633118"/>
                  <a:gd name="connsiteX36" fmla="*/ 959355 w 1918706"/>
                  <a:gd name="connsiteY36" fmla="*/ 5633118 h 5633118"/>
                  <a:gd name="connsiteX37" fmla="*/ 0 w 1918706"/>
                  <a:gd name="connsiteY37" fmla="*/ 5073791 h 5633118"/>
                  <a:gd name="connsiteX38" fmla="*/ 0 w 1918706"/>
                  <a:gd name="connsiteY38" fmla="*/ 4592438 h 5633118"/>
                  <a:gd name="connsiteX39" fmla="*/ 0 w 1918706"/>
                  <a:gd name="connsiteY39" fmla="*/ 4579284 h 5633118"/>
                  <a:gd name="connsiteX40" fmla="*/ 0 w 1918706"/>
                  <a:gd name="connsiteY40" fmla="*/ 4491829 h 5633118"/>
                  <a:gd name="connsiteX41" fmla="*/ 0 w 1918706"/>
                  <a:gd name="connsiteY41" fmla="*/ 4097931 h 5633118"/>
                  <a:gd name="connsiteX42" fmla="*/ 0 w 1918706"/>
                  <a:gd name="connsiteY42" fmla="*/ 4090156 h 5633118"/>
                  <a:gd name="connsiteX43" fmla="*/ 0 w 1918706"/>
                  <a:gd name="connsiteY43" fmla="*/ 4069228 h 5633118"/>
                  <a:gd name="connsiteX44" fmla="*/ 0 w 1918706"/>
                  <a:gd name="connsiteY44" fmla="*/ 4010476 h 5633118"/>
                  <a:gd name="connsiteX45" fmla="*/ 0 w 1918706"/>
                  <a:gd name="connsiteY45" fmla="*/ 3997322 h 5633118"/>
                  <a:gd name="connsiteX46" fmla="*/ 0 w 1918706"/>
                  <a:gd name="connsiteY46" fmla="*/ 3595649 h 5633118"/>
                  <a:gd name="connsiteX47" fmla="*/ 0 w 1918706"/>
                  <a:gd name="connsiteY47" fmla="*/ 3587875 h 5633118"/>
                  <a:gd name="connsiteX48" fmla="*/ 0 w 1918706"/>
                  <a:gd name="connsiteY48" fmla="*/ 3574721 h 5633118"/>
                  <a:gd name="connsiteX49" fmla="*/ 0 w 1918706"/>
                  <a:gd name="connsiteY49" fmla="*/ 3515969 h 5633118"/>
                  <a:gd name="connsiteX50" fmla="*/ 0 w 1918706"/>
                  <a:gd name="connsiteY50" fmla="*/ 3508195 h 5633118"/>
                  <a:gd name="connsiteX51" fmla="*/ 0 w 1918706"/>
                  <a:gd name="connsiteY51" fmla="*/ 3487266 h 5633118"/>
                  <a:gd name="connsiteX52" fmla="*/ 0 w 1918706"/>
                  <a:gd name="connsiteY5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985655 h 5633118"/>
                  <a:gd name="connsiteX5" fmla="*/ 1918706 w 1918706"/>
                  <a:gd name="connsiteY5" fmla="*/ 2001351 h 5633118"/>
                  <a:gd name="connsiteX6" fmla="*/ 1918706 w 1918706"/>
                  <a:gd name="connsiteY6" fmla="*/ 2009125 h 5633118"/>
                  <a:gd name="connsiteX7" fmla="*/ 1918706 w 1918706"/>
                  <a:gd name="connsiteY7" fmla="*/ 2073109 h 5633118"/>
                  <a:gd name="connsiteX8" fmla="*/ 1918706 w 1918706"/>
                  <a:gd name="connsiteY8" fmla="*/ 2081031 h 5633118"/>
                  <a:gd name="connsiteX9" fmla="*/ 1918706 w 1918706"/>
                  <a:gd name="connsiteY9" fmla="*/ 2088805 h 5633118"/>
                  <a:gd name="connsiteX10" fmla="*/ 1918706 w 1918706"/>
                  <a:gd name="connsiteY10" fmla="*/ 2503632 h 5633118"/>
                  <a:gd name="connsiteX11" fmla="*/ 1918706 w 1918706"/>
                  <a:gd name="connsiteY11" fmla="*/ 2511407 h 5633118"/>
                  <a:gd name="connsiteX12" fmla="*/ 1918706 w 1918706"/>
                  <a:gd name="connsiteY12" fmla="*/ 2567616 h 5633118"/>
                  <a:gd name="connsiteX13" fmla="*/ 1918706 w 1918706"/>
                  <a:gd name="connsiteY13" fmla="*/ 2583313 h 5633118"/>
                  <a:gd name="connsiteX14" fmla="*/ 1918706 w 1918706"/>
                  <a:gd name="connsiteY14" fmla="*/ 2591087 h 5633118"/>
                  <a:gd name="connsiteX15" fmla="*/ 1918706 w 1918706"/>
                  <a:gd name="connsiteY15" fmla="*/ 2992759 h 5633118"/>
                  <a:gd name="connsiteX16" fmla="*/ 1918706 w 1918706"/>
                  <a:gd name="connsiteY16" fmla="*/ 3005914 h 5633118"/>
                  <a:gd name="connsiteX17" fmla="*/ 1918706 w 1918706"/>
                  <a:gd name="connsiteY17" fmla="*/ 3013688 h 5633118"/>
                  <a:gd name="connsiteX18" fmla="*/ 1918706 w 1918706"/>
                  <a:gd name="connsiteY18" fmla="*/ 3085594 h 5633118"/>
                  <a:gd name="connsiteX19" fmla="*/ 1918706 w 1918706"/>
                  <a:gd name="connsiteY19" fmla="*/ 3093368 h 5633118"/>
                  <a:gd name="connsiteX20" fmla="*/ 1918706 w 1918706"/>
                  <a:gd name="connsiteY20" fmla="*/ 3487266 h 5633118"/>
                  <a:gd name="connsiteX21" fmla="*/ 1918706 w 1918706"/>
                  <a:gd name="connsiteY21" fmla="*/ 3508195 h 5633118"/>
                  <a:gd name="connsiteX22" fmla="*/ 1918706 w 1918706"/>
                  <a:gd name="connsiteY22" fmla="*/ 3515969 h 5633118"/>
                  <a:gd name="connsiteX23" fmla="*/ 1918706 w 1918706"/>
                  <a:gd name="connsiteY23" fmla="*/ 3574721 h 5633118"/>
                  <a:gd name="connsiteX24" fmla="*/ 1918706 w 1918706"/>
                  <a:gd name="connsiteY24" fmla="*/ 3587875 h 5633118"/>
                  <a:gd name="connsiteX25" fmla="*/ 1918706 w 1918706"/>
                  <a:gd name="connsiteY25" fmla="*/ 3595649 h 5633118"/>
                  <a:gd name="connsiteX26" fmla="*/ 1918706 w 1918706"/>
                  <a:gd name="connsiteY26" fmla="*/ 3997322 h 5633118"/>
                  <a:gd name="connsiteX27" fmla="*/ 1918706 w 1918706"/>
                  <a:gd name="connsiteY27" fmla="*/ 4010476 h 5633118"/>
                  <a:gd name="connsiteX28" fmla="*/ 1918706 w 1918706"/>
                  <a:gd name="connsiteY28" fmla="*/ 4069228 h 5633118"/>
                  <a:gd name="connsiteX29" fmla="*/ 1918706 w 1918706"/>
                  <a:gd name="connsiteY29" fmla="*/ 4090156 h 5633118"/>
                  <a:gd name="connsiteX30" fmla="*/ 1918706 w 1918706"/>
                  <a:gd name="connsiteY30" fmla="*/ 4097931 h 5633118"/>
                  <a:gd name="connsiteX31" fmla="*/ 1918706 w 1918706"/>
                  <a:gd name="connsiteY31" fmla="*/ 4491829 h 5633118"/>
                  <a:gd name="connsiteX32" fmla="*/ 1918706 w 1918706"/>
                  <a:gd name="connsiteY32" fmla="*/ 4579284 h 5633118"/>
                  <a:gd name="connsiteX33" fmla="*/ 1918706 w 1918706"/>
                  <a:gd name="connsiteY33" fmla="*/ 4592438 h 5633118"/>
                  <a:gd name="connsiteX34" fmla="*/ 1918706 w 1918706"/>
                  <a:gd name="connsiteY34" fmla="*/ 5073791 h 5633118"/>
                  <a:gd name="connsiteX35" fmla="*/ 959355 w 1918706"/>
                  <a:gd name="connsiteY35" fmla="*/ 5633118 h 5633118"/>
                  <a:gd name="connsiteX36" fmla="*/ 0 w 1918706"/>
                  <a:gd name="connsiteY36" fmla="*/ 5073791 h 5633118"/>
                  <a:gd name="connsiteX37" fmla="*/ 0 w 1918706"/>
                  <a:gd name="connsiteY37" fmla="*/ 4592438 h 5633118"/>
                  <a:gd name="connsiteX38" fmla="*/ 0 w 1918706"/>
                  <a:gd name="connsiteY38" fmla="*/ 4579284 h 5633118"/>
                  <a:gd name="connsiteX39" fmla="*/ 0 w 1918706"/>
                  <a:gd name="connsiteY39" fmla="*/ 4491829 h 5633118"/>
                  <a:gd name="connsiteX40" fmla="*/ 0 w 1918706"/>
                  <a:gd name="connsiteY40" fmla="*/ 4097931 h 5633118"/>
                  <a:gd name="connsiteX41" fmla="*/ 0 w 1918706"/>
                  <a:gd name="connsiteY41" fmla="*/ 4090156 h 5633118"/>
                  <a:gd name="connsiteX42" fmla="*/ 0 w 1918706"/>
                  <a:gd name="connsiteY42" fmla="*/ 4069228 h 5633118"/>
                  <a:gd name="connsiteX43" fmla="*/ 0 w 1918706"/>
                  <a:gd name="connsiteY43" fmla="*/ 4010476 h 5633118"/>
                  <a:gd name="connsiteX44" fmla="*/ 0 w 1918706"/>
                  <a:gd name="connsiteY44" fmla="*/ 3997322 h 5633118"/>
                  <a:gd name="connsiteX45" fmla="*/ 0 w 1918706"/>
                  <a:gd name="connsiteY45" fmla="*/ 3595649 h 5633118"/>
                  <a:gd name="connsiteX46" fmla="*/ 0 w 1918706"/>
                  <a:gd name="connsiteY46" fmla="*/ 3587875 h 5633118"/>
                  <a:gd name="connsiteX47" fmla="*/ 0 w 1918706"/>
                  <a:gd name="connsiteY47" fmla="*/ 3574721 h 5633118"/>
                  <a:gd name="connsiteX48" fmla="*/ 0 w 1918706"/>
                  <a:gd name="connsiteY48" fmla="*/ 3515969 h 5633118"/>
                  <a:gd name="connsiteX49" fmla="*/ 0 w 1918706"/>
                  <a:gd name="connsiteY49" fmla="*/ 3508195 h 5633118"/>
                  <a:gd name="connsiteX50" fmla="*/ 0 w 1918706"/>
                  <a:gd name="connsiteY50" fmla="*/ 3487266 h 5633118"/>
                  <a:gd name="connsiteX51" fmla="*/ 0 w 1918706"/>
                  <a:gd name="connsiteY5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09125 h 5633118"/>
                  <a:gd name="connsiteX6" fmla="*/ 1918706 w 1918706"/>
                  <a:gd name="connsiteY6" fmla="*/ 2073109 h 5633118"/>
                  <a:gd name="connsiteX7" fmla="*/ 1918706 w 1918706"/>
                  <a:gd name="connsiteY7" fmla="*/ 2081031 h 5633118"/>
                  <a:gd name="connsiteX8" fmla="*/ 1918706 w 1918706"/>
                  <a:gd name="connsiteY8" fmla="*/ 2088805 h 5633118"/>
                  <a:gd name="connsiteX9" fmla="*/ 1918706 w 1918706"/>
                  <a:gd name="connsiteY9" fmla="*/ 2503632 h 5633118"/>
                  <a:gd name="connsiteX10" fmla="*/ 1918706 w 1918706"/>
                  <a:gd name="connsiteY10" fmla="*/ 2511407 h 5633118"/>
                  <a:gd name="connsiteX11" fmla="*/ 1918706 w 1918706"/>
                  <a:gd name="connsiteY11" fmla="*/ 2567616 h 5633118"/>
                  <a:gd name="connsiteX12" fmla="*/ 1918706 w 1918706"/>
                  <a:gd name="connsiteY12" fmla="*/ 2583313 h 5633118"/>
                  <a:gd name="connsiteX13" fmla="*/ 1918706 w 1918706"/>
                  <a:gd name="connsiteY13" fmla="*/ 2591087 h 5633118"/>
                  <a:gd name="connsiteX14" fmla="*/ 1918706 w 1918706"/>
                  <a:gd name="connsiteY14" fmla="*/ 2992759 h 5633118"/>
                  <a:gd name="connsiteX15" fmla="*/ 1918706 w 1918706"/>
                  <a:gd name="connsiteY15" fmla="*/ 3005914 h 5633118"/>
                  <a:gd name="connsiteX16" fmla="*/ 1918706 w 1918706"/>
                  <a:gd name="connsiteY16" fmla="*/ 3013688 h 5633118"/>
                  <a:gd name="connsiteX17" fmla="*/ 1918706 w 1918706"/>
                  <a:gd name="connsiteY17" fmla="*/ 3085594 h 5633118"/>
                  <a:gd name="connsiteX18" fmla="*/ 1918706 w 1918706"/>
                  <a:gd name="connsiteY18" fmla="*/ 3093368 h 5633118"/>
                  <a:gd name="connsiteX19" fmla="*/ 1918706 w 1918706"/>
                  <a:gd name="connsiteY19" fmla="*/ 3487266 h 5633118"/>
                  <a:gd name="connsiteX20" fmla="*/ 1918706 w 1918706"/>
                  <a:gd name="connsiteY20" fmla="*/ 3508195 h 5633118"/>
                  <a:gd name="connsiteX21" fmla="*/ 1918706 w 1918706"/>
                  <a:gd name="connsiteY21" fmla="*/ 3515969 h 5633118"/>
                  <a:gd name="connsiteX22" fmla="*/ 1918706 w 1918706"/>
                  <a:gd name="connsiteY22" fmla="*/ 3574721 h 5633118"/>
                  <a:gd name="connsiteX23" fmla="*/ 1918706 w 1918706"/>
                  <a:gd name="connsiteY23" fmla="*/ 3587875 h 5633118"/>
                  <a:gd name="connsiteX24" fmla="*/ 1918706 w 1918706"/>
                  <a:gd name="connsiteY24" fmla="*/ 3595649 h 5633118"/>
                  <a:gd name="connsiteX25" fmla="*/ 1918706 w 1918706"/>
                  <a:gd name="connsiteY25" fmla="*/ 3997322 h 5633118"/>
                  <a:gd name="connsiteX26" fmla="*/ 1918706 w 1918706"/>
                  <a:gd name="connsiteY26" fmla="*/ 4010476 h 5633118"/>
                  <a:gd name="connsiteX27" fmla="*/ 1918706 w 1918706"/>
                  <a:gd name="connsiteY27" fmla="*/ 4069228 h 5633118"/>
                  <a:gd name="connsiteX28" fmla="*/ 1918706 w 1918706"/>
                  <a:gd name="connsiteY28" fmla="*/ 4090156 h 5633118"/>
                  <a:gd name="connsiteX29" fmla="*/ 1918706 w 1918706"/>
                  <a:gd name="connsiteY29" fmla="*/ 4097931 h 5633118"/>
                  <a:gd name="connsiteX30" fmla="*/ 1918706 w 1918706"/>
                  <a:gd name="connsiteY30" fmla="*/ 4491829 h 5633118"/>
                  <a:gd name="connsiteX31" fmla="*/ 1918706 w 1918706"/>
                  <a:gd name="connsiteY31" fmla="*/ 4579284 h 5633118"/>
                  <a:gd name="connsiteX32" fmla="*/ 1918706 w 1918706"/>
                  <a:gd name="connsiteY32" fmla="*/ 4592438 h 5633118"/>
                  <a:gd name="connsiteX33" fmla="*/ 1918706 w 1918706"/>
                  <a:gd name="connsiteY33" fmla="*/ 5073791 h 5633118"/>
                  <a:gd name="connsiteX34" fmla="*/ 959355 w 1918706"/>
                  <a:gd name="connsiteY34" fmla="*/ 5633118 h 5633118"/>
                  <a:gd name="connsiteX35" fmla="*/ 0 w 1918706"/>
                  <a:gd name="connsiteY35" fmla="*/ 5073791 h 5633118"/>
                  <a:gd name="connsiteX36" fmla="*/ 0 w 1918706"/>
                  <a:gd name="connsiteY36" fmla="*/ 4592438 h 5633118"/>
                  <a:gd name="connsiteX37" fmla="*/ 0 w 1918706"/>
                  <a:gd name="connsiteY37" fmla="*/ 4579284 h 5633118"/>
                  <a:gd name="connsiteX38" fmla="*/ 0 w 1918706"/>
                  <a:gd name="connsiteY38" fmla="*/ 4491829 h 5633118"/>
                  <a:gd name="connsiteX39" fmla="*/ 0 w 1918706"/>
                  <a:gd name="connsiteY39" fmla="*/ 4097931 h 5633118"/>
                  <a:gd name="connsiteX40" fmla="*/ 0 w 1918706"/>
                  <a:gd name="connsiteY40" fmla="*/ 4090156 h 5633118"/>
                  <a:gd name="connsiteX41" fmla="*/ 0 w 1918706"/>
                  <a:gd name="connsiteY41" fmla="*/ 4069228 h 5633118"/>
                  <a:gd name="connsiteX42" fmla="*/ 0 w 1918706"/>
                  <a:gd name="connsiteY42" fmla="*/ 4010476 h 5633118"/>
                  <a:gd name="connsiteX43" fmla="*/ 0 w 1918706"/>
                  <a:gd name="connsiteY43" fmla="*/ 3997322 h 5633118"/>
                  <a:gd name="connsiteX44" fmla="*/ 0 w 1918706"/>
                  <a:gd name="connsiteY44" fmla="*/ 3595649 h 5633118"/>
                  <a:gd name="connsiteX45" fmla="*/ 0 w 1918706"/>
                  <a:gd name="connsiteY45" fmla="*/ 3587875 h 5633118"/>
                  <a:gd name="connsiteX46" fmla="*/ 0 w 1918706"/>
                  <a:gd name="connsiteY46" fmla="*/ 3574721 h 5633118"/>
                  <a:gd name="connsiteX47" fmla="*/ 0 w 1918706"/>
                  <a:gd name="connsiteY47" fmla="*/ 3515969 h 5633118"/>
                  <a:gd name="connsiteX48" fmla="*/ 0 w 1918706"/>
                  <a:gd name="connsiteY48" fmla="*/ 3508195 h 5633118"/>
                  <a:gd name="connsiteX49" fmla="*/ 0 w 1918706"/>
                  <a:gd name="connsiteY49" fmla="*/ 3487266 h 5633118"/>
                  <a:gd name="connsiteX50" fmla="*/ 0 w 1918706"/>
                  <a:gd name="connsiteY5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73109 h 5633118"/>
                  <a:gd name="connsiteX6" fmla="*/ 1918706 w 1918706"/>
                  <a:gd name="connsiteY6" fmla="*/ 2081031 h 5633118"/>
                  <a:gd name="connsiteX7" fmla="*/ 1918706 w 1918706"/>
                  <a:gd name="connsiteY7" fmla="*/ 2088805 h 5633118"/>
                  <a:gd name="connsiteX8" fmla="*/ 1918706 w 1918706"/>
                  <a:gd name="connsiteY8" fmla="*/ 2503632 h 5633118"/>
                  <a:gd name="connsiteX9" fmla="*/ 1918706 w 1918706"/>
                  <a:gd name="connsiteY9" fmla="*/ 2511407 h 5633118"/>
                  <a:gd name="connsiteX10" fmla="*/ 1918706 w 1918706"/>
                  <a:gd name="connsiteY10" fmla="*/ 2567616 h 5633118"/>
                  <a:gd name="connsiteX11" fmla="*/ 1918706 w 1918706"/>
                  <a:gd name="connsiteY11" fmla="*/ 2583313 h 5633118"/>
                  <a:gd name="connsiteX12" fmla="*/ 1918706 w 1918706"/>
                  <a:gd name="connsiteY12" fmla="*/ 2591087 h 5633118"/>
                  <a:gd name="connsiteX13" fmla="*/ 1918706 w 1918706"/>
                  <a:gd name="connsiteY13" fmla="*/ 2992759 h 5633118"/>
                  <a:gd name="connsiteX14" fmla="*/ 1918706 w 1918706"/>
                  <a:gd name="connsiteY14" fmla="*/ 3005914 h 5633118"/>
                  <a:gd name="connsiteX15" fmla="*/ 1918706 w 1918706"/>
                  <a:gd name="connsiteY15" fmla="*/ 3013688 h 5633118"/>
                  <a:gd name="connsiteX16" fmla="*/ 1918706 w 1918706"/>
                  <a:gd name="connsiteY16" fmla="*/ 3085594 h 5633118"/>
                  <a:gd name="connsiteX17" fmla="*/ 1918706 w 1918706"/>
                  <a:gd name="connsiteY17" fmla="*/ 3093368 h 5633118"/>
                  <a:gd name="connsiteX18" fmla="*/ 1918706 w 1918706"/>
                  <a:gd name="connsiteY18" fmla="*/ 3487266 h 5633118"/>
                  <a:gd name="connsiteX19" fmla="*/ 1918706 w 1918706"/>
                  <a:gd name="connsiteY19" fmla="*/ 3508195 h 5633118"/>
                  <a:gd name="connsiteX20" fmla="*/ 1918706 w 1918706"/>
                  <a:gd name="connsiteY20" fmla="*/ 3515969 h 5633118"/>
                  <a:gd name="connsiteX21" fmla="*/ 1918706 w 1918706"/>
                  <a:gd name="connsiteY21" fmla="*/ 3574721 h 5633118"/>
                  <a:gd name="connsiteX22" fmla="*/ 1918706 w 1918706"/>
                  <a:gd name="connsiteY22" fmla="*/ 3587875 h 5633118"/>
                  <a:gd name="connsiteX23" fmla="*/ 1918706 w 1918706"/>
                  <a:gd name="connsiteY23" fmla="*/ 3595649 h 5633118"/>
                  <a:gd name="connsiteX24" fmla="*/ 1918706 w 1918706"/>
                  <a:gd name="connsiteY24" fmla="*/ 3997322 h 5633118"/>
                  <a:gd name="connsiteX25" fmla="*/ 1918706 w 1918706"/>
                  <a:gd name="connsiteY25" fmla="*/ 4010476 h 5633118"/>
                  <a:gd name="connsiteX26" fmla="*/ 1918706 w 1918706"/>
                  <a:gd name="connsiteY26" fmla="*/ 4069228 h 5633118"/>
                  <a:gd name="connsiteX27" fmla="*/ 1918706 w 1918706"/>
                  <a:gd name="connsiteY27" fmla="*/ 4090156 h 5633118"/>
                  <a:gd name="connsiteX28" fmla="*/ 1918706 w 1918706"/>
                  <a:gd name="connsiteY28" fmla="*/ 4097931 h 5633118"/>
                  <a:gd name="connsiteX29" fmla="*/ 1918706 w 1918706"/>
                  <a:gd name="connsiteY29" fmla="*/ 4491829 h 5633118"/>
                  <a:gd name="connsiteX30" fmla="*/ 1918706 w 1918706"/>
                  <a:gd name="connsiteY30" fmla="*/ 4579284 h 5633118"/>
                  <a:gd name="connsiteX31" fmla="*/ 1918706 w 1918706"/>
                  <a:gd name="connsiteY31" fmla="*/ 4592438 h 5633118"/>
                  <a:gd name="connsiteX32" fmla="*/ 1918706 w 1918706"/>
                  <a:gd name="connsiteY32" fmla="*/ 5073791 h 5633118"/>
                  <a:gd name="connsiteX33" fmla="*/ 959355 w 1918706"/>
                  <a:gd name="connsiteY33" fmla="*/ 5633118 h 5633118"/>
                  <a:gd name="connsiteX34" fmla="*/ 0 w 1918706"/>
                  <a:gd name="connsiteY34" fmla="*/ 5073791 h 5633118"/>
                  <a:gd name="connsiteX35" fmla="*/ 0 w 1918706"/>
                  <a:gd name="connsiteY35" fmla="*/ 4592438 h 5633118"/>
                  <a:gd name="connsiteX36" fmla="*/ 0 w 1918706"/>
                  <a:gd name="connsiteY36" fmla="*/ 4579284 h 5633118"/>
                  <a:gd name="connsiteX37" fmla="*/ 0 w 1918706"/>
                  <a:gd name="connsiteY37" fmla="*/ 4491829 h 5633118"/>
                  <a:gd name="connsiteX38" fmla="*/ 0 w 1918706"/>
                  <a:gd name="connsiteY38" fmla="*/ 4097931 h 5633118"/>
                  <a:gd name="connsiteX39" fmla="*/ 0 w 1918706"/>
                  <a:gd name="connsiteY39" fmla="*/ 4090156 h 5633118"/>
                  <a:gd name="connsiteX40" fmla="*/ 0 w 1918706"/>
                  <a:gd name="connsiteY40" fmla="*/ 4069228 h 5633118"/>
                  <a:gd name="connsiteX41" fmla="*/ 0 w 1918706"/>
                  <a:gd name="connsiteY41" fmla="*/ 4010476 h 5633118"/>
                  <a:gd name="connsiteX42" fmla="*/ 0 w 1918706"/>
                  <a:gd name="connsiteY42" fmla="*/ 3997322 h 5633118"/>
                  <a:gd name="connsiteX43" fmla="*/ 0 w 1918706"/>
                  <a:gd name="connsiteY43" fmla="*/ 3595649 h 5633118"/>
                  <a:gd name="connsiteX44" fmla="*/ 0 w 1918706"/>
                  <a:gd name="connsiteY44" fmla="*/ 3587875 h 5633118"/>
                  <a:gd name="connsiteX45" fmla="*/ 0 w 1918706"/>
                  <a:gd name="connsiteY45" fmla="*/ 3574721 h 5633118"/>
                  <a:gd name="connsiteX46" fmla="*/ 0 w 1918706"/>
                  <a:gd name="connsiteY46" fmla="*/ 3515969 h 5633118"/>
                  <a:gd name="connsiteX47" fmla="*/ 0 w 1918706"/>
                  <a:gd name="connsiteY47" fmla="*/ 3508195 h 5633118"/>
                  <a:gd name="connsiteX48" fmla="*/ 0 w 1918706"/>
                  <a:gd name="connsiteY48" fmla="*/ 3487266 h 5633118"/>
                  <a:gd name="connsiteX49" fmla="*/ 0 w 1918706"/>
                  <a:gd name="connsiteY4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73109 h 5633118"/>
                  <a:gd name="connsiteX5" fmla="*/ 1918706 w 1918706"/>
                  <a:gd name="connsiteY5" fmla="*/ 2081031 h 5633118"/>
                  <a:gd name="connsiteX6" fmla="*/ 1918706 w 1918706"/>
                  <a:gd name="connsiteY6" fmla="*/ 2088805 h 5633118"/>
                  <a:gd name="connsiteX7" fmla="*/ 1918706 w 1918706"/>
                  <a:gd name="connsiteY7" fmla="*/ 2503632 h 5633118"/>
                  <a:gd name="connsiteX8" fmla="*/ 1918706 w 1918706"/>
                  <a:gd name="connsiteY8" fmla="*/ 2511407 h 5633118"/>
                  <a:gd name="connsiteX9" fmla="*/ 1918706 w 1918706"/>
                  <a:gd name="connsiteY9" fmla="*/ 2567616 h 5633118"/>
                  <a:gd name="connsiteX10" fmla="*/ 1918706 w 1918706"/>
                  <a:gd name="connsiteY10" fmla="*/ 2583313 h 5633118"/>
                  <a:gd name="connsiteX11" fmla="*/ 1918706 w 1918706"/>
                  <a:gd name="connsiteY11" fmla="*/ 2591087 h 5633118"/>
                  <a:gd name="connsiteX12" fmla="*/ 1918706 w 1918706"/>
                  <a:gd name="connsiteY12" fmla="*/ 2992759 h 5633118"/>
                  <a:gd name="connsiteX13" fmla="*/ 1918706 w 1918706"/>
                  <a:gd name="connsiteY13" fmla="*/ 3005914 h 5633118"/>
                  <a:gd name="connsiteX14" fmla="*/ 1918706 w 1918706"/>
                  <a:gd name="connsiteY14" fmla="*/ 3013688 h 5633118"/>
                  <a:gd name="connsiteX15" fmla="*/ 1918706 w 1918706"/>
                  <a:gd name="connsiteY15" fmla="*/ 3085594 h 5633118"/>
                  <a:gd name="connsiteX16" fmla="*/ 1918706 w 1918706"/>
                  <a:gd name="connsiteY16" fmla="*/ 3093368 h 5633118"/>
                  <a:gd name="connsiteX17" fmla="*/ 1918706 w 1918706"/>
                  <a:gd name="connsiteY17" fmla="*/ 3487266 h 5633118"/>
                  <a:gd name="connsiteX18" fmla="*/ 1918706 w 1918706"/>
                  <a:gd name="connsiteY18" fmla="*/ 3508195 h 5633118"/>
                  <a:gd name="connsiteX19" fmla="*/ 1918706 w 1918706"/>
                  <a:gd name="connsiteY19" fmla="*/ 3515969 h 5633118"/>
                  <a:gd name="connsiteX20" fmla="*/ 1918706 w 1918706"/>
                  <a:gd name="connsiteY20" fmla="*/ 3574721 h 5633118"/>
                  <a:gd name="connsiteX21" fmla="*/ 1918706 w 1918706"/>
                  <a:gd name="connsiteY21" fmla="*/ 3587875 h 5633118"/>
                  <a:gd name="connsiteX22" fmla="*/ 1918706 w 1918706"/>
                  <a:gd name="connsiteY22" fmla="*/ 3595649 h 5633118"/>
                  <a:gd name="connsiteX23" fmla="*/ 1918706 w 1918706"/>
                  <a:gd name="connsiteY23" fmla="*/ 3997322 h 5633118"/>
                  <a:gd name="connsiteX24" fmla="*/ 1918706 w 1918706"/>
                  <a:gd name="connsiteY24" fmla="*/ 4010476 h 5633118"/>
                  <a:gd name="connsiteX25" fmla="*/ 1918706 w 1918706"/>
                  <a:gd name="connsiteY25" fmla="*/ 4069228 h 5633118"/>
                  <a:gd name="connsiteX26" fmla="*/ 1918706 w 1918706"/>
                  <a:gd name="connsiteY26" fmla="*/ 4090156 h 5633118"/>
                  <a:gd name="connsiteX27" fmla="*/ 1918706 w 1918706"/>
                  <a:gd name="connsiteY27" fmla="*/ 4097931 h 5633118"/>
                  <a:gd name="connsiteX28" fmla="*/ 1918706 w 1918706"/>
                  <a:gd name="connsiteY28" fmla="*/ 4491829 h 5633118"/>
                  <a:gd name="connsiteX29" fmla="*/ 1918706 w 1918706"/>
                  <a:gd name="connsiteY29" fmla="*/ 4579284 h 5633118"/>
                  <a:gd name="connsiteX30" fmla="*/ 1918706 w 1918706"/>
                  <a:gd name="connsiteY30" fmla="*/ 4592438 h 5633118"/>
                  <a:gd name="connsiteX31" fmla="*/ 1918706 w 1918706"/>
                  <a:gd name="connsiteY31" fmla="*/ 5073791 h 5633118"/>
                  <a:gd name="connsiteX32" fmla="*/ 959355 w 1918706"/>
                  <a:gd name="connsiteY32" fmla="*/ 5633118 h 5633118"/>
                  <a:gd name="connsiteX33" fmla="*/ 0 w 1918706"/>
                  <a:gd name="connsiteY33" fmla="*/ 5073791 h 5633118"/>
                  <a:gd name="connsiteX34" fmla="*/ 0 w 1918706"/>
                  <a:gd name="connsiteY34" fmla="*/ 4592438 h 5633118"/>
                  <a:gd name="connsiteX35" fmla="*/ 0 w 1918706"/>
                  <a:gd name="connsiteY35" fmla="*/ 4579284 h 5633118"/>
                  <a:gd name="connsiteX36" fmla="*/ 0 w 1918706"/>
                  <a:gd name="connsiteY36" fmla="*/ 4491829 h 5633118"/>
                  <a:gd name="connsiteX37" fmla="*/ 0 w 1918706"/>
                  <a:gd name="connsiteY37" fmla="*/ 4097931 h 5633118"/>
                  <a:gd name="connsiteX38" fmla="*/ 0 w 1918706"/>
                  <a:gd name="connsiteY38" fmla="*/ 4090156 h 5633118"/>
                  <a:gd name="connsiteX39" fmla="*/ 0 w 1918706"/>
                  <a:gd name="connsiteY39" fmla="*/ 4069228 h 5633118"/>
                  <a:gd name="connsiteX40" fmla="*/ 0 w 1918706"/>
                  <a:gd name="connsiteY40" fmla="*/ 4010476 h 5633118"/>
                  <a:gd name="connsiteX41" fmla="*/ 0 w 1918706"/>
                  <a:gd name="connsiteY41" fmla="*/ 3997322 h 5633118"/>
                  <a:gd name="connsiteX42" fmla="*/ 0 w 1918706"/>
                  <a:gd name="connsiteY42" fmla="*/ 3595649 h 5633118"/>
                  <a:gd name="connsiteX43" fmla="*/ 0 w 1918706"/>
                  <a:gd name="connsiteY43" fmla="*/ 3587875 h 5633118"/>
                  <a:gd name="connsiteX44" fmla="*/ 0 w 1918706"/>
                  <a:gd name="connsiteY44" fmla="*/ 3574721 h 5633118"/>
                  <a:gd name="connsiteX45" fmla="*/ 0 w 1918706"/>
                  <a:gd name="connsiteY45" fmla="*/ 3515969 h 5633118"/>
                  <a:gd name="connsiteX46" fmla="*/ 0 w 1918706"/>
                  <a:gd name="connsiteY46" fmla="*/ 3508195 h 5633118"/>
                  <a:gd name="connsiteX47" fmla="*/ 0 w 1918706"/>
                  <a:gd name="connsiteY47" fmla="*/ 3487266 h 5633118"/>
                  <a:gd name="connsiteX48" fmla="*/ 0 w 1918706"/>
                  <a:gd name="connsiteY4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088805 h 5633118"/>
                  <a:gd name="connsiteX6" fmla="*/ 1918706 w 1918706"/>
                  <a:gd name="connsiteY6" fmla="*/ 2503632 h 5633118"/>
                  <a:gd name="connsiteX7" fmla="*/ 1918706 w 1918706"/>
                  <a:gd name="connsiteY7" fmla="*/ 2511407 h 5633118"/>
                  <a:gd name="connsiteX8" fmla="*/ 1918706 w 1918706"/>
                  <a:gd name="connsiteY8" fmla="*/ 2567616 h 5633118"/>
                  <a:gd name="connsiteX9" fmla="*/ 1918706 w 1918706"/>
                  <a:gd name="connsiteY9" fmla="*/ 2583313 h 5633118"/>
                  <a:gd name="connsiteX10" fmla="*/ 1918706 w 1918706"/>
                  <a:gd name="connsiteY10" fmla="*/ 2591087 h 5633118"/>
                  <a:gd name="connsiteX11" fmla="*/ 1918706 w 1918706"/>
                  <a:gd name="connsiteY11" fmla="*/ 2992759 h 5633118"/>
                  <a:gd name="connsiteX12" fmla="*/ 1918706 w 1918706"/>
                  <a:gd name="connsiteY12" fmla="*/ 3005914 h 5633118"/>
                  <a:gd name="connsiteX13" fmla="*/ 1918706 w 1918706"/>
                  <a:gd name="connsiteY13" fmla="*/ 3013688 h 5633118"/>
                  <a:gd name="connsiteX14" fmla="*/ 1918706 w 1918706"/>
                  <a:gd name="connsiteY14" fmla="*/ 3085594 h 5633118"/>
                  <a:gd name="connsiteX15" fmla="*/ 1918706 w 1918706"/>
                  <a:gd name="connsiteY15" fmla="*/ 3093368 h 5633118"/>
                  <a:gd name="connsiteX16" fmla="*/ 1918706 w 1918706"/>
                  <a:gd name="connsiteY16" fmla="*/ 3487266 h 5633118"/>
                  <a:gd name="connsiteX17" fmla="*/ 1918706 w 1918706"/>
                  <a:gd name="connsiteY17" fmla="*/ 3508195 h 5633118"/>
                  <a:gd name="connsiteX18" fmla="*/ 1918706 w 1918706"/>
                  <a:gd name="connsiteY18" fmla="*/ 3515969 h 5633118"/>
                  <a:gd name="connsiteX19" fmla="*/ 1918706 w 1918706"/>
                  <a:gd name="connsiteY19" fmla="*/ 3574721 h 5633118"/>
                  <a:gd name="connsiteX20" fmla="*/ 1918706 w 1918706"/>
                  <a:gd name="connsiteY20" fmla="*/ 3587875 h 5633118"/>
                  <a:gd name="connsiteX21" fmla="*/ 1918706 w 1918706"/>
                  <a:gd name="connsiteY21" fmla="*/ 3595649 h 5633118"/>
                  <a:gd name="connsiteX22" fmla="*/ 1918706 w 1918706"/>
                  <a:gd name="connsiteY22" fmla="*/ 3997322 h 5633118"/>
                  <a:gd name="connsiteX23" fmla="*/ 1918706 w 1918706"/>
                  <a:gd name="connsiteY23" fmla="*/ 4010476 h 5633118"/>
                  <a:gd name="connsiteX24" fmla="*/ 1918706 w 1918706"/>
                  <a:gd name="connsiteY24" fmla="*/ 4069228 h 5633118"/>
                  <a:gd name="connsiteX25" fmla="*/ 1918706 w 1918706"/>
                  <a:gd name="connsiteY25" fmla="*/ 4090156 h 5633118"/>
                  <a:gd name="connsiteX26" fmla="*/ 1918706 w 1918706"/>
                  <a:gd name="connsiteY26" fmla="*/ 4097931 h 5633118"/>
                  <a:gd name="connsiteX27" fmla="*/ 1918706 w 1918706"/>
                  <a:gd name="connsiteY27" fmla="*/ 4491829 h 5633118"/>
                  <a:gd name="connsiteX28" fmla="*/ 1918706 w 1918706"/>
                  <a:gd name="connsiteY28" fmla="*/ 4579284 h 5633118"/>
                  <a:gd name="connsiteX29" fmla="*/ 1918706 w 1918706"/>
                  <a:gd name="connsiteY29" fmla="*/ 4592438 h 5633118"/>
                  <a:gd name="connsiteX30" fmla="*/ 1918706 w 1918706"/>
                  <a:gd name="connsiteY30" fmla="*/ 5073791 h 5633118"/>
                  <a:gd name="connsiteX31" fmla="*/ 959355 w 1918706"/>
                  <a:gd name="connsiteY31" fmla="*/ 5633118 h 5633118"/>
                  <a:gd name="connsiteX32" fmla="*/ 0 w 1918706"/>
                  <a:gd name="connsiteY32" fmla="*/ 5073791 h 5633118"/>
                  <a:gd name="connsiteX33" fmla="*/ 0 w 1918706"/>
                  <a:gd name="connsiteY33" fmla="*/ 4592438 h 5633118"/>
                  <a:gd name="connsiteX34" fmla="*/ 0 w 1918706"/>
                  <a:gd name="connsiteY34" fmla="*/ 4579284 h 5633118"/>
                  <a:gd name="connsiteX35" fmla="*/ 0 w 1918706"/>
                  <a:gd name="connsiteY35" fmla="*/ 4491829 h 5633118"/>
                  <a:gd name="connsiteX36" fmla="*/ 0 w 1918706"/>
                  <a:gd name="connsiteY36" fmla="*/ 4097931 h 5633118"/>
                  <a:gd name="connsiteX37" fmla="*/ 0 w 1918706"/>
                  <a:gd name="connsiteY37" fmla="*/ 4090156 h 5633118"/>
                  <a:gd name="connsiteX38" fmla="*/ 0 w 1918706"/>
                  <a:gd name="connsiteY38" fmla="*/ 4069228 h 5633118"/>
                  <a:gd name="connsiteX39" fmla="*/ 0 w 1918706"/>
                  <a:gd name="connsiteY39" fmla="*/ 4010476 h 5633118"/>
                  <a:gd name="connsiteX40" fmla="*/ 0 w 1918706"/>
                  <a:gd name="connsiteY40" fmla="*/ 3997322 h 5633118"/>
                  <a:gd name="connsiteX41" fmla="*/ 0 w 1918706"/>
                  <a:gd name="connsiteY41" fmla="*/ 3595649 h 5633118"/>
                  <a:gd name="connsiteX42" fmla="*/ 0 w 1918706"/>
                  <a:gd name="connsiteY42" fmla="*/ 3587875 h 5633118"/>
                  <a:gd name="connsiteX43" fmla="*/ 0 w 1918706"/>
                  <a:gd name="connsiteY43" fmla="*/ 3574721 h 5633118"/>
                  <a:gd name="connsiteX44" fmla="*/ 0 w 1918706"/>
                  <a:gd name="connsiteY44" fmla="*/ 3515969 h 5633118"/>
                  <a:gd name="connsiteX45" fmla="*/ 0 w 1918706"/>
                  <a:gd name="connsiteY45" fmla="*/ 3508195 h 5633118"/>
                  <a:gd name="connsiteX46" fmla="*/ 0 w 1918706"/>
                  <a:gd name="connsiteY46" fmla="*/ 3487266 h 5633118"/>
                  <a:gd name="connsiteX47" fmla="*/ 0 w 1918706"/>
                  <a:gd name="connsiteY4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503632 h 5633118"/>
                  <a:gd name="connsiteX6" fmla="*/ 1918706 w 1918706"/>
                  <a:gd name="connsiteY6" fmla="*/ 2511407 h 5633118"/>
                  <a:gd name="connsiteX7" fmla="*/ 1918706 w 1918706"/>
                  <a:gd name="connsiteY7" fmla="*/ 2567616 h 5633118"/>
                  <a:gd name="connsiteX8" fmla="*/ 1918706 w 1918706"/>
                  <a:gd name="connsiteY8" fmla="*/ 2583313 h 5633118"/>
                  <a:gd name="connsiteX9" fmla="*/ 1918706 w 1918706"/>
                  <a:gd name="connsiteY9" fmla="*/ 2591087 h 5633118"/>
                  <a:gd name="connsiteX10" fmla="*/ 1918706 w 1918706"/>
                  <a:gd name="connsiteY10" fmla="*/ 2992759 h 5633118"/>
                  <a:gd name="connsiteX11" fmla="*/ 1918706 w 1918706"/>
                  <a:gd name="connsiteY11" fmla="*/ 3005914 h 5633118"/>
                  <a:gd name="connsiteX12" fmla="*/ 1918706 w 1918706"/>
                  <a:gd name="connsiteY12" fmla="*/ 3013688 h 5633118"/>
                  <a:gd name="connsiteX13" fmla="*/ 1918706 w 1918706"/>
                  <a:gd name="connsiteY13" fmla="*/ 3085594 h 5633118"/>
                  <a:gd name="connsiteX14" fmla="*/ 1918706 w 1918706"/>
                  <a:gd name="connsiteY14" fmla="*/ 3093368 h 5633118"/>
                  <a:gd name="connsiteX15" fmla="*/ 1918706 w 1918706"/>
                  <a:gd name="connsiteY15" fmla="*/ 3487266 h 5633118"/>
                  <a:gd name="connsiteX16" fmla="*/ 1918706 w 1918706"/>
                  <a:gd name="connsiteY16" fmla="*/ 3508195 h 5633118"/>
                  <a:gd name="connsiteX17" fmla="*/ 1918706 w 1918706"/>
                  <a:gd name="connsiteY17" fmla="*/ 3515969 h 5633118"/>
                  <a:gd name="connsiteX18" fmla="*/ 1918706 w 1918706"/>
                  <a:gd name="connsiteY18" fmla="*/ 3574721 h 5633118"/>
                  <a:gd name="connsiteX19" fmla="*/ 1918706 w 1918706"/>
                  <a:gd name="connsiteY19" fmla="*/ 3587875 h 5633118"/>
                  <a:gd name="connsiteX20" fmla="*/ 1918706 w 1918706"/>
                  <a:gd name="connsiteY20" fmla="*/ 3595649 h 5633118"/>
                  <a:gd name="connsiteX21" fmla="*/ 1918706 w 1918706"/>
                  <a:gd name="connsiteY21" fmla="*/ 3997322 h 5633118"/>
                  <a:gd name="connsiteX22" fmla="*/ 1918706 w 1918706"/>
                  <a:gd name="connsiteY22" fmla="*/ 4010476 h 5633118"/>
                  <a:gd name="connsiteX23" fmla="*/ 1918706 w 1918706"/>
                  <a:gd name="connsiteY23" fmla="*/ 4069228 h 5633118"/>
                  <a:gd name="connsiteX24" fmla="*/ 1918706 w 1918706"/>
                  <a:gd name="connsiteY24" fmla="*/ 4090156 h 5633118"/>
                  <a:gd name="connsiteX25" fmla="*/ 1918706 w 1918706"/>
                  <a:gd name="connsiteY25" fmla="*/ 4097931 h 5633118"/>
                  <a:gd name="connsiteX26" fmla="*/ 1918706 w 1918706"/>
                  <a:gd name="connsiteY26" fmla="*/ 4491829 h 5633118"/>
                  <a:gd name="connsiteX27" fmla="*/ 1918706 w 1918706"/>
                  <a:gd name="connsiteY27" fmla="*/ 4579284 h 5633118"/>
                  <a:gd name="connsiteX28" fmla="*/ 1918706 w 1918706"/>
                  <a:gd name="connsiteY28" fmla="*/ 4592438 h 5633118"/>
                  <a:gd name="connsiteX29" fmla="*/ 1918706 w 1918706"/>
                  <a:gd name="connsiteY29" fmla="*/ 5073791 h 5633118"/>
                  <a:gd name="connsiteX30" fmla="*/ 959355 w 1918706"/>
                  <a:gd name="connsiteY30" fmla="*/ 5633118 h 5633118"/>
                  <a:gd name="connsiteX31" fmla="*/ 0 w 1918706"/>
                  <a:gd name="connsiteY31" fmla="*/ 5073791 h 5633118"/>
                  <a:gd name="connsiteX32" fmla="*/ 0 w 1918706"/>
                  <a:gd name="connsiteY32" fmla="*/ 4592438 h 5633118"/>
                  <a:gd name="connsiteX33" fmla="*/ 0 w 1918706"/>
                  <a:gd name="connsiteY33" fmla="*/ 4579284 h 5633118"/>
                  <a:gd name="connsiteX34" fmla="*/ 0 w 1918706"/>
                  <a:gd name="connsiteY34" fmla="*/ 4491829 h 5633118"/>
                  <a:gd name="connsiteX35" fmla="*/ 0 w 1918706"/>
                  <a:gd name="connsiteY35" fmla="*/ 4097931 h 5633118"/>
                  <a:gd name="connsiteX36" fmla="*/ 0 w 1918706"/>
                  <a:gd name="connsiteY36" fmla="*/ 4090156 h 5633118"/>
                  <a:gd name="connsiteX37" fmla="*/ 0 w 1918706"/>
                  <a:gd name="connsiteY37" fmla="*/ 4069228 h 5633118"/>
                  <a:gd name="connsiteX38" fmla="*/ 0 w 1918706"/>
                  <a:gd name="connsiteY38" fmla="*/ 4010476 h 5633118"/>
                  <a:gd name="connsiteX39" fmla="*/ 0 w 1918706"/>
                  <a:gd name="connsiteY39" fmla="*/ 3997322 h 5633118"/>
                  <a:gd name="connsiteX40" fmla="*/ 0 w 1918706"/>
                  <a:gd name="connsiteY40" fmla="*/ 3595649 h 5633118"/>
                  <a:gd name="connsiteX41" fmla="*/ 0 w 1918706"/>
                  <a:gd name="connsiteY41" fmla="*/ 3587875 h 5633118"/>
                  <a:gd name="connsiteX42" fmla="*/ 0 w 1918706"/>
                  <a:gd name="connsiteY42" fmla="*/ 3574721 h 5633118"/>
                  <a:gd name="connsiteX43" fmla="*/ 0 w 1918706"/>
                  <a:gd name="connsiteY43" fmla="*/ 3515969 h 5633118"/>
                  <a:gd name="connsiteX44" fmla="*/ 0 w 1918706"/>
                  <a:gd name="connsiteY44" fmla="*/ 3508195 h 5633118"/>
                  <a:gd name="connsiteX45" fmla="*/ 0 w 1918706"/>
                  <a:gd name="connsiteY45" fmla="*/ 3487266 h 5633118"/>
                  <a:gd name="connsiteX46" fmla="*/ 0 w 1918706"/>
                  <a:gd name="connsiteY4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503632 h 5633118"/>
                  <a:gd name="connsiteX5" fmla="*/ 1918706 w 1918706"/>
                  <a:gd name="connsiteY5" fmla="*/ 2511407 h 5633118"/>
                  <a:gd name="connsiteX6" fmla="*/ 1918706 w 1918706"/>
                  <a:gd name="connsiteY6" fmla="*/ 2567616 h 5633118"/>
                  <a:gd name="connsiteX7" fmla="*/ 1918706 w 1918706"/>
                  <a:gd name="connsiteY7" fmla="*/ 2583313 h 5633118"/>
                  <a:gd name="connsiteX8" fmla="*/ 1918706 w 1918706"/>
                  <a:gd name="connsiteY8" fmla="*/ 2591087 h 5633118"/>
                  <a:gd name="connsiteX9" fmla="*/ 1918706 w 1918706"/>
                  <a:gd name="connsiteY9" fmla="*/ 2992759 h 5633118"/>
                  <a:gd name="connsiteX10" fmla="*/ 1918706 w 1918706"/>
                  <a:gd name="connsiteY10" fmla="*/ 3005914 h 5633118"/>
                  <a:gd name="connsiteX11" fmla="*/ 1918706 w 1918706"/>
                  <a:gd name="connsiteY11" fmla="*/ 3013688 h 5633118"/>
                  <a:gd name="connsiteX12" fmla="*/ 1918706 w 1918706"/>
                  <a:gd name="connsiteY12" fmla="*/ 3085594 h 5633118"/>
                  <a:gd name="connsiteX13" fmla="*/ 1918706 w 1918706"/>
                  <a:gd name="connsiteY13" fmla="*/ 3093368 h 5633118"/>
                  <a:gd name="connsiteX14" fmla="*/ 1918706 w 1918706"/>
                  <a:gd name="connsiteY14" fmla="*/ 3487266 h 5633118"/>
                  <a:gd name="connsiteX15" fmla="*/ 1918706 w 1918706"/>
                  <a:gd name="connsiteY15" fmla="*/ 3508195 h 5633118"/>
                  <a:gd name="connsiteX16" fmla="*/ 1918706 w 1918706"/>
                  <a:gd name="connsiteY16" fmla="*/ 3515969 h 5633118"/>
                  <a:gd name="connsiteX17" fmla="*/ 1918706 w 1918706"/>
                  <a:gd name="connsiteY17" fmla="*/ 3574721 h 5633118"/>
                  <a:gd name="connsiteX18" fmla="*/ 1918706 w 1918706"/>
                  <a:gd name="connsiteY18" fmla="*/ 3587875 h 5633118"/>
                  <a:gd name="connsiteX19" fmla="*/ 1918706 w 1918706"/>
                  <a:gd name="connsiteY19" fmla="*/ 3595649 h 5633118"/>
                  <a:gd name="connsiteX20" fmla="*/ 1918706 w 1918706"/>
                  <a:gd name="connsiteY20" fmla="*/ 3997322 h 5633118"/>
                  <a:gd name="connsiteX21" fmla="*/ 1918706 w 1918706"/>
                  <a:gd name="connsiteY21" fmla="*/ 4010476 h 5633118"/>
                  <a:gd name="connsiteX22" fmla="*/ 1918706 w 1918706"/>
                  <a:gd name="connsiteY22" fmla="*/ 4069228 h 5633118"/>
                  <a:gd name="connsiteX23" fmla="*/ 1918706 w 1918706"/>
                  <a:gd name="connsiteY23" fmla="*/ 4090156 h 5633118"/>
                  <a:gd name="connsiteX24" fmla="*/ 1918706 w 1918706"/>
                  <a:gd name="connsiteY24" fmla="*/ 4097931 h 5633118"/>
                  <a:gd name="connsiteX25" fmla="*/ 1918706 w 1918706"/>
                  <a:gd name="connsiteY25" fmla="*/ 4491829 h 5633118"/>
                  <a:gd name="connsiteX26" fmla="*/ 1918706 w 1918706"/>
                  <a:gd name="connsiteY26" fmla="*/ 4579284 h 5633118"/>
                  <a:gd name="connsiteX27" fmla="*/ 1918706 w 1918706"/>
                  <a:gd name="connsiteY27" fmla="*/ 4592438 h 5633118"/>
                  <a:gd name="connsiteX28" fmla="*/ 1918706 w 1918706"/>
                  <a:gd name="connsiteY28" fmla="*/ 5073791 h 5633118"/>
                  <a:gd name="connsiteX29" fmla="*/ 959355 w 1918706"/>
                  <a:gd name="connsiteY29" fmla="*/ 5633118 h 5633118"/>
                  <a:gd name="connsiteX30" fmla="*/ 0 w 1918706"/>
                  <a:gd name="connsiteY30" fmla="*/ 5073791 h 5633118"/>
                  <a:gd name="connsiteX31" fmla="*/ 0 w 1918706"/>
                  <a:gd name="connsiteY31" fmla="*/ 4592438 h 5633118"/>
                  <a:gd name="connsiteX32" fmla="*/ 0 w 1918706"/>
                  <a:gd name="connsiteY32" fmla="*/ 4579284 h 5633118"/>
                  <a:gd name="connsiteX33" fmla="*/ 0 w 1918706"/>
                  <a:gd name="connsiteY33" fmla="*/ 4491829 h 5633118"/>
                  <a:gd name="connsiteX34" fmla="*/ 0 w 1918706"/>
                  <a:gd name="connsiteY34" fmla="*/ 4097931 h 5633118"/>
                  <a:gd name="connsiteX35" fmla="*/ 0 w 1918706"/>
                  <a:gd name="connsiteY35" fmla="*/ 4090156 h 5633118"/>
                  <a:gd name="connsiteX36" fmla="*/ 0 w 1918706"/>
                  <a:gd name="connsiteY36" fmla="*/ 4069228 h 5633118"/>
                  <a:gd name="connsiteX37" fmla="*/ 0 w 1918706"/>
                  <a:gd name="connsiteY37" fmla="*/ 4010476 h 5633118"/>
                  <a:gd name="connsiteX38" fmla="*/ 0 w 1918706"/>
                  <a:gd name="connsiteY38" fmla="*/ 3997322 h 5633118"/>
                  <a:gd name="connsiteX39" fmla="*/ 0 w 1918706"/>
                  <a:gd name="connsiteY39" fmla="*/ 3595649 h 5633118"/>
                  <a:gd name="connsiteX40" fmla="*/ 0 w 1918706"/>
                  <a:gd name="connsiteY40" fmla="*/ 3587875 h 5633118"/>
                  <a:gd name="connsiteX41" fmla="*/ 0 w 1918706"/>
                  <a:gd name="connsiteY41" fmla="*/ 3574721 h 5633118"/>
                  <a:gd name="connsiteX42" fmla="*/ 0 w 1918706"/>
                  <a:gd name="connsiteY42" fmla="*/ 3515969 h 5633118"/>
                  <a:gd name="connsiteX43" fmla="*/ 0 w 1918706"/>
                  <a:gd name="connsiteY43" fmla="*/ 3508195 h 5633118"/>
                  <a:gd name="connsiteX44" fmla="*/ 0 w 1918706"/>
                  <a:gd name="connsiteY44" fmla="*/ 3487266 h 5633118"/>
                  <a:gd name="connsiteX45" fmla="*/ 0 w 1918706"/>
                  <a:gd name="connsiteY4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11407 h 5633118"/>
                  <a:gd name="connsiteX5" fmla="*/ 1918706 w 1918706"/>
                  <a:gd name="connsiteY5" fmla="*/ 2567616 h 5633118"/>
                  <a:gd name="connsiteX6" fmla="*/ 1918706 w 1918706"/>
                  <a:gd name="connsiteY6" fmla="*/ 2583313 h 5633118"/>
                  <a:gd name="connsiteX7" fmla="*/ 1918706 w 1918706"/>
                  <a:gd name="connsiteY7" fmla="*/ 2591087 h 5633118"/>
                  <a:gd name="connsiteX8" fmla="*/ 1918706 w 1918706"/>
                  <a:gd name="connsiteY8" fmla="*/ 2992759 h 5633118"/>
                  <a:gd name="connsiteX9" fmla="*/ 1918706 w 1918706"/>
                  <a:gd name="connsiteY9" fmla="*/ 3005914 h 5633118"/>
                  <a:gd name="connsiteX10" fmla="*/ 1918706 w 1918706"/>
                  <a:gd name="connsiteY10" fmla="*/ 3013688 h 5633118"/>
                  <a:gd name="connsiteX11" fmla="*/ 1918706 w 1918706"/>
                  <a:gd name="connsiteY11" fmla="*/ 3085594 h 5633118"/>
                  <a:gd name="connsiteX12" fmla="*/ 1918706 w 1918706"/>
                  <a:gd name="connsiteY12" fmla="*/ 3093368 h 5633118"/>
                  <a:gd name="connsiteX13" fmla="*/ 1918706 w 1918706"/>
                  <a:gd name="connsiteY13" fmla="*/ 3487266 h 5633118"/>
                  <a:gd name="connsiteX14" fmla="*/ 1918706 w 1918706"/>
                  <a:gd name="connsiteY14" fmla="*/ 3508195 h 5633118"/>
                  <a:gd name="connsiteX15" fmla="*/ 1918706 w 1918706"/>
                  <a:gd name="connsiteY15" fmla="*/ 3515969 h 5633118"/>
                  <a:gd name="connsiteX16" fmla="*/ 1918706 w 1918706"/>
                  <a:gd name="connsiteY16" fmla="*/ 3574721 h 5633118"/>
                  <a:gd name="connsiteX17" fmla="*/ 1918706 w 1918706"/>
                  <a:gd name="connsiteY17" fmla="*/ 3587875 h 5633118"/>
                  <a:gd name="connsiteX18" fmla="*/ 1918706 w 1918706"/>
                  <a:gd name="connsiteY18" fmla="*/ 3595649 h 5633118"/>
                  <a:gd name="connsiteX19" fmla="*/ 1918706 w 1918706"/>
                  <a:gd name="connsiteY19" fmla="*/ 3997322 h 5633118"/>
                  <a:gd name="connsiteX20" fmla="*/ 1918706 w 1918706"/>
                  <a:gd name="connsiteY20" fmla="*/ 4010476 h 5633118"/>
                  <a:gd name="connsiteX21" fmla="*/ 1918706 w 1918706"/>
                  <a:gd name="connsiteY21" fmla="*/ 4069228 h 5633118"/>
                  <a:gd name="connsiteX22" fmla="*/ 1918706 w 1918706"/>
                  <a:gd name="connsiteY22" fmla="*/ 4090156 h 5633118"/>
                  <a:gd name="connsiteX23" fmla="*/ 1918706 w 1918706"/>
                  <a:gd name="connsiteY23" fmla="*/ 4097931 h 5633118"/>
                  <a:gd name="connsiteX24" fmla="*/ 1918706 w 1918706"/>
                  <a:gd name="connsiteY24" fmla="*/ 4491829 h 5633118"/>
                  <a:gd name="connsiteX25" fmla="*/ 1918706 w 1918706"/>
                  <a:gd name="connsiteY25" fmla="*/ 4579284 h 5633118"/>
                  <a:gd name="connsiteX26" fmla="*/ 1918706 w 1918706"/>
                  <a:gd name="connsiteY26" fmla="*/ 4592438 h 5633118"/>
                  <a:gd name="connsiteX27" fmla="*/ 1918706 w 1918706"/>
                  <a:gd name="connsiteY27" fmla="*/ 5073791 h 5633118"/>
                  <a:gd name="connsiteX28" fmla="*/ 959355 w 1918706"/>
                  <a:gd name="connsiteY28" fmla="*/ 5633118 h 5633118"/>
                  <a:gd name="connsiteX29" fmla="*/ 0 w 1918706"/>
                  <a:gd name="connsiteY29" fmla="*/ 5073791 h 5633118"/>
                  <a:gd name="connsiteX30" fmla="*/ 0 w 1918706"/>
                  <a:gd name="connsiteY30" fmla="*/ 4592438 h 5633118"/>
                  <a:gd name="connsiteX31" fmla="*/ 0 w 1918706"/>
                  <a:gd name="connsiteY31" fmla="*/ 4579284 h 5633118"/>
                  <a:gd name="connsiteX32" fmla="*/ 0 w 1918706"/>
                  <a:gd name="connsiteY32" fmla="*/ 4491829 h 5633118"/>
                  <a:gd name="connsiteX33" fmla="*/ 0 w 1918706"/>
                  <a:gd name="connsiteY33" fmla="*/ 4097931 h 5633118"/>
                  <a:gd name="connsiteX34" fmla="*/ 0 w 1918706"/>
                  <a:gd name="connsiteY34" fmla="*/ 4090156 h 5633118"/>
                  <a:gd name="connsiteX35" fmla="*/ 0 w 1918706"/>
                  <a:gd name="connsiteY35" fmla="*/ 4069228 h 5633118"/>
                  <a:gd name="connsiteX36" fmla="*/ 0 w 1918706"/>
                  <a:gd name="connsiteY36" fmla="*/ 4010476 h 5633118"/>
                  <a:gd name="connsiteX37" fmla="*/ 0 w 1918706"/>
                  <a:gd name="connsiteY37" fmla="*/ 3997322 h 5633118"/>
                  <a:gd name="connsiteX38" fmla="*/ 0 w 1918706"/>
                  <a:gd name="connsiteY38" fmla="*/ 3595649 h 5633118"/>
                  <a:gd name="connsiteX39" fmla="*/ 0 w 1918706"/>
                  <a:gd name="connsiteY39" fmla="*/ 3587875 h 5633118"/>
                  <a:gd name="connsiteX40" fmla="*/ 0 w 1918706"/>
                  <a:gd name="connsiteY40" fmla="*/ 3574721 h 5633118"/>
                  <a:gd name="connsiteX41" fmla="*/ 0 w 1918706"/>
                  <a:gd name="connsiteY41" fmla="*/ 3515969 h 5633118"/>
                  <a:gd name="connsiteX42" fmla="*/ 0 w 1918706"/>
                  <a:gd name="connsiteY42" fmla="*/ 3508195 h 5633118"/>
                  <a:gd name="connsiteX43" fmla="*/ 0 w 1918706"/>
                  <a:gd name="connsiteY43" fmla="*/ 3487266 h 5633118"/>
                  <a:gd name="connsiteX44" fmla="*/ 0 w 1918706"/>
                  <a:gd name="connsiteY4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67616 h 5633118"/>
                  <a:gd name="connsiteX5" fmla="*/ 1918706 w 1918706"/>
                  <a:gd name="connsiteY5" fmla="*/ 2583313 h 5633118"/>
                  <a:gd name="connsiteX6" fmla="*/ 1918706 w 1918706"/>
                  <a:gd name="connsiteY6" fmla="*/ 2591087 h 5633118"/>
                  <a:gd name="connsiteX7" fmla="*/ 1918706 w 1918706"/>
                  <a:gd name="connsiteY7" fmla="*/ 2992759 h 5633118"/>
                  <a:gd name="connsiteX8" fmla="*/ 1918706 w 1918706"/>
                  <a:gd name="connsiteY8" fmla="*/ 3005914 h 5633118"/>
                  <a:gd name="connsiteX9" fmla="*/ 1918706 w 1918706"/>
                  <a:gd name="connsiteY9" fmla="*/ 3013688 h 5633118"/>
                  <a:gd name="connsiteX10" fmla="*/ 1918706 w 1918706"/>
                  <a:gd name="connsiteY10" fmla="*/ 3085594 h 5633118"/>
                  <a:gd name="connsiteX11" fmla="*/ 1918706 w 1918706"/>
                  <a:gd name="connsiteY11" fmla="*/ 3093368 h 5633118"/>
                  <a:gd name="connsiteX12" fmla="*/ 1918706 w 1918706"/>
                  <a:gd name="connsiteY12" fmla="*/ 3487266 h 5633118"/>
                  <a:gd name="connsiteX13" fmla="*/ 1918706 w 1918706"/>
                  <a:gd name="connsiteY13" fmla="*/ 3508195 h 5633118"/>
                  <a:gd name="connsiteX14" fmla="*/ 1918706 w 1918706"/>
                  <a:gd name="connsiteY14" fmla="*/ 3515969 h 5633118"/>
                  <a:gd name="connsiteX15" fmla="*/ 1918706 w 1918706"/>
                  <a:gd name="connsiteY15" fmla="*/ 3574721 h 5633118"/>
                  <a:gd name="connsiteX16" fmla="*/ 1918706 w 1918706"/>
                  <a:gd name="connsiteY16" fmla="*/ 3587875 h 5633118"/>
                  <a:gd name="connsiteX17" fmla="*/ 1918706 w 1918706"/>
                  <a:gd name="connsiteY17" fmla="*/ 3595649 h 5633118"/>
                  <a:gd name="connsiteX18" fmla="*/ 1918706 w 1918706"/>
                  <a:gd name="connsiteY18" fmla="*/ 3997322 h 5633118"/>
                  <a:gd name="connsiteX19" fmla="*/ 1918706 w 1918706"/>
                  <a:gd name="connsiteY19" fmla="*/ 4010476 h 5633118"/>
                  <a:gd name="connsiteX20" fmla="*/ 1918706 w 1918706"/>
                  <a:gd name="connsiteY20" fmla="*/ 4069228 h 5633118"/>
                  <a:gd name="connsiteX21" fmla="*/ 1918706 w 1918706"/>
                  <a:gd name="connsiteY21" fmla="*/ 4090156 h 5633118"/>
                  <a:gd name="connsiteX22" fmla="*/ 1918706 w 1918706"/>
                  <a:gd name="connsiteY22" fmla="*/ 4097931 h 5633118"/>
                  <a:gd name="connsiteX23" fmla="*/ 1918706 w 1918706"/>
                  <a:gd name="connsiteY23" fmla="*/ 4491829 h 5633118"/>
                  <a:gd name="connsiteX24" fmla="*/ 1918706 w 1918706"/>
                  <a:gd name="connsiteY24" fmla="*/ 4579284 h 5633118"/>
                  <a:gd name="connsiteX25" fmla="*/ 1918706 w 1918706"/>
                  <a:gd name="connsiteY25" fmla="*/ 4592438 h 5633118"/>
                  <a:gd name="connsiteX26" fmla="*/ 1918706 w 1918706"/>
                  <a:gd name="connsiteY26" fmla="*/ 5073791 h 5633118"/>
                  <a:gd name="connsiteX27" fmla="*/ 959355 w 1918706"/>
                  <a:gd name="connsiteY27" fmla="*/ 5633118 h 5633118"/>
                  <a:gd name="connsiteX28" fmla="*/ 0 w 1918706"/>
                  <a:gd name="connsiteY28" fmla="*/ 5073791 h 5633118"/>
                  <a:gd name="connsiteX29" fmla="*/ 0 w 1918706"/>
                  <a:gd name="connsiteY29" fmla="*/ 4592438 h 5633118"/>
                  <a:gd name="connsiteX30" fmla="*/ 0 w 1918706"/>
                  <a:gd name="connsiteY30" fmla="*/ 4579284 h 5633118"/>
                  <a:gd name="connsiteX31" fmla="*/ 0 w 1918706"/>
                  <a:gd name="connsiteY31" fmla="*/ 4491829 h 5633118"/>
                  <a:gd name="connsiteX32" fmla="*/ 0 w 1918706"/>
                  <a:gd name="connsiteY32" fmla="*/ 4097931 h 5633118"/>
                  <a:gd name="connsiteX33" fmla="*/ 0 w 1918706"/>
                  <a:gd name="connsiteY33" fmla="*/ 4090156 h 5633118"/>
                  <a:gd name="connsiteX34" fmla="*/ 0 w 1918706"/>
                  <a:gd name="connsiteY34" fmla="*/ 4069228 h 5633118"/>
                  <a:gd name="connsiteX35" fmla="*/ 0 w 1918706"/>
                  <a:gd name="connsiteY35" fmla="*/ 4010476 h 5633118"/>
                  <a:gd name="connsiteX36" fmla="*/ 0 w 1918706"/>
                  <a:gd name="connsiteY36" fmla="*/ 3997322 h 5633118"/>
                  <a:gd name="connsiteX37" fmla="*/ 0 w 1918706"/>
                  <a:gd name="connsiteY37" fmla="*/ 3595649 h 5633118"/>
                  <a:gd name="connsiteX38" fmla="*/ 0 w 1918706"/>
                  <a:gd name="connsiteY38" fmla="*/ 3587875 h 5633118"/>
                  <a:gd name="connsiteX39" fmla="*/ 0 w 1918706"/>
                  <a:gd name="connsiteY39" fmla="*/ 3574721 h 5633118"/>
                  <a:gd name="connsiteX40" fmla="*/ 0 w 1918706"/>
                  <a:gd name="connsiteY40" fmla="*/ 3515969 h 5633118"/>
                  <a:gd name="connsiteX41" fmla="*/ 0 w 1918706"/>
                  <a:gd name="connsiteY41" fmla="*/ 3508195 h 5633118"/>
                  <a:gd name="connsiteX42" fmla="*/ 0 w 1918706"/>
                  <a:gd name="connsiteY42" fmla="*/ 3487266 h 5633118"/>
                  <a:gd name="connsiteX43" fmla="*/ 0 w 1918706"/>
                  <a:gd name="connsiteY4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591087 h 5633118"/>
                  <a:gd name="connsiteX6" fmla="*/ 1918706 w 1918706"/>
                  <a:gd name="connsiteY6" fmla="*/ 2992759 h 5633118"/>
                  <a:gd name="connsiteX7" fmla="*/ 1918706 w 1918706"/>
                  <a:gd name="connsiteY7" fmla="*/ 3005914 h 5633118"/>
                  <a:gd name="connsiteX8" fmla="*/ 1918706 w 1918706"/>
                  <a:gd name="connsiteY8" fmla="*/ 3013688 h 5633118"/>
                  <a:gd name="connsiteX9" fmla="*/ 1918706 w 1918706"/>
                  <a:gd name="connsiteY9" fmla="*/ 3085594 h 5633118"/>
                  <a:gd name="connsiteX10" fmla="*/ 1918706 w 1918706"/>
                  <a:gd name="connsiteY10" fmla="*/ 3093368 h 5633118"/>
                  <a:gd name="connsiteX11" fmla="*/ 1918706 w 1918706"/>
                  <a:gd name="connsiteY11" fmla="*/ 3487266 h 5633118"/>
                  <a:gd name="connsiteX12" fmla="*/ 1918706 w 1918706"/>
                  <a:gd name="connsiteY12" fmla="*/ 3508195 h 5633118"/>
                  <a:gd name="connsiteX13" fmla="*/ 1918706 w 1918706"/>
                  <a:gd name="connsiteY13" fmla="*/ 3515969 h 5633118"/>
                  <a:gd name="connsiteX14" fmla="*/ 1918706 w 1918706"/>
                  <a:gd name="connsiteY14" fmla="*/ 3574721 h 5633118"/>
                  <a:gd name="connsiteX15" fmla="*/ 1918706 w 1918706"/>
                  <a:gd name="connsiteY15" fmla="*/ 3587875 h 5633118"/>
                  <a:gd name="connsiteX16" fmla="*/ 1918706 w 1918706"/>
                  <a:gd name="connsiteY16" fmla="*/ 3595649 h 5633118"/>
                  <a:gd name="connsiteX17" fmla="*/ 1918706 w 1918706"/>
                  <a:gd name="connsiteY17" fmla="*/ 3997322 h 5633118"/>
                  <a:gd name="connsiteX18" fmla="*/ 1918706 w 1918706"/>
                  <a:gd name="connsiteY18" fmla="*/ 4010476 h 5633118"/>
                  <a:gd name="connsiteX19" fmla="*/ 1918706 w 1918706"/>
                  <a:gd name="connsiteY19" fmla="*/ 4069228 h 5633118"/>
                  <a:gd name="connsiteX20" fmla="*/ 1918706 w 1918706"/>
                  <a:gd name="connsiteY20" fmla="*/ 4090156 h 5633118"/>
                  <a:gd name="connsiteX21" fmla="*/ 1918706 w 1918706"/>
                  <a:gd name="connsiteY21" fmla="*/ 4097931 h 5633118"/>
                  <a:gd name="connsiteX22" fmla="*/ 1918706 w 1918706"/>
                  <a:gd name="connsiteY22" fmla="*/ 4491829 h 5633118"/>
                  <a:gd name="connsiteX23" fmla="*/ 1918706 w 1918706"/>
                  <a:gd name="connsiteY23" fmla="*/ 4579284 h 5633118"/>
                  <a:gd name="connsiteX24" fmla="*/ 1918706 w 1918706"/>
                  <a:gd name="connsiteY24" fmla="*/ 4592438 h 5633118"/>
                  <a:gd name="connsiteX25" fmla="*/ 1918706 w 1918706"/>
                  <a:gd name="connsiteY25" fmla="*/ 5073791 h 5633118"/>
                  <a:gd name="connsiteX26" fmla="*/ 959355 w 1918706"/>
                  <a:gd name="connsiteY26" fmla="*/ 5633118 h 5633118"/>
                  <a:gd name="connsiteX27" fmla="*/ 0 w 1918706"/>
                  <a:gd name="connsiteY27" fmla="*/ 5073791 h 5633118"/>
                  <a:gd name="connsiteX28" fmla="*/ 0 w 1918706"/>
                  <a:gd name="connsiteY28" fmla="*/ 4592438 h 5633118"/>
                  <a:gd name="connsiteX29" fmla="*/ 0 w 1918706"/>
                  <a:gd name="connsiteY29" fmla="*/ 4579284 h 5633118"/>
                  <a:gd name="connsiteX30" fmla="*/ 0 w 1918706"/>
                  <a:gd name="connsiteY30" fmla="*/ 4491829 h 5633118"/>
                  <a:gd name="connsiteX31" fmla="*/ 0 w 1918706"/>
                  <a:gd name="connsiteY31" fmla="*/ 4097931 h 5633118"/>
                  <a:gd name="connsiteX32" fmla="*/ 0 w 1918706"/>
                  <a:gd name="connsiteY32" fmla="*/ 4090156 h 5633118"/>
                  <a:gd name="connsiteX33" fmla="*/ 0 w 1918706"/>
                  <a:gd name="connsiteY33" fmla="*/ 4069228 h 5633118"/>
                  <a:gd name="connsiteX34" fmla="*/ 0 w 1918706"/>
                  <a:gd name="connsiteY34" fmla="*/ 4010476 h 5633118"/>
                  <a:gd name="connsiteX35" fmla="*/ 0 w 1918706"/>
                  <a:gd name="connsiteY35" fmla="*/ 3997322 h 5633118"/>
                  <a:gd name="connsiteX36" fmla="*/ 0 w 1918706"/>
                  <a:gd name="connsiteY36" fmla="*/ 3595649 h 5633118"/>
                  <a:gd name="connsiteX37" fmla="*/ 0 w 1918706"/>
                  <a:gd name="connsiteY37" fmla="*/ 3587875 h 5633118"/>
                  <a:gd name="connsiteX38" fmla="*/ 0 w 1918706"/>
                  <a:gd name="connsiteY38" fmla="*/ 3574721 h 5633118"/>
                  <a:gd name="connsiteX39" fmla="*/ 0 w 1918706"/>
                  <a:gd name="connsiteY39" fmla="*/ 3515969 h 5633118"/>
                  <a:gd name="connsiteX40" fmla="*/ 0 w 1918706"/>
                  <a:gd name="connsiteY40" fmla="*/ 3508195 h 5633118"/>
                  <a:gd name="connsiteX41" fmla="*/ 0 w 1918706"/>
                  <a:gd name="connsiteY41" fmla="*/ 3487266 h 5633118"/>
                  <a:gd name="connsiteX42" fmla="*/ 0 w 1918706"/>
                  <a:gd name="connsiteY4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992759 h 5633118"/>
                  <a:gd name="connsiteX6" fmla="*/ 1918706 w 1918706"/>
                  <a:gd name="connsiteY6" fmla="*/ 3005914 h 5633118"/>
                  <a:gd name="connsiteX7" fmla="*/ 1918706 w 1918706"/>
                  <a:gd name="connsiteY7" fmla="*/ 3013688 h 5633118"/>
                  <a:gd name="connsiteX8" fmla="*/ 1918706 w 1918706"/>
                  <a:gd name="connsiteY8" fmla="*/ 3085594 h 5633118"/>
                  <a:gd name="connsiteX9" fmla="*/ 1918706 w 1918706"/>
                  <a:gd name="connsiteY9" fmla="*/ 3093368 h 5633118"/>
                  <a:gd name="connsiteX10" fmla="*/ 1918706 w 1918706"/>
                  <a:gd name="connsiteY10" fmla="*/ 3487266 h 5633118"/>
                  <a:gd name="connsiteX11" fmla="*/ 1918706 w 1918706"/>
                  <a:gd name="connsiteY11" fmla="*/ 3508195 h 5633118"/>
                  <a:gd name="connsiteX12" fmla="*/ 1918706 w 1918706"/>
                  <a:gd name="connsiteY12" fmla="*/ 3515969 h 5633118"/>
                  <a:gd name="connsiteX13" fmla="*/ 1918706 w 1918706"/>
                  <a:gd name="connsiteY13" fmla="*/ 3574721 h 5633118"/>
                  <a:gd name="connsiteX14" fmla="*/ 1918706 w 1918706"/>
                  <a:gd name="connsiteY14" fmla="*/ 3587875 h 5633118"/>
                  <a:gd name="connsiteX15" fmla="*/ 1918706 w 1918706"/>
                  <a:gd name="connsiteY15" fmla="*/ 3595649 h 5633118"/>
                  <a:gd name="connsiteX16" fmla="*/ 1918706 w 1918706"/>
                  <a:gd name="connsiteY16" fmla="*/ 3997322 h 5633118"/>
                  <a:gd name="connsiteX17" fmla="*/ 1918706 w 1918706"/>
                  <a:gd name="connsiteY17" fmla="*/ 4010476 h 5633118"/>
                  <a:gd name="connsiteX18" fmla="*/ 1918706 w 1918706"/>
                  <a:gd name="connsiteY18" fmla="*/ 4069228 h 5633118"/>
                  <a:gd name="connsiteX19" fmla="*/ 1918706 w 1918706"/>
                  <a:gd name="connsiteY19" fmla="*/ 4090156 h 5633118"/>
                  <a:gd name="connsiteX20" fmla="*/ 1918706 w 1918706"/>
                  <a:gd name="connsiteY20" fmla="*/ 4097931 h 5633118"/>
                  <a:gd name="connsiteX21" fmla="*/ 1918706 w 1918706"/>
                  <a:gd name="connsiteY21" fmla="*/ 4491829 h 5633118"/>
                  <a:gd name="connsiteX22" fmla="*/ 1918706 w 1918706"/>
                  <a:gd name="connsiteY22" fmla="*/ 4579284 h 5633118"/>
                  <a:gd name="connsiteX23" fmla="*/ 1918706 w 1918706"/>
                  <a:gd name="connsiteY23" fmla="*/ 4592438 h 5633118"/>
                  <a:gd name="connsiteX24" fmla="*/ 1918706 w 1918706"/>
                  <a:gd name="connsiteY24" fmla="*/ 5073791 h 5633118"/>
                  <a:gd name="connsiteX25" fmla="*/ 959355 w 1918706"/>
                  <a:gd name="connsiteY25" fmla="*/ 5633118 h 5633118"/>
                  <a:gd name="connsiteX26" fmla="*/ 0 w 1918706"/>
                  <a:gd name="connsiteY26" fmla="*/ 5073791 h 5633118"/>
                  <a:gd name="connsiteX27" fmla="*/ 0 w 1918706"/>
                  <a:gd name="connsiteY27" fmla="*/ 4592438 h 5633118"/>
                  <a:gd name="connsiteX28" fmla="*/ 0 w 1918706"/>
                  <a:gd name="connsiteY28" fmla="*/ 4579284 h 5633118"/>
                  <a:gd name="connsiteX29" fmla="*/ 0 w 1918706"/>
                  <a:gd name="connsiteY29" fmla="*/ 4491829 h 5633118"/>
                  <a:gd name="connsiteX30" fmla="*/ 0 w 1918706"/>
                  <a:gd name="connsiteY30" fmla="*/ 4097931 h 5633118"/>
                  <a:gd name="connsiteX31" fmla="*/ 0 w 1918706"/>
                  <a:gd name="connsiteY31" fmla="*/ 4090156 h 5633118"/>
                  <a:gd name="connsiteX32" fmla="*/ 0 w 1918706"/>
                  <a:gd name="connsiteY32" fmla="*/ 4069228 h 5633118"/>
                  <a:gd name="connsiteX33" fmla="*/ 0 w 1918706"/>
                  <a:gd name="connsiteY33" fmla="*/ 4010476 h 5633118"/>
                  <a:gd name="connsiteX34" fmla="*/ 0 w 1918706"/>
                  <a:gd name="connsiteY34" fmla="*/ 3997322 h 5633118"/>
                  <a:gd name="connsiteX35" fmla="*/ 0 w 1918706"/>
                  <a:gd name="connsiteY35" fmla="*/ 3595649 h 5633118"/>
                  <a:gd name="connsiteX36" fmla="*/ 0 w 1918706"/>
                  <a:gd name="connsiteY36" fmla="*/ 3587875 h 5633118"/>
                  <a:gd name="connsiteX37" fmla="*/ 0 w 1918706"/>
                  <a:gd name="connsiteY37" fmla="*/ 3574721 h 5633118"/>
                  <a:gd name="connsiteX38" fmla="*/ 0 w 1918706"/>
                  <a:gd name="connsiteY38" fmla="*/ 3515969 h 5633118"/>
                  <a:gd name="connsiteX39" fmla="*/ 0 w 1918706"/>
                  <a:gd name="connsiteY39" fmla="*/ 3508195 h 5633118"/>
                  <a:gd name="connsiteX40" fmla="*/ 0 w 1918706"/>
                  <a:gd name="connsiteY40" fmla="*/ 3487266 h 5633118"/>
                  <a:gd name="connsiteX41" fmla="*/ 0 w 1918706"/>
                  <a:gd name="connsiteY4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992759 h 5633118"/>
                  <a:gd name="connsiteX5" fmla="*/ 1918706 w 1918706"/>
                  <a:gd name="connsiteY5" fmla="*/ 3005914 h 5633118"/>
                  <a:gd name="connsiteX6" fmla="*/ 1918706 w 1918706"/>
                  <a:gd name="connsiteY6" fmla="*/ 3013688 h 5633118"/>
                  <a:gd name="connsiteX7" fmla="*/ 1918706 w 1918706"/>
                  <a:gd name="connsiteY7" fmla="*/ 3085594 h 5633118"/>
                  <a:gd name="connsiteX8" fmla="*/ 1918706 w 1918706"/>
                  <a:gd name="connsiteY8" fmla="*/ 3093368 h 5633118"/>
                  <a:gd name="connsiteX9" fmla="*/ 1918706 w 1918706"/>
                  <a:gd name="connsiteY9" fmla="*/ 3487266 h 5633118"/>
                  <a:gd name="connsiteX10" fmla="*/ 1918706 w 1918706"/>
                  <a:gd name="connsiteY10" fmla="*/ 3508195 h 5633118"/>
                  <a:gd name="connsiteX11" fmla="*/ 1918706 w 1918706"/>
                  <a:gd name="connsiteY11" fmla="*/ 3515969 h 5633118"/>
                  <a:gd name="connsiteX12" fmla="*/ 1918706 w 1918706"/>
                  <a:gd name="connsiteY12" fmla="*/ 3574721 h 5633118"/>
                  <a:gd name="connsiteX13" fmla="*/ 1918706 w 1918706"/>
                  <a:gd name="connsiteY13" fmla="*/ 3587875 h 5633118"/>
                  <a:gd name="connsiteX14" fmla="*/ 1918706 w 1918706"/>
                  <a:gd name="connsiteY14" fmla="*/ 3595649 h 5633118"/>
                  <a:gd name="connsiteX15" fmla="*/ 1918706 w 1918706"/>
                  <a:gd name="connsiteY15" fmla="*/ 3997322 h 5633118"/>
                  <a:gd name="connsiteX16" fmla="*/ 1918706 w 1918706"/>
                  <a:gd name="connsiteY16" fmla="*/ 4010476 h 5633118"/>
                  <a:gd name="connsiteX17" fmla="*/ 1918706 w 1918706"/>
                  <a:gd name="connsiteY17" fmla="*/ 4069228 h 5633118"/>
                  <a:gd name="connsiteX18" fmla="*/ 1918706 w 1918706"/>
                  <a:gd name="connsiteY18" fmla="*/ 4090156 h 5633118"/>
                  <a:gd name="connsiteX19" fmla="*/ 1918706 w 1918706"/>
                  <a:gd name="connsiteY19" fmla="*/ 4097931 h 5633118"/>
                  <a:gd name="connsiteX20" fmla="*/ 1918706 w 1918706"/>
                  <a:gd name="connsiteY20" fmla="*/ 4491829 h 5633118"/>
                  <a:gd name="connsiteX21" fmla="*/ 1918706 w 1918706"/>
                  <a:gd name="connsiteY21" fmla="*/ 4579284 h 5633118"/>
                  <a:gd name="connsiteX22" fmla="*/ 1918706 w 1918706"/>
                  <a:gd name="connsiteY22" fmla="*/ 4592438 h 5633118"/>
                  <a:gd name="connsiteX23" fmla="*/ 1918706 w 1918706"/>
                  <a:gd name="connsiteY23" fmla="*/ 5073791 h 5633118"/>
                  <a:gd name="connsiteX24" fmla="*/ 959355 w 1918706"/>
                  <a:gd name="connsiteY24" fmla="*/ 5633118 h 5633118"/>
                  <a:gd name="connsiteX25" fmla="*/ 0 w 1918706"/>
                  <a:gd name="connsiteY25" fmla="*/ 5073791 h 5633118"/>
                  <a:gd name="connsiteX26" fmla="*/ 0 w 1918706"/>
                  <a:gd name="connsiteY26" fmla="*/ 4592438 h 5633118"/>
                  <a:gd name="connsiteX27" fmla="*/ 0 w 1918706"/>
                  <a:gd name="connsiteY27" fmla="*/ 4579284 h 5633118"/>
                  <a:gd name="connsiteX28" fmla="*/ 0 w 1918706"/>
                  <a:gd name="connsiteY28" fmla="*/ 4491829 h 5633118"/>
                  <a:gd name="connsiteX29" fmla="*/ 0 w 1918706"/>
                  <a:gd name="connsiteY29" fmla="*/ 4097931 h 5633118"/>
                  <a:gd name="connsiteX30" fmla="*/ 0 w 1918706"/>
                  <a:gd name="connsiteY30" fmla="*/ 4090156 h 5633118"/>
                  <a:gd name="connsiteX31" fmla="*/ 0 w 1918706"/>
                  <a:gd name="connsiteY31" fmla="*/ 4069228 h 5633118"/>
                  <a:gd name="connsiteX32" fmla="*/ 0 w 1918706"/>
                  <a:gd name="connsiteY32" fmla="*/ 4010476 h 5633118"/>
                  <a:gd name="connsiteX33" fmla="*/ 0 w 1918706"/>
                  <a:gd name="connsiteY33" fmla="*/ 3997322 h 5633118"/>
                  <a:gd name="connsiteX34" fmla="*/ 0 w 1918706"/>
                  <a:gd name="connsiteY34" fmla="*/ 3595649 h 5633118"/>
                  <a:gd name="connsiteX35" fmla="*/ 0 w 1918706"/>
                  <a:gd name="connsiteY35" fmla="*/ 3587875 h 5633118"/>
                  <a:gd name="connsiteX36" fmla="*/ 0 w 1918706"/>
                  <a:gd name="connsiteY36" fmla="*/ 3574721 h 5633118"/>
                  <a:gd name="connsiteX37" fmla="*/ 0 w 1918706"/>
                  <a:gd name="connsiteY37" fmla="*/ 3515969 h 5633118"/>
                  <a:gd name="connsiteX38" fmla="*/ 0 w 1918706"/>
                  <a:gd name="connsiteY38" fmla="*/ 3508195 h 5633118"/>
                  <a:gd name="connsiteX39" fmla="*/ 0 w 1918706"/>
                  <a:gd name="connsiteY39" fmla="*/ 3487266 h 5633118"/>
                  <a:gd name="connsiteX40" fmla="*/ 0 w 1918706"/>
                  <a:gd name="connsiteY4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13688 h 5633118"/>
                  <a:gd name="connsiteX6" fmla="*/ 1918706 w 1918706"/>
                  <a:gd name="connsiteY6" fmla="*/ 3085594 h 5633118"/>
                  <a:gd name="connsiteX7" fmla="*/ 1918706 w 1918706"/>
                  <a:gd name="connsiteY7" fmla="*/ 3093368 h 5633118"/>
                  <a:gd name="connsiteX8" fmla="*/ 1918706 w 1918706"/>
                  <a:gd name="connsiteY8" fmla="*/ 3487266 h 5633118"/>
                  <a:gd name="connsiteX9" fmla="*/ 1918706 w 1918706"/>
                  <a:gd name="connsiteY9" fmla="*/ 3508195 h 5633118"/>
                  <a:gd name="connsiteX10" fmla="*/ 1918706 w 1918706"/>
                  <a:gd name="connsiteY10" fmla="*/ 3515969 h 5633118"/>
                  <a:gd name="connsiteX11" fmla="*/ 1918706 w 1918706"/>
                  <a:gd name="connsiteY11" fmla="*/ 3574721 h 5633118"/>
                  <a:gd name="connsiteX12" fmla="*/ 1918706 w 1918706"/>
                  <a:gd name="connsiteY12" fmla="*/ 3587875 h 5633118"/>
                  <a:gd name="connsiteX13" fmla="*/ 1918706 w 1918706"/>
                  <a:gd name="connsiteY13" fmla="*/ 3595649 h 5633118"/>
                  <a:gd name="connsiteX14" fmla="*/ 1918706 w 1918706"/>
                  <a:gd name="connsiteY14" fmla="*/ 3997322 h 5633118"/>
                  <a:gd name="connsiteX15" fmla="*/ 1918706 w 1918706"/>
                  <a:gd name="connsiteY15" fmla="*/ 4010476 h 5633118"/>
                  <a:gd name="connsiteX16" fmla="*/ 1918706 w 1918706"/>
                  <a:gd name="connsiteY16" fmla="*/ 4069228 h 5633118"/>
                  <a:gd name="connsiteX17" fmla="*/ 1918706 w 1918706"/>
                  <a:gd name="connsiteY17" fmla="*/ 4090156 h 5633118"/>
                  <a:gd name="connsiteX18" fmla="*/ 1918706 w 1918706"/>
                  <a:gd name="connsiteY18" fmla="*/ 4097931 h 5633118"/>
                  <a:gd name="connsiteX19" fmla="*/ 1918706 w 1918706"/>
                  <a:gd name="connsiteY19" fmla="*/ 4491829 h 5633118"/>
                  <a:gd name="connsiteX20" fmla="*/ 1918706 w 1918706"/>
                  <a:gd name="connsiteY20" fmla="*/ 4579284 h 5633118"/>
                  <a:gd name="connsiteX21" fmla="*/ 1918706 w 1918706"/>
                  <a:gd name="connsiteY21" fmla="*/ 4592438 h 5633118"/>
                  <a:gd name="connsiteX22" fmla="*/ 1918706 w 1918706"/>
                  <a:gd name="connsiteY22" fmla="*/ 5073791 h 5633118"/>
                  <a:gd name="connsiteX23" fmla="*/ 959355 w 1918706"/>
                  <a:gd name="connsiteY23" fmla="*/ 5633118 h 5633118"/>
                  <a:gd name="connsiteX24" fmla="*/ 0 w 1918706"/>
                  <a:gd name="connsiteY24" fmla="*/ 5073791 h 5633118"/>
                  <a:gd name="connsiteX25" fmla="*/ 0 w 1918706"/>
                  <a:gd name="connsiteY25" fmla="*/ 4592438 h 5633118"/>
                  <a:gd name="connsiteX26" fmla="*/ 0 w 1918706"/>
                  <a:gd name="connsiteY26" fmla="*/ 4579284 h 5633118"/>
                  <a:gd name="connsiteX27" fmla="*/ 0 w 1918706"/>
                  <a:gd name="connsiteY27" fmla="*/ 4491829 h 5633118"/>
                  <a:gd name="connsiteX28" fmla="*/ 0 w 1918706"/>
                  <a:gd name="connsiteY28" fmla="*/ 4097931 h 5633118"/>
                  <a:gd name="connsiteX29" fmla="*/ 0 w 1918706"/>
                  <a:gd name="connsiteY29" fmla="*/ 4090156 h 5633118"/>
                  <a:gd name="connsiteX30" fmla="*/ 0 w 1918706"/>
                  <a:gd name="connsiteY30" fmla="*/ 4069228 h 5633118"/>
                  <a:gd name="connsiteX31" fmla="*/ 0 w 1918706"/>
                  <a:gd name="connsiteY31" fmla="*/ 4010476 h 5633118"/>
                  <a:gd name="connsiteX32" fmla="*/ 0 w 1918706"/>
                  <a:gd name="connsiteY32" fmla="*/ 3997322 h 5633118"/>
                  <a:gd name="connsiteX33" fmla="*/ 0 w 1918706"/>
                  <a:gd name="connsiteY33" fmla="*/ 3595649 h 5633118"/>
                  <a:gd name="connsiteX34" fmla="*/ 0 w 1918706"/>
                  <a:gd name="connsiteY34" fmla="*/ 3587875 h 5633118"/>
                  <a:gd name="connsiteX35" fmla="*/ 0 w 1918706"/>
                  <a:gd name="connsiteY35" fmla="*/ 3574721 h 5633118"/>
                  <a:gd name="connsiteX36" fmla="*/ 0 w 1918706"/>
                  <a:gd name="connsiteY36" fmla="*/ 3515969 h 5633118"/>
                  <a:gd name="connsiteX37" fmla="*/ 0 w 1918706"/>
                  <a:gd name="connsiteY37" fmla="*/ 3508195 h 5633118"/>
                  <a:gd name="connsiteX38" fmla="*/ 0 w 1918706"/>
                  <a:gd name="connsiteY38" fmla="*/ 3487266 h 5633118"/>
                  <a:gd name="connsiteX39" fmla="*/ 0 w 1918706"/>
                  <a:gd name="connsiteY3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85594 h 5633118"/>
                  <a:gd name="connsiteX6" fmla="*/ 1918706 w 1918706"/>
                  <a:gd name="connsiteY6" fmla="*/ 3093368 h 5633118"/>
                  <a:gd name="connsiteX7" fmla="*/ 1918706 w 1918706"/>
                  <a:gd name="connsiteY7" fmla="*/ 3487266 h 5633118"/>
                  <a:gd name="connsiteX8" fmla="*/ 1918706 w 1918706"/>
                  <a:gd name="connsiteY8" fmla="*/ 3508195 h 5633118"/>
                  <a:gd name="connsiteX9" fmla="*/ 1918706 w 1918706"/>
                  <a:gd name="connsiteY9" fmla="*/ 3515969 h 5633118"/>
                  <a:gd name="connsiteX10" fmla="*/ 1918706 w 1918706"/>
                  <a:gd name="connsiteY10" fmla="*/ 3574721 h 5633118"/>
                  <a:gd name="connsiteX11" fmla="*/ 1918706 w 1918706"/>
                  <a:gd name="connsiteY11" fmla="*/ 3587875 h 5633118"/>
                  <a:gd name="connsiteX12" fmla="*/ 1918706 w 1918706"/>
                  <a:gd name="connsiteY12" fmla="*/ 3595649 h 5633118"/>
                  <a:gd name="connsiteX13" fmla="*/ 1918706 w 1918706"/>
                  <a:gd name="connsiteY13" fmla="*/ 3997322 h 5633118"/>
                  <a:gd name="connsiteX14" fmla="*/ 1918706 w 1918706"/>
                  <a:gd name="connsiteY14" fmla="*/ 4010476 h 5633118"/>
                  <a:gd name="connsiteX15" fmla="*/ 1918706 w 1918706"/>
                  <a:gd name="connsiteY15" fmla="*/ 4069228 h 5633118"/>
                  <a:gd name="connsiteX16" fmla="*/ 1918706 w 1918706"/>
                  <a:gd name="connsiteY16" fmla="*/ 4090156 h 5633118"/>
                  <a:gd name="connsiteX17" fmla="*/ 1918706 w 1918706"/>
                  <a:gd name="connsiteY17" fmla="*/ 4097931 h 5633118"/>
                  <a:gd name="connsiteX18" fmla="*/ 1918706 w 1918706"/>
                  <a:gd name="connsiteY18" fmla="*/ 4491829 h 5633118"/>
                  <a:gd name="connsiteX19" fmla="*/ 1918706 w 1918706"/>
                  <a:gd name="connsiteY19" fmla="*/ 4579284 h 5633118"/>
                  <a:gd name="connsiteX20" fmla="*/ 1918706 w 1918706"/>
                  <a:gd name="connsiteY20" fmla="*/ 4592438 h 5633118"/>
                  <a:gd name="connsiteX21" fmla="*/ 1918706 w 1918706"/>
                  <a:gd name="connsiteY21" fmla="*/ 5073791 h 5633118"/>
                  <a:gd name="connsiteX22" fmla="*/ 959355 w 1918706"/>
                  <a:gd name="connsiteY22" fmla="*/ 5633118 h 5633118"/>
                  <a:gd name="connsiteX23" fmla="*/ 0 w 1918706"/>
                  <a:gd name="connsiteY23" fmla="*/ 5073791 h 5633118"/>
                  <a:gd name="connsiteX24" fmla="*/ 0 w 1918706"/>
                  <a:gd name="connsiteY24" fmla="*/ 4592438 h 5633118"/>
                  <a:gd name="connsiteX25" fmla="*/ 0 w 1918706"/>
                  <a:gd name="connsiteY25" fmla="*/ 4579284 h 5633118"/>
                  <a:gd name="connsiteX26" fmla="*/ 0 w 1918706"/>
                  <a:gd name="connsiteY26" fmla="*/ 4491829 h 5633118"/>
                  <a:gd name="connsiteX27" fmla="*/ 0 w 1918706"/>
                  <a:gd name="connsiteY27" fmla="*/ 4097931 h 5633118"/>
                  <a:gd name="connsiteX28" fmla="*/ 0 w 1918706"/>
                  <a:gd name="connsiteY28" fmla="*/ 4090156 h 5633118"/>
                  <a:gd name="connsiteX29" fmla="*/ 0 w 1918706"/>
                  <a:gd name="connsiteY29" fmla="*/ 4069228 h 5633118"/>
                  <a:gd name="connsiteX30" fmla="*/ 0 w 1918706"/>
                  <a:gd name="connsiteY30" fmla="*/ 4010476 h 5633118"/>
                  <a:gd name="connsiteX31" fmla="*/ 0 w 1918706"/>
                  <a:gd name="connsiteY31" fmla="*/ 3997322 h 5633118"/>
                  <a:gd name="connsiteX32" fmla="*/ 0 w 1918706"/>
                  <a:gd name="connsiteY32" fmla="*/ 3595649 h 5633118"/>
                  <a:gd name="connsiteX33" fmla="*/ 0 w 1918706"/>
                  <a:gd name="connsiteY33" fmla="*/ 3587875 h 5633118"/>
                  <a:gd name="connsiteX34" fmla="*/ 0 w 1918706"/>
                  <a:gd name="connsiteY34" fmla="*/ 3574721 h 5633118"/>
                  <a:gd name="connsiteX35" fmla="*/ 0 w 1918706"/>
                  <a:gd name="connsiteY35" fmla="*/ 3515969 h 5633118"/>
                  <a:gd name="connsiteX36" fmla="*/ 0 w 1918706"/>
                  <a:gd name="connsiteY36" fmla="*/ 3508195 h 5633118"/>
                  <a:gd name="connsiteX37" fmla="*/ 0 w 1918706"/>
                  <a:gd name="connsiteY37" fmla="*/ 3487266 h 5633118"/>
                  <a:gd name="connsiteX38" fmla="*/ 0 w 1918706"/>
                  <a:gd name="connsiteY3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85594 h 5633118"/>
                  <a:gd name="connsiteX5" fmla="*/ 1918706 w 1918706"/>
                  <a:gd name="connsiteY5" fmla="*/ 3093368 h 5633118"/>
                  <a:gd name="connsiteX6" fmla="*/ 1918706 w 1918706"/>
                  <a:gd name="connsiteY6" fmla="*/ 3487266 h 5633118"/>
                  <a:gd name="connsiteX7" fmla="*/ 1918706 w 1918706"/>
                  <a:gd name="connsiteY7" fmla="*/ 3508195 h 5633118"/>
                  <a:gd name="connsiteX8" fmla="*/ 1918706 w 1918706"/>
                  <a:gd name="connsiteY8" fmla="*/ 3515969 h 5633118"/>
                  <a:gd name="connsiteX9" fmla="*/ 1918706 w 1918706"/>
                  <a:gd name="connsiteY9" fmla="*/ 3574721 h 5633118"/>
                  <a:gd name="connsiteX10" fmla="*/ 1918706 w 1918706"/>
                  <a:gd name="connsiteY10" fmla="*/ 3587875 h 5633118"/>
                  <a:gd name="connsiteX11" fmla="*/ 1918706 w 1918706"/>
                  <a:gd name="connsiteY11" fmla="*/ 3595649 h 5633118"/>
                  <a:gd name="connsiteX12" fmla="*/ 1918706 w 1918706"/>
                  <a:gd name="connsiteY12" fmla="*/ 3997322 h 5633118"/>
                  <a:gd name="connsiteX13" fmla="*/ 1918706 w 1918706"/>
                  <a:gd name="connsiteY13" fmla="*/ 4010476 h 5633118"/>
                  <a:gd name="connsiteX14" fmla="*/ 1918706 w 1918706"/>
                  <a:gd name="connsiteY14" fmla="*/ 4069228 h 5633118"/>
                  <a:gd name="connsiteX15" fmla="*/ 1918706 w 1918706"/>
                  <a:gd name="connsiteY15" fmla="*/ 4090156 h 5633118"/>
                  <a:gd name="connsiteX16" fmla="*/ 1918706 w 1918706"/>
                  <a:gd name="connsiteY16" fmla="*/ 4097931 h 5633118"/>
                  <a:gd name="connsiteX17" fmla="*/ 1918706 w 1918706"/>
                  <a:gd name="connsiteY17" fmla="*/ 4491829 h 5633118"/>
                  <a:gd name="connsiteX18" fmla="*/ 1918706 w 1918706"/>
                  <a:gd name="connsiteY18" fmla="*/ 4579284 h 5633118"/>
                  <a:gd name="connsiteX19" fmla="*/ 1918706 w 1918706"/>
                  <a:gd name="connsiteY19" fmla="*/ 4592438 h 5633118"/>
                  <a:gd name="connsiteX20" fmla="*/ 1918706 w 1918706"/>
                  <a:gd name="connsiteY20" fmla="*/ 5073791 h 5633118"/>
                  <a:gd name="connsiteX21" fmla="*/ 959355 w 1918706"/>
                  <a:gd name="connsiteY21" fmla="*/ 5633118 h 5633118"/>
                  <a:gd name="connsiteX22" fmla="*/ 0 w 1918706"/>
                  <a:gd name="connsiteY22" fmla="*/ 5073791 h 5633118"/>
                  <a:gd name="connsiteX23" fmla="*/ 0 w 1918706"/>
                  <a:gd name="connsiteY23" fmla="*/ 4592438 h 5633118"/>
                  <a:gd name="connsiteX24" fmla="*/ 0 w 1918706"/>
                  <a:gd name="connsiteY24" fmla="*/ 4579284 h 5633118"/>
                  <a:gd name="connsiteX25" fmla="*/ 0 w 1918706"/>
                  <a:gd name="connsiteY25" fmla="*/ 4491829 h 5633118"/>
                  <a:gd name="connsiteX26" fmla="*/ 0 w 1918706"/>
                  <a:gd name="connsiteY26" fmla="*/ 4097931 h 5633118"/>
                  <a:gd name="connsiteX27" fmla="*/ 0 w 1918706"/>
                  <a:gd name="connsiteY27" fmla="*/ 4090156 h 5633118"/>
                  <a:gd name="connsiteX28" fmla="*/ 0 w 1918706"/>
                  <a:gd name="connsiteY28" fmla="*/ 4069228 h 5633118"/>
                  <a:gd name="connsiteX29" fmla="*/ 0 w 1918706"/>
                  <a:gd name="connsiteY29" fmla="*/ 4010476 h 5633118"/>
                  <a:gd name="connsiteX30" fmla="*/ 0 w 1918706"/>
                  <a:gd name="connsiteY30" fmla="*/ 3997322 h 5633118"/>
                  <a:gd name="connsiteX31" fmla="*/ 0 w 1918706"/>
                  <a:gd name="connsiteY31" fmla="*/ 3595649 h 5633118"/>
                  <a:gd name="connsiteX32" fmla="*/ 0 w 1918706"/>
                  <a:gd name="connsiteY32" fmla="*/ 3587875 h 5633118"/>
                  <a:gd name="connsiteX33" fmla="*/ 0 w 1918706"/>
                  <a:gd name="connsiteY33" fmla="*/ 3574721 h 5633118"/>
                  <a:gd name="connsiteX34" fmla="*/ 0 w 1918706"/>
                  <a:gd name="connsiteY34" fmla="*/ 3515969 h 5633118"/>
                  <a:gd name="connsiteX35" fmla="*/ 0 w 1918706"/>
                  <a:gd name="connsiteY35" fmla="*/ 3508195 h 5633118"/>
                  <a:gd name="connsiteX36" fmla="*/ 0 w 1918706"/>
                  <a:gd name="connsiteY36" fmla="*/ 3487266 h 5633118"/>
                  <a:gd name="connsiteX37" fmla="*/ 0 w 1918706"/>
                  <a:gd name="connsiteY3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093368 h 5633118"/>
                  <a:gd name="connsiteX5" fmla="*/ 1918706 w 1918706"/>
                  <a:gd name="connsiteY5" fmla="*/ 3487266 h 5633118"/>
                  <a:gd name="connsiteX6" fmla="*/ 1918706 w 1918706"/>
                  <a:gd name="connsiteY6" fmla="*/ 3508195 h 5633118"/>
                  <a:gd name="connsiteX7" fmla="*/ 1918706 w 1918706"/>
                  <a:gd name="connsiteY7" fmla="*/ 3515969 h 5633118"/>
                  <a:gd name="connsiteX8" fmla="*/ 1918706 w 1918706"/>
                  <a:gd name="connsiteY8" fmla="*/ 3574721 h 5633118"/>
                  <a:gd name="connsiteX9" fmla="*/ 1918706 w 1918706"/>
                  <a:gd name="connsiteY9" fmla="*/ 3587875 h 5633118"/>
                  <a:gd name="connsiteX10" fmla="*/ 1918706 w 1918706"/>
                  <a:gd name="connsiteY10" fmla="*/ 3595649 h 5633118"/>
                  <a:gd name="connsiteX11" fmla="*/ 1918706 w 1918706"/>
                  <a:gd name="connsiteY11" fmla="*/ 3997322 h 5633118"/>
                  <a:gd name="connsiteX12" fmla="*/ 1918706 w 1918706"/>
                  <a:gd name="connsiteY12" fmla="*/ 4010476 h 5633118"/>
                  <a:gd name="connsiteX13" fmla="*/ 1918706 w 1918706"/>
                  <a:gd name="connsiteY13" fmla="*/ 4069228 h 5633118"/>
                  <a:gd name="connsiteX14" fmla="*/ 1918706 w 1918706"/>
                  <a:gd name="connsiteY14" fmla="*/ 4090156 h 5633118"/>
                  <a:gd name="connsiteX15" fmla="*/ 1918706 w 1918706"/>
                  <a:gd name="connsiteY15" fmla="*/ 4097931 h 5633118"/>
                  <a:gd name="connsiteX16" fmla="*/ 1918706 w 1918706"/>
                  <a:gd name="connsiteY16" fmla="*/ 4491829 h 5633118"/>
                  <a:gd name="connsiteX17" fmla="*/ 1918706 w 1918706"/>
                  <a:gd name="connsiteY17" fmla="*/ 4579284 h 5633118"/>
                  <a:gd name="connsiteX18" fmla="*/ 1918706 w 1918706"/>
                  <a:gd name="connsiteY18" fmla="*/ 4592438 h 5633118"/>
                  <a:gd name="connsiteX19" fmla="*/ 1918706 w 1918706"/>
                  <a:gd name="connsiteY19" fmla="*/ 5073791 h 5633118"/>
                  <a:gd name="connsiteX20" fmla="*/ 959355 w 1918706"/>
                  <a:gd name="connsiteY20" fmla="*/ 5633118 h 5633118"/>
                  <a:gd name="connsiteX21" fmla="*/ 0 w 1918706"/>
                  <a:gd name="connsiteY21" fmla="*/ 5073791 h 5633118"/>
                  <a:gd name="connsiteX22" fmla="*/ 0 w 1918706"/>
                  <a:gd name="connsiteY22" fmla="*/ 4592438 h 5633118"/>
                  <a:gd name="connsiteX23" fmla="*/ 0 w 1918706"/>
                  <a:gd name="connsiteY23" fmla="*/ 4579284 h 5633118"/>
                  <a:gd name="connsiteX24" fmla="*/ 0 w 1918706"/>
                  <a:gd name="connsiteY24" fmla="*/ 4491829 h 5633118"/>
                  <a:gd name="connsiteX25" fmla="*/ 0 w 1918706"/>
                  <a:gd name="connsiteY25" fmla="*/ 4097931 h 5633118"/>
                  <a:gd name="connsiteX26" fmla="*/ 0 w 1918706"/>
                  <a:gd name="connsiteY26" fmla="*/ 4090156 h 5633118"/>
                  <a:gd name="connsiteX27" fmla="*/ 0 w 1918706"/>
                  <a:gd name="connsiteY27" fmla="*/ 4069228 h 5633118"/>
                  <a:gd name="connsiteX28" fmla="*/ 0 w 1918706"/>
                  <a:gd name="connsiteY28" fmla="*/ 4010476 h 5633118"/>
                  <a:gd name="connsiteX29" fmla="*/ 0 w 1918706"/>
                  <a:gd name="connsiteY29" fmla="*/ 3997322 h 5633118"/>
                  <a:gd name="connsiteX30" fmla="*/ 0 w 1918706"/>
                  <a:gd name="connsiteY30" fmla="*/ 3595649 h 5633118"/>
                  <a:gd name="connsiteX31" fmla="*/ 0 w 1918706"/>
                  <a:gd name="connsiteY31" fmla="*/ 3587875 h 5633118"/>
                  <a:gd name="connsiteX32" fmla="*/ 0 w 1918706"/>
                  <a:gd name="connsiteY32" fmla="*/ 3574721 h 5633118"/>
                  <a:gd name="connsiteX33" fmla="*/ 0 w 1918706"/>
                  <a:gd name="connsiteY33" fmla="*/ 3515969 h 5633118"/>
                  <a:gd name="connsiteX34" fmla="*/ 0 w 1918706"/>
                  <a:gd name="connsiteY34" fmla="*/ 3508195 h 5633118"/>
                  <a:gd name="connsiteX35" fmla="*/ 0 w 1918706"/>
                  <a:gd name="connsiteY35" fmla="*/ 3487266 h 5633118"/>
                  <a:gd name="connsiteX36" fmla="*/ 0 w 1918706"/>
                  <a:gd name="connsiteY3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487266 h 5633118"/>
                  <a:gd name="connsiteX5" fmla="*/ 1918706 w 1918706"/>
                  <a:gd name="connsiteY5" fmla="*/ 3508195 h 5633118"/>
                  <a:gd name="connsiteX6" fmla="*/ 1918706 w 1918706"/>
                  <a:gd name="connsiteY6" fmla="*/ 3515969 h 5633118"/>
                  <a:gd name="connsiteX7" fmla="*/ 1918706 w 1918706"/>
                  <a:gd name="connsiteY7" fmla="*/ 3574721 h 5633118"/>
                  <a:gd name="connsiteX8" fmla="*/ 1918706 w 1918706"/>
                  <a:gd name="connsiteY8" fmla="*/ 3587875 h 5633118"/>
                  <a:gd name="connsiteX9" fmla="*/ 1918706 w 1918706"/>
                  <a:gd name="connsiteY9" fmla="*/ 3595649 h 5633118"/>
                  <a:gd name="connsiteX10" fmla="*/ 1918706 w 1918706"/>
                  <a:gd name="connsiteY10" fmla="*/ 3997322 h 5633118"/>
                  <a:gd name="connsiteX11" fmla="*/ 1918706 w 1918706"/>
                  <a:gd name="connsiteY11" fmla="*/ 4010476 h 5633118"/>
                  <a:gd name="connsiteX12" fmla="*/ 1918706 w 1918706"/>
                  <a:gd name="connsiteY12" fmla="*/ 4069228 h 5633118"/>
                  <a:gd name="connsiteX13" fmla="*/ 1918706 w 1918706"/>
                  <a:gd name="connsiteY13" fmla="*/ 4090156 h 5633118"/>
                  <a:gd name="connsiteX14" fmla="*/ 1918706 w 1918706"/>
                  <a:gd name="connsiteY14" fmla="*/ 4097931 h 5633118"/>
                  <a:gd name="connsiteX15" fmla="*/ 1918706 w 1918706"/>
                  <a:gd name="connsiteY15" fmla="*/ 4491829 h 5633118"/>
                  <a:gd name="connsiteX16" fmla="*/ 1918706 w 1918706"/>
                  <a:gd name="connsiteY16" fmla="*/ 4579284 h 5633118"/>
                  <a:gd name="connsiteX17" fmla="*/ 1918706 w 1918706"/>
                  <a:gd name="connsiteY17" fmla="*/ 4592438 h 5633118"/>
                  <a:gd name="connsiteX18" fmla="*/ 1918706 w 1918706"/>
                  <a:gd name="connsiteY18" fmla="*/ 5073791 h 5633118"/>
                  <a:gd name="connsiteX19" fmla="*/ 959355 w 1918706"/>
                  <a:gd name="connsiteY19" fmla="*/ 5633118 h 5633118"/>
                  <a:gd name="connsiteX20" fmla="*/ 0 w 1918706"/>
                  <a:gd name="connsiteY20" fmla="*/ 5073791 h 5633118"/>
                  <a:gd name="connsiteX21" fmla="*/ 0 w 1918706"/>
                  <a:gd name="connsiteY21" fmla="*/ 4592438 h 5633118"/>
                  <a:gd name="connsiteX22" fmla="*/ 0 w 1918706"/>
                  <a:gd name="connsiteY22" fmla="*/ 4579284 h 5633118"/>
                  <a:gd name="connsiteX23" fmla="*/ 0 w 1918706"/>
                  <a:gd name="connsiteY23" fmla="*/ 4491829 h 5633118"/>
                  <a:gd name="connsiteX24" fmla="*/ 0 w 1918706"/>
                  <a:gd name="connsiteY24" fmla="*/ 4097931 h 5633118"/>
                  <a:gd name="connsiteX25" fmla="*/ 0 w 1918706"/>
                  <a:gd name="connsiteY25" fmla="*/ 4090156 h 5633118"/>
                  <a:gd name="connsiteX26" fmla="*/ 0 w 1918706"/>
                  <a:gd name="connsiteY26" fmla="*/ 4069228 h 5633118"/>
                  <a:gd name="connsiteX27" fmla="*/ 0 w 1918706"/>
                  <a:gd name="connsiteY27" fmla="*/ 4010476 h 5633118"/>
                  <a:gd name="connsiteX28" fmla="*/ 0 w 1918706"/>
                  <a:gd name="connsiteY28" fmla="*/ 3997322 h 5633118"/>
                  <a:gd name="connsiteX29" fmla="*/ 0 w 1918706"/>
                  <a:gd name="connsiteY29" fmla="*/ 3595649 h 5633118"/>
                  <a:gd name="connsiteX30" fmla="*/ 0 w 1918706"/>
                  <a:gd name="connsiteY30" fmla="*/ 3587875 h 5633118"/>
                  <a:gd name="connsiteX31" fmla="*/ 0 w 1918706"/>
                  <a:gd name="connsiteY31" fmla="*/ 3574721 h 5633118"/>
                  <a:gd name="connsiteX32" fmla="*/ 0 w 1918706"/>
                  <a:gd name="connsiteY32" fmla="*/ 3515969 h 5633118"/>
                  <a:gd name="connsiteX33" fmla="*/ 0 w 1918706"/>
                  <a:gd name="connsiteY33" fmla="*/ 3508195 h 5633118"/>
                  <a:gd name="connsiteX34" fmla="*/ 0 w 1918706"/>
                  <a:gd name="connsiteY34" fmla="*/ 3487266 h 5633118"/>
                  <a:gd name="connsiteX35" fmla="*/ 0 w 1918706"/>
                  <a:gd name="connsiteY3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74721 h 5633118"/>
                  <a:gd name="connsiteX7" fmla="*/ 1918706 w 1918706"/>
                  <a:gd name="connsiteY7" fmla="*/ 3587875 h 5633118"/>
                  <a:gd name="connsiteX8" fmla="*/ 1918706 w 1918706"/>
                  <a:gd name="connsiteY8" fmla="*/ 3595649 h 5633118"/>
                  <a:gd name="connsiteX9" fmla="*/ 1918706 w 1918706"/>
                  <a:gd name="connsiteY9" fmla="*/ 3997322 h 5633118"/>
                  <a:gd name="connsiteX10" fmla="*/ 1918706 w 1918706"/>
                  <a:gd name="connsiteY10" fmla="*/ 4010476 h 5633118"/>
                  <a:gd name="connsiteX11" fmla="*/ 1918706 w 1918706"/>
                  <a:gd name="connsiteY11" fmla="*/ 4069228 h 5633118"/>
                  <a:gd name="connsiteX12" fmla="*/ 1918706 w 1918706"/>
                  <a:gd name="connsiteY12" fmla="*/ 4090156 h 5633118"/>
                  <a:gd name="connsiteX13" fmla="*/ 1918706 w 1918706"/>
                  <a:gd name="connsiteY13" fmla="*/ 4097931 h 5633118"/>
                  <a:gd name="connsiteX14" fmla="*/ 1918706 w 1918706"/>
                  <a:gd name="connsiteY14" fmla="*/ 4491829 h 5633118"/>
                  <a:gd name="connsiteX15" fmla="*/ 1918706 w 1918706"/>
                  <a:gd name="connsiteY15" fmla="*/ 4579284 h 5633118"/>
                  <a:gd name="connsiteX16" fmla="*/ 1918706 w 1918706"/>
                  <a:gd name="connsiteY16" fmla="*/ 4592438 h 5633118"/>
                  <a:gd name="connsiteX17" fmla="*/ 1918706 w 1918706"/>
                  <a:gd name="connsiteY17" fmla="*/ 5073791 h 5633118"/>
                  <a:gd name="connsiteX18" fmla="*/ 959355 w 1918706"/>
                  <a:gd name="connsiteY18" fmla="*/ 5633118 h 5633118"/>
                  <a:gd name="connsiteX19" fmla="*/ 0 w 1918706"/>
                  <a:gd name="connsiteY19" fmla="*/ 5073791 h 5633118"/>
                  <a:gd name="connsiteX20" fmla="*/ 0 w 1918706"/>
                  <a:gd name="connsiteY20" fmla="*/ 4592438 h 5633118"/>
                  <a:gd name="connsiteX21" fmla="*/ 0 w 1918706"/>
                  <a:gd name="connsiteY21" fmla="*/ 4579284 h 5633118"/>
                  <a:gd name="connsiteX22" fmla="*/ 0 w 1918706"/>
                  <a:gd name="connsiteY22" fmla="*/ 4491829 h 5633118"/>
                  <a:gd name="connsiteX23" fmla="*/ 0 w 1918706"/>
                  <a:gd name="connsiteY23" fmla="*/ 4097931 h 5633118"/>
                  <a:gd name="connsiteX24" fmla="*/ 0 w 1918706"/>
                  <a:gd name="connsiteY24" fmla="*/ 4090156 h 5633118"/>
                  <a:gd name="connsiteX25" fmla="*/ 0 w 1918706"/>
                  <a:gd name="connsiteY25" fmla="*/ 4069228 h 5633118"/>
                  <a:gd name="connsiteX26" fmla="*/ 0 w 1918706"/>
                  <a:gd name="connsiteY26" fmla="*/ 4010476 h 5633118"/>
                  <a:gd name="connsiteX27" fmla="*/ 0 w 1918706"/>
                  <a:gd name="connsiteY27" fmla="*/ 3997322 h 5633118"/>
                  <a:gd name="connsiteX28" fmla="*/ 0 w 1918706"/>
                  <a:gd name="connsiteY28" fmla="*/ 3595649 h 5633118"/>
                  <a:gd name="connsiteX29" fmla="*/ 0 w 1918706"/>
                  <a:gd name="connsiteY29" fmla="*/ 3587875 h 5633118"/>
                  <a:gd name="connsiteX30" fmla="*/ 0 w 1918706"/>
                  <a:gd name="connsiteY30" fmla="*/ 3574721 h 5633118"/>
                  <a:gd name="connsiteX31" fmla="*/ 0 w 1918706"/>
                  <a:gd name="connsiteY31" fmla="*/ 3515969 h 5633118"/>
                  <a:gd name="connsiteX32" fmla="*/ 0 w 1918706"/>
                  <a:gd name="connsiteY32" fmla="*/ 3508195 h 5633118"/>
                  <a:gd name="connsiteX33" fmla="*/ 0 w 1918706"/>
                  <a:gd name="connsiteY33" fmla="*/ 3487266 h 5633118"/>
                  <a:gd name="connsiteX34" fmla="*/ 0 w 1918706"/>
                  <a:gd name="connsiteY3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87875 h 5633118"/>
                  <a:gd name="connsiteX7" fmla="*/ 1918706 w 1918706"/>
                  <a:gd name="connsiteY7" fmla="*/ 3595649 h 5633118"/>
                  <a:gd name="connsiteX8" fmla="*/ 1918706 w 1918706"/>
                  <a:gd name="connsiteY8" fmla="*/ 3997322 h 5633118"/>
                  <a:gd name="connsiteX9" fmla="*/ 1918706 w 1918706"/>
                  <a:gd name="connsiteY9" fmla="*/ 4010476 h 5633118"/>
                  <a:gd name="connsiteX10" fmla="*/ 1918706 w 1918706"/>
                  <a:gd name="connsiteY10" fmla="*/ 4069228 h 5633118"/>
                  <a:gd name="connsiteX11" fmla="*/ 1918706 w 1918706"/>
                  <a:gd name="connsiteY11" fmla="*/ 4090156 h 5633118"/>
                  <a:gd name="connsiteX12" fmla="*/ 1918706 w 1918706"/>
                  <a:gd name="connsiteY12" fmla="*/ 4097931 h 5633118"/>
                  <a:gd name="connsiteX13" fmla="*/ 1918706 w 1918706"/>
                  <a:gd name="connsiteY13" fmla="*/ 4491829 h 5633118"/>
                  <a:gd name="connsiteX14" fmla="*/ 1918706 w 1918706"/>
                  <a:gd name="connsiteY14" fmla="*/ 4579284 h 5633118"/>
                  <a:gd name="connsiteX15" fmla="*/ 1918706 w 1918706"/>
                  <a:gd name="connsiteY15" fmla="*/ 4592438 h 5633118"/>
                  <a:gd name="connsiteX16" fmla="*/ 1918706 w 1918706"/>
                  <a:gd name="connsiteY16" fmla="*/ 5073791 h 5633118"/>
                  <a:gd name="connsiteX17" fmla="*/ 959355 w 1918706"/>
                  <a:gd name="connsiteY17" fmla="*/ 5633118 h 5633118"/>
                  <a:gd name="connsiteX18" fmla="*/ 0 w 1918706"/>
                  <a:gd name="connsiteY18" fmla="*/ 5073791 h 5633118"/>
                  <a:gd name="connsiteX19" fmla="*/ 0 w 1918706"/>
                  <a:gd name="connsiteY19" fmla="*/ 4592438 h 5633118"/>
                  <a:gd name="connsiteX20" fmla="*/ 0 w 1918706"/>
                  <a:gd name="connsiteY20" fmla="*/ 4579284 h 5633118"/>
                  <a:gd name="connsiteX21" fmla="*/ 0 w 1918706"/>
                  <a:gd name="connsiteY21" fmla="*/ 4491829 h 5633118"/>
                  <a:gd name="connsiteX22" fmla="*/ 0 w 1918706"/>
                  <a:gd name="connsiteY22" fmla="*/ 4097931 h 5633118"/>
                  <a:gd name="connsiteX23" fmla="*/ 0 w 1918706"/>
                  <a:gd name="connsiteY23" fmla="*/ 4090156 h 5633118"/>
                  <a:gd name="connsiteX24" fmla="*/ 0 w 1918706"/>
                  <a:gd name="connsiteY24" fmla="*/ 4069228 h 5633118"/>
                  <a:gd name="connsiteX25" fmla="*/ 0 w 1918706"/>
                  <a:gd name="connsiteY25" fmla="*/ 4010476 h 5633118"/>
                  <a:gd name="connsiteX26" fmla="*/ 0 w 1918706"/>
                  <a:gd name="connsiteY26" fmla="*/ 3997322 h 5633118"/>
                  <a:gd name="connsiteX27" fmla="*/ 0 w 1918706"/>
                  <a:gd name="connsiteY27" fmla="*/ 3595649 h 5633118"/>
                  <a:gd name="connsiteX28" fmla="*/ 0 w 1918706"/>
                  <a:gd name="connsiteY28" fmla="*/ 3587875 h 5633118"/>
                  <a:gd name="connsiteX29" fmla="*/ 0 w 1918706"/>
                  <a:gd name="connsiteY29" fmla="*/ 3574721 h 5633118"/>
                  <a:gd name="connsiteX30" fmla="*/ 0 w 1918706"/>
                  <a:gd name="connsiteY30" fmla="*/ 3515969 h 5633118"/>
                  <a:gd name="connsiteX31" fmla="*/ 0 w 1918706"/>
                  <a:gd name="connsiteY31" fmla="*/ 3508195 h 5633118"/>
                  <a:gd name="connsiteX32" fmla="*/ 0 w 1918706"/>
                  <a:gd name="connsiteY32" fmla="*/ 3487266 h 5633118"/>
                  <a:gd name="connsiteX33" fmla="*/ 0 w 1918706"/>
                  <a:gd name="connsiteY3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87875 h 5633118"/>
                  <a:gd name="connsiteX6" fmla="*/ 1918706 w 1918706"/>
                  <a:gd name="connsiteY6" fmla="*/ 3595649 h 5633118"/>
                  <a:gd name="connsiteX7" fmla="*/ 1918706 w 1918706"/>
                  <a:gd name="connsiteY7" fmla="*/ 3997322 h 5633118"/>
                  <a:gd name="connsiteX8" fmla="*/ 1918706 w 1918706"/>
                  <a:gd name="connsiteY8" fmla="*/ 4010476 h 5633118"/>
                  <a:gd name="connsiteX9" fmla="*/ 1918706 w 1918706"/>
                  <a:gd name="connsiteY9" fmla="*/ 4069228 h 5633118"/>
                  <a:gd name="connsiteX10" fmla="*/ 1918706 w 1918706"/>
                  <a:gd name="connsiteY10" fmla="*/ 4090156 h 5633118"/>
                  <a:gd name="connsiteX11" fmla="*/ 1918706 w 1918706"/>
                  <a:gd name="connsiteY11" fmla="*/ 4097931 h 5633118"/>
                  <a:gd name="connsiteX12" fmla="*/ 1918706 w 1918706"/>
                  <a:gd name="connsiteY12" fmla="*/ 4491829 h 5633118"/>
                  <a:gd name="connsiteX13" fmla="*/ 1918706 w 1918706"/>
                  <a:gd name="connsiteY13" fmla="*/ 4579284 h 5633118"/>
                  <a:gd name="connsiteX14" fmla="*/ 1918706 w 1918706"/>
                  <a:gd name="connsiteY14" fmla="*/ 4592438 h 5633118"/>
                  <a:gd name="connsiteX15" fmla="*/ 1918706 w 1918706"/>
                  <a:gd name="connsiteY15" fmla="*/ 5073791 h 5633118"/>
                  <a:gd name="connsiteX16" fmla="*/ 959355 w 1918706"/>
                  <a:gd name="connsiteY16" fmla="*/ 5633118 h 5633118"/>
                  <a:gd name="connsiteX17" fmla="*/ 0 w 1918706"/>
                  <a:gd name="connsiteY17" fmla="*/ 5073791 h 5633118"/>
                  <a:gd name="connsiteX18" fmla="*/ 0 w 1918706"/>
                  <a:gd name="connsiteY18" fmla="*/ 4592438 h 5633118"/>
                  <a:gd name="connsiteX19" fmla="*/ 0 w 1918706"/>
                  <a:gd name="connsiteY19" fmla="*/ 4579284 h 5633118"/>
                  <a:gd name="connsiteX20" fmla="*/ 0 w 1918706"/>
                  <a:gd name="connsiteY20" fmla="*/ 4491829 h 5633118"/>
                  <a:gd name="connsiteX21" fmla="*/ 0 w 1918706"/>
                  <a:gd name="connsiteY21" fmla="*/ 4097931 h 5633118"/>
                  <a:gd name="connsiteX22" fmla="*/ 0 w 1918706"/>
                  <a:gd name="connsiteY22" fmla="*/ 4090156 h 5633118"/>
                  <a:gd name="connsiteX23" fmla="*/ 0 w 1918706"/>
                  <a:gd name="connsiteY23" fmla="*/ 4069228 h 5633118"/>
                  <a:gd name="connsiteX24" fmla="*/ 0 w 1918706"/>
                  <a:gd name="connsiteY24" fmla="*/ 4010476 h 5633118"/>
                  <a:gd name="connsiteX25" fmla="*/ 0 w 1918706"/>
                  <a:gd name="connsiteY25" fmla="*/ 3997322 h 5633118"/>
                  <a:gd name="connsiteX26" fmla="*/ 0 w 1918706"/>
                  <a:gd name="connsiteY26" fmla="*/ 3595649 h 5633118"/>
                  <a:gd name="connsiteX27" fmla="*/ 0 w 1918706"/>
                  <a:gd name="connsiteY27" fmla="*/ 3587875 h 5633118"/>
                  <a:gd name="connsiteX28" fmla="*/ 0 w 1918706"/>
                  <a:gd name="connsiteY28" fmla="*/ 3574721 h 5633118"/>
                  <a:gd name="connsiteX29" fmla="*/ 0 w 1918706"/>
                  <a:gd name="connsiteY29" fmla="*/ 3515969 h 5633118"/>
                  <a:gd name="connsiteX30" fmla="*/ 0 w 1918706"/>
                  <a:gd name="connsiteY30" fmla="*/ 3508195 h 5633118"/>
                  <a:gd name="connsiteX31" fmla="*/ 0 w 1918706"/>
                  <a:gd name="connsiteY31" fmla="*/ 3487266 h 5633118"/>
                  <a:gd name="connsiteX32" fmla="*/ 0 w 1918706"/>
                  <a:gd name="connsiteY3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595649 h 5633118"/>
                  <a:gd name="connsiteX6" fmla="*/ 1918706 w 1918706"/>
                  <a:gd name="connsiteY6" fmla="*/ 3997322 h 5633118"/>
                  <a:gd name="connsiteX7" fmla="*/ 1918706 w 1918706"/>
                  <a:gd name="connsiteY7" fmla="*/ 4010476 h 5633118"/>
                  <a:gd name="connsiteX8" fmla="*/ 1918706 w 1918706"/>
                  <a:gd name="connsiteY8" fmla="*/ 4069228 h 5633118"/>
                  <a:gd name="connsiteX9" fmla="*/ 1918706 w 1918706"/>
                  <a:gd name="connsiteY9" fmla="*/ 4090156 h 5633118"/>
                  <a:gd name="connsiteX10" fmla="*/ 1918706 w 1918706"/>
                  <a:gd name="connsiteY10" fmla="*/ 4097931 h 5633118"/>
                  <a:gd name="connsiteX11" fmla="*/ 1918706 w 1918706"/>
                  <a:gd name="connsiteY11" fmla="*/ 4491829 h 5633118"/>
                  <a:gd name="connsiteX12" fmla="*/ 1918706 w 1918706"/>
                  <a:gd name="connsiteY12" fmla="*/ 4579284 h 5633118"/>
                  <a:gd name="connsiteX13" fmla="*/ 1918706 w 1918706"/>
                  <a:gd name="connsiteY13" fmla="*/ 4592438 h 5633118"/>
                  <a:gd name="connsiteX14" fmla="*/ 1918706 w 1918706"/>
                  <a:gd name="connsiteY14" fmla="*/ 5073791 h 5633118"/>
                  <a:gd name="connsiteX15" fmla="*/ 959355 w 1918706"/>
                  <a:gd name="connsiteY15" fmla="*/ 5633118 h 5633118"/>
                  <a:gd name="connsiteX16" fmla="*/ 0 w 1918706"/>
                  <a:gd name="connsiteY16" fmla="*/ 5073791 h 5633118"/>
                  <a:gd name="connsiteX17" fmla="*/ 0 w 1918706"/>
                  <a:gd name="connsiteY17" fmla="*/ 4592438 h 5633118"/>
                  <a:gd name="connsiteX18" fmla="*/ 0 w 1918706"/>
                  <a:gd name="connsiteY18" fmla="*/ 4579284 h 5633118"/>
                  <a:gd name="connsiteX19" fmla="*/ 0 w 1918706"/>
                  <a:gd name="connsiteY19" fmla="*/ 4491829 h 5633118"/>
                  <a:gd name="connsiteX20" fmla="*/ 0 w 1918706"/>
                  <a:gd name="connsiteY20" fmla="*/ 4097931 h 5633118"/>
                  <a:gd name="connsiteX21" fmla="*/ 0 w 1918706"/>
                  <a:gd name="connsiteY21" fmla="*/ 4090156 h 5633118"/>
                  <a:gd name="connsiteX22" fmla="*/ 0 w 1918706"/>
                  <a:gd name="connsiteY22" fmla="*/ 4069228 h 5633118"/>
                  <a:gd name="connsiteX23" fmla="*/ 0 w 1918706"/>
                  <a:gd name="connsiteY23" fmla="*/ 4010476 h 5633118"/>
                  <a:gd name="connsiteX24" fmla="*/ 0 w 1918706"/>
                  <a:gd name="connsiteY24" fmla="*/ 3997322 h 5633118"/>
                  <a:gd name="connsiteX25" fmla="*/ 0 w 1918706"/>
                  <a:gd name="connsiteY25" fmla="*/ 3595649 h 5633118"/>
                  <a:gd name="connsiteX26" fmla="*/ 0 w 1918706"/>
                  <a:gd name="connsiteY26" fmla="*/ 3587875 h 5633118"/>
                  <a:gd name="connsiteX27" fmla="*/ 0 w 1918706"/>
                  <a:gd name="connsiteY27" fmla="*/ 3574721 h 5633118"/>
                  <a:gd name="connsiteX28" fmla="*/ 0 w 1918706"/>
                  <a:gd name="connsiteY28" fmla="*/ 3515969 h 5633118"/>
                  <a:gd name="connsiteX29" fmla="*/ 0 w 1918706"/>
                  <a:gd name="connsiteY29" fmla="*/ 3508195 h 5633118"/>
                  <a:gd name="connsiteX30" fmla="*/ 0 w 1918706"/>
                  <a:gd name="connsiteY30" fmla="*/ 3487266 h 5633118"/>
                  <a:gd name="connsiteX31" fmla="*/ 0 w 1918706"/>
                  <a:gd name="connsiteY3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997322 h 5633118"/>
                  <a:gd name="connsiteX6" fmla="*/ 1918706 w 1918706"/>
                  <a:gd name="connsiteY6" fmla="*/ 4010476 h 5633118"/>
                  <a:gd name="connsiteX7" fmla="*/ 1918706 w 1918706"/>
                  <a:gd name="connsiteY7" fmla="*/ 4069228 h 5633118"/>
                  <a:gd name="connsiteX8" fmla="*/ 1918706 w 1918706"/>
                  <a:gd name="connsiteY8" fmla="*/ 4090156 h 5633118"/>
                  <a:gd name="connsiteX9" fmla="*/ 1918706 w 1918706"/>
                  <a:gd name="connsiteY9" fmla="*/ 4097931 h 5633118"/>
                  <a:gd name="connsiteX10" fmla="*/ 1918706 w 1918706"/>
                  <a:gd name="connsiteY10" fmla="*/ 4491829 h 5633118"/>
                  <a:gd name="connsiteX11" fmla="*/ 1918706 w 1918706"/>
                  <a:gd name="connsiteY11" fmla="*/ 4579284 h 5633118"/>
                  <a:gd name="connsiteX12" fmla="*/ 1918706 w 1918706"/>
                  <a:gd name="connsiteY12" fmla="*/ 4592438 h 5633118"/>
                  <a:gd name="connsiteX13" fmla="*/ 1918706 w 1918706"/>
                  <a:gd name="connsiteY13" fmla="*/ 5073791 h 5633118"/>
                  <a:gd name="connsiteX14" fmla="*/ 959355 w 1918706"/>
                  <a:gd name="connsiteY14" fmla="*/ 5633118 h 5633118"/>
                  <a:gd name="connsiteX15" fmla="*/ 0 w 1918706"/>
                  <a:gd name="connsiteY15" fmla="*/ 5073791 h 5633118"/>
                  <a:gd name="connsiteX16" fmla="*/ 0 w 1918706"/>
                  <a:gd name="connsiteY16" fmla="*/ 4592438 h 5633118"/>
                  <a:gd name="connsiteX17" fmla="*/ 0 w 1918706"/>
                  <a:gd name="connsiteY17" fmla="*/ 4579284 h 5633118"/>
                  <a:gd name="connsiteX18" fmla="*/ 0 w 1918706"/>
                  <a:gd name="connsiteY18" fmla="*/ 4491829 h 5633118"/>
                  <a:gd name="connsiteX19" fmla="*/ 0 w 1918706"/>
                  <a:gd name="connsiteY19" fmla="*/ 4097931 h 5633118"/>
                  <a:gd name="connsiteX20" fmla="*/ 0 w 1918706"/>
                  <a:gd name="connsiteY20" fmla="*/ 4090156 h 5633118"/>
                  <a:gd name="connsiteX21" fmla="*/ 0 w 1918706"/>
                  <a:gd name="connsiteY21" fmla="*/ 4069228 h 5633118"/>
                  <a:gd name="connsiteX22" fmla="*/ 0 w 1918706"/>
                  <a:gd name="connsiteY22" fmla="*/ 4010476 h 5633118"/>
                  <a:gd name="connsiteX23" fmla="*/ 0 w 1918706"/>
                  <a:gd name="connsiteY23" fmla="*/ 3997322 h 5633118"/>
                  <a:gd name="connsiteX24" fmla="*/ 0 w 1918706"/>
                  <a:gd name="connsiteY24" fmla="*/ 3595649 h 5633118"/>
                  <a:gd name="connsiteX25" fmla="*/ 0 w 1918706"/>
                  <a:gd name="connsiteY25" fmla="*/ 3587875 h 5633118"/>
                  <a:gd name="connsiteX26" fmla="*/ 0 w 1918706"/>
                  <a:gd name="connsiteY26" fmla="*/ 3574721 h 5633118"/>
                  <a:gd name="connsiteX27" fmla="*/ 0 w 1918706"/>
                  <a:gd name="connsiteY27" fmla="*/ 3515969 h 5633118"/>
                  <a:gd name="connsiteX28" fmla="*/ 0 w 1918706"/>
                  <a:gd name="connsiteY28" fmla="*/ 3508195 h 5633118"/>
                  <a:gd name="connsiteX29" fmla="*/ 0 w 1918706"/>
                  <a:gd name="connsiteY29" fmla="*/ 3487266 h 5633118"/>
                  <a:gd name="connsiteX30" fmla="*/ 0 w 1918706"/>
                  <a:gd name="connsiteY3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997322 h 5633118"/>
                  <a:gd name="connsiteX5" fmla="*/ 1918706 w 1918706"/>
                  <a:gd name="connsiteY5" fmla="*/ 4010476 h 5633118"/>
                  <a:gd name="connsiteX6" fmla="*/ 1918706 w 1918706"/>
                  <a:gd name="connsiteY6" fmla="*/ 4069228 h 5633118"/>
                  <a:gd name="connsiteX7" fmla="*/ 1918706 w 1918706"/>
                  <a:gd name="connsiteY7" fmla="*/ 4090156 h 5633118"/>
                  <a:gd name="connsiteX8" fmla="*/ 1918706 w 1918706"/>
                  <a:gd name="connsiteY8" fmla="*/ 4097931 h 5633118"/>
                  <a:gd name="connsiteX9" fmla="*/ 1918706 w 1918706"/>
                  <a:gd name="connsiteY9" fmla="*/ 4491829 h 5633118"/>
                  <a:gd name="connsiteX10" fmla="*/ 1918706 w 1918706"/>
                  <a:gd name="connsiteY10" fmla="*/ 4579284 h 5633118"/>
                  <a:gd name="connsiteX11" fmla="*/ 1918706 w 1918706"/>
                  <a:gd name="connsiteY11" fmla="*/ 4592438 h 5633118"/>
                  <a:gd name="connsiteX12" fmla="*/ 1918706 w 1918706"/>
                  <a:gd name="connsiteY12" fmla="*/ 5073791 h 5633118"/>
                  <a:gd name="connsiteX13" fmla="*/ 959355 w 1918706"/>
                  <a:gd name="connsiteY13" fmla="*/ 5633118 h 5633118"/>
                  <a:gd name="connsiteX14" fmla="*/ 0 w 1918706"/>
                  <a:gd name="connsiteY14" fmla="*/ 5073791 h 5633118"/>
                  <a:gd name="connsiteX15" fmla="*/ 0 w 1918706"/>
                  <a:gd name="connsiteY15" fmla="*/ 4592438 h 5633118"/>
                  <a:gd name="connsiteX16" fmla="*/ 0 w 1918706"/>
                  <a:gd name="connsiteY16" fmla="*/ 4579284 h 5633118"/>
                  <a:gd name="connsiteX17" fmla="*/ 0 w 1918706"/>
                  <a:gd name="connsiteY17" fmla="*/ 4491829 h 5633118"/>
                  <a:gd name="connsiteX18" fmla="*/ 0 w 1918706"/>
                  <a:gd name="connsiteY18" fmla="*/ 4097931 h 5633118"/>
                  <a:gd name="connsiteX19" fmla="*/ 0 w 1918706"/>
                  <a:gd name="connsiteY19" fmla="*/ 4090156 h 5633118"/>
                  <a:gd name="connsiteX20" fmla="*/ 0 w 1918706"/>
                  <a:gd name="connsiteY20" fmla="*/ 4069228 h 5633118"/>
                  <a:gd name="connsiteX21" fmla="*/ 0 w 1918706"/>
                  <a:gd name="connsiteY21" fmla="*/ 4010476 h 5633118"/>
                  <a:gd name="connsiteX22" fmla="*/ 0 w 1918706"/>
                  <a:gd name="connsiteY22" fmla="*/ 3997322 h 5633118"/>
                  <a:gd name="connsiteX23" fmla="*/ 0 w 1918706"/>
                  <a:gd name="connsiteY23" fmla="*/ 3595649 h 5633118"/>
                  <a:gd name="connsiteX24" fmla="*/ 0 w 1918706"/>
                  <a:gd name="connsiteY24" fmla="*/ 3587875 h 5633118"/>
                  <a:gd name="connsiteX25" fmla="*/ 0 w 1918706"/>
                  <a:gd name="connsiteY25" fmla="*/ 3574721 h 5633118"/>
                  <a:gd name="connsiteX26" fmla="*/ 0 w 1918706"/>
                  <a:gd name="connsiteY26" fmla="*/ 3515969 h 5633118"/>
                  <a:gd name="connsiteX27" fmla="*/ 0 w 1918706"/>
                  <a:gd name="connsiteY27" fmla="*/ 3508195 h 5633118"/>
                  <a:gd name="connsiteX28" fmla="*/ 0 w 1918706"/>
                  <a:gd name="connsiteY28" fmla="*/ 3487266 h 5633118"/>
                  <a:gd name="connsiteX29" fmla="*/ 0 w 1918706"/>
                  <a:gd name="connsiteY2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10476 h 5633118"/>
                  <a:gd name="connsiteX5" fmla="*/ 1918706 w 1918706"/>
                  <a:gd name="connsiteY5" fmla="*/ 4069228 h 5633118"/>
                  <a:gd name="connsiteX6" fmla="*/ 1918706 w 1918706"/>
                  <a:gd name="connsiteY6" fmla="*/ 4090156 h 5633118"/>
                  <a:gd name="connsiteX7" fmla="*/ 1918706 w 1918706"/>
                  <a:gd name="connsiteY7" fmla="*/ 4097931 h 5633118"/>
                  <a:gd name="connsiteX8" fmla="*/ 1918706 w 1918706"/>
                  <a:gd name="connsiteY8" fmla="*/ 4491829 h 5633118"/>
                  <a:gd name="connsiteX9" fmla="*/ 1918706 w 1918706"/>
                  <a:gd name="connsiteY9" fmla="*/ 4579284 h 5633118"/>
                  <a:gd name="connsiteX10" fmla="*/ 1918706 w 1918706"/>
                  <a:gd name="connsiteY10" fmla="*/ 4592438 h 5633118"/>
                  <a:gd name="connsiteX11" fmla="*/ 1918706 w 1918706"/>
                  <a:gd name="connsiteY11" fmla="*/ 5073791 h 5633118"/>
                  <a:gd name="connsiteX12" fmla="*/ 959355 w 1918706"/>
                  <a:gd name="connsiteY12" fmla="*/ 5633118 h 5633118"/>
                  <a:gd name="connsiteX13" fmla="*/ 0 w 1918706"/>
                  <a:gd name="connsiteY13" fmla="*/ 5073791 h 5633118"/>
                  <a:gd name="connsiteX14" fmla="*/ 0 w 1918706"/>
                  <a:gd name="connsiteY14" fmla="*/ 4592438 h 5633118"/>
                  <a:gd name="connsiteX15" fmla="*/ 0 w 1918706"/>
                  <a:gd name="connsiteY15" fmla="*/ 4579284 h 5633118"/>
                  <a:gd name="connsiteX16" fmla="*/ 0 w 1918706"/>
                  <a:gd name="connsiteY16" fmla="*/ 4491829 h 5633118"/>
                  <a:gd name="connsiteX17" fmla="*/ 0 w 1918706"/>
                  <a:gd name="connsiteY17" fmla="*/ 4097931 h 5633118"/>
                  <a:gd name="connsiteX18" fmla="*/ 0 w 1918706"/>
                  <a:gd name="connsiteY18" fmla="*/ 4090156 h 5633118"/>
                  <a:gd name="connsiteX19" fmla="*/ 0 w 1918706"/>
                  <a:gd name="connsiteY19" fmla="*/ 4069228 h 5633118"/>
                  <a:gd name="connsiteX20" fmla="*/ 0 w 1918706"/>
                  <a:gd name="connsiteY20" fmla="*/ 4010476 h 5633118"/>
                  <a:gd name="connsiteX21" fmla="*/ 0 w 1918706"/>
                  <a:gd name="connsiteY21" fmla="*/ 3997322 h 5633118"/>
                  <a:gd name="connsiteX22" fmla="*/ 0 w 1918706"/>
                  <a:gd name="connsiteY22" fmla="*/ 3595649 h 5633118"/>
                  <a:gd name="connsiteX23" fmla="*/ 0 w 1918706"/>
                  <a:gd name="connsiteY23" fmla="*/ 3587875 h 5633118"/>
                  <a:gd name="connsiteX24" fmla="*/ 0 w 1918706"/>
                  <a:gd name="connsiteY24" fmla="*/ 3574721 h 5633118"/>
                  <a:gd name="connsiteX25" fmla="*/ 0 w 1918706"/>
                  <a:gd name="connsiteY25" fmla="*/ 3515969 h 5633118"/>
                  <a:gd name="connsiteX26" fmla="*/ 0 w 1918706"/>
                  <a:gd name="connsiteY26" fmla="*/ 3508195 h 5633118"/>
                  <a:gd name="connsiteX27" fmla="*/ 0 w 1918706"/>
                  <a:gd name="connsiteY27" fmla="*/ 3487266 h 5633118"/>
                  <a:gd name="connsiteX28" fmla="*/ 0 w 1918706"/>
                  <a:gd name="connsiteY2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69228 h 5633118"/>
                  <a:gd name="connsiteX5" fmla="*/ 1918706 w 1918706"/>
                  <a:gd name="connsiteY5" fmla="*/ 4090156 h 5633118"/>
                  <a:gd name="connsiteX6" fmla="*/ 1918706 w 1918706"/>
                  <a:gd name="connsiteY6" fmla="*/ 4097931 h 5633118"/>
                  <a:gd name="connsiteX7" fmla="*/ 1918706 w 1918706"/>
                  <a:gd name="connsiteY7" fmla="*/ 4491829 h 5633118"/>
                  <a:gd name="connsiteX8" fmla="*/ 1918706 w 1918706"/>
                  <a:gd name="connsiteY8" fmla="*/ 4579284 h 5633118"/>
                  <a:gd name="connsiteX9" fmla="*/ 1918706 w 1918706"/>
                  <a:gd name="connsiteY9" fmla="*/ 4592438 h 5633118"/>
                  <a:gd name="connsiteX10" fmla="*/ 1918706 w 1918706"/>
                  <a:gd name="connsiteY10" fmla="*/ 5073791 h 5633118"/>
                  <a:gd name="connsiteX11" fmla="*/ 959355 w 1918706"/>
                  <a:gd name="connsiteY11" fmla="*/ 5633118 h 5633118"/>
                  <a:gd name="connsiteX12" fmla="*/ 0 w 1918706"/>
                  <a:gd name="connsiteY12" fmla="*/ 5073791 h 5633118"/>
                  <a:gd name="connsiteX13" fmla="*/ 0 w 1918706"/>
                  <a:gd name="connsiteY13" fmla="*/ 4592438 h 5633118"/>
                  <a:gd name="connsiteX14" fmla="*/ 0 w 1918706"/>
                  <a:gd name="connsiteY14" fmla="*/ 4579284 h 5633118"/>
                  <a:gd name="connsiteX15" fmla="*/ 0 w 1918706"/>
                  <a:gd name="connsiteY15" fmla="*/ 4491829 h 5633118"/>
                  <a:gd name="connsiteX16" fmla="*/ 0 w 1918706"/>
                  <a:gd name="connsiteY16" fmla="*/ 4097931 h 5633118"/>
                  <a:gd name="connsiteX17" fmla="*/ 0 w 1918706"/>
                  <a:gd name="connsiteY17" fmla="*/ 4090156 h 5633118"/>
                  <a:gd name="connsiteX18" fmla="*/ 0 w 1918706"/>
                  <a:gd name="connsiteY18" fmla="*/ 4069228 h 5633118"/>
                  <a:gd name="connsiteX19" fmla="*/ 0 w 1918706"/>
                  <a:gd name="connsiteY19" fmla="*/ 4010476 h 5633118"/>
                  <a:gd name="connsiteX20" fmla="*/ 0 w 1918706"/>
                  <a:gd name="connsiteY20" fmla="*/ 3997322 h 5633118"/>
                  <a:gd name="connsiteX21" fmla="*/ 0 w 1918706"/>
                  <a:gd name="connsiteY21" fmla="*/ 3595649 h 5633118"/>
                  <a:gd name="connsiteX22" fmla="*/ 0 w 1918706"/>
                  <a:gd name="connsiteY22" fmla="*/ 3587875 h 5633118"/>
                  <a:gd name="connsiteX23" fmla="*/ 0 w 1918706"/>
                  <a:gd name="connsiteY23" fmla="*/ 3574721 h 5633118"/>
                  <a:gd name="connsiteX24" fmla="*/ 0 w 1918706"/>
                  <a:gd name="connsiteY24" fmla="*/ 3515969 h 5633118"/>
                  <a:gd name="connsiteX25" fmla="*/ 0 w 1918706"/>
                  <a:gd name="connsiteY25" fmla="*/ 3508195 h 5633118"/>
                  <a:gd name="connsiteX26" fmla="*/ 0 w 1918706"/>
                  <a:gd name="connsiteY26" fmla="*/ 3487266 h 5633118"/>
                  <a:gd name="connsiteX27" fmla="*/ 0 w 1918706"/>
                  <a:gd name="connsiteY2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097931 h 5633118"/>
                  <a:gd name="connsiteX6" fmla="*/ 1918706 w 1918706"/>
                  <a:gd name="connsiteY6" fmla="*/ 4491829 h 5633118"/>
                  <a:gd name="connsiteX7" fmla="*/ 1918706 w 1918706"/>
                  <a:gd name="connsiteY7" fmla="*/ 4579284 h 5633118"/>
                  <a:gd name="connsiteX8" fmla="*/ 1918706 w 1918706"/>
                  <a:gd name="connsiteY8" fmla="*/ 4592438 h 5633118"/>
                  <a:gd name="connsiteX9" fmla="*/ 1918706 w 1918706"/>
                  <a:gd name="connsiteY9" fmla="*/ 5073791 h 5633118"/>
                  <a:gd name="connsiteX10" fmla="*/ 959355 w 1918706"/>
                  <a:gd name="connsiteY10" fmla="*/ 5633118 h 5633118"/>
                  <a:gd name="connsiteX11" fmla="*/ 0 w 1918706"/>
                  <a:gd name="connsiteY11" fmla="*/ 5073791 h 5633118"/>
                  <a:gd name="connsiteX12" fmla="*/ 0 w 1918706"/>
                  <a:gd name="connsiteY12" fmla="*/ 4592438 h 5633118"/>
                  <a:gd name="connsiteX13" fmla="*/ 0 w 1918706"/>
                  <a:gd name="connsiteY13" fmla="*/ 4579284 h 5633118"/>
                  <a:gd name="connsiteX14" fmla="*/ 0 w 1918706"/>
                  <a:gd name="connsiteY14" fmla="*/ 4491829 h 5633118"/>
                  <a:gd name="connsiteX15" fmla="*/ 0 w 1918706"/>
                  <a:gd name="connsiteY15" fmla="*/ 4097931 h 5633118"/>
                  <a:gd name="connsiteX16" fmla="*/ 0 w 1918706"/>
                  <a:gd name="connsiteY16" fmla="*/ 4090156 h 5633118"/>
                  <a:gd name="connsiteX17" fmla="*/ 0 w 1918706"/>
                  <a:gd name="connsiteY17" fmla="*/ 4069228 h 5633118"/>
                  <a:gd name="connsiteX18" fmla="*/ 0 w 1918706"/>
                  <a:gd name="connsiteY18" fmla="*/ 4010476 h 5633118"/>
                  <a:gd name="connsiteX19" fmla="*/ 0 w 1918706"/>
                  <a:gd name="connsiteY19" fmla="*/ 3997322 h 5633118"/>
                  <a:gd name="connsiteX20" fmla="*/ 0 w 1918706"/>
                  <a:gd name="connsiteY20" fmla="*/ 3595649 h 5633118"/>
                  <a:gd name="connsiteX21" fmla="*/ 0 w 1918706"/>
                  <a:gd name="connsiteY21" fmla="*/ 3587875 h 5633118"/>
                  <a:gd name="connsiteX22" fmla="*/ 0 w 1918706"/>
                  <a:gd name="connsiteY22" fmla="*/ 3574721 h 5633118"/>
                  <a:gd name="connsiteX23" fmla="*/ 0 w 1918706"/>
                  <a:gd name="connsiteY23" fmla="*/ 3515969 h 5633118"/>
                  <a:gd name="connsiteX24" fmla="*/ 0 w 1918706"/>
                  <a:gd name="connsiteY24" fmla="*/ 3508195 h 5633118"/>
                  <a:gd name="connsiteX25" fmla="*/ 0 w 1918706"/>
                  <a:gd name="connsiteY25" fmla="*/ 3487266 h 5633118"/>
                  <a:gd name="connsiteX26" fmla="*/ 0 w 1918706"/>
                  <a:gd name="connsiteY2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491829 h 5633118"/>
                  <a:gd name="connsiteX6" fmla="*/ 1918706 w 1918706"/>
                  <a:gd name="connsiteY6" fmla="*/ 4579284 h 5633118"/>
                  <a:gd name="connsiteX7" fmla="*/ 1918706 w 1918706"/>
                  <a:gd name="connsiteY7" fmla="*/ 4592438 h 5633118"/>
                  <a:gd name="connsiteX8" fmla="*/ 1918706 w 1918706"/>
                  <a:gd name="connsiteY8" fmla="*/ 5073791 h 5633118"/>
                  <a:gd name="connsiteX9" fmla="*/ 959355 w 1918706"/>
                  <a:gd name="connsiteY9" fmla="*/ 5633118 h 5633118"/>
                  <a:gd name="connsiteX10" fmla="*/ 0 w 1918706"/>
                  <a:gd name="connsiteY10" fmla="*/ 5073791 h 5633118"/>
                  <a:gd name="connsiteX11" fmla="*/ 0 w 1918706"/>
                  <a:gd name="connsiteY11" fmla="*/ 4592438 h 5633118"/>
                  <a:gd name="connsiteX12" fmla="*/ 0 w 1918706"/>
                  <a:gd name="connsiteY12" fmla="*/ 4579284 h 5633118"/>
                  <a:gd name="connsiteX13" fmla="*/ 0 w 1918706"/>
                  <a:gd name="connsiteY13" fmla="*/ 4491829 h 5633118"/>
                  <a:gd name="connsiteX14" fmla="*/ 0 w 1918706"/>
                  <a:gd name="connsiteY14" fmla="*/ 4097931 h 5633118"/>
                  <a:gd name="connsiteX15" fmla="*/ 0 w 1918706"/>
                  <a:gd name="connsiteY15" fmla="*/ 4090156 h 5633118"/>
                  <a:gd name="connsiteX16" fmla="*/ 0 w 1918706"/>
                  <a:gd name="connsiteY16" fmla="*/ 4069228 h 5633118"/>
                  <a:gd name="connsiteX17" fmla="*/ 0 w 1918706"/>
                  <a:gd name="connsiteY17" fmla="*/ 4010476 h 5633118"/>
                  <a:gd name="connsiteX18" fmla="*/ 0 w 1918706"/>
                  <a:gd name="connsiteY18" fmla="*/ 3997322 h 5633118"/>
                  <a:gd name="connsiteX19" fmla="*/ 0 w 1918706"/>
                  <a:gd name="connsiteY19" fmla="*/ 3595649 h 5633118"/>
                  <a:gd name="connsiteX20" fmla="*/ 0 w 1918706"/>
                  <a:gd name="connsiteY20" fmla="*/ 3587875 h 5633118"/>
                  <a:gd name="connsiteX21" fmla="*/ 0 w 1918706"/>
                  <a:gd name="connsiteY21" fmla="*/ 3574721 h 5633118"/>
                  <a:gd name="connsiteX22" fmla="*/ 0 w 1918706"/>
                  <a:gd name="connsiteY22" fmla="*/ 3515969 h 5633118"/>
                  <a:gd name="connsiteX23" fmla="*/ 0 w 1918706"/>
                  <a:gd name="connsiteY23" fmla="*/ 3508195 h 5633118"/>
                  <a:gd name="connsiteX24" fmla="*/ 0 w 1918706"/>
                  <a:gd name="connsiteY24" fmla="*/ 3487266 h 5633118"/>
                  <a:gd name="connsiteX25" fmla="*/ 0 w 1918706"/>
                  <a:gd name="connsiteY2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090156 h 5633118"/>
                  <a:gd name="connsiteX4" fmla="*/ 1918706 w 1918706"/>
                  <a:gd name="connsiteY4" fmla="*/ 4491829 h 5633118"/>
                  <a:gd name="connsiteX5" fmla="*/ 1918706 w 1918706"/>
                  <a:gd name="connsiteY5" fmla="*/ 4579284 h 5633118"/>
                  <a:gd name="connsiteX6" fmla="*/ 1918706 w 1918706"/>
                  <a:gd name="connsiteY6" fmla="*/ 4592438 h 5633118"/>
                  <a:gd name="connsiteX7" fmla="*/ 1918706 w 1918706"/>
                  <a:gd name="connsiteY7" fmla="*/ 5073791 h 5633118"/>
                  <a:gd name="connsiteX8" fmla="*/ 959355 w 1918706"/>
                  <a:gd name="connsiteY8" fmla="*/ 5633118 h 5633118"/>
                  <a:gd name="connsiteX9" fmla="*/ 0 w 1918706"/>
                  <a:gd name="connsiteY9" fmla="*/ 5073791 h 5633118"/>
                  <a:gd name="connsiteX10" fmla="*/ 0 w 1918706"/>
                  <a:gd name="connsiteY10" fmla="*/ 4592438 h 5633118"/>
                  <a:gd name="connsiteX11" fmla="*/ 0 w 1918706"/>
                  <a:gd name="connsiteY11" fmla="*/ 4579284 h 5633118"/>
                  <a:gd name="connsiteX12" fmla="*/ 0 w 1918706"/>
                  <a:gd name="connsiteY12" fmla="*/ 4491829 h 5633118"/>
                  <a:gd name="connsiteX13" fmla="*/ 0 w 1918706"/>
                  <a:gd name="connsiteY13" fmla="*/ 4097931 h 5633118"/>
                  <a:gd name="connsiteX14" fmla="*/ 0 w 1918706"/>
                  <a:gd name="connsiteY14" fmla="*/ 4090156 h 5633118"/>
                  <a:gd name="connsiteX15" fmla="*/ 0 w 1918706"/>
                  <a:gd name="connsiteY15" fmla="*/ 4069228 h 5633118"/>
                  <a:gd name="connsiteX16" fmla="*/ 0 w 1918706"/>
                  <a:gd name="connsiteY16" fmla="*/ 4010476 h 5633118"/>
                  <a:gd name="connsiteX17" fmla="*/ 0 w 1918706"/>
                  <a:gd name="connsiteY17" fmla="*/ 3997322 h 5633118"/>
                  <a:gd name="connsiteX18" fmla="*/ 0 w 1918706"/>
                  <a:gd name="connsiteY18" fmla="*/ 3595649 h 5633118"/>
                  <a:gd name="connsiteX19" fmla="*/ 0 w 1918706"/>
                  <a:gd name="connsiteY19" fmla="*/ 3587875 h 5633118"/>
                  <a:gd name="connsiteX20" fmla="*/ 0 w 1918706"/>
                  <a:gd name="connsiteY20" fmla="*/ 3574721 h 5633118"/>
                  <a:gd name="connsiteX21" fmla="*/ 0 w 1918706"/>
                  <a:gd name="connsiteY21" fmla="*/ 3515969 h 5633118"/>
                  <a:gd name="connsiteX22" fmla="*/ 0 w 1918706"/>
                  <a:gd name="connsiteY22" fmla="*/ 3508195 h 5633118"/>
                  <a:gd name="connsiteX23" fmla="*/ 0 w 1918706"/>
                  <a:gd name="connsiteY23" fmla="*/ 3487266 h 5633118"/>
                  <a:gd name="connsiteX24" fmla="*/ 0 w 1918706"/>
                  <a:gd name="connsiteY2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491829 h 5633118"/>
                  <a:gd name="connsiteX4" fmla="*/ 1918706 w 1918706"/>
                  <a:gd name="connsiteY4" fmla="*/ 4579284 h 5633118"/>
                  <a:gd name="connsiteX5" fmla="*/ 1918706 w 1918706"/>
                  <a:gd name="connsiteY5" fmla="*/ 4592438 h 5633118"/>
                  <a:gd name="connsiteX6" fmla="*/ 1918706 w 1918706"/>
                  <a:gd name="connsiteY6" fmla="*/ 5073791 h 5633118"/>
                  <a:gd name="connsiteX7" fmla="*/ 959355 w 1918706"/>
                  <a:gd name="connsiteY7" fmla="*/ 5633118 h 5633118"/>
                  <a:gd name="connsiteX8" fmla="*/ 0 w 1918706"/>
                  <a:gd name="connsiteY8" fmla="*/ 5073791 h 5633118"/>
                  <a:gd name="connsiteX9" fmla="*/ 0 w 1918706"/>
                  <a:gd name="connsiteY9" fmla="*/ 4592438 h 5633118"/>
                  <a:gd name="connsiteX10" fmla="*/ 0 w 1918706"/>
                  <a:gd name="connsiteY10" fmla="*/ 4579284 h 5633118"/>
                  <a:gd name="connsiteX11" fmla="*/ 0 w 1918706"/>
                  <a:gd name="connsiteY11" fmla="*/ 4491829 h 5633118"/>
                  <a:gd name="connsiteX12" fmla="*/ 0 w 1918706"/>
                  <a:gd name="connsiteY12" fmla="*/ 4097931 h 5633118"/>
                  <a:gd name="connsiteX13" fmla="*/ 0 w 1918706"/>
                  <a:gd name="connsiteY13" fmla="*/ 4090156 h 5633118"/>
                  <a:gd name="connsiteX14" fmla="*/ 0 w 1918706"/>
                  <a:gd name="connsiteY14" fmla="*/ 4069228 h 5633118"/>
                  <a:gd name="connsiteX15" fmla="*/ 0 w 1918706"/>
                  <a:gd name="connsiteY15" fmla="*/ 4010476 h 5633118"/>
                  <a:gd name="connsiteX16" fmla="*/ 0 w 1918706"/>
                  <a:gd name="connsiteY16" fmla="*/ 3997322 h 5633118"/>
                  <a:gd name="connsiteX17" fmla="*/ 0 w 1918706"/>
                  <a:gd name="connsiteY17" fmla="*/ 3595649 h 5633118"/>
                  <a:gd name="connsiteX18" fmla="*/ 0 w 1918706"/>
                  <a:gd name="connsiteY18" fmla="*/ 3587875 h 5633118"/>
                  <a:gd name="connsiteX19" fmla="*/ 0 w 1918706"/>
                  <a:gd name="connsiteY19" fmla="*/ 3574721 h 5633118"/>
                  <a:gd name="connsiteX20" fmla="*/ 0 w 1918706"/>
                  <a:gd name="connsiteY20" fmla="*/ 3515969 h 5633118"/>
                  <a:gd name="connsiteX21" fmla="*/ 0 w 1918706"/>
                  <a:gd name="connsiteY21" fmla="*/ 3508195 h 5633118"/>
                  <a:gd name="connsiteX22" fmla="*/ 0 w 1918706"/>
                  <a:gd name="connsiteY22" fmla="*/ 3487266 h 5633118"/>
                  <a:gd name="connsiteX23" fmla="*/ 0 w 1918706"/>
                  <a:gd name="connsiteY2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4592438 h 5633118"/>
                  <a:gd name="connsiteX5" fmla="*/ 1918706 w 1918706"/>
                  <a:gd name="connsiteY5" fmla="*/ 5073791 h 5633118"/>
                  <a:gd name="connsiteX6" fmla="*/ 959355 w 1918706"/>
                  <a:gd name="connsiteY6" fmla="*/ 5633118 h 5633118"/>
                  <a:gd name="connsiteX7" fmla="*/ 0 w 1918706"/>
                  <a:gd name="connsiteY7" fmla="*/ 5073791 h 5633118"/>
                  <a:gd name="connsiteX8" fmla="*/ 0 w 1918706"/>
                  <a:gd name="connsiteY8" fmla="*/ 4592438 h 5633118"/>
                  <a:gd name="connsiteX9" fmla="*/ 0 w 1918706"/>
                  <a:gd name="connsiteY9" fmla="*/ 4579284 h 5633118"/>
                  <a:gd name="connsiteX10" fmla="*/ 0 w 1918706"/>
                  <a:gd name="connsiteY10" fmla="*/ 4491829 h 5633118"/>
                  <a:gd name="connsiteX11" fmla="*/ 0 w 1918706"/>
                  <a:gd name="connsiteY11" fmla="*/ 4097931 h 5633118"/>
                  <a:gd name="connsiteX12" fmla="*/ 0 w 1918706"/>
                  <a:gd name="connsiteY12" fmla="*/ 4090156 h 5633118"/>
                  <a:gd name="connsiteX13" fmla="*/ 0 w 1918706"/>
                  <a:gd name="connsiteY13" fmla="*/ 4069228 h 5633118"/>
                  <a:gd name="connsiteX14" fmla="*/ 0 w 1918706"/>
                  <a:gd name="connsiteY14" fmla="*/ 4010476 h 5633118"/>
                  <a:gd name="connsiteX15" fmla="*/ 0 w 1918706"/>
                  <a:gd name="connsiteY15" fmla="*/ 3997322 h 5633118"/>
                  <a:gd name="connsiteX16" fmla="*/ 0 w 1918706"/>
                  <a:gd name="connsiteY16" fmla="*/ 3595649 h 5633118"/>
                  <a:gd name="connsiteX17" fmla="*/ 0 w 1918706"/>
                  <a:gd name="connsiteY17" fmla="*/ 3587875 h 5633118"/>
                  <a:gd name="connsiteX18" fmla="*/ 0 w 1918706"/>
                  <a:gd name="connsiteY18" fmla="*/ 3574721 h 5633118"/>
                  <a:gd name="connsiteX19" fmla="*/ 0 w 1918706"/>
                  <a:gd name="connsiteY19" fmla="*/ 3515969 h 5633118"/>
                  <a:gd name="connsiteX20" fmla="*/ 0 w 1918706"/>
                  <a:gd name="connsiteY20" fmla="*/ 3508195 h 5633118"/>
                  <a:gd name="connsiteX21" fmla="*/ 0 w 1918706"/>
                  <a:gd name="connsiteY21" fmla="*/ 3487266 h 5633118"/>
                  <a:gd name="connsiteX22" fmla="*/ 0 w 1918706"/>
                  <a:gd name="connsiteY2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5073791 h 5633118"/>
                  <a:gd name="connsiteX5" fmla="*/ 959355 w 1918706"/>
                  <a:gd name="connsiteY5" fmla="*/ 5633118 h 5633118"/>
                  <a:gd name="connsiteX6" fmla="*/ 0 w 1918706"/>
                  <a:gd name="connsiteY6" fmla="*/ 5073791 h 5633118"/>
                  <a:gd name="connsiteX7" fmla="*/ 0 w 1918706"/>
                  <a:gd name="connsiteY7" fmla="*/ 4592438 h 5633118"/>
                  <a:gd name="connsiteX8" fmla="*/ 0 w 1918706"/>
                  <a:gd name="connsiteY8" fmla="*/ 4579284 h 5633118"/>
                  <a:gd name="connsiteX9" fmla="*/ 0 w 1918706"/>
                  <a:gd name="connsiteY9" fmla="*/ 4491829 h 5633118"/>
                  <a:gd name="connsiteX10" fmla="*/ 0 w 1918706"/>
                  <a:gd name="connsiteY10" fmla="*/ 4097931 h 5633118"/>
                  <a:gd name="connsiteX11" fmla="*/ 0 w 1918706"/>
                  <a:gd name="connsiteY11" fmla="*/ 4090156 h 5633118"/>
                  <a:gd name="connsiteX12" fmla="*/ 0 w 1918706"/>
                  <a:gd name="connsiteY12" fmla="*/ 4069228 h 5633118"/>
                  <a:gd name="connsiteX13" fmla="*/ 0 w 1918706"/>
                  <a:gd name="connsiteY13" fmla="*/ 4010476 h 5633118"/>
                  <a:gd name="connsiteX14" fmla="*/ 0 w 1918706"/>
                  <a:gd name="connsiteY14" fmla="*/ 3997322 h 5633118"/>
                  <a:gd name="connsiteX15" fmla="*/ 0 w 1918706"/>
                  <a:gd name="connsiteY15" fmla="*/ 3595649 h 5633118"/>
                  <a:gd name="connsiteX16" fmla="*/ 0 w 1918706"/>
                  <a:gd name="connsiteY16" fmla="*/ 3587875 h 5633118"/>
                  <a:gd name="connsiteX17" fmla="*/ 0 w 1918706"/>
                  <a:gd name="connsiteY17" fmla="*/ 3574721 h 5633118"/>
                  <a:gd name="connsiteX18" fmla="*/ 0 w 1918706"/>
                  <a:gd name="connsiteY18" fmla="*/ 3515969 h 5633118"/>
                  <a:gd name="connsiteX19" fmla="*/ 0 w 1918706"/>
                  <a:gd name="connsiteY19" fmla="*/ 3508195 h 5633118"/>
                  <a:gd name="connsiteX20" fmla="*/ 0 w 1918706"/>
                  <a:gd name="connsiteY20" fmla="*/ 3487266 h 5633118"/>
                  <a:gd name="connsiteX21" fmla="*/ 0 w 1918706"/>
                  <a:gd name="connsiteY2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3487266 h 5633118"/>
                  <a:gd name="connsiteX20" fmla="*/ 0 w 1918706"/>
                  <a:gd name="connsiteY2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10064 w 1928770"/>
                  <a:gd name="connsiteY7" fmla="*/ 4579284 h 5633118"/>
                  <a:gd name="connsiteX8" fmla="*/ 0 w 1928770"/>
                  <a:gd name="connsiteY8" fmla="*/ 4484457 h 5633118"/>
                  <a:gd name="connsiteX9" fmla="*/ 10064 w 1928770"/>
                  <a:gd name="connsiteY9"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0 w 1928770"/>
                  <a:gd name="connsiteY7" fmla="*/ 4484457 h 5633118"/>
                  <a:gd name="connsiteX8" fmla="*/ 10064 w 1928770"/>
                  <a:gd name="connsiteY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0 h 563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8706" h="5633118">
                    <a:moveTo>
                      <a:pt x="0" y="0"/>
                    </a:moveTo>
                    <a:cubicBezTo>
                      <a:pt x="0" y="308912"/>
                      <a:pt x="429517" y="559332"/>
                      <a:pt x="959355" y="559332"/>
                    </a:cubicBezTo>
                    <a:cubicBezTo>
                      <a:pt x="1489193" y="559332"/>
                      <a:pt x="1918706" y="308912"/>
                      <a:pt x="1918706" y="0"/>
                    </a:cubicBezTo>
                    <a:lnTo>
                      <a:pt x="1918706" y="5073791"/>
                    </a:lnTo>
                    <a:cubicBezTo>
                      <a:pt x="1918706" y="5382699"/>
                      <a:pt x="1489193" y="5633118"/>
                      <a:pt x="959355" y="5633118"/>
                    </a:cubicBezTo>
                    <a:cubicBezTo>
                      <a:pt x="429517" y="5633118"/>
                      <a:pt x="0" y="5382699"/>
                      <a:pt x="0" y="5073791"/>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995" name="Oval 386">
                <a:extLst>
                  <a:ext uri="{FF2B5EF4-FFF2-40B4-BE49-F238E27FC236}">
                    <a16:creationId xmlns:a16="http://schemas.microsoft.com/office/drawing/2014/main" id="{2A2DCA37-0577-41A0-8314-24444025B289}"/>
                  </a:ext>
                </a:extLst>
              </p:cNvPr>
              <p:cNvSpPr/>
              <p:nvPr/>
            </p:nvSpPr>
            <p:spPr bwMode="gray">
              <a:xfrm>
                <a:off x="12676185" y="-2160831"/>
                <a:ext cx="1918706" cy="1340175"/>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grpSp>
        <p:nvGrpSpPr>
          <p:cNvPr id="974" name="Group 973">
            <a:extLst>
              <a:ext uri="{FF2B5EF4-FFF2-40B4-BE49-F238E27FC236}">
                <a16:creationId xmlns:a16="http://schemas.microsoft.com/office/drawing/2014/main" id="{B62978F9-4E84-4099-AC2E-17AD11607B0B}"/>
              </a:ext>
            </a:extLst>
          </p:cNvPr>
          <p:cNvGrpSpPr/>
          <p:nvPr/>
        </p:nvGrpSpPr>
        <p:grpSpPr bwMode="gray">
          <a:xfrm flipH="1" flipV="1">
            <a:off x="9356945" y="3916040"/>
            <a:ext cx="1132174" cy="1308852"/>
            <a:chOff x="8855853" y="4305731"/>
            <a:chExt cx="1132174" cy="1308852"/>
          </a:xfrm>
        </p:grpSpPr>
        <p:sp>
          <p:nvSpPr>
            <p:cNvPr id="984" name="Cylinder 983">
              <a:extLst>
                <a:ext uri="{FF2B5EF4-FFF2-40B4-BE49-F238E27FC236}">
                  <a16:creationId xmlns:a16="http://schemas.microsoft.com/office/drawing/2014/main" id="{C96BA271-496D-4BDE-82CE-D0B3501F0FEB}"/>
                </a:ext>
              </a:extLst>
            </p:cNvPr>
            <p:cNvSpPr/>
            <p:nvPr/>
          </p:nvSpPr>
          <p:spPr bwMode="gray">
            <a:xfrm rot="18000000">
              <a:off x="9822157" y="4596046"/>
              <a:ext cx="81425" cy="250314"/>
            </a:xfrm>
            <a:prstGeom prst="can">
              <a:avLst>
                <a:gd name="adj" fmla="val 71299"/>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85" name="Cylinder 984">
              <a:extLst>
                <a:ext uri="{FF2B5EF4-FFF2-40B4-BE49-F238E27FC236}">
                  <a16:creationId xmlns:a16="http://schemas.microsoft.com/office/drawing/2014/main" id="{01870D3A-B6B6-4D2F-BE41-37558D41FA63}"/>
                </a:ext>
              </a:extLst>
            </p:cNvPr>
            <p:cNvSpPr/>
            <p:nvPr/>
          </p:nvSpPr>
          <p:spPr bwMode="gray">
            <a:xfrm rot="18000000">
              <a:off x="9621338" y="4711139"/>
              <a:ext cx="81425" cy="250314"/>
            </a:xfrm>
            <a:prstGeom prst="can">
              <a:avLst>
                <a:gd name="adj" fmla="val 71299"/>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86" name="Cylinder 985">
              <a:extLst>
                <a:ext uri="{FF2B5EF4-FFF2-40B4-BE49-F238E27FC236}">
                  <a16:creationId xmlns:a16="http://schemas.microsoft.com/office/drawing/2014/main" id="{E3ACE1D4-A6A2-4F5D-8ED1-5B51314AF646}"/>
                </a:ext>
              </a:extLst>
            </p:cNvPr>
            <p:cNvSpPr/>
            <p:nvPr/>
          </p:nvSpPr>
          <p:spPr bwMode="gray">
            <a:xfrm rot="18000000">
              <a:off x="9420518" y="4826232"/>
              <a:ext cx="81425" cy="250314"/>
            </a:xfrm>
            <a:prstGeom prst="can">
              <a:avLst>
                <a:gd name="adj" fmla="val 71299"/>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87" name="Cylinder 986">
              <a:extLst>
                <a:ext uri="{FF2B5EF4-FFF2-40B4-BE49-F238E27FC236}">
                  <a16:creationId xmlns:a16="http://schemas.microsoft.com/office/drawing/2014/main" id="{FC2BAACF-F4FD-423A-A05A-ED38E8007628}"/>
                </a:ext>
              </a:extLst>
            </p:cNvPr>
            <p:cNvSpPr/>
            <p:nvPr/>
          </p:nvSpPr>
          <p:spPr bwMode="gray">
            <a:xfrm rot="18000000">
              <a:off x="9219698" y="4941324"/>
              <a:ext cx="81425" cy="250314"/>
            </a:xfrm>
            <a:prstGeom prst="can">
              <a:avLst>
                <a:gd name="adj" fmla="val 71299"/>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nvGrpSpPr>
            <p:cNvPr id="979" name="Group 978">
              <a:extLst>
                <a:ext uri="{FF2B5EF4-FFF2-40B4-BE49-F238E27FC236}">
                  <a16:creationId xmlns:a16="http://schemas.microsoft.com/office/drawing/2014/main" id="{05BD447E-FDD7-40D6-B24E-D17AF665D061}"/>
                </a:ext>
              </a:extLst>
            </p:cNvPr>
            <p:cNvGrpSpPr/>
            <p:nvPr/>
          </p:nvGrpSpPr>
          <p:grpSpPr bwMode="gray">
            <a:xfrm>
              <a:off x="8877414" y="4305731"/>
              <a:ext cx="997184" cy="1308852"/>
              <a:chOff x="8877414" y="4305731"/>
              <a:chExt cx="997184" cy="1308852"/>
            </a:xfrm>
          </p:grpSpPr>
          <p:sp>
            <p:nvSpPr>
              <p:cNvPr id="980" name="Freeform: Shape 979">
                <a:extLst>
                  <a:ext uri="{FF2B5EF4-FFF2-40B4-BE49-F238E27FC236}">
                    <a16:creationId xmlns:a16="http://schemas.microsoft.com/office/drawing/2014/main" id="{33E6D042-613C-40B5-91AF-FA5D375AEE1A}"/>
                  </a:ext>
                </a:extLst>
              </p:cNvPr>
              <p:cNvSpPr/>
              <p:nvPr/>
            </p:nvSpPr>
            <p:spPr bwMode="gray">
              <a:xfrm rot="18000000" flipH="1" flipV="1">
                <a:off x="8595113" y="4588032"/>
                <a:ext cx="1308852" cy="744249"/>
              </a:xfrm>
              <a:custGeom>
                <a:avLst/>
                <a:gdLst>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645961 w 1248882"/>
                  <a:gd name="connsiteY28" fmla="*/ 393195 h 912354"/>
                  <a:gd name="connsiteX29" fmla="*/ 629636 w 1248882"/>
                  <a:gd name="connsiteY29" fmla="*/ 386920 h 912354"/>
                  <a:gd name="connsiteX30" fmla="*/ 576468 w 1248882"/>
                  <a:gd name="connsiteY30" fmla="*/ 359689 h 912354"/>
                  <a:gd name="connsiteX31" fmla="*/ 97170 w 1248882"/>
                  <a:gd name="connsiteY31" fmla="*/ 84934 h 912354"/>
                  <a:gd name="connsiteX32" fmla="*/ 97100 w 1248882"/>
                  <a:gd name="connsiteY32" fmla="*/ 84854 h 912354"/>
                  <a:gd name="connsiteX33" fmla="*/ 92641 w 1248882"/>
                  <a:gd name="connsiteY33" fmla="*/ 86106 h 912354"/>
                  <a:gd name="connsiteX34" fmla="*/ 83322 w 1248882"/>
                  <a:gd name="connsiteY34" fmla="*/ 98353 h 912354"/>
                  <a:gd name="connsiteX35" fmla="*/ 83306 w 1248882"/>
                  <a:gd name="connsiteY35" fmla="*/ 104410 h 912354"/>
                  <a:gd name="connsiteX36" fmla="*/ 84058 w 1248882"/>
                  <a:gd name="connsiteY36" fmla="*/ 106600 h 912354"/>
                  <a:gd name="connsiteX37" fmla="*/ 84057 w 1248882"/>
                  <a:gd name="connsiteY37" fmla="*/ 212545 h 912354"/>
                  <a:gd name="connsiteX38" fmla="*/ 42843 w 1248882"/>
                  <a:gd name="connsiteY38" fmla="*/ 236780 h 912354"/>
                  <a:gd name="connsiteX39" fmla="*/ 4867 w 1248882"/>
                  <a:gd name="connsiteY39"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645961 w 1248882"/>
                  <a:gd name="connsiteY28" fmla="*/ 393195 h 912354"/>
                  <a:gd name="connsiteX29" fmla="*/ 576468 w 1248882"/>
                  <a:gd name="connsiteY29" fmla="*/ 359689 h 912354"/>
                  <a:gd name="connsiteX30" fmla="*/ 97170 w 1248882"/>
                  <a:gd name="connsiteY30" fmla="*/ 84934 h 912354"/>
                  <a:gd name="connsiteX31" fmla="*/ 97100 w 1248882"/>
                  <a:gd name="connsiteY31" fmla="*/ 84854 h 912354"/>
                  <a:gd name="connsiteX32" fmla="*/ 92641 w 1248882"/>
                  <a:gd name="connsiteY32" fmla="*/ 86106 h 912354"/>
                  <a:gd name="connsiteX33" fmla="*/ 83322 w 1248882"/>
                  <a:gd name="connsiteY33" fmla="*/ 98353 h 912354"/>
                  <a:gd name="connsiteX34" fmla="*/ 83306 w 1248882"/>
                  <a:gd name="connsiteY34" fmla="*/ 104410 h 912354"/>
                  <a:gd name="connsiteX35" fmla="*/ 84058 w 1248882"/>
                  <a:gd name="connsiteY35" fmla="*/ 106600 h 912354"/>
                  <a:gd name="connsiteX36" fmla="*/ 84057 w 1248882"/>
                  <a:gd name="connsiteY36" fmla="*/ 212545 h 912354"/>
                  <a:gd name="connsiteX37" fmla="*/ 42843 w 1248882"/>
                  <a:gd name="connsiteY37" fmla="*/ 236780 h 912354"/>
                  <a:gd name="connsiteX38" fmla="*/ 4867 w 1248882"/>
                  <a:gd name="connsiteY38"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576468 w 1248882"/>
                  <a:gd name="connsiteY28" fmla="*/ 359689 h 912354"/>
                  <a:gd name="connsiteX29" fmla="*/ 97170 w 1248882"/>
                  <a:gd name="connsiteY29" fmla="*/ 84934 h 912354"/>
                  <a:gd name="connsiteX30" fmla="*/ 97100 w 1248882"/>
                  <a:gd name="connsiteY30" fmla="*/ 84854 h 912354"/>
                  <a:gd name="connsiteX31" fmla="*/ 92641 w 1248882"/>
                  <a:gd name="connsiteY31" fmla="*/ 86106 h 912354"/>
                  <a:gd name="connsiteX32" fmla="*/ 83322 w 1248882"/>
                  <a:gd name="connsiteY32" fmla="*/ 98353 h 912354"/>
                  <a:gd name="connsiteX33" fmla="*/ 83306 w 1248882"/>
                  <a:gd name="connsiteY33" fmla="*/ 104410 h 912354"/>
                  <a:gd name="connsiteX34" fmla="*/ 84058 w 1248882"/>
                  <a:gd name="connsiteY34" fmla="*/ 106600 h 912354"/>
                  <a:gd name="connsiteX35" fmla="*/ 84057 w 1248882"/>
                  <a:gd name="connsiteY35" fmla="*/ 212545 h 912354"/>
                  <a:gd name="connsiteX36" fmla="*/ 42843 w 1248882"/>
                  <a:gd name="connsiteY36" fmla="*/ 236780 h 912354"/>
                  <a:gd name="connsiteX37" fmla="*/ 4867 w 1248882"/>
                  <a:gd name="connsiteY37"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576468 w 1248882"/>
                  <a:gd name="connsiteY27" fmla="*/ 359689 h 912354"/>
                  <a:gd name="connsiteX28" fmla="*/ 97170 w 1248882"/>
                  <a:gd name="connsiteY28" fmla="*/ 84934 h 912354"/>
                  <a:gd name="connsiteX29" fmla="*/ 97100 w 1248882"/>
                  <a:gd name="connsiteY29" fmla="*/ 84854 h 912354"/>
                  <a:gd name="connsiteX30" fmla="*/ 92641 w 1248882"/>
                  <a:gd name="connsiteY30" fmla="*/ 86106 h 912354"/>
                  <a:gd name="connsiteX31" fmla="*/ 83322 w 1248882"/>
                  <a:gd name="connsiteY31" fmla="*/ 98353 h 912354"/>
                  <a:gd name="connsiteX32" fmla="*/ 83306 w 1248882"/>
                  <a:gd name="connsiteY32" fmla="*/ 104410 h 912354"/>
                  <a:gd name="connsiteX33" fmla="*/ 84058 w 1248882"/>
                  <a:gd name="connsiteY33" fmla="*/ 106600 h 912354"/>
                  <a:gd name="connsiteX34" fmla="*/ 84057 w 1248882"/>
                  <a:gd name="connsiteY34" fmla="*/ 212545 h 912354"/>
                  <a:gd name="connsiteX35" fmla="*/ 42843 w 1248882"/>
                  <a:gd name="connsiteY35" fmla="*/ 236780 h 912354"/>
                  <a:gd name="connsiteX36" fmla="*/ 4867 w 1248882"/>
                  <a:gd name="connsiteY36"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576468 w 1248882"/>
                  <a:gd name="connsiteY26" fmla="*/ 359689 h 912354"/>
                  <a:gd name="connsiteX27" fmla="*/ 97170 w 1248882"/>
                  <a:gd name="connsiteY27" fmla="*/ 84934 h 912354"/>
                  <a:gd name="connsiteX28" fmla="*/ 97100 w 1248882"/>
                  <a:gd name="connsiteY28" fmla="*/ 84854 h 912354"/>
                  <a:gd name="connsiteX29" fmla="*/ 92641 w 1248882"/>
                  <a:gd name="connsiteY29" fmla="*/ 86106 h 912354"/>
                  <a:gd name="connsiteX30" fmla="*/ 83322 w 1248882"/>
                  <a:gd name="connsiteY30" fmla="*/ 98353 h 912354"/>
                  <a:gd name="connsiteX31" fmla="*/ 83306 w 1248882"/>
                  <a:gd name="connsiteY31" fmla="*/ 104410 h 912354"/>
                  <a:gd name="connsiteX32" fmla="*/ 84058 w 1248882"/>
                  <a:gd name="connsiteY32" fmla="*/ 106600 h 912354"/>
                  <a:gd name="connsiteX33" fmla="*/ 84057 w 1248882"/>
                  <a:gd name="connsiteY33" fmla="*/ 212545 h 912354"/>
                  <a:gd name="connsiteX34" fmla="*/ 42843 w 1248882"/>
                  <a:gd name="connsiteY34" fmla="*/ 236780 h 912354"/>
                  <a:gd name="connsiteX35" fmla="*/ 4867 w 1248882"/>
                  <a:gd name="connsiteY35"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576468 w 1248882"/>
                  <a:gd name="connsiteY25" fmla="*/ 359689 h 912354"/>
                  <a:gd name="connsiteX26" fmla="*/ 97170 w 1248882"/>
                  <a:gd name="connsiteY26" fmla="*/ 84934 h 912354"/>
                  <a:gd name="connsiteX27" fmla="*/ 97100 w 1248882"/>
                  <a:gd name="connsiteY27" fmla="*/ 84854 h 912354"/>
                  <a:gd name="connsiteX28" fmla="*/ 92641 w 1248882"/>
                  <a:gd name="connsiteY28" fmla="*/ 86106 h 912354"/>
                  <a:gd name="connsiteX29" fmla="*/ 83322 w 1248882"/>
                  <a:gd name="connsiteY29" fmla="*/ 98353 h 912354"/>
                  <a:gd name="connsiteX30" fmla="*/ 83306 w 1248882"/>
                  <a:gd name="connsiteY30" fmla="*/ 104410 h 912354"/>
                  <a:gd name="connsiteX31" fmla="*/ 84058 w 1248882"/>
                  <a:gd name="connsiteY31" fmla="*/ 106600 h 912354"/>
                  <a:gd name="connsiteX32" fmla="*/ 84057 w 1248882"/>
                  <a:gd name="connsiteY32" fmla="*/ 212545 h 912354"/>
                  <a:gd name="connsiteX33" fmla="*/ 42843 w 1248882"/>
                  <a:gd name="connsiteY33" fmla="*/ 236780 h 912354"/>
                  <a:gd name="connsiteX34" fmla="*/ 4867 w 1248882"/>
                  <a:gd name="connsiteY34"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97170 w 1248882"/>
                  <a:gd name="connsiteY25" fmla="*/ 84934 h 912354"/>
                  <a:gd name="connsiteX26" fmla="*/ 97100 w 1248882"/>
                  <a:gd name="connsiteY26" fmla="*/ 84854 h 912354"/>
                  <a:gd name="connsiteX27" fmla="*/ 92641 w 1248882"/>
                  <a:gd name="connsiteY27" fmla="*/ 86106 h 912354"/>
                  <a:gd name="connsiteX28" fmla="*/ 83322 w 1248882"/>
                  <a:gd name="connsiteY28" fmla="*/ 98353 h 912354"/>
                  <a:gd name="connsiteX29" fmla="*/ 83306 w 1248882"/>
                  <a:gd name="connsiteY29" fmla="*/ 104410 h 912354"/>
                  <a:gd name="connsiteX30" fmla="*/ 84058 w 1248882"/>
                  <a:gd name="connsiteY30" fmla="*/ 106600 h 912354"/>
                  <a:gd name="connsiteX31" fmla="*/ 84057 w 1248882"/>
                  <a:gd name="connsiteY31" fmla="*/ 212545 h 912354"/>
                  <a:gd name="connsiteX32" fmla="*/ 42843 w 1248882"/>
                  <a:gd name="connsiteY32" fmla="*/ 236780 h 912354"/>
                  <a:gd name="connsiteX33" fmla="*/ 4867 w 1248882"/>
                  <a:gd name="connsiteY33"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95504 w 1248882"/>
                  <a:gd name="connsiteY10" fmla="*/ 342628 h 912354"/>
                  <a:gd name="connsiteX11" fmla="*/ 1195107 w 1248882"/>
                  <a:gd name="connsiteY11" fmla="*/ 625705 h 912354"/>
                  <a:gd name="connsiteX12" fmla="*/ 1233715 w 1248882"/>
                  <a:gd name="connsiteY12" fmla="*/ 663595 h 912354"/>
                  <a:gd name="connsiteX13" fmla="*/ 1246207 w 1248882"/>
                  <a:gd name="connsiteY13" fmla="*/ 704430 h 912354"/>
                  <a:gd name="connsiteX14" fmla="*/ 1247236 w 1248882"/>
                  <a:gd name="connsiteY14" fmla="*/ 715969 h 912354"/>
                  <a:gd name="connsiteX15" fmla="*/ 1248882 w 1248882"/>
                  <a:gd name="connsiteY15" fmla="*/ 733604 h 912354"/>
                  <a:gd name="connsiteX16" fmla="*/ 1248882 w 1248882"/>
                  <a:gd name="connsiteY16" fmla="*/ 888119 h 912354"/>
                  <a:gd name="connsiteX17" fmla="*/ 1207667 w 1248882"/>
                  <a:gd name="connsiteY17" fmla="*/ 912354 h 912354"/>
                  <a:gd name="connsiteX18" fmla="*/ 1169691 w 1248882"/>
                  <a:gd name="connsiteY18" fmla="*/ 897552 h 912354"/>
                  <a:gd name="connsiteX19" fmla="*/ 1166452 w 1248882"/>
                  <a:gd name="connsiteY19" fmla="*/ 888119 h 912354"/>
                  <a:gd name="connsiteX20" fmla="*/ 1164480 w 1248882"/>
                  <a:gd name="connsiteY20" fmla="*/ 718004 h 912354"/>
                  <a:gd name="connsiteX21" fmla="*/ 1164797 w 1248882"/>
                  <a:gd name="connsiteY21" fmla="*/ 719337 h 912354"/>
                  <a:gd name="connsiteX22" fmla="*/ 1164813 w 1248882"/>
                  <a:gd name="connsiteY22" fmla="*/ 716747 h 912354"/>
                  <a:gd name="connsiteX23" fmla="*/ 1153233 w 1248882"/>
                  <a:gd name="connsiteY23" fmla="*/ 696690 h 912354"/>
                  <a:gd name="connsiteX24" fmla="*/ 97170 w 1248882"/>
                  <a:gd name="connsiteY24" fmla="*/ 84934 h 912354"/>
                  <a:gd name="connsiteX25" fmla="*/ 97100 w 1248882"/>
                  <a:gd name="connsiteY25" fmla="*/ 84854 h 912354"/>
                  <a:gd name="connsiteX26" fmla="*/ 92641 w 1248882"/>
                  <a:gd name="connsiteY26" fmla="*/ 86106 h 912354"/>
                  <a:gd name="connsiteX27" fmla="*/ 83322 w 1248882"/>
                  <a:gd name="connsiteY27" fmla="*/ 98353 h 912354"/>
                  <a:gd name="connsiteX28" fmla="*/ 83306 w 1248882"/>
                  <a:gd name="connsiteY28" fmla="*/ 104410 h 912354"/>
                  <a:gd name="connsiteX29" fmla="*/ 84058 w 1248882"/>
                  <a:gd name="connsiteY29" fmla="*/ 106600 h 912354"/>
                  <a:gd name="connsiteX30" fmla="*/ 84057 w 1248882"/>
                  <a:gd name="connsiteY30" fmla="*/ 212545 h 912354"/>
                  <a:gd name="connsiteX31" fmla="*/ 42843 w 1248882"/>
                  <a:gd name="connsiteY31" fmla="*/ 236780 h 912354"/>
                  <a:gd name="connsiteX32" fmla="*/ 4867 w 1248882"/>
                  <a:gd name="connsiteY32"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95504 w 1248882"/>
                  <a:gd name="connsiteY9" fmla="*/ 342628 h 912354"/>
                  <a:gd name="connsiteX10" fmla="*/ 1195107 w 1248882"/>
                  <a:gd name="connsiteY10" fmla="*/ 625705 h 912354"/>
                  <a:gd name="connsiteX11" fmla="*/ 1233715 w 1248882"/>
                  <a:gd name="connsiteY11" fmla="*/ 663595 h 912354"/>
                  <a:gd name="connsiteX12" fmla="*/ 1246207 w 1248882"/>
                  <a:gd name="connsiteY12" fmla="*/ 704430 h 912354"/>
                  <a:gd name="connsiteX13" fmla="*/ 1247236 w 1248882"/>
                  <a:gd name="connsiteY13" fmla="*/ 715969 h 912354"/>
                  <a:gd name="connsiteX14" fmla="*/ 1248882 w 1248882"/>
                  <a:gd name="connsiteY14" fmla="*/ 733604 h 912354"/>
                  <a:gd name="connsiteX15" fmla="*/ 1248882 w 1248882"/>
                  <a:gd name="connsiteY15" fmla="*/ 888119 h 912354"/>
                  <a:gd name="connsiteX16" fmla="*/ 1207667 w 1248882"/>
                  <a:gd name="connsiteY16" fmla="*/ 912354 h 912354"/>
                  <a:gd name="connsiteX17" fmla="*/ 1169691 w 1248882"/>
                  <a:gd name="connsiteY17" fmla="*/ 897552 h 912354"/>
                  <a:gd name="connsiteX18" fmla="*/ 1166452 w 1248882"/>
                  <a:gd name="connsiteY18" fmla="*/ 888119 h 912354"/>
                  <a:gd name="connsiteX19" fmla="*/ 1164480 w 1248882"/>
                  <a:gd name="connsiteY19" fmla="*/ 718004 h 912354"/>
                  <a:gd name="connsiteX20" fmla="*/ 1164797 w 1248882"/>
                  <a:gd name="connsiteY20" fmla="*/ 719337 h 912354"/>
                  <a:gd name="connsiteX21" fmla="*/ 1164813 w 1248882"/>
                  <a:gd name="connsiteY21" fmla="*/ 716747 h 912354"/>
                  <a:gd name="connsiteX22" fmla="*/ 1153233 w 1248882"/>
                  <a:gd name="connsiteY22" fmla="*/ 696690 h 912354"/>
                  <a:gd name="connsiteX23" fmla="*/ 97170 w 1248882"/>
                  <a:gd name="connsiteY23" fmla="*/ 84934 h 912354"/>
                  <a:gd name="connsiteX24" fmla="*/ 97100 w 1248882"/>
                  <a:gd name="connsiteY24" fmla="*/ 84854 h 912354"/>
                  <a:gd name="connsiteX25" fmla="*/ 92641 w 1248882"/>
                  <a:gd name="connsiteY25" fmla="*/ 86106 h 912354"/>
                  <a:gd name="connsiteX26" fmla="*/ 83322 w 1248882"/>
                  <a:gd name="connsiteY26" fmla="*/ 98353 h 912354"/>
                  <a:gd name="connsiteX27" fmla="*/ 83306 w 1248882"/>
                  <a:gd name="connsiteY27" fmla="*/ 104410 h 912354"/>
                  <a:gd name="connsiteX28" fmla="*/ 84058 w 1248882"/>
                  <a:gd name="connsiteY28" fmla="*/ 106600 h 912354"/>
                  <a:gd name="connsiteX29" fmla="*/ 84057 w 1248882"/>
                  <a:gd name="connsiteY29" fmla="*/ 212545 h 912354"/>
                  <a:gd name="connsiteX30" fmla="*/ 42843 w 1248882"/>
                  <a:gd name="connsiteY30" fmla="*/ 236780 h 912354"/>
                  <a:gd name="connsiteX31" fmla="*/ 4867 w 1248882"/>
                  <a:gd name="connsiteY31"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95504 w 1248882"/>
                  <a:gd name="connsiteY8" fmla="*/ 342628 h 912354"/>
                  <a:gd name="connsiteX9" fmla="*/ 1195107 w 1248882"/>
                  <a:gd name="connsiteY9" fmla="*/ 625705 h 912354"/>
                  <a:gd name="connsiteX10" fmla="*/ 1233715 w 1248882"/>
                  <a:gd name="connsiteY10" fmla="*/ 663595 h 912354"/>
                  <a:gd name="connsiteX11" fmla="*/ 1246207 w 1248882"/>
                  <a:gd name="connsiteY11" fmla="*/ 704430 h 912354"/>
                  <a:gd name="connsiteX12" fmla="*/ 1247236 w 1248882"/>
                  <a:gd name="connsiteY12" fmla="*/ 715969 h 912354"/>
                  <a:gd name="connsiteX13" fmla="*/ 1248882 w 1248882"/>
                  <a:gd name="connsiteY13" fmla="*/ 733604 h 912354"/>
                  <a:gd name="connsiteX14" fmla="*/ 1248882 w 1248882"/>
                  <a:gd name="connsiteY14" fmla="*/ 888119 h 912354"/>
                  <a:gd name="connsiteX15" fmla="*/ 1207667 w 1248882"/>
                  <a:gd name="connsiteY15" fmla="*/ 912354 h 912354"/>
                  <a:gd name="connsiteX16" fmla="*/ 1169691 w 1248882"/>
                  <a:gd name="connsiteY16" fmla="*/ 897552 h 912354"/>
                  <a:gd name="connsiteX17" fmla="*/ 1166452 w 1248882"/>
                  <a:gd name="connsiteY17" fmla="*/ 888119 h 912354"/>
                  <a:gd name="connsiteX18" fmla="*/ 1164480 w 1248882"/>
                  <a:gd name="connsiteY18" fmla="*/ 718004 h 912354"/>
                  <a:gd name="connsiteX19" fmla="*/ 1164797 w 1248882"/>
                  <a:gd name="connsiteY19" fmla="*/ 719337 h 912354"/>
                  <a:gd name="connsiteX20" fmla="*/ 1164813 w 1248882"/>
                  <a:gd name="connsiteY20" fmla="*/ 716747 h 912354"/>
                  <a:gd name="connsiteX21" fmla="*/ 1153233 w 1248882"/>
                  <a:gd name="connsiteY21" fmla="*/ 696690 h 912354"/>
                  <a:gd name="connsiteX22" fmla="*/ 97170 w 1248882"/>
                  <a:gd name="connsiteY22" fmla="*/ 84934 h 912354"/>
                  <a:gd name="connsiteX23" fmla="*/ 97100 w 1248882"/>
                  <a:gd name="connsiteY23" fmla="*/ 84854 h 912354"/>
                  <a:gd name="connsiteX24" fmla="*/ 92641 w 1248882"/>
                  <a:gd name="connsiteY24" fmla="*/ 86106 h 912354"/>
                  <a:gd name="connsiteX25" fmla="*/ 83322 w 1248882"/>
                  <a:gd name="connsiteY25" fmla="*/ 98353 h 912354"/>
                  <a:gd name="connsiteX26" fmla="*/ 83306 w 1248882"/>
                  <a:gd name="connsiteY26" fmla="*/ 104410 h 912354"/>
                  <a:gd name="connsiteX27" fmla="*/ 84058 w 1248882"/>
                  <a:gd name="connsiteY27" fmla="*/ 106600 h 912354"/>
                  <a:gd name="connsiteX28" fmla="*/ 84057 w 1248882"/>
                  <a:gd name="connsiteY28" fmla="*/ 212545 h 912354"/>
                  <a:gd name="connsiteX29" fmla="*/ 42843 w 1248882"/>
                  <a:gd name="connsiteY29" fmla="*/ 236780 h 912354"/>
                  <a:gd name="connsiteX30" fmla="*/ 4867 w 1248882"/>
                  <a:gd name="connsiteY30"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95504 w 1248882"/>
                  <a:gd name="connsiteY7" fmla="*/ 342628 h 912354"/>
                  <a:gd name="connsiteX8" fmla="*/ 1195107 w 1248882"/>
                  <a:gd name="connsiteY8" fmla="*/ 625705 h 912354"/>
                  <a:gd name="connsiteX9" fmla="*/ 1233715 w 1248882"/>
                  <a:gd name="connsiteY9" fmla="*/ 663595 h 912354"/>
                  <a:gd name="connsiteX10" fmla="*/ 1246207 w 1248882"/>
                  <a:gd name="connsiteY10" fmla="*/ 704430 h 912354"/>
                  <a:gd name="connsiteX11" fmla="*/ 1247236 w 1248882"/>
                  <a:gd name="connsiteY11" fmla="*/ 715969 h 912354"/>
                  <a:gd name="connsiteX12" fmla="*/ 1248882 w 1248882"/>
                  <a:gd name="connsiteY12" fmla="*/ 733604 h 912354"/>
                  <a:gd name="connsiteX13" fmla="*/ 1248882 w 1248882"/>
                  <a:gd name="connsiteY13" fmla="*/ 888119 h 912354"/>
                  <a:gd name="connsiteX14" fmla="*/ 1207667 w 1248882"/>
                  <a:gd name="connsiteY14" fmla="*/ 912354 h 912354"/>
                  <a:gd name="connsiteX15" fmla="*/ 1169691 w 1248882"/>
                  <a:gd name="connsiteY15" fmla="*/ 897552 h 912354"/>
                  <a:gd name="connsiteX16" fmla="*/ 1166452 w 1248882"/>
                  <a:gd name="connsiteY16" fmla="*/ 888119 h 912354"/>
                  <a:gd name="connsiteX17" fmla="*/ 1164480 w 1248882"/>
                  <a:gd name="connsiteY17" fmla="*/ 718004 h 912354"/>
                  <a:gd name="connsiteX18" fmla="*/ 1164797 w 1248882"/>
                  <a:gd name="connsiteY18" fmla="*/ 719337 h 912354"/>
                  <a:gd name="connsiteX19" fmla="*/ 1164813 w 1248882"/>
                  <a:gd name="connsiteY19" fmla="*/ 716747 h 912354"/>
                  <a:gd name="connsiteX20" fmla="*/ 1153233 w 1248882"/>
                  <a:gd name="connsiteY20" fmla="*/ 696690 h 912354"/>
                  <a:gd name="connsiteX21" fmla="*/ 97170 w 1248882"/>
                  <a:gd name="connsiteY21" fmla="*/ 84934 h 912354"/>
                  <a:gd name="connsiteX22" fmla="*/ 97100 w 1248882"/>
                  <a:gd name="connsiteY22" fmla="*/ 84854 h 912354"/>
                  <a:gd name="connsiteX23" fmla="*/ 92641 w 1248882"/>
                  <a:gd name="connsiteY23" fmla="*/ 86106 h 912354"/>
                  <a:gd name="connsiteX24" fmla="*/ 83322 w 1248882"/>
                  <a:gd name="connsiteY24" fmla="*/ 98353 h 912354"/>
                  <a:gd name="connsiteX25" fmla="*/ 83306 w 1248882"/>
                  <a:gd name="connsiteY25" fmla="*/ 104410 h 912354"/>
                  <a:gd name="connsiteX26" fmla="*/ 84058 w 1248882"/>
                  <a:gd name="connsiteY26" fmla="*/ 106600 h 912354"/>
                  <a:gd name="connsiteX27" fmla="*/ 84057 w 1248882"/>
                  <a:gd name="connsiteY27" fmla="*/ 212545 h 912354"/>
                  <a:gd name="connsiteX28" fmla="*/ 42843 w 1248882"/>
                  <a:gd name="connsiteY28" fmla="*/ 236780 h 912354"/>
                  <a:gd name="connsiteX29" fmla="*/ 4867 w 1248882"/>
                  <a:gd name="connsiteY29"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1195107 w 1248882"/>
                  <a:gd name="connsiteY7" fmla="*/ 625705 h 912354"/>
                  <a:gd name="connsiteX8" fmla="*/ 1233715 w 1248882"/>
                  <a:gd name="connsiteY8" fmla="*/ 663595 h 912354"/>
                  <a:gd name="connsiteX9" fmla="*/ 1246207 w 1248882"/>
                  <a:gd name="connsiteY9" fmla="*/ 704430 h 912354"/>
                  <a:gd name="connsiteX10" fmla="*/ 1247236 w 1248882"/>
                  <a:gd name="connsiteY10" fmla="*/ 715969 h 912354"/>
                  <a:gd name="connsiteX11" fmla="*/ 1248882 w 1248882"/>
                  <a:gd name="connsiteY11" fmla="*/ 733604 h 912354"/>
                  <a:gd name="connsiteX12" fmla="*/ 1248882 w 1248882"/>
                  <a:gd name="connsiteY12" fmla="*/ 888119 h 912354"/>
                  <a:gd name="connsiteX13" fmla="*/ 1207667 w 1248882"/>
                  <a:gd name="connsiteY13" fmla="*/ 912354 h 912354"/>
                  <a:gd name="connsiteX14" fmla="*/ 1169691 w 1248882"/>
                  <a:gd name="connsiteY14" fmla="*/ 897552 h 912354"/>
                  <a:gd name="connsiteX15" fmla="*/ 1166452 w 1248882"/>
                  <a:gd name="connsiteY15" fmla="*/ 888119 h 912354"/>
                  <a:gd name="connsiteX16" fmla="*/ 1164480 w 1248882"/>
                  <a:gd name="connsiteY16" fmla="*/ 718004 h 912354"/>
                  <a:gd name="connsiteX17" fmla="*/ 1164797 w 1248882"/>
                  <a:gd name="connsiteY17" fmla="*/ 719337 h 912354"/>
                  <a:gd name="connsiteX18" fmla="*/ 1164813 w 1248882"/>
                  <a:gd name="connsiteY18" fmla="*/ 716747 h 912354"/>
                  <a:gd name="connsiteX19" fmla="*/ 1153233 w 1248882"/>
                  <a:gd name="connsiteY19" fmla="*/ 696690 h 912354"/>
                  <a:gd name="connsiteX20" fmla="*/ 97170 w 1248882"/>
                  <a:gd name="connsiteY20" fmla="*/ 84934 h 912354"/>
                  <a:gd name="connsiteX21" fmla="*/ 97100 w 1248882"/>
                  <a:gd name="connsiteY21" fmla="*/ 84854 h 912354"/>
                  <a:gd name="connsiteX22" fmla="*/ 92641 w 1248882"/>
                  <a:gd name="connsiteY22" fmla="*/ 86106 h 912354"/>
                  <a:gd name="connsiteX23" fmla="*/ 83322 w 1248882"/>
                  <a:gd name="connsiteY23" fmla="*/ 98353 h 912354"/>
                  <a:gd name="connsiteX24" fmla="*/ 83306 w 1248882"/>
                  <a:gd name="connsiteY24" fmla="*/ 104410 h 912354"/>
                  <a:gd name="connsiteX25" fmla="*/ 84058 w 1248882"/>
                  <a:gd name="connsiteY25" fmla="*/ 106600 h 912354"/>
                  <a:gd name="connsiteX26" fmla="*/ 84057 w 1248882"/>
                  <a:gd name="connsiteY26" fmla="*/ 212545 h 912354"/>
                  <a:gd name="connsiteX27" fmla="*/ 42843 w 1248882"/>
                  <a:gd name="connsiteY27" fmla="*/ 236780 h 912354"/>
                  <a:gd name="connsiteX28" fmla="*/ 4867 w 1248882"/>
                  <a:gd name="connsiteY28" fmla="*/ 221977 h 912354"/>
                  <a:gd name="connsiteX0" fmla="*/ 4867 w 1248882"/>
                  <a:gd name="connsiteY0" fmla="*/ 221977 h 917121"/>
                  <a:gd name="connsiteX1" fmla="*/ 1628 w 1248882"/>
                  <a:gd name="connsiteY1" fmla="*/ 212544 h 917121"/>
                  <a:gd name="connsiteX2" fmla="*/ 911 w 1248882"/>
                  <a:gd name="connsiteY2" fmla="*/ 97581 h 917121"/>
                  <a:gd name="connsiteX3" fmla="*/ 14421 w 1248882"/>
                  <a:gd name="connsiteY3" fmla="*/ 45201 h 917121"/>
                  <a:gd name="connsiteX4" fmla="*/ 43539 w 1248882"/>
                  <a:gd name="connsiteY4" fmla="*/ 13965 h 917121"/>
                  <a:gd name="connsiteX5" fmla="*/ 86141 w 1248882"/>
                  <a:gd name="connsiteY5" fmla="*/ 108 h 917121"/>
                  <a:gd name="connsiteX6" fmla="*/ 118741 w 1248882"/>
                  <a:gd name="connsiteY6" fmla="*/ 5629 h 917121"/>
                  <a:gd name="connsiteX7" fmla="*/ 1195107 w 1248882"/>
                  <a:gd name="connsiteY7" fmla="*/ 625705 h 917121"/>
                  <a:gd name="connsiteX8" fmla="*/ 1233715 w 1248882"/>
                  <a:gd name="connsiteY8" fmla="*/ 663595 h 917121"/>
                  <a:gd name="connsiteX9" fmla="*/ 1246207 w 1248882"/>
                  <a:gd name="connsiteY9" fmla="*/ 704430 h 917121"/>
                  <a:gd name="connsiteX10" fmla="*/ 1247236 w 1248882"/>
                  <a:gd name="connsiteY10" fmla="*/ 715969 h 917121"/>
                  <a:gd name="connsiteX11" fmla="*/ 1248882 w 1248882"/>
                  <a:gd name="connsiteY11" fmla="*/ 733604 h 917121"/>
                  <a:gd name="connsiteX12" fmla="*/ 1248882 w 1248882"/>
                  <a:gd name="connsiteY12" fmla="*/ 888119 h 917121"/>
                  <a:gd name="connsiteX13" fmla="*/ 1207667 w 1248882"/>
                  <a:gd name="connsiteY13" fmla="*/ 912354 h 917121"/>
                  <a:gd name="connsiteX14" fmla="*/ 1169691 w 1248882"/>
                  <a:gd name="connsiteY14" fmla="*/ 897552 h 917121"/>
                  <a:gd name="connsiteX15" fmla="*/ 1164480 w 1248882"/>
                  <a:gd name="connsiteY15" fmla="*/ 718004 h 917121"/>
                  <a:gd name="connsiteX16" fmla="*/ 1164797 w 1248882"/>
                  <a:gd name="connsiteY16" fmla="*/ 719337 h 917121"/>
                  <a:gd name="connsiteX17" fmla="*/ 1164813 w 1248882"/>
                  <a:gd name="connsiteY17" fmla="*/ 716747 h 917121"/>
                  <a:gd name="connsiteX18" fmla="*/ 1153233 w 1248882"/>
                  <a:gd name="connsiteY18" fmla="*/ 696690 h 917121"/>
                  <a:gd name="connsiteX19" fmla="*/ 97170 w 1248882"/>
                  <a:gd name="connsiteY19" fmla="*/ 84934 h 917121"/>
                  <a:gd name="connsiteX20" fmla="*/ 97100 w 1248882"/>
                  <a:gd name="connsiteY20" fmla="*/ 84854 h 917121"/>
                  <a:gd name="connsiteX21" fmla="*/ 92641 w 1248882"/>
                  <a:gd name="connsiteY21" fmla="*/ 86106 h 917121"/>
                  <a:gd name="connsiteX22" fmla="*/ 83322 w 1248882"/>
                  <a:gd name="connsiteY22" fmla="*/ 98353 h 917121"/>
                  <a:gd name="connsiteX23" fmla="*/ 83306 w 1248882"/>
                  <a:gd name="connsiteY23" fmla="*/ 104410 h 917121"/>
                  <a:gd name="connsiteX24" fmla="*/ 84058 w 1248882"/>
                  <a:gd name="connsiteY24" fmla="*/ 106600 h 917121"/>
                  <a:gd name="connsiteX25" fmla="*/ 84057 w 1248882"/>
                  <a:gd name="connsiteY25" fmla="*/ 212545 h 917121"/>
                  <a:gd name="connsiteX26" fmla="*/ 42843 w 1248882"/>
                  <a:gd name="connsiteY26" fmla="*/ 236780 h 917121"/>
                  <a:gd name="connsiteX27" fmla="*/ 4867 w 1248882"/>
                  <a:gd name="connsiteY27" fmla="*/ 221977 h 917121"/>
                  <a:gd name="connsiteX0" fmla="*/ 4867 w 1248882"/>
                  <a:gd name="connsiteY0" fmla="*/ 221977 h 922413"/>
                  <a:gd name="connsiteX1" fmla="*/ 1628 w 1248882"/>
                  <a:gd name="connsiteY1" fmla="*/ 212544 h 922413"/>
                  <a:gd name="connsiteX2" fmla="*/ 911 w 1248882"/>
                  <a:gd name="connsiteY2" fmla="*/ 97581 h 922413"/>
                  <a:gd name="connsiteX3" fmla="*/ 14421 w 1248882"/>
                  <a:gd name="connsiteY3" fmla="*/ 45201 h 922413"/>
                  <a:gd name="connsiteX4" fmla="*/ 43539 w 1248882"/>
                  <a:gd name="connsiteY4" fmla="*/ 13965 h 922413"/>
                  <a:gd name="connsiteX5" fmla="*/ 86141 w 1248882"/>
                  <a:gd name="connsiteY5" fmla="*/ 108 h 922413"/>
                  <a:gd name="connsiteX6" fmla="*/ 118741 w 1248882"/>
                  <a:gd name="connsiteY6" fmla="*/ 5629 h 922413"/>
                  <a:gd name="connsiteX7" fmla="*/ 1195107 w 1248882"/>
                  <a:gd name="connsiteY7" fmla="*/ 625705 h 922413"/>
                  <a:gd name="connsiteX8" fmla="*/ 1233715 w 1248882"/>
                  <a:gd name="connsiteY8" fmla="*/ 663595 h 922413"/>
                  <a:gd name="connsiteX9" fmla="*/ 1246207 w 1248882"/>
                  <a:gd name="connsiteY9" fmla="*/ 704430 h 922413"/>
                  <a:gd name="connsiteX10" fmla="*/ 1247236 w 1248882"/>
                  <a:gd name="connsiteY10" fmla="*/ 715969 h 922413"/>
                  <a:gd name="connsiteX11" fmla="*/ 1248882 w 1248882"/>
                  <a:gd name="connsiteY11" fmla="*/ 733604 h 922413"/>
                  <a:gd name="connsiteX12" fmla="*/ 1248882 w 1248882"/>
                  <a:gd name="connsiteY12" fmla="*/ 888119 h 922413"/>
                  <a:gd name="connsiteX13" fmla="*/ 1207667 w 1248882"/>
                  <a:gd name="connsiteY13" fmla="*/ 912354 h 922413"/>
                  <a:gd name="connsiteX14" fmla="*/ 1164480 w 1248882"/>
                  <a:gd name="connsiteY14" fmla="*/ 718004 h 922413"/>
                  <a:gd name="connsiteX15" fmla="*/ 1164797 w 1248882"/>
                  <a:gd name="connsiteY15" fmla="*/ 719337 h 922413"/>
                  <a:gd name="connsiteX16" fmla="*/ 1164813 w 1248882"/>
                  <a:gd name="connsiteY16" fmla="*/ 716747 h 922413"/>
                  <a:gd name="connsiteX17" fmla="*/ 1153233 w 1248882"/>
                  <a:gd name="connsiteY17" fmla="*/ 696690 h 922413"/>
                  <a:gd name="connsiteX18" fmla="*/ 97170 w 1248882"/>
                  <a:gd name="connsiteY18" fmla="*/ 84934 h 922413"/>
                  <a:gd name="connsiteX19" fmla="*/ 97100 w 1248882"/>
                  <a:gd name="connsiteY19" fmla="*/ 84854 h 922413"/>
                  <a:gd name="connsiteX20" fmla="*/ 92641 w 1248882"/>
                  <a:gd name="connsiteY20" fmla="*/ 86106 h 922413"/>
                  <a:gd name="connsiteX21" fmla="*/ 83322 w 1248882"/>
                  <a:gd name="connsiteY21" fmla="*/ 98353 h 922413"/>
                  <a:gd name="connsiteX22" fmla="*/ 83306 w 1248882"/>
                  <a:gd name="connsiteY22" fmla="*/ 104410 h 922413"/>
                  <a:gd name="connsiteX23" fmla="*/ 84058 w 1248882"/>
                  <a:gd name="connsiteY23" fmla="*/ 106600 h 922413"/>
                  <a:gd name="connsiteX24" fmla="*/ 84057 w 1248882"/>
                  <a:gd name="connsiteY24" fmla="*/ 212545 h 922413"/>
                  <a:gd name="connsiteX25" fmla="*/ 42843 w 1248882"/>
                  <a:gd name="connsiteY25" fmla="*/ 236780 h 922413"/>
                  <a:gd name="connsiteX26" fmla="*/ 4867 w 1248882"/>
                  <a:gd name="connsiteY26" fmla="*/ 221977 h 922413"/>
                  <a:gd name="connsiteX0" fmla="*/ 4867 w 1248882"/>
                  <a:gd name="connsiteY0" fmla="*/ 221977 h 888119"/>
                  <a:gd name="connsiteX1" fmla="*/ 1628 w 1248882"/>
                  <a:gd name="connsiteY1" fmla="*/ 212544 h 888119"/>
                  <a:gd name="connsiteX2" fmla="*/ 911 w 1248882"/>
                  <a:gd name="connsiteY2" fmla="*/ 97581 h 888119"/>
                  <a:gd name="connsiteX3" fmla="*/ 14421 w 1248882"/>
                  <a:gd name="connsiteY3" fmla="*/ 45201 h 888119"/>
                  <a:gd name="connsiteX4" fmla="*/ 43539 w 1248882"/>
                  <a:gd name="connsiteY4" fmla="*/ 13965 h 888119"/>
                  <a:gd name="connsiteX5" fmla="*/ 86141 w 1248882"/>
                  <a:gd name="connsiteY5" fmla="*/ 108 h 888119"/>
                  <a:gd name="connsiteX6" fmla="*/ 118741 w 1248882"/>
                  <a:gd name="connsiteY6" fmla="*/ 5629 h 888119"/>
                  <a:gd name="connsiteX7" fmla="*/ 1195107 w 1248882"/>
                  <a:gd name="connsiteY7" fmla="*/ 625705 h 888119"/>
                  <a:gd name="connsiteX8" fmla="*/ 1233715 w 1248882"/>
                  <a:gd name="connsiteY8" fmla="*/ 663595 h 888119"/>
                  <a:gd name="connsiteX9" fmla="*/ 1246207 w 1248882"/>
                  <a:gd name="connsiteY9" fmla="*/ 704430 h 888119"/>
                  <a:gd name="connsiteX10" fmla="*/ 1247236 w 1248882"/>
                  <a:gd name="connsiteY10" fmla="*/ 715969 h 888119"/>
                  <a:gd name="connsiteX11" fmla="*/ 1248882 w 1248882"/>
                  <a:gd name="connsiteY11" fmla="*/ 733604 h 888119"/>
                  <a:gd name="connsiteX12" fmla="*/ 1248882 w 1248882"/>
                  <a:gd name="connsiteY12" fmla="*/ 888119 h 888119"/>
                  <a:gd name="connsiteX13" fmla="*/ 1164480 w 1248882"/>
                  <a:gd name="connsiteY13" fmla="*/ 718004 h 888119"/>
                  <a:gd name="connsiteX14" fmla="*/ 1164797 w 1248882"/>
                  <a:gd name="connsiteY14" fmla="*/ 719337 h 888119"/>
                  <a:gd name="connsiteX15" fmla="*/ 1164813 w 1248882"/>
                  <a:gd name="connsiteY15" fmla="*/ 716747 h 888119"/>
                  <a:gd name="connsiteX16" fmla="*/ 1153233 w 1248882"/>
                  <a:gd name="connsiteY16" fmla="*/ 696690 h 888119"/>
                  <a:gd name="connsiteX17" fmla="*/ 97170 w 1248882"/>
                  <a:gd name="connsiteY17" fmla="*/ 84934 h 888119"/>
                  <a:gd name="connsiteX18" fmla="*/ 97100 w 1248882"/>
                  <a:gd name="connsiteY18" fmla="*/ 84854 h 888119"/>
                  <a:gd name="connsiteX19" fmla="*/ 92641 w 1248882"/>
                  <a:gd name="connsiteY19" fmla="*/ 86106 h 888119"/>
                  <a:gd name="connsiteX20" fmla="*/ 83322 w 1248882"/>
                  <a:gd name="connsiteY20" fmla="*/ 98353 h 888119"/>
                  <a:gd name="connsiteX21" fmla="*/ 83306 w 1248882"/>
                  <a:gd name="connsiteY21" fmla="*/ 104410 h 888119"/>
                  <a:gd name="connsiteX22" fmla="*/ 84058 w 1248882"/>
                  <a:gd name="connsiteY22" fmla="*/ 106600 h 888119"/>
                  <a:gd name="connsiteX23" fmla="*/ 84057 w 1248882"/>
                  <a:gd name="connsiteY23" fmla="*/ 212545 h 888119"/>
                  <a:gd name="connsiteX24" fmla="*/ 42843 w 1248882"/>
                  <a:gd name="connsiteY24" fmla="*/ 236780 h 888119"/>
                  <a:gd name="connsiteX25" fmla="*/ 4867 w 1248882"/>
                  <a:gd name="connsiteY25" fmla="*/ 221977 h 888119"/>
                  <a:gd name="connsiteX0" fmla="*/ 4867 w 1248882"/>
                  <a:gd name="connsiteY0" fmla="*/ 221977 h 733610"/>
                  <a:gd name="connsiteX1" fmla="*/ 1628 w 1248882"/>
                  <a:gd name="connsiteY1" fmla="*/ 212544 h 733610"/>
                  <a:gd name="connsiteX2" fmla="*/ 911 w 1248882"/>
                  <a:gd name="connsiteY2" fmla="*/ 97581 h 733610"/>
                  <a:gd name="connsiteX3" fmla="*/ 14421 w 1248882"/>
                  <a:gd name="connsiteY3" fmla="*/ 45201 h 733610"/>
                  <a:gd name="connsiteX4" fmla="*/ 43539 w 1248882"/>
                  <a:gd name="connsiteY4" fmla="*/ 13965 h 733610"/>
                  <a:gd name="connsiteX5" fmla="*/ 86141 w 1248882"/>
                  <a:gd name="connsiteY5" fmla="*/ 108 h 733610"/>
                  <a:gd name="connsiteX6" fmla="*/ 118741 w 1248882"/>
                  <a:gd name="connsiteY6" fmla="*/ 5629 h 733610"/>
                  <a:gd name="connsiteX7" fmla="*/ 1195107 w 1248882"/>
                  <a:gd name="connsiteY7" fmla="*/ 625705 h 733610"/>
                  <a:gd name="connsiteX8" fmla="*/ 1233715 w 1248882"/>
                  <a:gd name="connsiteY8" fmla="*/ 663595 h 733610"/>
                  <a:gd name="connsiteX9" fmla="*/ 1246207 w 1248882"/>
                  <a:gd name="connsiteY9" fmla="*/ 704430 h 733610"/>
                  <a:gd name="connsiteX10" fmla="*/ 1247236 w 1248882"/>
                  <a:gd name="connsiteY10" fmla="*/ 715969 h 733610"/>
                  <a:gd name="connsiteX11" fmla="*/ 1248882 w 1248882"/>
                  <a:gd name="connsiteY11" fmla="*/ 733604 h 733610"/>
                  <a:gd name="connsiteX12" fmla="*/ 1164480 w 1248882"/>
                  <a:gd name="connsiteY12" fmla="*/ 718004 h 733610"/>
                  <a:gd name="connsiteX13" fmla="*/ 1164797 w 1248882"/>
                  <a:gd name="connsiteY13" fmla="*/ 719337 h 733610"/>
                  <a:gd name="connsiteX14" fmla="*/ 1164813 w 1248882"/>
                  <a:gd name="connsiteY14" fmla="*/ 716747 h 733610"/>
                  <a:gd name="connsiteX15" fmla="*/ 1153233 w 1248882"/>
                  <a:gd name="connsiteY15" fmla="*/ 696690 h 733610"/>
                  <a:gd name="connsiteX16" fmla="*/ 97170 w 1248882"/>
                  <a:gd name="connsiteY16" fmla="*/ 84934 h 733610"/>
                  <a:gd name="connsiteX17" fmla="*/ 97100 w 1248882"/>
                  <a:gd name="connsiteY17" fmla="*/ 84854 h 733610"/>
                  <a:gd name="connsiteX18" fmla="*/ 92641 w 1248882"/>
                  <a:gd name="connsiteY18" fmla="*/ 86106 h 733610"/>
                  <a:gd name="connsiteX19" fmla="*/ 83322 w 1248882"/>
                  <a:gd name="connsiteY19" fmla="*/ 98353 h 733610"/>
                  <a:gd name="connsiteX20" fmla="*/ 83306 w 1248882"/>
                  <a:gd name="connsiteY20" fmla="*/ 104410 h 733610"/>
                  <a:gd name="connsiteX21" fmla="*/ 84058 w 1248882"/>
                  <a:gd name="connsiteY21" fmla="*/ 106600 h 733610"/>
                  <a:gd name="connsiteX22" fmla="*/ 84057 w 1248882"/>
                  <a:gd name="connsiteY22" fmla="*/ 212545 h 733610"/>
                  <a:gd name="connsiteX23" fmla="*/ 42843 w 1248882"/>
                  <a:gd name="connsiteY23" fmla="*/ 236780 h 733610"/>
                  <a:gd name="connsiteX24" fmla="*/ 4867 w 1248882"/>
                  <a:gd name="connsiteY24" fmla="*/ 221977 h 733610"/>
                  <a:gd name="connsiteX0" fmla="*/ 4867 w 1248882"/>
                  <a:gd name="connsiteY0" fmla="*/ 221977 h 749396"/>
                  <a:gd name="connsiteX1" fmla="*/ 1628 w 1248882"/>
                  <a:gd name="connsiteY1" fmla="*/ 212544 h 749396"/>
                  <a:gd name="connsiteX2" fmla="*/ 911 w 1248882"/>
                  <a:gd name="connsiteY2" fmla="*/ 97581 h 749396"/>
                  <a:gd name="connsiteX3" fmla="*/ 14421 w 1248882"/>
                  <a:gd name="connsiteY3" fmla="*/ 45201 h 749396"/>
                  <a:gd name="connsiteX4" fmla="*/ 43539 w 1248882"/>
                  <a:gd name="connsiteY4" fmla="*/ 13965 h 749396"/>
                  <a:gd name="connsiteX5" fmla="*/ 86141 w 1248882"/>
                  <a:gd name="connsiteY5" fmla="*/ 108 h 749396"/>
                  <a:gd name="connsiteX6" fmla="*/ 118741 w 1248882"/>
                  <a:gd name="connsiteY6" fmla="*/ 5629 h 749396"/>
                  <a:gd name="connsiteX7" fmla="*/ 1195107 w 1248882"/>
                  <a:gd name="connsiteY7" fmla="*/ 625705 h 749396"/>
                  <a:gd name="connsiteX8" fmla="*/ 1233715 w 1248882"/>
                  <a:gd name="connsiteY8" fmla="*/ 663595 h 749396"/>
                  <a:gd name="connsiteX9" fmla="*/ 1246207 w 1248882"/>
                  <a:gd name="connsiteY9" fmla="*/ 704430 h 749396"/>
                  <a:gd name="connsiteX10" fmla="*/ 1247236 w 1248882"/>
                  <a:gd name="connsiteY10" fmla="*/ 715969 h 749396"/>
                  <a:gd name="connsiteX11" fmla="*/ 1248882 w 1248882"/>
                  <a:gd name="connsiteY11" fmla="*/ 733604 h 749396"/>
                  <a:gd name="connsiteX12" fmla="*/ 1164480 w 1248882"/>
                  <a:gd name="connsiteY12" fmla="*/ 718004 h 749396"/>
                  <a:gd name="connsiteX13" fmla="*/ 1164797 w 1248882"/>
                  <a:gd name="connsiteY13" fmla="*/ 719337 h 749396"/>
                  <a:gd name="connsiteX14" fmla="*/ 1153233 w 1248882"/>
                  <a:gd name="connsiteY14" fmla="*/ 696690 h 749396"/>
                  <a:gd name="connsiteX15" fmla="*/ 97170 w 1248882"/>
                  <a:gd name="connsiteY15" fmla="*/ 84934 h 749396"/>
                  <a:gd name="connsiteX16" fmla="*/ 97100 w 1248882"/>
                  <a:gd name="connsiteY16" fmla="*/ 84854 h 749396"/>
                  <a:gd name="connsiteX17" fmla="*/ 92641 w 1248882"/>
                  <a:gd name="connsiteY17" fmla="*/ 86106 h 749396"/>
                  <a:gd name="connsiteX18" fmla="*/ 83322 w 1248882"/>
                  <a:gd name="connsiteY18" fmla="*/ 98353 h 749396"/>
                  <a:gd name="connsiteX19" fmla="*/ 83306 w 1248882"/>
                  <a:gd name="connsiteY19" fmla="*/ 104410 h 749396"/>
                  <a:gd name="connsiteX20" fmla="*/ 84058 w 1248882"/>
                  <a:gd name="connsiteY20" fmla="*/ 106600 h 749396"/>
                  <a:gd name="connsiteX21" fmla="*/ 84057 w 1248882"/>
                  <a:gd name="connsiteY21" fmla="*/ 212545 h 749396"/>
                  <a:gd name="connsiteX22" fmla="*/ 42843 w 1248882"/>
                  <a:gd name="connsiteY22" fmla="*/ 236780 h 749396"/>
                  <a:gd name="connsiteX23" fmla="*/ 4867 w 1248882"/>
                  <a:gd name="connsiteY23" fmla="*/ 221977 h 749396"/>
                  <a:gd name="connsiteX0" fmla="*/ 4867 w 1248882"/>
                  <a:gd name="connsiteY0" fmla="*/ 221977 h 748179"/>
                  <a:gd name="connsiteX1" fmla="*/ 1628 w 1248882"/>
                  <a:gd name="connsiteY1" fmla="*/ 212544 h 748179"/>
                  <a:gd name="connsiteX2" fmla="*/ 911 w 1248882"/>
                  <a:gd name="connsiteY2" fmla="*/ 97581 h 748179"/>
                  <a:gd name="connsiteX3" fmla="*/ 14421 w 1248882"/>
                  <a:gd name="connsiteY3" fmla="*/ 45201 h 748179"/>
                  <a:gd name="connsiteX4" fmla="*/ 43539 w 1248882"/>
                  <a:gd name="connsiteY4" fmla="*/ 13965 h 748179"/>
                  <a:gd name="connsiteX5" fmla="*/ 86141 w 1248882"/>
                  <a:gd name="connsiteY5" fmla="*/ 108 h 748179"/>
                  <a:gd name="connsiteX6" fmla="*/ 118741 w 1248882"/>
                  <a:gd name="connsiteY6" fmla="*/ 5629 h 748179"/>
                  <a:gd name="connsiteX7" fmla="*/ 1195107 w 1248882"/>
                  <a:gd name="connsiteY7" fmla="*/ 625705 h 748179"/>
                  <a:gd name="connsiteX8" fmla="*/ 1233715 w 1248882"/>
                  <a:gd name="connsiteY8" fmla="*/ 663595 h 748179"/>
                  <a:gd name="connsiteX9" fmla="*/ 1246207 w 1248882"/>
                  <a:gd name="connsiteY9" fmla="*/ 704430 h 748179"/>
                  <a:gd name="connsiteX10" fmla="*/ 1247236 w 1248882"/>
                  <a:gd name="connsiteY10" fmla="*/ 715969 h 748179"/>
                  <a:gd name="connsiteX11" fmla="*/ 1248882 w 1248882"/>
                  <a:gd name="connsiteY11" fmla="*/ 733604 h 748179"/>
                  <a:gd name="connsiteX12" fmla="*/ 1164480 w 1248882"/>
                  <a:gd name="connsiteY12" fmla="*/ 718004 h 748179"/>
                  <a:gd name="connsiteX13" fmla="*/ 1153233 w 1248882"/>
                  <a:gd name="connsiteY13" fmla="*/ 696690 h 748179"/>
                  <a:gd name="connsiteX14" fmla="*/ 97170 w 1248882"/>
                  <a:gd name="connsiteY14" fmla="*/ 84934 h 748179"/>
                  <a:gd name="connsiteX15" fmla="*/ 97100 w 1248882"/>
                  <a:gd name="connsiteY15" fmla="*/ 84854 h 748179"/>
                  <a:gd name="connsiteX16" fmla="*/ 92641 w 1248882"/>
                  <a:gd name="connsiteY16" fmla="*/ 86106 h 748179"/>
                  <a:gd name="connsiteX17" fmla="*/ 83322 w 1248882"/>
                  <a:gd name="connsiteY17" fmla="*/ 98353 h 748179"/>
                  <a:gd name="connsiteX18" fmla="*/ 83306 w 1248882"/>
                  <a:gd name="connsiteY18" fmla="*/ 104410 h 748179"/>
                  <a:gd name="connsiteX19" fmla="*/ 84058 w 1248882"/>
                  <a:gd name="connsiteY19" fmla="*/ 106600 h 748179"/>
                  <a:gd name="connsiteX20" fmla="*/ 84057 w 1248882"/>
                  <a:gd name="connsiteY20" fmla="*/ 212545 h 748179"/>
                  <a:gd name="connsiteX21" fmla="*/ 42843 w 1248882"/>
                  <a:gd name="connsiteY21" fmla="*/ 236780 h 748179"/>
                  <a:gd name="connsiteX22" fmla="*/ 4867 w 1248882"/>
                  <a:gd name="connsiteY22" fmla="*/ 221977 h 748179"/>
                  <a:gd name="connsiteX0" fmla="*/ 4867 w 1267301"/>
                  <a:gd name="connsiteY0" fmla="*/ 221977 h 755598"/>
                  <a:gd name="connsiteX1" fmla="*/ 1628 w 1267301"/>
                  <a:gd name="connsiteY1" fmla="*/ 212544 h 755598"/>
                  <a:gd name="connsiteX2" fmla="*/ 911 w 1267301"/>
                  <a:gd name="connsiteY2" fmla="*/ 97581 h 755598"/>
                  <a:gd name="connsiteX3" fmla="*/ 14421 w 1267301"/>
                  <a:gd name="connsiteY3" fmla="*/ 45201 h 755598"/>
                  <a:gd name="connsiteX4" fmla="*/ 43539 w 1267301"/>
                  <a:gd name="connsiteY4" fmla="*/ 13965 h 755598"/>
                  <a:gd name="connsiteX5" fmla="*/ 86141 w 1267301"/>
                  <a:gd name="connsiteY5" fmla="*/ 108 h 755598"/>
                  <a:gd name="connsiteX6" fmla="*/ 118741 w 1267301"/>
                  <a:gd name="connsiteY6" fmla="*/ 5629 h 755598"/>
                  <a:gd name="connsiteX7" fmla="*/ 1195107 w 1267301"/>
                  <a:gd name="connsiteY7" fmla="*/ 625705 h 755598"/>
                  <a:gd name="connsiteX8" fmla="*/ 1233715 w 1267301"/>
                  <a:gd name="connsiteY8" fmla="*/ 663595 h 755598"/>
                  <a:gd name="connsiteX9" fmla="*/ 1246207 w 1267301"/>
                  <a:gd name="connsiteY9" fmla="*/ 704430 h 755598"/>
                  <a:gd name="connsiteX10" fmla="*/ 1247236 w 1267301"/>
                  <a:gd name="connsiteY10" fmla="*/ 715969 h 755598"/>
                  <a:gd name="connsiteX11" fmla="*/ 1248882 w 1267301"/>
                  <a:gd name="connsiteY11" fmla="*/ 733604 h 755598"/>
                  <a:gd name="connsiteX12" fmla="*/ 1153233 w 1267301"/>
                  <a:gd name="connsiteY12" fmla="*/ 696690 h 755598"/>
                  <a:gd name="connsiteX13" fmla="*/ 97170 w 1267301"/>
                  <a:gd name="connsiteY13" fmla="*/ 84934 h 755598"/>
                  <a:gd name="connsiteX14" fmla="*/ 97100 w 1267301"/>
                  <a:gd name="connsiteY14" fmla="*/ 84854 h 755598"/>
                  <a:gd name="connsiteX15" fmla="*/ 92641 w 1267301"/>
                  <a:gd name="connsiteY15" fmla="*/ 86106 h 755598"/>
                  <a:gd name="connsiteX16" fmla="*/ 83322 w 1267301"/>
                  <a:gd name="connsiteY16" fmla="*/ 98353 h 755598"/>
                  <a:gd name="connsiteX17" fmla="*/ 83306 w 1267301"/>
                  <a:gd name="connsiteY17" fmla="*/ 104410 h 755598"/>
                  <a:gd name="connsiteX18" fmla="*/ 84058 w 1267301"/>
                  <a:gd name="connsiteY18" fmla="*/ 106600 h 755598"/>
                  <a:gd name="connsiteX19" fmla="*/ 84057 w 1267301"/>
                  <a:gd name="connsiteY19" fmla="*/ 212545 h 755598"/>
                  <a:gd name="connsiteX20" fmla="*/ 42843 w 1267301"/>
                  <a:gd name="connsiteY20" fmla="*/ 236780 h 755598"/>
                  <a:gd name="connsiteX21" fmla="*/ 4867 w 1267301"/>
                  <a:gd name="connsiteY21" fmla="*/ 221977 h 755598"/>
                  <a:gd name="connsiteX0" fmla="*/ 4867 w 1247417"/>
                  <a:gd name="connsiteY0" fmla="*/ 221977 h 715969"/>
                  <a:gd name="connsiteX1" fmla="*/ 1628 w 1247417"/>
                  <a:gd name="connsiteY1" fmla="*/ 212544 h 715969"/>
                  <a:gd name="connsiteX2" fmla="*/ 911 w 1247417"/>
                  <a:gd name="connsiteY2" fmla="*/ 97581 h 715969"/>
                  <a:gd name="connsiteX3" fmla="*/ 14421 w 1247417"/>
                  <a:gd name="connsiteY3" fmla="*/ 45201 h 715969"/>
                  <a:gd name="connsiteX4" fmla="*/ 43539 w 1247417"/>
                  <a:gd name="connsiteY4" fmla="*/ 13965 h 715969"/>
                  <a:gd name="connsiteX5" fmla="*/ 86141 w 1247417"/>
                  <a:gd name="connsiteY5" fmla="*/ 108 h 715969"/>
                  <a:gd name="connsiteX6" fmla="*/ 118741 w 1247417"/>
                  <a:gd name="connsiteY6" fmla="*/ 5629 h 715969"/>
                  <a:gd name="connsiteX7" fmla="*/ 1195107 w 1247417"/>
                  <a:gd name="connsiteY7" fmla="*/ 625705 h 715969"/>
                  <a:gd name="connsiteX8" fmla="*/ 1233715 w 1247417"/>
                  <a:gd name="connsiteY8" fmla="*/ 663595 h 715969"/>
                  <a:gd name="connsiteX9" fmla="*/ 1246207 w 1247417"/>
                  <a:gd name="connsiteY9" fmla="*/ 704430 h 715969"/>
                  <a:gd name="connsiteX10" fmla="*/ 1247236 w 1247417"/>
                  <a:gd name="connsiteY10" fmla="*/ 715969 h 715969"/>
                  <a:gd name="connsiteX11" fmla="*/ 1153233 w 1247417"/>
                  <a:gd name="connsiteY11" fmla="*/ 696690 h 715969"/>
                  <a:gd name="connsiteX12" fmla="*/ 97170 w 1247417"/>
                  <a:gd name="connsiteY12" fmla="*/ 84934 h 715969"/>
                  <a:gd name="connsiteX13" fmla="*/ 97100 w 1247417"/>
                  <a:gd name="connsiteY13" fmla="*/ 84854 h 715969"/>
                  <a:gd name="connsiteX14" fmla="*/ 92641 w 1247417"/>
                  <a:gd name="connsiteY14" fmla="*/ 86106 h 715969"/>
                  <a:gd name="connsiteX15" fmla="*/ 83322 w 1247417"/>
                  <a:gd name="connsiteY15" fmla="*/ 98353 h 715969"/>
                  <a:gd name="connsiteX16" fmla="*/ 83306 w 1247417"/>
                  <a:gd name="connsiteY16" fmla="*/ 104410 h 715969"/>
                  <a:gd name="connsiteX17" fmla="*/ 84058 w 1247417"/>
                  <a:gd name="connsiteY17" fmla="*/ 106600 h 715969"/>
                  <a:gd name="connsiteX18" fmla="*/ 84057 w 1247417"/>
                  <a:gd name="connsiteY18" fmla="*/ 212545 h 715969"/>
                  <a:gd name="connsiteX19" fmla="*/ 42843 w 1247417"/>
                  <a:gd name="connsiteY19" fmla="*/ 236780 h 715969"/>
                  <a:gd name="connsiteX20" fmla="*/ 4867 w 1247417"/>
                  <a:gd name="connsiteY20" fmla="*/ 221977 h 715969"/>
                  <a:gd name="connsiteX0" fmla="*/ 4867 w 1266686"/>
                  <a:gd name="connsiteY0" fmla="*/ 221977 h 746023"/>
                  <a:gd name="connsiteX1" fmla="*/ 1628 w 1266686"/>
                  <a:gd name="connsiteY1" fmla="*/ 212544 h 746023"/>
                  <a:gd name="connsiteX2" fmla="*/ 911 w 1266686"/>
                  <a:gd name="connsiteY2" fmla="*/ 97581 h 746023"/>
                  <a:gd name="connsiteX3" fmla="*/ 14421 w 1266686"/>
                  <a:gd name="connsiteY3" fmla="*/ 45201 h 746023"/>
                  <a:gd name="connsiteX4" fmla="*/ 43539 w 1266686"/>
                  <a:gd name="connsiteY4" fmla="*/ 13965 h 746023"/>
                  <a:gd name="connsiteX5" fmla="*/ 86141 w 1266686"/>
                  <a:gd name="connsiteY5" fmla="*/ 108 h 746023"/>
                  <a:gd name="connsiteX6" fmla="*/ 118741 w 1266686"/>
                  <a:gd name="connsiteY6" fmla="*/ 5629 h 746023"/>
                  <a:gd name="connsiteX7" fmla="*/ 1195107 w 1266686"/>
                  <a:gd name="connsiteY7" fmla="*/ 625705 h 746023"/>
                  <a:gd name="connsiteX8" fmla="*/ 1233715 w 1266686"/>
                  <a:gd name="connsiteY8" fmla="*/ 663595 h 746023"/>
                  <a:gd name="connsiteX9" fmla="*/ 1246207 w 1266686"/>
                  <a:gd name="connsiteY9" fmla="*/ 704430 h 746023"/>
                  <a:gd name="connsiteX10" fmla="*/ 1153233 w 1266686"/>
                  <a:gd name="connsiteY10" fmla="*/ 696690 h 746023"/>
                  <a:gd name="connsiteX11" fmla="*/ 97170 w 1266686"/>
                  <a:gd name="connsiteY11" fmla="*/ 84934 h 746023"/>
                  <a:gd name="connsiteX12" fmla="*/ 97100 w 1266686"/>
                  <a:gd name="connsiteY12" fmla="*/ 84854 h 746023"/>
                  <a:gd name="connsiteX13" fmla="*/ 92641 w 1266686"/>
                  <a:gd name="connsiteY13" fmla="*/ 86106 h 746023"/>
                  <a:gd name="connsiteX14" fmla="*/ 83322 w 1266686"/>
                  <a:gd name="connsiteY14" fmla="*/ 98353 h 746023"/>
                  <a:gd name="connsiteX15" fmla="*/ 83306 w 1266686"/>
                  <a:gd name="connsiteY15" fmla="*/ 104410 h 746023"/>
                  <a:gd name="connsiteX16" fmla="*/ 84058 w 1266686"/>
                  <a:gd name="connsiteY16" fmla="*/ 106600 h 746023"/>
                  <a:gd name="connsiteX17" fmla="*/ 84057 w 1266686"/>
                  <a:gd name="connsiteY17" fmla="*/ 212545 h 746023"/>
                  <a:gd name="connsiteX18" fmla="*/ 42843 w 1266686"/>
                  <a:gd name="connsiteY18" fmla="*/ 236780 h 746023"/>
                  <a:gd name="connsiteX19" fmla="*/ 4867 w 1266686"/>
                  <a:gd name="connsiteY19" fmla="*/ 221977 h 746023"/>
                  <a:gd name="connsiteX0" fmla="*/ 4867 w 1262494"/>
                  <a:gd name="connsiteY0" fmla="*/ 221977 h 734374"/>
                  <a:gd name="connsiteX1" fmla="*/ 1628 w 1262494"/>
                  <a:gd name="connsiteY1" fmla="*/ 212544 h 734374"/>
                  <a:gd name="connsiteX2" fmla="*/ 911 w 1262494"/>
                  <a:gd name="connsiteY2" fmla="*/ 97581 h 734374"/>
                  <a:gd name="connsiteX3" fmla="*/ 14421 w 1262494"/>
                  <a:gd name="connsiteY3" fmla="*/ 45201 h 734374"/>
                  <a:gd name="connsiteX4" fmla="*/ 43539 w 1262494"/>
                  <a:gd name="connsiteY4" fmla="*/ 13965 h 734374"/>
                  <a:gd name="connsiteX5" fmla="*/ 86141 w 1262494"/>
                  <a:gd name="connsiteY5" fmla="*/ 108 h 734374"/>
                  <a:gd name="connsiteX6" fmla="*/ 118741 w 1262494"/>
                  <a:gd name="connsiteY6" fmla="*/ 5629 h 734374"/>
                  <a:gd name="connsiteX7" fmla="*/ 1195107 w 1262494"/>
                  <a:gd name="connsiteY7" fmla="*/ 625705 h 734374"/>
                  <a:gd name="connsiteX8" fmla="*/ 1233715 w 1262494"/>
                  <a:gd name="connsiteY8" fmla="*/ 663595 h 734374"/>
                  <a:gd name="connsiteX9" fmla="*/ 1153233 w 1262494"/>
                  <a:gd name="connsiteY9" fmla="*/ 696690 h 734374"/>
                  <a:gd name="connsiteX10" fmla="*/ 97170 w 1262494"/>
                  <a:gd name="connsiteY10" fmla="*/ 84934 h 734374"/>
                  <a:gd name="connsiteX11" fmla="*/ 97100 w 1262494"/>
                  <a:gd name="connsiteY11" fmla="*/ 84854 h 734374"/>
                  <a:gd name="connsiteX12" fmla="*/ 92641 w 1262494"/>
                  <a:gd name="connsiteY12" fmla="*/ 86106 h 734374"/>
                  <a:gd name="connsiteX13" fmla="*/ 83322 w 1262494"/>
                  <a:gd name="connsiteY13" fmla="*/ 98353 h 734374"/>
                  <a:gd name="connsiteX14" fmla="*/ 83306 w 1262494"/>
                  <a:gd name="connsiteY14" fmla="*/ 104410 h 734374"/>
                  <a:gd name="connsiteX15" fmla="*/ 84058 w 1262494"/>
                  <a:gd name="connsiteY15" fmla="*/ 106600 h 734374"/>
                  <a:gd name="connsiteX16" fmla="*/ 84057 w 1262494"/>
                  <a:gd name="connsiteY16" fmla="*/ 212545 h 734374"/>
                  <a:gd name="connsiteX17" fmla="*/ 42843 w 1262494"/>
                  <a:gd name="connsiteY17" fmla="*/ 236780 h 734374"/>
                  <a:gd name="connsiteX18" fmla="*/ 4867 w 1262494"/>
                  <a:gd name="connsiteY18" fmla="*/ 221977 h 734374"/>
                  <a:gd name="connsiteX0" fmla="*/ 4867 w 1308852"/>
                  <a:gd name="connsiteY0" fmla="*/ 221977 h 744249"/>
                  <a:gd name="connsiteX1" fmla="*/ 1628 w 1308852"/>
                  <a:gd name="connsiteY1" fmla="*/ 212544 h 744249"/>
                  <a:gd name="connsiteX2" fmla="*/ 911 w 1308852"/>
                  <a:gd name="connsiteY2" fmla="*/ 97581 h 744249"/>
                  <a:gd name="connsiteX3" fmla="*/ 14421 w 1308852"/>
                  <a:gd name="connsiteY3" fmla="*/ 45201 h 744249"/>
                  <a:gd name="connsiteX4" fmla="*/ 43539 w 1308852"/>
                  <a:gd name="connsiteY4" fmla="*/ 13965 h 744249"/>
                  <a:gd name="connsiteX5" fmla="*/ 86141 w 1308852"/>
                  <a:gd name="connsiteY5" fmla="*/ 108 h 744249"/>
                  <a:gd name="connsiteX6" fmla="*/ 118741 w 1308852"/>
                  <a:gd name="connsiteY6" fmla="*/ 5629 h 744249"/>
                  <a:gd name="connsiteX7" fmla="*/ 1195107 w 1308852"/>
                  <a:gd name="connsiteY7" fmla="*/ 625705 h 744249"/>
                  <a:gd name="connsiteX8" fmla="*/ 1153233 w 1308852"/>
                  <a:gd name="connsiteY8" fmla="*/ 696690 h 744249"/>
                  <a:gd name="connsiteX9" fmla="*/ 97170 w 1308852"/>
                  <a:gd name="connsiteY9" fmla="*/ 84934 h 744249"/>
                  <a:gd name="connsiteX10" fmla="*/ 97100 w 1308852"/>
                  <a:gd name="connsiteY10" fmla="*/ 84854 h 744249"/>
                  <a:gd name="connsiteX11" fmla="*/ 92641 w 1308852"/>
                  <a:gd name="connsiteY11" fmla="*/ 86106 h 744249"/>
                  <a:gd name="connsiteX12" fmla="*/ 83322 w 1308852"/>
                  <a:gd name="connsiteY12" fmla="*/ 98353 h 744249"/>
                  <a:gd name="connsiteX13" fmla="*/ 83306 w 1308852"/>
                  <a:gd name="connsiteY13" fmla="*/ 104410 h 744249"/>
                  <a:gd name="connsiteX14" fmla="*/ 84058 w 1308852"/>
                  <a:gd name="connsiteY14" fmla="*/ 106600 h 744249"/>
                  <a:gd name="connsiteX15" fmla="*/ 84057 w 1308852"/>
                  <a:gd name="connsiteY15" fmla="*/ 212545 h 744249"/>
                  <a:gd name="connsiteX16" fmla="*/ 42843 w 1308852"/>
                  <a:gd name="connsiteY16" fmla="*/ 236780 h 744249"/>
                  <a:gd name="connsiteX17" fmla="*/ 4867 w 1308852"/>
                  <a:gd name="connsiteY17" fmla="*/ 221977 h 74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8852" h="744249">
                    <a:moveTo>
                      <a:pt x="4867" y="221977"/>
                    </a:moveTo>
                    <a:cubicBezTo>
                      <a:pt x="2782" y="219079"/>
                      <a:pt x="1628" y="215890"/>
                      <a:pt x="1628" y="212544"/>
                    </a:cubicBezTo>
                    <a:cubicBezTo>
                      <a:pt x="968" y="191811"/>
                      <a:pt x="-1222" y="125471"/>
                      <a:pt x="911" y="97581"/>
                    </a:cubicBezTo>
                    <a:cubicBezTo>
                      <a:pt x="3498" y="80400"/>
                      <a:pt x="-1751" y="72471"/>
                      <a:pt x="14421" y="45201"/>
                    </a:cubicBezTo>
                    <a:cubicBezTo>
                      <a:pt x="26551" y="24749"/>
                      <a:pt x="34561" y="19753"/>
                      <a:pt x="43539" y="13965"/>
                    </a:cubicBezTo>
                    <a:cubicBezTo>
                      <a:pt x="60016" y="6917"/>
                      <a:pt x="69693" y="-450"/>
                      <a:pt x="86141" y="108"/>
                    </a:cubicBezTo>
                    <a:cubicBezTo>
                      <a:pt x="98478" y="527"/>
                      <a:pt x="101140" y="-2106"/>
                      <a:pt x="118741" y="5629"/>
                    </a:cubicBezTo>
                    <a:lnTo>
                      <a:pt x="1195107" y="625705"/>
                    </a:lnTo>
                    <a:cubicBezTo>
                      <a:pt x="1367522" y="740882"/>
                      <a:pt x="1336223" y="786819"/>
                      <a:pt x="1153233" y="696690"/>
                    </a:cubicBezTo>
                    <a:lnTo>
                      <a:pt x="97170" y="84934"/>
                    </a:lnTo>
                    <a:cubicBezTo>
                      <a:pt x="97147" y="84907"/>
                      <a:pt x="97123" y="84881"/>
                      <a:pt x="97100" y="84854"/>
                    </a:cubicBezTo>
                    <a:lnTo>
                      <a:pt x="92641" y="86106"/>
                    </a:lnTo>
                    <a:cubicBezTo>
                      <a:pt x="87828" y="87456"/>
                      <a:pt x="83868" y="90174"/>
                      <a:pt x="83322" y="98353"/>
                    </a:cubicBezTo>
                    <a:cubicBezTo>
                      <a:pt x="83316" y="100372"/>
                      <a:pt x="83311" y="102391"/>
                      <a:pt x="83306" y="104410"/>
                    </a:cubicBezTo>
                    <a:lnTo>
                      <a:pt x="84058" y="106600"/>
                    </a:lnTo>
                    <a:cubicBezTo>
                      <a:pt x="84058" y="141915"/>
                      <a:pt x="84057" y="177229"/>
                      <a:pt x="84057" y="212545"/>
                    </a:cubicBezTo>
                    <a:cubicBezTo>
                      <a:pt x="84057" y="225929"/>
                      <a:pt x="65605" y="236780"/>
                      <a:pt x="42843" y="236780"/>
                    </a:cubicBezTo>
                    <a:cubicBezTo>
                      <a:pt x="25771" y="236779"/>
                      <a:pt x="11124" y="230676"/>
                      <a:pt x="4867" y="221977"/>
                    </a:cubicBezTo>
                    <a:close/>
                  </a:path>
                </a:pathLst>
              </a:custGeom>
              <a:gradFill flip="none" rotWithShape="1">
                <a:gsLst>
                  <a:gs pos="45000">
                    <a:schemeClr val="accent2">
                      <a:lumMod val="0"/>
                      <a:lumOff val="100000"/>
                    </a:schemeClr>
                  </a:gs>
                  <a:gs pos="55000">
                    <a:schemeClr val="accent4"/>
                  </a:gs>
                </a:gsLst>
                <a:lin ang="72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981" name="Freeform: Shape 980">
                <a:extLst>
                  <a:ext uri="{FF2B5EF4-FFF2-40B4-BE49-F238E27FC236}">
                    <a16:creationId xmlns:a16="http://schemas.microsoft.com/office/drawing/2014/main" id="{CBF846F8-4A5D-4ED7-B1F5-4CA25D924B62}"/>
                  </a:ext>
                </a:extLst>
              </p:cNvPr>
              <p:cNvSpPr/>
              <p:nvPr/>
            </p:nvSpPr>
            <p:spPr bwMode="gray">
              <a:xfrm rot="7200000">
                <a:off x="9721489" y="4451971"/>
                <a:ext cx="86264" cy="219954"/>
              </a:xfrm>
              <a:custGeom>
                <a:avLst/>
                <a:gdLst>
                  <a:gd name="connsiteX0" fmla="*/ 1191 w 76769"/>
                  <a:gd name="connsiteY0" fmla="*/ 171392 h 198335"/>
                  <a:gd name="connsiteX1" fmla="*/ 1191 w 76769"/>
                  <a:gd name="connsiteY1" fmla="*/ 171379 h 198335"/>
                  <a:gd name="connsiteX2" fmla="*/ 1 w 76769"/>
                  <a:gd name="connsiteY2" fmla="*/ 169330 h 198335"/>
                  <a:gd name="connsiteX3" fmla="*/ 0 w 76769"/>
                  <a:gd name="connsiteY3" fmla="*/ 26943 h 198335"/>
                  <a:gd name="connsiteX4" fmla="*/ 37789 w 76769"/>
                  <a:gd name="connsiteY4" fmla="*/ 0 h 198335"/>
                  <a:gd name="connsiteX5" fmla="*/ 75578 w 76769"/>
                  <a:gd name="connsiteY5" fmla="*/ 26943 h 198335"/>
                  <a:gd name="connsiteX6" fmla="*/ 75578 w 76769"/>
                  <a:gd name="connsiteY6" fmla="*/ 26956 h 198335"/>
                  <a:gd name="connsiteX7" fmla="*/ 76769 w 76769"/>
                  <a:gd name="connsiteY7" fmla="*/ 29005 h 198335"/>
                  <a:gd name="connsiteX8" fmla="*/ 76769 w 76769"/>
                  <a:gd name="connsiteY8" fmla="*/ 171392 h 198335"/>
                  <a:gd name="connsiteX9" fmla="*/ 38980 w 76769"/>
                  <a:gd name="connsiteY9" fmla="*/ 198335 h 198335"/>
                  <a:gd name="connsiteX10" fmla="*/ 1191 w 76769"/>
                  <a:gd name="connsiteY10" fmla="*/ 171392 h 198335"/>
                  <a:gd name="connsiteX0" fmla="*/ 1191 w 76769"/>
                  <a:gd name="connsiteY0" fmla="*/ 154997 h 181940"/>
                  <a:gd name="connsiteX1" fmla="*/ 1191 w 76769"/>
                  <a:gd name="connsiteY1" fmla="*/ 154984 h 181940"/>
                  <a:gd name="connsiteX2" fmla="*/ 1 w 76769"/>
                  <a:gd name="connsiteY2" fmla="*/ 152935 h 181940"/>
                  <a:gd name="connsiteX3" fmla="*/ 0 w 76769"/>
                  <a:gd name="connsiteY3" fmla="*/ 10548 h 181940"/>
                  <a:gd name="connsiteX4" fmla="*/ 75578 w 76769"/>
                  <a:gd name="connsiteY4" fmla="*/ 10548 h 181940"/>
                  <a:gd name="connsiteX5" fmla="*/ 75578 w 76769"/>
                  <a:gd name="connsiteY5" fmla="*/ 10561 h 181940"/>
                  <a:gd name="connsiteX6" fmla="*/ 76769 w 76769"/>
                  <a:gd name="connsiteY6" fmla="*/ 12610 h 181940"/>
                  <a:gd name="connsiteX7" fmla="*/ 76769 w 76769"/>
                  <a:gd name="connsiteY7" fmla="*/ 154997 h 181940"/>
                  <a:gd name="connsiteX8" fmla="*/ 38980 w 76769"/>
                  <a:gd name="connsiteY8" fmla="*/ 181940 h 181940"/>
                  <a:gd name="connsiteX9" fmla="*/ 1191 w 76769"/>
                  <a:gd name="connsiteY9" fmla="*/ 154997 h 181940"/>
                  <a:gd name="connsiteX0" fmla="*/ 1191 w 77087"/>
                  <a:gd name="connsiteY0" fmla="*/ 154997 h 181940"/>
                  <a:gd name="connsiteX1" fmla="*/ 1191 w 77087"/>
                  <a:gd name="connsiteY1" fmla="*/ 154984 h 181940"/>
                  <a:gd name="connsiteX2" fmla="*/ 1 w 77087"/>
                  <a:gd name="connsiteY2" fmla="*/ 152935 h 181940"/>
                  <a:gd name="connsiteX3" fmla="*/ 0 w 77087"/>
                  <a:gd name="connsiteY3" fmla="*/ 10548 h 181940"/>
                  <a:gd name="connsiteX4" fmla="*/ 75578 w 77087"/>
                  <a:gd name="connsiteY4" fmla="*/ 10548 h 181940"/>
                  <a:gd name="connsiteX5" fmla="*/ 75578 w 77087"/>
                  <a:gd name="connsiteY5" fmla="*/ 10561 h 181940"/>
                  <a:gd name="connsiteX6" fmla="*/ 77087 w 77087"/>
                  <a:gd name="connsiteY6" fmla="*/ 17925 h 181940"/>
                  <a:gd name="connsiteX7" fmla="*/ 76769 w 77087"/>
                  <a:gd name="connsiteY7" fmla="*/ 154997 h 181940"/>
                  <a:gd name="connsiteX8" fmla="*/ 38980 w 77087"/>
                  <a:gd name="connsiteY8" fmla="*/ 181940 h 181940"/>
                  <a:gd name="connsiteX9" fmla="*/ 1191 w 77087"/>
                  <a:gd name="connsiteY9" fmla="*/ 154997 h 181940"/>
                  <a:gd name="connsiteX0" fmla="*/ 1191 w 76769"/>
                  <a:gd name="connsiteY0" fmla="*/ 154997 h 181940"/>
                  <a:gd name="connsiteX1" fmla="*/ 1191 w 76769"/>
                  <a:gd name="connsiteY1" fmla="*/ 154984 h 181940"/>
                  <a:gd name="connsiteX2" fmla="*/ 1 w 76769"/>
                  <a:gd name="connsiteY2" fmla="*/ 152935 h 181940"/>
                  <a:gd name="connsiteX3" fmla="*/ 0 w 76769"/>
                  <a:gd name="connsiteY3" fmla="*/ 10548 h 181940"/>
                  <a:gd name="connsiteX4" fmla="*/ 75578 w 76769"/>
                  <a:gd name="connsiteY4" fmla="*/ 10548 h 181940"/>
                  <a:gd name="connsiteX5" fmla="*/ 75578 w 76769"/>
                  <a:gd name="connsiteY5" fmla="*/ 10561 h 181940"/>
                  <a:gd name="connsiteX6" fmla="*/ 76769 w 76769"/>
                  <a:gd name="connsiteY6" fmla="*/ 154997 h 181940"/>
                  <a:gd name="connsiteX7" fmla="*/ 38980 w 76769"/>
                  <a:gd name="connsiteY7" fmla="*/ 181940 h 181940"/>
                  <a:gd name="connsiteX8" fmla="*/ 1191 w 76769"/>
                  <a:gd name="connsiteY8" fmla="*/ 154997 h 181940"/>
                  <a:gd name="connsiteX0" fmla="*/ 1191 w 76769"/>
                  <a:gd name="connsiteY0" fmla="*/ 144450 h 171393"/>
                  <a:gd name="connsiteX1" fmla="*/ 1191 w 76769"/>
                  <a:gd name="connsiteY1" fmla="*/ 144437 h 171393"/>
                  <a:gd name="connsiteX2" fmla="*/ 1 w 76769"/>
                  <a:gd name="connsiteY2" fmla="*/ 142388 h 171393"/>
                  <a:gd name="connsiteX3" fmla="*/ 0 w 76769"/>
                  <a:gd name="connsiteY3" fmla="*/ 1 h 171393"/>
                  <a:gd name="connsiteX4" fmla="*/ 75578 w 76769"/>
                  <a:gd name="connsiteY4" fmla="*/ 1 h 171393"/>
                  <a:gd name="connsiteX5" fmla="*/ 75578 w 76769"/>
                  <a:gd name="connsiteY5" fmla="*/ 14 h 171393"/>
                  <a:gd name="connsiteX6" fmla="*/ 76769 w 76769"/>
                  <a:gd name="connsiteY6" fmla="*/ 144450 h 171393"/>
                  <a:gd name="connsiteX7" fmla="*/ 38980 w 76769"/>
                  <a:gd name="connsiteY7" fmla="*/ 171393 h 171393"/>
                  <a:gd name="connsiteX8" fmla="*/ 1191 w 76769"/>
                  <a:gd name="connsiteY8" fmla="*/ 144450 h 171393"/>
                  <a:gd name="connsiteX0" fmla="*/ 1191 w 76854"/>
                  <a:gd name="connsiteY0" fmla="*/ 144450 h 171393"/>
                  <a:gd name="connsiteX1" fmla="*/ 1191 w 76854"/>
                  <a:gd name="connsiteY1" fmla="*/ 144437 h 171393"/>
                  <a:gd name="connsiteX2" fmla="*/ 1 w 76854"/>
                  <a:gd name="connsiteY2" fmla="*/ 142388 h 171393"/>
                  <a:gd name="connsiteX3" fmla="*/ 0 w 76854"/>
                  <a:gd name="connsiteY3" fmla="*/ 1 h 171393"/>
                  <a:gd name="connsiteX4" fmla="*/ 75578 w 76854"/>
                  <a:gd name="connsiteY4" fmla="*/ 1 h 171393"/>
                  <a:gd name="connsiteX5" fmla="*/ 76854 w 76854"/>
                  <a:gd name="connsiteY5" fmla="*/ 21274 h 171393"/>
                  <a:gd name="connsiteX6" fmla="*/ 76769 w 76854"/>
                  <a:gd name="connsiteY6" fmla="*/ 144450 h 171393"/>
                  <a:gd name="connsiteX7" fmla="*/ 38980 w 76854"/>
                  <a:gd name="connsiteY7" fmla="*/ 171393 h 171393"/>
                  <a:gd name="connsiteX8" fmla="*/ 1191 w 76854"/>
                  <a:gd name="connsiteY8" fmla="*/ 144450 h 171393"/>
                  <a:gd name="connsiteX0" fmla="*/ 1191 w 76769"/>
                  <a:gd name="connsiteY0" fmla="*/ 144450 h 171393"/>
                  <a:gd name="connsiteX1" fmla="*/ 1191 w 76769"/>
                  <a:gd name="connsiteY1" fmla="*/ 144437 h 171393"/>
                  <a:gd name="connsiteX2" fmla="*/ 1 w 76769"/>
                  <a:gd name="connsiteY2" fmla="*/ 142388 h 171393"/>
                  <a:gd name="connsiteX3" fmla="*/ 0 w 76769"/>
                  <a:gd name="connsiteY3" fmla="*/ 1 h 171393"/>
                  <a:gd name="connsiteX4" fmla="*/ 75578 w 76769"/>
                  <a:gd name="connsiteY4" fmla="*/ 1 h 171393"/>
                  <a:gd name="connsiteX5" fmla="*/ 46069 w 76769"/>
                  <a:gd name="connsiteY5" fmla="*/ 6053 h 171393"/>
                  <a:gd name="connsiteX6" fmla="*/ 76769 w 76769"/>
                  <a:gd name="connsiteY6" fmla="*/ 144450 h 171393"/>
                  <a:gd name="connsiteX7" fmla="*/ 38980 w 76769"/>
                  <a:gd name="connsiteY7" fmla="*/ 171393 h 171393"/>
                  <a:gd name="connsiteX8" fmla="*/ 1191 w 76769"/>
                  <a:gd name="connsiteY8" fmla="*/ 144450 h 171393"/>
                  <a:gd name="connsiteX0" fmla="*/ 1191 w 83348"/>
                  <a:gd name="connsiteY0" fmla="*/ 144450 h 171409"/>
                  <a:gd name="connsiteX1" fmla="*/ 1191 w 83348"/>
                  <a:gd name="connsiteY1" fmla="*/ 144437 h 171409"/>
                  <a:gd name="connsiteX2" fmla="*/ 1 w 83348"/>
                  <a:gd name="connsiteY2" fmla="*/ 142388 h 171409"/>
                  <a:gd name="connsiteX3" fmla="*/ 0 w 83348"/>
                  <a:gd name="connsiteY3" fmla="*/ 1 h 171409"/>
                  <a:gd name="connsiteX4" fmla="*/ 75578 w 83348"/>
                  <a:gd name="connsiteY4" fmla="*/ 1 h 171409"/>
                  <a:gd name="connsiteX5" fmla="*/ 76769 w 83348"/>
                  <a:gd name="connsiteY5" fmla="*/ 144450 h 171409"/>
                  <a:gd name="connsiteX6" fmla="*/ 38980 w 83348"/>
                  <a:gd name="connsiteY6" fmla="*/ 171393 h 171409"/>
                  <a:gd name="connsiteX7" fmla="*/ 1191 w 83348"/>
                  <a:gd name="connsiteY7" fmla="*/ 144450 h 171409"/>
                  <a:gd name="connsiteX0" fmla="*/ 1191 w 83252"/>
                  <a:gd name="connsiteY0" fmla="*/ 144450 h 171393"/>
                  <a:gd name="connsiteX1" fmla="*/ 1191 w 83252"/>
                  <a:gd name="connsiteY1" fmla="*/ 144437 h 171393"/>
                  <a:gd name="connsiteX2" fmla="*/ 1 w 83252"/>
                  <a:gd name="connsiteY2" fmla="*/ 142388 h 171393"/>
                  <a:gd name="connsiteX3" fmla="*/ 0 w 83252"/>
                  <a:gd name="connsiteY3" fmla="*/ 1 h 171393"/>
                  <a:gd name="connsiteX4" fmla="*/ 75578 w 83252"/>
                  <a:gd name="connsiteY4" fmla="*/ 1 h 171393"/>
                  <a:gd name="connsiteX5" fmla="*/ 79875 w 83252"/>
                  <a:gd name="connsiteY5" fmla="*/ 35918 h 171393"/>
                  <a:gd name="connsiteX6" fmla="*/ 76769 w 83252"/>
                  <a:gd name="connsiteY6" fmla="*/ 144450 h 171393"/>
                  <a:gd name="connsiteX7" fmla="*/ 38980 w 83252"/>
                  <a:gd name="connsiteY7" fmla="*/ 171393 h 171393"/>
                  <a:gd name="connsiteX8" fmla="*/ 1191 w 83252"/>
                  <a:gd name="connsiteY8" fmla="*/ 144450 h 171393"/>
                  <a:gd name="connsiteX0" fmla="*/ 1191 w 83252"/>
                  <a:gd name="connsiteY0" fmla="*/ 144450 h 171393"/>
                  <a:gd name="connsiteX1" fmla="*/ 1191 w 83252"/>
                  <a:gd name="connsiteY1" fmla="*/ 144437 h 171393"/>
                  <a:gd name="connsiteX2" fmla="*/ 1 w 83252"/>
                  <a:gd name="connsiteY2" fmla="*/ 142388 h 171393"/>
                  <a:gd name="connsiteX3" fmla="*/ 0 w 83252"/>
                  <a:gd name="connsiteY3" fmla="*/ 1 h 171393"/>
                  <a:gd name="connsiteX4" fmla="*/ 75578 w 83252"/>
                  <a:gd name="connsiteY4" fmla="*/ 1 h 171393"/>
                  <a:gd name="connsiteX5" fmla="*/ 79875 w 83252"/>
                  <a:gd name="connsiteY5" fmla="*/ 35918 h 171393"/>
                  <a:gd name="connsiteX6" fmla="*/ 76769 w 83252"/>
                  <a:gd name="connsiteY6" fmla="*/ 144450 h 171393"/>
                  <a:gd name="connsiteX7" fmla="*/ 38980 w 83252"/>
                  <a:gd name="connsiteY7" fmla="*/ 171393 h 171393"/>
                  <a:gd name="connsiteX8" fmla="*/ 1191 w 83252"/>
                  <a:gd name="connsiteY8" fmla="*/ 144450 h 171393"/>
                  <a:gd name="connsiteX0" fmla="*/ 1191 w 83252"/>
                  <a:gd name="connsiteY0" fmla="*/ 144450 h 171393"/>
                  <a:gd name="connsiteX1" fmla="*/ 1191 w 83252"/>
                  <a:gd name="connsiteY1" fmla="*/ 144437 h 171393"/>
                  <a:gd name="connsiteX2" fmla="*/ 1 w 83252"/>
                  <a:gd name="connsiteY2" fmla="*/ 142388 h 171393"/>
                  <a:gd name="connsiteX3" fmla="*/ 0 w 83252"/>
                  <a:gd name="connsiteY3" fmla="*/ 1 h 171393"/>
                  <a:gd name="connsiteX4" fmla="*/ 75578 w 83252"/>
                  <a:gd name="connsiteY4" fmla="*/ 1 h 171393"/>
                  <a:gd name="connsiteX5" fmla="*/ 79875 w 83252"/>
                  <a:gd name="connsiteY5" fmla="*/ 35918 h 171393"/>
                  <a:gd name="connsiteX6" fmla="*/ 79260 w 83252"/>
                  <a:gd name="connsiteY6" fmla="*/ 96764 h 171393"/>
                  <a:gd name="connsiteX7" fmla="*/ 76769 w 83252"/>
                  <a:gd name="connsiteY7" fmla="*/ 144450 h 171393"/>
                  <a:gd name="connsiteX8" fmla="*/ 38980 w 83252"/>
                  <a:gd name="connsiteY8" fmla="*/ 171393 h 171393"/>
                  <a:gd name="connsiteX9" fmla="*/ 1191 w 83252"/>
                  <a:gd name="connsiteY9" fmla="*/ 144450 h 171393"/>
                  <a:gd name="connsiteX0" fmla="*/ 1191 w 80882"/>
                  <a:gd name="connsiteY0" fmla="*/ 144450 h 171393"/>
                  <a:gd name="connsiteX1" fmla="*/ 1191 w 80882"/>
                  <a:gd name="connsiteY1" fmla="*/ 144437 h 171393"/>
                  <a:gd name="connsiteX2" fmla="*/ 1 w 80882"/>
                  <a:gd name="connsiteY2" fmla="*/ 142388 h 171393"/>
                  <a:gd name="connsiteX3" fmla="*/ 0 w 80882"/>
                  <a:gd name="connsiteY3" fmla="*/ 1 h 171393"/>
                  <a:gd name="connsiteX4" fmla="*/ 75578 w 80882"/>
                  <a:gd name="connsiteY4" fmla="*/ 1 h 171393"/>
                  <a:gd name="connsiteX5" fmla="*/ 31253 w 80882"/>
                  <a:gd name="connsiteY5" fmla="*/ 61241 h 171393"/>
                  <a:gd name="connsiteX6" fmla="*/ 79260 w 80882"/>
                  <a:gd name="connsiteY6" fmla="*/ 96764 h 171393"/>
                  <a:gd name="connsiteX7" fmla="*/ 76769 w 80882"/>
                  <a:gd name="connsiteY7" fmla="*/ 144450 h 171393"/>
                  <a:gd name="connsiteX8" fmla="*/ 38980 w 80882"/>
                  <a:gd name="connsiteY8" fmla="*/ 171393 h 171393"/>
                  <a:gd name="connsiteX9" fmla="*/ 1191 w 80882"/>
                  <a:gd name="connsiteY9" fmla="*/ 144450 h 171393"/>
                  <a:gd name="connsiteX0" fmla="*/ 1191 w 82524"/>
                  <a:gd name="connsiteY0" fmla="*/ 144450 h 171393"/>
                  <a:gd name="connsiteX1" fmla="*/ 1191 w 82524"/>
                  <a:gd name="connsiteY1" fmla="*/ 144437 h 171393"/>
                  <a:gd name="connsiteX2" fmla="*/ 1 w 82524"/>
                  <a:gd name="connsiteY2" fmla="*/ 142388 h 171393"/>
                  <a:gd name="connsiteX3" fmla="*/ 0 w 82524"/>
                  <a:gd name="connsiteY3" fmla="*/ 1 h 171393"/>
                  <a:gd name="connsiteX4" fmla="*/ 75578 w 82524"/>
                  <a:gd name="connsiteY4" fmla="*/ 1 h 171393"/>
                  <a:gd name="connsiteX5" fmla="*/ 79260 w 82524"/>
                  <a:gd name="connsiteY5" fmla="*/ 96764 h 171393"/>
                  <a:gd name="connsiteX6" fmla="*/ 76769 w 82524"/>
                  <a:gd name="connsiteY6" fmla="*/ 144450 h 171393"/>
                  <a:gd name="connsiteX7" fmla="*/ 38980 w 82524"/>
                  <a:gd name="connsiteY7" fmla="*/ 171393 h 171393"/>
                  <a:gd name="connsiteX8" fmla="*/ 1191 w 82524"/>
                  <a:gd name="connsiteY8" fmla="*/ 144450 h 171393"/>
                  <a:gd name="connsiteX0" fmla="*/ 1191 w 81470"/>
                  <a:gd name="connsiteY0" fmla="*/ 144449 h 171392"/>
                  <a:gd name="connsiteX1" fmla="*/ 1191 w 81470"/>
                  <a:gd name="connsiteY1" fmla="*/ 144436 h 171392"/>
                  <a:gd name="connsiteX2" fmla="*/ 1 w 81470"/>
                  <a:gd name="connsiteY2" fmla="*/ 142387 h 171392"/>
                  <a:gd name="connsiteX3" fmla="*/ 0 w 81470"/>
                  <a:gd name="connsiteY3" fmla="*/ 0 h 171392"/>
                  <a:gd name="connsiteX4" fmla="*/ 73834 w 81470"/>
                  <a:gd name="connsiteY4" fmla="*/ 6506 h 171392"/>
                  <a:gd name="connsiteX5" fmla="*/ 79260 w 81470"/>
                  <a:gd name="connsiteY5" fmla="*/ 96763 h 171392"/>
                  <a:gd name="connsiteX6" fmla="*/ 76769 w 81470"/>
                  <a:gd name="connsiteY6" fmla="*/ 144449 h 171392"/>
                  <a:gd name="connsiteX7" fmla="*/ 38980 w 81470"/>
                  <a:gd name="connsiteY7" fmla="*/ 171392 h 171392"/>
                  <a:gd name="connsiteX8" fmla="*/ 1191 w 81470"/>
                  <a:gd name="connsiteY8" fmla="*/ 144449 h 171392"/>
                  <a:gd name="connsiteX0" fmla="*/ 1191 w 81470"/>
                  <a:gd name="connsiteY0" fmla="*/ 144449 h 171392"/>
                  <a:gd name="connsiteX1" fmla="*/ 1191 w 81470"/>
                  <a:gd name="connsiteY1" fmla="*/ 144436 h 171392"/>
                  <a:gd name="connsiteX2" fmla="*/ 1 w 81470"/>
                  <a:gd name="connsiteY2" fmla="*/ 142387 h 171392"/>
                  <a:gd name="connsiteX3" fmla="*/ 0 w 81470"/>
                  <a:gd name="connsiteY3" fmla="*/ 0 h 171392"/>
                  <a:gd name="connsiteX4" fmla="*/ 73834 w 81470"/>
                  <a:gd name="connsiteY4" fmla="*/ 6506 h 171392"/>
                  <a:gd name="connsiteX5" fmla="*/ 79260 w 81470"/>
                  <a:gd name="connsiteY5" fmla="*/ 96763 h 171392"/>
                  <a:gd name="connsiteX6" fmla="*/ 78934 w 81470"/>
                  <a:gd name="connsiteY6" fmla="*/ 101687 h 171392"/>
                  <a:gd name="connsiteX7" fmla="*/ 76769 w 81470"/>
                  <a:gd name="connsiteY7" fmla="*/ 144449 h 171392"/>
                  <a:gd name="connsiteX8" fmla="*/ 38980 w 81470"/>
                  <a:gd name="connsiteY8" fmla="*/ 171392 h 171392"/>
                  <a:gd name="connsiteX9" fmla="*/ 1191 w 81470"/>
                  <a:gd name="connsiteY9" fmla="*/ 144449 h 171392"/>
                  <a:gd name="connsiteX0" fmla="*/ 1191 w 81470"/>
                  <a:gd name="connsiteY0" fmla="*/ 144449 h 171392"/>
                  <a:gd name="connsiteX1" fmla="*/ 1191 w 81470"/>
                  <a:gd name="connsiteY1" fmla="*/ 144436 h 171392"/>
                  <a:gd name="connsiteX2" fmla="*/ 1 w 81470"/>
                  <a:gd name="connsiteY2" fmla="*/ 142387 h 171392"/>
                  <a:gd name="connsiteX3" fmla="*/ 0 w 81470"/>
                  <a:gd name="connsiteY3" fmla="*/ 0 h 171392"/>
                  <a:gd name="connsiteX4" fmla="*/ 73834 w 81470"/>
                  <a:gd name="connsiteY4" fmla="*/ 6506 h 171392"/>
                  <a:gd name="connsiteX5" fmla="*/ 79260 w 81470"/>
                  <a:gd name="connsiteY5" fmla="*/ 96763 h 171392"/>
                  <a:gd name="connsiteX6" fmla="*/ 76769 w 81470"/>
                  <a:gd name="connsiteY6" fmla="*/ 144449 h 171392"/>
                  <a:gd name="connsiteX7" fmla="*/ 38980 w 81470"/>
                  <a:gd name="connsiteY7" fmla="*/ 171392 h 171392"/>
                  <a:gd name="connsiteX8" fmla="*/ 1191 w 81470"/>
                  <a:gd name="connsiteY8" fmla="*/ 144449 h 171392"/>
                  <a:gd name="connsiteX0" fmla="*/ 1191 w 82284"/>
                  <a:gd name="connsiteY0" fmla="*/ 144449 h 171392"/>
                  <a:gd name="connsiteX1" fmla="*/ 1191 w 82284"/>
                  <a:gd name="connsiteY1" fmla="*/ 144436 h 171392"/>
                  <a:gd name="connsiteX2" fmla="*/ 1 w 82284"/>
                  <a:gd name="connsiteY2" fmla="*/ 142387 h 171392"/>
                  <a:gd name="connsiteX3" fmla="*/ 0 w 82284"/>
                  <a:gd name="connsiteY3" fmla="*/ 0 h 171392"/>
                  <a:gd name="connsiteX4" fmla="*/ 73834 w 82284"/>
                  <a:gd name="connsiteY4" fmla="*/ 6506 h 171392"/>
                  <a:gd name="connsiteX5" fmla="*/ 76769 w 82284"/>
                  <a:gd name="connsiteY5" fmla="*/ 144449 h 171392"/>
                  <a:gd name="connsiteX6" fmla="*/ 38980 w 82284"/>
                  <a:gd name="connsiteY6" fmla="*/ 171392 h 171392"/>
                  <a:gd name="connsiteX7" fmla="*/ 1191 w 82284"/>
                  <a:gd name="connsiteY7" fmla="*/ 144449 h 171392"/>
                  <a:gd name="connsiteX0" fmla="*/ 1191 w 82284"/>
                  <a:gd name="connsiteY0" fmla="*/ 144449 h 171392"/>
                  <a:gd name="connsiteX1" fmla="*/ 1191 w 82284"/>
                  <a:gd name="connsiteY1" fmla="*/ 144436 h 171392"/>
                  <a:gd name="connsiteX2" fmla="*/ 1 w 82284"/>
                  <a:gd name="connsiteY2" fmla="*/ 142387 h 171392"/>
                  <a:gd name="connsiteX3" fmla="*/ 0 w 82284"/>
                  <a:gd name="connsiteY3" fmla="*/ 0 h 171392"/>
                  <a:gd name="connsiteX4" fmla="*/ 73834 w 82284"/>
                  <a:gd name="connsiteY4" fmla="*/ 6506 h 171392"/>
                  <a:gd name="connsiteX5" fmla="*/ 76769 w 82284"/>
                  <a:gd name="connsiteY5" fmla="*/ 144449 h 171392"/>
                  <a:gd name="connsiteX6" fmla="*/ 38980 w 82284"/>
                  <a:gd name="connsiteY6" fmla="*/ 171392 h 171392"/>
                  <a:gd name="connsiteX7" fmla="*/ 1191 w 82284"/>
                  <a:gd name="connsiteY7" fmla="*/ 144449 h 171392"/>
                  <a:gd name="connsiteX0" fmla="*/ 1191 w 80436"/>
                  <a:gd name="connsiteY0" fmla="*/ 144449 h 171392"/>
                  <a:gd name="connsiteX1" fmla="*/ 1191 w 80436"/>
                  <a:gd name="connsiteY1" fmla="*/ 144436 h 171392"/>
                  <a:gd name="connsiteX2" fmla="*/ 1 w 80436"/>
                  <a:gd name="connsiteY2" fmla="*/ 142387 h 171392"/>
                  <a:gd name="connsiteX3" fmla="*/ 0 w 80436"/>
                  <a:gd name="connsiteY3" fmla="*/ 0 h 171392"/>
                  <a:gd name="connsiteX4" fmla="*/ 73834 w 80436"/>
                  <a:gd name="connsiteY4" fmla="*/ 6506 h 171392"/>
                  <a:gd name="connsiteX5" fmla="*/ 76769 w 80436"/>
                  <a:gd name="connsiteY5" fmla="*/ 144449 h 171392"/>
                  <a:gd name="connsiteX6" fmla="*/ 38980 w 80436"/>
                  <a:gd name="connsiteY6" fmla="*/ 171392 h 171392"/>
                  <a:gd name="connsiteX7" fmla="*/ 1191 w 80436"/>
                  <a:gd name="connsiteY7" fmla="*/ 144449 h 171392"/>
                  <a:gd name="connsiteX0" fmla="*/ 1191 w 80436"/>
                  <a:gd name="connsiteY0" fmla="*/ 144449 h 171392"/>
                  <a:gd name="connsiteX1" fmla="*/ 1191 w 80436"/>
                  <a:gd name="connsiteY1" fmla="*/ 144436 h 171392"/>
                  <a:gd name="connsiteX2" fmla="*/ 1 w 80436"/>
                  <a:gd name="connsiteY2" fmla="*/ 142387 h 171392"/>
                  <a:gd name="connsiteX3" fmla="*/ 0 w 80436"/>
                  <a:gd name="connsiteY3" fmla="*/ 0 h 171392"/>
                  <a:gd name="connsiteX4" fmla="*/ 73834 w 80436"/>
                  <a:gd name="connsiteY4" fmla="*/ 6506 h 171392"/>
                  <a:gd name="connsiteX5" fmla="*/ 76769 w 80436"/>
                  <a:gd name="connsiteY5" fmla="*/ 144449 h 171392"/>
                  <a:gd name="connsiteX6" fmla="*/ 38980 w 80436"/>
                  <a:gd name="connsiteY6" fmla="*/ 171392 h 171392"/>
                  <a:gd name="connsiteX7" fmla="*/ 1191 w 80436"/>
                  <a:gd name="connsiteY7" fmla="*/ 144449 h 171392"/>
                  <a:gd name="connsiteX0" fmla="*/ 1191 w 76775"/>
                  <a:gd name="connsiteY0" fmla="*/ 144449 h 171392"/>
                  <a:gd name="connsiteX1" fmla="*/ 1191 w 76775"/>
                  <a:gd name="connsiteY1" fmla="*/ 144436 h 171392"/>
                  <a:gd name="connsiteX2" fmla="*/ 1 w 76775"/>
                  <a:gd name="connsiteY2" fmla="*/ 142387 h 171392"/>
                  <a:gd name="connsiteX3" fmla="*/ 0 w 76775"/>
                  <a:gd name="connsiteY3" fmla="*/ 0 h 171392"/>
                  <a:gd name="connsiteX4" fmla="*/ 73834 w 76775"/>
                  <a:gd name="connsiteY4" fmla="*/ 6506 h 171392"/>
                  <a:gd name="connsiteX5" fmla="*/ 76769 w 76775"/>
                  <a:gd name="connsiteY5" fmla="*/ 144449 h 171392"/>
                  <a:gd name="connsiteX6" fmla="*/ 38980 w 76775"/>
                  <a:gd name="connsiteY6" fmla="*/ 171392 h 171392"/>
                  <a:gd name="connsiteX7" fmla="*/ 1191 w 76775"/>
                  <a:gd name="connsiteY7" fmla="*/ 144449 h 171392"/>
                  <a:gd name="connsiteX0" fmla="*/ 1191 w 76775"/>
                  <a:gd name="connsiteY0" fmla="*/ 144449 h 171392"/>
                  <a:gd name="connsiteX1" fmla="*/ 1191 w 76775"/>
                  <a:gd name="connsiteY1" fmla="*/ 144436 h 171392"/>
                  <a:gd name="connsiteX2" fmla="*/ 1 w 76775"/>
                  <a:gd name="connsiteY2" fmla="*/ 142387 h 171392"/>
                  <a:gd name="connsiteX3" fmla="*/ 0 w 76775"/>
                  <a:gd name="connsiteY3" fmla="*/ 0 h 171392"/>
                  <a:gd name="connsiteX4" fmla="*/ 73834 w 76775"/>
                  <a:gd name="connsiteY4" fmla="*/ 6506 h 171392"/>
                  <a:gd name="connsiteX5" fmla="*/ 76769 w 76775"/>
                  <a:gd name="connsiteY5" fmla="*/ 144449 h 171392"/>
                  <a:gd name="connsiteX6" fmla="*/ 38980 w 76775"/>
                  <a:gd name="connsiteY6" fmla="*/ 171392 h 171392"/>
                  <a:gd name="connsiteX7" fmla="*/ 1191 w 76775"/>
                  <a:gd name="connsiteY7" fmla="*/ 144449 h 171392"/>
                  <a:gd name="connsiteX0" fmla="*/ 1191 w 76775"/>
                  <a:gd name="connsiteY0" fmla="*/ 144449 h 171392"/>
                  <a:gd name="connsiteX1" fmla="*/ 1191 w 76775"/>
                  <a:gd name="connsiteY1" fmla="*/ 144436 h 171392"/>
                  <a:gd name="connsiteX2" fmla="*/ 1 w 76775"/>
                  <a:gd name="connsiteY2" fmla="*/ 142387 h 171392"/>
                  <a:gd name="connsiteX3" fmla="*/ 0 w 76775"/>
                  <a:gd name="connsiteY3" fmla="*/ 0 h 171392"/>
                  <a:gd name="connsiteX4" fmla="*/ 73834 w 76775"/>
                  <a:gd name="connsiteY4" fmla="*/ 6506 h 171392"/>
                  <a:gd name="connsiteX5" fmla="*/ 76769 w 76775"/>
                  <a:gd name="connsiteY5" fmla="*/ 144449 h 171392"/>
                  <a:gd name="connsiteX6" fmla="*/ 38980 w 76775"/>
                  <a:gd name="connsiteY6" fmla="*/ 171392 h 171392"/>
                  <a:gd name="connsiteX7" fmla="*/ 1191 w 76775"/>
                  <a:gd name="connsiteY7" fmla="*/ 144449 h 171392"/>
                  <a:gd name="connsiteX0" fmla="*/ 1191 w 76782"/>
                  <a:gd name="connsiteY0" fmla="*/ 144449 h 171392"/>
                  <a:gd name="connsiteX1" fmla="*/ 1191 w 76782"/>
                  <a:gd name="connsiteY1" fmla="*/ 144436 h 171392"/>
                  <a:gd name="connsiteX2" fmla="*/ 1 w 76782"/>
                  <a:gd name="connsiteY2" fmla="*/ 142387 h 171392"/>
                  <a:gd name="connsiteX3" fmla="*/ 0 w 76782"/>
                  <a:gd name="connsiteY3" fmla="*/ 0 h 171392"/>
                  <a:gd name="connsiteX4" fmla="*/ 75246 w 76782"/>
                  <a:gd name="connsiteY4" fmla="*/ 8952 h 171392"/>
                  <a:gd name="connsiteX5" fmla="*/ 76769 w 76782"/>
                  <a:gd name="connsiteY5" fmla="*/ 144449 h 171392"/>
                  <a:gd name="connsiteX6" fmla="*/ 38980 w 76782"/>
                  <a:gd name="connsiteY6" fmla="*/ 171392 h 171392"/>
                  <a:gd name="connsiteX7" fmla="*/ 1191 w 76782"/>
                  <a:gd name="connsiteY7" fmla="*/ 144449 h 171392"/>
                  <a:gd name="connsiteX0" fmla="*/ 1191 w 76782"/>
                  <a:gd name="connsiteY0" fmla="*/ 144449 h 171392"/>
                  <a:gd name="connsiteX1" fmla="*/ 1191 w 76782"/>
                  <a:gd name="connsiteY1" fmla="*/ 144436 h 171392"/>
                  <a:gd name="connsiteX2" fmla="*/ 1 w 76782"/>
                  <a:gd name="connsiteY2" fmla="*/ 142387 h 171392"/>
                  <a:gd name="connsiteX3" fmla="*/ 0 w 76782"/>
                  <a:gd name="connsiteY3" fmla="*/ 0 h 171392"/>
                  <a:gd name="connsiteX4" fmla="*/ 75246 w 76782"/>
                  <a:gd name="connsiteY4" fmla="*/ 8952 h 171392"/>
                  <a:gd name="connsiteX5" fmla="*/ 76769 w 76782"/>
                  <a:gd name="connsiteY5" fmla="*/ 144449 h 171392"/>
                  <a:gd name="connsiteX6" fmla="*/ 38980 w 76782"/>
                  <a:gd name="connsiteY6" fmla="*/ 171392 h 171392"/>
                  <a:gd name="connsiteX7" fmla="*/ 1191 w 76782"/>
                  <a:gd name="connsiteY7" fmla="*/ 144449 h 171392"/>
                  <a:gd name="connsiteX0" fmla="*/ 1191 w 76782"/>
                  <a:gd name="connsiteY0" fmla="*/ 144449 h 171392"/>
                  <a:gd name="connsiteX1" fmla="*/ 1191 w 76782"/>
                  <a:gd name="connsiteY1" fmla="*/ 144436 h 171392"/>
                  <a:gd name="connsiteX2" fmla="*/ 1 w 76782"/>
                  <a:gd name="connsiteY2" fmla="*/ 142387 h 171392"/>
                  <a:gd name="connsiteX3" fmla="*/ 0 w 76782"/>
                  <a:gd name="connsiteY3" fmla="*/ 0 h 171392"/>
                  <a:gd name="connsiteX4" fmla="*/ 75246 w 76782"/>
                  <a:gd name="connsiteY4" fmla="*/ 8952 h 171392"/>
                  <a:gd name="connsiteX5" fmla="*/ 76769 w 76782"/>
                  <a:gd name="connsiteY5" fmla="*/ 144449 h 171392"/>
                  <a:gd name="connsiteX6" fmla="*/ 38980 w 76782"/>
                  <a:gd name="connsiteY6" fmla="*/ 171392 h 171392"/>
                  <a:gd name="connsiteX7" fmla="*/ 1191 w 76782"/>
                  <a:gd name="connsiteY7" fmla="*/ 144449 h 171392"/>
                  <a:gd name="connsiteX0" fmla="*/ 1191 w 76782"/>
                  <a:gd name="connsiteY0" fmla="*/ 200933 h 227876"/>
                  <a:gd name="connsiteX1" fmla="*/ 1191 w 76782"/>
                  <a:gd name="connsiteY1" fmla="*/ 200920 h 227876"/>
                  <a:gd name="connsiteX2" fmla="*/ 1 w 76782"/>
                  <a:gd name="connsiteY2" fmla="*/ 198871 h 227876"/>
                  <a:gd name="connsiteX3" fmla="*/ 0 w 76782"/>
                  <a:gd name="connsiteY3" fmla="*/ 56484 h 227876"/>
                  <a:gd name="connsiteX4" fmla="*/ 75246 w 76782"/>
                  <a:gd name="connsiteY4" fmla="*/ 65436 h 227876"/>
                  <a:gd name="connsiteX5" fmla="*/ 76769 w 76782"/>
                  <a:gd name="connsiteY5" fmla="*/ 200933 h 227876"/>
                  <a:gd name="connsiteX6" fmla="*/ 38980 w 76782"/>
                  <a:gd name="connsiteY6" fmla="*/ 227876 h 227876"/>
                  <a:gd name="connsiteX7" fmla="*/ 1191 w 76782"/>
                  <a:gd name="connsiteY7" fmla="*/ 200933 h 227876"/>
                  <a:gd name="connsiteX0" fmla="*/ 1191 w 84067"/>
                  <a:gd name="connsiteY0" fmla="*/ 216759 h 243702"/>
                  <a:gd name="connsiteX1" fmla="*/ 1191 w 84067"/>
                  <a:gd name="connsiteY1" fmla="*/ 216746 h 243702"/>
                  <a:gd name="connsiteX2" fmla="*/ 1 w 84067"/>
                  <a:gd name="connsiteY2" fmla="*/ 214697 h 243702"/>
                  <a:gd name="connsiteX3" fmla="*/ 0 w 84067"/>
                  <a:gd name="connsiteY3" fmla="*/ 72310 h 243702"/>
                  <a:gd name="connsiteX4" fmla="*/ 75246 w 84067"/>
                  <a:gd name="connsiteY4" fmla="*/ 81262 h 243702"/>
                  <a:gd name="connsiteX5" fmla="*/ 76769 w 84067"/>
                  <a:gd name="connsiteY5" fmla="*/ 216759 h 243702"/>
                  <a:gd name="connsiteX6" fmla="*/ 38980 w 84067"/>
                  <a:gd name="connsiteY6" fmla="*/ 243702 h 243702"/>
                  <a:gd name="connsiteX7" fmla="*/ 1191 w 84067"/>
                  <a:gd name="connsiteY7" fmla="*/ 216759 h 243702"/>
                  <a:gd name="connsiteX0" fmla="*/ 1191 w 90745"/>
                  <a:gd name="connsiteY0" fmla="*/ 209860 h 236803"/>
                  <a:gd name="connsiteX1" fmla="*/ 1191 w 90745"/>
                  <a:gd name="connsiteY1" fmla="*/ 209847 h 236803"/>
                  <a:gd name="connsiteX2" fmla="*/ 1 w 90745"/>
                  <a:gd name="connsiteY2" fmla="*/ 207798 h 236803"/>
                  <a:gd name="connsiteX3" fmla="*/ 0 w 90745"/>
                  <a:gd name="connsiteY3" fmla="*/ 65411 h 236803"/>
                  <a:gd name="connsiteX4" fmla="*/ 75246 w 90745"/>
                  <a:gd name="connsiteY4" fmla="*/ 74363 h 236803"/>
                  <a:gd name="connsiteX5" fmla="*/ 76769 w 90745"/>
                  <a:gd name="connsiteY5" fmla="*/ 209860 h 236803"/>
                  <a:gd name="connsiteX6" fmla="*/ 38980 w 90745"/>
                  <a:gd name="connsiteY6" fmla="*/ 236803 h 236803"/>
                  <a:gd name="connsiteX7" fmla="*/ 1191 w 90745"/>
                  <a:gd name="connsiteY7" fmla="*/ 209860 h 236803"/>
                  <a:gd name="connsiteX0" fmla="*/ 1191 w 91134"/>
                  <a:gd name="connsiteY0" fmla="*/ 205428 h 232371"/>
                  <a:gd name="connsiteX1" fmla="*/ 1191 w 91134"/>
                  <a:gd name="connsiteY1" fmla="*/ 205415 h 232371"/>
                  <a:gd name="connsiteX2" fmla="*/ 1 w 91134"/>
                  <a:gd name="connsiteY2" fmla="*/ 203366 h 232371"/>
                  <a:gd name="connsiteX3" fmla="*/ 0 w 91134"/>
                  <a:gd name="connsiteY3" fmla="*/ 60979 h 232371"/>
                  <a:gd name="connsiteX4" fmla="*/ 75246 w 91134"/>
                  <a:gd name="connsiteY4" fmla="*/ 69931 h 232371"/>
                  <a:gd name="connsiteX5" fmla="*/ 76769 w 91134"/>
                  <a:gd name="connsiteY5" fmla="*/ 205428 h 232371"/>
                  <a:gd name="connsiteX6" fmla="*/ 38980 w 91134"/>
                  <a:gd name="connsiteY6" fmla="*/ 232371 h 232371"/>
                  <a:gd name="connsiteX7" fmla="*/ 1191 w 91134"/>
                  <a:gd name="connsiteY7" fmla="*/ 205428 h 232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134" h="232371">
                    <a:moveTo>
                      <a:pt x="1191" y="205428"/>
                    </a:moveTo>
                    <a:lnTo>
                      <a:pt x="1191" y="205415"/>
                    </a:lnTo>
                    <a:lnTo>
                      <a:pt x="1" y="203366"/>
                    </a:lnTo>
                    <a:cubicBezTo>
                      <a:pt x="1" y="155904"/>
                      <a:pt x="0" y="108441"/>
                      <a:pt x="0" y="60979"/>
                    </a:cubicBezTo>
                    <a:cubicBezTo>
                      <a:pt x="62406" y="-73330"/>
                      <a:pt x="119971" y="53750"/>
                      <a:pt x="75246" y="69931"/>
                    </a:cubicBezTo>
                    <a:cubicBezTo>
                      <a:pt x="75863" y="112451"/>
                      <a:pt x="76914" y="174491"/>
                      <a:pt x="76769" y="205428"/>
                    </a:cubicBezTo>
                    <a:cubicBezTo>
                      <a:pt x="76000" y="214101"/>
                      <a:pt x="59850" y="232371"/>
                      <a:pt x="38980" y="232371"/>
                    </a:cubicBezTo>
                    <a:cubicBezTo>
                      <a:pt x="18110" y="232371"/>
                      <a:pt x="1191" y="220308"/>
                      <a:pt x="1191" y="205428"/>
                    </a:cubicBezTo>
                    <a:close/>
                  </a:path>
                </a:pathLst>
              </a:custGeom>
              <a:gradFill flip="none" rotWithShape="1">
                <a:gsLst>
                  <a:gs pos="46000">
                    <a:schemeClr val="accent2">
                      <a:lumMod val="0"/>
                      <a:lumOff val="100000"/>
                    </a:schemeClr>
                  </a:gs>
                  <a:gs pos="100000">
                    <a:schemeClr val="accent4">
                      <a:alpha val="0"/>
                    </a:schemeClr>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83" name="Freeform: Shape 982">
                <a:extLst>
                  <a:ext uri="{FF2B5EF4-FFF2-40B4-BE49-F238E27FC236}">
                    <a16:creationId xmlns:a16="http://schemas.microsoft.com/office/drawing/2014/main" id="{21C472E9-A9FF-490E-835F-0B46D16DF979}"/>
                  </a:ext>
                </a:extLst>
              </p:cNvPr>
              <p:cNvSpPr/>
              <p:nvPr/>
            </p:nvSpPr>
            <p:spPr bwMode="gray">
              <a:xfrm rot="18000000" flipH="1" flipV="1">
                <a:off x="8595113" y="4588032"/>
                <a:ext cx="1308852" cy="744249"/>
              </a:xfrm>
              <a:custGeom>
                <a:avLst/>
                <a:gdLst>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645961 w 1248882"/>
                  <a:gd name="connsiteY28" fmla="*/ 393195 h 912354"/>
                  <a:gd name="connsiteX29" fmla="*/ 629636 w 1248882"/>
                  <a:gd name="connsiteY29" fmla="*/ 386920 h 912354"/>
                  <a:gd name="connsiteX30" fmla="*/ 576468 w 1248882"/>
                  <a:gd name="connsiteY30" fmla="*/ 359689 h 912354"/>
                  <a:gd name="connsiteX31" fmla="*/ 97170 w 1248882"/>
                  <a:gd name="connsiteY31" fmla="*/ 84934 h 912354"/>
                  <a:gd name="connsiteX32" fmla="*/ 97100 w 1248882"/>
                  <a:gd name="connsiteY32" fmla="*/ 84854 h 912354"/>
                  <a:gd name="connsiteX33" fmla="*/ 92641 w 1248882"/>
                  <a:gd name="connsiteY33" fmla="*/ 86106 h 912354"/>
                  <a:gd name="connsiteX34" fmla="*/ 83322 w 1248882"/>
                  <a:gd name="connsiteY34" fmla="*/ 98353 h 912354"/>
                  <a:gd name="connsiteX35" fmla="*/ 83306 w 1248882"/>
                  <a:gd name="connsiteY35" fmla="*/ 104410 h 912354"/>
                  <a:gd name="connsiteX36" fmla="*/ 84058 w 1248882"/>
                  <a:gd name="connsiteY36" fmla="*/ 106600 h 912354"/>
                  <a:gd name="connsiteX37" fmla="*/ 84057 w 1248882"/>
                  <a:gd name="connsiteY37" fmla="*/ 212545 h 912354"/>
                  <a:gd name="connsiteX38" fmla="*/ 42843 w 1248882"/>
                  <a:gd name="connsiteY38" fmla="*/ 236780 h 912354"/>
                  <a:gd name="connsiteX39" fmla="*/ 4867 w 1248882"/>
                  <a:gd name="connsiteY39"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645961 w 1248882"/>
                  <a:gd name="connsiteY28" fmla="*/ 393195 h 912354"/>
                  <a:gd name="connsiteX29" fmla="*/ 576468 w 1248882"/>
                  <a:gd name="connsiteY29" fmla="*/ 359689 h 912354"/>
                  <a:gd name="connsiteX30" fmla="*/ 97170 w 1248882"/>
                  <a:gd name="connsiteY30" fmla="*/ 84934 h 912354"/>
                  <a:gd name="connsiteX31" fmla="*/ 97100 w 1248882"/>
                  <a:gd name="connsiteY31" fmla="*/ 84854 h 912354"/>
                  <a:gd name="connsiteX32" fmla="*/ 92641 w 1248882"/>
                  <a:gd name="connsiteY32" fmla="*/ 86106 h 912354"/>
                  <a:gd name="connsiteX33" fmla="*/ 83322 w 1248882"/>
                  <a:gd name="connsiteY33" fmla="*/ 98353 h 912354"/>
                  <a:gd name="connsiteX34" fmla="*/ 83306 w 1248882"/>
                  <a:gd name="connsiteY34" fmla="*/ 104410 h 912354"/>
                  <a:gd name="connsiteX35" fmla="*/ 84058 w 1248882"/>
                  <a:gd name="connsiteY35" fmla="*/ 106600 h 912354"/>
                  <a:gd name="connsiteX36" fmla="*/ 84057 w 1248882"/>
                  <a:gd name="connsiteY36" fmla="*/ 212545 h 912354"/>
                  <a:gd name="connsiteX37" fmla="*/ 42843 w 1248882"/>
                  <a:gd name="connsiteY37" fmla="*/ 236780 h 912354"/>
                  <a:gd name="connsiteX38" fmla="*/ 4867 w 1248882"/>
                  <a:gd name="connsiteY38"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576468 w 1248882"/>
                  <a:gd name="connsiteY28" fmla="*/ 359689 h 912354"/>
                  <a:gd name="connsiteX29" fmla="*/ 97170 w 1248882"/>
                  <a:gd name="connsiteY29" fmla="*/ 84934 h 912354"/>
                  <a:gd name="connsiteX30" fmla="*/ 97100 w 1248882"/>
                  <a:gd name="connsiteY30" fmla="*/ 84854 h 912354"/>
                  <a:gd name="connsiteX31" fmla="*/ 92641 w 1248882"/>
                  <a:gd name="connsiteY31" fmla="*/ 86106 h 912354"/>
                  <a:gd name="connsiteX32" fmla="*/ 83322 w 1248882"/>
                  <a:gd name="connsiteY32" fmla="*/ 98353 h 912354"/>
                  <a:gd name="connsiteX33" fmla="*/ 83306 w 1248882"/>
                  <a:gd name="connsiteY33" fmla="*/ 104410 h 912354"/>
                  <a:gd name="connsiteX34" fmla="*/ 84058 w 1248882"/>
                  <a:gd name="connsiteY34" fmla="*/ 106600 h 912354"/>
                  <a:gd name="connsiteX35" fmla="*/ 84057 w 1248882"/>
                  <a:gd name="connsiteY35" fmla="*/ 212545 h 912354"/>
                  <a:gd name="connsiteX36" fmla="*/ 42843 w 1248882"/>
                  <a:gd name="connsiteY36" fmla="*/ 236780 h 912354"/>
                  <a:gd name="connsiteX37" fmla="*/ 4867 w 1248882"/>
                  <a:gd name="connsiteY37"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576468 w 1248882"/>
                  <a:gd name="connsiteY27" fmla="*/ 359689 h 912354"/>
                  <a:gd name="connsiteX28" fmla="*/ 97170 w 1248882"/>
                  <a:gd name="connsiteY28" fmla="*/ 84934 h 912354"/>
                  <a:gd name="connsiteX29" fmla="*/ 97100 w 1248882"/>
                  <a:gd name="connsiteY29" fmla="*/ 84854 h 912354"/>
                  <a:gd name="connsiteX30" fmla="*/ 92641 w 1248882"/>
                  <a:gd name="connsiteY30" fmla="*/ 86106 h 912354"/>
                  <a:gd name="connsiteX31" fmla="*/ 83322 w 1248882"/>
                  <a:gd name="connsiteY31" fmla="*/ 98353 h 912354"/>
                  <a:gd name="connsiteX32" fmla="*/ 83306 w 1248882"/>
                  <a:gd name="connsiteY32" fmla="*/ 104410 h 912354"/>
                  <a:gd name="connsiteX33" fmla="*/ 84058 w 1248882"/>
                  <a:gd name="connsiteY33" fmla="*/ 106600 h 912354"/>
                  <a:gd name="connsiteX34" fmla="*/ 84057 w 1248882"/>
                  <a:gd name="connsiteY34" fmla="*/ 212545 h 912354"/>
                  <a:gd name="connsiteX35" fmla="*/ 42843 w 1248882"/>
                  <a:gd name="connsiteY35" fmla="*/ 236780 h 912354"/>
                  <a:gd name="connsiteX36" fmla="*/ 4867 w 1248882"/>
                  <a:gd name="connsiteY36"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576468 w 1248882"/>
                  <a:gd name="connsiteY26" fmla="*/ 359689 h 912354"/>
                  <a:gd name="connsiteX27" fmla="*/ 97170 w 1248882"/>
                  <a:gd name="connsiteY27" fmla="*/ 84934 h 912354"/>
                  <a:gd name="connsiteX28" fmla="*/ 97100 w 1248882"/>
                  <a:gd name="connsiteY28" fmla="*/ 84854 h 912354"/>
                  <a:gd name="connsiteX29" fmla="*/ 92641 w 1248882"/>
                  <a:gd name="connsiteY29" fmla="*/ 86106 h 912354"/>
                  <a:gd name="connsiteX30" fmla="*/ 83322 w 1248882"/>
                  <a:gd name="connsiteY30" fmla="*/ 98353 h 912354"/>
                  <a:gd name="connsiteX31" fmla="*/ 83306 w 1248882"/>
                  <a:gd name="connsiteY31" fmla="*/ 104410 h 912354"/>
                  <a:gd name="connsiteX32" fmla="*/ 84058 w 1248882"/>
                  <a:gd name="connsiteY32" fmla="*/ 106600 h 912354"/>
                  <a:gd name="connsiteX33" fmla="*/ 84057 w 1248882"/>
                  <a:gd name="connsiteY33" fmla="*/ 212545 h 912354"/>
                  <a:gd name="connsiteX34" fmla="*/ 42843 w 1248882"/>
                  <a:gd name="connsiteY34" fmla="*/ 236780 h 912354"/>
                  <a:gd name="connsiteX35" fmla="*/ 4867 w 1248882"/>
                  <a:gd name="connsiteY35"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576468 w 1248882"/>
                  <a:gd name="connsiteY25" fmla="*/ 359689 h 912354"/>
                  <a:gd name="connsiteX26" fmla="*/ 97170 w 1248882"/>
                  <a:gd name="connsiteY26" fmla="*/ 84934 h 912354"/>
                  <a:gd name="connsiteX27" fmla="*/ 97100 w 1248882"/>
                  <a:gd name="connsiteY27" fmla="*/ 84854 h 912354"/>
                  <a:gd name="connsiteX28" fmla="*/ 92641 w 1248882"/>
                  <a:gd name="connsiteY28" fmla="*/ 86106 h 912354"/>
                  <a:gd name="connsiteX29" fmla="*/ 83322 w 1248882"/>
                  <a:gd name="connsiteY29" fmla="*/ 98353 h 912354"/>
                  <a:gd name="connsiteX30" fmla="*/ 83306 w 1248882"/>
                  <a:gd name="connsiteY30" fmla="*/ 104410 h 912354"/>
                  <a:gd name="connsiteX31" fmla="*/ 84058 w 1248882"/>
                  <a:gd name="connsiteY31" fmla="*/ 106600 h 912354"/>
                  <a:gd name="connsiteX32" fmla="*/ 84057 w 1248882"/>
                  <a:gd name="connsiteY32" fmla="*/ 212545 h 912354"/>
                  <a:gd name="connsiteX33" fmla="*/ 42843 w 1248882"/>
                  <a:gd name="connsiteY33" fmla="*/ 236780 h 912354"/>
                  <a:gd name="connsiteX34" fmla="*/ 4867 w 1248882"/>
                  <a:gd name="connsiteY34"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97170 w 1248882"/>
                  <a:gd name="connsiteY25" fmla="*/ 84934 h 912354"/>
                  <a:gd name="connsiteX26" fmla="*/ 97100 w 1248882"/>
                  <a:gd name="connsiteY26" fmla="*/ 84854 h 912354"/>
                  <a:gd name="connsiteX27" fmla="*/ 92641 w 1248882"/>
                  <a:gd name="connsiteY27" fmla="*/ 86106 h 912354"/>
                  <a:gd name="connsiteX28" fmla="*/ 83322 w 1248882"/>
                  <a:gd name="connsiteY28" fmla="*/ 98353 h 912354"/>
                  <a:gd name="connsiteX29" fmla="*/ 83306 w 1248882"/>
                  <a:gd name="connsiteY29" fmla="*/ 104410 h 912354"/>
                  <a:gd name="connsiteX30" fmla="*/ 84058 w 1248882"/>
                  <a:gd name="connsiteY30" fmla="*/ 106600 h 912354"/>
                  <a:gd name="connsiteX31" fmla="*/ 84057 w 1248882"/>
                  <a:gd name="connsiteY31" fmla="*/ 212545 h 912354"/>
                  <a:gd name="connsiteX32" fmla="*/ 42843 w 1248882"/>
                  <a:gd name="connsiteY32" fmla="*/ 236780 h 912354"/>
                  <a:gd name="connsiteX33" fmla="*/ 4867 w 1248882"/>
                  <a:gd name="connsiteY33"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95504 w 1248882"/>
                  <a:gd name="connsiteY10" fmla="*/ 342628 h 912354"/>
                  <a:gd name="connsiteX11" fmla="*/ 1195107 w 1248882"/>
                  <a:gd name="connsiteY11" fmla="*/ 625705 h 912354"/>
                  <a:gd name="connsiteX12" fmla="*/ 1233715 w 1248882"/>
                  <a:gd name="connsiteY12" fmla="*/ 663595 h 912354"/>
                  <a:gd name="connsiteX13" fmla="*/ 1246207 w 1248882"/>
                  <a:gd name="connsiteY13" fmla="*/ 704430 h 912354"/>
                  <a:gd name="connsiteX14" fmla="*/ 1247236 w 1248882"/>
                  <a:gd name="connsiteY14" fmla="*/ 715969 h 912354"/>
                  <a:gd name="connsiteX15" fmla="*/ 1248882 w 1248882"/>
                  <a:gd name="connsiteY15" fmla="*/ 733604 h 912354"/>
                  <a:gd name="connsiteX16" fmla="*/ 1248882 w 1248882"/>
                  <a:gd name="connsiteY16" fmla="*/ 888119 h 912354"/>
                  <a:gd name="connsiteX17" fmla="*/ 1207667 w 1248882"/>
                  <a:gd name="connsiteY17" fmla="*/ 912354 h 912354"/>
                  <a:gd name="connsiteX18" fmla="*/ 1169691 w 1248882"/>
                  <a:gd name="connsiteY18" fmla="*/ 897552 h 912354"/>
                  <a:gd name="connsiteX19" fmla="*/ 1166452 w 1248882"/>
                  <a:gd name="connsiteY19" fmla="*/ 888119 h 912354"/>
                  <a:gd name="connsiteX20" fmla="*/ 1164480 w 1248882"/>
                  <a:gd name="connsiteY20" fmla="*/ 718004 h 912354"/>
                  <a:gd name="connsiteX21" fmla="*/ 1164797 w 1248882"/>
                  <a:gd name="connsiteY21" fmla="*/ 719337 h 912354"/>
                  <a:gd name="connsiteX22" fmla="*/ 1164813 w 1248882"/>
                  <a:gd name="connsiteY22" fmla="*/ 716747 h 912354"/>
                  <a:gd name="connsiteX23" fmla="*/ 1153233 w 1248882"/>
                  <a:gd name="connsiteY23" fmla="*/ 696690 h 912354"/>
                  <a:gd name="connsiteX24" fmla="*/ 97170 w 1248882"/>
                  <a:gd name="connsiteY24" fmla="*/ 84934 h 912354"/>
                  <a:gd name="connsiteX25" fmla="*/ 97100 w 1248882"/>
                  <a:gd name="connsiteY25" fmla="*/ 84854 h 912354"/>
                  <a:gd name="connsiteX26" fmla="*/ 92641 w 1248882"/>
                  <a:gd name="connsiteY26" fmla="*/ 86106 h 912354"/>
                  <a:gd name="connsiteX27" fmla="*/ 83322 w 1248882"/>
                  <a:gd name="connsiteY27" fmla="*/ 98353 h 912354"/>
                  <a:gd name="connsiteX28" fmla="*/ 83306 w 1248882"/>
                  <a:gd name="connsiteY28" fmla="*/ 104410 h 912354"/>
                  <a:gd name="connsiteX29" fmla="*/ 84058 w 1248882"/>
                  <a:gd name="connsiteY29" fmla="*/ 106600 h 912354"/>
                  <a:gd name="connsiteX30" fmla="*/ 84057 w 1248882"/>
                  <a:gd name="connsiteY30" fmla="*/ 212545 h 912354"/>
                  <a:gd name="connsiteX31" fmla="*/ 42843 w 1248882"/>
                  <a:gd name="connsiteY31" fmla="*/ 236780 h 912354"/>
                  <a:gd name="connsiteX32" fmla="*/ 4867 w 1248882"/>
                  <a:gd name="connsiteY32"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95504 w 1248882"/>
                  <a:gd name="connsiteY9" fmla="*/ 342628 h 912354"/>
                  <a:gd name="connsiteX10" fmla="*/ 1195107 w 1248882"/>
                  <a:gd name="connsiteY10" fmla="*/ 625705 h 912354"/>
                  <a:gd name="connsiteX11" fmla="*/ 1233715 w 1248882"/>
                  <a:gd name="connsiteY11" fmla="*/ 663595 h 912354"/>
                  <a:gd name="connsiteX12" fmla="*/ 1246207 w 1248882"/>
                  <a:gd name="connsiteY12" fmla="*/ 704430 h 912354"/>
                  <a:gd name="connsiteX13" fmla="*/ 1247236 w 1248882"/>
                  <a:gd name="connsiteY13" fmla="*/ 715969 h 912354"/>
                  <a:gd name="connsiteX14" fmla="*/ 1248882 w 1248882"/>
                  <a:gd name="connsiteY14" fmla="*/ 733604 h 912354"/>
                  <a:gd name="connsiteX15" fmla="*/ 1248882 w 1248882"/>
                  <a:gd name="connsiteY15" fmla="*/ 888119 h 912354"/>
                  <a:gd name="connsiteX16" fmla="*/ 1207667 w 1248882"/>
                  <a:gd name="connsiteY16" fmla="*/ 912354 h 912354"/>
                  <a:gd name="connsiteX17" fmla="*/ 1169691 w 1248882"/>
                  <a:gd name="connsiteY17" fmla="*/ 897552 h 912354"/>
                  <a:gd name="connsiteX18" fmla="*/ 1166452 w 1248882"/>
                  <a:gd name="connsiteY18" fmla="*/ 888119 h 912354"/>
                  <a:gd name="connsiteX19" fmla="*/ 1164480 w 1248882"/>
                  <a:gd name="connsiteY19" fmla="*/ 718004 h 912354"/>
                  <a:gd name="connsiteX20" fmla="*/ 1164797 w 1248882"/>
                  <a:gd name="connsiteY20" fmla="*/ 719337 h 912354"/>
                  <a:gd name="connsiteX21" fmla="*/ 1164813 w 1248882"/>
                  <a:gd name="connsiteY21" fmla="*/ 716747 h 912354"/>
                  <a:gd name="connsiteX22" fmla="*/ 1153233 w 1248882"/>
                  <a:gd name="connsiteY22" fmla="*/ 696690 h 912354"/>
                  <a:gd name="connsiteX23" fmla="*/ 97170 w 1248882"/>
                  <a:gd name="connsiteY23" fmla="*/ 84934 h 912354"/>
                  <a:gd name="connsiteX24" fmla="*/ 97100 w 1248882"/>
                  <a:gd name="connsiteY24" fmla="*/ 84854 h 912354"/>
                  <a:gd name="connsiteX25" fmla="*/ 92641 w 1248882"/>
                  <a:gd name="connsiteY25" fmla="*/ 86106 h 912354"/>
                  <a:gd name="connsiteX26" fmla="*/ 83322 w 1248882"/>
                  <a:gd name="connsiteY26" fmla="*/ 98353 h 912354"/>
                  <a:gd name="connsiteX27" fmla="*/ 83306 w 1248882"/>
                  <a:gd name="connsiteY27" fmla="*/ 104410 h 912354"/>
                  <a:gd name="connsiteX28" fmla="*/ 84058 w 1248882"/>
                  <a:gd name="connsiteY28" fmla="*/ 106600 h 912354"/>
                  <a:gd name="connsiteX29" fmla="*/ 84057 w 1248882"/>
                  <a:gd name="connsiteY29" fmla="*/ 212545 h 912354"/>
                  <a:gd name="connsiteX30" fmla="*/ 42843 w 1248882"/>
                  <a:gd name="connsiteY30" fmla="*/ 236780 h 912354"/>
                  <a:gd name="connsiteX31" fmla="*/ 4867 w 1248882"/>
                  <a:gd name="connsiteY31"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95504 w 1248882"/>
                  <a:gd name="connsiteY8" fmla="*/ 342628 h 912354"/>
                  <a:gd name="connsiteX9" fmla="*/ 1195107 w 1248882"/>
                  <a:gd name="connsiteY9" fmla="*/ 625705 h 912354"/>
                  <a:gd name="connsiteX10" fmla="*/ 1233715 w 1248882"/>
                  <a:gd name="connsiteY10" fmla="*/ 663595 h 912354"/>
                  <a:gd name="connsiteX11" fmla="*/ 1246207 w 1248882"/>
                  <a:gd name="connsiteY11" fmla="*/ 704430 h 912354"/>
                  <a:gd name="connsiteX12" fmla="*/ 1247236 w 1248882"/>
                  <a:gd name="connsiteY12" fmla="*/ 715969 h 912354"/>
                  <a:gd name="connsiteX13" fmla="*/ 1248882 w 1248882"/>
                  <a:gd name="connsiteY13" fmla="*/ 733604 h 912354"/>
                  <a:gd name="connsiteX14" fmla="*/ 1248882 w 1248882"/>
                  <a:gd name="connsiteY14" fmla="*/ 888119 h 912354"/>
                  <a:gd name="connsiteX15" fmla="*/ 1207667 w 1248882"/>
                  <a:gd name="connsiteY15" fmla="*/ 912354 h 912354"/>
                  <a:gd name="connsiteX16" fmla="*/ 1169691 w 1248882"/>
                  <a:gd name="connsiteY16" fmla="*/ 897552 h 912354"/>
                  <a:gd name="connsiteX17" fmla="*/ 1166452 w 1248882"/>
                  <a:gd name="connsiteY17" fmla="*/ 888119 h 912354"/>
                  <a:gd name="connsiteX18" fmla="*/ 1164480 w 1248882"/>
                  <a:gd name="connsiteY18" fmla="*/ 718004 h 912354"/>
                  <a:gd name="connsiteX19" fmla="*/ 1164797 w 1248882"/>
                  <a:gd name="connsiteY19" fmla="*/ 719337 h 912354"/>
                  <a:gd name="connsiteX20" fmla="*/ 1164813 w 1248882"/>
                  <a:gd name="connsiteY20" fmla="*/ 716747 h 912354"/>
                  <a:gd name="connsiteX21" fmla="*/ 1153233 w 1248882"/>
                  <a:gd name="connsiteY21" fmla="*/ 696690 h 912354"/>
                  <a:gd name="connsiteX22" fmla="*/ 97170 w 1248882"/>
                  <a:gd name="connsiteY22" fmla="*/ 84934 h 912354"/>
                  <a:gd name="connsiteX23" fmla="*/ 97100 w 1248882"/>
                  <a:gd name="connsiteY23" fmla="*/ 84854 h 912354"/>
                  <a:gd name="connsiteX24" fmla="*/ 92641 w 1248882"/>
                  <a:gd name="connsiteY24" fmla="*/ 86106 h 912354"/>
                  <a:gd name="connsiteX25" fmla="*/ 83322 w 1248882"/>
                  <a:gd name="connsiteY25" fmla="*/ 98353 h 912354"/>
                  <a:gd name="connsiteX26" fmla="*/ 83306 w 1248882"/>
                  <a:gd name="connsiteY26" fmla="*/ 104410 h 912354"/>
                  <a:gd name="connsiteX27" fmla="*/ 84058 w 1248882"/>
                  <a:gd name="connsiteY27" fmla="*/ 106600 h 912354"/>
                  <a:gd name="connsiteX28" fmla="*/ 84057 w 1248882"/>
                  <a:gd name="connsiteY28" fmla="*/ 212545 h 912354"/>
                  <a:gd name="connsiteX29" fmla="*/ 42843 w 1248882"/>
                  <a:gd name="connsiteY29" fmla="*/ 236780 h 912354"/>
                  <a:gd name="connsiteX30" fmla="*/ 4867 w 1248882"/>
                  <a:gd name="connsiteY30"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95504 w 1248882"/>
                  <a:gd name="connsiteY7" fmla="*/ 342628 h 912354"/>
                  <a:gd name="connsiteX8" fmla="*/ 1195107 w 1248882"/>
                  <a:gd name="connsiteY8" fmla="*/ 625705 h 912354"/>
                  <a:gd name="connsiteX9" fmla="*/ 1233715 w 1248882"/>
                  <a:gd name="connsiteY9" fmla="*/ 663595 h 912354"/>
                  <a:gd name="connsiteX10" fmla="*/ 1246207 w 1248882"/>
                  <a:gd name="connsiteY10" fmla="*/ 704430 h 912354"/>
                  <a:gd name="connsiteX11" fmla="*/ 1247236 w 1248882"/>
                  <a:gd name="connsiteY11" fmla="*/ 715969 h 912354"/>
                  <a:gd name="connsiteX12" fmla="*/ 1248882 w 1248882"/>
                  <a:gd name="connsiteY12" fmla="*/ 733604 h 912354"/>
                  <a:gd name="connsiteX13" fmla="*/ 1248882 w 1248882"/>
                  <a:gd name="connsiteY13" fmla="*/ 888119 h 912354"/>
                  <a:gd name="connsiteX14" fmla="*/ 1207667 w 1248882"/>
                  <a:gd name="connsiteY14" fmla="*/ 912354 h 912354"/>
                  <a:gd name="connsiteX15" fmla="*/ 1169691 w 1248882"/>
                  <a:gd name="connsiteY15" fmla="*/ 897552 h 912354"/>
                  <a:gd name="connsiteX16" fmla="*/ 1166452 w 1248882"/>
                  <a:gd name="connsiteY16" fmla="*/ 888119 h 912354"/>
                  <a:gd name="connsiteX17" fmla="*/ 1164480 w 1248882"/>
                  <a:gd name="connsiteY17" fmla="*/ 718004 h 912354"/>
                  <a:gd name="connsiteX18" fmla="*/ 1164797 w 1248882"/>
                  <a:gd name="connsiteY18" fmla="*/ 719337 h 912354"/>
                  <a:gd name="connsiteX19" fmla="*/ 1164813 w 1248882"/>
                  <a:gd name="connsiteY19" fmla="*/ 716747 h 912354"/>
                  <a:gd name="connsiteX20" fmla="*/ 1153233 w 1248882"/>
                  <a:gd name="connsiteY20" fmla="*/ 696690 h 912354"/>
                  <a:gd name="connsiteX21" fmla="*/ 97170 w 1248882"/>
                  <a:gd name="connsiteY21" fmla="*/ 84934 h 912354"/>
                  <a:gd name="connsiteX22" fmla="*/ 97100 w 1248882"/>
                  <a:gd name="connsiteY22" fmla="*/ 84854 h 912354"/>
                  <a:gd name="connsiteX23" fmla="*/ 92641 w 1248882"/>
                  <a:gd name="connsiteY23" fmla="*/ 86106 h 912354"/>
                  <a:gd name="connsiteX24" fmla="*/ 83322 w 1248882"/>
                  <a:gd name="connsiteY24" fmla="*/ 98353 h 912354"/>
                  <a:gd name="connsiteX25" fmla="*/ 83306 w 1248882"/>
                  <a:gd name="connsiteY25" fmla="*/ 104410 h 912354"/>
                  <a:gd name="connsiteX26" fmla="*/ 84058 w 1248882"/>
                  <a:gd name="connsiteY26" fmla="*/ 106600 h 912354"/>
                  <a:gd name="connsiteX27" fmla="*/ 84057 w 1248882"/>
                  <a:gd name="connsiteY27" fmla="*/ 212545 h 912354"/>
                  <a:gd name="connsiteX28" fmla="*/ 42843 w 1248882"/>
                  <a:gd name="connsiteY28" fmla="*/ 236780 h 912354"/>
                  <a:gd name="connsiteX29" fmla="*/ 4867 w 1248882"/>
                  <a:gd name="connsiteY29"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1195107 w 1248882"/>
                  <a:gd name="connsiteY7" fmla="*/ 625705 h 912354"/>
                  <a:gd name="connsiteX8" fmla="*/ 1233715 w 1248882"/>
                  <a:gd name="connsiteY8" fmla="*/ 663595 h 912354"/>
                  <a:gd name="connsiteX9" fmla="*/ 1246207 w 1248882"/>
                  <a:gd name="connsiteY9" fmla="*/ 704430 h 912354"/>
                  <a:gd name="connsiteX10" fmla="*/ 1247236 w 1248882"/>
                  <a:gd name="connsiteY10" fmla="*/ 715969 h 912354"/>
                  <a:gd name="connsiteX11" fmla="*/ 1248882 w 1248882"/>
                  <a:gd name="connsiteY11" fmla="*/ 733604 h 912354"/>
                  <a:gd name="connsiteX12" fmla="*/ 1248882 w 1248882"/>
                  <a:gd name="connsiteY12" fmla="*/ 888119 h 912354"/>
                  <a:gd name="connsiteX13" fmla="*/ 1207667 w 1248882"/>
                  <a:gd name="connsiteY13" fmla="*/ 912354 h 912354"/>
                  <a:gd name="connsiteX14" fmla="*/ 1169691 w 1248882"/>
                  <a:gd name="connsiteY14" fmla="*/ 897552 h 912354"/>
                  <a:gd name="connsiteX15" fmla="*/ 1166452 w 1248882"/>
                  <a:gd name="connsiteY15" fmla="*/ 888119 h 912354"/>
                  <a:gd name="connsiteX16" fmla="*/ 1164480 w 1248882"/>
                  <a:gd name="connsiteY16" fmla="*/ 718004 h 912354"/>
                  <a:gd name="connsiteX17" fmla="*/ 1164797 w 1248882"/>
                  <a:gd name="connsiteY17" fmla="*/ 719337 h 912354"/>
                  <a:gd name="connsiteX18" fmla="*/ 1164813 w 1248882"/>
                  <a:gd name="connsiteY18" fmla="*/ 716747 h 912354"/>
                  <a:gd name="connsiteX19" fmla="*/ 1153233 w 1248882"/>
                  <a:gd name="connsiteY19" fmla="*/ 696690 h 912354"/>
                  <a:gd name="connsiteX20" fmla="*/ 97170 w 1248882"/>
                  <a:gd name="connsiteY20" fmla="*/ 84934 h 912354"/>
                  <a:gd name="connsiteX21" fmla="*/ 97100 w 1248882"/>
                  <a:gd name="connsiteY21" fmla="*/ 84854 h 912354"/>
                  <a:gd name="connsiteX22" fmla="*/ 92641 w 1248882"/>
                  <a:gd name="connsiteY22" fmla="*/ 86106 h 912354"/>
                  <a:gd name="connsiteX23" fmla="*/ 83322 w 1248882"/>
                  <a:gd name="connsiteY23" fmla="*/ 98353 h 912354"/>
                  <a:gd name="connsiteX24" fmla="*/ 83306 w 1248882"/>
                  <a:gd name="connsiteY24" fmla="*/ 104410 h 912354"/>
                  <a:gd name="connsiteX25" fmla="*/ 84058 w 1248882"/>
                  <a:gd name="connsiteY25" fmla="*/ 106600 h 912354"/>
                  <a:gd name="connsiteX26" fmla="*/ 84057 w 1248882"/>
                  <a:gd name="connsiteY26" fmla="*/ 212545 h 912354"/>
                  <a:gd name="connsiteX27" fmla="*/ 42843 w 1248882"/>
                  <a:gd name="connsiteY27" fmla="*/ 236780 h 912354"/>
                  <a:gd name="connsiteX28" fmla="*/ 4867 w 1248882"/>
                  <a:gd name="connsiteY28" fmla="*/ 221977 h 912354"/>
                  <a:gd name="connsiteX0" fmla="*/ 4867 w 1248882"/>
                  <a:gd name="connsiteY0" fmla="*/ 221977 h 917121"/>
                  <a:gd name="connsiteX1" fmla="*/ 1628 w 1248882"/>
                  <a:gd name="connsiteY1" fmla="*/ 212544 h 917121"/>
                  <a:gd name="connsiteX2" fmla="*/ 911 w 1248882"/>
                  <a:gd name="connsiteY2" fmla="*/ 97581 h 917121"/>
                  <a:gd name="connsiteX3" fmla="*/ 14421 w 1248882"/>
                  <a:gd name="connsiteY3" fmla="*/ 45201 h 917121"/>
                  <a:gd name="connsiteX4" fmla="*/ 43539 w 1248882"/>
                  <a:gd name="connsiteY4" fmla="*/ 13965 h 917121"/>
                  <a:gd name="connsiteX5" fmla="*/ 86141 w 1248882"/>
                  <a:gd name="connsiteY5" fmla="*/ 108 h 917121"/>
                  <a:gd name="connsiteX6" fmla="*/ 118741 w 1248882"/>
                  <a:gd name="connsiteY6" fmla="*/ 5629 h 917121"/>
                  <a:gd name="connsiteX7" fmla="*/ 1195107 w 1248882"/>
                  <a:gd name="connsiteY7" fmla="*/ 625705 h 917121"/>
                  <a:gd name="connsiteX8" fmla="*/ 1233715 w 1248882"/>
                  <a:gd name="connsiteY8" fmla="*/ 663595 h 917121"/>
                  <a:gd name="connsiteX9" fmla="*/ 1246207 w 1248882"/>
                  <a:gd name="connsiteY9" fmla="*/ 704430 h 917121"/>
                  <a:gd name="connsiteX10" fmla="*/ 1247236 w 1248882"/>
                  <a:gd name="connsiteY10" fmla="*/ 715969 h 917121"/>
                  <a:gd name="connsiteX11" fmla="*/ 1248882 w 1248882"/>
                  <a:gd name="connsiteY11" fmla="*/ 733604 h 917121"/>
                  <a:gd name="connsiteX12" fmla="*/ 1248882 w 1248882"/>
                  <a:gd name="connsiteY12" fmla="*/ 888119 h 917121"/>
                  <a:gd name="connsiteX13" fmla="*/ 1207667 w 1248882"/>
                  <a:gd name="connsiteY13" fmla="*/ 912354 h 917121"/>
                  <a:gd name="connsiteX14" fmla="*/ 1169691 w 1248882"/>
                  <a:gd name="connsiteY14" fmla="*/ 897552 h 917121"/>
                  <a:gd name="connsiteX15" fmla="*/ 1164480 w 1248882"/>
                  <a:gd name="connsiteY15" fmla="*/ 718004 h 917121"/>
                  <a:gd name="connsiteX16" fmla="*/ 1164797 w 1248882"/>
                  <a:gd name="connsiteY16" fmla="*/ 719337 h 917121"/>
                  <a:gd name="connsiteX17" fmla="*/ 1164813 w 1248882"/>
                  <a:gd name="connsiteY17" fmla="*/ 716747 h 917121"/>
                  <a:gd name="connsiteX18" fmla="*/ 1153233 w 1248882"/>
                  <a:gd name="connsiteY18" fmla="*/ 696690 h 917121"/>
                  <a:gd name="connsiteX19" fmla="*/ 97170 w 1248882"/>
                  <a:gd name="connsiteY19" fmla="*/ 84934 h 917121"/>
                  <a:gd name="connsiteX20" fmla="*/ 97100 w 1248882"/>
                  <a:gd name="connsiteY20" fmla="*/ 84854 h 917121"/>
                  <a:gd name="connsiteX21" fmla="*/ 92641 w 1248882"/>
                  <a:gd name="connsiteY21" fmla="*/ 86106 h 917121"/>
                  <a:gd name="connsiteX22" fmla="*/ 83322 w 1248882"/>
                  <a:gd name="connsiteY22" fmla="*/ 98353 h 917121"/>
                  <a:gd name="connsiteX23" fmla="*/ 83306 w 1248882"/>
                  <a:gd name="connsiteY23" fmla="*/ 104410 h 917121"/>
                  <a:gd name="connsiteX24" fmla="*/ 84058 w 1248882"/>
                  <a:gd name="connsiteY24" fmla="*/ 106600 h 917121"/>
                  <a:gd name="connsiteX25" fmla="*/ 84057 w 1248882"/>
                  <a:gd name="connsiteY25" fmla="*/ 212545 h 917121"/>
                  <a:gd name="connsiteX26" fmla="*/ 42843 w 1248882"/>
                  <a:gd name="connsiteY26" fmla="*/ 236780 h 917121"/>
                  <a:gd name="connsiteX27" fmla="*/ 4867 w 1248882"/>
                  <a:gd name="connsiteY27" fmla="*/ 221977 h 917121"/>
                  <a:gd name="connsiteX0" fmla="*/ 4867 w 1248882"/>
                  <a:gd name="connsiteY0" fmla="*/ 221977 h 922413"/>
                  <a:gd name="connsiteX1" fmla="*/ 1628 w 1248882"/>
                  <a:gd name="connsiteY1" fmla="*/ 212544 h 922413"/>
                  <a:gd name="connsiteX2" fmla="*/ 911 w 1248882"/>
                  <a:gd name="connsiteY2" fmla="*/ 97581 h 922413"/>
                  <a:gd name="connsiteX3" fmla="*/ 14421 w 1248882"/>
                  <a:gd name="connsiteY3" fmla="*/ 45201 h 922413"/>
                  <a:gd name="connsiteX4" fmla="*/ 43539 w 1248882"/>
                  <a:gd name="connsiteY4" fmla="*/ 13965 h 922413"/>
                  <a:gd name="connsiteX5" fmla="*/ 86141 w 1248882"/>
                  <a:gd name="connsiteY5" fmla="*/ 108 h 922413"/>
                  <a:gd name="connsiteX6" fmla="*/ 118741 w 1248882"/>
                  <a:gd name="connsiteY6" fmla="*/ 5629 h 922413"/>
                  <a:gd name="connsiteX7" fmla="*/ 1195107 w 1248882"/>
                  <a:gd name="connsiteY7" fmla="*/ 625705 h 922413"/>
                  <a:gd name="connsiteX8" fmla="*/ 1233715 w 1248882"/>
                  <a:gd name="connsiteY8" fmla="*/ 663595 h 922413"/>
                  <a:gd name="connsiteX9" fmla="*/ 1246207 w 1248882"/>
                  <a:gd name="connsiteY9" fmla="*/ 704430 h 922413"/>
                  <a:gd name="connsiteX10" fmla="*/ 1247236 w 1248882"/>
                  <a:gd name="connsiteY10" fmla="*/ 715969 h 922413"/>
                  <a:gd name="connsiteX11" fmla="*/ 1248882 w 1248882"/>
                  <a:gd name="connsiteY11" fmla="*/ 733604 h 922413"/>
                  <a:gd name="connsiteX12" fmla="*/ 1248882 w 1248882"/>
                  <a:gd name="connsiteY12" fmla="*/ 888119 h 922413"/>
                  <a:gd name="connsiteX13" fmla="*/ 1207667 w 1248882"/>
                  <a:gd name="connsiteY13" fmla="*/ 912354 h 922413"/>
                  <a:gd name="connsiteX14" fmla="*/ 1164480 w 1248882"/>
                  <a:gd name="connsiteY14" fmla="*/ 718004 h 922413"/>
                  <a:gd name="connsiteX15" fmla="*/ 1164797 w 1248882"/>
                  <a:gd name="connsiteY15" fmla="*/ 719337 h 922413"/>
                  <a:gd name="connsiteX16" fmla="*/ 1164813 w 1248882"/>
                  <a:gd name="connsiteY16" fmla="*/ 716747 h 922413"/>
                  <a:gd name="connsiteX17" fmla="*/ 1153233 w 1248882"/>
                  <a:gd name="connsiteY17" fmla="*/ 696690 h 922413"/>
                  <a:gd name="connsiteX18" fmla="*/ 97170 w 1248882"/>
                  <a:gd name="connsiteY18" fmla="*/ 84934 h 922413"/>
                  <a:gd name="connsiteX19" fmla="*/ 97100 w 1248882"/>
                  <a:gd name="connsiteY19" fmla="*/ 84854 h 922413"/>
                  <a:gd name="connsiteX20" fmla="*/ 92641 w 1248882"/>
                  <a:gd name="connsiteY20" fmla="*/ 86106 h 922413"/>
                  <a:gd name="connsiteX21" fmla="*/ 83322 w 1248882"/>
                  <a:gd name="connsiteY21" fmla="*/ 98353 h 922413"/>
                  <a:gd name="connsiteX22" fmla="*/ 83306 w 1248882"/>
                  <a:gd name="connsiteY22" fmla="*/ 104410 h 922413"/>
                  <a:gd name="connsiteX23" fmla="*/ 84058 w 1248882"/>
                  <a:gd name="connsiteY23" fmla="*/ 106600 h 922413"/>
                  <a:gd name="connsiteX24" fmla="*/ 84057 w 1248882"/>
                  <a:gd name="connsiteY24" fmla="*/ 212545 h 922413"/>
                  <a:gd name="connsiteX25" fmla="*/ 42843 w 1248882"/>
                  <a:gd name="connsiteY25" fmla="*/ 236780 h 922413"/>
                  <a:gd name="connsiteX26" fmla="*/ 4867 w 1248882"/>
                  <a:gd name="connsiteY26" fmla="*/ 221977 h 922413"/>
                  <a:gd name="connsiteX0" fmla="*/ 4867 w 1248882"/>
                  <a:gd name="connsiteY0" fmla="*/ 221977 h 888119"/>
                  <a:gd name="connsiteX1" fmla="*/ 1628 w 1248882"/>
                  <a:gd name="connsiteY1" fmla="*/ 212544 h 888119"/>
                  <a:gd name="connsiteX2" fmla="*/ 911 w 1248882"/>
                  <a:gd name="connsiteY2" fmla="*/ 97581 h 888119"/>
                  <a:gd name="connsiteX3" fmla="*/ 14421 w 1248882"/>
                  <a:gd name="connsiteY3" fmla="*/ 45201 h 888119"/>
                  <a:gd name="connsiteX4" fmla="*/ 43539 w 1248882"/>
                  <a:gd name="connsiteY4" fmla="*/ 13965 h 888119"/>
                  <a:gd name="connsiteX5" fmla="*/ 86141 w 1248882"/>
                  <a:gd name="connsiteY5" fmla="*/ 108 h 888119"/>
                  <a:gd name="connsiteX6" fmla="*/ 118741 w 1248882"/>
                  <a:gd name="connsiteY6" fmla="*/ 5629 h 888119"/>
                  <a:gd name="connsiteX7" fmla="*/ 1195107 w 1248882"/>
                  <a:gd name="connsiteY7" fmla="*/ 625705 h 888119"/>
                  <a:gd name="connsiteX8" fmla="*/ 1233715 w 1248882"/>
                  <a:gd name="connsiteY8" fmla="*/ 663595 h 888119"/>
                  <a:gd name="connsiteX9" fmla="*/ 1246207 w 1248882"/>
                  <a:gd name="connsiteY9" fmla="*/ 704430 h 888119"/>
                  <a:gd name="connsiteX10" fmla="*/ 1247236 w 1248882"/>
                  <a:gd name="connsiteY10" fmla="*/ 715969 h 888119"/>
                  <a:gd name="connsiteX11" fmla="*/ 1248882 w 1248882"/>
                  <a:gd name="connsiteY11" fmla="*/ 733604 h 888119"/>
                  <a:gd name="connsiteX12" fmla="*/ 1248882 w 1248882"/>
                  <a:gd name="connsiteY12" fmla="*/ 888119 h 888119"/>
                  <a:gd name="connsiteX13" fmla="*/ 1164480 w 1248882"/>
                  <a:gd name="connsiteY13" fmla="*/ 718004 h 888119"/>
                  <a:gd name="connsiteX14" fmla="*/ 1164797 w 1248882"/>
                  <a:gd name="connsiteY14" fmla="*/ 719337 h 888119"/>
                  <a:gd name="connsiteX15" fmla="*/ 1164813 w 1248882"/>
                  <a:gd name="connsiteY15" fmla="*/ 716747 h 888119"/>
                  <a:gd name="connsiteX16" fmla="*/ 1153233 w 1248882"/>
                  <a:gd name="connsiteY16" fmla="*/ 696690 h 888119"/>
                  <a:gd name="connsiteX17" fmla="*/ 97170 w 1248882"/>
                  <a:gd name="connsiteY17" fmla="*/ 84934 h 888119"/>
                  <a:gd name="connsiteX18" fmla="*/ 97100 w 1248882"/>
                  <a:gd name="connsiteY18" fmla="*/ 84854 h 888119"/>
                  <a:gd name="connsiteX19" fmla="*/ 92641 w 1248882"/>
                  <a:gd name="connsiteY19" fmla="*/ 86106 h 888119"/>
                  <a:gd name="connsiteX20" fmla="*/ 83322 w 1248882"/>
                  <a:gd name="connsiteY20" fmla="*/ 98353 h 888119"/>
                  <a:gd name="connsiteX21" fmla="*/ 83306 w 1248882"/>
                  <a:gd name="connsiteY21" fmla="*/ 104410 h 888119"/>
                  <a:gd name="connsiteX22" fmla="*/ 84058 w 1248882"/>
                  <a:gd name="connsiteY22" fmla="*/ 106600 h 888119"/>
                  <a:gd name="connsiteX23" fmla="*/ 84057 w 1248882"/>
                  <a:gd name="connsiteY23" fmla="*/ 212545 h 888119"/>
                  <a:gd name="connsiteX24" fmla="*/ 42843 w 1248882"/>
                  <a:gd name="connsiteY24" fmla="*/ 236780 h 888119"/>
                  <a:gd name="connsiteX25" fmla="*/ 4867 w 1248882"/>
                  <a:gd name="connsiteY25" fmla="*/ 221977 h 888119"/>
                  <a:gd name="connsiteX0" fmla="*/ 4867 w 1248882"/>
                  <a:gd name="connsiteY0" fmla="*/ 221977 h 733610"/>
                  <a:gd name="connsiteX1" fmla="*/ 1628 w 1248882"/>
                  <a:gd name="connsiteY1" fmla="*/ 212544 h 733610"/>
                  <a:gd name="connsiteX2" fmla="*/ 911 w 1248882"/>
                  <a:gd name="connsiteY2" fmla="*/ 97581 h 733610"/>
                  <a:gd name="connsiteX3" fmla="*/ 14421 w 1248882"/>
                  <a:gd name="connsiteY3" fmla="*/ 45201 h 733610"/>
                  <a:gd name="connsiteX4" fmla="*/ 43539 w 1248882"/>
                  <a:gd name="connsiteY4" fmla="*/ 13965 h 733610"/>
                  <a:gd name="connsiteX5" fmla="*/ 86141 w 1248882"/>
                  <a:gd name="connsiteY5" fmla="*/ 108 h 733610"/>
                  <a:gd name="connsiteX6" fmla="*/ 118741 w 1248882"/>
                  <a:gd name="connsiteY6" fmla="*/ 5629 h 733610"/>
                  <a:gd name="connsiteX7" fmla="*/ 1195107 w 1248882"/>
                  <a:gd name="connsiteY7" fmla="*/ 625705 h 733610"/>
                  <a:gd name="connsiteX8" fmla="*/ 1233715 w 1248882"/>
                  <a:gd name="connsiteY8" fmla="*/ 663595 h 733610"/>
                  <a:gd name="connsiteX9" fmla="*/ 1246207 w 1248882"/>
                  <a:gd name="connsiteY9" fmla="*/ 704430 h 733610"/>
                  <a:gd name="connsiteX10" fmla="*/ 1247236 w 1248882"/>
                  <a:gd name="connsiteY10" fmla="*/ 715969 h 733610"/>
                  <a:gd name="connsiteX11" fmla="*/ 1248882 w 1248882"/>
                  <a:gd name="connsiteY11" fmla="*/ 733604 h 733610"/>
                  <a:gd name="connsiteX12" fmla="*/ 1164480 w 1248882"/>
                  <a:gd name="connsiteY12" fmla="*/ 718004 h 733610"/>
                  <a:gd name="connsiteX13" fmla="*/ 1164797 w 1248882"/>
                  <a:gd name="connsiteY13" fmla="*/ 719337 h 733610"/>
                  <a:gd name="connsiteX14" fmla="*/ 1164813 w 1248882"/>
                  <a:gd name="connsiteY14" fmla="*/ 716747 h 733610"/>
                  <a:gd name="connsiteX15" fmla="*/ 1153233 w 1248882"/>
                  <a:gd name="connsiteY15" fmla="*/ 696690 h 733610"/>
                  <a:gd name="connsiteX16" fmla="*/ 97170 w 1248882"/>
                  <a:gd name="connsiteY16" fmla="*/ 84934 h 733610"/>
                  <a:gd name="connsiteX17" fmla="*/ 97100 w 1248882"/>
                  <a:gd name="connsiteY17" fmla="*/ 84854 h 733610"/>
                  <a:gd name="connsiteX18" fmla="*/ 92641 w 1248882"/>
                  <a:gd name="connsiteY18" fmla="*/ 86106 h 733610"/>
                  <a:gd name="connsiteX19" fmla="*/ 83322 w 1248882"/>
                  <a:gd name="connsiteY19" fmla="*/ 98353 h 733610"/>
                  <a:gd name="connsiteX20" fmla="*/ 83306 w 1248882"/>
                  <a:gd name="connsiteY20" fmla="*/ 104410 h 733610"/>
                  <a:gd name="connsiteX21" fmla="*/ 84058 w 1248882"/>
                  <a:gd name="connsiteY21" fmla="*/ 106600 h 733610"/>
                  <a:gd name="connsiteX22" fmla="*/ 84057 w 1248882"/>
                  <a:gd name="connsiteY22" fmla="*/ 212545 h 733610"/>
                  <a:gd name="connsiteX23" fmla="*/ 42843 w 1248882"/>
                  <a:gd name="connsiteY23" fmla="*/ 236780 h 733610"/>
                  <a:gd name="connsiteX24" fmla="*/ 4867 w 1248882"/>
                  <a:gd name="connsiteY24" fmla="*/ 221977 h 733610"/>
                  <a:gd name="connsiteX0" fmla="*/ 4867 w 1248882"/>
                  <a:gd name="connsiteY0" fmla="*/ 221977 h 749396"/>
                  <a:gd name="connsiteX1" fmla="*/ 1628 w 1248882"/>
                  <a:gd name="connsiteY1" fmla="*/ 212544 h 749396"/>
                  <a:gd name="connsiteX2" fmla="*/ 911 w 1248882"/>
                  <a:gd name="connsiteY2" fmla="*/ 97581 h 749396"/>
                  <a:gd name="connsiteX3" fmla="*/ 14421 w 1248882"/>
                  <a:gd name="connsiteY3" fmla="*/ 45201 h 749396"/>
                  <a:gd name="connsiteX4" fmla="*/ 43539 w 1248882"/>
                  <a:gd name="connsiteY4" fmla="*/ 13965 h 749396"/>
                  <a:gd name="connsiteX5" fmla="*/ 86141 w 1248882"/>
                  <a:gd name="connsiteY5" fmla="*/ 108 h 749396"/>
                  <a:gd name="connsiteX6" fmla="*/ 118741 w 1248882"/>
                  <a:gd name="connsiteY6" fmla="*/ 5629 h 749396"/>
                  <a:gd name="connsiteX7" fmla="*/ 1195107 w 1248882"/>
                  <a:gd name="connsiteY7" fmla="*/ 625705 h 749396"/>
                  <a:gd name="connsiteX8" fmla="*/ 1233715 w 1248882"/>
                  <a:gd name="connsiteY8" fmla="*/ 663595 h 749396"/>
                  <a:gd name="connsiteX9" fmla="*/ 1246207 w 1248882"/>
                  <a:gd name="connsiteY9" fmla="*/ 704430 h 749396"/>
                  <a:gd name="connsiteX10" fmla="*/ 1247236 w 1248882"/>
                  <a:gd name="connsiteY10" fmla="*/ 715969 h 749396"/>
                  <a:gd name="connsiteX11" fmla="*/ 1248882 w 1248882"/>
                  <a:gd name="connsiteY11" fmla="*/ 733604 h 749396"/>
                  <a:gd name="connsiteX12" fmla="*/ 1164480 w 1248882"/>
                  <a:gd name="connsiteY12" fmla="*/ 718004 h 749396"/>
                  <a:gd name="connsiteX13" fmla="*/ 1164797 w 1248882"/>
                  <a:gd name="connsiteY13" fmla="*/ 719337 h 749396"/>
                  <a:gd name="connsiteX14" fmla="*/ 1153233 w 1248882"/>
                  <a:gd name="connsiteY14" fmla="*/ 696690 h 749396"/>
                  <a:gd name="connsiteX15" fmla="*/ 97170 w 1248882"/>
                  <a:gd name="connsiteY15" fmla="*/ 84934 h 749396"/>
                  <a:gd name="connsiteX16" fmla="*/ 97100 w 1248882"/>
                  <a:gd name="connsiteY16" fmla="*/ 84854 h 749396"/>
                  <a:gd name="connsiteX17" fmla="*/ 92641 w 1248882"/>
                  <a:gd name="connsiteY17" fmla="*/ 86106 h 749396"/>
                  <a:gd name="connsiteX18" fmla="*/ 83322 w 1248882"/>
                  <a:gd name="connsiteY18" fmla="*/ 98353 h 749396"/>
                  <a:gd name="connsiteX19" fmla="*/ 83306 w 1248882"/>
                  <a:gd name="connsiteY19" fmla="*/ 104410 h 749396"/>
                  <a:gd name="connsiteX20" fmla="*/ 84058 w 1248882"/>
                  <a:gd name="connsiteY20" fmla="*/ 106600 h 749396"/>
                  <a:gd name="connsiteX21" fmla="*/ 84057 w 1248882"/>
                  <a:gd name="connsiteY21" fmla="*/ 212545 h 749396"/>
                  <a:gd name="connsiteX22" fmla="*/ 42843 w 1248882"/>
                  <a:gd name="connsiteY22" fmla="*/ 236780 h 749396"/>
                  <a:gd name="connsiteX23" fmla="*/ 4867 w 1248882"/>
                  <a:gd name="connsiteY23" fmla="*/ 221977 h 749396"/>
                  <a:gd name="connsiteX0" fmla="*/ 4867 w 1248882"/>
                  <a:gd name="connsiteY0" fmla="*/ 221977 h 748179"/>
                  <a:gd name="connsiteX1" fmla="*/ 1628 w 1248882"/>
                  <a:gd name="connsiteY1" fmla="*/ 212544 h 748179"/>
                  <a:gd name="connsiteX2" fmla="*/ 911 w 1248882"/>
                  <a:gd name="connsiteY2" fmla="*/ 97581 h 748179"/>
                  <a:gd name="connsiteX3" fmla="*/ 14421 w 1248882"/>
                  <a:gd name="connsiteY3" fmla="*/ 45201 h 748179"/>
                  <a:gd name="connsiteX4" fmla="*/ 43539 w 1248882"/>
                  <a:gd name="connsiteY4" fmla="*/ 13965 h 748179"/>
                  <a:gd name="connsiteX5" fmla="*/ 86141 w 1248882"/>
                  <a:gd name="connsiteY5" fmla="*/ 108 h 748179"/>
                  <a:gd name="connsiteX6" fmla="*/ 118741 w 1248882"/>
                  <a:gd name="connsiteY6" fmla="*/ 5629 h 748179"/>
                  <a:gd name="connsiteX7" fmla="*/ 1195107 w 1248882"/>
                  <a:gd name="connsiteY7" fmla="*/ 625705 h 748179"/>
                  <a:gd name="connsiteX8" fmla="*/ 1233715 w 1248882"/>
                  <a:gd name="connsiteY8" fmla="*/ 663595 h 748179"/>
                  <a:gd name="connsiteX9" fmla="*/ 1246207 w 1248882"/>
                  <a:gd name="connsiteY9" fmla="*/ 704430 h 748179"/>
                  <a:gd name="connsiteX10" fmla="*/ 1247236 w 1248882"/>
                  <a:gd name="connsiteY10" fmla="*/ 715969 h 748179"/>
                  <a:gd name="connsiteX11" fmla="*/ 1248882 w 1248882"/>
                  <a:gd name="connsiteY11" fmla="*/ 733604 h 748179"/>
                  <a:gd name="connsiteX12" fmla="*/ 1164480 w 1248882"/>
                  <a:gd name="connsiteY12" fmla="*/ 718004 h 748179"/>
                  <a:gd name="connsiteX13" fmla="*/ 1153233 w 1248882"/>
                  <a:gd name="connsiteY13" fmla="*/ 696690 h 748179"/>
                  <a:gd name="connsiteX14" fmla="*/ 97170 w 1248882"/>
                  <a:gd name="connsiteY14" fmla="*/ 84934 h 748179"/>
                  <a:gd name="connsiteX15" fmla="*/ 97100 w 1248882"/>
                  <a:gd name="connsiteY15" fmla="*/ 84854 h 748179"/>
                  <a:gd name="connsiteX16" fmla="*/ 92641 w 1248882"/>
                  <a:gd name="connsiteY16" fmla="*/ 86106 h 748179"/>
                  <a:gd name="connsiteX17" fmla="*/ 83322 w 1248882"/>
                  <a:gd name="connsiteY17" fmla="*/ 98353 h 748179"/>
                  <a:gd name="connsiteX18" fmla="*/ 83306 w 1248882"/>
                  <a:gd name="connsiteY18" fmla="*/ 104410 h 748179"/>
                  <a:gd name="connsiteX19" fmla="*/ 84058 w 1248882"/>
                  <a:gd name="connsiteY19" fmla="*/ 106600 h 748179"/>
                  <a:gd name="connsiteX20" fmla="*/ 84057 w 1248882"/>
                  <a:gd name="connsiteY20" fmla="*/ 212545 h 748179"/>
                  <a:gd name="connsiteX21" fmla="*/ 42843 w 1248882"/>
                  <a:gd name="connsiteY21" fmla="*/ 236780 h 748179"/>
                  <a:gd name="connsiteX22" fmla="*/ 4867 w 1248882"/>
                  <a:gd name="connsiteY22" fmla="*/ 221977 h 748179"/>
                  <a:gd name="connsiteX0" fmla="*/ 4867 w 1267301"/>
                  <a:gd name="connsiteY0" fmla="*/ 221977 h 755598"/>
                  <a:gd name="connsiteX1" fmla="*/ 1628 w 1267301"/>
                  <a:gd name="connsiteY1" fmla="*/ 212544 h 755598"/>
                  <a:gd name="connsiteX2" fmla="*/ 911 w 1267301"/>
                  <a:gd name="connsiteY2" fmla="*/ 97581 h 755598"/>
                  <a:gd name="connsiteX3" fmla="*/ 14421 w 1267301"/>
                  <a:gd name="connsiteY3" fmla="*/ 45201 h 755598"/>
                  <a:gd name="connsiteX4" fmla="*/ 43539 w 1267301"/>
                  <a:gd name="connsiteY4" fmla="*/ 13965 h 755598"/>
                  <a:gd name="connsiteX5" fmla="*/ 86141 w 1267301"/>
                  <a:gd name="connsiteY5" fmla="*/ 108 h 755598"/>
                  <a:gd name="connsiteX6" fmla="*/ 118741 w 1267301"/>
                  <a:gd name="connsiteY6" fmla="*/ 5629 h 755598"/>
                  <a:gd name="connsiteX7" fmla="*/ 1195107 w 1267301"/>
                  <a:gd name="connsiteY7" fmla="*/ 625705 h 755598"/>
                  <a:gd name="connsiteX8" fmla="*/ 1233715 w 1267301"/>
                  <a:gd name="connsiteY8" fmla="*/ 663595 h 755598"/>
                  <a:gd name="connsiteX9" fmla="*/ 1246207 w 1267301"/>
                  <a:gd name="connsiteY9" fmla="*/ 704430 h 755598"/>
                  <a:gd name="connsiteX10" fmla="*/ 1247236 w 1267301"/>
                  <a:gd name="connsiteY10" fmla="*/ 715969 h 755598"/>
                  <a:gd name="connsiteX11" fmla="*/ 1248882 w 1267301"/>
                  <a:gd name="connsiteY11" fmla="*/ 733604 h 755598"/>
                  <a:gd name="connsiteX12" fmla="*/ 1153233 w 1267301"/>
                  <a:gd name="connsiteY12" fmla="*/ 696690 h 755598"/>
                  <a:gd name="connsiteX13" fmla="*/ 97170 w 1267301"/>
                  <a:gd name="connsiteY13" fmla="*/ 84934 h 755598"/>
                  <a:gd name="connsiteX14" fmla="*/ 97100 w 1267301"/>
                  <a:gd name="connsiteY14" fmla="*/ 84854 h 755598"/>
                  <a:gd name="connsiteX15" fmla="*/ 92641 w 1267301"/>
                  <a:gd name="connsiteY15" fmla="*/ 86106 h 755598"/>
                  <a:gd name="connsiteX16" fmla="*/ 83322 w 1267301"/>
                  <a:gd name="connsiteY16" fmla="*/ 98353 h 755598"/>
                  <a:gd name="connsiteX17" fmla="*/ 83306 w 1267301"/>
                  <a:gd name="connsiteY17" fmla="*/ 104410 h 755598"/>
                  <a:gd name="connsiteX18" fmla="*/ 84058 w 1267301"/>
                  <a:gd name="connsiteY18" fmla="*/ 106600 h 755598"/>
                  <a:gd name="connsiteX19" fmla="*/ 84057 w 1267301"/>
                  <a:gd name="connsiteY19" fmla="*/ 212545 h 755598"/>
                  <a:gd name="connsiteX20" fmla="*/ 42843 w 1267301"/>
                  <a:gd name="connsiteY20" fmla="*/ 236780 h 755598"/>
                  <a:gd name="connsiteX21" fmla="*/ 4867 w 1267301"/>
                  <a:gd name="connsiteY21" fmla="*/ 221977 h 755598"/>
                  <a:gd name="connsiteX0" fmla="*/ 4867 w 1247417"/>
                  <a:gd name="connsiteY0" fmla="*/ 221977 h 715969"/>
                  <a:gd name="connsiteX1" fmla="*/ 1628 w 1247417"/>
                  <a:gd name="connsiteY1" fmla="*/ 212544 h 715969"/>
                  <a:gd name="connsiteX2" fmla="*/ 911 w 1247417"/>
                  <a:gd name="connsiteY2" fmla="*/ 97581 h 715969"/>
                  <a:gd name="connsiteX3" fmla="*/ 14421 w 1247417"/>
                  <a:gd name="connsiteY3" fmla="*/ 45201 h 715969"/>
                  <a:gd name="connsiteX4" fmla="*/ 43539 w 1247417"/>
                  <a:gd name="connsiteY4" fmla="*/ 13965 h 715969"/>
                  <a:gd name="connsiteX5" fmla="*/ 86141 w 1247417"/>
                  <a:gd name="connsiteY5" fmla="*/ 108 h 715969"/>
                  <a:gd name="connsiteX6" fmla="*/ 118741 w 1247417"/>
                  <a:gd name="connsiteY6" fmla="*/ 5629 h 715969"/>
                  <a:gd name="connsiteX7" fmla="*/ 1195107 w 1247417"/>
                  <a:gd name="connsiteY7" fmla="*/ 625705 h 715969"/>
                  <a:gd name="connsiteX8" fmla="*/ 1233715 w 1247417"/>
                  <a:gd name="connsiteY8" fmla="*/ 663595 h 715969"/>
                  <a:gd name="connsiteX9" fmla="*/ 1246207 w 1247417"/>
                  <a:gd name="connsiteY9" fmla="*/ 704430 h 715969"/>
                  <a:gd name="connsiteX10" fmla="*/ 1247236 w 1247417"/>
                  <a:gd name="connsiteY10" fmla="*/ 715969 h 715969"/>
                  <a:gd name="connsiteX11" fmla="*/ 1153233 w 1247417"/>
                  <a:gd name="connsiteY11" fmla="*/ 696690 h 715969"/>
                  <a:gd name="connsiteX12" fmla="*/ 97170 w 1247417"/>
                  <a:gd name="connsiteY12" fmla="*/ 84934 h 715969"/>
                  <a:gd name="connsiteX13" fmla="*/ 97100 w 1247417"/>
                  <a:gd name="connsiteY13" fmla="*/ 84854 h 715969"/>
                  <a:gd name="connsiteX14" fmla="*/ 92641 w 1247417"/>
                  <a:gd name="connsiteY14" fmla="*/ 86106 h 715969"/>
                  <a:gd name="connsiteX15" fmla="*/ 83322 w 1247417"/>
                  <a:gd name="connsiteY15" fmla="*/ 98353 h 715969"/>
                  <a:gd name="connsiteX16" fmla="*/ 83306 w 1247417"/>
                  <a:gd name="connsiteY16" fmla="*/ 104410 h 715969"/>
                  <a:gd name="connsiteX17" fmla="*/ 84058 w 1247417"/>
                  <a:gd name="connsiteY17" fmla="*/ 106600 h 715969"/>
                  <a:gd name="connsiteX18" fmla="*/ 84057 w 1247417"/>
                  <a:gd name="connsiteY18" fmla="*/ 212545 h 715969"/>
                  <a:gd name="connsiteX19" fmla="*/ 42843 w 1247417"/>
                  <a:gd name="connsiteY19" fmla="*/ 236780 h 715969"/>
                  <a:gd name="connsiteX20" fmla="*/ 4867 w 1247417"/>
                  <a:gd name="connsiteY20" fmla="*/ 221977 h 715969"/>
                  <a:gd name="connsiteX0" fmla="*/ 4867 w 1266686"/>
                  <a:gd name="connsiteY0" fmla="*/ 221977 h 746023"/>
                  <a:gd name="connsiteX1" fmla="*/ 1628 w 1266686"/>
                  <a:gd name="connsiteY1" fmla="*/ 212544 h 746023"/>
                  <a:gd name="connsiteX2" fmla="*/ 911 w 1266686"/>
                  <a:gd name="connsiteY2" fmla="*/ 97581 h 746023"/>
                  <a:gd name="connsiteX3" fmla="*/ 14421 w 1266686"/>
                  <a:gd name="connsiteY3" fmla="*/ 45201 h 746023"/>
                  <a:gd name="connsiteX4" fmla="*/ 43539 w 1266686"/>
                  <a:gd name="connsiteY4" fmla="*/ 13965 h 746023"/>
                  <a:gd name="connsiteX5" fmla="*/ 86141 w 1266686"/>
                  <a:gd name="connsiteY5" fmla="*/ 108 h 746023"/>
                  <a:gd name="connsiteX6" fmla="*/ 118741 w 1266686"/>
                  <a:gd name="connsiteY6" fmla="*/ 5629 h 746023"/>
                  <a:gd name="connsiteX7" fmla="*/ 1195107 w 1266686"/>
                  <a:gd name="connsiteY7" fmla="*/ 625705 h 746023"/>
                  <a:gd name="connsiteX8" fmla="*/ 1233715 w 1266686"/>
                  <a:gd name="connsiteY8" fmla="*/ 663595 h 746023"/>
                  <a:gd name="connsiteX9" fmla="*/ 1246207 w 1266686"/>
                  <a:gd name="connsiteY9" fmla="*/ 704430 h 746023"/>
                  <a:gd name="connsiteX10" fmla="*/ 1153233 w 1266686"/>
                  <a:gd name="connsiteY10" fmla="*/ 696690 h 746023"/>
                  <a:gd name="connsiteX11" fmla="*/ 97170 w 1266686"/>
                  <a:gd name="connsiteY11" fmla="*/ 84934 h 746023"/>
                  <a:gd name="connsiteX12" fmla="*/ 97100 w 1266686"/>
                  <a:gd name="connsiteY12" fmla="*/ 84854 h 746023"/>
                  <a:gd name="connsiteX13" fmla="*/ 92641 w 1266686"/>
                  <a:gd name="connsiteY13" fmla="*/ 86106 h 746023"/>
                  <a:gd name="connsiteX14" fmla="*/ 83322 w 1266686"/>
                  <a:gd name="connsiteY14" fmla="*/ 98353 h 746023"/>
                  <a:gd name="connsiteX15" fmla="*/ 83306 w 1266686"/>
                  <a:gd name="connsiteY15" fmla="*/ 104410 h 746023"/>
                  <a:gd name="connsiteX16" fmla="*/ 84058 w 1266686"/>
                  <a:gd name="connsiteY16" fmla="*/ 106600 h 746023"/>
                  <a:gd name="connsiteX17" fmla="*/ 84057 w 1266686"/>
                  <a:gd name="connsiteY17" fmla="*/ 212545 h 746023"/>
                  <a:gd name="connsiteX18" fmla="*/ 42843 w 1266686"/>
                  <a:gd name="connsiteY18" fmla="*/ 236780 h 746023"/>
                  <a:gd name="connsiteX19" fmla="*/ 4867 w 1266686"/>
                  <a:gd name="connsiteY19" fmla="*/ 221977 h 746023"/>
                  <a:gd name="connsiteX0" fmla="*/ 4867 w 1262494"/>
                  <a:gd name="connsiteY0" fmla="*/ 221977 h 734374"/>
                  <a:gd name="connsiteX1" fmla="*/ 1628 w 1262494"/>
                  <a:gd name="connsiteY1" fmla="*/ 212544 h 734374"/>
                  <a:gd name="connsiteX2" fmla="*/ 911 w 1262494"/>
                  <a:gd name="connsiteY2" fmla="*/ 97581 h 734374"/>
                  <a:gd name="connsiteX3" fmla="*/ 14421 w 1262494"/>
                  <a:gd name="connsiteY3" fmla="*/ 45201 h 734374"/>
                  <a:gd name="connsiteX4" fmla="*/ 43539 w 1262494"/>
                  <a:gd name="connsiteY4" fmla="*/ 13965 h 734374"/>
                  <a:gd name="connsiteX5" fmla="*/ 86141 w 1262494"/>
                  <a:gd name="connsiteY5" fmla="*/ 108 h 734374"/>
                  <a:gd name="connsiteX6" fmla="*/ 118741 w 1262494"/>
                  <a:gd name="connsiteY6" fmla="*/ 5629 h 734374"/>
                  <a:gd name="connsiteX7" fmla="*/ 1195107 w 1262494"/>
                  <a:gd name="connsiteY7" fmla="*/ 625705 h 734374"/>
                  <a:gd name="connsiteX8" fmla="*/ 1233715 w 1262494"/>
                  <a:gd name="connsiteY8" fmla="*/ 663595 h 734374"/>
                  <a:gd name="connsiteX9" fmla="*/ 1153233 w 1262494"/>
                  <a:gd name="connsiteY9" fmla="*/ 696690 h 734374"/>
                  <a:gd name="connsiteX10" fmla="*/ 97170 w 1262494"/>
                  <a:gd name="connsiteY10" fmla="*/ 84934 h 734374"/>
                  <a:gd name="connsiteX11" fmla="*/ 97100 w 1262494"/>
                  <a:gd name="connsiteY11" fmla="*/ 84854 h 734374"/>
                  <a:gd name="connsiteX12" fmla="*/ 92641 w 1262494"/>
                  <a:gd name="connsiteY12" fmla="*/ 86106 h 734374"/>
                  <a:gd name="connsiteX13" fmla="*/ 83322 w 1262494"/>
                  <a:gd name="connsiteY13" fmla="*/ 98353 h 734374"/>
                  <a:gd name="connsiteX14" fmla="*/ 83306 w 1262494"/>
                  <a:gd name="connsiteY14" fmla="*/ 104410 h 734374"/>
                  <a:gd name="connsiteX15" fmla="*/ 84058 w 1262494"/>
                  <a:gd name="connsiteY15" fmla="*/ 106600 h 734374"/>
                  <a:gd name="connsiteX16" fmla="*/ 84057 w 1262494"/>
                  <a:gd name="connsiteY16" fmla="*/ 212545 h 734374"/>
                  <a:gd name="connsiteX17" fmla="*/ 42843 w 1262494"/>
                  <a:gd name="connsiteY17" fmla="*/ 236780 h 734374"/>
                  <a:gd name="connsiteX18" fmla="*/ 4867 w 1262494"/>
                  <a:gd name="connsiteY18" fmla="*/ 221977 h 734374"/>
                  <a:gd name="connsiteX0" fmla="*/ 4867 w 1308852"/>
                  <a:gd name="connsiteY0" fmla="*/ 221977 h 744249"/>
                  <a:gd name="connsiteX1" fmla="*/ 1628 w 1308852"/>
                  <a:gd name="connsiteY1" fmla="*/ 212544 h 744249"/>
                  <a:gd name="connsiteX2" fmla="*/ 911 w 1308852"/>
                  <a:gd name="connsiteY2" fmla="*/ 97581 h 744249"/>
                  <a:gd name="connsiteX3" fmla="*/ 14421 w 1308852"/>
                  <a:gd name="connsiteY3" fmla="*/ 45201 h 744249"/>
                  <a:gd name="connsiteX4" fmla="*/ 43539 w 1308852"/>
                  <a:gd name="connsiteY4" fmla="*/ 13965 h 744249"/>
                  <a:gd name="connsiteX5" fmla="*/ 86141 w 1308852"/>
                  <a:gd name="connsiteY5" fmla="*/ 108 h 744249"/>
                  <a:gd name="connsiteX6" fmla="*/ 118741 w 1308852"/>
                  <a:gd name="connsiteY6" fmla="*/ 5629 h 744249"/>
                  <a:gd name="connsiteX7" fmla="*/ 1195107 w 1308852"/>
                  <a:gd name="connsiteY7" fmla="*/ 625705 h 744249"/>
                  <a:gd name="connsiteX8" fmla="*/ 1153233 w 1308852"/>
                  <a:gd name="connsiteY8" fmla="*/ 696690 h 744249"/>
                  <a:gd name="connsiteX9" fmla="*/ 97170 w 1308852"/>
                  <a:gd name="connsiteY9" fmla="*/ 84934 h 744249"/>
                  <a:gd name="connsiteX10" fmla="*/ 97100 w 1308852"/>
                  <a:gd name="connsiteY10" fmla="*/ 84854 h 744249"/>
                  <a:gd name="connsiteX11" fmla="*/ 92641 w 1308852"/>
                  <a:gd name="connsiteY11" fmla="*/ 86106 h 744249"/>
                  <a:gd name="connsiteX12" fmla="*/ 83322 w 1308852"/>
                  <a:gd name="connsiteY12" fmla="*/ 98353 h 744249"/>
                  <a:gd name="connsiteX13" fmla="*/ 83306 w 1308852"/>
                  <a:gd name="connsiteY13" fmla="*/ 104410 h 744249"/>
                  <a:gd name="connsiteX14" fmla="*/ 84058 w 1308852"/>
                  <a:gd name="connsiteY14" fmla="*/ 106600 h 744249"/>
                  <a:gd name="connsiteX15" fmla="*/ 84057 w 1308852"/>
                  <a:gd name="connsiteY15" fmla="*/ 212545 h 744249"/>
                  <a:gd name="connsiteX16" fmla="*/ 42843 w 1308852"/>
                  <a:gd name="connsiteY16" fmla="*/ 236780 h 744249"/>
                  <a:gd name="connsiteX17" fmla="*/ 4867 w 1308852"/>
                  <a:gd name="connsiteY17" fmla="*/ 221977 h 744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8852" h="744249">
                    <a:moveTo>
                      <a:pt x="4867" y="221977"/>
                    </a:moveTo>
                    <a:cubicBezTo>
                      <a:pt x="2782" y="219079"/>
                      <a:pt x="1628" y="215890"/>
                      <a:pt x="1628" y="212544"/>
                    </a:cubicBezTo>
                    <a:cubicBezTo>
                      <a:pt x="968" y="191811"/>
                      <a:pt x="-1222" y="125471"/>
                      <a:pt x="911" y="97581"/>
                    </a:cubicBezTo>
                    <a:cubicBezTo>
                      <a:pt x="3498" y="80400"/>
                      <a:pt x="-1751" y="72471"/>
                      <a:pt x="14421" y="45201"/>
                    </a:cubicBezTo>
                    <a:cubicBezTo>
                      <a:pt x="26551" y="24749"/>
                      <a:pt x="34561" y="19753"/>
                      <a:pt x="43539" y="13965"/>
                    </a:cubicBezTo>
                    <a:cubicBezTo>
                      <a:pt x="60016" y="6917"/>
                      <a:pt x="69693" y="-450"/>
                      <a:pt x="86141" y="108"/>
                    </a:cubicBezTo>
                    <a:cubicBezTo>
                      <a:pt x="98478" y="527"/>
                      <a:pt x="101140" y="-2106"/>
                      <a:pt x="118741" y="5629"/>
                    </a:cubicBezTo>
                    <a:lnTo>
                      <a:pt x="1195107" y="625705"/>
                    </a:lnTo>
                    <a:cubicBezTo>
                      <a:pt x="1367522" y="740882"/>
                      <a:pt x="1336223" y="786819"/>
                      <a:pt x="1153233" y="696690"/>
                    </a:cubicBezTo>
                    <a:lnTo>
                      <a:pt x="97170" y="84934"/>
                    </a:lnTo>
                    <a:cubicBezTo>
                      <a:pt x="97147" y="84907"/>
                      <a:pt x="97123" y="84881"/>
                      <a:pt x="97100" y="84854"/>
                    </a:cubicBezTo>
                    <a:lnTo>
                      <a:pt x="92641" y="86106"/>
                    </a:lnTo>
                    <a:cubicBezTo>
                      <a:pt x="87828" y="87456"/>
                      <a:pt x="83868" y="90174"/>
                      <a:pt x="83322" y="98353"/>
                    </a:cubicBezTo>
                    <a:cubicBezTo>
                      <a:pt x="83316" y="100372"/>
                      <a:pt x="83311" y="102391"/>
                      <a:pt x="83306" y="104410"/>
                    </a:cubicBezTo>
                    <a:lnTo>
                      <a:pt x="84058" y="106600"/>
                    </a:lnTo>
                    <a:cubicBezTo>
                      <a:pt x="84058" y="141915"/>
                      <a:pt x="84057" y="177229"/>
                      <a:pt x="84057" y="212545"/>
                    </a:cubicBezTo>
                    <a:cubicBezTo>
                      <a:pt x="84057" y="225929"/>
                      <a:pt x="65605" y="236780"/>
                      <a:pt x="42843" y="236780"/>
                    </a:cubicBezTo>
                    <a:cubicBezTo>
                      <a:pt x="25771" y="236779"/>
                      <a:pt x="11124" y="230676"/>
                      <a:pt x="4867" y="221977"/>
                    </a:cubicBezTo>
                    <a:close/>
                  </a:path>
                </a:pathLst>
              </a:cu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975" name="Cylinder 974">
              <a:extLst>
                <a:ext uri="{FF2B5EF4-FFF2-40B4-BE49-F238E27FC236}">
                  <a16:creationId xmlns:a16="http://schemas.microsoft.com/office/drawing/2014/main" id="{B8B34BDD-5169-45D0-A320-F618BEC960D0}"/>
                </a:ext>
              </a:extLst>
            </p:cNvPr>
            <p:cNvSpPr/>
            <p:nvPr/>
          </p:nvSpPr>
          <p:spPr bwMode="gray">
            <a:xfrm rot="18000000">
              <a:off x="9542756" y="4526196"/>
              <a:ext cx="81425" cy="250314"/>
            </a:xfrm>
            <a:prstGeom prst="can">
              <a:avLst>
                <a:gd name="adj" fmla="val 71299"/>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76" name="Cylinder 975">
              <a:extLst>
                <a:ext uri="{FF2B5EF4-FFF2-40B4-BE49-F238E27FC236}">
                  <a16:creationId xmlns:a16="http://schemas.microsoft.com/office/drawing/2014/main" id="{7F972934-6119-4107-BDC3-DC959BFB50E9}"/>
                </a:ext>
              </a:extLst>
            </p:cNvPr>
            <p:cNvSpPr/>
            <p:nvPr/>
          </p:nvSpPr>
          <p:spPr bwMode="gray">
            <a:xfrm rot="18000000">
              <a:off x="9341937" y="4641289"/>
              <a:ext cx="81425" cy="250314"/>
            </a:xfrm>
            <a:prstGeom prst="can">
              <a:avLst>
                <a:gd name="adj" fmla="val 71299"/>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77" name="Cylinder 976">
              <a:extLst>
                <a:ext uri="{FF2B5EF4-FFF2-40B4-BE49-F238E27FC236}">
                  <a16:creationId xmlns:a16="http://schemas.microsoft.com/office/drawing/2014/main" id="{851C7D5F-E33E-4706-8455-8C503DE1BE32}"/>
                </a:ext>
              </a:extLst>
            </p:cNvPr>
            <p:cNvSpPr/>
            <p:nvPr/>
          </p:nvSpPr>
          <p:spPr bwMode="gray">
            <a:xfrm rot="18000000">
              <a:off x="9141117" y="4756382"/>
              <a:ext cx="81425" cy="250314"/>
            </a:xfrm>
            <a:prstGeom prst="can">
              <a:avLst>
                <a:gd name="adj" fmla="val 71299"/>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78" name="Cylinder 977">
              <a:extLst>
                <a:ext uri="{FF2B5EF4-FFF2-40B4-BE49-F238E27FC236}">
                  <a16:creationId xmlns:a16="http://schemas.microsoft.com/office/drawing/2014/main" id="{36737C27-48A1-4F84-A3BD-49F988D82EB3}"/>
                </a:ext>
              </a:extLst>
            </p:cNvPr>
            <p:cNvSpPr/>
            <p:nvPr/>
          </p:nvSpPr>
          <p:spPr bwMode="gray">
            <a:xfrm rot="18000000">
              <a:off x="8940297" y="4871474"/>
              <a:ext cx="81425" cy="250314"/>
            </a:xfrm>
            <a:prstGeom prst="can">
              <a:avLst>
                <a:gd name="adj" fmla="val 71299"/>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sp>
        <p:nvSpPr>
          <p:cNvPr id="924" name="Freeform: Shape 923">
            <a:extLst>
              <a:ext uri="{FF2B5EF4-FFF2-40B4-BE49-F238E27FC236}">
                <a16:creationId xmlns:a16="http://schemas.microsoft.com/office/drawing/2014/main" id="{29402192-E78F-4FE7-9D0F-C84EB6B1D2CB}"/>
              </a:ext>
            </a:extLst>
          </p:cNvPr>
          <p:cNvSpPr/>
          <p:nvPr/>
        </p:nvSpPr>
        <p:spPr bwMode="gray">
          <a:xfrm flipV="1">
            <a:off x="10635706" y="3815753"/>
            <a:ext cx="389043" cy="476614"/>
          </a:xfrm>
          <a:custGeom>
            <a:avLst/>
            <a:gdLst>
              <a:gd name="connsiteX0" fmla="*/ 347828 w 389043"/>
              <a:gd name="connsiteY0" fmla="*/ 476614 h 476614"/>
              <a:gd name="connsiteX1" fmla="*/ 389042 w 389043"/>
              <a:gd name="connsiteY1" fmla="*/ 452379 h 476614"/>
              <a:gd name="connsiteX2" fmla="*/ 389043 w 389043"/>
              <a:gd name="connsiteY2" fmla="*/ 297864 h 476614"/>
              <a:gd name="connsiteX3" fmla="*/ 387397 w 389043"/>
              <a:gd name="connsiteY3" fmla="*/ 280229 h 476614"/>
              <a:gd name="connsiteX4" fmla="*/ 386368 w 389043"/>
              <a:gd name="connsiteY4" fmla="*/ 268690 h 476614"/>
              <a:gd name="connsiteX5" fmla="*/ 373875 w 389043"/>
              <a:gd name="connsiteY5" fmla="*/ 227855 h 476614"/>
              <a:gd name="connsiteX6" fmla="*/ 335268 w 389043"/>
              <a:gd name="connsiteY6" fmla="*/ 189965 h 476614"/>
              <a:gd name="connsiteX7" fmla="*/ 0 w 389043"/>
              <a:gd name="connsiteY7" fmla="*/ 0 h 476614"/>
              <a:gd name="connsiteX8" fmla="*/ 0 w 389043"/>
              <a:gd name="connsiteY8" fmla="*/ 92762 h 476614"/>
              <a:gd name="connsiteX9" fmla="*/ 293394 w 389043"/>
              <a:gd name="connsiteY9" fmla="*/ 260949 h 476614"/>
              <a:gd name="connsiteX10" fmla="*/ 304974 w 389043"/>
              <a:gd name="connsiteY10" fmla="*/ 281007 h 476614"/>
              <a:gd name="connsiteX11" fmla="*/ 304958 w 389043"/>
              <a:gd name="connsiteY11" fmla="*/ 283597 h 476614"/>
              <a:gd name="connsiteX12" fmla="*/ 304641 w 389043"/>
              <a:gd name="connsiteY12" fmla="*/ 282264 h 476614"/>
              <a:gd name="connsiteX13" fmla="*/ 306614 w 389043"/>
              <a:gd name="connsiteY13" fmla="*/ 452379 h 476614"/>
              <a:gd name="connsiteX14" fmla="*/ 309852 w 389043"/>
              <a:gd name="connsiteY14" fmla="*/ 461812 h 476614"/>
              <a:gd name="connsiteX15" fmla="*/ 347828 w 389043"/>
              <a:gd name="connsiteY15" fmla="*/ 476614 h 47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9043" h="476614">
                <a:moveTo>
                  <a:pt x="347828" y="476614"/>
                </a:moveTo>
                <a:cubicBezTo>
                  <a:pt x="370590" y="476614"/>
                  <a:pt x="389042" y="465764"/>
                  <a:pt x="389042" y="452379"/>
                </a:cubicBezTo>
                <a:cubicBezTo>
                  <a:pt x="389042" y="400874"/>
                  <a:pt x="389043" y="349369"/>
                  <a:pt x="389043" y="297864"/>
                </a:cubicBezTo>
                <a:lnTo>
                  <a:pt x="387397" y="280229"/>
                </a:lnTo>
                <a:cubicBezTo>
                  <a:pt x="386951" y="275367"/>
                  <a:pt x="388621" y="277419"/>
                  <a:pt x="386368" y="268690"/>
                </a:cubicBezTo>
                <a:cubicBezTo>
                  <a:pt x="385844" y="258021"/>
                  <a:pt x="385523" y="248586"/>
                  <a:pt x="373875" y="227855"/>
                </a:cubicBezTo>
                <a:cubicBezTo>
                  <a:pt x="358344" y="200214"/>
                  <a:pt x="348853" y="200795"/>
                  <a:pt x="335268" y="189965"/>
                </a:cubicBezTo>
                <a:lnTo>
                  <a:pt x="0" y="0"/>
                </a:lnTo>
                <a:lnTo>
                  <a:pt x="0" y="92762"/>
                </a:lnTo>
                <a:lnTo>
                  <a:pt x="293394" y="260949"/>
                </a:lnTo>
                <a:cubicBezTo>
                  <a:pt x="302728" y="268500"/>
                  <a:pt x="303102" y="269149"/>
                  <a:pt x="304974" y="281007"/>
                </a:cubicBezTo>
                <a:cubicBezTo>
                  <a:pt x="304969" y="281870"/>
                  <a:pt x="304963" y="282734"/>
                  <a:pt x="304958" y="283597"/>
                </a:cubicBezTo>
                <a:lnTo>
                  <a:pt x="304641" y="282264"/>
                </a:lnTo>
                <a:cubicBezTo>
                  <a:pt x="305298" y="338969"/>
                  <a:pt x="305956" y="395674"/>
                  <a:pt x="306614" y="452379"/>
                </a:cubicBezTo>
                <a:cubicBezTo>
                  <a:pt x="306614" y="455725"/>
                  <a:pt x="307767" y="458913"/>
                  <a:pt x="309852" y="461812"/>
                </a:cubicBezTo>
                <a:cubicBezTo>
                  <a:pt x="316109" y="470511"/>
                  <a:pt x="330756" y="476614"/>
                  <a:pt x="347828" y="476614"/>
                </a:cubicBezTo>
                <a:close/>
              </a:path>
            </a:pathLst>
          </a:custGeom>
          <a:gradFill flip="none" rotWithShape="1">
            <a:gsLst>
              <a:gs pos="44000">
                <a:schemeClr val="accent2">
                  <a:lumMod val="0"/>
                  <a:lumOff val="100000"/>
                </a:schemeClr>
              </a:gs>
              <a:gs pos="36000">
                <a:schemeClr val="accent4"/>
              </a:gs>
            </a:gsLst>
            <a:lin ang="72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85" name="Freeform: Shape 784">
            <a:extLst>
              <a:ext uri="{FF2B5EF4-FFF2-40B4-BE49-F238E27FC236}">
                <a16:creationId xmlns:a16="http://schemas.microsoft.com/office/drawing/2014/main" id="{F5DD6C7D-5235-4A1E-88FD-90B6713699AB}"/>
              </a:ext>
            </a:extLst>
          </p:cNvPr>
          <p:cNvSpPr/>
          <p:nvPr/>
        </p:nvSpPr>
        <p:spPr bwMode="gray">
          <a:xfrm rot="7200000" flipH="1" flipV="1">
            <a:off x="8270738" y="2418626"/>
            <a:ext cx="105666" cy="304717"/>
          </a:xfrm>
          <a:custGeom>
            <a:avLst/>
            <a:gdLst>
              <a:gd name="connsiteX0" fmla="*/ 90499 w 105666"/>
              <a:gd name="connsiteY0" fmla="*/ 55958 h 304717"/>
              <a:gd name="connsiteX1" fmla="*/ 102991 w 105666"/>
              <a:gd name="connsiteY1" fmla="*/ 96793 h 304717"/>
              <a:gd name="connsiteX2" fmla="*/ 104020 w 105666"/>
              <a:gd name="connsiteY2" fmla="*/ 108332 h 304717"/>
              <a:gd name="connsiteX3" fmla="*/ 105666 w 105666"/>
              <a:gd name="connsiteY3" fmla="*/ 280482 h 304717"/>
              <a:gd name="connsiteX4" fmla="*/ 64452 w 105666"/>
              <a:gd name="connsiteY4" fmla="*/ 304717 h 304717"/>
              <a:gd name="connsiteX5" fmla="*/ 26476 w 105666"/>
              <a:gd name="connsiteY5" fmla="*/ 289915 h 304717"/>
              <a:gd name="connsiteX6" fmla="*/ 23237 w 105666"/>
              <a:gd name="connsiteY6" fmla="*/ 280482 h 304717"/>
              <a:gd name="connsiteX7" fmla="*/ 21264 w 105666"/>
              <a:gd name="connsiteY7" fmla="*/ 110366 h 304717"/>
              <a:gd name="connsiteX8" fmla="*/ 21581 w 105666"/>
              <a:gd name="connsiteY8" fmla="*/ 111700 h 304717"/>
              <a:gd name="connsiteX9" fmla="*/ 21598 w 105666"/>
              <a:gd name="connsiteY9" fmla="*/ 109110 h 304717"/>
              <a:gd name="connsiteX10" fmla="*/ 10018 w 105666"/>
              <a:gd name="connsiteY10" fmla="*/ 89052 h 304717"/>
              <a:gd name="connsiteX11" fmla="*/ 0 w 105666"/>
              <a:gd name="connsiteY11" fmla="*/ 83280 h 304717"/>
              <a:gd name="connsiteX12" fmla="*/ 20336 w 105666"/>
              <a:gd name="connsiteY12" fmla="*/ 0 h 304717"/>
              <a:gd name="connsiteX13" fmla="*/ 51892 w 105666"/>
              <a:gd name="connsiteY13" fmla="*/ 18067 h 304717"/>
              <a:gd name="connsiteX14" fmla="*/ 90499 w 105666"/>
              <a:gd name="connsiteY14" fmla="*/ 55958 h 304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666" h="304717">
                <a:moveTo>
                  <a:pt x="90499" y="55958"/>
                </a:moveTo>
                <a:cubicBezTo>
                  <a:pt x="102147" y="76689"/>
                  <a:pt x="102468" y="86123"/>
                  <a:pt x="102991" y="96793"/>
                </a:cubicBezTo>
                <a:cubicBezTo>
                  <a:pt x="105245" y="105522"/>
                  <a:pt x="103574" y="103470"/>
                  <a:pt x="104020" y="108332"/>
                </a:cubicBezTo>
                <a:cubicBezTo>
                  <a:pt x="104569" y="165716"/>
                  <a:pt x="105118" y="223098"/>
                  <a:pt x="105666" y="280482"/>
                </a:cubicBezTo>
                <a:cubicBezTo>
                  <a:pt x="105666" y="293867"/>
                  <a:pt x="87214" y="304717"/>
                  <a:pt x="64452" y="304717"/>
                </a:cubicBezTo>
                <a:cubicBezTo>
                  <a:pt x="47380" y="304717"/>
                  <a:pt x="32733" y="298613"/>
                  <a:pt x="26476" y="289915"/>
                </a:cubicBezTo>
                <a:cubicBezTo>
                  <a:pt x="24390" y="287015"/>
                  <a:pt x="23237" y="283828"/>
                  <a:pt x="23237" y="280482"/>
                </a:cubicBezTo>
                <a:cubicBezTo>
                  <a:pt x="22580" y="223777"/>
                  <a:pt x="21922" y="167072"/>
                  <a:pt x="21264" y="110366"/>
                </a:cubicBezTo>
                <a:lnTo>
                  <a:pt x="21581" y="111700"/>
                </a:lnTo>
                <a:cubicBezTo>
                  <a:pt x="21587" y="110837"/>
                  <a:pt x="21592" y="109973"/>
                  <a:pt x="21598" y="109110"/>
                </a:cubicBezTo>
                <a:cubicBezTo>
                  <a:pt x="19726" y="97252"/>
                  <a:pt x="19351" y="96602"/>
                  <a:pt x="10018" y="89052"/>
                </a:cubicBezTo>
                <a:lnTo>
                  <a:pt x="0" y="83280"/>
                </a:lnTo>
                <a:lnTo>
                  <a:pt x="20336" y="0"/>
                </a:lnTo>
                <a:lnTo>
                  <a:pt x="51892" y="18067"/>
                </a:lnTo>
                <a:cubicBezTo>
                  <a:pt x="65477" y="28897"/>
                  <a:pt x="74968" y="28317"/>
                  <a:pt x="90499" y="55958"/>
                </a:cubicBezTo>
                <a:close/>
              </a:path>
            </a:pathLst>
          </a:custGeom>
          <a:gradFill flip="none" rotWithShape="1">
            <a:gsLst>
              <a:gs pos="67000">
                <a:schemeClr val="accent2">
                  <a:lumMod val="0"/>
                  <a:lumOff val="100000"/>
                </a:schemeClr>
              </a:gs>
              <a:gs pos="32000">
                <a:schemeClr val="accent4"/>
              </a:gs>
            </a:gsLst>
            <a:lin ang="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nvGrpSpPr>
          <p:cNvPr id="511" name="Group 510">
            <a:extLst>
              <a:ext uri="{FF2B5EF4-FFF2-40B4-BE49-F238E27FC236}">
                <a16:creationId xmlns:a16="http://schemas.microsoft.com/office/drawing/2014/main" id="{02C6A43B-43F5-4CF5-AEC1-93C14C6311C7}"/>
              </a:ext>
            </a:extLst>
          </p:cNvPr>
          <p:cNvGrpSpPr/>
          <p:nvPr/>
        </p:nvGrpSpPr>
        <p:grpSpPr bwMode="gray">
          <a:xfrm flipH="1">
            <a:off x="8376671" y="2453175"/>
            <a:ext cx="604253" cy="609908"/>
            <a:chOff x="10313523" y="2366037"/>
            <a:chExt cx="753193" cy="760242"/>
          </a:xfrm>
        </p:grpSpPr>
        <p:sp>
          <p:nvSpPr>
            <p:cNvPr id="520" name="Freeform: Shape 519">
              <a:extLst>
                <a:ext uri="{FF2B5EF4-FFF2-40B4-BE49-F238E27FC236}">
                  <a16:creationId xmlns:a16="http://schemas.microsoft.com/office/drawing/2014/main" id="{4B01050C-E899-4367-B778-A8F12292A155}"/>
                </a:ext>
              </a:extLst>
            </p:cNvPr>
            <p:cNvSpPr/>
            <p:nvPr/>
          </p:nvSpPr>
          <p:spPr bwMode="gray">
            <a:xfrm rot="3600000" flipH="1">
              <a:off x="10730531" y="2507738"/>
              <a:ext cx="477885" cy="194484"/>
            </a:xfrm>
            <a:custGeom>
              <a:avLst/>
              <a:gdLst>
                <a:gd name="connsiteX0" fmla="*/ 1 w 666684"/>
                <a:gd name="connsiteY0" fmla="*/ 251989 h 271320"/>
                <a:gd name="connsiteX1" fmla="*/ 1 w 666684"/>
                <a:gd name="connsiteY1" fmla="*/ 251980 h 271320"/>
                <a:gd name="connsiteX2" fmla="*/ 0 w 666684"/>
                <a:gd name="connsiteY2" fmla="*/ 251984 h 271320"/>
                <a:gd name="connsiteX3" fmla="*/ 661514 w 666684"/>
                <a:gd name="connsiteY3" fmla="*/ 213219 h 271320"/>
                <a:gd name="connsiteX4" fmla="*/ 659911 w 666684"/>
                <a:gd name="connsiteY4" fmla="*/ 201201 h 271320"/>
                <a:gd name="connsiteX5" fmla="*/ 333342 w 666684"/>
                <a:gd name="connsiteY5" fmla="*/ 0 h 271320"/>
                <a:gd name="connsiteX6" fmla="*/ 6773 w 666684"/>
                <a:gd name="connsiteY6" fmla="*/ 201201 h 271320"/>
                <a:gd name="connsiteX7" fmla="*/ 5166 w 666684"/>
                <a:gd name="connsiteY7" fmla="*/ 213245 h 271320"/>
                <a:gd name="connsiteX8" fmla="*/ 6773 w 666684"/>
                <a:gd name="connsiteY8" fmla="*/ 203953 h 271320"/>
                <a:gd name="connsiteX9" fmla="*/ 333343 w 666684"/>
                <a:gd name="connsiteY9" fmla="*/ 48773 h 271320"/>
                <a:gd name="connsiteX10" fmla="*/ 659911 w 666684"/>
                <a:gd name="connsiteY10" fmla="*/ 203953 h 271320"/>
                <a:gd name="connsiteX11" fmla="*/ 666684 w 666684"/>
                <a:gd name="connsiteY11" fmla="*/ 271316 h 271320"/>
                <a:gd name="connsiteX12" fmla="*/ 666684 w 666684"/>
                <a:gd name="connsiteY12" fmla="*/ 271313 h 271320"/>
                <a:gd name="connsiteX13" fmla="*/ 666684 w 666684"/>
                <a:gd name="connsiteY13" fmla="*/ 271320 h 271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684" h="271320">
                  <a:moveTo>
                    <a:pt x="1" y="251989"/>
                  </a:moveTo>
                  <a:lnTo>
                    <a:pt x="1" y="251980"/>
                  </a:lnTo>
                  <a:lnTo>
                    <a:pt x="0" y="251984"/>
                  </a:lnTo>
                  <a:close/>
                  <a:moveTo>
                    <a:pt x="661514" y="213219"/>
                  </a:moveTo>
                  <a:lnTo>
                    <a:pt x="659911" y="201201"/>
                  </a:lnTo>
                  <a:cubicBezTo>
                    <a:pt x="628828" y="86376"/>
                    <a:pt x="494429" y="0"/>
                    <a:pt x="333342" y="0"/>
                  </a:cubicBezTo>
                  <a:cubicBezTo>
                    <a:pt x="172255" y="0"/>
                    <a:pt x="37855" y="86376"/>
                    <a:pt x="6773" y="201201"/>
                  </a:cubicBezTo>
                  <a:lnTo>
                    <a:pt x="5166" y="213245"/>
                  </a:lnTo>
                  <a:lnTo>
                    <a:pt x="6773" y="203953"/>
                  </a:lnTo>
                  <a:cubicBezTo>
                    <a:pt x="37856" y="115391"/>
                    <a:pt x="172255" y="48773"/>
                    <a:pt x="333343" y="48773"/>
                  </a:cubicBezTo>
                  <a:cubicBezTo>
                    <a:pt x="494430" y="48773"/>
                    <a:pt x="628829" y="115391"/>
                    <a:pt x="659911" y="203953"/>
                  </a:cubicBezTo>
                  <a:close/>
                  <a:moveTo>
                    <a:pt x="666684" y="271316"/>
                  </a:moveTo>
                  <a:lnTo>
                    <a:pt x="666684" y="271313"/>
                  </a:lnTo>
                  <a:lnTo>
                    <a:pt x="666684" y="271320"/>
                  </a:lnTo>
                  <a:close/>
                </a:path>
              </a:pathLst>
            </a:custGeom>
            <a:gradFill>
              <a:gsLst>
                <a:gs pos="85000">
                  <a:schemeClr val="bg1"/>
                </a:gs>
                <a:gs pos="37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521" name="Freeform: Shape 520">
              <a:extLst>
                <a:ext uri="{FF2B5EF4-FFF2-40B4-BE49-F238E27FC236}">
                  <a16:creationId xmlns:a16="http://schemas.microsoft.com/office/drawing/2014/main" id="{ADD6F63E-DECF-4B2B-ACEC-BD5B9408A5FC}"/>
                </a:ext>
              </a:extLst>
            </p:cNvPr>
            <p:cNvSpPr/>
            <p:nvPr/>
          </p:nvSpPr>
          <p:spPr bwMode="gray">
            <a:xfrm rot="14400000">
              <a:off x="10524098" y="2423514"/>
              <a:ext cx="477885" cy="601301"/>
            </a:xfrm>
            <a:custGeom>
              <a:avLst/>
              <a:gdLst>
                <a:gd name="connsiteX0" fmla="*/ 666683 w 666683"/>
                <a:gd name="connsiteY0" fmla="*/ 0 h 838859"/>
                <a:gd name="connsiteX1" fmla="*/ 666683 w 666683"/>
                <a:gd name="connsiteY1" fmla="*/ 169071 h 838859"/>
                <a:gd name="connsiteX2" fmla="*/ 666683 w 666683"/>
                <a:gd name="connsiteY2" fmla="*/ 202211 h 838859"/>
                <a:gd name="connsiteX3" fmla="*/ 666683 w 666683"/>
                <a:gd name="connsiteY3" fmla="*/ 349050 h 838859"/>
                <a:gd name="connsiteX4" fmla="*/ 666683 w 666683"/>
                <a:gd name="connsiteY4" fmla="*/ 371282 h 838859"/>
                <a:gd name="connsiteX5" fmla="*/ 666683 w 666683"/>
                <a:gd name="connsiteY5" fmla="*/ 518120 h 838859"/>
                <a:gd name="connsiteX6" fmla="*/ 666683 w 666683"/>
                <a:gd name="connsiteY6" fmla="*/ 523574 h 838859"/>
                <a:gd name="connsiteX7" fmla="*/ 666683 w 666683"/>
                <a:gd name="connsiteY7" fmla="*/ 551260 h 838859"/>
                <a:gd name="connsiteX8" fmla="*/ 666683 w 666683"/>
                <a:gd name="connsiteY8" fmla="*/ 644511 h 838859"/>
                <a:gd name="connsiteX9" fmla="*/ 333342 w 666683"/>
                <a:gd name="connsiteY9" fmla="*/ 838859 h 838859"/>
                <a:gd name="connsiteX10" fmla="*/ 0 w 666683"/>
                <a:gd name="connsiteY10" fmla="*/ 644511 h 838859"/>
                <a:gd name="connsiteX11" fmla="*/ 0 w 666683"/>
                <a:gd name="connsiteY11" fmla="*/ 551260 h 838859"/>
                <a:gd name="connsiteX12" fmla="*/ 0 w 666683"/>
                <a:gd name="connsiteY12" fmla="*/ 523574 h 838859"/>
                <a:gd name="connsiteX13" fmla="*/ 0 w 666683"/>
                <a:gd name="connsiteY13" fmla="*/ 518120 h 838859"/>
                <a:gd name="connsiteX14" fmla="*/ 0 w 666683"/>
                <a:gd name="connsiteY14" fmla="*/ 371282 h 838859"/>
                <a:gd name="connsiteX15" fmla="*/ 0 w 666683"/>
                <a:gd name="connsiteY15" fmla="*/ 349050 h 838859"/>
                <a:gd name="connsiteX16" fmla="*/ 0 w 666683"/>
                <a:gd name="connsiteY16" fmla="*/ 202211 h 838859"/>
                <a:gd name="connsiteX17" fmla="*/ 0 w 666683"/>
                <a:gd name="connsiteY17" fmla="*/ 169071 h 838859"/>
                <a:gd name="connsiteX18" fmla="*/ 0 w 666683"/>
                <a:gd name="connsiteY18" fmla="*/ 0 h 838859"/>
                <a:gd name="connsiteX19" fmla="*/ 333342 w 666683"/>
                <a:gd name="connsiteY19" fmla="*/ 194348 h 838859"/>
                <a:gd name="connsiteX20" fmla="*/ 666683 w 666683"/>
                <a:gd name="connsiteY20" fmla="*/ 0 h 838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6683" h="838859">
                  <a:moveTo>
                    <a:pt x="666683" y="0"/>
                  </a:moveTo>
                  <a:lnTo>
                    <a:pt x="666683" y="169071"/>
                  </a:lnTo>
                  <a:lnTo>
                    <a:pt x="666683" y="202211"/>
                  </a:lnTo>
                  <a:lnTo>
                    <a:pt x="666683" y="349050"/>
                  </a:lnTo>
                  <a:lnTo>
                    <a:pt x="666683" y="371282"/>
                  </a:lnTo>
                  <a:lnTo>
                    <a:pt x="666683" y="518120"/>
                  </a:lnTo>
                  <a:lnTo>
                    <a:pt x="666683" y="523574"/>
                  </a:lnTo>
                  <a:lnTo>
                    <a:pt x="666683" y="551260"/>
                  </a:lnTo>
                  <a:lnTo>
                    <a:pt x="666683" y="644511"/>
                  </a:lnTo>
                  <a:cubicBezTo>
                    <a:pt x="666683" y="751847"/>
                    <a:pt x="517442" y="838859"/>
                    <a:pt x="333342" y="838859"/>
                  </a:cubicBezTo>
                  <a:cubicBezTo>
                    <a:pt x="149242" y="838859"/>
                    <a:pt x="0" y="751847"/>
                    <a:pt x="0" y="644511"/>
                  </a:cubicBezTo>
                  <a:lnTo>
                    <a:pt x="0" y="551260"/>
                  </a:lnTo>
                  <a:lnTo>
                    <a:pt x="0" y="523574"/>
                  </a:lnTo>
                  <a:lnTo>
                    <a:pt x="0" y="518120"/>
                  </a:lnTo>
                  <a:lnTo>
                    <a:pt x="0" y="371282"/>
                  </a:lnTo>
                  <a:lnTo>
                    <a:pt x="0" y="349050"/>
                  </a:lnTo>
                  <a:lnTo>
                    <a:pt x="0" y="202211"/>
                  </a:lnTo>
                  <a:lnTo>
                    <a:pt x="0" y="169071"/>
                  </a:lnTo>
                  <a:lnTo>
                    <a:pt x="0" y="0"/>
                  </a:lnTo>
                  <a:cubicBezTo>
                    <a:pt x="0" y="107336"/>
                    <a:pt x="149242" y="194348"/>
                    <a:pt x="333342" y="194348"/>
                  </a:cubicBezTo>
                  <a:cubicBezTo>
                    <a:pt x="517442" y="194348"/>
                    <a:pt x="666683" y="107336"/>
                    <a:pt x="666683" y="0"/>
                  </a:cubicBezTo>
                  <a:close/>
                </a:path>
              </a:pathLst>
            </a:custGeom>
            <a:gradFill>
              <a:gsLst>
                <a:gs pos="0">
                  <a:schemeClr val="accent4"/>
                </a:gs>
                <a:gs pos="54000">
                  <a:schemeClr val="bg1"/>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522" name="Oval 386">
              <a:extLst>
                <a:ext uri="{FF2B5EF4-FFF2-40B4-BE49-F238E27FC236}">
                  <a16:creationId xmlns:a16="http://schemas.microsoft.com/office/drawing/2014/main" id="{895EB3CE-FD2E-4B8B-97B2-2B47BBD341EB}"/>
                </a:ext>
              </a:extLst>
            </p:cNvPr>
            <p:cNvSpPr/>
            <p:nvPr/>
          </p:nvSpPr>
          <p:spPr bwMode="gray">
            <a:xfrm rot="14400000">
              <a:off x="10241476" y="2720441"/>
              <a:ext cx="477885" cy="333791"/>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13000">
                  <a:schemeClr val="accent2">
                    <a:lumMod val="0"/>
                    <a:lumOff val="100000"/>
                  </a:schemeClr>
                </a:gs>
                <a:gs pos="59000">
                  <a:schemeClr val="accent4"/>
                </a:gs>
              </a:gsLst>
              <a:path path="circle">
                <a:fillToRect l="100000" t="100000"/>
              </a:path>
              <a:tileRect r="-100000" b="-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nvGrpSpPr>
            <p:cNvPr id="523" name="Group 522">
              <a:extLst>
                <a:ext uri="{FF2B5EF4-FFF2-40B4-BE49-F238E27FC236}">
                  <a16:creationId xmlns:a16="http://schemas.microsoft.com/office/drawing/2014/main" id="{16D5E5D7-F62B-4D00-B212-D5EB8B1F8173}"/>
                </a:ext>
              </a:extLst>
            </p:cNvPr>
            <p:cNvGrpSpPr/>
            <p:nvPr/>
          </p:nvGrpSpPr>
          <p:grpSpPr bwMode="gray">
            <a:xfrm>
              <a:off x="10522638" y="2399456"/>
              <a:ext cx="480805" cy="649417"/>
              <a:chOff x="10522996" y="2397404"/>
              <a:chExt cx="480805" cy="649417"/>
            </a:xfrm>
          </p:grpSpPr>
          <p:sp>
            <p:nvSpPr>
              <p:cNvPr id="524" name="Freeform: Shape 523">
                <a:extLst>
                  <a:ext uri="{FF2B5EF4-FFF2-40B4-BE49-F238E27FC236}">
                    <a16:creationId xmlns:a16="http://schemas.microsoft.com/office/drawing/2014/main" id="{92A5968D-FAA5-4C37-9933-8AB9DA8800AB}"/>
                  </a:ext>
                </a:extLst>
              </p:cNvPr>
              <p:cNvSpPr/>
              <p:nvPr/>
            </p:nvSpPr>
            <p:spPr bwMode="gray">
              <a:xfrm rot="14400000" flipH="1">
                <a:off x="10382643" y="2690504"/>
                <a:ext cx="496670" cy="215963"/>
              </a:xfrm>
              <a:custGeom>
                <a:avLst/>
                <a:gdLst>
                  <a:gd name="connsiteX0" fmla="*/ 105810 w 4795162"/>
                  <a:gd name="connsiteY0" fmla="*/ 0 h 2085043"/>
                  <a:gd name="connsiteX1" fmla="*/ 105810 w 4795162"/>
                  <a:gd name="connsiteY1" fmla="*/ 381196 h 2085043"/>
                  <a:gd name="connsiteX2" fmla="*/ 2163258 w 4795162"/>
                  <a:gd name="connsiteY2" fmla="*/ 1721890 h 2085043"/>
                  <a:gd name="connsiteX3" fmla="*/ 2397578 w 4795162"/>
                  <a:gd name="connsiteY3" fmla="*/ 1728848 h 2085043"/>
                  <a:gd name="connsiteX4" fmla="*/ 4689350 w 4795162"/>
                  <a:gd name="connsiteY4" fmla="*/ 381196 h 2085043"/>
                  <a:gd name="connsiteX5" fmla="*/ 4689350 w 4795162"/>
                  <a:gd name="connsiteY5" fmla="*/ 3388 h 2085043"/>
                  <a:gd name="connsiteX6" fmla="*/ 4712116 w 4795162"/>
                  <a:gd name="connsiteY6" fmla="*/ 45522 h 2085043"/>
                  <a:gd name="connsiteX7" fmla="*/ 4795162 w 4795162"/>
                  <a:gd name="connsiteY7" fmla="*/ 414723 h 2085043"/>
                  <a:gd name="connsiteX8" fmla="*/ 4795162 w 4795162"/>
                  <a:gd name="connsiteY8" fmla="*/ 828519 h 2085043"/>
                  <a:gd name="connsiteX9" fmla="*/ 4760114 w 4795162"/>
                  <a:gd name="connsiteY9" fmla="*/ 962408 h 2085043"/>
                  <a:gd name="connsiteX10" fmla="*/ 2397584 w 4795162"/>
                  <a:gd name="connsiteY10" fmla="*/ 2085043 h 2085043"/>
                  <a:gd name="connsiteX11" fmla="*/ 35048 w 4795162"/>
                  <a:gd name="connsiteY11" fmla="*/ 962408 h 2085043"/>
                  <a:gd name="connsiteX12" fmla="*/ 2 w 4795162"/>
                  <a:gd name="connsiteY12" fmla="*/ 828526 h 2085043"/>
                  <a:gd name="connsiteX13" fmla="*/ 2 w 4795162"/>
                  <a:gd name="connsiteY13" fmla="*/ 414735 h 2085043"/>
                  <a:gd name="connsiteX14" fmla="*/ 0 w 4795162"/>
                  <a:gd name="connsiteY14" fmla="*/ 414723 h 2085043"/>
                  <a:gd name="connsiteX15" fmla="*/ 48710 w 4795162"/>
                  <a:gd name="connsiteY15" fmla="*/ 130585 h 2085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95162" h="2085043">
                    <a:moveTo>
                      <a:pt x="105810" y="0"/>
                    </a:moveTo>
                    <a:lnTo>
                      <a:pt x="105810" y="381196"/>
                    </a:lnTo>
                    <a:cubicBezTo>
                      <a:pt x="105810" y="1078966"/>
                      <a:pt x="1007620" y="1652877"/>
                      <a:pt x="2163258" y="1721890"/>
                    </a:cubicBezTo>
                    <a:cubicBezTo>
                      <a:pt x="2240302" y="1726491"/>
                      <a:pt x="2318472" y="1728848"/>
                      <a:pt x="2397578" y="1728848"/>
                    </a:cubicBezTo>
                    <a:cubicBezTo>
                      <a:pt x="3663290" y="1728848"/>
                      <a:pt x="4689350" y="1125484"/>
                      <a:pt x="4689350" y="381196"/>
                    </a:cubicBezTo>
                    <a:lnTo>
                      <a:pt x="4689350" y="3388"/>
                    </a:lnTo>
                    <a:lnTo>
                      <a:pt x="4712116" y="45522"/>
                    </a:lnTo>
                    <a:cubicBezTo>
                      <a:pt x="4766268" y="163197"/>
                      <a:pt x="4795162" y="286976"/>
                      <a:pt x="4795162" y="414723"/>
                    </a:cubicBezTo>
                    <a:lnTo>
                      <a:pt x="4795162" y="828519"/>
                    </a:lnTo>
                    <a:lnTo>
                      <a:pt x="4760114" y="962408"/>
                    </a:lnTo>
                    <a:cubicBezTo>
                      <a:pt x="4535250" y="1603097"/>
                      <a:pt x="3562956" y="2085043"/>
                      <a:pt x="2397584" y="2085043"/>
                    </a:cubicBezTo>
                    <a:cubicBezTo>
                      <a:pt x="1232212" y="2085043"/>
                      <a:pt x="259914" y="1603097"/>
                      <a:pt x="35048" y="962408"/>
                    </a:cubicBezTo>
                    <a:lnTo>
                      <a:pt x="2" y="828526"/>
                    </a:lnTo>
                    <a:lnTo>
                      <a:pt x="2" y="414735"/>
                    </a:lnTo>
                    <a:lnTo>
                      <a:pt x="0" y="414723"/>
                    </a:lnTo>
                    <a:cubicBezTo>
                      <a:pt x="0" y="317392"/>
                      <a:pt x="16772" y="222364"/>
                      <a:pt x="48710" y="130585"/>
                    </a:cubicBezTo>
                    <a:close/>
                  </a:path>
                </a:pathLst>
              </a:custGeom>
              <a:gradFill>
                <a:gsLst>
                  <a:gs pos="83000">
                    <a:schemeClr val="accent4"/>
                  </a:gs>
                  <a:gs pos="54000">
                    <a:schemeClr val="bg1"/>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525" name="Freeform: Shape 524">
                <a:extLst>
                  <a:ext uri="{FF2B5EF4-FFF2-40B4-BE49-F238E27FC236}">
                    <a16:creationId xmlns:a16="http://schemas.microsoft.com/office/drawing/2014/main" id="{7A6F2B08-25FF-4EE3-9998-BAE02A3109F4}"/>
                  </a:ext>
                </a:extLst>
              </p:cNvPr>
              <p:cNvSpPr/>
              <p:nvPr/>
            </p:nvSpPr>
            <p:spPr bwMode="gray">
              <a:xfrm rot="14400000" flipH="1">
                <a:off x="10647485" y="2537757"/>
                <a:ext cx="496670" cy="215963"/>
              </a:xfrm>
              <a:custGeom>
                <a:avLst/>
                <a:gdLst>
                  <a:gd name="connsiteX0" fmla="*/ 105810 w 4795162"/>
                  <a:gd name="connsiteY0" fmla="*/ 0 h 2085043"/>
                  <a:gd name="connsiteX1" fmla="*/ 105810 w 4795162"/>
                  <a:gd name="connsiteY1" fmla="*/ 381196 h 2085043"/>
                  <a:gd name="connsiteX2" fmla="*/ 2163258 w 4795162"/>
                  <a:gd name="connsiteY2" fmla="*/ 1721890 h 2085043"/>
                  <a:gd name="connsiteX3" fmla="*/ 2397578 w 4795162"/>
                  <a:gd name="connsiteY3" fmla="*/ 1728848 h 2085043"/>
                  <a:gd name="connsiteX4" fmla="*/ 4689350 w 4795162"/>
                  <a:gd name="connsiteY4" fmla="*/ 381196 h 2085043"/>
                  <a:gd name="connsiteX5" fmla="*/ 4689350 w 4795162"/>
                  <a:gd name="connsiteY5" fmla="*/ 3388 h 2085043"/>
                  <a:gd name="connsiteX6" fmla="*/ 4712116 w 4795162"/>
                  <a:gd name="connsiteY6" fmla="*/ 45522 h 2085043"/>
                  <a:gd name="connsiteX7" fmla="*/ 4795162 w 4795162"/>
                  <a:gd name="connsiteY7" fmla="*/ 414723 h 2085043"/>
                  <a:gd name="connsiteX8" fmla="*/ 4795162 w 4795162"/>
                  <a:gd name="connsiteY8" fmla="*/ 828519 h 2085043"/>
                  <a:gd name="connsiteX9" fmla="*/ 4760114 w 4795162"/>
                  <a:gd name="connsiteY9" fmla="*/ 962408 h 2085043"/>
                  <a:gd name="connsiteX10" fmla="*/ 2397584 w 4795162"/>
                  <a:gd name="connsiteY10" fmla="*/ 2085043 h 2085043"/>
                  <a:gd name="connsiteX11" fmla="*/ 35048 w 4795162"/>
                  <a:gd name="connsiteY11" fmla="*/ 962408 h 2085043"/>
                  <a:gd name="connsiteX12" fmla="*/ 2 w 4795162"/>
                  <a:gd name="connsiteY12" fmla="*/ 828526 h 2085043"/>
                  <a:gd name="connsiteX13" fmla="*/ 2 w 4795162"/>
                  <a:gd name="connsiteY13" fmla="*/ 414735 h 2085043"/>
                  <a:gd name="connsiteX14" fmla="*/ 0 w 4795162"/>
                  <a:gd name="connsiteY14" fmla="*/ 414723 h 2085043"/>
                  <a:gd name="connsiteX15" fmla="*/ 48710 w 4795162"/>
                  <a:gd name="connsiteY15" fmla="*/ 130585 h 2085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95162" h="2085043">
                    <a:moveTo>
                      <a:pt x="105810" y="0"/>
                    </a:moveTo>
                    <a:lnTo>
                      <a:pt x="105810" y="381196"/>
                    </a:lnTo>
                    <a:cubicBezTo>
                      <a:pt x="105810" y="1078966"/>
                      <a:pt x="1007620" y="1652877"/>
                      <a:pt x="2163258" y="1721890"/>
                    </a:cubicBezTo>
                    <a:cubicBezTo>
                      <a:pt x="2240302" y="1726491"/>
                      <a:pt x="2318472" y="1728848"/>
                      <a:pt x="2397578" y="1728848"/>
                    </a:cubicBezTo>
                    <a:cubicBezTo>
                      <a:pt x="3663290" y="1728848"/>
                      <a:pt x="4689350" y="1125484"/>
                      <a:pt x="4689350" y="381196"/>
                    </a:cubicBezTo>
                    <a:lnTo>
                      <a:pt x="4689350" y="3388"/>
                    </a:lnTo>
                    <a:lnTo>
                      <a:pt x="4712116" y="45522"/>
                    </a:lnTo>
                    <a:cubicBezTo>
                      <a:pt x="4766268" y="163197"/>
                      <a:pt x="4795162" y="286976"/>
                      <a:pt x="4795162" y="414723"/>
                    </a:cubicBezTo>
                    <a:lnTo>
                      <a:pt x="4795162" y="828519"/>
                    </a:lnTo>
                    <a:lnTo>
                      <a:pt x="4760114" y="962408"/>
                    </a:lnTo>
                    <a:cubicBezTo>
                      <a:pt x="4535250" y="1603097"/>
                      <a:pt x="3562956" y="2085043"/>
                      <a:pt x="2397584" y="2085043"/>
                    </a:cubicBezTo>
                    <a:cubicBezTo>
                      <a:pt x="1232212" y="2085043"/>
                      <a:pt x="259914" y="1603097"/>
                      <a:pt x="35048" y="962408"/>
                    </a:cubicBezTo>
                    <a:lnTo>
                      <a:pt x="2" y="828526"/>
                    </a:lnTo>
                    <a:lnTo>
                      <a:pt x="2" y="414735"/>
                    </a:lnTo>
                    <a:lnTo>
                      <a:pt x="0" y="414723"/>
                    </a:lnTo>
                    <a:cubicBezTo>
                      <a:pt x="0" y="317392"/>
                      <a:pt x="16772" y="222364"/>
                      <a:pt x="48710" y="130585"/>
                    </a:cubicBezTo>
                    <a:close/>
                  </a:path>
                </a:pathLst>
              </a:custGeom>
              <a:gradFill>
                <a:gsLst>
                  <a:gs pos="83000">
                    <a:schemeClr val="accent4"/>
                  </a:gs>
                  <a:gs pos="54000">
                    <a:schemeClr val="bg1"/>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77" name="Freeform: Shape 776">
                <a:extLst>
                  <a:ext uri="{FF2B5EF4-FFF2-40B4-BE49-F238E27FC236}">
                    <a16:creationId xmlns:a16="http://schemas.microsoft.com/office/drawing/2014/main" id="{3BDDD7F8-1F7D-44C0-BC3A-6AB5AB6C18CF}"/>
                  </a:ext>
                </a:extLst>
              </p:cNvPr>
              <p:cNvSpPr/>
              <p:nvPr/>
            </p:nvSpPr>
            <p:spPr bwMode="gray">
              <a:xfrm rot="14400000" flipH="1">
                <a:off x="10515063" y="2614131"/>
                <a:ext cx="496670" cy="215963"/>
              </a:xfrm>
              <a:custGeom>
                <a:avLst/>
                <a:gdLst>
                  <a:gd name="connsiteX0" fmla="*/ 105810 w 4795162"/>
                  <a:gd name="connsiteY0" fmla="*/ 0 h 2085043"/>
                  <a:gd name="connsiteX1" fmla="*/ 105810 w 4795162"/>
                  <a:gd name="connsiteY1" fmla="*/ 381196 h 2085043"/>
                  <a:gd name="connsiteX2" fmla="*/ 2163258 w 4795162"/>
                  <a:gd name="connsiteY2" fmla="*/ 1721890 h 2085043"/>
                  <a:gd name="connsiteX3" fmla="*/ 2397578 w 4795162"/>
                  <a:gd name="connsiteY3" fmla="*/ 1728848 h 2085043"/>
                  <a:gd name="connsiteX4" fmla="*/ 4689350 w 4795162"/>
                  <a:gd name="connsiteY4" fmla="*/ 381196 h 2085043"/>
                  <a:gd name="connsiteX5" fmla="*/ 4689350 w 4795162"/>
                  <a:gd name="connsiteY5" fmla="*/ 3388 h 2085043"/>
                  <a:gd name="connsiteX6" fmla="*/ 4712116 w 4795162"/>
                  <a:gd name="connsiteY6" fmla="*/ 45522 h 2085043"/>
                  <a:gd name="connsiteX7" fmla="*/ 4795162 w 4795162"/>
                  <a:gd name="connsiteY7" fmla="*/ 414723 h 2085043"/>
                  <a:gd name="connsiteX8" fmla="*/ 4795162 w 4795162"/>
                  <a:gd name="connsiteY8" fmla="*/ 828519 h 2085043"/>
                  <a:gd name="connsiteX9" fmla="*/ 4760114 w 4795162"/>
                  <a:gd name="connsiteY9" fmla="*/ 962408 h 2085043"/>
                  <a:gd name="connsiteX10" fmla="*/ 2397584 w 4795162"/>
                  <a:gd name="connsiteY10" fmla="*/ 2085043 h 2085043"/>
                  <a:gd name="connsiteX11" fmla="*/ 35048 w 4795162"/>
                  <a:gd name="connsiteY11" fmla="*/ 962408 h 2085043"/>
                  <a:gd name="connsiteX12" fmla="*/ 2 w 4795162"/>
                  <a:gd name="connsiteY12" fmla="*/ 828526 h 2085043"/>
                  <a:gd name="connsiteX13" fmla="*/ 2 w 4795162"/>
                  <a:gd name="connsiteY13" fmla="*/ 414735 h 2085043"/>
                  <a:gd name="connsiteX14" fmla="*/ 0 w 4795162"/>
                  <a:gd name="connsiteY14" fmla="*/ 414723 h 2085043"/>
                  <a:gd name="connsiteX15" fmla="*/ 48710 w 4795162"/>
                  <a:gd name="connsiteY15" fmla="*/ 130585 h 2085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95162" h="2085043">
                    <a:moveTo>
                      <a:pt x="105810" y="0"/>
                    </a:moveTo>
                    <a:lnTo>
                      <a:pt x="105810" y="381196"/>
                    </a:lnTo>
                    <a:cubicBezTo>
                      <a:pt x="105810" y="1078966"/>
                      <a:pt x="1007620" y="1652877"/>
                      <a:pt x="2163258" y="1721890"/>
                    </a:cubicBezTo>
                    <a:cubicBezTo>
                      <a:pt x="2240302" y="1726491"/>
                      <a:pt x="2318472" y="1728848"/>
                      <a:pt x="2397578" y="1728848"/>
                    </a:cubicBezTo>
                    <a:cubicBezTo>
                      <a:pt x="3663290" y="1728848"/>
                      <a:pt x="4689350" y="1125484"/>
                      <a:pt x="4689350" y="381196"/>
                    </a:cubicBezTo>
                    <a:lnTo>
                      <a:pt x="4689350" y="3388"/>
                    </a:lnTo>
                    <a:lnTo>
                      <a:pt x="4712116" y="45522"/>
                    </a:lnTo>
                    <a:cubicBezTo>
                      <a:pt x="4766268" y="163197"/>
                      <a:pt x="4795162" y="286976"/>
                      <a:pt x="4795162" y="414723"/>
                    </a:cubicBezTo>
                    <a:lnTo>
                      <a:pt x="4795162" y="828519"/>
                    </a:lnTo>
                    <a:lnTo>
                      <a:pt x="4760114" y="962408"/>
                    </a:lnTo>
                    <a:cubicBezTo>
                      <a:pt x="4535250" y="1603097"/>
                      <a:pt x="3562956" y="2085043"/>
                      <a:pt x="2397584" y="2085043"/>
                    </a:cubicBezTo>
                    <a:cubicBezTo>
                      <a:pt x="1232212" y="2085043"/>
                      <a:pt x="259914" y="1603097"/>
                      <a:pt x="35048" y="962408"/>
                    </a:cubicBezTo>
                    <a:lnTo>
                      <a:pt x="2" y="828526"/>
                    </a:lnTo>
                    <a:lnTo>
                      <a:pt x="2" y="414735"/>
                    </a:lnTo>
                    <a:lnTo>
                      <a:pt x="0" y="414723"/>
                    </a:lnTo>
                    <a:cubicBezTo>
                      <a:pt x="0" y="317392"/>
                      <a:pt x="16772" y="222364"/>
                      <a:pt x="48710" y="130585"/>
                    </a:cubicBezTo>
                    <a:close/>
                  </a:path>
                </a:pathLst>
              </a:custGeom>
              <a:gradFill>
                <a:gsLst>
                  <a:gs pos="83000">
                    <a:schemeClr val="accent4"/>
                  </a:gs>
                  <a:gs pos="54000">
                    <a:schemeClr val="bg1"/>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grpSp>
        <p:nvGrpSpPr>
          <p:cNvPr id="759" name="Group 758">
            <a:extLst>
              <a:ext uri="{FF2B5EF4-FFF2-40B4-BE49-F238E27FC236}">
                <a16:creationId xmlns:a16="http://schemas.microsoft.com/office/drawing/2014/main" id="{73BCF62E-E11A-4DEE-9339-3D436DC54AFF}"/>
              </a:ext>
            </a:extLst>
          </p:cNvPr>
          <p:cNvGrpSpPr/>
          <p:nvPr/>
        </p:nvGrpSpPr>
        <p:grpSpPr bwMode="gray">
          <a:xfrm>
            <a:off x="8891252" y="2068068"/>
            <a:ext cx="850749" cy="1075325"/>
            <a:chOff x="-3475317" y="-510357"/>
            <a:chExt cx="4214695" cy="5327268"/>
          </a:xfrm>
        </p:grpSpPr>
        <p:sp>
          <p:nvSpPr>
            <p:cNvPr id="760" name="Freeform: Shape 759">
              <a:extLst>
                <a:ext uri="{FF2B5EF4-FFF2-40B4-BE49-F238E27FC236}">
                  <a16:creationId xmlns:a16="http://schemas.microsoft.com/office/drawing/2014/main" id="{0AA8E159-4341-4EE7-A468-3F5A1042E67A}"/>
                </a:ext>
              </a:extLst>
            </p:cNvPr>
            <p:cNvSpPr/>
            <p:nvPr/>
          </p:nvSpPr>
          <p:spPr bwMode="gray">
            <a:xfrm flipH="1" flipV="1">
              <a:off x="-3473353" y="-510357"/>
              <a:ext cx="4212730" cy="5285288"/>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212730" h="5285288">
                  <a:moveTo>
                    <a:pt x="1970713" y="5285252"/>
                  </a:moveTo>
                  <a:cubicBezTo>
                    <a:pt x="1942294" y="5285662"/>
                    <a:pt x="1917105" y="5282948"/>
                    <a:pt x="1859089" y="5257452"/>
                  </a:cubicBezTo>
                  <a:lnTo>
                    <a:pt x="1799088" y="5227600"/>
                  </a:lnTo>
                  <a:lnTo>
                    <a:pt x="257741" y="4344402"/>
                  </a:lnTo>
                  <a:cubicBezTo>
                    <a:pt x="190572" y="4290851"/>
                    <a:pt x="143642" y="4293725"/>
                    <a:pt x="66855" y="4157062"/>
                  </a:cubicBezTo>
                  <a:cubicBezTo>
                    <a:pt x="9264" y="4054564"/>
                    <a:pt x="7680" y="4007913"/>
                    <a:pt x="5085" y="3955159"/>
                  </a:cubicBezTo>
                  <a:lnTo>
                    <a:pt x="117" y="3898769"/>
                  </a:lnTo>
                  <a:cubicBezTo>
                    <a:pt x="78" y="3898549"/>
                    <a:pt x="39" y="3898326"/>
                    <a:pt x="0" y="3898107"/>
                  </a:cubicBezTo>
                  <a:cubicBezTo>
                    <a:pt x="1973" y="3436613"/>
                    <a:pt x="3947" y="2975119"/>
                    <a:pt x="5920" y="2513626"/>
                  </a:cubicBezTo>
                  <a:lnTo>
                    <a:pt x="9056" y="2484766"/>
                  </a:lnTo>
                  <a:cubicBezTo>
                    <a:pt x="27818" y="2431837"/>
                    <a:pt x="108945" y="2392022"/>
                    <a:pt x="206180" y="2392022"/>
                  </a:cubicBezTo>
                  <a:cubicBezTo>
                    <a:pt x="317306" y="2392022"/>
                    <a:pt x="407391" y="2444025"/>
                    <a:pt x="407391" y="2508175"/>
                  </a:cubicBezTo>
                  <a:cubicBezTo>
                    <a:pt x="406961" y="2529669"/>
                    <a:pt x="406530" y="2551164"/>
                    <a:pt x="406100" y="2572658"/>
                  </a:cubicBezTo>
                  <a:cubicBezTo>
                    <a:pt x="405529" y="2900762"/>
                    <a:pt x="408958" y="3674271"/>
                    <a:pt x="409165" y="3888049"/>
                  </a:cubicBezTo>
                  <a:lnTo>
                    <a:pt x="407598" y="3881457"/>
                  </a:lnTo>
                  <a:cubicBezTo>
                    <a:pt x="407570" y="3885727"/>
                    <a:pt x="407545" y="3889994"/>
                    <a:pt x="407517" y="3894265"/>
                  </a:cubicBezTo>
                  <a:cubicBezTo>
                    <a:pt x="416777" y="3952895"/>
                    <a:pt x="418624" y="3956102"/>
                    <a:pt x="464772" y="3993435"/>
                  </a:cubicBezTo>
                  <a:lnTo>
                    <a:pt x="1965744" y="4865353"/>
                  </a:lnTo>
                  <a:lnTo>
                    <a:pt x="1966088" y="4865745"/>
                  </a:lnTo>
                  <a:lnTo>
                    <a:pt x="1988129" y="4859558"/>
                  </a:lnTo>
                  <a:cubicBezTo>
                    <a:pt x="2011931" y="4852878"/>
                    <a:pt x="2031508" y="4839446"/>
                    <a:pt x="2034209" y="4799004"/>
                  </a:cubicBezTo>
                  <a:cubicBezTo>
                    <a:pt x="2034824" y="4567995"/>
                    <a:pt x="2035438" y="4336987"/>
                    <a:pt x="2036053" y="4105978"/>
                  </a:cubicBezTo>
                  <a:lnTo>
                    <a:pt x="2038324" y="1054770"/>
                  </a:lnTo>
                  <a:lnTo>
                    <a:pt x="2037139" y="1017192"/>
                  </a:lnTo>
                  <a:cubicBezTo>
                    <a:pt x="2033007" y="883195"/>
                    <a:pt x="2032181" y="685526"/>
                    <a:pt x="2035104" y="494424"/>
                  </a:cubicBezTo>
                  <a:cubicBezTo>
                    <a:pt x="2032901" y="341098"/>
                    <a:pt x="2045579" y="249917"/>
                    <a:pt x="2080595" y="171698"/>
                  </a:cubicBezTo>
                  <a:cubicBezTo>
                    <a:pt x="2115611" y="93479"/>
                    <a:pt x="2200593" y="53875"/>
                    <a:pt x="2245202" y="25112"/>
                  </a:cubicBezTo>
                  <a:cubicBezTo>
                    <a:pt x="2327069" y="-9906"/>
                    <a:pt x="2382290" y="1253"/>
                    <a:pt x="2444848" y="3326"/>
                  </a:cubicBezTo>
                  <a:cubicBezTo>
                    <a:pt x="2507406" y="5399"/>
                    <a:pt x="2562690" y="16377"/>
                    <a:pt x="2620552" y="37548"/>
                  </a:cubicBezTo>
                  <a:lnTo>
                    <a:pt x="4171705" y="924343"/>
                  </a:lnTo>
                  <a:cubicBezTo>
                    <a:pt x="4226030" y="955707"/>
                    <a:pt x="4226458" y="1056667"/>
                    <a:pt x="4172662" y="1149844"/>
                  </a:cubicBezTo>
                  <a:cubicBezTo>
                    <a:pt x="4125591" y="1231374"/>
                    <a:pt x="4052602" y="1279929"/>
                    <a:pt x="3998697" y="1269783"/>
                  </a:cubicBezTo>
                  <a:lnTo>
                    <a:pt x="3978850" y="1262485"/>
                  </a:lnTo>
                  <a:lnTo>
                    <a:pt x="2513375" y="431577"/>
                  </a:lnTo>
                  <a:cubicBezTo>
                    <a:pt x="2513261" y="431448"/>
                    <a:pt x="2513146" y="431313"/>
                    <a:pt x="2513032" y="431184"/>
                  </a:cubicBezTo>
                  <a:lnTo>
                    <a:pt x="2490877" y="437405"/>
                  </a:lnTo>
                  <a:cubicBezTo>
                    <a:pt x="2480076" y="455412"/>
                    <a:pt x="2455336" y="434527"/>
                    <a:pt x="2448227" y="539231"/>
                  </a:cubicBezTo>
                  <a:cubicBezTo>
                    <a:pt x="2448227" y="714697"/>
                    <a:pt x="2448222" y="890162"/>
                    <a:pt x="2448222" y="1065628"/>
                  </a:cubicBezTo>
                  <a:lnTo>
                    <a:pt x="2445445" y="1081825"/>
                  </a:lnTo>
                  <a:lnTo>
                    <a:pt x="2442619" y="1858316"/>
                  </a:lnTo>
                  <a:lnTo>
                    <a:pt x="2444476" y="1861834"/>
                  </a:lnTo>
                  <a:cubicBezTo>
                    <a:pt x="2444674" y="2058454"/>
                    <a:pt x="2443809" y="2841791"/>
                    <a:pt x="2443809" y="3038034"/>
                  </a:cubicBezTo>
                  <a:cubicBezTo>
                    <a:pt x="2443095" y="3626297"/>
                    <a:pt x="2442381" y="4214559"/>
                    <a:pt x="2441669" y="4802821"/>
                  </a:cubicBezTo>
                  <a:cubicBezTo>
                    <a:pt x="2428878" y="4887762"/>
                    <a:pt x="2454832" y="4926970"/>
                    <a:pt x="2374871" y="5061801"/>
                  </a:cubicBezTo>
                  <a:cubicBezTo>
                    <a:pt x="2314901" y="5162924"/>
                    <a:pt x="2275295" y="5187619"/>
                    <a:pt x="2230903" y="5216241"/>
                  </a:cubicBezTo>
                  <a:cubicBezTo>
                    <a:pt x="2149434" y="5251083"/>
                    <a:pt x="2101599" y="5287513"/>
                    <a:pt x="2020267" y="5284752"/>
                  </a:cubicBezTo>
                  <a:cubicBezTo>
                    <a:pt x="1999938" y="5284061"/>
                    <a:pt x="1984921" y="5285046"/>
                    <a:pt x="1970713" y="5285252"/>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nvGrpSpPr>
            <p:cNvPr id="761" name="Group 760">
              <a:extLst>
                <a:ext uri="{FF2B5EF4-FFF2-40B4-BE49-F238E27FC236}">
                  <a16:creationId xmlns:a16="http://schemas.microsoft.com/office/drawing/2014/main" id="{9D0295FF-DBE3-4DC8-BB8E-AFB068BFDC4F}"/>
                </a:ext>
              </a:extLst>
            </p:cNvPr>
            <p:cNvGrpSpPr/>
            <p:nvPr/>
          </p:nvGrpSpPr>
          <p:grpSpPr bwMode="gray">
            <a:xfrm>
              <a:off x="-3475317" y="-510357"/>
              <a:ext cx="4214695" cy="5327268"/>
              <a:chOff x="-3475317" y="-510357"/>
              <a:chExt cx="4214695" cy="5327268"/>
            </a:xfrm>
          </p:grpSpPr>
          <p:sp>
            <p:nvSpPr>
              <p:cNvPr id="762" name="Freeform: Shape 761">
                <a:extLst>
                  <a:ext uri="{FF2B5EF4-FFF2-40B4-BE49-F238E27FC236}">
                    <a16:creationId xmlns:a16="http://schemas.microsoft.com/office/drawing/2014/main" id="{2A8237A5-AA70-4982-9486-4E17B97FF4E6}"/>
                  </a:ext>
                </a:extLst>
              </p:cNvPr>
              <p:cNvSpPr/>
              <p:nvPr/>
            </p:nvSpPr>
            <p:spPr bwMode="gray">
              <a:xfrm flipH="1" flipV="1">
                <a:off x="-1719472" y="-278606"/>
                <a:ext cx="426110" cy="5095517"/>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2513375 w 4212730"/>
                  <a:gd name="connsiteY32" fmla="*/ 431577 h 5285288"/>
                  <a:gd name="connsiteX33" fmla="*/ 2513032 w 4212730"/>
                  <a:gd name="connsiteY33" fmla="*/ 431184 h 5285288"/>
                  <a:gd name="connsiteX34" fmla="*/ 2490877 w 4212730"/>
                  <a:gd name="connsiteY34" fmla="*/ 437405 h 5285288"/>
                  <a:gd name="connsiteX35" fmla="*/ 2448227 w 4212730"/>
                  <a:gd name="connsiteY35" fmla="*/ 539231 h 5285288"/>
                  <a:gd name="connsiteX36" fmla="*/ 2448222 w 4212730"/>
                  <a:gd name="connsiteY36" fmla="*/ 1065628 h 5285288"/>
                  <a:gd name="connsiteX37" fmla="*/ 2445445 w 4212730"/>
                  <a:gd name="connsiteY37" fmla="*/ 1081825 h 5285288"/>
                  <a:gd name="connsiteX38" fmla="*/ 2442619 w 4212730"/>
                  <a:gd name="connsiteY38" fmla="*/ 1858316 h 5285288"/>
                  <a:gd name="connsiteX39" fmla="*/ 2444476 w 4212730"/>
                  <a:gd name="connsiteY39" fmla="*/ 1861834 h 5285288"/>
                  <a:gd name="connsiteX40" fmla="*/ 2443809 w 4212730"/>
                  <a:gd name="connsiteY40" fmla="*/ 3038034 h 5285288"/>
                  <a:gd name="connsiteX41" fmla="*/ 2441669 w 4212730"/>
                  <a:gd name="connsiteY41" fmla="*/ 4802821 h 5285288"/>
                  <a:gd name="connsiteX42" fmla="*/ 2374871 w 4212730"/>
                  <a:gd name="connsiteY42" fmla="*/ 5061801 h 5285288"/>
                  <a:gd name="connsiteX43" fmla="*/ 2230903 w 4212730"/>
                  <a:gd name="connsiteY43" fmla="*/ 5216241 h 5285288"/>
                  <a:gd name="connsiteX44" fmla="*/ 2020267 w 4212730"/>
                  <a:gd name="connsiteY44" fmla="*/ 5284752 h 5285288"/>
                  <a:gd name="connsiteX45" fmla="*/ 1970713 w 4212730"/>
                  <a:gd name="connsiteY45" fmla="*/ 5285252 h 5285288"/>
                  <a:gd name="connsiteX0" fmla="*/ 1970713 w 4290965"/>
                  <a:gd name="connsiteY0" fmla="*/ 5285252 h 5285288"/>
                  <a:gd name="connsiteX1" fmla="*/ 1859089 w 4290965"/>
                  <a:gd name="connsiteY1" fmla="*/ 5257452 h 5285288"/>
                  <a:gd name="connsiteX2" fmla="*/ 1799088 w 4290965"/>
                  <a:gd name="connsiteY2" fmla="*/ 5227600 h 5285288"/>
                  <a:gd name="connsiteX3" fmla="*/ 257741 w 4290965"/>
                  <a:gd name="connsiteY3" fmla="*/ 4344402 h 5285288"/>
                  <a:gd name="connsiteX4" fmla="*/ 66855 w 4290965"/>
                  <a:gd name="connsiteY4" fmla="*/ 4157062 h 5285288"/>
                  <a:gd name="connsiteX5" fmla="*/ 5085 w 4290965"/>
                  <a:gd name="connsiteY5" fmla="*/ 3955159 h 5285288"/>
                  <a:gd name="connsiteX6" fmla="*/ 117 w 4290965"/>
                  <a:gd name="connsiteY6" fmla="*/ 3898769 h 5285288"/>
                  <a:gd name="connsiteX7" fmla="*/ 0 w 4290965"/>
                  <a:gd name="connsiteY7" fmla="*/ 3898107 h 5285288"/>
                  <a:gd name="connsiteX8" fmla="*/ 5920 w 4290965"/>
                  <a:gd name="connsiteY8" fmla="*/ 2513626 h 5285288"/>
                  <a:gd name="connsiteX9" fmla="*/ 9056 w 4290965"/>
                  <a:gd name="connsiteY9" fmla="*/ 2484766 h 5285288"/>
                  <a:gd name="connsiteX10" fmla="*/ 206180 w 4290965"/>
                  <a:gd name="connsiteY10" fmla="*/ 2392022 h 5285288"/>
                  <a:gd name="connsiteX11" fmla="*/ 407391 w 4290965"/>
                  <a:gd name="connsiteY11" fmla="*/ 2508175 h 5285288"/>
                  <a:gd name="connsiteX12" fmla="*/ 406100 w 4290965"/>
                  <a:gd name="connsiteY12" fmla="*/ 2572658 h 5285288"/>
                  <a:gd name="connsiteX13" fmla="*/ 409165 w 4290965"/>
                  <a:gd name="connsiteY13" fmla="*/ 3888049 h 5285288"/>
                  <a:gd name="connsiteX14" fmla="*/ 407598 w 4290965"/>
                  <a:gd name="connsiteY14" fmla="*/ 3881457 h 5285288"/>
                  <a:gd name="connsiteX15" fmla="*/ 407517 w 4290965"/>
                  <a:gd name="connsiteY15" fmla="*/ 3894265 h 5285288"/>
                  <a:gd name="connsiteX16" fmla="*/ 464772 w 4290965"/>
                  <a:gd name="connsiteY16" fmla="*/ 3993435 h 5285288"/>
                  <a:gd name="connsiteX17" fmla="*/ 1965744 w 4290965"/>
                  <a:gd name="connsiteY17" fmla="*/ 4865353 h 5285288"/>
                  <a:gd name="connsiteX18" fmla="*/ 1966088 w 4290965"/>
                  <a:gd name="connsiteY18" fmla="*/ 4865745 h 5285288"/>
                  <a:gd name="connsiteX19" fmla="*/ 1988129 w 4290965"/>
                  <a:gd name="connsiteY19" fmla="*/ 4859558 h 5285288"/>
                  <a:gd name="connsiteX20" fmla="*/ 2034209 w 4290965"/>
                  <a:gd name="connsiteY20" fmla="*/ 4799004 h 5285288"/>
                  <a:gd name="connsiteX21" fmla="*/ 2036053 w 4290965"/>
                  <a:gd name="connsiteY21" fmla="*/ 4105978 h 5285288"/>
                  <a:gd name="connsiteX22" fmla="*/ 2038324 w 4290965"/>
                  <a:gd name="connsiteY22" fmla="*/ 1054770 h 5285288"/>
                  <a:gd name="connsiteX23" fmla="*/ 2037139 w 4290965"/>
                  <a:gd name="connsiteY23" fmla="*/ 1017192 h 5285288"/>
                  <a:gd name="connsiteX24" fmla="*/ 2035104 w 4290965"/>
                  <a:gd name="connsiteY24" fmla="*/ 494424 h 5285288"/>
                  <a:gd name="connsiteX25" fmla="*/ 2080595 w 4290965"/>
                  <a:gd name="connsiteY25" fmla="*/ 171698 h 5285288"/>
                  <a:gd name="connsiteX26" fmla="*/ 2245202 w 4290965"/>
                  <a:gd name="connsiteY26" fmla="*/ 25112 h 5285288"/>
                  <a:gd name="connsiteX27" fmla="*/ 2444848 w 4290965"/>
                  <a:gd name="connsiteY27" fmla="*/ 3326 h 5285288"/>
                  <a:gd name="connsiteX28" fmla="*/ 2620552 w 4290965"/>
                  <a:gd name="connsiteY28" fmla="*/ 37548 h 5285288"/>
                  <a:gd name="connsiteX29" fmla="*/ 4171705 w 4290965"/>
                  <a:gd name="connsiteY29" fmla="*/ 924343 h 5285288"/>
                  <a:gd name="connsiteX30" fmla="*/ 3998697 w 4290965"/>
                  <a:gd name="connsiteY30" fmla="*/ 1269783 h 5285288"/>
                  <a:gd name="connsiteX31" fmla="*/ 2513375 w 4290965"/>
                  <a:gd name="connsiteY31" fmla="*/ 431577 h 5285288"/>
                  <a:gd name="connsiteX32" fmla="*/ 2513032 w 4290965"/>
                  <a:gd name="connsiteY32" fmla="*/ 431184 h 5285288"/>
                  <a:gd name="connsiteX33" fmla="*/ 2490877 w 4290965"/>
                  <a:gd name="connsiteY33" fmla="*/ 437405 h 5285288"/>
                  <a:gd name="connsiteX34" fmla="*/ 2448227 w 4290965"/>
                  <a:gd name="connsiteY34" fmla="*/ 539231 h 5285288"/>
                  <a:gd name="connsiteX35" fmla="*/ 2448222 w 4290965"/>
                  <a:gd name="connsiteY35" fmla="*/ 1065628 h 5285288"/>
                  <a:gd name="connsiteX36" fmla="*/ 2445445 w 4290965"/>
                  <a:gd name="connsiteY36" fmla="*/ 1081825 h 5285288"/>
                  <a:gd name="connsiteX37" fmla="*/ 2442619 w 4290965"/>
                  <a:gd name="connsiteY37" fmla="*/ 1858316 h 5285288"/>
                  <a:gd name="connsiteX38" fmla="*/ 2444476 w 4290965"/>
                  <a:gd name="connsiteY38" fmla="*/ 1861834 h 5285288"/>
                  <a:gd name="connsiteX39" fmla="*/ 2443809 w 4290965"/>
                  <a:gd name="connsiteY39" fmla="*/ 3038034 h 5285288"/>
                  <a:gd name="connsiteX40" fmla="*/ 2441669 w 4290965"/>
                  <a:gd name="connsiteY40" fmla="*/ 4802821 h 5285288"/>
                  <a:gd name="connsiteX41" fmla="*/ 2374871 w 4290965"/>
                  <a:gd name="connsiteY41" fmla="*/ 5061801 h 5285288"/>
                  <a:gd name="connsiteX42" fmla="*/ 2230903 w 4290965"/>
                  <a:gd name="connsiteY42" fmla="*/ 5216241 h 5285288"/>
                  <a:gd name="connsiteX43" fmla="*/ 2020267 w 4290965"/>
                  <a:gd name="connsiteY43" fmla="*/ 5284752 h 5285288"/>
                  <a:gd name="connsiteX44" fmla="*/ 1970713 w 4290965"/>
                  <a:gd name="connsiteY44"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2513375 w 3998697"/>
                  <a:gd name="connsiteY30" fmla="*/ 431577 h 5285288"/>
                  <a:gd name="connsiteX31" fmla="*/ 2513032 w 3998697"/>
                  <a:gd name="connsiteY31" fmla="*/ 431184 h 5285288"/>
                  <a:gd name="connsiteX32" fmla="*/ 2490877 w 3998697"/>
                  <a:gd name="connsiteY32" fmla="*/ 437405 h 5285288"/>
                  <a:gd name="connsiteX33" fmla="*/ 2448227 w 3998697"/>
                  <a:gd name="connsiteY33" fmla="*/ 539231 h 5285288"/>
                  <a:gd name="connsiteX34" fmla="*/ 2448222 w 3998697"/>
                  <a:gd name="connsiteY34" fmla="*/ 1065628 h 5285288"/>
                  <a:gd name="connsiteX35" fmla="*/ 2445445 w 3998697"/>
                  <a:gd name="connsiteY35" fmla="*/ 1081825 h 5285288"/>
                  <a:gd name="connsiteX36" fmla="*/ 2442619 w 3998697"/>
                  <a:gd name="connsiteY36" fmla="*/ 1858316 h 5285288"/>
                  <a:gd name="connsiteX37" fmla="*/ 2444476 w 3998697"/>
                  <a:gd name="connsiteY37" fmla="*/ 1861834 h 5285288"/>
                  <a:gd name="connsiteX38" fmla="*/ 2443809 w 3998697"/>
                  <a:gd name="connsiteY38" fmla="*/ 3038034 h 5285288"/>
                  <a:gd name="connsiteX39" fmla="*/ 2441669 w 3998697"/>
                  <a:gd name="connsiteY39" fmla="*/ 4802821 h 5285288"/>
                  <a:gd name="connsiteX40" fmla="*/ 2374871 w 3998697"/>
                  <a:gd name="connsiteY40" fmla="*/ 5061801 h 5285288"/>
                  <a:gd name="connsiteX41" fmla="*/ 2230903 w 3998697"/>
                  <a:gd name="connsiteY41" fmla="*/ 5216241 h 5285288"/>
                  <a:gd name="connsiteX42" fmla="*/ 2020267 w 3998697"/>
                  <a:gd name="connsiteY42" fmla="*/ 5284752 h 5285288"/>
                  <a:gd name="connsiteX43" fmla="*/ 1970713 w 3998697"/>
                  <a:gd name="connsiteY43" fmla="*/ 5285252 h 5285288"/>
                  <a:gd name="connsiteX0" fmla="*/ 1970713 w 2620552"/>
                  <a:gd name="connsiteY0" fmla="*/ 5285252 h 5285288"/>
                  <a:gd name="connsiteX1" fmla="*/ 1859089 w 2620552"/>
                  <a:gd name="connsiteY1" fmla="*/ 5257452 h 5285288"/>
                  <a:gd name="connsiteX2" fmla="*/ 1799088 w 2620552"/>
                  <a:gd name="connsiteY2" fmla="*/ 5227600 h 5285288"/>
                  <a:gd name="connsiteX3" fmla="*/ 257741 w 2620552"/>
                  <a:gd name="connsiteY3" fmla="*/ 4344402 h 5285288"/>
                  <a:gd name="connsiteX4" fmla="*/ 66855 w 2620552"/>
                  <a:gd name="connsiteY4" fmla="*/ 4157062 h 5285288"/>
                  <a:gd name="connsiteX5" fmla="*/ 5085 w 2620552"/>
                  <a:gd name="connsiteY5" fmla="*/ 3955159 h 5285288"/>
                  <a:gd name="connsiteX6" fmla="*/ 117 w 2620552"/>
                  <a:gd name="connsiteY6" fmla="*/ 3898769 h 5285288"/>
                  <a:gd name="connsiteX7" fmla="*/ 0 w 2620552"/>
                  <a:gd name="connsiteY7" fmla="*/ 3898107 h 5285288"/>
                  <a:gd name="connsiteX8" fmla="*/ 5920 w 2620552"/>
                  <a:gd name="connsiteY8" fmla="*/ 2513626 h 5285288"/>
                  <a:gd name="connsiteX9" fmla="*/ 9056 w 2620552"/>
                  <a:gd name="connsiteY9" fmla="*/ 2484766 h 5285288"/>
                  <a:gd name="connsiteX10" fmla="*/ 206180 w 2620552"/>
                  <a:gd name="connsiteY10" fmla="*/ 2392022 h 5285288"/>
                  <a:gd name="connsiteX11" fmla="*/ 407391 w 2620552"/>
                  <a:gd name="connsiteY11" fmla="*/ 2508175 h 5285288"/>
                  <a:gd name="connsiteX12" fmla="*/ 406100 w 2620552"/>
                  <a:gd name="connsiteY12" fmla="*/ 2572658 h 5285288"/>
                  <a:gd name="connsiteX13" fmla="*/ 409165 w 2620552"/>
                  <a:gd name="connsiteY13" fmla="*/ 3888049 h 5285288"/>
                  <a:gd name="connsiteX14" fmla="*/ 407598 w 2620552"/>
                  <a:gd name="connsiteY14" fmla="*/ 3881457 h 5285288"/>
                  <a:gd name="connsiteX15" fmla="*/ 407517 w 2620552"/>
                  <a:gd name="connsiteY15" fmla="*/ 3894265 h 5285288"/>
                  <a:gd name="connsiteX16" fmla="*/ 464772 w 2620552"/>
                  <a:gd name="connsiteY16" fmla="*/ 3993435 h 5285288"/>
                  <a:gd name="connsiteX17" fmla="*/ 1965744 w 2620552"/>
                  <a:gd name="connsiteY17" fmla="*/ 4865353 h 5285288"/>
                  <a:gd name="connsiteX18" fmla="*/ 1966088 w 2620552"/>
                  <a:gd name="connsiteY18" fmla="*/ 4865745 h 5285288"/>
                  <a:gd name="connsiteX19" fmla="*/ 1988129 w 2620552"/>
                  <a:gd name="connsiteY19" fmla="*/ 4859558 h 5285288"/>
                  <a:gd name="connsiteX20" fmla="*/ 2034209 w 2620552"/>
                  <a:gd name="connsiteY20" fmla="*/ 4799004 h 5285288"/>
                  <a:gd name="connsiteX21" fmla="*/ 2036053 w 2620552"/>
                  <a:gd name="connsiteY21" fmla="*/ 4105978 h 5285288"/>
                  <a:gd name="connsiteX22" fmla="*/ 2038324 w 2620552"/>
                  <a:gd name="connsiteY22" fmla="*/ 1054770 h 5285288"/>
                  <a:gd name="connsiteX23" fmla="*/ 2037139 w 2620552"/>
                  <a:gd name="connsiteY23" fmla="*/ 1017192 h 5285288"/>
                  <a:gd name="connsiteX24" fmla="*/ 2035104 w 2620552"/>
                  <a:gd name="connsiteY24" fmla="*/ 494424 h 5285288"/>
                  <a:gd name="connsiteX25" fmla="*/ 2080595 w 2620552"/>
                  <a:gd name="connsiteY25" fmla="*/ 171698 h 5285288"/>
                  <a:gd name="connsiteX26" fmla="*/ 2245202 w 2620552"/>
                  <a:gd name="connsiteY26" fmla="*/ 25112 h 5285288"/>
                  <a:gd name="connsiteX27" fmla="*/ 2444848 w 2620552"/>
                  <a:gd name="connsiteY27" fmla="*/ 3326 h 5285288"/>
                  <a:gd name="connsiteX28" fmla="*/ 2620552 w 2620552"/>
                  <a:gd name="connsiteY28" fmla="*/ 37548 h 5285288"/>
                  <a:gd name="connsiteX29" fmla="*/ 2513375 w 2620552"/>
                  <a:gd name="connsiteY29" fmla="*/ 431577 h 5285288"/>
                  <a:gd name="connsiteX30" fmla="*/ 2513032 w 2620552"/>
                  <a:gd name="connsiteY30" fmla="*/ 431184 h 5285288"/>
                  <a:gd name="connsiteX31" fmla="*/ 2490877 w 2620552"/>
                  <a:gd name="connsiteY31" fmla="*/ 437405 h 5285288"/>
                  <a:gd name="connsiteX32" fmla="*/ 2448227 w 2620552"/>
                  <a:gd name="connsiteY32" fmla="*/ 539231 h 5285288"/>
                  <a:gd name="connsiteX33" fmla="*/ 2448222 w 2620552"/>
                  <a:gd name="connsiteY33" fmla="*/ 1065628 h 5285288"/>
                  <a:gd name="connsiteX34" fmla="*/ 2445445 w 2620552"/>
                  <a:gd name="connsiteY34" fmla="*/ 1081825 h 5285288"/>
                  <a:gd name="connsiteX35" fmla="*/ 2442619 w 2620552"/>
                  <a:gd name="connsiteY35" fmla="*/ 1858316 h 5285288"/>
                  <a:gd name="connsiteX36" fmla="*/ 2444476 w 2620552"/>
                  <a:gd name="connsiteY36" fmla="*/ 1861834 h 5285288"/>
                  <a:gd name="connsiteX37" fmla="*/ 2443809 w 2620552"/>
                  <a:gd name="connsiteY37" fmla="*/ 3038034 h 5285288"/>
                  <a:gd name="connsiteX38" fmla="*/ 2441669 w 2620552"/>
                  <a:gd name="connsiteY38" fmla="*/ 4802821 h 5285288"/>
                  <a:gd name="connsiteX39" fmla="*/ 2374871 w 2620552"/>
                  <a:gd name="connsiteY39" fmla="*/ 5061801 h 5285288"/>
                  <a:gd name="connsiteX40" fmla="*/ 2230903 w 2620552"/>
                  <a:gd name="connsiteY40" fmla="*/ 5216241 h 5285288"/>
                  <a:gd name="connsiteX41" fmla="*/ 2020267 w 2620552"/>
                  <a:gd name="connsiteY41" fmla="*/ 5284752 h 5285288"/>
                  <a:gd name="connsiteX42" fmla="*/ 1970713 w 2620552"/>
                  <a:gd name="connsiteY42" fmla="*/ 5285252 h 5285288"/>
                  <a:gd name="connsiteX0" fmla="*/ 1970713 w 2513375"/>
                  <a:gd name="connsiteY0" fmla="*/ 5314207 h 5314243"/>
                  <a:gd name="connsiteX1" fmla="*/ 1859089 w 2513375"/>
                  <a:gd name="connsiteY1" fmla="*/ 5286407 h 5314243"/>
                  <a:gd name="connsiteX2" fmla="*/ 1799088 w 2513375"/>
                  <a:gd name="connsiteY2" fmla="*/ 5256555 h 5314243"/>
                  <a:gd name="connsiteX3" fmla="*/ 257741 w 2513375"/>
                  <a:gd name="connsiteY3" fmla="*/ 4373357 h 5314243"/>
                  <a:gd name="connsiteX4" fmla="*/ 66855 w 2513375"/>
                  <a:gd name="connsiteY4" fmla="*/ 4186017 h 5314243"/>
                  <a:gd name="connsiteX5" fmla="*/ 5085 w 2513375"/>
                  <a:gd name="connsiteY5" fmla="*/ 3984114 h 5314243"/>
                  <a:gd name="connsiteX6" fmla="*/ 117 w 2513375"/>
                  <a:gd name="connsiteY6" fmla="*/ 3927724 h 5314243"/>
                  <a:gd name="connsiteX7" fmla="*/ 0 w 2513375"/>
                  <a:gd name="connsiteY7" fmla="*/ 3927062 h 5314243"/>
                  <a:gd name="connsiteX8" fmla="*/ 5920 w 2513375"/>
                  <a:gd name="connsiteY8" fmla="*/ 2542581 h 5314243"/>
                  <a:gd name="connsiteX9" fmla="*/ 9056 w 2513375"/>
                  <a:gd name="connsiteY9" fmla="*/ 2513721 h 5314243"/>
                  <a:gd name="connsiteX10" fmla="*/ 206180 w 2513375"/>
                  <a:gd name="connsiteY10" fmla="*/ 2420977 h 5314243"/>
                  <a:gd name="connsiteX11" fmla="*/ 407391 w 2513375"/>
                  <a:gd name="connsiteY11" fmla="*/ 2537130 h 5314243"/>
                  <a:gd name="connsiteX12" fmla="*/ 406100 w 2513375"/>
                  <a:gd name="connsiteY12" fmla="*/ 2601613 h 5314243"/>
                  <a:gd name="connsiteX13" fmla="*/ 409165 w 2513375"/>
                  <a:gd name="connsiteY13" fmla="*/ 3917004 h 5314243"/>
                  <a:gd name="connsiteX14" fmla="*/ 407598 w 2513375"/>
                  <a:gd name="connsiteY14" fmla="*/ 3910412 h 5314243"/>
                  <a:gd name="connsiteX15" fmla="*/ 407517 w 2513375"/>
                  <a:gd name="connsiteY15" fmla="*/ 3923220 h 5314243"/>
                  <a:gd name="connsiteX16" fmla="*/ 464772 w 2513375"/>
                  <a:gd name="connsiteY16" fmla="*/ 4022390 h 5314243"/>
                  <a:gd name="connsiteX17" fmla="*/ 1965744 w 2513375"/>
                  <a:gd name="connsiteY17" fmla="*/ 4894308 h 5314243"/>
                  <a:gd name="connsiteX18" fmla="*/ 1966088 w 2513375"/>
                  <a:gd name="connsiteY18" fmla="*/ 4894700 h 5314243"/>
                  <a:gd name="connsiteX19" fmla="*/ 1988129 w 2513375"/>
                  <a:gd name="connsiteY19" fmla="*/ 4888513 h 5314243"/>
                  <a:gd name="connsiteX20" fmla="*/ 2034209 w 2513375"/>
                  <a:gd name="connsiteY20" fmla="*/ 4827959 h 5314243"/>
                  <a:gd name="connsiteX21" fmla="*/ 2036053 w 2513375"/>
                  <a:gd name="connsiteY21" fmla="*/ 4134933 h 5314243"/>
                  <a:gd name="connsiteX22" fmla="*/ 2038324 w 2513375"/>
                  <a:gd name="connsiteY22" fmla="*/ 1083725 h 5314243"/>
                  <a:gd name="connsiteX23" fmla="*/ 2037139 w 2513375"/>
                  <a:gd name="connsiteY23" fmla="*/ 1046147 h 5314243"/>
                  <a:gd name="connsiteX24" fmla="*/ 2035104 w 2513375"/>
                  <a:gd name="connsiteY24" fmla="*/ 523379 h 5314243"/>
                  <a:gd name="connsiteX25" fmla="*/ 2080595 w 2513375"/>
                  <a:gd name="connsiteY25" fmla="*/ 200653 h 5314243"/>
                  <a:gd name="connsiteX26" fmla="*/ 2245202 w 2513375"/>
                  <a:gd name="connsiteY26" fmla="*/ 54067 h 5314243"/>
                  <a:gd name="connsiteX27" fmla="*/ 2444848 w 2513375"/>
                  <a:gd name="connsiteY27" fmla="*/ 32281 h 5314243"/>
                  <a:gd name="connsiteX28" fmla="*/ 2513375 w 2513375"/>
                  <a:gd name="connsiteY28" fmla="*/ 460532 h 5314243"/>
                  <a:gd name="connsiteX29" fmla="*/ 2513032 w 2513375"/>
                  <a:gd name="connsiteY29" fmla="*/ 460139 h 5314243"/>
                  <a:gd name="connsiteX30" fmla="*/ 2490877 w 2513375"/>
                  <a:gd name="connsiteY30" fmla="*/ 466360 h 5314243"/>
                  <a:gd name="connsiteX31" fmla="*/ 2448227 w 2513375"/>
                  <a:gd name="connsiteY31" fmla="*/ 568186 h 5314243"/>
                  <a:gd name="connsiteX32" fmla="*/ 2448222 w 2513375"/>
                  <a:gd name="connsiteY32" fmla="*/ 1094583 h 5314243"/>
                  <a:gd name="connsiteX33" fmla="*/ 2445445 w 2513375"/>
                  <a:gd name="connsiteY33" fmla="*/ 1110780 h 5314243"/>
                  <a:gd name="connsiteX34" fmla="*/ 2442619 w 2513375"/>
                  <a:gd name="connsiteY34" fmla="*/ 1887271 h 5314243"/>
                  <a:gd name="connsiteX35" fmla="*/ 2444476 w 2513375"/>
                  <a:gd name="connsiteY35" fmla="*/ 1890789 h 5314243"/>
                  <a:gd name="connsiteX36" fmla="*/ 2443809 w 2513375"/>
                  <a:gd name="connsiteY36" fmla="*/ 3066989 h 5314243"/>
                  <a:gd name="connsiteX37" fmla="*/ 2441669 w 2513375"/>
                  <a:gd name="connsiteY37" fmla="*/ 4831776 h 5314243"/>
                  <a:gd name="connsiteX38" fmla="*/ 2374871 w 2513375"/>
                  <a:gd name="connsiteY38" fmla="*/ 5090756 h 5314243"/>
                  <a:gd name="connsiteX39" fmla="*/ 2230903 w 2513375"/>
                  <a:gd name="connsiteY39" fmla="*/ 5245196 h 5314243"/>
                  <a:gd name="connsiteX40" fmla="*/ 2020267 w 2513375"/>
                  <a:gd name="connsiteY40" fmla="*/ 5313707 h 5314243"/>
                  <a:gd name="connsiteX41" fmla="*/ 1970713 w 2513375"/>
                  <a:gd name="connsiteY41" fmla="*/ 5314207 h 5314243"/>
                  <a:gd name="connsiteX0" fmla="*/ 1970713 w 2513375"/>
                  <a:gd name="connsiteY0" fmla="*/ 5314207 h 5314243"/>
                  <a:gd name="connsiteX1" fmla="*/ 1859089 w 2513375"/>
                  <a:gd name="connsiteY1" fmla="*/ 5286407 h 5314243"/>
                  <a:gd name="connsiteX2" fmla="*/ 1799088 w 2513375"/>
                  <a:gd name="connsiteY2" fmla="*/ 5256555 h 5314243"/>
                  <a:gd name="connsiteX3" fmla="*/ 257741 w 2513375"/>
                  <a:gd name="connsiteY3" fmla="*/ 4373357 h 5314243"/>
                  <a:gd name="connsiteX4" fmla="*/ 66855 w 2513375"/>
                  <a:gd name="connsiteY4" fmla="*/ 4186017 h 5314243"/>
                  <a:gd name="connsiteX5" fmla="*/ 5085 w 2513375"/>
                  <a:gd name="connsiteY5" fmla="*/ 3984114 h 5314243"/>
                  <a:gd name="connsiteX6" fmla="*/ 117 w 2513375"/>
                  <a:gd name="connsiteY6" fmla="*/ 3927724 h 5314243"/>
                  <a:gd name="connsiteX7" fmla="*/ 0 w 2513375"/>
                  <a:gd name="connsiteY7" fmla="*/ 3927062 h 5314243"/>
                  <a:gd name="connsiteX8" fmla="*/ 5920 w 2513375"/>
                  <a:gd name="connsiteY8" fmla="*/ 2542581 h 5314243"/>
                  <a:gd name="connsiteX9" fmla="*/ 9056 w 2513375"/>
                  <a:gd name="connsiteY9" fmla="*/ 2513721 h 5314243"/>
                  <a:gd name="connsiteX10" fmla="*/ 206180 w 2513375"/>
                  <a:gd name="connsiteY10" fmla="*/ 2420977 h 5314243"/>
                  <a:gd name="connsiteX11" fmla="*/ 407391 w 2513375"/>
                  <a:gd name="connsiteY11" fmla="*/ 2537130 h 5314243"/>
                  <a:gd name="connsiteX12" fmla="*/ 406100 w 2513375"/>
                  <a:gd name="connsiteY12" fmla="*/ 2601613 h 5314243"/>
                  <a:gd name="connsiteX13" fmla="*/ 409165 w 2513375"/>
                  <a:gd name="connsiteY13" fmla="*/ 3917004 h 5314243"/>
                  <a:gd name="connsiteX14" fmla="*/ 407598 w 2513375"/>
                  <a:gd name="connsiteY14" fmla="*/ 3910412 h 5314243"/>
                  <a:gd name="connsiteX15" fmla="*/ 407517 w 2513375"/>
                  <a:gd name="connsiteY15" fmla="*/ 3923220 h 5314243"/>
                  <a:gd name="connsiteX16" fmla="*/ 464772 w 2513375"/>
                  <a:gd name="connsiteY16" fmla="*/ 4022390 h 5314243"/>
                  <a:gd name="connsiteX17" fmla="*/ 1965744 w 2513375"/>
                  <a:gd name="connsiteY17" fmla="*/ 4894308 h 5314243"/>
                  <a:gd name="connsiteX18" fmla="*/ 1966088 w 2513375"/>
                  <a:gd name="connsiteY18" fmla="*/ 4894700 h 5314243"/>
                  <a:gd name="connsiteX19" fmla="*/ 1988129 w 2513375"/>
                  <a:gd name="connsiteY19" fmla="*/ 4888513 h 5314243"/>
                  <a:gd name="connsiteX20" fmla="*/ 2034209 w 2513375"/>
                  <a:gd name="connsiteY20" fmla="*/ 4827959 h 5314243"/>
                  <a:gd name="connsiteX21" fmla="*/ 2036053 w 2513375"/>
                  <a:gd name="connsiteY21" fmla="*/ 4134933 h 5314243"/>
                  <a:gd name="connsiteX22" fmla="*/ 2038324 w 2513375"/>
                  <a:gd name="connsiteY22" fmla="*/ 1083725 h 5314243"/>
                  <a:gd name="connsiteX23" fmla="*/ 2037139 w 2513375"/>
                  <a:gd name="connsiteY23" fmla="*/ 1046147 h 5314243"/>
                  <a:gd name="connsiteX24" fmla="*/ 2035104 w 2513375"/>
                  <a:gd name="connsiteY24" fmla="*/ 523379 h 5314243"/>
                  <a:gd name="connsiteX25" fmla="*/ 2080595 w 2513375"/>
                  <a:gd name="connsiteY25" fmla="*/ 200653 h 5314243"/>
                  <a:gd name="connsiteX26" fmla="*/ 2245202 w 2513375"/>
                  <a:gd name="connsiteY26" fmla="*/ 54067 h 5314243"/>
                  <a:gd name="connsiteX27" fmla="*/ 2444848 w 2513375"/>
                  <a:gd name="connsiteY27" fmla="*/ 32281 h 5314243"/>
                  <a:gd name="connsiteX28" fmla="*/ 2513375 w 2513375"/>
                  <a:gd name="connsiteY28" fmla="*/ 460532 h 5314243"/>
                  <a:gd name="connsiteX29" fmla="*/ 2513032 w 2513375"/>
                  <a:gd name="connsiteY29" fmla="*/ 460139 h 5314243"/>
                  <a:gd name="connsiteX30" fmla="*/ 2448227 w 2513375"/>
                  <a:gd name="connsiteY30" fmla="*/ 568186 h 5314243"/>
                  <a:gd name="connsiteX31" fmla="*/ 2448222 w 2513375"/>
                  <a:gd name="connsiteY31" fmla="*/ 1094583 h 5314243"/>
                  <a:gd name="connsiteX32" fmla="*/ 2445445 w 2513375"/>
                  <a:gd name="connsiteY32" fmla="*/ 1110780 h 5314243"/>
                  <a:gd name="connsiteX33" fmla="*/ 2442619 w 2513375"/>
                  <a:gd name="connsiteY33" fmla="*/ 1887271 h 5314243"/>
                  <a:gd name="connsiteX34" fmla="*/ 2444476 w 2513375"/>
                  <a:gd name="connsiteY34" fmla="*/ 1890789 h 5314243"/>
                  <a:gd name="connsiteX35" fmla="*/ 2443809 w 2513375"/>
                  <a:gd name="connsiteY35" fmla="*/ 3066989 h 5314243"/>
                  <a:gd name="connsiteX36" fmla="*/ 2441669 w 2513375"/>
                  <a:gd name="connsiteY36" fmla="*/ 4831776 h 5314243"/>
                  <a:gd name="connsiteX37" fmla="*/ 2374871 w 2513375"/>
                  <a:gd name="connsiteY37" fmla="*/ 5090756 h 5314243"/>
                  <a:gd name="connsiteX38" fmla="*/ 2230903 w 2513375"/>
                  <a:gd name="connsiteY38" fmla="*/ 5245196 h 5314243"/>
                  <a:gd name="connsiteX39" fmla="*/ 2020267 w 2513375"/>
                  <a:gd name="connsiteY39" fmla="*/ 5313707 h 5314243"/>
                  <a:gd name="connsiteX40" fmla="*/ 1970713 w 2513375"/>
                  <a:gd name="connsiteY40" fmla="*/ 5314207 h 5314243"/>
                  <a:gd name="connsiteX0" fmla="*/ 1970713 w 2513379"/>
                  <a:gd name="connsiteY0" fmla="*/ 5314207 h 5314243"/>
                  <a:gd name="connsiteX1" fmla="*/ 1859089 w 2513379"/>
                  <a:gd name="connsiteY1" fmla="*/ 5286407 h 5314243"/>
                  <a:gd name="connsiteX2" fmla="*/ 1799088 w 2513379"/>
                  <a:gd name="connsiteY2" fmla="*/ 5256555 h 5314243"/>
                  <a:gd name="connsiteX3" fmla="*/ 257741 w 2513379"/>
                  <a:gd name="connsiteY3" fmla="*/ 4373357 h 5314243"/>
                  <a:gd name="connsiteX4" fmla="*/ 66855 w 2513379"/>
                  <a:gd name="connsiteY4" fmla="*/ 4186017 h 5314243"/>
                  <a:gd name="connsiteX5" fmla="*/ 5085 w 2513379"/>
                  <a:gd name="connsiteY5" fmla="*/ 3984114 h 5314243"/>
                  <a:gd name="connsiteX6" fmla="*/ 117 w 2513379"/>
                  <a:gd name="connsiteY6" fmla="*/ 3927724 h 5314243"/>
                  <a:gd name="connsiteX7" fmla="*/ 0 w 2513379"/>
                  <a:gd name="connsiteY7" fmla="*/ 3927062 h 5314243"/>
                  <a:gd name="connsiteX8" fmla="*/ 5920 w 2513379"/>
                  <a:gd name="connsiteY8" fmla="*/ 2542581 h 5314243"/>
                  <a:gd name="connsiteX9" fmla="*/ 9056 w 2513379"/>
                  <a:gd name="connsiteY9" fmla="*/ 2513721 h 5314243"/>
                  <a:gd name="connsiteX10" fmla="*/ 206180 w 2513379"/>
                  <a:gd name="connsiteY10" fmla="*/ 2420977 h 5314243"/>
                  <a:gd name="connsiteX11" fmla="*/ 407391 w 2513379"/>
                  <a:gd name="connsiteY11" fmla="*/ 2537130 h 5314243"/>
                  <a:gd name="connsiteX12" fmla="*/ 406100 w 2513379"/>
                  <a:gd name="connsiteY12" fmla="*/ 2601613 h 5314243"/>
                  <a:gd name="connsiteX13" fmla="*/ 409165 w 2513379"/>
                  <a:gd name="connsiteY13" fmla="*/ 3917004 h 5314243"/>
                  <a:gd name="connsiteX14" fmla="*/ 407598 w 2513379"/>
                  <a:gd name="connsiteY14" fmla="*/ 3910412 h 5314243"/>
                  <a:gd name="connsiteX15" fmla="*/ 407517 w 2513379"/>
                  <a:gd name="connsiteY15" fmla="*/ 3923220 h 5314243"/>
                  <a:gd name="connsiteX16" fmla="*/ 464772 w 2513379"/>
                  <a:gd name="connsiteY16" fmla="*/ 4022390 h 5314243"/>
                  <a:gd name="connsiteX17" fmla="*/ 1965744 w 2513379"/>
                  <a:gd name="connsiteY17" fmla="*/ 4894308 h 5314243"/>
                  <a:gd name="connsiteX18" fmla="*/ 1966088 w 2513379"/>
                  <a:gd name="connsiteY18" fmla="*/ 4894700 h 5314243"/>
                  <a:gd name="connsiteX19" fmla="*/ 1988129 w 2513379"/>
                  <a:gd name="connsiteY19" fmla="*/ 4888513 h 5314243"/>
                  <a:gd name="connsiteX20" fmla="*/ 2034209 w 2513379"/>
                  <a:gd name="connsiteY20" fmla="*/ 4827959 h 5314243"/>
                  <a:gd name="connsiteX21" fmla="*/ 2036053 w 2513379"/>
                  <a:gd name="connsiteY21" fmla="*/ 4134933 h 5314243"/>
                  <a:gd name="connsiteX22" fmla="*/ 2038324 w 2513379"/>
                  <a:gd name="connsiteY22" fmla="*/ 1083725 h 5314243"/>
                  <a:gd name="connsiteX23" fmla="*/ 2037139 w 2513379"/>
                  <a:gd name="connsiteY23" fmla="*/ 1046147 h 5314243"/>
                  <a:gd name="connsiteX24" fmla="*/ 2035104 w 2513379"/>
                  <a:gd name="connsiteY24" fmla="*/ 523379 h 5314243"/>
                  <a:gd name="connsiteX25" fmla="*/ 2080595 w 2513379"/>
                  <a:gd name="connsiteY25" fmla="*/ 200653 h 5314243"/>
                  <a:gd name="connsiteX26" fmla="*/ 2245202 w 2513379"/>
                  <a:gd name="connsiteY26" fmla="*/ 54067 h 5314243"/>
                  <a:gd name="connsiteX27" fmla="*/ 2444848 w 2513379"/>
                  <a:gd name="connsiteY27" fmla="*/ 32281 h 5314243"/>
                  <a:gd name="connsiteX28" fmla="*/ 2513375 w 2513379"/>
                  <a:gd name="connsiteY28" fmla="*/ 460532 h 5314243"/>
                  <a:gd name="connsiteX29" fmla="*/ 2448227 w 2513379"/>
                  <a:gd name="connsiteY29" fmla="*/ 568186 h 5314243"/>
                  <a:gd name="connsiteX30" fmla="*/ 2448222 w 2513379"/>
                  <a:gd name="connsiteY30" fmla="*/ 1094583 h 5314243"/>
                  <a:gd name="connsiteX31" fmla="*/ 2445445 w 2513379"/>
                  <a:gd name="connsiteY31" fmla="*/ 1110780 h 5314243"/>
                  <a:gd name="connsiteX32" fmla="*/ 2442619 w 2513379"/>
                  <a:gd name="connsiteY32" fmla="*/ 1887271 h 5314243"/>
                  <a:gd name="connsiteX33" fmla="*/ 2444476 w 2513379"/>
                  <a:gd name="connsiteY33" fmla="*/ 1890789 h 5314243"/>
                  <a:gd name="connsiteX34" fmla="*/ 2443809 w 2513379"/>
                  <a:gd name="connsiteY34" fmla="*/ 3066989 h 5314243"/>
                  <a:gd name="connsiteX35" fmla="*/ 2441669 w 2513379"/>
                  <a:gd name="connsiteY35" fmla="*/ 4831776 h 5314243"/>
                  <a:gd name="connsiteX36" fmla="*/ 2374871 w 2513379"/>
                  <a:gd name="connsiteY36" fmla="*/ 5090756 h 5314243"/>
                  <a:gd name="connsiteX37" fmla="*/ 2230903 w 2513379"/>
                  <a:gd name="connsiteY37" fmla="*/ 5245196 h 5314243"/>
                  <a:gd name="connsiteX38" fmla="*/ 2020267 w 2513379"/>
                  <a:gd name="connsiteY38" fmla="*/ 5313707 h 5314243"/>
                  <a:gd name="connsiteX39" fmla="*/ 1970713 w 2513379"/>
                  <a:gd name="connsiteY39" fmla="*/ 5314207 h 5314243"/>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9056 w 2460678"/>
                  <a:gd name="connsiteY9" fmla="*/ 2521688 h 5322210"/>
                  <a:gd name="connsiteX10" fmla="*/ 206180 w 2460678"/>
                  <a:gd name="connsiteY10" fmla="*/ 2428944 h 5322210"/>
                  <a:gd name="connsiteX11" fmla="*/ 407391 w 2460678"/>
                  <a:gd name="connsiteY11" fmla="*/ 2545097 h 5322210"/>
                  <a:gd name="connsiteX12" fmla="*/ 406100 w 2460678"/>
                  <a:gd name="connsiteY12" fmla="*/ 2609580 h 5322210"/>
                  <a:gd name="connsiteX13" fmla="*/ 409165 w 2460678"/>
                  <a:gd name="connsiteY13" fmla="*/ 3924971 h 5322210"/>
                  <a:gd name="connsiteX14" fmla="*/ 407598 w 2460678"/>
                  <a:gd name="connsiteY14" fmla="*/ 3918379 h 5322210"/>
                  <a:gd name="connsiteX15" fmla="*/ 407517 w 2460678"/>
                  <a:gd name="connsiteY15" fmla="*/ 3931187 h 5322210"/>
                  <a:gd name="connsiteX16" fmla="*/ 464772 w 2460678"/>
                  <a:gd name="connsiteY16" fmla="*/ 4030357 h 5322210"/>
                  <a:gd name="connsiteX17" fmla="*/ 1965744 w 2460678"/>
                  <a:gd name="connsiteY17" fmla="*/ 4902275 h 5322210"/>
                  <a:gd name="connsiteX18" fmla="*/ 1966088 w 2460678"/>
                  <a:gd name="connsiteY18" fmla="*/ 4902667 h 5322210"/>
                  <a:gd name="connsiteX19" fmla="*/ 1988129 w 2460678"/>
                  <a:gd name="connsiteY19" fmla="*/ 4896480 h 5322210"/>
                  <a:gd name="connsiteX20" fmla="*/ 2034209 w 2460678"/>
                  <a:gd name="connsiteY20" fmla="*/ 4835926 h 5322210"/>
                  <a:gd name="connsiteX21" fmla="*/ 2036053 w 2460678"/>
                  <a:gd name="connsiteY21" fmla="*/ 4142900 h 5322210"/>
                  <a:gd name="connsiteX22" fmla="*/ 2038324 w 2460678"/>
                  <a:gd name="connsiteY22" fmla="*/ 1091692 h 5322210"/>
                  <a:gd name="connsiteX23" fmla="*/ 2037139 w 2460678"/>
                  <a:gd name="connsiteY23" fmla="*/ 1054114 h 5322210"/>
                  <a:gd name="connsiteX24" fmla="*/ 2035104 w 2460678"/>
                  <a:gd name="connsiteY24" fmla="*/ 531346 h 5322210"/>
                  <a:gd name="connsiteX25" fmla="*/ 2080595 w 2460678"/>
                  <a:gd name="connsiteY25" fmla="*/ 208620 h 5322210"/>
                  <a:gd name="connsiteX26" fmla="*/ 2245202 w 2460678"/>
                  <a:gd name="connsiteY26" fmla="*/ 62034 h 5322210"/>
                  <a:gd name="connsiteX27" fmla="*/ 2444848 w 2460678"/>
                  <a:gd name="connsiteY27" fmla="*/ 40248 h 5322210"/>
                  <a:gd name="connsiteX28" fmla="*/ 2448227 w 2460678"/>
                  <a:gd name="connsiteY28" fmla="*/ 576153 h 5322210"/>
                  <a:gd name="connsiteX29" fmla="*/ 2448222 w 2460678"/>
                  <a:gd name="connsiteY29" fmla="*/ 1102550 h 5322210"/>
                  <a:gd name="connsiteX30" fmla="*/ 2445445 w 2460678"/>
                  <a:gd name="connsiteY30" fmla="*/ 1118747 h 5322210"/>
                  <a:gd name="connsiteX31" fmla="*/ 2442619 w 2460678"/>
                  <a:gd name="connsiteY31" fmla="*/ 1895238 h 5322210"/>
                  <a:gd name="connsiteX32" fmla="*/ 2444476 w 2460678"/>
                  <a:gd name="connsiteY32" fmla="*/ 1898756 h 5322210"/>
                  <a:gd name="connsiteX33" fmla="*/ 2443809 w 2460678"/>
                  <a:gd name="connsiteY33" fmla="*/ 3074956 h 5322210"/>
                  <a:gd name="connsiteX34" fmla="*/ 2441669 w 2460678"/>
                  <a:gd name="connsiteY34" fmla="*/ 4839743 h 5322210"/>
                  <a:gd name="connsiteX35" fmla="*/ 2374871 w 2460678"/>
                  <a:gd name="connsiteY35" fmla="*/ 5098723 h 5322210"/>
                  <a:gd name="connsiteX36" fmla="*/ 2230903 w 2460678"/>
                  <a:gd name="connsiteY36" fmla="*/ 5253163 h 5322210"/>
                  <a:gd name="connsiteX37" fmla="*/ 2020267 w 2460678"/>
                  <a:gd name="connsiteY37" fmla="*/ 5321674 h 5322210"/>
                  <a:gd name="connsiteX38" fmla="*/ 1970713 w 2460678"/>
                  <a:gd name="connsiteY38"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9056 w 2460678"/>
                  <a:gd name="connsiteY9" fmla="*/ 2521688 h 5322210"/>
                  <a:gd name="connsiteX10" fmla="*/ 206180 w 2460678"/>
                  <a:gd name="connsiteY10" fmla="*/ 2428944 h 5322210"/>
                  <a:gd name="connsiteX11" fmla="*/ 407391 w 2460678"/>
                  <a:gd name="connsiteY11" fmla="*/ 2545097 h 5322210"/>
                  <a:gd name="connsiteX12" fmla="*/ 409165 w 2460678"/>
                  <a:gd name="connsiteY12" fmla="*/ 3924971 h 5322210"/>
                  <a:gd name="connsiteX13" fmla="*/ 407598 w 2460678"/>
                  <a:gd name="connsiteY13" fmla="*/ 3918379 h 5322210"/>
                  <a:gd name="connsiteX14" fmla="*/ 407517 w 2460678"/>
                  <a:gd name="connsiteY14" fmla="*/ 3931187 h 5322210"/>
                  <a:gd name="connsiteX15" fmla="*/ 464772 w 2460678"/>
                  <a:gd name="connsiteY15" fmla="*/ 4030357 h 5322210"/>
                  <a:gd name="connsiteX16" fmla="*/ 1965744 w 2460678"/>
                  <a:gd name="connsiteY16" fmla="*/ 4902275 h 5322210"/>
                  <a:gd name="connsiteX17" fmla="*/ 1966088 w 2460678"/>
                  <a:gd name="connsiteY17" fmla="*/ 4902667 h 5322210"/>
                  <a:gd name="connsiteX18" fmla="*/ 1988129 w 2460678"/>
                  <a:gd name="connsiteY18" fmla="*/ 4896480 h 5322210"/>
                  <a:gd name="connsiteX19" fmla="*/ 2034209 w 2460678"/>
                  <a:gd name="connsiteY19" fmla="*/ 4835926 h 5322210"/>
                  <a:gd name="connsiteX20" fmla="*/ 2036053 w 2460678"/>
                  <a:gd name="connsiteY20" fmla="*/ 4142900 h 5322210"/>
                  <a:gd name="connsiteX21" fmla="*/ 2038324 w 2460678"/>
                  <a:gd name="connsiteY21" fmla="*/ 1091692 h 5322210"/>
                  <a:gd name="connsiteX22" fmla="*/ 2037139 w 2460678"/>
                  <a:gd name="connsiteY22" fmla="*/ 1054114 h 5322210"/>
                  <a:gd name="connsiteX23" fmla="*/ 2035104 w 2460678"/>
                  <a:gd name="connsiteY23" fmla="*/ 531346 h 5322210"/>
                  <a:gd name="connsiteX24" fmla="*/ 2080595 w 2460678"/>
                  <a:gd name="connsiteY24" fmla="*/ 208620 h 5322210"/>
                  <a:gd name="connsiteX25" fmla="*/ 2245202 w 2460678"/>
                  <a:gd name="connsiteY25" fmla="*/ 62034 h 5322210"/>
                  <a:gd name="connsiteX26" fmla="*/ 2444848 w 2460678"/>
                  <a:gd name="connsiteY26" fmla="*/ 40248 h 5322210"/>
                  <a:gd name="connsiteX27" fmla="*/ 2448227 w 2460678"/>
                  <a:gd name="connsiteY27" fmla="*/ 576153 h 5322210"/>
                  <a:gd name="connsiteX28" fmla="*/ 2448222 w 2460678"/>
                  <a:gd name="connsiteY28" fmla="*/ 1102550 h 5322210"/>
                  <a:gd name="connsiteX29" fmla="*/ 2445445 w 2460678"/>
                  <a:gd name="connsiteY29" fmla="*/ 1118747 h 5322210"/>
                  <a:gd name="connsiteX30" fmla="*/ 2442619 w 2460678"/>
                  <a:gd name="connsiteY30" fmla="*/ 1895238 h 5322210"/>
                  <a:gd name="connsiteX31" fmla="*/ 2444476 w 2460678"/>
                  <a:gd name="connsiteY31" fmla="*/ 1898756 h 5322210"/>
                  <a:gd name="connsiteX32" fmla="*/ 2443809 w 2460678"/>
                  <a:gd name="connsiteY32" fmla="*/ 3074956 h 5322210"/>
                  <a:gd name="connsiteX33" fmla="*/ 2441669 w 2460678"/>
                  <a:gd name="connsiteY33" fmla="*/ 4839743 h 5322210"/>
                  <a:gd name="connsiteX34" fmla="*/ 2374871 w 2460678"/>
                  <a:gd name="connsiteY34" fmla="*/ 5098723 h 5322210"/>
                  <a:gd name="connsiteX35" fmla="*/ 2230903 w 2460678"/>
                  <a:gd name="connsiteY35" fmla="*/ 5253163 h 5322210"/>
                  <a:gd name="connsiteX36" fmla="*/ 2020267 w 2460678"/>
                  <a:gd name="connsiteY36" fmla="*/ 5321674 h 5322210"/>
                  <a:gd name="connsiteX37" fmla="*/ 1970713 w 2460678"/>
                  <a:gd name="connsiteY37"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9056 w 2460678"/>
                  <a:gd name="connsiteY9" fmla="*/ 2521688 h 5322210"/>
                  <a:gd name="connsiteX10" fmla="*/ 206180 w 2460678"/>
                  <a:gd name="connsiteY10" fmla="*/ 2428944 h 5322210"/>
                  <a:gd name="connsiteX11" fmla="*/ 409165 w 2460678"/>
                  <a:gd name="connsiteY11" fmla="*/ 3924971 h 5322210"/>
                  <a:gd name="connsiteX12" fmla="*/ 407598 w 2460678"/>
                  <a:gd name="connsiteY12" fmla="*/ 3918379 h 5322210"/>
                  <a:gd name="connsiteX13" fmla="*/ 407517 w 2460678"/>
                  <a:gd name="connsiteY13" fmla="*/ 3931187 h 5322210"/>
                  <a:gd name="connsiteX14" fmla="*/ 464772 w 2460678"/>
                  <a:gd name="connsiteY14" fmla="*/ 4030357 h 5322210"/>
                  <a:gd name="connsiteX15" fmla="*/ 1965744 w 2460678"/>
                  <a:gd name="connsiteY15" fmla="*/ 4902275 h 5322210"/>
                  <a:gd name="connsiteX16" fmla="*/ 1966088 w 2460678"/>
                  <a:gd name="connsiteY16" fmla="*/ 4902667 h 5322210"/>
                  <a:gd name="connsiteX17" fmla="*/ 1988129 w 2460678"/>
                  <a:gd name="connsiteY17" fmla="*/ 4896480 h 5322210"/>
                  <a:gd name="connsiteX18" fmla="*/ 2034209 w 2460678"/>
                  <a:gd name="connsiteY18" fmla="*/ 4835926 h 5322210"/>
                  <a:gd name="connsiteX19" fmla="*/ 2036053 w 2460678"/>
                  <a:gd name="connsiteY19" fmla="*/ 4142900 h 5322210"/>
                  <a:gd name="connsiteX20" fmla="*/ 2038324 w 2460678"/>
                  <a:gd name="connsiteY20" fmla="*/ 1091692 h 5322210"/>
                  <a:gd name="connsiteX21" fmla="*/ 2037139 w 2460678"/>
                  <a:gd name="connsiteY21" fmla="*/ 1054114 h 5322210"/>
                  <a:gd name="connsiteX22" fmla="*/ 2035104 w 2460678"/>
                  <a:gd name="connsiteY22" fmla="*/ 531346 h 5322210"/>
                  <a:gd name="connsiteX23" fmla="*/ 2080595 w 2460678"/>
                  <a:gd name="connsiteY23" fmla="*/ 208620 h 5322210"/>
                  <a:gd name="connsiteX24" fmla="*/ 2245202 w 2460678"/>
                  <a:gd name="connsiteY24" fmla="*/ 62034 h 5322210"/>
                  <a:gd name="connsiteX25" fmla="*/ 2444848 w 2460678"/>
                  <a:gd name="connsiteY25" fmla="*/ 40248 h 5322210"/>
                  <a:gd name="connsiteX26" fmla="*/ 2448227 w 2460678"/>
                  <a:gd name="connsiteY26" fmla="*/ 576153 h 5322210"/>
                  <a:gd name="connsiteX27" fmla="*/ 2448222 w 2460678"/>
                  <a:gd name="connsiteY27" fmla="*/ 1102550 h 5322210"/>
                  <a:gd name="connsiteX28" fmla="*/ 2445445 w 2460678"/>
                  <a:gd name="connsiteY28" fmla="*/ 1118747 h 5322210"/>
                  <a:gd name="connsiteX29" fmla="*/ 2442619 w 2460678"/>
                  <a:gd name="connsiteY29" fmla="*/ 1895238 h 5322210"/>
                  <a:gd name="connsiteX30" fmla="*/ 2444476 w 2460678"/>
                  <a:gd name="connsiteY30" fmla="*/ 1898756 h 5322210"/>
                  <a:gd name="connsiteX31" fmla="*/ 2443809 w 2460678"/>
                  <a:gd name="connsiteY31" fmla="*/ 3074956 h 5322210"/>
                  <a:gd name="connsiteX32" fmla="*/ 2441669 w 2460678"/>
                  <a:gd name="connsiteY32" fmla="*/ 4839743 h 5322210"/>
                  <a:gd name="connsiteX33" fmla="*/ 2374871 w 2460678"/>
                  <a:gd name="connsiteY33" fmla="*/ 5098723 h 5322210"/>
                  <a:gd name="connsiteX34" fmla="*/ 2230903 w 2460678"/>
                  <a:gd name="connsiteY34" fmla="*/ 5253163 h 5322210"/>
                  <a:gd name="connsiteX35" fmla="*/ 2020267 w 2460678"/>
                  <a:gd name="connsiteY35" fmla="*/ 5321674 h 5322210"/>
                  <a:gd name="connsiteX36" fmla="*/ 1970713 w 2460678"/>
                  <a:gd name="connsiteY36"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9056 w 2460678"/>
                  <a:gd name="connsiteY9" fmla="*/ 2521688 h 5322210"/>
                  <a:gd name="connsiteX10" fmla="*/ 409165 w 2460678"/>
                  <a:gd name="connsiteY10" fmla="*/ 3924971 h 5322210"/>
                  <a:gd name="connsiteX11" fmla="*/ 407598 w 2460678"/>
                  <a:gd name="connsiteY11" fmla="*/ 3918379 h 5322210"/>
                  <a:gd name="connsiteX12" fmla="*/ 407517 w 2460678"/>
                  <a:gd name="connsiteY12" fmla="*/ 3931187 h 5322210"/>
                  <a:gd name="connsiteX13" fmla="*/ 464772 w 2460678"/>
                  <a:gd name="connsiteY13" fmla="*/ 4030357 h 5322210"/>
                  <a:gd name="connsiteX14" fmla="*/ 1965744 w 2460678"/>
                  <a:gd name="connsiteY14" fmla="*/ 4902275 h 5322210"/>
                  <a:gd name="connsiteX15" fmla="*/ 1966088 w 2460678"/>
                  <a:gd name="connsiteY15" fmla="*/ 4902667 h 5322210"/>
                  <a:gd name="connsiteX16" fmla="*/ 1988129 w 2460678"/>
                  <a:gd name="connsiteY16" fmla="*/ 4896480 h 5322210"/>
                  <a:gd name="connsiteX17" fmla="*/ 2034209 w 2460678"/>
                  <a:gd name="connsiteY17" fmla="*/ 4835926 h 5322210"/>
                  <a:gd name="connsiteX18" fmla="*/ 2036053 w 2460678"/>
                  <a:gd name="connsiteY18" fmla="*/ 4142900 h 5322210"/>
                  <a:gd name="connsiteX19" fmla="*/ 2038324 w 2460678"/>
                  <a:gd name="connsiteY19" fmla="*/ 1091692 h 5322210"/>
                  <a:gd name="connsiteX20" fmla="*/ 2037139 w 2460678"/>
                  <a:gd name="connsiteY20" fmla="*/ 1054114 h 5322210"/>
                  <a:gd name="connsiteX21" fmla="*/ 2035104 w 2460678"/>
                  <a:gd name="connsiteY21" fmla="*/ 531346 h 5322210"/>
                  <a:gd name="connsiteX22" fmla="*/ 2080595 w 2460678"/>
                  <a:gd name="connsiteY22" fmla="*/ 208620 h 5322210"/>
                  <a:gd name="connsiteX23" fmla="*/ 2245202 w 2460678"/>
                  <a:gd name="connsiteY23" fmla="*/ 62034 h 5322210"/>
                  <a:gd name="connsiteX24" fmla="*/ 2444848 w 2460678"/>
                  <a:gd name="connsiteY24" fmla="*/ 40248 h 5322210"/>
                  <a:gd name="connsiteX25" fmla="*/ 2448227 w 2460678"/>
                  <a:gd name="connsiteY25" fmla="*/ 576153 h 5322210"/>
                  <a:gd name="connsiteX26" fmla="*/ 2448222 w 2460678"/>
                  <a:gd name="connsiteY26" fmla="*/ 1102550 h 5322210"/>
                  <a:gd name="connsiteX27" fmla="*/ 2445445 w 2460678"/>
                  <a:gd name="connsiteY27" fmla="*/ 1118747 h 5322210"/>
                  <a:gd name="connsiteX28" fmla="*/ 2442619 w 2460678"/>
                  <a:gd name="connsiteY28" fmla="*/ 1895238 h 5322210"/>
                  <a:gd name="connsiteX29" fmla="*/ 2444476 w 2460678"/>
                  <a:gd name="connsiteY29" fmla="*/ 1898756 h 5322210"/>
                  <a:gd name="connsiteX30" fmla="*/ 2443809 w 2460678"/>
                  <a:gd name="connsiteY30" fmla="*/ 3074956 h 5322210"/>
                  <a:gd name="connsiteX31" fmla="*/ 2441669 w 2460678"/>
                  <a:gd name="connsiteY31" fmla="*/ 4839743 h 5322210"/>
                  <a:gd name="connsiteX32" fmla="*/ 2374871 w 2460678"/>
                  <a:gd name="connsiteY32" fmla="*/ 5098723 h 5322210"/>
                  <a:gd name="connsiteX33" fmla="*/ 2230903 w 2460678"/>
                  <a:gd name="connsiteY33" fmla="*/ 5253163 h 5322210"/>
                  <a:gd name="connsiteX34" fmla="*/ 2020267 w 2460678"/>
                  <a:gd name="connsiteY34" fmla="*/ 5321674 h 5322210"/>
                  <a:gd name="connsiteX35" fmla="*/ 1970713 w 2460678"/>
                  <a:gd name="connsiteY35"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409165 w 2460678"/>
                  <a:gd name="connsiteY9" fmla="*/ 3924971 h 5322210"/>
                  <a:gd name="connsiteX10" fmla="*/ 407598 w 2460678"/>
                  <a:gd name="connsiteY10" fmla="*/ 3918379 h 5322210"/>
                  <a:gd name="connsiteX11" fmla="*/ 407517 w 2460678"/>
                  <a:gd name="connsiteY11" fmla="*/ 3931187 h 5322210"/>
                  <a:gd name="connsiteX12" fmla="*/ 464772 w 2460678"/>
                  <a:gd name="connsiteY12" fmla="*/ 4030357 h 5322210"/>
                  <a:gd name="connsiteX13" fmla="*/ 1965744 w 2460678"/>
                  <a:gd name="connsiteY13" fmla="*/ 4902275 h 5322210"/>
                  <a:gd name="connsiteX14" fmla="*/ 1966088 w 2460678"/>
                  <a:gd name="connsiteY14" fmla="*/ 4902667 h 5322210"/>
                  <a:gd name="connsiteX15" fmla="*/ 1988129 w 2460678"/>
                  <a:gd name="connsiteY15" fmla="*/ 4896480 h 5322210"/>
                  <a:gd name="connsiteX16" fmla="*/ 2034209 w 2460678"/>
                  <a:gd name="connsiteY16" fmla="*/ 4835926 h 5322210"/>
                  <a:gd name="connsiteX17" fmla="*/ 2036053 w 2460678"/>
                  <a:gd name="connsiteY17" fmla="*/ 4142900 h 5322210"/>
                  <a:gd name="connsiteX18" fmla="*/ 2038324 w 2460678"/>
                  <a:gd name="connsiteY18" fmla="*/ 1091692 h 5322210"/>
                  <a:gd name="connsiteX19" fmla="*/ 2037139 w 2460678"/>
                  <a:gd name="connsiteY19" fmla="*/ 1054114 h 5322210"/>
                  <a:gd name="connsiteX20" fmla="*/ 2035104 w 2460678"/>
                  <a:gd name="connsiteY20" fmla="*/ 531346 h 5322210"/>
                  <a:gd name="connsiteX21" fmla="*/ 2080595 w 2460678"/>
                  <a:gd name="connsiteY21" fmla="*/ 208620 h 5322210"/>
                  <a:gd name="connsiteX22" fmla="*/ 2245202 w 2460678"/>
                  <a:gd name="connsiteY22" fmla="*/ 62034 h 5322210"/>
                  <a:gd name="connsiteX23" fmla="*/ 2444848 w 2460678"/>
                  <a:gd name="connsiteY23" fmla="*/ 40248 h 5322210"/>
                  <a:gd name="connsiteX24" fmla="*/ 2448227 w 2460678"/>
                  <a:gd name="connsiteY24" fmla="*/ 576153 h 5322210"/>
                  <a:gd name="connsiteX25" fmla="*/ 2448222 w 2460678"/>
                  <a:gd name="connsiteY25" fmla="*/ 1102550 h 5322210"/>
                  <a:gd name="connsiteX26" fmla="*/ 2445445 w 2460678"/>
                  <a:gd name="connsiteY26" fmla="*/ 1118747 h 5322210"/>
                  <a:gd name="connsiteX27" fmla="*/ 2442619 w 2460678"/>
                  <a:gd name="connsiteY27" fmla="*/ 1895238 h 5322210"/>
                  <a:gd name="connsiteX28" fmla="*/ 2444476 w 2460678"/>
                  <a:gd name="connsiteY28" fmla="*/ 1898756 h 5322210"/>
                  <a:gd name="connsiteX29" fmla="*/ 2443809 w 2460678"/>
                  <a:gd name="connsiteY29" fmla="*/ 3074956 h 5322210"/>
                  <a:gd name="connsiteX30" fmla="*/ 2441669 w 2460678"/>
                  <a:gd name="connsiteY30" fmla="*/ 4839743 h 5322210"/>
                  <a:gd name="connsiteX31" fmla="*/ 2374871 w 2460678"/>
                  <a:gd name="connsiteY31" fmla="*/ 5098723 h 5322210"/>
                  <a:gd name="connsiteX32" fmla="*/ 2230903 w 2460678"/>
                  <a:gd name="connsiteY32" fmla="*/ 5253163 h 5322210"/>
                  <a:gd name="connsiteX33" fmla="*/ 2020267 w 2460678"/>
                  <a:gd name="connsiteY33" fmla="*/ 5321674 h 5322210"/>
                  <a:gd name="connsiteX34" fmla="*/ 1970713 w 2460678"/>
                  <a:gd name="connsiteY34"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409165 w 2460678"/>
                  <a:gd name="connsiteY8" fmla="*/ 3924971 h 5322210"/>
                  <a:gd name="connsiteX9" fmla="*/ 407598 w 2460678"/>
                  <a:gd name="connsiteY9" fmla="*/ 3918379 h 5322210"/>
                  <a:gd name="connsiteX10" fmla="*/ 407517 w 2460678"/>
                  <a:gd name="connsiteY10" fmla="*/ 3931187 h 5322210"/>
                  <a:gd name="connsiteX11" fmla="*/ 464772 w 2460678"/>
                  <a:gd name="connsiteY11" fmla="*/ 4030357 h 5322210"/>
                  <a:gd name="connsiteX12" fmla="*/ 1965744 w 2460678"/>
                  <a:gd name="connsiteY12" fmla="*/ 4902275 h 5322210"/>
                  <a:gd name="connsiteX13" fmla="*/ 1966088 w 2460678"/>
                  <a:gd name="connsiteY13" fmla="*/ 4902667 h 5322210"/>
                  <a:gd name="connsiteX14" fmla="*/ 1988129 w 2460678"/>
                  <a:gd name="connsiteY14" fmla="*/ 4896480 h 5322210"/>
                  <a:gd name="connsiteX15" fmla="*/ 2034209 w 2460678"/>
                  <a:gd name="connsiteY15" fmla="*/ 4835926 h 5322210"/>
                  <a:gd name="connsiteX16" fmla="*/ 2036053 w 2460678"/>
                  <a:gd name="connsiteY16" fmla="*/ 4142900 h 5322210"/>
                  <a:gd name="connsiteX17" fmla="*/ 2038324 w 2460678"/>
                  <a:gd name="connsiteY17" fmla="*/ 1091692 h 5322210"/>
                  <a:gd name="connsiteX18" fmla="*/ 2037139 w 2460678"/>
                  <a:gd name="connsiteY18" fmla="*/ 1054114 h 5322210"/>
                  <a:gd name="connsiteX19" fmla="*/ 2035104 w 2460678"/>
                  <a:gd name="connsiteY19" fmla="*/ 531346 h 5322210"/>
                  <a:gd name="connsiteX20" fmla="*/ 2080595 w 2460678"/>
                  <a:gd name="connsiteY20" fmla="*/ 208620 h 5322210"/>
                  <a:gd name="connsiteX21" fmla="*/ 2245202 w 2460678"/>
                  <a:gd name="connsiteY21" fmla="*/ 62034 h 5322210"/>
                  <a:gd name="connsiteX22" fmla="*/ 2444848 w 2460678"/>
                  <a:gd name="connsiteY22" fmla="*/ 40248 h 5322210"/>
                  <a:gd name="connsiteX23" fmla="*/ 2448227 w 2460678"/>
                  <a:gd name="connsiteY23" fmla="*/ 576153 h 5322210"/>
                  <a:gd name="connsiteX24" fmla="*/ 2448222 w 2460678"/>
                  <a:gd name="connsiteY24" fmla="*/ 1102550 h 5322210"/>
                  <a:gd name="connsiteX25" fmla="*/ 2445445 w 2460678"/>
                  <a:gd name="connsiteY25" fmla="*/ 1118747 h 5322210"/>
                  <a:gd name="connsiteX26" fmla="*/ 2442619 w 2460678"/>
                  <a:gd name="connsiteY26" fmla="*/ 1895238 h 5322210"/>
                  <a:gd name="connsiteX27" fmla="*/ 2444476 w 2460678"/>
                  <a:gd name="connsiteY27" fmla="*/ 1898756 h 5322210"/>
                  <a:gd name="connsiteX28" fmla="*/ 2443809 w 2460678"/>
                  <a:gd name="connsiteY28" fmla="*/ 3074956 h 5322210"/>
                  <a:gd name="connsiteX29" fmla="*/ 2441669 w 2460678"/>
                  <a:gd name="connsiteY29" fmla="*/ 4839743 h 5322210"/>
                  <a:gd name="connsiteX30" fmla="*/ 2374871 w 2460678"/>
                  <a:gd name="connsiteY30" fmla="*/ 5098723 h 5322210"/>
                  <a:gd name="connsiteX31" fmla="*/ 2230903 w 2460678"/>
                  <a:gd name="connsiteY31" fmla="*/ 5253163 h 5322210"/>
                  <a:gd name="connsiteX32" fmla="*/ 2020267 w 2460678"/>
                  <a:gd name="connsiteY32" fmla="*/ 5321674 h 5322210"/>
                  <a:gd name="connsiteX33" fmla="*/ 1970713 w 2460678"/>
                  <a:gd name="connsiteY33" fmla="*/ 5322174 h 5322210"/>
                  <a:gd name="connsiteX0" fmla="*/ 1970596 w 2460561"/>
                  <a:gd name="connsiteY0" fmla="*/ 5322174 h 5322210"/>
                  <a:gd name="connsiteX1" fmla="*/ 1858972 w 2460561"/>
                  <a:gd name="connsiteY1" fmla="*/ 5294374 h 5322210"/>
                  <a:gd name="connsiteX2" fmla="*/ 1798971 w 2460561"/>
                  <a:gd name="connsiteY2" fmla="*/ 5264522 h 5322210"/>
                  <a:gd name="connsiteX3" fmla="*/ 257624 w 2460561"/>
                  <a:gd name="connsiteY3" fmla="*/ 4381324 h 5322210"/>
                  <a:gd name="connsiteX4" fmla="*/ 66738 w 2460561"/>
                  <a:gd name="connsiteY4" fmla="*/ 4193984 h 5322210"/>
                  <a:gd name="connsiteX5" fmla="*/ 4968 w 2460561"/>
                  <a:gd name="connsiteY5" fmla="*/ 3992081 h 5322210"/>
                  <a:gd name="connsiteX6" fmla="*/ 0 w 2460561"/>
                  <a:gd name="connsiteY6" fmla="*/ 3935691 h 5322210"/>
                  <a:gd name="connsiteX7" fmla="*/ 409048 w 2460561"/>
                  <a:gd name="connsiteY7" fmla="*/ 3924971 h 5322210"/>
                  <a:gd name="connsiteX8" fmla="*/ 407481 w 2460561"/>
                  <a:gd name="connsiteY8" fmla="*/ 3918379 h 5322210"/>
                  <a:gd name="connsiteX9" fmla="*/ 407400 w 2460561"/>
                  <a:gd name="connsiteY9" fmla="*/ 3931187 h 5322210"/>
                  <a:gd name="connsiteX10" fmla="*/ 464655 w 2460561"/>
                  <a:gd name="connsiteY10" fmla="*/ 4030357 h 5322210"/>
                  <a:gd name="connsiteX11" fmla="*/ 1965627 w 2460561"/>
                  <a:gd name="connsiteY11" fmla="*/ 4902275 h 5322210"/>
                  <a:gd name="connsiteX12" fmla="*/ 1965971 w 2460561"/>
                  <a:gd name="connsiteY12" fmla="*/ 4902667 h 5322210"/>
                  <a:gd name="connsiteX13" fmla="*/ 1988012 w 2460561"/>
                  <a:gd name="connsiteY13" fmla="*/ 4896480 h 5322210"/>
                  <a:gd name="connsiteX14" fmla="*/ 2034092 w 2460561"/>
                  <a:gd name="connsiteY14" fmla="*/ 4835926 h 5322210"/>
                  <a:gd name="connsiteX15" fmla="*/ 2035936 w 2460561"/>
                  <a:gd name="connsiteY15" fmla="*/ 4142900 h 5322210"/>
                  <a:gd name="connsiteX16" fmla="*/ 2038207 w 2460561"/>
                  <a:gd name="connsiteY16" fmla="*/ 1091692 h 5322210"/>
                  <a:gd name="connsiteX17" fmla="*/ 2037022 w 2460561"/>
                  <a:gd name="connsiteY17" fmla="*/ 1054114 h 5322210"/>
                  <a:gd name="connsiteX18" fmla="*/ 2034987 w 2460561"/>
                  <a:gd name="connsiteY18" fmla="*/ 531346 h 5322210"/>
                  <a:gd name="connsiteX19" fmla="*/ 2080478 w 2460561"/>
                  <a:gd name="connsiteY19" fmla="*/ 208620 h 5322210"/>
                  <a:gd name="connsiteX20" fmla="*/ 2245085 w 2460561"/>
                  <a:gd name="connsiteY20" fmla="*/ 62034 h 5322210"/>
                  <a:gd name="connsiteX21" fmla="*/ 2444731 w 2460561"/>
                  <a:gd name="connsiteY21" fmla="*/ 40248 h 5322210"/>
                  <a:gd name="connsiteX22" fmla="*/ 2448110 w 2460561"/>
                  <a:gd name="connsiteY22" fmla="*/ 576153 h 5322210"/>
                  <a:gd name="connsiteX23" fmla="*/ 2448105 w 2460561"/>
                  <a:gd name="connsiteY23" fmla="*/ 1102550 h 5322210"/>
                  <a:gd name="connsiteX24" fmla="*/ 2445328 w 2460561"/>
                  <a:gd name="connsiteY24" fmla="*/ 1118747 h 5322210"/>
                  <a:gd name="connsiteX25" fmla="*/ 2442502 w 2460561"/>
                  <a:gd name="connsiteY25" fmla="*/ 1895238 h 5322210"/>
                  <a:gd name="connsiteX26" fmla="*/ 2444359 w 2460561"/>
                  <a:gd name="connsiteY26" fmla="*/ 1898756 h 5322210"/>
                  <a:gd name="connsiteX27" fmla="*/ 2443692 w 2460561"/>
                  <a:gd name="connsiteY27" fmla="*/ 3074956 h 5322210"/>
                  <a:gd name="connsiteX28" fmla="*/ 2441552 w 2460561"/>
                  <a:gd name="connsiteY28" fmla="*/ 4839743 h 5322210"/>
                  <a:gd name="connsiteX29" fmla="*/ 2374754 w 2460561"/>
                  <a:gd name="connsiteY29" fmla="*/ 5098723 h 5322210"/>
                  <a:gd name="connsiteX30" fmla="*/ 2230786 w 2460561"/>
                  <a:gd name="connsiteY30" fmla="*/ 5253163 h 5322210"/>
                  <a:gd name="connsiteX31" fmla="*/ 2020150 w 2460561"/>
                  <a:gd name="connsiteY31" fmla="*/ 5321674 h 5322210"/>
                  <a:gd name="connsiteX32" fmla="*/ 1970596 w 2460561"/>
                  <a:gd name="connsiteY32" fmla="*/ 5322174 h 5322210"/>
                  <a:gd name="connsiteX0" fmla="*/ 1965628 w 2455593"/>
                  <a:gd name="connsiteY0" fmla="*/ 5322174 h 5322210"/>
                  <a:gd name="connsiteX1" fmla="*/ 1854004 w 2455593"/>
                  <a:gd name="connsiteY1" fmla="*/ 5294374 h 5322210"/>
                  <a:gd name="connsiteX2" fmla="*/ 1794003 w 2455593"/>
                  <a:gd name="connsiteY2" fmla="*/ 5264522 h 5322210"/>
                  <a:gd name="connsiteX3" fmla="*/ 252656 w 2455593"/>
                  <a:gd name="connsiteY3" fmla="*/ 4381324 h 5322210"/>
                  <a:gd name="connsiteX4" fmla="*/ 61770 w 2455593"/>
                  <a:gd name="connsiteY4" fmla="*/ 4193984 h 5322210"/>
                  <a:gd name="connsiteX5" fmla="*/ 0 w 2455593"/>
                  <a:gd name="connsiteY5" fmla="*/ 3992081 h 5322210"/>
                  <a:gd name="connsiteX6" fmla="*/ 404080 w 2455593"/>
                  <a:gd name="connsiteY6" fmla="*/ 3924971 h 5322210"/>
                  <a:gd name="connsiteX7" fmla="*/ 402513 w 2455593"/>
                  <a:gd name="connsiteY7" fmla="*/ 3918379 h 5322210"/>
                  <a:gd name="connsiteX8" fmla="*/ 402432 w 2455593"/>
                  <a:gd name="connsiteY8" fmla="*/ 3931187 h 5322210"/>
                  <a:gd name="connsiteX9" fmla="*/ 459687 w 2455593"/>
                  <a:gd name="connsiteY9" fmla="*/ 4030357 h 5322210"/>
                  <a:gd name="connsiteX10" fmla="*/ 1960659 w 2455593"/>
                  <a:gd name="connsiteY10" fmla="*/ 4902275 h 5322210"/>
                  <a:gd name="connsiteX11" fmla="*/ 1961003 w 2455593"/>
                  <a:gd name="connsiteY11" fmla="*/ 4902667 h 5322210"/>
                  <a:gd name="connsiteX12" fmla="*/ 1983044 w 2455593"/>
                  <a:gd name="connsiteY12" fmla="*/ 4896480 h 5322210"/>
                  <a:gd name="connsiteX13" fmla="*/ 2029124 w 2455593"/>
                  <a:gd name="connsiteY13" fmla="*/ 4835926 h 5322210"/>
                  <a:gd name="connsiteX14" fmla="*/ 2030968 w 2455593"/>
                  <a:gd name="connsiteY14" fmla="*/ 4142900 h 5322210"/>
                  <a:gd name="connsiteX15" fmla="*/ 2033239 w 2455593"/>
                  <a:gd name="connsiteY15" fmla="*/ 1091692 h 5322210"/>
                  <a:gd name="connsiteX16" fmla="*/ 2032054 w 2455593"/>
                  <a:gd name="connsiteY16" fmla="*/ 1054114 h 5322210"/>
                  <a:gd name="connsiteX17" fmla="*/ 2030019 w 2455593"/>
                  <a:gd name="connsiteY17" fmla="*/ 531346 h 5322210"/>
                  <a:gd name="connsiteX18" fmla="*/ 2075510 w 2455593"/>
                  <a:gd name="connsiteY18" fmla="*/ 208620 h 5322210"/>
                  <a:gd name="connsiteX19" fmla="*/ 2240117 w 2455593"/>
                  <a:gd name="connsiteY19" fmla="*/ 62034 h 5322210"/>
                  <a:gd name="connsiteX20" fmla="*/ 2439763 w 2455593"/>
                  <a:gd name="connsiteY20" fmla="*/ 40248 h 5322210"/>
                  <a:gd name="connsiteX21" fmla="*/ 2443142 w 2455593"/>
                  <a:gd name="connsiteY21" fmla="*/ 576153 h 5322210"/>
                  <a:gd name="connsiteX22" fmla="*/ 2443137 w 2455593"/>
                  <a:gd name="connsiteY22" fmla="*/ 1102550 h 5322210"/>
                  <a:gd name="connsiteX23" fmla="*/ 2440360 w 2455593"/>
                  <a:gd name="connsiteY23" fmla="*/ 1118747 h 5322210"/>
                  <a:gd name="connsiteX24" fmla="*/ 2437534 w 2455593"/>
                  <a:gd name="connsiteY24" fmla="*/ 1895238 h 5322210"/>
                  <a:gd name="connsiteX25" fmla="*/ 2439391 w 2455593"/>
                  <a:gd name="connsiteY25" fmla="*/ 1898756 h 5322210"/>
                  <a:gd name="connsiteX26" fmla="*/ 2438724 w 2455593"/>
                  <a:gd name="connsiteY26" fmla="*/ 3074956 h 5322210"/>
                  <a:gd name="connsiteX27" fmla="*/ 2436584 w 2455593"/>
                  <a:gd name="connsiteY27" fmla="*/ 4839743 h 5322210"/>
                  <a:gd name="connsiteX28" fmla="*/ 2369786 w 2455593"/>
                  <a:gd name="connsiteY28" fmla="*/ 5098723 h 5322210"/>
                  <a:gd name="connsiteX29" fmla="*/ 2225818 w 2455593"/>
                  <a:gd name="connsiteY29" fmla="*/ 5253163 h 5322210"/>
                  <a:gd name="connsiteX30" fmla="*/ 2015182 w 2455593"/>
                  <a:gd name="connsiteY30" fmla="*/ 5321674 h 5322210"/>
                  <a:gd name="connsiteX31" fmla="*/ 1965628 w 2455593"/>
                  <a:gd name="connsiteY31" fmla="*/ 5322174 h 5322210"/>
                  <a:gd name="connsiteX0" fmla="*/ 1906707 w 2396672"/>
                  <a:gd name="connsiteY0" fmla="*/ 5322174 h 5322210"/>
                  <a:gd name="connsiteX1" fmla="*/ 1795083 w 2396672"/>
                  <a:gd name="connsiteY1" fmla="*/ 5294374 h 5322210"/>
                  <a:gd name="connsiteX2" fmla="*/ 1735082 w 2396672"/>
                  <a:gd name="connsiteY2" fmla="*/ 5264522 h 5322210"/>
                  <a:gd name="connsiteX3" fmla="*/ 193735 w 2396672"/>
                  <a:gd name="connsiteY3" fmla="*/ 4381324 h 5322210"/>
                  <a:gd name="connsiteX4" fmla="*/ 2849 w 2396672"/>
                  <a:gd name="connsiteY4" fmla="*/ 4193984 h 5322210"/>
                  <a:gd name="connsiteX5" fmla="*/ 345159 w 2396672"/>
                  <a:gd name="connsiteY5" fmla="*/ 3924971 h 5322210"/>
                  <a:gd name="connsiteX6" fmla="*/ 343592 w 2396672"/>
                  <a:gd name="connsiteY6" fmla="*/ 3918379 h 5322210"/>
                  <a:gd name="connsiteX7" fmla="*/ 343511 w 2396672"/>
                  <a:gd name="connsiteY7" fmla="*/ 3931187 h 5322210"/>
                  <a:gd name="connsiteX8" fmla="*/ 400766 w 2396672"/>
                  <a:gd name="connsiteY8" fmla="*/ 4030357 h 5322210"/>
                  <a:gd name="connsiteX9" fmla="*/ 1901738 w 2396672"/>
                  <a:gd name="connsiteY9" fmla="*/ 4902275 h 5322210"/>
                  <a:gd name="connsiteX10" fmla="*/ 1902082 w 2396672"/>
                  <a:gd name="connsiteY10" fmla="*/ 4902667 h 5322210"/>
                  <a:gd name="connsiteX11" fmla="*/ 1924123 w 2396672"/>
                  <a:gd name="connsiteY11" fmla="*/ 4896480 h 5322210"/>
                  <a:gd name="connsiteX12" fmla="*/ 1970203 w 2396672"/>
                  <a:gd name="connsiteY12" fmla="*/ 4835926 h 5322210"/>
                  <a:gd name="connsiteX13" fmla="*/ 1972047 w 2396672"/>
                  <a:gd name="connsiteY13" fmla="*/ 4142900 h 5322210"/>
                  <a:gd name="connsiteX14" fmla="*/ 1974318 w 2396672"/>
                  <a:gd name="connsiteY14" fmla="*/ 1091692 h 5322210"/>
                  <a:gd name="connsiteX15" fmla="*/ 1973133 w 2396672"/>
                  <a:gd name="connsiteY15" fmla="*/ 1054114 h 5322210"/>
                  <a:gd name="connsiteX16" fmla="*/ 1971098 w 2396672"/>
                  <a:gd name="connsiteY16" fmla="*/ 531346 h 5322210"/>
                  <a:gd name="connsiteX17" fmla="*/ 2016589 w 2396672"/>
                  <a:gd name="connsiteY17" fmla="*/ 208620 h 5322210"/>
                  <a:gd name="connsiteX18" fmla="*/ 2181196 w 2396672"/>
                  <a:gd name="connsiteY18" fmla="*/ 62034 h 5322210"/>
                  <a:gd name="connsiteX19" fmla="*/ 2380842 w 2396672"/>
                  <a:gd name="connsiteY19" fmla="*/ 40248 h 5322210"/>
                  <a:gd name="connsiteX20" fmla="*/ 2384221 w 2396672"/>
                  <a:gd name="connsiteY20" fmla="*/ 576153 h 5322210"/>
                  <a:gd name="connsiteX21" fmla="*/ 2384216 w 2396672"/>
                  <a:gd name="connsiteY21" fmla="*/ 1102550 h 5322210"/>
                  <a:gd name="connsiteX22" fmla="*/ 2381439 w 2396672"/>
                  <a:gd name="connsiteY22" fmla="*/ 1118747 h 5322210"/>
                  <a:gd name="connsiteX23" fmla="*/ 2378613 w 2396672"/>
                  <a:gd name="connsiteY23" fmla="*/ 1895238 h 5322210"/>
                  <a:gd name="connsiteX24" fmla="*/ 2380470 w 2396672"/>
                  <a:gd name="connsiteY24" fmla="*/ 1898756 h 5322210"/>
                  <a:gd name="connsiteX25" fmla="*/ 2379803 w 2396672"/>
                  <a:gd name="connsiteY25" fmla="*/ 3074956 h 5322210"/>
                  <a:gd name="connsiteX26" fmla="*/ 2377663 w 2396672"/>
                  <a:gd name="connsiteY26" fmla="*/ 4839743 h 5322210"/>
                  <a:gd name="connsiteX27" fmla="*/ 2310865 w 2396672"/>
                  <a:gd name="connsiteY27" fmla="*/ 5098723 h 5322210"/>
                  <a:gd name="connsiteX28" fmla="*/ 2166897 w 2396672"/>
                  <a:gd name="connsiteY28" fmla="*/ 5253163 h 5322210"/>
                  <a:gd name="connsiteX29" fmla="*/ 1956261 w 2396672"/>
                  <a:gd name="connsiteY29" fmla="*/ 5321674 h 5322210"/>
                  <a:gd name="connsiteX30" fmla="*/ 1906707 w 2396672"/>
                  <a:gd name="connsiteY30" fmla="*/ 5322174 h 5322210"/>
                  <a:gd name="connsiteX0" fmla="*/ 1790618 w 2280583"/>
                  <a:gd name="connsiteY0" fmla="*/ 5322174 h 5322210"/>
                  <a:gd name="connsiteX1" fmla="*/ 1678994 w 2280583"/>
                  <a:gd name="connsiteY1" fmla="*/ 5294374 h 5322210"/>
                  <a:gd name="connsiteX2" fmla="*/ 1618993 w 2280583"/>
                  <a:gd name="connsiteY2" fmla="*/ 5264522 h 5322210"/>
                  <a:gd name="connsiteX3" fmla="*/ 77646 w 2280583"/>
                  <a:gd name="connsiteY3" fmla="*/ 4381324 h 5322210"/>
                  <a:gd name="connsiteX4" fmla="*/ 229070 w 2280583"/>
                  <a:gd name="connsiteY4" fmla="*/ 3924971 h 5322210"/>
                  <a:gd name="connsiteX5" fmla="*/ 227503 w 2280583"/>
                  <a:gd name="connsiteY5" fmla="*/ 3918379 h 5322210"/>
                  <a:gd name="connsiteX6" fmla="*/ 227422 w 2280583"/>
                  <a:gd name="connsiteY6" fmla="*/ 3931187 h 5322210"/>
                  <a:gd name="connsiteX7" fmla="*/ 284677 w 2280583"/>
                  <a:gd name="connsiteY7" fmla="*/ 4030357 h 5322210"/>
                  <a:gd name="connsiteX8" fmla="*/ 1785649 w 2280583"/>
                  <a:gd name="connsiteY8" fmla="*/ 4902275 h 5322210"/>
                  <a:gd name="connsiteX9" fmla="*/ 1785993 w 2280583"/>
                  <a:gd name="connsiteY9" fmla="*/ 4902667 h 5322210"/>
                  <a:gd name="connsiteX10" fmla="*/ 1808034 w 2280583"/>
                  <a:gd name="connsiteY10" fmla="*/ 4896480 h 5322210"/>
                  <a:gd name="connsiteX11" fmla="*/ 1854114 w 2280583"/>
                  <a:gd name="connsiteY11" fmla="*/ 4835926 h 5322210"/>
                  <a:gd name="connsiteX12" fmla="*/ 1855958 w 2280583"/>
                  <a:gd name="connsiteY12" fmla="*/ 4142900 h 5322210"/>
                  <a:gd name="connsiteX13" fmla="*/ 1858229 w 2280583"/>
                  <a:gd name="connsiteY13" fmla="*/ 1091692 h 5322210"/>
                  <a:gd name="connsiteX14" fmla="*/ 1857044 w 2280583"/>
                  <a:gd name="connsiteY14" fmla="*/ 1054114 h 5322210"/>
                  <a:gd name="connsiteX15" fmla="*/ 1855009 w 2280583"/>
                  <a:gd name="connsiteY15" fmla="*/ 531346 h 5322210"/>
                  <a:gd name="connsiteX16" fmla="*/ 1900500 w 2280583"/>
                  <a:gd name="connsiteY16" fmla="*/ 208620 h 5322210"/>
                  <a:gd name="connsiteX17" fmla="*/ 2065107 w 2280583"/>
                  <a:gd name="connsiteY17" fmla="*/ 62034 h 5322210"/>
                  <a:gd name="connsiteX18" fmla="*/ 2264753 w 2280583"/>
                  <a:gd name="connsiteY18" fmla="*/ 40248 h 5322210"/>
                  <a:gd name="connsiteX19" fmla="*/ 2268132 w 2280583"/>
                  <a:gd name="connsiteY19" fmla="*/ 576153 h 5322210"/>
                  <a:gd name="connsiteX20" fmla="*/ 2268127 w 2280583"/>
                  <a:gd name="connsiteY20" fmla="*/ 1102550 h 5322210"/>
                  <a:gd name="connsiteX21" fmla="*/ 2265350 w 2280583"/>
                  <a:gd name="connsiteY21" fmla="*/ 1118747 h 5322210"/>
                  <a:gd name="connsiteX22" fmla="*/ 2262524 w 2280583"/>
                  <a:gd name="connsiteY22" fmla="*/ 1895238 h 5322210"/>
                  <a:gd name="connsiteX23" fmla="*/ 2264381 w 2280583"/>
                  <a:gd name="connsiteY23" fmla="*/ 1898756 h 5322210"/>
                  <a:gd name="connsiteX24" fmla="*/ 2263714 w 2280583"/>
                  <a:gd name="connsiteY24" fmla="*/ 3074956 h 5322210"/>
                  <a:gd name="connsiteX25" fmla="*/ 2261574 w 2280583"/>
                  <a:gd name="connsiteY25" fmla="*/ 4839743 h 5322210"/>
                  <a:gd name="connsiteX26" fmla="*/ 2194776 w 2280583"/>
                  <a:gd name="connsiteY26" fmla="*/ 5098723 h 5322210"/>
                  <a:gd name="connsiteX27" fmla="*/ 2050808 w 2280583"/>
                  <a:gd name="connsiteY27" fmla="*/ 5253163 h 5322210"/>
                  <a:gd name="connsiteX28" fmla="*/ 1840172 w 2280583"/>
                  <a:gd name="connsiteY28" fmla="*/ 5321674 h 5322210"/>
                  <a:gd name="connsiteX29" fmla="*/ 1790618 w 2280583"/>
                  <a:gd name="connsiteY29" fmla="*/ 5322174 h 5322210"/>
                  <a:gd name="connsiteX0" fmla="*/ 1563196 w 2053161"/>
                  <a:gd name="connsiteY0" fmla="*/ 5322174 h 5322210"/>
                  <a:gd name="connsiteX1" fmla="*/ 1451572 w 2053161"/>
                  <a:gd name="connsiteY1" fmla="*/ 5294374 h 5322210"/>
                  <a:gd name="connsiteX2" fmla="*/ 1391571 w 2053161"/>
                  <a:gd name="connsiteY2" fmla="*/ 5264522 h 5322210"/>
                  <a:gd name="connsiteX3" fmla="*/ 1648 w 2053161"/>
                  <a:gd name="connsiteY3" fmla="*/ 3924971 h 5322210"/>
                  <a:gd name="connsiteX4" fmla="*/ 81 w 2053161"/>
                  <a:gd name="connsiteY4" fmla="*/ 3918379 h 5322210"/>
                  <a:gd name="connsiteX5" fmla="*/ 0 w 2053161"/>
                  <a:gd name="connsiteY5" fmla="*/ 3931187 h 5322210"/>
                  <a:gd name="connsiteX6" fmla="*/ 57255 w 2053161"/>
                  <a:gd name="connsiteY6" fmla="*/ 4030357 h 5322210"/>
                  <a:gd name="connsiteX7" fmla="*/ 1558227 w 2053161"/>
                  <a:gd name="connsiteY7" fmla="*/ 4902275 h 5322210"/>
                  <a:gd name="connsiteX8" fmla="*/ 1558571 w 2053161"/>
                  <a:gd name="connsiteY8" fmla="*/ 4902667 h 5322210"/>
                  <a:gd name="connsiteX9" fmla="*/ 1580612 w 2053161"/>
                  <a:gd name="connsiteY9" fmla="*/ 4896480 h 5322210"/>
                  <a:gd name="connsiteX10" fmla="*/ 1626692 w 2053161"/>
                  <a:gd name="connsiteY10" fmla="*/ 4835926 h 5322210"/>
                  <a:gd name="connsiteX11" fmla="*/ 1628536 w 2053161"/>
                  <a:gd name="connsiteY11" fmla="*/ 4142900 h 5322210"/>
                  <a:gd name="connsiteX12" fmla="*/ 1630807 w 2053161"/>
                  <a:gd name="connsiteY12" fmla="*/ 1091692 h 5322210"/>
                  <a:gd name="connsiteX13" fmla="*/ 1629622 w 2053161"/>
                  <a:gd name="connsiteY13" fmla="*/ 1054114 h 5322210"/>
                  <a:gd name="connsiteX14" fmla="*/ 1627587 w 2053161"/>
                  <a:gd name="connsiteY14" fmla="*/ 531346 h 5322210"/>
                  <a:gd name="connsiteX15" fmla="*/ 1673078 w 2053161"/>
                  <a:gd name="connsiteY15" fmla="*/ 208620 h 5322210"/>
                  <a:gd name="connsiteX16" fmla="*/ 1837685 w 2053161"/>
                  <a:gd name="connsiteY16" fmla="*/ 62034 h 5322210"/>
                  <a:gd name="connsiteX17" fmla="*/ 2037331 w 2053161"/>
                  <a:gd name="connsiteY17" fmla="*/ 40248 h 5322210"/>
                  <a:gd name="connsiteX18" fmla="*/ 2040710 w 2053161"/>
                  <a:gd name="connsiteY18" fmla="*/ 576153 h 5322210"/>
                  <a:gd name="connsiteX19" fmla="*/ 2040705 w 2053161"/>
                  <a:gd name="connsiteY19" fmla="*/ 1102550 h 5322210"/>
                  <a:gd name="connsiteX20" fmla="*/ 2037928 w 2053161"/>
                  <a:gd name="connsiteY20" fmla="*/ 1118747 h 5322210"/>
                  <a:gd name="connsiteX21" fmla="*/ 2035102 w 2053161"/>
                  <a:gd name="connsiteY21" fmla="*/ 1895238 h 5322210"/>
                  <a:gd name="connsiteX22" fmla="*/ 2036959 w 2053161"/>
                  <a:gd name="connsiteY22" fmla="*/ 1898756 h 5322210"/>
                  <a:gd name="connsiteX23" fmla="*/ 2036292 w 2053161"/>
                  <a:gd name="connsiteY23" fmla="*/ 3074956 h 5322210"/>
                  <a:gd name="connsiteX24" fmla="*/ 2034152 w 2053161"/>
                  <a:gd name="connsiteY24" fmla="*/ 4839743 h 5322210"/>
                  <a:gd name="connsiteX25" fmla="*/ 1967354 w 2053161"/>
                  <a:gd name="connsiteY25" fmla="*/ 5098723 h 5322210"/>
                  <a:gd name="connsiteX26" fmla="*/ 1823386 w 2053161"/>
                  <a:gd name="connsiteY26" fmla="*/ 5253163 h 5322210"/>
                  <a:gd name="connsiteX27" fmla="*/ 1612750 w 2053161"/>
                  <a:gd name="connsiteY27" fmla="*/ 5321674 h 5322210"/>
                  <a:gd name="connsiteX28" fmla="*/ 1563196 w 2053161"/>
                  <a:gd name="connsiteY28" fmla="*/ 5322174 h 5322210"/>
                  <a:gd name="connsiteX0" fmla="*/ 1635752 w 2125717"/>
                  <a:gd name="connsiteY0" fmla="*/ 5322174 h 5322210"/>
                  <a:gd name="connsiteX1" fmla="*/ 1524128 w 2125717"/>
                  <a:gd name="connsiteY1" fmla="*/ 5294374 h 5322210"/>
                  <a:gd name="connsiteX2" fmla="*/ 1464127 w 2125717"/>
                  <a:gd name="connsiteY2" fmla="*/ 5264522 h 5322210"/>
                  <a:gd name="connsiteX3" fmla="*/ 74204 w 2125717"/>
                  <a:gd name="connsiteY3" fmla="*/ 3924971 h 5322210"/>
                  <a:gd name="connsiteX4" fmla="*/ 72637 w 2125717"/>
                  <a:gd name="connsiteY4" fmla="*/ 3918379 h 5322210"/>
                  <a:gd name="connsiteX5" fmla="*/ 129811 w 2125717"/>
                  <a:gd name="connsiteY5" fmla="*/ 4030357 h 5322210"/>
                  <a:gd name="connsiteX6" fmla="*/ 1630783 w 2125717"/>
                  <a:gd name="connsiteY6" fmla="*/ 4902275 h 5322210"/>
                  <a:gd name="connsiteX7" fmla="*/ 1631127 w 2125717"/>
                  <a:gd name="connsiteY7" fmla="*/ 4902667 h 5322210"/>
                  <a:gd name="connsiteX8" fmla="*/ 1653168 w 2125717"/>
                  <a:gd name="connsiteY8" fmla="*/ 4896480 h 5322210"/>
                  <a:gd name="connsiteX9" fmla="*/ 1699248 w 2125717"/>
                  <a:gd name="connsiteY9" fmla="*/ 4835926 h 5322210"/>
                  <a:gd name="connsiteX10" fmla="*/ 1701092 w 2125717"/>
                  <a:gd name="connsiteY10" fmla="*/ 4142900 h 5322210"/>
                  <a:gd name="connsiteX11" fmla="*/ 1703363 w 2125717"/>
                  <a:gd name="connsiteY11" fmla="*/ 1091692 h 5322210"/>
                  <a:gd name="connsiteX12" fmla="*/ 1702178 w 2125717"/>
                  <a:gd name="connsiteY12" fmla="*/ 1054114 h 5322210"/>
                  <a:gd name="connsiteX13" fmla="*/ 1700143 w 2125717"/>
                  <a:gd name="connsiteY13" fmla="*/ 531346 h 5322210"/>
                  <a:gd name="connsiteX14" fmla="*/ 1745634 w 2125717"/>
                  <a:gd name="connsiteY14" fmla="*/ 208620 h 5322210"/>
                  <a:gd name="connsiteX15" fmla="*/ 1910241 w 2125717"/>
                  <a:gd name="connsiteY15" fmla="*/ 62034 h 5322210"/>
                  <a:gd name="connsiteX16" fmla="*/ 2109887 w 2125717"/>
                  <a:gd name="connsiteY16" fmla="*/ 40248 h 5322210"/>
                  <a:gd name="connsiteX17" fmla="*/ 2113266 w 2125717"/>
                  <a:gd name="connsiteY17" fmla="*/ 576153 h 5322210"/>
                  <a:gd name="connsiteX18" fmla="*/ 2113261 w 2125717"/>
                  <a:gd name="connsiteY18" fmla="*/ 1102550 h 5322210"/>
                  <a:gd name="connsiteX19" fmla="*/ 2110484 w 2125717"/>
                  <a:gd name="connsiteY19" fmla="*/ 1118747 h 5322210"/>
                  <a:gd name="connsiteX20" fmla="*/ 2107658 w 2125717"/>
                  <a:gd name="connsiteY20" fmla="*/ 1895238 h 5322210"/>
                  <a:gd name="connsiteX21" fmla="*/ 2109515 w 2125717"/>
                  <a:gd name="connsiteY21" fmla="*/ 1898756 h 5322210"/>
                  <a:gd name="connsiteX22" fmla="*/ 2108848 w 2125717"/>
                  <a:gd name="connsiteY22" fmla="*/ 3074956 h 5322210"/>
                  <a:gd name="connsiteX23" fmla="*/ 2106708 w 2125717"/>
                  <a:gd name="connsiteY23" fmla="*/ 4839743 h 5322210"/>
                  <a:gd name="connsiteX24" fmla="*/ 2039910 w 2125717"/>
                  <a:gd name="connsiteY24" fmla="*/ 5098723 h 5322210"/>
                  <a:gd name="connsiteX25" fmla="*/ 1895942 w 2125717"/>
                  <a:gd name="connsiteY25" fmla="*/ 5253163 h 5322210"/>
                  <a:gd name="connsiteX26" fmla="*/ 1685306 w 2125717"/>
                  <a:gd name="connsiteY26" fmla="*/ 5321674 h 5322210"/>
                  <a:gd name="connsiteX27" fmla="*/ 1635752 w 2125717"/>
                  <a:gd name="connsiteY27" fmla="*/ 5322174 h 5322210"/>
                  <a:gd name="connsiteX0" fmla="*/ 1563115 w 2053080"/>
                  <a:gd name="connsiteY0" fmla="*/ 5322174 h 5322210"/>
                  <a:gd name="connsiteX1" fmla="*/ 1451491 w 2053080"/>
                  <a:gd name="connsiteY1" fmla="*/ 5294374 h 5322210"/>
                  <a:gd name="connsiteX2" fmla="*/ 1391490 w 2053080"/>
                  <a:gd name="connsiteY2" fmla="*/ 5264522 h 5322210"/>
                  <a:gd name="connsiteX3" fmla="*/ 1567 w 2053080"/>
                  <a:gd name="connsiteY3" fmla="*/ 3924971 h 5322210"/>
                  <a:gd name="connsiteX4" fmla="*/ 0 w 2053080"/>
                  <a:gd name="connsiteY4" fmla="*/ 3918379 h 5322210"/>
                  <a:gd name="connsiteX5" fmla="*/ 1558146 w 2053080"/>
                  <a:gd name="connsiteY5" fmla="*/ 4902275 h 5322210"/>
                  <a:gd name="connsiteX6" fmla="*/ 1558490 w 2053080"/>
                  <a:gd name="connsiteY6" fmla="*/ 4902667 h 5322210"/>
                  <a:gd name="connsiteX7" fmla="*/ 1580531 w 2053080"/>
                  <a:gd name="connsiteY7" fmla="*/ 4896480 h 5322210"/>
                  <a:gd name="connsiteX8" fmla="*/ 1626611 w 2053080"/>
                  <a:gd name="connsiteY8" fmla="*/ 4835926 h 5322210"/>
                  <a:gd name="connsiteX9" fmla="*/ 1628455 w 2053080"/>
                  <a:gd name="connsiteY9" fmla="*/ 4142900 h 5322210"/>
                  <a:gd name="connsiteX10" fmla="*/ 1630726 w 2053080"/>
                  <a:gd name="connsiteY10" fmla="*/ 1091692 h 5322210"/>
                  <a:gd name="connsiteX11" fmla="*/ 1629541 w 2053080"/>
                  <a:gd name="connsiteY11" fmla="*/ 1054114 h 5322210"/>
                  <a:gd name="connsiteX12" fmla="*/ 1627506 w 2053080"/>
                  <a:gd name="connsiteY12" fmla="*/ 531346 h 5322210"/>
                  <a:gd name="connsiteX13" fmla="*/ 1672997 w 2053080"/>
                  <a:gd name="connsiteY13" fmla="*/ 208620 h 5322210"/>
                  <a:gd name="connsiteX14" fmla="*/ 1837604 w 2053080"/>
                  <a:gd name="connsiteY14" fmla="*/ 62034 h 5322210"/>
                  <a:gd name="connsiteX15" fmla="*/ 2037250 w 2053080"/>
                  <a:gd name="connsiteY15" fmla="*/ 40248 h 5322210"/>
                  <a:gd name="connsiteX16" fmla="*/ 2040629 w 2053080"/>
                  <a:gd name="connsiteY16" fmla="*/ 576153 h 5322210"/>
                  <a:gd name="connsiteX17" fmla="*/ 2040624 w 2053080"/>
                  <a:gd name="connsiteY17" fmla="*/ 1102550 h 5322210"/>
                  <a:gd name="connsiteX18" fmla="*/ 2037847 w 2053080"/>
                  <a:gd name="connsiteY18" fmla="*/ 1118747 h 5322210"/>
                  <a:gd name="connsiteX19" fmla="*/ 2035021 w 2053080"/>
                  <a:gd name="connsiteY19" fmla="*/ 1895238 h 5322210"/>
                  <a:gd name="connsiteX20" fmla="*/ 2036878 w 2053080"/>
                  <a:gd name="connsiteY20" fmla="*/ 1898756 h 5322210"/>
                  <a:gd name="connsiteX21" fmla="*/ 2036211 w 2053080"/>
                  <a:gd name="connsiteY21" fmla="*/ 3074956 h 5322210"/>
                  <a:gd name="connsiteX22" fmla="*/ 2034071 w 2053080"/>
                  <a:gd name="connsiteY22" fmla="*/ 4839743 h 5322210"/>
                  <a:gd name="connsiteX23" fmla="*/ 1967273 w 2053080"/>
                  <a:gd name="connsiteY23" fmla="*/ 5098723 h 5322210"/>
                  <a:gd name="connsiteX24" fmla="*/ 1823305 w 2053080"/>
                  <a:gd name="connsiteY24" fmla="*/ 5253163 h 5322210"/>
                  <a:gd name="connsiteX25" fmla="*/ 1612669 w 2053080"/>
                  <a:gd name="connsiteY25" fmla="*/ 5321674 h 5322210"/>
                  <a:gd name="connsiteX26" fmla="*/ 1563115 w 2053080"/>
                  <a:gd name="connsiteY26" fmla="*/ 5322174 h 5322210"/>
                  <a:gd name="connsiteX0" fmla="*/ 1561548 w 2051513"/>
                  <a:gd name="connsiteY0" fmla="*/ 5322174 h 5322210"/>
                  <a:gd name="connsiteX1" fmla="*/ 1449924 w 2051513"/>
                  <a:gd name="connsiteY1" fmla="*/ 5294374 h 5322210"/>
                  <a:gd name="connsiteX2" fmla="*/ 1389923 w 2051513"/>
                  <a:gd name="connsiteY2" fmla="*/ 5264522 h 5322210"/>
                  <a:gd name="connsiteX3" fmla="*/ 0 w 2051513"/>
                  <a:gd name="connsiteY3" fmla="*/ 3924971 h 5322210"/>
                  <a:gd name="connsiteX4" fmla="*/ 1556579 w 2051513"/>
                  <a:gd name="connsiteY4" fmla="*/ 4902275 h 5322210"/>
                  <a:gd name="connsiteX5" fmla="*/ 1556923 w 2051513"/>
                  <a:gd name="connsiteY5" fmla="*/ 4902667 h 5322210"/>
                  <a:gd name="connsiteX6" fmla="*/ 1578964 w 2051513"/>
                  <a:gd name="connsiteY6" fmla="*/ 4896480 h 5322210"/>
                  <a:gd name="connsiteX7" fmla="*/ 1625044 w 2051513"/>
                  <a:gd name="connsiteY7" fmla="*/ 4835926 h 5322210"/>
                  <a:gd name="connsiteX8" fmla="*/ 1626888 w 2051513"/>
                  <a:gd name="connsiteY8" fmla="*/ 4142900 h 5322210"/>
                  <a:gd name="connsiteX9" fmla="*/ 1629159 w 2051513"/>
                  <a:gd name="connsiteY9" fmla="*/ 1091692 h 5322210"/>
                  <a:gd name="connsiteX10" fmla="*/ 1627974 w 2051513"/>
                  <a:gd name="connsiteY10" fmla="*/ 1054114 h 5322210"/>
                  <a:gd name="connsiteX11" fmla="*/ 1625939 w 2051513"/>
                  <a:gd name="connsiteY11" fmla="*/ 531346 h 5322210"/>
                  <a:gd name="connsiteX12" fmla="*/ 1671430 w 2051513"/>
                  <a:gd name="connsiteY12" fmla="*/ 208620 h 5322210"/>
                  <a:gd name="connsiteX13" fmla="*/ 1836037 w 2051513"/>
                  <a:gd name="connsiteY13" fmla="*/ 62034 h 5322210"/>
                  <a:gd name="connsiteX14" fmla="*/ 2035683 w 2051513"/>
                  <a:gd name="connsiteY14" fmla="*/ 40248 h 5322210"/>
                  <a:gd name="connsiteX15" fmla="*/ 2039062 w 2051513"/>
                  <a:gd name="connsiteY15" fmla="*/ 576153 h 5322210"/>
                  <a:gd name="connsiteX16" fmla="*/ 2039057 w 2051513"/>
                  <a:gd name="connsiteY16" fmla="*/ 1102550 h 5322210"/>
                  <a:gd name="connsiteX17" fmla="*/ 2036280 w 2051513"/>
                  <a:gd name="connsiteY17" fmla="*/ 1118747 h 5322210"/>
                  <a:gd name="connsiteX18" fmla="*/ 2033454 w 2051513"/>
                  <a:gd name="connsiteY18" fmla="*/ 1895238 h 5322210"/>
                  <a:gd name="connsiteX19" fmla="*/ 2035311 w 2051513"/>
                  <a:gd name="connsiteY19" fmla="*/ 1898756 h 5322210"/>
                  <a:gd name="connsiteX20" fmla="*/ 2034644 w 2051513"/>
                  <a:gd name="connsiteY20" fmla="*/ 3074956 h 5322210"/>
                  <a:gd name="connsiteX21" fmla="*/ 2032504 w 2051513"/>
                  <a:gd name="connsiteY21" fmla="*/ 4839743 h 5322210"/>
                  <a:gd name="connsiteX22" fmla="*/ 1965706 w 2051513"/>
                  <a:gd name="connsiteY22" fmla="*/ 5098723 h 5322210"/>
                  <a:gd name="connsiteX23" fmla="*/ 1821738 w 2051513"/>
                  <a:gd name="connsiteY23" fmla="*/ 5253163 h 5322210"/>
                  <a:gd name="connsiteX24" fmla="*/ 1611102 w 2051513"/>
                  <a:gd name="connsiteY24" fmla="*/ 5321674 h 5322210"/>
                  <a:gd name="connsiteX25" fmla="*/ 1561548 w 2051513"/>
                  <a:gd name="connsiteY25" fmla="*/ 5322174 h 5322210"/>
                  <a:gd name="connsiteX0" fmla="*/ 171625 w 661590"/>
                  <a:gd name="connsiteY0" fmla="*/ 5322174 h 5322210"/>
                  <a:gd name="connsiteX1" fmla="*/ 60001 w 661590"/>
                  <a:gd name="connsiteY1" fmla="*/ 5294374 h 5322210"/>
                  <a:gd name="connsiteX2" fmla="*/ 0 w 661590"/>
                  <a:gd name="connsiteY2" fmla="*/ 5264522 h 5322210"/>
                  <a:gd name="connsiteX3" fmla="*/ 166656 w 661590"/>
                  <a:gd name="connsiteY3" fmla="*/ 4902275 h 5322210"/>
                  <a:gd name="connsiteX4" fmla="*/ 167000 w 661590"/>
                  <a:gd name="connsiteY4" fmla="*/ 4902667 h 5322210"/>
                  <a:gd name="connsiteX5" fmla="*/ 189041 w 661590"/>
                  <a:gd name="connsiteY5" fmla="*/ 4896480 h 5322210"/>
                  <a:gd name="connsiteX6" fmla="*/ 235121 w 661590"/>
                  <a:gd name="connsiteY6" fmla="*/ 4835926 h 5322210"/>
                  <a:gd name="connsiteX7" fmla="*/ 236965 w 661590"/>
                  <a:gd name="connsiteY7" fmla="*/ 4142900 h 5322210"/>
                  <a:gd name="connsiteX8" fmla="*/ 239236 w 661590"/>
                  <a:gd name="connsiteY8" fmla="*/ 1091692 h 5322210"/>
                  <a:gd name="connsiteX9" fmla="*/ 238051 w 661590"/>
                  <a:gd name="connsiteY9" fmla="*/ 1054114 h 5322210"/>
                  <a:gd name="connsiteX10" fmla="*/ 236016 w 661590"/>
                  <a:gd name="connsiteY10" fmla="*/ 531346 h 5322210"/>
                  <a:gd name="connsiteX11" fmla="*/ 281507 w 661590"/>
                  <a:gd name="connsiteY11" fmla="*/ 208620 h 5322210"/>
                  <a:gd name="connsiteX12" fmla="*/ 446114 w 661590"/>
                  <a:gd name="connsiteY12" fmla="*/ 62034 h 5322210"/>
                  <a:gd name="connsiteX13" fmla="*/ 645760 w 661590"/>
                  <a:gd name="connsiteY13" fmla="*/ 40248 h 5322210"/>
                  <a:gd name="connsiteX14" fmla="*/ 649139 w 661590"/>
                  <a:gd name="connsiteY14" fmla="*/ 576153 h 5322210"/>
                  <a:gd name="connsiteX15" fmla="*/ 649134 w 661590"/>
                  <a:gd name="connsiteY15" fmla="*/ 1102550 h 5322210"/>
                  <a:gd name="connsiteX16" fmla="*/ 646357 w 661590"/>
                  <a:gd name="connsiteY16" fmla="*/ 1118747 h 5322210"/>
                  <a:gd name="connsiteX17" fmla="*/ 643531 w 661590"/>
                  <a:gd name="connsiteY17" fmla="*/ 1895238 h 5322210"/>
                  <a:gd name="connsiteX18" fmla="*/ 645388 w 661590"/>
                  <a:gd name="connsiteY18" fmla="*/ 1898756 h 5322210"/>
                  <a:gd name="connsiteX19" fmla="*/ 644721 w 661590"/>
                  <a:gd name="connsiteY19" fmla="*/ 3074956 h 5322210"/>
                  <a:gd name="connsiteX20" fmla="*/ 642581 w 661590"/>
                  <a:gd name="connsiteY20" fmla="*/ 4839743 h 5322210"/>
                  <a:gd name="connsiteX21" fmla="*/ 575783 w 661590"/>
                  <a:gd name="connsiteY21" fmla="*/ 5098723 h 5322210"/>
                  <a:gd name="connsiteX22" fmla="*/ 431815 w 661590"/>
                  <a:gd name="connsiteY22" fmla="*/ 5253163 h 5322210"/>
                  <a:gd name="connsiteX23" fmla="*/ 221179 w 661590"/>
                  <a:gd name="connsiteY23" fmla="*/ 5321674 h 5322210"/>
                  <a:gd name="connsiteX24" fmla="*/ 171625 w 661590"/>
                  <a:gd name="connsiteY24" fmla="*/ 5322174 h 5322210"/>
                  <a:gd name="connsiteX0" fmla="*/ 111624 w 601589"/>
                  <a:gd name="connsiteY0" fmla="*/ 5322174 h 5322210"/>
                  <a:gd name="connsiteX1" fmla="*/ 0 w 601589"/>
                  <a:gd name="connsiteY1" fmla="*/ 5294374 h 5322210"/>
                  <a:gd name="connsiteX2" fmla="*/ 106655 w 601589"/>
                  <a:gd name="connsiteY2" fmla="*/ 4902275 h 5322210"/>
                  <a:gd name="connsiteX3" fmla="*/ 106999 w 601589"/>
                  <a:gd name="connsiteY3" fmla="*/ 4902667 h 5322210"/>
                  <a:gd name="connsiteX4" fmla="*/ 129040 w 601589"/>
                  <a:gd name="connsiteY4" fmla="*/ 4896480 h 5322210"/>
                  <a:gd name="connsiteX5" fmla="*/ 175120 w 601589"/>
                  <a:gd name="connsiteY5" fmla="*/ 4835926 h 5322210"/>
                  <a:gd name="connsiteX6" fmla="*/ 176964 w 601589"/>
                  <a:gd name="connsiteY6" fmla="*/ 4142900 h 5322210"/>
                  <a:gd name="connsiteX7" fmla="*/ 179235 w 601589"/>
                  <a:gd name="connsiteY7" fmla="*/ 1091692 h 5322210"/>
                  <a:gd name="connsiteX8" fmla="*/ 178050 w 601589"/>
                  <a:gd name="connsiteY8" fmla="*/ 1054114 h 5322210"/>
                  <a:gd name="connsiteX9" fmla="*/ 176015 w 601589"/>
                  <a:gd name="connsiteY9" fmla="*/ 531346 h 5322210"/>
                  <a:gd name="connsiteX10" fmla="*/ 221506 w 601589"/>
                  <a:gd name="connsiteY10" fmla="*/ 208620 h 5322210"/>
                  <a:gd name="connsiteX11" fmla="*/ 386113 w 601589"/>
                  <a:gd name="connsiteY11" fmla="*/ 62034 h 5322210"/>
                  <a:gd name="connsiteX12" fmla="*/ 585759 w 601589"/>
                  <a:gd name="connsiteY12" fmla="*/ 40248 h 5322210"/>
                  <a:gd name="connsiteX13" fmla="*/ 589138 w 601589"/>
                  <a:gd name="connsiteY13" fmla="*/ 576153 h 5322210"/>
                  <a:gd name="connsiteX14" fmla="*/ 589133 w 601589"/>
                  <a:gd name="connsiteY14" fmla="*/ 1102550 h 5322210"/>
                  <a:gd name="connsiteX15" fmla="*/ 586356 w 601589"/>
                  <a:gd name="connsiteY15" fmla="*/ 1118747 h 5322210"/>
                  <a:gd name="connsiteX16" fmla="*/ 583530 w 601589"/>
                  <a:gd name="connsiteY16" fmla="*/ 1895238 h 5322210"/>
                  <a:gd name="connsiteX17" fmla="*/ 585387 w 601589"/>
                  <a:gd name="connsiteY17" fmla="*/ 1898756 h 5322210"/>
                  <a:gd name="connsiteX18" fmla="*/ 584720 w 601589"/>
                  <a:gd name="connsiteY18" fmla="*/ 3074956 h 5322210"/>
                  <a:gd name="connsiteX19" fmla="*/ 582580 w 601589"/>
                  <a:gd name="connsiteY19" fmla="*/ 4839743 h 5322210"/>
                  <a:gd name="connsiteX20" fmla="*/ 515782 w 601589"/>
                  <a:gd name="connsiteY20" fmla="*/ 5098723 h 5322210"/>
                  <a:gd name="connsiteX21" fmla="*/ 371814 w 601589"/>
                  <a:gd name="connsiteY21" fmla="*/ 5253163 h 5322210"/>
                  <a:gd name="connsiteX22" fmla="*/ 161178 w 601589"/>
                  <a:gd name="connsiteY22" fmla="*/ 5321674 h 5322210"/>
                  <a:gd name="connsiteX23" fmla="*/ 111624 w 601589"/>
                  <a:gd name="connsiteY23" fmla="*/ 5322174 h 5322210"/>
                  <a:gd name="connsiteX0" fmla="*/ 111624 w 601589"/>
                  <a:gd name="connsiteY0" fmla="*/ 5322174 h 5322210"/>
                  <a:gd name="connsiteX1" fmla="*/ 0 w 601589"/>
                  <a:gd name="connsiteY1" fmla="*/ 5294374 h 5322210"/>
                  <a:gd name="connsiteX2" fmla="*/ 106655 w 601589"/>
                  <a:gd name="connsiteY2" fmla="*/ 4902275 h 5322210"/>
                  <a:gd name="connsiteX3" fmla="*/ 106999 w 601589"/>
                  <a:gd name="connsiteY3" fmla="*/ 4902667 h 5322210"/>
                  <a:gd name="connsiteX4" fmla="*/ 175120 w 601589"/>
                  <a:gd name="connsiteY4" fmla="*/ 4835926 h 5322210"/>
                  <a:gd name="connsiteX5" fmla="*/ 176964 w 601589"/>
                  <a:gd name="connsiteY5" fmla="*/ 4142900 h 5322210"/>
                  <a:gd name="connsiteX6" fmla="*/ 179235 w 601589"/>
                  <a:gd name="connsiteY6" fmla="*/ 1091692 h 5322210"/>
                  <a:gd name="connsiteX7" fmla="*/ 178050 w 601589"/>
                  <a:gd name="connsiteY7" fmla="*/ 1054114 h 5322210"/>
                  <a:gd name="connsiteX8" fmla="*/ 176015 w 601589"/>
                  <a:gd name="connsiteY8" fmla="*/ 531346 h 5322210"/>
                  <a:gd name="connsiteX9" fmla="*/ 221506 w 601589"/>
                  <a:gd name="connsiteY9" fmla="*/ 208620 h 5322210"/>
                  <a:gd name="connsiteX10" fmla="*/ 386113 w 601589"/>
                  <a:gd name="connsiteY10" fmla="*/ 62034 h 5322210"/>
                  <a:gd name="connsiteX11" fmla="*/ 585759 w 601589"/>
                  <a:gd name="connsiteY11" fmla="*/ 40248 h 5322210"/>
                  <a:gd name="connsiteX12" fmla="*/ 589138 w 601589"/>
                  <a:gd name="connsiteY12" fmla="*/ 576153 h 5322210"/>
                  <a:gd name="connsiteX13" fmla="*/ 589133 w 601589"/>
                  <a:gd name="connsiteY13" fmla="*/ 1102550 h 5322210"/>
                  <a:gd name="connsiteX14" fmla="*/ 586356 w 601589"/>
                  <a:gd name="connsiteY14" fmla="*/ 1118747 h 5322210"/>
                  <a:gd name="connsiteX15" fmla="*/ 583530 w 601589"/>
                  <a:gd name="connsiteY15" fmla="*/ 1895238 h 5322210"/>
                  <a:gd name="connsiteX16" fmla="*/ 585387 w 601589"/>
                  <a:gd name="connsiteY16" fmla="*/ 1898756 h 5322210"/>
                  <a:gd name="connsiteX17" fmla="*/ 584720 w 601589"/>
                  <a:gd name="connsiteY17" fmla="*/ 3074956 h 5322210"/>
                  <a:gd name="connsiteX18" fmla="*/ 582580 w 601589"/>
                  <a:gd name="connsiteY18" fmla="*/ 4839743 h 5322210"/>
                  <a:gd name="connsiteX19" fmla="*/ 515782 w 601589"/>
                  <a:gd name="connsiteY19" fmla="*/ 5098723 h 5322210"/>
                  <a:gd name="connsiteX20" fmla="*/ 371814 w 601589"/>
                  <a:gd name="connsiteY20" fmla="*/ 5253163 h 5322210"/>
                  <a:gd name="connsiteX21" fmla="*/ 161178 w 601589"/>
                  <a:gd name="connsiteY21" fmla="*/ 5321674 h 5322210"/>
                  <a:gd name="connsiteX22" fmla="*/ 111624 w 601589"/>
                  <a:gd name="connsiteY22" fmla="*/ 5322174 h 5322210"/>
                  <a:gd name="connsiteX0" fmla="*/ 111624 w 601589"/>
                  <a:gd name="connsiteY0" fmla="*/ 5322174 h 5322210"/>
                  <a:gd name="connsiteX1" fmla="*/ 0 w 601589"/>
                  <a:gd name="connsiteY1" fmla="*/ 5294374 h 5322210"/>
                  <a:gd name="connsiteX2" fmla="*/ 106655 w 601589"/>
                  <a:gd name="connsiteY2" fmla="*/ 4902275 h 5322210"/>
                  <a:gd name="connsiteX3" fmla="*/ 175120 w 601589"/>
                  <a:gd name="connsiteY3" fmla="*/ 4835926 h 5322210"/>
                  <a:gd name="connsiteX4" fmla="*/ 176964 w 601589"/>
                  <a:gd name="connsiteY4" fmla="*/ 4142900 h 5322210"/>
                  <a:gd name="connsiteX5" fmla="*/ 179235 w 601589"/>
                  <a:gd name="connsiteY5" fmla="*/ 1091692 h 5322210"/>
                  <a:gd name="connsiteX6" fmla="*/ 178050 w 601589"/>
                  <a:gd name="connsiteY6" fmla="*/ 1054114 h 5322210"/>
                  <a:gd name="connsiteX7" fmla="*/ 176015 w 601589"/>
                  <a:gd name="connsiteY7" fmla="*/ 531346 h 5322210"/>
                  <a:gd name="connsiteX8" fmla="*/ 221506 w 601589"/>
                  <a:gd name="connsiteY8" fmla="*/ 208620 h 5322210"/>
                  <a:gd name="connsiteX9" fmla="*/ 386113 w 601589"/>
                  <a:gd name="connsiteY9" fmla="*/ 62034 h 5322210"/>
                  <a:gd name="connsiteX10" fmla="*/ 585759 w 601589"/>
                  <a:gd name="connsiteY10" fmla="*/ 40248 h 5322210"/>
                  <a:gd name="connsiteX11" fmla="*/ 589138 w 601589"/>
                  <a:gd name="connsiteY11" fmla="*/ 576153 h 5322210"/>
                  <a:gd name="connsiteX12" fmla="*/ 589133 w 601589"/>
                  <a:gd name="connsiteY12" fmla="*/ 1102550 h 5322210"/>
                  <a:gd name="connsiteX13" fmla="*/ 586356 w 601589"/>
                  <a:gd name="connsiteY13" fmla="*/ 1118747 h 5322210"/>
                  <a:gd name="connsiteX14" fmla="*/ 583530 w 601589"/>
                  <a:gd name="connsiteY14" fmla="*/ 1895238 h 5322210"/>
                  <a:gd name="connsiteX15" fmla="*/ 585387 w 601589"/>
                  <a:gd name="connsiteY15" fmla="*/ 1898756 h 5322210"/>
                  <a:gd name="connsiteX16" fmla="*/ 584720 w 601589"/>
                  <a:gd name="connsiteY16" fmla="*/ 3074956 h 5322210"/>
                  <a:gd name="connsiteX17" fmla="*/ 582580 w 601589"/>
                  <a:gd name="connsiteY17" fmla="*/ 4839743 h 5322210"/>
                  <a:gd name="connsiteX18" fmla="*/ 515782 w 601589"/>
                  <a:gd name="connsiteY18" fmla="*/ 5098723 h 5322210"/>
                  <a:gd name="connsiteX19" fmla="*/ 371814 w 601589"/>
                  <a:gd name="connsiteY19" fmla="*/ 5253163 h 5322210"/>
                  <a:gd name="connsiteX20" fmla="*/ 161178 w 601589"/>
                  <a:gd name="connsiteY20" fmla="*/ 5321674 h 5322210"/>
                  <a:gd name="connsiteX21" fmla="*/ 111624 w 601589"/>
                  <a:gd name="connsiteY21" fmla="*/ 5322174 h 5322210"/>
                  <a:gd name="connsiteX0" fmla="*/ 111624 w 601589"/>
                  <a:gd name="connsiteY0" fmla="*/ 5322174 h 5322210"/>
                  <a:gd name="connsiteX1" fmla="*/ 0 w 601589"/>
                  <a:gd name="connsiteY1" fmla="*/ 5294374 h 5322210"/>
                  <a:gd name="connsiteX2" fmla="*/ 175120 w 601589"/>
                  <a:gd name="connsiteY2" fmla="*/ 4835926 h 5322210"/>
                  <a:gd name="connsiteX3" fmla="*/ 176964 w 601589"/>
                  <a:gd name="connsiteY3" fmla="*/ 4142900 h 5322210"/>
                  <a:gd name="connsiteX4" fmla="*/ 179235 w 601589"/>
                  <a:gd name="connsiteY4" fmla="*/ 1091692 h 5322210"/>
                  <a:gd name="connsiteX5" fmla="*/ 178050 w 601589"/>
                  <a:gd name="connsiteY5" fmla="*/ 1054114 h 5322210"/>
                  <a:gd name="connsiteX6" fmla="*/ 176015 w 601589"/>
                  <a:gd name="connsiteY6" fmla="*/ 531346 h 5322210"/>
                  <a:gd name="connsiteX7" fmla="*/ 221506 w 601589"/>
                  <a:gd name="connsiteY7" fmla="*/ 208620 h 5322210"/>
                  <a:gd name="connsiteX8" fmla="*/ 386113 w 601589"/>
                  <a:gd name="connsiteY8" fmla="*/ 62034 h 5322210"/>
                  <a:gd name="connsiteX9" fmla="*/ 585759 w 601589"/>
                  <a:gd name="connsiteY9" fmla="*/ 40248 h 5322210"/>
                  <a:gd name="connsiteX10" fmla="*/ 589138 w 601589"/>
                  <a:gd name="connsiteY10" fmla="*/ 576153 h 5322210"/>
                  <a:gd name="connsiteX11" fmla="*/ 589133 w 601589"/>
                  <a:gd name="connsiteY11" fmla="*/ 1102550 h 5322210"/>
                  <a:gd name="connsiteX12" fmla="*/ 586356 w 601589"/>
                  <a:gd name="connsiteY12" fmla="*/ 1118747 h 5322210"/>
                  <a:gd name="connsiteX13" fmla="*/ 583530 w 601589"/>
                  <a:gd name="connsiteY13" fmla="*/ 1895238 h 5322210"/>
                  <a:gd name="connsiteX14" fmla="*/ 585387 w 601589"/>
                  <a:gd name="connsiteY14" fmla="*/ 1898756 h 5322210"/>
                  <a:gd name="connsiteX15" fmla="*/ 584720 w 601589"/>
                  <a:gd name="connsiteY15" fmla="*/ 3074956 h 5322210"/>
                  <a:gd name="connsiteX16" fmla="*/ 582580 w 601589"/>
                  <a:gd name="connsiteY16" fmla="*/ 4839743 h 5322210"/>
                  <a:gd name="connsiteX17" fmla="*/ 515782 w 601589"/>
                  <a:gd name="connsiteY17" fmla="*/ 5098723 h 5322210"/>
                  <a:gd name="connsiteX18" fmla="*/ 371814 w 601589"/>
                  <a:gd name="connsiteY18" fmla="*/ 5253163 h 5322210"/>
                  <a:gd name="connsiteX19" fmla="*/ 161178 w 601589"/>
                  <a:gd name="connsiteY19" fmla="*/ 5321674 h 5322210"/>
                  <a:gd name="connsiteX20" fmla="*/ 111624 w 601589"/>
                  <a:gd name="connsiteY20" fmla="*/ 5322174 h 5322210"/>
                  <a:gd name="connsiteX0" fmla="*/ 0 w 489965"/>
                  <a:gd name="connsiteY0" fmla="*/ 5322174 h 5322174"/>
                  <a:gd name="connsiteX1" fmla="*/ 63496 w 489965"/>
                  <a:gd name="connsiteY1" fmla="*/ 4835926 h 5322174"/>
                  <a:gd name="connsiteX2" fmla="*/ 65340 w 489965"/>
                  <a:gd name="connsiteY2" fmla="*/ 4142900 h 5322174"/>
                  <a:gd name="connsiteX3" fmla="*/ 67611 w 489965"/>
                  <a:gd name="connsiteY3" fmla="*/ 1091692 h 5322174"/>
                  <a:gd name="connsiteX4" fmla="*/ 66426 w 489965"/>
                  <a:gd name="connsiteY4" fmla="*/ 1054114 h 5322174"/>
                  <a:gd name="connsiteX5" fmla="*/ 64391 w 489965"/>
                  <a:gd name="connsiteY5" fmla="*/ 531346 h 5322174"/>
                  <a:gd name="connsiteX6" fmla="*/ 109882 w 489965"/>
                  <a:gd name="connsiteY6" fmla="*/ 208620 h 5322174"/>
                  <a:gd name="connsiteX7" fmla="*/ 274489 w 489965"/>
                  <a:gd name="connsiteY7" fmla="*/ 62034 h 5322174"/>
                  <a:gd name="connsiteX8" fmla="*/ 474135 w 489965"/>
                  <a:gd name="connsiteY8" fmla="*/ 40248 h 5322174"/>
                  <a:gd name="connsiteX9" fmla="*/ 477514 w 489965"/>
                  <a:gd name="connsiteY9" fmla="*/ 576153 h 5322174"/>
                  <a:gd name="connsiteX10" fmla="*/ 477509 w 489965"/>
                  <a:gd name="connsiteY10" fmla="*/ 1102550 h 5322174"/>
                  <a:gd name="connsiteX11" fmla="*/ 474732 w 489965"/>
                  <a:gd name="connsiteY11" fmla="*/ 1118747 h 5322174"/>
                  <a:gd name="connsiteX12" fmla="*/ 471906 w 489965"/>
                  <a:gd name="connsiteY12" fmla="*/ 1895238 h 5322174"/>
                  <a:gd name="connsiteX13" fmla="*/ 473763 w 489965"/>
                  <a:gd name="connsiteY13" fmla="*/ 1898756 h 5322174"/>
                  <a:gd name="connsiteX14" fmla="*/ 473096 w 489965"/>
                  <a:gd name="connsiteY14" fmla="*/ 3074956 h 5322174"/>
                  <a:gd name="connsiteX15" fmla="*/ 470956 w 489965"/>
                  <a:gd name="connsiteY15" fmla="*/ 4839743 h 5322174"/>
                  <a:gd name="connsiteX16" fmla="*/ 404158 w 489965"/>
                  <a:gd name="connsiteY16" fmla="*/ 5098723 h 5322174"/>
                  <a:gd name="connsiteX17" fmla="*/ 260190 w 489965"/>
                  <a:gd name="connsiteY17" fmla="*/ 5253163 h 5322174"/>
                  <a:gd name="connsiteX18" fmla="*/ 49554 w 489965"/>
                  <a:gd name="connsiteY18" fmla="*/ 5321674 h 5322174"/>
                  <a:gd name="connsiteX19" fmla="*/ 0 w 489965"/>
                  <a:gd name="connsiteY19" fmla="*/ 5322174 h 5322174"/>
                  <a:gd name="connsiteX0" fmla="*/ 12071 w 452482"/>
                  <a:gd name="connsiteY0" fmla="*/ 5321674 h 5321821"/>
                  <a:gd name="connsiteX1" fmla="*/ 26013 w 452482"/>
                  <a:gd name="connsiteY1" fmla="*/ 4835926 h 5321821"/>
                  <a:gd name="connsiteX2" fmla="*/ 27857 w 452482"/>
                  <a:gd name="connsiteY2" fmla="*/ 4142900 h 5321821"/>
                  <a:gd name="connsiteX3" fmla="*/ 30128 w 452482"/>
                  <a:gd name="connsiteY3" fmla="*/ 1091692 h 5321821"/>
                  <a:gd name="connsiteX4" fmla="*/ 28943 w 452482"/>
                  <a:gd name="connsiteY4" fmla="*/ 1054114 h 5321821"/>
                  <a:gd name="connsiteX5" fmla="*/ 26908 w 452482"/>
                  <a:gd name="connsiteY5" fmla="*/ 531346 h 5321821"/>
                  <a:gd name="connsiteX6" fmla="*/ 72399 w 452482"/>
                  <a:gd name="connsiteY6" fmla="*/ 208620 h 5321821"/>
                  <a:gd name="connsiteX7" fmla="*/ 237006 w 452482"/>
                  <a:gd name="connsiteY7" fmla="*/ 62034 h 5321821"/>
                  <a:gd name="connsiteX8" fmla="*/ 436652 w 452482"/>
                  <a:gd name="connsiteY8" fmla="*/ 40248 h 5321821"/>
                  <a:gd name="connsiteX9" fmla="*/ 440031 w 452482"/>
                  <a:gd name="connsiteY9" fmla="*/ 576153 h 5321821"/>
                  <a:gd name="connsiteX10" fmla="*/ 440026 w 452482"/>
                  <a:gd name="connsiteY10" fmla="*/ 1102550 h 5321821"/>
                  <a:gd name="connsiteX11" fmla="*/ 437249 w 452482"/>
                  <a:gd name="connsiteY11" fmla="*/ 1118747 h 5321821"/>
                  <a:gd name="connsiteX12" fmla="*/ 434423 w 452482"/>
                  <a:gd name="connsiteY12" fmla="*/ 1895238 h 5321821"/>
                  <a:gd name="connsiteX13" fmla="*/ 436280 w 452482"/>
                  <a:gd name="connsiteY13" fmla="*/ 1898756 h 5321821"/>
                  <a:gd name="connsiteX14" fmla="*/ 435613 w 452482"/>
                  <a:gd name="connsiteY14" fmla="*/ 3074956 h 5321821"/>
                  <a:gd name="connsiteX15" fmla="*/ 433473 w 452482"/>
                  <a:gd name="connsiteY15" fmla="*/ 4839743 h 5321821"/>
                  <a:gd name="connsiteX16" fmla="*/ 366675 w 452482"/>
                  <a:gd name="connsiteY16" fmla="*/ 5098723 h 5321821"/>
                  <a:gd name="connsiteX17" fmla="*/ 222707 w 452482"/>
                  <a:gd name="connsiteY17" fmla="*/ 5253163 h 5321821"/>
                  <a:gd name="connsiteX18" fmla="*/ 12071 w 452482"/>
                  <a:gd name="connsiteY18" fmla="*/ 5321674 h 5321821"/>
                  <a:gd name="connsiteX0" fmla="*/ 197536 w 427311"/>
                  <a:gd name="connsiteY0" fmla="*/ 5253163 h 5253163"/>
                  <a:gd name="connsiteX1" fmla="*/ 842 w 427311"/>
                  <a:gd name="connsiteY1" fmla="*/ 4835926 h 5253163"/>
                  <a:gd name="connsiteX2" fmla="*/ 2686 w 427311"/>
                  <a:gd name="connsiteY2" fmla="*/ 4142900 h 5253163"/>
                  <a:gd name="connsiteX3" fmla="*/ 4957 w 427311"/>
                  <a:gd name="connsiteY3" fmla="*/ 1091692 h 5253163"/>
                  <a:gd name="connsiteX4" fmla="*/ 3772 w 427311"/>
                  <a:gd name="connsiteY4" fmla="*/ 1054114 h 5253163"/>
                  <a:gd name="connsiteX5" fmla="*/ 1737 w 427311"/>
                  <a:gd name="connsiteY5" fmla="*/ 531346 h 5253163"/>
                  <a:gd name="connsiteX6" fmla="*/ 47228 w 427311"/>
                  <a:gd name="connsiteY6" fmla="*/ 208620 h 5253163"/>
                  <a:gd name="connsiteX7" fmla="*/ 211835 w 427311"/>
                  <a:gd name="connsiteY7" fmla="*/ 62034 h 5253163"/>
                  <a:gd name="connsiteX8" fmla="*/ 411481 w 427311"/>
                  <a:gd name="connsiteY8" fmla="*/ 40248 h 5253163"/>
                  <a:gd name="connsiteX9" fmla="*/ 414860 w 427311"/>
                  <a:gd name="connsiteY9" fmla="*/ 576153 h 5253163"/>
                  <a:gd name="connsiteX10" fmla="*/ 414855 w 427311"/>
                  <a:gd name="connsiteY10" fmla="*/ 1102550 h 5253163"/>
                  <a:gd name="connsiteX11" fmla="*/ 412078 w 427311"/>
                  <a:gd name="connsiteY11" fmla="*/ 1118747 h 5253163"/>
                  <a:gd name="connsiteX12" fmla="*/ 409252 w 427311"/>
                  <a:gd name="connsiteY12" fmla="*/ 1895238 h 5253163"/>
                  <a:gd name="connsiteX13" fmla="*/ 411109 w 427311"/>
                  <a:gd name="connsiteY13" fmla="*/ 1898756 h 5253163"/>
                  <a:gd name="connsiteX14" fmla="*/ 410442 w 427311"/>
                  <a:gd name="connsiteY14" fmla="*/ 3074956 h 5253163"/>
                  <a:gd name="connsiteX15" fmla="*/ 408302 w 427311"/>
                  <a:gd name="connsiteY15" fmla="*/ 4839743 h 5253163"/>
                  <a:gd name="connsiteX16" fmla="*/ 341504 w 427311"/>
                  <a:gd name="connsiteY16" fmla="*/ 5098723 h 5253163"/>
                  <a:gd name="connsiteX17" fmla="*/ 197536 w 427311"/>
                  <a:gd name="connsiteY17" fmla="*/ 5253163 h 5253163"/>
                  <a:gd name="connsiteX0" fmla="*/ 341504 w 427311"/>
                  <a:gd name="connsiteY0" fmla="*/ 5098723 h 5098724"/>
                  <a:gd name="connsiteX1" fmla="*/ 842 w 427311"/>
                  <a:gd name="connsiteY1" fmla="*/ 4835926 h 5098724"/>
                  <a:gd name="connsiteX2" fmla="*/ 2686 w 427311"/>
                  <a:gd name="connsiteY2" fmla="*/ 4142900 h 5098724"/>
                  <a:gd name="connsiteX3" fmla="*/ 4957 w 427311"/>
                  <a:gd name="connsiteY3" fmla="*/ 1091692 h 5098724"/>
                  <a:gd name="connsiteX4" fmla="*/ 3772 w 427311"/>
                  <a:gd name="connsiteY4" fmla="*/ 1054114 h 5098724"/>
                  <a:gd name="connsiteX5" fmla="*/ 1737 w 427311"/>
                  <a:gd name="connsiteY5" fmla="*/ 531346 h 5098724"/>
                  <a:gd name="connsiteX6" fmla="*/ 47228 w 427311"/>
                  <a:gd name="connsiteY6" fmla="*/ 208620 h 5098724"/>
                  <a:gd name="connsiteX7" fmla="*/ 211835 w 427311"/>
                  <a:gd name="connsiteY7" fmla="*/ 62034 h 5098724"/>
                  <a:gd name="connsiteX8" fmla="*/ 411481 w 427311"/>
                  <a:gd name="connsiteY8" fmla="*/ 40248 h 5098724"/>
                  <a:gd name="connsiteX9" fmla="*/ 414860 w 427311"/>
                  <a:gd name="connsiteY9" fmla="*/ 576153 h 5098724"/>
                  <a:gd name="connsiteX10" fmla="*/ 414855 w 427311"/>
                  <a:gd name="connsiteY10" fmla="*/ 1102550 h 5098724"/>
                  <a:gd name="connsiteX11" fmla="*/ 412078 w 427311"/>
                  <a:gd name="connsiteY11" fmla="*/ 1118747 h 5098724"/>
                  <a:gd name="connsiteX12" fmla="*/ 409252 w 427311"/>
                  <a:gd name="connsiteY12" fmla="*/ 1895238 h 5098724"/>
                  <a:gd name="connsiteX13" fmla="*/ 411109 w 427311"/>
                  <a:gd name="connsiteY13" fmla="*/ 1898756 h 5098724"/>
                  <a:gd name="connsiteX14" fmla="*/ 410442 w 427311"/>
                  <a:gd name="connsiteY14" fmla="*/ 3074956 h 5098724"/>
                  <a:gd name="connsiteX15" fmla="*/ 408302 w 427311"/>
                  <a:gd name="connsiteY15" fmla="*/ 4839743 h 5098724"/>
                  <a:gd name="connsiteX16" fmla="*/ 341504 w 427311"/>
                  <a:gd name="connsiteY16" fmla="*/ 5098723 h 5098724"/>
                  <a:gd name="connsiteX0" fmla="*/ 408302 w 427311"/>
                  <a:gd name="connsiteY0" fmla="*/ 4839743 h 4998637"/>
                  <a:gd name="connsiteX1" fmla="*/ 842 w 427311"/>
                  <a:gd name="connsiteY1" fmla="*/ 4835926 h 4998637"/>
                  <a:gd name="connsiteX2" fmla="*/ 2686 w 427311"/>
                  <a:gd name="connsiteY2" fmla="*/ 4142900 h 4998637"/>
                  <a:gd name="connsiteX3" fmla="*/ 4957 w 427311"/>
                  <a:gd name="connsiteY3" fmla="*/ 1091692 h 4998637"/>
                  <a:gd name="connsiteX4" fmla="*/ 3772 w 427311"/>
                  <a:gd name="connsiteY4" fmla="*/ 1054114 h 4998637"/>
                  <a:gd name="connsiteX5" fmla="*/ 1737 w 427311"/>
                  <a:gd name="connsiteY5" fmla="*/ 531346 h 4998637"/>
                  <a:gd name="connsiteX6" fmla="*/ 47228 w 427311"/>
                  <a:gd name="connsiteY6" fmla="*/ 208620 h 4998637"/>
                  <a:gd name="connsiteX7" fmla="*/ 211835 w 427311"/>
                  <a:gd name="connsiteY7" fmla="*/ 62034 h 4998637"/>
                  <a:gd name="connsiteX8" fmla="*/ 411481 w 427311"/>
                  <a:gd name="connsiteY8" fmla="*/ 40248 h 4998637"/>
                  <a:gd name="connsiteX9" fmla="*/ 414860 w 427311"/>
                  <a:gd name="connsiteY9" fmla="*/ 576153 h 4998637"/>
                  <a:gd name="connsiteX10" fmla="*/ 414855 w 427311"/>
                  <a:gd name="connsiteY10" fmla="*/ 1102550 h 4998637"/>
                  <a:gd name="connsiteX11" fmla="*/ 412078 w 427311"/>
                  <a:gd name="connsiteY11" fmla="*/ 1118747 h 4998637"/>
                  <a:gd name="connsiteX12" fmla="*/ 409252 w 427311"/>
                  <a:gd name="connsiteY12" fmla="*/ 1895238 h 4998637"/>
                  <a:gd name="connsiteX13" fmla="*/ 411109 w 427311"/>
                  <a:gd name="connsiteY13" fmla="*/ 1898756 h 4998637"/>
                  <a:gd name="connsiteX14" fmla="*/ 410442 w 427311"/>
                  <a:gd name="connsiteY14" fmla="*/ 3074956 h 4998637"/>
                  <a:gd name="connsiteX15" fmla="*/ 408302 w 427311"/>
                  <a:gd name="connsiteY15" fmla="*/ 4839743 h 4998637"/>
                  <a:gd name="connsiteX0" fmla="*/ 408302 w 427311"/>
                  <a:gd name="connsiteY0" fmla="*/ 4839743 h 4998637"/>
                  <a:gd name="connsiteX1" fmla="*/ 842 w 427311"/>
                  <a:gd name="connsiteY1" fmla="*/ 4835926 h 4998637"/>
                  <a:gd name="connsiteX2" fmla="*/ 2686 w 427311"/>
                  <a:gd name="connsiteY2" fmla="*/ 4142900 h 4998637"/>
                  <a:gd name="connsiteX3" fmla="*/ 4957 w 427311"/>
                  <a:gd name="connsiteY3" fmla="*/ 1091692 h 4998637"/>
                  <a:gd name="connsiteX4" fmla="*/ 3772 w 427311"/>
                  <a:gd name="connsiteY4" fmla="*/ 1054114 h 4998637"/>
                  <a:gd name="connsiteX5" fmla="*/ 1737 w 427311"/>
                  <a:gd name="connsiteY5" fmla="*/ 531346 h 4998637"/>
                  <a:gd name="connsiteX6" fmla="*/ 47228 w 427311"/>
                  <a:gd name="connsiteY6" fmla="*/ 208620 h 4998637"/>
                  <a:gd name="connsiteX7" fmla="*/ 211835 w 427311"/>
                  <a:gd name="connsiteY7" fmla="*/ 62034 h 4998637"/>
                  <a:gd name="connsiteX8" fmla="*/ 411481 w 427311"/>
                  <a:gd name="connsiteY8" fmla="*/ 40248 h 4998637"/>
                  <a:gd name="connsiteX9" fmla="*/ 414860 w 427311"/>
                  <a:gd name="connsiteY9" fmla="*/ 576153 h 4998637"/>
                  <a:gd name="connsiteX10" fmla="*/ 414855 w 427311"/>
                  <a:gd name="connsiteY10" fmla="*/ 1102550 h 4998637"/>
                  <a:gd name="connsiteX11" fmla="*/ 412078 w 427311"/>
                  <a:gd name="connsiteY11" fmla="*/ 1118747 h 4998637"/>
                  <a:gd name="connsiteX12" fmla="*/ 409252 w 427311"/>
                  <a:gd name="connsiteY12" fmla="*/ 1895238 h 4998637"/>
                  <a:gd name="connsiteX13" fmla="*/ 410442 w 427311"/>
                  <a:gd name="connsiteY13" fmla="*/ 3074956 h 4998637"/>
                  <a:gd name="connsiteX14" fmla="*/ 408302 w 427311"/>
                  <a:gd name="connsiteY14" fmla="*/ 4839743 h 4998637"/>
                  <a:gd name="connsiteX0" fmla="*/ 408302 w 427311"/>
                  <a:gd name="connsiteY0" fmla="*/ 4839743 h 4998637"/>
                  <a:gd name="connsiteX1" fmla="*/ 842 w 427311"/>
                  <a:gd name="connsiteY1" fmla="*/ 4835926 h 4998637"/>
                  <a:gd name="connsiteX2" fmla="*/ 2686 w 427311"/>
                  <a:gd name="connsiteY2" fmla="*/ 4142900 h 4998637"/>
                  <a:gd name="connsiteX3" fmla="*/ 4957 w 427311"/>
                  <a:gd name="connsiteY3" fmla="*/ 1091692 h 4998637"/>
                  <a:gd name="connsiteX4" fmla="*/ 3772 w 427311"/>
                  <a:gd name="connsiteY4" fmla="*/ 1054114 h 4998637"/>
                  <a:gd name="connsiteX5" fmla="*/ 1737 w 427311"/>
                  <a:gd name="connsiteY5" fmla="*/ 531346 h 4998637"/>
                  <a:gd name="connsiteX6" fmla="*/ 47228 w 427311"/>
                  <a:gd name="connsiteY6" fmla="*/ 208620 h 4998637"/>
                  <a:gd name="connsiteX7" fmla="*/ 211835 w 427311"/>
                  <a:gd name="connsiteY7" fmla="*/ 62034 h 4998637"/>
                  <a:gd name="connsiteX8" fmla="*/ 411481 w 427311"/>
                  <a:gd name="connsiteY8" fmla="*/ 40248 h 4998637"/>
                  <a:gd name="connsiteX9" fmla="*/ 414860 w 427311"/>
                  <a:gd name="connsiteY9" fmla="*/ 576153 h 4998637"/>
                  <a:gd name="connsiteX10" fmla="*/ 414855 w 427311"/>
                  <a:gd name="connsiteY10" fmla="*/ 1102550 h 4998637"/>
                  <a:gd name="connsiteX11" fmla="*/ 412078 w 427311"/>
                  <a:gd name="connsiteY11" fmla="*/ 1118747 h 4998637"/>
                  <a:gd name="connsiteX12" fmla="*/ 410442 w 427311"/>
                  <a:gd name="connsiteY12" fmla="*/ 3074956 h 4998637"/>
                  <a:gd name="connsiteX13" fmla="*/ 408302 w 427311"/>
                  <a:gd name="connsiteY13" fmla="*/ 4839743 h 4998637"/>
                  <a:gd name="connsiteX0" fmla="*/ 408302 w 439992"/>
                  <a:gd name="connsiteY0" fmla="*/ 4810191 h 4969085"/>
                  <a:gd name="connsiteX1" fmla="*/ 842 w 439992"/>
                  <a:gd name="connsiteY1" fmla="*/ 4806374 h 4969085"/>
                  <a:gd name="connsiteX2" fmla="*/ 2686 w 439992"/>
                  <a:gd name="connsiteY2" fmla="*/ 4113348 h 4969085"/>
                  <a:gd name="connsiteX3" fmla="*/ 4957 w 439992"/>
                  <a:gd name="connsiteY3" fmla="*/ 1062140 h 4969085"/>
                  <a:gd name="connsiteX4" fmla="*/ 3772 w 439992"/>
                  <a:gd name="connsiteY4" fmla="*/ 1024562 h 4969085"/>
                  <a:gd name="connsiteX5" fmla="*/ 1737 w 439992"/>
                  <a:gd name="connsiteY5" fmla="*/ 501794 h 4969085"/>
                  <a:gd name="connsiteX6" fmla="*/ 47228 w 439992"/>
                  <a:gd name="connsiteY6" fmla="*/ 179068 h 4969085"/>
                  <a:gd name="connsiteX7" fmla="*/ 211835 w 439992"/>
                  <a:gd name="connsiteY7" fmla="*/ 32482 h 4969085"/>
                  <a:gd name="connsiteX8" fmla="*/ 411481 w 439992"/>
                  <a:gd name="connsiteY8" fmla="*/ 10696 h 4969085"/>
                  <a:gd name="connsiteX9" fmla="*/ 414860 w 439992"/>
                  <a:gd name="connsiteY9" fmla="*/ 546601 h 4969085"/>
                  <a:gd name="connsiteX10" fmla="*/ 414855 w 439992"/>
                  <a:gd name="connsiteY10" fmla="*/ 1072998 h 4969085"/>
                  <a:gd name="connsiteX11" fmla="*/ 412078 w 439992"/>
                  <a:gd name="connsiteY11" fmla="*/ 1089195 h 4969085"/>
                  <a:gd name="connsiteX12" fmla="*/ 410442 w 439992"/>
                  <a:gd name="connsiteY12" fmla="*/ 3045404 h 4969085"/>
                  <a:gd name="connsiteX13" fmla="*/ 408302 w 439992"/>
                  <a:gd name="connsiteY13" fmla="*/ 4810191 h 4969085"/>
                  <a:gd name="connsiteX0" fmla="*/ 415394 w 447084"/>
                  <a:gd name="connsiteY0" fmla="*/ 4810191 h 5065849"/>
                  <a:gd name="connsiteX1" fmla="*/ 7934 w 447084"/>
                  <a:gd name="connsiteY1" fmla="*/ 4806374 h 5065849"/>
                  <a:gd name="connsiteX2" fmla="*/ 9778 w 447084"/>
                  <a:gd name="connsiteY2" fmla="*/ 4113348 h 5065849"/>
                  <a:gd name="connsiteX3" fmla="*/ 12049 w 447084"/>
                  <a:gd name="connsiteY3" fmla="*/ 1062140 h 5065849"/>
                  <a:gd name="connsiteX4" fmla="*/ 10864 w 447084"/>
                  <a:gd name="connsiteY4" fmla="*/ 1024562 h 5065849"/>
                  <a:gd name="connsiteX5" fmla="*/ 8829 w 447084"/>
                  <a:gd name="connsiteY5" fmla="*/ 501794 h 5065849"/>
                  <a:gd name="connsiteX6" fmla="*/ 54320 w 447084"/>
                  <a:gd name="connsiteY6" fmla="*/ 179068 h 5065849"/>
                  <a:gd name="connsiteX7" fmla="*/ 218927 w 447084"/>
                  <a:gd name="connsiteY7" fmla="*/ 32482 h 5065849"/>
                  <a:gd name="connsiteX8" fmla="*/ 418573 w 447084"/>
                  <a:gd name="connsiteY8" fmla="*/ 10696 h 5065849"/>
                  <a:gd name="connsiteX9" fmla="*/ 421952 w 447084"/>
                  <a:gd name="connsiteY9" fmla="*/ 546601 h 5065849"/>
                  <a:gd name="connsiteX10" fmla="*/ 421947 w 447084"/>
                  <a:gd name="connsiteY10" fmla="*/ 1072998 h 5065849"/>
                  <a:gd name="connsiteX11" fmla="*/ 419170 w 447084"/>
                  <a:gd name="connsiteY11" fmla="*/ 1089195 h 5065849"/>
                  <a:gd name="connsiteX12" fmla="*/ 417534 w 447084"/>
                  <a:gd name="connsiteY12" fmla="*/ 3045404 h 5065849"/>
                  <a:gd name="connsiteX13" fmla="*/ 415394 w 447084"/>
                  <a:gd name="connsiteY13" fmla="*/ 4810191 h 5065849"/>
                  <a:gd name="connsiteX0" fmla="*/ 409351 w 441041"/>
                  <a:gd name="connsiteY0" fmla="*/ 4810191 h 5176507"/>
                  <a:gd name="connsiteX1" fmla="*/ 1891 w 441041"/>
                  <a:gd name="connsiteY1" fmla="*/ 4806374 h 5176507"/>
                  <a:gd name="connsiteX2" fmla="*/ 3735 w 441041"/>
                  <a:gd name="connsiteY2" fmla="*/ 4113348 h 5176507"/>
                  <a:gd name="connsiteX3" fmla="*/ 6006 w 441041"/>
                  <a:gd name="connsiteY3" fmla="*/ 1062140 h 5176507"/>
                  <a:gd name="connsiteX4" fmla="*/ 4821 w 441041"/>
                  <a:gd name="connsiteY4" fmla="*/ 1024562 h 5176507"/>
                  <a:gd name="connsiteX5" fmla="*/ 2786 w 441041"/>
                  <a:gd name="connsiteY5" fmla="*/ 501794 h 5176507"/>
                  <a:gd name="connsiteX6" fmla="*/ 48277 w 441041"/>
                  <a:gd name="connsiteY6" fmla="*/ 179068 h 5176507"/>
                  <a:gd name="connsiteX7" fmla="*/ 212884 w 441041"/>
                  <a:gd name="connsiteY7" fmla="*/ 32482 h 5176507"/>
                  <a:gd name="connsiteX8" fmla="*/ 412530 w 441041"/>
                  <a:gd name="connsiteY8" fmla="*/ 10696 h 5176507"/>
                  <a:gd name="connsiteX9" fmla="*/ 415909 w 441041"/>
                  <a:gd name="connsiteY9" fmla="*/ 546601 h 5176507"/>
                  <a:gd name="connsiteX10" fmla="*/ 415904 w 441041"/>
                  <a:gd name="connsiteY10" fmla="*/ 1072998 h 5176507"/>
                  <a:gd name="connsiteX11" fmla="*/ 413127 w 441041"/>
                  <a:gd name="connsiteY11" fmla="*/ 1089195 h 5176507"/>
                  <a:gd name="connsiteX12" fmla="*/ 411491 w 441041"/>
                  <a:gd name="connsiteY12" fmla="*/ 3045404 h 5176507"/>
                  <a:gd name="connsiteX13" fmla="*/ 409351 w 441041"/>
                  <a:gd name="connsiteY13" fmla="*/ 4810191 h 5176507"/>
                  <a:gd name="connsiteX0" fmla="*/ 409351 w 426110"/>
                  <a:gd name="connsiteY0" fmla="*/ 4811187 h 5177503"/>
                  <a:gd name="connsiteX1" fmla="*/ 1891 w 426110"/>
                  <a:gd name="connsiteY1" fmla="*/ 4807370 h 5177503"/>
                  <a:gd name="connsiteX2" fmla="*/ 3735 w 426110"/>
                  <a:gd name="connsiteY2" fmla="*/ 4114344 h 5177503"/>
                  <a:gd name="connsiteX3" fmla="*/ 6006 w 426110"/>
                  <a:gd name="connsiteY3" fmla="*/ 1063136 h 5177503"/>
                  <a:gd name="connsiteX4" fmla="*/ 4821 w 426110"/>
                  <a:gd name="connsiteY4" fmla="*/ 1025558 h 5177503"/>
                  <a:gd name="connsiteX5" fmla="*/ 2786 w 426110"/>
                  <a:gd name="connsiteY5" fmla="*/ 502790 h 5177503"/>
                  <a:gd name="connsiteX6" fmla="*/ 48277 w 426110"/>
                  <a:gd name="connsiteY6" fmla="*/ 180064 h 5177503"/>
                  <a:gd name="connsiteX7" fmla="*/ 243364 w 426110"/>
                  <a:gd name="connsiteY7" fmla="*/ 181565 h 5177503"/>
                  <a:gd name="connsiteX8" fmla="*/ 412530 w 426110"/>
                  <a:gd name="connsiteY8" fmla="*/ 11692 h 5177503"/>
                  <a:gd name="connsiteX9" fmla="*/ 415909 w 426110"/>
                  <a:gd name="connsiteY9" fmla="*/ 547597 h 5177503"/>
                  <a:gd name="connsiteX10" fmla="*/ 415904 w 426110"/>
                  <a:gd name="connsiteY10" fmla="*/ 1073994 h 5177503"/>
                  <a:gd name="connsiteX11" fmla="*/ 413127 w 426110"/>
                  <a:gd name="connsiteY11" fmla="*/ 1090191 h 5177503"/>
                  <a:gd name="connsiteX12" fmla="*/ 411491 w 426110"/>
                  <a:gd name="connsiteY12" fmla="*/ 3046400 h 5177503"/>
                  <a:gd name="connsiteX13" fmla="*/ 409351 w 426110"/>
                  <a:gd name="connsiteY13" fmla="*/ 4811187 h 5177503"/>
                  <a:gd name="connsiteX0" fmla="*/ 409351 w 426110"/>
                  <a:gd name="connsiteY0" fmla="*/ 4845590 h 5211906"/>
                  <a:gd name="connsiteX1" fmla="*/ 1891 w 426110"/>
                  <a:gd name="connsiteY1" fmla="*/ 4841773 h 5211906"/>
                  <a:gd name="connsiteX2" fmla="*/ 3735 w 426110"/>
                  <a:gd name="connsiteY2" fmla="*/ 4148747 h 5211906"/>
                  <a:gd name="connsiteX3" fmla="*/ 6006 w 426110"/>
                  <a:gd name="connsiteY3" fmla="*/ 1097539 h 5211906"/>
                  <a:gd name="connsiteX4" fmla="*/ 4821 w 426110"/>
                  <a:gd name="connsiteY4" fmla="*/ 1059961 h 5211906"/>
                  <a:gd name="connsiteX5" fmla="*/ 2786 w 426110"/>
                  <a:gd name="connsiteY5" fmla="*/ 537193 h 5211906"/>
                  <a:gd name="connsiteX6" fmla="*/ 48277 w 426110"/>
                  <a:gd name="connsiteY6" fmla="*/ 214467 h 5211906"/>
                  <a:gd name="connsiteX7" fmla="*/ 243364 w 426110"/>
                  <a:gd name="connsiteY7" fmla="*/ 52292 h 5211906"/>
                  <a:gd name="connsiteX8" fmla="*/ 412530 w 426110"/>
                  <a:gd name="connsiteY8" fmla="*/ 46095 h 5211906"/>
                  <a:gd name="connsiteX9" fmla="*/ 415909 w 426110"/>
                  <a:gd name="connsiteY9" fmla="*/ 582000 h 5211906"/>
                  <a:gd name="connsiteX10" fmla="*/ 415904 w 426110"/>
                  <a:gd name="connsiteY10" fmla="*/ 1108397 h 5211906"/>
                  <a:gd name="connsiteX11" fmla="*/ 413127 w 426110"/>
                  <a:gd name="connsiteY11" fmla="*/ 1124594 h 5211906"/>
                  <a:gd name="connsiteX12" fmla="*/ 411491 w 426110"/>
                  <a:gd name="connsiteY12" fmla="*/ 3080803 h 5211906"/>
                  <a:gd name="connsiteX13" fmla="*/ 409351 w 426110"/>
                  <a:gd name="connsiteY13" fmla="*/ 4845590 h 521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110" h="5211906">
                    <a:moveTo>
                      <a:pt x="409351" y="4845590"/>
                    </a:moveTo>
                    <a:cubicBezTo>
                      <a:pt x="341084" y="5139085"/>
                      <a:pt x="-29566" y="5498933"/>
                      <a:pt x="1891" y="4841773"/>
                    </a:cubicBezTo>
                    <a:cubicBezTo>
                      <a:pt x="2506" y="4610764"/>
                      <a:pt x="3120" y="4379756"/>
                      <a:pt x="3735" y="4148747"/>
                    </a:cubicBezTo>
                    <a:lnTo>
                      <a:pt x="6006" y="1097539"/>
                    </a:lnTo>
                    <a:lnTo>
                      <a:pt x="4821" y="1059961"/>
                    </a:lnTo>
                    <a:cubicBezTo>
                      <a:pt x="689" y="925964"/>
                      <a:pt x="-137" y="728295"/>
                      <a:pt x="2786" y="537193"/>
                    </a:cubicBezTo>
                    <a:cubicBezTo>
                      <a:pt x="583" y="383867"/>
                      <a:pt x="8181" y="295284"/>
                      <a:pt x="48277" y="214467"/>
                    </a:cubicBezTo>
                    <a:cubicBezTo>
                      <a:pt x="88373" y="133650"/>
                      <a:pt x="198755" y="81055"/>
                      <a:pt x="243364" y="52292"/>
                    </a:cubicBezTo>
                    <a:cubicBezTo>
                      <a:pt x="325231" y="17274"/>
                      <a:pt x="383773" y="-42190"/>
                      <a:pt x="412530" y="46095"/>
                    </a:cubicBezTo>
                    <a:cubicBezTo>
                      <a:pt x="441288" y="134380"/>
                      <a:pt x="415347" y="404950"/>
                      <a:pt x="415909" y="582000"/>
                    </a:cubicBezTo>
                    <a:cubicBezTo>
                      <a:pt x="415909" y="757466"/>
                      <a:pt x="415904" y="932931"/>
                      <a:pt x="415904" y="1108397"/>
                    </a:cubicBezTo>
                    <a:lnTo>
                      <a:pt x="413127" y="1124594"/>
                    </a:lnTo>
                    <a:cubicBezTo>
                      <a:pt x="412582" y="1776664"/>
                      <a:pt x="412036" y="2428733"/>
                      <a:pt x="411491" y="3080803"/>
                    </a:cubicBezTo>
                    <a:cubicBezTo>
                      <a:pt x="410777" y="3669066"/>
                      <a:pt x="410063" y="4257328"/>
                      <a:pt x="409351" y="4845590"/>
                    </a:cubicBezTo>
                    <a:close/>
                  </a:path>
                </a:pathLst>
              </a:custGeom>
              <a:gradFill flip="none" rotWithShape="1">
                <a:gsLst>
                  <a:gs pos="100000">
                    <a:schemeClr val="accent2">
                      <a:lumMod val="0"/>
                      <a:lumOff val="100000"/>
                      <a:alpha val="0"/>
                    </a:schemeClr>
                  </a:gs>
                  <a:gs pos="30000">
                    <a:schemeClr val="accent4"/>
                  </a:gs>
                </a:gsLst>
                <a:lin ang="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63" name="Freeform: Shape 762">
                <a:extLst>
                  <a:ext uri="{FF2B5EF4-FFF2-40B4-BE49-F238E27FC236}">
                    <a16:creationId xmlns:a16="http://schemas.microsoft.com/office/drawing/2014/main" id="{23E4819E-1DC0-4B25-B3E5-2CB31DE1BD8D}"/>
                  </a:ext>
                </a:extLst>
              </p:cNvPr>
              <p:cNvSpPr/>
              <p:nvPr/>
            </p:nvSpPr>
            <p:spPr bwMode="gray">
              <a:xfrm flipH="1" flipV="1">
                <a:off x="-1506986" y="-509529"/>
                <a:ext cx="2246364" cy="1396680"/>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172662"/>
                  <a:gd name="connsiteY0" fmla="*/ 5285252 h 5285288"/>
                  <a:gd name="connsiteX1" fmla="*/ 1859089 w 4172662"/>
                  <a:gd name="connsiteY1" fmla="*/ 5257452 h 5285288"/>
                  <a:gd name="connsiteX2" fmla="*/ 1799088 w 4172662"/>
                  <a:gd name="connsiteY2" fmla="*/ 5227600 h 5285288"/>
                  <a:gd name="connsiteX3" fmla="*/ 257741 w 4172662"/>
                  <a:gd name="connsiteY3" fmla="*/ 4344402 h 5285288"/>
                  <a:gd name="connsiteX4" fmla="*/ 66855 w 4172662"/>
                  <a:gd name="connsiteY4" fmla="*/ 4157062 h 5285288"/>
                  <a:gd name="connsiteX5" fmla="*/ 5085 w 4172662"/>
                  <a:gd name="connsiteY5" fmla="*/ 3955159 h 5285288"/>
                  <a:gd name="connsiteX6" fmla="*/ 117 w 4172662"/>
                  <a:gd name="connsiteY6" fmla="*/ 3898769 h 5285288"/>
                  <a:gd name="connsiteX7" fmla="*/ 0 w 4172662"/>
                  <a:gd name="connsiteY7" fmla="*/ 3898107 h 5285288"/>
                  <a:gd name="connsiteX8" fmla="*/ 5920 w 4172662"/>
                  <a:gd name="connsiteY8" fmla="*/ 2513626 h 5285288"/>
                  <a:gd name="connsiteX9" fmla="*/ 9056 w 4172662"/>
                  <a:gd name="connsiteY9" fmla="*/ 2484766 h 5285288"/>
                  <a:gd name="connsiteX10" fmla="*/ 206180 w 4172662"/>
                  <a:gd name="connsiteY10" fmla="*/ 2392022 h 5285288"/>
                  <a:gd name="connsiteX11" fmla="*/ 407391 w 4172662"/>
                  <a:gd name="connsiteY11" fmla="*/ 2508175 h 5285288"/>
                  <a:gd name="connsiteX12" fmla="*/ 406100 w 4172662"/>
                  <a:gd name="connsiteY12" fmla="*/ 2572658 h 5285288"/>
                  <a:gd name="connsiteX13" fmla="*/ 409165 w 4172662"/>
                  <a:gd name="connsiteY13" fmla="*/ 3888049 h 5285288"/>
                  <a:gd name="connsiteX14" fmla="*/ 407598 w 4172662"/>
                  <a:gd name="connsiteY14" fmla="*/ 3881457 h 5285288"/>
                  <a:gd name="connsiteX15" fmla="*/ 407517 w 4172662"/>
                  <a:gd name="connsiteY15" fmla="*/ 3894265 h 5285288"/>
                  <a:gd name="connsiteX16" fmla="*/ 464772 w 4172662"/>
                  <a:gd name="connsiteY16" fmla="*/ 3993435 h 5285288"/>
                  <a:gd name="connsiteX17" fmla="*/ 1965744 w 4172662"/>
                  <a:gd name="connsiteY17" fmla="*/ 4865353 h 5285288"/>
                  <a:gd name="connsiteX18" fmla="*/ 1966088 w 4172662"/>
                  <a:gd name="connsiteY18" fmla="*/ 4865745 h 5285288"/>
                  <a:gd name="connsiteX19" fmla="*/ 1988129 w 4172662"/>
                  <a:gd name="connsiteY19" fmla="*/ 4859558 h 5285288"/>
                  <a:gd name="connsiteX20" fmla="*/ 2034209 w 4172662"/>
                  <a:gd name="connsiteY20" fmla="*/ 4799004 h 5285288"/>
                  <a:gd name="connsiteX21" fmla="*/ 2036053 w 4172662"/>
                  <a:gd name="connsiteY21" fmla="*/ 4105978 h 5285288"/>
                  <a:gd name="connsiteX22" fmla="*/ 2038324 w 4172662"/>
                  <a:gd name="connsiteY22" fmla="*/ 1054770 h 5285288"/>
                  <a:gd name="connsiteX23" fmla="*/ 2037139 w 4172662"/>
                  <a:gd name="connsiteY23" fmla="*/ 1017192 h 5285288"/>
                  <a:gd name="connsiteX24" fmla="*/ 2035104 w 4172662"/>
                  <a:gd name="connsiteY24" fmla="*/ 494424 h 5285288"/>
                  <a:gd name="connsiteX25" fmla="*/ 2080595 w 4172662"/>
                  <a:gd name="connsiteY25" fmla="*/ 171698 h 5285288"/>
                  <a:gd name="connsiteX26" fmla="*/ 2245202 w 4172662"/>
                  <a:gd name="connsiteY26" fmla="*/ 25112 h 5285288"/>
                  <a:gd name="connsiteX27" fmla="*/ 2444848 w 4172662"/>
                  <a:gd name="connsiteY27" fmla="*/ 3326 h 5285288"/>
                  <a:gd name="connsiteX28" fmla="*/ 2620552 w 4172662"/>
                  <a:gd name="connsiteY28" fmla="*/ 37548 h 5285288"/>
                  <a:gd name="connsiteX29" fmla="*/ 4172662 w 4172662"/>
                  <a:gd name="connsiteY29" fmla="*/ 1149844 h 5285288"/>
                  <a:gd name="connsiteX30" fmla="*/ 3998697 w 4172662"/>
                  <a:gd name="connsiteY30" fmla="*/ 1269783 h 5285288"/>
                  <a:gd name="connsiteX31" fmla="*/ 3978850 w 4172662"/>
                  <a:gd name="connsiteY31" fmla="*/ 1262485 h 5285288"/>
                  <a:gd name="connsiteX32" fmla="*/ 2513375 w 4172662"/>
                  <a:gd name="connsiteY32" fmla="*/ 431577 h 5285288"/>
                  <a:gd name="connsiteX33" fmla="*/ 2513032 w 4172662"/>
                  <a:gd name="connsiteY33" fmla="*/ 431184 h 5285288"/>
                  <a:gd name="connsiteX34" fmla="*/ 2490877 w 4172662"/>
                  <a:gd name="connsiteY34" fmla="*/ 437405 h 5285288"/>
                  <a:gd name="connsiteX35" fmla="*/ 2448227 w 4172662"/>
                  <a:gd name="connsiteY35" fmla="*/ 539231 h 5285288"/>
                  <a:gd name="connsiteX36" fmla="*/ 2448222 w 4172662"/>
                  <a:gd name="connsiteY36" fmla="*/ 1065628 h 5285288"/>
                  <a:gd name="connsiteX37" fmla="*/ 2445445 w 4172662"/>
                  <a:gd name="connsiteY37" fmla="*/ 1081825 h 5285288"/>
                  <a:gd name="connsiteX38" fmla="*/ 2442619 w 4172662"/>
                  <a:gd name="connsiteY38" fmla="*/ 1858316 h 5285288"/>
                  <a:gd name="connsiteX39" fmla="*/ 2444476 w 4172662"/>
                  <a:gd name="connsiteY39" fmla="*/ 1861834 h 5285288"/>
                  <a:gd name="connsiteX40" fmla="*/ 2443809 w 4172662"/>
                  <a:gd name="connsiteY40" fmla="*/ 3038034 h 5285288"/>
                  <a:gd name="connsiteX41" fmla="*/ 2441669 w 4172662"/>
                  <a:gd name="connsiteY41" fmla="*/ 4802821 h 5285288"/>
                  <a:gd name="connsiteX42" fmla="*/ 2374871 w 4172662"/>
                  <a:gd name="connsiteY42" fmla="*/ 5061801 h 5285288"/>
                  <a:gd name="connsiteX43" fmla="*/ 2230903 w 4172662"/>
                  <a:gd name="connsiteY43" fmla="*/ 5216241 h 5285288"/>
                  <a:gd name="connsiteX44" fmla="*/ 2020267 w 4172662"/>
                  <a:gd name="connsiteY44" fmla="*/ 5284752 h 5285288"/>
                  <a:gd name="connsiteX45" fmla="*/ 1970713 w 4172662"/>
                  <a:gd name="connsiteY45"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3978850 w 3998697"/>
                  <a:gd name="connsiteY30" fmla="*/ 1262485 h 5285288"/>
                  <a:gd name="connsiteX31" fmla="*/ 2513375 w 3998697"/>
                  <a:gd name="connsiteY31" fmla="*/ 431577 h 5285288"/>
                  <a:gd name="connsiteX32" fmla="*/ 2513032 w 3998697"/>
                  <a:gd name="connsiteY32" fmla="*/ 431184 h 5285288"/>
                  <a:gd name="connsiteX33" fmla="*/ 2490877 w 3998697"/>
                  <a:gd name="connsiteY33" fmla="*/ 437405 h 5285288"/>
                  <a:gd name="connsiteX34" fmla="*/ 2448227 w 3998697"/>
                  <a:gd name="connsiteY34" fmla="*/ 539231 h 5285288"/>
                  <a:gd name="connsiteX35" fmla="*/ 2448222 w 3998697"/>
                  <a:gd name="connsiteY35" fmla="*/ 1065628 h 5285288"/>
                  <a:gd name="connsiteX36" fmla="*/ 2445445 w 3998697"/>
                  <a:gd name="connsiteY36" fmla="*/ 1081825 h 5285288"/>
                  <a:gd name="connsiteX37" fmla="*/ 2442619 w 3998697"/>
                  <a:gd name="connsiteY37" fmla="*/ 1858316 h 5285288"/>
                  <a:gd name="connsiteX38" fmla="*/ 2444476 w 3998697"/>
                  <a:gd name="connsiteY38" fmla="*/ 1861834 h 5285288"/>
                  <a:gd name="connsiteX39" fmla="*/ 2443809 w 3998697"/>
                  <a:gd name="connsiteY39" fmla="*/ 3038034 h 5285288"/>
                  <a:gd name="connsiteX40" fmla="*/ 2441669 w 3998697"/>
                  <a:gd name="connsiteY40" fmla="*/ 4802821 h 5285288"/>
                  <a:gd name="connsiteX41" fmla="*/ 2374871 w 3998697"/>
                  <a:gd name="connsiteY41" fmla="*/ 5061801 h 5285288"/>
                  <a:gd name="connsiteX42" fmla="*/ 2230903 w 3998697"/>
                  <a:gd name="connsiteY42" fmla="*/ 5216241 h 5285288"/>
                  <a:gd name="connsiteX43" fmla="*/ 2020267 w 3998697"/>
                  <a:gd name="connsiteY43" fmla="*/ 5284752 h 5285288"/>
                  <a:gd name="connsiteX44" fmla="*/ 1970713 w 3998697"/>
                  <a:gd name="connsiteY44"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2513375 w 3998697"/>
                  <a:gd name="connsiteY30" fmla="*/ 431577 h 5285288"/>
                  <a:gd name="connsiteX31" fmla="*/ 2513032 w 3998697"/>
                  <a:gd name="connsiteY31" fmla="*/ 431184 h 5285288"/>
                  <a:gd name="connsiteX32" fmla="*/ 2490877 w 3998697"/>
                  <a:gd name="connsiteY32" fmla="*/ 437405 h 5285288"/>
                  <a:gd name="connsiteX33" fmla="*/ 2448227 w 3998697"/>
                  <a:gd name="connsiteY33" fmla="*/ 539231 h 5285288"/>
                  <a:gd name="connsiteX34" fmla="*/ 2448222 w 3998697"/>
                  <a:gd name="connsiteY34" fmla="*/ 1065628 h 5285288"/>
                  <a:gd name="connsiteX35" fmla="*/ 2445445 w 3998697"/>
                  <a:gd name="connsiteY35" fmla="*/ 1081825 h 5285288"/>
                  <a:gd name="connsiteX36" fmla="*/ 2442619 w 3998697"/>
                  <a:gd name="connsiteY36" fmla="*/ 1858316 h 5285288"/>
                  <a:gd name="connsiteX37" fmla="*/ 2444476 w 3998697"/>
                  <a:gd name="connsiteY37" fmla="*/ 1861834 h 5285288"/>
                  <a:gd name="connsiteX38" fmla="*/ 2443809 w 3998697"/>
                  <a:gd name="connsiteY38" fmla="*/ 3038034 h 5285288"/>
                  <a:gd name="connsiteX39" fmla="*/ 2441669 w 3998697"/>
                  <a:gd name="connsiteY39" fmla="*/ 4802821 h 5285288"/>
                  <a:gd name="connsiteX40" fmla="*/ 2374871 w 3998697"/>
                  <a:gd name="connsiteY40" fmla="*/ 5061801 h 5285288"/>
                  <a:gd name="connsiteX41" fmla="*/ 2230903 w 3998697"/>
                  <a:gd name="connsiteY41" fmla="*/ 5216241 h 5285288"/>
                  <a:gd name="connsiteX42" fmla="*/ 2020267 w 3998697"/>
                  <a:gd name="connsiteY42" fmla="*/ 5284752 h 5285288"/>
                  <a:gd name="connsiteX43" fmla="*/ 1970713 w 3998697"/>
                  <a:gd name="connsiteY43" fmla="*/ 5285252 h 5285288"/>
                  <a:gd name="connsiteX0" fmla="*/ 1970713 w 2620552"/>
                  <a:gd name="connsiteY0" fmla="*/ 5285252 h 5285288"/>
                  <a:gd name="connsiteX1" fmla="*/ 1859089 w 2620552"/>
                  <a:gd name="connsiteY1" fmla="*/ 5257452 h 5285288"/>
                  <a:gd name="connsiteX2" fmla="*/ 1799088 w 2620552"/>
                  <a:gd name="connsiteY2" fmla="*/ 5227600 h 5285288"/>
                  <a:gd name="connsiteX3" fmla="*/ 257741 w 2620552"/>
                  <a:gd name="connsiteY3" fmla="*/ 4344402 h 5285288"/>
                  <a:gd name="connsiteX4" fmla="*/ 66855 w 2620552"/>
                  <a:gd name="connsiteY4" fmla="*/ 4157062 h 5285288"/>
                  <a:gd name="connsiteX5" fmla="*/ 5085 w 2620552"/>
                  <a:gd name="connsiteY5" fmla="*/ 3955159 h 5285288"/>
                  <a:gd name="connsiteX6" fmla="*/ 117 w 2620552"/>
                  <a:gd name="connsiteY6" fmla="*/ 3898769 h 5285288"/>
                  <a:gd name="connsiteX7" fmla="*/ 0 w 2620552"/>
                  <a:gd name="connsiteY7" fmla="*/ 3898107 h 5285288"/>
                  <a:gd name="connsiteX8" fmla="*/ 5920 w 2620552"/>
                  <a:gd name="connsiteY8" fmla="*/ 2513626 h 5285288"/>
                  <a:gd name="connsiteX9" fmla="*/ 9056 w 2620552"/>
                  <a:gd name="connsiteY9" fmla="*/ 2484766 h 5285288"/>
                  <a:gd name="connsiteX10" fmla="*/ 206180 w 2620552"/>
                  <a:gd name="connsiteY10" fmla="*/ 2392022 h 5285288"/>
                  <a:gd name="connsiteX11" fmla="*/ 407391 w 2620552"/>
                  <a:gd name="connsiteY11" fmla="*/ 2508175 h 5285288"/>
                  <a:gd name="connsiteX12" fmla="*/ 406100 w 2620552"/>
                  <a:gd name="connsiteY12" fmla="*/ 2572658 h 5285288"/>
                  <a:gd name="connsiteX13" fmla="*/ 409165 w 2620552"/>
                  <a:gd name="connsiteY13" fmla="*/ 3888049 h 5285288"/>
                  <a:gd name="connsiteX14" fmla="*/ 407598 w 2620552"/>
                  <a:gd name="connsiteY14" fmla="*/ 3881457 h 5285288"/>
                  <a:gd name="connsiteX15" fmla="*/ 407517 w 2620552"/>
                  <a:gd name="connsiteY15" fmla="*/ 3894265 h 5285288"/>
                  <a:gd name="connsiteX16" fmla="*/ 464772 w 2620552"/>
                  <a:gd name="connsiteY16" fmla="*/ 3993435 h 5285288"/>
                  <a:gd name="connsiteX17" fmla="*/ 1965744 w 2620552"/>
                  <a:gd name="connsiteY17" fmla="*/ 4865353 h 5285288"/>
                  <a:gd name="connsiteX18" fmla="*/ 1966088 w 2620552"/>
                  <a:gd name="connsiteY18" fmla="*/ 4865745 h 5285288"/>
                  <a:gd name="connsiteX19" fmla="*/ 1988129 w 2620552"/>
                  <a:gd name="connsiteY19" fmla="*/ 4859558 h 5285288"/>
                  <a:gd name="connsiteX20" fmla="*/ 2034209 w 2620552"/>
                  <a:gd name="connsiteY20" fmla="*/ 4799004 h 5285288"/>
                  <a:gd name="connsiteX21" fmla="*/ 2036053 w 2620552"/>
                  <a:gd name="connsiteY21" fmla="*/ 4105978 h 5285288"/>
                  <a:gd name="connsiteX22" fmla="*/ 2038324 w 2620552"/>
                  <a:gd name="connsiteY22" fmla="*/ 1054770 h 5285288"/>
                  <a:gd name="connsiteX23" fmla="*/ 2037139 w 2620552"/>
                  <a:gd name="connsiteY23" fmla="*/ 1017192 h 5285288"/>
                  <a:gd name="connsiteX24" fmla="*/ 2035104 w 2620552"/>
                  <a:gd name="connsiteY24" fmla="*/ 494424 h 5285288"/>
                  <a:gd name="connsiteX25" fmla="*/ 2080595 w 2620552"/>
                  <a:gd name="connsiteY25" fmla="*/ 171698 h 5285288"/>
                  <a:gd name="connsiteX26" fmla="*/ 2245202 w 2620552"/>
                  <a:gd name="connsiteY26" fmla="*/ 25112 h 5285288"/>
                  <a:gd name="connsiteX27" fmla="*/ 2444848 w 2620552"/>
                  <a:gd name="connsiteY27" fmla="*/ 3326 h 5285288"/>
                  <a:gd name="connsiteX28" fmla="*/ 2620552 w 2620552"/>
                  <a:gd name="connsiteY28" fmla="*/ 37548 h 5285288"/>
                  <a:gd name="connsiteX29" fmla="*/ 2513375 w 2620552"/>
                  <a:gd name="connsiteY29" fmla="*/ 431577 h 5285288"/>
                  <a:gd name="connsiteX30" fmla="*/ 2513032 w 2620552"/>
                  <a:gd name="connsiteY30" fmla="*/ 431184 h 5285288"/>
                  <a:gd name="connsiteX31" fmla="*/ 2490877 w 2620552"/>
                  <a:gd name="connsiteY31" fmla="*/ 437405 h 5285288"/>
                  <a:gd name="connsiteX32" fmla="*/ 2448227 w 2620552"/>
                  <a:gd name="connsiteY32" fmla="*/ 539231 h 5285288"/>
                  <a:gd name="connsiteX33" fmla="*/ 2448222 w 2620552"/>
                  <a:gd name="connsiteY33" fmla="*/ 1065628 h 5285288"/>
                  <a:gd name="connsiteX34" fmla="*/ 2445445 w 2620552"/>
                  <a:gd name="connsiteY34" fmla="*/ 1081825 h 5285288"/>
                  <a:gd name="connsiteX35" fmla="*/ 2442619 w 2620552"/>
                  <a:gd name="connsiteY35" fmla="*/ 1858316 h 5285288"/>
                  <a:gd name="connsiteX36" fmla="*/ 2444476 w 2620552"/>
                  <a:gd name="connsiteY36" fmla="*/ 1861834 h 5285288"/>
                  <a:gd name="connsiteX37" fmla="*/ 2443809 w 2620552"/>
                  <a:gd name="connsiteY37" fmla="*/ 3038034 h 5285288"/>
                  <a:gd name="connsiteX38" fmla="*/ 2441669 w 2620552"/>
                  <a:gd name="connsiteY38" fmla="*/ 4802821 h 5285288"/>
                  <a:gd name="connsiteX39" fmla="*/ 2374871 w 2620552"/>
                  <a:gd name="connsiteY39" fmla="*/ 5061801 h 5285288"/>
                  <a:gd name="connsiteX40" fmla="*/ 2230903 w 2620552"/>
                  <a:gd name="connsiteY40" fmla="*/ 5216241 h 5285288"/>
                  <a:gd name="connsiteX41" fmla="*/ 2020267 w 2620552"/>
                  <a:gd name="connsiteY41" fmla="*/ 5284752 h 5285288"/>
                  <a:gd name="connsiteX42" fmla="*/ 1970713 w 2620552"/>
                  <a:gd name="connsiteY42" fmla="*/ 5285252 h 5285288"/>
                  <a:gd name="connsiteX0" fmla="*/ 1970713 w 2513375"/>
                  <a:gd name="connsiteY0" fmla="*/ 5314207 h 5314243"/>
                  <a:gd name="connsiteX1" fmla="*/ 1859089 w 2513375"/>
                  <a:gd name="connsiteY1" fmla="*/ 5286407 h 5314243"/>
                  <a:gd name="connsiteX2" fmla="*/ 1799088 w 2513375"/>
                  <a:gd name="connsiteY2" fmla="*/ 5256555 h 5314243"/>
                  <a:gd name="connsiteX3" fmla="*/ 257741 w 2513375"/>
                  <a:gd name="connsiteY3" fmla="*/ 4373357 h 5314243"/>
                  <a:gd name="connsiteX4" fmla="*/ 66855 w 2513375"/>
                  <a:gd name="connsiteY4" fmla="*/ 4186017 h 5314243"/>
                  <a:gd name="connsiteX5" fmla="*/ 5085 w 2513375"/>
                  <a:gd name="connsiteY5" fmla="*/ 3984114 h 5314243"/>
                  <a:gd name="connsiteX6" fmla="*/ 117 w 2513375"/>
                  <a:gd name="connsiteY6" fmla="*/ 3927724 h 5314243"/>
                  <a:gd name="connsiteX7" fmla="*/ 0 w 2513375"/>
                  <a:gd name="connsiteY7" fmla="*/ 3927062 h 5314243"/>
                  <a:gd name="connsiteX8" fmla="*/ 5920 w 2513375"/>
                  <a:gd name="connsiteY8" fmla="*/ 2542581 h 5314243"/>
                  <a:gd name="connsiteX9" fmla="*/ 9056 w 2513375"/>
                  <a:gd name="connsiteY9" fmla="*/ 2513721 h 5314243"/>
                  <a:gd name="connsiteX10" fmla="*/ 206180 w 2513375"/>
                  <a:gd name="connsiteY10" fmla="*/ 2420977 h 5314243"/>
                  <a:gd name="connsiteX11" fmla="*/ 407391 w 2513375"/>
                  <a:gd name="connsiteY11" fmla="*/ 2537130 h 5314243"/>
                  <a:gd name="connsiteX12" fmla="*/ 406100 w 2513375"/>
                  <a:gd name="connsiteY12" fmla="*/ 2601613 h 5314243"/>
                  <a:gd name="connsiteX13" fmla="*/ 409165 w 2513375"/>
                  <a:gd name="connsiteY13" fmla="*/ 3917004 h 5314243"/>
                  <a:gd name="connsiteX14" fmla="*/ 407598 w 2513375"/>
                  <a:gd name="connsiteY14" fmla="*/ 3910412 h 5314243"/>
                  <a:gd name="connsiteX15" fmla="*/ 407517 w 2513375"/>
                  <a:gd name="connsiteY15" fmla="*/ 3923220 h 5314243"/>
                  <a:gd name="connsiteX16" fmla="*/ 464772 w 2513375"/>
                  <a:gd name="connsiteY16" fmla="*/ 4022390 h 5314243"/>
                  <a:gd name="connsiteX17" fmla="*/ 1965744 w 2513375"/>
                  <a:gd name="connsiteY17" fmla="*/ 4894308 h 5314243"/>
                  <a:gd name="connsiteX18" fmla="*/ 1966088 w 2513375"/>
                  <a:gd name="connsiteY18" fmla="*/ 4894700 h 5314243"/>
                  <a:gd name="connsiteX19" fmla="*/ 1988129 w 2513375"/>
                  <a:gd name="connsiteY19" fmla="*/ 4888513 h 5314243"/>
                  <a:gd name="connsiteX20" fmla="*/ 2034209 w 2513375"/>
                  <a:gd name="connsiteY20" fmla="*/ 4827959 h 5314243"/>
                  <a:gd name="connsiteX21" fmla="*/ 2036053 w 2513375"/>
                  <a:gd name="connsiteY21" fmla="*/ 4134933 h 5314243"/>
                  <a:gd name="connsiteX22" fmla="*/ 2038324 w 2513375"/>
                  <a:gd name="connsiteY22" fmla="*/ 1083725 h 5314243"/>
                  <a:gd name="connsiteX23" fmla="*/ 2037139 w 2513375"/>
                  <a:gd name="connsiteY23" fmla="*/ 1046147 h 5314243"/>
                  <a:gd name="connsiteX24" fmla="*/ 2035104 w 2513375"/>
                  <a:gd name="connsiteY24" fmla="*/ 523379 h 5314243"/>
                  <a:gd name="connsiteX25" fmla="*/ 2080595 w 2513375"/>
                  <a:gd name="connsiteY25" fmla="*/ 200653 h 5314243"/>
                  <a:gd name="connsiteX26" fmla="*/ 2245202 w 2513375"/>
                  <a:gd name="connsiteY26" fmla="*/ 54067 h 5314243"/>
                  <a:gd name="connsiteX27" fmla="*/ 2444848 w 2513375"/>
                  <a:gd name="connsiteY27" fmla="*/ 32281 h 5314243"/>
                  <a:gd name="connsiteX28" fmla="*/ 2513375 w 2513375"/>
                  <a:gd name="connsiteY28" fmla="*/ 460532 h 5314243"/>
                  <a:gd name="connsiteX29" fmla="*/ 2513032 w 2513375"/>
                  <a:gd name="connsiteY29" fmla="*/ 460139 h 5314243"/>
                  <a:gd name="connsiteX30" fmla="*/ 2490877 w 2513375"/>
                  <a:gd name="connsiteY30" fmla="*/ 466360 h 5314243"/>
                  <a:gd name="connsiteX31" fmla="*/ 2448227 w 2513375"/>
                  <a:gd name="connsiteY31" fmla="*/ 568186 h 5314243"/>
                  <a:gd name="connsiteX32" fmla="*/ 2448222 w 2513375"/>
                  <a:gd name="connsiteY32" fmla="*/ 1094583 h 5314243"/>
                  <a:gd name="connsiteX33" fmla="*/ 2445445 w 2513375"/>
                  <a:gd name="connsiteY33" fmla="*/ 1110780 h 5314243"/>
                  <a:gd name="connsiteX34" fmla="*/ 2442619 w 2513375"/>
                  <a:gd name="connsiteY34" fmla="*/ 1887271 h 5314243"/>
                  <a:gd name="connsiteX35" fmla="*/ 2444476 w 2513375"/>
                  <a:gd name="connsiteY35" fmla="*/ 1890789 h 5314243"/>
                  <a:gd name="connsiteX36" fmla="*/ 2443809 w 2513375"/>
                  <a:gd name="connsiteY36" fmla="*/ 3066989 h 5314243"/>
                  <a:gd name="connsiteX37" fmla="*/ 2441669 w 2513375"/>
                  <a:gd name="connsiteY37" fmla="*/ 4831776 h 5314243"/>
                  <a:gd name="connsiteX38" fmla="*/ 2374871 w 2513375"/>
                  <a:gd name="connsiteY38" fmla="*/ 5090756 h 5314243"/>
                  <a:gd name="connsiteX39" fmla="*/ 2230903 w 2513375"/>
                  <a:gd name="connsiteY39" fmla="*/ 5245196 h 5314243"/>
                  <a:gd name="connsiteX40" fmla="*/ 2020267 w 2513375"/>
                  <a:gd name="connsiteY40" fmla="*/ 5313707 h 5314243"/>
                  <a:gd name="connsiteX41" fmla="*/ 1970713 w 2513375"/>
                  <a:gd name="connsiteY41" fmla="*/ 5314207 h 5314243"/>
                  <a:gd name="connsiteX0" fmla="*/ 1970713 w 2513375"/>
                  <a:gd name="connsiteY0" fmla="*/ 5260140 h 5260176"/>
                  <a:gd name="connsiteX1" fmla="*/ 1859089 w 2513375"/>
                  <a:gd name="connsiteY1" fmla="*/ 5232340 h 5260176"/>
                  <a:gd name="connsiteX2" fmla="*/ 1799088 w 2513375"/>
                  <a:gd name="connsiteY2" fmla="*/ 5202488 h 5260176"/>
                  <a:gd name="connsiteX3" fmla="*/ 257741 w 2513375"/>
                  <a:gd name="connsiteY3" fmla="*/ 4319290 h 5260176"/>
                  <a:gd name="connsiteX4" fmla="*/ 66855 w 2513375"/>
                  <a:gd name="connsiteY4" fmla="*/ 4131950 h 5260176"/>
                  <a:gd name="connsiteX5" fmla="*/ 5085 w 2513375"/>
                  <a:gd name="connsiteY5" fmla="*/ 3930047 h 5260176"/>
                  <a:gd name="connsiteX6" fmla="*/ 117 w 2513375"/>
                  <a:gd name="connsiteY6" fmla="*/ 3873657 h 5260176"/>
                  <a:gd name="connsiteX7" fmla="*/ 0 w 2513375"/>
                  <a:gd name="connsiteY7" fmla="*/ 3872995 h 5260176"/>
                  <a:gd name="connsiteX8" fmla="*/ 5920 w 2513375"/>
                  <a:gd name="connsiteY8" fmla="*/ 2488514 h 5260176"/>
                  <a:gd name="connsiteX9" fmla="*/ 9056 w 2513375"/>
                  <a:gd name="connsiteY9" fmla="*/ 2459654 h 5260176"/>
                  <a:gd name="connsiteX10" fmla="*/ 206180 w 2513375"/>
                  <a:gd name="connsiteY10" fmla="*/ 2366910 h 5260176"/>
                  <a:gd name="connsiteX11" fmla="*/ 407391 w 2513375"/>
                  <a:gd name="connsiteY11" fmla="*/ 2483063 h 5260176"/>
                  <a:gd name="connsiteX12" fmla="*/ 406100 w 2513375"/>
                  <a:gd name="connsiteY12" fmla="*/ 2547546 h 5260176"/>
                  <a:gd name="connsiteX13" fmla="*/ 409165 w 2513375"/>
                  <a:gd name="connsiteY13" fmla="*/ 3862937 h 5260176"/>
                  <a:gd name="connsiteX14" fmla="*/ 407598 w 2513375"/>
                  <a:gd name="connsiteY14" fmla="*/ 3856345 h 5260176"/>
                  <a:gd name="connsiteX15" fmla="*/ 407517 w 2513375"/>
                  <a:gd name="connsiteY15" fmla="*/ 3869153 h 5260176"/>
                  <a:gd name="connsiteX16" fmla="*/ 464772 w 2513375"/>
                  <a:gd name="connsiteY16" fmla="*/ 3968323 h 5260176"/>
                  <a:gd name="connsiteX17" fmla="*/ 1965744 w 2513375"/>
                  <a:gd name="connsiteY17" fmla="*/ 4840241 h 5260176"/>
                  <a:gd name="connsiteX18" fmla="*/ 1966088 w 2513375"/>
                  <a:gd name="connsiteY18" fmla="*/ 4840633 h 5260176"/>
                  <a:gd name="connsiteX19" fmla="*/ 1988129 w 2513375"/>
                  <a:gd name="connsiteY19" fmla="*/ 4834446 h 5260176"/>
                  <a:gd name="connsiteX20" fmla="*/ 2034209 w 2513375"/>
                  <a:gd name="connsiteY20" fmla="*/ 4773892 h 5260176"/>
                  <a:gd name="connsiteX21" fmla="*/ 2036053 w 2513375"/>
                  <a:gd name="connsiteY21" fmla="*/ 4080866 h 5260176"/>
                  <a:gd name="connsiteX22" fmla="*/ 2038324 w 2513375"/>
                  <a:gd name="connsiteY22" fmla="*/ 1029658 h 5260176"/>
                  <a:gd name="connsiteX23" fmla="*/ 2037139 w 2513375"/>
                  <a:gd name="connsiteY23" fmla="*/ 992080 h 5260176"/>
                  <a:gd name="connsiteX24" fmla="*/ 2035104 w 2513375"/>
                  <a:gd name="connsiteY24" fmla="*/ 469312 h 5260176"/>
                  <a:gd name="connsiteX25" fmla="*/ 2080595 w 2513375"/>
                  <a:gd name="connsiteY25" fmla="*/ 146586 h 5260176"/>
                  <a:gd name="connsiteX26" fmla="*/ 2245202 w 2513375"/>
                  <a:gd name="connsiteY26" fmla="*/ 0 h 5260176"/>
                  <a:gd name="connsiteX27" fmla="*/ 2513375 w 2513375"/>
                  <a:gd name="connsiteY27" fmla="*/ 406465 h 5260176"/>
                  <a:gd name="connsiteX28" fmla="*/ 2513032 w 2513375"/>
                  <a:gd name="connsiteY28" fmla="*/ 406072 h 5260176"/>
                  <a:gd name="connsiteX29" fmla="*/ 2490877 w 2513375"/>
                  <a:gd name="connsiteY29" fmla="*/ 412293 h 5260176"/>
                  <a:gd name="connsiteX30" fmla="*/ 2448227 w 2513375"/>
                  <a:gd name="connsiteY30" fmla="*/ 514119 h 5260176"/>
                  <a:gd name="connsiteX31" fmla="*/ 2448222 w 2513375"/>
                  <a:gd name="connsiteY31" fmla="*/ 1040516 h 5260176"/>
                  <a:gd name="connsiteX32" fmla="*/ 2445445 w 2513375"/>
                  <a:gd name="connsiteY32" fmla="*/ 1056713 h 5260176"/>
                  <a:gd name="connsiteX33" fmla="*/ 2442619 w 2513375"/>
                  <a:gd name="connsiteY33" fmla="*/ 1833204 h 5260176"/>
                  <a:gd name="connsiteX34" fmla="*/ 2444476 w 2513375"/>
                  <a:gd name="connsiteY34" fmla="*/ 1836722 h 5260176"/>
                  <a:gd name="connsiteX35" fmla="*/ 2443809 w 2513375"/>
                  <a:gd name="connsiteY35" fmla="*/ 3012922 h 5260176"/>
                  <a:gd name="connsiteX36" fmla="*/ 2441669 w 2513375"/>
                  <a:gd name="connsiteY36" fmla="*/ 4777709 h 5260176"/>
                  <a:gd name="connsiteX37" fmla="*/ 2374871 w 2513375"/>
                  <a:gd name="connsiteY37" fmla="*/ 5036689 h 5260176"/>
                  <a:gd name="connsiteX38" fmla="*/ 2230903 w 2513375"/>
                  <a:gd name="connsiteY38" fmla="*/ 5191129 h 5260176"/>
                  <a:gd name="connsiteX39" fmla="*/ 2020267 w 2513375"/>
                  <a:gd name="connsiteY39" fmla="*/ 5259640 h 5260176"/>
                  <a:gd name="connsiteX40" fmla="*/ 1970713 w 2513375"/>
                  <a:gd name="connsiteY40" fmla="*/ 5260140 h 5260176"/>
                  <a:gd name="connsiteX0" fmla="*/ 1970713 w 2513375"/>
                  <a:gd name="connsiteY0" fmla="*/ 5113905 h 5113941"/>
                  <a:gd name="connsiteX1" fmla="*/ 1859089 w 2513375"/>
                  <a:gd name="connsiteY1" fmla="*/ 5086105 h 5113941"/>
                  <a:gd name="connsiteX2" fmla="*/ 1799088 w 2513375"/>
                  <a:gd name="connsiteY2" fmla="*/ 5056253 h 5113941"/>
                  <a:gd name="connsiteX3" fmla="*/ 257741 w 2513375"/>
                  <a:gd name="connsiteY3" fmla="*/ 4173055 h 5113941"/>
                  <a:gd name="connsiteX4" fmla="*/ 66855 w 2513375"/>
                  <a:gd name="connsiteY4" fmla="*/ 3985715 h 5113941"/>
                  <a:gd name="connsiteX5" fmla="*/ 5085 w 2513375"/>
                  <a:gd name="connsiteY5" fmla="*/ 3783812 h 5113941"/>
                  <a:gd name="connsiteX6" fmla="*/ 117 w 2513375"/>
                  <a:gd name="connsiteY6" fmla="*/ 3727422 h 5113941"/>
                  <a:gd name="connsiteX7" fmla="*/ 0 w 2513375"/>
                  <a:gd name="connsiteY7" fmla="*/ 3726760 h 5113941"/>
                  <a:gd name="connsiteX8" fmla="*/ 5920 w 2513375"/>
                  <a:gd name="connsiteY8" fmla="*/ 2342279 h 5113941"/>
                  <a:gd name="connsiteX9" fmla="*/ 9056 w 2513375"/>
                  <a:gd name="connsiteY9" fmla="*/ 2313419 h 5113941"/>
                  <a:gd name="connsiteX10" fmla="*/ 206180 w 2513375"/>
                  <a:gd name="connsiteY10" fmla="*/ 2220675 h 5113941"/>
                  <a:gd name="connsiteX11" fmla="*/ 407391 w 2513375"/>
                  <a:gd name="connsiteY11" fmla="*/ 2336828 h 5113941"/>
                  <a:gd name="connsiteX12" fmla="*/ 406100 w 2513375"/>
                  <a:gd name="connsiteY12" fmla="*/ 2401311 h 5113941"/>
                  <a:gd name="connsiteX13" fmla="*/ 409165 w 2513375"/>
                  <a:gd name="connsiteY13" fmla="*/ 3716702 h 5113941"/>
                  <a:gd name="connsiteX14" fmla="*/ 407598 w 2513375"/>
                  <a:gd name="connsiteY14" fmla="*/ 3710110 h 5113941"/>
                  <a:gd name="connsiteX15" fmla="*/ 407517 w 2513375"/>
                  <a:gd name="connsiteY15" fmla="*/ 3722918 h 5113941"/>
                  <a:gd name="connsiteX16" fmla="*/ 464772 w 2513375"/>
                  <a:gd name="connsiteY16" fmla="*/ 3822088 h 5113941"/>
                  <a:gd name="connsiteX17" fmla="*/ 1965744 w 2513375"/>
                  <a:gd name="connsiteY17" fmla="*/ 4694006 h 5113941"/>
                  <a:gd name="connsiteX18" fmla="*/ 1966088 w 2513375"/>
                  <a:gd name="connsiteY18" fmla="*/ 4694398 h 5113941"/>
                  <a:gd name="connsiteX19" fmla="*/ 1988129 w 2513375"/>
                  <a:gd name="connsiteY19" fmla="*/ 4688211 h 5113941"/>
                  <a:gd name="connsiteX20" fmla="*/ 2034209 w 2513375"/>
                  <a:gd name="connsiteY20" fmla="*/ 4627657 h 5113941"/>
                  <a:gd name="connsiteX21" fmla="*/ 2036053 w 2513375"/>
                  <a:gd name="connsiteY21" fmla="*/ 3934631 h 5113941"/>
                  <a:gd name="connsiteX22" fmla="*/ 2038324 w 2513375"/>
                  <a:gd name="connsiteY22" fmla="*/ 883423 h 5113941"/>
                  <a:gd name="connsiteX23" fmla="*/ 2037139 w 2513375"/>
                  <a:gd name="connsiteY23" fmla="*/ 845845 h 5113941"/>
                  <a:gd name="connsiteX24" fmla="*/ 2035104 w 2513375"/>
                  <a:gd name="connsiteY24" fmla="*/ 323077 h 5113941"/>
                  <a:gd name="connsiteX25" fmla="*/ 2080595 w 2513375"/>
                  <a:gd name="connsiteY25" fmla="*/ 351 h 5113941"/>
                  <a:gd name="connsiteX26" fmla="*/ 2513375 w 2513375"/>
                  <a:gd name="connsiteY26" fmla="*/ 260230 h 5113941"/>
                  <a:gd name="connsiteX27" fmla="*/ 2513032 w 2513375"/>
                  <a:gd name="connsiteY27" fmla="*/ 259837 h 5113941"/>
                  <a:gd name="connsiteX28" fmla="*/ 2490877 w 2513375"/>
                  <a:gd name="connsiteY28" fmla="*/ 266058 h 5113941"/>
                  <a:gd name="connsiteX29" fmla="*/ 2448227 w 2513375"/>
                  <a:gd name="connsiteY29" fmla="*/ 367884 h 5113941"/>
                  <a:gd name="connsiteX30" fmla="*/ 2448222 w 2513375"/>
                  <a:gd name="connsiteY30" fmla="*/ 894281 h 5113941"/>
                  <a:gd name="connsiteX31" fmla="*/ 2445445 w 2513375"/>
                  <a:gd name="connsiteY31" fmla="*/ 910478 h 5113941"/>
                  <a:gd name="connsiteX32" fmla="*/ 2442619 w 2513375"/>
                  <a:gd name="connsiteY32" fmla="*/ 1686969 h 5113941"/>
                  <a:gd name="connsiteX33" fmla="*/ 2444476 w 2513375"/>
                  <a:gd name="connsiteY33" fmla="*/ 1690487 h 5113941"/>
                  <a:gd name="connsiteX34" fmla="*/ 2443809 w 2513375"/>
                  <a:gd name="connsiteY34" fmla="*/ 2866687 h 5113941"/>
                  <a:gd name="connsiteX35" fmla="*/ 2441669 w 2513375"/>
                  <a:gd name="connsiteY35" fmla="*/ 4631474 h 5113941"/>
                  <a:gd name="connsiteX36" fmla="*/ 2374871 w 2513375"/>
                  <a:gd name="connsiteY36" fmla="*/ 4890454 h 5113941"/>
                  <a:gd name="connsiteX37" fmla="*/ 2230903 w 2513375"/>
                  <a:gd name="connsiteY37" fmla="*/ 5044894 h 5113941"/>
                  <a:gd name="connsiteX38" fmla="*/ 2020267 w 2513375"/>
                  <a:gd name="connsiteY38" fmla="*/ 5113405 h 5113941"/>
                  <a:gd name="connsiteX39" fmla="*/ 1970713 w 2513375"/>
                  <a:gd name="connsiteY39" fmla="*/ 5113905 h 5113941"/>
                  <a:gd name="connsiteX0" fmla="*/ 1970713 w 2513375"/>
                  <a:gd name="connsiteY0" fmla="*/ 4855263 h 4855299"/>
                  <a:gd name="connsiteX1" fmla="*/ 1859089 w 2513375"/>
                  <a:gd name="connsiteY1" fmla="*/ 4827463 h 4855299"/>
                  <a:gd name="connsiteX2" fmla="*/ 1799088 w 2513375"/>
                  <a:gd name="connsiteY2" fmla="*/ 4797611 h 4855299"/>
                  <a:gd name="connsiteX3" fmla="*/ 257741 w 2513375"/>
                  <a:gd name="connsiteY3" fmla="*/ 3914413 h 4855299"/>
                  <a:gd name="connsiteX4" fmla="*/ 66855 w 2513375"/>
                  <a:gd name="connsiteY4" fmla="*/ 3727073 h 4855299"/>
                  <a:gd name="connsiteX5" fmla="*/ 5085 w 2513375"/>
                  <a:gd name="connsiteY5" fmla="*/ 3525170 h 4855299"/>
                  <a:gd name="connsiteX6" fmla="*/ 117 w 2513375"/>
                  <a:gd name="connsiteY6" fmla="*/ 3468780 h 4855299"/>
                  <a:gd name="connsiteX7" fmla="*/ 0 w 2513375"/>
                  <a:gd name="connsiteY7" fmla="*/ 3468118 h 4855299"/>
                  <a:gd name="connsiteX8" fmla="*/ 5920 w 2513375"/>
                  <a:gd name="connsiteY8" fmla="*/ 2083637 h 4855299"/>
                  <a:gd name="connsiteX9" fmla="*/ 9056 w 2513375"/>
                  <a:gd name="connsiteY9" fmla="*/ 2054777 h 4855299"/>
                  <a:gd name="connsiteX10" fmla="*/ 206180 w 2513375"/>
                  <a:gd name="connsiteY10" fmla="*/ 1962033 h 4855299"/>
                  <a:gd name="connsiteX11" fmla="*/ 407391 w 2513375"/>
                  <a:gd name="connsiteY11" fmla="*/ 2078186 h 4855299"/>
                  <a:gd name="connsiteX12" fmla="*/ 406100 w 2513375"/>
                  <a:gd name="connsiteY12" fmla="*/ 2142669 h 4855299"/>
                  <a:gd name="connsiteX13" fmla="*/ 409165 w 2513375"/>
                  <a:gd name="connsiteY13" fmla="*/ 3458060 h 4855299"/>
                  <a:gd name="connsiteX14" fmla="*/ 407598 w 2513375"/>
                  <a:gd name="connsiteY14" fmla="*/ 3451468 h 4855299"/>
                  <a:gd name="connsiteX15" fmla="*/ 407517 w 2513375"/>
                  <a:gd name="connsiteY15" fmla="*/ 3464276 h 4855299"/>
                  <a:gd name="connsiteX16" fmla="*/ 464772 w 2513375"/>
                  <a:gd name="connsiteY16" fmla="*/ 3563446 h 4855299"/>
                  <a:gd name="connsiteX17" fmla="*/ 1965744 w 2513375"/>
                  <a:gd name="connsiteY17" fmla="*/ 4435364 h 4855299"/>
                  <a:gd name="connsiteX18" fmla="*/ 1966088 w 2513375"/>
                  <a:gd name="connsiteY18" fmla="*/ 4435756 h 4855299"/>
                  <a:gd name="connsiteX19" fmla="*/ 1988129 w 2513375"/>
                  <a:gd name="connsiteY19" fmla="*/ 4429569 h 4855299"/>
                  <a:gd name="connsiteX20" fmla="*/ 2034209 w 2513375"/>
                  <a:gd name="connsiteY20" fmla="*/ 4369015 h 4855299"/>
                  <a:gd name="connsiteX21" fmla="*/ 2036053 w 2513375"/>
                  <a:gd name="connsiteY21" fmla="*/ 3675989 h 4855299"/>
                  <a:gd name="connsiteX22" fmla="*/ 2038324 w 2513375"/>
                  <a:gd name="connsiteY22" fmla="*/ 624781 h 4855299"/>
                  <a:gd name="connsiteX23" fmla="*/ 2037139 w 2513375"/>
                  <a:gd name="connsiteY23" fmla="*/ 587203 h 4855299"/>
                  <a:gd name="connsiteX24" fmla="*/ 2035104 w 2513375"/>
                  <a:gd name="connsiteY24" fmla="*/ 64435 h 4855299"/>
                  <a:gd name="connsiteX25" fmla="*/ 2513375 w 2513375"/>
                  <a:gd name="connsiteY25" fmla="*/ 1588 h 4855299"/>
                  <a:gd name="connsiteX26" fmla="*/ 2513032 w 2513375"/>
                  <a:gd name="connsiteY26" fmla="*/ 1195 h 4855299"/>
                  <a:gd name="connsiteX27" fmla="*/ 2490877 w 2513375"/>
                  <a:gd name="connsiteY27" fmla="*/ 7416 h 4855299"/>
                  <a:gd name="connsiteX28" fmla="*/ 2448227 w 2513375"/>
                  <a:gd name="connsiteY28" fmla="*/ 109242 h 4855299"/>
                  <a:gd name="connsiteX29" fmla="*/ 2448222 w 2513375"/>
                  <a:gd name="connsiteY29" fmla="*/ 635639 h 4855299"/>
                  <a:gd name="connsiteX30" fmla="*/ 2445445 w 2513375"/>
                  <a:gd name="connsiteY30" fmla="*/ 651836 h 4855299"/>
                  <a:gd name="connsiteX31" fmla="*/ 2442619 w 2513375"/>
                  <a:gd name="connsiteY31" fmla="*/ 1428327 h 4855299"/>
                  <a:gd name="connsiteX32" fmla="*/ 2444476 w 2513375"/>
                  <a:gd name="connsiteY32" fmla="*/ 1431845 h 4855299"/>
                  <a:gd name="connsiteX33" fmla="*/ 2443809 w 2513375"/>
                  <a:gd name="connsiteY33" fmla="*/ 2608045 h 4855299"/>
                  <a:gd name="connsiteX34" fmla="*/ 2441669 w 2513375"/>
                  <a:gd name="connsiteY34" fmla="*/ 4372832 h 4855299"/>
                  <a:gd name="connsiteX35" fmla="*/ 2374871 w 2513375"/>
                  <a:gd name="connsiteY35" fmla="*/ 4631812 h 4855299"/>
                  <a:gd name="connsiteX36" fmla="*/ 2230903 w 2513375"/>
                  <a:gd name="connsiteY36" fmla="*/ 4786252 h 4855299"/>
                  <a:gd name="connsiteX37" fmla="*/ 2020267 w 2513375"/>
                  <a:gd name="connsiteY37" fmla="*/ 4854763 h 4855299"/>
                  <a:gd name="connsiteX38" fmla="*/ 1970713 w 2513375"/>
                  <a:gd name="connsiteY38" fmla="*/ 4855263 h 4855299"/>
                  <a:gd name="connsiteX0" fmla="*/ 1970713 w 2513375"/>
                  <a:gd name="connsiteY0" fmla="*/ 4855263 h 4855299"/>
                  <a:gd name="connsiteX1" fmla="*/ 1859089 w 2513375"/>
                  <a:gd name="connsiteY1" fmla="*/ 4827463 h 4855299"/>
                  <a:gd name="connsiteX2" fmla="*/ 1799088 w 2513375"/>
                  <a:gd name="connsiteY2" fmla="*/ 4797611 h 4855299"/>
                  <a:gd name="connsiteX3" fmla="*/ 257741 w 2513375"/>
                  <a:gd name="connsiteY3" fmla="*/ 3914413 h 4855299"/>
                  <a:gd name="connsiteX4" fmla="*/ 66855 w 2513375"/>
                  <a:gd name="connsiteY4" fmla="*/ 3727073 h 4855299"/>
                  <a:gd name="connsiteX5" fmla="*/ 5085 w 2513375"/>
                  <a:gd name="connsiteY5" fmla="*/ 3525170 h 4855299"/>
                  <a:gd name="connsiteX6" fmla="*/ 117 w 2513375"/>
                  <a:gd name="connsiteY6" fmla="*/ 3468780 h 4855299"/>
                  <a:gd name="connsiteX7" fmla="*/ 0 w 2513375"/>
                  <a:gd name="connsiteY7" fmla="*/ 3468118 h 4855299"/>
                  <a:gd name="connsiteX8" fmla="*/ 5920 w 2513375"/>
                  <a:gd name="connsiteY8" fmla="*/ 2083637 h 4855299"/>
                  <a:gd name="connsiteX9" fmla="*/ 9056 w 2513375"/>
                  <a:gd name="connsiteY9" fmla="*/ 2054777 h 4855299"/>
                  <a:gd name="connsiteX10" fmla="*/ 206180 w 2513375"/>
                  <a:gd name="connsiteY10" fmla="*/ 1962033 h 4855299"/>
                  <a:gd name="connsiteX11" fmla="*/ 407391 w 2513375"/>
                  <a:gd name="connsiteY11" fmla="*/ 2078186 h 4855299"/>
                  <a:gd name="connsiteX12" fmla="*/ 406100 w 2513375"/>
                  <a:gd name="connsiteY12" fmla="*/ 2142669 h 4855299"/>
                  <a:gd name="connsiteX13" fmla="*/ 409165 w 2513375"/>
                  <a:gd name="connsiteY13" fmla="*/ 3458060 h 4855299"/>
                  <a:gd name="connsiteX14" fmla="*/ 407598 w 2513375"/>
                  <a:gd name="connsiteY14" fmla="*/ 3451468 h 4855299"/>
                  <a:gd name="connsiteX15" fmla="*/ 407517 w 2513375"/>
                  <a:gd name="connsiteY15" fmla="*/ 3464276 h 4855299"/>
                  <a:gd name="connsiteX16" fmla="*/ 464772 w 2513375"/>
                  <a:gd name="connsiteY16" fmla="*/ 3563446 h 4855299"/>
                  <a:gd name="connsiteX17" fmla="*/ 1965744 w 2513375"/>
                  <a:gd name="connsiteY17" fmla="*/ 4435364 h 4855299"/>
                  <a:gd name="connsiteX18" fmla="*/ 1966088 w 2513375"/>
                  <a:gd name="connsiteY18" fmla="*/ 4435756 h 4855299"/>
                  <a:gd name="connsiteX19" fmla="*/ 1988129 w 2513375"/>
                  <a:gd name="connsiteY19" fmla="*/ 4429569 h 4855299"/>
                  <a:gd name="connsiteX20" fmla="*/ 2034209 w 2513375"/>
                  <a:gd name="connsiteY20" fmla="*/ 4369015 h 4855299"/>
                  <a:gd name="connsiteX21" fmla="*/ 2036053 w 2513375"/>
                  <a:gd name="connsiteY21" fmla="*/ 3675989 h 4855299"/>
                  <a:gd name="connsiteX22" fmla="*/ 2038324 w 2513375"/>
                  <a:gd name="connsiteY22" fmla="*/ 624781 h 4855299"/>
                  <a:gd name="connsiteX23" fmla="*/ 2037139 w 2513375"/>
                  <a:gd name="connsiteY23" fmla="*/ 587203 h 4855299"/>
                  <a:gd name="connsiteX24" fmla="*/ 2035104 w 2513375"/>
                  <a:gd name="connsiteY24" fmla="*/ 64435 h 4855299"/>
                  <a:gd name="connsiteX25" fmla="*/ 2513375 w 2513375"/>
                  <a:gd name="connsiteY25" fmla="*/ 1588 h 4855299"/>
                  <a:gd name="connsiteX26" fmla="*/ 2513032 w 2513375"/>
                  <a:gd name="connsiteY26" fmla="*/ 1195 h 4855299"/>
                  <a:gd name="connsiteX27" fmla="*/ 2448227 w 2513375"/>
                  <a:gd name="connsiteY27" fmla="*/ 109242 h 4855299"/>
                  <a:gd name="connsiteX28" fmla="*/ 2448222 w 2513375"/>
                  <a:gd name="connsiteY28" fmla="*/ 635639 h 4855299"/>
                  <a:gd name="connsiteX29" fmla="*/ 2445445 w 2513375"/>
                  <a:gd name="connsiteY29" fmla="*/ 651836 h 4855299"/>
                  <a:gd name="connsiteX30" fmla="*/ 2442619 w 2513375"/>
                  <a:gd name="connsiteY30" fmla="*/ 1428327 h 4855299"/>
                  <a:gd name="connsiteX31" fmla="*/ 2444476 w 2513375"/>
                  <a:gd name="connsiteY31" fmla="*/ 1431845 h 4855299"/>
                  <a:gd name="connsiteX32" fmla="*/ 2443809 w 2513375"/>
                  <a:gd name="connsiteY32" fmla="*/ 2608045 h 4855299"/>
                  <a:gd name="connsiteX33" fmla="*/ 2441669 w 2513375"/>
                  <a:gd name="connsiteY33" fmla="*/ 4372832 h 4855299"/>
                  <a:gd name="connsiteX34" fmla="*/ 2374871 w 2513375"/>
                  <a:gd name="connsiteY34" fmla="*/ 4631812 h 4855299"/>
                  <a:gd name="connsiteX35" fmla="*/ 2230903 w 2513375"/>
                  <a:gd name="connsiteY35" fmla="*/ 4786252 h 4855299"/>
                  <a:gd name="connsiteX36" fmla="*/ 2020267 w 2513375"/>
                  <a:gd name="connsiteY36" fmla="*/ 4854763 h 4855299"/>
                  <a:gd name="connsiteX37" fmla="*/ 1970713 w 2513375"/>
                  <a:gd name="connsiteY37" fmla="*/ 4855263 h 4855299"/>
                  <a:gd name="connsiteX0" fmla="*/ 1970713 w 2513375"/>
                  <a:gd name="connsiteY0" fmla="*/ 4855263 h 4855299"/>
                  <a:gd name="connsiteX1" fmla="*/ 1859089 w 2513375"/>
                  <a:gd name="connsiteY1" fmla="*/ 4827463 h 4855299"/>
                  <a:gd name="connsiteX2" fmla="*/ 1799088 w 2513375"/>
                  <a:gd name="connsiteY2" fmla="*/ 4797611 h 4855299"/>
                  <a:gd name="connsiteX3" fmla="*/ 257741 w 2513375"/>
                  <a:gd name="connsiteY3" fmla="*/ 3914413 h 4855299"/>
                  <a:gd name="connsiteX4" fmla="*/ 66855 w 2513375"/>
                  <a:gd name="connsiteY4" fmla="*/ 3727073 h 4855299"/>
                  <a:gd name="connsiteX5" fmla="*/ 5085 w 2513375"/>
                  <a:gd name="connsiteY5" fmla="*/ 3525170 h 4855299"/>
                  <a:gd name="connsiteX6" fmla="*/ 117 w 2513375"/>
                  <a:gd name="connsiteY6" fmla="*/ 3468780 h 4855299"/>
                  <a:gd name="connsiteX7" fmla="*/ 0 w 2513375"/>
                  <a:gd name="connsiteY7" fmla="*/ 3468118 h 4855299"/>
                  <a:gd name="connsiteX8" fmla="*/ 5920 w 2513375"/>
                  <a:gd name="connsiteY8" fmla="*/ 2083637 h 4855299"/>
                  <a:gd name="connsiteX9" fmla="*/ 9056 w 2513375"/>
                  <a:gd name="connsiteY9" fmla="*/ 2054777 h 4855299"/>
                  <a:gd name="connsiteX10" fmla="*/ 206180 w 2513375"/>
                  <a:gd name="connsiteY10" fmla="*/ 1962033 h 4855299"/>
                  <a:gd name="connsiteX11" fmla="*/ 407391 w 2513375"/>
                  <a:gd name="connsiteY11" fmla="*/ 2078186 h 4855299"/>
                  <a:gd name="connsiteX12" fmla="*/ 406100 w 2513375"/>
                  <a:gd name="connsiteY12" fmla="*/ 2142669 h 4855299"/>
                  <a:gd name="connsiteX13" fmla="*/ 409165 w 2513375"/>
                  <a:gd name="connsiteY13" fmla="*/ 3458060 h 4855299"/>
                  <a:gd name="connsiteX14" fmla="*/ 407598 w 2513375"/>
                  <a:gd name="connsiteY14" fmla="*/ 3451468 h 4855299"/>
                  <a:gd name="connsiteX15" fmla="*/ 407517 w 2513375"/>
                  <a:gd name="connsiteY15" fmla="*/ 3464276 h 4855299"/>
                  <a:gd name="connsiteX16" fmla="*/ 464772 w 2513375"/>
                  <a:gd name="connsiteY16" fmla="*/ 3563446 h 4855299"/>
                  <a:gd name="connsiteX17" fmla="*/ 1965744 w 2513375"/>
                  <a:gd name="connsiteY17" fmla="*/ 4435364 h 4855299"/>
                  <a:gd name="connsiteX18" fmla="*/ 1966088 w 2513375"/>
                  <a:gd name="connsiteY18" fmla="*/ 4435756 h 4855299"/>
                  <a:gd name="connsiteX19" fmla="*/ 1988129 w 2513375"/>
                  <a:gd name="connsiteY19" fmla="*/ 4429569 h 4855299"/>
                  <a:gd name="connsiteX20" fmla="*/ 2034209 w 2513375"/>
                  <a:gd name="connsiteY20" fmla="*/ 4369015 h 4855299"/>
                  <a:gd name="connsiteX21" fmla="*/ 2036053 w 2513375"/>
                  <a:gd name="connsiteY21" fmla="*/ 3675989 h 4855299"/>
                  <a:gd name="connsiteX22" fmla="*/ 2038324 w 2513375"/>
                  <a:gd name="connsiteY22" fmla="*/ 624781 h 4855299"/>
                  <a:gd name="connsiteX23" fmla="*/ 2037139 w 2513375"/>
                  <a:gd name="connsiteY23" fmla="*/ 587203 h 4855299"/>
                  <a:gd name="connsiteX24" fmla="*/ 2035104 w 2513375"/>
                  <a:gd name="connsiteY24" fmla="*/ 64435 h 4855299"/>
                  <a:gd name="connsiteX25" fmla="*/ 2513375 w 2513375"/>
                  <a:gd name="connsiteY25" fmla="*/ 1588 h 4855299"/>
                  <a:gd name="connsiteX26" fmla="*/ 2513032 w 2513375"/>
                  <a:gd name="connsiteY26" fmla="*/ 1195 h 4855299"/>
                  <a:gd name="connsiteX27" fmla="*/ 2448222 w 2513375"/>
                  <a:gd name="connsiteY27" fmla="*/ 635639 h 4855299"/>
                  <a:gd name="connsiteX28" fmla="*/ 2445445 w 2513375"/>
                  <a:gd name="connsiteY28" fmla="*/ 651836 h 4855299"/>
                  <a:gd name="connsiteX29" fmla="*/ 2442619 w 2513375"/>
                  <a:gd name="connsiteY29" fmla="*/ 1428327 h 4855299"/>
                  <a:gd name="connsiteX30" fmla="*/ 2444476 w 2513375"/>
                  <a:gd name="connsiteY30" fmla="*/ 1431845 h 4855299"/>
                  <a:gd name="connsiteX31" fmla="*/ 2443809 w 2513375"/>
                  <a:gd name="connsiteY31" fmla="*/ 2608045 h 4855299"/>
                  <a:gd name="connsiteX32" fmla="*/ 2441669 w 2513375"/>
                  <a:gd name="connsiteY32" fmla="*/ 4372832 h 4855299"/>
                  <a:gd name="connsiteX33" fmla="*/ 2374871 w 2513375"/>
                  <a:gd name="connsiteY33" fmla="*/ 4631812 h 4855299"/>
                  <a:gd name="connsiteX34" fmla="*/ 2230903 w 2513375"/>
                  <a:gd name="connsiteY34" fmla="*/ 4786252 h 4855299"/>
                  <a:gd name="connsiteX35" fmla="*/ 2020267 w 2513375"/>
                  <a:gd name="connsiteY35" fmla="*/ 4854763 h 4855299"/>
                  <a:gd name="connsiteX36" fmla="*/ 1970713 w 2513375"/>
                  <a:gd name="connsiteY36" fmla="*/ 4855263 h 4855299"/>
                  <a:gd name="connsiteX0" fmla="*/ 1970713 w 2534235"/>
                  <a:gd name="connsiteY0" fmla="*/ 4855263 h 4855299"/>
                  <a:gd name="connsiteX1" fmla="*/ 1859089 w 2534235"/>
                  <a:gd name="connsiteY1" fmla="*/ 4827463 h 4855299"/>
                  <a:gd name="connsiteX2" fmla="*/ 1799088 w 2534235"/>
                  <a:gd name="connsiteY2" fmla="*/ 4797611 h 4855299"/>
                  <a:gd name="connsiteX3" fmla="*/ 257741 w 2534235"/>
                  <a:gd name="connsiteY3" fmla="*/ 3914413 h 4855299"/>
                  <a:gd name="connsiteX4" fmla="*/ 66855 w 2534235"/>
                  <a:gd name="connsiteY4" fmla="*/ 3727073 h 4855299"/>
                  <a:gd name="connsiteX5" fmla="*/ 5085 w 2534235"/>
                  <a:gd name="connsiteY5" fmla="*/ 3525170 h 4855299"/>
                  <a:gd name="connsiteX6" fmla="*/ 117 w 2534235"/>
                  <a:gd name="connsiteY6" fmla="*/ 3468780 h 4855299"/>
                  <a:gd name="connsiteX7" fmla="*/ 0 w 2534235"/>
                  <a:gd name="connsiteY7" fmla="*/ 3468118 h 4855299"/>
                  <a:gd name="connsiteX8" fmla="*/ 5920 w 2534235"/>
                  <a:gd name="connsiteY8" fmla="*/ 2083637 h 4855299"/>
                  <a:gd name="connsiteX9" fmla="*/ 9056 w 2534235"/>
                  <a:gd name="connsiteY9" fmla="*/ 2054777 h 4855299"/>
                  <a:gd name="connsiteX10" fmla="*/ 206180 w 2534235"/>
                  <a:gd name="connsiteY10" fmla="*/ 1962033 h 4855299"/>
                  <a:gd name="connsiteX11" fmla="*/ 407391 w 2534235"/>
                  <a:gd name="connsiteY11" fmla="*/ 2078186 h 4855299"/>
                  <a:gd name="connsiteX12" fmla="*/ 406100 w 2534235"/>
                  <a:gd name="connsiteY12" fmla="*/ 2142669 h 4855299"/>
                  <a:gd name="connsiteX13" fmla="*/ 409165 w 2534235"/>
                  <a:gd name="connsiteY13" fmla="*/ 3458060 h 4855299"/>
                  <a:gd name="connsiteX14" fmla="*/ 407598 w 2534235"/>
                  <a:gd name="connsiteY14" fmla="*/ 3451468 h 4855299"/>
                  <a:gd name="connsiteX15" fmla="*/ 407517 w 2534235"/>
                  <a:gd name="connsiteY15" fmla="*/ 3464276 h 4855299"/>
                  <a:gd name="connsiteX16" fmla="*/ 464772 w 2534235"/>
                  <a:gd name="connsiteY16" fmla="*/ 3563446 h 4855299"/>
                  <a:gd name="connsiteX17" fmla="*/ 1965744 w 2534235"/>
                  <a:gd name="connsiteY17" fmla="*/ 4435364 h 4855299"/>
                  <a:gd name="connsiteX18" fmla="*/ 1966088 w 2534235"/>
                  <a:gd name="connsiteY18" fmla="*/ 4435756 h 4855299"/>
                  <a:gd name="connsiteX19" fmla="*/ 1988129 w 2534235"/>
                  <a:gd name="connsiteY19" fmla="*/ 4429569 h 4855299"/>
                  <a:gd name="connsiteX20" fmla="*/ 2034209 w 2534235"/>
                  <a:gd name="connsiteY20" fmla="*/ 4369015 h 4855299"/>
                  <a:gd name="connsiteX21" fmla="*/ 2036053 w 2534235"/>
                  <a:gd name="connsiteY21" fmla="*/ 3675989 h 4855299"/>
                  <a:gd name="connsiteX22" fmla="*/ 2038324 w 2534235"/>
                  <a:gd name="connsiteY22" fmla="*/ 624781 h 4855299"/>
                  <a:gd name="connsiteX23" fmla="*/ 2037139 w 2534235"/>
                  <a:gd name="connsiteY23" fmla="*/ 587203 h 4855299"/>
                  <a:gd name="connsiteX24" fmla="*/ 2035104 w 2534235"/>
                  <a:gd name="connsiteY24" fmla="*/ 64435 h 4855299"/>
                  <a:gd name="connsiteX25" fmla="*/ 2513375 w 2534235"/>
                  <a:gd name="connsiteY25" fmla="*/ 1588 h 4855299"/>
                  <a:gd name="connsiteX26" fmla="*/ 2448222 w 2534235"/>
                  <a:gd name="connsiteY26" fmla="*/ 635639 h 4855299"/>
                  <a:gd name="connsiteX27" fmla="*/ 2445445 w 2534235"/>
                  <a:gd name="connsiteY27" fmla="*/ 651836 h 4855299"/>
                  <a:gd name="connsiteX28" fmla="*/ 2442619 w 2534235"/>
                  <a:gd name="connsiteY28" fmla="*/ 1428327 h 4855299"/>
                  <a:gd name="connsiteX29" fmla="*/ 2444476 w 2534235"/>
                  <a:gd name="connsiteY29" fmla="*/ 1431845 h 4855299"/>
                  <a:gd name="connsiteX30" fmla="*/ 2443809 w 2534235"/>
                  <a:gd name="connsiteY30" fmla="*/ 2608045 h 4855299"/>
                  <a:gd name="connsiteX31" fmla="*/ 2441669 w 2534235"/>
                  <a:gd name="connsiteY31" fmla="*/ 4372832 h 4855299"/>
                  <a:gd name="connsiteX32" fmla="*/ 2374871 w 2534235"/>
                  <a:gd name="connsiteY32" fmla="*/ 4631812 h 4855299"/>
                  <a:gd name="connsiteX33" fmla="*/ 2230903 w 2534235"/>
                  <a:gd name="connsiteY33" fmla="*/ 4786252 h 4855299"/>
                  <a:gd name="connsiteX34" fmla="*/ 2020267 w 2534235"/>
                  <a:gd name="connsiteY34" fmla="*/ 4854763 h 4855299"/>
                  <a:gd name="connsiteX35" fmla="*/ 1970713 w 2534235"/>
                  <a:gd name="connsiteY35" fmla="*/ 4855263 h 4855299"/>
                  <a:gd name="connsiteX0" fmla="*/ 1970713 w 2534235"/>
                  <a:gd name="connsiteY0" fmla="*/ 4853774 h 4853810"/>
                  <a:gd name="connsiteX1" fmla="*/ 1859089 w 2534235"/>
                  <a:gd name="connsiteY1" fmla="*/ 4825974 h 4853810"/>
                  <a:gd name="connsiteX2" fmla="*/ 1799088 w 2534235"/>
                  <a:gd name="connsiteY2" fmla="*/ 4796122 h 4853810"/>
                  <a:gd name="connsiteX3" fmla="*/ 257741 w 2534235"/>
                  <a:gd name="connsiteY3" fmla="*/ 3912924 h 4853810"/>
                  <a:gd name="connsiteX4" fmla="*/ 66855 w 2534235"/>
                  <a:gd name="connsiteY4" fmla="*/ 3725584 h 4853810"/>
                  <a:gd name="connsiteX5" fmla="*/ 5085 w 2534235"/>
                  <a:gd name="connsiteY5" fmla="*/ 3523681 h 4853810"/>
                  <a:gd name="connsiteX6" fmla="*/ 117 w 2534235"/>
                  <a:gd name="connsiteY6" fmla="*/ 3467291 h 4853810"/>
                  <a:gd name="connsiteX7" fmla="*/ 0 w 2534235"/>
                  <a:gd name="connsiteY7" fmla="*/ 3466629 h 4853810"/>
                  <a:gd name="connsiteX8" fmla="*/ 5920 w 2534235"/>
                  <a:gd name="connsiteY8" fmla="*/ 2082148 h 4853810"/>
                  <a:gd name="connsiteX9" fmla="*/ 9056 w 2534235"/>
                  <a:gd name="connsiteY9" fmla="*/ 2053288 h 4853810"/>
                  <a:gd name="connsiteX10" fmla="*/ 206180 w 2534235"/>
                  <a:gd name="connsiteY10" fmla="*/ 1960544 h 4853810"/>
                  <a:gd name="connsiteX11" fmla="*/ 407391 w 2534235"/>
                  <a:gd name="connsiteY11" fmla="*/ 2076697 h 4853810"/>
                  <a:gd name="connsiteX12" fmla="*/ 406100 w 2534235"/>
                  <a:gd name="connsiteY12" fmla="*/ 2141180 h 4853810"/>
                  <a:gd name="connsiteX13" fmla="*/ 409165 w 2534235"/>
                  <a:gd name="connsiteY13" fmla="*/ 3456571 h 4853810"/>
                  <a:gd name="connsiteX14" fmla="*/ 407598 w 2534235"/>
                  <a:gd name="connsiteY14" fmla="*/ 3449979 h 4853810"/>
                  <a:gd name="connsiteX15" fmla="*/ 407517 w 2534235"/>
                  <a:gd name="connsiteY15" fmla="*/ 3462787 h 4853810"/>
                  <a:gd name="connsiteX16" fmla="*/ 464772 w 2534235"/>
                  <a:gd name="connsiteY16" fmla="*/ 3561957 h 4853810"/>
                  <a:gd name="connsiteX17" fmla="*/ 1965744 w 2534235"/>
                  <a:gd name="connsiteY17" fmla="*/ 4433875 h 4853810"/>
                  <a:gd name="connsiteX18" fmla="*/ 1966088 w 2534235"/>
                  <a:gd name="connsiteY18" fmla="*/ 4434267 h 4853810"/>
                  <a:gd name="connsiteX19" fmla="*/ 1988129 w 2534235"/>
                  <a:gd name="connsiteY19" fmla="*/ 4428080 h 4853810"/>
                  <a:gd name="connsiteX20" fmla="*/ 2034209 w 2534235"/>
                  <a:gd name="connsiteY20" fmla="*/ 4367526 h 4853810"/>
                  <a:gd name="connsiteX21" fmla="*/ 2036053 w 2534235"/>
                  <a:gd name="connsiteY21" fmla="*/ 3674500 h 4853810"/>
                  <a:gd name="connsiteX22" fmla="*/ 2038324 w 2534235"/>
                  <a:gd name="connsiteY22" fmla="*/ 623292 h 4853810"/>
                  <a:gd name="connsiteX23" fmla="*/ 2037139 w 2534235"/>
                  <a:gd name="connsiteY23" fmla="*/ 585714 h 4853810"/>
                  <a:gd name="connsiteX24" fmla="*/ 2513375 w 2534235"/>
                  <a:gd name="connsiteY24" fmla="*/ 99 h 4853810"/>
                  <a:gd name="connsiteX25" fmla="*/ 2448222 w 2534235"/>
                  <a:gd name="connsiteY25" fmla="*/ 634150 h 4853810"/>
                  <a:gd name="connsiteX26" fmla="*/ 2445445 w 2534235"/>
                  <a:gd name="connsiteY26" fmla="*/ 650347 h 4853810"/>
                  <a:gd name="connsiteX27" fmla="*/ 2442619 w 2534235"/>
                  <a:gd name="connsiteY27" fmla="*/ 1426838 h 4853810"/>
                  <a:gd name="connsiteX28" fmla="*/ 2444476 w 2534235"/>
                  <a:gd name="connsiteY28" fmla="*/ 1430356 h 4853810"/>
                  <a:gd name="connsiteX29" fmla="*/ 2443809 w 2534235"/>
                  <a:gd name="connsiteY29" fmla="*/ 2606556 h 4853810"/>
                  <a:gd name="connsiteX30" fmla="*/ 2441669 w 2534235"/>
                  <a:gd name="connsiteY30" fmla="*/ 4371343 h 4853810"/>
                  <a:gd name="connsiteX31" fmla="*/ 2374871 w 2534235"/>
                  <a:gd name="connsiteY31" fmla="*/ 4630323 h 4853810"/>
                  <a:gd name="connsiteX32" fmla="*/ 2230903 w 2534235"/>
                  <a:gd name="connsiteY32" fmla="*/ 4784763 h 4853810"/>
                  <a:gd name="connsiteX33" fmla="*/ 2020267 w 2534235"/>
                  <a:gd name="connsiteY33" fmla="*/ 4853274 h 4853810"/>
                  <a:gd name="connsiteX34" fmla="*/ 1970713 w 2534235"/>
                  <a:gd name="connsiteY34" fmla="*/ 4853774 h 4853810"/>
                  <a:gd name="connsiteX0" fmla="*/ 1970713 w 2448222"/>
                  <a:gd name="connsiteY0" fmla="*/ 4268060 h 4268096"/>
                  <a:gd name="connsiteX1" fmla="*/ 1859089 w 2448222"/>
                  <a:gd name="connsiteY1" fmla="*/ 4240260 h 4268096"/>
                  <a:gd name="connsiteX2" fmla="*/ 1799088 w 2448222"/>
                  <a:gd name="connsiteY2" fmla="*/ 4210408 h 4268096"/>
                  <a:gd name="connsiteX3" fmla="*/ 257741 w 2448222"/>
                  <a:gd name="connsiteY3" fmla="*/ 3327210 h 4268096"/>
                  <a:gd name="connsiteX4" fmla="*/ 66855 w 2448222"/>
                  <a:gd name="connsiteY4" fmla="*/ 3139870 h 4268096"/>
                  <a:gd name="connsiteX5" fmla="*/ 5085 w 2448222"/>
                  <a:gd name="connsiteY5" fmla="*/ 2937967 h 4268096"/>
                  <a:gd name="connsiteX6" fmla="*/ 117 w 2448222"/>
                  <a:gd name="connsiteY6" fmla="*/ 2881577 h 4268096"/>
                  <a:gd name="connsiteX7" fmla="*/ 0 w 2448222"/>
                  <a:gd name="connsiteY7" fmla="*/ 2880915 h 4268096"/>
                  <a:gd name="connsiteX8" fmla="*/ 5920 w 2448222"/>
                  <a:gd name="connsiteY8" fmla="*/ 1496434 h 4268096"/>
                  <a:gd name="connsiteX9" fmla="*/ 9056 w 2448222"/>
                  <a:gd name="connsiteY9" fmla="*/ 1467574 h 4268096"/>
                  <a:gd name="connsiteX10" fmla="*/ 206180 w 2448222"/>
                  <a:gd name="connsiteY10" fmla="*/ 1374830 h 4268096"/>
                  <a:gd name="connsiteX11" fmla="*/ 407391 w 2448222"/>
                  <a:gd name="connsiteY11" fmla="*/ 1490983 h 4268096"/>
                  <a:gd name="connsiteX12" fmla="*/ 406100 w 2448222"/>
                  <a:gd name="connsiteY12" fmla="*/ 1555466 h 4268096"/>
                  <a:gd name="connsiteX13" fmla="*/ 409165 w 2448222"/>
                  <a:gd name="connsiteY13" fmla="*/ 2870857 h 4268096"/>
                  <a:gd name="connsiteX14" fmla="*/ 407598 w 2448222"/>
                  <a:gd name="connsiteY14" fmla="*/ 2864265 h 4268096"/>
                  <a:gd name="connsiteX15" fmla="*/ 407517 w 2448222"/>
                  <a:gd name="connsiteY15" fmla="*/ 2877073 h 4268096"/>
                  <a:gd name="connsiteX16" fmla="*/ 464772 w 2448222"/>
                  <a:gd name="connsiteY16" fmla="*/ 2976243 h 4268096"/>
                  <a:gd name="connsiteX17" fmla="*/ 1965744 w 2448222"/>
                  <a:gd name="connsiteY17" fmla="*/ 3848161 h 4268096"/>
                  <a:gd name="connsiteX18" fmla="*/ 1966088 w 2448222"/>
                  <a:gd name="connsiteY18" fmla="*/ 3848553 h 4268096"/>
                  <a:gd name="connsiteX19" fmla="*/ 1988129 w 2448222"/>
                  <a:gd name="connsiteY19" fmla="*/ 3842366 h 4268096"/>
                  <a:gd name="connsiteX20" fmla="*/ 2034209 w 2448222"/>
                  <a:gd name="connsiteY20" fmla="*/ 3781812 h 4268096"/>
                  <a:gd name="connsiteX21" fmla="*/ 2036053 w 2448222"/>
                  <a:gd name="connsiteY21" fmla="*/ 3088786 h 4268096"/>
                  <a:gd name="connsiteX22" fmla="*/ 2038324 w 2448222"/>
                  <a:gd name="connsiteY22" fmla="*/ 37578 h 4268096"/>
                  <a:gd name="connsiteX23" fmla="*/ 2037139 w 2448222"/>
                  <a:gd name="connsiteY23" fmla="*/ 0 h 4268096"/>
                  <a:gd name="connsiteX24" fmla="*/ 2448222 w 2448222"/>
                  <a:gd name="connsiteY24" fmla="*/ 48436 h 4268096"/>
                  <a:gd name="connsiteX25" fmla="*/ 2445445 w 2448222"/>
                  <a:gd name="connsiteY25" fmla="*/ 64633 h 4268096"/>
                  <a:gd name="connsiteX26" fmla="*/ 2442619 w 2448222"/>
                  <a:gd name="connsiteY26" fmla="*/ 841124 h 4268096"/>
                  <a:gd name="connsiteX27" fmla="*/ 2444476 w 2448222"/>
                  <a:gd name="connsiteY27" fmla="*/ 844642 h 4268096"/>
                  <a:gd name="connsiteX28" fmla="*/ 2443809 w 2448222"/>
                  <a:gd name="connsiteY28" fmla="*/ 2020842 h 4268096"/>
                  <a:gd name="connsiteX29" fmla="*/ 2441669 w 2448222"/>
                  <a:gd name="connsiteY29" fmla="*/ 3785629 h 4268096"/>
                  <a:gd name="connsiteX30" fmla="*/ 2374871 w 2448222"/>
                  <a:gd name="connsiteY30" fmla="*/ 4044609 h 4268096"/>
                  <a:gd name="connsiteX31" fmla="*/ 2230903 w 2448222"/>
                  <a:gd name="connsiteY31" fmla="*/ 4199049 h 4268096"/>
                  <a:gd name="connsiteX32" fmla="*/ 2020267 w 2448222"/>
                  <a:gd name="connsiteY32" fmla="*/ 4267560 h 4268096"/>
                  <a:gd name="connsiteX33" fmla="*/ 1970713 w 2448222"/>
                  <a:gd name="connsiteY33" fmla="*/ 4268060 h 4268096"/>
                  <a:gd name="connsiteX0" fmla="*/ 1970713 w 2448222"/>
                  <a:gd name="connsiteY0" fmla="*/ 4268060 h 4268096"/>
                  <a:gd name="connsiteX1" fmla="*/ 1859089 w 2448222"/>
                  <a:gd name="connsiteY1" fmla="*/ 4240260 h 4268096"/>
                  <a:gd name="connsiteX2" fmla="*/ 1799088 w 2448222"/>
                  <a:gd name="connsiteY2" fmla="*/ 4210408 h 4268096"/>
                  <a:gd name="connsiteX3" fmla="*/ 257741 w 2448222"/>
                  <a:gd name="connsiteY3" fmla="*/ 3327210 h 4268096"/>
                  <a:gd name="connsiteX4" fmla="*/ 66855 w 2448222"/>
                  <a:gd name="connsiteY4" fmla="*/ 3139870 h 4268096"/>
                  <a:gd name="connsiteX5" fmla="*/ 5085 w 2448222"/>
                  <a:gd name="connsiteY5" fmla="*/ 2937967 h 4268096"/>
                  <a:gd name="connsiteX6" fmla="*/ 117 w 2448222"/>
                  <a:gd name="connsiteY6" fmla="*/ 2881577 h 4268096"/>
                  <a:gd name="connsiteX7" fmla="*/ 0 w 2448222"/>
                  <a:gd name="connsiteY7" fmla="*/ 2880915 h 4268096"/>
                  <a:gd name="connsiteX8" fmla="*/ 5920 w 2448222"/>
                  <a:gd name="connsiteY8" fmla="*/ 1496434 h 4268096"/>
                  <a:gd name="connsiteX9" fmla="*/ 9056 w 2448222"/>
                  <a:gd name="connsiteY9" fmla="*/ 1467574 h 4268096"/>
                  <a:gd name="connsiteX10" fmla="*/ 206180 w 2448222"/>
                  <a:gd name="connsiteY10" fmla="*/ 1374830 h 4268096"/>
                  <a:gd name="connsiteX11" fmla="*/ 407391 w 2448222"/>
                  <a:gd name="connsiteY11" fmla="*/ 1490983 h 4268096"/>
                  <a:gd name="connsiteX12" fmla="*/ 406100 w 2448222"/>
                  <a:gd name="connsiteY12" fmla="*/ 1555466 h 4268096"/>
                  <a:gd name="connsiteX13" fmla="*/ 409165 w 2448222"/>
                  <a:gd name="connsiteY13" fmla="*/ 2870857 h 4268096"/>
                  <a:gd name="connsiteX14" fmla="*/ 407598 w 2448222"/>
                  <a:gd name="connsiteY14" fmla="*/ 2864265 h 4268096"/>
                  <a:gd name="connsiteX15" fmla="*/ 407517 w 2448222"/>
                  <a:gd name="connsiteY15" fmla="*/ 2877073 h 4268096"/>
                  <a:gd name="connsiteX16" fmla="*/ 464772 w 2448222"/>
                  <a:gd name="connsiteY16" fmla="*/ 2976243 h 4268096"/>
                  <a:gd name="connsiteX17" fmla="*/ 1965744 w 2448222"/>
                  <a:gd name="connsiteY17" fmla="*/ 3848161 h 4268096"/>
                  <a:gd name="connsiteX18" fmla="*/ 1966088 w 2448222"/>
                  <a:gd name="connsiteY18" fmla="*/ 3848553 h 4268096"/>
                  <a:gd name="connsiteX19" fmla="*/ 1988129 w 2448222"/>
                  <a:gd name="connsiteY19" fmla="*/ 3842366 h 4268096"/>
                  <a:gd name="connsiteX20" fmla="*/ 2034209 w 2448222"/>
                  <a:gd name="connsiteY20" fmla="*/ 3781812 h 4268096"/>
                  <a:gd name="connsiteX21" fmla="*/ 2036053 w 2448222"/>
                  <a:gd name="connsiteY21" fmla="*/ 3088786 h 4268096"/>
                  <a:gd name="connsiteX22" fmla="*/ 2038324 w 2448222"/>
                  <a:gd name="connsiteY22" fmla="*/ 37578 h 4268096"/>
                  <a:gd name="connsiteX23" fmla="*/ 2037139 w 2448222"/>
                  <a:gd name="connsiteY23" fmla="*/ 0 h 4268096"/>
                  <a:gd name="connsiteX24" fmla="*/ 2448222 w 2448222"/>
                  <a:gd name="connsiteY24" fmla="*/ 48436 h 4268096"/>
                  <a:gd name="connsiteX25" fmla="*/ 2442619 w 2448222"/>
                  <a:gd name="connsiteY25" fmla="*/ 841124 h 4268096"/>
                  <a:gd name="connsiteX26" fmla="*/ 2444476 w 2448222"/>
                  <a:gd name="connsiteY26" fmla="*/ 844642 h 4268096"/>
                  <a:gd name="connsiteX27" fmla="*/ 2443809 w 2448222"/>
                  <a:gd name="connsiteY27" fmla="*/ 2020842 h 4268096"/>
                  <a:gd name="connsiteX28" fmla="*/ 2441669 w 2448222"/>
                  <a:gd name="connsiteY28" fmla="*/ 3785629 h 4268096"/>
                  <a:gd name="connsiteX29" fmla="*/ 2374871 w 2448222"/>
                  <a:gd name="connsiteY29" fmla="*/ 4044609 h 4268096"/>
                  <a:gd name="connsiteX30" fmla="*/ 2230903 w 2448222"/>
                  <a:gd name="connsiteY30" fmla="*/ 4199049 h 4268096"/>
                  <a:gd name="connsiteX31" fmla="*/ 2020267 w 2448222"/>
                  <a:gd name="connsiteY31" fmla="*/ 4267560 h 4268096"/>
                  <a:gd name="connsiteX32" fmla="*/ 1970713 w 2448222"/>
                  <a:gd name="connsiteY32" fmla="*/ 4268060 h 4268096"/>
                  <a:gd name="connsiteX0" fmla="*/ 1970713 w 2448222"/>
                  <a:gd name="connsiteY0" fmla="*/ 4230482 h 4230518"/>
                  <a:gd name="connsiteX1" fmla="*/ 1859089 w 2448222"/>
                  <a:gd name="connsiteY1" fmla="*/ 4202682 h 4230518"/>
                  <a:gd name="connsiteX2" fmla="*/ 1799088 w 2448222"/>
                  <a:gd name="connsiteY2" fmla="*/ 4172830 h 4230518"/>
                  <a:gd name="connsiteX3" fmla="*/ 257741 w 2448222"/>
                  <a:gd name="connsiteY3" fmla="*/ 3289632 h 4230518"/>
                  <a:gd name="connsiteX4" fmla="*/ 66855 w 2448222"/>
                  <a:gd name="connsiteY4" fmla="*/ 3102292 h 4230518"/>
                  <a:gd name="connsiteX5" fmla="*/ 5085 w 2448222"/>
                  <a:gd name="connsiteY5" fmla="*/ 2900389 h 4230518"/>
                  <a:gd name="connsiteX6" fmla="*/ 117 w 2448222"/>
                  <a:gd name="connsiteY6" fmla="*/ 2843999 h 4230518"/>
                  <a:gd name="connsiteX7" fmla="*/ 0 w 2448222"/>
                  <a:gd name="connsiteY7" fmla="*/ 2843337 h 4230518"/>
                  <a:gd name="connsiteX8" fmla="*/ 5920 w 2448222"/>
                  <a:gd name="connsiteY8" fmla="*/ 1458856 h 4230518"/>
                  <a:gd name="connsiteX9" fmla="*/ 9056 w 2448222"/>
                  <a:gd name="connsiteY9" fmla="*/ 1429996 h 4230518"/>
                  <a:gd name="connsiteX10" fmla="*/ 206180 w 2448222"/>
                  <a:gd name="connsiteY10" fmla="*/ 1337252 h 4230518"/>
                  <a:gd name="connsiteX11" fmla="*/ 407391 w 2448222"/>
                  <a:gd name="connsiteY11" fmla="*/ 1453405 h 4230518"/>
                  <a:gd name="connsiteX12" fmla="*/ 406100 w 2448222"/>
                  <a:gd name="connsiteY12" fmla="*/ 1517888 h 4230518"/>
                  <a:gd name="connsiteX13" fmla="*/ 409165 w 2448222"/>
                  <a:gd name="connsiteY13" fmla="*/ 2833279 h 4230518"/>
                  <a:gd name="connsiteX14" fmla="*/ 407598 w 2448222"/>
                  <a:gd name="connsiteY14" fmla="*/ 2826687 h 4230518"/>
                  <a:gd name="connsiteX15" fmla="*/ 407517 w 2448222"/>
                  <a:gd name="connsiteY15" fmla="*/ 2839495 h 4230518"/>
                  <a:gd name="connsiteX16" fmla="*/ 464772 w 2448222"/>
                  <a:gd name="connsiteY16" fmla="*/ 2938665 h 4230518"/>
                  <a:gd name="connsiteX17" fmla="*/ 1965744 w 2448222"/>
                  <a:gd name="connsiteY17" fmla="*/ 3810583 h 4230518"/>
                  <a:gd name="connsiteX18" fmla="*/ 1966088 w 2448222"/>
                  <a:gd name="connsiteY18" fmla="*/ 3810975 h 4230518"/>
                  <a:gd name="connsiteX19" fmla="*/ 1988129 w 2448222"/>
                  <a:gd name="connsiteY19" fmla="*/ 3804788 h 4230518"/>
                  <a:gd name="connsiteX20" fmla="*/ 2034209 w 2448222"/>
                  <a:gd name="connsiteY20" fmla="*/ 3744234 h 4230518"/>
                  <a:gd name="connsiteX21" fmla="*/ 2036053 w 2448222"/>
                  <a:gd name="connsiteY21" fmla="*/ 3051208 h 4230518"/>
                  <a:gd name="connsiteX22" fmla="*/ 2038324 w 2448222"/>
                  <a:gd name="connsiteY22" fmla="*/ 0 h 4230518"/>
                  <a:gd name="connsiteX23" fmla="*/ 2448222 w 2448222"/>
                  <a:gd name="connsiteY23" fmla="*/ 10858 h 4230518"/>
                  <a:gd name="connsiteX24" fmla="*/ 2442619 w 2448222"/>
                  <a:gd name="connsiteY24" fmla="*/ 803546 h 4230518"/>
                  <a:gd name="connsiteX25" fmla="*/ 2444476 w 2448222"/>
                  <a:gd name="connsiteY25" fmla="*/ 807064 h 4230518"/>
                  <a:gd name="connsiteX26" fmla="*/ 2443809 w 2448222"/>
                  <a:gd name="connsiteY26" fmla="*/ 1983264 h 4230518"/>
                  <a:gd name="connsiteX27" fmla="*/ 2441669 w 2448222"/>
                  <a:gd name="connsiteY27" fmla="*/ 3748051 h 4230518"/>
                  <a:gd name="connsiteX28" fmla="*/ 2374871 w 2448222"/>
                  <a:gd name="connsiteY28" fmla="*/ 4007031 h 4230518"/>
                  <a:gd name="connsiteX29" fmla="*/ 2230903 w 2448222"/>
                  <a:gd name="connsiteY29" fmla="*/ 4161471 h 4230518"/>
                  <a:gd name="connsiteX30" fmla="*/ 2020267 w 2448222"/>
                  <a:gd name="connsiteY30" fmla="*/ 4229982 h 4230518"/>
                  <a:gd name="connsiteX31" fmla="*/ 1970713 w 2448222"/>
                  <a:gd name="connsiteY31" fmla="*/ 4230482 h 4230518"/>
                  <a:gd name="connsiteX0" fmla="*/ 1970713 w 2448222"/>
                  <a:gd name="connsiteY0" fmla="*/ 4219624 h 4219660"/>
                  <a:gd name="connsiteX1" fmla="*/ 1859089 w 2448222"/>
                  <a:gd name="connsiteY1" fmla="*/ 4191824 h 4219660"/>
                  <a:gd name="connsiteX2" fmla="*/ 1799088 w 2448222"/>
                  <a:gd name="connsiteY2" fmla="*/ 4161972 h 4219660"/>
                  <a:gd name="connsiteX3" fmla="*/ 257741 w 2448222"/>
                  <a:gd name="connsiteY3" fmla="*/ 3278774 h 4219660"/>
                  <a:gd name="connsiteX4" fmla="*/ 66855 w 2448222"/>
                  <a:gd name="connsiteY4" fmla="*/ 3091434 h 4219660"/>
                  <a:gd name="connsiteX5" fmla="*/ 5085 w 2448222"/>
                  <a:gd name="connsiteY5" fmla="*/ 2889531 h 4219660"/>
                  <a:gd name="connsiteX6" fmla="*/ 117 w 2448222"/>
                  <a:gd name="connsiteY6" fmla="*/ 2833141 h 4219660"/>
                  <a:gd name="connsiteX7" fmla="*/ 0 w 2448222"/>
                  <a:gd name="connsiteY7" fmla="*/ 2832479 h 4219660"/>
                  <a:gd name="connsiteX8" fmla="*/ 5920 w 2448222"/>
                  <a:gd name="connsiteY8" fmla="*/ 1447998 h 4219660"/>
                  <a:gd name="connsiteX9" fmla="*/ 9056 w 2448222"/>
                  <a:gd name="connsiteY9" fmla="*/ 1419138 h 4219660"/>
                  <a:gd name="connsiteX10" fmla="*/ 206180 w 2448222"/>
                  <a:gd name="connsiteY10" fmla="*/ 1326394 h 4219660"/>
                  <a:gd name="connsiteX11" fmla="*/ 407391 w 2448222"/>
                  <a:gd name="connsiteY11" fmla="*/ 1442547 h 4219660"/>
                  <a:gd name="connsiteX12" fmla="*/ 406100 w 2448222"/>
                  <a:gd name="connsiteY12" fmla="*/ 1507030 h 4219660"/>
                  <a:gd name="connsiteX13" fmla="*/ 409165 w 2448222"/>
                  <a:gd name="connsiteY13" fmla="*/ 2822421 h 4219660"/>
                  <a:gd name="connsiteX14" fmla="*/ 407598 w 2448222"/>
                  <a:gd name="connsiteY14" fmla="*/ 2815829 h 4219660"/>
                  <a:gd name="connsiteX15" fmla="*/ 407517 w 2448222"/>
                  <a:gd name="connsiteY15" fmla="*/ 2828637 h 4219660"/>
                  <a:gd name="connsiteX16" fmla="*/ 464772 w 2448222"/>
                  <a:gd name="connsiteY16" fmla="*/ 2927807 h 4219660"/>
                  <a:gd name="connsiteX17" fmla="*/ 1965744 w 2448222"/>
                  <a:gd name="connsiteY17" fmla="*/ 3799725 h 4219660"/>
                  <a:gd name="connsiteX18" fmla="*/ 1966088 w 2448222"/>
                  <a:gd name="connsiteY18" fmla="*/ 3800117 h 4219660"/>
                  <a:gd name="connsiteX19" fmla="*/ 1988129 w 2448222"/>
                  <a:gd name="connsiteY19" fmla="*/ 3793930 h 4219660"/>
                  <a:gd name="connsiteX20" fmla="*/ 2034209 w 2448222"/>
                  <a:gd name="connsiteY20" fmla="*/ 3733376 h 4219660"/>
                  <a:gd name="connsiteX21" fmla="*/ 2036053 w 2448222"/>
                  <a:gd name="connsiteY21" fmla="*/ 3040350 h 4219660"/>
                  <a:gd name="connsiteX22" fmla="*/ 2448222 w 2448222"/>
                  <a:gd name="connsiteY22" fmla="*/ 0 h 4219660"/>
                  <a:gd name="connsiteX23" fmla="*/ 2442619 w 2448222"/>
                  <a:gd name="connsiteY23" fmla="*/ 792688 h 4219660"/>
                  <a:gd name="connsiteX24" fmla="*/ 2444476 w 2448222"/>
                  <a:gd name="connsiteY24" fmla="*/ 796206 h 4219660"/>
                  <a:gd name="connsiteX25" fmla="*/ 2443809 w 2448222"/>
                  <a:gd name="connsiteY25" fmla="*/ 1972406 h 4219660"/>
                  <a:gd name="connsiteX26" fmla="*/ 2441669 w 2448222"/>
                  <a:gd name="connsiteY26" fmla="*/ 3737193 h 4219660"/>
                  <a:gd name="connsiteX27" fmla="*/ 2374871 w 2448222"/>
                  <a:gd name="connsiteY27" fmla="*/ 3996173 h 4219660"/>
                  <a:gd name="connsiteX28" fmla="*/ 2230903 w 2448222"/>
                  <a:gd name="connsiteY28" fmla="*/ 4150613 h 4219660"/>
                  <a:gd name="connsiteX29" fmla="*/ 2020267 w 2448222"/>
                  <a:gd name="connsiteY29" fmla="*/ 4219124 h 4219660"/>
                  <a:gd name="connsiteX30" fmla="*/ 1970713 w 2448222"/>
                  <a:gd name="connsiteY30" fmla="*/ 4219624 h 4219660"/>
                  <a:gd name="connsiteX0" fmla="*/ 1970713 w 2444505"/>
                  <a:gd name="connsiteY0" fmla="*/ 3426936 h 3426972"/>
                  <a:gd name="connsiteX1" fmla="*/ 1859089 w 2444505"/>
                  <a:gd name="connsiteY1" fmla="*/ 3399136 h 3426972"/>
                  <a:gd name="connsiteX2" fmla="*/ 1799088 w 2444505"/>
                  <a:gd name="connsiteY2" fmla="*/ 3369284 h 3426972"/>
                  <a:gd name="connsiteX3" fmla="*/ 257741 w 2444505"/>
                  <a:gd name="connsiteY3" fmla="*/ 2486086 h 3426972"/>
                  <a:gd name="connsiteX4" fmla="*/ 66855 w 2444505"/>
                  <a:gd name="connsiteY4" fmla="*/ 2298746 h 3426972"/>
                  <a:gd name="connsiteX5" fmla="*/ 5085 w 2444505"/>
                  <a:gd name="connsiteY5" fmla="*/ 2096843 h 3426972"/>
                  <a:gd name="connsiteX6" fmla="*/ 117 w 2444505"/>
                  <a:gd name="connsiteY6" fmla="*/ 2040453 h 3426972"/>
                  <a:gd name="connsiteX7" fmla="*/ 0 w 2444505"/>
                  <a:gd name="connsiteY7" fmla="*/ 2039791 h 3426972"/>
                  <a:gd name="connsiteX8" fmla="*/ 5920 w 2444505"/>
                  <a:gd name="connsiteY8" fmla="*/ 655310 h 3426972"/>
                  <a:gd name="connsiteX9" fmla="*/ 9056 w 2444505"/>
                  <a:gd name="connsiteY9" fmla="*/ 626450 h 3426972"/>
                  <a:gd name="connsiteX10" fmla="*/ 206180 w 2444505"/>
                  <a:gd name="connsiteY10" fmla="*/ 533706 h 3426972"/>
                  <a:gd name="connsiteX11" fmla="*/ 407391 w 2444505"/>
                  <a:gd name="connsiteY11" fmla="*/ 649859 h 3426972"/>
                  <a:gd name="connsiteX12" fmla="*/ 406100 w 2444505"/>
                  <a:gd name="connsiteY12" fmla="*/ 714342 h 3426972"/>
                  <a:gd name="connsiteX13" fmla="*/ 409165 w 2444505"/>
                  <a:gd name="connsiteY13" fmla="*/ 2029733 h 3426972"/>
                  <a:gd name="connsiteX14" fmla="*/ 407598 w 2444505"/>
                  <a:gd name="connsiteY14" fmla="*/ 2023141 h 3426972"/>
                  <a:gd name="connsiteX15" fmla="*/ 407517 w 2444505"/>
                  <a:gd name="connsiteY15" fmla="*/ 2035949 h 3426972"/>
                  <a:gd name="connsiteX16" fmla="*/ 464772 w 2444505"/>
                  <a:gd name="connsiteY16" fmla="*/ 2135119 h 3426972"/>
                  <a:gd name="connsiteX17" fmla="*/ 1965744 w 2444505"/>
                  <a:gd name="connsiteY17" fmla="*/ 3007037 h 3426972"/>
                  <a:gd name="connsiteX18" fmla="*/ 1966088 w 2444505"/>
                  <a:gd name="connsiteY18" fmla="*/ 3007429 h 3426972"/>
                  <a:gd name="connsiteX19" fmla="*/ 1988129 w 2444505"/>
                  <a:gd name="connsiteY19" fmla="*/ 3001242 h 3426972"/>
                  <a:gd name="connsiteX20" fmla="*/ 2034209 w 2444505"/>
                  <a:gd name="connsiteY20" fmla="*/ 2940688 h 3426972"/>
                  <a:gd name="connsiteX21" fmla="*/ 2036053 w 2444505"/>
                  <a:gd name="connsiteY21" fmla="*/ 2247662 h 3426972"/>
                  <a:gd name="connsiteX22" fmla="*/ 2442619 w 2444505"/>
                  <a:gd name="connsiteY22" fmla="*/ 0 h 3426972"/>
                  <a:gd name="connsiteX23" fmla="*/ 2444476 w 2444505"/>
                  <a:gd name="connsiteY23" fmla="*/ 3518 h 3426972"/>
                  <a:gd name="connsiteX24" fmla="*/ 2443809 w 2444505"/>
                  <a:gd name="connsiteY24" fmla="*/ 1179718 h 3426972"/>
                  <a:gd name="connsiteX25" fmla="*/ 2441669 w 2444505"/>
                  <a:gd name="connsiteY25" fmla="*/ 2944505 h 3426972"/>
                  <a:gd name="connsiteX26" fmla="*/ 2374871 w 2444505"/>
                  <a:gd name="connsiteY26" fmla="*/ 3203485 h 3426972"/>
                  <a:gd name="connsiteX27" fmla="*/ 2230903 w 2444505"/>
                  <a:gd name="connsiteY27" fmla="*/ 3357925 h 3426972"/>
                  <a:gd name="connsiteX28" fmla="*/ 2020267 w 2444505"/>
                  <a:gd name="connsiteY28" fmla="*/ 3426436 h 3426972"/>
                  <a:gd name="connsiteX29" fmla="*/ 1970713 w 2444505"/>
                  <a:gd name="connsiteY29" fmla="*/ 3426936 h 3426972"/>
                  <a:gd name="connsiteX0" fmla="*/ 1970713 w 2443809"/>
                  <a:gd name="connsiteY0" fmla="*/ 3426936 h 3426972"/>
                  <a:gd name="connsiteX1" fmla="*/ 1859089 w 2443809"/>
                  <a:gd name="connsiteY1" fmla="*/ 3399136 h 3426972"/>
                  <a:gd name="connsiteX2" fmla="*/ 1799088 w 2443809"/>
                  <a:gd name="connsiteY2" fmla="*/ 3369284 h 3426972"/>
                  <a:gd name="connsiteX3" fmla="*/ 257741 w 2443809"/>
                  <a:gd name="connsiteY3" fmla="*/ 2486086 h 3426972"/>
                  <a:gd name="connsiteX4" fmla="*/ 66855 w 2443809"/>
                  <a:gd name="connsiteY4" fmla="*/ 2298746 h 3426972"/>
                  <a:gd name="connsiteX5" fmla="*/ 5085 w 2443809"/>
                  <a:gd name="connsiteY5" fmla="*/ 2096843 h 3426972"/>
                  <a:gd name="connsiteX6" fmla="*/ 117 w 2443809"/>
                  <a:gd name="connsiteY6" fmla="*/ 2040453 h 3426972"/>
                  <a:gd name="connsiteX7" fmla="*/ 0 w 2443809"/>
                  <a:gd name="connsiteY7" fmla="*/ 2039791 h 3426972"/>
                  <a:gd name="connsiteX8" fmla="*/ 5920 w 2443809"/>
                  <a:gd name="connsiteY8" fmla="*/ 655310 h 3426972"/>
                  <a:gd name="connsiteX9" fmla="*/ 9056 w 2443809"/>
                  <a:gd name="connsiteY9" fmla="*/ 626450 h 3426972"/>
                  <a:gd name="connsiteX10" fmla="*/ 206180 w 2443809"/>
                  <a:gd name="connsiteY10" fmla="*/ 533706 h 3426972"/>
                  <a:gd name="connsiteX11" fmla="*/ 407391 w 2443809"/>
                  <a:gd name="connsiteY11" fmla="*/ 649859 h 3426972"/>
                  <a:gd name="connsiteX12" fmla="*/ 406100 w 2443809"/>
                  <a:gd name="connsiteY12" fmla="*/ 714342 h 3426972"/>
                  <a:gd name="connsiteX13" fmla="*/ 409165 w 2443809"/>
                  <a:gd name="connsiteY13" fmla="*/ 2029733 h 3426972"/>
                  <a:gd name="connsiteX14" fmla="*/ 407598 w 2443809"/>
                  <a:gd name="connsiteY14" fmla="*/ 2023141 h 3426972"/>
                  <a:gd name="connsiteX15" fmla="*/ 407517 w 2443809"/>
                  <a:gd name="connsiteY15" fmla="*/ 2035949 h 3426972"/>
                  <a:gd name="connsiteX16" fmla="*/ 464772 w 2443809"/>
                  <a:gd name="connsiteY16" fmla="*/ 2135119 h 3426972"/>
                  <a:gd name="connsiteX17" fmla="*/ 1965744 w 2443809"/>
                  <a:gd name="connsiteY17" fmla="*/ 3007037 h 3426972"/>
                  <a:gd name="connsiteX18" fmla="*/ 1966088 w 2443809"/>
                  <a:gd name="connsiteY18" fmla="*/ 3007429 h 3426972"/>
                  <a:gd name="connsiteX19" fmla="*/ 1988129 w 2443809"/>
                  <a:gd name="connsiteY19" fmla="*/ 3001242 h 3426972"/>
                  <a:gd name="connsiteX20" fmla="*/ 2034209 w 2443809"/>
                  <a:gd name="connsiteY20" fmla="*/ 2940688 h 3426972"/>
                  <a:gd name="connsiteX21" fmla="*/ 2036053 w 2443809"/>
                  <a:gd name="connsiteY21" fmla="*/ 2247662 h 3426972"/>
                  <a:gd name="connsiteX22" fmla="*/ 2442619 w 2443809"/>
                  <a:gd name="connsiteY22" fmla="*/ 0 h 3426972"/>
                  <a:gd name="connsiteX23" fmla="*/ 2443809 w 2443809"/>
                  <a:gd name="connsiteY23" fmla="*/ 1179718 h 3426972"/>
                  <a:gd name="connsiteX24" fmla="*/ 2441669 w 2443809"/>
                  <a:gd name="connsiteY24" fmla="*/ 2944505 h 3426972"/>
                  <a:gd name="connsiteX25" fmla="*/ 2374871 w 2443809"/>
                  <a:gd name="connsiteY25" fmla="*/ 3203485 h 3426972"/>
                  <a:gd name="connsiteX26" fmla="*/ 2230903 w 2443809"/>
                  <a:gd name="connsiteY26" fmla="*/ 3357925 h 3426972"/>
                  <a:gd name="connsiteX27" fmla="*/ 2020267 w 2443809"/>
                  <a:gd name="connsiteY27" fmla="*/ 3426436 h 3426972"/>
                  <a:gd name="connsiteX28" fmla="*/ 1970713 w 2443809"/>
                  <a:gd name="connsiteY28" fmla="*/ 3426936 h 3426972"/>
                  <a:gd name="connsiteX0" fmla="*/ 1970713 w 2475053"/>
                  <a:gd name="connsiteY0" fmla="*/ 3426936 h 3426972"/>
                  <a:gd name="connsiteX1" fmla="*/ 1859089 w 2475053"/>
                  <a:gd name="connsiteY1" fmla="*/ 3399136 h 3426972"/>
                  <a:gd name="connsiteX2" fmla="*/ 1799088 w 2475053"/>
                  <a:gd name="connsiteY2" fmla="*/ 3369284 h 3426972"/>
                  <a:gd name="connsiteX3" fmla="*/ 257741 w 2475053"/>
                  <a:gd name="connsiteY3" fmla="*/ 2486086 h 3426972"/>
                  <a:gd name="connsiteX4" fmla="*/ 66855 w 2475053"/>
                  <a:gd name="connsiteY4" fmla="*/ 2298746 h 3426972"/>
                  <a:gd name="connsiteX5" fmla="*/ 5085 w 2475053"/>
                  <a:gd name="connsiteY5" fmla="*/ 2096843 h 3426972"/>
                  <a:gd name="connsiteX6" fmla="*/ 117 w 2475053"/>
                  <a:gd name="connsiteY6" fmla="*/ 2040453 h 3426972"/>
                  <a:gd name="connsiteX7" fmla="*/ 0 w 2475053"/>
                  <a:gd name="connsiteY7" fmla="*/ 2039791 h 3426972"/>
                  <a:gd name="connsiteX8" fmla="*/ 5920 w 2475053"/>
                  <a:gd name="connsiteY8" fmla="*/ 655310 h 3426972"/>
                  <a:gd name="connsiteX9" fmla="*/ 9056 w 2475053"/>
                  <a:gd name="connsiteY9" fmla="*/ 626450 h 3426972"/>
                  <a:gd name="connsiteX10" fmla="*/ 206180 w 2475053"/>
                  <a:gd name="connsiteY10" fmla="*/ 533706 h 3426972"/>
                  <a:gd name="connsiteX11" fmla="*/ 407391 w 2475053"/>
                  <a:gd name="connsiteY11" fmla="*/ 649859 h 3426972"/>
                  <a:gd name="connsiteX12" fmla="*/ 406100 w 2475053"/>
                  <a:gd name="connsiteY12" fmla="*/ 714342 h 3426972"/>
                  <a:gd name="connsiteX13" fmla="*/ 409165 w 2475053"/>
                  <a:gd name="connsiteY13" fmla="*/ 2029733 h 3426972"/>
                  <a:gd name="connsiteX14" fmla="*/ 407598 w 2475053"/>
                  <a:gd name="connsiteY14" fmla="*/ 2023141 h 3426972"/>
                  <a:gd name="connsiteX15" fmla="*/ 407517 w 2475053"/>
                  <a:gd name="connsiteY15" fmla="*/ 2035949 h 3426972"/>
                  <a:gd name="connsiteX16" fmla="*/ 464772 w 2475053"/>
                  <a:gd name="connsiteY16" fmla="*/ 2135119 h 3426972"/>
                  <a:gd name="connsiteX17" fmla="*/ 1965744 w 2475053"/>
                  <a:gd name="connsiteY17" fmla="*/ 3007037 h 3426972"/>
                  <a:gd name="connsiteX18" fmla="*/ 1966088 w 2475053"/>
                  <a:gd name="connsiteY18" fmla="*/ 3007429 h 3426972"/>
                  <a:gd name="connsiteX19" fmla="*/ 1988129 w 2475053"/>
                  <a:gd name="connsiteY19" fmla="*/ 3001242 h 3426972"/>
                  <a:gd name="connsiteX20" fmla="*/ 2034209 w 2475053"/>
                  <a:gd name="connsiteY20" fmla="*/ 2940688 h 3426972"/>
                  <a:gd name="connsiteX21" fmla="*/ 2036053 w 2475053"/>
                  <a:gd name="connsiteY21" fmla="*/ 2247662 h 3426972"/>
                  <a:gd name="connsiteX22" fmla="*/ 2442619 w 2475053"/>
                  <a:gd name="connsiteY22" fmla="*/ 0 h 3426972"/>
                  <a:gd name="connsiteX23" fmla="*/ 2441669 w 2475053"/>
                  <a:gd name="connsiteY23" fmla="*/ 2944505 h 3426972"/>
                  <a:gd name="connsiteX24" fmla="*/ 2374871 w 2475053"/>
                  <a:gd name="connsiteY24" fmla="*/ 3203485 h 3426972"/>
                  <a:gd name="connsiteX25" fmla="*/ 2230903 w 2475053"/>
                  <a:gd name="connsiteY25" fmla="*/ 3357925 h 3426972"/>
                  <a:gd name="connsiteX26" fmla="*/ 2020267 w 2475053"/>
                  <a:gd name="connsiteY26" fmla="*/ 3426436 h 3426972"/>
                  <a:gd name="connsiteX27" fmla="*/ 1970713 w 2475053"/>
                  <a:gd name="connsiteY27" fmla="*/ 3426936 h 3426972"/>
                  <a:gd name="connsiteX0" fmla="*/ 1970713 w 2441669"/>
                  <a:gd name="connsiteY0" fmla="*/ 2893230 h 2893266"/>
                  <a:gd name="connsiteX1" fmla="*/ 1859089 w 2441669"/>
                  <a:gd name="connsiteY1" fmla="*/ 2865430 h 2893266"/>
                  <a:gd name="connsiteX2" fmla="*/ 1799088 w 2441669"/>
                  <a:gd name="connsiteY2" fmla="*/ 2835578 h 2893266"/>
                  <a:gd name="connsiteX3" fmla="*/ 257741 w 2441669"/>
                  <a:gd name="connsiteY3" fmla="*/ 1952380 h 2893266"/>
                  <a:gd name="connsiteX4" fmla="*/ 66855 w 2441669"/>
                  <a:gd name="connsiteY4" fmla="*/ 1765040 h 2893266"/>
                  <a:gd name="connsiteX5" fmla="*/ 5085 w 2441669"/>
                  <a:gd name="connsiteY5" fmla="*/ 1563137 h 2893266"/>
                  <a:gd name="connsiteX6" fmla="*/ 117 w 2441669"/>
                  <a:gd name="connsiteY6" fmla="*/ 1506747 h 2893266"/>
                  <a:gd name="connsiteX7" fmla="*/ 0 w 2441669"/>
                  <a:gd name="connsiteY7" fmla="*/ 1506085 h 2893266"/>
                  <a:gd name="connsiteX8" fmla="*/ 5920 w 2441669"/>
                  <a:gd name="connsiteY8" fmla="*/ 121604 h 2893266"/>
                  <a:gd name="connsiteX9" fmla="*/ 9056 w 2441669"/>
                  <a:gd name="connsiteY9" fmla="*/ 92744 h 2893266"/>
                  <a:gd name="connsiteX10" fmla="*/ 206180 w 2441669"/>
                  <a:gd name="connsiteY10" fmla="*/ 0 h 2893266"/>
                  <a:gd name="connsiteX11" fmla="*/ 407391 w 2441669"/>
                  <a:gd name="connsiteY11" fmla="*/ 116153 h 2893266"/>
                  <a:gd name="connsiteX12" fmla="*/ 406100 w 2441669"/>
                  <a:gd name="connsiteY12" fmla="*/ 180636 h 2893266"/>
                  <a:gd name="connsiteX13" fmla="*/ 409165 w 2441669"/>
                  <a:gd name="connsiteY13" fmla="*/ 1496027 h 2893266"/>
                  <a:gd name="connsiteX14" fmla="*/ 407598 w 2441669"/>
                  <a:gd name="connsiteY14" fmla="*/ 1489435 h 2893266"/>
                  <a:gd name="connsiteX15" fmla="*/ 407517 w 2441669"/>
                  <a:gd name="connsiteY15" fmla="*/ 1502243 h 2893266"/>
                  <a:gd name="connsiteX16" fmla="*/ 464772 w 2441669"/>
                  <a:gd name="connsiteY16" fmla="*/ 1601413 h 2893266"/>
                  <a:gd name="connsiteX17" fmla="*/ 1965744 w 2441669"/>
                  <a:gd name="connsiteY17" fmla="*/ 2473331 h 2893266"/>
                  <a:gd name="connsiteX18" fmla="*/ 1966088 w 2441669"/>
                  <a:gd name="connsiteY18" fmla="*/ 2473723 h 2893266"/>
                  <a:gd name="connsiteX19" fmla="*/ 1988129 w 2441669"/>
                  <a:gd name="connsiteY19" fmla="*/ 2467536 h 2893266"/>
                  <a:gd name="connsiteX20" fmla="*/ 2034209 w 2441669"/>
                  <a:gd name="connsiteY20" fmla="*/ 2406982 h 2893266"/>
                  <a:gd name="connsiteX21" fmla="*/ 2036053 w 2441669"/>
                  <a:gd name="connsiteY21" fmla="*/ 1713956 h 2893266"/>
                  <a:gd name="connsiteX22" fmla="*/ 2441669 w 2441669"/>
                  <a:gd name="connsiteY22" fmla="*/ 2410799 h 2893266"/>
                  <a:gd name="connsiteX23" fmla="*/ 2374871 w 2441669"/>
                  <a:gd name="connsiteY23" fmla="*/ 2669779 h 2893266"/>
                  <a:gd name="connsiteX24" fmla="*/ 2230903 w 2441669"/>
                  <a:gd name="connsiteY24" fmla="*/ 2824219 h 2893266"/>
                  <a:gd name="connsiteX25" fmla="*/ 2020267 w 2441669"/>
                  <a:gd name="connsiteY25" fmla="*/ 2892730 h 2893266"/>
                  <a:gd name="connsiteX26" fmla="*/ 1970713 w 2441669"/>
                  <a:gd name="connsiteY26" fmla="*/ 2893230 h 2893266"/>
                  <a:gd name="connsiteX0" fmla="*/ 1970713 w 2441669"/>
                  <a:gd name="connsiteY0" fmla="*/ 2893230 h 2893266"/>
                  <a:gd name="connsiteX1" fmla="*/ 1859089 w 2441669"/>
                  <a:gd name="connsiteY1" fmla="*/ 2865430 h 2893266"/>
                  <a:gd name="connsiteX2" fmla="*/ 1799088 w 2441669"/>
                  <a:gd name="connsiteY2" fmla="*/ 2835578 h 2893266"/>
                  <a:gd name="connsiteX3" fmla="*/ 257741 w 2441669"/>
                  <a:gd name="connsiteY3" fmla="*/ 1952380 h 2893266"/>
                  <a:gd name="connsiteX4" fmla="*/ 66855 w 2441669"/>
                  <a:gd name="connsiteY4" fmla="*/ 1765040 h 2893266"/>
                  <a:gd name="connsiteX5" fmla="*/ 5085 w 2441669"/>
                  <a:gd name="connsiteY5" fmla="*/ 1563137 h 2893266"/>
                  <a:gd name="connsiteX6" fmla="*/ 117 w 2441669"/>
                  <a:gd name="connsiteY6" fmla="*/ 1506747 h 2893266"/>
                  <a:gd name="connsiteX7" fmla="*/ 0 w 2441669"/>
                  <a:gd name="connsiteY7" fmla="*/ 1506085 h 2893266"/>
                  <a:gd name="connsiteX8" fmla="*/ 5920 w 2441669"/>
                  <a:gd name="connsiteY8" fmla="*/ 121604 h 2893266"/>
                  <a:gd name="connsiteX9" fmla="*/ 9056 w 2441669"/>
                  <a:gd name="connsiteY9" fmla="*/ 92744 h 2893266"/>
                  <a:gd name="connsiteX10" fmla="*/ 206180 w 2441669"/>
                  <a:gd name="connsiteY10" fmla="*/ 0 h 2893266"/>
                  <a:gd name="connsiteX11" fmla="*/ 407391 w 2441669"/>
                  <a:gd name="connsiteY11" fmla="*/ 116153 h 2893266"/>
                  <a:gd name="connsiteX12" fmla="*/ 406100 w 2441669"/>
                  <a:gd name="connsiteY12" fmla="*/ 180636 h 2893266"/>
                  <a:gd name="connsiteX13" fmla="*/ 409165 w 2441669"/>
                  <a:gd name="connsiteY13" fmla="*/ 1496027 h 2893266"/>
                  <a:gd name="connsiteX14" fmla="*/ 407598 w 2441669"/>
                  <a:gd name="connsiteY14" fmla="*/ 1489435 h 2893266"/>
                  <a:gd name="connsiteX15" fmla="*/ 407517 w 2441669"/>
                  <a:gd name="connsiteY15" fmla="*/ 1502243 h 2893266"/>
                  <a:gd name="connsiteX16" fmla="*/ 464772 w 2441669"/>
                  <a:gd name="connsiteY16" fmla="*/ 1601413 h 2893266"/>
                  <a:gd name="connsiteX17" fmla="*/ 1965744 w 2441669"/>
                  <a:gd name="connsiteY17" fmla="*/ 2473331 h 2893266"/>
                  <a:gd name="connsiteX18" fmla="*/ 1966088 w 2441669"/>
                  <a:gd name="connsiteY18" fmla="*/ 2473723 h 2893266"/>
                  <a:gd name="connsiteX19" fmla="*/ 1988129 w 2441669"/>
                  <a:gd name="connsiteY19" fmla="*/ 2467536 h 2893266"/>
                  <a:gd name="connsiteX20" fmla="*/ 2034209 w 2441669"/>
                  <a:gd name="connsiteY20" fmla="*/ 2406982 h 2893266"/>
                  <a:gd name="connsiteX21" fmla="*/ 2441669 w 2441669"/>
                  <a:gd name="connsiteY21" fmla="*/ 2410799 h 2893266"/>
                  <a:gd name="connsiteX22" fmla="*/ 2374871 w 2441669"/>
                  <a:gd name="connsiteY22" fmla="*/ 2669779 h 2893266"/>
                  <a:gd name="connsiteX23" fmla="*/ 2230903 w 2441669"/>
                  <a:gd name="connsiteY23" fmla="*/ 2824219 h 2893266"/>
                  <a:gd name="connsiteX24" fmla="*/ 2020267 w 2441669"/>
                  <a:gd name="connsiteY24" fmla="*/ 2892730 h 2893266"/>
                  <a:gd name="connsiteX25" fmla="*/ 1970713 w 2441669"/>
                  <a:gd name="connsiteY25" fmla="*/ 2893230 h 2893266"/>
                  <a:gd name="connsiteX0" fmla="*/ 1970713 w 2380032"/>
                  <a:gd name="connsiteY0" fmla="*/ 2893230 h 2893266"/>
                  <a:gd name="connsiteX1" fmla="*/ 1859089 w 2380032"/>
                  <a:gd name="connsiteY1" fmla="*/ 2865430 h 2893266"/>
                  <a:gd name="connsiteX2" fmla="*/ 1799088 w 2380032"/>
                  <a:gd name="connsiteY2" fmla="*/ 2835578 h 2893266"/>
                  <a:gd name="connsiteX3" fmla="*/ 257741 w 2380032"/>
                  <a:gd name="connsiteY3" fmla="*/ 1952380 h 2893266"/>
                  <a:gd name="connsiteX4" fmla="*/ 66855 w 2380032"/>
                  <a:gd name="connsiteY4" fmla="*/ 1765040 h 2893266"/>
                  <a:gd name="connsiteX5" fmla="*/ 5085 w 2380032"/>
                  <a:gd name="connsiteY5" fmla="*/ 1563137 h 2893266"/>
                  <a:gd name="connsiteX6" fmla="*/ 117 w 2380032"/>
                  <a:gd name="connsiteY6" fmla="*/ 1506747 h 2893266"/>
                  <a:gd name="connsiteX7" fmla="*/ 0 w 2380032"/>
                  <a:gd name="connsiteY7" fmla="*/ 1506085 h 2893266"/>
                  <a:gd name="connsiteX8" fmla="*/ 5920 w 2380032"/>
                  <a:gd name="connsiteY8" fmla="*/ 121604 h 2893266"/>
                  <a:gd name="connsiteX9" fmla="*/ 9056 w 2380032"/>
                  <a:gd name="connsiteY9" fmla="*/ 92744 h 2893266"/>
                  <a:gd name="connsiteX10" fmla="*/ 206180 w 2380032"/>
                  <a:gd name="connsiteY10" fmla="*/ 0 h 2893266"/>
                  <a:gd name="connsiteX11" fmla="*/ 407391 w 2380032"/>
                  <a:gd name="connsiteY11" fmla="*/ 116153 h 2893266"/>
                  <a:gd name="connsiteX12" fmla="*/ 406100 w 2380032"/>
                  <a:gd name="connsiteY12" fmla="*/ 180636 h 2893266"/>
                  <a:gd name="connsiteX13" fmla="*/ 409165 w 2380032"/>
                  <a:gd name="connsiteY13" fmla="*/ 1496027 h 2893266"/>
                  <a:gd name="connsiteX14" fmla="*/ 407598 w 2380032"/>
                  <a:gd name="connsiteY14" fmla="*/ 1489435 h 2893266"/>
                  <a:gd name="connsiteX15" fmla="*/ 407517 w 2380032"/>
                  <a:gd name="connsiteY15" fmla="*/ 1502243 h 2893266"/>
                  <a:gd name="connsiteX16" fmla="*/ 464772 w 2380032"/>
                  <a:gd name="connsiteY16" fmla="*/ 1601413 h 2893266"/>
                  <a:gd name="connsiteX17" fmla="*/ 1965744 w 2380032"/>
                  <a:gd name="connsiteY17" fmla="*/ 2473331 h 2893266"/>
                  <a:gd name="connsiteX18" fmla="*/ 1966088 w 2380032"/>
                  <a:gd name="connsiteY18" fmla="*/ 2473723 h 2893266"/>
                  <a:gd name="connsiteX19" fmla="*/ 1988129 w 2380032"/>
                  <a:gd name="connsiteY19" fmla="*/ 2467536 h 2893266"/>
                  <a:gd name="connsiteX20" fmla="*/ 2034209 w 2380032"/>
                  <a:gd name="connsiteY20" fmla="*/ 2406982 h 2893266"/>
                  <a:gd name="connsiteX21" fmla="*/ 2374871 w 2380032"/>
                  <a:gd name="connsiteY21" fmla="*/ 2669779 h 2893266"/>
                  <a:gd name="connsiteX22" fmla="*/ 2230903 w 2380032"/>
                  <a:gd name="connsiteY22" fmla="*/ 2824219 h 2893266"/>
                  <a:gd name="connsiteX23" fmla="*/ 2020267 w 2380032"/>
                  <a:gd name="connsiteY23" fmla="*/ 2892730 h 2893266"/>
                  <a:gd name="connsiteX24" fmla="*/ 1970713 w 2380032"/>
                  <a:gd name="connsiteY24"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1965744 w 2382123"/>
                  <a:gd name="connsiteY17" fmla="*/ 2473331 h 2893266"/>
                  <a:gd name="connsiteX18" fmla="*/ 1966088 w 2382123"/>
                  <a:gd name="connsiteY18" fmla="*/ 2473723 h 2893266"/>
                  <a:gd name="connsiteX19" fmla="*/ 1988129 w 2382123"/>
                  <a:gd name="connsiteY19" fmla="*/ 2467536 h 2893266"/>
                  <a:gd name="connsiteX20" fmla="*/ 2374871 w 2382123"/>
                  <a:gd name="connsiteY20" fmla="*/ 2669779 h 2893266"/>
                  <a:gd name="connsiteX21" fmla="*/ 2230903 w 2382123"/>
                  <a:gd name="connsiteY21" fmla="*/ 2824219 h 2893266"/>
                  <a:gd name="connsiteX22" fmla="*/ 2020267 w 2382123"/>
                  <a:gd name="connsiteY22" fmla="*/ 2892730 h 2893266"/>
                  <a:gd name="connsiteX23" fmla="*/ 1970713 w 2382123"/>
                  <a:gd name="connsiteY23" fmla="*/ 2893230 h 2893266"/>
                  <a:gd name="connsiteX0" fmla="*/ 1970713 w 2230903"/>
                  <a:gd name="connsiteY0" fmla="*/ 2893230 h 2893266"/>
                  <a:gd name="connsiteX1" fmla="*/ 1859089 w 2230903"/>
                  <a:gd name="connsiteY1" fmla="*/ 2865430 h 2893266"/>
                  <a:gd name="connsiteX2" fmla="*/ 1799088 w 2230903"/>
                  <a:gd name="connsiteY2" fmla="*/ 2835578 h 2893266"/>
                  <a:gd name="connsiteX3" fmla="*/ 257741 w 2230903"/>
                  <a:gd name="connsiteY3" fmla="*/ 1952380 h 2893266"/>
                  <a:gd name="connsiteX4" fmla="*/ 66855 w 2230903"/>
                  <a:gd name="connsiteY4" fmla="*/ 1765040 h 2893266"/>
                  <a:gd name="connsiteX5" fmla="*/ 5085 w 2230903"/>
                  <a:gd name="connsiteY5" fmla="*/ 1563137 h 2893266"/>
                  <a:gd name="connsiteX6" fmla="*/ 117 w 2230903"/>
                  <a:gd name="connsiteY6" fmla="*/ 1506747 h 2893266"/>
                  <a:gd name="connsiteX7" fmla="*/ 0 w 2230903"/>
                  <a:gd name="connsiteY7" fmla="*/ 1506085 h 2893266"/>
                  <a:gd name="connsiteX8" fmla="*/ 5920 w 2230903"/>
                  <a:gd name="connsiteY8" fmla="*/ 121604 h 2893266"/>
                  <a:gd name="connsiteX9" fmla="*/ 9056 w 2230903"/>
                  <a:gd name="connsiteY9" fmla="*/ 92744 h 2893266"/>
                  <a:gd name="connsiteX10" fmla="*/ 206180 w 2230903"/>
                  <a:gd name="connsiteY10" fmla="*/ 0 h 2893266"/>
                  <a:gd name="connsiteX11" fmla="*/ 407391 w 2230903"/>
                  <a:gd name="connsiteY11" fmla="*/ 116153 h 2893266"/>
                  <a:gd name="connsiteX12" fmla="*/ 406100 w 2230903"/>
                  <a:gd name="connsiteY12" fmla="*/ 180636 h 2893266"/>
                  <a:gd name="connsiteX13" fmla="*/ 409165 w 2230903"/>
                  <a:gd name="connsiteY13" fmla="*/ 1496027 h 2893266"/>
                  <a:gd name="connsiteX14" fmla="*/ 407598 w 2230903"/>
                  <a:gd name="connsiteY14" fmla="*/ 1489435 h 2893266"/>
                  <a:gd name="connsiteX15" fmla="*/ 407517 w 2230903"/>
                  <a:gd name="connsiteY15" fmla="*/ 1502243 h 2893266"/>
                  <a:gd name="connsiteX16" fmla="*/ 464772 w 2230903"/>
                  <a:gd name="connsiteY16" fmla="*/ 1601413 h 2893266"/>
                  <a:gd name="connsiteX17" fmla="*/ 1965744 w 2230903"/>
                  <a:gd name="connsiteY17" fmla="*/ 2473331 h 2893266"/>
                  <a:gd name="connsiteX18" fmla="*/ 1966088 w 2230903"/>
                  <a:gd name="connsiteY18" fmla="*/ 2473723 h 2893266"/>
                  <a:gd name="connsiteX19" fmla="*/ 1988129 w 2230903"/>
                  <a:gd name="connsiteY19" fmla="*/ 2467536 h 2893266"/>
                  <a:gd name="connsiteX20" fmla="*/ 2230903 w 2230903"/>
                  <a:gd name="connsiteY20" fmla="*/ 2824219 h 2893266"/>
                  <a:gd name="connsiteX21" fmla="*/ 2020267 w 2230903"/>
                  <a:gd name="connsiteY21" fmla="*/ 2892730 h 2893266"/>
                  <a:gd name="connsiteX22" fmla="*/ 1970713 w 2230903"/>
                  <a:gd name="connsiteY22" fmla="*/ 2893230 h 2893266"/>
                  <a:gd name="connsiteX0" fmla="*/ 1970713 w 2020491"/>
                  <a:gd name="connsiteY0" fmla="*/ 2893230 h 2893266"/>
                  <a:gd name="connsiteX1" fmla="*/ 1859089 w 2020491"/>
                  <a:gd name="connsiteY1" fmla="*/ 2865430 h 2893266"/>
                  <a:gd name="connsiteX2" fmla="*/ 1799088 w 2020491"/>
                  <a:gd name="connsiteY2" fmla="*/ 2835578 h 2893266"/>
                  <a:gd name="connsiteX3" fmla="*/ 257741 w 2020491"/>
                  <a:gd name="connsiteY3" fmla="*/ 1952380 h 2893266"/>
                  <a:gd name="connsiteX4" fmla="*/ 66855 w 2020491"/>
                  <a:gd name="connsiteY4" fmla="*/ 1765040 h 2893266"/>
                  <a:gd name="connsiteX5" fmla="*/ 5085 w 2020491"/>
                  <a:gd name="connsiteY5" fmla="*/ 1563137 h 2893266"/>
                  <a:gd name="connsiteX6" fmla="*/ 117 w 2020491"/>
                  <a:gd name="connsiteY6" fmla="*/ 1506747 h 2893266"/>
                  <a:gd name="connsiteX7" fmla="*/ 0 w 2020491"/>
                  <a:gd name="connsiteY7" fmla="*/ 1506085 h 2893266"/>
                  <a:gd name="connsiteX8" fmla="*/ 5920 w 2020491"/>
                  <a:gd name="connsiteY8" fmla="*/ 121604 h 2893266"/>
                  <a:gd name="connsiteX9" fmla="*/ 9056 w 2020491"/>
                  <a:gd name="connsiteY9" fmla="*/ 92744 h 2893266"/>
                  <a:gd name="connsiteX10" fmla="*/ 206180 w 2020491"/>
                  <a:gd name="connsiteY10" fmla="*/ 0 h 2893266"/>
                  <a:gd name="connsiteX11" fmla="*/ 407391 w 2020491"/>
                  <a:gd name="connsiteY11" fmla="*/ 116153 h 2893266"/>
                  <a:gd name="connsiteX12" fmla="*/ 406100 w 2020491"/>
                  <a:gd name="connsiteY12" fmla="*/ 180636 h 2893266"/>
                  <a:gd name="connsiteX13" fmla="*/ 409165 w 2020491"/>
                  <a:gd name="connsiteY13" fmla="*/ 1496027 h 2893266"/>
                  <a:gd name="connsiteX14" fmla="*/ 407598 w 2020491"/>
                  <a:gd name="connsiteY14" fmla="*/ 1489435 h 2893266"/>
                  <a:gd name="connsiteX15" fmla="*/ 407517 w 2020491"/>
                  <a:gd name="connsiteY15" fmla="*/ 1502243 h 2893266"/>
                  <a:gd name="connsiteX16" fmla="*/ 464772 w 2020491"/>
                  <a:gd name="connsiteY16" fmla="*/ 1601413 h 2893266"/>
                  <a:gd name="connsiteX17" fmla="*/ 1965744 w 2020491"/>
                  <a:gd name="connsiteY17" fmla="*/ 2473331 h 2893266"/>
                  <a:gd name="connsiteX18" fmla="*/ 1966088 w 2020491"/>
                  <a:gd name="connsiteY18" fmla="*/ 2473723 h 2893266"/>
                  <a:gd name="connsiteX19" fmla="*/ 1988129 w 2020491"/>
                  <a:gd name="connsiteY19" fmla="*/ 2467536 h 2893266"/>
                  <a:gd name="connsiteX20" fmla="*/ 2020267 w 2020491"/>
                  <a:gd name="connsiteY20" fmla="*/ 2892730 h 2893266"/>
                  <a:gd name="connsiteX21" fmla="*/ 1970713 w 2020491"/>
                  <a:gd name="connsiteY21" fmla="*/ 2893230 h 2893266"/>
                  <a:gd name="connsiteX0" fmla="*/ 2020267 w 2020491"/>
                  <a:gd name="connsiteY0" fmla="*/ 2892730 h 2917998"/>
                  <a:gd name="connsiteX1" fmla="*/ 1859089 w 2020491"/>
                  <a:gd name="connsiteY1" fmla="*/ 2865430 h 2917998"/>
                  <a:gd name="connsiteX2" fmla="*/ 1799088 w 2020491"/>
                  <a:gd name="connsiteY2" fmla="*/ 2835578 h 2917998"/>
                  <a:gd name="connsiteX3" fmla="*/ 257741 w 2020491"/>
                  <a:gd name="connsiteY3" fmla="*/ 1952380 h 2917998"/>
                  <a:gd name="connsiteX4" fmla="*/ 66855 w 2020491"/>
                  <a:gd name="connsiteY4" fmla="*/ 1765040 h 2917998"/>
                  <a:gd name="connsiteX5" fmla="*/ 5085 w 2020491"/>
                  <a:gd name="connsiteY5" fmla="*/ 1563137 h 2917998"/>
                  <a:gd name="connsiteX6" fmla="*/ 117 w 2020491"/>
                  <a:gd name="connsiteY6" fmla="*/ 1506747 h 2917998"/>
                  <a:gd name="connsiteX7" fmla="*/ 0 w 2020491"/>
                  <a:gd name="connsiteY7" fmla="*/ 1506085 h 2917998"/>
                  <a:gd name="connsiteX8" fmla="*/ 5920 w 2020491"/>
                  <a:gd name="connsiteY8" fmla="*/ 121604 h 2917998"/>
                  <a:gd name="connsiteX9" fmla="*/ 9056 w 2020491"/>
                  <a:gd name="connsiteY9" fmla="*/ 92744 h 2917998"/>
                  <a:gd name="connsiteX10" fmla="*/ 206180 w 2020491"/>
                  <a:gd name="connsiteY10" fmla="*/ 0 h 2917998"/>
                  <a:gd name="connsiteX11" fmla="*/ 407391 w 2020491"/>
                  <a:gd name="connsiteY11" fmla="*/ 116153 h 2917998"/>
                  <a:gd name="connsiteX12" fmla="*/ 406100 w 2020491"/>
                  <a:gd name="connsiteY12" fmla="*/ 180636 h 2917998"/>
                  <a:gd name="connsiteX13" fmla="*/ 409165 w 2020491"/>
                  <a:gd name="connsiteY13" fmla="*/ 1496027 h 2917998"/>
                  <a:gd name="connsiteX14" fmla="*/ 407598 w 2020491"/>
                  <a:gd name="connsiteY14" fmla="*/ 1489435 h 2917998"/>
                  <a:gd name="connsiteX15" fmla="*/ 407517 w 2020491"/>
                  <a:gd name="connsiteY15" fmla="*/ 1502243 h 2917998"/>
                  <a:gd name="connsiteX16" fmla="*/ 464772 w 2020491"/>
                  <a:gd name="connsiteY16" fmla="*/ 1601413 h 2917998"/>
                  <a:gd name="connsiteX17" fmla="*/ 1965744 w 2020491"/>
                  <a:gd name="connsiteY17" fmla="*/ 2473331 h 2917998"/>
                  <a:gd name="connsiteX18" fmla="*/ 1966088 w 2020491"/>
                  <a:gd name="connsiteY18" fmla="*/ 2473723 h 2917998"/>
                  <a:gd name="connsiteX19" fmla="*/ 1988129 w 2020491"/>
                  <a:gd name="connsiteY19" fmla="*/ 2467536 h 2917998"/>
                  <a:gd name="connsiteX20" fmla="*/ 2020267 w 2020491"/>
                  <a:gd name="connsiteY20" fmla="*/ 2892730 h 2917998"/>
                  <a:gd name="connsiteX0" fmla="*/ 1988129 w 1988129"/>
                  <a:gd name="connsiteY0" fmla="*/ 2467536 h 2865430"/>
                  <a:gd name="connsiteX1" fmla="*/ 1859089 w 1988129"/>
                  <a:gd name="connsiteY1" fmla="*/ 2865430 h 2865430"/>
                  <a:gd name="connsiteX2" fmla="*/ 1799088 w 1988129"/>
                  <a:gd name="connsiteY2" fmla="*/ 2835578 h 2865430"/>
                  <a:gd name="connsiteX3" fmla="*/ 257741 w 1988129"/>
                  <a:gd name="connsiteY3" fmla="*/ 1952380 h 2865430"/>
                  <a:gd name="connsiteX4" fmla="*/ 66855 w 1988129"/>
                  <a:gd name="connsiteY4" fmla="*/ 1765040 h 2865430"/>
                  <a:gd name="connsiteX5" fmla="*/ 5085 w 1988129"/>
                  <a:gd name="connsiteY5" fmla="*/ 1563137 h 2865430"/>
                  <a:gd name="connsiteX6" fmla="*/ 117 w 1988129"/>
                  <a:gd name="connsiteY6" fmla="*/ 1506747 h 2865430"/>
                  <a:gd name="connsiteX7" fmla="*/ 0 w 1988129"/>
                  <a:gd name="connsiteY7" fmla="*/ 1506085 h 2865430"/>
                  <a:gd name="connsiteX8" fmla="*/ 5920 w 1988129"/>
                  <a:gd name="connsiteY8" fmla="*/ 121604 h 2865430"/>
                  <a:gd name="connsiteX9" fmla="*/ 9056 w 1988129"/>
                  <a:gd name="connsiteY9" fmla="*/ 92744 h 2865430"/>
                  <a:gd name="connsiteX10" fmla="*/ 206180 w 1988129"/>
                  <a:gd name="connsiteY10" fmla="*/ 0 h 2865430"/>
                  <a:gd name="connsiteX11" fmla="*/ 407391 w 1988129"/>
                  <a:gd name="connsiteY11" fmla="*/ 116153 h 2865430"/>
                  <a:gd name="connsiteX12" fmla="*/ 406100 w 1988129"/>
                  <a:gd name="connsiteY12" fmla="*/ 180636 h 2865430"/>
                  <a:gd name="connsiteX13" fmla="*/ 409165 w 1988129"/>
                  <a:gd name="connsiteY13" fmla="*/ 1496027 h 2865430"/>
                  <a:gd name="connsiteX14" fmla="*/ 407598 w 1988129"/>
                  <a:gd name="connsiteY14" fmla="*/ 1489435 h 2865430"/>
                  <a:gd name="connsiteX15" fmla="*/ 407517 w 1988129"/>
                  <a:gd name="connsiteY15" fmla="*/ 1502243 h 2865430"/>
                  <a:gd name="connsiteX16" fmla="*/ 464772 w 1988129"/>
                  <a:gd name="connsiteY16" fmla="*/ 1601413 h 2865430"/>
                  <a:gd name="connsiteX17" fmla="*/ 1965744 w 1988129"/>
                  <a:gd name="connsiteY17" fmla="*/ 2473331 h 2865430"/>
                  <a:gd name="connsiteX18" fmla="*/ 1966088 w 1988129"/>
                  <a:gd name="connsiteY18" fmla="*/ 2473723 h 2865430"/>
                  <a:gd name="connsiteX19" fmla="*/ 1988129 w 1988129"/>
                  <a:gd name="connsiteY19" fmla="*/ 2467536 h 2865430"/>
                  <a:gd name="connsiteX0" fmla="*/ 1988129 w 1992848"/>
                  <a:gd name="connsiteY0" fmla="*/ 2467536 h 2847771"/>
                  <a:gd name="connsiteX1" fmla="*/ 1799088 w 1992848"/>
                  <a:gd name="connsiteY1" fmla="*/ 2835578 h 2847771"/>
                  <a:gd name="connsiteX2" fmla="*/ 257741 w 1992848"/>
                  <a:gd name="connsiteY2" fmla="*/ 1952380 h 2847771"/>
                  <a:gd name="connsiteX3" fmla="*/ 66855 w 1992848"/>
                  <a:gd name="connsiteY3" fmla="*/ 1765040 h 2847771"/>
                  <a:gd name="connsiteX4" fmla="*/ 5085 w 1992848"/>
                  <a:gd name="connsiteY4" fmla="*/ 1563137 h 2847771"/>
                  <a:gd name="connsiteX5" fmla="*/ 117 w 1992848"/>
                  <a:gd name="connsiteY5" fmla="*/ 1506747 h 2847771"/>
                  <a:gd name="connsiteX6" fmla="*/ 0 w 1992848"/>
                  <a:gd name="connsiteY6" fmla="*/ 1506085 h 2847771"/>
                  <a:gd name="connsiteX7" fmla="*/ 5920 w 1992848"/>
                  <a:gd name="connsiteY7" fmla="*/ 121604 h 2847771"/>
                  <a:gd name="connsiteX8" fmla="*/ 9056 w 1992848"/>
                  <a:gd name="connsiteY8" fmla="*/ 92744 h 2847771"/>
                  <a:gd name="connsiteX9" fmla="*/ 206180 w 1992848"/>
                  <a:gd name="connsiteY9" fmla="*/ 0 h 2847771"/>
                  <a:gd name="connsiteX10" fmla="*/ 407391 w 1992848"/>
                  <a:gd name="connsiteY10" fmla="*/ 116153 h 2847771"/>
                  <a:gd name="connsiteX11" fmla="*/ 406100 w 1992848"/>
                  <a:gd name="connsiteY11" fmla="*/ 180636 h 2847771"/>
                  <a:gd name="connsiteX12" fmla="*/ 409165 w 1992848"/>
                  <a:gd name="connsiteY12" fmla="*/ 1496027 h 2847771"/>
                  <a:gd name="connsiteX13" fmla="*/ 407598 w 1992848"/>
                  <a:gd name="connsiteY13" fmla="*/ 1489435 h 2847771"/>
                  <a:gd name="connsiteX14" fmla="*/ 407517 w 1992848"/>
                  <a:gd name="connsiteY14" fmla="*/ 1502243 h 2847771"/>
                  <a:gd name="connsiteX15" fmla="*/ 464772 w 1992848"/>
                  <a:gd name="connsiteY15" fmla="*/ 1601413 h 2847771"/>
                  <a:gd name="connsiteX16" fmla="*/ 1965744 w 1992848"/>
                  <a:gd name="connsiteY16" fmla="*/ 2473331 h 2847771"/>
                  <a:gd name="connsiteX17" fmla="*/ 1966088 w 1992848"/>
                  <a:gd name="connsiteY17" fmla="*/ 2473723 h 2847771"/>
                  <a:gd name="connsiteX18" fmla="*/ 1988129 w 1992848"/>
                  <a:gd name="connsiteY18" fmla="*/ 2467536 h 2847771"/>
                  <a:gd name="connsiteX0" fmla="*/ 1988129 w 2060611"/>
                  <a:gd name="connsiteY0" fmla="*/ 2467536 h 2890886"/>
                  <a:gd name="connsiteX1" fmla="*/ 1799088 w 2060611"/>
                  <a:gd name="connsiteY1" fmla="*/ 2835578 h 2890886"/>
                  <a:gd name="connsiteX2" fmla="*/ 257741 w 2060611"/>
                  <a:gd name="connsiteY2" fmla="*/ 1952380 h 2890886"/>
                  <a:gd name="connsiteX3" fmla="*/ 66855 w 2060611"/>
                  <a:gd name="connsiteY3" fmla="*/ 1765040 h 2890886"/>
                  <a:gd name="connsiteX4" fmla="*/ 5085 w 2060611"/>
                  <a:gd name="connsiteY4" fmla="*/ 1563137 h 2890886"/>
                  <a:gd name="connsiteX5" fmla="*/ 117 w 2060611"/>
                  <a:gd name="connsiteY5" fmla="*/ 1506747 h 2890886"/>
                  <a:gd name="connsiteX6" fmla="*/ 0 w 2060611"/>
                  <a:gd name="connsiteY6" fmla="*/ 1506085 h 2890886"/>
                  <a:gd name="connsiteX7" fmla="*/ 5920 w 2060611"/>
                  <a:gd name="connsiteY7" fmla="*/ 121604 h 2890886"/>
                  <a:gd name="connsiteX8" fmla="*/ 9056 w 2060611"/>
                  <a:gd name="connsiteY8" fmla="*/ 92744 h 2890886"/>
                  <a:gd name="connsiteX9" fmla="*/ 206180 w 2060611"/>
                  <a:gd name="connsiteY9" fmla="*/ 0 h 2890886"/>
                  <a:gd name="connsiteX10" fmla="*/ 407391 w 2060611"/>
                  <a:gd name="connsiteY10" fmla="*/ 116153 h 2890886"/>
                  <a:gd name="connsiteX11" fmla="*/ 406100 w 2060611"/>
                  <a:gd name="connsiteY11" fmla="*/ 180636 h 2890886"/>
                  <a:gd name="connsiteX12" fmla="*/ 409165 w 2060611"/>
                  <a:gd name="connsiteY12" fmla="*/ 1496027 h 2890886"/>
                  <a:gd name="connsiteX13" fmla="*/ 407598 w 2060611"/>
                  <a:gd name="connsiteY13" fmla="*/ 1489435 h 2890886"/>
                  <a:gd name="connsiteX14" fmla="*/ 407517 w 2060611"/>
                  <a:gd name="connsiteY14" fmla="*/ 1502243 h 2890886"/>
                  <a:gd name="connsiteX15" fmla="*/ 464772 w 2060611"/>
                  <a:gd name="connsiteY15" fmla="*/ 1601413 h 2890886"/>
                  <a:gd name="connsiteX16" fmla="*/ 1965744 w 2060611"/>
                  <a:gd name="connsiteY16" fmla="*/ 2473331 h 2890886"/>
                  <a:gd name="connsiteX17" fmla="*/ 1966088 w 2060611"/>
                  <a:gd name="connsiteY17" fmla="*/ 2473723 h 2890886"/>
                  <a:gd name="connsiteX18" fmla="*/ 1988129 w 2060611"/>
                  <a:gd name="connsiteY18" fmla="*/ 2467536 h 2890886"/>
                  <a:gd name="connsiteX0" fmla="*/ 1988129 w 2060611"/>
                  <a:gd name="connsiteY0" fmla="*/ 2467536 h 2890886"/>
                  <a:gd name="connsiteX1" fmla="*/ 1799088 w 2060611"/>
                  <a:gd name="connsiteY1" fmla="*/ 2835578 h 2890886"/>
                  <a:gd name="connsiteX2" fmla="*/ 257741 w 2060611"/>
                  <a:gd name="connsiteY2" fmla="*/ 1952380 h 2890886"/>
                  <a:gd name="connsiteX3" fmla="*/ 66855 w 2060611"/>
                  <a:gd name="connsiteY3" fmla="*/ 1765040 h 2890886"/>
                  <a:gd name="connsiteX4" fmla="*/ 5085 w 2060611"/>
                  <a:gd name="connsiteY4" fmla="*/ 1563137 h 2890886"/>
                  <a:gd name="connsiteX5" fmla="*/ 117 w 2060611"/>
                  <a:gd name="connsiteY5" fmla="*/ 1506747 h 2890886"/>
                  <a:gd name="connsiteX6" fmla="*/ 0 w 2060611"/>
                  <a:gd name="connsiteY6" fmla="*/ 1506085 h 2890886"/>
                  <a:gd name="connsiteX7" fmla="*/ 5920 w 2060611"/>
                  <a:gd name="connsiteY7" fmla="*/ 121604 h 2890886"/>
                  <a:gd name="connsiteX8" fmla="*/ 9056 w 2060611"/>
                  <a:gd name="connsiteY8" fmla="*/ 92744 h 2890886"/>
                  <a:gd name="connsiteX9" fmla="*/ 206180 w 2060611"/>
                  <a:gd name="connsiteY9" fmla="*/ 0 h 2890886"/>
                  <a:gd name="connsiteX10" fmla="*/ 407391 w 2060611"/>
                  <a:gd name="connsiteY10" fmla="*/ 116153 h 2890886"/>
                  <a:gd name="connsiteX11" fmla="*/ 409165 w 2060611"/>
                  <a:gd name="connsiteY11" fmla="*/ 1496027 h 2890886"/>
                  <a:gd name="connsiteX12" fmla="*/ 407598 w 2060611"/>
                  <a:gd name="connsiteY12" fmla="*/ 1489435 h 2890886"/>
                  <a:gd name="connsiteX13" fmla="*/ 407517 w 2060611"/>
                  <a:gd name="connsiteY13" fmla="*/ 1502243 h 2890886"/>
                  <a:gd name="connsiteX14" fmla="*/ 464772 w 2060611"/>
                  <a:gd name="connsiteY14" fmla="*/ 1601413 h 2890886"/>
                  <a:gd name="connsiteX15" fmla="*/ 1965744 w 2060611"/>
                  <a:gd name="connsiteY15" fmla="*/ 2473331 h 2890886"/>
                  <a:gd name="connsiteX16" fmla="*/ 1966088 w 2060611"/>
                  <a:gd name="connsiteY16" fmla="*/ 2473723 h 2890886"/>
                  <a:gd name="connsiteX17" fmla="*/ 1988129 w 2060611"/>
                  <a:gd name="connsiteY17" fmla="*/ 2467536 h 2890886"/>
                  <a:gd name="connsiteX0" fmla="*/ 1988129 w 2060611"/>
                  <a:gd name="connsiteY0" fmla="*/ 2461991 h 2885341"/>
                  <a:gd name="connsiteX1" fmla="*/ 1799088 w 2060611"/>
                  <a:gd name="connsiteY1" fmla="*/ 2830033 h 2885341"/>
                  <a:gd name="connsiteX2" fmla="*/ 257741 w 2060611"/>
                  <a:gd name="connsiteY2" fmla="*/ 1946835 h 2885341"/>
                  <a:gd name="connsiteX3" fmla="*/ 66855 w 2060611"/>
                  <a:gd name="connsiteY3" fmla="*/ 1759495 h 2885341"/>
                  <a:gd name="connsiteX4" fmla="*/ 5085 w 2060611"/>
                  <a:gd name="connsiteY4" fmla="*/ 1557592 h 2885341"/>
                  <a:gd name="connsiteX5" fmla="*/ 117 w 2060611"/>
                  <a:gd name="connsiteY5" fmla="*/ 1501202 h 2885341"/>
                  <a:gd name="connsiteX6" fmla="*/ 0 w 2060611"/>
                  <a:gd name="connsiteY6" fmla="*/ 1500540 h 2885341"/>
                  <a:gd name="connsiteX7" fmla="*/ 5920 w 2060611"/>
                  <a:gd name="connsiteY7" fmla="*/ 116059 h 2885341"/>
                  <a:gd name="connsiteX8" fmla="*/ 9056 w 2060611"/>
                  <a:gd name="connsiteY8" fmla="*/ 87199 h 2885341"/>
                  <a:gd name="connsiteX9" fmla="*/ 407391 w 2060611"/>
                  <a:gd name="connsiteY9" fmla="*/ 110608 h 2885341"/>
                  <a:gd name="connsiteX10" fmla="*/ 409165 w 2060611"/>
                  <a:gd name="connsiteY10" fmla="*/ 1490482 h 2885341"/>
                  <a:gd name="connsiteX11" fmla="*/ 407598 w 2060611"/>
                  <a:gd name="connsiteY11" fmla="*/ 1483890 h 2885341"/>
                  <a:gd name="connsiteX12" fmla="*/ 407517 w 2060611"/>
                  <a:gd name="connsiteY12" fmla="*/ 1496698 h 2885341"/>
                  <a:gd name="connsiteX13" fmla="*/ 464772 w 2060611"/>
                  <a:gd name="connsiteY13" fmla="*/ 1595868 h 2885341"/>
                  <a:gd name="connsiteX14" fmla="*/ 1965744 w 2060611"/>
                  <a:gd name="connsiteY14" fmla="*/ 2467786 h 2885341"/>
                  <a:gd name="connsiteX15" fmla="*/ 1966088 w 2060611"/>
                  <a:gd name="connsiteY15" fmla="*/ 2468178 h 2885341"/>
                  <a:gd name="connsiteX16" fmla="*/ 1988129 w 2060611"/>
                  <a:gd name="connsiteY16" fmla="*/ 2461991 h 2885341"/>
                  <a:gd name="connsiteX0" fmla="*/ 1988129 w 2060611"/>
                  <a:gd name="connsiteY0" fmla="*/ 2351383 h 2774733"/>
                  <a:gd name="connsiteX1" fmla="*/ 1799088 w 2060611"/>
                  <a:gd name="connsiteY1" fmla="*/ 2719425 h 2774733"/>
                  <a:gd name="connsiteX2" fmla="*/ 257741 w 2060611"/>
                  <a:gd name="connsiteY2" fmla="*/ 1836227 h 2774733"/>
                  <a:gd name="connsiteX3" fmla="*/ 66855 w 2060611"/>
                  <a:gd name="connsiteY3" fmla="*/ 1648887 h 2774733"/>
                  <a:gd name="connsiteX4" fmla="*/ 5085 w 2060611"/>
                  <a:gd name="connsiteY4" fmla="*/ 1446984 h 2774733"/>
                  <a:gd name="connsiteX5" fmla="*/ 117 w 2060611"/>
                  <a:gd name="connsiteY5" fmla="*/ 1390594 h 2774733"/>
                  <a:gd name="connsiteX6" fmla="*/ 0 w 2060611"/>
                  <a:gd name="connsiteY6" fmla="*/ 1389932 h 2774733"/>
                  <a:gd name="connsiteX7" fmla="*/ 5920 w 2060611"/>
                  <a:gd name="connsiteY7" fmla="*/ 5451 h 2774733"/>
                  <a:gd name="connsiteX8" fmla="*/ 407391 w 2060611"/>
                  <a:gd name="connsiteY8" fmla="*/ 0 h 2774733"/>
                  <a:gd name="connsiteX9" fmla="*/ 409165 w 2060611"/>
                  <a:gd name="connsiteY9" fmla="*/ 1379874 h 2774733"/>
                  <a:gd name="connsiteX10" fmla="*/ 407598 w 2060611"/>
                  <a:gd name="connsiteY10" fmla="*/ 1373282 h 2774733"/>
                  <a:gd name="connsiteX11" fmla="*/ 407517 w 2060611"/>
                  <a:gd name="connsiteY11" fmla="*/ 1386090 h 2774733"/>
                  <a:gd name="connsiteX12" fmla="*/ 464772 w 2060611"/>
                  <a:gd name="connsiteY12" fmla="*/ 1485260 h 2774733"/>
                  <a:gd name="connsiteX13" fmla="*/ 1965744 w 2060611"/>
                  <a:gd name="connsiteY13" fmla="*/ 2357178 h 2774733"/>
                  <a:gd name="connsiteX14" fmla="*/ 1966088 w 2060611"/>
                  <a:gd name="connsiteY14" fmla="*/ 2357570 h 2774733"/>
                  <a:gd name="connsiteX15" fmla="*/ 1988129 w 2060611"/>
                  <a:gd name="connsiteY15" fmla="*/ 2351383 h 2774733"/>
                  <a:gd name="connsiteX0" fmla="*/ 1988129 w 2060611"/>
                  <a:gd name="connsiteY0" fmla="*/ 2351383 h 2774733"/>
                  <a:gd name="connsiteX1" fmla="*/ 1799088 w 2060611"/>
                  <a:gd name="connsiteY1" fmla="*/ 2719425 h 2774733"/>
                  <a:gd name="connsiteX2" fmla="*/ 257741 w 2060611"/>
                  <a:gd name="connsiteY2" fmla="*/ 1836227 h 2774733"/>
                  <a:gd name="connsiteX3" fmla="*/ 66855 w 2060611"/>
                  <a:gd name="connsiteY3" fmla="*/ 1648887 h 2774733"/>
                  <a:gd name="connsiteX4" fmla="*/ 5085 w 2060611"/>
                  <a:gd name="connsiteY4" fmla="*/ 1446984 h 2774733"/>
                  <a:gd name="connsiteX5" fmla="*/ 117 w 2060611"/>
                  <a:gd name="connsiteY5" fmla="*/ 1390594 h 2774733"/>
                  <a:gd name="connsiteX6" fmla="*/ 0 w 2060611"/>
                  <a:gd name="connsiteY6" fmla="*/ 1389932 h 2774733"/>
                  <a:gd name="connsiteX7" fmla="*/ 407391 w 2060611"/>
                  <a:gd name="connsiteY7" fmla="*/ 0 h 2774733"/>
                  <a:gd name="connsiteX8" fmla="*/ 409165 w 2060611"/>
                  <a:gd name="connsiteY8" fmla="*/ 1379874 h 2774733"/>
                  <a:gd name="connsiteX9" fmla="*/ 407598 w 2060611"/>
                  <a:gd name="connsiteY9" fmla="*/ 1373282 h 2774733"/>
                  <a:gd name="connsiteX10" fmla="*/ 407517 w 2060611"/>
                  <a:gd name="connsiteY10" fmla="*/ 1386090 h 2774733"/>
                  <a:gd name="connsiteX11" fmla="*/ 464772 w 2060611"/>
                  <a:gd name="connsiteY11" fmla="*/ 1485260 h 2774733"/>
                  <a:gd name="connsiteX12" fmla="*/ 1965744 w 2060611"/>
                  <a:gd name="connsiteY12" fmla="*/ 2357178 h 2774733"/>
                  <a:gd name="connsiteX13" fmla="*/ 1966088 w 2060611"/>
                  <a:gd name="connsiteY13" fmla="*/ 2357570 h 2774733"/>
                  <a:gd name="connsiteX14" fmla="*/ 1988129 w 2060611"/>
                  <a:gd name="connsiteY14" fmla="*/ 2351383 h 2774733"/>
                  <a:gd name="connsiteX0" fmla="*/ 1988129 w 2060611"/>
                  <a:gd name="connsiteY0" fmla="*/ 978101 h 1401451"/>
                  <a:gd name="connsiteX1" fmla="*/ 1799088 w 2060611"/>
                  <a:gd name="connsiteY1" fmla="*/ 1346143 h 1401451"/>
                  <a:gd name="connsiteX2" fmla="*/ 257741 w 2060611"/>
                  <a:gd name="connsiteY2" fmla="*/ 462945 h 1401451"/>
                  <a:gd name="connsiteX3" fmla="*/ 66855 w 2060611"/>
                  <a:gd name="connsiteY3" fmla="*/ 275605 h 1401451"/>
                  <a:gd name="connsiteX4" fmla="*/ 5085 w 2060611"/>
                  <a:gd name="connsiteY4" fmla="*/ 73702 h 1401451"/>
                  <a:gd name="connsiteX5" fmla="*/ 117 w 2060611"/>
                  <a:gd name="connsiteY5" fmla="*/ 17312 h 1401451"/>
                  <a:gd name="connsiteX6" fmla="*/ 0 w 2060611"/>
                  <a:gd name="connsiteY6" fmla="*/ 16650 h 1401451"/>
                  <a:gd name="connsiteX7" fmla="*/ 409165 w 2060611"/>
                  <a:gd name="connsiteY7" fmla="*/ 6592 h 1401451"/>
                  <a:gd name="connsiteX8" fmla="*/ 407598 w 2060611"/>
                  <a:gd name="connsiteY8" fmla="*/ 0 h 1401451"/>
                  <a:gd name="connsiteX9" fmla="*/ 407517 w 2060611"/>
                  <a:gd name="connsiteY9" fmla="*/ 12808 h 1401451"/>
                  <a:gd name="connsiteX10" fmla="*/ 464772 w 2060611"/>
                  <a:gd name="connsiteY10" fmla="*/ 111978 h 1401451"/>
                  <a:gd name="connsiteX11" fmla="*/ 1965744 w 2060611"/>
                  <a:gd name="connsiteY11" fmla="*/ 983896 h 1401451"/>
                  <a:gd name="connsiteX12" fmla="*/ 1966088 w 2060611"/>
                  <a:gd name="connsiteY12" fmla="*/ 984288 h 1401451"/>
                  <a:gd name="connsiteX13" fmla="*/ 1988129 w 2060611"/>
                  <a:gd name="connsiteY13" fmla="*/ 978101 h 1401451"/>
                  <a:gd name="connsiteX0" fmla="*/ 1988129 w 2060611"/>
                  <a:gd name="connsiteY0" fmla="*/ 978336 h 1401686"/>
                  <a:gd name="connsiteX1" fmla="*/ 1799088 w 2060611"/>
                  <a:gd name="connsiteY1" fmla="*/ 1346378 h 1401686"/>
                  <a:gd name="connsiteX2" fmla="*/ 257741 w 2060611"/>
                  <a:gd name="connsiteY2" fmla="*/ 463180 h 1401686"/>
                  <a:gd name="connsiteX3" fmla="*/ 66855 w 2060611"/>
                  <a:gd name="connsiteY3" fmla="*/ 275840 h 1401686"/>
                  <a:gd name="connsiteX4" fmla="*/ 5085 w 2060611"/>
                  <a:gd name="connsiteY4" fmla="*/ 73937 h 1401686"/>
                  <a:gd name="connsiteX5" fmla="*/ 117 w 2060611"/>
                  <a:gd name="connsiteY5" fmla="*/ 17547 h 1401686"/>
                  <a:gd name="connsiteX6" fmla="*/ 0 w 2060611"/>
                  <a:gd name="connsiteY6" fmla="*/ 16885 h 1401686"/>
                  <a:gd name="connsiteX7" fmla="*/ 409165 w 2060611"/>
                  <a:gd name="connsiteY7" fmla="*/ 6827 h 1401686"/>
                  <a:gd name="connsiteX8" fmla="*/ 407598 w 2060611"/>
                  <a:gd name="connsiteY8" fmla="*/ 235 h 1401686"/>
                  <a:gd name="connsiteX9" fmla="*/ 464772 w 2060611"/>
                  <a:gd name="connsiteY9" fmla="*/ 112213 h 1401686"/>
                  <a:gd name="connsiteX10" fmla="*/ 1965744 w 2060611"/>
                  <a:gd name="connsiteY10" fmla="*/ 984131 h 1401686"/>
                  <a:gd name="connsiteX11" fmla="*/ 1966088 w 2060611"/>
                  <a:gd name="connsiteY11" fmla="*/ 984523 h 1401686"/>
                  <a:gd name="connsiteX12" fmla="*/ 1988129 w 2060611"/>
                  <a:gd name="connsiteY12" fmla="*/ 978336 h 1401686"/>
                  <a:gd name="connsiteX0" fmla="*/ 1988129 w 2060611"/>
                  <a:gd name="connsiteY0" fmla="*/ 971509 h 1394859"/>
                  <a:gd name="connsiteX1" fmla="*/ 1799088 w 2060611"/>
                  <a:gd name="connsiteY1" fmla="*/ 1339551 h 1394859"/>
                  <a:gd name="connsiteX2" fmla="*/ 257741 w 2060611"/>
                  <a:gd name="connsiteY2" fmla="*/ 456353 h 1394859"/>
                  <a:gd name="connsiteX3" fmla="*/ 66855 w 2060611"/>
                  <a:gd name="connsiteY3" fmla="*/ 269013 h 1394859"/>
                  <a:gd name="connsiteX4" fmla="*/ 5085 w 2060611"/>
                  <a:gd name="connsiteY4" fmla="*/ 67110 h 1394859"/>
                  <a:gd name="connsiteX5" fmla="*/ 117 w 2060611"/>
                  <a:gd name="connsiteY5" fmla="*/ 10720 h 1394859"/>
                  <a:gd name="connsiteX6" fmla="*/ 0 w 2060611"/>
                  <a:gd name="connsiteY6" fmla="*/ 10058 h 1394859"/>
                  <a:gd name="connsiteX7" fmla="*/ 409165 w 2060611"/>
                  <a:gd name="connsiteY7" fmla="*/ 0 h 1394859"/>
                  <a:gd name="connsiteX8" fmla="*/ 464772 w 2060611"/>
                  <a:gd name="connsiteY8" fmla="*/ 105386 h 1394859"/>
                  <a:gd name="connsiteX9" fmla="*/ 1965744 w 2060611"/>
                  <a:gd name="connsiteY9" fmla="*/ 977304 h 1394859"/>
                  <a:gd name="connsiteX10" fmla="*/ 1966088 w 2060611"/>
                  <a:gd name="connsiteY10" fmla="*/ 977696 h 1394859"/>
                  <a:gd name="connsiteX11" fmla="*/ 1988129 w 2060611"/>
                  <a:gd name="connsiteY11" fmla="*/ 971509 h 1394859"/>
                  <a:gd name="connsiteX0" fmla="*/ 1988129 w 2060611"/>
                  <a:gd name="connsiteY0" fmla="*/ 961451 h 1384801"/>
                  <a:gd name="connsiteX1" fmla="*/ 1799088 w 2060611"/>
                  <a:gd name="connsiteY1" fmla="*/ 1329493 h 1384801"/>
                  <a:gd name="connsiteX2" fmla="*/ 257741 w 2060611"/>
                  <a:gd name="connsiteY2" fmla="*/ 446295 h 1384801"/>
                  <a:gd name="connsiteX3" fmla="*/ 66855 w 2060611"/>
                  <a:gd name="connsiteY3" fmla="*/ 258955 h 1384801"/>
                  <a:gd name="connsiteX4" fmla="*/ 5085 w 2060611"/>
                  <a:gd name="connsiteY4" fmla="*/ 57052 h 1384801"/>
                  <a:gd name="connsiteX5" fmla="*/ 117 w 2060611"/>
                  <a:gd name="connsiteY5" fmla="*/ 662 h 1384801"/>
                  <a:gd name="connsiteX6" fmla="*/ 0 w 2060611"/>
                  <a:gd name="connsiteY6" fmla="*/ 0 h 1384801"/>
                  <a:gd name="connsiteX7" fmla="*/ 464772 w 2060611"/>
                  <a:gd name="connsiteY7" fmla="*/ 95328 h 1384801"/>
                  <a:gd name="connsiteX8" fmla="*/ 1965744 w 2060611"/>
                  <a:gd name="connsiteY8" fmla="*/ 967246 h 1384801"/>
                  <a:gd name="connsiteX9" fmla="*/ 1966088 w 2060611"/>
                  <a:gd name="connsiteY9" fmla="*/ 967638 h 1384801"/>
                  <a:gd name="connsiteX10" fmla="*/ 1988129 w 2060611"/>
                  <a:gd name="connsiteY10" fmla="*/ 961451 h 1384801"/>
                  <a:gd name="connsiteX0" fmla="*/ 1988012 w 2060494"/>
                  <a:gd name="connsiteY0" fmla="*/ 971780 h 1395130"/>
                  <a:gd name="connsiteX1" fmla="*/ 1798971 w 2060494"/>
                  <a:gd name="connsiteY1" fmla="*/ 1339822 h 1395130"/>
                  <a:gd name="connsiteX2" fmla="*/ 257624 w 2060494"/>
                  <a:gd name="connsiteY2" fmla="*/ 456624 h 1395130"/>
                  <a:gd name="connsiteX3" fmla="*/ 66738 w 2060494"/>
                  <a:gd name="connsiteY3" fmla="*/ 269284 h 1395130"/>
                  <a:gd name="connsiteX4" fmla="*/ 4968 w 2060494"/>
                  <a:gd name="connsiteY4" fmla="*/ 67381 h 1395130"/>
                  <a:gd name="connsiteX5" fmla="*/ 0 w 2060494"/>
                  <a:gd name="connsiteY5" fmla="*/ 10991 h 1395130"/>
                  <a:gd name="connsiteX6" fmla="*/ 464655 w 2060494"/>
                  <a:gd name="connsiteY6" fmla="*/ 105657 h 1395130"/>
                  <a:gd name="connsiteX7" fmla="*/ 1965627 w 2060494"/>
                  <a:gd name="connsiteY7" fmla="*/ 977575 h 1395130"/>
                  <a:gd name="connsiteX8" fmla="*/ 1965971 w 2060494"/>
                  <a:gd name="connsiteY8" fmla="*/ 977967 h 1395130"/>
                  <a:gd name="connsiteX9" fmla="*/ 1988012 w 2060494"/>
                  <a:gd name="connsiteY9" fmla="*/ 971780 h 1395130"/>
                  <a:gd name="connsiteX0" fmla="*/ 2148032 w 2148764"/>
                  <a:gd name="connsiteY0" fmla="*/ 1078460 h 1405094"/>
                  <a:gd name="connsiteX1" fmla="*/ 1798971 w 2148764"/>
                  <a:gd name="connsiteY1" fmla="*/ 1339822 h 1405094"/>
                  <a:gd name="connsiteX2" fmla="*/ 257624 w 2148764"/>
                  <a:gd name="connsiteY2" fmla="*/ 456624 h 1405094"/>
                  <a:gd name="connsiteX3" fmla="*/ 66738 w 2148764"/>
                  <a:gd name="connsiteY3" fmla="*/ 269284 h 1405094"/>
                  <a:gd name="connsiteX4" fmla="*/ 4968 w 2148764"/>
                  <a:gd name="connsiteY4" fmla="*/ 67381 h 1405094"/>
                  <a:gd name="connsiteX5" fmla="*/ 0 w 2148764"/>
                  <a:gd name="connsiteY5" fmla="*/ 10991 h 1405094"/>
                  <a:gd name="connsiteX6" fmla="*/ 464655 w 2148764"/>
                  <a:gd name="connsiteY6" fmla="*/ 105657 h 1405094"/>
                  <a:gd name="connsiteX7" fmla="*/ 1965627 w 2148764"/>
                  <a:gd name="connsiteY7" fmla="*/ 977575 h 1405094"/>
                  <a:gd name="connsiteX8" fmla="*/ 1965971 w 2148764"/>
                  <a:gd name="connsiteY8" fmla="*/ 977967 h 1405094"/>
                  <a:gd name="connsiteX9" fmla="*/ 2148032 w 2148764"/>
                  <a:gd name="connsiteY9" fmla="*/ 1078460 h 1405094"/>
                  <a:gd name="connsiteX0" fmla="*/ 2125172 w 2132683"/>
                  <a:gd name="connsiteY0" fmla="*/ 926060 h 1391724"/>
                  <a:gd name="connsiteX1" fmla="*/ 1798971 w 2132683"/>
                  <a:gd name="connsiteY1" fmla="*/ 1339822 h 1391724"/>
                  <a:gd name="connsiteX2" fmla="*/ 257624 w 2132683"/>
                  <a:gd name="connsiteY2" fmla="*/ 456624 h 1391724"/>
                  <a:gd name="connsiteX3" fmla="*/ 66738 w 2132683"/>
                  <a:gd name="connsiteY3" fmla="*/ 269284 h 1391724"/>
                  <a:gd name="connsiteX4" fmla="*/ 4968 w 2132683"/>
                  <a:gd name="connsiteY4" fmla="*/ 67381 h 1391724"/>
                  <a:gd name="connsiteX5" fmla="*/ 0 w 2132683"/>
                  <a:gd name="connsiteY5" fmla="*/ 10991 h 1391724"/>
                  <a:gd name="connsiteX6" fmla="*/ 464655 w 2132683"/>
                  <a:gd name="connsiteY6" fmla="*/ 105657 h 1391724"/>
                  <a:gd name="connsiteX7" fmla="*/ 1965627 w 2132683"/>
                  <a:gd name="connsiteY7" fmla="*/ 977575 h 1391724"/>
                  <a:gd name="connsiteX8" fmla="*/ 1965971 w 2132683"/>
                  <a:gd name="connsiteY8" fmla="*/ 977967 h 1391724"/>
                  <a:gd name="connsiteX9" fmla="*/ 2125172 w 2132683"/>
                  <a:gd name="connsiteY9" fmla="*/ 926060 h 1391724"/>
                  <a:gd name="connsiteX0" fmla="*/ 2125172 w 2132683"/>
                  <a:gd name="connsiteY0" fmla="*/ 926060 h 1391724"/>
                  <a:gd name="connsiteX1" fmla="*/ 1798971 w 2132683"/>
                  <a:gd name="connsiteY1" fmla="*/ 1339822 h 1391724"/>
                  <a:gd name="connsiteX2" fmla="*/ 257624 w 2132683"/>
                  <a:gd name="connsiteY2" fmla="*/ 456624 h 1391724"/>
                  <a:gd name="connsiteX3" fmla="*/ 66738 w 2132683"/>
                  <a:gd name="connsiteY3" fmla="*/ 269284 h 1391724"/>
                  <a:gd name="connsiteX4" fmla="*/ 4968 w 2132683"/>
                  <a:gd name="connsiteY4" fmla="*/ 67381 h 1391724"/>
                  <a:gd name="connsiteX5" fmla="*/ 0 w 2132683"/>
                  <a:gd name="connsiteY5" fmla="*/ 10991 h 1391724"/>
                  <a:gd name="connsiteX6" fmla="*/ 464655 w 2132683"/>
                  <a:gd name="connsiteY6" fmla="*/ 105657 h 1391724"/>
                  <a:gd name="connsiteX7" fmla="*/ 1965627 w 2132683"/>
                  <a:gd name="connsiteY7" fmla="*/ 977575 h 1391724"/>
                  <a:gd name="connsiteX8" fmla="*/ 1965971 w 2132683"/>
                  <a:gd name="connsiteY8" fmla="*/ 977967 h 1391724"/>
                  <a:gd name="connsiteX9" fmla="*/ 2125172 w 2132683"/>
                  <a:gd name="connsiteY9" fmla="*/ 926060 h 1391724"/>
                  <a:gd name="connsiteX0" fmla="*/ 2041829 w 2084801"/>
                  <a:gd name="connsiteY0" fmla="*/ 904629 h 1390266"/>
                  <a:gd name="connsiteX1" fmla="*/ 1798971 w 2084801"/>
                  <a:gd name="connsiteY1" fmla="*/ 1339822 h 1390266"/>
                  <a:gd name="connsiteX2" fmla="*/ 257624 w 2084801"/>
                  <a:gd name="connsiteY2" fmla="*/ 456624 h 1390266"/>
                  <a:gd name="connsiteX3" fmla="*/ 66738 w 2084801"/>
                  <a:gd name="connsiteY3" fmla="*/ 269284 h 1390266"/>
                  <a:gd name="connsiteX4" fmla="*/ 4968 w 2084801"/>
                  <a:gd name="connsiteY4" fmla="*/ 67381 h 1390266"/>
                  <a:gd name="connsiteX5" fmla="*/ 0 w 2084801"/>
                  <a:gd name="connsiteY5" fmla="*/ 10991 h 1390266"/>
                  <a:gd name="connsiteX6" fmla="*/ 464655 w 2084801"/>
                  <a:gd name="connsiteY6" fmla="*/ 105657 h 1390266"/>
                  <a:gd name="connsiteX7" fmla="*/ 1965627 w 2084801"/>
                  <a:gd name="connsiteY7" fmla="*/ 977575 h 1390266"/>
                  <a:gd name="connsiteX8" fmla="*/ 1965971 w 2084801"/>
                  <a:gd name="connsiteY8" fmla="*/ 977967 h 1390266"/>
                  <a:gd name="connsiteX9" fmla="*/ 2041829 w 2084801"/>
                  <a:gd name="connsiteY9" fmla="*/ 904629 h 1390266"/>
                  <a:gd name="connsiteX0" fmla="*/ 2041829 w 2084801"/>
                  <a:gd name="connsiteY0" fmla="*/ 904629 h 1390266"/>
                  <a:gd name="connsiteX1" fmla="*/ 1798971 w 2084801"/>
                  <a:gd name="connsiteY1" fmla="*/ 1339822 h 1390266"/>
                  <a:gd name="connsiteX2" fmla="*/ 257624 w 2084801"/>
                  <a:gd name="connsiteY2" fmla="*/ 456624 h 1390266"/>
                  <a:gd name="connsiteX3" fmla="*/ 66738 w 2084801"/>
                  <a:gd name="connsiteY3" fmla="*/ 269284 h 1390266"/>
                  <a:gd name="connsiteX4" fmla="*/ 4968 w 2084801"/>
                  <a:gd name="connsiteY4" fmla="*/ 67381 h 1390266"/>
                  <a:gd name="connsiteX5" fmla="*/ 0 w 2084801"/>
                  <a:gd name="connsiteY5" fmla="*/ 10991 h 1390266"/>
                  <a:gd name="connsiteX6" fmla="*/ 464655 w 2084801"/>
                  <a:gd name="connsiteY6" fmla="*/ 105657 h 1390266"/>
                  <a:gd name="connsiteX7" fmla="*/ 1965627 w 2084801"/>
                  <a:gd name="connsiteY7" fmla="*/ 977575 h 1390266"/>
                  <a:gd name="connsiteX8" fmla="*/ 1965971 w 2084801"/>
                  <a:gd name="connsiteY8" fmla="*/ 977967 h 1390266"/>
                  <a:gd name="connsiteX9" fmla="*/ 2041829 w 2084801"/>
                  <a:gd name="connsiteY9" fmla="*/ 904629 h 1390266"/>
                  <a:gd name="connsiteX0" fmla="*/ 2032304 w 2080180"/>
                  <a:gd name="connsiteY0" fmla="*/ 930823 h 1392059"/>
                  <a:gd name="connsiteX1" fmla="*/ 1798971 w 2080180"/>
                  <a:gd name="connsiteY1" fmla="*/ 1339822 h 1392059"/>
                  <a:gd name="connsiteX2" fmla="*/ 257624 w 2080180"/>
                  <a:gd name="connsiteY2" fmla="*/ 456624 h 1392059"/>
                  <a:gd name="connsiteX3" fmla="*/ 66738 w 2080180"/>
                  <a:gd name="connsiteY3" fmla="*/ 269284 h 1392059"/>
                  <a:gd name="connsiteX4" fmla="*/ 4968 w 2080180"/>
                  <a:gd name="connsiteY4" fmla="*/ 67381 h 1392059"/>
                  <a:gd name="connsiteX5" fmla="*/ 0 w 2080180"/>
                  <a:gd name="connsiteY5" fmla="*/ 10991 h 1392059"/>
                  <a:gd name="connsiteX6" fmla="*/ 464655 w 2080180"/>
                  <a:gd name="connsiteY6" fmla="*/ 105657 h 1392059"/>
                  <a:gd name="connsiteX7" fmla="*/ 1965627 w 2080180"/>
                  <a:gd name="connsiteY7" fmla="*/ 977575 h 1392059"/>
                  <a:gd name="connsiteX8" fmla="*/ 1965971 w 2080180"/>
                  <a:gd name="connsiteY8" fmla="*/ 977967 h 1392059"/>
                  <a:gd name="connsiteX9" fmla="*/ 2032304 w 2080180"/>
                  <a:gd name="connsiteY9" fmla="*/ 930823 h 1392059"/>
                  <a:gd name="connsiteX0" fmla="*/ 2032304 w 2082788"/>
                  <a:gd name="connsiteY0" fmla="*/ 930823 h 1390071"/>
                  <a:gd name="connsiteX1" fmla="*/ 1798971 w 2082788"/>
                  <a:gd name="connsiteY1" fmla="*/ 1339822 h 1390071"/>
                  <a:gd name="connsiteX2" fmla="*/ 257624 w 2082788"/>
                  <a:gd name="connsiteY2" fmla="*/ 456624 h 1390071"/>
                  <a:gd name="connsiteX3" fmla="*/ 66738 w 2082788"/>
                  <a:gd name="connsiteY3" fmla="*/ 269284 h 1390071"/>
                  <a:gd name="connsiteX4" fmla="*/ 4968 w 2082788"/>
                  <a:gd name="connsiteY4" fmla="*/ 67381 h 1390071"/>
                  <a:gd name="connsiteX5" fmla="*/ 0 w 2082788"/>
                  <a:gd name="connsiteY5" fmla="*/ 10991 h 1390071"/>
                  <a:gd name="connsiteX6" fmla="*/ 464655 w 2082788"/>
                  <a:gd name="connsiteY6" fmla="*/ 105657 h 1390071"/>
                  <a:gd name="connsiteX7" fmla="*/ 1965627 w 2082788"/>
                  <a:gd name="connsiteY7" fmla="*/ 977575 h 1390071"/>
                  <a:gd name="connsiteX8" fmla="*/ 1965971 w 2082788"/>
                  <a:gd name="connsiteY8" fmla="*/ 977967 h 1390071"/>
                  <a:gd name="connsiteX9" fmla="*/ 2032304 w 2082788"/>
                  <a:gd name="connsiteY9" fmla="*/ 930823 h 1390071"/>
                  <a:gd name="connsiteX0" fmla="*/ 2032304 w 2082788"/>
                  <a:gd name="connsiteY0" fmla="*/ 930823 h 1390071"/>
                  <a:gd name="connsiteX1" fmla="*/ 1798971 w 2082788"/>
                  <a:gd name="connsiteY1" fmla="*/ 1339822 h 1390071"/>
                  <a:gd name="connsiteX2" fmla="*/ 257624 w 2082788"/>
                  <a:gd name="connsiteY2" fmla="*/ 456624 h 1390071"/>
                  <a:gd name="connsiteX3" fmla="*/ 66738 w 2082788"/>
                  <a:gd name="connsiteY3" fmla="*/ 269284 h 1390071"/>
                  <a:gd name="connsiteX4" fmla="*/ 4968 w 2082788"/>
                  <a:gd name="connsiteY4" fmla="*/ 67381 h 1390071"/>
                  <a:gd name="connsiteX5" fmla="*/ 0 w 2082788"/>
                  <a:gd name="connsiteY5" fmla="*/ 10991 h 1390071"/>
                  <a:gd name="connsiteX6" fmla="*/ 464655 w 2082788"/>
                  <a:gd name="connsiteY6" fmla="*/ 105657 h 1390071"/>
                  <a:gd name="connsiteX7" fmla="*/ 1965627 w 2082788"/>
                  <a:gd name="connsiteY7" fmla="*/ 977575 h 1390071"/>
                  <a:gd name="connsiteX8" fmla="*/ 1965971 w 2082788"/>
                  <a:gd name="connsiteY8" fmla="*/ 977967 h 1390071"/>
                  <a:gd name="connsiteX9" fmla="*/ 2032304 w 2082788"/>
                  <a:gd name="connsiteY9" fmla="*/ 930823 h 1390071"/>
                  <a:gd name="connsiteX0" fmla="*/ 2032304 w 2182712"/>
                  <a:gd name="connsiteY0" fmla="*/ 930823 h 1394196"/>
                  <a:gd name="connsiteX1" fmla="*/ 1798971 w 2182712"/>
                  <a:gd name="connsiteY1" fmla="*/ 1339822 h 1394196"/>
                  <a:gd name="connsiteX2" fmla="*/ 257624 w 2182712"/>
                  <a:gd name="connsiteY2" fmla="*/ 456624 h 1394196"/>
                  <a:gd name="connsiteX3" fmla="*/ 66738 w 2182712"/>
                  <a:gd name="connsiteY3" fmla="*/ 269284 h 1394196"/>
                  <a:gd name="connsiteX4" fmla="*/ 4968 w 2182712"/>
                  <a:gd name="connsiteY4" fmla="*/ 67381 h 1394196"/>
                  <a:gd name="connsiteX5" fmla="*/ 0 w 2182712"/>
                  <a:gd name="connsiteY5" fmla="*/ 10991 h 1394196"/>
                  <a:gd name="connsiteX6" fmla="*/ 464655 w 2182712"/>
                  <a:gd name="connsiteY6" fmla="*/ 105657 h 1394196"/>
                  <a:gd name="connsiteX7" fmla="*/ 1965627 w 2182712"/>
                  <a:gd name="connsiteY7" fmla="*/ 977575 h 1394196"/>
                  <a:gd name="connsiteX8" fmla="*/ 1965971 w 2182712"/>
                  <a:gd name="connsiteY8" fmla="*/ 977967 h 1394196"/>
                  <a:gd name="connsiteX9" fmla="*/ 2032304 w 2182712"/>
                  <a:gd name="connsiteY9" fmla="*/ 930823 h 1394196"/>
                  <a:gd name="connsiteX0" fmla="*/ 2032304 w 2182712"/>
                  <a:gd name="connsiteY0" fmla="*/ 930823 h 1394196"/>
                  <a:gd name="connsiteX1" fmla="*/ 1798971 w 2182712"/>
                  <a:gd name="connsiteY1" fmla="*/ 1339822 h 1394196"/>
                  <a:gd name="connsiteX2" fmla="*/ 257624 w 2182712"/>
                  <a:gd name="connsiteY2" fmla="*/ 456624 h 1394196"/>
                  <a:gd name="connsiteX3" fmla="*/ 66738 w 2182712"/>
                  <a:gd name="connsiteY3" fmla="*/ 269284 h 1394196"/>
                  <a:gd name="connsiteX4" fmla="*/ 4968 w 2182712"/>
                  <a:gd name="connsiteY4" fmla="*/ 67381 h 1394196"/>
                  <a:gd name="connsiteX5" fmla="*/ 0 w 2182712"/>
                  <a:gd name="connsiteY5" fmla="*/ 10991 h 1394196"/>
                  <a:gd name="connsiteX6" fmla="*/ 464655 w 2182712"/>
                  <a:gd name="connsiteY6" fmla="*/ 105657 h 1394196"/>
                  <a:gd name="connsiteX7" fmla="*/ 1965627 w 2182712"/>
                  <a:gd name="connsiteY7" fmla="*/ 977575 h 1394196"/>
                  <a:gd name="connsiteX8" fmla="*/ 1965971 w 2182712"/>
                  <a:gd name="connsiteY8" fmla="*/ 977967 h 1394196"/>
                  <a:gd name="connsiteX9" fmla="*/ 2032304 w 2182712"/>
                  <a:gd name="connsiteY9" fmla="*/ 930823 h 1394196"/>
                  <a:gd name="connsiteX0" fmla="*/ 2032304 w 2182712"/>
                  <a:gd name="connsiteY0" fmla="*/ 930823 h 1394196"/>
                  <a:gd name="connsiteX1" fmla="*/ 1798971 w 2182712"/>
                  <a:gd name="connsiteY1" fmla="*/ 1339822 h 1394196"/>
                  <a:gd name="connsiteX2" fmla="*/ 257624 w 2182712"/>
                  <a:gd name="connsiteY2" fmla="*/ 456624 h 1394196"/>
                  <a:gd name="connsiteX3" fmla="*/ 66738 w 2182712"/>
                  <a:gd name="connsiteY3" fmla="*/ 269284 h 1394196"/>
                  <a:gd name="connsiteX4" fmla="*/ 4968 w 2182712"/>
                  <a:gd name="connsiteY4" fmla="*/ 67381 h 1394196"/>
                  <a:gd name="connsiteX5" fmla="*/ 0 w 2182712"/>
                  <a:gd name="connsiteY5" fmla="*/ 10991 h 1394196"/>
                  <a:gd name="connsiteX6" fmla="*/ 464655 w 2182712"/>
                  <a:gd name="connsiteY6" fmla="*/ 105657 h 1394196"/>
                  <a:gd name="connsiteX7" fmla="*/ 1965627 w 2182712"/>
                  <a:gd name="connsiteY7" fmla="*/ 977575 h 1394196"/>
                  <a:gd name="connsiteX8" fmla="*/ 1965971 w 2182712"/>
                  <a:gd name="connsiteY8" fmla="*/ 977967 h 1394196"/>
                  <a:gd name="connsiteX9" fmla="*/ 2032304 w 2182712"/>
                  <a:gd name="connsiteY9" fmla="*/ 930823 h 1394196"/>
                  <a:gd name="connsiteX0" fmla="*/ 2032304 w 2170584"/>
                  <a:gd name="connsiteY0" fmla="*/ 930823 h 1395770"/>
                  <a:gd name="connsiteX1" fmla="*/ 1798971 w 2170584"/>
                  <a:gd name="connsiteY1" fmla="*/ 1339822 h 1395770"/>
                  <a:gd name="connsiteX2" fmla="*/ 257624 w 2170584"/>
                  <a:gd name="connsiteY2" fmla="*/ 456624 h 1395770"/>
                  <a:gd name="connsiteX3" fmla="*/ 66738 w 2170584"/>
                  <a:gd name="connsiteY3" fmla="*/ 269284 h 1395770"/>
                  <a:gd name="connsiteX4" fmla="*/ 4968 w 2170584"/>
                  <a:gd name="connsiteY4" fmla="*/ 67381 h 1395770"/>
                  <a:gd name="connsiteX5" fmla="*/ 0 w 2170584"/>
                  <a:gd name="connsiteY5" fmla="*/ 10991 h 1395770"/>
                  <a:gd name="connsiteX6" fmla="*/ 464655 w 2170584"/>
                  <a:gd name="connsiteY6" fmla="*/ 105657 h 1395770"/>
                  <a:gd name="connsiteX7" fmla="*/ 1965627 w 2170584"/>
                  <a:gd name="connsiteY7" fmla="*/ 977575 h 1395770"/>
                  <a:gd name="connsiteX8" fmla="*/ 1965971 w 2170584"/>
                  <a:gd name="connsiteY8" fmla="*/ 977967 h 1395770"/>
                  <a:gd name="connsiteX9" fmla="*/ 2032304 w 2170584"/>
                  <a:gd name="connsiteY9" fmla="*/ 930823 h 1395770"/>
                  <a:gd name="connsiteX0" fmla="*/ 2032304 w 2246364"/>
                  <a:gd name="connsiteY0" fmla="*/ 930823 h 1396680"/>
                  <a:gd name="connsiteX1" fmla="*/ 1798971 w 2246364"/>
                  <a:gd name="connsiteY1" fmla="*/ 1339822 h 1396680"/>
                  <a:gd name="connsiteX2" fmla="*/ 257624 w 2246364"/>
                  <a:gd name="connsiteY2" fmla="*/ 456624 h 1396680"/>
                  <a:gd name="connsiteX3" fmla="*/ 66738 w 2246364"/>
                  <a:gd name="connsiteY3" fmla="*/ 269284 h 1396680"/>
                  <a:gd name="connsiteX4" fmla="*/ 4968 w 2246364"/>
                  <a:gd name="connsiteY4" fmla="*/ 67381 h 1396680"/>
                  <a:gd name="connsiteX5" fmla="*/ 0 w 2246364"/>
                  <a:gd name="connsiteY5" fmla="*/ 10991 h 1396680"/>
                  <a:gd name="connsiteX6" fmla="*/ 464655 w 2246364"/>
                  <a:gd name="connsiteY6" fmla="*/ 105657 h 1396680"/>
                  <a:gd name="connsiteX7" fmla="*/ 1965627 w 2246364"/>
                  <a:gd name="connsiteY7" fmla="*/ 977575 h 1396680"/>
                  <a:gd name="connsiteX8" fmla="*/ 1965971 w 2246364"/>
                  <a:gd name="connsiteY8" fmla="*/ 977967 h 1396680"/>
                  <a:gd name="connsiteX9" fmla="*/ 2032304 w 2246364"/>
                  <a:gd name="connsiteY9" fmla="*/ 930823 h 139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6364" h="1396680">
                    <a:moveTo>
                      <a:pt x="2032304" y="930823"/>
                    </a:moveTo>
                    <a:cubicBezTo>
                      <a:pt x="2406902" y="1055427"/>
                      <a:pt x="2265169" y="1565381"/>
                      <a:pt x="1798971" y="1339822"/>
                    </a:cubicBezTo>
                    <a:lnTo>
                      <a:pt x="257624" y="456624"/>
                    </a:lnTo>
                    <a:cubicBezTo>
                      <a:pt x="190455" y="403073"/>
                      <a:pt x="143525" y="405947"/>
                      <a:pt x="66738" y="269284"/>
                    </a:cubicBezTo>
                    <a:cubicBezTo>
                      <a:pt x="9147" y="166786"/>
                      <a:pt x="7563" y="120135"/>
                      <a:pt x="4968" y="67381"/>
                    </a:cubicBezTo>
                    <a:lnTo>
                      <a:pt x="0" y="10991"/>
                    </a:lnTo>
                    <a:cubicBezTo>
                      <a:pt x="76614" y="17370"/>
                      <a:pt x="137051" y="-55440"/>
                      <a:pt x="464655" y="105657"/>
                    </a:cubicBezTo>
                    <a:lnTo>
                      <a:pt x="1965627" y="977575"/>
                    </a:lnTo>
                    <a:lnTo>
                      <a:pt x="1965971" y="977967"/>
                    </a:lnTo>
                    <a:cubicBezTo>
                      <a:pt x="2019038" y="960665"/>
                      <a:pt x="2005431" y="969555"/>
                      <a:pt x="2032304" y="930823"/>
                    </a:cubicBezTo>
                    <a:close/>
                  </a:path>
                </a:pathLst>
              </a:custGeom>
              <a:gradFill flip="none" rotWithShape="1">
                <a:gsLst>
                  <a:gs pos="58000">
                    <a:schemeClr val="accent2">
                      <a:lumMod val="0"/>
                      <a:lumOff val="100000"/>
                      <a:alpha val="0"/>
                    </a:schemeClr>
                  </a:gs>
                  <a:gs pos="45000">
                    <a:schemeClr val="accent4"/>
                  </a:gs>
                </a:gsLst>
                <a:lin ang="72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64" name="Freeform: Shape 763">
                <a:extLst>
                  <a:ext uri="{FF2B5EF4-FFF2-40B4-BE49-F238E27FC236}">
                    <a16:creationId xmlns:a16="http://schemas.microsoft.com/office/drawing/2014/main" id="{C3125275-998A-4B0C-8AA9-892492BA1DD1}"/>
                  </a:ext>
                </a:extLst>
              </p:cNvPr>
              <p:cNvSpPr/>
              <p:nvPr/>
            </p:nvSpPr>
            <p:spPr bwMode="gray">
              <a:xfrm flipH="1" flipV="1">
                <a:off x="-3473355" y="3502137"/>
                <a:ext cx="2139562" cy="1277355"/>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206180 w 4212730"/>
                  <a:gd name="connsiteY9" fmla="*/ 2392022 h 5285288"/>
                  <a:gd name="connsiteX10" fmla="*/ 407391 w 4212730"/>
                  <a:gd name="connsiteY10" fmla="*/ 2508175 h 5285288"/>
                  <a:gd name="connsiteX11" fmla="*/ 406100 w 4212730"/>
                  <a:gd name="connsiteY11" fmla="*/ 2572658 h 5285288"/>
                  <a:gd name="connsiteX12" fmla="*/ 409165 w 4212730"/>
                  <a:gd name="connsiteY12" fmla="*/ 3888049 h 5285288"/>
                  <a:gd name="connsiteX13" fmla="*/ 407598 w 4212730"/>
                  <a:gd name="connsiteY13" fmla="*/ 3881457 h 5285288"/>
                  <a:gd name="connsiteX14" fmla="*/ 407517 w 4212730"/>
                  <a:gd name="connsiteY14" fmla="*/ 3894265 h 5285288"/>
                  <a:gd name="connsiteX15" fmla="*/ 464772 w 4212730"/>
                  <a:gd name="connsiteY15" fmla="*/ 3993435 h 5285288"/>
                  <a:gd name="connsiteX16" fmla="*/ 1965744 w 4212730"/>
                  <a:gd name="connsiteY16" fmla="*/ 4865353 h 5285288"/>
                  <a:gd name="connsiteX17" fmla="*/ 1966088 w 4212730"/>
                  <a:gd name="connsiteY17" fmla="*/ 4865745 h 5285288"/>
                  <a:gd name="connsiteX18" fmla="*/ 1988129 w 4212730"/>
                  <a:gd name="connsiteY18" fmla="*/ 4859558 h 5285288"/>
                  <a:gd name="connsiteX19" fmla="*/ 2034209 w 4212730"/>
                  <a:gd name="connsiteY19" fmla="*/ 4799004 h 5285288"/>
                  <a:gd name="connsiteX20" fmla="*/ 2036053 w 4212730"/>
                  <a:gd name="connsiteY20" fmla="*/ 4105978 h 5285288"/>
                  <a:gd name="connsiteX21" fmla="*/ 2038324 w 4212730"/>
                  <a:gd name="connsiteY21" fmla="*/ 1054770 h 5285288"/>
                  <a:gd name="connsiteX22" fmla="*/ 2037139 w 4212730"/>
                  <a:gd name="connsiteY22" fmla="*/ 1017192 h 5285288"/>
                  <a:gd name="connsiteX23" fmla="*/ 2035104 w 4212730"/>
                  <a:gd name="connsiteY23" fmla="*/ 494424 h 5285288"/>
                  <a:gd name="connsiteX24" fmla="*/ 2080595 w 4212730"/>
                  <a:gd name="connsiteY24" fmla="*/ 171698 h 5285288"/>
                  <a:gd name="connsiteX25" fmla="*/ 2245202 w 4212730"/>
                  <a:gd name="connsiteY25" fmla="*/ 25112 h 5285288"/>
                  <a:gd name="connsiteX26" fmla="*/ 2444848 w 4212730"/>
                  <a:gd name="connsiteY26" fmla="*/ 3326 h 5285288"/>
                  <a:gd name="connsiteX27" fmla="*/ 2620552 w 4212730"/>
                  <a:gd name="connsiteY27" fmla="*/ 37548 h 5285288"/>
                  <a:gd name="connsiteX28" fmla="*/ 4171705 w 4212730"/>
                  <a:gd name="connsiteY28" fmla="*/ 924343 h 5285288"/>
                  <a:gd name="connsiteX29" fmla="*/ 4172662 w 4212730"/>
                  <a:gd name="connsiteY29" fmla="*/ 1149844 h 5285288"/>
                  <a:gd name="connsiteX30" fmla="*/ 3998697 w 4212730"/>
                  <a:gd name="connsiteY30" fmla="*/ 1269783 h 5285288"/>
                  <a:gd name="connsiteX31" fmla="*/ 3978850 w 4212730"/>
                  <a:gd name="connsiteY31" fmla="*/ 1262485 h 5285288"/>
                  <a:gd name="connsiteX32" fmla="*/ 2513375 w 4212730"/>
                  <a:gd name="connsiteY32" fmla="*/ 431577 h 5285288"/>
                  <a:gd name="connsiteX33" fmla="*/ 2513032 w 4212730"/>
                  <a:gd name="connsiteY33" fmla="*/ 431184 h 5285288"/>
                  <a:gd name="connsiteX34" fmla="*/ 2490877 w 4212730"/>
                  <a:gd name="connsiteY34" fmla="*/ 437405 h 5285288"/>
                  <a:gd name="connsiteX35" fmla="*/ 2448227 w 4212730"/>
                  <a:gd name="connsiteY35" fmla="*/ 539231 h 5285288"/>
                  <a:gd name="connsiteX36" fmla="*/ 2448222 w 4212730"/>
                  <a:gd name="connsiteY36" fmla="*/ 1065628 h 5285288"/>
                  <a:gd name="connsiteX37" fmla="*/ 2445445 w 4212730"/>
                  <a:gd name="connsiteY37" fmla="*/ 1081825 h 5285288"/>
                  <a:gd name="connsiteX38" fmla="*/ 2442619 w 4212730"/>
                  <a:gd name="connsiteY38" fmla="*/ 1858316 h 5285288"/>
                  <a:gd name="connsiteX39" fmla="*/ 2444476 w 4212730"/>
                  <a:gd name="connsiteY39" fmla="*/ 1861834 h 5285288"/>
                  <a:gd name="connsiteX40" fmla="*/ 2443809 w 4212730"/>
                  <a:gd name="connsiteY40" fmla="*/ 3038034 h 5285288"/>
                  <a:gd name="connsiteX41" fmla="*/ 2441669 w 4212730"/>
                  <a:gd name="connsiteY41" fmla="*/ 4802821 h 5285288"/>
                  <a:gd name="connsiteX42" fmla="*/ 2374871 w 4212730"/>
                  <a:gd name="connsiteY42" fmla="*/ 5061801 h 5285288"/>
                  <a:gd name="connsiteX43" fmla="*/ 2230903 w 4212730"/>
                  <a:gd name="connsiteY43" fmla="*/ 5216241 h 5285288"/>
                  <a:gd name="connsiteX44" fmla="*/ 2020267 w 4212730"/>
                  <a:gd name="connsiteY44" fmla="*/ 5284752 h 5285288"/>
                  <a:gd name="connsiteX45" fmla="*/ 1970713 w 4212730"/>
                  <a:gd name="connsiteY45"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206180 w 4212730"/>
                  <a:gd name="connsiteY8" fmla="*/ 2392022 h 5285288"/>
                  <a:gd name="connsiteX9" fmla="*/ 407391 w 4212730"/>
                  <a:gd name="connsiteY9" fmla="*/ 2508175 h 5285288"/>
                  <a:gd name="connsiteX10" fmla="*/ 406100 w 4212730"/>
                  <a:gd name="connsiteY10" fmla="*/ 2572658 h 5285288"/>
                  <a:gd name="connsiteX11" fmla="*/ 409165 w 4212730"/>
                  <a:gd name="connsiteY11" fmla="*/ 3888049 h 5285288"/>
                  <a:gd name="connsiteX12" fmla="*/ 407598 w 4212730"/>
                  <a:gd name="connsiteY12" fmla="*/ 3881457 h 5285288"/>
                  <a:gd name="connsiteX13" fmla="*/ 407517 w 4212730"/>
                  <a:gd name="connsiteY13" fmla="*/ 3894265 h 5285288"/>
                  <a:gd name="connsiteX14" fmla="*/ 464772 w 4212730"/>
                  <a:gd name="connsiteY14" fmla="*/ 3993435 h 5285288"/>
                  <a:gd name="connsiteX15" fmla="*/ 1965744 w 4212730"/>
                  <a:gd name="connsiteY15" fmla="*/ 4865353 h 5285288"/>
                  <a:gd name="connsiteX16" fmla="*/ 1966088 w 4212730"/>
                  <a:gd name="connsiteY16" fmla="*/ 4865745 h 5285288"/>
                  <a:gd name="connsiteX17" fmla="*/ 1988129 w 4212730"/>
                  <a:gd name="connsiteY17" fmla="*/ 4859558 h 5285288"/>
                  <a:gd name="connsiteX18" fmla="*/ 2034209 w 4212730"/>
                  <a:gd name="connsiteY18" fmla="*/ 4799004 h 5285288"/>
                  <a:gd name="connsiteX19" fmla="*/ 2036053 w 4212730"/>
                  <a:gd name="connsiteY19" fmla="*/ 4105978 h 5285288"/>
                  <a:gd name="connsiteX20" fmla="*/ 2038324 w 4212730"/>
                  <a:gd name="connsiteY20" fmla="*/ 1054770 h 5285288"/>
                  <a:gd name="connsiteX21" fmla="*/ 2037139 w 4212730"/>
                  <a:gd name="connsiteY21" fmla="*/ 1017192 h 5285288"/>
                  <a:gd name="connsiteX22" fmla="*/ 2035104 w 4212730"/>
                  <a:gd name="connsiteY22" fmla="*/ 494424 h 5285288"/>
                  <a:gd name="connsiteX23" fmla="*/ 2080595 w 4212730"/>
                  <a:gd name="connsiteY23" fmla="*/ 171698 h 5285288"/>
                  <a:gd name="connsiteX24" fmla="*/ 2245202 w 4212730"/>
                  <a:gd name="connsiteY24" fmla="*/ 25112 h 5285288"/>
                  <a:gd name="connsiteX25" fmla="*/ 2444848 w 4212730"/>
                  <a:gd name="connsiteY25" fmla="*/ 3326 h 5285288"/>
                  <a:gd name="connsiteX26" fmla="*/ 2620552 w 4212730"/>
                  <a:gd name="connsiteY26" fmla="*/ 37548 h 5285288"/>
                  <a:gd name="connsiteX27" fmla="*/ 4171705 w 4212730"/>
                  <a:gd name="connsiteY27" fmla="*/ 924343 h 5285288"/>
                  <a:gd name="connsiteX28" fmla="*/ 4172662 w 4212730"/>
                  <a:gd name="connsiteY28" fmla="*/ 1149844 h 5285288"/>
                  <a:gd name="connsiteX29" fmla="*/ 3998697 w 4212730"/>
                  <a:gd name="connsiteY29" fmla="*/ 1269783 h 5285288"/>
                  <a:gd name="connsiteX30" fmla="*/ 3978850 w 4212730"/>
                  <a:gd name="connsiteY30" fmla="*/ 1262485 h 5285288"/>
                  <a:gd name="connsiteX31" fmla="*/ 2513375 w 4212730"/>
                  <a:gd name="connsiteY31" fmla="*/ 431577 h 5285288"/>
                  <a:gd name="connsiteX32" fmla="*/ 2513032 w 4212730"/>
                  <a:gd name="connsiteY32" fmla="*/ 431184 h 5285288"/>
                  <a:gd name="connsiteX33" fmla="*/ 2490877 w 4212730"/>
                  <a:gd name="connsiteY33" fmla="*/ 437405 h 5285288"/>
                  <a:gd name="connsiteX34" fmla="*/ 2448227 w 4212730"/>
                  <a:gd name="connsiteY34" fmla="*/ 539231 h 5285288"/>
                  <a:gd name="connsiteX35" fmla="*/ 2448222 w 4212730"/>
                  <a:gd name="connsiteY35" fmla="*/ 1065628 h 5285288"/>
                  <a:gd name="connsiteX36" fmla="*/ 2445445 w 4212730"/>
                  <a:gd name="connsiteY36" fmla="*/ 1081825 h 5285288"/>
                  <a:gd name="connsiteX37" fmla="*/ 2442619 w 4212730"/>
                  <a:gd name="connsiteY37" fmla="*/ 1858316 h 5285288"/>
                  <a:gd name="connsiteX38" fmla="*/ 2444476 w 4212730"/>
                  <a:gd name="connsiteY38" fmla="*/ 1861834 h 5285288"/>
                  <a:gd name="connsiteX39" fmla="*/ 2443809 w 4212730"/>
                  <a:gd name="connsiteY39" fmla="*/ 3038034 h 5285288"/>
                  <a:gd name="connsiteX40" fmla="*/ 2441669 w 4212730"/>
                  <a:gd name="connsiteY40" fmla="*/ 4802821 h 5285288"/>
                  <a:gd name="connsiteX41" fmla="*/ 2374871 w 4212730"/>
                  <a:gd name="connsiteY41" fmla="*/ 5061801 h 5285288"/>
                  <a:gd name="connsiteX42" fmla="*/ 2230903 w 4212730"/>
                  <a:gd name="connsiteY42" fmla="*/ 5216241 h 5285288"/>
                  <a:gd name="connsiteX43" fmla="*/ 2020267 w 4212730"/>
                  <a:gd name="connsiteY43" fmla="*/ 5284752 h 5285288"/>
                  <a:gd name="connsiteX44" fmla="*/ 1970713 w 4212730"/>
                  <a:gd name="connsiteY44"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7391 w 4212730"/>
                  <a:gd name="connsiteY8" fmla="*/ 2508175 h 5285288"/>
                  <a:gd name="connsiteX9" fmla="*/ 406100 w 4212730"/>
                  <a:gd name="connsiteY9" fmla="*/ 2572658 h 5285288"/>
                  <a:gd name="connsiteX10" fmla="*/ 409165 w 4212730"/>
                  <a:gd name="connsiteY10" fmla="*/ 3888049 h 5285288"/>
                  <a:gd name="connsiteX11" fmla="*/ 407598 w 4212730"/>
                  <a:gd name="connsiteY11" fmla="*/ 3881457 h 5285288"/>
                  <a:gd name="connsiteX12" fmla="*/ 407517 w 4212730"/>
                  <a:gd name="connsiteY12" fmla="*/ 3894265 h 5285288"/>
                  <a:gd name="connsiteX13" fmla="*/ 464772 w 4212730"/>
                  <a:gd name="connsiteY13" fmla="*/ 3993435 h 5285288"/>
                  <a:gd name="connsiteX14" fmla="*/ 1965744 w 4212730"/>
                  <a:gd name="connsiteY14" fmla="*/ 4865353 h 5285288"/>
                  <a:gd name="connsiteX15" fmla="*/ 1966088 w 4212730"/>
                  <a:gd name="connsiteY15" fmla="*/ 4865745 h 5285288"/>
                  <a:gd name="connsiteX16" fmla="*/ 1988129 w 4212730"/>
                  <a:gd name="connsiteY16" fmla="*/ 4859558 h 5285288"/>
                  <a:gd name="connsiteX17" fmla="*/ 2034209 w 4212730"/>
                  <a:gd name="connsiteY17" fmla="*/ 4799004 h 5285288"/>
                  <a:gd name="connsiteX18" fmla="*/ 2036053 w 4212730"/>
                  <a:gd name="connsiteY18" fmla="*/ 4105978 h 5285288"/>
                  <a:gd name="connsiteX19" fmla="*/ 2038324 w 4212730"/>
                  <a:gd name="connsiteY19" fmla="*/ 1054770 h 5285288"/>
                  <a:gd name="connsiteX20" fmla="*/ 2037139 w 4212730"/>
                  <a:gd name="connsiteY20" fmla="*/ 1017192 h 5285288"/>
                  <a:gd name="connsiteX21" fmla="*/ 2035104 w 4212730"/>
                  <a:gd name="connsiteY21" fmla="*/ 494424 h 5285288"/>
                  <a:gd name="connsiteX22" fmla="*/ 2080595 w 4212730"/>
                  <a:gd name="connsiteY22" fmla="*/ 171698 h 5285288"/>
                  <a:gd name="connsiteX23" fmla="*/ 2245202 w 4212730"/>
                  <a:gd name="connsiteY23" fmla="*/ 25112 h 5285288"/>
                  <a:gd name="connsiteX24" fmla="*/ 2444848 w 4212730"/>
                  <a:gd name="connsiteY24" fmla="*/ 3326 h 5285288"/>
                  <a:gd name="connsiteX25" fmla="*/ 2620552 w 4212730"/>
                  <a:gd name="connsiteY25" fmla="*/ 37548 h 5285288"/>
                  <a:gd name="connsiteX26" fmla="*/ 4171705 w 4212730"/>
                  <a:gd name="connsiteY26" fmla="*/ 924343 h 5285288"/>
                  <a:gd name="connsiteX27" fmla="*/ 4172662 w 4212730"/>
                  <a:gd name="connsiteY27" fmla="*/ 1149844 h 5285288"/>
                  <a:gd name="connsiteX28" fmla="*/ 3998697 w 4212730"/>
                  <a:gd name="connsiteY28" fmla="*/ 1269783 h 5285288"/>
                  <a:gd name="connsiteX29" fmla="*/ 3978850 w 4212730"/>
                  <a:gd name="connsiteY29" fmla="*/ 1262485 h 5285288"/>
                  <a:gd name="connsiteX30" fmla="*/ 2513375 w 4212730"/>
                  <a:gd name="connsiteY30" fmla="*/ 431577 h 5285288"/>
                  <a:gd name="connsiteX31" fmla="*/ 2513032 w 4212730"/>
                  <a:gd name="connsiteY31" fmla="*/ 431184 h 5285288"/>
                  <a:gd name="connsiteX32" fmla="*/ 2490877 w 4212730"/>
                  <a:gd name="connsiteY32" fmla="*/ 437405 h 5285288"/>
                  <a:gd name="connsiteX33" fmla="*/ 2448227 w 4212730"/>
                  <a:gd name="connsiteY33" fmla="*/ 539231 h 5285288"/>
                  <a:gd name="connsiteX34" fmla="*/ 2448222 w 4212730"/>
                  <a:gd name="connsiteY34" fmla="*/ 1065628 h 5285288"/>
                  <a:gd name="connsiteX35" fmla="*/ 2445445 w 4212730"/>
                  <a:gd name="connsiteY35" fmla="*/ 1081825 h 5285288"/>
                  <a:gd name="connsiteX36" fmla="*/ 2442619 w 4212730"/>
                  <a:gd name="connsiteY36" fmla="*/ 1858316 h 5285288"/>
                  <a:gd name="connsiteX37" fmla="*/ 2444476 w 4212730"/>
                  <a:gd name="connsiteY37" fmla="*/ 1861834 h 5285288"/>
                  <a:gd name="connsiteX38" fmla="*/ 2443809 w 4212730"/>
                  <a:gd name="connsiteY38" fmla="*/ 3038034 h 5285288"/>
                  <a:gd name="connsiteX39" fmla="*/ 2441669 w 4212730"/>
                  <a:gd name="connsiteY39" fmla="*/ 4802821 h 5285288"/>
                  <a:gd name="connsiteX40" fmla="*/ 2374871 w 4212730"/>
                  <a:gd name="connsiteY40" fmla="*/ 5061801 h 5285288"/>
                  <a:gd name="connsiteX41" fmla="*/ 2230903 w 4212730"/>
                  <a:gd name="connsiteY41" fmla="*/ 5216241 h 5285288"/>
                  <a:gd name="connsiteX42" fmla="*/ 2020267 w 4212730"/>
                  <a:gd name="connsiteY42" fmla="*/ 5284752 h 5285288"/>
                  <a:gd name="connsiteX43" fmla="*/ 1970713 w 4212730"/>
                  <a:gd name="connsiteY43"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6100 w 4212730"/>
                  <a:gd name="connsiteY8" fmla="*/ 2572658 h 5285288"/>
                  <a:gd name="connsiteX9" fmla="*/ 409165 w 4212730"/>
                  <a:gd name="connsiteY9" fmla="*/ 3888049 h 5285288"/>
                  <a:gd name="connsiteX10" fmla="*/ 407598 w 4212730"/>
                  <a:gd name="connsiteY10" fmla="*/ 3881457 h 5285288"/>
                  <a:gd name="connsiteX11" fmla="*/ 407517 w 4212730"/>
                  <a:gd name="connsiteY11" fmla="*/ 3894265 h 5285288"/>
                  <a:gd name="connsiteX12" fmla="*/ 464772 w 4212730"/>
                  <a:gd name="connsiteY12" fmla="*/ 3993435 h 5285288"/>
                  <a:gd name="connsiteX13" fmla="*/ 1965744 w 4212730"/>
                  <a:gd name="connsiteY13" fmla="*/ 4865353 h 5285288"/>
                  <a:gd name="connsiteX14" fmla="*/ 1966088 w 4212730"/>
                  <a:gd name="connsiteY14" fmla="*/ 4865745 h 5285288"/>
                  <a:gd name="connsiteX15" fmla="*/ 1988129 w 4212730"/>
                  <a:gd name="connsiteY15" fmla="*/ 4859558 h 5285288"/>
                  <a:gd name="connsiteX16" fmla="*/ 2034209 w 4212730"/>
                  <a:gd name="connsiteY16" fmla="*/ 4799004 h 5285288"/>
                  <a:gd name="connsiteX17" fmla="*/ 2036053 w 4212730"/>
                  <a:gd name="connsiteY17" fmla="*/ 4105978 h 5285288"/>
                  <a:gd name="connsiteX18" fmla="*/ 2038324 w 4212730"/>
                  <a:gd name="connsiteY18" fmla="*/ 1054770 h 5285288"/>
                  <a:gd name="connsiteX19" fmla="*/ 2037139 w 4212730"/>
                  <a:gd name="connsiteY19" fmla="*/ 1017192 h 5285288"/>
                  <a:gd name="connsiteX20" fmla="*/ 2035104 w 4212730"/>
                  <a:gd name="connsiteY20" fmla="*/ 494424 h 5285288"/>
                  <a:gd name="connsiteX21" fmla="*/ 2080595 w 4212730"/>
                  <a:gd name="connsiteY21" fmla="*/ 171698 h 5285288"/>
                  <a:gd name="connsiteX22" fmla="*/ 2245202 w 4212730"/>
                  <a:gd name="connsiteY22" fmla="*/ 25112 h 5285288"/>
                  <a:gd name="connsiteX23" fmla="*/ 2444848 w 4212730"/>
                  <a:gd name="connsiteY23" fmla="*/ 3326 h 5285288"/>
                  <a:gd name="connsiteX24" fmla="*/ 2620552 w 4212730"/>
                  <a:gd name="connsiteY24" fmla="*/ 37548 h 5285288"/>
                  <a:gd name="connsiteX25" fmla="*/ 4171705 w 4212730"/>
                  <a:gd name="connsiteY25" fmla="*/ 924343 h 5285288"/>
                  <a:gd name="connsiteX26" fmla="*/ 4172662 w 4212730"/>
                  <a:gd name="connsiteY26" fmla="*/ 1149844 h 5285288"/>
                  <a:gd name="connsiteX27" fmla="*/ 3998697 w 4212730"/>
                  <a:gd name="connsiteY27" fmla="*/ 1269783 h 5285288"/>
                  <a:gd name="connsiteX28" fmla="*/ 3978850 w 4212730"/>
                  <a:gd name="connsiteY28" fmla="*/ 1262485 h 5285288"/>
                  <a:gd name="connsiteX29" fmla="*/ 2513375 w 4212730"/>
                  <a:gd name="connsiteY29" fmla="*/ 431577 h 5285288"/>
                  <a:gd name="connsiteX30" fmla="*/ 2513032 w 4212730"/>
                  <a:gd name="connsiteY30" fmla="*/ 431184 h 5285288"/>
                  <a:gd name="connsiteX31" fmla="*/ 2490877 w 4212730"/>
                  <a:gd name="connsiteY31" fmla="*/ 437405 h 5285288"/>
                  <a:gd name="connsiteX32" fmla="*/ 2448227 w 4212730"/>
                  <a:gd name="connsiteY32" fmla="*/ 539231 h 5285288"/>
                  <a:gd name="connsiteX33" fmla="*/ 2448222 w 4212730"/>
                  <a:gd name="connsiteY33" fmla="*/ 1065628 h 5285288"/>
                  <a:gd name="connsiteX34" fmla="*/ 2445445 w 4212730"/>
                  <a:gd name="connsiteY34" fmla="*/ 1081825 h 5285288"/>
                  <a:gd name="connsiteX35" fmla="*/ 2442619 w 4212730"/>
                  <a:gd name="connsiteY35" fmla="*/ 1858316 h 5285288"/>
                  <a:gd name="connsiteX36" fmla="*/ 2444476 w 4212730"/>
                  <a:gd name="connsiteY36" fmla="*/ 1861834 h 5285288"/>
                  <a:gd name="connsiteX37" fmla="*/ 2443809 w 4212730"/>
                  <a:gd name="connsiteY37" fmla="*/ 3038034 h 5285288"/>
                  <a:gd name="connsiteX38" fmla="*/ 2441669 w 4212730"/>
                  <a:gd name="connsiteY38" fmla="*/ 4802821 h 5285288"/>
                  <a:gd name="connsiteX39" fmla="*/ 2374871 w 4212730"/>
                  <a:gd name="connsiteY39" fmla="*/ 5061801 h 5285288"/>
                  <a:gd name="connsiteX40" fmla="*/ 2230903 w 4212730"/>
                  <a:gd name="connsiteY40" fmla="*/ 5216241 h 5285288"/>
                  <a:gd name="connsiteX41" fmla="*/ 2020267 w 4212730"/>
                  <a:gd name="connsiteY41" fmla="*/ 5284752 h 5285288"/>
                  <a:gd name="connsiteX42" fmla="*/ 1970713 w 4212730"/>
                  <a:gd name="connsiteY42"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9165 w 4212730"/>
                  <a:gd name="connsiteY8" fmla="*/ 3888049 h 5285288"/>
                  <a:gd name="connsiteX9" fmla="*/ 407598 w 4212730"/>
                  <a:gd name="connsiteY9" fmla="*/ 3881457 h 5285288"/>
                  <a:gd name="connsiteX10" fmla="*/ 407517 w 4212730"/>
                  <a:gd name="connsiteY10" fmla="*/ 3894265 h 5285288"/>
                  <a:gd name="connsiteX11" fmla="*/ 464772 w 4212730"/>
                  <a:gd name="connsiteY11" fmla="*/ 3993435 h 5285288"/>
                  <a:gd name="connsiteX12" fmla="*/ 1965744 w 4212730"/>
                  <a:gd name="connsiteY12" fmla="*/ 4865353 h 5285288"/>
                  <a:gd name="connsiteX13" fmla="*/ 1966088 w 4212730"/>
                  <a:gd name="connsiteY13" fmla="*/ 4865745 h 5285288"/>
                  <a:gd name="connsiteX14" fmla="*/ 1988129 w 4212730"/>
                  <a:gd name="connsiteY14" fmla="*/ 4859558 h 5285288"/>
                  <a:gd name="connsiteX15" fmla="*/ 2034209 w 4212730"/>
                  <a:gd name="connsiteY15" fmla="*/ 4799004 h 5285288"/>
                  <a:gd name="connsiteX16" fmla="*/ 2036053 w 4212730"/>
                  <a:gd name="connsiteY16" fmla="*/ 4105978 h 5285288"/>
                  <a:gd name="connsiteX17" fmla="*/ 2038324 w 4212730"/>
                  <a:gd name="connsiteY17" fmla="*/ 1054770 h 5285288"/>
                  <a:gd name="connsiteX18" fmla="*/ 2037139 w 4212730"/>
                  <a:gd name="connsiteY18" fmla="*/ 1017192 h 5285288"/>
                  <a:gd name="connsiteX19" fmla="*/ 2035104 w 4212730"/>
                  <a:gd name="connsiteY19" fmla="*/ 494424 h 5285288"/>
                  <a:gd name="connsiteX20" fmla="*/ 2080595 w 4212730"/>
                  <a:gd name="connsiteY20" fmla="*/ 171698 h 5285288"/>
                  <a:gd name="connsiteX21" fmla="*/ 2245202 w 4212730"/>
                  <a:gd name="connsiteY21" fmla="*/ 25112 h 5285288"/>
                  <a:gd name="connsiteX22" fmla="*/ 2444848 w 4212730"/>
                  <a:gd name="connsiteY22" fmla="*/ 3326 h 5285288"/>
                  <a:gd name="connsiteX23" fmla="*/ 2620552 w 4212730"/>
                  <a:gd name="connsiteY23" fmla="*/ 37548 h 5285288"/>
                  <a:gd name="connsiteX24" fmla="*/ 4171705 w 4212730"/>
                  <a:gd name="connsiteY24" fmla="*/ 924343 h 5285288"/>
                  <a:gd name="connsiteX25" fmla="*/ 4172662 w 4212730"/>
                  <a:gd name="connsiteY25" fmla="*/ 1149844 h 5285288"/>
                  <a:gd name="connsiteX26" fmla="*/ 3998697 w 4212730"/>
                  <a:gd name="connsiteY26" fmla="*/ 1269783 h 5285288"/>
                  <a:gd name="connsiteX27" fmla="*/ 3978850 w 4212730"/>
                  <a:gd name="connsiteY27" fmla="*/ 1262485 h 5285288"/>
                  <a:gd name="connsiteX28" fmla="*/ 2513375 w 4212730"/>
                  <a:gd name="connsiteY28" fmla="*/ 431577 h 5285288"/>
                  <a:gd name="connsiteX29" fmla="*/ 2513032 w 4212730"/>
                  <a:gd name="connsiteY29" fmla="*/ 431184 h 5285288"/>
                  <a:gd name="connsiteX30" fmla="*/ 2490877 w 4212730"/>
                  <a:gd name="connsiteY30" fmla="*/ 437405 h 5285288"/>
                  <a:gd name="connsiteX31" fmla="*/ 2448227 w 4212730"/>
                  <a:gd name="connsiteY31" fmla="*/ 539231 h 5285288"/>
                  <a:gd name="connsiteX32" fmla="*/ 2448222 w 4212730"/>
                  <a:gd name="connsiteY32" fmla="*/ 1065628 h 5285288"/>
                  <a:gd name="connsiteX33" fmla="*/ 2445445 w 4212730"/>
                  <a:gd name="connsiteY33" fmla="*/ 1081825 h 5285288"/>
                  <a:gd name="connsiteX34" fmla="*/ 2442619 w 4212730"/>
                  <a:gd name="connsiteY34" fmla="*/ 1858316 h 5285288"/>
                  <a:gd name="connsiteX35" fmla="*/ 2444476 w 4212730"/>
                  <a:gd name="connsiteY35" fmla="*/ 1861834 h 5285288"/>
                  <a:gd name="connsiteX36" fmla="*/ 2443809 w 4212730"/>
                  <a:gd name="connsiteY36" fmla="*/ 3038034 h 5285288"/>
                  <a:gd name="connsiteX37" fmla="*/ 2441669 w 4212730"/>
                  <a:gd name="connsiteY37" fmla="*/ 4802821 h 5285288"/>
                  <a:gd name="connsiteX38" fmla="*/ 2374871 w 4212730"/>
                  <a:gd name="connsiteY38" fmla="*/ 5061801 h 5285288"/>
                  <a:gd name="connsiteX39" fmla="*/ 2230903 w 4212730"/>
                  <a:gd name="connsiteY39" fmla="*/ 5216241 h 5285288"/>
                  <a:gd name="connsiteX40" fmla="*/ 2020267 w 4212730"/>
                  <a:gd name="connsiteY40" fmla="*/ 5284752 h 5285288"/>
                  <a:gd name="connsiteX41" fmla="*/ 1970713 w 4212730"/>
                  <a:gd name="connsiteY41" fmla="*/ 5285252 h 5285288"/>
                  <a:gd name="connsiteX0" fmla="*/ 1970596 w 4212613"/>
                  <a:gd name="connsiteY0" fmla="*/ 5285252 h 5285288"/>
                  <a:gd name="connsiteX1" fmla="*/ 1858972 w 4212613"/>
                  <a:gd name="connsiteY1" fmla="*/ 5257452 h 5285288"/>
                  <a:gd name="connsiteX2" fmla="*/ 1798971 w 4212613"/>
                  <a:gd name="connsiteY2" fmla="*/ 5227600 h 5285288"/>
                  <a:gd name="connsiteX3" fmla="*/ 257624 w 4212613"/>
                  <a:gd name="connsiteY3" fmla="*/ 4344402 h 5285288"/>
                  <a:gd name="connsiteX4" fmla="*/ 66738 w 4212613"/>
                  <a:gd name="connsiteY4" fmla="*/ 4157062 h 5285288"/>
                  <a:gd name="connsiteX5" fmla="*/ 4968 w 4212613"/>
                  <a:gd name="connsiteY5" fmla="*/ 3955159 h 5285288"/>
                  <a:gd name="connsiteX6" fmla="*/ 0 w 4212613"/>
                  <a:gd name="connsiteY6" fmla="*/ 3898769 h 5285288"/>
                  <a:gd name="connsiteX7" fmla="*/ 409048 w 4212613"/>
                  <a:gd name="connsiteY7" fmla="*/ 3888049 h 5285288"/>
                  <a:gd name="connsiteX8" fmla="*/ 407481 w 4212613"/>
                  <a:gd name="connsiteY8" fmla="*/ 3881457 h 5285288"/>
                  <a:gd name="connsiteX9" fmla="*/ 407400 w 4212613"/>
                  <a:gd name="connsiteY9" fmla="*/ 3894265 h 5285288"/>
                  <a:gd name="connsiteX10" fmla="*/ 464655 w 4212613"/>
                  <a:gd name="connsiteY10" fmla="*/ 3993435 h 5285288"/>
                  <a:gd name="connsiteX11" fmla="*/ 1965627 w 4212613"/>
                  <a:gd name="connsiteY11" fmla="*/ 4865353 h 5285288"/>
                  <a:gd name="connsiteX12" fmla="*/ 1965971 w 4212613"/>
                  <a:gd name="connsiteY12" fmla="*/ 4865745 h 5285288"/>
                  <a:gd name="connsiteX13" fmla="*/ 1988012 w 4212613"/>
                  <a:gd name="connsiteY13" fmla="*/ 4859558 h 5285288"/>
                  <a:gd name="connsiteX14" fmla="*/ 2034092 w 4212613"/>
                  <a:gd name="connsiteY14" fmla="*/ 4799004 h 5285288"/>
                  <a:gd name="connsiteX15" fmla="*/ 2035936 w 4212613"/>
                  <a:gd name="connsiteY15" fmla="*/ 4105978 h 5285288"/>
                  <a:gd name="connsiteX16" fmla="*/ 2038207 w 4212613"/>
                  <a:gd name="connsiteY16" fmla="*/ 1054770 h 5285288"/>
                  <a:gd name="connsiteX17" fmla="*/ 2037022 w 4212613"/>
                  <a:gd name="connsiteY17" fmla="*/ 1017192 h 5285288"/>
                  <a:gd name="connsiteX18" fmla="*/ 2034987 w 4212613"/>
                  <a:gd name="connsiteY18" fmla="*/ 494424 h 5285288"/>
                  <a:gd name="connsiteX19" fmla="*/ 2080478 w 4212613"/>
                  <a:gd name="connsiteY19" fmla="*/ 171698 h 5285288"/>
                  <a:gd name="connsiteX20" fmla="*/ 2245085 w 4212613"/>
                  <a:gd name="connsiteY20" fmla="*/ 25112 h 5285288"/>
                  <a:gd name="connsiteX21" fmla="*/ 2444731 w 4212613"/>
                  <a:gd name="connsiteY21" fmla="*/ 3326 h 5285288"/>
                  <a:gd name="connsiteX22" fmla="*/ 2620435 w 4212613"/>
                  <a:gd name="connsiteY22" fmla="*/ 37548 h 5285288"/>
                  <a:gd name="connsiteX23" fmla="*/ 4171588 w 4212613"/>
                  <a:gd name="connsiteY23" fmla="*/ 924343 h 5285288"/>
                  <a:gd name="connsiteX24" fmla="*/ 4172545 w 4212613"/>
                  <a:gd name="connsiteY24" fmla="*/ 1149844 h 5285288"/>
                  <a:gd name="connsiteX25" fmla="*/ 3998580 w 4212613"/>
                  <a:gd name="connsiteY25" fmla="*/ 1269783 h 5285288"/>
                  <a:gd name="connsiteX26" fmla="*/ 3978733 w 4212613"/>
                  <a:gd name="connsiteY26" fmla="*/ 1262485 h 5285288"/>
                  <a:gd name="connsiteX27" fmla="*/ 2513258 w 4212613"/>
                  <a:gd name="connsiteY27" fmla="*/ 431577 h 5285288"/>
                  <a:gd name="connsiteX28" fmla="*/ 2512915 w 4212613"/>
                  <a:gd name="connsiteY28" fmla="*/ 431184 h 5285288"/>
                  <a:gd name="connsiteX29" fmla="*/ 2490760 w 4212613"/>
                  <a:gd name="connsiteY29" fmla="*/ 437405 h 5285288"/>
                  <a:gd name="connsiteX30" fmla="*/ 2448110 w 4212613"/>
                  <a:gd name="connsiteY30" fmla="*/ 539231 h 5285288"/>
                  <a:gd name="connsiteX31" fmla="*/ 2448105 w 4212613"/>
                  <a:gd name="connsiteY31" fmla="*/ 1065628 h 5285288"/>
                  <a:gd name="connsiteX32" fmla="*/ 2445328 w 4212613"/>
                  <a:gd name="connsiteY32" fmla="*/ 1081825 h 5285288"/>
                  <a:gd name="connsiteX33" fmla="*/ 2442502 w 4212613"/>
                  <a:gd name="connsiteY33" fmla="*/ 1858316 h 5285288"/>
                  <a:gd name="connsiteX34" fmla="*/ 2444359 w 4212613"/>
                  <a:gd name="connsiteY34" fmla="*/ 1861834 h 5285288"/>
                  <a:gd name="connsiteX35" fmla="*/ 2443692 w 4212613"/>
                  <a:gd name="connsiteY35" fmla="*/ 3038034 h 5285288"/>
                  <a:gd name="connsiteX36" fmla="*/ 2441552 w 4212613"/>
                  <a:gd name="connsiteY36" fmla="*/ 4802821 h 5285288"/>
                  <a:gd name="connsiteX37" fmla="*/ 2374754 w 4212613"/>
                  <a:gd name="connsiteY37" fmla="*/ 5061801 h 5285288"/>
                  <a:gd name="connsiteX38" fmla="*/ 2230786 w 4212613"/>
                  <a:gd name="connsiteY38" fmla="*/ 5216241 h 5285288"/>
                  <a:gd name="connsiteX39" fmla="*/ 2020150 w 4212613"/>
                  <a:gd name="connsiteY39" fmla="*/ 5284752 h 5285288"/>
                  <a:gd name="connsiteX40" fmla="*/ 1970596 w 4212613"/>
                  <a:gd name="connsiteY40" fmla="*/ 5285252 h 5285288"/>
                  <a:gd name="connsiteX0" fmla="*/ 1965628 w 4207645"/>
                  <a:gd name="connsiteY0" fmla="*/ 5285252 h 5285288"/>
                  <a:gd name="connsiteX1" fmla="*/ 1854004 w 4207645"/>
                  <a:gd name="connsiteY1" fmla="*/ 5257452 h 5285288"/>
                  <a:gd name="connsiteX2" fmla="*/ 1794003 w 4207645"/>
                  <a:gd name="connsiteY2" fmla="*/ 5227600 h 5285288"/>
                  <a:gd name="connsiteX3" fmla="*/ 252656 w 4207645"/>
                  <a:gd name="connsiteY3" fmla="*/ 4344402 h 5285288"/>
                  <a:gd name="connsiteX4" fmla="*/ 61770 w 4207645"/>
                  <a:gd name="connsiteY4" fmla="*/ 4157062 h 5285288"/>
                  <a:gd name="connsiteX5" fmla="*/ 0 w 4207645"/>
                  <a:gd name="connsiteY5" fmla="*/ 3955159 h 5285288"/>
                  <a:gd name="connsiteX6" fmla="*/ 404080 w 4207645"/>
                  <a:gd name="connsiteY6" fmla="*/ 3888049 h 5285288"/>
                  <a:gd name="connsiteX7" fmla="*/ 402513 w 4207645"/>
                  <a:gd name="connsiteY7" fmla="*/ 3881457 h 5285288"/>
                  <a:gd name="connsiteX8" fmla="*/ 402432 w 4207645"/>
                  <a:gd name="connsiteY8" fmla="*/ 3894265 h 5285288"/>
                  <a:gd name="connsiteX9" fmla="*/ 459687 w 4207645"/>
                  <a:gd name="connsiteY9" fmla="*/ 3993435 h 5285288"/>
                  <a:gd name="connsiteX10" fmla="*/ 1960659 w 4207645"/>
                  <a:gd name="connsiteY10" fmla="*/ 4865353 h 5285288"/>
                  <a:gd name="connsiteX11" fmla="*/ 1961003 w 4207645"/>
                  <a:gd name="connsiteY11" fmla="*/ 4865745 h 5285288"/>
                  <a:gd name="connsiteX12" fmla="*/ 1983044 w 4207645"/>
                  <a:gd name="connsiteY12" fmla="*/ 4859558 h 5285288"/>
                  <a:gd name="connsiteX13" fmla="*/ 2029124 w 4207645"/>
                  <a:gd name="connsiteY13" fmla="*/ 4799004 h 5285288"/>
                  <a:gd name="connsiteX14" fmla="*/ 2030968 w 4207645"/>
                  <a:gd name="connsiteY14" fmla="*/ 4105978 h 5285288"/>
                  <a:gd name="connsiteX15" fmla="*/ 2033239 w 4207645"/>
                  <a:gd name="connsiteY15" fmla="*/ 1054770 h 5285288"/>
                  <a:gd name="connsiteX16" fmla="*/ 2032054 w 4207645"/>
                  <a:gd name="connsiteY16" fmla="*/ 1017192 h 5285288"/>
                  <a:gd name="connsiteX17" fmla="*/ 2030019 w 4207645"/>
                  <a:gd name="connsiteY17" fmla="*/ 494424 h 5285288"/>
                  <a:gd name="connsiteX18" fmla="*/ 2075510 w 4207645"/>
                  <a:gd name="connsiteY18" fmla="*/ 171698 h 5285288"/>
                  <a:gd name="connsiteX19" fmla="*/ 2240117 w 4207645"/>
                  <a:gd name="connsiteY19" fmla="*/ 25112 h 5285288"/>
                  <a:gd name="connsiteX20" fmla="*/ 2439763 w 4207645"/>
                  <a:gd name="connsiteY20" fmla="*/ 3326 h 5285288"/>
                  <a:gd name="connsiteX21" fmla="*/ 2615467 w 4207645"/>
                  <a:gd name="connsiteY21" fmla="*/ 37548 h 5285288"/>
                  <a:gd name="connsiteX22" fmla="*/ 4166620 w 4207645"/>
                  <a:gd name="connsiteY22" fmla="*/ 924343 h 5285288"/>
                  <a:gd name="connsiteX23" fmla="*/ 4167577 w 4207645"/>
                  <a:gd name="connsiteY23" fmla="*/ 1149844 h 5285288"/>
                  <a:gd name="connsiteX24" fmla="*/ 3993612 w 4207645"/>
                  <a:gd name="connsiteY24" fmla="*/ 1269783 h 5285288"/>
                  <a:gd name="connsiteX25" fmla="*/ 3973765 w 4207645"/>
                  <a:gd name="connsiteY25" fmla="*/ 1262485 h 5285288"/>
                  <a:gd name="connsiteX26" fmla="*/ 2508290 w 4207645"/>
                  <a:gd name="connsiteY26" fmla="*/ 431577 h 5285288"/>
                  <a:gd name="connsiteX27" fmla="*/ 2507947 w 4207645"/>
                  <a:gd name="connsiteY27" fmla="*/ 431184 h 5285288"/>
                  <a:gd name="connsiteX28" fmla="*/ 2485792 w 4207645"/>
                  <a:gd name="connsiteY28" fmla="*/ 437405 h 5285288"/>
                  <a:gd name="connsiteX29" fmla="*/ 2443142 w 4207645"/>
                  <a:gd name="connsiteY29" fmla="*/ 539231 h 5285288"/>
                  <a:gd name="connsiteX30" fmla="*/ 2443137 w 4207645"/>
                  <a:gd name="connsiteY30" fmla="*/ 1065628 h 5285288"/>
                  <a:gd name="connsiteX31" fmla="*/ 2440360 w 4207645"/>
                  <a:gd name="connsiteY31" fmla="*/ 1081825 h 5285288"/>
                  <a:gd name="connsiteX32" fmla="*/ 2437534 w 4207645"/>
                  <a:gd name="connsiteY32" fmla="*/ 1858316 h 5285288"/>
                  <a:gd name="connsiteX33" fmla="*/ 2439391 w 4207645"/>
                  <a:gd name="connsiteY33" fmla="*/ 1861834 h 5285288"/>
                  <a:gd name="connsiteX34" fmla="*/ 2438724 w 4207645"/>
                  <a:gd name="connsiteY34" fmla="*/ 3038034 h 5285288"/>
                  <a:gd name="connsiteX35" fmla="*/ 2436584 w 4207645"/>
                  <a:gd name="connsiteY35" fmla="*/ 4802821 h 5285288"/>
                  <a:gd name="connsiteX36" fmla="*/ 2369786 w 4207645"/>
                  <a:gd name="connsiteY36" fmla="*/ 5061801 h 5285288"/>
                  <a:gd name="connsiteX37" fmla="*/ 2225818 w 4207645"/>
                  <a:gd name="connsiteY37" fmla="*/ 5216241 h 5285288"/>
                  <a:gd name="connsiteX38" fmla="*/ 2015182 w 4207645"/>
                  <a:gd name="connsiteY38" fmla="*/ 5284752 h 5285288"/>
                  <a:gd name="connsiteX39" fmla="*/ 1965628 w 4207645"/>
                  <a:gd name="connsiteY39" fmla="*/ 5285252 h 5285288"/>
                  <a:gd name="connsiteX0" fmla="*/ 1978947 w 4220964"/>
                  <a:gd name="connsiteY0" fmla="*/ 5285252 h 5285288"/>
                  <a:gd name="connsiteX1" fmla="*/ 1867323 w 4220964"/>
                  <a:gd name="connsiteY1" fmla="*/ 5257452 h 5285288"/>
                  <a:gd name="connsiteX2" fmla="*/ 1807322 w 4220964"/>
                  <a:gd name="connsiteY2" fmla="*/ 5227600 h 5285288"/>
                  <a:gd name="connsiteX3" fmla="*/ 265975 w 4220964"/>
                  <a:gd name="connsiteY3" fmla="*/ 4344402 h 5285288"/>
                  <a:gd name="connsiteX4" fmla="*/ 13319 w 4220964"/>
                  <a:gd name="connsiteY4" fmla="*/ 3955159 h 5285288"/>
                  <a:gd name="connsiteX5" fmla="*/ 417399 w 4220964"/>
                  <a:gd name="connsiteY5" fmla="*/ 3888049 h 5285288"/>
                  <a:gd name="connsiteX6" fmla="*/ 415832 w 4220964"/>
                  <a:gd name="connsiteY6" fmla="*/ 3881457 h 5285288"/>
                  <a:gd name="connsiteX7" fmla="*/ 415751 w 4220964"/>
                  <a:gd name="connsiteY7" fmla="*/ 3894265 h 5285288"/>
                  <a:gd name="connsiteX8" fmla="*/ 473006 w 4220964"/>
                  <a:gd name="connsiteY8" fmla="*/ 3993435 h 5285288"/>
                  <a:gd name="connsiteX9" fmla="*/ 1973978 w 4220964"/>
                  <a:gd name="connsiteY9" fmla="*/ 4865353 h 5285288"/>
                  <a:gd name="connsiteX10" fmla="*/ 1974322 w 4220964"/>
                  <a:gd name="connsiteY10" fmla="*/ 4865745 h 5285288"/>
                  <a:gd name="connsiteX11" fmla="*/ 1996363 w 4220964"/>
                  <a:gd name="connsiteY11" fmla="*/ 4859558 h 5285288"/>
                  <a:gd name="connsiteX12" fmla="*/ 2042443 w 4220964"/>
                  <a:gd name="connsiteY12" fmla="*/ 4799004 h 5285288"/>
                  <a:gd name="connsiteX13" fmla="*/ 2044287 w 4220964"/>
                  <a:gd name="connsiteY13" fmla="*/ 4105978 h 5285288"/>
                  <a:gd name="connsiteX14" fmla="*/ 2046558 w 4220964"/>
                  <a:gd name="connsiteY14" fmla="*/ 1054770 h 5285288"/>
                  <a:gd name="connsiteX15" fmla="*/ 2045373 w 4220964"/>
                  <a:gd name="connsiteY15" fmla="*/ 1017192 h 5285288"/>
                  <a:gd name="connsiteX16" fmla="*/ 2043338 w 4220964"/>
                  <a:gd name="connsiteY16" fmla="*/ 494424 h 5285288"/>
                  <a:gd name="connsiteX17" fmla="*/ 2088829 w 4220964"/>
                  <a:gd name="connsiteY17" fmla="*/ 171698 h 5285288"/>
                  <a:gd name="connsiteX18" fmla="*/ 2253436 w 4220964"/>
                  <a:gd name="connsiteY18" fmla="*/ 25112 h 5285288"/>
                  <a:gd name="connsiteX19" fmla="*/ 2453082 w 4220964"/>
                  <a:gd name="connsiteY19" fmla="*/ 3326 h 5285288"/>
                  <a:gd name="connsiteX20" fmla="*/ 2628786 w 4220964"/>
                  <a:gd name="connsiteY20" fmla="*/ 37548 h 5285288"/>
                  <a:gd name="connsiteX21" fmla="*/ 4179939 w 4220964"/>
                  <a:gd name="connsiteY21" fmla="*/ 924343 h 5285288"/>
                  <a:gd name="connsiteX22" fmla="*/ 4180896 w 4220964"/>
                  <a:gd name="connsiteY22" fmla="*/ 1149844 h 5285288"/>
                  <a:gd name="connsiteX23" fmla="*/ 4006931 w 4220964"/>
                  <a:gd name="connsiteY23" fmla="*/ 1269783 h 5285288"/>
                  <a:gd name="connsiteX24" fmla="*/ 3987084 w 4220964"/>
                  <a:gd name="connsiteY24" fmla="*/ 1262485 h 5285288"/>
                  <a:gd name="connsiteX25" fmla="*/ 2521609 w 4220964"/>
                  <a:gd name="connsiteY25" fmla="*/ 431577 h 5285288"/>
                  <a:gd name="connsiteX26" fmla="*/ 2521266 w 4220964"/>
                  <a:gd name="connsiteY26" fmla="*/ 431184 h 5285288"/>
                  <a:gd name="connsiteX27" fmla="*/ 2499111 w 4220964"/>
                  <a:gd name="connsiteY27" fmla="*/ 437405 h 5285288"/>
                  <a:gd name="connsiteX28" fmla="*/ 2456461 w 4220964"/>
                  <a:gd name="connsiteY28" fmla="*/ 539231 h 5285288"/>
                  <a:gd name="connsiteX29" fmla="*/ 2456456 w 4220964"/>
                  <a:gd name="connsiteY29" fmla="*/ 1065628 h 5285288"/>
                  <a:gd name="connsiteX30" fmla="*/ 2453679 w 4220964"/>
                  <a:gd name="connsiteY30" fmla="*/ 1081825 h 5285288"/>
                  <a:gd name="connsiteX31" fmla="*/ 2450853 w 4220964"/>
                  <a:gd name="connsiteY31" fmla="*/ 1858316 h 5285288"/>
                  <a:gd name="connsiteX32" fmla="*/ 2452710 w 4220964"/>
                  <a:gd name="connsiteY32" fmla="*/ 1861834 h 5285288"/>
                  <a:gd name="connsiteX33" fmla="*/ 2452043 w 4220964"/>
                  <a:gd name="connsiteY33" fmla="*/ 3038034 h 5285288"/>
                  <a:gd name="connsiteX34" fmla="*/ 2449903 w 4220964"/>
                  <a:gd name="connsiteY34" fmla="*/ 4802821 h 5285288"/>
                  <a:gd name="connsiteX35" fmla="*/ 2383105 w 4220964"/>
                  <a:gd name="connsiteY35" fmla="*/ 5061801 h 5285288"/>
                  <a:gd name="connsiteX36" fmla="*/ 2239137 w 4220964"/>
                  <a:gd name="connsiteY36" fmla="*/ 5216241 h 5285288"/>
                  <a:gd name="connsiteX37" fmla="*/ 2028501 w 4220964"/>
                  <a:gd name="connsiteY37" fmla="*/ 5284752 h 5285288"/>
                  <a:gd name="connsiteX38" fmla="*/ 1978947 w 4220964"/>
                  <a:gd name="connsiteY38" fmla="*/ 5285252 h 5285288"/>
                  <a:gd name="connsiteX0" fmla="*/ 1790618 w 4032635"/>
                  <a:gd name="connsiteY0" fmla="*/ 5285252 h 5285288"/>
                  <a:gd name="connsiteX1" fmla="*/ 1678994 w 4032635"/>
                  <a:gd name="connsiteY1" fmla="*/ 5257452 h 5285288"/>
                  <a:gd name="connsiteX2" fmla="*/ 1618993 w 4032635"/>
                  <a:gd name="connsiteY2" fmla="*/ 5227600 h 5285288"/>
                  <a:gd name="connsiteX3" fmla="*/ 77646 w 4032635"/>
                  <a:gd name="connsiteY3" fmla="*/ 4344402 h 5285288"/>
                  <a:gd name="connsiteX4" fmla="*/ 229070 w 4032635"/>
                  <a:gd name="connsiteY4" fmla="*/ 3888049 h 5285288"/>
                  <a:gd name="connsiteX5" fmla="*/ 227503 w 4032635"/>
                  <a:gd name="connsiteY5" fmla="*/ 3881457 h 5285288"/>
                  <a:gd name="connsiteX6" fmla="*/ 227422 w 4032635"/>
                  <a:gd name="connsiteY6" fmla="*/ 3894265 h 5285288"/>
                  <a:gd name="connsiteX7" fmla="*/ 284677 w 4032635"/>
                  <a:gd name="connsiteY7" fmla="*/ 3993435 h 5285288"/>
                  <a:gd name="connsiteX8" fmla="*/ 1785649 w 4032635"/>
                  <a:gd name="connsiteY8" fmla="*/ 4865353 h 5285288"/>
                  <a:gd name="connsiteX9" fmla="*/ 1785993 w 4032635"/>
                  <a:gd name="connsiteY9" fmla="*/ 4865745 h 5285288"/>
                  <a:gd name="connsiteX10" fmla="*/ 1808034 w 4032635"/>
                  <a:gd name="connsiteY10" fmla="*/ 4859558 h 5285288"/>
                  <a:gd name="connsiteX11" fmla="*/ 1854114 w 4032635"/>
                  <a:gd name="connsiteY11" fmla="*/ 4799004 h 5285288"/>
                  <a:gd name="connsiteX12" fmla="*/ 1855958 w 4032635"/>
                  <a:gd name="connsiteY12" fmla="*/ 4105978 h 5285288"/>
                  <a:gd name="connsiteX13" fmla="*/ 1858229 w 4032635"/>
                  <a:gd name="connsiteY13" fmla="*/ 1054770 h 5285288"/>
                  <a:gd name="connsiteX14" fmla="*/ 1857044 w 4032635"/>
                  <a:gd name="connsiteY14" fmla="*/ 1017192 h 5285288"/>
                  <a:gd name="connsiteX15" fmla="*/ 1855009 w 4032635"/>
                  <a:gd name="connsiteY15" fmla="*/ 494424 h 5285288"/>
                  <a:gd name="connsiteX16" fmla="*/ 1900500 w 4032635"/>
                  <a:gd name="connsiteY16" fmla="*/ 171698 h 5285288"/>
                  <a:gd name="connsiteX17" fmla="*/ 2065107 w 4032635"/>
                  <a:gd name="connsiteY17" fmla="*/ 25112 h 5285288"/>
                  <a:gd name="connsiteX18" fmla="*/ 2264753 w 4032635"/>
                  <a:gd name="connsiteY18" fmla="*/ 3326 h 5285288"/>
                  <a:gd name="connsiteX19" fmla="*/ 2440457 w 4032635"/>
                  <a:gd name="connsiteY19" fmla="*/ 37548 h 5285288"/>
                  <a:gd name="connsiteX20" fmla="*/ 3991610 w 4032635"/>
                  <a:gd name="connsiteY20" fmla="*/ 924343 h 5285288"/>
                  <a:gd name="connsiteX21" fmla="*/ 3992567 w 4032635"/>
                  <a:gd name="connsiteY21" fmla="*/ 1149844 h 5285288"/>
                  <a:gd name="connsiteX22" fmla="*/ 3818602 w 4032635"/>
                  <a:gd name="connsiteY22" fmla="*/ 1269783 h 5285288"/>
                  <a:gd name="connsiteX23" fmla="*/ 3798755 w 4032635"/>
                  <a:gd name="connsiteY23" fmla="*/ 1262485 h 5285288"/>
                  <a:gd name="connsiteX24" fmla="*/ 2333280 w 4032635"/>
                  <a:gd name="connsiteY24" fmla="*/ 431577 h 5285288"/>
                  <a:gd name="connsiteX25" fmla="*/ 2332937 w 4032635"/>
                  <a:gd name="connsiteY25" fmla="*/ 431184 h 5285288"/>
                  <a:gd name="connsiteX26" fmla="*/ 2310782 w 4032635"/>
                  <a:gd name="connsiteY26" fmla="*/ 437405 h 5285288"/>
                  <a:gd name="connsiteX27" fmla="*/ 2268132 w 4032635"/>
                  <a:gd name="connsiteY27" fmla="*/ 539231 h 5285288"/>
                  <a:gd name="connsiteX28" fmla="*/ 2268127 w 4032635"/>
                  <a:gd name="connsiteY28" fmla="*/ 1065628 h 5285288"/>
                  <a:gd name="connsiteX29" fmla="*/ 2265350 w 4032635"/>
                  <a:gd name="connsiteY29" fmla="*/ 1081825 h 5285288"/>
                  <a:gd name="connsiteX30" fmla="*/ 2262524 w 4032635"/>
                  <a:gd name="connsiteY30" fmla="*/ 1858316 h 5285288"/>
                  <a:gd name="connsiteX31" fmla="*/ 2264381 w 4032635"/>
                  <a:gd name="connsiteY31" fmla="*/ 1861834 h 5285288"/>
                  <a:gd name="connsiteX32" fmla="*/ 2263714 w 4032635"/>
                  <a:gd name="connsiteY32" fmla="*/ 3038034 h 5285288"/>
                  <a:gd name="connsiteX33" fmla="*/ 2261574 w 4032635"/>
                  <a:gd name="connsiteY33" fmla="*/ 4802821 h 5285288"/>
                  <a:gd name="connsiteX34" fmla="*/ 2194776 w 4032635"/>
                  <a:gd name="connsiteY34" fmla="*/ 5061801 h 5285288"/>
                  <a:gd name="connsiteX35" fmla="*/ 2050808 w 4032635"/>
                  <a:gd name="connsiteY35" fmla="*/ 5216241 h 5285288"/>
                  <a:gd name="connsiteX36" fmla="*/ 1840172 w 4032635"/>
                  <a:gd name="connsiteY36" fmla="*/ 5284752 h 5285288"/>
                  <a:gd name="connsiteX37" fmla="*/ 1790618 w 4032635"/>
                  <a:gd name="connsiteY37" fmla="*/ 5285252 h 5285288"/>
                  <a:gd name="connsiteX0" fmla="*/ 1563196 w 3805213"/>
                  <a:gd name="connsiteY0" fmla="*/ 5285252 h 5285288"/>
                  <a:gd name="connsiteX1" fmla="*/ 1451572 w 3805213"/>
                  <a:gd name="connsiteY1" fmla="*/ 5257452 h 5285288"/>
                  <a:gd name="connsiteX2" fmla="*/ 1391571 w 3805213"/>
                  <a:gd name="connsiteY2" fmla="*/ 5227600 h 5285288"/>
                  <a:gd name="connsiteX3" fmla="*/ 1648 w 3805213"/>
                  <a:gd name="connsiteY3" fmla="*/ 3888049 h 5285288"/>
                  <a:gd name="connsiteX4" fmla="*/ 81 w 3805213"/>
                  <a:gd name="connsiteY4" fmla="*/ 3881457 h 5285288"/>
                  <a:gd name="connsiteX5" fmla="*/ 0 w 3805213"/>
                  <a:gd name="connsiteY5" fmla="*/ 3894265 h 5285288"/>
                  <a:gd name="connsiteX6" fmla="*/ 57255 w 3805213"/>
                  <a:gd name="connsiteY6" fmla="*/ 3993435 h 5285288"/>
                  <a:gd name="connsiteX7" fmla="*/ 1558227 w 3805213"/>
                  <a:gd name="connsiteY7" fmla="*/ 4865353 h 5285288"/>
                  <a:gd name="connsiteX8" fmla="*/ 1558571 w 3805213"/>
                  <a:gd name="connsiteY8" fmla="*/ 4865745 h 5285288"/>
                  <a:gd name="connsiteX9" fmla="*/ 1580612 w 3805213"/>
                  <a:gd name="connsiteY9" fmla="*/ 4859558 h 5285288"/>
                  <a:gd name="connsiteX10" fmla="*/ 1626692 w 3805213"/>
                  <a:gd name="connsiteY10" fmla="*/ 4799004 h 5285288"/>
                  <a:gd name="connsiteX11" fmla="*/ 1628536 w 3805213"/>
                  <a:gd name="connsiteY11" fmla="*/ 4105978 h 5285288"/>
                  <a:gd name="connsiteX12" fmla="*/ 1630807 w 3805213"/>
                  <a:gd name="connsiteY12" fmla="*/ 1054770 h 5285288"/>
                  <a:gd name="connsiteX13" fmla="*/ 1629622 w 3805213"/>
                  <a:gd name="connsiteY13" fmla="*/ 1017192 h 5285288"/>
                  <a:gd name="connsiteX14" fmla="*/ 1627587 w 3805213"/>
                  <a:gd name="connsiteY14" fmla="*/ 494424 h 5285288"/>
                  <a:gd name="connsiteX15" fmla="*/ 1673078 w 3805213"/>
                  <a:gd name="connsiteY15" fmla="*/ 171698 h 5285288"/>
                  <a:gd name="connsiteX16" fmla="*/ 1837685 w 3805213"/>
                  <a:gd name="connsiteY16" fmla="*/ 25112 h 5285288"/>
                  <a:gd name="connsiteX17" fmla="*/ 2037331 w 3805213"/>
                  <a:gd name="connsiteY17" fmla="*/ 3326 h 5285288"/>
                  <a:gd name="connsiteX18" fmla="*/ 2213035 w 3805213"/>
                  <a:gd name="connsiteY18" fmla="*/ 37548 h 5285288"/>
                  <a:gd name="connsiteX19" fmla="*/ 3764188 w 3805213"/>
                  <a:gd name="connsiteY19" fmla="*/ 924343 h 5285288"/>
                  <a:gd name="connsiteX20" fmla="*/ 3765145 w 3805213"/>
                  <a:gd name="connsiteY20" fmla="*/ 1149844 h 5285288"/>
                  <a:gd name="connsiteX21" fmla="*/ 3591180 w 3805213"/>
                  <a:gd name="connsiteY21" fmla="*/ 1269783 h 5285288"/>
                  <a:gd name="connsiteX22" fmla="*/ 3571333 w 3805213"/>
                  <a:gd name="connsiteY22" fmla="*/ 1262485 h 5285288"/>
                  <a:gd name="connsiteX23" fmla="*/ 2105858 w 3805213"/>
                  <a:gd name="connsiteY23" fmla="*/ 431577 h 5285288"/>
                  <a:gd name="connsiteX24" fmla="*/ 2105515 w 3805213"/>
                  <a:gd name="connsiteY24" fmla="*/ 431184 h 5285288"/>
                  <a:gd name="connsiteX25" fmla="*/ 2083360 w 3805213"/>
                  <a:gd name="connsiteY25" fmla="*/ 437405 h 5285288"/>
                  <a:gd name="connsiteX26" fmla="*/ 2040710 w 3805213"/>
                  <a:gd name="connsiteY26" fmla="*/ 539231 h 5285288"/>
                  <a:gd name="connsiteX27" fmla="*/ 2040705 w 3805213"/>
                  <a:gd name="connsiteY27" fmla="*/ 1065628 h 5285288"/>
                  <a:gd name="connsiteX28" fmla="*/ 2037928 w 3805213"/>
                  <a:gd name="connsiteY28" fmla="*/ 1081825 h 5285288"/>
                  <a:gd name="connsiteX29" fmla="*/ 2035102 w 3805213"/>
                  <a:gd name="connsiteY29" fmla="*/ 1858316 h 5285288"/>
                  <a:gd name="connsiteX30" fmla="*/ 2036959 w 3805213"/>
                  <a:gd name="connsiteY30" fmla="*/ 1861834 h 5285288"/>
                  <a:gd name="connsiteX31" fmla="*/ 2036292 w 3805213"/>
                  <a:gd name="connsiteY31" fmla="*/ 3038034 h 5285288"/>
                  <a:gd name="connsiteX32" fmla="*/ 2034152 w 3805213"/>
                  <a:gd name="connsiteY32" fmla="*/ 4802821 h 5285288"/>
                  <a:gd name="connsiteX33" fmla="*/ 1967354 w 3805213"/>
                  <a:gd name="connsiteY33" fmla="*/ 5061801 h 5285288"/>
                  <a:gd name="connsiteX34" fmla="*/ 1823386 w 3805213"/>
                  <a:gd name="connsiteY34" fmla="*/ 5216241 h 5285288"/>
                  <a:gd name="connsiteX35" fmla="*/ 1612750 w 3805213"/>
                  <a:gd name="connsiteY35" fmla="*/ 5284752 h 5285288"/>
                  <a:gd name="connsiteX36" fmla="*/ 1563196 w 3805213"/>
                  <a:gd name="connsiteY36" fmla="*/ 5285252 h 5285288"/>
                  <a:gd name="connsiteX0" fmla="*/ 1635752 w 3877769"/>
                  <a:gd name="connsiteY0" fmla="*/ 5285252 h 5285288"/>
                  <a:gd name="connsiteX1" fmla="*/ 1524128 w 3877769"/>
                  <a:gd name="connsiteY1" fmla="*/ 5257452 h 5285288"/>
                  <a:gd name="connsiteX2" fmla="*/ 1464127 w 3877769"/>
                  <a:gd name="connsiteY2" fmla="*/ 5227600 h 5285288"/>
                  <a:gd name="connsiteX3" fmla="*/ 74204 w 3877769"/>
                  <a:gd name="connsiteY3" fmla="*/ 3888049 h 5285288"/>
                  <a:gd name="connsiteX4" fmla="*/ 72637 w 3877769"/>
                  <a:gd name="connsiteY4" fmla="*/ 3881457 h 5285288"/>
                  <a:gd name="connsiteX5" fmla="*/ 129811 w 3877769"/>
                  <a:gd name="connsiteY5" fmla="*/ 3993435 h 5285288"/>
                  <a:gd name="connsiteX6" fmla="*/ 1630783 w 3877769"/>
                  <a:gd name="connsiteY6" fmla="*/ 4865353 h 5285288"/>
                  <a:gd name="connsiteX7" fmla="*/ 1631127 w 3877769"/>
                  <a:gd name="connsiteY7" fmla="*/ 4865745 h 5285288"/>
                  <a:gd name="connsiteX8" fmla="*/ 1653168 w 3877769"/>
                  <a:gd name="connsiteY8" fmla="*/ 4859558 h 5285288"/>
                  <a:gd name="connsiteX9" fmla="*/ 1699248 w 3877769"/>
                  <a:gd name="connsiteY9" fmla="*/ 4799004 h 5285288"/>
                  <a:gd name="connsiteX10" fmla="*/ 1701092 w 3877769"/>
                  <a:gd name="connsiteY10" fmla="*/ 4105978 h 5285288"/>
                  <a:gd name="connsiteX11" fmla="*/ 1703363 w 3877769"/>
                  <a:gd name="connsiteY11" fmla="*/ 1054770 h 5285288"/>
                  <a:gd name="connsiteX12" fmla="*/ 1702178 w 3877769"/>
                  <a:gd name="connsiteY12" fmla="*/ 1017192 h 5285288"/>
                  <a:gd name="connsiteX13" fmla="*/ 1700143 w 3877769"/>
                  <a:gd name="connsiteY13" fmla="*/ 494424 h 5285288"/>
                  <a:gd name="connsiteX14" fmla="*/ 1745634 w 3877769"/>
                  <a:gd name="connsiteY14" fmla="*/ 171698 h 5285288"/>
                  <a:gd name="connsiteX15" fmla="*/ 1910241 w 3877769"/>
                  <a:gd name="connsiteY15" fmla="*/ 25112 h 5285288"/>
                  <a:gd name="connsiteX16" fmla="*/ 2109887 w 3877769"/>
                  <a:gd name="connsiteY16" fmla="*/ 3326 h 5285288"/>
                  <a:gd name="connsiteX17" fmla="*/ 2285591 w 3877769"/>
                  <a:gd name="connsiteY17" fmla="*/ 37548 h 5285288"/>
                  <a:gd name="connsiteX18" fmla="*/ 3836744 w 3877769"/>
                  <a:gd name="connsiteY18" fmla="*/ 924343 h 5285288"/>
                  <a:gd name="connsiteX19" fmla="*/ 3837701 w 3877769"/>
                  <a:gd name="connsiteY19" fmla="*/ 1149844 h 5285288"/>
                  <a:gd name="connsiteX20" fmla="*/ 3663736 w 3877769"/>
                  <a:gd name="connsiteY20" fmla="*/ 1269783 h 5285288"/>
                  <a:gd name="connsiteX21" fmla="*/ 3643889 w 3877769"/>
                  <a:gd name="connsiteY21" fmla="*/ 1262485 h 5285288"/>
                  <a:gd name="connsiteX22" fmla="*/ 2178414 w 3877769"/>
                  <a:gd name="connsiteY22" fmla="*/ 431577 h 5285288"/>
                  <a:gd name="connsiteX23" fmla="*/ 2178071 w 3877769"/>
                  <a:gd name="connsiteY23" fmla="*/ 431184 h 5285288"/>
                  <a:gd name="connsiteX24" fmla="*/ 2155916 w 3877769"/>
                  <a:gd name="connsiteY24" fmla="*/ 437405 h 5285288"/>
                  <a:gd name="connsiteX25" fmla="*/ 2113266 w 3877769"/>
                  <a:gd name="connsiteY25" fmla="*/ 539231 h 5285288"/>
                  <a:gd name="connsiteX26" fmla="*/ 2113261 w 3877769"/>
                  <a:gd name="connsiteY26" fmla="*/ 1065628 h 5285288"/>
                  <a:gd name="connsiteX27" fmla="*/ 2110484 w 3877769"/>
                  <a:gd name="connsiteY27" fmla="*/ 1081825 h 5285288"/>
                  <a:gd name="connsiteX28" fmla="*/ 2107658 w 3877769"/>
                  <a:gd name="connsiteY28" fmla="*/ 1858316 h 5285288"/>
                  <a:gd name="connsiteX29" fmla="*/ 2109515 w 3877769"/>
                  <a:gd name="connsiteY29" fmla="*/ 1861834 h 5285288"/>
                  <a:gd name="connsiteX30" fmla="*/ 2108848 w 3877769"/>
                  <a:gd name="connsiteY30" fmla="*/ 3038034 h 5285288"/>
                  <a:gd name="connsiteX31" fmla="*/ 2106708 w 3877769"/>
                  <a:gd name="connsiteY31" fmla="*/ 4802821 h 5285288"/>
                  <a:gd name="connsiteX32" fmla="*/ 2039910 w 3877769"/>
                  <a:gd name="connsiteY32" fmla="*/ 5061801 h 5285288"/>
                  <a:gd name="connsiteX33" fmla="*/ 1895942 w 3877769"/>
                  <a:gd name="connsiteY33" fmla="*/ 5216241 h 5285288"/>
                  <a:gd name="connsiteX34" fmla="*/ 1685306 w 3877769"/>
                  <a:gd name="connsiteY34" fmla="*/ 5284752 h 5285288"/>
                  <a:gd name="connsiteX35" fmla="*/ 1635752 w 3877769"/>
                  <a:gd name="connsiteY35" fmla="*/ 5285252 h 5285288"/>
                  <a:gd name="connsiteX0" fmla="*/ 1563115 w 3805132"/>
                  <a:gd name="connsiteY0" fmla="*/ 5285252 h 5285288"/>
                  <a:gd name="connsiteX1" fmla="*/ 1451491 w 3805132"/>
                  <a:gd name="connsiteY1" fmla="*/ 5257452 h 5285288"/>
                  <a:gd name="connsiteX2" fmla="*/ 1391490 w 3805132"/>
                  <a:gd name="connsiteY2" fmla="*/ 5227600 h 5285288"/>
                  <a:gd name="connsiteX3" fmla="*/ 1567 w 3805132"/>
                  <a:gd name="connsiteY3" fmla="*/ 3888049 h 5285288"/>
                  <a:gd name="connsiteX4" fmla="*/ 0 w 3805132"/>
                  <a:gd name="connsiteY4" fmla="*/ 3881457 h 5285288"/>
                  <a:gd name="connsiteX5" fmla="*/ 1558146 w 3805132"/>
                  <a:gd name="connsiteY5" fmla="*/ 4865353 h 5285288"/>
                  <a:gd name="connsiteX6" fmla="*/ 1558490 w 3805132"/>
                  <a:gd name="connsiteY6" fmla="*/ 4865745 h 5285288"/>
                  <a:gd name="connsiteX7" fmla="*/ 1580531 w 3805132"/>
                  <a:gd name="connsiteY7" fmla="*/ 4859558 h 5285288"/>
                  <a:gd name="connsiteX8" fmla="*/ 1626611 w 3805132"/>
                  <a:gd name="connsiteY8" fmla="*/ 4799004 h 5285288"/>
                  <a:gd name="connsiteX9" fmla="*/ 1628455 w 3805132"/>
                  <a:gd name="connsiteY9" fmla="*/ 4105978 h 5285288"/>
                  <a:gd name="connsiteX10" fmla="*/ 1630726 w 3805132"/>
                  <a:gd name="connsiteY10" fmla="*/ 1054770 h 5285288"/>
                  <a:gd name="connsiteX11" fmla="*/ 1629541 w 3805132"/>
                  <a:gd name="connsiteY11" fmla="*/ 1017192 h 5285288"/>
                  <a:gd name="connsiteX12" fmla="*/ 1627506 w 3805132"/>
                  <a:gd name="connsiteY12" fmla="*/ 494424 h 5285288"/>
                  <a:gd name="connsiteX13" fmla="*/ 1672997 w 3805132"/>
                  <a:gd name="connsiteY13" fmla="*/ 171698 h 5285288"/>
                  <a:gd name="connsiteX14" fmla="*/ 1837604 w 3805132"/>
                  <a:gd name="connsiteY14" fmla="*/ 25112 h 5285288"/>
                  <a:gd name="connsiteX15" fmla="*/ 2037250 w 3805132"/>
                  <a:gd name="connsiteY15" fmla="*/ 3326 h 5285288"/>
                  <a:gd name="connsiteX16" fmla="*/ 2212954 w 3805132"/>
                  <a:gd name="connsiteY16" fmla="*/ 37548 h 5285288"/>
                  <a:gd name="connsiteX17" fmla="*/ 3764107 w 3805132"/>
                  <a:gd name="connsiteY17" fmla="*/ 924343 h 5285288"/>
                  <a:gd name="connsiteX18" fmla="*/ 3765064 w 3805132"/>
                  <a:gd name="connsiteY18" fmla="*/ 1149844 h 5285288"/>
                  <a:gd name="connsiteX19" fmla="*/ 3591099 w 3805132"/>
                  <a:gd name="connsiteY19" fmla="*/ 1269783 h 5285288"/>
                  <a:gd name="connsiteX20" fmla="*/ 3571252 w 3805132"/>
                  <a:gd name="connsiteY20" fmla="*/ 1262485 h 5285288"/>
                  <a:gd name="connsiteX21" fmla="*/ 2105777 w 3805132"/>
                  <a:gd name="connsiteY21" fmla="*/ 431577 h 5285288"/>
                  <a:gd name="connsiteX22" fmla="*/ 2105434 w 3805132"/>
                  <a:gd name="connsiteY22" fmla="*/ 431184 h 5285288"/>
                  <a:gd name="connsiteX23" fmla="*/ 2083279 w 3805132"/>
                  <a:gd name="connsiteY23" fmla="*/ 437405 h 5285288"/>
                  <a:gd name="connsiteX24" fmla="*/ 2040629 w 3805132"/>
                  <a:gd name="connsiteY24" fmla="*/ 539231 h 5285288"/>
                  <a:gd name="connsiteX25" fmla="*/ 2040624 w 3805132"/>
                  <a:gd name="connsiteY25" fmla="*/ 1065628 h 5285288"/>
                  <a:gd name="connsiteX26" fmla="*/ 2037847 w 3805132"/>
                  <a:gd name="connsiteY26" fmla="*/ 1081825 h 5285288"/>
                  <a:gd name="connsiteX27" fmla="*/ 2035021 w 3805132"/>
                  <a:gd name="connsiteY27" fmla="*/ 1858316 h 5285288"/>
                  <a:gd name="connsiteX28" fmla="*/ 2036878 w 3805132"/>
                  <a:gd name="connsiteY28" fmla="*/ 1861834 h 5285288"/>
                  <a:gd name="connsiteX29" fmla="*/ 2036211 w 3805132"/>
                  <a:gd name="connsiteY29" fmla="*/ 3038034 h 5285288"/>
                  <a:gd name="connsiteX30" fmla="*/ 2034071 w 3805132"/>
                  <a:gd name="connsiteY30" fmla="*/ 4802821 h 5285288"/>
                  <a:gd name="connsiteX31" fmla="*/ 1967273 w 3805132"/>
                  <a:gd name="connsiteY31" fmla="*/ 5061801 h 5285288"/>
                  <a:gd name="connsiteX32" fmla="*/ 1823305 w 3805132"/>
                  <a:gd name="connsiteY32" fmla="*/ 5216241 h 5285288"/>
                  <a:gd name="connsiteX33" fmla="*/ 1612669 w 3805132"/>
                  <a:gd name="connsiteY33" fmla="*/ 5284752 h 5285288"/>
                  <a:gd name="connsiteX34" fmla="*/ 1563115 w 3805132"/>
                  <a:gd name="connsiteY34"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556923 w 3803565"/>
                  <a:gd name="connsiteY5" fmla="*/ 4865745 h 5285288"/>
                  <a:gd name="connsiteX6" fmla="*/ 1578964 w 3803565"/>
                  <a:gd name="connsiteY6" fmla="*/ 4859558 h 5285288"/>
                  <a:gd name="connsiteX7" fmla="*/ 1625044 w 3803565"/>
                  <a:gd name="connsiteY7" fmla="*/ 4799004 h 5285288"/>
                  <a:gd name="connsiteX8" fmla="*/ 1626888 w 3803565"/>
                  <a:gd name="connsiteY8" fmla="*/ 4105978 h 5285288"/>
                  <a:gd name="connsiteX9" fmla="*/ 1629159 w 3803565"/>
                  <a:gd name="connsiteY9" fmla="*/ 1054770 h 5285288"/>
                  <a:gd name="connsiteX10" fmla="*/ 1627974 w 3803565"/>
                  <a:gd name="connsiteY10" fmla="*/ 1017192 h 5285288"/>
                  <a:gd name="connsiteX11" fmla="*/ 1625939 w 3803565"/>
                  <a:gd name="connsiteY11" fmla="*/ 494424 h 5285288"/>
                  <a:gd name="connsiteX12" fmla="*/ 1671430 w 3803565"/>
                  <a:gd name="connsiteY12" fmla="*/ 171698 h 5285288"/>
                  <a:gd name="connsiteX13" fmla="*/ 1836037 w 3803565"/>
                  <a:gd name="connsiteY13" fmla="*/ 25112 h 5285288"/>
                  <a:gd name="connsiteX14" fmla="*/ 2035683 w 3803565"/>
                  <a:gd name="connsiteY14" fmla="*/ 3326 h 5285288"/>
                  <a:gd name="connsiteX15" fmla="*/ 2211387 w 3803565"/>
                  <a:gd name="connsiteY15" fmla="*/ 37548 h 5285288"/>
                  <a:gd name="connsiteX16" fmla="*/ 3762540 w 3803565"/>
                  <a:gd name="connsiteY16" fmla="*/ 924343 h 5285288"/>
                  <a:gd name="connsiteX17" fmla="*/ 3763497 w 3803565"/>
                  <a:gd name="connsiteY17" fmla="*/ 1149844 h 5285288"/>
                  <a:gd name="connsiteX18" fmla="*/ 3589532 w 3803565"/>
                  <a:gd name="connsiteY18" fmla="*/ 1269783 h 5285288"/>
                  <a:gd name="connsiteX19" fmla="*/ 3569685 w 3803565"/>
                  <a:gd name="connsiteY19" fmla="*/ 1262485 h 5285288"/>
                  <a:gd name="connsiteX20" fmla="*/ 2104210 w 3803565"/>
                  <a:gd name="connsiteY20" fmla="*/ 431577 h 5285288"/>
                  <a:gd name="connsiteX21" fmla="*/ 2103867 w 3803565"/>
                  <a:gd name="connsiteY21" fmla="*/ 431184 h 5285288"/>
                  <a:gd name="connsiteX22" fmla="*/ 2081712 w 3803565"/>
                  <a:gd name="connsiteY22" fmla="*/ 437405 h 5285288"/>
                  <a:gd name="connsiteX23" fmla="*/ 2039062 w 3803565"/>
                  <a:gd name="connsiteY23" fmla="*/ 539231 h 5285288"/>
                  <a:gd name="connsiteX24" fmla="*/ 2039057 w 3803565"/>
                  <a:gd name="connsiteY24" fmla="*/ 1065628 h 5285288"/>
                  <a:gd name="connsiteX25" fmla="*/ 2036280 w 3803565"/>
                  <a:gd name="connsiteY25" fmla="*/ 1081825 h 5285288"/>
                  <a:gd name="connsiteX26" fmla="*/ 2033454 w 3803565"/>
                  <a:gd name="connsiteY26" fmla="*/ 1858316 h 5285288"/>
                  <a:gd name="connsiteX27" fmla="*/ 2035311 w 3803565"/>
                  <a:gd name="connsiteY27" fmla="*/ 1861834 h 5285288"/>
                  <a:gd name="connsiteX28" fmla="*/ 2034644 w 3803565"/>
                  <a:gd name="connsiteY28" fmla="*/ 3038034 h 5285288"/>
                  <a:gd name="connsiteX29" fmla="*/ 2032504 w 3803565"/>
                  <a:gd name="connsiteY29" fmla="*/ 4802821 h 5285288"/>
                  <a:gd name="connsiteX30" fmla="*/ 1965706 w 3803565"/>
                  <a:gd name="connsiteY30" fmla="*/ 5061801 h 5285288"/>
                  <a:gd name="connsiteX31" fmla="*/ 1821738 w 3803565"/>
                  <a:gd name="connsiteY31" fmla="*/ 5216241 h 5285288"/>
                  <a:gd name="connsiteX32" fmla="*/ 1611102 w 3803565"/>
                  <a:gd name="connsiteY32" fmla="*/ 5284752 h 5285288"/>
                  <a:gd name="connsiteX33" fmla="*/ 1561548 w 3803565"/>
                  <a:gd name="connsiteY33"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556923 w 3803565"/>
                  <a:gd name="connsiteY5" fmla="*/ 4865745 h 5285288"/>
                  <a:gd name="connsiteX6" fmla="*/ 1625044 w 3803565"/>
                  <a:gd name="connsiteY6" fmla="*/ 4799004 h 5285288"/>
                  <a:gd name="connsiteX7" fmla="*/ 1626888 w 3803565"/>
                  <a:gd name="connsiteY7" fmla="*/ 4105978 h 5285288"/>
                  <a:gd name="connsiteX8" fmla="*/ 1629159 w 3803565"/>
                  <a:gd name="connsiteY8" fmla="*/ 1054770 h 5285288"/>
                  <a:gd name="connsiteX9" fmla="*/ 1627974 w 3803565"/>
                  <a:gd name="connsiteY9" fmla="*/ 1017192 h 5285288"/>
                  <a:gd name="connsiteX10" fmla="*/ 1625939 w 3803565"/>
                  <a:gd name="connsiteY10" fmla="*/ 494424 h 5285288"/>
                  <a:gd name="connsiteX11" fmla="*/ 1671430 w 3803565"/>
                  <a:gd name="connsiteY11" fmla="*/ 171698 h 5285288"/>
                  <a:gd name="connsiteX12" fmla="*/ 1836037 w 3803565"/>
                  <a:gd name="connsiteY12" fmla="*/ 25112 h 5285288"/>
                  <a:gd name="connsiteX13" fmla="*/ 2035683 w 3803565"/>
                  <a:gd name="connsiteY13" fmla="*/ 3326 h 5285288"/>
                  <a:gd name="connsiteX14" fmla="*/ 2211387 w 3803565"/>
                  <a:gd name="connsiteY14" fmla="*/ 37548 h 5285288"/>
                  <a:gd name="connsiteX15" fmla="*/ 3762540 w 3803565"/>
                  <a:gd name="connsiteY15" fmla="*/ 924343 h 5285288"/>
                  <a:gd name="connsiteX16" fmla="*/ 3763497 w 3803565"/>
                  <a:gd name="connsiteY16" fmla="*/ 1149844 h 5285288"/>
                  <a:gd name="connsiteX17" fmla="*/ 3589532 w 3803565"/>
                  <a:gd name="connsiteY17" fmla="*/ 1269783 h 5285288"/>
                  <a:gd name="connsiteX18" fmla="*/ 3569685 w 3803565"/>
                  <a:gd name="connsiteY18" fmla="*/ 1262485 h 5285288"/>
                  <a:gd name="connsiteX19" fmla="*/ 2104210 w 3803565"/>
                  <a:gd name="connsiteY19" fmla="*/ 431577 h 5285288"/>
                  <a:gd name="connsiteX20" fmla="*/ 2103867 w 3803565"/>
                  <a:gd name="connsiteY20" fmla="*/ 431184 h 5285288"/>
                  <a:gd name="connsiteX21" fmla="*/ 2081712 w 3803565"/>
                  <a:gd name="connsiteY21" fmla="*/ 437405 h 5285288"/>
                  <a:gd name="connsiteX22" fmla="*/ 2039062 w 3803565"/>
                  <a:gd name="connsiteY22" fmla="*/ 539231 h 5285288"/>
                  <a:gd name="connsiteX23" fmla="*/ 2039057 w 3803565"/>
                  <a:gd name="connsiteY23" fmla="*/ 1065628 h 5285288"/>
                  <a:gd name="connsiteX24" fmla="*/ 2036280 w 3803565"/>
                  <a:gd name="connsiteY24" fmla="*/ 1081825 h 5285288"/>
                  <a:gd name="connsiteX25" fmla="*/ 2033454 w 3803565"/>
                  <a:gd name="connsiteY25" fmla="*/ 1858316 h 5285288"/>
                  <a:gd name="connsiteX26" fmla="*/ 2035311 w 3803565"/>
                  <a:gd name="connsiteY26" fmla="*/ 1861834 h 5285288"/>
                  <a:gd name="connsiteX27" fmla="*/ 2034644 w 3803565"/>
                  <a:gd name="connsiteY27" fmla="*/ 3038034 h 5285288"/>
                  <a:gd name="connsiteX28" fmla="*/ 2032504 w 3803565"/>
                  <a:gd name="connsiteY28" fmla="*/ 4802821 h 5285288"/>
                  <a:gd name="connsiteX29" fmla="*/ 1965706 w 3803565"/>
                  <a:gd name="connsiteY29" fmla="*/ 5061801 h 5285288"/>
                  <a:gd name="connsiteX30" fmla="*/ 1821738 w 3803565"/>
                  <a:gd name="connsiteY30" fmla="*/ 5216241 h 5285288"/>
                  <a:gd name="connsiteX31" fmla="*/ 1611102 w 3803565"/>
                  <a:gd name="connsiteY31" fmla="*/ 5284752 h 5285288"/>
                  <a:gd name="connsiteX32" fmla="*/ 1561548 w 3803565"/>
                  <a:gd name="connsiteY32"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625044 w 3803565"/>
                  <a:gd name="connsiteY5" fmla="*/ 4799004 h 5285288"/>
                  <a:gd name="connsiteX6" fmla="*/ 1626888 w 3803565"/>
                  <a:gd name="connsiteY6" fmla="*/ 4105978 h 5285288"/>
                  <a:gd name="connsiteX7" fmla="*/ 1629159 w 3803565"/>
                  <a:gd name="connsiteY7" fmla="*/ 1054770 h 5285288"/>
                  <a:gd name="connsiteX8" fmla="*/ 1627974 w 3803565"/>
                  <a:gd name="connsiteY8" fmla="*/ 1017192 h 5285288"/>
                  <a:gd name="connsiteX9" fmla="*/ 1625939 w 3803565"/>
                  <a:gd name="connsiteY9" fmla="*/ 494424 h 5285288"/>
                  <a:gd name="connsiteX10" fmla="*/ 1671430 w 3803565"/>
                  <a:gd name="connsiteY10" fmla="*/ 171698 h 5285288"/>
                  <a:gd name="connsiteX11" fmla="*/ 1836037 w 3803565"/>
                  <a:gd name="connsiteY11" fmla="*/ 25112 h 5285288"/>
                  <a:gd name="connsiteX12" fmla="*/ 2035683 w 3803565"/>
                  <a:gd name="connsiteY12" fmla="*/ 3326 h 5285288"/>
                  <a:gd name="connsiteX13" fmla="*/ 2211387 w 3803565"/>
                  <a:gd name="connsiteY13" fmla="*/ 37548 h 5285288"/>
                  <a:gd name="connsiteX14" fmla="*/ 3762540 w 3803565"/>
                  <a:gd name="connsiteY14" fmla="*/ 924343 h 5285288"/>
                  <a:gd name="connsiteX15" fmla="*/ 3763497 w 3803565"/>
                  <a:gd name="connsiteY15" fmla="*/ 1149844 h 5285288"/>
                  <a:gd name="connsiteX16" fmla="*/ 3589532 w 3803565"/>
                  <a:gd name="connsiteY16" fmla="*/ 1269783 h 5285288"/>
                  <a:gd name="connsiteX17" fmla="*/ 3569685 w 3803565"/>
                  <a:gd name="connsiteY17" fmla="*/ 1262485 h 5285288"/>
                  <a:gd name="connsiteX18" fmla="*/ 2104210 w 3803565"/>
                  <a:gd name="connsiteY18" fmla="*/ 431577 h 5285288"/>
                  <a:gd name="connsiteX19" fmla="*/ 2103867 w 3803565"/>
                  <a:gd name="connsiteY19" fmla="*/ 431184 h 5285288"/>
                  <a:gd name="connsiteX20" fmla="*/ 2081712 w 3803565"/>
                  <a:gd name="connsiteY20" fmla="*/ 437405 h 5285288"/>
                  <a:gd name="connsiteX21" fmla="*/ 2039062 w 3803565"/>
                  <a:gd name="connsiteY21" fmla="*/ 539231 h 5285288"/>
                  <a:gd name="connsiteX22" fmla="*/ 2039057 w 3803565"/>
                  <a:gd name="connsiteY22" fmla="*/ 1065628 h 5285288"/>
                  <a:gd name="connsiteX23" fmla="*/ 2036280 w 3803565"/>
                  <a:gd name="connsiteY23" fmla="*/ 1081825 h 5285288"/>
                  <a:gd name="connsiteX24" fmla="*/ 2033454 w 3803565"/>
                  <a:gd name="connsiteY24" fmla="*/ 1858316 h 5285288"/>
                  <a:gd name="connsiteX25" fmla="*/ 2035311 w 3803565"/>
                  <a:gd name="connsiteY25" fmla="*/ 1861834 h 5285288"/>
                  <a:gd name="connsiteX26" fmla="*/ 2034644 w 3803565"/>
                  <a:gd name="connsiteY26" fmla="*/ 3038034 h 5285288"/>
                  <a:gd name="connsiteX27" fmla="*/ 2032504 w 3803565"/>
                  <a:gd name="connsiteY27" fmla="*/ 4802821 h 5285288"/>
                  <a:gd name="connsiteX28" fmla="*/ 1965706 w 3803565"/>
                  <a:gd name="connsiteY28" fmla="*/ 5061801 h 5285288"/>
                  <a:gd name="connsiteX29" fmla="*/ 1821738 w 3803565"/>
                  <a:gd name="connsiteY29" fmla="*/ 5216241 h 5285288"/>
                  <a:gd name="connsiteX30" fmla="*/ 1611102 w 3803565"/>
                  <a:gd name="connsiteY30" fmla="*/ 5284752 h 5285288"/>
                  <a:gd name="connsiteX31" fmla="*/ 1561548 w 3803565"/>
                  <a:gd name="connsiteY31"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625044 w 3803565"/>
                  <a:gd name="connsiteY4" fmla="*/ 4799004 h 5285288"/>
                  <a:gd name="connsiteX5" fmla="*/ 1626888 w 3803565"/>
                  <a:gd name="connsiteY5" fmla="*/ 4105978 h 5285288"/>
                  <a:gd name="connsiteX6" fmla="*/ 1629159 w 3803565"/>
                  <a:gd name="connsiteY6" fmla="*/ 1054770 h 5285288"/>
                  <a:gd name="connsiteX7" fmla="*/ 1627974 w 3803565"/>
                  <a:gd name="connsiteY7" fmla="*/ 1017192 h 5285288"/>
                  <a:gd name="connsiteX8" fmla="*/ 1625939 w 3803565"/>
                  <a:gd name="connsiteY8" fmla="*/ 494424 h 5285288"/>
                  <a:gd name="connsiteX9" fmla="*/ 1671430 w 3803565"/>
                  <a:gd name="connsiteY9" fmla="*/ 171698 h 5285288"/>
                  <a:gd name="connsiteX10" fmla="*/ 1836037 w 3803565"/>
                  <a:gd name="connsiteY10" fmla="*/ 25112 h 5285288"/>
                  <a:gd name="connsiteX11" fmla="*/ 2035683 w 3803565"/>
                  <a:gd name="connsiteY11" fmla="*/ 3326 h 5285288"/>
                  <a:gd name="connsiteX12" fmla="*/ 2211387 w 3803565"/>
                  <a:gd name="connsiteY12" fmla="*/ 37548 h 5285288"/>
                  <a:gd name="connsiteX13" fmla="*/ 3762540 w 3803565"/>
                  <a:gd name="connsiteY13" fmla="*/ 924343 h 5285288"/>
                  <a:gd name="connsiteX14" fmla="*/ 3763497 w 3803565"/>
                  <a:gd name="connsiteY14" fmla="*/ 1149844 h 5285288"/>
                  <a:gd name="connsiteX15" fmla="*/ 3589532 w 3803565"/>
                  <a:gd name="connsiteY15" fmla="*/ 1269783 h 5285288"/>
                  <a:gd name="connsiteX16" fmla="*/ 3569685 w 3803565"/>
                  <a:gd name="connsiteY16" fmla="*/ 1262485 h 5285288"/>
                  <a:gd name="connsiteX17" fmla="*/ 2104210 w 3803565"/>
                  <a:gd name="connsiteY17" fmla="*/ 431577 h 5285288"/>
                  <a:gd name="connsiteX18" fmla="*/ 2103867 w 3803565"/>
                  <a:gd name="connsiteY18" fmla="*/ 431184 h 5285288"/>
                  <a:gd name="connsiteX19" fmla="*/ 2081712 w 3803565"/>
                  <a:gd name="connsiteY19" fmla="*/ 437405 h 5285288"/>
                  <a:gd name="connsiteX20" fmla="*/ 2039062 w 3803565"/>
                  <a:gd name="connsiteY20" fmla="*/ 539231 h 5285288"/>
                  <a:gd name="connsiteX21" fmla="*/ 2039057 w 3803565"/>
                  <a:gd name="connsiteY21" fmla="*/ 1065628 h 5285288"/>
                  <a:gd name="connsiteX22" fmla="*/ 2036280 w 3803565"/>
                  <a:gd name="connsiteY22" fmla="*/ 1081825 h 5285288"/>
                  <a:gd name="connsiteX23" fmla="*/ 2033454 w 3803565"/>
                  <a:gd name="connsiteY23" fmla="*/ 1858316 h 5285288"/>
                  <a:gd name="connsiteX24" fmla="*/ 2035311 w 3803565"/>
                  <a:gd name="connsiteY24" fmla="*/ 1861834 h 5285288"/>
                  <a:gd name="connsiteX25" fmla="*/ 2034644 w 3803565"/>
                  <a:gd name="connsiteY25" fmla="*/ 3038034 h 5285288"/>
                  <a:gd name="connsiteX26" fmla="*/ 2032504 w 3803565"/>
                  <a:gd name="connsiteY26" fmla="*/ 4802821 h 5285288"/>
                  <a:gd name="connsiteX27" fmla="*/ 1965706 w 3803565"/>
                  <a:gd name="connsiteY27" fmla="*/ 5061801 h 5285288"/>
                  <a:gd name="connsiteX28" fmla="*/ 1821738 w 3803565"/>
                  <a:gd name="connsiteY28" fmla="*/ 5216241 h 5285288"/>
                  <a:gd name="connsiteX29" fmla="*/ 1611102 w 3803565"/>
                  <a:gd name="connsiteY29" fmla="*/ 5284752 h 5285288"/>
                  <a:gd name="connsiteX30" fmla="*/ 1561548 w 3803565"/>
                  <a:gd name="connsiteY30" fmla="*/ 5285252 h 5285288"/>
                  <a:gd name="connsiteX0" fmla="*/ 171625 w 2413642"/>
                  <a:gd name="connsiteY0" fmla="*/ 5285252 h 5285288"/>
                  <a:gd name="connsiteX1" fmla="*/ 60001 w 2413642"/>
                  <a:gd name="connsiteY1" fmla="*/ 5257452 h 5285288"/>
                  <a:gd name="connsiteX2" fmla="*/ 0 w 2413642"/>
                  <a:gd name="connsiteY2" fmla="*/ 5227600 h 5285288"/>
                  <a:gd name="connsiteX3" fmla="*/ 235121 w 2413642"/>
                  <a:gd name="connsiteY3" fmla="*/ 4799004 h 5285288"/>
                  <a:gd name="connsiteX4" fmla="*/ 236965 w 2413642"/>
                  <a:gd name="connsiteY4" fmla="*/ 4105978 h 5285288"/>
                  <a:gd name="connsiteX5" fmla="*/ 239236 w 2413642"/>
                  <a:gd name="connsiteY5" fmla="*/ 1054770 h 5285288"/>
                  <a:gd name="connsiteX6" fmla="*/ 238051 w 2413642"/>
                  <a:gd name="connsiteY6" fmla="*/ 1017192 h 5285288"/>
                  <a:gd name="connsiteX7" fmla="*/ 236016 w 2413642"/>
                  <a:gd name="connsiteY7" fmla="*/ 494424 h 5285288"/>
                  <a:gd name="connsiteX8" fmla="*/ 281507 w 2413642"/>
                  <a:gd name="connsiteY8" fmla="*/ 171698 h 5285288"/>
                  <a:gd name="connsiteX9" fmla="*/ 446114 w 2413642"/>
                  <a:gd name="connsiteY9" fmla="*/ 25112 h 5285288"/>
                  <a:gd name="connsiteX10" fmla="*/ 645760 w 2413642"/>
                  <a:gd name="connsiteY10" fmla="*/ 3326 h 5285288"/>
                  <a:gd name="connsiteX11" fmla="*/ 821464 w 2413642"/>
                  <a:gd name="connsiteY11" fmla="*/ 37548 h 5285288"/>
                  <a:gd name="connsiteX12" fmla="*/ 2372617 w 2413642"/>
                  <a:gd name="connsiteY12" fmla="*/ 924343 h 5285288"/>
                  <a:gd name="connsiteX13" fmla="*/ 2373574 w 2413642"/>
                  <a:gd name="connsiteY13" fmla="*/ 1149844 h 5285288"/>
                  <a:gd name="connsiteX14" fmla="*/ 2199609 w 2413642"/>
                  <a:gd name="connsiteY14" fmla="*/ 1269783 h 5285288"/>
                  <a:gd name="connsiteX15" fmla="*/ 2179762 w 2413642"/>
                  <a:gd name="connsiteY15" fmla="*/ 1262485 h 5285288"/>
                  <a:gd name="connsiteX16" fmla="*/ 714287 w 2413642"/>
                  <a:gd name="connsiteY16" fmla="*/ 431577 h 5285288"/>
                  <a:gd name="connsiteX17" fmla="*/ 713944 w 2413642"/>
                  <a:gd name="connsiteY17" fmla="*/ 431184 h 5285288"/>
                  <a:gd name="connsiteX18" fmla="*/ 691789 w 2413642"/>
                  <a:gd name="connsiteY18" fmla="*/ 437405 h 5285288"/>
                  <a:gd name="connsiteX19" fmla="*/ 649139 w 2413642"/>
                  <a:gd name="connsiteY19" fmla="*/ 539231 h 5285288"/>
                  <a:gd name="connsiteX20" fmla="*/ 649134 w 2413642"/>
                  <a:gd name="connsiteY20" fmla="*/ 1065628 h 5285288"/>
                  <a:gd name="connsiteX21" fmla="*/ 646357 w 2413642"/>
                  <a:gd name="connsiteY21" fmla="*/ 1081825 h 5285288"/>
                  <a:gd name="connsiteX22" fmla="*/ 643531 w 2413642"/>
                  <a:gd name="connsiteY22" fmla="*/ 1858316 h 5285288"/>
                  <a:gd name="connsiteX23" fmla="*/ 645388 w 2413642"/>
                  <a:gd name="connsiteY23" fmla="*/ 1861834 h 5285288"/>
                  <a:gd name="connsiteX24" fmla="*/ 644721 w 2413642"/>
                  <a:gd name="connsiteY24" fmla="*/ 3038034 h 5285288"/>
                  <a:gd name="connsiteX25" fmla="*/ 642581 w 2413642"/>
                  <a:gd name="connsiteY25" fmla="*/ 4802821 h 5285288"/>
                  <a:gd name="connsiteX26" fmla="*/ 575783 w 2413642"/>
                  <a:gd name="connsiteY26" fmla="*/ 5061801 h 5285288"/>
                  <a:gd name="connsiteX27" fmla="*/ 431815 w 2413642"/>
                  <a:gd name="connsiteY27" fmla="*/ 5216241 h 5285288"/>
                  <a:gd name="connsiteX28" fmla="*/ 221179 w 2413642"/>
                  <a:gd name="connsiteY28" fmla="*/ 5284752 h 5285288"/>
                  <a:gd name="connsiteX29" fmla="*/ 171625 w 2413642"/>
                  <a:gd name="connsiteY29" fmla="*/ 5285252 h 5285288"/>
                  <a:gd name="connsiteX0" fmla="*/ 111624 w 2353641"/>
                  <a:gd name="connsiteY0" fmla="*/ 5285252 h 5285288"/>
                  <a:gd name="connsiteX1" fmla="*/ 0 w 2353641"/>
                  <a:gd name="connsiteY1" fmla="*/ 5257452 h 5285288"/>
                  <a:gd name="connsiteX2" fmla="*/ 175120 w 2353641"/>
                  <a:gd name="connsiteY2" fmla="*/ 4799004 h 5285288"/>
                  <a:gd name="connsiteX3" fmla="*/ 176964 w 2353641"/>
                  <a:gd name="connsiteY3" fmla="*/ 4105978 h 5285288"/>
                  <a:gd name="connsiteX4" fmla="*/ 179235 w 2353641"/>
                  <a:gd name="connsiteY4" fmla="*/ 1054770 h 5285288"/>
                  <a:gd name="connsiteX5" fmla="*/ 178050 w 2353641"/>
                  <a:gd name="connsiteY5" fmla="*/ 1017192 h 5285288"/>
                  <a:gd name="connsiteX6" fmla="*/ 176015 w 2353641"/>
                  <a:gd name="connsiteY6" fmla="*/ 494424 h 5285288"/>
                  <a:gd name="connsiteX7" fmla="*/ 221506 w 2353641"/>
                  <a:gd name="connsiteY7" fmla="*/ 171698 h 5285288"/>
                  <a:gd name="connsiteX8" fmla="*/ 386113 w 2353641"/>
                  <a:gd name="connsiteY8" fmla="*/ 25112 h 5285288"/>
                  <a:gd name="connsiteX9" fmla="*/ 585759 w 2353641"/>
                  <a:gd name="connsiteY9" fmla="*/ 3326 h 5285288"/>
                  <a:gd name="connsiteX10" fmla="*/ 761463 w 2353641"/>
                  <a:gd name="connsiteY10" fmla="*/ 37548 h 5285288"/>
                  <a:gd name="connsiteX11" fmla="*/ 2312616 w 2353641"/>
                  <a:gd name="connsiteY11" fmla="*/ 924343 h 5285288"/>
                  <a:gd name="connsiteX12" fmla="*/ 2313573 w 2353641"/>
                  <a:gd name="connsiteY12" fmla="*/ 1149844 h 5285288"/>
                  <a:gd name="connsiteX13" fmla="*/ 2139608 w 2353641"/>
                  <a:gd name="connsiteY13" fmla="*/ 1269783 h 5285288"/>
                  <a:gd name="connsiteX14" fmla="*/ 2119761 w 2353641"/>
                  <a:gd name="connsiteY14" fmla="*/ 1262485 h 5285288"/>
                  <a:gd name="connsiteX15" fmla="*/ 654286 w 2353641"/>
                  <a:gd name="connsiteY15" fmla="*/ 431577 h 5285288"/>
                  <a:gd name="connsiteX16" fmla="*/ 653943 w 2353641"/>
                  <a:gd name="connsiteY16" fmla="*/ 431184 h 5285288"/>
                  <a:gd name="connsiteX17" fmla="*/ 631788 w 2353641"/>
                  <a:gd name="connsiteY17" fmla="*/ 437405 h 5285288"/>
                  <a:gd name="connsiteX18" fmla="*/ 589138 w 2353641"/>
                  <a:gd name="connsiteY18" fmla="*/ 539231 h 5285288"/>
                  <a:gd name="connsiteX19" fmla="*/ 589133 w 2353641"/>
                  <a:gd name="connsiteY19" fmla="*/ 1065628 h 5285288"/>
                  <a:gd name="connsiteX20" fmla="*/ 586356 w 2353641"/>
                  <a:gd name="connsiteY20" fmla="*/ 1081825 h 5285288"/>
                  <a:gd name="connsiteX21" fmla="*/ 583530 w 2353641"/>
                  <a:gd name="connsiteY21" fmla="*/ 1858316 h 5285288"/>
                  <a:gd name="connsiteX22" fmla="*/ 585387 w 2353641"/>
                  <a:gd name="connsiteY22" fmla="*/ 1861834 h 5285288"/>
                  <a:gd name="connsiteX23" fmla="*/ 584720 w 2353641"/>
                  <a:gd name="connsiteY23" fmla="*/ 3038034 h 5285288"/>
                  <a:gd name="connsiteX24" fmla="*/ 582580 w 2353641"/>
                  <a:gd name="connsiteY24" fmla="*/ 4802821 h 5285288"/>
                  <a:gd name="connsiteX25" fmla="*/ 515782 w 2353641"/>
                  <a:gd name="connsiteY25" fmla="*/ 5061801 h 5285288"/>
                  <a:gd name="connsiteX26" fmla="*/ 371814 w 2353641"/>
                  <a:gd name="connsiteY26" fmla="*/ 5216241 h 5285288"/>
                  <a:gd name="connsiteX27" fmla="*/ 161178 w 2353641"/>
                  <a:gd name="connsiteY27" fmla="*/ 5284752 h 5285288"/>
                  <a:gd name="connsiteX28" fmla="*/ 111624 w 2353641"/>
                  <a:gd name="connsiteY28" fmla="*/ 5285252 h 5285288"/>
                  <a:gd name="connsiteX0" fmla="*/ 0 w 2242017"/>
                  <a:gd name="connsiteY0" fmla="*/ 5285252 h 5285252"/>
                  <a:gd name="connsiteX1" fmla="*/ 63496 w 2242017"/>
                  <a:gd name="connsiteY1" fmla="*/ 4799004 h 5285252"/>
                  <a:gd name="connsiteX2" fmla="*/ 65340 w 2242017"/>
                  <a:gd name="connsiteY2" fmla="*/ 4105978 h 5285252"/>
                  <a:gd name="connsiteX3" fmla="*/ 67611 w 2242017"/>
                  <a:gd name="connsiteY3" fmla="*/ 1054770 h 5285252"/>
                  <a:gd name="connsiteX4" fmla="*/ 66426 w 2242017"/>
                  <a:gd name="connsiteY4" fmla="*/ 1017192 h 5285252"/>
                  <a:gd name="connsiteX5" fmla="*/ 64391 w 2242017"/>
                  <a:gd name="connsiteY5" fmla="*/ 494424 h 5285252"/>
                  <a:gd name="connsiteX6" fmla="*/ 109882 w 2242017"/>
                  <a:gd name="connsiteY6" fmla="*/ 171698 h 5285252"/>
                  <a:gd name="connsiteX7" fmla="*/ 274489 w 2242017"/>
                  <a:gd name="connsiteY7" fmla="*/ 25112 h 5285252"/>
                  <a:gd name="connsiteX8" fmla="*/ 474135 w 2242017"/>
                  <a:gd name="connsiteY8" fmla="*/ 3326 h 5285252"/>
                  <a:gd name="connsiteX9" fmla="*/ 649839 w 2242017"/>
                  <a:gd name="connsiteY9" fmla="*/ 37548 h 5285252"/>
                  <a:gd name="connsiteX10" fmla="*/ 2200992 w 2242017"/>
                  <a:gd name="connsiteY10" fmla="*/ 924343 h 5285252"/>
                  <a:gd name="connsiteX11" fmla="*/ 2201949 w 2242017"/>
                  <a:gd name="connsiteY11" fmla="*/ 1149844 h 5285252"/>
                  <a:gd name="connsiteX12" fmla="*/ 2027984 w 2242017"/>
                  <a:gd name="connsiteY12" fmla="*/ 1269783 h 5285252"/>
                  <a:gd name="connsiteX13" fmla="*/ 2008137 w 2242017"/>
                  <a:gd name="connsiteY13" fmla="*/ 1262485 h 5285252"/>
                  <a:gd name="connsiteX14" fmla="*/ 542662 w 2242017"/>
                  <a:gd name="connsiteY14" fmla="*/ 431577 h 5285252"/>
                  <a:gd name="connsiteX15" fmla="*/ 542319 w 2242017"/>
                  <a:gd name="connsiteY15" fmla="*/ 431184 h 5285252"/>
                  <a:gd name="connsiteX16" fmla="*/ 520164 w 2242017"/>
                  <a:gd name="connsiteY16" fmla="*/ 437405 h 5285252"/>
                  <a:gd name="connsiteX17" fmla="*/ 477514 w 2242017"/>
                  <a:gd name="connsiteY17" fmla="*/ 539231 h 5285252"/>
                  <a:gd name="connsiteX18" fmla="*/ 477509 w 2242017"/>
                  <a:gd name="connsiteY18" fmla="*/ 1065628 h 5285252"/>
                  <a:gd name="connsiteX19" fmla="*/ 474732 w 2242017"/>
                  <a:gd name="connsiteY19" fmla="*/ 1081825 h 5285252"/>
                  <a:gd name="connsiteX20" fmla="*/ 471906 w 2242017"/>
                  <a:gd name="connsiteY20" fmla="*/ 1858316 h 5285252"/>
                  <a:gd name="connsiteX21" fmla="*/ 473763 w 2242017"/>
                  <a:gd name="connsiteY21" fmla="*/ 1861834 h 5285252"/>
                  <a:gd name="connsiteX22" fmla="*/ 473096 w 2242017"/>
                  <a:gd name="connsiteY22" fmla="*/ 3038034 h 5285252"/>
                  <a:gd name="connsiteX23" fmla="*/ 470956 w 2242017"/>
                  <a:gd name="connsiteY23" fmla="*/ 4802821 h 5285252"/>
                  <a:gd name="connsiteX24" fmla="*/ 404158 w 2242017"/>
                  <a:gd name="connsiteY24" fmla="*/ 5061801 h 5285252"/>
                  <a:gd name="connsiteX25" fmla="*/ 260190 w 2242017"/>
                  <a:gd name="connsiteY25" fmla="*/ 5216241 h 5285252"/>
                  <a:gd name="connsiteX26" fmla="*/ 49554 w 2242017"/>
                  <a:gd name="connsiteY26" fmla="*/ 5284752 h 5285252"/>
                  <a:gd name="connsiteX27" fmla="*/ 0 w 2242017"/>
                  <a:gd name="connsiteY27" fmla="*/ 5285252 h 5285252"/>
                  <a:gd name="connsiteX0" fmla="*/ 12071 w 2204534"/>
                  <a:gd name="connsiteY0" fmla="*/ 5284752 h 5284899"/>
                  <a:gd name="connsiteX1" fmla="*/ 26013 w 2204534"/>
                  <a:gd name="connsiteY1" fmla="*/ 4799004 h 5284899"/>
                  <a:gd name="connsiteX2" fmla="*/ 27857 w 2204534"/>
                  <a:gd name="connsiteY2" fmla="*/ 4105978 h 5284899"/>
                  <a:gd name="connsiteX3" fmla="*/ 30128 w 2204534"/>
                  <a:gd name="connsiteY3" fmla="*/ 1054770 h 5284899"/>
                  <a:gd name="connsiteX4" fmla="*/ 28943 w 2204534"/>
                  <a:gd name="connsiteY4" fmla="*/ 1017192 h 5284899"/>
                  <a:gd name="connsiteX5" fmla="*/ 26908 w 2204534"/>
                  <a:gd name="connsiteY5" fmla="*/ 494424 h 5284899"/>
                  <a:gd name="connsiteX6" fmla="*/ 72399 w 2204534"/>
                  <a:gd name="connsiteY6" fmla="*/ 171698 h 5284899"/>
                  <a:gd name="connsiteX7" fmla="*/ 237006 w 2204534"/>
                  <a:gd name="connsiteY7" fmla="*/ 25112 h 5284899"/>
                  <a:gd name="connsiteX8" fmla="*/ 436652 w 2204534"/>
                  <a:gd name="connsiteY8" fmla="*/ 3326 h 5284899"/>
                  <a:gd name="connsiteX9" fmla="*/ 612356 w 2204534"/>
                  <a:gd name="connsiteY9" fmla="*/ 37548 h 5284899"/>
                  <a:gd name="connsiteX10" fmla="*/ 2163509 w 2204534"/>
                  <a:gd name="connsiteY10" fmla="*/ 924343 h 5284899"/>
                  <a:gd name="connsiteX11" fmla="*/ 2164466 w 2204534"/>
                  <a:gd name="connsiteY11" fmla="*/ 1149844 h 5284899"/>
                  <a:gd name="connsiteX12" fmla="*/ 1990501 w 2204534"/>
                  <a:gd name="connsiteY12" fmla="*/ 1269783 h 5284899"/>
                  <a:gd name="connsiteX13" fmla="*/ 1970654 w 2204534"/>
                  <a:gd name="connsiteY13" fmla="*/ 1262485 h 5284899"/>
                  <a:gd name="connsiteX14" fmla="*/ 505179 w 2204534"/>
                  <a:gd name="connsiteY14" fmla="*/ 431577 h 5284899"/>
                  <a:gd name="connsiteX15" fmla="*/ 504836 w 2204534"/>
                  <a:gd name="connsiteY15" fmla="*/ 431184 h 5284899"/>
                  <a:gd name="connsiteX16" fmla="*/ 482681 w 2204534"/>
                  <a:gd name="connsiteY16" fmla="*/ 437405 h 5284899"/>
                  <a:gd name="connsiteX17" fmla="*/ 440031 w 2204534"/>
                  <a:gd name="connsiteY17" fmla="*/ 539231 h 5284899"/>
                  <a:gd name="connsiteX18" fmla="*/ 440026 w 2204534"/>
                  <a:gd name="connsiteY18" fmla="*/ 1065628 h 5284899"/>
                  <a:gd name="connsiteX19" fmla="*/ 437249 w 2204534"/>
                  <a:gd name="connsiteY19" fmla="*/ 1081825 h 5284899"/>
                  <a:gd name="connsiteX20" fmla="*/ 434423 w 2204534"/>
                  <a:gd name="connsiteY20" fmla="*/ 1858316 h 5284899"/>
                  <a:gd name="connsiteX21" fmla="*/ 436280 w 2204534"/>
                  <a:gd name="connsiteY21" fmla="*/ 1861834 h 5284899"/>
                  <a:gd name="connsiteX22" fmla="*/ 435613 w 2204534"/>
                  <a:gd name="connsiteY22" fmla="*/ 3038034 h 5284899"/>
                  <a:gd name="connsiteX23" fmla="*/ 433473 w 2204534"/>
                  <a:gd name="connsiteY23" fmla="*/ 4802821 h 5284899"/>
                  <a:gd name="connsiteX24" fmla="*/ 366675 w 2204534"/>
                  <a:gd name="connsiteY24" fmla="*/ 5061801 h 5284899"/>
                  <a:gd name="connsiteX25" fmla="*/ 222707 w 2204534"/>
                  <a:gd name="connsiteY25" fmla="*/ 5216241 h 5284899"/>
                  <a:gd name="connsiteX26" fmla="*/ 12071 w 2204534"/>
                  <a:gd name="connsiteY26" fmla="*/ 5284752 h 5284899"/>
                  <a:gd name="connsiteX0" fmla="*/ 197536 w 2179363"/>
                  <a:gd name="connsiteY0" fmla="*/ 5216241 h 5216241"/>
                  <a:gd name="connsiteX1" fmla="*/ 842 w 2179363"/>
                  <a:gd name="connsiteY1" fmla="*/ 4799004 h 5216241"/>
                  <a:gd name="connsiteX2" fmla="*/ 2686 w 2179363"/>
                  <a:gd name="connsiteY2" fmla="*/ 4105978 h 5216241"/>
                  <a:gd name="connsiteX3" fmla="*/ 4957 w 2179363"/>
                  <a:gd name="connsiteY3" fmla="*/ 1054770 h 5216241"/>
                  <a:gd name="connsiteX4" fmla="*/ 3772 w 2179363"/>
                  <a:gd name="connsiteY4" fmla="*/ 1017192 h 5216241"/>
                  <a:gd name="connsiteX5" fmla="*/ 1737 w 2179363"/>
                  <a:gd name="connsiteY5" fmla="*/ 494424 h 5216241"/>
                  <a:gd name="connsiteX6" fmla="*/ 47228 w 2179363"/>
                  <a:gd name="connsiteY6" fmla="*/ 171698 h 5216241"/>
                  <a:gd name="connsiteX7" fmla="*/ 211835 w 2179363"/>
                  <a:gd name="connsiteY7" fmla="*/ 25112 h 5216241"/>
                  <a:gd name="connsiteX8" fmla="*/ 411481 w 2179363"/>
                  <a:gd name="connsiteY8" fmla="*/ 3326 h 5216241"/>
                  <a:gd name="connsiteX9" fmla="*/ 587185 w 2179363"/>
                  <a:gd name="connsiteY9" fmla="*/ 37548 h 5216241"/>
                  <a:gd name="connsiteX10" fmla="*/ 2138338 w 2179363"/>
                  <a:gd name="connsiteY10" fmla="*/ 924343 h 5216241"/>
                  <a:gd name="connsiteX11" fmla="*/ 2139295 w 2179363"/>
                  <a:gd name="connsiteY11" fmla="*/ 1149844 h 5216241"/>
                  <a:gd name="connsiteX12" fmla="*/ 1965330 w 2179363"/>
                  <a:gd name="connsiteY12" fmla="*/ 1269783 h 5216241"/>
                  <a:gd name="connsiteX13" fmla="*/ 1945483 w 2179363"/>
                  <a:gd name="connsiteY13" fmla="*/ 1262485 h 5216241"/>
                  <a:gd name="connsiteX14" fmla="*/ 480008 w 2179363"/>
                  <a:gd name="connsiteY14" fmla="*/ 431577 h 5216241"/>
                  <a:gd name="connsiteX15" fmla="*/ 479665 w 2179363"/>
                  <a:gd name="connsiteY15" fmla="*/ 431184 h 5216241"/>
                  <a:gd name="connsiteX16" fmla="*/ 457510 w 2179363"/>
                  <a:gd name="connsiteY16" fmla="*/ 437405 h 5216241"/>
                  <a:gd name="connsiteX17" fmla="*/ 414860 w 2179363"/>
                  <a:gd name="connsiteY17" fmla="*/ 539231 h 5216241"/>
                  <a:gd name="connsiteX18" fmla="*/ 414855 w 2179363"/>
                  <a:gd name="connsiteY18" fmla="*/ 1065628 h 5216241"/>
                  <a:gd name="connsiteX19" fmla="*/ 412078 w 2179363"/>
                  <a:gd name="connsiteY19" fmla="*/ 1081825 h 5216241"/>
                  <a:gd name="connsiteX20" fmla="*/ 409252 w 2179363"/>
                  <a:gd name="connsiteY20" fmla="*/ 1858316 h 5216241"/>
                  <a:gd name="connsiteX21" fmla="*/ 411109 w 2179363"/>
                  <a:gd name="connsiteY21" fmla="*/ 1861834 h 5216241"/>
                  <a:gd name="connsiteX22" fmla="*/ 410442 w 2179363"/>
                  <a:gd name="connsiteY22" fmla="*/ 3038034 h 5216241"/>
                  <a:gd name="connsiteX23" fmla="*/ 408302 w 2179363"/>
                  <a:gd name="connsiteY23" fmla="*/ 4802821 h 5216241"/>
                  <a:gd name="connsiteX24" fmla="*/ 341504 w 2179363"/>
                  <a:gd name="connsiteY24" fmla="*/ 5061801 h 5216241"/>
                  <a:gd name="connsiteX25" fmla="*/ 197536 w 2179363"/>
                  <a:gd name="connsiteY25" fmla="*/ 5216241 h 5216241"/>
                  <a:gd name="connsiteX0" fmla="*/ 341504 w 2179363"/>
                  <a:gd name="connsiteY0" fmla="*/ 5061801 h 5061802"/>
                  <a:gd name="connsiteX1" fmla="*/ 842 w 2179363"/>
                  <a:gd name="connsiteY1" fmla="*/ 4799004 h 5061802"/>
                  <a:gd name="connsiteX2" fmla="*/ 2686 w 2179363"/>
                  <a:gd name="connsiteY2" fmla="*/ 4105978 h 5061802"/>
                  <a:gd name="connsiteX3" fmla="*/ 4957 w 2179363"/>
                  <a:gd name="connsiteY3" fmla="*/ 1054770 h 5061802"/>
                  <a:gd name="connsiteX4" fmla="*/ 3772 w 2179363"/>
                  <a:gd name="connsiteY4" fmla="*/ 1017192 h 5061802"/>
                  <a:gd name="connsiteX5" fmla="*/ 1737 w 2179363"/>
                  <a:gd name="connsiteY5" fmla="*/ 494424 h 5061802"/>
                  <a:gd name="connsiteX6" fmla="*/ 47228 w 2179363"/>
                  <a:gd name="connsiteY6" fmla="*/ 171698 h 5061802"/>
                  <a:gd name="connsiteX7" fmla="*/ 211835 w 2179363"/>
                  <a:gd name="connsiteY7" fmla="*/ 25112 h 5061802"/>
                  <a:gd name="connsiteX8" fmla="*/ 411481 w 2179363"/>
                  <a:gd name="connsiteY8" fmla="*/ 3326 h 5061802"/>
                  <a:gd name="connsiteX9" fmla="*/ 587185 w 2179363"/>
                  <a:gd name="connsiteY9" fmla="*/ 37548 h 5061802"/>
                  <a:gd name="connsiteX10" fmla="*/ 2138338 w 2179363"/>
                  <a:gd name="connsiteY10" fmla="*/ 924343 h 5061802"/>
                  <a:gd name="connsiteX11" fmla="*/ 2139295 w 2179363"/>
                  <a:gd name="connsiteY11" fmla="*/ 1149844 h 5061802"/>
                  <a:gd name="connsiteX12" fmla="*/ 1965330 w 2179363"/>
                  <a:gd name="connsiteY12" fmla="*/ 1269783 h 5061802"/>
                  <a:gd name="connsiteX13" fmla="*/ 1945483 w 2179363"/>
                  <a:gd name="connsiteY13" fmla="*/ 1262485 h 5061802"/>
                  <a:gd name="connsiteX14" fmla="*/ 480008 w 2179363"/>
                  <a:gd name="connsiteY14" fmla="*/ 431577 h 5061802"/>
                  <a:gd name="connsiteX15" fmla="*/ 479665 w 2179363"/>
                  <a:gd name="connsiteY15" fmla="*/ 431184 h 5061802"/>
                  <a:gd name="connsiteX16" fmla="*/ 457510 w 2179363"/>
                  <a:gd name="connsiteY16" fmla="*/ 437405 h 5061802"/>
                  <a:gd name="connsiteX17" fmla="*/ 414860 w 2179363"/>
                  <a:gd name="connsiteY17" fmla="*/ 539231 h 5061802"/>
                  <a:gd name="connsiteX18" fmla="*/ 414855 w 2179363"/>
                  <a:gd name="connsiteY18" fmla="*/ 1065628 h 5061802"/>
                  <a:gd name="connsiteX19" fmla="*/ 412078 w 2179363"/>
                  <a:gd name="connsiteY19" fmla="*/ 1081825 h 5061802"/>
                  <a:gd name="connsiteX20" fmla="*/ 409252 w 2179363"/>
                  <a:gd name="connsiteY20" fmla="*/ 1858316 h 5061802"/>
                  <a:gd name="connsiteX21" fmla="*/ 411109 w 2179363"/>
                  <a:gd name="connsiteY21" fmla="*/ 1861834 h 5061802"/>
                  <a:gd name="connsiteX22" fmla="*/ 410442 w 2179363"/>
                  <a:gd name="connsiteY22" fmla="*/ 3038034 h 5061802"/>
                  <a:gd name="connsiteX23" fmla="*/ 408302 w 2179363"/>
                  <a:gd name="connsiteY23" fmla="*/ 4802821 h 5061802"/>
                  <a:gd name="connsiteX24" fmla="*/ 341504 w 2179363"/>
                  <a:gd name="connsiteY24" fmla="*/ 5061801 h 5061802"/>
                  <a:gd name="connsiteX0" fmla="*/ 341504 w 2179363"/>
                  <a:gd name="connsiteY0" fmla="*/ 5061801 h 5061802"/>
                  <a:gd name="connsiteX1" fmla="*/ 2686 w 2179363"/>
                  <a:gd name="connsiteY1" fmla="*/ 4105978 h 5061802"/>
                  <a:gd name="connsiteX2" fmla="*/ 4957 w 2179363"/>
                  <a:gd name="connsiteY2" fmla="*/ 1054770 h 5061802"/>
                  <a:gd name="connsiteX3" fmla="*/ 3772 w 2179363"/>
                  <a:gd name="connsiteY3" fmla="*/ 1017192 h 5061802"/>
                  <a:gd name="connsiteX4" fmla="*/ 1737 w 2179363"/>
                  <a:gd name="connsiteY4" fmla="*/ 494424 h 5061802"/>
                  <a:gd name="connsiteX5" fmla="*/ 47228 w 2179363"/>
                  <a:gd name="connsiteY5" fmla="*/ 171698 h 5061802"/>
                  <a:gd name="connsiteX6" fmla="*/ 211835 w 2179363"/>
                  <a:gd name="connsiteY6" fmla="*/ 25112 h 5061802"/>
                  <a:gd name="connsiteX7" fmla="*/ 411481 w 2179363"/>
                  <a:gd name="connsiteY7" fmla="*/ 3326 h 5061802"/>
                  <a:gd name="connsiteX8" fmla="*/ 587185 w 2179363"/>
                  <a:gd name="connsiteY8" fmla="*/ 37548 h 5061802"/>
                  <a:gd name="connsiteX9" fmla="*/ 2138338 w 2179363"/>
                  <a:gd name="connsiteY9" fmla="*/ 924343 h 5061802"/>
                  <a:gd name="connsiteX10" fmla="*/ 2139295 w 2179363"/>
                  <a:gd name="connsiteY10" fmla="*/ 1149844 h 5061802"/>
                  <a:gd name="connsiteX11" fmla="*/ 1965330 w 2179363"/>
                  <a:gd name="connsiteY11" fmla="*/ 1269783 h 5061802"/>
                  <a:gd name="connsiteX12" fmla="*/ 1945483 w 2179363"/>
                  <a:gd name="connsiteY12" fmla="*/ 1262485 h 5061802"/>
                  <a:gd name="connsiteX13" fmla="*/ 480008 w 2179363"/>
                  <a:gd name="connsiteY13" fmla="*/ 431577 h 5061802"/>
                  <a:gd name="connsiteX14" fmla="*/ 479665 w 2179363"/>
                  <a:gd name="connsiteY14" fmla="*/ 431184 h 5061802"/>
                  <a:gd name="connsiteX15" fmla="*/ 457510 w 2179363"/>
                  <a:gd name="connsiteY15" fmla="*/ 437405 h 5061802"/>
                  <a:gd name="connsiteX16" fmla="*/ 414860 w 2179363"/>
                  <a:gd name="connsiteY16" fmla="*/ 539231 h 5061802"/>
                  <a:gd name="connsiteX17" fmla="*/ 414855 w 2179363"/>
                  <a:gd name="connsiteY17" fmla="*/ 1065628 h 5061802"/>
                  <a:gd name="connsiteX18" fmla="*/ 412078 w 2179363"/>
                  <a:gd name="connsiteY18" fmla="*/ 1081825 h 5061802"/>
                  <a:gd name="connsiteX19" fmla="*/ 409252 w 2179363"/>
                  <a:gd name="connsiteY19" fmla="*/ 1858316 h 5061802"/>
                  <a:gd name="connsiteX20" fmla="*/ 411109 w 2179363"/>
                  <a:gd name="connsiteY20" fmla="*/ 1861834 h 5061802"/>
                  <a:gd name="connsiteX21" fmla="*/ 410442 w 2179363"/>
                  <a:gd name="connsiteY21" fmla="*/ 3038034 h 5061802"/>
                  <a:gd name="connsiteX22" fmla="*/ 408302 w 2179363"/>
                  <a:gd name="connsiteY22" fmla="*/ 4802821 h 5061802"/>
                  <a:gd name="connsiteX23" fmla="*/ 341504 w 2179363"/>
                  <a:gd name="connsiteY23" fmla="*/ 5061801 h 5061802"/>
                  <a:gd name="connsiteX0" fmla="*/ 408302 w 2179363"/>
                  <a:gd name="connsiteY0" fmla="*/ 4802821 h 4858808"/>
                  <a:gd name="connsiteX1" fmla="*/ 2686 w 2179363"/>
                  <a:gd name="connsiteY1" fmla="*/ 4105978 h 4858808"/>
                  <a:gd name="connsiteX2" fmla="*/ 4957 w 2179363"/>
                  <a:gd name="connsiteY2" fmla="*/ 1054770 h 4858808"/>
                  <a:gd name="connsiteX3" fmla="*/ 3772 w 2179363"/>
                  <a:gd name="connsiteY3" fmla="*/ 1017192 h 4858808"/>
                  <a:gd name="connsiteX4" fmla="*/ 1737 w 2179363"/>
                  <a:gd name="connsiteY4" fmla="*/ 494424 h 4858808"/>
                  <a:gd name="connsiteX5" fmla="*/ 47228 w 2179363"/>
                  <a:gd name="connsiteY5" fmla="*/ 171698 h 4858808"/>
                  <a:gd name="connsiteX6" fmla="*/ 211835 w 2179363"/>
                  <a:gd name="connsiteY6" fmla="*/ 25112 h 4858808"/>
                  <a:gd name="connsiteX7" fmla="*/ 411481 w 2179363"/>
                  <a:gd name="connsiteY7" fmla="*/ 3326 h 4858808"/>
                  <a:gd name="connsiteX8" fmla="*/ 587185 w 2179363"/>
                  <a:gd name="connsiteY8" fmla="*/ 37548 h 4858808"/>
                  <a:gd name="connsiteX9" fmla="*/ 2138338 w 2179363"/>
                  <a:gd name="connsiteY9" fmla="*/ 924343 h 4858808"/>
                  <a:gd name="connsiteX10" fmla="*/ 2139295 w 2179363"/>
                  <a:gd name="connsiteY10" fmla="*/ 1149844 h 4858808"/>
                  <a:gd name="connsiteX11" fmla="*/ 1965330 w 2179363"/>
                  <a:gd name="connsiteY11" fmla="*/ 1269783 h 4858808"/>
                  <a:gd name="connsiteX12" fmla="*/ 1945483 w 2179363"/>
                  <a:gd name="connsiteY12" fmla="*/ 1262485 h 4858808"/>
                  <a:gd name="connsiteX13" fmla="*/ 480008 w 2179363"/>
                  <a:gd name="connsiteY13" fmla="*/ 431577 h 4858808"/>
                  <a:gd name="connsiteX14" fmla="*/ 479665 w 2179363"/>
                  <a:gd name="connsiteY14" fmla="*/ 431184 h 4858808"/>
                  <a:gd name="connsiteX15" fmla="*/ 457510 w 2179363"/>
                  <a:gd name="connsiteY15" fmla="*/ 437405 h 4858808"/>
                  <a:gd name="connsiteX16" fmla="*/ 414860 w 2179363"/>
                  <a:gd name="connsiteY16" fmla="*/ 539231 h 4858808"/>
                  <a:gd name="connsiteX17" fmla="*/ 414855 w 2179363"/>
                  <a:gd name="connsiteY17" fmla="*/ 1065628 h 4858808"/>
                  <a:gd name="connsiteX18" fmla="*/ 412078 w 2179363"/>
                  <a:gd name="connsiteY18" fmla="*/ 1081825 h 4858808"/>
                  <a:gd name="connsiteX19" fmla="*/ 409252 w 2179363"/>
                  <a:gd name="connsiteY19" fmla="*/ 1858316 h 4858808"/>
                  <a:gd name="connsiteX20" fmla="*/ 411109 w 2179363"/>
                  <a:gd name="connsiteY20" fmla="*/ 1861834 h 4858808"/>
                  <a:gd name="connsiteX21" fmla="*/ 410442 w 2179363"/>
                  <a:gd name="connsiteY21" fmla="*/ 3038034 h 4858808"/>
                  <a:gd name="connsiteX22" fmla="*/ 408302 w 2179363"/>
                  <a:gd name="connsiteY22" fmla="*/ 4802821 h 4858808"/>
                  <a:gd name="connsiteX0" fmla="*/ 410442 w 2179363"/>
                  <a:gd name="connsiteY0" fmla="*/ 3038034 h 4170698"/>
                  <a:gd name="connsiteX1" fmla="*/ 2686 w 2179363"/>
                  <a:gd name="connsiteY1" fmla="*/ 4105978 h 4170698"/>
                  <a:gd name="connsiteX2" fmla="*/ 4957 w 2179363"/>
                  <a:gd name="connsiteY2" fmla="*/ 1054770 h 4170698"/>
                  <a:gd name="connsiteX3" fmla="*/ 3772 w 2179363"/>
                  <a:gd name="connsiteY3" fmla="*/ 1017192 h 4170698"/>
                  <a:gd name="connsiteX4" fmla="*/ 1737 w 2179363"/>
                  <a:gd name="connsiteY4" fmla="*/ 494424 h 4170698"/>
                  <a:gd name="connsiteX5" fmla="*/ 47228 w 2179363"/>
                  <a:gd name="connsiteY5" fmla="*/ 171698 h 4170698"/>
                  <a:gd name="connsiteX6" fmla="*/ 211835 w 2179363"/>
                  <a:gd name="connsiteY6" fmla="*/ 25112 h 4170698"/>
                  <a:gd name="connsiteX7" fmla="*/ 411481 w 2179363"/>
                  <a:gd name="connsiteY7" fmla="*/ 3326 h 4170698"/>
                  <a:gd name="connsiteX8" fmla="*/ 587185 w 2179363"/>
                  <a:gd name="connsiteY8" fmla="*/ 37548 h 4170698"/>
                  <a:gd name="connsiteX9" fmla="*/ 2138338 w 2179363"/>
                  <a:gd name="connsiteY9" fmla="*/ 924343 h 4170698"/>
                  <a:gd name="connsiteX10" fmla="*/ 2139295 w 2179363"/>
                  <a:gd name="connsiteY10" fmla="*/ 1149844 h 4170698"/>
                  <a:gd name="connsiteX11" fmla="*/ 1965330 w 2179363"/>
                  <a:gd name="connsiteY11" fmla="*/ 1269783 h 4170698"/>
                  <a:gd name="connsiteX12" fmla="*/ 1945483 w 2179363"/>
                  <a:gd name="connsiteY12" fmla="*/ 1262485 h 4170698"/>
                  <a:gd name="connsiteX13" fmla="*/ 480008 w 2179363"/>
                  <a:gd name="connsiteY13" fmla="*/ 431577 h 4170698"/>
                  <a:gd name="connsiteX14" fmla="*/ 479665 w 2179363"/>
                  <a:gd name="connsiteY14" fmla="*/ 431184 h 4170698"/>
                  <a:gd name="connsiteX15" fmla="*/ 457510 w 2179363"/>
                  <a:gd name="connsiteY15" fmla="*/ 437405 h 4170698"/>
                  <a:gd name="connsiteX16" fmla="*/ 414860 w 2179363"/>
                  <a:gd name="connsiteY16" fmla="*/ 539231 h 4170698"/>
                  <a:gd name="connsiteX17" fmla="*/ 414855 w 2179363"/>
                  <a:gd name="connsiteY17" fmla="*/ 1065628 h 4170698"/>
                  <a:gd name="connsiteX18" fmla="*/ 412078 w 2179363"/>
                  <a:gd name="connsiteY18" fmla="*/ 1081825 h 4170698"/>
                  <a:gd name="connsiteX19" fmla="*/ 409252 w 2179363"/>
                  <a:gd name="connsiteY19" fmla="*/ 1858316 h 4170698"/>
                  <a:gd name="connsiteX20" fmla="*/ 411109 w 2179363"/>
                  <a:gd name="connsiteY20" fmla="*/ 1861834 h 4170698"/>
                  <a:gd name="connsiteX21" fmla="*/ 410442 w 2179363"/>
                  <a:gd name="connsiteY21" fmla="*/ 3038034 h 4170698"/>
                  <a:gd name="connsiteX0" fmla="*/ 410442 w 2179363"/>
                  <a:gd name="connsiteY0" fmla="*/ 3038034 h 3038034"/>
                  <a:gd name="connsiteX1" fmla="*/ 4957 w 2179363"/>
                  <a:gd name="connsiteY1" fmla="*/ 1054770 h 3038034"/>
                  <a:gd name="connsiteX2" fmla="*/ 3772 w 2179363"/>
                  <a:gd name="connsiteY2" fmla="*/ 1017192 h 3038034"/>
                  <a:gd name="connsiteX3" fmla="*/ 1737 w 2179363"/>
                  <a:gd name="connsiteY3" fmla="*/ 494424 h 3038034"/>
                  <a:gd name="connsiteX4" fmla="*/ 47228 w 2179363"/>
                  <a:gd name="connsiteY4" fmla="*/ 171698 h 3038034"/>
                  <a:gd name="connsiteX5" fmla="*/ 211835 w 2179363"/>
                  <a:gd name="connsiteY5" fmla="*/ 25112 h 3038034"/>
                  <a:gd name="connsiteX6" fmla="*/ 411481 w 2179363"/>
                  <a:gd name="connsiteY6" fmla="*/ 3326 h 3038034"/>
                  <a:gd name="connsiteX7" fmla="*/ 587185 w 2179363"/>
                  <a:gd name="connsiteY7" fmla="*/ 37548 h 3038034"/>
                  <a:gd name="connsiteX8" fmla="*/ 2138338 w 2179363"/>
                  <a:gd name="connsiteY8" fmla="*/ 924343 h 3038034"/>
                  <a:gd name="connsiteX9" fmla="*/ 2139295 w 2179363"/>
                  <a:gd name="connsiteY9" fmla="*/ 1149844 h 3038034"/>
                  <a:gd name="connsiteX10" fmla="*/ 1965330 w 2179363"/>
                  <a:gd name="connsiteY10" fmla="*/ 1269783 h 3038034"/>
                  <a:gd name="connsiteX11" fmla="*/ 1945483 w 2179363"/>
                  <a:gd name="connsiteY11" fmla="*/ 1262485 h 3038034"/>
                  <a:gd name="connsiteX12" fmla="*/ 480008 w 2179363"/>
                  <a:gd name="connsiteY12" fmla="*/ 431577 h 3038034"/>
                  <a:gd name="connsiteX13" fmla="*/ 479665 w 2179363"/>
                  <a:gd name="connsiteY13" fmla="*/ 431184 h 3038034"/>
                  <a:gd name="connsiteX14" fmla="*/ 457510 w 2179363"/>
                  <a:gd name="connsiteY14" fmla="*/ 437405 h 3038034"/>
                  <a:gd name="connsiteX15" fmla="*/ 414860 w 2179363"/>
                  <a:gd name="connsiteY15" fmla="*/ 539231 h 3038034"/>
                  <a:gd name="connsiteX16" fmla="*/ 414855 w 2179363"/>
                  <a:gd name="connsiteY16" fmla="*/ 1065628 h 3038034"/>
                  <a:gd name="connsiteX17" fmla="*/ 412078 w 2179363"/>
                  <a:gd name="connsiteY17" fmla="*/ 1081825 h 3038034"/>
                  <a:gd name="connsiteX18" fmla="*/ 409252 w 2179363"/>
                  <a:gd name="connsiteY18" fmla="*/ 1858316 h 3038034"/>
                  <a:gd name="connsiteX19" fmla="*/ 411109 w 2179363"/>
                  <a:gd name="connsiteY19" fmla="*/ 1861834 h 3038034"/>
                  <a:gd name="connsiteX20" fmla="*/ 410442 w 2179363"/>
                  <a:gd name="connsiteY20" fmla="*/ 3038034 h 3038034"/>
                  <a:gd name="connsiteX0" fmla="*/ 411109 w 2179363"/>
                  <a:gd name="connsiteY0" fmla="*/ 1861834 h 1861834"/>
                  <a:gd name="connsiteX1" fmla="*/ 4957 w 2179363"/>
                  <a:gd name="connsiteY1" fmla="*/ 1054770 h 1861834"/>
                  <a:gd name="connsiteX2" fmla="*/ 3772 w 2179363"/>
                  <a:gd name="connsiteY2" fmla="*/ 1017192 h 1861834"/>
                  <a:gd name="connsiteX3" fmla="*/ 1737 w 2179363"/>
                  <a:gd name="connsiteY3" fmla="*/ 494424 h 1861834"/>
                  <a:gd name="connsiteX4" fmla="*/ 47228 w 2179363"/>
                  <a:gd name="connsiteY4" fmla="*/ 171698 h 1861834"/>
                  <a:gd name="connsiteX5" fmla="*/ 211835 w 2179363"/>
                  <a:gd name="connsiteY5" fmla="*/ 25112 h 1861834"/>
                  <a:gd name="connsiteX6" fmla="*/ 411481 w 2179363"/>
                  <a:gd name="connsiteY6" fmla="*/ 3326 h 1861834"/>
                  <a:gd name="connsiteX7" fmla="*/ 587185 w 2179363"/>
                  <a:gd name="connsiteY7" fmla="*/ 37548 h 1861834"/>
                  <a:gd name="connsiteX8" fmla="*/ 2138338 w 2179363"/>
                  <a:gd name="connsiteY8" fmla="*/ 924343 h 1861834"/>
                  <a:gd name="connsiteX9" fmla="*/ 2139295 w 2179363"/>
                  <a:gd name="connsiteY9" fmla="*/ 1149844 h 1861834"/>
                  <a:gd name="connsiteX10" fmla="*/ 1965330 w 2179363"/>
                  <a:gd name="connsiteY10" fmla="*/ 1269783 h 1861834"/>
                  <a:gd name="connsiteX11" fmla="*/ 1945483 w 2179363"/>
                  <a:gd name="connsiteY11" fmla="*/ 1262485 h 1861834"/>
                  <a:gd name="connsiteX12" fmla="*/ 480008 w 2179363"/>
                  <a:gd name="connsiteY12" fmla="*/ 431577 h 1861834"/>
                  <a:gd name="connsiteX13" fmla="*/ 479665 w 2179363"/>
                  <a:gd name="connsiteY13" fmla="*/ 431184 h 1861834"/>
                  <a:gd name="connsiteX14" fmla="*/ 457510 w 2179363"/>
                  <a:gd name="connsiteY14" fmla="*/ 437405 h 1861834"/>
                  <a:gd name="connsiteX15" fmla="*/ 414860 w 2179363"/>
                  <a:gd name="connsiteY15" fmla="*/ 539231 h 1861834"/>
                  <a:gd name="connsiteX16" fmla="*/ 414855 w 2179363"/>
                  <a:gd name="connsiteY16" fmla="*/ 1065628 h 1861834"/>
                  <a:gd name="connsiteX17" fmla="*/ 412078 w 2179363"/>
                  <a:gd name="connsiteY17" fmla="*/ 1081825 h 1861834"/>
                  <a:gd name="connsiteX18" fmla="*/ 409252 w 2179363"/>
                  <a:gd name="connsiteY18" fmla="*/ 1858316 h 1861834"/>
                  <a:gd name="connsiteX19" fmla="*/ 411109 w 2179363"/>
                  <a:gd name="connsiteY19" fmla="*/ 1861834 h 1861834"/>
                  <a:gd name="connsiteX0" fmla="*/ 409252 w 2179363"/>
                  <a:gd name="connsiteY0" fmla="*/ 1858316 h 1858316"/>
                  <a:gd name="connsiteX1" fmla="*/ 4957 w 2179363"/>
                  <a:gd name="connsiteY1" fmla="*/ 1054770 h 1858316"/>
                  <a:gd name="connsiteX2" fmla="*/ 3772 w 2179363"/>
                  <a:gd name="connsiteY2" fmla="*/ 1017192 h 1858316"/>
                  <a:gd name="connsiteX3" fmla="*/ 1737 w 2179363"/>
                  <a:gd name="connsiteY3" fmla="*/ 494424 h 1858316"/>
                  <a:gd name="connsiteX4" fmla="*/ 47228 w 2179363"/>
                  <a:gd name="connsiteY4" fmla="*/ 171698 h 1858316"/>
                  <a:gd name="connsiteX5" fmla="*/ 211835 w 2179363"/>
                  <a:gd name="connsiteY5" fmla="*/ 25112 h 1858316"/>
                  <a:gd name="connsiteX6" fmla="*/ 411481 w 2179363"/>
                  <a:gd name="connsiteY6" fmla="*/ 3326 h 1858316"/>
                  <a:gd name="connsiteX7" fmla="*/ 587185 w 2179363"/>
                  <a:gd name="connsiteY7" fmla="*/ 37548 h 1858316"/>
                  <a:gd name="connsiteX8" fmla="*/ 2138338 w 2179363"/>
                  <a:gd name="connsiteY8" fmla="*/ 924343 h 1858316"/>
                  <a:gd name="connsiteX9" fmla="*/ 2139295 w 2179363"/>
                  <a:gd name="connsiteY9" fmla="*/ 1149844 h 1858316"/>
                  <a:gd name="connsiteX10" fmla="*/ 1965330 w 2179363"/>
                  <a:gd name="connsiteY10" fmla="*/ 1269783 h 1858316"/>
                  <a:gd name="connsiteX11" fmla="*/ 1945483 w 2179363"/>
                  <a:gd name="connsiteY11" fmla="*/ 1262485 h 1858316"/>
                  <a:gd name="connsiteX12" fmla="*/ 480008 w 2179363"/>
                  <a:gd name="connsiteY12" fmla="*/ 431577 h 1858316"/>
                  <a:gd name="connsiteX13" fmla="*/ 479665 w 2179363"/>
                  <a:gd name="connsiteY13" fmla="*/ 431184 h 1858316"/>
                  <a:gd name="connsiteX14" fmla="*/ 457510 w 2179363"/>
                  <a:gd name="connsiteY14" fmla="*/ 437405 h 1858316"/>
                  <a:gd name="connsiteX15" fmla="*/ 414860 w 2179363"/>
                  <a:gd name="connsiteY15" fmla="*/ 539231 h 1858316"/>
                  <a:gd name="connsiteX16" fmla="*/ 414855 w 2179363"/>
                  <a:gd name="connsiteY16" fmla="*/ 1065628 h 1858316"/>
                  <a:gd name="connsiteX17" fmla="*/ 412078 w 2179363"/>
                  <a:gd name="connsiteY17" fmla="*/ 1081825 h 1858316"/>
                  <a:gd name="connsiteX18" fmla="*/ 409252 w 2179363"/>
                  <a:gd name="connsiteY18" fmla="*/ 1858316 h 1858316"/>
                  <a:gd name="connsiteX0" fmla="*/ 407757 w 2177868"/>
                  <a:gd name="connsiteY0" fmla="*/ 1858316 h 1858316"/>
                  <a:gd name="connsiteX1" fmla="*/ 3462 w 2177868"/>
                  <a:gd name="connsiteY1" fmla="*/ 1054770 h 1858316"/>
                  <a:gd name="connsiteX2" fmla="*/ 242 w 2177868"/>
                  <a:gd name="connsiteY2" fmla="*/ 494424 h 1858316"/>
                  <a:gd name="connsiteX3" fmla="*/ 45733 w 2177868"/>
                  <a:gd name="connsiteY3" fmla="*/ 171698 h 1858316"/>
                  <a:gd name="connsiteX4" fmla="*/ 210340 w 2177868"/>
                  <a:gd name="connsiteY4" fmla="*/ 25112 h 1858316"/>
                  <a:gd name="connsiteX5" fmla="*/ 409986 w 2177868"/>
                  <a:gd name="connsiteY5" fmla="*/ 3326 h 1858316"/>
                  <a:gd name="connsiteX6" fmla="*/ 585690 w 2177868"/>
                  <a:gd name="connsiteY6" fmla="*/ 37548 h 1858316"/>
                  <a:gd name="connsiteX7" fmla="*/ 2136843 w 2177868"/>
                  <a:gd name="connsiteY7" fmla="*/ 924343 h 1858316"/>
                  <a:gd name="connsiteX8" fmla="*/ 2137800 w 2177868"/>
                  <a:gd name="connsiteY8" fmla="*/ 1149844 h 1858316"/>
                  <a:gd name="connsiteX9" fmla="*/ 1963835 w 2177868"/>
                  <a:gd name="connsiteY9" fmla="*/ 1269783 h 1858316"/>
                  <a:gd name="connsiteX10" fmla="*/ 1943988 w 2177868"/>
                  <a:gd name="connsiteY10" fmla="*/ 1262485 h 1858316"/>
                  <a:gd name="connsiteX11" fmla="*/ 478513 w 2177868"/>
                  <a:gd name="connsiteY11" fmla="*/ 431577 h 1858316"/>
                  <a:gd name="connsiteX12" fmla="*/ 478170 w 2177868"/>
                  <a:gd name="connsiteY12" fmla="*/ 431184 h 1858316"/>
                  <a:gd name="connsiteX13" fmla="*/ 456015 w 2177868"/>
                  <a:gd name="connsiteY13" fmla="*/ 437405 h 1858316"/>
                  <a:gd name="connsiteX14" fmla="*/ 413365 w 2177868"/>
                  <a:gd name="connsiteY14" fmla="*/ 539231 h 1858316"/>
                  <a:gd name="connsiteX15" fmla="*/ 413360 w 2177868"/>
                  <a:gd name="connsiteY15" fmla="*/ 1065628 h 1858316"/>
                  <a:gd name="connsiteX16" fmla="*/ 410583 w 2177868"/>
                  <a:gd name="connsiteY16" fmla="*/ 1081825 h 1858316"/>
                  <a:gd name="connsiteX17" fmla="*/ 407757 w 2177868"/>
                  <a:gd name="connsiteY17" fmla="*/ 1858316 h 1858316"/>
                  <a:gd name="connsiteX0" fmla="*/ 407757 w 2177868"/>
                  <a:gd name="connsiteY0" fmla="*/ 1858316 h 1858316"/>
                  <a:gd name="connsiteX1" fmla="*/ 242 w 2177868"/>
                  <a:gd name="connsiteY1" fmla="*/ 494424 h 1858316"/>
                  <a:gd name="connsiteX2" fmla="*/ 45733 w 2177868"/>
                  <a:gd name="connsiteY2" fmla="*/ 171698 h 1858316"/>
                  <a:gd name="connsiteX3" fmla="*/ 210340 w 2177868"/>
                  <a:gd name="connsiteY3" fmla="*/ 25112 h 1858316"/>
                  <a:gd name="connsiteX4" fmla="*/ 409986 w 2177868"/>
                  <a:gd name="connsiteY4" fmla="*/ 3326 h 1858316"/>
                  <a:gd name="connsiteX5" fmla="*/ 585690 w 2177868"/>
                  <a:gd name="connsiteY5" fmla="*/ 37548 h 1858316"/>
                  <a:gd name="connsiteX6" fmla="*/ 2136843 w 2177868"/>
                  <a:gd name="connsiteY6" fmla="*/ 924343 h 1858316"/>
                  <a:gd name="connsiteX7" fmla="*/ 2137800 w 2177868"/>
                  <a:gd name="connsiteY7" fmla="*/ 1149844 h 1858316"/>
                  <a:gd name="connsiteX8" fmla="*/ 1963835 w 2177868"/>
                  <a:gd name="connsiteY8" fmla="*/ 1269783 h 1858316"/>
                  <a:gd name="connsiteX9" fmla="*/ 1943988 w 2177868"/>
                  <a:gd name="connsiteY9" fmla="*/ 1262485 h 1858316"/>
                  <a:gd name="connsiteX10" fmla="*/ 478513 w 2177868"/>
                  <a:gd name="connsiteY10" fmla="*/ 431577 h 1858316"/>
                  <a:gd name="connsiteX11" fmla="*/ 478170 w 2177868"/>
                  <a:gd name="connsiteY11" fmla="*/ 431184 h 1858316"/>
                  <a:gd name="connsiteX12" fmla="*/ 456015 w 2177868"/>
                  <a:gd name="connsiteY12" fmla="*/ 437405 h 1858316"/>
                  <a:gd name="connsiteX13" fmla="*/ 413365 w 2177868"/>
                  <a:gd name="connsiteY13" fmla="*/ 539231 h 1858316"/>
                  <a:gd name="connsiteX14" fmla="*/ 413360 w 2177868"/>
                  <a:gd name="connsiteY14" fmla="*/ 1065628 h 1858316"/>
                  <a:gd name="connsiteX15" fmla="*/ 410583 w 2177868"/>
                  <a:gd name="connsiteY15" fmla="*/ 1081825 h 1858316"/>
                  <a:gd name="connsiteX16" fmla="*/ 407757 w 2177868"/>
                  <a:gd name="connsiteY16" fmla="*/ 1858316 h 1858316"/>
                  <a:gd name="connsiteX0" fmla="*/ 407757 w 2177868"/>
                  <a:gd name="connsiteY0" fmla="*/ 1858316 h 1858316"/>
                  <a:gd name="connsiteX1" fmla="*/ 242 w 2177868"/>
                  <a:gd name="connsiteY1" fmla="*/ 494424 h 1858316"/>
                  <a:gd name="connsiteX2" fmla="*/ 45733 w 2177868"/>
                  <a:gd name="connsiteY2" fmla="*/ 171698 h 1858316"/>
                  <a:gd name="connsiteX3" fmla="*/ 210340 w 2177868"/>
                  <a:gd name="connsiteY3" fmla="*/ 25112 h 1858316"/>
                  <a:gd name="connsiteX4" fmla="*/ 409986 w 2177868"/>
                  <a:gd name="connsiteY4" fmla="*/ 3326 h 1858316"/>
                  <a:gd name="connsiteX5" fmla="*/ 585690 w 2177868"/>
                  <a:gd name="connsiteY5" fmla="*/ 37548 h 1858316"/>
                  <a:gd name="connsiteX6" fmla="*/ 2136843 w 2177868"/>
                  <a:gd name="connsiteY6" fmla="*/ 924343 h 1858316"/>
                  <a:gd name="connsiteX7" fmla="*/ 2137800 w 2177868"/>
                  <a:gd name="connsiteY7" fmla="*/ 1149844 h 1858316"/>
                  <a:gd name="connsiteX8" fmla="*/ 1963835 w 2177868"/>
                  <a:gd name="connsiteY8" fmla="*/ 1269783 h 1858316"/>
                  <a:gd name="connsiteX9" fmla="*/ 1943988 w 2177868"/>
                  <a:gd name="connsiteY9" fmla="*/ 1262485 h 1858316"/>
                  <a:gd name="connsiteX10" fmla="*/ 478513 w 2177868"/>
                  <a:gd name="connsiteY10" fmla="*/ 431577 h 1858316"/>
                  <a:gd name="connsiteX11" fmla="*/ 478170 w 2177868"/>
                  <a:gd name="connsiteY11" fmla="*/ 431184 h 1858316"/>
                  <a:gd name="connsiteX12" fmla="*/ 456015 w 2177868"/>
                  <a:gd name="connsiteY12" fmla="*/ 437405 h 1858316"/>
                  <a:gd name="connsiteX13" fmla="*/ 413365 w 2177868"/>
                  <a:gd name="connsiteY13" fmla="*/ 539231 h 1858316"/>
                  <a:gd name="connsiteX14" fmla="*/ 413360 w 2177868"/>
                  <a:gd name="connsiteY14" fmla="*/ 1065628 h 1858316"/>
                  <a:gd name="connsiteX15" fmla="*/ 407757 w 2177868"/>
                  <a:gd name="connsiteY15" fmla="*/ 1858316 h 1858316"/>
                  <a:gd name="connsiteX0" fmla="*/ 437026 w 2201534"/>
                  <a:gd name="connsiteY0" fmla="*/ 1065628 h 1271115"/>
                  <a:gd name="connsiteX1" fmla="*/ 23908 w 2201534"/>
                  <a:gd name="connsiteY1" fmla="*/ 494424 h 1271115"/>
                  <a:gd name="connsiteX2" fmla="*/ 69399 w 2201534"/>
                  <a:gd name="connsiteY2" fmla="*/ 171698 h 1271115"/>
                  <a:gd name="connsiteX3" fmla="*/ 234006 w 2201534"/>
                  <a:gd name="connsiteY3" fmla="*/ 25112 h 1271115"/>
                  <a:gd name="connsiteX4" fmla="*/ 433652 w 2201534"/>
                  <a:gd name="connsiteY4" fmla="*/ 3326 h 1271115"/>
                  <a:gd name="connsiteX5" fmla="*/ 609356 w 2201534"/>
                  <a:gd name="connsiteY5" fmla="*/ 37548 h 1271115"/>
                  <a:gd name="connsiteX6" fmla="*/ 2160509 w 2201534"/>
                  <a:gd name="connsiteY6" fmla="*/ 924343 h 1271115"/>
                  <a:gd name="connsiteX7" fmla="*/ 2161466 w 2201534"/>
                  <a:gd name="connsiteY7" fmla="*/ 1149844 h 1271115"/>
                  <a:gd name="connsiteX8" fmla="*/ 1987501 w 2201534"/>
                  <a:gd name="connsiteY8" fmla="*/ 1269783 h 1271115"/>
                  <a:gd name="connsiteX9" fmla="*/ 1967654 w 2201534"/>
                  <a:gd name="connsiteY9" fmla="*/ 1262485 h 1271115"/>
                  <a:gd name="connsiteX10" fmla="*/ 502179 w 2201534"/>
                  <a:gd name="connsiteY10" fmla="*/ 431577 h 1271115"/>
                  <a:gd name="connsiteX11" fmla="*/ 501836 w 2201534"/>
                  <a:gd name="connsiteY11" fmla="*/ 431184 h 1271115"/>
                  <a:gd name="connsiteX12" fmla="*/ 479681 w 2201534"/>
                  <a:gd name="connsiteY12" fmla="*/ 437405 h 1271115"/>
                  <a:gd name="connsiteX13" fmla="*/ 437031 w 2201534"/>
                  <a:gd name="connsiteY13" fmla="*/ 539231 h 1271115"/>
                  <a:gd name="connsiteX14" fmla="*/ 437026 w 2201534"/>
                  <a:gd name="connsiteY14" fmla="*/ 1065628 h 1271115"/>
                  <a:gd name="connsiteX0" fmla="*/ 437031 w 2201534"/>
                  <a:gd name="connsiteY0" fmla="*/ 539231 h 1271115"/>
                  <a:gd name="connsiteX1" fmla="*/ 23908 w 2201534"/>
                  <a:gd name="connsiteY1" fmla="*/ 494424 h 1271115"/>
                  <a:gd name="connsiteX2" fmla="*/ 69399 w 2201534"/>
                  <a:gd name="connsiteY2" fmla="*/ 171698 h 1271115"/>
                  <a:gd name="connsiteX3" fmla="*/ 234006 w 2201534"/>
                  <a:gd name="connsiteY3" fmla="*/ 25112 h 1271115"/>
                  <a:gd name="connsiteX4" fmla="*/ 433652 w 2201534"/>
                  <a:gd name="connsiteY4" fmla="*/ 3326 h 1271115"/>
                  <a:gd name="connsiteX5" fmla="*/ 609356 w 2201534"/>
                  <a:gd name="connsiteY5" fmla="*/ 37548 h 1271115"/>
                  <a:gd name="connsiteX6" fmla="*/ 2160509 w 2201534"/>
                  <a:gd name="connsiteY6" fmla="*/ 924343 h 1271115"/>
                  <a:gd name="connsiteX7" fmla="*/ 2161466 w 2201534"/>
                  <a:gd name="connsiteY7" fmla="*/ 1149844 h 1271115"/>
                  <a:gd name="connsiteX8" fmla="*/ 1987501 w 2201534"/>
                  <a:gd name="connsiteY8" fmla="*/ 1269783 h 1271115"/>
                  <a:gd name="connsiteX9" fmla="*/ 1967654 w 2201534"/>
                  <a:gd name="connsiteY9" fmla="*/ 1262485 h 1271115"/>
                  <a:gd name="connsiteX10" fmla="*/ 502179 w 2201534"/>
                  <a:gd name="connsiteY10" fmla="*/ 431577 h 1271115"/>
                  <a:gd name="connsiteX11" fmla="*/ 501836 w 2201534"/>
                  <a:gd name="connsiteY11" fmla="*/ 431184 h 1271115"/>
                  <a:gd name="connsiteX12" fmla="*/ 479681 w 2201534"/>
                  <a:gd name="connsiteY12" fmla="*/ 437405 h 1271115"/>
                  <a:gd name="connsiteX13" fmla="*/ 437031 w 2201534"/>
                  <a:gd name="connsiteY13" fmla="*/ 539231 h 1271115"/>
                  <a:gd name="connsiteX0" fmla="*/ 372453 w 2136956"/>
                  <a:gd name="connsiteY0" fmla="*/ 539231 h 1271115"/>
                  <a:gd name="connsiteX1" fmla="*/ 4821 w 2136956"/>
                  <a:gd name="connsiteY1" fmla="*/ 171698 h 1271115"/>
                  <a:gd name="connsiteX2" fmla="*/ 169428 w 2136956"/>
                  <a:gd name="connsiteY2" fmla="*/ 25112 h 1271115"/>
                  <a:gd name="connsiteX3" fmla="*/ 369074 w 2136956"/>
                  <a:gd name="connsiteY3" fmla="*/ 3326 h 1271115"/>
                  <a:gd name="connsiteX4" fmla="*/ 544778 w 2136956"/>
                  <a:gd name="connsiteY4" fmla="*/ 37548 h 1271115"/>
                  <a:gd name="connsiteX5" fmla="*/ 2095931 w 2136956"/>
                  <a:gd name="connsiteY5" fmla="*/ 924343 h 1271115"/>
                  <a:gd name="connsiteX6" fmla="*/ 2096888 w 2136956"/>
                  <a:gd name="connsiteY6" fmla="*/ 1149844 h 1271115"/>
                  <a:gd name="connsiteX7" fmla="*/ 1922923 w 2136956"/>
                  <a:gd name="connsiteY7" fmla="*/ 1269783 h 1271115"/>
                  <a:gd name="connsiteX8" fmla="*/ 1903076 w 2136956"/>
                  <a:gd name="connsiteY8" fmla="*/ 1262485 h 1271115"/>
                  <a:gd name="connsiteX9" fmla="*/ 437601 w 2136956"/>
                  <a:gd name="connsiteY9" fmla="*/ 431577 h 1271115"/>
                  <a:gd name="connsiteX10" fmla="*/ 437258 w 2136956"/>
                  <a:gd name="connsiteY10" fmla="*/ 431184 h 1271115"/>
                  <a:gd name="connsiteX11" fmla="*/ 415103 w 2136956"/>
                  <a:gd name="connsiteY11" fmla="*/ 437405 h 1271115"/>
                  <a:gd name="connsiteX12" fmla="*/ 372453 w 2136956"/>
                  <a:gd name="connsiteY12" fmla="*/ 539231 h 1271115"/>
                  <a:gd name="connsiteX0" fmla="*/ 416889 w 2138742"/>
                  <a:gd name="connsiteY0" fmla="*/ 437405 h 1271115"/>
                  <a:gd name="connsiteX1" fmla="*/ 6607 w 2138742"/>
                  <a:gd name="connsiteY1" fmla="*/ 171698 h 1271115"/>
                  <a:gd name="connsiteX2" fmla="*/ 171214 w 2138742"/>
                  <a:gd name="connsiteY2" fmla="*/ 25112 h 1271115"/>
                  <a:gd name="connsiteX3" fmla="*/ 370860 w 2138742"/>
                  <a:gd name="connsiteY3" fmla="*/ 3326 h 1271115"/>
                  <a:gd name="connsiteX4" fmla="*/ 546564 w 2138742"/>
                  <a:gd name="connsiteY4" fmla="*/ 37548 h 1271115"/>
                  <a:gd name="connsiteX5" fmla="*/ 2097717 w 2138742"/>
                  <a:gd name="connsiteY5" fmla="*/ 924343 h 1271115"/>
                  <a:gd name="connsiteX6" fmla="*/ 2098674 w 2138742"/>
                  <a:gd name="connsiteY6" fmla="*/ 1149844 h 1271115"/>
                  <a:gd name="connsiteX7" fmla="*/ 1924709 w 2138742"/>
                  <a:gd name="connsiteY7" fmla="*/ 1269783 h 1271115"/>
                  <a:gd name="connsiteX8" fmla="*/ 1904862 w 2138742"/>
                  <a:gd name="connsiteY8" fmla="*/ 1262485 h 1271115"/>
                  <a:gd name="connsiteX9" fmla="*/ 439387 w 2138742"/>
                  <a:gd name="connsiteY9" fmla="*/ 431577 h 1271115"/>
                  <a:gd name="connsiteX10" fmla="*/ 439044 w 2138742"/>
                  <a:gd name="connsiteY10" fmla="*/ 431184 h 1271115"/>
                  <a:gd name="connsiteX11" fmla="*/ 416889 w 2138742"/>
                  <a:gd name="connsiteY11" fmla="*/ 437405 h 1271115"/>
                  <a:gd name="connsiteX0" fmla="*/ 245969 w 1967822"/>
                  <a:gd name="connsiteY0" fmla="*/ 451897 h 1285607"/>
                  <a:gd name="connsiteX1" fmla="*/ 294 w 1967822"/>
                  <a:gd name="connsiteY1" fmla="*/ 39604 h 1285607"/>
                  <a:gd name="connsiteX2" fmla="*/ 199940 w 1967822"/>
                  <a:gd name="connsiteY2" fmla="*/ 17818 h 1285607"/>
                  <a:gd name="connsiteX3" fmla="*/ 375644 w 1967822"/>
                  <a:gd name="connsiteY3" fmla="*/ 52040 h 1285607"/>
                  <a:gd name="connsiteX4" fmla="*/ 1926797 w 1967822"/>
                  <a:gd name="connsiteY4" fmla="*/ 938835 h 1285607"/>
                  <a:gd name="connsiteX5" fmla="*/ 1927754 w 1967822"/>
                  <a:gd name="connsiteY5" fmla="*/ 1164336 h 1285607"/>
                  <a:gd name="connsiteX6" fmla="*/ 1753789 w 1967822"/>
                  <a:gd name="connsiteY6" fmla="*/ 1284275 h 1285607"/>
                  <a:gd name="connsiteX7" fmla="*/ 1733942 w 1967822"/>
                  <a:gd name="connsiteY7" fmla="*/ 1276977 h 1285607"/>
                  <a:gd name="connsiteX8" fmla="*/ 268467 w 1967822"/>
                  <a:gd name="connsiteY8" fmla="*/ 446069 h 1285607"/>
                  <a:gd name="connsiteX9" fmla="*/ 268124 w 1967822"/>
                  <a:gd name="connsiteY9" fmla="*/ 445676 h 1285607"/>
                  <a:gd name="connsiteX10" fmla="*/ 245969 w 1967822"/>
                  <a:gd name="connsiteY10" fmla="*/ 451897 h 1285607"/>
                  <a:gd name="connsiteX0" fmla="*/ 245969 w 1967822"/>
                  <a:gd name="connsiteY0" fmla="*/ 451897 h 1285607"/>
                  <a:gd name="connsiteX1" fmla="*/ 294 w 1967822"/>
                  <a:gd name="connsiteY1" fmla="*/ 39604 h 1285607"/>
                  <a:gd name="connsiteX2" fmla="*/ 199940 w 1967822"/>
                  <a:gd name="connsiteY2" fmla="*/ 17818 h 1285607"/>
                  <a:gd name="connsiteX3" fmla="*/ 375644 w 1967822"/>
                  <a:gd name="connsiteY3" fmla="*/ 52040 h 1285607"/>
                  <a:gd name="connsiteX4" fmla="*/ 1926797 w 1967822"/>
                  <a:gd name="connsiteY4" fmla="*/ 938835 h 1285607"/>
                  <a:gd name="connsiteX5" fmla="*/ 1927754 w 1967822"/>
                  <a:gd name="connsiteY5" fmla="*/ 1164336 h 1285607"/>
                  <a:gd name="connsiteX6" fmla="*/ 1753789 w 1967822"/>
                  <a:gd name="connsiteY6" fmla="*/ 1284275 h 1285607"/>
                  <a:gd name="connsiteX7" fmla="*/ 1733942 w 1967822"/>
                  <a:gd name="connsiteY7" fmla="*/ 1276977 h 1285607"/>
                  <a:gd name="connsiteX8" fmla="*/ 268467 w 1967822"/>
                  <a:gd name="connsiteY8" fmla="*/ 446069 h 1285607"/>
                  <a:gd name="connsiteX9" fmla="*/ 268124 w 1967822"/>
                  <a:gd name="connsiteY9" fmla="*/ 445676 h 1285607"/>
                  <a:gd name="connsiteX10" fmla="*/ 245969 w 1967822"/>
                  <a:gd name="connsiteY10" fmla="*/ 451897 h 1285607"/>
                  <a:gd name="connsiteX0" fmla="*/ 50925 w 1772778"/>
                  <a:gd name="connsiteY0" fmla="*/ 434079 h 1267789"/>
                  <a:gd name="connsiteX1" fmla="*/ 4896 w 1772778"/>
                  <a:gd name="connsiteY1" fmla="*/ 0 h 1267789"/>
                  <a:gd name="connsiteX2" fmla="*/ 180600 w 1772778"/>
                  <a:gd name="connsiteY2" fmla="*/ 34222 h 1267789"/>
                  <a:gd name="connsiteX3" fmla="*/ 1731753 w 1772778"/>
                  <a:gd name="connsiteY3" fmla="*/ 921017 h 1267789"/>
                  <a:gd name="connsiteX4" fmla="*/ 1732710 w 1772778"/>
                  <a:gd name="connsiteY4" fmla="*/ 1146518 h 1267789"/>
                  <a:gd name="connsiteX5" fmla="*/ 1558745 w 1772778"/>
                  <a:gd name="connsiteY5" fmla="*/ 1266457 h 1267789"/>
                  <a:gd name="connsiteX6" fmla="*/ 1538898 w 1772778"/>
                  <a:gd name="connsiteY6" fmla="*/ 1259159 h 1267789"/>
                  <a:gd name="connsiteX7" fmla="*/ 73423 w 1772778"/>
                  <a:gd name="connsiteY7" fmla="*/ 428251 h 1267789"/>
                  <a:gd name="connsiteX8" fmla="*/ 73080 w 1772778"/>
                  <a:gd name="connsiteY8" fmla="*/ 427858 h 1267789"/>
                  <a:gd name="connsiteX9" fmla="*/ 50925 w 1772778"/>
                  <a:gd name="connsiteY9" fmla="*/ 434079 h 1267789"/>
                  <a:gd name="connsiteX0" fmla="*/ 68184 w 1767882"/>
                  <a:gd name="connsiteY0" fmla="*/ 427858 h 1267789"/>
                  <a:gd name="connsiteX1" fmla="*/ 0 w 1767882"/>
                  <a:gd name="connsiteY1" fmla="*/ 0 h 1267789"/>
                  <a:gd name="connsiteX2" fmla="*/ 175704 w 1767882"/>
                  <a:gd name="connsiteY2" fmla="*/ 34222 h 1267789"/>
                  <a:gd name="connsiteX3" fmla="*/ 1726857 w 1767882"/>
                  <a:gd name="connsiteY3" fmla="*/ 921017 h 1267789"/>
                  <a:gd name="connsiteX4" fmla="*/ 1727814 w 1767882"/>
                  <a:gd name="connsiteY4" fmla="*/ 1146518 h 1267789"/>
                  <a:gd name="connsiteX5" fmla="*/ 1553849 w 1767882"/>
                  <a:gd name="connsiteY5" fmla="*/ 1266457 h 1267789"/>
                  <a:gd name="connsiteX6" fmla="*/ 1534002 w 1767882"/>
                  <a:gd name="connsiteY6" fmla="*/ 1259159 h 1267789"/>
                  <a:gd name="connsiteX7" fmla="*/ 68527 w 1767882"/>
                  <a:gd name="connsiteY7" fmla="*/ 428251 h 1267789"/>
                  <a:gd name="connsiteX8" fmla="*/ 68184 w 1767882"/>
                  <a:gd name="connsiteY8" fmla="*/ 427858 h 1267789"/>
                  <a:gd name="connsiteX0" fmla="*/ 0 w 1823523"/>
                  <a:gd name="connsiteY0" fmla="*/ 412600 h 1290631"/>
                  <a:gd name="connsiteX1" fmla="*/ 55641 w 1823523"/>
                  <a:gd name="connsiteY1" fmla="*/ 22842 h 1290631"/>
                  <a:gd name="connsiteX2" fmla="*/ 231345 w 1823523"/>
                  <a:gd name="connsiteY2" fmla="*/ 57064 h 1290631"/>
                  <a:gd name="connsiteX3" fmla="*/ 1782498 w 1823523"/>
                  <a:gd name="connsiteY3" fmla="*/ 943859 h 1290631"/>
                  <a:gd name="connsiteX4" fmla="*/ 1783455 w 1823523"/>
                  <a:gd name="connsiteY4" fmla="*/ 1169360 h 1290631"/>
                  <a:gd name="connsiteX5" fmla="*/ 1609490 w 1823523"/>
                  <a:gd name="connsiteY5" fmla="*/ 1289299 h 1290631"/>
                  <a:gd name="connsiteX6" fmla="*/ 1589643 w 1823523"/>
                  <a:gd name="connsiteY6" fmla="*/ 1282001 h 1290631"/>
                  <a:gd name="connsiteX7" fmla="*/ 124168 w 1823523"/>
                  <a:gd name="connsiteY7" fmla="*/ 451093 h 1290631"/>
                  <a:gd name="connsiteX8" fmla="*/ 0 w 1823523"/>
                  <a:gd name="connsiteY8" fmla="*/ 412600 h 1290631"/>
                  <a:gd name="connsiteX0" fmla="*/ 121435 w 1944958"/>
                  <a:gd name="connsiteY0" fmla="*/ 388867 h 1266898"/>
                  <a:gd name="connsiteX1" fmla="*/ 5626 w 1944958"/>
                  <a:gd name="connsiteY1" fmla="*/ 30859 h 1266898"/>
                  <a:gd name="connsiteX2" fmla="*/ 352780 w 1944958"/>
                  <a:gd name="connsiteY2" fmla="*/ 33331 h 1266898"/>
                  <a:gd name="connsiteX3" fmla="*/ 1903933 w 1944958"/>
                  <a:gd name="connsiteY3" fmla="*/ 920126 h 1266898"/>
                  <a:gd name="connsiteX4" fmla="*/ 1904890 w 1944958"/>
                  <a:gd name="connsiteY4" fmla="*/ 1145627 h 1266898"/>
                  <a:gd name="connsiteX5" fmla="*/ 1730925 w 1944958"/>
                  <a:gd name="connsiteY5" fmla="*/ 1265566 h 1266898"/>
                  <a:gd name="connsiteX6" fmla="*/ 1711078 w 1944958"/>
                  <a:gd name="connsiteY6" fmla="*/ 1258268 h 1266898"/>
                  <a:gd name="connsiteX7" fmla="*/ 245603 w 1944958"/>
                  <a:gd name="connsiteY7" fmla="*/ 427360 h 1266898"/>
                  <a:gd name="connsiteX8" fmla="*/ 121435 w 1944958"/>
                  <a:gd name="connsiteY8" fmla="*/ 388867 h 1266898"/>
                  <a:gd name="connsiteX0" fmla="*/ 128564 w 1952087"/>
                  <a:gd name="connsiteY0" fmla="*/ 394429 h 1272460"/>
                  <a:gd name="connsiteX1" fmla="*/ 12755 w 1952087"/>
                  <a:gd name="connsiteY1" fmla="*/ 36421 h 1272460"/>
                  <a:gd name="connsiteX2" fmla="*/ 359909 w 1952087"/>
                  <a:gd name="connsiteY2" fmla="*/ 38893 h 1272460"/>
                  <a:gd name="connsiteX3" fmla="*/ 1911062 w 1952087"/>
                  <a:gd name="connsiteY3" fmla="*/ 925688 h 1272460"/>
                  <a:gd name="connsiteX4" fmla="*/ 1912019 w 1952087"/>
                  <a:gd name="connsiteY4" fmla="*/ 1151189 h 1272460"/>
                  <a:gd name="connsiteX5" fmla="*/ 1738054 w 1952087"/>
                  <a:gd name="connsiteY5" fmla="*/ 1271128 h 1272460"/>
                  <a:gd name="connsiteX6" fmla="*/ 1718207 w 1952087"/>
                  <a:gd name="connsiteY6" fmla="*/ 1263830 h 1272460"/>
                  <a:gd name="connsiteX7" fmla="*/ 252732 w 1952087"/>
                  <a:gd name="connsiteY7" fmla="*/ 432922 h 1272460"/>
                  <a:gd name="connsiteX8" fmla="*/ 128564 w 1952087"/>
                  <a:gd name="connsiteY8" fmla="*/ 394429 h 1272460"/>
                  <a:gd name="connsiteX0" fmla="*/ 109676 w 1945899"/>
                  <a:gd name="connsiteY0" fmla="*/ 443373 h 1270604"/>
                  <a:gd name="connsiteX1" fmla="*/ 6567 w 1945899"/>
                  <a:gd name="connsiteY1" fmla="*/ 34565 h 1270604"/>
                  <a:gd name="connsiteX2" fmla="*/ 353721 w 1945899"/>
                  <a:gd name="connsiteY2" fmla="*/ 37037 h 1270604"/>
                  <a:gd name="connsiteX3" fmla="*/ 1904874 w 1945899"/>
                  <a:gd name="connsiteY3" fmla="*/ 923832 h 1270604"/>
                  <a:gd name="connsiteX4" fmla="*/ 1905831 w 1945899"/>
                  <a:gd name="connsiteY4" fmla="*/ 1149333 h 1270604"/>
                  <a:gd name="connsiteX5" fmla="*/ 1731866 w 1945899"/>
                  <a:gd name="connsiteY5" fmla="*/ 1269272 h 1270604"/>
                  <a:gd name="connsiteX6" fmla="*/ 1712019 w 1945899"/>
                  <a:gd name="connsiteY6" fmla="*/ 1261974 h 1270604"/>
                  <a:gd name="connsiteX7" fmla="*/ 246544 w 1945899"/>
                  <a:gd name="connsiteY7" fmla="*/ 431066 h 1270604"/>
                  <a:gd name="connsiteX8" fmla="*/ 109676 w 1945899"/>
                  <a:gd name="connsiteY8" fmla="*/ 443373 h 1270604"/>
                  <a:gd name="connsiteX0" fmla="*/ 250037 w 1949392"/>
                  <a:gd name="connsiteY0" fmla="*/ 431066 h 1270604"/>
                  <a:gd name="connsiteX1" fmla="*/ 10060 w 1949392"/>
                  <a:gd name="connsiteY1" fmla="*/ 34565 h 1270604"/>
                  <a:gd name="connsiteX2" fmla="*/ 357214 w 1949392"/>
                  <a:gd name="connsiteY2" fmla="*/ 37037 h 1270604"/>
                  <a:gd name="connsiteX3" fmla="*/ 1908367 w 1949392"/>
                  <a:gd name="connsiteY3" fmla="*/ 923832 h 1270604"/>
                  <a:gd name="connsiteX4" fmla="*/ 1909324 w 1949392"/>
                  <a:gd name="connsiteY4" fmla="*/ 1149333 h 1270604"/>
                  <a:gd name="connsiteX5" fmla="*/ 1735359 w 1949392"/>
                  <a:gd name="connsiteY5" fmla="*/ 1269272 h 1270604"/>
                  <a:gd name="connsiteX6" fmla="*/ 1715512 w 1949392"/>
                  <a:gd name="connsiteY6" fmla="*/ 1261974 h 1270604"/>
                  <a:gd name="connsiteX7" fmla="*/ 250037 w 1949392"/>
                  <a:gd name="connsiteY7" fmla="*/ 431066 h 1270604"/>
                  <a:gd name="connsiteX0" fmla="*/ 246686 w 1946041"/>
                  <a:gd name="connsiteY0" fmla="*/ 431066 h 1270604"/>
                  <a:gd name="connsiteX1" fmla="*/ 133827 w 1946041"/>
                  <a:gd name="connsiteY1" fmla="*/ 324567 h 1270604"/>
                  <a:gd name="connsiteX2" fmla="*/ 6709 w 1946041"/>
                  <a:gd name="connsiteY2" fmla="*/ 34565 h 1270604"/>
                  <a:gd name="connsiteX3" fmla="*/ 353863 w 1946041"/>
                  <a:gd name="connsiteY3" fmla="*/ 37037 h 1270604"/>
                  <a:gd name="connsiteX4" fmla="*/ 1905016 w 1946041"/>
                  <a:gd name="connsiteY4" fmla="*/ 923832 h 1270604"/>
                  <a:gd name="connsiteX5" fmla="*/ 1905973 w 1946041"/>
                  <a:gd name="connsiteY5" fmla="*/ 1149333 h 1270604"/>
                  <a:gd name="connsiteX6" fmla="*/ 1732008 w 1946041"/>
                  <a:gd name="connsiteY6" fmla="*/ 1269272 h 1270604"/>
                  <a:gd name="connsiteX7" fmla="*/ 1712161 w 1946041"/>
                  <a:gd name="connsiteY7" fmla="*/ 1261974 h 1270604"/>
                  <a:gd name="connsiteX8" fmla="*/ 246686 w 1946041"/>
                  <a:gd name="connsiteY8" fmla="*/ 431066 h 1270604"/>
                  <a:gd name="connsiteX0" fmla="*/ 455481 w 2154836"/>
                  <a:gd name="connsiteY0" fmla="*/ 418337 h 1257875"/>
                  <a:gd name="connsiteX1" fmla="*/ 6416 w 2154836"/>
                  <a:gd name="connsiteY1" fmla="*/ 254688 h 1257875"/>
                  <a:gd name="connsiteX2" fmla="*/ 215504 w 2154836"/>
                  <a:gd name="connsiteY2" fmla="*/ 21836 h 1257875"/>
                  <a:gd name="connsiteX3" fmla="*/ 562658 w 2154836"/>
                  <a:gd name="connsiteY3" fmla="*/ 24308 h 1257875"/>
                  <a:gd name="connsiteX4" fmla="*/ 2113811 w 2154836"/>
                  <a:gd name="connsiteY4" fmla="*/ 911103 h 1257875"/>
                  <a:gd name="connsiteX5" fmla="*/ 2114768 w 2154836"/>
                  <a:gd name="connsiteY5" fmla="*/ 1136604 h 1257875"/>
                  <a:gd name="connsiteX6" fmla="*/ 1940803 w 2154836"/>
                  <a:gd name="connsiteY6" fmla="*/ 1256543 h 1257875"/>
                  <a:gd name="connsiteX7" fmla="*/ 1920956 w 2154836"/>
                  <a:gd name="connsiteY7" fmla="*/ 1249245 h 1257875"/>
                  <a:gd name="connsiteX8" fmla="*/ 455481 w 2154836"/>
                  <a:gd name="connsiteY8" fmla="*/ 418337 h 1257875"/>
                  <a:gd name="connsiteX0" fmla="*/ 458204 w 2157559"/>
                  <a:gd name="connsiteY0" fmla="*/ 439462 h 1279000"/>
                  <a:gd name="connsiteX1" fmla="*/ 9139 w 2157559"/>
                  <a:gd name="connsiteY1" fmla="*/ 275813 h 1279000"/>
                  <a:gd name="connsiteX2" fmla="*/ 160591 w 2157559"/>
                  <a:gd name="connsiteY2" fmla="*/ 14386 h 1279000"/>
                  <a:gd name="connsiteX3" fmla="*/ 565381 w 2157559"/>
                  <a:gd name="connsiteY3" fmla="*/ 45433 h 1279000"/>
                  <a:gd name="connsiteX4" fmla="*/ 2116534 w 2157559"/>
                  <a:gd name="connsiteY4" fmla="*/ 932228 h 1279000"/>
                  <a:gd name="connsiteX5" fmla="*/ 2117491 w 2157559"/>
                  <a:gd name="connsiteY5" fmla="*/ 1157729 h 1279000"/>
                  <a:gd name="connsiteX6" fmla="*/ 1943526 w 2157559"/>
                  <a:gd name="connsiteY6" fmla="*/ 1277668 h 1279000"/>
                  <a:gd name="connsiteX7" fmla="*/ 1923679 w 2157559"/>
                  <a:gd name="connsiteY7" fmla="*/ 1270370 h 1279000"/>
                  <a:gd name="connsiteX8" fmla="*/ 458204 w 2157559"/>
                  <a:gd name="connsiteY8" fmla="*/ 439462 h 1279000"/>
                  <a:gd name="connsiteX0" fmla="*/ 456399 w 2155754"/>
                  <a:gd name="connsiteY0" fmla="*/ 431843 h 1271381"/>
                  <a:gd name="connsiteX1" fmla="*/ 7334 w 2155754"/>
                  <a:gd name="connsiteY1" fmla="*/ 268194 h 1271381"/>
                  <a:gd name="connsiteX2" fmla="*/ 192407 w 2155754"/>
                  <a:gd name="connsiteY2" fmla="*/ 16292 h 1271381"/>
                  <a:gd name="connsiteX3" fmla="*/ 563576 w 2155754"/>
                  <a:gd name="connsiteY3" fmla="*/ 37814 h 1271381"/>
                  <a:gd name="connsiteX4" fmla="*/ 2114729 w 2155754"/>
                  <a:gd name="connsiteY4" fmla="*/ 924609 h 1271381"/>
                  <a:gd name="connsiteX5" fmla="*/ 2115686 w 2155754"/>
                  <a:gd name="connsiteY5" fmla="*/ 1150110 h 1271381"/>
                  <a:gd name="connsiteX6" fmla="*/ 1941721 w 2155754"/>
                  <a:gd name="connsiteY6" fmla="*/ 1270049 h 1271381"/>
                  <a:gd name="connsiteX7" fmla="*/ 1921874 w 2155754"/>
                  <a:gd name="connsiteY7" fmla="*/ 1262751 h 1271381"/>
                  <a:gd name="connsiteX8" fmla="*/ 456399 w 2155754"/>
                  <a:gd name="connsiteY8" fmla="*/ 431843 h 1271381"/>
                  <a:gd name="connsiteX0" fmla="*/ 456399 w 2155754"/>
                  <a:gd name="connsiteY0" fmla="*/ 429388 h 1268926"/>
                  <a:gd name="connsiteX1" fmla="*/ 7334 w 2155754"/>
                  <a:gd name="connsiteY1" fmla="*/ 232402 h 1268926"/>
                  <a:gd name="connsiteX2" fmla="*/ 192407 w 2155754"/>
                  <a:gd name="connsiteY2" fmla="*/ 13837 h 1268926"/>
                  <a:gd name="connsiteX3" fmla="*/ 563576 w 2155754"/>
                  <a:gd name="connsiteY3" fmla="*/ 35359 h 1268926"/>
                  <a:gd name="connsiteX4" fmla="*/ 2114729 w 2155754"/>
                  <a:gd name="connsiteY4" fmla="*/ 922154 h 1268926"/>
                  <a:gd name="connsiteX5" fmla="*/ 2115686 w 2155754"/>
                  <a:gd name="connsiteY5" fmla="*/ 1147655 h 1268926"/>
                  <a:gd name="connsiteX6" fmla="*/ 1941721 w 2155754"/>
                  <a:gd name="connsiteY6" fmla="*/ 1267594 h 1268926"/>
                  <a:gd name="connsiteX7" fmla="*/ 1921874 w 2155754"/>
                  <a:gd name="connsiteY7" fmla="*/ 1260296 h 1268926"/>
                  <a:gd name="connsiteX8" fmla="*/ 456399 w 2155754"/>
                  <a:gd name="connsiteY8" fmla="*/ 429388 h 1268926"/>
                  <a:gd name="connsiteX0" fmla="*/ 458374 w 2157729"/>
                  <a:gd name="connsiteY0" fmla="*/ 437817 h 1277355"/>
                  <a:gd name="connsiteX1" fmla="*/ 9309 w 2157729"/>
                  <a:gd name="connsiteY1" fmla="*/ 240831 h 1277355"/>
                  <a:gd name="connsiteX2" fmla="*/ 194382 w 2157729"/>
                  <a:gd name="connsiteY2" fmla="*/ 22266 h 1277355"/>
                  <a:gd name="connsiteX3" fmla="*/ 565551 w 2157729"/>
                  <a:gd name="connsiteY3" fmla="*/ 43788 h 1277355"/>
                  <a:gd name="connsiteX4" fmla="*/ 2116704 w 2157729"/>
                  <a:gd name="connsiteY4" fmla="*/ 930583 h 1277355"/>
                  <a:gd name="connsiteX5" fmla="*/ 2117661 w 2157729"/>
                  <a:gd name="connsiteY5" fmla="*/ 1156084 h 1277355"/>
                  <a:gd name="connsiteX6" fmla="*/ 1943696 w 2157729"/>
                  <a:gd name="connsiteY6" fmla="*/ 1276023 h 1277355"/>
                  <a:gd name="connsiteX7" fmla="*/ 1923849 w 2157729"/>
                  <a:gd name="connsiteY7" fmla="*/ 1268725 h 1277355"/>
                  <a:gd name="connsiteX8" fmla="*/ 458374 w 2157729"/>
                  <a:gd name="connsiteY8" fmla="*/ 437817 h 12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7729" h="1277355">
                    <a:moveTo>
                      <a:pt x="458374" y="437817"/>
                    </a:moveTo>
                    <a:cubicBezTo>
                      <a:pt x="195318" y="281583"/>
                      <a:pt x="49305" y="306914"/>
                      <a:pt x="9309" y="240831"/>
                    </a:cubicBezTo>
                    <a:cubicBezTo>
                      <a:pt x="-30687" y="174748"/>
                      <a:pt x="63252" y="74157"/>
                      <a:pt x="194382" y="22266"/>
                    </a:cubicBezTo>
                    <a:cubicBezTo>
                      <a:pt x="325512" y="-29625"/>
                      <a:pt x="507689" y="22617"/>
                      <a:pt x="565551" y="43788"/>
                    </a:cubicBezTo>
                    <a:lnTo>
                      <a:pt x="2116704" y="930583"/>
                    </a:lnTo>
                    <a:cubicBezTo>
                      <a:pt x="2171029" y="961947"/>
                      <a:pt x="2171457" y="1062907"/>
                      <a:pt x="2117661" y="1156084"/>
                    </a:cubicBezTo>
                    <a:cubicBezTo>
                      <a:pt x="2070590" y="1237614"/>
                      <a:pt x="1997601" y="1286169"/>
                      <a:pt x="1943696" y="1276023"/>
                    </a:cubicBezTo>
                    <a:lnTo>
                      <a:pt x="1923849" y="1268725"/>
                    </a:lnTo>
                    <a:lnTo>
                      <a:pt x="458374" y="437817"/>
                    </a:lnTo>
                    <a:close/>
                  </a:path>
                </a:pathLst>
              </a:custGeom>
              <a:gradFill flip="none" rotWithShape="1">
                <a:gsLst>
                  <a:gs pos="58000">
                    <a:schemeClr val="accent2">
                      <a:lumMod val="0"/>
                      <a:lumOff val="100000"/>
                      <a:alpha val="0"/>
                    </a:schemeClr>
                  </a:gs>
                  <a:gs pos="39000">
                    <a:schemeClr val="accent4"/>
                  </a:gs>
                </a:gsLst>
                <a:lin ang="72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65" name="Freeform: Shape 764">
                <a:extLst>
                  <a:ext uri="{FF2B5EF4-FFF2-40B4-BE49-F238E27FC236}">
                    <a16:creationId xmlns:a16="http://schemas.microsoft.com/office/drawing/2014/main" id="{8AD34B16-EA9A-4B22-AAB5-832616A53922}"/>
                  </a:ext>
                </a:extLst>
              </p:cNvPr>
              <p:cNvSpPr/>
              <p:nvPr/>
            </p:nvSpPr>
            <p:spPr bwMode="gray">
              <a:xfrm flipH="1" flipV="1">
                <a:off x="328248" y="612531"/>
                <a:ext cx="409165" cy="1770376"/>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172662"/>
                  <a:gd name="connsiteY0" fmla="*/ 5285252 h 5285288"/>
                  <a:gd name="connsiteX1" fmla="*/ 1859089 w 4172662"/>
                  <a:gd name="connsiteY1" fmla="*/ 5257452 h 5285288"/>
                  <a:gd name="connsiteX2" fmla="*/ 1799088 w 4172662"/>
                  <a:gd name="connsiteY2" fmla="*/ 5227600 h 5285288"/>
                  <a:gd name="connsiteX3" fmla="*/ 257741 w 4172662"/>
                  <a:gd name="connsiteY3" fmla="*/ 4344402 h 5285288"/>
                  <a:gd name="connsiteX4" fmla="*/ 66855 w 4172662"/>
                  <a:gd name="connsiteY4" fmla="*/ 4157062 h 5285288"/>
                  <a:gd name="connsiteX5" fmla="*/ 5085 w 4172662"/>
                  <a:gd name="connsiteY5" fmla="*/ 3955159 h 5285288"/>
                  <a:gd name="connsiteX6" fmla="*/ 117 w 4172662"/>
                  <a:gd name="connsiteY6" fmla="*/ 3898769 h 5285288"/>
                  <a:gd name="connsiteX7" fmla="*/ 0 w 4172662"/>
                  <a:gd name="connsiteY7" fmla="*/ 3898107 h 5285288"/>
                  <a:gd name="connsiteX8" fmla="*/ 5920 w 4172662"/>
                  <a:gd name="connsiteY8" fmla="*/ 2513626 h 5285288"/>
                  <a:gd name="connsiteX9" fmla="*/ 9056 w 4172662"/>
                  <a:gd name="connsiteY9" fmla="*/ 2484766 h 5285288"/>
                  <a:gd name="connsiteX10" fmla="*/ 206180 w 4172662"/>
                  <a:gd name="connsiteY10" fmla="*/ 2392022 h 5285288"/>
                  <a:gd name="connsiteX11" fmla="*/ 407391 w 4172662"/>
                  <a:gd name="connsiteY11" fmla="*/ 2508175 h 5285288"/>
                  <a:gd name="connsiteX12" fmla="*/ 406100 w 4172662"/>
                  <a:gd name="connsiteY12" fmla="*/ 2572658 h 5285288"/>
                  <a:gd name="connsiteX13" fmla="*/ 409165 w 4172662"/>
                  <a:gd name="connsiteY13" fmla="*/ 3888049 h 5285288"/>
                  <a:gd name="connsiteX14" fmla="*/ 407598 w 4172662"/>
                  <a:gd name="connsiteY14" fmla="*/ 3881457 h 5285288"/>
                  <a:gd name="connsiteX15" fmla="*/ 407517 w 4172662"/>
                  <a:gd name="connsiteY15" fmla="*/ 3894265 h 5285288"/>
                  <a:gd name="connsiteX16" fmla="*/ 464772 w 4172662"/>
                  <a:gd name="connsiteY16" fmla="*/ 3993435 h 5285288"/>
                  <a:gd name="connsiteX17" fmla="*/ 1965744 w 4172662"/>
                  <a:gd name="connsiteY17" fmla="*/ 4865353 h 5285288"/>
                  <a:gd name="connsiteX18" fmla="*/ 1966088 w 4172662"/>
                  <a:gd name="connsiteY18" fmla="*/ 4865745 h 5285288"/>
                  <a:gd name="connsiteX19" fmla="*/ 1988129 w 4172662"/>
                  <a:gd name="connsiteY19" fmla="*/ 4859558 h 5285288"/>
                  <a:gd name="connsiteX20" fmla="*/ 2034209 w 4172662"/>
                  <a:gd name="connsiteY20" fmla="*/ 4799004 h 5285288"/>
                  <a:gd name="connsiteX21" fmla="*/ 2036053 w 4172662"/>
                  <a:gd name="connsiteY21" fmla="*/ 4105978 h 5285288"/>
                  <a:gd name="connsiteX22" fmla="*/ 2038324 w 4172662"/>
                  <a:gd name="connsiteY22" fmla="*/ 1054770 h 5285288"/>
                  <a:gd name="connsiteX23" fmla="*/ 2037139 w 4172662"/>
                  <a:gd name="connsiteY23" fmla="*/ 1017192 h 5285288"/>
                  <a:gd name="connsiteX24" fmla="*/ 2035104 w 4172662"/>
                  <a:gd name="connsiteY24" fmla="*/ 494424 h 5285288"/>
                  <a:gd name="connsiteX25" fmla="*/ 2080595 w 4172662"/>
                  <a:gd name="connsiteY25" fmla="*/ 171698 h 5285288"/>
                  <a:gd name="connsiteX26" fmla="*/ 2245202 w 4172662"/>
                  <a:gd name="connsiteY26" fmla="*/ 25112 h 5285288"/>
                  <a:gd name="connsiteX27" fmla="*/ 2444848 w 4172662"/>
                  <a:gd name="connsiteY27" fmla="*/ 3326 h 5285288"/>
                  <a:gd name="connsiteX28" fmla="*/ 2620552 w 4172662"/>
                  <a:gd name="connsiteY28" fmla="*/ 37548 h 5285288"/>
                  <a:gd name="connsiteX29" fmla="*/ 4172662 w 4172662"/>
                  <a:gd name="connsiteY29" fmla="*/ 1149844 h 5285288"/>
                  <a:gd name="connsiteX30" fmla="*/ 3998697 w 4172662"/>
                  <a:gd name="connsiteY30" fmla="*/ 1269783 h 5285288"/>
                  <a:gd name="connsiteX31" fmla="*/ 3978850 w 4172662"/>
                  <a:gd name="connsiteY31" fmla="*/ 1262485 h 5285288"/>
                  <a:gd name="connsiteX32" fmla="*/ 2513375 w 4172662"/>
                  <a:gd name="connsiteY32" fmla="*/ 431577 h 5285288"/>
                  <a:gd name="connsiteX33" fmla="*/ 2513032 w 4172662"/>
                  <a:gd name="connsiteY33" fmla="*/ 431184 h 5285288"/>
                  <a:gd name="connsiteX34" fmla="*/ 2490877 w 4172662"/>
                  <a:gd name="connsiteY34" fmla="*/ 437405 h 5285288"/>
                  <a:gd name="connsiteX35" fmla="*/ 2448227 w 4172662"/>
                  <a:gd name="connsiteY35" fmla="*/ 539231 h 5285288"/>
                  <a:gd name="connsiteX36" fmla="*/ 2448222 w 4172662"/>
                  <a:gd name="connsiteY36" fmla="*/ 1065628 h 5285288"/>
                  <a:gd name="connsiteX37" fmla="*/ 2445445 w 4172662"/>
                  <a:gd name="connsiteY37" fmla="*/ 1081825 h 5285288"/>
                  <a:gd name="connsiteX38" fmla="*/ 2442619 w 4172662"/>
                  <a:gd name="connsiteY38" fmla="*/ 1858316 h 5285288"/>
                  <a:gd name="connsiteX39" fmla="*/ 2444476 w 4172662"/>
                  <a:gd name="connsiteY39" fmla="*/ 1861834 h 5285288"/>
                  <a:gd name="connsiteX40" fmla="*/ 2443809 w 4172662"/>
                  <a:gd name="connsiteY40" fmla="*/ 3038034 h 5285288"/>
                  <a:gd name="connsiteX41" fmla="*/ 2441669 w 4172662"/>
                  <a:gd name="connsiteY41" fmla="*/ 4802821 h 5285288"/>
                  <a:gd name="connsiteX42" fmla="*/ 2374871 w 4172662"/>
                  <a:gd name="connsiteY42" fmla="*/ 5061801 h 5285288"/>
                  <a:gd name="connsiteX43" fmla="*/ 2230903 w 4172662"/>
                  <a:gd name="connsiteY43" fmla="*/ 5216241 h 5285288"/>
                  <a:gd name="connsiteX44" fmla="*/ 2020267 w 4172662"/>
                  <a:gd name="connsiteY44" fmla="*/ 5284752 h 5285288"/>
                  <a:gd name="connsiteX45" fmla="*/ 1970713 w 4172662"/>
                  <a:gd name="connsiteY45"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3978850 w 3998697"/>
                  <a:gd name="connsiteY30" fmla="*/ 1262485 h 5285288"/>
                  <a:gd name="connsiteX31" fmla="*/ 2513375 w 3998697"/>
                  <a:gd name="connsiteY31" fmla="*/ 431577 h 5285288"/>
                  <a:gd name="connsiteX32" fmla="*/ 2513032 w 3998697"/>
                  <a:gd name="connsiteY32" fmla="*/ 431184 h 5285288"/>
                  <a:gd name="connsiteX33" fmla="*/ 2490877 w 3998697"/>
                  <a:gd name="connsiteY33" fmla="*/ 437405 h 5285288"/>
                  <a:gd name="connsiteX34" fmla="*/ 2448227 w 3998697"/>
                  <a:gd name="connsiteY34" fmla="*/ 539231 h 5285288"/>
                  <a:gd name="connsiteX35" fmla="*/ 2448222 w 3998697"/>
                  <a:gd name="connsiteY35" fmla="*/ 1065628 h 5285288"/>
                  <a:gd name="connsiteX36" fmla="*/ 2445445 w 3998697"/>
                  <a:gd name="connsiteY36" fmla="*/ 1081825 h 5285288"/>
                  <a:gd name="connsiteX37" fmla="*/ 2442619 w 3998697"/>
                  <a:gd name="connsiteY37" fmla="*/ 1858316 h 5285288"/>
                  <a:gd name="connsiteX38" fmla="*/ 2444476 w 3998697"/>
                  <a:gd name="connsiteY38" fmla="*/ 1861834 h 5285288"/>
                  <a:gd name="connsiteX39" fmla="*/ 2443809 w 3998697"/>
                  <a:gd name="connsiteY39" fmla="*/ 3038034 h 5285288"/>
                  <a:gd name="connsiteX40" fmla="*/ 2441669 w 3998697"/>
                  <a:gd name="connsiteY40" fmla="*/ 4802821 h 5285288"/>
                  <a:gd name="connsiteX41" fmla="*/ 2374871 w 3998697"/>
                  <a:gd name="connsiteY41" fmla="*/ 5061801 h 5285288"/>
                  <a:gd name="connsiteX42" fmla="*/ 2230903 w 3998697"/>
                  <a:gd name="connsiteY42" fmla="*/ 5216241 h 5285288"/>
                  <a:gd name="connsiteX43" fmla="*/ 2020267 w 3998697"/>
                  <a:gd name="connsiteY43" fmla="*/ 5284752 h 5285288"/>
                  <a:gd name="connsiteX44" fmla="*/ 1970713 w 3998697"/>
                  <a:gd name="connsiteY44"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2513375 w 3998697"/>
                  <a:gd name="connsiteY30" fmla="*/ 431577 h 5285288"/>
                  <a:gd name="connsiteX31" fmla="*/ 2513032 w 3998697"/>
                  <a:gd name="connsiteY31" fmla="*/ 431184 h 5285288"/>
                  <a:gd name="connsiteX32" fmla="*/ 2490877 w 3998697"/>
                  <a:gd name="connsiteY32" fmla="*/ 437405 h 5285288"/>
                  <a:gd name="connsiteX33" fmla="*/ 2448227 w 3998697"/>
                  <a:gd name="connsiteY33" fmla="*/ 539231 h 5285288"/>
                  <a:gd name="connsiteX34" fmla="*/ 2448222 w 3998697"/>
                  <a:gd name="connsiteY34" fmla="*/ 1065628 h 5285288"/>
                  <a:gd name="connsiteX35" fmla="*/ 2445445 w 3998697"/>
                  <a:gd name="connsiteY35" fmla="*/ 1081825 h 5285288"/>
                  <a:gd name="connsiteX36" fmla="*/ 2442619 w 3998697"/>
                  <a:gd name="connsiteY36" fmla="*/ 1858316 h 5285288"/>
                  <a:gd name="connsiteX37" fmla="*/ 2444476 w 3998697"/>
                  <a:gd name="connsiteY37" fmla="*/ 1861834 h 5285288"/>
                  <a:gd name="connsiteX38" fmla="*/ 2443809 w 3998697"/>
                  <a:gd name="connsiteY38" fmla="*/ 3038034 h 5285288"/>
                  <a:gd name="connsiteX39" fmla="*/ 2441669 w 3998697"/>
                  <a:gd name="connsiteY39" fmla="*/ 4802821 h 5285288"/>
                  <a:gd name="connsiteX40" fmla="*/ 2374871 w 3998697"/>
                  <a:gd name="connsiteY40" fmla="*/ 5061801 h 5285288"/>
                  <a:gd name="connsiteX41" fmla="*/ 2230903 w 3998697"/>
                  <a:gd name="connsiteY41" fmla="*/ 5216241 h 5285288"/>
                  <a:gd name="connsiteX42" fmla="*/ 2020267 w 3998697"/>
                  <a:gd name="connsiteY42" fmla="*/ 5284752 h 5285288"/>
                  <a:gd name="connsiteX43" fmla="*/ 1970713 w 3998697"/>
                  <a:gd name="connsiteY43" fmla="*/ 5285252 h 5285288"/>
                  <a:gd name="connsiteX0" fmla="*/ 1970713 w 3998697"/>
                  <a:gd name="connsiteY0" fmla="*/ 5376271 h 5376307"/>
                  <a:gd name="connsiteX1" fmla="*/ 1859089 w 3998697"/>
                  <a:gd name="connsiteY1" fmla="*/ 5348471 h 5376307"/>
                  <a:gd name="connsiteX2" fmla="*/ 1799088 w 3998697"/>
                  <a:gd name="connsiteY2" fmla="*/ 5318619 h 5376307"/>
                  <a:gd name="connsiteX3" fmla="*/ 257741 w 3998697"/>
                  <a:gd name="connsiteY3" fmla="*/ 4435421 h 5376307"/>
                  <a:gd name="connsiteX4" fmla="*/ 66855 w 3998697"/>
                  <a:gd name="connsiteY4" fmla="*/ 4248081 h 5376307"/>
                  <a:gd name="connsiteX5" fmla="*/ 5085 w 3998697"/>
                  <a:gd name="connsiteY5" fmla="*/ 4046178 h 5376307"/>
                  <a:gd name="connsiteX6" fmla="*/ 117 w 3998697"/>
                  <a:gd name="connsiteY6" fmla="*/ 3989788 h 5376307"/>
                  <a:gd name="connsiteX7" fmla="*/ 0 w 3998697"/>
                  <a:gd name="connsiteY7" fmla="*/ 3989126 h 5376307"/>
                  <a:gd name="connsiteX8" fmla="*/ 5920 w 3998697"/>
                  <a:gd name="connsiteY8" fmla="*/ 2604645 h 5376307"/>
                  <a:gd name="connsiteX9" fmla="*/ 9056 w 3998697"/>
                  <a:gd name="connsiteY9" fmla="*/ 2575785 h 5376307"/>
                  <a:gd name="connsiteX10" fmla="*/ 206180 w 3998697"/>
                  <a:gd name="connsiteY10" fmla="*/ 2483041 h 5376307"/>
                  <a:gd name="connsiteX11" fmla="*/ 407391 w 3998697"/>
                  <a:gd name="connsiteY11" fmla="*/ 2599194 h 5376307"/>
                  <a:gd name="connsiteX12" fmla="*/ 406100 w 3998697"/>
                  <a:gd name="connsiteY12" fmla="*/ 2663677 h 5376307"/>
                  <a:gd name="connsiteX13" fmla="*/ 409165 w 3998697"/>
                  <a:gd name="connsiteY13" fmla="*/ 3979068 h 5376307"/>
                  <a:gd name="connsiteX14" fmla="*/ 407598 w 3998697"/>
                  <a:gd name="connsiteY14" fmla="*/ 3972476 h 5376307"/>
                  <a:gd name="connsiteX15" fmla="*/ 407517 w 3998697"/>
                  <a:gd name="connsiteY15" fmla="*/ 3985284 h 5376307"/>
                  <a:gd name="connsiteX16" fmla="*/ 464772 w 3998697"/>
                  <a:gd name="connsiteY16" fmla="*/ 4084454 h 5376307"/>
                  <a:gd name="connsiteX17" fmla="*/ 1965744 w 3998697"/>
                  <a:gd name="connsiteY17" fmla="*/ 4956372 h 5376307"/>
                  <a:gd name="connsiteX18" fmla="*/ 1966088 w 3998697"/>
                  <a:gd name="connsiteY18" fmla="*/ 4956764 h 5376307"/>
                  <a:gd name="connsiteX19" fmla="*/ 1988129 w 3998697"/>
                  <a:gd name="connsiteY19" fmla="*/ 4950577 h 5376307"/>
                  <a:gd name="connsiteX20" fmla="*/ 2034209 w 3998697"/>
                  <a:gd name="connsiteY20" fmla="*/ 4890023 h 5376307"/>
                  <a:gd name="connsiteX21" fmla="*/ 2036053 w 3998697"/>
                  <a:gd name="connsiteY21" fmla="*/ 4196997 h 5376307"/>
                  <a:gd name="connsiteX22" fmla="*/ 2038324 w 3998697"/>
                  <a:gd name="connsiteY22" fmla="*/ 1145789 h 5376307"/>
                  <a:gd name="connsiteX23" fmla="*/ 2037139 w 3998697"/>
                  <a:gd name="connsiteY23" fmla="*/ 1108211 h 5376307"/>
                  <a:gd name="connsiteX24" fmla="*/ 2035104 w 3998697"/>
                  <a:gd name="connsiteY24" fmla="*/ 585443 h 5376307"/>
                  <a:gd name="connsiteX25" fmla="*/ 2080595 w 3998697"/>
                  <a:gd name="connsiteY25" fmla="*/ 262717 h 5376307"/>
                  <a:gd name="connsiteX26" fmla="*/ 2245202 w 3998697"/>
                  <a:gd name="connsiteY26" fmla="*/ 116131 h 5376307"/>
                  <a:gd name="connsiteX27" fmla="*/ 2444848 w 3998697"/>
                  <a:gd name="connsiteY27" fmla="*/ 94345 h 5376307"/>
                  <a:gd name="connsiteX28" fmla="*/ 3998697 w 3998697"/>
                  <a:gd name="connsiteY28" fmla="*/ 1360802 h 5376307"/>
                  <a:gd name="connsiteX29" fmla="*/ 2513375 w 3998697"/>
                  <a:gd name="connsiteY29" fmla="*/ 522596 h 5376307"/>
                  <a:gd name="connsiteX30" fmla="*/ 2513032 w 3998697"/>
                  <a:gd name="connsiteY30" fmla="*/ 522203 h 5376307"/>
                  <a:gd name="connsiteX31" fmla="*/ 2490877 w 3998697"/>
                  <a:gd name="connsiteY31" fmla="*/ 528424 h 5376307"/>
                  <a:gd name="connsiteX32" fmla="*/ 2448227 w 3998697"/>
                  <a:gd name="connsiteY32" fmla="*/ 630250 h 5376307"/>
                  <a:gd name="connsiteX33" fmla="*/ 2448222 w 3998697"/>
                  <a:gd name="connsiteY33" fmla="*/ 1156647 h 5376307"/>
                  <a:gd name="connsiteX34" fmla="*/ 2445445 w 3998697"/>
                  <a:gd name="connsiteY34" fmla="*/ 1172844 h 5376307"/>
                  <a:gd name="connsiteX35" fmla="*/ 2442619 w 3998697"/>
                  <a:gd name="connsiteY35" fmla="*/ 1949335 h 5376307"/>
                  <a:gd name="connsiteX36" fmla="*/ 2444476 w 3998697"/>
                  <a:gd name="connsiteY36" fmla="*/ 1952853 h 5376307"/>
                  <a:gd name="connsiteX37" fmla="*/ 2443809 w 3998697"/>
                  <a:gd name="connsiteY37" fmla="*/ 3129053 h 5376307"/>
                  <a:gd name="connsiteX38" fmla="*/ 2441669 w 3998697"/>
                  <a:gd name="connsiteY38" fmla="*/ 4893840 h 5376307"/>
                  <a:gd name="connsiteX39" fmla="*/ 2374871 w 3998697"/>
                  <a:gd name="connsiteY39" fmla="*/ 5152820 h 5376307"/>
                  <a:gd name="connsiteX40" fmla="*/ 2230903 w 3998697"/>
                  <a:gd name="connsiteY40" fmla="*/ 5307260 h 5376307"/>
                  <a:gd name="connsiteX41" fmla="*/ 2020267 w 3998697"/>
                  <a:gd name="connsiteY41" fmla="*/ 5375771 h 5376307"/>
                  <a:gd name="connsiteX42" fmla="*/ 1970713 w 3998697"/>
                  <a:gd name="connsiteY42" fmla="*/ 5376271 h 5376307"/>
                  <a:gd name="connsiteX0" fmla="*/ 1970713 w 2513375"/>
                  <a:gd name="connsiteY0" fmla="*/ 5314208 h 5314244"/>
                  <a:gd name="connsiteX1" fmla="*/ 1859089 w 2513375"/>
                  <a:gd name="connsiteY1" fmla="*/ 5286408 h 5314244"/>
                  <a:gd name="connsiteX2" fmla="*/ 1799088 w 2513375"/>
                  <a:gd name="connsiteY2" fmla="*/ 5256556 h 5314244"/>
                  <a:gd name="connsiteX3" fmla="*/ 257741 w 2513375"/>
                  <a:gd name="connsiteY3" fmla="*/ 4373358 h 5314244"/>
                  <a:gd name="connsiteX4" fmla="*/ 66855 w 2513375"/>
                  <a:gd name="connsiteY4" fmla="*/ 4186018 h 5314244"/>
                  <a:gd name="connsiteX5" fmla="*/ 5085 w 2513375"/>
                  <a:gd name="connsiteY5" fmla="*/ 3984115 h 5314244"/>
                  <a:gd name="connsiteX6" fmla="*/ 117 w 2513375"/>
                  <a:gd name="connsiteY6" fmla="*/ 3927725 h 5314244"/>
                  <a:gd name="connsiteX7" fmla="*/ 0 w 2513375"/>
                  <a:gd name="connsiteY7" fmla="*/ 3927063 h 5314244"/>
                  <a:gd name="connsiteX8" fmla="*/ 5920 w 2513375"/>
                  <a:gd name="connsiteY8" fmla="*/ 2542582 h 5314244"/>
                  <a:gd name="connsiteX9" fmla="*/ 9056 w 2513375"/>
                  <a:gd name="connsiteY9" fmla="*/ 2513722 h 5314244"/>
                  <a:gd name="connsiteX10" fmla="*/ 206180 w 2513375"/>
                  <a:gd name="connsiteY10" fmla="*/ 2420978 h 5314244"/>
                  <a:gd name="connsiteX11" fmla="*/ 407391 w 2513375"/>
                  <a:gd name="connsiteY11" fmla="*/ 2537131 h 5314244"/>
                  <a:gd name="connsiteX12" fmla="*/ 406100 w 2513375"/>
                  <a:gd name="connsiteY12" fmla="*/ 2601614 h 5314244"/>
                  <a:gd name="connsiteX13" fmla="*/ 409165 w 2513375"/>
                  <a:gd name="connsiteY13" fmla="*/ 3917005 h 5314244"/>
                  <a:gd name="connsiteX14" fmla="*/ 407598 w 2513375"/>
                  <a:gd name="connsiteY14" fmla="*/ 3910413 h 5314244"/>
                  <a:gd name="connsiteX15" fmla="*/ 407517 w 2513375"/>
                  <a:gd name="connsiteY15" fmla="*/ 3923221 h 5314244"/>
                  <a:gd name="connsiteX16" fmla="*/ 464772 w 2513375"/>
                  <a:gd name="connsiteY16" fmla="*/ 4022391 h 5314244"/>
                  <a:gd name="connsiteX17" fmla="*/ 1965744 w 2513375"/>
                  <a:gd name="connsiteY17" fmla="*/ 4894309 h 5314244"/>
                  <a:gd name="connsiteX18" fmla="*/ 1966088 w 2513375"/>
                  <a:gd name="connsiteY18" fmla="*/ 4894701 h 5314244"/>
                  <a:gd name="connsiteX19" fmla="*/ 1988129 w 2513375"/>
                  <a:gd name="connsiteY19" fmla="*/ 4888514 h 5314244"/>
                  <a:gd name="connsiteX20" fmla="*/ 2034209 w 2513375"/>
                  <a:gd name="connsiteY20" fmla="*/ 4827960 h 5314244"/>
                  <a:gd name="connsiteX21" fmla="*/ 2036053 w 2513375"/>
                  <a:gd name="connsiteY21" fmla="*/ 4134934 h 5314244"/>
                  <a:gd name="connsiteX22" fmla="*/ 2038324 w 2513375"/>
                  <a:gd name="connsiteY22" fmla="*/ 1083726 h 5314244"/>
                  <a:gd name="connsiteX23" fmla="*/ 2037139 w 2513375"/>
                  <a:gd name="connsiteY23" fmla="*/ 1046148 h 5314244"/>
                  <a:gd name="connsiteX24" fmla="*/ 2035104 w 2513375"/>
                  <a:gd name="connsiteY24" fmla="*/ 523380 h 5314244"/>
                  <a:gd name="connsiteX25" fmla="*/ 2080595 w 2513375"/>
                  <a:gd name="connsiteY25" fmla="*/ 200654 h 5314244"/>
                  <a:gd name="connsiteX26" fmla="*/ 2245202 w 2513375"/>
                  <a:gd name="connsiteY26" fmla="*/ 54068 h 5314244"/>
                  <a:gd name="connsiteX27" fmla="*/ 2444848 w 2513375"/>
                  <a:gd name="connsiteY27" fmla="*/ 32282 h 5314244"/>
                  <a:gd name="connsiteX28" fmla="*/ 2513375 w 2513375"/>
                  <a:gd name="connsiteY28" fmla="*/ 460533 h 5314244"/>
                  <a:gd name="connsiteX29" fmla="*/ 2513032 w 2513375"/>
                  <a:gd name="connsiteY29" fmla="*/ 460140 h 5314244"/>
                  <a:gd name="connsiteX30" fmla="*/ 2490877 w 2513375"/>
                  <a:gd name="connsiteY30" fmla="*/ 466361 h 5314244"/>
                  <a:gd name="connsiteX31" fmla="*/ 2448227 w 2513375"/>
                  <a:gd name="connsiteY31" fmla="*/ 568187 h 5314244"/>
                  <a:gd name="connsiteX32" fmla="*/ 2448222 w 2513375"/>
                  <a:gd name="connsiteY32" fmla="*/ 1094584 h 5314244"/>
                  <a:gd name="connsiteX33" fmla="*/ 2445445 w 2513375"/>
                  <a:gd name="connsiteY33" fmla="*/ 1110781 h 5314244"/>
                  <a:gd name="connsiteX34" fmla="*/ 2442619 w 2513375"/>
                  <a:gd name="connsiteY34" fmla="*/ 1887272 h 5314244"/>
                  <a:gd name="connsiteX35" fmla="*/ 2444476 w 2513375"/>
                  <a:gd name="connsiteY35" fmla="*/ 1890790 h 5314244"/>
                  <a:gd name="connsiteX36" fmla="*/ 2443809 w 2513375"/>
                  <a:gd name="connsiteY36" fmla="*/ 3066990 h 5314244"/>
                  <a:gd name="connsiteX37" fmla="*/ 2441669 w 2513375"/>
                  <a:gd name="connsiteY37" fmla="*/ 4831777 h 5314244"/>
                  <a:gd name="connsiteX38" fmla="*/ 2374871 w 2513375"/>
                  <a:gd name="connsiteY38" fmla="*/ 5090757 h 5314244"/>
                  <a:gd name="connsiteX39" fmla="*/ 2230903 w 2513375"/>
                  <a:gd name="connsiteY39" fmla="*/ 5245197 h 5314244"/>
                  <a:gd name="connsiteX40" fmla="*/ 2020267 w 2513375"/>
                  <a:gd name="connsiteY40" fmla="*/ 5313708 h 5314244"/>
                  <a:gd name="connsiteX41" fmla="*/ 1970713 w 2513375"/>
                  <a:gd name="connsiteY41" fmla="*/ 5314208 h 5314244"/>
                  <a:gd name="connsiteX0" fmla="*/ 1970713 w 2513375"/>
                  <a:gd name="connsiteY0" fmla="*/ 5314208 h 5314244"/>
                  <a:gd name="connsiteX1" fmla="*/ 1859089 w 2513375"/>
                  <a:gd name="connsiteY1" fmla="*/ 5286408 h 5314244"/>
                  <a:gd name="connsiteX2" fmla="*/ 1799088 w 2513375"/>
                  <a:gd name="connsiteY2" fmla="*/ 5256556 h 5314244"/>
                  <a:gd name="connsiteX3" fmla="*/ 257741 w 2513375"/>
                  <a:gd name="connsiteY3" fmla="*/ 4373358 h 5314244"/>
                  <a:gd name="connsiteX4" fmla="*/ 66855 w 2513375"/>
                  <a:gd name="connsiteY4" fmla="*/ 4186018 h 5314244"/>
                  <a:gd name="connsiteX5" fmla="*/ 5085 w 2513375"/>
                  <a:gd name="connsiteY5" fmla="*/ 3984115 h 5314244"/>
                  <a:gd name="connsiteX6" fmla="*/ 117 w 2513375"/>
                  <a:gd name="connsiteY6" fmla="*/ 3927725 h 5314244"/>
                  <a:gd name="connsiteX7" fmla="*/ 0 w 2513375"/>
                  <a:gd name="connsiteY7" fmla="*/ 3927063 h 5314244"/>
                  <a:gd name="connsiteX8" fmla="*/ 5920 w 2513375"/>
                  <a:gd name="connsiteY8" fmla="*/ 2542582 h 5314244"/>
                  <a:gd name="connsiteX9" fmla="*/ 9056 w 2513375"/>
                  <a:gd name="connsiteY9" fmla="*/ 2513722 h 5314244"/>
                  <a:gd name="connsiteX10" fmla="*/ 206180 w 2513375"/>
                  <a:gd name="connsiteY10" fmla="*/ 2420978 h 5314244"/>
                  <a:gd name="connsiteX11" fmla="*/ 407391 w 2513375"/>
                  <a:gd name="connsiteY11" fmla="*/ 2537131 h 5314244"/>
                  <a:gd name="connsiteX12" fmla="*/ 406100 w 2513375"/>
                  <a:gd name="connsiteY12" fmla="*/ 2601614 h 5314244"/>
                  <a:gd name="connsiteX13" fmla="*/ 409165 w 2513375"/>
                  <a:gd name="connsiteY13" fmla="*/ 3917005 h 5314244"/>
                  <a:gd name="connsiteX14" fmla="*/ 407598 w 2513375"/>
                  <a:gd name="connsiteY14" fmla="*/ 3910413 h 5314244"/>
                  <a:gd name="connsiteX15" fmla="*/ 407517 w 2513375"/>
                  <a:gd name="connsiteY15" fmla="*/ 3923221 h 5314244"/>
                  <a:gd name="connsiteX16" fmla="*/ 464772 w 2513375"/>
                  <a:gd name="connsiteY16" fmla="*/ 4022391 h 5314244"/>
                  <a:gd name="connsiteX17" fmla="*/ 1965744 w 2513375"/>
                  <a:gd name="connsiteY17" fmla="*/ 4894309 h 5314244"/>
                  <a:gd name="connsiteX18" fmla="*/ 1966088 w 2513375"/>
                  <a:gd name="connsiteY18" fmla="*/ 4894701 h 5314244"/>
                  <a:gd name="connsiteX19" fmla="*/ 1988129 w 2513375"/>
                  <a:gd name="connsiteY19" fmla="*/ 4888514 h 5314244"/>
                  <a:gd name="connsiteX20" fmla="*/ 2034209 w 2513375"/>
                  <a:gd name="connsiteY20" fmla="*/ 4827960 h 5314244"/>
                  <a:gd name="connsiteX21" fmla="*/ 2036053 w 2513375"/>
                  <a:gd name="connsiteY21" fmla="*/ 4134934 h 5314244"/>
                  <a:gd name="connsiteX22" fmla="*/ 2038324 w 2513375"/>
                  <a:gd name="connsiteY22" fmla="*/ 1083726 h 5314244"/>
                  <a:gd name="connsiteX23" fmla="*/ 2037139 w 2513375"/>
                  <a:gd name="connsiteY23" fmla="*/ 1046148 h 5314244"/>
                  <a:gd name="connsiteX24" fmla="*/ 2035104 w 2513375"/>
                  <a:gd name="connsiteY24" fmla="*/ 523380 h 5314244"/>
                  <a:gd name="connsiteX25" fmla="*/ 2080595 w 2513375"/>
                  <a:gd name="connsiteY25" fmla="*/ 200654 h 5314244"/>
                  <a:gd name="connsiteX26" fmla="*/ 2245202 w 2513375"/>
                  <a:gd name="connsiteY26" fmla="*/ 54068 h 5314244"/>
                  <a:gd name="connsiteX27" fmla="*/ 2444848 w 2513375"/>
                  <a:gd name="connsiteY27" fmla="*/ 32282 h 5314244"/>
                  <a:gd name="connsiteX28" fmla="*/ 2513375 w 2513375"/>
                  <a:gd name="connsiteY28" fmla="*/ 460533 h 5314244"/>
                  <a:gd name="connsiteX29" fmla="*/ 2513032 w 2513375"/>
                  <a:gd name="connsiteY29" fmla="*/ 460140 h 5314244"/>
                  <a:gd name="connsiteX30" fmla="*/ 2448227 w 2513375"/>
                  <a:gd name="connsiteY30" fmla="*/ 568187 h 5314244"/>
                  <a:gd name="connsiteX31" fmla="*/ 2448222 w 2513375"/>
                  <a:gd name="connsiteY31" fmla="*/ 1094584 h 5314244"/>
                  <a:gd name="connsiteX32" fmla="*/ 2445445 w 2513375"/>
                  <a:gd name="connsiteY32" fmla="*/ 1110781 h 5314244"/>
                  <a:gd name="connsiteX33" fmla="*/ 2442619 w 2513375"/>
                  <a:gd name="connsiteY33" fmla="*/ 1887272 h 5314244"/>
                  <a:gd name="connsiteX34" fmla="*/ 2444476 w 2513375"/>
                  <a:gd name="connsiteY34" fmla="*/ 1890790 h 5314244"/>
                  <a:gd name="connsiteX35" fmla="*/ 2443809 w 2513375"/>
                  <a:gd name="connsiteY35" fmla="*/ 3066990 h 5314244"/>
                  <a:gd name="connsiteX36" fmla="*/ 2441669 w 2513375"/>
                  <a:gd name="connsiteY36" fmla="*/ 4831777 h 5314244"/>
                  <a:gd name="connsiteX37" fmla="*/ 2374871 w 2513375"/>
                  <a:gd name="connsiteY37" fmla="*/ 5090757 h 5314244"/>
                  <a:gd name="connsiteX38" fmla="*/ 2230903 w 2513375"/>
                  <a:gd name="connsiteY38" fmla="*/ 5245197 h 5314244"/>
                  <a:gd name="connsiteX39" fmla="*/ 2020267 w 2513375"/>
                  <a:gd name="connsiteY39" fmla="*/ 5313708 h 5314244"/>
                  <a:gd name="connsiteX40" fmla="*/ 1970713 w 2513375"/>
                  <a:gd name="connsiteY40" fmla="*/ 5314208 h 5314244"/>
                  <a:gd name="connsiteX0" fmla="*/ 1970713 w 2513375"/>
                  <a:gd name="connsiteY0" fmla="*/ 5260140 h 5260176"/>
                  <a:gd name="connsiteX1" fmla="*/ 1859089 w 2513375"/>
                  <a:gd name="connsiteY1" fmla="*/ 5232340 h 5260176"/>
                  <a:gd name="connsiteX2" fmla="*/ 1799088 w 2513375"/>
                  <a:gd name="connsiteY2" fmla="*/ 5202488 h 5260176"/>
                  <a:gd name="connsiteX3" fmla="*/ 257741 w 2513375"/>
                  <a:gd name="connsiteY3" fmla="*/ 4319290 h 5260176"/>
                  <a:gd name="connsiteX4" fmla="*/ 66855 w 2513375"/>
                  <a:gd name="connsiteY4" fmla="*/ 4131950 h 5260176"/>
                  <a:gd name="connsiteX5" fmla="*/ 5085 w 2513375"/>
                  <a:gd name="connsiteY5" fmla="*/ 3930047 h 5260176"/>
                  <a:gd name="connsiteX6" fmla="*/ 117 w 2513375"/>
                  <a:gd name="connsiteY6" fmla="*/ 3873657 h 5260176"/>
                  <a:gd name="connsiteX7" fmla="*/ 0 w 2513375"/>
                  <a:gd name="connsiteY7" fmla="*/ 3872995 h 5260176"/>
                  <a:gd name="connsiteX8" fmla="*/ 5920 w 2513375"/>
                  <a:gd name="connsiteY8" fmla="*/ 2488514 h 5260176"/>
                  <a:gd name="connsiteX9" fmla="*/ 9056 w 2513375"/>
                  <a:gd name="connsiteY9" fmla="*/ 2459654 h 5260176"/>
                  <a:gd name="connsiteX10" fmla="*/ 206180 w 2513375"/>
                  <a:gd name="connsiteY10" fmla="*/ 2366910 h 5260176"/>
                  <a:gd name="connsiteX11" fmla="*/ 407391 w 2513375"/>
                  <a:gd name="connsiteY11" fmla="*/ 2483063 h 5260176"/>
                  <a:gd name="connsiteX12" fmla="*/ 406100 w 2513375"/>
                  <a:gd name="connsiteY12" fmla="*/ 2547546 h 5260176"/>
                  <a:gd name="connsiteX13" fmla="*/ 409165 w 2513375"/>
                  <a:gd name="connsiteY13" fmla="*/ 3862937 h 5260176"/>
                  <a:gd name="connsiteX14" fmla="*/ 407598 w 2513375"/>
                  <a:gd name="connsiteY14" fmla="*/ 3856345 h 5260176"/>
                  <a:gd name="connsiteX15" fmla="*/ 407517 w 2513375"/>
                  <a:gd name="connsiteY15" fmla="*/ 3869153 h 5260176"/>
                  <a:gd name="connsiteX16" fmla="*/ 464772 w 2513375"/>
                  <a:gd name="connsiteY16" fmla="*/ 3968323 h 5260176"/>
                  <a:gd name="connsiteX17" fmla="*/ 1965744 w 2513375"/>
                  <a:gd name="connsiteY17" fmla="*/ 4840241 h 5260176"/>
                  <a:gd name="connsiteX18" fmla="*/ 1966088 w 2513375"/>
                  <a:gd name="connsiteY18" fmla="*/ 4840633 h 5260176"/>
                  <a:gd name="connsiteX19" fmla="*/ 1988129 w 2513375"/>
                  <a:gd name="connsiteY19" fmla="*/ 4834446 h 5260176"/>
                  <a:gd name="connsiteX20" fmla="*/ 2034209 w 2513375"/>
                  <a:gd name="connsiteY20" fmla="*/ 4773892 h 5260176"/>
                  <a:gd name="connsiteX21" fmla="*/ 2036053 w 2513375"/>
                  <a:gd name="connsiteY21" fmla="*/ 4080866 h 5260176"/>
                  <a:gd name="connsiteX22" fmla="*/ 2038324 w 2513375"/>
                  <a:gd name="connsiteY22" fmla="*/ 1029658 h 5260176"/>
                  <a:gd name="connsiteX23" fmla="*/ 2037139 w 2513375"/>
                  <a:gd name="connsiteY23" fmla="*/ 992080 h 5260176"/>
                  <a:gd name="connsiteX24" fmla="*/ 2035104 w 2513375"/>
                  <a:gd name="connsiteY24" fmla="*/ 469312 h 5260176"/>
                  <a:gd name="connsiteX25" fmla="*/ 2080595 w 2513375"/>
                  <a:gd name="connsiteY25" fmla="*/ 146586 h 5260176"/>
                  <a:gd name="connsiteX26" fmla="*/ 2245202 w 2513375"/>
                  <a:gd name="connsiteY26" fmla="*/ 0 h 5260176"/>
                  <a:gd name="connsiteX27" fmla="*/ 2513375 w 2513375"/>
                  <a:gd name="connsiteY27" fmla="*/ 406465 h 5260176"/>
                  <a:gd name="connsiteX28" fmla="*/ 2513032 w 2513375"/>
                  <a:gd name="connsiteY28" fmla="*/ 406072 h 5260176"/>
                  <a:gd name="connsiteX29" fmla="*/ 2448227 w 2513375"/>
                  <a:gd name="connsiteY29" fmla="*/ 514119 h 5260176"/>
                  <a:gd name="connsiteX30" fmla="*/ 2448222 w 2513375"/>
                  <a:gd name="connsiteY30" fmla="*/ 1040516 h 5260176"/>
                  <a:gd name="connsiteX31" fmla="*/ 2445445 w 2513375"/>
                  <a:gd name="connsiteY31" fmla="*/ 1056713 h 5260176"/>
                  <a:gd name="connsiteX32" fmla="*/ 2442619 w 2513375"/>
                  <a:gd name="connsiteY32" fmla="*/ 1833204 h 5260176"/>
                  <a:gd name="connsiteX33" fmla="*/ 2444476 w 2513375"/>
                  <a:gd name="connsiteY33" fmla="*/ 1836722 h 5260176"/>
                  <a:gd name="connsiteX34" fmla="*/ 2443809 w 2513375"/>
                  <a:gd name="connsiteY34" fmla="*/ 3012922 h 5260176"/>
                  <a:gd name="connsiteX35" fmla="*/ 2441669 w 2513375"/>
                  <a:gd name="connsiteY35" fmla="*/ 4777709 h 5260176"/>
                  <a:gd name="connsiteX36" fmla="*/ 2374871 w 2513375"/>
                  <a:gd name="connsiteY36" fmla="*/ 5036689 h 5260176"/>
                  <a:gd name="connsiteX37" fmla="*/ 2230903 w 2513375"/>
                  <a:gd name="connsiteY37" fmla="*/ 5191129 h 5260176"/>
                  <a:gd name="connsiteX38" fmla="*/ 2020267 w 2513375"/>
                  <a:gd name="connsiteY38" fmla="*/ 5259640 h 5260176"/>
                  <a:gd name="connsiteX39" fmla="*/ 1970713 w 2513375"/>
                  <a:gd name="connsiteY39" fmla="*/ 5260140 h 5260176"/>
                  <a:gd name="connsiteX0" fmla="*/ 1970713 w 2513375"/>
                  <a:gd name="connsiteY0" fmla="*/ 5113905 h 5113941"/>
                  <a:gd name="connsiteX1" fmla="*/ 1859089 w 2513375"/>
                  <a:gd name="connsiteY1" fmla="*/ 5086105 h 5113941"/>
                  <a:gd name="connsiteX2" fmla="*/ 1799088 w 2513375"/>
                  <a:gd name="connsiteY2" fmla="*/ 5056253 h 5113941"/>
                  <a:gd name="connsiteX3" fmla="*/ 257741 w 2513375"/>
                  <a:gd name="connsiteY3" fmla="*/ 4173055 h 5113941"/>
                  <a:gd name="connsiteX4" fmla="*/ 66855 w 2513375"/>
                  <a:gd name="connsiteY4" fmla="*/ 3985715 h 5113941"/>
                  <a:gd name="connsiteX5" fmla="*/ 5085 w 2513375"/>
                  <a:gd name="connsiteY5" fmla="*/ 3783812 h 5113941"/>
                  <a:gd name="connsiteX6" fmla="*/ 117 w 2513375"/>
                  <a:gd name="connsiteY6" fmla="*/ 3727422 h 5113941"/>
                  <a:gd name="connsiteX7" fmla="*/ 0 w 2513375"/>
                  <a:gd name="connsiteY7" fmla="*/ 3726760 h 5113941"/>
                  <a:gd name="connsiteX8" fmla="*/ 5920 w 2513375"/>
                  <a:gd name="connsiteY8" fmla="*/ 2342279 h 5113941"/>
                  <a:gd name="connsiteX9" fmla="*/ 9056 w 2513375"/>
                  <a:gd name="connsiteY9" fmla="*/ 2313419 h 5113941"/>
                  <a:gd name="connsiteX10" fmla="*/ 206180 w 2513375"/>
                  <a:gd name="connsiteY10" fmla="*/ 2220675 h 5113941"/>
                  <a:gd name="connsiteX11" fmla="*/ 407391 w 2513375"/>
                  <a:gd name="connsiteY11" fmla="*/ 2336828 h 5113941"/>
                  <a:gd name="connsiteX12" fmla="*/ 406100 w 2513375"/>
                  <a:gd name="connsiteY12" fmla="*/ 2401311 h 5113941"/>
                  <a:gd name="connsiteX13" fmla="*/ 409165 w 2513375"/>
                  <a:gd name="connsiteY13" fmla="*/ 3716702 h 5113941"/>
                  <a:gd name="connsiteX14" fmla="*/ 407598 w 2513375"/>
                  <a:gd name="connsiteY14" fmla="*/ 3710110 h 5113941"/>
                  <a:gd name="connsiteX15" fmla="*/ 407517 w 2513375"/>
                  <a:gd name="connsiteY15" fmla="*/ 3722918 h 5113941"/>
                  <a:gd name="connsiteX16" fmla="*/ 464772 w 2513375"/>
                  <a:gd name="connsiteY16" fmla="*/ 3822088 h 5113941"/>
                  <a:gd name="connsiteX17" fmla="*/ 1965744 w 2513375"/>
                  <a:gd name="connsiteY17" fmla="*/ 4694006 h 5113941"/>
                  <a:gd name="connsiteX18" fmla="*/ 1966088 w 2513375"/>
                  <a:gd name="connsiteY18" fmla="*/ 4694398 h 5113941"/>
                  <a:gd name="connsiteX19" fmla="*/ 1988129 w 2513375"/>
                  <a:gd name="connsiteY19" fmla="*/ 4688211 h 5113941"/>
                  <a:gd name="connsiteX20" fmla="*/ 2034209 w 2513375"/>
                  <a:gd name="connsiteY20" fmla="*/ 4627657 h 5113941"/>
                  <a:gd name="connsiteX21" fmla="*/ 2036053 w 2513375"/>
                  <a:gd name="connsiteY21" fmla="*/ 3934631 h 5113941"/>
                  <a:gd name="connsiteX22" fmla="*/ 2038324 w 2513375"/>
                  <a:gd name="connsiteY22" fmla="*/ 883423 h 5113941"/>
                  <a:gd name="connsiteX23" fmla="*/ 2037139 w 2513375"/>
                  <a:gd name="connsiteY23" fmla="*/ 845845 h 5113941"/>
                  <a:gd name="connsiteX24" fmla="*/ 2035104 w 2513375"/>
                  <a:gd name="connsiteY24" fmla="*/ 323077 h 5113941"/>
                  <a:gd name="connsiteX25" fmla="*/ 2080595 w 2513375"/>
                  <a:gd name="connsiteY25" fmla="*/ 351 h 5113941"/>
                  <a:gd name="connsiteX26" fmla="*/ 2513375 w 2513375"/>
                  <a:gd name="connsiteY26" fmla="*/ 260230 h 5113941"/>
                  <a:gd name="connsiteX27" fmla="*/ 2513032 w 2513375"/>
                  <a:gd name="connsiteY27" fmla="*/ 259837 h 5113941"/>
                  <a:gd name="connsiteX28" fmla="*/ 2448227 w 2513375"/>
                  <a:gd name="connsiteY28" fmla="*/ 367884 h 5113941"/>
                  <a:gd name="connsiteX29" fmla="*/ 2448222 w 2513375"/>
                  <a:gd name="connsiteY29" fmla="*/ 894281 h 5113941"/>
                  <a:gd name="connsiteX30" fmla="*/ 2445445 w 2513375"/>
                  <a:gd name="connsiteY30" fmla="*/ 910478 h 5113941"/>
                  <a:gd name="connsiteX31" fmla="*/ 2442619 w 2513375"/>
                  <a:gd name="connsiteY31" fmla="*/ 1686969 h 5113941"/>
                  <a:gd name="connsiteX32" fmla="*/ 2444476 w 2513375"/>
                  <a:gd name="connsiteY32" fmla="*/ 1690487 h 5113941"/>
                  <a:gd name="connsiteX33" fmla="*/ 2443809 w 2513375"/>
                  <a:gd name="connsiteY33" fmla="*/ 2866687 h 5113941"/>
                  <a:gd name="connsiteX34" fmla="*/ 2441669 w 2513375"/>
                  <a:gd name="connsiteY34" fmla="*/ 4631474 h 5113941"/>
                  <a:gd name="connsiteX35" fmla="*/ 2374871 w 2513375"/>
                  <a:gd name="connsiteY35" fmla="*/ 4890454 h 5113941"/>
                  <a:gd name="connsiteX36" fmla="*/ 2230903 w 2513375"/>
                  <a:gd name="connsiteY36" fmla="*/ 5044894 h 5113941"/>
                  <a:gd name="connsiteX37" fmla="*/ 2020267 w 2513375"/>
                  <a:gd name="connsiteY37" fmla="*/ 5113405 h 5113941"/>
                  <a:gd name="connsiteX38" fmla="*/ 1970713 w 2513375"/>
                  <a:gd name="connsiteY38" fmla="*/ 5113905 h 5113941"/>
                  <a:gd name="connsiteX0" fmla="*/ 1970713 w 2513375"/>
                  <a:gd name="connsiteY0" fmla="*/ 4855263 h 4855299"/>
                  <a:gd name="connsiteX1" fmla="*/ 1859089 w 2513375"/>
                  <a:gd name="connsiteY1" fmla="*/ 4827463 h 4855299"/>
                  <a:gd name="connsiteX2" fmla="*/ 1799088 w 2513375"/>
                  <a:gd name="connsiteY2" fmla="*/ 4797611 h 4855299"/>
                  <a:gd name="connsiteX3" fmla="*/ 257741 w 2513375"/>
                  <a:gd name="connsiteY3" fmla="*/ 3914413 h 4855299"/>
                  <a:gd name="connsiteX4" fmla="*/ 66855 w 2513375"/>
                  <a:gd name="connsiteY4" fmla="*/ 3727073 h 4855299"/>
                  <a:gd name="connsiteX5" fmla="*/ 5085 w 2513375"/>
                  <a:gd name="connsiteY5" fmla="*/ 3525170 h 4855299"/>
                  <a:gd name="connsiteX6" fmla="*/ 117 w 2513375"/>
                  <a:gd name="connsiteY6" fmla="*/ 3468780 h 4855299"/>
                  <a:gd name="connsiteX7" fmla="*/ 0 w 2513375"/>
                  <a:gd name="connsiteY7" fmla="*/ 3468118 h 4855299"/>
                  <a:gd name="connsiteX8" fmla="*/ 5920 w 2513375"/>
                  <a:gd name="connsiteY8" fmla="*/ 2083637 h 4855299"/>
                  <a:gd name="connsiteX9" fmla="*/ 9056 w 2513375"/>
                  <a:gd name="connsiteY9" fmla="*/ 2054777 h 4855299"/>
                  <a:gd name="connsiteX10" fmla="*/ 206180 w 2513375"/>
                  <a:gd name="connsiteY10" fmla="*/ 1962033 h 4855299"/>
                  <a:gd name="connsiteX11" fmla="*/ 407391 w 2513375"/>
                  <a:gd name="connsiteY11" fmla="*/ 2078186 h 4855299"/>
                  <a:gd name="connsiteX12" fmla="*/ 406100 w 2513375"/>
                  <a:gd name="connsiteY12" fmla="*/ 2142669 h 4855299"/>
                  <a:gd name="connsiteX13" fmla="*/ 409165 w 2513375"/>
                  <a:gd name="connsiteY13" fmla="*/ 3458060 h 4855299"/>
                  <a:gd name="connsiteX14" fmla="*/ 407598 w 2513375"/>
                  <a:gd name="connsiteY14" fmla="*/ 3451468 h 4855299"/>
                  <a:gd name="connsiteX15" fmla="*/ 407517 w 2513375"/>
                  <a:gd name="connsiteY15" fmla="*/ 3464276 h 4855299"/>
                  <a:gd name="connsiteX16" fmla="*/ 464772 w 2513375"/>
                  <a:gd name="connsiteY16" fmla="*/ 3563446 h 4855299"/>
                  <a:gd name="connsiteX17" fmla="*/ 1965744 w 2513375"/>
                  <a:gd name="connsiteY17" fmla="*/ 4435364 h 4855299"/>
                  <a:gd name="connsiteX18" fmla="*/ 1966088 w 2513375"/>
                  <a:gd name="connsiteY18" fmla="*/ 4435756 h 4855299"/>
                  <a:gd name="connsiteX19" fmla="*/ 1988129 w 2513375"/>
                  <a:gd name="connsiteY19" fmla="*/ 4429569 h 4855299"/>
                  <a:gd name="connsiteX20" fmla="*/ 2034209 w 2513375"/>
                  <a:gd name="connsiteY20" fmla="*/ 4369015 h 4855299"/>
                  <a:gd name="connsiteX21" fmla="*/ 2036053 w 2513375"/>
                  <a:gd name="connsiteY21" fmla="*/ 3675989 h 4855299"/>
                  <a:gd name="connsiteX22" fmla="*/ 2038324 w 2513375"/>
                  <a:gd name="connsiteY22" fmla="*/ 624781 h 4855299"/>
                  <a:gd name="connsiteX23" fmla="*/ 2037139 w 2513375"/>
                  <a:gd name="connsiteY23" fmla="*/ 587203 h 4855299"/>
                  <a:gd name="connsiteX24" fmla="*/ 2035104 w 2513375"/>
                  <a:gd name="connsiteY24" fmla="*/ 64435 h 4855299"/>
                  <a:gd name="connsiteX25" fmla="*/ 2513375 w 2513375"/>
                  <a:gd name="connsiteY25" fmla="*/ 1588 h 4855299"/>
                  <a:gd name="connsiteX26" fmla="*/ 2513032 w 2513375"/>
                  <a:gd name="connsiteY26" fmla="*/ 1195 h 4855299"/>
                  <a:gd name="connsiteX27" fmla="*/ 2448227 w 2513375"/>
                  <a:gd name="connsiteY27" fmla="*/ 109242 h 4855299"/>
                  <a:gd name="connsiteX28" fmla="*/ 2448222 w 2513375"/>
                  <a:gd name="connsiteY28" fmla="*/ 635639 h 4855299"/>
                  <a:gd name="connsiteX29" fmla="*/ 2445445 w 2513375"/>
                  <a:gd name="connsiteY29" fmla="*/ 651836 h 4855299"/>
                  <a:gd name="connsiteX30" fmla="*/ 2442619 w 2513375"/>
                  <a:gd name="connsiteY30" fmla="*/ 1428327 h 4855299"/>
                  <a:gd name="connsiteX31" fmla="*/ 2444476 w 2513375"/>
                  <a:gd name="connsiteY31" fmla="*/ 1431845 h 4855299"/>
                  <a:gd name="connsiteX32" fmla="*/ 2443809 w 2513375"/>
                  <a:gd name="connsiteY32" fmla="*/ 2608045 h 4855299"/>
                  <a:gd name="connsiteX33" fmla="*/ 2441669 w 2513375"/>
                  <a:gd name="connsiteY33" fmla="*/ 4372832 h 4855299"/>
                  <a:gd name="connsiteX34" fmla="*/ 2374871 w 2513375"/>
                  <a:gd name="connsiteY34" fmla="*/ 4631812 h 4855299"/>
                  <a:gd name="connsiteX35" fmla="*/ 2230903 w 2513375"/>
                  <a:gd name="connsiteY35" fmla="*/ 4786252 h 4855299"/>
                  <a:gd name="connsiteX36" fmla="*/ 2020267 w 2513375"/>
                  <a:gd name="connsiteY36" fmla="*/ 4854763 h 4855299"/>
                  <a:gd name="connsiteX37" fmla="*/ 1970713 w 2513375"/>
                  <a:gd name="connsiteY37" fmla="*/ 4855263 h 4855299"/>
                  <a:gd name="connsiteX0" fmla="*/ 1970713 w 2513375"/>
                  <a:gd name="connsiteY0" fmla="*/ 4854068 h 4854104"/>
                  <a:gd name="connsiteX1" fmla="*/ 1859089 w 2513375"/>
                  <a:gd name="connsiteY1" fmla="*/ 4826268 h 4854104"/>
                  <a:gd name="connsiteX2" fmla="*/ 1799088 w 2513375"/>
                  <a:gd name="connsiteY2" fmla="*/ 4796416 h 4854104"/>
                  <a:gd name="connsiteX3" fmla="*/ 257741 w 2513375"/>
                  <a:gd name="connsiteY3" fmla="*/ 3913218 h 4854104"/>
                  <a:gd name="connsiteX4" fmla="*/ 66855 w 2513375"/>
                  <a:gd name="connsiteY4" fmla="*/ 3725878 h 4854104"/>
                  <a:gd name="connsiteX5" fmla="*/ 5085 w 2513375"/>
                  <a:gd name="connsiteY5" fmla="*/ 3523975 h 4854104"/>
                  <a:gd name="connsiteX6" fmla="*/ 117 w 2513375"/>
                  <a:gd name="connsiteY6" fmla="*/ 3467585 h 4854104"/>
                  <a:gd name="connsiteX7" fmla="*/ 0 w 2513375"/>
                  <a:gd name="connsiteY7" fmla="*/ 3466923 h 4854104"/>
                  <a:gd name="connsiteX8" fmla="*/ 5920 w 2513375"/>
                  <a:gd name="connsiteY8" fmla="*/ 2082442 h 4854104"/>
                  <a:gd name="connsiteX9" fmla="*/ 9056 w 2513375"/>
                  <a:gd name="connsiteY9" fmla="*/ 2053582 h 4854104"/>
                  <a:gd name="connsiteX10" fmla="*/ 206180 w 2513375"/>
                  <a:gd name="connsiteY10" fmla="*/ 1960838 h 4854104"/>
                  <a:gd name="connsiteX11" fmla="*/ 407391 w 2513375"/>
                  <a:gd name="connsiteY11" fmla="*/ 2076991 h 4854104"/>
                  <a:gd name="connsiteX12" fmla="*/ 406100 w 2513375"/>
                  <a:gd name="connsiteY12" fmla="*/ 2141474 h 4854104"/>
                  <a:gd name="connsiteX13" fmla="*/ 409165 w 2513375"/>
                  <a:gd name="connsiteY13" fmla="*/ 3456865 h 4854104"/>
                  <a:gd name="connsiteX14" fmla="*/ 407598 w 2513375"/>
                  <a:gd name="connsiteY14" fmla="*/ 3450273 h 4854104"/>
                  <a:gd name="connsiteX15" fmla="*/ 407517 w 2513375"/>
                  <a:gd name="connsiteY15" fmla="*/ 3463081 h 4854104"/>
                  <a:gd name="connsiteX16" fmla="*/ 464772 w 2513375"/>
                  <a:gd name="connsiteY16" fmla="*/ 3562251 h 4854104"/>
                  <a:gd name="connsiteX17" fmla="*/ 1965744 w 2513375"/>
                  <a:gd name="connsiteY17" fmla="*/ 4434169 h 4854104"/>
                  <a:gd name="connsiteX18" fmla="*/ 1966088 w 2513375"/>
                  <a:gd name="connsiteY18" fmla="*/ 4434561 h 4854104"/>
                  <a:gd name="connsiteX19" fmla="*/ 1988129 w 2513375"/>
                  <a:gd name="connsiteY19" fmla="*/ 4428374 h 4854104"/>
                  <a:gd name="connsiteX20" fmla="*/ 2034209 w 2513375"/>
                  <a:gd name="connsiteY20" fmla="*/ 4367820 h 4854104"/>
                  <a:gd name="connsiteX21" fmla="*/ 2036053 w 2513375"/>
                  <a:gd name="connsiteY21" fmla="*/ 3674794 h 4854104"/>
                  <a:gd name="connsiteX22" fmla="*/ 2038324 w 2513375"/>
                  <a:gd name="connsiteY22" fmla="*/ 623586 h 4854104"/>
                  <a:gd name="connsiteX23" fmla="*/ 2037139 w 2513375"/>
                  <a:gd name="connsiteY23" fmla="*/ 586008 h 4854104"/>
                  <a:gd name="connsiteX24" fmla="*/ 2513375 w 2513375"/>
                  <a:gd name="connsiteY24" fmla="*/ 393 h 4854104"/>
                  <a:gd name="connsiteX25" fmla="*/ 2513032 w 2513375"/>
                  <a:gd name="connsiteY25" fmla="*/ 0 h 4854104"/>
                  <a:gd name="connsiteX26" fmla="*/ 2448227 w 2513375"/>
                  <a:gd name="connsiteY26" fmla="*/ 108047 h 4854104"/>
                  <a:gd name="connsiteX27" fmla="*/ 2448222 w 2513375"/>
                  <a:gd name="connsiteY27" fmla="*/ 634444 h 4854104"/>
                  <a:gd name="connsiteX28" fmla="*/ 2445445 w 2513375"/>
                  <a:gd name="connsiteY28" fmla="*/ 650641 h 4854104"/>
                  <a:gd name="connsiteX29" fmla="*/ 2442619 w 2513375"/>
                  <a:gd name="connsiteY29" fmla="*/ 1427132 h 4854104"/>
                  <a:gd name="connsiteX30" fmla="*/ 2444476 w 2513375"/>
                  <a:gd name="connsiteY30" fmla="*/ 1430650 h 4854104"/>
                  <a:gd name="connsiteX31" fmla="*/ 2443809 w 2513375"/>
                  <a:gd name="connsiteY31" fmla="*/ 2606850 h 4854104"/>
                  <a:gd name="connsiteX32" fmla="*/ 2441669 w 2513375"/>
                  <a:gd name="connsiteY32" fmla="*/ 4371637 h 4854104"/>
                  <a:gd name="connsiteX33" fmla="*/ 2374871 w 2513375"/>
                  <a:gd name="connsiteY33" fmla="*/ 4630617 h 4854104"/>
                  <a:gd name="connsiteX34" fmla="*/ 2230903 w 2513375"/>
                  <a:gd name="connsiteY34" fmla="*/ 4785057 h 4854104"/>
                  <a:gd name="connsiteX35" fmla="*/ 2020267 w 2513375"/>
                  <a:gd name="connsiteY35" fmla="*/ 4853568 h 4854104"/>
                  <a:gd name="connsiteX36" fmla="*/ 1970713 w 2513375"/>
                  <a:gd name="connsiteY36" fmla="*/ 4854068 h 4854104"/>
                  <a:gd name="connsiteX0" fmla="*/ 1970713 w 2534050"/>
                  <a:gd name="connsiteY0" fmla="*/ 4885665 h 4885701"/>
                  <a:gd name="connsiteX1" fmla="*/ 1859089 w 2534050"/>
                  <a:gd name="connsiteY1" fmla="*/ 4857865 h 4885701"/>
                  <a:gd name="connsiteX2" fmla="*/ 1799088 w 2534050"/>
                  <a:gd name="connsiteY2" fmla="*/ 4828013 h 4885701"/>
                  <a:gd name="connsiteX3" fmla="*/ 257741 w 2534050"/>
                  <a:gd name="connsiteY3" fmla="*/ 3944815 h 4885701"/>
                  <a:gd name="connsiteX4" fmla="*/ 66855 w 2534050"/>
                  <a:gd name="connsiteY4" fmla="*/ 3757475 h 4885701"/>
                  <a:gd name="connsiteX5" fmla="*/ 5085 w 2534050"/>
                  <a:gd name="connsiteY5" fmla="*/ 3555572 h 4885701"/>
                  <a:gd name="connsiteX6" fmla="*/ 117 w 2534050"/>
                  <a:gd name="connsiteY6" fmla="*/ 3499182 h 4885701"/>
                  <a:gd name="connsiteX7" fmla="*/ 0 w 2534050"/>
                  <a:gd name="connsiteY7" fmla="*/ 3498520 h 4885701"/>
                  <a:gd name="connsiteX8" fmla="*/ 5920 w 2534050"/>
                  <a:gd name="connsiteY8" fmla="*/ 2114039 h 4885701"/>
                  <a:gd name="connsiteX9" fmla="*/ 9056 w 2534050"/>
                  <a:gd name="connsiteY9" fmla="*/ 2085179 h 4885701"/>
                  <a:gd name="connsiteX10" fmla="*/ 206180 w 2534050"/>
                  <a:gd name="connsiteY10" fmla="*/ 1992435 h 4885701"/>
                  <a:gd name="connsiteX11" fmla="*/ 407391 w 2534050"/>
                  <a:gd name="connsiteY11" fmla="*/ 2108588 h 4885701"/>
                  <a:gd name="connsiteX12" fmla="*/ 406100 w 2534050"/>
                  <a:gd name="connsiteY12" fmla="*/ 2173071 h 4885701"/>
                  <a:gd name="connsiteX13" fmla="*/ 409165 w 2534050"/>
                  <a:gd name="connsiteY13" fmla="*/ 3488462 h 4885701"/>
                  <a:gd name="connsiteX14" fmla="*/ 407598 w 2534050"/>
                  <a:gd name="connsiteY14" fmla="*/ 3481870 h 4885701"/>
                  <a:gd name="connsiteX15" fmla="*/ 407517 w 2534050"/>
                  <a:gd name="connsiteY15" fmla="*/ 3494678 h 4885701"/>
                  <a:gd name="connsiteX16" fmla="*/ 464772 w 2534050"/>
                  <a:gd name="connsiteY16" fmla="*/ 3593848 h 4885701"/>
                  <a:gd name="connsiteX17" fmla="*/ 1965744 w 2534050"/>
                  <a:gd name="connsiteY17" fmla="*/ 4465766 h 4885701"/>
                  <a:gd name="connsiteX18" fmla="*/ 1966088 w 2534050"/>
                  <a:gd name="connsiteY18" fmla="*/ 4466158 h 4885701"/>
                  <a:gd name="connsiteX19" fmla="*/ 1988129 w 2534050"/>
                  <a:gd name="connsiteY19" fmla="*/ 4459971 h 4885701"/>
                  <a:gd name="connsiteX20" fmla="*/ 2034209 w 2534050"/>
                  <a:gd name="connsiteY20" fmla="*/ 4399417 h 4885701"/>
                  <a:gd name="connsiteX21" fmla="*/ 2036053 w 2534050"/>
                  <a:gd name="connsiteY21" fmla="*/ 3706391 h 4885701"/>
                  <a:gd name="connsiteX22" fmla="*/ 2038324 w 2534050"/>
                  <a:gd name="connsiteY22" fmla="*/ 655183 h 4885701"/>
                  <a:gd name="connsiteX23" fmla="*/ 2037139 w 2534050"/>
                  <a:gd name="connsiteY23" fmla="*/ 617605 h 4885701"/>
                  <a:gd name="connsiteX24" fmla="*/ 2513375 w 2534050"/>
                  <a:gd name="connsiteY24" fmla="*/ 31990 h 4885701"/>
                  <a:gd name="connsiteX25" fmla="*/ 2448227 w 2534050"/>
                  <a:gd name="connsiteY25" fmla="*/ 139644 h 4885701"/>
                  <a:gd name="connsiteX26" fmla="*/ 2448222 w 2534050"/>
                  <a:gd name="connsiteY26" fmla="*/ 666041 h 4885701"/>
                  <a:gd name="connsiteX27" fmla="*/ 2445445 w 2534050"/>
                  <a:gd name="connsiteY27" fmla="*/ 682238 h 4885701"/>
                  <a:gd name="connsiteX28" fmla="*/ 2442619 w 2534050"/>
                  <a:gd name="connsiteY28" fmla="*/ 1458729 h 4885701"/>
                  <a:gd name="connsiteX29" fmla="*/ 2444476 w 2534050"/>
                  <a:gd name="connsiteY29" fmla="*/ 1462247 h 4885701"/>
                  <a:gd name="connsiteX30" fmla="*/ 2443809 w 2534050"/>
                  <a:gd name="connsiteY30" fmla="*/ 2638447 h 4885701"/>
                  <a:gd name="connsiteX31" fmla="*/ 2441669 w 2534050"/>
                  <a:gd name="connsiteY31" fmla="*/ 4403234 h 4885701"/>
                  <a:gd name="connsiteX32" fmla="*/ 2374871 w 2534050"/>
                  <a:gd name="connsiteY32" fmla="*/ 4662214 h 4885701"/>
                  <a:gd name="connsiteX33" fmla="*/ 2230903 w 2534050"/>
                  <a:gd name="connsiteY33" fmla="*/ 4816654 h 4885701"/>
                  <a:gd name="connsiteX34" fmla="*/ 2020267 w 2534050"/>
                  <a:gd name="connsiteY34" fmla="*/ 4885165 h 4885701"/>
                  <a:gd name="connsiteX35" fmla="*/ 1970713 w 2534050"/>
                  <a:gd name="connsiteY35" fmla="*/ 4885665 h 4885701"/>
                  <a:gd name="connsiteX0" fmla="*/ 1970713 w 2534100"/>
                  <a:gd name="connsiteY0" fmla="*/ 4853675 h 4853711"/>
                  <a:gd name="connsiteX1" fmla="*/ 1859089 w 2534100"/>
                  <a:gd name="connsiteY1" fmla="*/ 4825875 h 4853711"/>
                  <a:gd name="connsiteX2" fmla="*/ 1799088 w 2534100"/>
                  <a:gd name="connsiteY2" fmla="*/ 4796023 h 4853711"/>
                  <a:gd name="connsiteX3" fmla="*/ 257741 w 2534100"/>
                  <a:gd name="connsiteY3" fmla="*/ 3912825 h 4853711"/>
                  <a:gd name="connsiteX4" fmla="*/ 66855 w 2534100"/>
                  <a:gd name="connsiteY4" fmla="*/ 3725485 h 4853711"/>
                  <a:gd name="connsiteX5" fmla="*/ 5085 w 2534100"/>
                  <a:gd name="connsiteY5" fmla="*/ 3523582 h 4853711"/>
                  <a:gd name="connsiteX6" fmla="*/ 117 w 2534100"/>
                  <a:gd name="connsiteY6" fmla="*/ 3467192 h 4853711"/>
                  <a:gd name="connsiteX7" fmla="*/ 0 w 2534100"/>
                  <a:gd name="connsiteY7" fmla="*/ 3466530 h 4853711"/>
                  <a:gd name="connsiteX8" fmla="*/ 5920 w 2534100"/>
                  <a:gd name="connsiteY8" fmla="*/ 2082049 h 4853711"/>
                  <a:gd name="connsiteX9" fmla="*/ 9056 w 2534100"/>
                  <a:gd name="connsiteY9" fmla="*/ 2053189 h 4853711"/>
                  <a:gd name="connsiteX10" fmla="*/ 206180 w 2534100"/>
                  <a:gd name="connsiteY10" fmla="*/ 1960445 h 4853711"/>
                  <a:gd name="connsiteX11" fmla="*/ 407391 w 2534100"/>
                  <a:gd name="connsiteY11" fmla="*/ 2076598 h 4853711"/>
                  <a:gd name="connsiteX12" fmla="*/ 406100 w 2534100"/>
                  <a:gd name="connsiteY12" fmla="*/ 2141081 h 4853711"/>
                  <a:gd name="connsiteX13" fmla="*/ 409165 w 2534100"/>
                  <a:gd name="connsiteY13" fmla="*/ 3456472 h 4853711"/>
                  <a:gd name="connsiteX14" fmla="*/ 407598 w 2534100"/>
                  <a:gd name="connsiteY14" fmla="*/ 3449880 h 4853711"/>
                  <a:gd name="connsiteX15" fmla="*/ 407517 w 2534100"/>
                  <a:gd name="connsiteY15" fmla="*/ 3462688 h 4853711"/>
                  <a:gd name="connsiteX16" fmla="*/ 464772 w 2534100"/>
                  <a:gd name="connsiteY16" fmla="*/ 3561858 h 4853711"/>
                  <a:gd name="connsiteX17" fmla="*/ 1965744 w 2534100"/>
                  <a:gd name="connsiteY17" fmla="*/ 4433776 h 4853711"/>
                  <a:gd name="connsiteX18" fmla="*/ 1966088 w 2534100"/>
                  <a:gd name="connsiteY18" fmla="*/ 4434168 h 4853711"/>
                  <a:gd name="connsiteX19" fmla="*/ 1988129 w 2534100"/>
                  <a:gd name="connsiteY19" fmla="*/ 4427981 h 4853711"/>
                  <a:gd name="connsiteX20" fmla="*/ 2034209 w 2534100"/>
                  <a:gd name="connsiteY20" fmla="*/ 4367427 h 4853711"/>
                  <a:gd name="connsiteX21" fmla="*/ 2036053 w 2534100"/>
                  <a:gd name="connsiteY21" fmla="*/ 3674401 h 4853711"/>
                  <a:gd name="connsiteX22" fmla="*/ 2038324 w 2534100"/>
                  <a:gd name="connsiteY22" fmla="*/ 623193 h 4853711"/>
                  <a:gd name="connsiteX23" fmla="*/ 2037139 w 2534100"/>
                  <a:gd name="connsiteY23" fmla="*/ 585615 h 4853711"/>
                  <a:gd name="connsiteX24" fmla="*/ 2513375 w 2534100"/>
                  <a:gd name="connsiteY24" fmla="*/ 0 h 4853711"/>
                  <a:gd name="connsiteX25" fmla="*/ 2448222 w 2534100"/>
                  <a:gd name="connsiteY25" fmla="*/ 634051 h 4853711"/>
                  <a:gd name="connsiteX26" fmla="*/ 2445445 w 2534100"/>
                  <a:gd name="connsiteY26" fmla="*/ 650248 h 4853711"/>
                  <a:gd name="connsiteX27" fmla="*/ 2442619 w 2534100"/>
                  <a:gd name="connsiteY27" fmla="*/ 1426739 h 4853711"/>
                  <a:gd name="connsiteX28" fmla="*/ 2444476 w 2534100"/>
                  <a:gd name="connsiteY28" fmla="*/ 1430257 h 4853711"/>
                  <a:gd name="connsiteX29" fmla="*/ 2443809 w 2534100"/>
                  <a:gd name="connsiteY29" fmla="*/ 2606457 h 4853711"/>
                  <a:gd name="connsiteX30" fmla="*/ 2441669 w 2534100"/>
                  <a:gd name="connsiteY30" fmla="*/ 4371244 h 4853711"/>
                  <a:gd name="connsiteX31" fmla="*/ 2374871 w 2534100"/>
                  <a:gd name="connsiteY31" fmla="*/ 4630224 h 4853711"/>
                  <a:gd name="connsiteX32" fmla="*/ 2230903 w 2534100"/>
                  <a:gd name="connsiteY32" fmla="*/ 4784664 h 4853711"/>
                  <a:gd name="connsiteX33" fmla="*/ 2020267 w 2534100"/>
                  <a:gd name="connsiteY33" fmla="*/ 4853175 h 4853711"/>
                  <a:gd name="connsiteX34" fmla="*/ 1970713 w 2534100"/>
                  <a:gd name="connsiteY34" fmla="*/ 4853675 h 4853711"/>
                  <a:gd name="connsiteX0" fmla="*/ 1970713 w 2448222"/>
                  <a:gd name="connsiteY0" fmla="*/ 4268060 h 4268096"/>
                  <a:gd name="connsiteX1" fmla="*/ 1859089 w 2448222"/>
                  <a:gd name="connsiteY1" fmla="*/ 4240260 h 4268096"/>
                  <a:gd name="connsiteX2" fmla="*/ 1799088 w 2448222"/>
                  <a:gd name="connsiteY2" fmla="*/ 4210408 h 4268096"/>
                  <a:gd name="connsiteX3" fmla="*/ 257741 w 2448222"/>
                  <a:gd name="connsiteY3" fmla="*/ 3327210 h 4268096"/>
                  <a:gd name="connsiteX4" fmla="*/ 66855 w 2448222"/>
                  <a:gd name="connsiteY4" fmla="*/ 3139870 h 4268096"/>
                  <a:gd name="connsiteX5" fmla="*/ 5085 w 2448222"/>
                  <a:gd name="connsiteY5" fmla="*/ 2937967 h 4268096"/>
                  <a:gd name="connsiteX6" fmla="*/ 117 w 2448222"/>
                  <a:gd name="connsiteY6" fmla="*/ 2881577 h 4268096"/>
                  <a:gd name="connsiteX7" fmla="*/ 0 w 2448222"/>
                  <a:gd name="connsiteY7" fmla="*/ 2880915 h 4268096"/>
                  <a:gd name="connsiteX8" fmla="*/ 5920 w 2448222"/>
                  <a:gd name="connsiteY8" fmla="*/ 1496434 h 4268096"/>
                  <a:gd name="connsiteX9" fmla="*/ 9056 w 2448222"/>
                  <a:gd name="connsiteY9" fmla="*/ 1467574 h 4268096"/>
                  <a:gd name="connsiteX10" fmla="*/ 206180 w 2448222"/>
                  <a:gd name="connsiteY10" fmla="*/ 1374830 h 4268096"/>
                  <a:gd name="connsiteX11" fmla="*/ 407391 w 2448222"/>
                  <a:gd name="connsiteY11" fmla="*/ 1490983 h 4268096"/>
                  <a:gd name="connsiteX12" fmla="*/ 406100 w 2448222"/>
                  <a:gd name="connsiteY12" fmla="*/ 1555466 h 4268096"/>
                  <a:gd name="connsiteX13" fmla="*/ 409165 w 2448222"/>
                  <a:gd name="connsiteY13" fmla="*/ 2870857 h 4268096"/>
                  <a:gd name="connsiteX14" fmla="*/ 407598 w 2448222"/>
                  <a:gd name="connsiteY14" fmla="*/ 2864265 h 4268096"/>
                  <a:gd name="connsiteX15" fmla="*/ 407517 w 2448222"/>
                  <a:gd name="connsiteY15" fmla="*/ 2877073 h 4268096"/>
                  <a:gd name="connsiteX16" fmla="*/ 464772 w 2448222"/>
                  <a:gd name="connsiteY16" fmla="*/ 2976243 h 4268096"/>
                  <a:gd name="connsiteX17" fmla="*/ 1965744 w 2448222"/>
                  <a:gd name="connsiteY17" fmla="*/ 3848161 h 4268096"/>
                  <a:gd name="connsiteX18" fmla="*/ 1966088 w 2448222"/>
                  <a:gd name="connsiteY18" fmla="*/ 3848553 h 4268096"/>
                  <a:gd name="connsiteX19" fmla="*/ 1988129 w 2448222"/>
                  <a:gd name="connsiteY19" fmla="*/ 3842366 h 4268096"/>
                  <a:gd name="connsiteX20" fmla="*/ 2034209 w 2448222"/>
                  <a:gd name="connsiteY20" fmla="*/ 3781812 h 4268096"/>
                  <a:gd name="connsiteX21" fmla="*/ 2036053 w 2448222"/>
                  <a:gd name="connsiteY21" fmla="*/ 3088786 h 4268096"/>
                  <a:gd name="connsiteX22" fmla="*/ 2038324 w 2448222"/>
                  <a:gd name="connsiteY22" fmla="*/ 37578 h 4268096"/>
                  <a:gd name="connsiteX23" fmla="*/ 2037139 w 2448222"/>
                  <a:gd name="connsiteY23" fmla="*/ 0 h 4268096"/>
                  <a:gd name="connsiteX24" fmla="*/ 2448222 w 2448222"/>
                  <a:gd name="connsiteY24" fmla="*/ 48436 h 4268096"/>
                  <a:gd name="connsiteX25" fmla="*/ 2445445 w 2448222"/>
                  <a:gd name="connsiteY25" fmla="*/ 64633 h 4268096"/>
                  <a:gd name="connsiteX26" fmla="*/ 2442619 w 2448222"/>
                  <a:gd name="connsiteY26" fmla="*/ 841124 h 4268096"/>
                  <a:gd name="connsiteX27" fmla="*/ 2444476 w 2448222"/>
                  <a:gd name="connsiteY27" fmla="*/ 844642 h 4268096"/>
                  <a:gd name="connsiteX28" fmla="*/ 2443809 w 2448222"/>
                  <a:gd name="connsiteY28" fmla="*/ 2020842 h 4268096"/>
                  <a:gd name="connsiteX29" fmla="*/ 2441669 w 2448222"/>
                  <a:gd name="connsiteY29" fmla="*/ 3785629 h 4268096"/>
                  <a:gd name="connsiteX30" fmla="*/ 2374871 w 2448222"/>
                  <a:gd name="connsiteY30" fmla="*/ 4044609 h 4268096"/>
                  <a:gd name="connsiteX31" fmla="*/ 2230903 w 2448222"/>
                  <a:gd name="connsiteY31" fmla="*/ 4199049 h 4268096"/>
                  <a:gd name="connsiteX32" fmla="*/ 2020267 w 2448222"/>
                  <a:gd name="connsiteY32" fmla="*/ 4267560 h 4268096"/>
                  <a:gd name="connsiteX33" fmla="*/ 1970713 w 2448222"/>
                  <a:gd name="connsiteY33" fmla="*/ 4268060 h 4268096"/>
                  <a:gd name="connsiteX0" fmla="*/ 1970713 w 2448222"/>
                  <a:gd name="connsiteY0" fmla="*/ 4268060 h 4268096"/>
                  <a:gd name="connsiteX1" fmla="*/ 1859089 w 2448222"/>
                  <a:gd name="connsiteY1" fmla="*/ 4240260 h 4268096"/>
                  <a:gd name="connsiteX2" fmla="*/ 1799088 w 2448222"/>
                  <a:gd name="connsiteY2" fmla="*/ 4210408 h 4268096"/>
                  <a:gd name="connsiteX3" fmla="*/ 257741 w 2448222"/>
                  <a:gd name="connsiteY3" fmla="*/ 3327210 h 4268096"/>
                  <a:gd name="connsiteX4" fmla="*/ 66855 w 2448222"/>
                  <a:gd name="connsiteY4" fmla="*/ 3139870 h 4268096"/>
                  <a:gd name="connsiteX5" fmla="*/ 5085 w 2448222"/>
                  <a:gd name="connsiteY5" fmla="*/ 2937967 h 4268096"/>
                  <a:gd name="connsiteX6" fmla="*/ 117 w 2448222"/>
                  <a:gd name="connsiteY6" fmla="*/ 2881577 h 4268096"/>
                  <a:gd name="connsiteX7" fmla="*/ 0 w 2448222"/>
                  <a:gd name="connsiteY7" fmla="*/ 2880915 h 4268096"/>
                  <a:gd name="connsiteX8" fmla="*/ 5920 w 2448222"/>
                  <a:gd name="connsiteY8" fmla="*/ 1496434 h 4268096"/>
                  <a:gd name="connsiteX9" fmla="*/ 9056 w 2448222"/>
                  <a:gd name="connsiteY9" fmla="*/ 1467574 h 4268096"/>
                  <a:gd name="connsiteX10" fmla="*/ 206180 w 2448222"/>
                  <a:gd name="connsiteY10" fmla="*/ 1374830 h 4268096"/>
                  <a:gd name="connsiteX11" fmla="*/ 407391 w 2448222"/>
                  <a:gd name="connsiteY11" fmla="*/ 1490983 h 4268096"/>
                  <a:gd name="connsiteX12" fmla="*/ 406100 w 2448222"/>
                  <a:gd name="connsiteY12" fmla="*/ 1555466 h 4268096"/>
                  <a:gd name="connsiteX13" fmla="*/ 409165 w 2448222"/>
                  <a:gd name="connsiteY13" fmla="*/ 2870857 h 4268096"/>
                  <a:gd name="connsiteX14" fmla="*/ 407598 w 2448222"/>
                  <a:gd name="connsiteY14" fmla="*/ 2864265 h 4268096"/>
                  <a:gd name="connsiteX15" fmla="*/ 407517 w 2448222"/>
                  <a:gd name="connsiteY15" fmla="*/ 2877073 h 4268096"/>
                  <a:gd name="connsiteX16" fmla="*/ 464772 w 2448222"/>
                  <a:gd name="connsiteY16" fmla="*/ 2976243 h 4268096"/>
                  <a:gd name="connsiteX17" fmla="*/ 1965744 w 2448222"/>
                  <a:gd name="connsiteY17" fmla="*/ 3848161 h 4268096"/>
                  <a:gd name="connsiteX18" fmla="*/ 1966088 w 2448222"/>
                  <a:gd name="connsiteY18" fmla="*/ 3848553 h 4268096"/>
                  <a:gd name="connsiteX19" fmla="*/ 1988129 w 2448222"/>
                  <a:gd name="connsiteY19" fmla="*/ 3842366 h 4268096"/>
                  <a:gd name="connsiteX20" fmla="*/ 2034209 w 2448222"/>
                  <a:gd name="connsiteY20" fmla="*/ 3781812 h 4268096"/>
                  <a:gd name="connsiteX21" fmla="*/ 2036053 w 2448222"/>
                  <a:gd name="connsiteY21" fmla="*/ 3088786 h 4268096"/>
                  <a:gd name="connsiteX22" fmla="*/ 2038324 w 2448222"/>
                  <a:gd name="connsiteY22" fmla="*/ 37578 h 4268096"/>
                  <a:gd name="connsiteX23" fmla="*/ 2037139 w 2448222"/>
                  <a:gd name="connsiteY23" fmla="*/ 0 h 4268096"/>
                  <a:gd name="connsiteX24" fmla="*/ 2448222 w 2448222"/>
                  <a:gd name="connsiteY24" fmla="*/ 48436 h 4268096"/>
                  <a:gd name="connsiteX25" fmla="*/ 2442619 w 2448222"/>
                  <a:gd name="connsiteY25" fmla="*/ 841124 h 4268096"/>
                  <a:gd name="connsiteX26" fmla="*/ 2444476 w 2448222"/>
                  <a:gd name="connsiteY26" fmla="*/ 844642 h 4268096"/>
                  <a:gd name="connsiteX27" fmla="*/ 2443809 w 2448222"/>
                  <a:gd name="connsiteY27" fmla="*/ 2020842 h 4268096"/>
                  <a:gd name="connsiteX28" fmla="*/ 2441669 w 2448222"/>
                  <a:gd name="connsiteY28" fmla="*/ 3785629 h 4268096"/>
                  <a:gd name="connsiteX29" fmla="*/ 2374871 w 2448222"/>
                  <a:gd name="connsiteY29" fmla="*/ 4044609 h 4268096"/>
                  <a:gd name="connsiteX30" fmla="*/ 2230903 w 2448222"/>
                  <a:gd name="connsiteY30" fmla="*/ 4199049 h 4268096"/>
                  <a:gd name="connsiteX31" fmla="*/ 2020267 w 2448222"/>
                  <a:gd name="connsiteY31" fmla="*/ 4267560 h 4268096"/>
                  <a:gd name="connsiteX32" fmla="*/ 1970713 w 2448222"/>
                  <a:gd name="connsiteY32" fmla="*/ 4268060 h 4268096"/>
                  <a:gd name="connsiteX0" fmla="*/ 1970713 w 2448222"/>
                  <a:gd name="connsiteY0" fmla="*/ 4230482 h 4230518"/>
                  <a:gd name="connsiteX1" fmla="*/ 1859089 w 2448222"/>
                  <a:gd name="connsiteY1" fmla="*/ 4202682 h 4230518"/>
                  <a:gd name="connsiteX2" fmla="*/ 1799088 w 2448222"/>
                  <a:gd name="connsiteY2" fmla="*/ 4172830 h 4230518"/>
                  <a:gd name="connsiteX3" fmla="*/ 257741 w 2448222"/>
                  <a:gd name="connsiteY3" fmla="*/ 3289632 h 4230518"/>
                  <a:gd name="connsiteX4" fmla="*/ 66855 w 2448222"/>
                  <a:gd name="connsiteY4" fmla="*/ 3102292 h 4230518"/>
                  <a:gd name="connsiteX5" fmla="*/ 5085 w 2448222"/>
                  <a:gd name="connsiteY5" fmla="*/ 2900389 h 4230518"/>
                  <a:gd name="connsiteX6" fmla="*/ 117 w 2448222"/>
                  <a:gd name="connsiteY6" fmla="*/ 2843999 h 4230518"/>
                  <a:gd name="connsiteX7" fmla="*/ 0 w 2448222"/>
                  <a:gd name="connsiteY7" fmla="*/ 2843337 h 4230518"/>
                  <a:gd name="connsiteX8" fmla="*/ 5920 w 2448222"/>
                  <a:gd name="connsiteY8" fmla="*/ 1458856 h 4230518"/>
                  <a:gd name="connsiteX9" fmla="*/ 9056 w 2448222"/>
                  <a:gd name="connsiteY9" fmla="*/ 1429996 h 4230518"/>
                  <a:gd name="connsiteX10" fmla="*/ 206180 w 2448222"/>
                  <a:gd name="connsiteY10" fmla="*/ 1337252 h 4230518"/>
                  <a:gd name="connsiteX11" fmla="*/ 407391 w 2448222"/>
                  <a:gd name="connsiteY11" fmla="*/ 1453405 h 4230518"/>
                  <a:gd name="connsiteX12" fmla="*/ 406100 w 2448222"/>
                  <a:gd name="connsiteY12" fmla="*/ 1517888 h 4230518"/>
                  <a:gd name="connsiteX13" fmla="*/ 409165 w 2448222"/>
                  <a:gd name="connsiteY13" fmla="*/ 2833279 h 4230518"/>
                  <a:gd name="connsiteX14" fmla="*/ 407598 w 2448222"/>
                  <a:gd name="connsiteY14" fmla="*/ 2826687 h 4230518"/>
                  <a:gd name="connsiteX15" fmla="*/ 407517 w 2448222"/>
                  <a:gd name="connsiteY15" fmla="*/ 2839495 h 4230518"/>
                  <a:gd name="connsiteX16" fmla="*/ 464772 w 2448222"/>
                  <a:gd name="connsiteY16" fmla="*/ 2938665 h 4230518"/>
                  <a:gd name="connsiteX17" fmla="*/ 1965744 w 2448222"/>
                  <a:gd name="connsiteY17" fmla="*/ 3810583 h 4230518"/>
                  <a:gd name="connsiteX18" fmla="*/ 1966088 w 2448222"/>
                  <a:gd name="connsiteY18" fmla="*/ 3810975 h 4230518"/>
                  <a:gd name="connsiteX19" fmla="*/ 1988129 w 2448222"/>
                  <a:gd name="connsiteY19" fmla="*/ 3804788 h 4230518"/>
                  <a:gd name="connsiteX20" fmla="*/ 2034209 w 2448222"/>
                  <a:gd name="connsiteY20" fmla="*/ 3744234 h 4230518"/>
                  <a:gd name="connsiteX21" fmla="*/ 2036053 w 2448222"/>
                  <a:gd name="connsiteY21" fmla="*/ 3051208 h 4230518"/>
                  <a:gd name="connsiteX22" fmla="*/ 2038324 w 2448222"/>
                  <a:gd name="connsiteY22" fmla="*/ 0 h 4230518"/>
                  <a:gd name="connsiteX23" fmla="*/ 2448222 w 2448222"/>
                  <a:gd name="connsiteY23" fmla="*/ 10858 h 4230518"/>
                  <a:gd name="connsiteX24" fmla="*/ 2442619 w 2448222"/>
                  <a:gd name="connsiteY24" fmla="*/ 803546 h 4230518"/>
                  <a:gd name="connsiteX25" fmla="*/ 2444476 w 2448222"/>
                  <a:gd name="connsiteY25" fmla="*/ 807064 h 4230518"/>
                  <a:gd name="connsiteX26" fmla="*/ 2443809 w 2448222"/>
                  <a:gd name="connsiteY26" fmla="*/ 1983264 h 4230518"/>
                  <a:gd name="connsiteX27" fmla="*/ 2441669 w 2448222"/>
                  <a:gd name="connsiteY27" fmla="*/ 3748051 h 4230518"/>
                  <a:gd name="connsiteX28" fmla="*/ 2374871 w 2448222"/>
                  <a:gd name="connsiteY28" fmla="*/ 4007031 h 4230518"/>
                  <a:gd name="connsiteX29" fmla="*/ 2230903 w 2448222"/>
                  <a:gd name="connsiteY29" fmla="*/ 4161471 h 4230518"/>
                  <a:gd name="connsiteX30" fmla="*/ 2020267 w 2448222"/>
                  <a:gd name="connsiteY30" fmla="*/ 4229982 h 4230518"/>
                  <a:gd name="connsiteX31" fmla="*/ 1970713 w 2448222"/>
                  <a:gd name="connsiteY31" fmla="*/ 4230482 h 4230518"/>
                  <a:gd name="connsiteX0" fmla="*/ 1970713 w 2448222"/>
                  <a:gd name="connsiteY0" fmla="*/ 4219624 h 4219660"/>
                  <a:gd name="connsiteX1" fmla="*/ 1859089 w 2448222"/>
                  <a:gd name="connsiteY1" fmla="*/ 4191824 h 4219660"/>
                  <a:gd name="connsiteX2" fmla="*/ 1799088 w 2448222"/>
                  <a:gd name="connsiteY2" fmla="*/ 4161972 h 4219660"/>
                  <a:gd name="connsiteX3" fmla="*/ 257741 w 2448222"/>
                  <a:gd name="connsiteY3" fmla="*/ 3278774 h 4219660"/>
                  <a:gd name="connsiteX4" fmla="*/ 66855 w 2448222"/>
                  <a:gd name="connsiteY4" fmla="*/ 3091434 h 4219660"/>
                  <a:gd name="connsiteX5" fmla="*/ 5085 w 2448222"/>
                  <a:gd name="connsiteY5" fmla="*/ 2889531 h 4219660"/>
                  <a:gd name="connsiteX6" fmla="*/ 117 w 2448222"/>
                  <a:gd name="connsiteY6" fmla="*/ 2833141 h 4219660"/>
                  <a:gd name="connsiteX7" fmla="*/ 0 w 2448222"/>
                  <a:gd name="connsiteY7" fmla="*/ 2832479 h 4219660"/>
                  <a:gd name="connsiteX8" fmla="*/ 5920 w 2448222"/>
                  <a:gd name="connsiteY8" fmla="*/ 1447998 h 4219660"/>
                  <a:gd name="connsiteX9" fmla="*/ 9056 w 2448222"/>
                  <a:gd name="connsiteY9" fmla="*/ 1419138 h 4219660"/>
                  <a:gd name="connsiteX10" fmla="*/ 206180 w 2448222"/>
                  <a:gd name="connsiteY10" fmla="*/ 1326394 h 4219660"/>
                  <a:gd name="connsiteX11" fmla="*/ 407391 w 2448222"/>
                  <a:gd name="connsiteY11" fmla="*/ 1442547 h 4219660"/>
                  <a:gd name="connsiteX12" fmla="*/ 406100 w 2448222"/>
                  <a:gd name="connsiteY12" fmla="*/ 1507030 h 4219660"/>
                  <a:gd name="connsiteX13" fmla="*/ 409165 w 2448222"/>
                  <a:gd name="connsiteY13" fmla="*/ 2822421 h 4219660"/>
                  <a:gd name="connsiteX14" fmla="*/ 407598 w 2448222"/>
                  <a:gd name="connsiteY14" fmla="*/ 2815829 h 4219660"/>
                  <a:gd name="connsiteX15" fmla="*/ 407517 w 2448222"/>
                  <a:gd name="connsiteY15" fmla="*/ 2828637 h 4219660"/>
                  <a:gd name="connsiteX16" fmla="*/ 464772 w 2448222"/>
                  <a:gd name="connsiteY16" fmla="*/ 2927807 h 4219660"/>
                  <a:gd name="connsiteX17" fmla="*/ 1965744 w 2448222"/>
                  <a:gd name="connsiteY17" fmla="*/ 3799725 h 4219660"/>
                  <a:gd name="connsiteX18" fmla="*/ 1966088 w 2448222"/>
                  <a:gd name="connsiteY18" fmla="*/ 3800117 h 4219660"/>
                  <a:gd name="connsiteX19" fmla="*/ 1988129 w 2448222"/>
                  <a:gd name="connsiteY19" fmla="*/ 3793930 h 4219660"/>
                  <a:gd name="connsiteX20" fmla="*/ 2034209 w 2448222"/>
                  <a:gd name="connsiteY20" fmla="*/ 3733376 h 4219660"/>
                  <a:gd name="connsiteX21" fmla="*/ 2036053 w 2448222"/>
                  <a:gd name="connsiteY21" fmla="*/ 3040350 h 4219660"/>
                  <a:gd name="connsiteX22" fmla="*/ 2448222 w 2448222"/>
                  <a:gd name="connsiteY22" fmla="*/ 0 h 4219660"/>
                  <a:gd name="connsiteX23" fmla="*/ 2442619 w 2448222"/>
                  <a:gd name="connsiteY23" fmla="*/ 792688 h 4219660"/>
                  <a:gd name="connsiteX24" fmla="*/ 2444476 w 2448222"/>
                  <a:gd name="connsiteY24" fmla="*/ 796206 h 4219660"/>
                  <a:gd name="connsiteX25" fmla="*/ 2443809 w 2448222"/>
                  <a:gd name="connsiteY25" fmla="*/ 1972406 h 4219660"/>
                  <a:gd name="connsiteX26" fmla="*/ 2441669 w 2448222"/>
                  <a:gd name="connsiteY26" fmla="*/ 3737193 h 4219660"/>
                  <a:gd name="connsiteX27" fmla="*/ 2374871 w 2448222"/>
                  <a:gd name="connsiteY27" fmla="*/ 3996173 h 4219660"/>
                  <a:gd name="connsiteX28" fmla="*/ 2230903 w 2448222"/>
                  <a:gd name="connsiteY28" fmla="*/ 4150613 h 4219660"/>
                  <a:gd name="connsiteX29" fmla="*/ 2020267 w 2448222"/>
                  <a:gd name="connsiteY29" fmla="*/ 4219124 h 4219660"/>
                  <a:gd name="connsiteX30" fmla="*/ 1970713 w 2448222"/>
                  <a:gd name="connsiteY30" fmla="*/ 4219624 h 4219660"/>
                  <a:gd name="connsiteX0" fmla="*/ 1970713 w 2444505"/>
                  <a:gd name="connsiteY0" fmla="*/ 3426936 h 3426972"/>
                  <a:gd name="connsiteX1" fmla="*/ 1859089 w 2444505"/>
                  <a:gd name="connsiteY1" fmla="*/ 3399136 h 3426972"/>
                  <a:gd name="connsiteX2" fmla="*/ 1799088 w 2444505"/>
                  <a:gd name="connsiteY2" fmla="*/ 3369284 h 3426972"/>
                  <a:gd name="connsiteX3" fmla="*/ 257741 w 2444505"/>
                  <a:gd name="connsiteY3" fmla="*/ 2486086 h 3426972"/>
                  <a:gd name="connsiteX4" fmla="*/ 66855 w 2444505"/>
                  <a:gd name="connsiteY4" fmla="*/ 2298746 h 3426972"/>
                  <a:gd name="connsiteX5" fmla="*/ 5085 w 2444505"/>
                  <a:gd name="connsiteY5" fmla="*/ 2096843 h 3426972"/>
                  <a:gd name="connsiteX6" fmla="*/ 117 w 2444505"/>
                  <a:gd name="connsiteY6" fmla="*/ 2040453 h 3426972"/>
                  <a:gd name="connsiteX7" fmla="*/ 0 w 2444505"/>
                  <a:gd name="connsiteY7" fmla="*/ 2039791 h 3426972"/>
                  <a:gd name="connsiteX8" fmla="*/ 5920 w 2444505"/>
                  <a:gd name="connsiteY8" fmla="*/ 655310 h 3426972"/>
                  <a:gd name="connsiteX9" fmla="*/ 9056 w 2444505"/>
                  <a:gd name="connsiteY9" fmla="*/ 626450 h 3426972"/>
                  <a:gd name="connsiteX10" fmla="*/ 206180 w 2444505"/>
                  <a:gd name="connsiteY10" fmla="*/ 533706 h 3426972"/>
                  <a:gd name="connsiteX11" fmla="*/ 407391 w 2444505"/>
                  <a:gd name="connsiteY11" fmla="*/ 649859 h 3426972"/>
                  <a:gd name="connsiteX12" fmla="*/ 406100 w 2444505"/>
                  <a:gd name="connsiteY12" fmla="*/ 714342 h 3426972"/>
                  <a:gd name="connsiteX13" fmla="*/ 409165 w 2444505"/>
                  <a:gd name="connsiteY13" fmla="*/ 2029733 h 3426972"/>
                  <a:gd name="connsiteX14" fmla="*/ 407598 w 2444505"/>
                  <a:gd name="connsiteY14" fmla="*/ 2023141 h 3426972"/>
                  <a:gd name="connsiteX15" fmla="*/ 407517 w 2444505"/>
                  <a:gd name="connsiteY15" fmla="*/ 2035949 h 3426972"/>
                  <a:gd name="connsiteX16" fmla="*/ 464772 w 2444505"/>
                  <a:gd name="connsiteY16" fmla="*/ 2135119 h 3426972"/>
                  <a:gd name="connsiteX17" fmla="*/ 1965744 w 2444505"/>
                  <a:gd name="connsiteY17" fmla="*/ 3007037 h 3426972"/>
                  <a:gd name="connsiteX18" fmla="*/ 1966088 w 2444505"/>
                  <a:gd name="connsiteY18" fmla="*/ 3007429 h 3426972"/>
                  <a:gd name="connsiteX19" fmla="*/ 1988129 w 2444505"/>
                  <a:gd name="connsiteY19" fmla="*/ 3001242 h 3426972"/>
                  <a:gd name="connsiteX20" fmla="*/ 2034209 w 2444505"/>
                  <a:gd name="connsiteY20" fmla="*/ 2940688 h 3426972"/>
                  <a:gd name="connsiteX21" fmla="*/ 2036053 w 2444505"/>
                  <a:gd name="connsiteY21" fmla="*/ 2247662 h 3426972"/>
                  <a:gd name="connsiteX22" fmla="*/ 2442619 w 2444505"/>
                  <a:gd name="connsiteY22" fmla="*/ 0 h 3426972"/>
                  <a:gd name="connsiteX23" fmla="*/ 2444476 w 2444505"/>
                  <a:gd name="connsiteY23" fmla="*/ 3518 h 3426972"/>
                  <a:gd name="connsiteX24" fmla="*/ 2443809 w 2444505"/>
                  <a:gd name="connsiteY24" fmla="*/ 1179718 h 3426972"/>
                  <a:gd name="connsiteX25" fmla="*/ 2441669 w 2444505"/>
                  <a:gd name="connsiteY25" fmla="*/ 2944505 h 3426972"/>
                  <a:gd name="connsiteX26" fmla="*/ 2374871 w 2444505"/>
                  <a:gd name="connsiteY26" fmla="*/ 3203485 h 3426972"/>
                  <a:gd name="connsiteX27" fmla="*/ 2230903 w 2444505"/>
                  <a:gd name="connsiteY27" fmla="*/ 3357925 h 3426972"/>
                  <a:gd name="connsiteX28" fmla="*/ 2020267 w 2444505"/>
                  <a:gd name="connsiteY28" fmla="*/ 3426436 h 3426972"/>
                  <a:gd name="connsiteX29" fmla="*/ 1970713 w 2444505"/>
                  <a:gd name="connsiteY29" fmla="*/ 3426936 h 3426972"/>
                  <a:gd name="connsiteX0" fmla="*/ 1970713 w 2443809"/>
                  <a:gd name="connsiteY0" fmla="*/ 3426936 h 3426972"/>
                  <a:gd name="connsiteX1" fmla="*/ 1859089 w 2443809"/>
                  <a:gd name="connsiteY1" fmla="*/ 3399136 h 3426972"/>
                  <a:gd name="connsiteX2" fmla="*/ 1799088 w 2443809"/>
                  <a:gd name="connsiteY2" fmla="*/ 3369284 h 3426972"/>
                  <a:gd name="connsiteX3" fmla="*/ 257741 w 2443809"/>
                  <a:gd name="connsiteY3" fmla="*/ 2486086 h 3426972"/>
                  <a:gd name="connsiteX4" fmla="*/ 66855 w 2443809"/>
                  <a:gd name="connsiteY4" fmla="*/ 2298746 h 3426972"/>
                  <a:gd name="connsiteX5" fmla="*/ 5085 w 2443809"/>
                  <a:gd name="connsiteY5" fmla="*/ 2096843 h 3426972"/>
                  <a:gd name="connsiteX6" fmla="*/ 117 w 2443809"/>
                  <a:gd name="connsiteY6" fmla="*/ 2040453 h 3426972"/>
                  <a:gd name="connsiteX7" fmla="*/ 0 w 2443809"/>
                  <a:gd name="connsiteY7" fmla="*/ 2039791 h 3426972"/>
                  <a:gd name="connsiteX8" fmla="*/ 5920 w 2443809"/>
                  <a:gd name="connsiteY8" fmla="*/ 655310 h 3426972"/>
                  <a:gd name="connsiteX9" fmla="*/ 9056 w 2443809"/>
                  <a:gd name="connsiteY9" fmla="*/ 626450 h 3426972"/>
                  <a:gd name="connsiteX10" fmla="*/ 206180 w 2443809"/>
                  <a:gd name="connsiteY10" fmla="*/ 533706 h 3426972"/>
                  <a:gd name="connsiteX11" fmla="*/ 407391 w 2443809"/>
                  <a:gd name="connsiteY11" fmla="*/ 649859 h 3426972"/>
                  <a:gd name="connsiteX12" fmla="*/ 406100 w 2443809"/>
                  <a:gd name="connsiteY12" fmla="*/ 714342 h 3426972"/>
                  <a:gd name="connsiteX13" fmla="*/ 409165 w 2443809"/>
                  <a:gd name="connsiteY13" fmla="*/ 2029733 h 3426972"/>
                  <a:gd name="connsiteX14" fmla="*/ 407598 w 2443809"/>
                  <a:gd name="connsiteY14" fmla="*/ 2023141 h 3426972"/>
                  <a:gd name="connsiteX15" fmla="*/ 407517 w 2443809"/>
                  <a:gd name="connsiteY15" fmla="*/ 2035949 h 3426972"/>
                  <a:gd name="connsiteX16" fmla="*/ 464772 w 2443809"/>
                  <a:gd name="connsiteY16" fmla="*/ 2135119 h 3426972"/>
                  <a:gd name="connsiteX17" fmla="*/ 1965744 w 2443809"/>
                  <a:gd name="connsiteY17" fmla="*/ 3007037 h 3426972"/>
                  <a:gd name="connsiteX18" fmla="*/ 1966088 w 2443809"/>
                  <a:gd name="connsiteY18" fmla="*/ 3007429 h 3426972"/>
                  <a:gd name="connsiteX19" fmla="*/ 1988129 w 2443809"/>
                  <a:gd name="connsiteY19" fmla="*/ 3001242 h 3426972"/>
                  <a:gd name="connsiteX20" fmla="*/ 2034209 w 2443809"/>
                  <a:gd name="connsiteY20" fmla="*/ 2940688 h 3426972"/>
                  <a:gd name="connsiteX21" fmla="*/ 2036053 w 2443809"/>
                  <a:gd name="connsiteY21" fmla="*/ 2247662 h 3426972"/>
                  <a:gd name="connsiteX22" fmla="*/ 2442619 w 2443809"/>
                  <a:gd name="connsiteY22" fmla="*/ 0 h 3426972"/>
                  <a:gd name="connsiteX23" fmla="*/ 2443809 w 2443809"/>
                  <a:gd name="connsiteY23" fmla="*/ 1179718 h 3426972"/>
                  <a:gd name="connsiteX24" fmla="*/ 2441669 w 2443809"/>
                  <a:gd name="connsiteY24" fmla="*/ 2944505 h 3426972"/>
                  <a:gd name="connsiteX25" fmla="*/ 2374871 w 2443809"/>
                  <a:gd name="connsiteY25" fmla="*/ 3203485 h 3426972"/>
                  <a:gd name="connsiteX26" fmla="*/ 2230903 w 2443809"/>
                  <a:gd name="connsiteY26" fmla="*/ 3357925 h 3426972"/>
                  <a:gd name="connsiteX27" fmla="*/ 2020267 w 2443809"/>
                  <a:gd name="connsiteY27" fmla="*/ 3426436 h 3426972"/>
                  <a:gd name="connsiteX28" fmla="*/ 1970713 w 2443809"/>
                  <a:gd name="connsiteY28" fmla="*/ 3426936 h 3426972"/>
                  <a:gd name="connsiteX0" fmla="*/ 1970713 w 2475053"/>
                  <a:gd name="connsiteY0" fmla="*/ 3426936 h 3426972"/>
                  <a:gd name="connsiteX1" fmla="*/ 1859089 w 2475053"/>
                  <a:gd name="connsiteY1" fmla="*/ 3399136 h 3426972"/>
                  <a:gd name="connsiteX2" fmla="*/ 1799088 w 2475053"/>
                  <a:gd name="connsiteY2" fmla="*/ 3369284 h 3426972"/>
                  <a:gd name="connsiteX3" fmla="*/ 257741 w 2475053"/>
                  <a:gd name="connsiteY3" fmla="*/ 2486086 h 3426972"/>
                  <a:gd name="connsiteX4" fmla="*/ 66855 w 2475053"/>
                  <a:gd name="connsiteY4" fmla="*/ 2298746 h 3426972"/>
                  <a:gd name="connsiteX5" fmla="*/ 5085 w 2475053"/>
                  <a:gd name="connsiteY5" fmla="*/ 2096843 h 3426972"/>
                  <a:gd name="connsiteX6" fmla="*/ 117 w 2475053"/>
                  <a:gd name="connsiteY6" fmla="*/ 2040453 h 3426972"/>
                  <a:gd name="connsiteX7" fmla="*/ 0 w 2475053"/>
                  <a:gd name="connsiteY7" fmla="*/ 2039791 h 3426972"/>
                  <a:gd name="connsiteX8" fmla="*/ 5920 w 2475053"/>
                  <a:gd name="connsiteY8" fmla="*/ 655310 h 3426972"/>
                  <a:gd name="connsiteX9" fmla="*/ 9056 w 2475053"/>
                  <a:gd name="connsiteY9" fmla="*/ 626450 h 3426972"/>
                  <a:gd name="connsiteX10" fmla="*/ 206180 w 2475053"/>
                  <a:gd name="connsiteY10" fmla="*/ 533706 h 3426972"/>
                  <a:gd name="connsiteX11" fmla="*/ 407391 w 2475053"/>
                  <a:gd name="connsiteY11" fmla="*/ 649859 h 3426972"/>
                  <a:gd name="connsiteX12" fmla="*/ 406100 w 2475053"/>
                  <a:gd name="connsiteY12" fmla="*/ 714342 h 3426972"/>
                  <a:gd name="connsiteX13" fmla="*/ 409165 w 2475053"/>
                  <a:gd name="connsiteY13" fmla="*/ 2029733 h 3426972"/>
                  <a:gd name="connsiteX14" fmla="*/ 407598 w 2475053"/>
                  <a:gd name="connsiteY14" fmla="*/ 2023141 h 3426972"/>
                  <a:gd name="connsiteX15" fmla="*/ 407517 w 2475053"/>
                  <a:gd name="connsiteY15" fmla="*/ 2035949 h 3426972"/>
                  <a:gd name="connsiteX16" fmla="*/ 464772 w 2475053"/>
                  <a:gd name="connsiteY16" fmla="*/ 2135119 h 3426972"/>
                  <a:gd name="connsiteX17" fmla="*/ 1965744 w 2475053"/>
                  <a:gd name="connsiteY17" fmla="*/ 3007037 h 3426972"/>
                  <a:gd name="connsiteX18" fmla="*/ 1966088 w 2475053"/>
                  <a:gd name="connsiteY18" fmla="*/ 3007429 h 3426972"/>
                  <a:gd name="connsiteX19" fmla="*/ 1988129 w 2475053"/>
                  <a:gd name="connsiteY19" fmla="*/ 3001242 h 3426972"/>
                  <a:gd name="connsiteX20" fmla="*/ 2034209 w 2475053"/>
                  <a:gd name="connsiteY20" fmla="*/ 2940688 h 3426972"/>
                  <a:gd name="connsiteX21" fmla="*/ 2036053 w 2475053"/>
                  <a:gd name="connsiteY21" fmla="*/ 2247662 h 3426972"/>
                  <a:gd name="connsiteX22" fmla="*/ 2442619 w 2475053"/>
                  <a:gd name="connsiteY22" fmla="*/ 0 h 3426972"/>
                  <a:gd name="connsiteX23" fmla="*/ 2441669 w 2475053"/>
                  <a:gd name="connsiteY23" fmla="*/ 2944505 h 3426972"/>
                  <a:gd name="connsiteX24" fmla="*/ 2374871 w 2475053"/>
                  <a:gd name="connsiteY24" fmla="*/ 3203485 h 3426972"/>
                  <a:gd name="connsiteX25" fmla="*/ 2230903 w 2475053"/>
                  <a:gd name="connsiteY25" fmla="*/ 3357925 h 3426972"/>
                  <a:gd name="connsiteX26" fmla="*/ 2020267 w 2475053"/>
                  <a:gd name="connsiteY26" fmla="*/ 3426436 h 3426972"/>
                  <a:gd name="connsiteX27" fmla="*/ 1970713 w 2475053"/>
                  <a:gd name="connsiteY27" fmla="*/ 3426936 h 3426972"/>
                  <a:gd name="connsiteX0" fmla="*/ 1970713 w 2441669"/>
                  <a:gd name="connsiteY0" fmla="*/ 2893230 h 2893266"/>
                  <a:gd name="connsiteX1" fmla="*/ 1859089 w 2441669"/>
                  <a:gd name="connsiteY1" fmla="*/ 2865430 h 2893266"/>
                  <a:gd name="connsiteX2" fmla="*/ 1799088 w 2441669"/>
                  <a:gd name="connsiteY2" fmla="*/ 2835578 h 2893266"/>
                  <a:gd name="connsiteX3" fmla="*/ 257741 w 2441669"/>
                  <a:gd name="connsiteY3" fmla="*/ 1952380 h 2893266"/>
                  <a:gd name="connsiteX4" fmla="*/ 66855 w 2441669"/>
                  <a:gd name="connsiteY4" fmla="*/ 1765040 h 2893266"/>
                  <a:gd name="connsiteX5" fmla="*/ 5085 w 2441669"/>
                  <a:gd name="connsiteY5" fmla="*/ 1563137 h 2893266"/>
                  <a:gd name="connsiteX6" fmla="*/ 117 w 2441669"/>
                  <a:gd name="connsiteY6" fmla="*/ 1506747 h 2893266"/>
                  <a:gd name="connsiteX7" fmla="*/ 0 w 2441669"/>
                  <a:gd name="connsiteY7" fmla="*/ 1506085 h 2893266"/>
                  <a:gd name="connsiteX8" fmla="*/ 5920 w 2441669"/>
                  <a:gd name="connsiteY8" fmla="*/ 121604 h 2893266"/>
                  <a:gd name="connsiteX9" fmla="*/ 9056 w 2441669"/>
                  <a:gd name="connsiteY9" fmla="*/ 92744 h 2893266"/>
                  <a:gd name="connsiteX10" fmla="*/ 206180 w 2441669"/>
                  <a:gd name="connsiteY10" fmla="*/ 0 h 2893266"/>
                  <a:gd name="connsiteX11" fmla="*/ 407391 w 2441669"/>
                  <a:gd name="connsiteY11" fmla="*/ 116153 h 2893266"/>
                  <a:gd name="connsiteX12" fmla="*/ 406100 w 2441669"/>
                  <a:gd name="connsiteY12" fmla="*/ 180636 h 2893266"/>
                  <a:gd name="connsiteX13" fmla="*/ 409165 w 2441669"/>
                  <a:gd name="connsiteY13" fmla="*/ 1496027 h 2893266"/>
                  <a:gd name="connsiteX14" fmla="*/ 407598 w 2441669"/>
                  <a:gd name="connsiteY14" fmla="*/ 1489435 h 2893266"/>
                  <a:gd name="connsiteX15" fmla="*/ 407517 w 2441669"/>
                  <a:gd name="connsiteY15" fmla="*/ 1502243 h 2893266"/>
                  <a:gd name="connsiteX16" fmla="*/ 464772 w 2441669"/>
                  <a:gd name="connsiteY16" fmla="*/ 1601413 h 2893266"/>
                  <a:gd name="connsiteX17" fmla="*/ 1965744 w 2441669"/>
                  <a:gd name="connsiteY17" fmla="*/ 2473331 h 2893266"/>
                  <a:gd name="connsiteX18" fmla="*/ 1966088 w 2441669"/>
                  <a:gd name="connsiteY18" fmla="*/ 2473723 h 2893266"/>
                  <a:gd name="connsiteX19" fmla="*/ 1988129 w 2441669"/>
                  <a:gd name="connsiteY19" fmla="*/ 2467536 h 2893266"/>
                  <a:gd name="connsiteX20" fmla="*/ 2034209 w 2441669"/>
                  <a:gd name="connsiteY20" fmla="*/ 2406982 h 2893266"/>
                  <a:gd name="connsiteX21" fmla="*/ 2036053 w 2441669"/>
                  <a:gd name="connsiteY21" fmla="*/ 1713956 h 2893266"/>
                  <a:gd name="connsiteX22" fmla="*/ 2441669 w 2441669"/>
                  <a:gd name="connsiteY22" fmla="*/ 2410799 h 2893266"/>
                  <a:gd name="connsiteX23" fmla="*/ 2374871 w 2441669"/>
                  <a:gd name="connsiteY23" fmla="*/ 2669779 h 2893266"/>
                  <a:gd name="connsiteX24" fmla="*/ 2230903 w 2441669"/>
                  <a:gd name="connsiteY24" fmla="*/ 2824219 h 2893266"/>
                  <a:gd name="connsiteX25" fmla="*/ 2020267 w 2441669"/>
                  <a:gd name="connsiteY25" fmla="*/ 2892730 h 2893266"/>
                  <a:gd name="connsiteX26" fmla="*/ 1970713 w 2441669"/>
                  <a:gd name="connsiteY26" fmla="*/ 2893230 h 2893266"/>
                  <a:gd name="connsiteX0" fmla="*/ 1970713 w 2441669"/>
                  <a:gd name="connsiteY0" fmla="*/ 2893230 h 2893266"/>
                  <a:gd name="connsiteX1" fmla="*/ 1859089 w 2441669"/>
                  <a:gd name="connsiteY1" fmla="*/ 2865430 h 2893266"/>
                  <a:gd name="connsiteX2" fmla="*/ 1799088 w 2441669"/>
                  <a:gd name="connsiteY2" fmla="*/ 2835578 h 2893266"/>
                  <a:gd name="connsiteX3" fmla="*/ 257741 w 2441669"/>
                  <a:gd name="connsiteY3" fmla="*/ 1952380 h 2893266"/>
                  <a:gd name="connsiteX4" fmla="*/ 66855 w 2441669"/>
                  <a:gd name="connsiteY4" fmla="*/ 1765040 h 2893266"/>
                  <a:gd name="connsiteX5" fmla="*/ 5085 w 2441669"/>
                  <a:gd name="connsiteY5" fmla="*/ 1563137 h 2893266"/>
                  <a:gd name="connsiteX6" fmla="*/ 117 w 2441669"/>
                  <a:gd name="connsiteY6" fmla="*/ 1506747 h 2893266"/>
                  <a:gd name="connsiteX7" fmla="*/ 0 w 2441669"/>
                  <a:gd name="connsiteY7" fmla="*/ 1506085 h 2893266"/>
                  <a:gd name="connsiteX8" fmla="*/ 5920 w 2441669"/>
                  <a:gd name="connsiteY8" fmla="*/ 121604 h 2893266"/>
                  <a:gd name="connsiteX9" fmla="*/ 9056 w 2441669"/>
                  <a:gd name="connsiteY9" fmla="*/ 92744 h 2893266"/>
                  <a:gd name="connsiteX10" fmla="*/ 206180 w 2441669"/>
                  <a:gd name="connsiteY10" fmla="*/ 0 h 2893266"/>
                  <a:gd name="connsiteX11" fmla="*/ 407391 w 2441669"/>
                  <a:gd name="connsiteY11" fmla="*/ 116153 h 2893266"/>
                  <a:gd name="connsiteX12" fmla="*/ 406100 w 2441669"/>
                  <a:gd name="connsiteY12" fmla="*/ 180636 h 2893266"/>
                  <a:gd name="connsiteX13" fmla="*/ 409165 w 2441669"/>
                  <a:gd name="connsiteY13" fmla="*/ 1496027 h 2893266"/>
                  <a:gd name="connsiteX14" fmla="*/ 407598 w 2441669"/>
                  <a:gd name="connsiteY14" fmla="*/ 1489435 h 2893266"/>
                  <a:gd name="connsiteX15" fmla="*/ 407517 w 2441669"/>
                  <a:gd name="connsiteY15" fmla="*/ 1502243 h 2893266"/>
                  <a:gd name="connsiteX16" fmla="*/ 464772 w 2441669"/>
                  <a:gd name="connsiteY16" fmla="*/ 1601413 h 2893266"/>
                  <a:gd name="connsiteX17" fmla="*/ 1965744 w 2441669"/>
                  <a:gd name="connsiteY17" fmla="*/ 2473331 h 2893266"/>
                  <a:gd name="connsiteX18" fmla="*/ 1966088 w 2441669"/>
                  <a:gd name="connsiteY18" fmla="*/ 2473723 h 2893266"/>
                  <a:gd name="connsiteX19" fmla="*/ 1988129 w 2441669"/>
                  <a:gd name="connsiteY19" fmla="*/ 2467536 h 2893266"/>
                  <a:gd name="connsiteX20" fmla="*/ 2034209 w 2441669"/>
                  <a:gd name="connsiteY20" fmla="*/ 2406982 h 2893266"/>
                  <a:gd name="connsiteX21" fmla="*/ 2441669 w 2441669"/>
                  <a:gd name="connsiteY21" fmla="*/ 2410799 h 2893266"/>
                  <a:gd name="connsiteX22" fmla="*/ 2374871 w 2441669"/>
                  <a:gd name="connsiteY22" fmla="*/ 2669779 h 2893266"/>
                  <a:gd name="connsiteX23" fmla="*/ 2230903 w 2441669"/>
                  <a:gd name="connsiteY23" fmla="*/ 2824219 h 2893266"/>
                  <a:gd name="connsiteX24" fmla="*/ 2020267 w 2441669"/>
                  <a:gd name="connsiteY24" fmla="*/ 2892730 h 2893266"/>
                  <a:gd name="connsiteX25" fmla="*/ 1970713 w 2441669"/>
                  <a:gd name="connsiteY25" fmla="*/ 2893230 h 2893266"/>
                  <a:gd name="connsiteX0" fmla="*/ 1970713 w 2380032"/>
                  <a:gd name="connsiteY0" fmla="*/ 2893230 h 2893266"/>
                  <a:gd name="connsiteX1" fmla="*/ 1859089 w 2380032"/>
                  <a:gd name="connsiteY1" fmla="*/ 2865430 h 2893266"/>
                  <a:gd name="connsiteX2" fmla="*/ 1799088 w 2380032"/>
                  <a:gd name="connsiteY2" fmla="*/ 2835578 h 2893266"/>
                  <a:gd name="connsiteX3" fmla="*/ 257741 w 2380032"/>
                  <a:gd name="connsiteY3" fmla="*/ 1952380 h 2893266"/>
                  <a:gd name="connsiteX4" fmla="*/ 66855 w 2380032"/>
                  <a:gd name="connsiteY4" fmla="*/ 1765040 h 2893266"/>
                  <a:gd name="connsiteX5" fmla="*/ 5085 w 2380032"/>
                  <a:gd name="connsiteY5" fmla="*/ 1563137 h 2893266"/>
                  <a:gd name="connsiteX6" fmla="*/ 117 w 2380032"/>
                  <a:gd name="connsiteY6" fmla="*/ 1506747 h 2893266"/>
                  <a:gd name="connsiteX7" fmla="*/ 0 w 2380032"/>
                  <a:gd name="connsiteY7" fmla="*/ 1506085 h 2893266"/>
                  <a:gd name="connsiteX8" fmla="*/ 5920 w 2380032"/>
                  <a:gd name="connsiteY8" fmla="*/ 121604 h 2893266"/>
                  <a:gd name="connsiteX9" fmla="*/ 9056 w 2380032"/>
                  <a:gd name="connsiteY9" fmla="*/ 92744 h 2893266"/>
                  <a:gd name="connsiteX10" fmla="*/ 206180 w 2380032"/>
                  <a:gd name="connsiteY10" fmla="*/ 0 h 2893266"/>
                  <a:gd name="connsiteX11" fmla="*/ 407391 w 2380032"/>
                  <a:gd name="connsiteY11" fmla="*/ 116153 h 2893266"/>
                  <a:gd name="connsiteX12" fmla="*/ 406100 w 2380032"/>
                  <a:gd name="connsiteY12" fmla="*/ 180636 h 2893266"/>
                  <a:gd name="connsiteX13" fmla="*/ 409165 w 2380032"/>
                  <a:gd name="connsiteY13" fmla="*/ 1496027 h 2893266"/>
                  <a:gd name="connsiteX14" fmla="*/ 407598 w 2380032"/>
                  <a:gd name="connsiteY14" fmla="*/ 1489435 h 2893266"/>
                  <a:gd name="connsiteX15" fmla="*/ 407517 w 2380032"/>
                  <a:gd name="connsiteY15" fmla="*/ 1502243 h 2893266"/>
                  <a:gd name="connsiteX16" fmla="*/ 464772 w 2380032"/>
                  <a:gd name="connsiteY16" fmla="*/ 1601413 h 2893266"/>
                  <a:gd name="connsiteX17" fmla="*/ 1965744 w 2380032"/>
                  <a:gd name="connsiteY17" fmla="*/ 2473331 h 2893266"/>
                  <a:gd name="connsiteX18" fmla="*/ 1966088 w 2380032"/>
                  <a:gd name="connsiteY18" fmla="*/ 2473723 h 2893266"/>
                  <a:gd name="connsiteX19" fmla="*/ 1988129 w 2380032"/>
                  <a:gd name="connsiteY19" fmla="*/ 2467536 h 2893266"/>
                  <a:gd name="connsiteX20" fmla="*/ 2034209 w 2380032"/>
                  <a:gd name="connsiteY20" fmla="*/ 2406982 h 2893266"/>
                  <a:gd name="connsiteX21" fmla="*/ 2374871 w 2380032"/>
                  <a:gd name="connsiteY21" fmla="*/ 2669779 h 2893266"/>
                  <a:gd name="connsiteX22" fmla="*/ 2230903 w 2380032"/>
                  <a:gd name="connsiteY22" fmla="*/ 2824219 h 2893266"/>
                  <a:gd name="connsiteX23" fmla="*/ 2020267 w 2380032"/>
                  <a:gd name="connsiteY23" fmla="*/ 2892730 h 2893266"/>
                  <a:gd name="connsiteX24" fmla="*/ 1970713 w 2380032"/>
                  <a:gd name="connsiteY24"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1965744 w 2382123"/>
                  <a:gd name="connsiteY17" fmla="*/ 2473331 h 2893266"/>
                  <a:gd name="connsiteX18" fmla="*/ 1966088 w 2382123"/>
                  <a:gd name="connsiteY18" fmla="*/ 2473723 h 2893266"/>
                  <a:gd name="connsiteX19" fmla="*/ 1988129 w 2382123"/>
                  <a:gd name="connsiteY19" fmla="*/ 2467536 h 2893266"/>
                  <a:gd name="connsiteX20" fmla="*/ 2374871 w 2382123"/>
                  <a:gd name="connsiteY20" fmla="*/ 2669779 h 2893266"/>
                  <a:gd name="connsiteX21" fmla="*/ 2230903 w 2382123"/>
                  <a:gd name="connsiteY21" fmla="*/ 2824219 h 2893266"/>
                  <a:gd name="connsiteX22" fmla="*/ 2020267 w 2382123"/>
                  <a:gd name="connsiteY22" fmla="*/ 2892730 h 2893266"/>
                  <a:gd name="connsiteX23" fmla="*/ 1970713 w 2382123"/>
                  <a:gd name="connsiteY23"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1965744 w 2382123"/>
                  <a:gd name="connsiteY17" fmla="*/ 2473331 h 2893266"/>
                  <a:gd name="connsiteX18" fmla="*/ 1966088 w 2382123"/>
                  <a:gd name="connsiteY18" fmla="*/ 2473723 h 2893266"/>
                  <a:gd name="connsiteX19" fmla="*/ 2374871 w 2382123"/>
                  <a:gd name="connsiteY19" fmla="*/ 2669779 h 2893266"/>
                  <a:gd name="connsiteX20" fmla="*/ 2230903 w 2382123"/>
                  <a:gd name="connsiteY20" fmla="*/ 2824219 h 2893266"/>
                  <a:gd name="connsiteX21" fmla="*/ 2020267 w 2382123"/>
                  <a:gd name="connsiteY21" fmla="*/ 2892730 h 2893266"/>
                  <a:gd name="connsiteX22" fmla="*/ 1970713 w 2382123"/>
                  <a:gd name="connsiteY22"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1965744 w 2382123"/>
                  <a:gd name="connsiteY17" fmla="*/ 2473331 h 2893266"/>
                  <a:gd name="connsiteX18" fmla="*/ 2374871 w 2382123"/>
                  <a:gd name="connsiteY18" fmla="*/ 2669779 h 2893266"/>
                  <a:gd name="connsiteX19" fmla="*/ 2230903 w 2382123"/>
                  <a:gd name="connsiteY19" fmla="*/ 2824219 h 2893266"/>
                  <a:gd name="connsiteX20" fmla="*/ 2020267 w 2382123"/>
                  <a:gd name="connsiteY20" fmla="*/ 2892730 h 2893266"/>
                  <a:gd name="connsiteX21" fmla="*/ 1970713 w 2382123"/>
                  <a:gd name="connsiteY21"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2374871 w 2382123"/>
                  <a:gd name="connsiteY17" fmla="*/ 2669779 h 2893266"/>
                  <a:gd name="connsiteX18" fmla="*/ 2230903 w 2382123"/>
                  <a:gd name="connsiteY18" fmla="*/ 2824219 h 2893266"/>
                  <a:gd name="connsiteX19" fmla="*/ 2020267 w 2382123"/>
                  <a:gd name="connsiteY19" fmla="*/ 2892730 h 2893266"/>
                  <a:gd name="connsiteX20" fmla="*/ 1970713 w 2382123"/>
                  <a:gd name="connsiteY20" fmla="*/ 2893230 h 2893266"/>
                  <a:gd name="connsiteX0" fmla="*/ 1970713 w 2230903"/>
                  <a:gd name="connsiteY0" fmla="*/ 2893230 h 2893266"/>
                  <a:gd name="connsiteX1" fmla="*/ 1859089 w 2230903"/>
                  <a:gd name="connsiteY1" fmla="*/ 2865430 h 2893266"/>
                  <a:gd name="connsiteX2" fmla="*/ 1799088 w 2230903"/>
                  <a:gd name="connsiteY2" fmla="*/ 2835578 h 2893266"/>
                  <a:gd name="connsiteX3" fmla="*/ 257741 w 2230903"/>
                  <a:gd name="connsiteY3" fmla="*/ 1952380 h 2893266"/>
                  <a:gd name="connsiteX4" fmla="*/ 66855 w 2230903"/>
                  <a:gd name="connsiteY4" fmla="*/ 1765040 h 2893266"/>
                  <a:gd name="connsiteX5" fmla="*/ 5085 w 2230903"/>
                  <a:gd name="connsiteY5" fmla="*/ 1563137 h 2893266"/>
                  <a:gd name="connsiteX6" fmla="*/ 117 w 2230903"/>
                  <a:gd name="connsiteY6" fmla="*/ 1506747 h 2893266"/>
                  <a:gd name="connsiteX7" fmla="*/ 0 w 2230903"/>
                  <a:gd name="connsiteY7" fmla="*/ 1506085 h 2893266"/>
                  <a:gd name="connsiteX8" fmla="*/ 5920 w 2230903"/>
                  <a:gd name="connsiteY8" fmla="*/ 121604 h 2893266"/>
                  <a:gd name="connsiteX9" fmla="*/ 9056 w 2230903"/>
                  <a:gd name="connsiteY9" fmla="*/ 92744 h 2893266"/>
                  <a:gd name="connsiteX10" fmla="*/ 206180 w 2230903"/>
                  <a:gd name="connsiteY10" fmla="*/ 0 h 2893266"/>
                  <a:gd name="connsiteX11" fmla="*/ 407391 w 2230903"/>
                  <a:gd name="connsiteY11" fmla="*/ 116153 h 2893266"/>
                  <a:gd name="connsiteX12" fmla="*/ 406100 w 2230903"/>
                  <a:gd name="connsiteY12" fmla="*/ 180636 h 2893266"/>
                  <a:gd name="connsiteX13" fmla="*/ 409165 w 2230903"/>
                  <a:gd name="connsiteY13" fmla="*/ 1496027 h 2893266"/>
                  <a:gd name="connsiteX14" fmla="*/ 407598 w 2230903"/>
                  <a:gd name="connsiteY14" fmla="*/ 1489435 h 2893266"/>
                  <a:gd name="connsiteX15" fmla="*/ 407517 w 2230903"/>
                  <a:gd name="connsiteY15" fmla="*/ 1502243 h 2893266"/>
                  <a:gd name="connsiteX16" fmla="*/ 464772 w 2230903"/>
                  <a:gd name="connsiteY16" fmla="*/ 1601413 h 2893266"/>
                  <a:gd name="connsiteX17" fmla="*/ 2230903 w 2230903"/>
                  <a:gd name="connsiteY17" fmla="*/ 2824219 h 2893266"/>
                  <a:gd name="connsiteX18" fmla="*/ 2020267 w 2230903"/>
                  <a:gd name="connsiteY18" fmla="*/ 2892730 h 2893266"/>
                  <a:gd name="connsiteX19" fmla="*/ 1970713 w 2230903"/>
                  <a:gd name="connsiteY19" fmla="*/ 2893230 h 2893266"/>
                  <a:gd name="connsiteX0" fmla="*/ 1970713 w 2020267"/>
                  <a:gd name="connsiteY0" fmla="*/ 2893230 h 2893266"/>
                  <a:gd name="connsiteX1" fmla="*/ 1859089 w 2020267"/>
                  <a:gd name="connsiteY1" fmla="*/ 2865430 h 2893266"/>
                  <a:gd name="connsiteX2" fmla="*/ 1799088 w 2020267"/>
                  <a:gd name="connsiteY2" fmla="*/ 2835578 h 2893266"/>
                  <a:gd name="connsiteX3" fmla="*/ 257741 w 2020267"/>
                  <a:gd name="connsiteY3" fmla="*/ 1952380 h 2893266"/>
                  <a:gd name="connsiteX4" fmla="*/ 66855 w 2020267"/>
                  <a:gd name="connsiteY4" fmla="*/ 1765040 h 2893266"/>
                  <a:gd name="connsiteX5" fmla="*/ 5085 w 2020267"/>
                  <a:gd name="connsiteY5" fmla="*/ 1563137 h 2893266"/>
                  <a:gd name="connsiteX6" fmla="*/ 117 w 2020267"/>
                  <a:gd name="connsiteY6" fmla="*/ 1506747 h 2893266"/>
                  <a:gd name="connsiteX7" fmla="*/ 0 w 2020267"/>
                  <a:gd name="connsiteY7" fmla="*/ 1506085 h 2893266"/>
                  <a:gd name="connsiteX8" fmla="*/ 5920 w 2020267"/>
                  <a:gd name="connsiteY8" fmla="*/ 121604 h 2893266"/>
                  <a:gd name="connsiteX9" fmla="*/ 9056 w 2020267"/>
                  <a:gd name="connsiteY9" fmla="*/ 92744 h 2893266"/>
                  <a:gd name="connsiteX10" fmla="*/ 206180 w 2020267"/>
                  <a:gd name="connsiteY10" fmla="*/ 0 h 2893266"/>
                  <a:gd name="connsiteX11" fmla="*/ 407391 w 2020267"/>
                  <a:gd name="connsiteY11" fmla="*/ 116153 h 2893266"/>
                  <a:gd name="connsiteX12" fmla="*/ 406100 w 2020267"/>
                  <a:gd name="connsiteY12" fmla="*/ 180636 h 2893266"/>
                  <a:gd name="connsiteX13" fmla="*/ 409165 w 2020267"/>
                  <a:gd name="connsiteY13" fmla="*/ 1496027 h 2893266"/>
                  <a:gd name="connsiteX14" fmla="*/ 407598 w 2020267"/>
                  <a:gd name="connsiteY14" fmla="*/ 1489435 h 2893266"/>
                  <a:gd name="connsiteX15" fmla="*/ 407517 w 2020267"/>
                  <a:gd name="connsiteY15" fmla="*/ 1502243 h 2893266"/>
                  <a:gd name="connsiteX16" fmla="*/ 464772 w 2020267"/>
                  <a:gd name="connsiteY16" fmla="*/ 1601413 h 2893266"/>
                  <a:gd name="connsiteX17" fmla="*/ 2020267 w 2020267"/>
                  <a:gd name="connsiteY17" fmla="*/ 2892730 h 2893266"/>
                  <a:gd name="connsiteX18" fmla="*/ 1970713 w 2020267"/>
                  <a:gd name="connsiteY18" fmla="*/ 2893230 h 2893266"/>
                  <a:gd name="connsiteX0" fmla="*/ 2020267 w 2098363"/>
                  <a:gd name="connsiteY0" fmla="*/ 2892730 h 2981668"/>
                  <a:gd name="connsiteX1" fmla="*/ 1859089 w 2098363"/>
                  <a:gd name="connsiteY1" fmla="*/ 2865430 h 2981668"/>
                  <a:gd name="connsiteX2" fmla="*/ 1799088 w 2098363"/>
                  <a:gd name="connsiteY2" fmla="*/ 2835578 h 2981668"/>
                  <a:gd name="connsiteX3" fmla="*/ 257741 w 2098363"/>
                  <a:gd name="connsiteY3" fmla="*/ 1952380 h 2981668"/>
                  <a:gd name="connsiteX4" fmla="*/ 66855 w 2098363"/>
                  <a:gd name="connsiteY4" fmla="*/ 1765040 h 2981668"/>
                  <a:gd name="connsiteX5" fmla="*/ 5085 w 2098363"/>
                  <a:gd name="connsiteY5" fmla="*/ 1563137 h 2981668"/>
                  <a:gd name="connsiteX6" fmla="*/ 117 w 2098363"/>
                  <a:gd name="connsiteY6" fmla="*/ 1506747 h 2981668"/>
                  <a:gd name="connsiteX7" fmla="*/ 0 w 2098363"/>
                  <a:gd name="connsiteY7" fmla="*/ 1506085 h 2981668"/>
                  <a:gd name="connsiteX8" fmla="*/ 5920 w 2098363"/>
                  <a:gd name="connsiteY8" fmla="*/ 121604 h 2981668"/>
                  <a:gd name="connsiteX9" fmla="*/ 9056 w 2098363"/>
                  <a:gd name="connsiteY9" fmla="*/ 92744 h 2981668"/>
                  <a:gd name="connsiteX10" fmla="*/ 206180 w 2098363"/>
                  <a:gd name="connsiteY10" fmla="*/ 0 h 2981668"/>
                  <a:gd name="connsiteX11" fmla="*/ 407391 w 2098363"/>
                  <a:gd name="connsiteY11" fmla="*/ 116153 h 2981668"/>
                  <a:gd name="connsiteX12" fmla="*/ 406100 w 2098363"/>
                  <a:gd name="connsiteY12" fmla="*/ 180636 h 2981668"/>
                  <a:gd name="connsiteX13" fmla="*/ 409165 w 2098363"/>
                  <a:gd name="connsiteY13" fmla="*/ 1496027 h 2981668"/>
                  <a:gd name="connsiteX14" fmla="*/ 407598 w 2098363"/>
                  <a:gd name="connsiteY14" fmla="*/ 1489435 h 2981668"/>
                  <a:gd name="connsiteX15" fmla="*/ 407517 w 2098363"/>
                  <a:gd name="connsiteY15" fmla="*/ 1502243 h 2981668"/>
                  <a:gd name="connsiteX16" fmla="*/ 464772 w 2098363"/>
                  <a:gd name="connsiteY16" fmla="*/ 1601413 h 2981668"/>
                  <a:gd name="connsiteX17" fmla="*/ 2020267 w 2098363"/>
                  <a:gd name="connsiteY17" fmla="*/ 2892730 h 2981668"/>
                  <a:gd name="connsiteX0" fmla="*/ 464772 w 1859089"/>
                  <a:gd name="connsiteY0" fmla="*/ 1601413 h 2865430"/>
                  <a:gd name="connsiteX1" fmla="*/ 1859089 w 1859089"/>
                  <a:gd name="connsiteY1" fmla="*/ 2865430 h 2865430"/>
                  <a:gd name="connsiteX2" fmla="*/ 1799088 w 1859089"/>
                  <a:gd name="connsiteY2" fmla="*/ 2835578 h 2865430"/>
                  <a:gd name="connsiteX3" fmla="*/ 257741 w 1859089"/>
                  <a:gd name="connsiteY3" fmla="*/ 1952380 h 2865430"/>
                  <a:gd name="connsiteX4" fmla="*/ 66855 w 1859089"/>
                  <a:gd name="connsiteY4" fmla="*/ 1765040 h 2865430"/>
                  <a:gd name="connsiteX5" fmla="*/ 5085 w 1859089"/>
                  <a:gd name="connsiteY5" fmla="*/ 1563137 h 2865430"/>
                  <a:gd name="connsiteX6" fmla="*/ 117 w 1859089"/>
                  <a:gd name="connsiteY6" fmla="*/ 1506747 h 2865430"/>
                  <a:gd name="connsiteX7" fmla="*/ 0 w 1859089"/>
                  <a:gd name="connsiteY7" fmla="*/ 1506085 h 2865430"/>
                  <a:gd name="connsiteX8" fmla="*/ 5920 w 1859089"/>
                  <a:gd name="connsiteY8" fmla="*/ 121604 h 2865430"/>
                  <a:gd name="connsiteX9" fmla="*/ 9056 w 1859089"/>
                  <a:gd name="connsiteY9" fmla="*/ 92744 h 2865430"/>
                  <a:gd name="connsiteX10" fmla="*/ 206180 w 1859089"/>
                  <a:gd name="connsiteY10" fmla="*/ 0 h 2865430"/>
                  <a:gd name="connsiteX11" fmla="*/ 407391 w 1859089"/>
                  <a:gd name="connsiteY11" fmla="*/ 116153 h 2865430"/>
                  <a:gd name="connsiteX12" fmla="*/ 406100 w 1859089"/>
                  <a:gd name="connsiteY12" fmla="*/ 180636 h 2865430"/>
                  <a:gd name="connsiteX13" fmla="*/ 409165 w 1859089"/>
                  <a:gd name="connsiteY13" fmla="*/ 1496027 h 2865430"/>
                  <a:gd name="connsiteX14" fmla="*/ 407598 w 1859089"/>
                  <a:gd name="connsiteY14" fmla="*/ 1489435 h 2865430"/>
                  <a:gd name="connsiteX15" fmla="*/ 407517 w 1859089"/>
                  <a:gd name="connsiteY15" fmla="*/ 1502243 h 2865430"/>
                  <a:gd name="connsiteX16" fmla="*/ 464772 w 1859089"/>
                  <a:gd name="connsiteY16" fmla="*/ 1601413 h 2865430"/>
                  <a:gd name="connsiteX0" fmla="*/ 464772 w 1859089"/>
                  <a:gd name="connsiteY0" fmla="*/ 1601413 h 2865430"/>
                  <a:gd name="connsiteX1" fmla="*/ 1859089 w 1859089"/>
                  <a:gd name="connsiteY1" fmla="*/ 2865430 h 2865430"/>
                  <a:gd name="connsiteX2" fmla="*/ 257741 w 1859089"/>
                  <a:gd name="connsiteY2" fmla="*/ 1952380 h 2865430"/>
                  <a:gd name="connsiteX3" fmla="*/ 66855 w 1859089"/>
                  <a:gd name="connsiteY3" fmla="*/ 1765040 h 2865430"/>
                  <a:gd name="connsiteX4" fmla="*/ 5085 w 1859089"/>
                  <a:gd name="connsiteY4" fmla="*/ 1563137 h 2865430"/>
                  <a:gd name="connsiteX5" fmla="*/ 117 w 1859089"/>
                  <a:gd name="connsiteY5" fmla="*/ 1506747 h 2865430"/>
                  <a:gd name="connsiteX6" fmla="*/ 0 w 1859089"/>
                  <a:gd name="connsiteY6" fmla="*/ 1506085 h 2865430"/>
                  <a:gd name="connsiteX7" fmla="*/ 5920 w 1859089"/>
                  <a:gd name="connsiteY7" fmla="*/ 121604 h 2865430"/>
                  <a:gd name="connsiteX8" fmla="*/ 9056 w 1859089"/>
                  <a:gd name="connsiteY8" fmla="*/ 92744 h 2865430"/>
                  <a:gd name="connsiteX9" fmla="*/ 206180 w 1859089"/>
                  <a:gd name="connsiteY9" fmla="*/ 0 h 2865430"/>
                  <a:gd name="connsiteX10" fmla="*/ 407391 w 1859089"/>
                  <a:gd name="connsiteY10" fmla="*/ 116153 h 2865430"/>
                  <a:gd name="connsiteX11" fmla="*/ 406100 w 1859089"/>
                  <a:gd name="connsiteY11" fmla="*/ 180636 h 2865430"/>
                  <a:gd name="connsiteX12" fmla="*/ 409165 w 1859089"/>
                  <a:gd name="connsiteY12" fmla="*/ 1496027 h 2865430"/>
                  <a:gd name="connsiteX13" fmla="*/ 407598 w 1859089"/>
                  <a:gd name="connsiteY13" fmla="*/ 1489435 h 2865430"/>
                  <a:gd name="connsiteX14" fmla="*/ 407517 w 1859089"/>
                  <a:gd name="connsiteY14" fmla="*/ 1502243 h 2865430"/>
                  <a:gd name="connsiteX15" fmla="*/ 464772 w 1859089"/>
                  <a:gd name="connsiteY15" fmla="*/ 1601413 h 2865430"/>
                  <a:gd name="connsiteX0" fmla="*/ 464772 w 464772"/>
                  <a:gd name="connsiteY0" fmla="*/ 1601413 h 1952380"/>
                  <a:gd name="connsiteX1" fmla="*/ 257741 w 464772"/>
                  <a:gd name="connsiteY1" fmla="*/ 1952380 h 1952380"/>
                  <a:gd name="connsiteX2" fmla="*/ 66855 w 464772"/>
                  <a:gd name="connsiteY2" fmla="*/ 1765040 h 1952380"/>
                  <a:gd name="connsiteX3" fmla="*/ 5085 w 464772"/>
                  <a:gd name="connsiteY3" fmla="*/ 1563137 h 1952380"/>
                  <a:gd name="connsiteX4" fmla="*/ 117 w 464772"/>
                  <a:gd name="connsiteY4" fmla="*/ 1506747 h 1952380"/>
                  <a:gd name="connsiteX5" fmla="*/ 0 w 464772"/>
                  <a:gd name="connsiteY5" fmla="*/ 1506085 h 1952380"/>
                  <a:gd name="connsiteX6" fmla="*/ 5920 w 464772"/>
                  <a:gd name="connsiteY6" fmla="*/ 121604 h 1952380"/>
                  <a:gd name="connsiteX7" fmla="*/ 9056 w 464772"/>
                  <a:gd name="connsiteY7" fmla="*/ 92744 h 1952380"/>
                  <a:gd name="connsiteX8" fmla="*/ 206180 w 464772"/>
                  <a:gd name="connsiteY8" fmla="*/ 0 h 1952380"/>
                  <a:gd name="connsiteX9" fmla="*/ 407391 w 464772"/>
                  <a:gd name="connsiteY9" fmla="*/ 116153 h 1952380"/>
                  <a:gd name="connsiteX10" fmla="*/ 406100 w 464772"/>
                  <a:gd name="connsiteY10" fmla="*/ 180636 h 1952380"/>
                  <a:gd name="connsiteX11" fmla="*/ 409165 w 464772"/>
                  <a:gd name="connsiteY11" fmla="*/ 1496027 h 1952380"/>
                  <a:gd name="connsiteX12" fmla="*/ 407598 w 464772"/>
                  <a:gd name="connsiteY12" fmla="*/ 1489435 h 1952380"/>
                  <a:gd name="connsiteX13" fmla="*/ 407517 w 464772"/>
                  <a:gd name="connsiteY13" fmla="*/ 1502243 h 1952380"/>
                  <a:gd name="connsiteX14" fmla="*/ 464772 w 464772"/>
                  <a:gd name="connsiteY14" fmla="*/ 1601413 h 1952380"/>
                  <a:gd name="connsiteX0" fmla="*/ 464772 w 464772"/>
                  <a:gd name="connsiteY0" fmla="*/ 1601413 h 1765040"/>
                  <a:gd name="connsiteX1" fmla="*/ 66855 w 464772"/>
                  <a:gd name="connsiteY1" fmla="*/ 1765040 h 1765040"/>
                  <a:gd name="connsiteX2" fmla="*/ 5085 w 464772"/>
                  <a:gd name="connsiteY2" fmla="*/ 1563137 h 1765040"/>
                  <a:gd name="connsiteX3" fmla="*/ 117 w 464772"/>
                  <a:gd name="connsiteY3" fmla="*/ 1506747 h 1765040"/>
                  <a:gd name="connsiteX4" fmla="*/ 0 w 464772"/>
                  <a:gd name="connsiteY4" fmla="*/ 1506085 h 1765040"/>
                  <a:gd name="connsiteX5" fmla="*/ 5920 w 464772"/>
                  <a:gd name="connsiteY5" fmla="*/ 121604 h 1765040"/>
                  <a:gd name="connsiteX6" fmla="*/ 9056 w 464772"/>
                  <a:gd name="connsiteY6" fmla="*/ 92744 h 1765040"/>
                  <a:gd name="connsiteX7" fmla="*/ 206180 w 464772"/>
                  <a:gd name="connsiteY7" fmla="*/ 0 h 1765040"/>
                  <a:gd name="connsiteX8" fmla="*/ 407391 w 464772"/>
                  <a:gd name="connsiteY8" fmla="*/ 116153 h 1765040"/>
                  <a:gd name="connsiteX9" fmla="*/ 406100 w 464772"/>
                  <a:gd name="connsiteY9" fmla="*/ 180636 h 1765040"/>
                  <a:gd name="connsiteX10" fmla="*/ 409165 w 464772"/>
                  <a:gd name="connsiteY10" fmla="*/ 1496027 h 1765040"/>
                  <a:gd name="connsiteX11" fmla="*/ 407598 w 464772"/>
                  <a:gd name="connsiteY11" fmla="*/ 1489435 h 1765040"/>
                  <a:gd name="connsiteX12" fmla="*/ 407517 w 464772"/>
                  <a:gd name="connsiteY12" fmla="*/ 1502243 h 1765040"/>
                  <a:gd name="connsiteX13" fmla="*/ 464772 w 464772"/>
                  <a:gd name="connsiteY13" fmla="*/ 1601413 h 1765040"/>
                  <a:gd name="connsiteX0" fmla="*/ 407517 w 409165"/>
                  <a:gd name="connsiteY0" fmla="*/ 1502243 h 1765503"/>
                  <a:gd name="connsiteX1" fmla="*/ 66855 w 409165"/>
                  <a:gd name="connsiteY1" fmla="*/ 1765040 h 1765503"/>
                  <a:gd name="connsiteX2" fmla="*/ 5085 w 409165"/>
                  <a:gd name="connsiteY2" fmla="*/ 1563137 h 1765503"/>
                  <a:gd name="connsiteX3" fmla="*/ 117 w 409165"/>
                  <a:gd name="connsiteY3" fmla="*/ 1506747 h 1765503"/>
                  <a:gd name="connsiteX4" fmla="*/ 0 w 409165"/>
                  <a:gd name="connsiteY4" fmla="*/ 1506085 h 1765503"/>
                  <a:gd name="connsiteX5" fmla="*/ 5920 w 409165"/>
                  <a:gd name="connsiteY5" fmla="*/ 121604 h 1765503"/>
                  <a:gd name="connsiteX6" fmla="*/ 9056 w 409165"/>
                  <a:gd name="connsiteY6" fmla="*/ 92744 h 1765503"/>
                  <a:gd name="connsiteX7" fmla="*/ 206180 w 409165"/>
                  <a:gd name="connsiteY7" fmla="*/ 0 h 1765503"/>
                  <a:gd name="connsiteX8" fmla="*/ 407391 w 409165"/>
                  <a:gd name="connsiteY8" fmla="*/ 116153 h 1765503"/>
                  <a:gd name="connsiteX9" fmla="*/ 406100 w 409165"/>
                  <a:gd name="connsiteY9" fmla="*/ 180636 h 1765503"/>
                  <a:gd name="connsiteX10" fmla="*/ 409165 w 409165"/>
                  <a:gd name="connsiteY10" fmla="*/ 1496027 h 1765503"/>
                  <a:gd name="connsiteX11" fmla="*/ 407598 w 409165"/>
                  <a:gd name="connsiteY11" fmla="*/ 1489435 h 1765503"/>
                  <a:gd name="connsiteX12" fmla="*/ 407517 w 409165"/>
                  <a:gd name="connsiteY12" fmla="*/ 1502243 h 1765503"/>
                  <a:gd name="connsiteX0" fmla="*/ 344017 w 409165"/>
                  <a:gd name="connsiteY0" fmla="*/ 1692743 h 1770376"/>
                  <a:gd name="connsiteX1" fmla="*/ 66855 w 409165"/>
                  <a:gd name="connsiteY1" fmla="*/ 1765040 h 1770376"/>
                  <a:gd name="connsiteX2" fmla="*/ 5085 w 409165"/>
                  <a:gd name="connsiteY2" fmla="*/ 1563137 h 1770376"/>
                  <a:gd name="connsiteX3" fmla="*/ 117 w 409165"/>
                  <a:gd name="connsiteY3" fmla="*/ 1506747 h 1770376"/>
                  <a:gd name="connsiteX4" fmla="*/ 0 w 409165"/>
                  <a:gd name="connsiteY4" fmla="*/ 1506085 h 1770376"/>
                  <a:gd name="connsiteX5" fmla="*/ 5920 w 409165"/>
                  <a:gd name="connsiteY5" fmla="*/ 121604 h 1770376"/>
                  <a:gd name="connsiteX6" fmla="*/ 9056 w 409165"/>
                  <a:gd name="connsiteY6" fmla="*/ 92744 h 1770376"/>
                  <a:gd name="connsiteX7" fmla="*/ 206180 w 409165"/>
                  <a:gd name="connsiteY7" fmla="*/ 0 h 1770376"/>
                  <a:gd name="connsiteX8" fmla="*/ 407391 w 409165"/>
                  <a:gd name="connsiteY8" fmla="*/ 116153 h 1770376"/>
                  <a:gd name="connsiteX9" fmla="*/ 406100 w 409165"/>
                  <a:gd name="connsiteY9" fmla="*/ 180636 h 1770376"/>
                  <a:gd name="connsiteX10" fmla="*/ 409165 w 409165"/>
                  <a:gd name="connsiteY10" fmla="*/ 1496027 h 1770376"/>
                  <a:gd name="connsiteX11" fmla="*/ 407598 w 409165"/>
                  <a:gd name="connsiteY11" fmla="*/ 1489435 h 1770376"/>
                  <a:gd name="connsiteX12" fmla="*/ 344017 w 409165"/>
                  <a:gd name="connsiteY12" fmla="*/ 1692743 h 177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9165" h="1770376">
                    <a:moveTo>
                      <a:pt x="344017" y="1692743"/>
                    </a:moveTo>
                    <a:cubicBezTo>
                      <a:pt x="287227" y="1738677"/>
                      <a:pt x="123344" y="1786641"/>
                      <a:pt x="66855" y="1765040"/>
                    </a:cubicBezTo>
                    <a:cubicBezTo>
                      <a:pt x="10366" y="1743439"/>
                      <a:pt x="7680" y="1615891"/>
                      <a:pt x="5085" y="1563137"/>
                    </a:cubicBezTo>
                    <a:lnTo>
                      <a:pt x="117" y="1506747"/>
                    </a:lnTo>
                    <a:cubicBezTo>
                      <a:pt x="78" y="1506527"/>
                      <a:pt x="39" y="1506304"/>
                      <a:pt x="0" y="1506085"/>
                    </a:cubicBezTo>
                    <a:cubicBezTo>
                      <a:pt x="1973" y="1044591"/>
                      <a:pt x="3947" y="583097"/>
                      <a:pt x="5920" y="121604"/>
                    </a:cubicBezTo>
                    <a:lnTo>
                      <a:pt x="9056" y="92744"/>
                    </a:lnTo>
                    <a:cubicBezTo>
                      <a:pt x="27818" y="39815"/>
                      <a:pt x="108945" y="0"/>
                      <a:pt x="206180" y="0"/>
                    </a:cubicBezTo>
                    <a:cubicBezTo>
                      <a:pt x="317306" y="0"/>
                      <a:pt x="407391" y="52003"/>
                      <a:pt x="407391" y="116153"/>
                    </a:cubicBezTo>
                    <a:cubicBezTo>
                      <a:pt x="406961" y="137647"/>
                      <a:pt x="406530" y="159142"/>
                      <a:pt x="406100" y="180636"/>
                    </a:cubicBezTo>
                    <a:cubicBezTo>
                      <a:pt x="405529" y="508740"/>
                      <a:pt x="408958" y="1282249"/>
                      <a:pt x="409165" y="1496027"/>
                    </a:cubicBezTo>
                    <a:lnTo>
                      <a:pt x="407598" y="1489435"/>
                    </a:lnTo>
                    <a:cubicBezTo>
                      <a:pt x="407570" y="1493705"/>
                      <a:pt x="344045" y="1688472"/>
                      <a:pt x="344017" y="1692743"/>
                    </a:cubicBezTo>
                    <a:close/>
                  </a:path>
                </a:pathLst>
              </a:custGeom>
              <a:gradFill flip="none" rotWithShape="1">
                <a:gsLst>
                  <a:gs pos="100000">
                    <a:schemeClr val="accent2">
                      <a:lumMod val="0"/>
                      <a:lumOff val="100000"/>
                      <a:alpha val="0"/>
                    </a:schemeClr>
                  </a:gs>
                  <a:gs pos="43000">
                    <a:schemeClr val="accent4"/>
                  </a:gs>
                </a:gsLst>
                <a:lin ang="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67" name="Freeform: Shape 766">
                <a:extLst>
                  <a:ext uri="{FF2B5EF4-FFF2-40B4-BE49-F238E27FC236}">
                    <a16:creationId xmlns:a16="http://schemas.microsoft.com/office/drawing/2014/main" id="{F3375666-45C2-44EB-B903-5C3E9A742514}"/>
                  </a:ext>
                </a:extLst>
              </p:cNvPr>
              <p:cNvSpPr/>
              <p:nvPr/>
            </p:nvSpPr>
            <p:spPr bwMode="gray">
              <a:xfrm flipH="1" flipV="1">
                <a:off x="-3473355" y="3502137"/>
                <a:ext cx="2139562" cy="1277355"/>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206180 w 4212730"/>
                  <a:gd name="connsiteY9" fmla="*/ 2392022 h 5285288"/>
                  <a:gd name="connsiteX10" fmla="*/ 407391 w 4212730"/>
                  <a:gd name="connsiteY10" fmla="*/ 2508175 h 5285288"/>
                  <a:gd name="connsiteX11" fmla="*/ 406100 w 4212730"/>
                  <a:gd name="connsiteY11" fmla="*/ 2572658 h 5285288"/>
                  <a:gd name="connsiteX12" fmla="*/ 409165 w 4212730"/>
                  <a:gd name="connsiteY12" fmla="*/ 3888049 h 5285288"/>
                  <a:gd name="connsiteX13" fmla="*/ 407598 w 4212730"/>
                  <a:gd name="connsiteY13" fmla="*/ 3881457 h 5285288"/>
                  <a:gd name="connsiteX14" fmla="*/ 407517 w 4212730"/>
                  <a:gd name="connsiteY14" fmla="*/ 3894265 h 5285288"/>
                  <a:gd name="connsiteX15" fmla="*/ 464772 w 4212730"/>
                  <a:gd name="connsiteY15" fmla="*/ 3993435 h 5285288"/>
                  <a:gd name="connsiteX16" fmla="*/ 1965744 w 4212730"/>
                  <a:gd name="connsiteY16" fmla="*/ 4865353 h 5285288"/>
                  <a:gd name="connsiteX17" fmla="*/ 1966088 w 4212730"/>
                  <a:gd name="connsiteY17" fmla="*/ 4865745 h 5285288"/>
                  <a:gd name="connsiteX18" fmla="*/ 1988129 w 4212730"/>
                  <a:gd name="connsiteY18" fmla="*/ 4859558 h 5285288"/>
                  <a:gd name="connsiteX19" fmla="*/ 2034209 w 4212730"/>
                  <a:gd name="connsiteY19" fmla="*/ 4799004 h 5285288"/>
                  <a:gd name="connsiteX20" fmla="*/ 2036053 w 4212730"/>
                  <a:gd name="connsiteY20" fmla="*/ 4105978 h 5285288"/>
                  <a:gd name="connsiteX21" fmla="*/ 2038324 w 4212730"/>
                  <a:gd name="connsiteY21" fmla="*/ 1054770 h 5285288"/>
                  <a:gd name="connsiteX22" fmla="*/ 2037139 w 4212730"/>
                  <a:gd name="connsiteY22" fmla="*/ 1017192 h 5285288"/>
                  <a:gd name="connsiteX23" fmla="*/ 2035104 w 4212730"/>
                  <a:gd name="connsiteY23" fmla="*/ 494424 h 5285288"/>
                  <a:gd name="connsiteX24" fmla="*/ 2080595 w 4212730"/>
                  <a:gd name="connsiteY24" fmla="*/ 171698 h 5285288"/>
                  <a:gd name="connsiteX25" fmla="*/ 2245202 w 4212730"/>
                  <a:gd name="connsiteY25" fmla="*/ 25112 h 5285288"/>
                  <a:gd name="connsiteX26" fmla="*/ 2444848 w 4212730"/>
                  <a:gd name="connsiteY26" fmla="*/ 3326 h 5285288"/>
                  <a:gd name="connsiteX27" fmla="*/ 2620552 w 4212730"/>
                  <a:gd name="connsiteY27" fmla="*/ 37548 h 5285288"/>
                  <a:gd name="connsiteX28" fmla="*/ 4171705 w 4212730"/>
                  <a:gd name="connsiteY28" fmla="*/ 924343 h 5285288"/>
                  <a:gd name="connsiteX29" fmla="*/ 4172662 w 4212730"/>
                  <a:gd name="connsiteY29" fmla="*/ 1149844 h 5285288"/>
                  <a:gd name="connsiteX30" fmla="*/ 3998697 w 4212730"/>
                  <a:gd name="connsiteY30" fmla="*/ 1269783 h 5285288"/>
                  <a:gd name="connsiteX31" fmla="*/ 3978850 w 4212730"/>
                  <a:gd name="connsiteY31" fmla="*/ 1262485 h 5285288"/>
                  <a:gd name="connsiteX32" fmla="*/ 2513375 w 4212730"/>
                  <a:gd name="connsiteY32" fmla="*/ 431577 h 5285288"/>
                  <a:gd name="connsiteX33" fmla="*/ 2513032 w 4212730"/>
                  <a:gd name="connsiteY33" fmla="*/ 431184 h 5285288"/>
                  <a:gd name="connsiteX34" fmla="*/ 2490877 w 4212730"/>
                  <a:gd name="connsiteY34" fmla="*/ 437405 h 5285288"/>
                  <a:gd name="connsiteX35" fmla="*/ 2448227 w 4212730"/>
                  <a:gd name="connsiteY35" fmla="*/ 539231 h 5285288"/>
                  <a:gd name="connsiteX36" fmla="*/ 2448222 w 4212730"/>
                  <a:gd name="connsiteY36" fmla="*/ 1065628 h 5285288"/>
                  <a:gd name="connsiteX37" fmla="*/ 2445445 w 4212730"/>
                  <a:gd name="connsiteY37" fmla="*/ 1081825 h 5285288"/>
                  <a:gd name="connsiteX38" fmla="*/ 2442619 w 4212730"/>
                  <a:gd name="connsiteY38" fmla="*/ 1858316 h 5285288"/>
                  <a:gd name="connsiteX39" fmla="*/ 2444476 w 4212730"/>
                  <a:gd name="connsiteY39" fmla="*/ 1861834 h 5285288"/>
                  <a:gd name="connsiteX40" fmla="*/ 2443809 w 4212730"/>
                  <a:gd name="connsiteY40" fmla="*/ 3038034 h 5285288"/>
                  <a:gd name="connsiteX41" fmla="*/ 2441669 w 4212730"/>
                  <a:gd name="connsiteY41" fmla="*/ 4802821 h 5285288"/>
                  <a:gd name="connsiteX42" fmla="*/ 2374871 w 4212730"/>
                  <a:gd name="connsiteY42" fmla="*/ 5061801 h 5285288"/>
                  <a:gd name="connsiteX43" fmla="*/ 2230903 w 4212730"/>
                  <a:gd name="connsiteY43" fmla="*/ 5216241 h 5285288"/>
                  <a:gd name="connsiteX44" fmla="*/ 2020267 w 4212730"/>
                  <a:gd name="connsiteY44" fmla="*/ 5284752 h 5285288"/>
                  <a:gd name="connsiteX45" fmla="*/ 1970713 w 4212730"/>
                  <a:gd name="connsiteY45"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206180 w 4212730"/>
                  <a:gd name="connsiteY8" fmla="*/ 2392022 h 5285288"/>
                  <a:gd name="connsiteX9" fmla="*/ 407391 w 4212730"/>
                  <a:gd name="connsiteY9" fmla="*/ 2508175 h 5285288"/>
                  <a:gd name="connsiteX10" fmla="*/ 406100 w 4212730"/>
                  <a:gd name="connsiteY10" fmla="*/ 2572658 h 5285288"/>
                  <a:gd name="connsiteX11" fmla="*/ 409165 w 4212730"/>
                  <a:gd name="connsiteY11" fmla="*/ 3888049 h 5285288"/>
                  <a:gd name="connsiteX12" fmla="*/ 407598 w 4212730"/>
                  <a:gd name="connsiteY12" fmla="*/ 3881457 h 5285288"/>
                  <a:gd name="connsiteX13" fmla="*/ 407517 w 4212730"/>
                  <a:gd name="connsiteY13" fmla="*/ 3894265 h 5285288"/>
                  <a:gd name="connsiteX14" fmla="*/ 464772 w 4212730"/>
                  <a:gd name="connsiteY14" fmla="*/ 3993435 h 5285288"/>
                  <a:gd name="connsiteX15" fmla="*/ 1965744 w 4212730"/>
                  <a:gd name="connsiteY15" fmla="*/ 4865353 h 5285288"/>
                  <a:gd name="connsiteX16" fmla="*/ 1966088 w 4212730"/>
                  <a:gd name="connsiteY16" fmla="*/ 4865745 h 5285288"/>
                  <a:gd name="connsiteX17" fmla="*/ 1988129 w 4212730"/>
                  <a:gd name="connsiteY17" fmla="*/ 4859558 h 5285288"/>
                  <a:gd name="connsiteX18" fmla="*/ 2034209 w 4212730"/>
                  <a:gd name="connsiteY18" fmla="*/ 4799004 h 5285288"/>
                  <a:gd name="connsiteX19" fmla="*/ 2036053 w 4212730"/>
                  <a:gd name="connsiteY19" fmla="*/ 4105978 h 5285288"/>
                  <a:gd name="connsiteX20" fmla="*/ 2038324 w 4212730"/>
                  <a:gd name="connsiteY20" fmla="*/ 1054770 h 5285288"/>
                  <a:gd name="connsiteX21" fmla="*/ 2037139 w 4212730"/>
                  <a:gd name="connsiteY21" fmla="*/ 1017192 h 5285288"/>
                  <a:gd name="connsiteX22" fmla="*/ 2035104 w 4212730"/>
                  <a:gd name="connsiteY22" fmla="*/ 494424 h 5285288"/>
                  <a:gd name="connsiteX23" fmla="*/ 2080595 w 4212730"/>
                  <a:gd name="connsiteY23" fmla="*/ 171698 h 5285288"/>
                  <a:gd name="connsiteX24" fmla="*/ 2245202 w 4212730"/>
                  <a:gd name="connsiteY24" fmla="*/ 25112 h 5285288"/>
                  <a:gd name="connsiteX25" fmla="*/ 2444848 w 4212730"/>
                  <a:gd name="connsiteY25" fmla="*/ 3326 h 5285288"/>
                  <a:gd name="connsiteX26" fmla="*/ 2620552 w 4212730"/>
                  <a:gd name="connsiteY26" fmla="*/ 37548 h 5285288"/>
                  <a:gd name="connsiteX27" fmla="*/ 4171705 w 4212730"/>
                  <a:gd name="connsiteY27" fmla="*/ 924343 h 5285288"/>
                  <a:gd name="connsiteX28" fmla="*/ 4172662 w 4212730"/>
                  <a:gd name="connsiteY28" fmla="*/ 1149844 h 5285288"/>
                  <a:gd name="connsiteX29" fmla="*/ 3998697 w 4212730"/>
                  <a:gd name="connsiteY29" fmla="*/ 1269783 h 5285288"/>
                  <a:gd name="connsiteX30" fmla="*/ 3978850 w 4212730"/>
                  <a:gd name="connsiteY30" fmla="*/ 1262485 h 5285288"/>
                  <a:gd name="connsiteX31" fmla="*/ 2513375 w 4212730"/>
                  <a:gd name="connsiteY31" fmla="*/ 431577 h 5285288"/>
                  <a:gd name="connsiteX32" fmla="*/ 2513032 w 4212730"/>
                  <a:gd name="connsiteY32" fmla="*/ 431184 h 5285288"/>
                  <a:gd name="connsiteX33" fmla="*/ 2490877 w 4212730"/>
                  <a:gd name="connsiteY33" fmla="*/ 437405 h 5285288"/>
                  <a:gd name="connsiteX34" fmla="*/ 2448227 w 4212730"/>
                  <a:gd name="connsiteY34" fmla="*/ 539231 h 5285288"/>
                  <a:gd name="connsiteX35" fmla="*/ 2448222 w 4212730"/>
                  <a:gd name="connsiteY35" fmla="*/ 1065628 h 5285288"/>
                  <a:gd name="connsiteX36" fmla="*/ 2445445 w 4212730"/>
                  <a:gd name="connsiteY36" fmla="*/ 1081825 h 5285288"/>
                  <a:gd name="connsiteX37" fmla="*/ 2442619 w 4212730"/>
                  <a:gd name="connsiteY37" fmla="*/ 1858316 h 5285288"/>
                  <a:gd name="connsiteX38" fmla="*/ 2444476 w 4212730"/>
                  <a:gd name="connsiteY38" fmla="*/ 1861834 h 5285288"/>
                  <a:gd name="connsiteX39" fmla="*/ 2443809 w 4212730"/>
                  <a:gd name="connsiteY39" fmla="*/ 3038034 h 5285288"/>
                  <a:gd name="connsiteX40" fmla="*/ 2441669 w 4212730"/>
                  <a:gd name="connsiteY40" fmla="*/ 4802821 h 5285288"/>
                  <a:gd name="connsiteX41" fmla="*/ 2374871 w 4212730"/>
                  <a:gd name="connsiteY41" fmla="*/ 5061801 h 5285288"/>
                  <a:gd name="connsiteX42" fmla="*/ 2230903 w 4212730"/>
                  <a:gd name="connsiteY42" fmla="*/ 5216241 h 5285288"/>
                  <a:gd name="connsiteX43" fmla="*/ 2020267 w 4212730"/>
                  <a:gd name="connsiteY43" fmla="*/ 5284752 h 5285288"/>
                  <a:gd name="connsiteX44" fmla="*/ 1970713 w 4212730"/>
                  <a:gd name="connsiteY44"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7391 w 4212730"/>
                  <a:gd name="connsiteY8" fmla="*/ 2508175 h 5285288"/>
                  <a:gd name="connsiteX9" fmla="*/ 406100 w 4212730"/>
                  <a:gd name="connsiteY9" fmla="*/ 2572658 h 5285288"/>
                  <a:gd name="connsiteX10" fmla="*/ 409165 w 4212730"/>
                  <a:gd name="connsiteY10" fmla="*/ 3888049 h 5285288"/>
                  <a:gd name="connsiteX11" fmla="*/ 407598 w 4212730"/>
                  <a:gd name="connsiteY11" fmla="*/ 3881457 h 5285288"/>
                  <a:gd name="connsiteX12" fmla="*/ 407517 w 4212730"/>
                  <a:gd name="connsiteY12" fmla="*/ 3894265 h 5285288"/>
                  <a:gd name="connsiteX13" fmla="*/ 464772 w 4212730"/>
                  <a:gd name="connsiteY13" fmla="*/ 3993435 h 5285288"/>
                  <a:gd name="connsiteX14" fmla="*/ 1965744 w 4212730"/>
                  <a:gd name="connsiteY14" fmla="*/ 4865353 h 5285288"/>
                  <a:gd name="connsiteX15" fmla="*/ 1966088 w 4212730"/>
                  <a:gd name="connsiteY15" fmla="*/ 4865745 h 5285288"/>
                  <a:gd name="connsiteX16" fmla="*/ 1988129 w 4212730"/>
                  <a:gd name="connsiteY16" fmla="*/ 4859558 h 5285288"/>
                  <a:gd name="connsiteX17" fmla="*/ 2034209 w 4212730"/>
                  <a:gd name="connsiteY17" fmla="*/ 4799004 h 5285288"/>
                  <a:gd name="connsiteX18" fmla="*/ 2036053 w 4212730"/>
                  <a:gd name="connsiteY18" fmla="*/ 4105978 h 5285288"/>
                  <a:gd name="connsiteX19" fmla="*/ 2038324 w 4212730"/>
                  <a:gd name="connsiteY19" fmla="*/ 1054770 h 5285288"/>
                  <a:gd name="connsiteX20" fmla="*/ 2037139 w 4212730"/>
                  <a:gd name="connsiteY20" fmla="*/ 1017192 h 5285288"/>
                  <a:gd name="connsiteX21" fmla="*/ 2035104 w 4212730"/>
                  <a:gd name="connsiteY21" fmla="*/ 494424 h 5285288"/>
                  <a:gd name="connsiteX22" fmla="*/ 2080595 w 4212730"/>
                  <a:gd name="connsiteY22" fmla="*/ 171698 h 5285288"/>
                  <a:gd name="connsiteX23" fmla="*/ 2245202 w 4212730"/>
                  <a:gd name="connsiteY23" fmla="*/ 25112 h 5285288"/>
                  <a:gd name="connsiteX24" fmla="*/ 2444848 w 4212730"/>
                  <a:gd name="connsiteY24" fmla="*/ 3326 h 5285288"/>
                  <a:gd name="connsiteX25" fmla="*/ 2620552 w 4212730"/>
                  <a:gd name="connsiteY25" fmla="*/ 37548 h 5285288"/>
                  <a:gd name="connsiteX26" fmla="*/ 4171705 w 4212730"/>
                  <a:gd name="connsiteY26" fmla="*/ 924343 h 5285288"/>
                  <a:gd name="connsiteX27" fmla="*/ 4172662 w 4212730"/>
                  <a:gd name="connsiteY27" fmla="*/ 1149844 h 5285288"/>
                  <a:gd name="connsiteX28" fmla="*/ 3998697 w 4212730"/>
                  <a:gd name="connsiteY28" fmla="*/ 1269783 h 5285288"/>
                  <a:gd name="connsiteX29" fmla="*/ 3978850 w 4212730"/>
                  <a:gd name="connsiteY29" fmla="*/ 1262485 h 5285288"/>
                  <a:gd name="connsiteX30" fmla="*/ 2513375 w 4212730"/>
                  <a:gd name="connsiteY30" fmla="*/ 431577 h 5285288"/>
                  <a:gd name="connsiteX31" fmla="*/ 2513032 w 4212730"/>
                  <a:gd name="connsiteY31" fmla="*/ 431184 h 5285288"/>
                  <a:gd name="connsiteX32" fmla="*/ 2490877 w 4212730"/>
                  <a:gd name="connsiteY32" fmla="*/ 437405 h 5285288"/>
                  <a:gd name="connsiteX33" fmla="*/ 2448227 w 4212730"/>
                  <a:gd name="connsiteY33" fmla="*/ 539231 h 5285288"/>
                  <a:gd name="connsiteX34" fmla="*/ 2448222 w 4212730"/>
                  <a:gd name="connsiteY34" fmla="*/ 1065628 h 5285288"/>
                  <a:gd name="connsiteX35" fmla="*/ 2445445 w 4212730"/>
                  <a:gd name="connsiteY35" fmla="*/ 1081825 h 5285288"/>
                  <a:gd name="connsiteX36" fmla="*/ 2442619 w 4212730"/>
                  <a:gd name="connsiteY36" fmla="*/ 1858316 h 5285288"/>
                  <a:gd name="connsiteX37" fmla="*/ 2444476 w 4212730"/>
                  <a:gd name="connsiteY37" fmla="*/ 1861834 h 5285288"/>
                  <a:gd name="connsiteX38" fmla="*/ 2443809 w 4212730"/>
                  <a:gd name="connsiteY38" fmla="*/ 3038034 h 5285288"/>
                  <a:gd name="connsiteX39" fmla="*/ 2441669 w 4212730"/>
                  <a:gd name="connsiteY39" fmla="*/ 4802821 h 5285288"/>
                  <a:gd name="connsiteX40" fmla="*/ 2374871 w 4212730"/>
                  <a:gd name="connsiteY40" fmla="*/ 5061801 h 5285288"/>
                  <a:gd name="connsiteX41" fmla="*/ 2230903 w 4212730"/>
                  <a:gd name="connsiteY41" fmla="*/ 5216241 h 5285288"/>
                  <a:gd name="connsiteX42" fmla="*/ 2020267 w 4212730"/>
                  <a:gd name="connsiteY42" fmla="*/ 5284752 h 5285288"/>
                  <a:gd name="connsiteX43" fmla="*/ 1970713 w 4212730"/>
                  <a:gd name="connsiteY43"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6100 w 4212730"/>
                  <a:gd name="connsiteY8" fmla="*/ 2572658 h 5285288"/>
                  <a:gd name="connsiteX9" fmla="*/ 409165 w 4212730"/>
                  <a:gd name="connsiteY9" fmla="*/ 3888049 h 5285288"/>
                  <a:gd name="connsiteX10" fmla="*/ 407598 w 4212730"/>
                  <a:gd name="connsiteY10" fmla="*/ 3881457 h 5285288"/>
                  <a:gd name="connsiteX11" fmla="*/ 407517 w 4212730"/>
                  <a:gd name="connsiteY11" fmla="*/ 3894265 h 5285288"/>
                  <a:gd name="connsiteX12" fmla="*/ 464772 w 4212730"/>
                  <a:gd name="connsiteY12" fmla="*/ 3993435 h 5285288"/>
                  <a:gd name="connsiteX13" fmla="*/ 1965744 w 4212730"/>
                  <a:gd name="connsiteY13" fmla="*/ 4865353 h 5285288"/>
                  <a:gd name="connsiteX14" fmla="*/ 1966088 w 4212730"/>
                  <a:gd name="connsiteY14" fmla="*/ 4865745 h 5285288"/>
                  <a:gd name="connsiteX15" fmla="*/ 1988129 w 4212730"/>
                  <a:gd name="connsiteY15" fmla="*/ 4859558 h 5285288"/>
                  <a:gd name="connsiteX16" fmla="*/ 2034209 w 4212730"/>
                  <a:gd name="connsiteY16" fmla="*/ 4799004 h 5285288"/>
                  <a:gd name="connsiteX17" fmla="*/ 2036053 w 4212730"/>
                  <a:gd name="connsiteY17" fmla="*/ 4105978 h 5285288"/>
                  <a:gd name="connsiteX18" fmla="*/ 2038324 w 4212730"/>
                  <a:gd name="connsiteY18" fmla="*/ 1054770 h 5285288"/>
                  <a:gd name="connsiteX19" fmla="*/ 2037139 w 4212730"/>
                  <a:gd name="connsiteY19" fmla="*/ 1017192 h 5285288"/>
                  <a:gd name="connsiteX20" fmla="*/ 2035104 w 4212730"/>
                  <a:gd name="connsiteY20" fmla="*/ 494424 h 5285288"/>
                  <a:gd name="connsiteX21" fmla="*/ 2080595 w 4212730"/>
                  <a:gd name="connsiteY21" fmla="*/ 171698 h 5285288"/>
                  <a:gd name="connsiteX22" fmla="*/ 2245202 w 4212730"/>
                  <a:gd name="connsiteY22" fmla="*/ 25112 h 5285288"/>
                  <a:gd name="connsiteX23" fmla="*/ 2444848 w 4212730"/>
                  <a:gd name="connsiteY23" fmla="*/ 3326 h 5285288"/>
                  <a:gd name="connsiteX24" fmla="*/ 2620552 w 4212730"/>
                  <a:gd name="connsiteY24" fmla="*/ 37548 h 5285288"/>
                  <a:gd name="connsiteX25" fmla="*/ 4171705 w 4212730"/>
                  <a:gd name="connsiteY25" fmla="*/ 924343 h 5285288"/>
                  <a:gd name="connsiteX26" fmla="*/ 4172662 w 4212730"/>
                  <a:gd name="connsiteY26" fmla="*/ 1149844 h 5285288"/>
                  <a:gd name="connsiteX27" fmla="*/ 3998697 w 4212730"/>
                  <a:gd name="connsiteY27" fmla="*/ 1269783 h 5285288"/>
                  <a:gd name="connsiteX28" fmla="*/ 3978850 w 4212730"/>
                  <a:gd name="connsiteY28" fmla="*/ 1262485 h 5285288"/>
                  <a:gd name="connsiteX29" fmla="*/ 2513375 w 4212730"/>
                  <a:gd name="connsiteY29" fmla="*/ 431577 h 5285288"/>
                  <a:gd name="connsiteX30" fmla="*/ 2513032 w 4212730"/>
                  <a:gd name="connsiteY30" fmla="*/ 431184 h 5285288"/>
                  <a:gd name="connsiteX31" fmla="*/ 2490877 w 4212730"/>
                  <a:gd name="connsiteY31" fmla="*/ 437405 h 5285288"/>
                  <a:gd name="connsiteX32" fmla="*/ 2448227 w 4212730"/>
                  <a:gd name="connsiteY32" fmla="*/ 539231 h 5285288"/>
                  <a:gd name="connsiteX33" fmla="*/ 2448222 w 4212730"/>
                  <a:gd name="connsiteY33" fmla="*/ 1065628 h 5285288"/>
                  <a:gd name="connsiteX34" fmla="*/ 2445445 w 4212730"/>
                  <a:gd name="connsiteY34" fmla="*/ 1081825 h 5285288"/>
                  <a:gd name="connsiteX35" fmla="*/ 2442619 w 4212730"/>
                  <a:gd name="connsiteY35" fmla="*/ 1858316 h 5285288"/>
                  <a:gd name="connsiteX36" fmla="*/ 2444476 w 4212730"/>
                  <a:gd name="connsiteY36" fmla="*/ 1861834 h 5285288"/>
                  <a:gd name="connsiteX37" fmla="*/ 2443809 w 4212730"/>
                  <a:gd name="connsiteY37" fmla="*/ 3038034 h 5285288"/>
                  <a:gd name="connsiteX38" fmla="*/ 2441669 w 4212730"/>
                  <a:gd name="connsiteY38" fmla="*/ 4802821 h 5285288"/>
                  <a:gd name="connsiteX39" fmla="*/ 2374871 w 4212730"/>
                  <a:gd name="connsiteY39" fmla="*/ 5061801 h 5285288"/>
                  <a:gd name="connsiteX40" fmla="*/ 2230903 w 4212730"/>
                  <a:gd name="connsiteY40" fmla="*/ 5216241 h 5285288"/>
                  <a:gd name="connsiteX41" fmla="*/ 2020267 w 4212730"/>
                  <a:gd name="connsiteY41" fmla="*/ 5284752 h 5285288"/>
                  <a:gd name="connsiteX42" fmla="*/ 1970713 w 4212730"/>
                  <a:gd name="connsiteY42"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9165 w 4212730"/>
                  <a:gd name="connsiteY8" fmla="*/ 3888049 h 5285288"/>
                  <a:gd name="connsiteX9" fmla="*/ 407598 w 4212730"/>
                  <a:gd name="connsiteY9" fmla="*/ 3881457 h 5285288"/>
                  <a:gd name="connsiteX10" fmla="*/ 407517 w 4212730"/>
                  <a:gd name="connsiteY10" fmla="*/ 3894265 h 5285288"/>
                  <a:gd name="connsiteX11" fmla="*/ 464772 w 4212730"/>
                  <a:gd name="connsiteY11" fmla="*/ 3993435 h 5285288"/>
                  <a:gd name="connsiteX12" fmla="*/ 1965744 w 4212730"/>
                  <a:gd name="connsiteY12" fmla="*/ 4865353 h 5285288"/>
                  <a:gd name="connsiteX13" fmla="*/ 1966088 w 4212730"/>
                  <a:gd name="connsiteY13" fmla="*/ 4865745 h 5285288"/>
                  <a:gd name="connsiteX14" fmla="*/ 1988129 w 4212730"/>
                  <a:gd name="connsiteY14" fmla="*/ 4859558 h 5285288"/>
                  <a:gd name="connsiteX15" fmla="*/ 2034209 w 4212730"/>
                  <a:gd name="connsiteY15" fmla="*/ 4799004 h 5285288"/>
                  <a:gd name="connsiteX16" fmla="*/ 2036053 w 4212730"/>
                  <a:gd name="connsiteY16" fmla="*/ 4105978 h 5285288"/>
                  <a:gd name="connsiteX17" fmla="*/ 2038324 w 4212730"/>
                  <a:gd name="connsiteY17" fmla="*/ 1054770 h 5285288"/>
                  <a:gd name="connsiteX18" fmla="*/ 2037139 w 4212730"/>
                  <a:gd name="connsiteY18" fmla="*/ 1017192 h 5285288"/>
                  <a:gd name="connsiteX19" fmla="*/ 2035104 w 4212730"/>
                  <a:gd name="connsiteY19" fmla="*/ 494424 h 5285288"/>
                  <a:gd name="connsiteX20" fmla="*/ 2080595 w 4212730"/>
                  <a:gd name="connsiteY20" fmla="*/ 171698 h 5285288"/>
                  <a:gd name="connsiteX21" fmla="*/ 2245202 w 4212730"/>
                  <a:gd name="connsiteY21" fmla="*/ 25112 h 5285288"/>
                  <a:gd name="connsiteX22" fmla="*/ 2444848 w 4212730"/>
                  <a:gd name="connsiteY22" fmla="*/ 3326 h 5285288"/>
                  <a:gd name="connsiteX23" fmla="*/ 2620552 w 4212730"/>
                  <a:gd name="connsiteY23" fmla="*/ 37548 h 5285288"/>
                  <a:gd name="connsiteX24" fmla="*/ 4171705 w 4212730"/>
                  <a:gd name="connsiteY24" fmla="*/ 924343 h 5285288"/>
                  <a:gd name="connsiteX25" fmla="*/ 4172662 w 4212730"/>
                  <a:gd name="connsiteY25" fmla="*/ 1149844 h 5285288"/>
                  <a:gd name="connsiteX26" fmla="*/ 3998697 w 4212730"/>
                  <a:gd name="connsiteY26" fmla="*/ 1269783 h 5285288"/>
                  <a:gd name="connsiteX27" fmla="*/ 3978850 w 4212730"/>
                  <a:gd name="connsiteY27" fmla="*/ 1262485 h 5285288"/>
                  <a:gd name="connsiteX28" fmla="*/ 2513375 w 4212730"/>
                  <a:gd name="connsiteY28" fmla="*/ 431577 h 5285288"/>
                  <a:gd name="connsiteX29" fmla="*/ 2513032 w 4212730"/>
                  <a:gd name="connsiteY29" fmla="*/ 431184 h 5285288"/>
                  <a:gd name="connsiteX30" fmla="*/ 2490877 w 4212730"/>
                  <a:gd name="connsiteY30" fmla="*/ 437405 h 5285288"/>
                  <a:gd name="connsiteX31" fmla="*/ 2448227 w 4212730"/>
                  <a:gd name="connsiteY31" fmla="*/ 539231 h 5285288"/>
                  <a:gd name="connsiteX32" fmla="*/ 2448222 w 4212730"/>
                  <a:gd name="connsiteY32" fmla="*/ 1065628 h 5285288"/>
                  <a:gd name="connsiteX33" fmla="*/ 2445445 w 4212730"/>
                  <a:gd name="connsiteY33" fmla="*/ 1081825 h 5285288"/>
                  <a:gd name="connsiteX34" fmla="*/ 2442619 w 4212730"/>
                  <a:gd name="connsiteY34" fmla="*/ 1858316 h 5285288"/>
                  <a:gd name="connsiteX35" fmla="*/ 2444476 w 4212730"/>
                  <a:gd name="connsiteY35" fmla="*/ 1861834 h 5285288"/>
                  <a:gd name="connsiteX36" fmla="*/ 2443809 w 4212730"/>
                  <a:gd name="connsiteY36" fmla="*/ 3038034 h 5285288"/>
                  <a:gd name="connsiteX37" fmla="*/ 2441669 w 4212730"/>
                  <a:gd name="connsiteY37" fmla="*/ 4802821 h 5285288"/>
                  <a:gd name="connsiteX38" fmla="*/ 2374871 w 4212730"/>
                  <a:gd name="connsiteY38" fmla="*/ 5061801 h 5285288"/>
                  <a:gd name="connsiteX39" fmla="*/ 2230903 w 4212730"/>
                  <a:gd name="connsiteY39" fmla="*/ 5216241 h 5285288"/>
                  <a:gd name="connsiteX40" fmla="*/ 2020267 w 4212730"/>
                  <a:gd name="connsiteY40" fmla="*/ 5284752 h 5285288"/>
                  <a:gd name="connsiteX41" fmla="*/ 1970713 w 4212730"/>
                  <a:gd name="connsiteY41" fmla="*/ 5285252 h 5285288"/>
                  <a:gd name="connsiteX0" fmla="*/ 1970596 w 4212613"/>
                  <a:gd name="connsiteY0" fmla="*/ 5285252 h 5285288"/>
                  <a:gd name="connsiteX1" fmla="*/ 1858972 w 4212613"/>
                  <a:gd name="connsiteY1" fmla="*/ 5257452 h 5285288"/>
                  <a:gd name="connsiteX2" fmla="*/ 1798971 w 4212613"/>
                  <a:gd name="connsiteY2" fmla="*/ 5227600 h 5285288"/>
                  <a:gd name="connsiteX3" fmla="*/ 257624 w 4212613"/>
                  <a:gd name="connsiteY3" fmla="*/ 4344402 h 5285288"/>
                  <a:gd name="connsiteX4" fmla="*/ 66738 w 4212613"/>
                  <a:gd name="connsiteY4" fmla="*/ 4157062 h 5285288"/>
                  <a:gd name="connsiteX5" fmla="*/ 4968 w 4212613"/>
                  <a:gd name="connsiteY5" fmla="*/ 3955159 h 5285288"/>
                  <a:gd name="connsiteX6" fmla="*/ 0 w 4212613"/>
                  <a:gd name="connsiteY6" fmla="*/ 3898769 h 5285288"/>
                  <a:gd name="connsiteX7" fmla="*/ 409048 w 4212613"/>
                  <a:gd name="connsiteY7" fmla="*/ 3888049 h 5285288"/>
                  <a:gd name="connsiteX8" fmla="*/ 407481 w 4212613"/>
                  <a:gd name="connsiteY8" fmla="*/ 3881457 h 5285288"/>
                  <a:gd name="connsiteX9" fmla="*/ 407400 w 4212613"/>
                  <a:gd name="connsiteY9" fmla="*/ 3894265 h 5285288"/>
                  <a:gd name="connsiteX10" fmla="*/ 464655 w 4212613"/>
                  <a:gd name="connsiteY10" fmla="*/ 3993435 h 5285288"/>
                  <a:gd name="connsiteX11" fmla="*/ 1965627 w 4212613"/>
                  <a:gd name="connsiteY11" fmla="*/ 4865353 h 5285288"/>
                  <a:gd name="connsiteX12" fmla="*/ 1965971 w 4212613"/>
                  <a:gd name="connsiteY12" fmla="*/ 4865745 h 5285288"/>
                  <a:gd name="connsiteX13" fmla="*/ 1988012 w 4212613"/>
                  <a:gd name="connsiteY13" fmla="*/ 4859558 h 5285288"/>
                  <a:gd name="connsiteX14" fmla="*/ 2034092 w 4212613"/>
                  <a:gd name="connsiteY14" fmla="*/ 4799004 h 5285288"/>
                  <a:gd name="connsiteX15" fmla="*/ 2035936 w 4212613"/>
                  <a:gd name="connsiteY15" fmla="*/ 4105978 h 5285288"/>
                  <a:gd name="connsiteX16" fmla="*/ 2038207 w 4212613"/>
                  <a:gd name="connsiteY16" fmla="*/ 1054770 h 5285288"/>
                  <a:gd name="connsiteX17" fmla="*/ 2037022 w 4212613"/>
                  <a:gd name="connsiteY17" fmla="*/ 1017192 h 5285288"/>
                  <a:gd name="connsiteX18" fmla="*/ 2034987 w 4212613"/>
                  <a:gd name="connsiteY18" fmla="*/ 494424 h 5285288"/>
                  <a:gd name="connsiteX19" fmla="*/ 2080478 w 4212613"/>
                  <a:gd name="connsiteY19" fmla="*/ 171698 h 5285288"/>
                  <a:gd name="connsiteX20" fmla="*/ 2245085 w 4212613"/>
                  <a:gd name="connsiteY20" fmla="*/ 25112 h 5285288"/>
                  <a:gd name="connsiteX21" fmla="*/ 2444731 w 4212613"/>
                  <a:gd name="connsiteY21" fmla="*/ 3326 h 5285288"/>
                  <a:gd name="connsiteX22" fmla="*/ 2620435 w 4212613"/>
                  <a:gd name="connsiteY22" fmla="*/ 37548 h 5285288"/>
                  <a:gd name="connsiteX23" fmla="*/ 4171588 w 4212613"/>
                  <a:gd name="connsiteY23" fmla="*/ 924343 h 5285288"/>
                  <a:gd name="connsiteX24" fmla="*/ 4172545 w 4212613"/>
                  <a:gd name="connsiteY24" fmla="*/ 1149844 h 5285288"/>
                  <a:gd name="connsiteX25" fmla="*/ 3998580 w 4212613"/>
                  <a:gd name="connsiteY25" fmla="*/ 1269783 h 5285288"/>
                  <a:gd name="connsiteX26" fmla="*/ 3978733 w 4212613"/>
                  <a:gd name="connsiteY26" fmla="*/ 1262485 h 5285288"/>
                  <a:gd name="connsiteX27" fmla="*/ 2513258 w 4212613"/>
                  <a:gd name="connsiteY27" fmla="*/ 431577 h 5285288"/>
                  <a:gd name="connsiteX28" fmla="*/ 2512915 w 4212613"/>
                  <a:gd name="connsiteY28" fmla="*/ 431184 h 5285288"/>
                  <a:gd name="connsiteX29" fmla="*/ 2490760 w 4212613"/>
                  <a:gd name="connsiteY29" fmla="*/ 437405 h 5285288"/>
                  <a:gd name="connsiteX30" fmla="*/ 2448110 w 4212613"/>
                  <a:gd name="connsiteY30" fmla="*/ 539231 h 5285288"/>
                  <a:gd name="connsiteX31" fmla="*/ 2448105 w 4212613"/>
                  <a:gd name="connsiteY31" fmla="*/ 1065628 h 5285288"/>
                  <a:gd name="connsiteX32" fmla="*/ 2445328 w 4212613"/>
                  <a:gd name="connsiteY32" fmla="*/ 1081825 h 5285288"/>
                  <a:gd name="connsiteX33" fmla="*/ 2442502 w 4212613"/>
                  <a:gd name="connsiteY33" fmla="*/ 1858316 h 5285288"/>
                  <a:gd name="connsiteX34" fmla="*/ 2444359 w 4212613"/>
                  <a:gd name="connsiteY34" fmla="*/ 1861834 h 5285288"/>
                  <a:gd name="connsiteX35" fmla="*/ 2443692 w 4212613"/>
                  <a:gd name="connsiteY35" fmla="*/ 3038034 h 5285288"/>
                  <a:gd name="connsiteX36" fmla="*/ 2441552 w 4212613"/>
                  <a:gd name="connsiteY36" fmla="*/ 4802821 h 5285288"/>
                  <a:gd name="connsiteX37" fmla="*/ 2374754 w 4212613"/>
                  <a:gd name="connsiteY37" fmla="*/ 5061801 h 5285288"/>
                  <a:gd name="connsiteX38" fmla="*/ 2230786 w 4212613"/>
                  <a:gd name="connsiteY38" fmla="*/ 5216241 h 5285288"/>
                  <a:gd name="connsiteX39" fmla="*/ 2020150 w 4212613"/>
                  <a:gd name="connsiteY39" fmla="*/ 5284752 h 5285288"/>
                  <a:gd name="connsiteX40" fmla="*/ 1970596 w 4212613"/>
                  <a:gd name="connsiteY40" fmla="*/ 5285252 h 5285288"/>
                  <a:gd name="connsiteX0" fmla="*/ 1965628 w 4207645"/>
                  <a:gd name="connsiteY0" fmla="*/ 5285252 h 5285288"/>
                  <a:gd name="connsiteX1" fmla="*/ 1854004 w 4207645"/>
                  <a:gd name="connsiteY1" fmla="*/ 5257452 h 5285288"/>
                  <a:gd name="connsiteX2" fmla="*/ 1794003 w 4207645"/>
                  <a:gd name="connsiteY2" fmla="*/ 5227600 h 5285288"/>
                  <a:gd name="connsiteX3" fmla="*/ 252656 w 4207645"/>
                  <a:gd name="connsiteY3" fmla="*/ 4344402 h 5285288"/>
                  <a:gd name="connsiteX4" fmla="*/ 61770 w 4207645"/>
                  <a:gd name="connsiteY4" fmla="*/ 4157062 h 5285288"/>
                  <a:gd name="connsiteX5" fmla="*/ 0 w 4207645"/>
                  <a:gd name="connsiteY5" fmla="*/ 3955159 h 5285288"/>
                  <a:gd name="connsiteX6" fmla="*/ 404080 w 4207645"/>
                  <a:gd name="connsiteY6" fmla="*/ 3888049 h 5285288"/>
                  <a:gd name="connsiteX7" fmla="*/ 402513 w 4207645"/>
                  <a:gd name="connsiteY7" fmla="*/ 3881457 h 5285288"/>
                  <a:gd name="connsiteX8" fmla="*/ 402432 w 4207645"/>
                  <a:gd name="connsiteY8" fmla="*/ 3894265 h 5285288"/>
                  <a:gd name="connsiteX9" fmla="*/ 459687 w 4207645"/>
                  <a:gd name="connsiteY9" fmla="*/ 3993435 h 5285288"/>
                  <a:gd name="connsiteX10" fmla="*/ 1960659 w 4207645"/>
                  <a:gd name="connsiteY10" fmla="*/ 4865353 h 5285288"/>
                  <a:gd name="connsiteX11" fmla="*/ 1961003 w 4207645"/>
                  <a:gd name="connsiteY11" fmla="*/ 4865745 h 5285288"/>
                  <a:gd name="connsiteX12" fmla="*/ 1983044 w 4207645"/>
                  <a:gd name="connsiteY12" fmla="*/ 4859558 h 5285288"/>
                  <a:gd name="connsiteX13" fmla="*/ 2029124 w 4207645"/>
                  <a:gd name="connsiteY13" fmla="*/ 4799004 h 5285288"/>
                  <a:gd name="connsiteX14" fmla="*/ 2030968 w 4207645"/>
                  <a:gd name="connsiteY14" fmla="*/ 4105978 h 5285288"/>
                  <a:gd name="connsiteX15" fmla="*/ 2033239 w 4207645"/>
                  <a:gd name="connsiteY15" fmla="*/ 1054770 h 5285288"/>
                  <a:gd name="connsiteX16" fmla="*/ 2032054 w 4207645"/>
                  <a:gd name="connsiteY16" fmla="*/ 1017192 h 5285288"/>
                  <a:gd name="connsiteX17" fmla="*/ 2030019 w 4207645"/>
                  <a:gd name="connsiteY17" fmla="*/ 494424 h 5285288"/>
                  <a:gd name="connsiteX18" fmla="*/ 2075510 w 4207645"/>
                  <a:gd name="connsiteY18" fmla="*/ 171698 h 5285288"/>
                  <a:gd name="connsiteX19" fmla="*/ 2240117 w 4207645"/>
                  <a:gd name="connsiteY19" fmla="*/ 25112 h 5285288"/>
                  <a:gd name="connsiteX20" fmla="*/ 2439763 w 4207645"/>
                  <a:gd name="connsiteY20" fmla="*/ 3326 h 5285288"/>
                  <a:gd name="connsiteX21" fmla="*/ 2615467 w 4207645"/>
                  <a:gd name="connsiteY21" fmla="*/ 37548 h 5285288"/>
                  <a:gd name="connsiteX22" fmla="*/ 4166620 w 4207645"/>
                  <a:gd name="connsiteY22" fmla="*/ 924343 h 5285288"/>
                  <a:gd name="connsiteX23" fmla="*/ 4167577 w 4207645"/>
                  <a:gd name="connsiteY23" fmla="*/ 1149844 h 5285288"/>
                  <a:gd name="connsiteX24" fmla="*/ 3993612 w 4207645"/>
                  <a:gd name="connsiteY24" fmla="*/ 1269783 h 5285288"/>
                  <a:gd name="connsiteX25" fmla="*/ 3973765 w 4207645"/>
                  <a:gd name="connsiteY25" fmla="*/ 1262485 h 5285288"/>
                  <a:gd name="connsiteX26" fmla="*/ 2508290 w 4207645"/>
                  <a:gd name="connsiteY26" fmla="*/ 431577 h 5285288"/>
                  <a:gd name="connsiteX27" fmla="*/ 2507947 w 4207645"/>
                  <a:gd name="connsiteY27" fmla="*/ 431184 h 5285288"/>
                  <a:gd name="connsiteX28" fmla="*/ 2485792 w 4207645"/>
                  <a:gd name="connsiteY28" fmla="*/ 437405 h 5285288"/>
                  <a:gd name="connsiteX29" fmla="*/ 2443142 w 4207645"/>
                  <a:gd name="connsiteY29" fmla="*/ 539231 h 5285288"/>
                  <a:gd name="connsiteX30" fmla="*/ 2443137 w 4207645"/>
                  <a:gd name="connsiteY30" fmla="*/ 1065628 h 5285288"/>
                  <a:gd name="connsiteX31" fmla="*/ 2440360 w 4207645"/>
                  <a:gd name="connsiteY31" fmla="*/ 1081825 h 5285288"/>
                  <a:gd name="connsiteX32" fmla="*/ 2437534 w 4207645"/>
                  <a:gd name="connsiteY32" fmla="*/ 1858316 h 5285288"/>
                  <a:gd name="connsiteX33" fmla="*/ 2439391 w 4207645"/>
                  <a:gd name="connsiteY33" fmla="*/ 1861834 h 5285288"/>
                  <a:gd name="connsiteX34" fmla="*/ 2438724 w 4207645"/>
                  <a:gd name="connsiteY34" fmla="*/ 3038034 h 5285288"/>
                  <a:gd name="connsiteX35" fmla="*/ 2436584 w 4207645"/>
                  <a:gd name="connsiteY35" fmla="*/ 4802821 h 5285288"/>
                  <a:gd name="connsiteX36" fmla="*/ 2369786 w 4207645"/>
                  <a:gd name="connsiteY36" fmla="*/ 5061801 h 5285288"/>
                  <a:gd name="connsiteX37" fmla="*/ 2225818 w 4207645"/>
                  <a:gd name="connsiteY37" fmla="*/ 5216241 h 5285288"/>
                  <a:gd name="connsiteX38" fmla="*/ 2015182 w 4207645"/>
                  <a:gd name="connsiteY38" fmla="*/ 5284752 h 5285288"/>
                  <a:gd name="connsiteX39" fmla="*/ 1965628 w 4207645"/>
                  <a:gd name="connsiteY39" fmla="*/ 5285252 h 5285288"/>
                  <a:gd name="connsiteX0" fmla="*/ 1978947 w 4220964"/>
                  <a:gd name="connsiteY0" fmla="*/ 5285252 h 5285288"/>
                  <a:gd name="connsiteX1" fmla="*/ 1867323 w 4220964"/>
                  <a:gd name="connsiteY1" fmla="*/ 5257452 h 5285288"/>
                  <a:gd name="connsiteX2" fmla="*/ 1807322 w 4220964"/>
                  <a:gd name="connsiteY2" fmla="*/ 5227600 h 5285288"/>
                  <a:gd name="connsiteX3" fmla="*/ 265975 w 4220964"/>
                  <a:gd name="connsiteY3" fmla="*/ 4344402 h 5285288"/>
                  <a:gd name="connsiteX4" fmla="*/ 13319 w 4220964"/>
                  <a:gd name="connsiteY4" fmla="*/ 3955159 h 5285288"/>
                  <a:gd name="connsiteX5" fmla="*/ 417399 w 4220964"/>
                  <a:gd name="connsiteY5" fmla="*/ 3888049 h 5285288"/>
                  <a:gd name="connsiteX6" fmla="*/ 415832 w 4220964"/>
                  <a:gd name="connsiteY6" fmla="*/ 3881457 h 5285288"/>
                  <a:gd name="connsiteX7" fmla="*/ 415751 w 4220964"/>
                  <a:gd name="connsiteY7" fmla="*/ 3894265 h 5285288"/>
                  <a:gd name="connsiteX8" fmla="*/ 473006 w 4220964"/>
                  <a:gd name="connsiteY8" fmla="*/ 3993435 h 5285288"/>
                  <a:gd name="connsiteX9" fmla="*/ 1973978 w 4220964"/>
                  <a:gd name="connsiteY9" fmla="*/ 4865353 h 5285288"/>
                  <a:gd name="connsiteX10" fmla="*/ 1974322 w 4220964"/>
                  <a:gd name="connsiteY10" fmla="*/ 4865745 h 5285288"/>
                  <a:gd name="connsiteX11" fmla="*/ 1996363 w 4220964"/>
                  <a:gd name="connsiteY11" fmla="*/ 4859558 h 5285288"/>
                  <a:gd name="connsiteX12" fmla="*/ 2042443 w 4220964"/>
                  <a:gd name="connsiteY12" fmla="*/ 4799004 h 5285288"/>
                  <a:gd name="connsiteX13" fmla="*/ 2044287 w 4220964"/>
                  <a:gd name="connsiteY13" fmla="*/ 4105978 h 5285288"/>
                  <a:gd name="connsiteX14" fmla="*/ 2046558 w 4220964"/>
                  <a:gd name="connsiteY14" fmla="*/ 1054770 h 5285288"/>
                  <a:gd name="connsiteX15" fmla="*/ 2045373 w 4220964"/>
                  <a:gd name="connsiteY15" fmla="*/ 1017192 h 5285288"/>
                  <a:gd name="connsiteX16" fmla="*/ 2043338 w 4220964"/>
                  <a:gd name="connsiteY16" fmla="*/ 494424 h 5285288"/>
                  <a:gd name="connsiteX17" fmla="*/ 2088829 w 4220964"/>
                  <a:gd name="connsiteY17" fmla="*/ 171698 h 5285288"/>
                  <a:gd name="connsiteX18" fmla="*/ 2253436 w 4220964"/>
                  <a:gd name="connsiteY18" fmla="*/ 25112 h 5285288"/>
                  <a:gd name="connsiteX19" fmla="*/ 2453082 w 4220964"/>
                  <a:gd name="connsiteY19" fmla="*/ 3326 h 5285288"/>
                  <a:gd name="connsiteX20" fmla="*/ 2628786 w 4220964"/>
                  <a:gd name="connsiteY20" fmla="*/ 37548 h 5285288"/>
                  <a:gd name="connsiteX21" fmla="*/ 4179939 w 4220964"/>
                  <a:gd name="connsiteY21" fmla="*/ 924343 h 5285288"/>
                  <a:gd name="connsiteX22" fmla="*/ 4180896 w 4220964"/>
                  <a:gd name="connsiteY22" fmla="*/ 1149844 h 5285288"/>
                  <a:gd name="connsiteX23" fmla="*/ 4006931 w 4220964"/>
                  <a:gd name="connsiteY23" fmla="*/ 1269783 h 5285288"/>
                  <a:gd name="connsiteX24" fmla="*/ 3987084 w 4220964"/>
                  <a:gd name="connsiteY24" fmla="*/ 1262485 h 5285288"/>
                  <a:gd name="connsiteX25" fmla="*/ 2521609 w 4220964"/>
                  <a:gd name="connsiteY25" fmla="*/ 431577 h 5285288"/>
                  <a:gd name="connsiteX26" fmla="*/ 2521266 w 4220964"/>
                  <a:gd name="connsiteY26" fmla="*/ 431184 h 5285288"/>
                  <a:gd name="connsiteX27" fmla="*/ 2499111 w 4220964"/>
                  <a:gd name="connsiteY27" fmla="*/ 437405 h 5285288"/>
                  <a:gd name="connsiteX28" fmla="*/ 2456461 w 4220964"/>
                  <a:gd name="connsiteY28" fmla="*/ 539231 h 5285288"/>
                  <a:gd name="connsiteX29" fmla="*/ 2456456 w 4220964"/>
                  <a:gd name="connsiteY29" fmla="*/ 1065628 h 5285288"/>
                  <a:gd name="connsiteX30" fmla="*/ 2453679 w 4220964"/>
                  <a:gd name="connsiteY30" fmla="*/ 1081825 h 5285288"/>
                  <a:gd name="connsiteX31" fmla="*/ 2450853 w 4220964"/>
                  <a:gd name="connsiteY31" fmla="*/ 1858316 h 5285288"/>
                  <a:gd name="connsiteX32" fmla="*/ 2452710 w 4220964"/>
                  <a:gd name="connsiteY32" fmla="*/ 1861834 h 5285288"/>
                  <a:gd name="connsiteX33" fmla="*/ 2452043 w 4220964"/>
                  <a:gd name="connsiteY33" fmla="*/ 3038034 h 5285288"/>
                  <a:gd name="connsiteX34" fmla="*/ 2449903 w 4220964"/>
                  <a:gd name="connsiteY34" fmla="*/ 4802821 h 5285288"/>
                  <a:gd name="connsiteX35" fmla="*/ 2383105 w 4220964"/>
                  <a:gd name="connsiteY35" fmla="*/ 5061801 h 5285288"/>
                  <a:gd name="connsiteX36" fmla="*/ 2239137 w 4220964"/>
                  <a:gd name="connsiteY36" fmla="*/ 5216241 h 5285288"/>
                  <a:gd name="connsiteX37" fmla="*/ 2028501 w 4220964"/>
                  <a:gd name="connsiteY37" fmla="*/ 5284752 h 5285288"/>
                  <a:gd name="connsiteX38" fmla="*/ 1978947 w 4220964"/>
                  <a:gd name="connsiteY38" fmla="*/ 5285252 h 5285288"/>
                  <a:gd name="connsiteX0" fmla="*/ 1790618 w 4032635"/>
                  <a:gd name="connsiteY0" fmla="*/ 5285252 h 5285288"/>
                  <a:gd name="connsiteX1" fmla="*/ 1678994 w 4032635"/>
                  <a:gd name="connsiteY1" fmla="*/ 5257452 h 5285288"/>
                  <a:gd name="connsiteX2" fmla="*/ 1618993 w 4032635"/>
                  <a:gd name="connsiteY2" fmla="*/ 5227600 h 5285288"/>
                  <a:gd name="connsiteX3" fmla="*/ 77646 w 4032635"/>
                  <a:gd name="connsiteY3" fmla="*/ 4344402 h 5285288"/>
                  <a:gd name="connsiteX4" fmla="*/ 229070 w 4032635"/>
                  <a:gd name="connsiteY4" fmla="*/ 3888049 h 5285288"/>
                  <a:gd name="connsiteX5" fmla="*/ 227503 w 4032635"/>
                  <a:gd name="connsiteY5" fmla="*/ 3881457 h 5285288"/>
                  <a:gd name="connsiteX6" fmla="*/ 227422 w 4032635"/>
                  <a:gd name="connsiteY6" fmla="*/ 3894265 h 5285288"/>
                  <a:gd name="connsiteX7" fmla="*/ 284677 w 4032635"/>
                  <a:gd name="connsiteY7" fmla="*/ 3993435 h 5285288"/>
                  <a:gd name="connsiteX8" fmla="*/ 1785649 w 4032635"/>
                  <a:gd name="connsiteY8" fmla="*/ 4865353 h 5285288"/>
                  <a:gd name="connsiteX9" fmla="*/ 1785993 w 4032635"/>
                  <a:gd name="connsiteY9" fmla="*/ 4865745 h 5285288"/>
                  <a:gd name="connsiteX10" fmla="*/ 1808034 w 4032635"/>
                  <a:gd name="connsiteY10" fmla="*/ 4859558 h 5285288"/>
                  <a:gd name="connsiteX11" fmla="*/ 1854114 w 4032635"/>
                  <a:gd name="connsiteY11" fmla="*/ 4799004 h 5285288"/>
                  <a:gd name="connsiteX12" fmla="*/ 1855958 w 4032635"/>
                  <a:gd name="connsiteY12" fmla="*/ 4105978 h 5285288"/>
                  <a:gd name="connsiteX13" fmla="*/ 1858229 w 4032635"/>
                  <a:gd name="connsiteY13" fmla="*/ 1054770 h 5285288"/>
                  <a:gd name="connsiteX14" fmla="*/ 1857044 w 4032635"/>
                  <a:gd name="connsiteY14" fmla="*/ 1017192 h 5285288"/>
                  <a:gd name="connsiteX15" fmla="*/ 1855009 w 4032635"/>
                  <a:gd name="connsiteY15" fmla="*/ 494424 h 5285288"/>
                  <a:gd name="connsiteX16" fmla="*/ 1900500 w 4032635"/>
                  <a:gd name="connsiteY16" fmla="*/ 171698 h 5285288"/>
                  <a:gd name="connsiteX17" fmla="*/ 2065107 w 4032635"/>
                  <a:gd name="connsiteY17" fmla="*/ 25112 h 5285288"/>
                  <a:gd name="connsiteX18" fmla="*/ 2264753 w 4032635"/>
                  <a:gd name="connsiteY18" fmla="*/ 3326 h 5285288"/>
                  <a:gd name="connsiteX19" fmla="*/ 2440457 w 4032635"/>
                  <a:gd name="connsiteY19" fmla="*/ 37548 h 5285288"/>
                  <a:gd name="connsiteX20" fmla="*/ 3991610 w 4032635"/>
                  <a:gd name="connsiteY20" fmla="*/ 924343 h 5285288"/>
                  <a:gd name="connsiteX21" fmla="*/ 3992567 w 4032635"/>
                  <a:gd name="connsiteY21" fmla="*/ 1149844 h 5285288"/>
                  <a:gd name="connsiteX22" fmla="*/ 3818602 w 4032635"/>
                  <a:gd name="connsiteY22" fmla="*/ 1269783 h 5285288"/>
                  <a:gd name="connsiteX23" fmla="*/ 3798755 w 4032635"/>
                  <a:gd name="connsiteY23" fmla="*/ 1262485 h 5285288"/>
                  <a:gd name="connsiteX24" fmla="*/ 2333280 w 4032635"/>
                  <a:gd name="connsiteY24" fmla="*/ 431577 h 5285288"/>
                  <a:gd name="connsiteX25" fmla="*/ 2332937 w 4032635"/>
                  <a:gd name="connsiteY25" fmla="*/ 431184 h 5285288"/>
                  <a:gd name="connsiteX26" fmla="*/ 2310782 w 4032635"/>
                  <a:gd name="connsiteY26" fmla="*/ 437405 h 5285288"/>
                  <a:gd name="connsiteX27" fmla="*/ 2268132 w 4032635"/>
                  <a:gd name="connsiteY27" fmla="*/ 539231 h 5285288"/>
                  <a:gd name="connsiteX28" fmla="*/ 2268127 w 4032635"/>
                  <a:gd name="connsiteY28" fmla="*/ 1065628 h 5285288"/>
                  <a:gd name="connsiteX29" fmla="*/ 2265350 w 4032635"/>
                  <a:gd name="connsiteY29" fmla="*/ 1081825 h 5285288"/>
                  <a:gd name="connsiteX30" fmla="*/ 2262524 w 4032635"/>
                  <a:gd name="connsiteY30" fmla="*/ 1858316 h 5285288"/>
                  <a:gd name="connsiteX31" fmla="*/ 2264381 w 4032635"/>
                  <a:gd name="connsiteY31" fmla="*/ 1861834 h 5285288"/>
                  <a:gd name="connsiteX32" fmla="*/ 2263714 w 4032635"/>
                  <a:gd name="connsiteY32" fmla="*/ 3038034 h 5285288"/>
                  <a:gd name="connsiteX33" fmla="*/ 2261574 w 4032635"/>
                  <a:gd name="connsiteY33" fmla="*/ 4802821 h 5285288"/>
                  <a:gd name="connsiteX34" fmla="*/ 2194776 w 4032635"/>
                  <a:gd name="connsiteY34" fmla="*/ 5061801 h 5285288"/>
                  <a:gd name="connsiteX35" fmla="*/ 2050808 w 4032635"/>
                  <a:gd name="connsiteY35" fmla="*/ 5216241 h 5285288"/>
                  <a:gd name="connsiteX36" fmla="*/ 1840172 w 4032635"/>
                  <a:gd name="connsiteY36" fmla="*/ 5284752 h 5285288"/>
                  <a:gd name="connsiteX37" fmla="*/ 1790618 w 4032635"/>
                  <a:gd name="connsiteY37" fmla="*/ 5285252 h 5285288"/>
                  <a:gd name="connsiteX0" fmla="*/ 1563196 w 3805213"/>
                  <a:gd name="connsiteY0" fmla="*/ 5285252 h 5285288"/>
                  <a:gd name="connsiteX1" fmla="*/ 1451572 w 3805213"/>
                  <a:gd name="connsiteY1" fmla="*/ 5257452 h 5285288"/>
                  <a:gd name="connsiteX2" fmla="*/ 1391571 w 3805213"/>
                  <a:gd name="connsiteY2" fmla="*/ 5227600 h 5285288"/>
                  <a:gd name="connsiteX3" fmla="*/ 1648 w 3805213"/>
                  <a:gd name="connsiteY3" fmla="*/ 3888049 h 5285288"/>
                  <a:gd name="connsiteX4" fmla="*/ 81 w 3805213"/>
                  <a:gd name="connsiteY4" fmla="*/ 3881457 h 5285288"/>
                  <a:gd name="connsiteX5" fmla="*/ 0 w 3805213"/>
                  <a:gd name="connsiteY5" fmla="*/ 3894265 h 5285288"/>
                  <a:gd name="connsiteX6" fmla="*/ 57255 w 3805213"/>
                  <a:gd name="connsiteY6" fmla="*/ 3993435 h 5285288"/>
                  <a:gd name="connsiteX7" fmla="*/ 1558227 w 3805213"/>
                  <a:gd name="connsiteY7" fmla="*/ 4865353 h 5285288"/>
                  <a:gd name="connsiteX8" fmla="*/ 1558571 w 3805213"/>
                  <a:gd name="connsiteY8" fmla="*/ 4865745 h 5285288"/>
                  <a:gd name="connsiteX9" fmla="*/ 1580612 w 3805213"/>
                  <a:gd name="connsiteY9" fmla="*/ 4859558 h 5285288"/>
                  <a:gd name="connsiteX10" fmla="*/ 1626692 w 3805213"/>
                  <a:gd name="connsiteY10" fmla="*/ 4799004 h 5285288"/>
                  <a:gd name="connsiteX11" fmla="*/ 1628536 w 3805213"/>
                  <a:gd name="connsiteY11" fmla="*/ 4105978 h 5285288"/>
                  <a:gd name="connsiteX12" fmla="*/ 1630807 w 3805213"/>
                  <a:gd name="connsiteY12" fmla="*/ 1054770 h 5285288"/>
                  <a:gd name="connsiteX13" fmla="*/ 1629622 w 3805213"/>
                  <a:gd name="connsiteY13" fmla="*/ 1017192 h 5285288"/>
                  <a:gd name="connsiteX14" fmla="*/ 1627587 w 3805213"/>
                  <a:gd name="connsiteY14" fmla="*/ 494424 h 5285288"/>
                  <a:gd name="connsiteX15" fmla="*/ 1673078 w 3805213"/>
                  <a:gd name="connsiteY15" fmla="*/ 171698 h 5285288"/>
                  <a:gd name="connsiteX16" fmla="*/ 1837685 w 3805213"/>
                  <a:gd name="connsiteY16" fmla="*/ 25112 h 5285288"/>
                  <a:gd name="connsiteX17" fmla="*/ 2037331 w 3805213"/>
                  <a:gd name="connsiteY17" fmla="*/ 3326 h 5285288"/>
                  <a:gd name="connsiteX18" fmla="*/ 2213035 w 3805213"/>
                  <a:gd name="connsiteY18" fmla="*/ 37548 h 5285288"/>
                  <a:gd name="connsiteX19" fmla="*/ 3764188 w 3805213"/>
                  <a:gd name="connsiteY19" fmla="*/ 924343 h 5285288"/>
                  <a:gd name="connsiteX20" fmla="*/ 3765145 w 3805213"/>
                  <a:gd name="connsiteY20" fmla="*/ 1149844 h 5285288"/>
                  <a:gd name="connsiteX21" fmla="*/ 3591180 w 3805213"/>
                  <a:gd name="connsiteY21" fmla="*/ 1269783 h 5285288"/>
                  <a:gd name="connsiteX22" fmla="*/ 3571333 w 3805213"/>
                  <a:gd name="connsiteY22" fmla="*/ 1262485 h 5285288"/>
                  <a:gd name="connsiteX23" fmla="*/ 2105858 w 3805213"/>
                  <a:gd name="connsiteY23" fmla="*/ 431577 h 5285288"/>
                  <a:gd name="connsiteX24" fmla="*/ 2105515 w 3805213"/>
                  <a:gd name="connsiteY24" fmla="*/ 431184 h 5285288"/>
                  <a:gd name="connsiteX25" fmla="*/ 2083360 w 3805213"/>
                  <a:gd name="connsiteY25" fmla="*/ 437405 h 5285288"/>
                  <a:gd name="connsiteX26" fmla="*/ 2040710 w 3805213"/>
                  <a:gd name="connsiteY26" fmla="*/ 539231 h 5285288"/>
                  <a:gd name="connsiteX27" fmla="*/ 2040705 w 3805213"/>
                  <a:gd name="connsiteY27" fmla="*/ 1065628 h 5285288"/>
                  <a:gd name="connsiteX28" fmla="*/ 2037928 w 3805213"/>
                  <a:gd name="connsiteY28" fmla="*/ 1081825 h 5285288"/>
                  <a:gd name="connsiteX29" fmla="*/ 2035102 w 3805213"/>
                  <a:gd name="connsiteY29" fmla="*/ 1858316 h 5285288"/>
                  <a:gd name="connsiteX30" fmla="*/ 2036959 w 3805213"/>
                  <a:gd name="connsiteY30" fmla="*/ 1861834 h 5285288"/>
                  <a:gd name="connsiteX31" fmla="*/ 2036292 w 3805213"/>
                  <a:gd name="connsiteY31" fmla="*/ 3038034 h 5285288"/>
                  <a:gd name="connsiteX32" fmla="*/ 2034152 w 3805213"/>
                  <a:gd name="connsiteY32" fmla="*/ 4802821 h 5285288"/>
                  <a:gd name="connsiteX33" fmla="*/ 1967354 w 3805213"/>
                  <a:gd name="connsiteY33" fmla="*/ 5061801 h 5285288"/>
                  <a:gd name="connsiteX34" fmla="*/ 1823386 w 3805213"/>
                  <a:gd name="connsiteY34" fmla="*/ 5216241 h 5285288"/>
                  <a:gd name="connsiteX35" fmla="*/ 1612750 w 3805213"/>
                  <a:gd name="connsiteY35" fmla="*/ 5284752 h 5285288"/>
                  <a:gd name="connsiteX36" fmla="*/ 1563196 w 3805213"/>
                  <a:gd name="connsiteY36" fmla="*/ 5285252 h 5285288"/>
                  <a:gd name="connsiteX0" fmla="*/ 1635752 w 3877769"/>
                  <a:gd name="connsiteY0" fmla="*/ 5285252 h 5285288"/>
                  <a:gd name="connsiteX1" fmla="*/ 1524128 w 3877769"/>
                  <a:gd name="connsiteY1" fmla="*/ 5257452 h 5285288"/>
                  <a:gd name="connsiteX2" fmla="*/ 1464127 w 3877769"/>
                  <a:gd name="connsiteY2" fmla="*/ 5227600 h 5285288"/>
                  <a:gd name="connsiteX3" fmla="*/ 74204 w 3877769"/>
                  <a:gd name="connsiteY3" fmla="*/ 3888049 h 5285288"/>
                  <a:gd name="connsiteX4" fmla="*/ 72637 w 3877769"/>
                  <a:gd name="connsiteY4" fmla="*/ 3881457 h 5285288"/>
                  <a:gd name="connsiteX5" fmla="*/ 129811 w 3877769"/>
                  <a:gd name="connsiteY5" fmla="*/ 3993435 h 5285288"/>
                  <a:gd name="connsiteX6" fmla="*/ 1630783 w 3877769"/>
                  <a:gd name="connsiteY6" fmla="*/ 4865353 h 5285288"/>
                  <a:gd name="connsiteX7" fmla="*/ 1631127 w 3877769"/>
                  <a:gd name="connsiteY7" fmla="*/ 4865745 h 5285288"/>
                  <a:gd name="connsiteX8" fmla="*/ 1653168 w 3877769"/>
                  <a:gd name="connsiteY8" fmla="*/ 4859558 h 5285288"/>
                  <a:gd name="connsiteX9" fmla="*/ 1699248 w 3877769"/>
                  <a:gd name="connsiteY9" fmla="*/ 4799004 h 5285288"/>
                  <a:gd name="connsiteX10" fmla="*/ 1701092 w 3877769"/>
                  <a:gd name="connsiteY10" fmla="*/ 4105978 h 5285288"/>
                  <a:gd name="connsiteX11" fmla="*/ 1703363 w 3877769"/>
                  <a:gd name="connsiteY11" fmla="*/ 1054770 h 5285288"/>
                  <a:gd name="connsiteX12" fmla="*/ 1702178 w 3877769"/>
                  <a:gd name="connsiteY12" fmla="*/ 1017192 h 5285288"/>
                  <a:gd name="connsiteX13" fmla="*/ 1700143 w 3877769"/>
                  <a:gd name="connsiteY13" fmla="*/ 494424 h 5285288"/>
                  <a:gd name="connsiteX14" fmla="*/ 1745634 w 3877769"/>
                  <a:gd name="connsiteY14" fmla="*/ 171698 h 5285288"/>
                  <a:gd name="connsiteX15" fmla="*/ 1910241 w 3877769"/>
                  <a:gd name="connsiteY15" fmla="*/ 25112 h 5285288"/>
                  <a:gd name="connsiteX16" fmla="*/ 2109887 w 3877769"/>
                  <a:gd name="connsiteY16" fmla="*/ 3326 h 5285288"/>
                  <a:gd name="connsiteX17" fmla="*/ 2285591 w 3877769"/>
                  <a:gd name="connsiteY17" fmla="*/ 37548 h 5285288"/>
                  <a:gd name="connsiteX18" fmla="*/ 3836744 w 3877769"/>
                  <a:gd name="connsiteY18" fmla="*/ 924343 h 5285288"/>
                  <a:gd name="connsiteX19" fmla="*/ 3837701 w 3877769"/>
                  <a:gd name="connsiteY19" fmla="*/ 1149844 h 5285288"/>
                  <a:gd name="connsiteX20" fmla="*/ 3663736 w 3877769"/>
                  <a:gd name="connsiteY20" fmla="*/ 1269783 h 5285288"/>
                  <a:gd name="connsiteX21" fmla="*/ 3643889 w 3877769"/>
                  <a:gd name="connsiteY21" fmla="*/ 1262485 h 5285288"/>
                  <a:gd name="connsiteX22" fmla="*/ 2178414 w 3877769"/>
                  <a:gd name="connsiteY22" fmla="*/ 431577 h 5285288"/>
                  <a:gd name="connsiteX23" fmla="*/ 2178071 w 3877769"/>
                  <a:gd name="connsiteY23" fmla="*/ 431184 h 5285288"/>
                  <a:gd name="connsiteX24" fmla="*/ 2155916 w 3877769"/>
                  <a:gd name="connsiteY24" fmla="*/ 437405 h 5285288"/>
                  <a:gd name="connsiteX25" fmla="*/ 2113266 w 3877769"/>
                  <a:gd name="connsiteY25" fmla="*/ 539231 h 5285288"/>
                  <a:gd name="connsiteX26" fmla="*/ 2113261 w 3877769"/>
                  <a:gd name="connsiteY26" fmla="*/ 1065628 h 5285288"/>
                  <a:gd name="connsiteX27" fmla="*/ 2110484 w 3877769"/>
                  <a:gd name="connsiteY27" fmla="*/ 1081825 h 5285288"/>
                  <a:gd name="connsiteX28" fmla="*/ 2107658 w 3877769"/>
                  <a:gd name="connsiteY28" fmla="*/ 1858316 h 5285288"/>
                  <a:gd name="connsiteX29" fmla="*/ 2109515 w 3877769"/>
                  <a:gd name="connsiteY29" fmla="*/ 1861834 h 5285288"/>
                  <a:gd name="connsiteX30" fmla="*/ 2108848 w 3877769"/>
                  <a:gd name="connsiteY30" fmla="*/ 3038034 h 5285288"/>
                  <a:gd name="connsiteX31" fmla="*/ 2106708 w 3877769"/>
                  <a:gd name="connsiteY31" fmla="*/ 4802821 h 5285288"/>
                  <a:gd name="connsiteX32" fmla="*/ 2039910 w 3877769"/>
                  <a:gd name="connsiteY32" fmla="*/ 5061801 h 5285288"/>
                  <a:gd name="connsiteX33" fmla="*/ 1895942 w 3877769"/>
                  <a:gd name="connsiteY33" fmla="*/ 5216241 h 5285288"/>
                  <a:gd name="connsiteX34" fmla="*/ 1685306 w 3877769"/>
                  <a:gd name="connsiteY34" fmla="*/ 5284752 h 5285288"/>
                  <a:gd name="connsiteX35" fmla="*/ 1635752 w 3877769"/>
                  <a:gd name="connsiteY35" fmla="*/ 5285252 h 5285288"/>
                  <a:gd name="connsiteX0" fmla="*/ 1563115 w 3805132"/>
                  <a:gd name="connsiteY0" fmla="*/ 5285252 h 5285288"/>
                  <a:gd name="connsiteX1" fmla="*/ 1451491 w 3805132"/>
                  <a:gd name="connsiteY1" fmla="*/ 5257452 h 5285288"/>
                  <a:gd name="connsiteX2" fmla="*/ 1391490 w 3805132"/>
                  <a:gd name="connsiteY2" fmla="*/ 5227600 h 5285288"/>
                  <a:gd name="connsiteX3" fmla="*/ 1567 w 3805132"/>
                  <a:gd name="connsiteY3" fmla="*/ 3888049 h 5285288"/>
                  <a:gd name="connsiteX4" fmla="*/ 0 w 3805132"/>
                  <a:gd name="connsiteY4" fmla="*/ 3881457 h 5285288"/>
                  <a:gd name="connsiteX5" fmla="*/ 1558146 w 3805132"/>
                  <a:gd name="connsiteY5" fmla="*/ 4865353 h 5285288"/>
                  <a:gd name="connsiteX6" fmla="*/ 1558490 w 3805132"/>
                  <a:gd name="connsiteY6" fmla="*/ 4865745 h 5285288"/>
                  <a:gd name="connsiteX7" fmla="*/ 1580531 w 3805132"/>
                  <a:gd name="connsiteY7" fmla="*/ 4859558 h 5285288"/>
                  <a:gd name="connsiteX8" fmla="*/ 1626611 w 3805132"/>
                  <a:gd name="connsiteY8" fmla="*/ 4799004 h 5285288"/>
                  <a:gd name="connsiteX9" fmla="*/ 1628455 w 3805132"/>
                  <a:gd name="connsiteY9" fmla="*/ 4105978 h 5285288"/>
                  <a:gd name="connsiteX10" fmla="*/ 1630726 w 3805132"/>
                  <a:gd name="connsiteY10" fmla="*/ 1054770 h 5285288"/>
                  <a:gd name="connsiteX11" fmla="*/ 1629541 w 3805132"/>
                  <a:gd name="connsiteY11" fmla="*/ 1017192 h 5285288"/>
                  <a:gd name="connsiteX12" fmla="*/ 1627506 w 3805132"/>
                  <a:gd name="connsiteY12" fmla="*/ 494424 h 5285288"/>
                  <a:gd name="connsiteX13" fmla="*/ 1672997 w 3805132"/>
                  <a:gd name="connsiteY13" fmla="*/ 171698 h 5285288"/>
                  <a:gd name="connsiteX14" fmla="*/ 1837604 w 3805132"/>
                  <a:gd name="connsiteY14" fmla="*/ 25112 h 5285288"/>
                  <a:gd name="connsiteX15" fmla="*/ 2037250 w 3805132"/>
                  <a:gd name="connsiteY15" fmla="*/ 3326 h 5285288"/>
                  <a:gd name="connsiteX16" fmla="*/ 2212954 w 3805132"/>
                  <a:gd name="connsiteY16" fmla="*/ 37548 h 5285288"/>
                  <a:gd name="connsiteX17" fmla="*/ 3764107 w 3805132"/>
                  <a:gd name="connsiteY17" fmla="*/ 924343 h 5285288"/>
                  <a:gd name="connsiteX18" fmla="*/ 3765064 w 3805132"/>
                  <a:gd name="connsiteY18" fmla="*/ 1149844 h 5285288"/>
                  <a:gd name="connsiteX19" fmla="*/ 3591099 w 3805132"/>
                  <a:gd name="connsiteY19" fmla="*/ 1269783 h 5285288"/>
                  <a:gd name="connsiteX20" fmla="*/ 3571252 w 3805132"/>
                  <a:gd name="connsiteY20" fmla="*/ 1262485 h 5285288"/>
                  <a:gd name="connsiteX21" fmla="*/ 2105777 w 3805132"/>
                  <a:gd name="connsiteY21" fmla="*/ 431577 h 5285288"/>
                  <a:gd name="connsiteX22" fmla="*/ 2105434 w 3805132"/>
                  <a:gd name="connsiteY22" fmla="*/ 431184 h 5285288"/>
                  <a:gd name="connsiteX23" fmla="*/ 2083279 w 3805132"/>
                  <a:gd name="connsiteY23" fmla="*/ 437405 h 5285288"/>
                  <a:gd name="connsiteX24" fmla="*/ 2040629 w 3805132"/>
                  <a:gd name="connsiteY24" fmla="*/ 539231 h 5285288"/>
                  <a:gd name="connsiteX25" fmla="*/ 2040624 w 3805132"/>
                  <a:gd name="connsiteY25" fmla="*/ 1065628 h 5285288"/>
                  <a:gd name="connsiteX26" fmla="*/ 2037847 w 3805132"/>
                  <a:gd name="connsiteY26" fmla="*/ 1081825 h 5285288"/>
                  <a:gd name="connsiteX27" fmla="*/ 2035021 w 3805132"/>
                  <a:gd name="connsiteY27" fmla="*/ 1858316 h 5285288"/>
                  <a:gd name="connsiteX28" fmla="*/ 2036878 w 3805132"/>
                  <a:gd name="connsiteY28" fmla="*/ 1861834 h 5285288"/>
                  <a:gd name="connsiteX29" fmla="*/ 2036211 w 3805132"/>
                  <a:gd name="connsiteY29" fmla="*/ 3038034 h 5285288"/>
                  <a:gd name="connsiteX30" fmla="*/ 2034071 w 3805132"/>
                  <a:gd name="connsiteY30" fmla="*/ 4802821 h 5285288"/>
                  <a:gd name="connsiteX31" fmla="*/ 1967273 w 3805132"/>
                  <a:gd name="connsiteY31" fmla="*/ 5061801 h 5285288"/>
                  <a:gd name="connsiteX32" fmla="*/ 1823305 w 3805132"/>
                  <a:gd name="connsiteY32" fmla="*/ 5216241 h 5285288"/>
                  <a:gd name="connsiteX33" fmla="*/ 1612669 w 3805132"/>
                  <a:gd name="connsiteY33" fmla="*/ 5284752 h 5285288"/>
                  <a:gd name="connsiteX34" fmla="*/ 1563115 w 3805132"/>
                  <a:gd name="connsiteY34"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556923 w 3803565"/>
                  <a:gd name="connsiteY5" fmla="*/ 4865745 h 5285288"/>
                  <a:gd name="connsiteX6" fmla="*/ 1578964 w 3803565"/>
                  <a:gd name="connsiteY6" fmla="*/ 4859558 h 5285288"/>
                  <a:gd name="connsiteX7" fmla="*/ 1625044 w 3803565"/>
                  <a:gd name="connsiteY7" fmla="*/ 4799004 h 5285288"/>
                  <a:gd name="connsiteX8" fmla="*/ 1626888 w 3803565"/>
                  <a:gd name="connsiteY8" fmla="*/ 4105978 h 5285288"/>
                  <a:gd name="connsiteX9" fmla="*/ 1629159 w 3803565"/>
                  <a:gd name="connsiteY9" fmla="*/ 1054770 h 5285288"/>
                  <a:gd name="connsiteX10" fmla="*/ 1627974 w 3803565"/>
                  <a:gd name="connsiteY10" fmla="*/ 1017192 h 5285288"/>
                  <a:gd name="connsiteX11" fmla="*/ 1625939 w 3803565"/>
                  <a:gd name="connsiteY11" fmla="*/ 494424 h 5285288"/>
                  <a:gd name="connsiteX12" fmla="*/ 1671430 w 3803565"/>
                  <a:gd name="connsiteY12" fmla="*/ 171698 h 5285288"/>
                  <a:gd name="connsiteX13" fmla="*/ 1836037 w 3803565"/>
                  <a:gd name="connsiteY13" fmla="*/ 25112 h 5285288"/>
                  <a:gd name="connsiteX14" fmla="*/ 2035683 w 3803565"/>
                  <a:gd name="connsiteY14" fmla="*/ 3326 h 5285288"/>
                  <a:gd name="connsiteX15" fmla="*/ 2211387 w 3803565"/>
                  <a:gd name="connsiteY15" fmla="*/ 37548 h 5285288"/>
                  <a:gd name="connsiteX16" fmla="*/ 3762540 w 3803565"/>
                  <a:gd name="connsiteY16" fmla="*/ 924343 h 5285288"/>
                  <a:gd name="connsiteX17" fmla="*/ 3763497 w 3803565"/>
                  <a:gd name="connsiteY17" fmla="*/ 1149844 h 5285288"/>
                  <a:gd name="connsiteX18" fmla="*/ 3589532 w 3803565"/>
                  <a:gd name="connsiteY18" fmla="*/ 1269783 h 5285288"/>
                  <a:gd name="connsiteX19" fmla="*/ 3569685 w 3803565"/>
                  <a:gd name="connsiteY19" fmla="*/ 1262485 h 5285288"/>
                  <a:gd name="connsiteX20" fmla="*/ 2104210 w 3803565"/>
                  <a:gd name="connsiteY20" fmla="*/ 431577 h 5285288"/>
                  <a:gd name="connsiteX21" fmla="*/ 2103867 w 3803565"/>
                  <a:gd name="connsiteY21" fmla="*/ 431184 h 5285288"/>
                  <a:gd name="connsiteX22" fmla="*/ 2081712 w 3803565"/>
                  <a:gd name="connsiteY22" fmla="*/ 437405 h 5285288"/>
                  <a:gd name="connsiteX23" fmla="*/ 2039062 w 3803565"/>
                  <a:gd name="connsiteY23" fmla="*/ 539231 h 5285288"/>
                  <a:gd name="connsiteX24" fmla="*/ 2039057 w 3803565"/>
                  <a:gd name="connsiteY24" fmla="*/ 1065628 h 5285288"/>
                  <a:gd name="connsiteX25" fmla="*/ 2036280 w 3803565"/>
                  <a:gd name="connsiteY25" fmla="*/ 1081825 h 5285288"/>
                  <a:gd name="connsiteX26" fmla="*/ 2033454 w 3803565"/>
                  <a:gd name="connsiteY26" fmla="*/ 1858316 h 5285288"/>
                  <a:gd name="connsiteX27" fmla="*/ 2035311 w 3803565"/>
                  <a:gd name="connsiteY27" fmla="*/ 1861834 h 5285288"/>
                  <a:gd name="connsiteX28" fmla="*/ 2034644 w 3803565"/>
                  <a:gd name="connsiteY28" fmla="*/ 3038034 h 5285288"/>
                  <a:gd name="connsiteX29" fmla="*/ 2032504 w 3803565"/>
                  <a:gd name="connsiteY29" fmla="*/ 4802821 h 5285288"/>
                  <a:gd name="connsiteX30" fmla="*/ 1965706 w 3803565"/>
                  <a:gd name="connsiteY30" fmla="*/ 5061801 h 5285288"/>
                  <a:gd name="connsiteX31" fmla="*/ 1821738 w 3803565"/>
                  <a:gd name="connsiteY31" fmla="*/ 5216241 h 5285288"/>
                  <a:gd name="connsiteX32" fmla="*/ 1611102 w 3803565"/>
                  <a:gd name="connsiteY32" fmla="*/ 5284752 h 5285288"/>
                  <a:gd name="connsiteX33" fmla="*/ 1561548 w 3803565"/>
                  <a:gd name="connsiteY33"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556923 w 3803565"/>
                  <a:gd name="connsiteY5" fmla="*/ 4865745 h 5285288"/>
                  <a:gd name="connsiteX6" fmla="*/ 1625044 w 3803565"/>
                  <a:gd name="connsiteY6" fmla="*/ 4799004 h 5285288"/>
                  <a:gd name="connsiteX7" fmla="*/ 1626888 w 3803565"/>
                  <a:gd name="connsiteY7" fmla="*/ 4105978 h 5285288"/>
                  <a:gd name="connsiteX8" fmla="*/ 1629159 w 3803565"/>
                  <a:gd name="connsiteY8" fmla="*/ 1054770 h 5285288"/>
                  <a:gd name="connsiteX9" fmla="*/ 1627974 w 3803565"/>
                  <a:gd name="connsiteY9" fmla="*/ 1017192 h 5285288"/>
                  <a:gd name="connsiteX10" fmla="*/ 1625939 w 3803565"/>
                  <a:gd name="connsiteY10" fmla="*/ 494424 h 5285288"/>
                  <a:gd name="connsiteX11" fmla="*/ 1671430 w 3803565"/>
                  <a:gd name="connsiteY11" fmla="*/ 171698 h 5285288"/>
                  <a:gd name="connsiteX12" fmla="*/ 1836037 w 3803565"/>
                  <a:gd name="connsiteY12" fmla="*/ 25112 h 5285288"/>
                  <a:gd name="connsiteX13" fmla="*/ 2035683 w 3803565"/>
                  <a:gd name="connsiteY13" fmla="*/ 3326 h 5285288"/>
                  <a:gd name="connsiteX14" fmla="*/ 2211387 w 3803565"/>
                  <a:gd name="connsiteY14" fmla="*/ 37548 h 5285288"/>
                  <a:gd name="connsiteX15" fmla="*/ 3762540 w 3803565"/>
                  <a:gd name="connsiteY15" fmla="*/ 924343 h 5285288"/>
                  <a:gd name="connsiteX16" fmla="*/ 3763497 w 3803565"/>
                  <a:gd name="connsiteY16" fmla="*/ 1149844 h 5285288"/>
                  <a:gd name="connsiteX17" fmla="*/ 3589532 w 3803565"/>
                  <a:gd name="connsiteY17" fmla="*/ 1269783 h 5285288"/>
                  <a:gd name="connsiteX18" fmla="*/ 3569685 w 3803565"/>
                  <a:gd name="connsiteY18" fmla="*/ 1262485 h 5285288"/>
                  <a:gd name="connsiteX19" fmla="*/ 2104210 w 3803565"/>
                  <a:gd name="connsiteY19" fmla="*/ 431577 h 5285288"/>
                  <a:gd name="connsiteX20" fmla="*/ 2103867 w 3803565"/>
                  <a:gd name="connsiteY20" fmla="*/ 431184 h 5285288"/>
                  <a:gd name="connsiteX21" fmla="*/ 2081712 w 3803565"/>
                  <a:gd name="connsiteY21" fmla="*/ 437405 h 5285288"/>
                  <a:gd name="connsiteX22" fmla="*/ 2039062 w 3803565"/>
                  <a:gd name="connsiteY22" fmla="*/ 539231 h 5285288"/>
                  <a:gd name="connsiteX23" fmla="*/ 2039057 w 3803565"/>
                  <a:gd name="connsiteY23" fmla="*/ 1065628 h 5285288"/>
                  <a:gd name="connsiteX24" fmla="*/ 2036280 w 3803565"/>
                  <a:gd name="connsiteY24" fmla="*/ 1081825 h 5285288"/>
                  <a:gd name="connsiteX25" fmla="*/ 2033454 w 3803565"/>
                  <a:gd name="connsiteY25" fmla="*/ 1858316 h 5285288"/>
                  <a:gd name="connsiteX26" fmla="*/ 2035311 w 3803565"/>
                  <a:gd name="connsiteY26" fmla="*/ 1861834 h 5285288"/>
                  <a:gd name="connsiteX27" fmla="*/ 2034644 w 3803565"/>
                  <a:gd name="connsiteY27" fmla="*/ 3038034 h 5285288"/>
                  <a:gd name="connsiteX28" fmla="*/ 2032504 w 3803565"/>
                  <a:gd name="connsiteY28" fmla="*/ 4802821 h 5285288"/>
                  <a:gd name="connsiteX29" fmla="*/ 1965706 w 3803565"/>
                  <a:gd name="connsiteY29" fmla="*/ 5061801 h 5285288"/>
                  <a:gd name="connsiteX30" fmla="*/ 1821738 w 3803565"/>
                  <a:gd name="connsiteY30" fmla="*/ 5216241 h 5285288"/>
                  <a:gd name="connsiteX31" fmla="*/ 1611102 w 3803565"/>
                  <a:gd name="connsiteY31" fmla="*/ 5284752 h 5285288"/>
                  <a:gd name="connsiteX32" fmla="*/ 1561548 w 3803565"/>
                  <a:gd name="connsiteY32"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625044 w 3803565"/>
                  <a:gd name="connsiteY5" fmla="*/ 4799004 h 5285288"/>
                  <a:gd name="connsiteX6" fmla="*/ 1626888 w 3803565"/>
                  <a:gd name="connsiteY6" fmla="*/ 4105978 h 5285288"/>
                  <a:gd name="connsiteX7" fmla="*/ 1629159 w 3803565"/>
                  <a:gd name="connsiteY7" fmla="*/ 1054770 h 5285288"/>
                  <a:gd name="connsiteX8" fmla="*/ 1627974 w 3803565"/>
                  <a:gd name="connsiteY8" fmla="*/ 1017192 h 5285288"/>
                  <a:gd name="connsiteX9" fmla="*/ 1625939 w 3803565"/>
                  <a:gd name="connsiteY9" fmla="*/ 494424 h 5285288"/>
                  <a:gd name="connsiteX10" fmla="*/ 1671430 w 3803565"/>
                  <a:gd name="connsiteY10" fmla="*/ 171698 h 5285288"/>
                  <a:gd name="connsiteX11" fmla="*/ 1836037 w 3803565"/>
                  <a:gd name="connsiteY11" fmla="*/ 25112 h 5285288"/>
                  <a:gd name="connsiteX12" fmla="*/ 2035683 w 3803565"/>
                  <a:gd name="connsiteY12" fmla="*/ 3326 h 5285288"/>
                  <a:gd name="connsiteX13" fmla="*/ 2211387 w 3803565"/>
                  <a:gd name="connsiteY13" fmla="*/ 37548 h 5285288"/>
                  <a:gd name="connsiteX14" fmla="*/ 3762540 w 3803565"/>
                  <a:gd name="connsiteY14" fmla="*/ 924343 h 5285288"/>
                  <a:gd name="connsiteX15" fmla="*/ 3763497 w 3803565"/>
                  <a:gd name="connsiteY15" fmla="*/ 1149844 h 5285288"/>
                  <a:gd name="connsiteX16" fmla="*/ 3589532 w 3803565"/>
                  <a:gd name="connsiteY16" fmla="*/ 1269783 h 5285288"/>
                  <a:gd name="connsiteX17" fmla="*/ 3569685 w 3803565"/>
                  <a:gd name="connsiteY17" fmla="*/ 1262485 h 5285288"/>
                  <a:gd name="connsiteX18" fmla="*/ 2104210 w 3803565"/>
                  <a:gd name="connsiteY18" fmla="*/ 431577 h 5285288"/>
                  <a:gd name="connsiteX19" fmla="*/ 2103867 w 3803565"/>
                  <a:gd name="connsiteY19" fmla="*/ 431184 h 5285288"/>
                  <a:gd name="connsiteX20" fmla="*/ 2081712 w 3803565"/>
                  <a:gd name="connsiteY20" fmla="*/ 437405 h 5285288"/>
                  <a:gd name="connsiteX21" fmla="*/ 2039062 w 3803565"/>
                  <a:gd name="connsiteY21" fmla="*/ 539231 h 5285288"/>
                  <a:gd name="connsiteX22" fmla="*/ 2039057 w 3803565"/>
                  <a:gd name="connsiteY22" fmla="*/ 1065628 h 5285288"/>
                  <a:gd name="connsiteX23" fmla="*/ 2036280 w 3803565"/>
                  <a:gd name="connsiteY23" fmla="*/ 1081825 h 5285288"/>
                  <a:gd name="connsiteX24" fmla="*/ 2033454 w 3803565"/>
                  <a:gd name="connsiteY24" fmla="*/ 1858316 h 5285288"/>
                  <a:gd name="connsiteX25" fmla="*/ 2035311 w 3803565"/>
                  <a:gd name="connsiteY25" fmla="*/ 1861834 h 5285288"/>
                  <a:gd name="connsiteX26" fmla="*/ 2034644 w 3803565"/>
                  <a:gd name="connsiteY26" fmla="*/ 3038034 h 5285288"/>
                  <a:gd name="connsiteX27" fmla="*/ 2032504 w 3803565"/>
                  <a:gd name="connsiteY27" fmla="*/ 4802821 h 5285288"/>
                  <a:gd name="connsiteX28" fmla="*/ 1965706 w 3803565"/>
                  <a:gd name="connsiteY28" fmla="*/ 5061801 h 5285288"/>
                  <a:gd name="connsiteX29" fmla="*/ 1821738 w 3803565"/>
                  <a:gd name="connsiteY29" fmla="*/ 5216241 h 5285288"/>
                  <a:gd name="connsiteX30" fmla="*/ 1611102 w 3803565"/>
                  <a:gd name="connsiteY30" fmla="*/ 5284752 h 5285288"/>
                  <a:gd name="connsiteX31" fmla="*/ 1561548 w 3803565"/>
                  <a:gd name="connsiteY31"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625044 w 3803565"/>
                  <a:gd name="connsiteY4" fmla="*/ 4799004 h 5285288"/>
                  <a:gd name="connsiteX5" fmla="*/ 1626888 w 3803565"/>
                  <a:gd name="connsiteY5" fmla="*/ 4105978 h 5285288"/>
                  <a:gd name="connsiteX6" fmla="*/ 1629159 w 3803565"/>
                  <a:gd name="connsiteY6" fmla="*/ 1054770 h 5285288"/>
                  <a:gd name="connsiteX7" fmla="*/ 1627974 w 3803565"/>
                  <a:gd name="connsiteY7" fmla="*/ 1017192 h 5285288"/>
                  <a:gd name="connsiteX8" fmla="*/ 1625939 w 3803565"/>
                  <a:gd name="connsiteY8" fmla="*/ 494424 h 5285288"/>
                  <a:gd name="connsiteX9" fmla="*/ 1671430 w 3803565"/>
                  <a:gd name="connsiteY9" fmla="*/ 171698 h 5285288"/>
                  <a:gd name="connsiteX10" fmla="*/ 1836037 w 3803565"/>
                  <a:gd name="connsiteY10" fmla="*/ 25112 h 5285288"/>
                  <a:gd name="connsiteX11" fmla="*/ 2035683 w 3803565"/>
                  <a:gd name="connsiteY11" fmla="*/ 3326 h 5285288"/>
                  <a:gd name="connsiteX12" fmla="*/ 2211387 w 3803565"/>
                  <a:gd name="connsiteY12" fmla="*/ 37548 h 5285288"/>
                  <a:gd name="connsiteX13" fmla="*/ 3762540 w 3803565"/>
                  <a:gd name="connsiteY13" fmla="*/ 924343 h 5285288"/>
                  <a:gd name="connsiteX14" fmla="*/ 3763497 w 3803565"/>
                  <a:gd name="connsiteY14" fmla="*/ 1149844 h 5285288"/>
                  <a:gd name="connsiteX15" fmla="*/ 3589532 w 3803565"/>
                  <a:gd name="connsiteY15" fmla="*/ 1269783 h 5285288"/>
                  <a:gd name="connsiteX16" fmla="*/ 3569685 w 3803565"/>
                  <a:gd name="connsiteY16" fmla="*/ 1262485 h 5285288"/>
                  <a:gd name="connsiteX17" fmla="*/ 2104210 w 3803565"/>
                  <a:gd name="connsiteY17" fmla="*/ 431577 h 5285288"/>
                  <a:gd name="connsiteX18" fmla="*/ 2103867 w 3803565"/>
                  <a:gd name="connsiteY18" fmla="*/ 431184 h 5285288"/>
                  <a:gd name="connsiteX19" fmla="*/ 2081712 w 3803565"/>
                  <a:gd name="connsiteY19" fmla="*/ 437405 h 5285288"/>
                  <a:gd name="connsiteX20" fmla="*/ 2039062 w 3803565"/>
                  <a:gd name="connsiteY20" fmla="*/ 539231 h 5285288"/>
                  <a:gd name="connsiteX21" fmla="*/ 2039057 w 3803565"/>
                  <a:gd name="connsiteY21" fmla="*/ 1065628 h 5285288"/>
                  <a:gd name="connsiteX22" fmla="*/ 2036280 w 3803565"/>
                  <a:gd name="connsiteY22" fmla="*/ 1081825 h 5285288"/>
                  <a:gd name="connsiteX23" fmla="*/ 2033454 w 3803565"/>
                  <a:gd name="connsiteY23" fmla="*/ 1858316 h 5285288"/>
                  <a:gd name="connsiteX24" fmla="*/ 2035311 w 3803565"/>
                  <a:gd name="connsiteY24" fmla="*/ 1861834 h 5285288"/>
                  <a:gd name="connsiteX25" fmla="*/ 2034644 w 3803565"/>
                  <a:gd name="connsiteY25" fmla="*/ 3038034 h 5285288"/>
                  <a:gd name="connsiteX26" fmla="*/ 2032504 w 3803565"/>
                  <a:gd name="connsiteY26" fmla="*/ 4802821 h 5285288"/>
                  <a:gd name="connsiteX27" fmla="*/ 1965706 w 3803565"/>
                  <a:gd name="connsiteY27" fmla="*/ 5061801 h 5285288"/>
                  <a:gd name="connsiteX28" fmla="*/ 1821738 w 3803565"/>
                  <a:gd name="connsiteY28" fmla="*/ 5216241 h 5285288"/>
                  <a:gd name="connsiteX29" fmla="*/ 1611102 w 3803565"/>
                  <a:gd name="connsiteY29" fmla="*/ 5284752 h 5285288"/>
                  <a:gd name="connsiteX30" fmla="*/ 1561548 w 3803565"/>
                  <a:gd name="connsiteY30" fmla="*/ 5285252 h 5285288"/>
                  <a:gd name="connsiteX0" fmla="*/ 171625 w 2413642"/>
                  <a:gd name="connsiteY0" fmla="*/ 5285252 h 5285288"/>
                  <a:gd name="connsiteX1" fmla="*/ 60001 w 2413642"/>
                  <a:gd name="connsiteY1" fmla="*/ 5257452 h 5285288"/>
                  <a:gd name="connsiteX2" fmla="*/ 0 w 2413642"/>
                  <a:gd name="connsiteY2" fmla="*/ 5227600 h 5285288"/>
                  <a:gd name="connsiteX3" fmla="*/ 235121 w 2413642"/>
                  <a:gd name="connsiteY3" fmla="*/ 4799004 h 5285288"/>
                  <a:gd name="connsiteX4" fmla="*/ 236965 w 2413642"/>
                  <a:gd name="connsiteY4" fmla="*/ 4105978 h 5285288"/>
                  <a:gd name="connsiteX5" fmla="*/ 239236 w 2413642"/>
                  <a:gd name="connsiteY5" fmla="*/ 1054770 h 5285288"/>
                  <a:gd name="connsiteX6" fmla="*/ 238051 w 2413642"/>
                  <a:gd name="connsiteY6" fmla="*/ 1017192 h 5285288"/>
                  <a:gd name="connsiteX7" fmla="*/ 236016 w 2413642"/>
                  <a:gd name="connsiteY7" fmla="*/ 494424 h 5285288"/>
                  <a:gd name="connsiteX8" fmla="*/ 281507 w 2413642"/>
                  <a:gd name="connsiteY8" fmla="*/ 171698 h 5285288"/>
                  <a:gd name="connsiteX9" fmla="*/ 446114 w 2413642"/>
                  <a:gd name="connsiteY9" fmla="*/ 25112 h 5285288"/>
                  <a:gd name="connsiteX10" fmla="*/ 645760 w 2413642"/>
                  <a:gd name="connsiteY10" fmla="*/ 3326 h 5285288"/>
                  <a:gd name="connsiteX11" fmla="*/ 821464 w 2413642"/>
                  <a:gd name="connsiteY11" fmla="*/ 37548 h 5285288"/>
                  <a:gd name="connsiteX12" fmla="*/ 2372617 w 2413642"/>
                  <a:gd name="connsiteY12" fmla="*/ 924343 h 5285288"/>
                  <a:gd name="connsiteX13" fmla="*/ 2373574 w 2413642"/>
                  <a:gd name="connsiteY13" fmla="*/ 1149844 h 5285288"/>
                  <a:gd name="connsiteX14" fmla="*/ 2199609 w 2413642"/>
                  <a:gd name="connsiteY14" fmla="*/ 1269783 h 5285288"/>
                  <a:gd name="connsiteX15" fmla="*/ 2179762 w 2413642"/>
                  <a:gd name="connsiteY15" fmla="*/ 1262485 h 5285288"/>
                  <a:gd name="connsiteX16" fmla="*/ 714287 w 2413642"/>
                  <a:gd name="connsiteY16" fmla="*/ 431577 h 5285288"/>
                  <a:gd name="connsiteX17" fmla="*/ 713944 w 2413642"/>
                  <a:gd name="connsiteY17" fmla="*/ 431184 h 5285288"/>
                  <a:gd name="connsiteX18" fmla="*/ 691789 w 2413642"/>
                  <a:gd name="connsiteY18" fmla="*/ 437405 h 5285288"/>
                  <a:gd name="connsiteX19" fmla="*/ 649139 w 2413642"/>
                  <a:gd name="connsiteY19" fmla="*/ 539231 h 5285288"/>
                  <a:gd name="connsiteX20" fmla="*/ 649134 w 2413642"/>
                  <a:gd name="connsiteY20" fmla="*/ 1065628 h 5285288"/>
                  <a:gd name="connsiteX21" fmla="*/ 646357 w 2413642"/>
                  <a:gd name="connsiteY21" fmla="*/ 1081825 h 5285288"/>
                  <a:gd name="connsiteX22" fmla="*/ 643531 w 2413642"/>
                  <a:gd name="connsiteY22" fmla="*/ 1858316 h 5285288"/>
                  <a:gd name="connsiteX23" fmla="*/ 645388 w 2413642"/>
                  <a:gd name="connsiteY23" fmla="*/ 1861834 h 5285288"/>
                  <a:gd name="connsiteX24" fmla="*/ 644721 w 2413642"/>
                  <a:gd name="connsiteY24" fmla="*/ 3038034 h 5285288"/>
                  <a:gd name="connsiteX25" fmla="*/ 642581 w 2413642"/>
                  <a:gd name="connsiteY25" fmla="*/ 4802821 h 5285288"/>
                  <a:gd name="connsiteX26" fmla="*/ 575783 w 2413642"/>
                  <a:gd name="connsiteY26" fmla="*/ 5061801 h 5285288"/>
                  <a:gd name="connsiteX27" fmla="*/ 431815 w 2413642"/>
                  <a:gd name="connsiteY27" fmla="*/ 5216241 h 5285288"/>
                  <a:gd name="connsiteX28" fmla="*/ 221179 w 2413642"/>
                  <a:gd name="connsiteY28" fmla="*/ 5284752 h 5285288"/>
                  <a:gd name="connsiteX29" fmla="*/ 171625 w 2413642"/>
                  <a:gd name="connsiteY29" fmla="*/ 5285252 h 5285288"/>
                  <a:gd name="connsiteX0" fmla="*/ 111624 w 2353641"/>
                  <a:gd name="connsiteY0" fmla="*/ 5285252 h 5285288"/>
                  <a:gd name="connsiteX1" fmla="*/ 0 w 2353641"/>
                  <a:gd name="connsiteY1" fmla="*/ 5257452 h 5285288"/>
                  <a:gd name="connsiteX2" fmla="*/ 175120 w 2353641"/>
                  <a:gd name="connsiteY2" fmla="*/ 4799004 h 5285288"/>
                  <a:gd name="connsiteX3" fmla="*/ 176964 w 2353641"/>
                  <a:gd name="connsiteY3" fmla="*/ 4105978 h 5285288"/>
                  <a:gd name="connsiteX4" fmla="*/ 179235 w 2353641"/>
                  <a:gd name="connsiteY4" fmla="*/ 1054770 h 5285288"/>
                  <a:gd name="connsiteX5" fmla="*/ 178050 w 2353641"/>
                  <a:gd name="connsiteY5" fmla="*/ 1017192 h 5285288"/>
                  <a:gd name="connsiteX6" fmla="*/ 176015 w 2353641"/>
                  <a:gd name="connsiteY6" fmla="*/ 494424 h 5285288"/>
                  <a:gd name="connsiteX7" fmla="*/ 221506 w 2353641"/>
                  <a:gd name="connsiteY7" fmla="*/ 171698 h 5285288"/>
                  <a:gd name="connsiteX8" fmla="*/ 386113 w 2353641"/>
                  <a:gd name="connsiteY8" fmla="*/ 25112 h 5285288"/>
                  <a:gd name="connsiteX9" fmla="*/ 585759 w 2353641"/>
                  <a:gd name="connsiteY9" fmla="*/ 3326 h 5285288"/>
                  <a:gd name="connsiteX10" fmla="*/ 761463 w 2353641"/>
                  <a:gd name="connsiteY10" fmla="*/ 37548 h 5285288"/>
                  <a:gd name="connsiteX11" fmla="*/ 2312616 w 2353641"/>
                  <a:gd name="connsiteY11" fmla="*/ 924343 h 5285288"/>
                  <a:gd name="connsiteX12" fmla="*/ 2313573 w 2353641"/>
                  <a:gd name="connsiteY12" fmla="*/ 1149844 h 5285288"/>
                  <a:gd name="connsiteX13" fmla="*/ 2139608 w 2353641"/>
                  <a:gd name="connsiteY13" fmla="*/ 1269783 h 5285288"/>
                  <a:gd name="connsiteX14" fmla="*/ 2119761 w 2353641"/>
                  <a:gd name="connsiteY14" fmla="*/ 1262485 h 5285288"/>
                  <a:gd name="connsiteX15" fmla="*/ 654286 w 2353641"/>
                  <a:gd name="connsiteY15" fmla="*/ 431577 h 5285288"/>
                  <a:gd name="connsiteX16" fmla="*/ 653943 w 2353641"/>
                  <a:gd name="connsiteY16" fmla="*/ 431184 h 5285288"/>
                  <a:gd name="connsiteX17" fmla="*/ 631788 w 2353641"/>
                  <a:gd name="connsiteY17" fmla="*/ 437405 h 5285288"/>
                  <a:gd name="connsiteX18" fmla="*/ 589138 w 2353641"/>
                  <a:gd name="connsiteY18" fmla="*/ 539231 h 5285288"/>
                  <a:gd name="connsiteX19" fmla="*/ 589133 w 2353641"/>
                  <a:gd name="connsiteY19" fmla="*/ 1065628 h 5285288"/>
                  <a:gd name="connsiteX20" fmla="*/ 586356 w 2353641"/>
                  <a:gd name="connsiteY20" fmla="*/ 1081825 h 5285288"/>
                  <a:gd name="connsiteX21" fmla="*/ 583530 w 2353641"/>
                  <a:gd name="connsiteY21" fmla="*/ 1858316 h 5285288"/>
                  <a:gd name="connsiteX22" fmla="*/ 585387 w 2353641"/>
                  <a:gd name="connsiteY22" fmla="*/ 1861834 h 5285288"/>
                  <a:gd name="connsiteX23" fmla="*/ 584720 w 2353641"/>
                  <a:gd name="connsiteY23" fmla="*/ 3038034 h 5285288"/>
                  <a:gd name="connsiteX24" fmla="*/ 582580 w 2353641"/>
                  <a:gd name="connsiteY24" fmla="*/ 4802821 h 5285288"/>
                  <a:gd name="connsiteX25" fmla="*/ 515782 w 2353641"/>
                  <a:gd name="connsiteY25" fmla="*/ 5061801 h 5285288"/>
                  <a:gd name="connsiteX26" fmla="*/ 371814 w 2353641"/>
                  <a:gd name="connsiteY26" fmla="*/ 5216241 h 5285288"/>
                  <a:gd name="connsiteX27" fmla="*/ 161178 w 2353641"/>
                  <a:gd name="connsiteY27" fmla="*/ 5284752 h 5285288"/>
                  <a:gd name="connsiteX28" fmla="*/ 111624 w 2353641"/>
                  <a:gd name="connsiteY28" fmla="*/ 5285252 h 5285288"/>
                  <a:gd name="connsiteX0" fmla="*/ 0 w 2242017"/>
                  <a:gd name="connsiteY0" fmla="*/ 5285252 h 5285252"/>
                  <a:gd name="connsiteX1" fmla="*/ 63496 w 2242017"/>
                  <a:gd name="connsiteY1" fmla="*/ 4799004 h 5285252"/>
                  <a:gd name="connsiteX2" fmla="*/ 65340 w 2242017"/>
                  <a:gd name="connsiteY2" fmla="*/ 4105978 h 5285252"/>
                  <a:gd name="connsiteX3" fmla="*/ 67611 w 2242017"/>
                  <a:gd name="connsiteY3" fmla="*/ 1054770 h 5285252"/>
                  <a:gd name="connsiteX4" fmla="*/ 66426 w 2242017"/>
                  <a:gd name="connsiteY4" fmla="*/ 1017192 h 5285252"/>
                  <a:gd name="connsiteX5" fmla="*/ 64391 w 2242017"/>
                  <a:gd name="connsiteY5" fmla="*/ 494424 h 5285252"/>
                  <a:gd name="connsiteX6" fmla="*/ 109882 w 2242017"/>
                  <a:gd name="connsiteY6" fmla="*/ 171698 h 5285252"/>
                  <a:gd name="connsiteX7" fmla="*/ 274489 w 2242017"/>
                  <a:gd name="connsiteY7" fmla="*/ 25112 h 5285252"/>
                  <a:gd name="connsiteX8" fmla="*/ 474135 w 2242017"/>
                  <a:gd name="connsiteY8" fmla="*/ 3326 h 5285252"/>
                  <a:gd name="connsiteX9" fmla="*/ 649839 w 2242017"/>
                  <a:gd name="connsiteY9" fmla="*/ 37548 h 5285252"/>
                  <a:gd name="connsiteX10" fmla="*/ 2200992 w 2242017"/>
                  <a:gd name="connsiteY10" fmla="*/ 924343 h 5285252"/>
                  <a:gd name="connsiteX11" fmla="*/ 2201949 w 2242017"/>
                  <a:gd name="connsiteY11" fmla="*/ 1149844 h 5285252"/>
                  <a:gd name="connsiteX12" fmla="*/ 2027984 w 2242017"/>
                  <a:gd name="connsiteY12" fmla="*/ 1269783 h 5285252"/>
                  <a:gd name="connsiteX13" fmla="*/ 2008137 w 2242017"/>
                  <a:gd name="connsiteY13" fmla="*/ 1262485 h 5285252"/>
                  <a:gd name="connsiteX14" fmla="*/ 542662 w 2242017"/>
                  <a:gd name="connsiteY14" fmla="*/ 431577 h 5285252"/>
                  <a:gd name="connsiteX15" fmla="*/ 542319 w 2242017"/>
                  <a:gd name="connsiteY15" fmla="*/ 431184 h 5285252"/>
                  <a:gd name="connsiteX16" fmla="*/ 520164 w 2242017"/>
                  <a:gd name="connsiteY16" fmla="*/ 437405 h 5285252"/>
                  <a:gd name="connsiteX17" fmla="*/ 477514 w 2242017"/>
                  <a:gd name="connsiteY17" fmla="*/ 539231 h 5285252"/>
                  <a:gd name="connsiteX18" fmla="*/ 477509 w 2242017"/>
                  <a:gd name="connsiteY18" fmla="*/ 1065628 h 5285252"/>
                  <a:gd name="connsiteX19" fmla="*/ 474732 w 2242017"/>
                  <a:gd name="connsiteY19" fmla="*/ 1081825 h 5285252"/>
                  <a:gd name="connsiteX20" fmla="*/ 471906 w 2242017"/>
                  <a:gd name="connsiteY20" fmla="*/ 1858316 h 5285252"/>
                  <a:gd name="connsiteX21" fmla="*/ 473763 w 2242017"/>
                  <a:gd name="connsiteY21" fmla="*/ 1861834 h 5285252"/>
                  <a:gd name="connsiteX22" fmla="*/ 473096 w 2242017"/>
                  <a:gd name="connsiteY22" fmla="*/ 3038034 h 5285252"/>
                  <a:gd name="connsiteX23" fmla="*/ 470956 w 2242017"/>
                  <a:gd name="connsiteY23" fmla="*/ 4802821 h 5285252"/>
                  <a:gd name="connsiteX24" fmla="*/ 404158 w 2242017"/>
                  <a:gd name="connsiteY24" fmla="*/ 5061801 h 5285252"/>
                  <a:gd name="connsiteX25" fmla="*/ 260190 w 2242017"/>
                  <a:gd name="connsiteY25" fmla="*/ 5216241 h 5285252"/>
                  <a:gd name="connsiteX26" fmla="*/ 49554 w 2242017"/>
                  <a:gd name="connsiteY26" fmla="*/ 5284752 h 5285252"/>
                  <a:gd name="connsiteX27" fmla="*/ 0 w 2242017"/>
                  <a:gd name="connsiteY27" fmla="*/ 5285252 h 5285252"/>
                  <a:gd name="connsiteX0" fmla="*/ 12071 w 2204534"/>
                  <a:gd name="connsiteY0" fmla="*/ 5284752 h 5284899"/>
                  <a:gd name="connsiteX1" fmla="*/ 26013 w 2204534"/>
                  <a:gd name="connsiteY1" fmla="*/ 4799004 h 5284899"/>
                  <a:gd name="connsiteX2" fmla="*/ 27857 w 2204534"/>
                  <a:gd name="connsiteY2" fmla="*/ 4105978 h 5284899"/>
                  <a:gd name="connsiteX3" fmla="*/ 30128 w 2204534"/>
                  <a:gd name="connsiteY3" fmla="*/ 1054770 h 5284899"/>
                  <a:gd name="connsiteX4" fmla="*/ 28943 w 2204534"/>
                  <a:gd name="connsiteY4" fmla="*/ 1017192 h 5284899"/>
                  <a:gd name="connsiteX5" fmla="*/ 26908 w 2204534"/>
                  <a:gd name="connsiteY5" fmla="*/ 494424 h 5284899"/>
                  <a:gd name="connsiteX6" fmla="*/ 72399 w 2204534"/>
                  <a:gd name="connsiteY6" fmla="*/ 171698 h 5284899"/>
                  <a:gd name="connsiteX7" fmla="*/ 237006 w 2204534"/>
                  <a:gd name="connsiteY7" fmla="*/ 25112 h 5284899"/>
                  <a:gd name="connsiteX8" fmla="*/ 436652 w 2204534"/>
                  <a:gd name="connsiteY8" fmla="*/ 3326 h 5284899"/>
                  <a:gd name="connsiteX9" fmla="*/ 612356 w 2204534"/>
                  <a:gd name="connsiteY9" fmla="*/ 37548 h 5284899"/>
                  <a:gd name="connsiteX10" fmla="*/ 2163509 w 2204534"/>
                  <a:gd name="connsiteY10" fmla="*/ 924343 h 5284899"/>
                  <a:gd name="connsiteX11" fmla="*/ 2164466 w 2204534"/>
                  <a:gd name="connsiteY11" fmla="*/ 1149844 h 5284899"/>
                  <a:gd name="connsiteX12" fmla="*/ 1990501 w 2204534"/>
                  <a:gd name="connsiteY12" fmla="*/ 1269783 h 5284899"/>
                  <a:gd name="connsiteX13" fmla="*/ 1970654 w 2204534"/>
                  <a:gd name="connsiteY13" fmla="*/ 1262485 h 5284899"/>
                  <a:gd name="connsiteX14" fmla="*/ 505179 w 2204534"/>
                  <a:gd name="connsiteY14" fmla="*/ 431577 h 5284899"/>
                  <a:gd name="connsiteX15" fmla="*/ 504836 w 2204534"/>
                  <a:gd name="connsiteY15" fmla="*/ 431184 h 5284899"/>
                  <a:gd name="connsiteX16" fmla="*/ 482681 w 2204534"/>
                  <a:gd name="connsiteY16" fmla="*/ 437405 h 5284899"/>
                  <a:gd name="connsiteX17" fmla="*/ 440031 w 2204534"/>
                  <a:gd name="connsiteY17" fmla="*/ 539231 h 5284899"/>
                  <a:gd name="connsiteX18" fmla="*/ 440026 w 2204534"/>
                  <a:gd name="connsiteY18" fmla="*/ 1065628 h 5284899"/>
                  <a:gd name="connsiteX19" fmla="*/ 437249 w 2204534"/>
                  <a:gd name="connsiteY19" fmla="*/ 1081825 h 5284899"/>
                  <a:gd name="connsiteX20" fmla="*/ 434423 w 2204534"/>
                  <a:gd name="connsiteY20" fmla="*/ 1858316 h 5284899"/>
                  <a:gd name="connsiteX21" fmla="*/ 436280 w 2204534"/>
                  <a:gd name="connsiteY21" fmla="*/ 1861834 h 5284899"/>
                  <a:gd name="connsiteX22" fmla="*/ 435613 w 2204534"/>
                  <a:gd name="connsiteY22" fmla="*/ 3038034 h 5284899"/>
                  <a:gd name="connsiteX23" fmla="*/ 433473 w 2204534"/>
                  <a:gd name="connsiteY23" fmla="*/ 4802821 h 5284899"/>
                  <a:gd name="connsiteX24" fmla="*/ 366675 w 2204534"/>
                  <a:gd name="connsiteY24" fmla="*/ 5061801 h 5284899"/>
                  <a:gd name="connsiteX25" fmla="*/ 222707 w 2204534"/>
                  <a:gd name="connsiteY25" fmla="*/ 5216241 h 5284899"/>
                  <a:gd name="connsiteX26" fmla="*/ 12071 w 2204534"/>
                  <a:gd name="connsiteY26" fmla="*/ 5284752 h 5284899"/>
                  <a:gd name="connsiteX0" fmla="*/ 197536 w 2179363"/>
                  <a:gd name="connsiteY0" fmla="*/ 5216241 h 5216241"/>
                  <a:gd name="connsiteX1" fmla="*/ 842 w 2179363"/>
                  <a:gd name="connsiteY1" fmla="*/ 4799004 h 5216241"/>
                  <a:gd name="connsiteX2" fmla="*/ 2686 w 2179363"/>
                  <a:gd name="connsiteY2" fmla="*/ 4105978 h 5216241"/>
                  <a:gd name="connsiteX3" fmla="*/ 4957 w 2179363"/>
                  <a:gd name="connsiteY3" fmla="*/ 1054770 h 5216241"/>
                  <a:gd name="connsiteX4" fmla="*/ 3772 w 2179363"/>
                  <a:gd name="connsiteY4" fmla="*/ 1017192 h 5216241"/>
                  <a:gd name="connsiteX5" fmla="*/ 1737 w 2179363"/>
                  <a:gd name="connsiteY5" fmla="*/ 494424 h 5216241"/>
                  <a:gd name="connsiteX6" fmla="*/ 47228 w 2179363"/>
                  <a:gd name="connsiteY6" fmla="*/ 171698 h 5216241"/>
                  <a:gd name="connsiteX7" fmla="*/ 211835 w 2179363"/>
                  <a:gd name="connsiteY7" fmla="*/ 25112 h 5216241"/>
                  <a:gd name="connsiteX8" fmla="*/ 411481 w 2179363"/>
                  <a:gd name="connsiteY8" fmla="*/ 3326 h 5216241"/>
                  <a:gd name="connsiteX9" fmla="*/ 587185 w 2179363"/>
                  <a:gd name="connsiteY9" fmla="*/ 37548 h 5216241"/>
                  <a:gd name="connsiteX10" fmla="*/ 2138338 w 2179363"/>
                  <a:gd name="connsiteY10" fmla="*/ 924343 h 5216241"/>
                  <a:gd name="connsiteX11" fmla="*/ 2139295 w 2179363"/>
                  <a:gd name="connsiteY11" fmla="*/ 1149844 h 5216241"/>
                  <a:gd name="connsiteX12" fmla="*/ 1965330 w 2179363"/>
                  <a:gd name="connsiteY12" fmla="*/ 1269783 h 5216241"/>
                  <a:gd name="connsiteX13" fmla="*/ 1945483 w 2179363"/>
                  <a:gd name="connsiteY13" fmla="*/ 1262485 h 5216241"/>
                  <a:gd name="connsiteX14" fmla="*/ 480008 w 2179363"/>
                  <a:gd name="connsiteY14" fmla="*/ 431577 h 5216241"/>
                  <a:gd name="connsiteX15" fmla="*/ 479665 w 2179363"/>
                  <a:gd name="connsiteY15" fmla="*/ 431184 h 5216241"/>
                  <a:gd name="connsiteX16" fmla="*/ 457510 w 2179363"/>
                  <a:gd name="connsiteY16" fmla="*/ 437405 h 5216241"/>
                  <a:gd name="connsiteX17" fmla="*/ 414860 w 2179363"/>
                  <a:gd name="connsiteY17" fmla="*/ 539231 h 5216241"/>
                  <a:gd name="connsiteX18" fmla="*/ 414855 w 2179363"/>
                  <a:gd name="connsiteY18" fmla="*/ 1065628 h 5216241"/>
                  <a:gd name="connsiteX19" fmla="*/ 412078 w 2179363"/>
                  <a:gd name="connsiteY19" fmla="*/ 1081825 h 5216241"/>
                  <a:gd name="connsiteX20" fmla="*/ 409252 w 2179363"/>
                  <a:gd name="connsiteY20" fmla="*/ 1858316 h 5216241"/>
                  <a:gd name="connsiteX21" fmla="*/ 411109 w 2179363"/>
                  <a:gd name="connsiteY21" fmla="*/ 1861834 h 5216241"/>
                  <a:gd name="connsiteX22" fmla="*/ 410442 w 2179363"/>
                  <a:gd name="connsiteY22" fmla="*/ 3038034 h 5216241"/>
                  <a:gd name="connsiteX23" fmla="*/ 408302 w 2179363"/>
                  <a:gd name="connsiteY23" fmla="*/ 4802821 h 5216241"/>
                  <a:gd name="connsiteX24" fmla="*/ 341504 w 2179363"/>
                  <a:gd name="connsiteY24" fmla="*/ 5061801 h 5216241"/>
                  <a:gd name="connsiteX25" fmla="*/ 197536 w 2179363"/>
                  <a:gd name="connsiteY25" fmla="*/ 5216241 h 5216241"/>
                  <a:gd name="connsiteX0" fmla="*/ 341504 w 2179363"/>
                  <a:gd name="connsiteY0" fmla="*/ 5061801 h 5061802"/>
                  <a:gd name="connsiteX1" fmla="*/ 842 w 2179363"/>
                  <a:gd name="connsiteY1" fmla="*/ 4799004 h 5061802"/>
                  <a:gd name="connsiteX2" fmla="*/ 2686 w 2179363"/>
                  <a:gd name="connsiteY2" fmla="*/ 4105978 h 5061802"/>
                  <a:gd name="connsiteX3" fmla="*/ 4957 w 2179363"/>
                  <a:gd name="connsiteY3" fmla="*/ 1054770 h 5061802"/>
                  <a:gd name="connsiteX4" fmla="*/ 3772 w 2179363"/>
                  <a:gd name="connsiteY4" fmla="*/ 1017192 h 5061802"/>
                  <a:gd name="connsiteX5" fmla="*/ 1737 w 2179363"/>
                  <a:gd name="connsiteY5" fmla="*/ 494424 h 5061802"/>
                  <a:gd name="connsiteX6" fmla="*/ 47228 w 2179363"/>
                  <a:gd name="connsiteY6" fmla="*/ 171698 h 5061802"/>
                  <a:gd name="connsiteX7" fmla="*/ 211835 w 2179363"/>
                  <a:gd name="connsiteY7" fmla="*/ 25112 h 5061802"/>
                  <a:gd name="connsiteX8" fmla="*/ 411481 w 2179363"/>
                  <a:gd name="connsiteY8" fmla="*/ 3326 h 5061802"/>
                  <a:gd name="connsiteX9" fmla="*/ 587185 w 2179363"/>
                  <a:gd name="connsiteY9" fmla="*/ 37548 h 5061802"/>
                  <a:gd name="connsiteX10" fmla="*/ 2138338 w 2179363"/>
                  <a:gd name="connsiteY10" fmla="*/ 924343 h 5061802"/>
                  <a:gd name="connsiteX11" fmla="*/ 2139295 w 2179363"/>
                  <a:gd name="connsiteY11" fmla="*/ 1149844 h 5061802"/>
                  <a:gd name="connsiteX12" fmla="*/ 1965330 w 2179363"/>
                  <a:gd name="connsiteY12" fmla="*/ 1269783 h 5061802"/>
                  <a:gd name="connsiteX13" fmla="*/ 1945483 w 2179363"/>
                  <a:gd name="connsiteY13" fmla="*/ 1262485 h 5061802"/>
                  <a:gd name="connsiteX14" fmla="*/ 480008 w 2179363"/>
                  <a:gd name="connsiteY14" fmla="*/ 431577 h 5061802"/>
                  <a:gd name="connsiteX15" fmla="*/ 479665 w 2179363"/>
                  <a:gd name="connsiteY15" fmla="*/ 431184 h 5061802"/>
                  <a:gd name="connsiteX16" fmla="*/ 457510 w 2179363"/>
                  <a:gd name="connsiteY16" fmla="*/ 437405 h 5061802"/>
                  <a:gd name="connsiteX17" fmla="*/ 414860 w 2179363"/>
                  <a:gd name="connsiteY17" fmla="*/ 539231 h 5061802"/>
                  <a:gd name="connsiteX18" fmla="*/ 414855 w 2179363"/>
                  <a:gd name="connsiteY18" fmla="*/ 1065628 h 5061802"/>
                  <a:gd name="connsiteX19" fmla="*/ 412078 w 2179363"/>
                  <a:gd name="connsiteY19" fmla="*/ 1081825 h 5061802"/>
                  <a:gd name="connsiteX20" fmla="*/ 409252 w 2179363"/>
                  <a:gd name="connsiteY20" fmla="*/ 1858316 h 5061802"/>
                  <a:gd name="connsiteX21" fmla="*/ 411109 w 2179363"/>
                  <a:gd name="connsiteY21" fmla="*/ 1861834 h 5061802"/>
                  <a:gd name="connsiteX22" fmla="*/ 410442 w 2179363"/>
                  <a:gd name="connsiteY22" fmla="*/ 3038034 h 5061802"/>
                  <a:gd name="connsiteX23" fmla="*/ 408302 w 2179363"/>
                  <a:gd name="connsiteY23" fmla="*/ 4802821 h 5061802"/>
                  <a:gd name="connsiteX24" fmla="*/ 341504 w 2179363"/>
                  <a:gd name="connsiteY24" fmla="*/ 5061801 h 5061802"/>
                  <a:gd name="connsiteX0" fmla="*/ 341504 w 2179363"/>
                  <a:gd name="connsiteY0" fmla="*/ 5061801 h 5061802"/>
                  <a:gd name="connsiteX1" fmla="*/ 2686 w 2179363"/>
                  <a:gd name="connsiteY1" fmla="*/ 4105978 h 5061802"/>
                  <a:gd name="connsiteX2" fmla="*/ 4957 w 2179363"/>
                  <a:gd name="connsiteY2" fmla="*/ 1054770 h 5061802"/>
                  <a:gd name="connsiteX3" fmla="*/ 3772 w 2179363"/>
                  <a:gd name="connsiteY3" fmla="*/ 1017192 h 5061802"/>
                  <a:gd name="connsiteX4" fmla="*/ 1737 w 2179363"/>
                  <a:gd name="connsiteY4" fmla="*/ 494424 h 5061802"/>
                  <a:gd name="connsiteX5" fmla="*/ 47228 w 2179363"/>
                  <a:gd name="connsiteY5" fmla="*/ 171698 h 5061802"/>
                  <a:gd name="connsiteX6" fmla="*/ 211835 w 2179363"/>
                  <a:gd name="connsiteY6" fmla="*/ 25112 h 5061802"/>
                  <a:gd name="connsiteX7" fmla="*/ 411481 w 2179363"/>
                  <a:gd name="connsiteY7" fmla="*/ 3326 h 5061802"/>
                  <a:gd name="connsiteX8" fmla="*/ 587185 w 2179363"/>
                  <a:gd name="connsiteY8" fmla="*/ 37548 h 5061802"/>
                  <a:gd name="connsiteX9" fmla="*/ 2138338 w 2179363"/>
                  <a:gd name="connsiteY9" fmla="*/ 924343 h 5061802"/>
                  <a:gd name="connsiteX10" fmla="*/ 2139295 w 2179363"/>
                  <a:gd name="connsiteY10" fmla="*/ 1149844 h 5061802"/>
                  <a:gd name="connsiteX11" fmla="*/ 1965330 w 2179363"/>
                  <a:gd name="connsiteY11" fmla="*/ 1269783 h 5061802"/>
                  <a:gd name="connsiteX12" fmla="*/ 1945483 w 2179363"/>
                  <a:gd name="connsiteY12" fmla="*/ 1262485 h 5061802"/>
                  <a:gd name="connsiteX13" fmla="*/ 480008 w 2179363"/>
                  <a:gd name="connsiteY13" fmla="*/ 431577 h 5061802"/>
                  <a:gd name="connsiteX14" fmla="*/ 479665 w 2179363"/>
                  <a:gd name="connsiteY14" fmla="*/ 431184 h 5061802"/>
                  <a:gd name="connsiteX15" fmla="*/ 457510 w 2179363"/>
                  <a:gd name="connsiteY15" fmla="*/ 437405 h 5061802"/>
                  <a:gd name="connsiteX16" fmla="*/ 414860 w 2179363"/>
                  <a:gd name="connsiteY16" fmla="*/ 539231 h 5061802"/>
                  <a:gd name="connsiteX17" fmla="*/ 414855 w 2179363"/>
                  <a:gd name="connsiteY17" fmla="*/ 1065628 h 5061802"/>
                  <a:gd name="connsiteX18" fmla="*/ 412078 w 2179363"/>
                  <a:gd name="connsiteY18" fmla="*/ 1081825 h 5061802"/>
                  <a:gd name="connsiteX19" fmla="*/ 409252 w 2179363"/>
                  <a:gd name="connsiteY19" fmla="*/ 1858316 h 5061802"/>
                  <a:gd name="connsiteX20" fmla="*/ 411109 w 2179363"/>
                  <a:gd name="connsiteY20" fmla="*/ 1861834 h 5061802"/>
                  <a:gd name="connsiteX21" fmla="*/ 410442 w 2179363"/>
                  <a:gd name="connsiteY21" fmla="*/ 3038034 h 5061802"/>
                  <a:gd name="connsiteX22" fmla="*/ 408302 w 2179363"/>
                  <a:gd name="connsiteY22" fmla="*/ 4802821 h 5061802"/>
                  <a:gd name="connsiteX23" fmla="*/ 341504 w 2179363"/>
                  <a:gd name="connsiteY23" fmla="*/ 5061801 h 5061802"/>
                  <a:gd name="connsiteX0" fmla="*/ 408302 w 2179363"/>
                  <a:gd name="connsiteY0" fmla="*/ 4802821 h 4858808"/>
                  <a:gd name="connsiteX1" fmla="*/ 2686 w 2179363"/>
                  <a:gd name="connsiteY1" fmla="*/ 4105978 h 4858808"/>
                  <a:gd name="connsiteX2" fmla="*/ 4957 w 2179363"/>
                  <a:gd name="connsiteY2" fmla="*/ 1054770 h 4858808"/>
                  <a:gd name="connsiteX3" fmla="*/ 3772 w 2179363"/>
                  <a:gd name="connsiteY3" fmla="*/ 1017192 h 4858808"/>
                  <a:gd name="connsiteX4" fmla="*/ 1737 w 2179363"/>
                  <a:gd name="connsiteY4" fmla="*/ 494424 h 4858808"/>
                  <a:gd name="connsiteX5" fmla="*/ 47228 w 2179363"/>
                  <a:gd name="connsiteY5" fmla="*/ 171698 h 4858808"/>
                  <a:gd name="connsiteX6" fmla="*/ 211835 w 2179363"/>
                  <a:gd name="connsiteY6" fmla="*/ 25112 h 4858808"/>
                  <a:gd name="connsiteX7" fmla="*/ 411481 w 2179363"/>
                  <a:gd name="connsiteY7" fmla="*/ 3326 h 4858808"/>
                  <a:gd name="connsiteX8" fmla="*/ 587185 w 2179363"/>
                  <a:gd name="connsiteY8" fmla="*/ 37548 h 4858808"/>
                  <a:gd name="connsiteX9" fmla="*/ 2138338 w 2179363"/>
                  <a:gd name="connsiteY9" fmla="*/ 924343 h 4858808"/>
                  <a:gd name="connsiteX10" fmla="*/ 2139295 w 2179363"/>
                  <a:gd name="connsiteY10" fmla="*/ 1149844 h 4858808"/>
                  <a:gd name="connsiteX11" fmla="*/ 1965330 w 2179363"/>
                  <a:gd name="connsiteY11" fmla="*/ 1269783 h 4858808"/>
                  <a:gd name="connsiteX12" fmla="*/ 1945483 w 2179363"/>
                  <a:gd name="connsiteY12" fmla="*/ 1262485 h 4858808"/>
                  <a:gd name="connsiteX13" fmla="*/ 480008 w 2179363"/>
                  <a:gd name="connsiteY13" fmla="*/ 431577 h 4858808"/>
                  <a:gd name="connsiteX14" fmla="*/ 479665 w 2179363"/>
                  <a:gd name="connsiteY14" fmla="*/ 431184 h 4858808"/>
                  <a:gd name="connsiteX15" fmla="*/ 457510 w 2179363"/>
                  <a:gd name="connsiteY15" fmla="*/ 437405 h 4858808"/>
                  <a:gd name="connsiteX16" fmla="*/ 414860 w 2179363"/>
                  <a:gd name="connsiteY16" fmla="*/ 539231 h 4858808"/>
                  <a:gd name="connsiteX17" fmla="*/ 414855 w 2179363"/>
                  <a:gd name="connsiteY17" fmla="*/ 1065628 h 4858808"/>
                  <a:gd name="connsiteX18" fmla="*/ 412078 w 2179363"/>
                  <a:gd name="connsiteY18" fmla="*/ 1081825 h 4858808"/>
                  <a:gd name="connsiteX19" fmla="*/ 409252 w 2179363"/>
                  <a:gd name="connsiteY19" fmla="*/ 1858316 h 4858808"/>
                  <a:gd name="connsiteX20" fmla="*/ 411109 w 2179363"/>
                  <a:gd name="connsiteY20" fmla="*/ 1861834 h 4858808"/>
                  <a:gd name="connsiteX21" fmla="*/ 410442 w 2179363"/>
                  <a:gd name="connsiteY21" fmla="*/ 3038034 h 4858808"/>
                  <a:gd name="connsiteX22" fmla="*/ 408302 w 2179363"/>
                  <a:gd name="connsiteY22" fmla="*/ 4802821 h 4858808"/>
                  <a:gd name="connsiteX0" fmla="*/ 410442 w 2179363"/>
                  <a:gd name="connsiteY0" fmla="*/ 3038034 h 4170698"/>
                  <a:gd name="connsiteX1" fmla="*/ 2686 w 2179363"/>
                  <a:gd name="connsiteY1" fmla="*/ 4105978 h 4170698"/>
                  <a:gd name="connsiteX2" fmla="*/ 4957 w 2179363"/>
                  <a:gd name="connsiteY2" fmla="*/ 1054770 h 4170698"/>
                  <a:gd name="connsiteX3" fmla="*/ 3772 w 2179363"/>
                  <a:gd name="connsiteY3" fmla="*/ 1017192 h 4170698"/>
                  <a:gd name="connsiteX4" fmla="*/ 1737 w 2179363"/>
                  <a:gd name="connsiteY4" fmla="*/ 494424 h 4170698"/>
                  <a:gd name="connsiteX5" fmla="*/ 47228 w 2179363"/>
                  <a:gd name="connsiteY5" fmla="*/ 171698 h 4170698"/>
                  <a:gd name="connsiteX6" fmla="*/ 211835 w 2179363"/>
                  <a:gd name="connsiteY6" fmla="*/ 25112 h 4170698"/>
                  <a:gd name="connsiteX7" fmla="*/ 411481 w 2179363"/>
                  <a:gd name="connsiteY7" fmla="*/ 3326 h 4170698"/>
                  <a:gd name="connsiteX8" fmla="*/ 587185 w 2179363"/>
                  <a:gd name="connsiteY8" fmla="*/ 37548 h 4170698"/>
                  <a:gd name="connsiteX9" fmla="*/ 2138338 w 2179363"/>
                  <a:gd name="connsiteY9" fmla="*/ 924343 h 4170698"/>
                  <a:gd name="connsiteX10" fmla="*/ 2139295 w 2179363"/>
                  <a:gd name="connsiteY10" fmla="*/ 1149844 h 4170698"/>
                  <a:gd name="connsiteX11" fmla="*/ 1965330 w 2179363"/>
                  <a:gd name="connsiteY11" fmla="*/ 1269783 h 4170698"/>
                  <a:gd name="connsiteX12" fmla="*/ 1945483 w 2179363"/>
                  <a:gd name="connsiteY12" fmla="*/ 1262485 h 4170698"/>
                  <a:gd name="connsiteX13" fmla="*/ 480008 w 2179363"/>
                  <a:gd name="connsiteY13" fmla="*/ 431577 h 4170698"/>
                  <a:gd name="connsiteX14" fmla="*/ 479665 w 2179363"/>
                  <a:gd name="connsiteY14" fmla="*/ 431184 h 4170698"/>
                  <a:gd name="connsiteX15" fmla="*/ 457510 w 2179363"/>
                  <a:gd name="connsiteY15" fmla="*/ 437405 h 4170698"/>
                  <a:gd name="connsiteX16" fmla="*/ 414860 w 2179363"/>
                  <a:gd name="connsiteY16" fmla="*/ 539231 h 4170698"/>
                  <a:gd name="connsiteX17" fmla="*/ 414855 w 2179363"/>
                  <a:gd name="connsiteY17" fmla="*/ 1065628 h 4170698"/>
                  <a:gd name="connsiteX18" fmla="*/ 412078 w 2179363"/>
                  <a:gd name="connsiteY18" fmla="*/ 1081825 h 4170698"/>
                  <a:gd name="connsiteX19" fmla="*/ 409252 w 2179363"/>
                  <a:gd name="connsiteY19" fmla="*/ 1858316 h 4170698"/>
                  <a:gd name="connsiteX20" fmla="*/ 411109 w 2179363"/>
                  <a:gd name="connsiteY20" fmla="*/ 1861834 h 4170698"/>
                  <a:gd name="connsiteX21" fmla="*/ 410442 w 2179363"/>
                  <a:gd name="connsiteY21" fmla="*/ 3038034 h 4170698"/>
                  <a:gd name="connsiteX0" fmla="*/ 410442 w 2179363"/>
                  <a:gd name="connsiteY0" fmla="*/ 3038034 h 3038034"/>
                  <a:gd name="connsiteX1" fmla="*/ 4957 w 2179363"/>
                  <a:gd name="connsiteY1" fmla="*/ 1054770 h 3038034"/>
                  <a:gd name="connsiteX2" fmla="*/ 3772 w 2179363"/>
                  <a:gd name="connsiteY2" fmla="*/ 1017192 h 3038034"/>
                  <a:gd name="connsiteX3" fmla="*/ 1737 w 2179363"/>
                  <a:gd name="connsiteY3" fmla="*/ 494424 h 3038034"/>
                  <a:gd name="connsiteX4" fmla="*/ 47228 w 2179363"/>
                  <a:gd name="connsiteY4" fmla="*/ 171698 h 3038034"/>
                  <a:gd name="connsiteX5" fmla="*/ 211835 w 2179363"/>
                  <a:gd name="connsiteY5" fmla="*/ 25112 h 3038034"/>
                  <a:gd name="connsiteX6" fmla="*/ 411481 w 2179363"/>
                  <a:gd name="connsiteY6" fmla="*/ 3326 h 3038034"/>
                  <a:gd name="connsiteX7" fmla="*/ 587185 w 2179363"/>
                  <a:gd name="connsiteY7" fmla="*/ 37548 h 3038034"/>
                  <a:gd name="connsiteX8" fmla="*/ 2138338 w 2179363"/>
                  <a:gd name="connsiteY8" fmla="*/ 924343 h 3038034"/>
                  <a:gd name="connsiteX9" fmla="*/ 2139295 w 2179363"/>
                  <a:gd name="connsiteY9" fmla="*/ 1149844 h 3038034"/>
                  <a:gd name="connsiteX10" fmla="*/ 1965330 w 2179363"/>
                  <a:gd name="connsiteY10" fmla="*/ 1269783 h 3038034"/>
                  <a:gd name="connsiteX11" fmla="*/ 1945483 w 2179363"/>
                  <a:gd name="connsiteY11" fmla="*/ 1262485 h 3038034"/>
                  <a:gd name="connsiteX12" fmla="*/ 480008 w 2179363"/>
                  <a:gd name="connsiteY12" fmla="*/ 431577 h 3038034"/>
                  <a:gd name="connsiteX13" fmla="*/ 479665 w 2179363"/>
                  <a:gd name="connsiteY13" fmla="*/ 431184 h 3038034"/>
                  <a:gd name="connsiteX14" fmla="*/ 457510 w 2179363"/>
                  <a:gd name="connsiteY14" fmla="*/ 437405 h 3038034"/>
                  <a:gd name="connsiteX15" fmla="*/ 414860 w 2179363"/>
                  <a:gd name="connsiteY15" fmla="*/ 539231 h 3038034"/>
                  <a:gd name="connsiteX16" fmla="*/ 414855 w 2179363"/>
                  <a:gd name="connsiteY16" fmla="*/ 1065628 h 3038034"/>
                  <a:gd name="connsiteX17" fmla="*/ 412078 w 2179363"/>
                  <a:gd name="connsiteY17" fmla="*/ 1081825 h 3038034"/>
                  <a:gd name="connsiteX18" fmla="*/ 409252 w 2179363"/>
                  <a:gd name="connsiteY18" fmla="*/ 1858316 h 3038034"/>
                  <a:gd name="connsiteX19" fmla="*/ 411109 w 2179363"/>
                  <a:gd name="connsiteY19" fmla="*/ 1861834 h 3038034"/>
                  <a:gd name="connsiteX20" fmla="*/ 410442 w 2179363"/>
                  <a:gd name="connsiteY20" fmla="*/ 3038034 h 3038034"/>
                  <a:gd name="connsiteX0" fmla="*/ 411109 w 2179363"/>
                  <a:gd name="connsiteY0" fmla="*/ 1861834 h 1861834"/>
                  <a:gd name="connsiteX1" fmla="*/ 4957 w 2179363"/>
                  <a:gd name="connsiteY1" fmla="*/ 1054770 h 1861834"/>
                  <a:gd name="connsiteX2" fmla="*/ 3772 w 2179363"/>
                  <a:gd name="connsiteY2" fmla="*/ 1017192 h 1861834"/>
                  <a:gd name="connsiteX3" fmla="*/ 1737 w 2179363"/>
                  <a:gd name="connsiteY3" fmla="*/ 494424 h 1861834"/>
                  <a:gd name="connsiteX4" fmla="*/ 47228 w 2179363"/>
                  <a:gd name="connsiteY4" fmla="*/ 171698 h 1861834"/>
                  <a:gd name="connsiteX5" fmla="*/ 211835 w 2179363"/>
                  <a:gd name="connsiteY5" fmla="*/ 25112 h 1861834"/>
                  <a:gd name="connsiteX6" fmla="*/ 411481 w 2179363"/>
                  <a:gd name="connsiteY6" fmla="*/ 3326 h 1861834"/>
                  <a:gd name="connsiteX7" fmla="*/ 587185 w 2179363"/>
                  <a:gd name="connsiteY7" fmla="*/ 37548 h 1861834"/>
                  <a:gd name="connsiteX8" fmla="*/ 2138338 w 2179363"/>
                  <a:gd name="connsiteY8" fmla="*/ 924343 h 1861834"/>
                  <a:gd name="connsiteX9" fmla="*/ 2139295 w 2179363"/>
                  <a:gd name="connsiteY9" fmla="*/ 1149844 h 1861834"/>
                  <a:gd name="connsiteX10" fmla="*/ 1965330 w 2179363"/>
                  <a:gd name="connsiteY10" fmla="*/ 1269783 h 1861834"/>
                  <a:gd name="connsiteX11" fmla="*/ 1945483 w 2179363"/>
                  <a:gd name="connsiteY11" fmla="*/ 1262485 h 1861834"/>
                  <a:gd name="connsiteX12" fmla="*/ 480008 w 2179363"/>
                  <a:gd name="connsiteY12" fmla="*/ 431577 h 1861834"/>
                  <a:gd name="connsiteX13" fmla="*/ 479665 w 2179363"/>
                  <a:gd name="connsiteY13" fmla="*/ 431184 h 1861834"/>
                  <a:gd name="connsiteX14" fmla="*/ 457510 w 2179363"/>
                  <a:gd name="connsiteY14" fmla="*/ 437405 h 1861834"/>
                  <a:gd name="connsiteX15" fmla="*/ 414860 w 2179363"/>
                  <a:gd name="connsiteY15" fmla="*/ 539231 h 1861834"/>
                  <a:gd name="connsiteX16" fmla="*/ 414855 w 2179363"/>
                  <a:gd name="connsiteY16" fmla="*/ 1065628 h 1861834"/>
                  <a:gd name="connsiteX17" fmla="*/ 412078 w 2179363"/>
                  <a:gd name="connsiteY17" fmla="*/ 1081825 h 1861834"/>
                  <a:gd name="connsiteX18" fmla="*/ 409252 w 2179363"/>
                  <a:gd name="connsiteY18" fmla="*/ 1858316 h 1861834"/>
                  <a:gd name="connsiteX19" fmla="*/ 411109 w 2179363"/>
                  <a:gd name="connsiteY19" fmla="*/ 1861834 h 1861834"/>
                  <a:gd name="connsiteX0" fmla="*/ 409252 w 2179363"/>
                  <a:gd name="connsiteY0" fmla="*/ 1858316 h 1858316"/>
                  <a:gd name="connsiteX1" fmla="*/ 4957 w 2179363"/>
                  <a:gd name="connsiteY1" fmla="*/ 1054770 h 1858316"/>
                  <a:gd name="connsiteX2" fmla="*/ 3772 w 2179363"/>
                  <a:gd name="connsiteY2" fmla="*/ 1017192 h 1858316"/>
                  <a:gd name="connsiteX3" fmla="*/ 1737 w 2179363"/>
                  <a:gd name="connsiteY3" fmla="*/ 494424 h 1858316"/>
                  <a:gd name="connsiteX4" fmla="*/ 47228 w 2179363"/>
                  <a:gd name="connsiteY4" fmla="*/ 171698 h 1858316"/>
                  <a:gd name="connsiteX5" fmla="*/ 211835 w 2179363"/>
                  <a:gd name="connsiteY5" fmla="*/ 25112 h 1858316"/>
                  <a:gd name="connsiteX6" fmla="*/ 411481 w 2179363"/>
                  <a:gd name="connsiteY6" fmla="*/ 3326 h 1858316"/>
                  <a:gd name="connsiteX7" fmla="*/ 587185 w 2179363"/>
                  <a:gd name="connsiteY7" fmla="*/ 37548 h 1858316"/>
                  <a:gd name="connsiteX8" fmla="*/ 2138338 w 2179363"/>
                  <a:gd name="connsiteY8" fmla="*/ 924343 h 1858316"/>
                  <a:gd name="connsiteX9" fmla="*/ 2139295 w 2179363"/>
                  <a:gd name="connsiteY9" fmla="*/ 1149844 h 1858316"/>
                  <a:gd name="connsiteX10" fmla="*/ 1965330 w 2179363"/>
                  <a:gd name="connsiteY10" fmla="*/ 1269783 h 1858316"/>
                  <a:gd name="connsiteX11" fmla="*/ 1945483 w 2179363"/>
                  <a:gd name="connsiteY11" fmla="*/ 1262485 h 1858316"/>
                  <a:gd name="connsiteX12" fmla="*/ 480008 w 2179363"/>
                  <a:gd name="connsiteY12" fmla="*/ 431577 h 1858316"/>
                  <a:gd name="connsiteX13" fmla="*/ 479665 w 2179363"/>
                  <a:gd name="connsiteY13" fmla="*/ 431184 h 1858316"/>
                  <a:gd name="connsiteX14" fmla="*/ 457510 w 2179363"/>
                  <a:gd name="connsiteY14" fmla="*/ 437405 h 1858316"/>
                  <a:gd name="connsiteX15" fmla="*/ 414860 w 2179363"/>
                  <a:gd name="connsiteY15" fmla="*/ 539231 h 1858316"/>
                  <a:gd name="connsiteX16" fmla="*/ 414855 w 2179363"/>
                  <a:gd name="connsiteY16" fmla="*/ 1065628 h 1858316"/>
                  <a:gd name="connsiteX17" fmla="*/ 412078 w 2179363"/>
                  <a:gd name="connsiteY17" fmla="*/ 1081825 h 1858316"/>
                  <a:gd name="connsiteX18" fmla="*/ 409252 w 2179363"/>
                  <a:gd name="connsiteY18" fmla="*/ 1858316 h 1858316"/>
                  <a:gd name="connsiteX0" fmla="*/ 407757 w 2177868"/>
                  <a:gd name="connsiteY0" fmla="*/ 1858316 h 1858316"/>
                  <a:gd name="connsiteX1" fmla="*/ 3462 w 2177868"/>
                  <a:gd name="connsiteY1" fmla="*/ 1054770 h 1858316"/>
                  <a:gd name="connsiteX2" fmla="*/ 242 w 2177868"/>
                  <a:gd name="connsiteY2" fmla="*/ 494424 h 1858316"/>
                  <a:gd name="connsiteX3" fmla="*/ 45733 w 2177868"/>
                  <a:gd name="connsiteY3" fmla="*/ 171698 h 1858316"/>
                  <a:gd name="connsiteX4" fmla="*/ 210340 w 2177868"/>
                  <a:gd name="connsiteY4" fmla="*/ 25112 h 1858316"/>
                  <a:gd name="connsiteX5" fmla="*/ 409986 w 2177868"/>
                  <a:gd name="connsiteY5" fmla="*/ 3326 h 1858316"/>
                  <a:gd name="connsiteX6" fmla="*/ 585690 w 2177868"/>
                  <a:gd name="connsiteY6" fmla="*/ 37548 h 1858316"/>
                  <a:gd name="connsiteX7" fmla="*/ 2136843 w 2177868"/>
                  <a:gd name="connsiteY7" fmla="*/ 924343 h 1858316"/>
                  <a:gd name="connsiteX8" fmla="*/ 2137800 w 2177868"/>
                  <a:gd name="connsiteY8" fmla="*/ 1149844 h 1858316"/>
                  <a:gd name="connsiteX9" fmla="*/ 1963835 w 2177868"/>
                  <a:gd name="connsiteY9" fmla="*/ 1269783 h 1858316"/>
                  <a:gd name="connsiteX10" fmla="*/ 1943988 w 2177868"/>
                  <a:gd name="connsiteY10" fmla="*/ 1262485 h 1858316"/>
                  <a:gd name="connsiteX11" fmla="*/ 478513 w 2177868"/>
                  <a:gd name="connsiteY11" fmla="*/ 431577 h 1858316"/>
                  <a:gd name="connsiteX12" fmla="*/ 478170 w 2177868"/>
                  <a:gd name="connsiteY12" fmla="*/ 431184 h 1858316"/>
                  <a:gd name="connsiteX13" fmla="*/ 456015 w 2177868"/>
                  <a:gd name="connsiteY13" fmla="*/ 437405 h 1858316"/>
                  <a:gd name="connsiteX14" fmla="*/ 413365 w 2177868"/>
                  <a:gd name="connsiteY14" fmla="*/ 539231 h 1858316"/>
                  <a:gd name="connsiteX15" fmla="*/ 413360 w 2177868"/>
                  <a:gd name="connsiteY15" fmla="*/ 1065628 h 1858316"/>
                  <a:gd name="connsiteX16" fmla="*/ 410583 w 2177868"/>
                  <a:gd name="connsiteY16" fmla="*/ 1081825 h 1858316"/>
                  <a:gd name="connsiteX17" fmla="*/ 407757 w 2177868"/>
                  <a:gd name="connsiteY17" fmla="*/ 1858316 h 1858316"/>
                  <a:gd name="connsiteX0" fmla="*/ 407757 w 2177868"/>
                  <a:gd name="connsiteY0" fmla="*/ 1858316 h 1858316"/>
                  <a:gd name="connsiteX1" fmla="*/ 242 w 2177868"/>
                  <a:gd name="connsiteY1" fmla="*/ 494424 h 1858316"/>
                  <a:gd name="connsiteX2" fmla="*/ 45733 w 2177868"/>
                  <a:gd name="connsiteY2" fmla="*/ 171698 h 1858316"/>
                  <a:gd name="connsiteX3" fmla="*/ 210340 w 2177868"/>
                  <a:gd name="connsiteY3" fmla="*/ 25112 h 1858316"/>
                  <a:gd name="connsiteX4" fmla="*/ 409986 w 2177868"/>
                  <a:gd name="connsiteY4" fmla="*/ 3326 h 1858316"/>
                  <a:gd name="connsiteX5" fmla="*/ 585690 w 2177868"/>
                  <a:gd name="connsiteY5" fmla="*/ 37548 h 1858316"/>
                  <a:gd name="connsiteX6" fmla="*/ 2136843 w 2177868"/>
                  <a:gd name="connsiteY6" fmla="*/ 924343 h 1858316"/>
                  <a:gd name="connsiteX7" fmla="*/ 2137800 w 2177868"/>
                  <a:gd name="connsiteY7" fmla="*/ 1149844 h 1858316"/>
                  <a:gd name="connsiteX8" fmla="*/ 1963835 w 2177868"/>
                  <a:gd name="connsiteY8" fmla="*/ 1269783 h 1858316"/>
                  <a:gd name="connsiteX9" fmla="*/ 1943988 w 2177868"/>
                  <a:gd name="connsiteY9" fmla="*/ 1262485 h 1858316"/>
                  <a:gd name="connsiteX10" fmla="*/ 478513 w 2177868"/>
                  <a:gd name="connsiteY10" fmla="*/ 431577 h 1858316"/>
                  <a:gd name="connsiteX11" fmla="*/ 478170 w 2177868"/>
                  <a:gd name="connsiteY11" fmla="*/ 431184 h 1858316"/>
                  <a:gd name="connsiteX12" fmla="*/ 456015 w 2177868"/>
                  <a:gd name="connsiteY12" fmla="*/ 437405 h 1858316"/>
                  <a:gd name="connsiteX13" fmla="*/ 413365 w 2177868"/>
                  <a:gd name="connsiteY13" fmla="*/ 539231 h 1858316"/>
                  <a:gd name="connsiteX14" fmla="*/ 413360 w 2177868"/>
                  <a:gd name="connsiteY14" fmla="*/ 1065628 h 1858316"/>
                  <a:gd name="connsiteX15" fmla="*/ 410583 w 2177868"/>
                  <a:gd name="connsiteY15" fmla="*/ 1081825 h 1858316"/>
                  <a:gd name="connsiteX16" fmla="*/ 407757 w 2177868"/>
                  <a:gd name="connsiteY16" fmla="*/ 1858316 h 1858316"/>
                  <a:gd name="connsiteX0" fmla="*/ 407757 w 2177868"/>
                  <a:gd name="connsiteY0" fmla="*/ 1858316 h 1858316"/>
                  <a:gd name="connsiteX1" fmla="*/ 242 w 2177868"/>
                  <a:gd name="connsiteY1" fmla="*/ 494424 h 1858316"/>
                  <a:gd name="connsiteX2" fmla="*/ 45733 w 2177868"/>
                  <a:gd name="connsiteY2" fmla="*/ 171698 h 1858316"/>
                  <a:gd name="connsiteX3" fmla="*/ 210340 w 2177868"/>
                  <a:gd name="connsiteY3" fmla="*/ 25112 h 1858316"/>
                  <a:gd name="connsiteX4" fmla="*/ 409986 w 2177868"/>
                  <a:gd name="connsiteY4" fmla="*/ 3326 h 1858316"/>
                  <a:gd name="connsiteX5" fmla="*/ 585690 w 2177868"/>
                  <a:gd name="connsiteY5" fmla="*/ 37548 h 1858316"/>
                  <a:gd name="connsiteX6" fmla="*/ 2136843 w 2177868"/>
                  <a:gd name="connsiteY6" fmla="*/ 924343 h 1858316"/>
                  <a:gd name="connsiteX7" fmla="*/ 2137800 w 2177868"/>
                  <a:gd name="connsiteY7" fmla="*/ 1149844 h 1858316"/>
                  <a:gd name="connsiteX8" fmla="*/ 1963835 w 2177868"/>
                  <a:gd name="connsiteY8" fmla="*/ 1269783 h 1858316"/>
                  <a:gd name="connsiteX9" fmla="*/ 1943988 w 2177868"/>
                  <a:gd name="connsiteY9" fmla="*/ 1262485 h 1858316"/>
                  <a:gd name="connsiteX10" fmla="*/ 478513 w 2177868"/>
                  <a:gd name="connsiteY10" fmla="*/ 431577 h 1858316"/>
                  <a:gd name="connsiteX11" fmla="*/ 478170 w 2177868"/>
                  <a:gd name="connsiteY11" fmla="*/ 431184 h 1858316"/>
                  <a:gd name="connsiteX12" fmla="*/ 456015 w 2177868"/>
                  <a:gd name="connsiteY12" fmla="*/ 437405 h 1858316"/>
                  <a:gd name="connsiteX13" fmla="*/ 413365 w 2177868"/>
                  <a:gd name="connsiteY13" fmla="*/ 539231 h 1858316"/>
                  <a:gd name="connsiteX14" fmla="*/ 413360 w 2177868"/>
                  <a:gd name="connsiteY14" fmla="*/ 1065628 h 1858316"/>
                  <a:gd name="connsiteX15" fmla="*/ 407757 w 2177868"/>
                  <a:gd name="connsiteY15" fmla="*/ 1858316 h 1858316"/>
                  <a:gd name="connsiteX0" fmla="*/ 437026 w 2201534"/>
                  <a:gd name="connsiteY0" fmla="*/ 1065628 h 1271115"/>
                  <a:gd name="connsiteX1" fmla="*/ 23908 w 2201534"/>
                  <a:gd name="connsiteY1" fmla="*/ 494424 h 1271115"/>
                  <a:gd name="connsiteX2" fmla="*/ 69399 w 2201534"/>
                  <a:gd name="connsiteY2" fmla="*/ 171698 h 1271115"/>
                  <a:gd name="connsiteX3" fmla="*/ 234006 w 2201534"/>
                  <a:gd name="connsiteY3" fmla="*/ 25112 h 1271115"/>
                  <a:gd name="connsiteX4" fmla="*/ 433652 w 2201534"/>
                  <a:gd name="connsiteY4" fmla="*/ 3326 h 1271115"/>
                  <a:gd name="connsiteX5" fmla="*/ 609356 w 2201534"/>
                  <a:gd name="connsiteY5" fmla="*/ 37548 h 1271115"/>
                  <a:gd name="connsiteX6" fmla="*/ 2160509 w 2201534"/>
                  <a:gd name="connsiteY6" fmla="*/ 924343 h 1271115"/>
                  <a:gd name="connsiteX7" fmla="*/ 2161466 w 2201534"/>
                  <a:gd name="connsiteY7" fmla="*/ 1149844 h 1271115"/>
                  <a:gd name="connsiteX8" fmla="*/ 1987501 w 2201534"/>
                  <a:gd name="connsiteY8" fmla="*/ 1269783 h 1271115"/>
                  <a:gd name="connsiteX9" fmla="*/ 1967654 w 2201534"/>
                  <a:gd name="connsiteY9" fmla="*/ 1262485 h 1271115"/>
                  <a:gd name="connsiteX10" fmla="*/ 502179 w 2201534"/>
                  <a:gd name="connsiteY10" fmla="*/ 431577 h 1271115"/>
                  <a:gd name="connsiteX11" fmla="*/ 501836 w 2201534"/>
                  <a:gd name="connsiteY11" fmla="*/ 431184 h 1271115"/>
                  <a:gd name="connsiteX12" fmla="*/ 479681 w 2201534"/>
                  <a:gd name="connsiteY12" fmla="*/ 437405 h 1271115"/>
                  <a:gd name="connsiteX13" fmla="*/ 437031 w 2201534"/>
                  <a:gd name="connsiteY13" fmla="*/ 539231 h 1271115"/>
                  <a:gd name="connsiteX14" fmla="*/ 437026 w 2201534"/>
                  <a:gd name="connsiteY14" fmla="*/ 1065628 h 1271115"/>
                  <a:gd name="connsiteX0" fmla="*/ 437031 w 2201534"/>
                  <a:gd name="connsiteY0" fmla="*/ 539231 h 1271115"/>
                  <a:gd name="connsiteX1" fmla="*/ 23908 w 2201534"/>
                  <a:gd name="connsiteY1" fmla="*/ 494424 h 1271115"/>
                  <a:gd name="connsiteX2" fmla="*/ 69399 w 2201534"/>
                  <a:gd name="connsiteY2" fmla="*/ 171698 h 1271115"/>
                  <a:gd name="connsiteX3" fmla="*/ 234006 w 2201534"/>
                  <a:gd name="connsiteY3" fmla="*/ 25112 h 1271115"/>
                  <a:gd name="connsiteX4" fmla="*/ 433652 w 2201534"/>
                  <a:gd name="connsiteY4" fmla="*/ 3326 h 1271115"/>
                  <a:gd name="connsiteX5" fmla="*/ 609356 w 2201534"/>
                  <a:gd name="connsiteY5" fmla="*/ 37548 h 1271115"/>
                  <a:gd name="connsiteX6" fmla="*/ 2160509 w 2201534"/>
                  <a:gd name="connsiteY6" fmla="*/ 924343 h 1271115"/>
                  <a:gd name="connsiteX7" fmla="*/ 2161466 w 2201534"/>
                  <a:gd name="connsiteY7" fmla="*/ 1149844 h 1271115"/>
                  <a:gd name="connsiteX8" fmla="*/ 1987501 w 2201534"/>
                  <a:gd name="connsiteY8" fmla="*/ 1269783 h 1271115"/>
                  <a:gd name="connsiteX9" fmla="*/ 1967654 w 2201534"/>
                  <a:gd name="connsiteY9" fmla="*/ 1262485 h 1271115"/>
                  <a:gd name="connsiteX10" fmla="*/ 502179 w 2201534"/>
                  <a:gd name="connsiteY10" fmla="*/ 431577 h 1271115"/>
                  <a:gd name="connsiteX11" fmla="*/ 501836 w 2201534"/>
                  <a:gd name="connsiteY11" fmla="*/ 431184 h 1271115"/>
                  <a:gd name="connsiteX12" fmla="*/ 479681 w 2201534"/>
                  <a:gd name="connsiteY12" fmla="*/ 437405 h 1271115"/>
                  <a:gd name="connsiteX13" fmla="*/ 437031 w 2201534"/>
                  <a:gd name="connsiteY13" fmla="*/ 539231 h 1271115"/>
                  <a:gd name="connsiteX0" fmla="*/ 372453 w 2136956"/>
                  <a:gd name="connsiteY0" fmla="*/ 539231 h 1271115"/>
                  <a:gd name="connsiteX1" fmla="*/ 4821 w 2136956"/>
                  <a:gd name="connsiteY1" fmla="*/ 171698 h 1271115"/>
                  <a:gd name="connsiteX2" fmla="*/ 169428 w 2136956"/>
                  <a:gd name="connsiteY2" fmla="*/ 25112 h 1271115"/>
                  <a:gd name="connsiteX3" fmla="*/ 369074 w 2136956"/>
                  <a:gd name="connsiteY3" fmla="*/ 3326 h 1271115"/>
                  <a:gd name="connsiteX4" fmla="*/ 544778 w 2136956"/>
                  <a:gd name="connsiteY4" fmla="*/ 37548 h 1271115"/>
                  <a:gd name="connsiteX5" fmla="*/ 2095931 w 2136956"/>
                  <a:gd name="connsiteY5" fmla="*/ 924343 h 1271115"/>
                  <a:gd name="connsiteX6" fmla="*/ 2096888 w 2136956"/>
                  <a:gd name="connsiteY6" fmla="*/ 1149844 h 1271115"/>
                  <a:gd name="connsiteX7" fmla="*/ 1922923 w 2136956"/>
                  <a:gd name="connsiteY7" fmla="*/ 1269783 h 1271115"/>
                  <a:gd name="connsiteX8" fmla="*/ 1903076 w 2136956"/>
                  <a:gd name="connsiteY8" fmla="*/ 1262485 h 1271115"/>
                  <a:gd name="connsiteX9" fmla="*/ 437601 w 2136956"/>
                  <a:gd name="connsiteY9" fmla="*/ 431577 h 1271115"/>
                  <a:gd name="connsiteX10" fmla="*/ 437258 w 2136956"/>
                  <a:gd name="connsiteY10" fmla="*/ 431184 h 1271115"/>
                  <a:gd name="connsiteX11" fmla="*/ 415103 w 2136956"/>
                  <a:gd name="connsiteY11" fmla="*/ 437405 h 1271115"/>
                  <a:gd name="connsiteX12" fmla="*/ 372453 w 2136956"/>
                  <a:gd name="connsiteY12" fmla="*/ 539231 h 1271115"/>
                  <a:gd name="connsiteX0" fmla="*/ 416889 w 2138742"/>
                  <a:gd name="connsiteY0" fmla="*/ 437405 h 1271115"/>
                  <a:gd name="connsiteX1" fmla="*/ 6607 w 2138742"/>
                  <a:gd name="connsiteY1" fmla="*/ 171698 h 1271115"/>
                  <a:gd name="connsiteX2" fmla="*/ 171214 w 2138742"/>
                  <a:gd name="connsiteY2" fmla="*/ 25112 h 1271115"/>
                  <a:gd name="connsiteX3" fmla="*/ 370860 w 2138742"/>
                  <a:gd name="connsiteY3" fmla="*/ 3326 h 1271115"/>
                  <a:gd name="connsiteX4" fmla="*/ 546564 w 2138742"/>
                  <a:gd name="connsiteY4" fmla="*/ 37548 h 1271115"/>
                  <a:gd name="connsiteX5" fmla="*/ 2097717 w 2138742"/>
                  <a:gd name="connsiteY5" fmla="*/ 924343 h 1271115"/>
                  <a:gd name="connsiteX6" fmla="*/ 2098674 w 2138742"/>
                  <a:gd name="connsiteY6" fmla="*/ 1149844 h 1271115"/>
                  <a:gd name="connsiteX7" fmla="*/ 1924709 w 2138742"/>
                  <a:gd name="connsiteY7" fmla="*/ 1269783 h 1271115"/>
                  <a:gd name="connsiteX8" fmla="*/ 1904862 w 2138742"/>
                  <a:gd name="connsiteY8" fmla="*/ 1262485 h 1271115"/>
                  <a:gd name="connsiteX9" fmla="*/ 439387 w 2138742"/>
                  <a:gd name="connsiteY9" fmla="*/ 431577 h 1271115"/>
                  <a:gd name="connsiteX10" fmla="*/ 439044 w 2138742"/>
                  <a:gd name="connsiteY10" fmla="*/ 431184 h 1271115"/>
                  <a:gd name="connsiteX11" fmla="*/ 416889 w 2138742"/>
                  <a:gd name="connsiteY11" fmla="*/ 437405 h 1271115"/>
                  <a:gd name="connsiteX0" fmla="*/ 245969 w 1967822"/>
                  <a:gd name="connsiteY0" fmla="*/ 451897 h 1285607"/>
                  <a:gd name="connsiteX1" fmla="*/ 294 w 1967822"/>
                  <a:gd name="connsiteY1" fmla="*/ 39604 h 1285607"/>
                  <a:gd name="connsiteX2" fmla="*/ 199940 w 1967822"/>
                  <a:gd name="connsiteY2" fmla="*/ 17818 h 1285607"/>
                  <a:gd name="connsiteX3" fmla="*/ 375644 w 1967822"/>
                  <a:gd name="connsiteY3" fmla="*/ 52040 h 1285607"/>
                  <a:gd name="connsiteX4" fmla="*/ 1926797 w 1967822"/>
                  <a:gd name="connsiteY4" fmla="*/ 938835 h 1285607"/>
                  <a:gd name="connsiteX5" fmla="*/ 1927754 w 1967822"/>
                  <a:gd name="connsiteY5" fmla="*/ 1164336 h 1285607"/>
                  <a:gd name="connsiteX6" fmla="*/ 1753789 w 1967822"/>
                  <a:gd name="connsiteY6" fmla="*/ 1284275 h 1285607"/>
                  <a:gd name="connsiteX7" fmla="*/ 1733942 w 1967822"/>
                  <a:gd name="connsiteY7" fmla="*/ 1276977 h 1285607"/>
                  <a:gd name="connsiteX8" fmla="*/ 268467 w 1967822"/>
                  <a:gd name="connsiteY8" fmla="*/ 446069 h 1285607"/>
                  <a:gd name="connsiteX9" fmla="*/ 268124 w 1967822"/>
                  <a:gd name="connsiteY9" fmla="*/ 445676 h 1285607"/>
                  <a:gd name="connsiteX10" fmla="*/ 245969 w 1967822"/>
                  <a:gd name="connsiteY10" fmla="*/ 451897 h 1285607"/>
                  <a:gd name="connsiteX0" fmla="*/ 245969 w 1967822"/>
                  <a:gd name="connsiteY0" fmla="*/ 451897 h 1285607"/>
                  <a:gd name="connsiteX1" fmla="*/ 294 w 1967822"/>
                  <a:gd name="connsiteY1" fmla="*/ 39604 h 1285607"/>
                  <a:gd name="connsiteX2" fmla="*/ 199940 w 1967822"/>
                  <a:gd name="connsiteY2" fmla="*/ 17818 h 1285607"/>
                  <a:gd name="connsiteX3" fmla="*/ 375644 w 1967822"/>
                  <a:gd name="connsiteY3" fmla="*/ 52040 h 1285607"/>
                  <a:gd name="connsiteX4" fmla="*/ 1926797 w 1967822"/>
                  <a:gd name="connsiteY4" fmla="*/ 938835 h 1285607"/>
                  <a:gd name="connsiteX5" fmla="*/ 1927754 w 1967822"/>
                  <a:gd name="connsiteY5" fmla="*/ 1164336 h 1285607"/>
                  <a:gd name="connsiteX6" fmla="*/ 1753789 w 1967822"/>
                  <a:gd name="connsiteY6" fmla="*/ 1284275 h 1285607"/>
                  <a:gd name="connsiteX7" fmla="*/ 1733942 w 1967822"/>
                  <a:gd name="connsiteY7" fmla="*/ 1276977 h 1285607"/>
                  <a:gd name="connsiteX8" fmla="*/ 268467 w 1967822"/>
                  <a:gd name="connsiteY8" fmla="*/ 446069 h 1285607"/>
                  <a:gd name="connsiteX9" fmla="*/ 268124 w 1967822"/>
                  <a:gd name="connsiteY9" fmla="*/ 445676 h 1285607"/>
                  <a:gd name="connsiteX10" fmla="*/ 245969 w 1967822"/>
                  <a:gd name="connsiteY10" fmla="*/ 451897 h 1285607"/>
                  <a:gd name="connsiteX0" fmla="*/ 50925 w 1772778"/>
                  <a:gd name="connsiteY0" fmla="*/ 434079 h 1267789"/>
                  <a:gd name="connsiteX1" fmla="*/ 4896 w 1772778"/>
                  <a:gd name="connsiteY1" fmla="*/ 0 h 1267789"/>
                  <a:gd name="connsiteX2" fmla="*/ 180600 w 1772778"/>
                  <a:gd name="connsiteY2" fmla="*/ 34222 h 1267789"/>
                  <a:gd name="connsiteX3" fmla="*/ 1731753 w 1772778"/>
                  <a:gd name="connsiteY3" fmla="*/ 921017 h 1267789"/>
                  <a:gd name="connsiteX4" fmla="*/ 1732710 w 1772778"/>
                  <a:gd name="connsiteY4" fmla="*/ 1146518 h 1267789"/>
                  <a:gd name="connsiteX5" fmla="*/ 1558745 w 1772778"/>
                  <a:gd name="connsiteY5" fmla="*/ 1266457 h 1267789"/>
                  <a:gd name="connsiteX6" fmla="*/ 1538898 w 1772778"/>
                  <a:gd name="connsiteY6" fmla="*/ 1259159 h 1267789"/>
                  <a:gd name="connsiteX7" fmla="*/ 73423 w 1772778"/>
                  <a:gd name="connsiteY7" fmla="*/ 428251 h 1267789"/>
                  <a:gd name="connsiteX8" fmla="*/ 73080 w 1772778"/>
                  <a:gd name="connsiteY8" fmla="*/ 427858 h 1267789"/>
                  <a:gd name="connsiteX9" fmla="*/ 50925 w 1772778"/>
                  <a:gd name="connsiteY9" fmla="*/ 434079 h 1267789"/>
                  <a:gd name="connsiteX0" fmla="*/ 68184 w 1767882"/>
                  <a:gd name="connsiteY0" fmla="*/ 427858 h 1267789"/>
                  <a:gd name="connsiteX1" fmla="*/ 0 w 1767882"/>
                  <a:gd name="connsiteY1" fmla="*/ 0 h 1267789"/>
                  <a:gd name="connsiteX2" fmla="*/ 175704 w 1767882"/>
                  <a:gd name="connsiteY2" fmla="*/ 34222 h 1267789"/>
                  <a:gd name="connsiteX3" fmla="*/ 1726857 w 1767882"/>
                  <a:gd name="connsiteY3" fmla="*/ 921017 h 1267789"/>
                  <a:gd name="connsiteX4" fmla="*/ 1727814 w 1767882"/>
                  <a:gd name="connsiteY4" fmla="*/ 1146518 h 1267789"/>
                  <a:gd name="connsiteX5" fmla="*/ 1553849 w 1767882"/>
                  <a:gd name="connsiteY5" fmla="*/ 1266457 h 1267789"/>
                  <a:gd name="connsiteX6" fmla="*/ 1534002 w 1767882"/>
                  <a:gd name="connsiteY6" fmla="*/ 1259159 h 1267789"/>
                  <a:gd name="connsiteX7" fmla="*/ 68527 w 1767882"/>
                  <a:gd name="connsiteY7" fmla="*/ 428251 h 1267789"/>
                  <a:gd name="connsiteX8" fmla="*/ 68184 w 1767882"/>
                  <a:gd name="connsiteY8" fmla="*/ 427858 h 1267789"/>
                  <a:gd name="connsiteX0" fmla="*/ 0 w 1823523"/>
                  <a:gd name="connsiteY0" fmla="*/ 412600 h 1290631"/>
                  <a:gd name="connsiteX1" fmla="*/ 55641 w 1823523"/>
                  <a:gd name="connsiteY1" fmla="*/ 22842 h 1290631"/>
                  <a:gd name="connsiteX2" fmla="*/ 231345 w 1823523"/>
                  <a:gd name="connsiteY2" fmla="*/ 57064 h 1290631"/>
                  <a:gd name="connsiteX3" fmla="*/ 1782498 w 1823523"/>
                  <a:gd name="connsiteY3" fmla="*/ 943859 h 1290631"/>
                  <a:gd name="connsiteX4" fmla="*/ 1783455 w 1823523"/>
                  <a:gd name="connsiteY4" fmla="*/ 1169360 h 1290631"/>
                  <a:gd name="connsiteX5" fmla="*/ 1609490 w 1823523"/>
                  <a:gd name="connsiteY5" fmla="*/ 1289299 h 1290631"/>
                  <a:gd name="connsiteX6" fmla="*/ 1589643 w 1823523"/>
                  <a:gd name="connsiteY6" fmla="*/ 1282001 h 1290631"/>
                  <a:gd name="connsiteX7" fmla="*/ 124168 w 1823523"/>
                  <a:gd name="connsiteY7" fmla="*/ 451093 h 1290631"/>
                  <a:gd name="connsiteX8" fmla="*/ 0 w 1823523"/>
                  <a:gd name="connsiteY8" fmla="*/ 412600 h 1290631"/>
                  <a:gd name="connsiteX0" fmla="*/ 121435 w 1944958"/>
                  <a:gd name="connsiteY0" fmla="*/ 388867 h 1266898"/>
                  <a:gd name="connsiteX1" fmla="*/ 5626 w 1944958"/>
                  <a:gd name="connsiteY1" fmla="*/ 30859 h 1266898"/>
                  <a:gd name="connsiteX2" fmla="*/ 352780 w 1944958"/>
                  <a:gd name="connsiteY2" fmla="*/ 33331 h 1266898"/>
                  <a:gd name="connsiteX3" fmla="*/ 1903933 w 1944958"/>
                  <a:gd name="connsiteY3" fmla="*/ 920126 h 1266898"/>
                  <a:gd name="connsiteX4" fmla="*/ 1904890 w 1944958"/>
                  <a:gd name="connsiteY4" fmla="*/ 1145627 h 1266898"/>
                  <a:gd name="connsiteX5" fmla="*/ 1730925 w 1944958"/>
                  <a:gd name="connsiteY5" fmla="*/ 1265566 h 1266898"/>
                  <a:gd name="connsiteX6" fmla="*/ 1711078 w 1944958"/>
                  <a:gd name="connsiteY6" fmla="*/ 1258268 h 1266898"/>
                  <a:gd name="connsiteX7" fmla="*/ 245603 w 1944958"/>
                  <a:gd name="connsiteY7" fmla="*/ 427360 h 1266898"/>
                  <a:gd name="connsiteX8" fmla="*/ 121435 w 1944958"/>
                  <a:gd name="connsiteY8" fmla="*/ 388867 h 1266898"/>
                  <a:gd name="connsiteX0" fmla="*/ 128564 w 1952087"/>
                  <a:gd name="connsiteY0" fmla="*/ 394429 h 1272460"/>
                  <a:gd name="connsiteX1" fmla="*/ 12755 w 1952087"/>
                  <a:gd name="connsiteY1" fmla="*/ 36421 h 1272460"/>
                  <a:gd name="connsiteX2" fmla="*/ 359909 w 1952087"/>
                  <a:gd name="connsiteY2" fmla="*/ 38893 h 1272460"/>
                  <a:gd name="connsiteX3" fmla="*/ 1911062 w 1952087"/>
                  <a:gd name="connsiteY3" fmla="*/ 925688 h 1272460"/>
                  <a:gd name="connsiteX4" fmla="*/ 1912019 w 1952087"/>
                  <a:gd name="connsiteY4" fmla="*/ 1151189 h 1272460"/>
                  <a:gd name="connsiteX5" fmla="*/ 1738054 w 1952087"/>
                  <a:gd name="connsiteY5" fmla="*/ 1271128 h 1272460"/>
                  <a:gd name="connsiteX6" fmla="*/ 1718207 w 1952087"/>
                  <a:gd name="connsiteY6" fmla="*/ 1263830 h 1272460"/>
                  <a:gd name="connsiteX7" fmla="*/ 252732 w 1952087"/>
                  <a:gd name="connsiteY7" fmla="*/ 432922 h 1272460"/>
                  <a:gd name="connsiteX8" fmla="*/ 128564 w 1952087"/>
                  <a:gd name="connsiteY8" fmla="*/ 394429 h 1272460"/>
                  <a:gd name="connsiteX0" fmla="*/ 109676 w 1945899"/>
                  <a:gd name="connsiteY0" fmla="*/ 443373 h 1270604"/>
                  <a:gd name="connsiteX1" fmla="*/ 6567 w 1945899"/>
                  <a:gd name="connsiteY1" fmla="*/ 34565 h 1270604"/>
                  <a:gd name="connsiteX2" fmla="*/ 353721 w 1945899"/>
                  <a:gd name="connsiteY2" fmla="*/ 37037 h 1270604"/>
                  <a:gd name="connsiteX3" fmla="*/ 1904874 w 1945899"/>
                  <a:gd name="connsiteY3" fmla="*/ 923832 h 1270604"/>
                  <a:gd name="connsiteX4" fmla="*/ 1905831 w 1945899"/>
                  <a:gd name="connsiteY4" fmla="*/ 1149333 h 1270604"/>
                  <a:gd name="connsiteX5" fmla="*/ 1731866 w 1945899"/>
                  <a:gd name="connsiteY5" fmla="*/ 1269272 h 1270604"/>
                  <a:gd name="connsiteX6" fmla="*/ 1712019 w 1945899"/>
                  <a:gd name="connsiteY6" fmla="*/ 1261974 h 1270604"/>
                  <a:gd name="connsiteX7" fmla="*/ 246544 w 1945899"/>
                  <a:gd name="connsiteY7" fmla="*/ 431066 h 1270604"/>
                  <a:gd name="connsiteX8" fmla="*/ 109676 w 1945899"/>
                  <a:gd name="connsiteY8" fmla="*/ 443373 h 1270604"/>
                  <a:gd name="connsiteX0" fmla="*/ 250037 w 1949392"/>
                  <a:gd name="connsiteY0" fmla="*/ 431066 h 1270604"/>
                  <a:gd name="connsiteX1" fmla="*/ 10060 w 1949392"/>
                  <a:gd name="connsiteY1" fmla="*/ 34565 h 1270604"/>
                  <a:gd name="connsiteX2" fmla="*/ 357214 w 1949392"/>
                  <a:gd name="connsiteY2" fmla="*/ 37037 h 1270604"/>
                  <a:gd name="connsiteX3" fmla="*/ 1908367 w 1949392"/>
                  <a:gd name="connsiteY3" fmla="*/ 923832 h 1270604"/>
                  <a:gd name="connsiteX4" fmla="*/ 1909324 w 1949392"/>
                  <a:gd name="connsiteY4" fmla="*/ 1149333 h 1270604"/>
                  <a:gd name="connsiteX5" fmla="*/ 1735359 w 1949392"/>
                  <a:gd name="connsiteY5" fmla="*/ 1269272 h 1270604"/>
                  <a:gd name="connsiteX6" fmla="*/ 1715512 w 1949392"/>
                  <a:gd name="connsiteY6" fmla="*/ 1261974 h 1270604"/>
                  <a:gd name="connsiteX7" fmla="*/ 250037 w 1949392"/>
                  <a:gd name="connsiteY7" fmla="*/ 431066 h 1270604"/>
                  <a:gd name="connsiteX0" fmla="*/ 246686 w 1946041"/>
                  <a:gd name="connsiteY0" fmla="*/ 431066 h 1270604"/>
                  <a:gd name="connsiteX1" fmla="*/ 133827 w 1946041"/>
                  <a:gd name="connsiteY1" fmla="*/ 324567 h 1270604"/>
                  <a:gd name="connsiteX2" fmla="*/ 6709 w 1946041"/>
                  <a:gd name="connsiteY2" fmla="*/ 34565 h 1270604"/>
                  <a:gd name="connsiteX3" fmla="*/ 353863 w 1946041"/>
                  <a:gd name="connsiteY3" fmla="*/ 37037 h 1270604"/>
                  <a:gd name="connsiteX4" fmla="*/ 1905016 w 1946041"/>
                  <a:gd name="connsiteY4" fmla="*/ 923832 h 1270604"/>
                  <a:gd name="connsiteX5" fmla="*/ 1905973 w 1946041"/>
                  <a:gd name="connsiteY5" fmla="*/ 1149333 h 1270604"/>
                  <a:gd name="connsiteX6" fmla="*/ 1732008 w 1946041"/>
                  <a:gd name="connsiteY6" fmla="*/ 1269272 h 1270604"/>
                  <a:gd name="connsiteX7" fmla="*/ 1712161 w 1946041"/>
                  <a:gd name="connsiteY7" fmla="*/ 1261974 h 1270604"/>
                  <a:gd name="connsiteX8" fmla="*/ 246686 w 1946041"/>
                  <a:gd name="connsiteY8" fmla="*/ 431066 h 1270604"/>
                  <a:gd name="connsiteX0" fmla="*/ 455481 w 2154836"/>
                  <a:gd name="connsiteY0" fmla="*/ 418337 h 1257875"/>
                  <a:gd name="connsiteX1" fmla="*/ 6416 w 2154836"/>
                  <a:gd name="connsiteY1" fmla="*/ 254688 h 1257875"/>
                  <a:gd name="connsiteX2" fmla="*/ 215504 w 2154836"/>
                  <a:gd name="connsiteY2" fmla="*/ 21836 h 1257875"/>
                  <a:gd name="connsiteX3" fmla="*/ 562658 w 2154836"/>
                  <a:gd name="connsiteY3" fmla="*/ 24308 h 1257875"/>
                  <a:gd name="connsiteX4" fmla="*/ 2113811 w 2154836"/>
                  <a:gd name="connsiteY4" fmla="*/ 911103 h 1257875"/>
                  <a:gd name="connsiteX5" fmla="*/ 2114768 w 2154836"/>
                  <a:gd name="connsiteY5" fmla="*/ 1136604 h 1257875"/>
                  <a:gd name="connsiteX6" fmla="*/ 1940803 w 2154836"/>
                  <a:gd name="connsiteY6" fmla="*/ 1256543 h 1257875"/>
                  <a:gd name="connsiteX7" fmla="*/ 1920956 w 2154836"/>
                  <a:gd name="connsiteY7" fmla="*/ 1249245 h 1257875"/>
                  <a:gd name="connsiteX8" fmla="*/ 455481 w 2154836"/>
                  <a:gd name="connsiteY8" fmla="*/ 418337 h 1257875"/>
                  <a:gd name="connsiteX0" fmla="*/ 458204 w 2157559"/>
                  <a:gd name="connsiteY0" fmla="*/ 439462 h 1279000"/>
                  <a:gd name="connsiteX1" fmla="*/ 9139 w 2157559"/>
                  <a:gd name="connsiteY1" fmla="*/ 275813 h 1279000"/>
                  <a:gd name="connsiteX2" fmla="*/ 160591 w 2157559"/>
                  <a:gd name="connsiteY2" fmla="*/ 14386 h 1279000"/>
                  <a:gd name="connsiteX3" fmla="*/ 565381 w 2157559"/>
                  <a:gd name="connsiteY3" fmla="*/ 45433 h 1279000"/>
                  <a:gd name="connsiteX4" fmla="*/ 2116534 w 2157559"/>
                  <a:gd name="connsiteY4" fmla="*/ 932228 h 1279000"/>
                  <a:gd name="connsiteX5" fmla="*/ 2117491 w 2157559"/>
                  <a:gd name="connsiteY5" fmla="*/ 1157729 h 1279000"/>
                  <a:gd name="connsiteX6" fmla="*/ 1943526 w 2157559"/>
                  <a:gd name="connsiteY6" fmla="*/ 1277668 h 1279000"/>
                  <a:gd name="connsiteX7" fmla="*/ 1923679 w 2157559"/>
                  <a:gd name="connsiteY7" fmla="*/ 1270370 h 1279000"/>
                  <a:gd name="connsiteX8" fmla="*/ 458204 w 2157559"/>
                  <a:gd name="connsiteY8" fmla="*/ 439462 h 1279000"/>
                  <a:gd name="connsiteX0" fmla="*/ 456399 w 2155754"/>
                  <a:gd name="connsiteY0" fmla="*/ 431843 h 1271381"/>
                  <a:gd name="connsiteX1" fmla="*/ 7334 w 2155754"/>
                  <a:gd name="connsiteY1" fmla="*/ 268194 h 1271381"/>
                  <a:gd name="connsiteX2" fmla="*/ 192407 w 2155754"/>
                  <a:gd name="connsiteY2" fmla="*/ 16292 h 1271381"/>
                  <a:gd name="connsiteX3" fmla="*/ 563576 w 2155754"/>
                  <a:gd name="connsiteY3" fmla="*/ 37814 h 1271381"/>
                  <a:gd name="connsiteX4" fmla="*/ 2114729 w 2155754"/>
                  <a:gd name="connsiteY4" fmla="*/ 924609 h 1271381"/>
                  <a:gd name="connsiteX5" fmla="*/ 2115686 w 2155754"/>
                  <a:gd name="connsiteY5" fmla="*/ 1150110 h 1271381"/>
                  <a:gd name="connsiteX6" fmla="*/ 1941721 w 2155754"/>
                  <a:gd name="connsiteY6" fmla="*/ 1270049 h 1271381"/>
                  <a:gd name="connsiteX7" fmla="*/ 1921874 w 2155754"/>
                  <a:gd name="connsiteY7" fmla="*/ 1262751 h 1271381"/>
                  <a:gd name="connsiteX8" fmla="*/ 456399 w 2155754"/>
                  <a:gd name="connsiteY8" fmla="*/ 431843 h 1271381"/>
                  <a:gd name="connsiteX0" fmla="*/ 456399 w 2155754"/>
                  <a:gd name="connsiteY0" fmla="*/ 429388 h 1268926"/>
                  <a:gd name="connsiteX1" fmla="*/ 7334 w 2155754"/>
                  <a:gd name="connsiteY1" fmla="*/ 232402 h 1268926"/>
                  <a:gd name="connsiteX2" fmla="*/ 192407 w 2155754"/>
                  <a:gd name="connsiteY2" fmla="*/ 13837 h 1268926"/>
                  <a:gd name="connsiteX3" fmla="*/ 563576 w 2155754"/>
                  <a:gd name="connsiteY3" fmla="*/ 35359 h 1268926"/>
                  <a:gd name="connsiteX4" fmla="*/ 2114729 w 2155754"/>
                  <a:gd name="connsiteY4" fmla="*/ 922154 h 1268926"/>
                  <a:gd name="connsiteX5" fmla="*/ 2115686 w 2155754"/>
                  <a:gd name="connsiteY5" fmla="*/ 1147655 h 1268926"/>
                  <a:gd name="connsiteX6" fmla="*/ 1941721 w 2155754"/>
                  <a:gd name="connsiteY6" fmla="*/ 1267594 h 1268926"/>
                  <a:gd name="connsiteX7" fmla="*/ 1921874 w 2155754"/>
                  <a:gd name="connsiteY7" fmla="*/ 1260296 h 1268926"/>
                  <a:gd name="connsiteX8" fmla="*/ 456399 w 2155754"/>
                  <a:gd name="connsiteY8" fmla="*/ 429388 h 1268926"/>
                  <a:gd name="connsiteX0" fmla="*/ 458374 w 2157729"/>
                  <a:gd name="connsiteY0" fmla="*/ 437817 h 1277355"/>
                  <a:gd name="connsiteX1" fmla="*/ 9309 w 2157729"/>
                  <a:gd name="connsiteY1" fmla="*/ 240831 h 1277355"/>
                  <a:gd name="connsiteX2" fmla="*/ 194382 w 2157729"/>
                  <a:gd name="connsiteY2" fmla="*/ 22266 h 1277355"/>
                  <a:gd name="connsiteX3" fmla="*/ 565551 w 2157729"/>
                  <a:gd name="connsiteY3" fmla="*/ 43788 h 1277355"/>
                  <a:gd name="connsiteX4" fmla="*/ 2116704 w 2157729"/>
                  <a:gd name="connsiteY4" fmla="*/ 930583 h 1277355"/>
                  <a:gd name="connsiteX5" fmla="*/ 2117661 w 2157729"/>
                  <a:gd name="connsiteY5" fmla="*/ 1156084 h 1277355"/>
                  <a:gd name="connsiteX6" fmla="*/ 1943696 w 2157729"/>
                  <a:gd name="connsiteY6" fmla="*/ 1276023 h 1277355"/>
                  <a:gd name="connsiteX7" fmla="*/ 1923849 w 2157729"/>
                  <a:gd name="connsiteY7" fmla="*/ 1268725 h 1277355"/>
                  <a:gd name="connsiteX8" fmla="*/ 458374 w 2157729"/>
                  <a:gd name="connsiteY8" fmla="*/ 437817 h 12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7729" h="1277355">
                    <a:moveTo>
                      <a:pt x="458374" y="437817"/>
                    </a:moveTo>
                    <a:cubicBezTo>
                      <a:pt x="195318" y="281583"/>
                      <a:pt x="49305" y="306914"/>
                      <a:pt x="9309" y="240831"/>
                    </a:cubicBezTo>
                    <a:cubicBezTo>
                      <a:pt x="-30687" y="174748"/>
                      <a:pt x="63252" y="74157"/>
                      <a:pt x="194382" y="22266"/>
                    </a:cubicBezTo>
                    <a:cubicBezTo>
                      <a:pt x="325512" y="-29625"/>
                      <a:pt x="507689" y="22617"/>
                      <a:pt x="565551" y="43788"/>
                    </a:cubicBezTo>
                    <a:lnTo>
                      <a:pt x="2116704" y="930583"/>
                    </a:lnTo>
                    <a:cubicBezTo>
                      <a:pt x="2171029" y="961947"/>
                      <a:pt x="2171457" y="1062907"/>
                      <a:pt x="2117661" y="1156084"/>
                    </a:cubicBezTo>
                    <a:cubicBezTo>
                      <a:pt x="2070590" y="1237614"/>
                      <a:pt x="1997601" y="1286169"/>
                      <a:pt x="1943696" y="1276023"/>
                    </a:cubicBezTo>
                    <a:lnTo>
                      <a:pt x="1923849" y="1268725"/>
                    </a:lnTo>
                    <a:lnTo>
                      <a:pt x="458374" y="437817"/>
                    </a:lnTo>
                    <a:close/>
                  </a:path>
                </a:pathLst>
              </a:custGeom>
              <a:gradFill flip="none" rotWithShape="1">
                <a:gsLst>
                  <a:gs pos="13000">
                    <a:srgbClr val="D8D8D8"/>
                  </a:gs>
                  <a:gs pos="30000">
                    <a:schemeClr val="accent2">
                      <a:lumMod val="0"/>
                      <a:lumOff val="100000"/>
                      <a:alpha val="0"/>
                    </a:schemeClr>
                  </a:gs>
                </a:gsLst>
                <a:lin ang="42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66" name="Freeform: Shape 765">
                <a:extLst>
                  <a:ext uri="{FF2B5EF4-FFF2-40B4-BE49-F238E27FC236}">
                    <a16:creationId xmlns:a16="http://schemas.microsoft.com/office/drawing/2014/main" id="{59EAFD8A-313E-4F2F-85C5-6805CE307514}"/>
                  </a:ext>
                </a:extLst>
              </p:cNvPr>
              <p:cNvSpPr/>
              <p:nvPr/>
            </p:nvSpPr>
            <p:spPr bwMode="gray">
              <a:xfrm flipH="1" flipV="1">
                <a:off x="-3475317" y="-510357"/>
                <a:ext cx="4212730" cy="5285288"/>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212730" h="5285288">
                    <a:moveTo>
                      <a:pt x="1970713" y="5285252"/>
                    </a:moveTo>
                    <a:cubicBezTo>
                      <a:pt x="1942294" y="5285662"/>
                      <a:pt x="1917105" y="5282948"/>
                      <a:pt x="1859089" y="5257452"/>
                    </a:cubicBezTo>
                    <a:lnTo>
                      <a:pt x="1799088" y="5227600"/>
                    </a:lnTo>
                    <a:lnTo>
                      <a:pt x="257741" y="4344402"/>
                    </a:lnTo>
                    <a:cubicBezTo>
                      <a:pt x="190572" y="4290851"/>
                      <a:pt x="143642" y="4293725"/>
                      <a:pt x="66855" y="4157062"/>
                    </a:cubicBezTo>
                    <a:cubicBezTo>
                      <a:pt x="9264" y="4054564"/>
                      <a:pt x="7680" y="4007913"/>
                      <a:pt x="5085" y="3955159"/>
                    </a:cubicBezTo>
                    <a:lnTo>
                      <a:pt x="117" y="3898769"/>
                    </a:lnTo>
                    <a:cubicBezTo>
                      <a:pt x="78" y="3898549"/>
                      <a:pt x="39" y="3898326"/>
                      <a:pt x="0" y="3898107"/>
                    </a:cubicBezTo>
                    <a:cubicBezTo>
                      <a:pt x="1973" y="3436613"/>
                      <a:pt x="3947" y="2975119"/>
                      <a:pt x="5920" y="2513626"/>
                    </a:cubicBezTo>
                    <a:lnTo>
                      <a:pt x="9056" y="2484766"/>
                    </a:lnTo>
                    <a:cubicBezTo>
                      <a:pt x="27818" y="2431837"/>
                      <a:pt x="108945" y="2392022"/>
                      <a:pt x="206180" y="2392022"/>
                    </a:cubicBezTo>
                    <a:cubicBezTo>
                      <a:pt x="317306" y="2392022"/>
                      <a:pt x="407391" y="2444025"/>
                      <a:pt x="407391" y="2508175"/>
                    </a:cubicBezTo>
                    <a:cubicBezTo>
                      <a:pt x="406961" y="2529669"/>
                      <a:pt x="406530" y="2551164"/>
                      <a:pt x="406100" y="2572658"/>
                    </a:cubicBezTo>
                    <a:cubicBezTo>
                      <a:pt x="405529" y="2900762"/>
                      <a:pt x="408958" y="3674271"/>
                      <a:pt x="409165" y="3888049"/>
                    </a:cubicBezTo>
                    <a:lnTo>
                      <a:pt x="407598" y="3881457"/>
                    </a:lnTo>
                    <a:cubicBezTo>
                      <a:pt x="407570" y="3885727"/>
                      <a:pt x="407545" y="3889994"/>
                      <a:pt x="407517" y="3894265"/>
                    </a:cubicBezTo>
                    <a:cubicBezTo>
                      <a:pt x="416777" y="3952895"/>
                      <a:pt x="418624" y="3956102"/>
                      <a:pt x="464772" y="3993435"/>
                    </a:cubicBezTo>
                    <a:lnTo>
                      <a:pt x="1965744" y="4865353"/>
                    </a:lnTo>
                    <a:lnTo>
                      <a:pt x="1966088" y="4865745"/>
                    </a:lnTo>
                    <a:lnTo>
                      <a:pt x="1988129" y="4859558"/>
                    </a:lnTo>
                    <a:cubicBezTo>
                      <a:pt x="2011931" y="4852878"/>
                      <a:pt x="2031508" y="4839446"/>
                      <a:pt x="2034209" y="4799004"/>
                    </a:cubicBezTo>
                    <a:cubicBezTo>
                      <a:pt x="2034824" y="4567995"/>
                      <a:pt x="2035438" y="4336987"/>
                      <a:pt x="2036053" y="4105978"/>
                    </a:cubicBezTo>
                    <a:lnTo>
                      <a:pt x="2038324" y="1054770"/>
                    </a:lnTo>
                    <a:lnTo>
                      <a:pt x="2037139" y="1017192"/>
                    </a:lnTo>
                    <a:cubicBezTo>
                      <a:pt x="2033007" y="883195"/>
                      <a:pt x="2032181" y="685526"/>
                      <a:pt x="2035104" y="494424"/>
                    </a:cubicBezTo>
                    <a:cubicBezTo>
                      <a:pt x="2032901" y="341098"/>
                      <a:pt x="2045579" y="249917"/>
                      <a:pt x="2080595" y="171698"/>
                    </a:cubicBezTo>
                    <a:cubicBezTo>
                      <a:pt x="2115611" y="93479"/>
                      <a:pt x="2200593" y="53875"/>
                      <a:pt x="2245202" y="25112"/>
                    </a:cubicBezTo>
                    <a:cubicBezTo>
                      <a:pt x="2327069" y="-9906"/>
                      <a:pt x="2382290" y="1253"/>
                      <a:pt x="2444848" y="3326"/>
                    </a:cubicBezTo>
                    <a:cubicBezTo>
                      <a:pt x="2507406" y="5399"/>
                      <a:pt x="2562690" y="16377"/>
                      <a:pt x="2620552" y="37548"/>
                    </a:cubicBezTo>
                    <a:lnTo>
                      <a:pt x="4171705" y="924343"/>
                    </a:lnTo>
                    <a:cubicBezTo>
                      <a:pt x="4226030" y="955707"/>
                      <a:pt x="4226458" y="1056667"/>
                      <a:pt x="4172662" y="1149844"/>
                    </a:cubicBezTo>
                    <a:cubicBezTo>
                      <a:pt x="4125591" y="1231374"/>
                      <a:pt x="4052602" y="1279929"/>
                      <a:pt x="3998697" y="1269783"/>
                    </a:cubicBezTo>
                    <a:lnTo>
                      <a:pt x="3978850" y="1262485"/>
                    </a:lnTo>
                    <a:lnTo>
                      <a:pt x="2513375" y="431577"/>
                    </a:lnTo>
                    <a:cubicBezTo>
                      <a:pt x="2513261" y="431448"/>
                      <a:pt x="2513146" y="431313"/>
                      <a:pt x="2513032" y="431184"/>
                    </a:cubicBezTo>
                    <a:lnTo>
                      <a:pt x="2490877" y="437405"/>
                    </a:lnTo>
                    <a:cubicBezTo>
                      <a:pt x="2480076" y="455412"/>
                      <a:pt x="2455336" y="434527"/>
                      <a:pt x="2448227" y="539231"/>
                    </a:cubicBezTo>
                    <a:cubicBezTo>
                      <a:pt x="2448227" y="714697"/>
                      <a:pt x="2448222" y="890162"/>
                      <a:pt x="2448222" y="1065628"/>
                    </a:cubicBezTo>
                    <a:lnTo>
                      <a:pt x="2445445" y="1081825"/>
                    </a:lnTo>
                    <a:lnTo>
                      <a:pt x="2442619" y="1858316"/>
                    </a:lnTo>
                    <a:lnTo>
                      <a:pt x="2444476" y="1861834"/>
                    </a:lnTo>
                    <a:cubicBezTo>
                      <a:pt x="2444674" y="2058454"/>
                      <a:pt x="2443809" y="2841791"/>
                      <a:pt x="2443809" y="3038034"/>
                    </a:cubicBezTo>
                    <a:cubicBezTo>
                      <a:pt x="2443095" y="3626297"/>
                      <a:pt x="2442381" y="4214559"/>
                      <a:pt x="2441669" y="4802821"/>
                    </a:cubicBezTo>
                    <a:cubicBezTo>
                      <a:pt x="2428878" y="4887762"/>
                      <a:pt x="2454832" y="4926970"/>
                      <a:pt x="2374871" y="5061801"/>
                    </a:cubicBezTo>
                    <a:cubicBezTo>
                      <a:pt x="2314901" y="5162924"/>
                      <a:pt x="2275295" y="5187619"/>
                      <a:pt x="2230903" y="5216241"/>
                    </a:cubicBezTo>
                    <a:cubicBezTo>
                      <a:pt x="2149434" y="5251083"/>
                      <a:pt x="2101599" y="5287513"/>
                      <a:pt x="2020267" y="5284752"/>
                    </a:cubicBezTo>
                    <a:cubicBezTo>
                      <a:pt x="1999938" y="5284061"/>
                      <a:pt x="1984921" y="5285046"/>
                      <a:pt x="1970713" y="5285252"/>
                    </a:cubicBezTo>
                    <a:close/>
                  </a:path>
                </a:pathLst>
              </a:cu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grpSp>
        <p:nvGrpSpPr>
          <p:cNvPr id="422" name="Group 421">
            <a:extLst>
              <a:ext uri="{FF2B5EF4-FFF2-40B4-BE49-F238E27FC236}">
                <a16:creationId xmlns:a16="http://schemas.microsoft.com/office/drawing/2014/main" id="{000B2815-DBC4-49D7-9E7A-709306B6B487}"/>
              </a:ext>
            </a:extLst>
          </p:cNvPr>
          <p:cNvGrpSpPr/>
          <p:nvPr/>
        </p:nvGrpSpPr>
        <p:grpSpPr bwMode="gray">
          <a:xfrm>
            <a:off x="6078323" y="4286094"/>
            <a:ext cx="73719" cy="213484"/>
            <a:chOff x="7681059" y="2899968"/>
            <a:chExt cx="73719" cy="213484"/>
          </a:xfrm>
        </p:grpSpPr>
        <p:sp>
          <p:nvSpPr>
            <p:cNvPr id="423" name="Freeform: Shape 422">
              <a:extLst>
                <a:ext uri="{FF2B5EF4-FFF2-40B4-BE49-F238E27FC236}">
                  <a16:creationId xmlns:a16="http://schemas.microsoft.com/office/drawing/2014/main" id="{68F88A55-E00A-4669-9A89-FF3ABFBADD7A}"/>
                </a:ext>
              </a:extLst>
            </p:cNvPr>
            <p:cNvSpPr/>
            <p:nvPr/>
          </p:nvSpPr>
          <p:spPr bwMode="gray">
            <a:xfrm flipH="1">
              <a:off x="7718055" y="2899969"/>
              <a:ext cx="36723" cy="212996"/>
            </a:xfrm>
            <a:custGeom>
              <a:avLst/>
              <a:gdLst>
                <a:gd name="connsiteX0" fmla="*/ 693 w 37416"/>
                <a:gd name="connsiteY0" fmla="*/ 0 h 486447"/>
                <a:gd name="connsiteX1" fmla="*/ 0 w 37416"/>
                <a:gd name="connsiteY1" fmla="*/ 485646 h 486447"/>
                <a:gd name="connsiteX2" fmla="*/ 1397 w 37416"/>
                <a:gd name="connsiteY2" fmla="*/ 486447 h 486447"/>
                <a:gd name="connsiteX3" fmla="*/ 1397 w 37416"/>
                <a:gd name="connsiteY3" fmla="*/ 192196 h 486447"/>
                <a:gd name="connsiteX4" fmla="*/ 37416 w 37416"/>
                <a:gd name="connsiteY4" fmla="*/ 212996 h 486447"/>
                <a:gd name="connsiteX5" fmla="*/ 37416 w 37416"/>
                <a:gd name="connsiteY5" fmla="*/ 21478 h 486447"/>
                <a:gd name="connsiteX0" fmla="*/ 693 w 37416"/>
                <a:gd name="connsiteY0" fmla="*/ 0 h 485646"/>
                <a:gd name="connsiteX1" fmla="*/ 0 w 37416"/>
                <a:gd name="connsiteY1" fmla="*/ 485646 h 485646"/>
                <a:gd name="connsiteX2" fmla="*/ 1397 w 37416"/>
                <a:gd name="connsiteY2" fmla="*/ 192196 h 485646"/>
                <a:gd name="connsiteX3" fmla="*/ 37416 w 37416"/>
                <a:gd name="connsiteY3" fmla="*/ 212996 h 485646"/>
                <a:gd name="connsiteX4" fmla="*/ 37416 w 37416"/>
                <a:gd name="connsiteY4" fmla="*/ 21478 h 485646"/>
                <a:gd name="connsiteX5" fmla="*/ 693 w 37416"/>
                <a:gd name="connsiteY5" fmla="*/ 0 h 48564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2126 w 38849"/>
                <a:gd name="connsiteY0" fmla="*/ 0 h 212996"/>
                <a:gd name="connsiteX1" fmla="*/ 2830 w 38849"/>
                <a:gd name="connsiteY1" fmla="*/ 192196 h 212996"/>
                <a:gd name="connsiteX2" fmla="*/ 38849 w 38849"/>
                <a:gd name="connsiteY2" fmla="*/ 212996 h 212996"/>
                <a:gd name="connsiteX3" fmla="*/ 38849 w 38849"/>
                <a:gd name="connsiteY3" fmla="*/ 21478 h 212996"/>
                <a:gd name="connsiteX4" fmla="*/ 2126 w 38849"/>
                <a:gd name="connsiteY4" fmla="*/ 0 h 212996"/>
                <a:gd name="connsiteX0" fmla="*/ 0 w 36723"/>
                <a:gd name="connsiteY0" fmla="*/ 0 h 212996"/>
                <a:gd name="connsiteX1" fmla="*/ 704 w 36723"/>
                <a:gd name="connsiteY1" fmla="*/ 192196 h 212996"/>
                <a:gd name="connsiteX2" fmla="*/ 36723 w 36723"/>
                <a:gd name="connsiteY2" fmla="*/ 212996 h 212996"/>
                <a:gd name="connsiteX3" fmla="*/ 36723 w 36723"/>
                <a:gd name="connsiteY3" fmla="*/ 21478 h 212996"/>
                <a:gd name="connsiteX4" fmla="*/ 0 w 36723"/>
                <a:gd name="connsiteY4" fmla="*/ 0 h 21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23" h="212996">
                  <a:moveTo>
                    <a:pt x="0" y="0"/>
                  </a:moveTo>
                  <a:lnTo>
                    <a:pt x="704" y="192196"/>
                  </a:lnTo>
                  <a:lnTo>
                    <a:pt x="36723" y="212996"/>
                  </a:lnTo>
                  <a:lnTo>
                    <a:pt x="36723" y="21478"/>
                  </a:lnTo>
                  <a:lnTo>
                    <a:pt x="0" y="0"/>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424" name="Freeform: Shape 423">
              <a:extLst>
                <a:ext uri="{FF2B5EF4-FFF2-40B4-BE49-F238E27FC236}">
                  <a16:creationId xmlns:a16="http://schemas.microsoft.com/office/drawing/2014/main" id="{7F34FED1-8D59-4DA2-9AA7-FBA237205CD1}"/>
                </a:ext>
              </a:extLst>
            </p:cNvPr>
            <p:cNvSpPr/>
            <p:nvPr/>
          </p:nvSpPr>
          <p:spPr bwMode="gray">
            <a:xfrm>
              <a:off x="7681059" y="2899968"/>
              <a:ext cx="36997" cy="213484"/>
            </a:xfrm>
            <a:custGeom>
              <a:avLst/>
              <a:gdLst>
                <a:gd name="connsiteX0" fmla="*/ 274 w 36997"/>
                <a:gd name="connsiteY0" fmla="*/ 0 h 213484"/>
                <a:gd name="connsiteX1" fmla="*/ 36997 w 36997"/>
                <a:gd name="connsiteY1" fmla="*/ 21478 h 213484"/>
                <a:gd name="connsiteX2" fmla="*/ 36997 w 36997"/>
                <a:gd name="connsiteY2" fmla="*/ 213484 h 213484"/>
                <a:gd name="connsiteX3" fmla="*/ 0 w 36997"/>
                <a:gd name="connsiteY3" fmla="*/ 192119 h 213484"/>
                <a:gd name="connsiteX4" fmla="*/ 69 w 36997"/>
                <a:gd name="connsiteY4" fmla="*/ 144176 h 213484"/>
                <a:gd name="connsiteX5" fmla="*/ 274 w 36997"/>
                <a:gd name="connsiteY5" fmla="*/ 0 h 21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97" h="213484">
                  <a:moveTo>
                    <a:pt x="274" y="0"/>
                  </a:moveTo>
                  <a:lnTo>
                    <a:pt x="36997" y="21478"/>
                  </a:lnTo>
                  <a:lnTo>
                    <a:pt x="36997" y="213484"/>
                  </a:lnTo>
                  <a:lnTo>
                    <a:pt x="0" y="192119"/>
                  </a:lnTo>
                  <a:lnTo>
                    <a:pt x="69" y="144176"/>
                  </a:lnTo>
                  <a:cubicBezTo>
                    <a:pt x="123" y="106235"/>
                    <a:pt x="188" y="60706"/>
                    <a:pt x="274" y="0"/>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428" name="Group 427">
            <a:extLst>
              <a:ext uri="{FF2B5EF4-FFF2-40B4-BE49-F238E27FC236}">
                <a16:creationId xmlns:a16="http://schemas.microsoft.com/office/drawing/2014/main" id="{CD45449B-030F-4B14-A1E0-6F2C0372597F}"/>
              </a:ext>
            </a:extLst>
          </p:cNvPr>
          <p:cNvGrpSpPr/>
          <p:nvPr/>
        </p:nvGrpSpPr>
        <p:grpSpPr bwMode="gray">
          <a:xfrm>
            <a:off x="5367536" y="3874139"/>
            <a:ext cx="73719" cy="213484"/>
            <a:chOff x="7681059" y="2899968"/>
            <a:chExt cx="73719" cy="213484"/>
          </a:xfrm>
        </p:grpSpPr>
        <p:sp>
          <p:nvSpPr>
            <p:cNvPr id="429" name="Freeform: Shape 428">
              <a:extLst>
                <a:ext uri="{FF2B5EF4-FFF2-40B4-BE49-F238E27FC236}">
                  <a16:creationId xmlns:a16="http://schemas.microsoft.com/office/drawing/2014/main" id="{54FF7202-04DC-436B-B7E0-E8C4A36D6C3E}"/>
                </a:ext>
              </a:extLst>
            </p:cNvPr>
            <p:cNvSpPr/>
            <p:nvPr/>
          </p:nvSpPr>
          <p:spPr bwMode="gray">
            <a:xfrm flipH="1">
              <a:off x="7718055" y="2899969"/>
              <a:ext cx="36723" cy="212996"/>
            </a:xfrm>
            <a:custGeom>
              <a:avLst/>
              <a:gdLst>
                <a:gd name="connsiteX0" fmla="*/ 693 w 37416"/>
                <a:gd name="connsiteY0" fmla="*/ 0 h 486447"/>
                <a:gd name="connsiteX1" fmla="*/ 0 w 37416"/>
                <a:gd name="connsiteY1" fmla="*/ 485646 h 486447"/>
                <a:gd name="connsiteX2" fmla="*/ 1397 w 37416"/>
                <a:gd name="connsiteY2" fmla="*/ 486447 h 486447"/>
                <a:gd name="connsiteX3" fmla="*/ 1397 w 37416"/>
                <a:gd name="connsiteY3" fmla="*/ 192196 h 486447"/>
                <a:gd name="connsiteX4" fmla="*/ 37416 w 37416"/>
                <a:gd name="connsiteY4" fmla="*/ 212996 h 486447"/>
                <a:gd name="connsiteX5" fmla="*/ 37416 w 37416"/>
                <a:gd name="connsiteY5" fmla="*/ 21478 h 486447"/>
                <a:gd name="connsiteX0" fmla="*/ 693 w 37416"/>
                <a:gd name="connsiteY0" fmla="*/ 0 h 485646"/>
                <a:gd name="connsiteX1" fmla="*/ 0 w 37416"/>
                <a:gd name="connsiteY1" fmla="*/ 485646 h 485646"/>
                <a:gd name="connsiteX2" fmla="*/ 1397 w 37416"/>
                <a:gd name="connsiteY2" fmla="*/ 192196 h 485646"/>
                <a:gd name="connsiteX3" fmla="*/ 37416 w 37416"/>
                <a:gd name="connsiteY3" fmla="*/ 212996 h 485646"/>
                <a:gd name="connsiteX4" fmla="*/ 37416 w 37416"/>
                <a:gd name="connsiteY4" fmla="*/ 21478 h 485646"/>
                <a:gd name="connsiteX5" fmla="*/ 693 w 37416"/>
                <a:gd name="connsiteY5" fmla="*/ 0 h 48564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4206 w 40929"/>
                <a:gd name="connsiteY0" fmla="*/ 0 h 212996"/>
                <a:gd name="connsiteX1" fmla="*/ 4910 w 40929"/>
                <a:gd name="connsiteY1" fmla="*/ 192196 h 212996"/>
                <a:gd name="connsiteX2" fmla="*/ 40929 w 40929"/>
                <a:gd name="connsiteY2" fmla="*/ 212996 h 212996"/>
                <a:gd name="connsiteX3" fmla="*/ 40929 w 40929"/>
                <a:gd name="connsiteY3" fmla="*/ 21478 h 212996"/>
                <a:gd name="connsiteX4" fmla="*/ 4206 w 40929"/>
                <a:gd name="connsiteY4" fmla="*/ 0 h 212996"/>
                <a:gd name="connsiteX0" fmla="*/ 2126 w 38849"/>
                <a:gd name="connsiteY0" fmla="*/ 0 h 212996"/>
                <a:gd name="connsiteX1" fmla="*/ 2830 w 38849"/>
                <a:gd name="connsiteY1" fmla="*/ 192196 h 212996"/>
                <a:gd name="connsiteX2" fmla="*/ 38849 w 38849"/>
                <a:gd name="connsiteY2" fmla="*/ 212996 h 212996"/>
                <a:gd name="connsiteX3" fmla="*/ 38849 w 38849"/>
                <a:gd name="connsiteY3" fmla="*/ 21478 h 212996"/>
                <a:gd name="connsiteX4" fmla="*/ 2126 w 38849"/>
                <a:gd name="connsiteY4" fmla="*/ 0 h 212996"/>
                <a:gd name="connsiteX0" fmla="*/ 0 w 36723"/>
                <a:gd name="connsiteY0" fmla="*/ 0 h 212996"/>
                <a:gd name="connsiteX1" fmla="*/ 704 w 36723"/>
                <a:gd name="connsiteY1" fmla="*/ 192196 h 212996"/>
                <a:gd name="connsiteX2" fmla="*/ 36723 w 36723"/>
                <a:gd name="connsiteY2" fmla="*/ 212996 h 212996"/>
                <a:gd name="connsiteX3" fmla="*/ 36723 w 36723"/>
                <a:gd name="connsiteY3" fmla="*/ 21478 h 212996"/>
                <a:gd name="connsiteX4" fmla="*/ 0 w 36723"/>
                <a:gd name="connsiteY4" fmla="*/ 0 h 212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23" h="212996">
                  <a:moveTo>
                    <a:pt x="0" y="0"/>
                  </a:moveTo>
                  <a:lnTo>
                    <a:pt x="704" y="192196"/>
                  </a:lnTo>
                  <a:lnTo>
                    <a:pt x="36723" y="212996"/>
                  </a:lnTo>
                  <a:lnTo>
                    <a:pt x="36723" y="21478"/>
                  </a:lnTo>
                  <a:lnTo>
                    <a:pt x="0" y="0"/>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430" name="Freeform: Shape 429">
              <a:extLst>
                <a:ext uri="{FF2B5EF4-FFF2-40B4-BE49-F238E27FC236}">
                  <a16:creationId xmlns:a16="http://schemas.microsoft.com/office/drawing/2014/main" id="{A65A67F0-8DD8-4D0E-AD64-CB72184B6B12}"/>
                </a:ext>
              </a:extLst>
            </p:cNvPr>
            <p:cNvSpPr/>
            <p:nvPr/>
          </p:nvSpPr>
          <p:spPr bwMode="gray">
            <a:xfrm>
              <a:off x="7681059" y="2899968"/>
              <a:ext cx="36997" cy="213484"/>
            </a:xfrm>
            <a:custGeom>
              <a:avLst/>
              <a:gdLst>
                <a:gd name="connsiteX0" fmla="*/ 274 w 36997"/>
                <a:gd name="connsiteY0" fmla="*/ 0 h 213484"/>
                <a:gd name="connsiteX1" fmla="*/ 36997 w 36997"/>
                <a:gd name="connsiteY1" fmla="*/ 21478 h 213484"/>
                <a:gd name="connsiteX2" fmla="*/ 36997 w 36997"/>
                <a:gd name="connsiteY2" fmla="*/ 213484 h 213484"/>
                <a:gd name="connsiteX3" fmla="*/ 0 w 36997"/>
                <a:gd name="connsiteY3" fmla="*/ 192119 h 213484"/>
                <a:gd name="connsiteX4" fmla="*/ 69 w 36997"/>
                <a:gd name="connsiteY4" fmla="*/ 144176 h 213484"/>
                <a:gd name="connsiteX5" fmla="*/ 274 w 36997"/>
                <a:gd name="connsiteY5" fmla="*/ 0 h 21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97" h="213484">
                  <a:moveTo>
                    <a:pt x="274" y="0"/>
                  </a:moveTo>
                  <a:lnTo>
                    <a:pt x="36997" y="21478"/>
                  </a:lnTo>
                  <a:lnTo>
                    <a:pt x="36997" y="213484"/>
                  </a:lnTo>
                  <a:lnTo>
                    <a:pt x="0" y="192119"/>
                  </a:lnTo>
                  <a:lnTo>
                    <a:pt x="69" y="144176"/>
                  </a:lnTo>
                  <a:cubicBezTo>
                    <a:pt x="123" y="106235"/>
                    <a:pt x="188" y="60706"/>
                    <a:pt x="274" y="0"/>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356" name="Group 355">
            <a:extLst>
              <a:ext uri="{FF2B5EF4-FFF2-40B4-BE49-F238E27FC236}">
                <a16:creationId xmlns:a16="http://schemas.microsoft.com/office/drawing/2014/main" id="{46C6007B-6F95-47AE-80C3-A3E8AC6D623D}"/>
              </a:ext>
            </a:extLst>
          </p:cNvPr>
          <p:cNvGrpSpPr/>
          <p:nvPr/>
        </p:nvGrpSpPr>
        <p:grpSpPr bwMode="gray">
          <a:xfrm>
            <a:off x="6271009" y="2132818"/>
            <a:ext cx="2103628" cy="1640047"/>
            <a:chOff x="5751486" y="1939827"/>
            <a:chExt cx="2103628" cy="1640047"/>
          </a:xfrm>
        </p:grpSpPr>
        <p:sp>
          <p:nvSpPr>
            <p:cNvPr id="353" name="Freeform: Shape 352">
              <a:extLst>
                <a:ext uri="{FF2B5EF4-FFF2-40B4-BE49-F238E27FC236}">
                  <a16:creationId xmlns:a16="http://schemas.microsoft.com/office/drawing/2014/main" id="{A0A7F693-8508-4CF5-A1E5-4C44C031E139}"/>
                </a:ext>
              </a:extLst>
            </p:cNvPr>
            <p:cNvSpPr/>
            <p:nvPr/>
          </p:nvSpPr>
          <p:spPr bwMode="gray">
            <a:xfrm>
              <a:off x="6586657" y="2419064"/>
              <a:ext cx="1167418" cy="1158655"/>
            </a:xfrm>
            <a:custGeom>
              <a:avLst/>
              <a:gdLst>
                <a:gd name="connsiteX0" fmla="*/ 1167417 w 1167418"/>
                <a:gd name="connsiteY0" fmla="*/ 0 h 1158655"/>
                <a:gd name="connsiteX1" fmla="*/ 1167418 w 1167418"/>
                <a:gd name="connsiteY1" fmla="*/ 484516 h 1158655"/>
                <a:gd name="connsiteX2" fmla="*/ 785100 w 1167418"/>
                <a:gd name="connsiteY2" fmla="*/ 704777 h 1158655"/>
                <a:gd name="connsiteX3" fmla="*/ 785100 w 1167418"/>
                <a:gd name="connsiteY3" fmla="*/ 706344 h 1158655"/>
                <a:gd name="connsiteX4" fmla="*/ 0 w 1167418"/>
                <a:gd name="connsiteY4" fmla="*/ 1158655 h 1158655"/>
                <a:gd name="connsiteX5" fmla="*/ 0 w 1167418"/>
                <a:gd name="connsiteY5" fmla="*/ 674139 h 1158655"/>
                <a:gd name="connsiteX6" fmla="*/ 382318 w 1167418"/>
                <a:gd name="connsiteY6" fmla="*/ 453878 h 1158655"/>
                <a:gd name="connsiteX7" fmla="*/ 382318 w 1167418"/>
                <a:gd name="connsiteY7" fmla="*/ 452311 h 1158655"/>
                <a:gd name="connsiteX0" fmla="*/ 1167417 w 1167418"/>
                <a:gd name="connsiteY0" fmla="*/ 0 h 1158655"/>
                <a:gd name="connsiteX1" fmla="*/ 1167418 w 1167418"/>
                <a:gd name="connsiteY1" fmla="*/ 484516 h 1158655"/>
                <a:gd name="connsiteX2" fmla="*/ 785100 w 1167418"/>
                <a:gd name="connsiteY2" fmla="*/ 704777 h 1158655"/>
                <a:gd name="connsiteX3" fmla="*/ 0 w 1167418"/>
                <a:gd name="connsiteY3" fmla="*/ 1158655 h 1158655"/>
                <a:gd name="connsiteX4" fmla="*/ 0 w 1167418"/>
                <a:gd name="connsiteY4" fmla="*/ 674139 h 1158655"/>
                <a:gd name="connsiteX5" fmla="*/ 382318 w 1167418"/>
                <a:gd name="connsiteY5" fmla="*/ 453878 h 1158655"/>
                <a:gd name="connsiteX6" fmla="*/ 382318 w 1167418"/>
                <a:gd name="connsiteY6" fmla="*/ 452311 h 1158655"/>
                <a:gd name="connsiteX7" fmla="*/ 1167417 w 1167418"/>
                <a:gd name="connsiteY7" fmla="*/ 0 h 1158655"/>
                <a:gd name="connsiteX0" fmla="*/ 1167417 w 1167418"/>
                <a:gd name="connsiteY0" fmla="*/ 0 h 1158655"/>
                <a:gd name="connsiteX1" fmla="*/ 1167418 w 1167418"/>
                <a:gd name="connsiteY1" fmla="*/ 484516 h 1158655"/>
                <a:gd name="connsiteX2" fmla="*/ 0 w 1167418"/>
                <a:gd name="connsiteY2" fmla="*/ 1158655 h 1158655"/>
                <a:gd name="connsiteX3" fmla="*/ 0 w 1167418"/>
                <a:gd name="connsiteY3" fmla="*/ 674139 h 1158655"/>
                <a:gd name="connsiteX4" fmla="*/ 382318 w 1167418"/>
                <a:gd name="connsiteY4" fmla="*/ 453878 h 1158655"/>
                <a:gd name="connsiteX5" fmla="*/ 382318 w 1167418"/>
                <a:gd name="connsiteY5" fmla="*/ 452311 h 1158655"/>
                <a:gd name="connsiteX6" fmla="*/ 1167417 w 1167418"/>
                <a:gd name="connsiteY6" fmla="*/ 0 h 1158655"/>
                <a:gd name="connsiteX0" fmla="*/ 1167417 w 1167418"/>
                <a:gd name="connsiteY0" fmla="*/ 0 h 1158655"/>
                <a:gd name="connsiteX1" fmla="*/ 1167418 w 1167418"/>
                <a:gd name="connsiteY1" fmla="*/ 484516 h 1158655"/>
                <a:gd name="connsiteX2" fmla="*/ 0 w 1167418"/>
                <a:gd name="connsiteY2" fmla="*/ 1158655 h 1158655"/>
                <a:gd name="connsiteX3" fmla="*/ 0 w 1167418"/>
                <a:gd name="connsiteY3" fmla="*/ 674139 h 1158655"/>
                <a:gd name="connsiteX4" fmla="*/ 382318 w 1167418"/>
                <a:gd name="connsiteY4" fmla="*/ 453878 h 1158655"/>
                <a:gd name="connsiteX5" fmla="*/ 1167417 w 1167418"/>
                <a:gd name="connsiteY5" fmla="*/ 0 h 1158655"/>
                <a:gd name="connsiteX0" fmla="*/ 1167417 w 1167418"/>
                <a:gd name="connsiteY0" fmla="*/ 0 h 1158655"/>
                <a:gd name="connsiteX1" fmla="*/ 1167418 w 1167418"/>
                <a:gd name="connsiteY1" fmla="*/ 484516 h 1158655"/>
                <a:gd name="connsiteX2" fmla="*/ 0 w 1167418"/>
                <a:gd name="connsiteY2" fmla="*/ 1158655 h 1158655"/>
                <a:gd name="connsiteX3" fmla="*/ 0 w 1167418"/>
                <a:gd name="connsiteY3" fmla="*/ 674139 h 1158655"/>
                <a:gd name="connsiteX4" fmla="*/ 1167417 w 1167418"/>
                <a:gd name="connsiteY4" fmla="*/ 0 h 1158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7418" h="1158655">
                  <a:moveTo>
                    <a:pt x="1167417" y="0"/>
                  </a:moveTo>
                  <a:cubicBezTo>
                    <a:pt x="1167417" y="161505"/>
                    <a:pt x="1167418" y="323011"/>
                    <a:pt x="1167418" y="484516"/>
                  </a:cubicBezTo>
                  <a:lnTo>
                    <a:pt x="0" y="1158655"/>
                  </a:lnTo>
                  <a:lnTo>
                    <a:pt x="0" y="674139"/>
                  </a:lnTo>
                  <a:lnTo>
                    <a:pt x="1167417" y="0"/>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354" name="Freeform: Shape 353">
              <a:extLst>
                <a:ext uri="{FF2B5EF4-FFF2-40B4-BE49-F238E27FC236}">
                  <a16:creationId xmlns:a16="http://schemas.microsoft.com/office/drawing/2014/main" id="{170F3CD8-CAF4-4F1E-8D07-08B4F47FF2B2}"/>
                </a:ext>
              </a:extLst>
            </p:cNvPr>
            <p:cNvSpPr/>
            <p:nvPr/>
          </p:nvSpPr>
          <p:spPr bwMode="gray">
            <a:xfrm rot="21386541" flipH="1">
              <a:off x="6157021" y="2002157"/>
              <a:ext cx="1698093" cy="1103755"/>
            </a:xfrm>
            <a:custGeom>
              <a:avLst/>
              <a:gdLst>
                <a:gd name="connsiteX0" fmla="*/ 447210 w 1698093"/>
                <a:gd name="connsiteY0" fmla="*/ 0 h 1103755"/>
                <a:gd name="connsiteX1" fmla="*/ 39855 w 1698093"/>
                <a:gd name="connsiteY1" fmla="*/ 440689 h 1103755"/>
                <a:gd name="connsiteX2" fmla="*/ 0 w 1698093"/>
                <a:gd name="connsiteY2" fmla="*/ 484300 h 1103755"/>
                <a:gd name="connsiteX3" fmla="*/ 397711 w 1698093"/>
                <a:gd name="connsiteY3" fmla="*/ 679389 h 1103755"/>
                <a:gd name="connsiteX4" fmla="*/ 395346 w 1698093"/>
                <a:gd name="connsiteY4" fmla="*/ 681976 h 1103755"/>
                <a:gd name="connsiteX5" fmla="*/ 1255191 w 1698093"/>
                <a:gd name="connsiteY5" fmla="*/ 1103755 h 1103755"/>
                <a:gd name="connsiteX6" fmla="*/ 1256445 w 1698093"/>
                <a:gd name="connsiteY6" fmla="*/ 1102382 h 1103755"/>
                <a:gd name="connsiteX7" fmla="*/ 1698093 w 1698093"/>
                <a:gd name="connsiteY7" fmla="*/ 624594 h 1103755"/>
                <a:gd name="connsiteX8" fmla="*/ 1302495 w 1698093"/>
                <a:gd name="connsiteY8" fmla="*/ 427189 h 1103755"/>
                <a:gd name="connsiteX9" fmla="*/ 1302747 w 1698093"/>
                <a:gd name="connsiteY9" fmla="*/ 426918 h 1103755"/>
                <a:gd name="connsiteX0" fmla="*/ 447210 w 1698093"/>
                <a:gd name="connsiteY0" fmla="*/ 0 h 1103755"/>
                <a:gd name="connsiteX1" fmla="*/ 39855 w 1698093"/>
                <a:gd name="connsiteY1" fmla="*/ 440689 h 1103755"/>
                <a:gd name="connsiteX2" fmla="*/ 0 w 1698093"/>
                <a:gd name="connsiteY2" fmla="*/ 484300 h 1103755"/>
                <a:gd name="connsiteX3" fmla="*/ 397711 w 1698093"/>
                <a:gd name="connsiteY3" fmla="*/ 679389 h 1103755"/>
                <a:gd name="connsiteX4" fmla="*/ 395346 w 1698093"/>
                <a:gd name="connsiteY4" fmla="*/ 681976 h 1103755"/>
                <a:gd name="connsiteX5" fmla="*/ 1255191 w 1698093"/>
                <a:gd name="connsiteY5" fmla="*/ 1103755 h 1103755"/>
                <a:gd name="connsiteX6" fmla="*/ 1256445 w 1698093"/>
                <a:gd name="connsiteY6" fmla="*/ 1102382 h 1103755"/>
                <a:gd name="connsiteX7" fmla="*/ 1698093 w 1698093"/>
                <a:gd name="connsiteY7" fmla="*/ 624594 h 1103755"/>
                <a:gd name="connsiteX8" fmla="*/ 1302495 w 1698093"/>
                <a:gd name="connsiteY8" fmla="*/ 427189 h 1103755"/>
                <a:gd name="connsiteX9" fmla="*/ 447210 w 1698093"/>
                <a:gd name="connsiteY9" fmla="*/ 0 h 1103755"/>
                <a:gd name="connsiteX0" fmla="*/ 447210 w 1698093"/>
                <a:gd name="connsiteY0" fmla="*/ 0 h 1103755"/>
                <a:gd name="connsiteX1" fmla="*/ 39855 w 1698093"/>
                <a:gd name="connsiteY1" fmla="*/ 440689 h 1103755"/>
                <a:gd name="connsiteX2" fmla="*/ 0 w 1698093"/>
                <a:gd name="connsiteY2" fmla="*/ 484300 h 1103755"/>
                <a:gd name="connsiteX3" fmla="*/ 397711 w 1698093"/>
                <a:gd name="connsiteY3" fmla="*/ 679389 h 1103755"/>
                <a:gd name="connsiteX4" fmla="*/ 395346 w 1698093"/>
                <a:gd name="connsiteY4" fmla="*/ 681976 h 1103755"/>
                <a:gd name="connsiteX5" fmla="*/ 1255191 w 1698093"/>
                <a:gd name="connsiteY5" fmla="*/ 1103755 h 1103755"/>
                <a:gd name="connsiteX6" fmla="*/ 1256445 w 1698093"/>
                <a:gd name="connsiteY6" fmla="*/ 1102382 h 1103755"/>
                <a:gd name="connsiteX7" fmla="*/ 1698093 w 1698093"/>
                <a:gd name="connsiteY7" fmla="*/ 624594 h 1103755"/>
                <a:gd name="connsiteX8" fmla="*/ 447210 w 1698093"/>
                <a:gd name="connsiteY8" fmla="*/ 0 h 1103755"/>
                <a:gd name="connsiteX0" fmla="*/ 447210 w 1698093"/>
                <a:gd name="connsiteY0" fmla="*/ 0 h 1103755"/>
                <a:gd name="connsiteX1" fmla="*/ 39855 w 1698093"/>
                <a:gd name="connsiteY1" fmla="*/ 440689 h 1103755"/>
                <a:gd name="connsiteX2" fmla="*/ 0 w 1698093"/>
                <a:gd name="connsiteY2" fmla="*/ 484300 h 1103755"/>
                <a:gd name="connsiteX3" fmla="*/ 397711 w 1698093"/>
                <a:gd name="connsiteY3" fmla="*/ 679389 h 1103755"/>
                <a:gd name="connsiteX4" fmla="*/ 1255191 w 1698093"/>
                <a:gd name="connsiteY4" fmla="*/ 1103755 h 1103755"/>
                <a:gd name="connsiteX5" fmla="*/ 1256445 w 1698093"/>
                <a:gd name="connsiteY5" fmla="*/ 1102382 h 1103755"/>
                <a:gd name="connsiteX6" fmla="*/ 1698093 w 1698093"/>
                <a:gd name="connsiteY6" fmla="*/ 624594 h 1103755"/>
                <a:gd name="connsiteX7" fmla="*/ 447210 w 1698093"/>
                <a:gd name="connsiteY7" fmla="*/ 0 h 1103755"/>
                <a:gd name="connsiteX0" fmla="*/ 447210 w 1698093"/>
                <a:gd name="connsiteY0" fmla="*/ 0 h 1103755"/>
                <a:gd name="connsiteX1" fmla="*/ 39855 w 1698093"/>
                <a:gd name="connsiteY1" fmla="*/ 440689 h 1103755"/>
                <a:gd name="connsiteX2" fmla="*/ 0 w 1698093"/>
                <a:gd name="connsiteY2" fmla="*/ 484300 h 1103755"/>
                <a:gd name="connsiteX3" fmla="*/ 1255191 w 1698093"/>
                <a:gd name="connsiteY3" fmla="*/ 1103755 h 1103755"/>
                <a:gd name="connsiteX4" fmla="*/ 1256445 w 1698093"/>
                <a:gd name="connsiteY4" fmla="*/ 1102382 h 1103755"/>
                <a:gd name="connsiteX5" fmla="*/ 1698093 w 1698093"/>
                <a:gd name="connsiteY5" fmla="*/ 624594 h 1103755"/>
                <a:gd name="connsiteX6" fmla="*/ 447210 w 1698093"/>
                <a:gd name="connsiteY6" fmla="*/ 0 h 1103755"/>
                <a:gd name="connsiteX0" fmla="*/ 447210 w 1698093"/>
                <a:gd name="connsiteY0" fmla="*/ 0 h 1103755"/>
                <a:gd name="connsiteX1" fmla="*/ 0 w 1698093"/>
                <a:gd name="connsiteY1" fmla="*/ 484300 h 1103755"/>
                <a:gd name="connsiteX2" fmla="*/ 1255191 w 1698093"/>
                <a:gd name="connsiteY2" fmla="*/ 1103755 h 1103755"/>
                <a:gd name="connsiteX3" fmla="*/ 1256445 w 1698093"/>
                <a:gd name="connsiteY3" fmla="*/ 1102382 h 1103755"/>
                <a:gd name="connsiteX4" fmla="*/ 1698093 w 1698093"/>
                <a:gd name="connsiteY4" fmla="*/ 624594 h 1103755"/>
                <a:gd name="connsiteX5" fmla="*/ 447210 w 1698093"/>
                <a:gd name="connsiteY5" fmla="*/ 0 h 1103755"/>
                <a:gd name="connsiteX0" fmla="*/ 447210 w 1698093"/>
                <a:gd name="connsiteY0" fmla="*/ 0 h 1103755"/>
                <a:gd name="connsiteX1" fmla="*/ 49998 w 1698093"/>
                <a:gd name="connsiteY1" fmla="*/ 433211 h 1103755"/>
                <a:gd name="connsiteX2" fmla="*/ 0 w 1698093"/>
                <a:gd name="connsiteY2" fmla="*/ 484300 h 1103755"/>
                <a:gd name="connsiteX3" fmla="*/ 1255191 w 1698093"/>
                <a:gd name="connsiteY3" fmla="*/ 1103755 h 1103755"/>
                <a:gd name="connsiteX4" fmla="*/ 1256445 w 1698093"/>
                <a:gd name="connsiteY4" fmla="*/ 1102382 h 1103755"/>
                <a:gd name="connsiteX5" fmla="*/ 1698093 w 1698093"/>
                <a:gd name="connsiteY5" fmla="*/ 624594 h 1103755"/>
                <a:gd name="connsiteX6" fmla="*/ 447210 w 1698093"/>
                <a:gd name="connsiteY6" fmla="*/ 0 h 1103755"/>
                <a:gd name="connsiteX0" fmla="*/ 447210 w 1698093"/>
                <a:gd name="connsiteY0" fmla="*/ 0 h 1103755"/>
                <a:gd name="connsiteX1" fmla="*/ 0 w 1698093"/>
                <a:gd name="connsiteY1" fmla="*/ 484300 h 1103755"/>
                <a:gd name="connsiteX2" fmla="*/ 1255191 w 1698093"/>
                <a:gd name="connsiteY2" fmla="*/ 1103755 h 1103755"/>
                <a:gd name="connsiteX3" fmla="*/ 1256445 w 1698093"/>
                <a:gd name="connsiteY3" fmla="*/ 1102382 h 1103755"/>
                <a:gd name="connsiteX4" fmla="*/ 1698093 w 1698093"/>
                <a:gd name="connsiteY4" fmla="*/ 624594 h 1103755"/>
                <a:gd name="connsiteX5" fmla="*/ 447210 w 1698093"/>
                <a:gd name="connsiteY5" fmla="*/ 0 h 1103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98093" h="1103755">
                  <a:moveTo>
                    <a:pt x="447210" y="0"/>
                  </a:moveTo>
                  <a:lnTo>
                    <a:pt x="0" y="484300"/>
                  </a:lnTo>
                  <a:lnTo>
                    <a:pt x="1255191" y="1103755"/>
                  </a:lnTo>
                  <a:lnTo>
                    <a:pt x="1256445" y="1102382"/>
                  </a:lnTo>
                  <a:lnTo>
                    <a:pt x="1698093" y="624594"/>
                  </a:lnTo>
                  <a:lnTo>
                    <a:pt x="447210"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355" name="Freeform: Shape 354">
              <a:extLst>
                <a:ext uri="{FF2B5EF4-FFF2-40B4-BE49-F238E27FC236}">
                  <a16:creationId xmlns:a16="http://schemas.microsoft.com/office/drawing/2014/main" id="{925EB328-E96B-4A6F-A476-16A3E57F1784}"/>
                </a:ext>
              </a:extLst>
            </p:cNvPr>
            <p:cNvSpPr/>
            <p:nvPr/>
          </p:nvSpPr>
          <p:spPr bwMode="gray">
            <a:xfrm flipH="1">
              <a:off x="5751486" y="1939827"/>
              <a:ext cx="1620930" cy="741899"/>
            </a:xfrm>
            <a:custGeom>
              <a:avLst/>
              <a:gdLst>
                <a:gd name="connsiteX0" fmla="*/ 405126 w 1620934"/>
                <a:gd name="connsiteY0" fmla="*/ 0 h 741899"/>
                <a:gd name="connsiteX1" fmla="*/ 0 w 1620934"/>
                <a:gd name="connsiteY1" fmla="*/ 37638 h 741899"/>
                <a:gd name="connsiteX2" fmla="*/ 382928 w 1620934"/>
                <a:gd name="connsiteY2" fmla="*/ 259410 h 741899"/>
                <a:gd name="connsiteX3" fmla="*/ 382318 w 1620934"/>
                <a:gd name="connsiteY3" fmla="*/ 259467 h 741899"/>
                <a:gd name="connsiteX4" fmla="*/ 1215323 w 1620934"/>
                <a:gd name="connsiteY4" fmla="*/ 741899 h 741899"/>
                <a:gd name="connsiteX5" fmla="*/ 1326773 w 1620934"/>
                <a:gd name="connsiteY5" fmla="*/ 729673 h 741899"/>
                <a:gd name="connsiteX6" fmla="*/ 1326775 w 1620934"/>
                <a:gd name="connsiteY6" fmla="*/ 729673 h 741899"/>
                <a:gd name="connsiteX7" fmla="*/ 1326774 w 1620934"/>
                <a:gd name="connsiteY7" fmla="*/ 729672 h 741899"/>
                <a:gd name="connsiteX8" fmla="*/ 1326777 w 1620934"/>
                <a:gd name="connsiteY8" fmla="*/ 729672 h 741899"/>
                <a:gd name="connsiteX9" fmla="*/ 1326757 w 1620934"/>
                <a:gd name="connsiteY9" fmla="*/ 729663 h 741899"/>
                <a:gd name="connsiteX10" fmla="*/ 1326165 w 1620934"/>
                <a:gd name="connsiteY10" fmla="*/ 729325 h 741899"/>
                <a:gd name="connsiteX11" fmla="*/ 1620930 w 1620934"/>
                <a:gd name="connsiteY11" fmla="*/ 696989 h 741899"/>
                <a:gd name="connsiteX12" fmla="*/ 1620932 w 1620934"/>
                <a:gd name="connsiteY12" fmla="*/ 696989 h 741899"/>
                <a:gd name="connsiteX13" fmla="*/ 1620931 w 1620934"/>
                <a:gd name="connsiteY13" fmla="*/ 696988 h 741899"/>
                <a:gd name="connsiteX14" fmla="*/ 1620934 w 1620934"/>
                <a:gd name="connsiteY14" fmla="*/ 696988 h 741899"/>
                <a:gd name="connsiteX15" fmla="*/ 1620915 w 1620934"/>
                <a:gd name="connsiteY15" fmla="*/ 696979 h 741899"/>
                <a:gd name="connsiteX16" fmla="*/ 1232916 w 1620934"/>
                <a:gd name="connsiteY16" fmla="*/ 475786 h 741899"/>
                <a:gd name="connsiteX17" fmla="*/ 1238612 w 1620934"/>
                <a:gd name="connsiteY17" fmla="*/ 475161 h 741899"/>
                <a:gd name="connsiteX18" fmla="*/ 1238614 w 1620934"/>
                <a:gd name="connsiteY18" fmla="*/ 475161 h 741899"/>
                <a:gd name="connsiteX19" fmla="*/ 1238613 w 1620934"/>
                <a:gd name="connsiteY19" fmla="*/ 475160 h 741899"/>
                <a:gd name="connsiteX20" fmla="*/ 1238616 w 1620934"/>
                <a:gd name="connsiteY20" fmla="*/ 475160 h 741899"/>
                <a:gd name="connsiteX21" fmla="*/ 1238597 w 1620934"/>
                <a:gd name="connsiteY21" fmla="*/ 475151 h 741899"/>
                <a:gd name="connsiteX0" fmla="*/ 405126 w 1620934"/>
                <a:gd name="connsiteY0" fmla="*/ 0 h 741899"/>
                <a:gd name="connsiteX1" fmla="*/ 0 w 1620934"/>
                <a:gd name="connsiteY1" fmla="*/ 37638 h 741899"/>
                <a:gd name="connsiteX2" fmla="*/ 382928 w 1620934"/>
                <a:gd name="connsiteY2" fmla="*/ 259410 h 741899"/>
                <a:gd name="connsiteX3" fmla="*/ 1215323 w 1620934"/>
                <a:gd name="connsiteY3" fmla="*/ 741899 h 741899"/>
                <a:gd name="connsiteX4" fmla="*/ 1326773 w 1620934"/>
                <a:gd name="connsiteY4" fmla="*/ 729673 h 741899"/>
                <a:gd name="connsiteX5" fmla="*/ 1326775 w 1620934"/>
                <a:gd name="connsiteY5" fmla="*/ 729673 h 741899"/>
                <a:gd name="connsiteX6" fmla="*/ 1326774 w 1620934"/>
                <a:gd name="connsiteY6" fmla="*/ 729672 h 741899"/>
                <a:gd name="connsiteX7" fmla="*/ 1326777 w 1620934"/>
                <a:gd name="connsiteY7" fmla="*/ 729672 h 741899"/>
                <a:gd name="connsiteX8" fmla="*/ 1326757 w 1620934"/>
                <a:gd name="connsiteY8" fmla="*/ 729663 h 741899"/>
                <a:gd name="connsiteX9" fmla="*/ 1326165 w 1620934"/>
                <a:gd name="connsiteY9" fmla="*/ 729325 h 741899"/>
                <a:gd name="connsiteX10" fmla="*/ 1620930 w 1620934"/>
                <a:gd name="connsiteY10" fmla="*/ 696989 h 741899"/>
                <a:gd name="connsiteX11" fmla="*/ 1620932 w 1620934"/>
                <a:gd name="connsiteY11" fmla="*/ 696989 h 741899"/>
                <a:gd name="connsiteX12" fmla="*/ 1620931 w 1620934"/>
                <a:gd name="connsiteY12" fmla="*/ 696988 h 741899"/>
                <a:gd name="connsiteX13" fmla="*/ 1620934 w 1620934"/>
                <a:gd name="connsiteY13" fmla="*/ 696988 h 741899"/>
                <a:gd name="connsiteX14" fmla="*/ 1620915 w 1620934"/>
                <a:gd name="connsiteY14" fmla="*/ 696979 h 741899"/>
                <a:gd name="connsiteX15" fmla="*/ 1232916 w 1620934"/>
                <a:gd name="connsiteY15" fmla="*/ 475786 h 741899"/>
                <a:gd name="connsiteX16" fmla="*/ 1238612 w 1620934"/>
                <a:gd name="connsiteY16" fmla="*/ 475161 h 741899"/>
                <a:gd name="connsiteX17" fmla="*/ 1238614 w 1620934"/>
                <a:gd name="connsiteY17" fmla="*/ 475161 h 741899"/>
                <a:gd name="connsiteX18" fmla="*/ 1238613 w 1620934"/>
                <a:gd name="connsiteY18" fmla="*/ 475160 h 741899"/>
                <a:gd name="connsiteX19" fmla="*/ 1238616 w 1620934"/>
                <a:gd name="connsiteY19" fmla="*/ 475160 h 741899"/>
                <a:gd name="connsiteX20" fmla="*/ 1238597 w 1620934"/>
                <a:gd name="connsiteY20" fmla="*/ 475151 h 741899"/>
                <a:gd name="connsiteX21" fmla="*/ 405126 w 1620934"/>
                <a:gd name="connsiteY21" fmla="*/ 0 h 741899"/>
                <a:gd name="connsiteX0" fmla="*/ 405126 w 1620934"/>
                <a:gd name="connsiteY0" fmla="*/ 0 h 741899"/>
                <a:gd name="connsiteX1" fmla="*/ 0 w 1620934"/>
                <a:gd name="connsiteY1" fmla="*/ 37638 h 741899"/>
                <a:gd name="connsiteX2" fmla="*/ 1215323 w 1620934"/>
                <a:gd name="connsiteY2" fmla="*/ 741899 h 741899"/>
                <a:gd name="connsiteX3" fmla="*/ 1326773 w 1620934"/>
                <a:gd name="connsiteY3" fmla="*/ 729673 h 741899"/>
                <a:gd name="connsiteX4" fmla="*/ 1326775 w 1620934"/>
                <a:gd name="connsiteY4" fmla="*/ 729673 h 741899"/>
                <a:gd name="connsiteX5" fmla="*/ 1326774 w 1620934"/>
                <a:gd name="connsiteY5" fmla="*/ 729672 h 741899"/>
                <a:gd name="connsiteX6" fmla="*/ 1326777 w 1620934"/>
                <a:gd name="connsiteY6" fmla="*/ 729672 h 741899"/>
                <a:gd name="connsiteX7" fmla="*/ 1326757 w 1620934"/>
                <a:gd name="connsiteY7" fmla="*/ 729663 h 741899"/>
                <a:gd name="connsiteX8" fmla="*/ 1326165 w 1620934"/>
                <a:gd name="connsiteY8" fmla="*/ 729325 h 741899"/>
                <a:gd name="connsiteX9" fmla="*/ 1620930 w 1620934"/>
                <a:gd name="connsiteY9" fmla="*/ 696989 h 741899"/>
                <a:gd name="connsiteX10" fmla="*/ 1620932 w 1620934"/>
                <a:gd name="connsiteY10" fmla="*/ 696989 h 741899"/>
                <a:gd name="connsiteX11" fmla="*/ 1620931 w 1620934"/>
                <a:gd name="connsiteY11" fmla="*/ 696988 h 741899"/>
                <a:gd name="connsiteX12" fmla="*/ 1620934 w 1620934"/>
                <a:gd name="connsiteY12" fmla="*/ 696988 h 741899"/>
                <a:gd name="connsiteX13" fmla="*/ 1620915 w 1620934"/>
                <a:gd name="connsiteY13" fmla="*/ 696979 h 741899"/>
                <a:gd name="connsiteX14" fmla="*/ 1232916 w 1620934"/>
                <a:gd name="connsiteY14" fmla="*/ 475786 h 741899"/>
                <a:gd name="connsiteX15" fmla="*/ 1238612 w 1620934"/>
                <a:gd name="connsiteY15" fmla="*/ 475161 h 741899"/>
                <a:gd name="connsiteX16" fmla="*/ 1238614 w 1620934"/>
                <a:gd name="connsiteY16" fmla="*/ 475161 h 741899"/>
                <a:gd name="connsiteX17" fmla="*/ 1238613 w 1620934"/>
                <a:gd name="connsiteY17" fmla="*/ 475160 h 741899"/>
                <a:gd name="connsiteX18" fmla="*/ 1238616 w 1620934"/>
                <a:gd name="connsiteY18" fmla="*/ 475160 h 741899"/>
                <a:gd name="connsiteX19" fmla="*/ 1238597 w 1620934"/>
                <a:gd name="connsiteY19" fmla="*/ 475151 h 741899"/>
                <a:gd name="connsiteX20" fmla="*/ 405126 w 1620934"/>
                <a:gd name="connsiteY20" fmla="*/ 0 h 741899"/>
                <a:gd name="connsiteX0" fmla="*/ 405126 w 1620934"/>
                <a:gd name="connsiteY0" fmla="*/ 0 h 741899"/>
                <a:gd name="connsiteX1" fmla="*/ 0 w 1620934"/>
                <a:gd name="connsiteY1" fmla="*/ 37638 h 741899"/>
                <a:gd name="connsiteX2" fmla="*/ 1215323 w 1620934"/>
                <a:gd name="connsiteY2" fmla="*/ 741899 h 741899"/>
                <a:gd name="connsiteX3" fmla="*/ 1326773 w 1620934"/>
                <a:gd name="connsiteY3" fmla="*/ 729673 h 741899"/>
                <a:gd name="connsiteX4" fmla="*/ 1326775 w 1620934"/>
                <a:gd name="connsiteY4" fmla="*/ 729673 h 741899"/>
                <a:gd name="connsiteX5" fmla="*/ 1326774 w 1620934"/>
                <a:gd name="connsiteY5" fmla="*/ 729672 h 741899"/>
                <a:gd name="connsiteX6" fmla="*/ 1326777 w 1620934"/>
                <a:gd name="connsiteY6" fmla="*/ 729672 h 741899"/>
                <a:gd name="connsiteX7" fmla="*/ 1326757 w 1620934"/>
                <a:gd name="connsiteY7" fmla="*/ 729663 h 741899"/>
                <a:gd name="connsiteX8" fmla="*/ 1326165 w 1620934"/>
                <a:gd name="connsiteY8" fmla="*/ 729325 h 741899"/>
                <a:gd name="connsiteX9" fmla="*/ 1620930 w 1620934"/>
                <a:gd name="connsiteY9" fmla="*/ 696989 h 741899"/>
                <a:gd name="connsiteX10" fmla="*/ 1620932 w 1620934"/>
                <a:gd name="connsiteY10" fmla="*/ 696989 h 741899"/>
                <a:gd name="connsiteX11" fmla="*/ 1620931 w 1620934"/>
                <a:gd name="connsiteY11" fmla="*/ 696988 h 741899"/>
                <a:gd name="connsiteX12" fmla="*/ 1620934 w 1620934"/>
                <a:gd name="connsiteY12" fmla="*/ 696988 h 741899"/>
                <a:gd name="connsiteX13" fmla="*/ 1620915 w 1620934"/>
                <a:gd name="connsiteY13" fmla="*/ 696979 h 741899"/>
                <a:gd name="connsiteX14" fmla="*/ 1232916 w 1620934"/>
                <a:gd name="connsiteY14" fmla="*/ 475786 h 741899"/>
                <a:gd name="connsiteX15" fmla="*/ 1238612 w 1620934"/>
                <a:gd name="connsiteY15" fmla="*/ 475161 h 741899"/>
                <a:gd name="connsiteX16" fmla="*/ 1238614 w 1620934"/>
                <a:gd name="connsiteY16" fmla="*/ 475161 h 741899"/>
                <a:gd name="connsiteX17" fmla="*/ 1238613 w 1620934"/>
                <a:gd name="connsiteY17" fmla="*/ 475160 h 741899"/>
                <a:gd name="connsiteX18" fmla="*/ 1238616 w 1620934"/>
                <a:gd name="connsiteY18" fmla="*/ 475160 h 741899"/>
                <a:gd name="connsiteX19" fmla="*/ 405126 w 1620934"/>
                <a:gd name="connsiteY19" fmla="*/ 0 h 741899"/>
                <a:gd name="connsiteX0" fmla="*/ 405126 w 1620934"/>
                <a:gd name="connsiteY0" fmla="*/ 0 h 741899"/>
                <a:gd name="connsiteX1" fmla="*/ 0 w 1620934"/>
                <a:gd name="connsiteY1" fmla="*/ 37638 h 741899"/>
                <a:gd name="connsiteX2" fmla="*/ 1215323 w 1620934"/>
                <a:gd name="connsiteY2" fmla="*/ 741899 h 741899"/>
                <a:gd name="connsiteX3" fmla="*/ 1326773 w 1620934"/>
                <a:gd name="connsiteY3" fmla="*/ 729673 h 741899"/>
                <a:gd name="connsiteX4" fmla="*/ 1326775 w 1620934"/>
                <a:gd name="connsiteY4" fmla="*/ 729673 h 741899"/>
                <a:gd name="connsiteX5" fmla="*/ 1326774 w 1620934"/>
                <a:gd name="connsiteY5" fmla="*/ 729672 h 741899"/>
                <a:gd name="connsiteX6" fmla="*/ 1326777 w 1620934"/>
                <a:gd name="connsiteY6" fmla="*/ 729672 h 741899"/>
                <a:gd name="connsiteX7" fmla="*/ 1326757 w 1620934"/>
                <a:gd name="connsiteY7" fmla="*/ 729663 h 741899"/>
                <a:gd name="connsiteX8" fmla="*/ 1326165 w 1620934"/>
                <a:gd name="connsiteY8" fmla="*/ 729325 h 741899"/>
                <a:gd name="connsiteX9" fmla="*/ 1620930 w 1620934"/>
                <a:gd name="connsiteY9" fmla="*/ 696989 h 741899"/>
                <a:gd name="connsiteX10" fmla="*/ 1620932 w 1620934"/>
                <a:gd name="connsiteY10" fmla="*/ 696989 h 741899"/>
                <a:gd name="connsiteX11" fmla="*/ 1620931 w 1620934"/>
                <a:gd name="connsiteY11" fmla="*/ 696988 h 741899"/>
                <a:gd name="connsiteX12" fmla="*/ 1620934 w 1620934"/>
                <a:gd name="connsiteY12" fmla="*/ 696988 h 741899"/>
                <a:gd name="connsiteX13" fmla="*/ 1620915 w 1620934"/>
                <a:gd name="connsiteY13" fmla="*/ 696979 h 741899"/>
                <a:gd name="connsiteX14" fmla="*/ 1232916 w 1620934"/>
                <a:gd name="connsiteY14" fmla="*/ 475786 h 741899"/>
                <a:gd name="connsiteX15" fmla="*/ 1238612 w 1620934"/>
                <a:gd name="connsiteY15" fmla="*/ 475161 h 741899"/>
                <a:gd name="connsiteX16" fmla="*/ 1238614 w 1620934"/>
                <a:gd name="connsiteY16" fmla="*/ 475161 h 741899"/>
                <a:gd name="connsiteX17" fmla="*/ 1238613 w 1620934"/>
                <a:gd name="connsiteY17" fmla="*/ 475160 h 741899"/>
                <a:gd name="connsiteX18" fmla="*/ 405126 w 1620934"/>
                <a:gd name="connsiteY18" fmla="*/ 0 h 741899"/>
                <a:gd name="connsiteX0" fmla="*/ 405126 w 1620934"/>
                <a:gd name="connsiteY0" fmla="*/ 0 h 741899"/>
                <a:gd name="connsiteX1" fmla="*/ 0 w 1620934"/>
                <a:gd name="connsiteY1" fmla="*/ 37638 h 741899"/>
                <a:gd name="connsiteX2" fmla="*/ 1215323 w 1620934"/>
                <a:gd name="connsiteY2" fmla="*/ 741899 h 741899"/>
                <a:gd name="connsiteX3" fmla="*/ 1326773 w 1620934"/>
                <a:gd name="connsiteY3" fmla="*/ 729673 h 741899"/>
                <a:gd name="connsiteX4" fmla="*/ 1326775 w 1620934"/>
                <a:gd name="connsiteY4" fmla="*/ 729673 h 741899"/>
                <a:gd name="connsiteX5" fmla="*/ 1326774 w 1620934"/>
                <a:gd name="connsiteY5" fmla="*/ 729672 h 741899"/>
                <a:gd name="connsiteX6" fmla="*/ 1326777 w 1620934"/>
                <a:gd name="connsiteY6" fmla="*/ 729672 h 741899"/>
                <a:gd name="connsiteX7" fmla="*/ 1326757 w 1620934"/>
                <a:gd name="connsiteY7" fmla="*/ 729663 h 741899"/>
                <a:gd name="connsiteX8" fmla="*/ 1326165 w 1620934"/>
                <a:gd name="connsiteY8" fmla="*/ 729325 h 741899"/>
                <a:gd name="connsiteX9" fmla="*/ 1620930 w 1620934"/>
                <a:gd name="connsiteY9" fmla="*/ 696989 h 741899"/>
                <a:gd name="connsiteX10" fmla="*/ 1620932 w 1620934"/>
                <a:gd name="connsiteY10" fmla="*/ 696989 h 741899"/>
                <a:gd name="connsiteX11" fmla="*/ 1620931 w 1620934"/>
                <a:gd name="connsiteY11" fmla="*/ 696988 h 741899"/>
                <a:gd name="connsiteX12" fmla="*/ 1620934 w 1620934"/>
                <a:gd name="connsiteY12" fmla="*/ 696988 h 741899"/>
                <a:gd name="connsiteX13" fmla="*/ 1620915 w 1620934"/>
                <a:gd name="connsiteY13" fmla="*/ 696979 h 741899"/>
                <a:gd name="connsiteX14" fmla="*/ 1232916 w 1620934"/>
                <a:gd name="connsiteY14" fmla="*/ 475786 h 741899"/>
                <a:gd name="connsiteX15" fmla="*/ 1238612 w 1620934"/>
                <a:gd name="connsiteY15" fmla="*/ 475161 h 741899"/>
                <a:gd name="connsiteX16" fmla="*/ 1238614 w 1620934"/>
                <a:gd name="connsiteY16" fmla="*/ 475161 h 741899"/>
                <a:gd name="connsiteX17" fmla="*/ 405126 w 1620934"/>
                <a:gd name="connsiteY17" fmla="*/ 0 h 741899"/>
                <a:gd name="connsiteX0" fmla="*/ 405126 w 1620934"/>
                <a:gd name="connsiteY0" fmla="*/ 0 h 741899"/>
                <a:gd name="connsiteX1" fmla="*/ 0 w 1620934"/>
                <a:gd name="connsiteY1" fmla="*/ 37638 h 741899"/>
                <a:gd name="connsiteX2" fmla="*/ 1215323 w 1620934"/>
                <a:gd name="connsiteY2" fmla="*/ 741899 h 741899"/>
                <a:gd name="connsiteX3" fmla="*/ 1326773 w 1620934"/>
                <a:gd name="connsiteY3" fmla="*/ 729673 h 741899"/>
                <a:gd name="connsiteX4" fmla="*/ 1326775 w 1620934"/>
                <a:gd name="connsiteY4" fmla="*/ 729673 h 741899"/>
                <a:gd name="connsiteX5" fmla="*/ 1326774 w 1620934"/>
                <a:gd name="connsiteY5" fmla="*/ 729672 h 741899"/>
                <a:gd name="connsiteX6" fmla="*/ 1326777 w 1620934"/>
                <a:gd name="connsiteY6" fmla="*/ 729672 h 741899"/>
                <a:gd name="connsiteX7" fmla="*/ 1326757 w 1620934"/>
                <a:gd name="connsiteY7" fmla="*/ 729663 h 741899"/>
                <a:gd name="connsiteX8" fmla="*/ 1326165 w 1620934"/>
                <a:gd name="connsiteY8" fmla="*/ 729325 h 741899"/>
                <a:gd name="connsiteX9" fmla="*/ 1620930 w 1620934"/>
                <a:gd name="connsiteY9" fmla="*/ 696989 h 741899"/>
                <a:gd name="connsiteX10" fmla="*/ 1620932 w 1620934"/>
                <a:gd name="connsiteY10" fmla="*/ 696989 h 741899"/>
                <a:gd name="connsiteX11" fmla="*/ 1620931 w 1620934"/>
                <a:gd name="connsiteY11" fmla="*/ 696988 h 741899"/>
                <a:gd name="connsiteX12" fmla="*/ 1620934 w 1620934"/>
                <a:gd name="connsiteY12" fmla="*/ 696988 h 741899"/>
                <a:gd name="connsiteX13" fmla="*/ 1620915 w 1620934"/>
                <a:gd name="connsiteY13" fmla="*/ 696979 h 741899"/>
                <a:gd name="connsiteX14" fmla="*/ 1232916 w 1620934"/>
                <a:gd name="connsiteY14" fmla="*/ 475786 h 741899"/>
                <a:gd name="connsiteX15" fmla="*/ 1238612 w 1620934"/>
                <a:gd name="connsiteY15" fmla="*/ 475161 h 741899"/>
                <a:gd name="connsiteX16" fmla="*/ 405126 w 1620934"/>
                <a:gd name="connsiteY16" fmla="*/ 0 h 741899"/>
                <a:gd name="connsiteX0" fmla="*/ 405126 w 1620934"/>
                <a:gd name="connsiteY0" fmla="*/ 0 h 741899"/>
                <a:gd name="connsiteX1" fmla="*/ 0 w 1620934"/>
                <a:gd name="connsiteY1" fmla="*/ 37638 h 741899"/>
                <a:gd name="connsiteX2" fmla="*/ 1215323 w 1620934"/>
                <a:gd name="connsiteY2" fmla="*/ 741899 h 741899"/>
                <a:gd name="connsiteX3" fmla="*/ 1326773 w 1620934"/>
                <a:gd name="connsiteY3" fmla="*/ 729673 h 741899"/>
                <a:gd name="connsiteX4" fmla="*/ 1326775 w 1620934"/>
                <a:gd name="connsiteY4" fmla="*/ 729673 h 741899"/>
                <a:gd name="connsiteX5" fmla="*/ 1326774 w 1620934"/>
                <a:gd name="connsiteY5" fmla="*/ 729672 h 741899"/>
                <a:gd name="connsiteX6" fmla="*/ 1326777 w 1620934"/>
                <a:gd name="connsiteY6" fmla="*/ 729672 h 741899"/>
                <a:gd name="connsiteX7" fmla="*/ 1326757 w 1620934"/>
                <a:gd name="connsiteY7" fmla="*/ 729663 h 741899"/>
                <a:gd name="connsiteX8" fmla="*/ 1326165 w 1620934"/>
                <a:gd name="connsiteY8" fmla="*/ 729325 h 741899"/>
                <a:gd name="connsiteX9" fmla="*/ 1620930 w 1620934"/>
                <a:gd name="connsiteY9" fmla="*/ 696989 h 741899"/>
                <a:gd name="connsiteX10" fmla="*/ 1620932 w 1620934"/>
                <a:gd name="connsiteY10" fmla="*/ 696989 h 741899"/>
                <a:gd name="connsiteX11" fmla="*/ 1620931 w 1620934"/>
                <a:gd name="connsiteY11" fmla="*/ 696988 h 741899"/>
                <a:gd name="connsiteX12" fmla="*/ 1620934 w 1620934"/>
                <a:gd name="connsiteY12" fmla="*/ 696988 h 741899"/>
                <a:gd name="connsiteX13" fmla="*/ 1620915 w 1620934"/>
                <a:gd name="connsiteY13" fmla="*/ 696979 h 741899"/>
                <a:gd name="connsiteX14" fmla="*/ 1232916 w 1620934"/>
                <a:gd name="connsiteY14" fmla="*/ 475786 h 741899"/>
                <a:gd name="connsiteX15" fmla="*/ 405126 w 1620934"/>
                <a:gd name="connsiteY15" fmla="*/ 0 h 741899"/>
                <a:gd name="connsiteX0" fmla="*/ 405126 w 1620934"/>
                <a:gd name="connsiteY0" fmla="*/ 0 h 741899"/>
                <a:gd name="connsiteX1" fmla="*/ 0 w 1620934"/>
                <a:gd name="connsiteY1" fmla="*/ 37638 h 741899"/>
                <a:gd name="connsiteX2" fmla="*/ 1215323 w 1620934"/>
                <a:gd name="connsiteY2" fmla="*/ 741899 h 741899"/>
                <a:gd name="connsiteX3" fmla="*/ 1326773 w 1620934"/>
                <a:gd name="connsiteY3" fmla="*/ 729673 h 741899"/>
                <a:gd name="connsiteX4" fmla="*/ 1326775 w 1620934"/>
                <a:gd name="connsiteY4" fmla="*/ 729673 h 741899"/>
                <a:gd name="connsiteX5" fmla="*/ 1326774 w 1620934"/>
                <a:gd name="connsiteY5" fmla="*/ 729672 h 741899"/>
                <a:gd name="connsiteX6" fmla="*/ 1326777 w 1620934"/>
                <a:gd name="connsiteY6" fmla="*/ 729672 h 741899"/>
                <a:gd name="connsiteX7" fmla="*/ 1326757 w 1620934"/>
                <a:gd name="connsiteY7" fmla="*/ 729663 h 741899"/>
                <a:gd name="connsiteX8" fmla="*/ 1326165 w 1620934"/>
                <a:gd name="connsiteY8" fmla="*/ 729325 h 741899"/>
                <a:gd name="connsiteX9" fmla="*/ 1620930 w 1620934"/>
                <a:gd name="connsiteY9" fmla="*/ 696989 h 741899"/>
                <a:gd name="connsiteX10" fmla="*/ 1620932 w 1620934"/>
                <a:gd name="connsiteY10" fmla="*/ 696989 h 741899"/>
                <a:gd name="connsiteX11" fmla="*/ 1620931 w 1620934"/>
                <a:gd name="connsiteY11" fmla="*/ 696988 h 741899"/>
                <a:gd name="connsiteX12" fmla="*/ 1620934 w 1620934"/>
                <a:gd name="connsiteY12" fmla="*/ 696988 h 741899"/>
                <a:gd name="connsiteX13" fmla="*/ 1620915 w 1620934"/>
                <a:gd name="connsiteY13" fmla="*/ 696979 h 741899"/>
                <a:gd name="connsiteX14" fmla="*/ 405126 w 1620934"/>
                <a:gd name="connsiteY14" fmla="*/ 0 h 741899"/>
                <a:gd name="connsiteX0" fmla="*/ 405126 w 1620934"/>
                <a:gd name="connsiteY0" fmla="*/ 0 h 741899"/>
                <a:gd name="connsiteX1" fmla="*/ 0 w 1620934"/>
                <a:gd name="connsiteY1" fmla="*/ 37638 h 741899"/>
                <a:gd name="connsiteX2" fmla="*/ 1215323 w 1620934"/>
                <a:gd name="connsiteY2" fmla="*/ 741899 h 741899"/>
                <a:gd name="connsiteX3" fmla="*/ 1326773 w 1620934"/>
                <a:gd name="connsiteY3" fmla="*/ 729673 h 741899"/>
                <a:gd name="connsiteX4" fmla="*/ 1326775 w 1620934"/>
                <a:gd name="connsiteY4" fmla="*/ 729673 h 741899"/>
                <a:gd name="connsiteX5" fmla="*/ 1326774 w 1620934"/>
                <a:gd name="connsiteY5" fmla="*/ 729672 h 741899"/>
                <a:gd name="connsiteX6" fmla="*/ 1326777 w 1620934"/>
                <a:gd name="connsiteY6" fmla="*/ 729672 h 741899"/>
                <a:gd name="connsiteX7" fmla="*/ 1326757 w 1620934"/>
                <a:gd name="connsiteY7" fmla="*/ 729663 h 741899"/>
                <a:gd name="connsiteX8" fmla="*/ 1620930 w 1620934"/>
                <a:gd name="connsiteY8" fmla="*/ 696989 h 741899"/>
                <a:gd name="connsiteX9" fmla="*/ 1620932 w 1620934"/>
                <a:gd name="connsiteY9" fmla="*/ 696989 h 741899"/>
                <a:gd name="connsiteX10" fmla="*/ 1620931 w 1620934"/>
                <a:gd name="connsiteY10" fmla="*/ 696988 h 741899"/>
                <a:gd name="connsiteX11" fmla="*/ 1620934 w 1620934"/>
                <a:gd name="connsiteY11" fmla="*/ 696988 h 741899"/>
                <a:gd name="connsiteX12" fmla="*/ 1620915 w 1620934"/>
                <a:gd name="connsiteY12" fmla="*/ 696979 h 741899"/>
                <a:gd name="connsiteX13" fmla="*/ 405126 w 1620934"/>
                <a:gd name="connsiteY13" fmla="*/ 0 h 741899"/>
                <a:gd name="connsiteX0" fmla="*/ 405126 w 1642719"/>
                <a:gd name="connsiteY0" fmla="*/ 0 h 741899"/>
                <a:gd name="connsiteX1" fmla="*/ 0 w 1642719"/>
                <a:gd name="connsiteY1" fmla="*/ 37638 h 741899"/>
                <a:gd name="connsiteX2" fmla="*/ 1215323 w 1642719"/>
                <a:gd name="connsiteY2" fmla="*/ 741899 h 741899"/>
                <a:gd name="connsiteX3" fmla="*/ 1326773 w 1642719"/>
                <a:gd name="connsiteY3" fmla="*/ 729673 h 741899"/>
                <a:gd name="connsiteX4" fmla="*/ 1326775 w 1642719"/>
                <a:gd name="connsiteY4" fmla="*/ 729673 h 741899"/>
                <a:gd name="connsiteX5" fmla="*/ 1326774 w 1642719"/>
                <a:gd name="connsiteY5" fmla="*/ 729672 h 741899"/>
                <a:gd name="connsiteX6" fmla="*/ 1326777 w 1642719"/>
                <a:gd name="connsiteY6" fmla="*/ 729672 h 741899"/>
                <a:gd name="connsiteX7" fmla="*/ 1620930 w 1642719"/>
                <a:gd name="connsiteY7" fmla="*/ 696989 h 741899"/>
                <a:gd name="connsiteX8" fmla="*/ 1620932 w 1642719"/>
                <a:gd name="connsiteY8" fmla="*/ 696989 h 741899"/>
                <a:gd name="connsiteX9" fmla="*/ 1620931 w 1642719"/>
                <a:gd name="connsiteY9" fmla="*/ 696988 h 741899"/>
                <a:gd name="connsiteX10" fmla="*/ 1620934 w 1642719"/>
                <a:gd name="connsiteY10" fmla="*/ 696988 h 741899"/>
                <a:gd name="connsiteX11" fmla="*/ 1620915 w 1642719"/>
                <a:gd name="connsiteY11" fmla="*/ 696979 h 741899"/>
                <a:gd name="connsiteX12" fmla="*/ 405126 w 1642719"/>
                <a:gd name="connsiteY12" fmla="*/ 0 h 741899"/>
                <a:gd name="connsiteX0" fmla="*/ 405126 w 1642719"/>
                <a:gd name="connsiteY0" fmla="*/ 0 h 741899"/>
                <a:gd name="connsiteX1" fmla="*/ 0 w 1642719"/>
                <a:gd name="connsiteY1" fmla="*/ 37638 h 741899"/>
                <a:gd name="connsiteX2" fmla="*/ 1215323 w 1642719"/>
                <a:gd name="connsiteY2" fmla="*/ 741899 h 741899"/>
                <a:gd name="connsiteX3" fmla="*/ 1326773 w 1642719"/>
                <a:gd name="connsiteY3" fmla="*/ 729673 h 741899"/>
                <a:gd name="connsiteX4" fmla="*/ 1326775 w 1642719"/>
                <a:gd name="connsiteY4" fmla="*/ 729673 h 741899"/>
                <a:gd name="connsiteX5" fmla="*/ 1326774 w 1642719"/>
                <a:gd name="connsiteY5" fmla="*/ 729672 h 741899"/>
                <a:gd name="connsiteX6" fmla="*/ 1620930 w 1642719"/>
                <a:gd name="connsiteY6" fmla="*/ 696989 h 741899"/>
                <a:gd name="connsiteX7" fmla="*/ 1620932 w 1642719"/>
                <a:gd name="connsiteY7" fmla="*/ 696989 h 741899"/>
                <a:gd name="connsiteX8" fmla="*/ 1620931 w 1642719"/>
                <a:gd name="connsiteY8" fmla="*/ 696988 h 741899"/>
                <a:gd name="connsiteX9" fmla="*/ 1620934 w 1642719"/>
                <a:gd name="connsiteY9" fmla="*/ 696988 h 741899"/>
                <a:gd name="connsiteX10" fmla="*/ 1620915 w 1642719"/>
                <a:gd name="connsiteY10" fmla="*/ 696979 h 741899"/>
                <a:gd name="connsiteX11" fmla="*/ 405126 w 1642719"/>
                <a:gd name="connsiteY11" fmla="*/ 0 h 741899"/>
                <a:gd name="connsiteX0" fmla="*/ 405126 w 1642719"/>
                <a:gd name="connsiteY0" fmla="*/ 0 h 741899"/>
                <a:gd name="connsiteX1" fmla="*/ 0 w 1642719"/>
                <a:gd name="connsiteY1" fmla="*/ 37638 h 741899"/>
                <a:gd name="connsiteX2" fmla="*/ 1215323 w 1642719"/>
                <a:gd name="connsiteY2" fmla="*/ 741899 h 741899"/>
                <a:gd name="connsiteX3" fmla="*/ 1326773 w 1642719"/>
                <a:gd name="connsiteY3" fmla="*/ 729673 h 741899"/>
                <a:gd name="connsiteX4" fmla="*/ 1326775 w 1642719"/>
                <a:gd name="connsiteY4" fmla="*/ 729673 h 741899"/>
                <a:gd name="connsiteX5" fmla="*/ 1620930 w 1642719"/>
                <a:gd name="connsiteY5" fmla="*/ 696989 h 741899"/>
                <a:gd name="connsiteX6" fmla="*/ 1620932 w 1642719"/>
                <a:gd name="connsiteY6" fmla="*/ 696989 h 741899"/>
                <a:gd name="connsiteX7" fmla="*/ 1620931 w 1642719"/>
                <a:gd name="connsiteY7" fmla="*/ 696988 h 741899"/>
                <a:gd name="connsiteX8" fmla="*/ 1620934 w 1642719"/>
                <a:gd name="connsiteY8" fmla="*/ 696988 h 741899"/>
                <a:gd name="connsiteX9" fmla="*/ 1620915 w 1642719"/>
                <a:gd name="connsiteY9" fmla="*/ 696979 h 741899"/>
                <a:gd name="connsiteX10" fmla="*/ 405126 w 1642719"/>
                <a:gd name="connsiteY10" fmla="*/ 0 h 741899"/>
                <a:gd name="connsiteX0" fmla="*/ 405126 w 1642719"/>
                <a:gd name="connsiteY0" fmla="*/ 0 h 741899"/>
                <a:gd name="connsiteX1" fmla="*/ 0 w 1642719"/>
                <a:gd name="connsiteY1" fmla="*/ 37638 h 741899"/>
                <a:gd name="connsiteX2" fmla="*/ 1215323 w 1642719"/>
                <a:gd name="connsiteY2" fmla="*/ 741899 h 741899"/>
                <a:gd name="connsiteX3" fmla="*/ 1326773 w 1642719"/>
                <a:gd name="connsiteY3" fmla="*/ 729673 h 741899"/>
                <a:gd name="connsiteX4" fmla="*/ 1620930 w 1642719"/>
                <a:gd name="connsiteY4" fmla="*/ 696989 h 741899"/>
                <a:gd name="connsiteX5" fmla="*/ 1620932 w 1642719"/>
                <a:gd name="connsiteY5" fmla="*/ 696989 h 741899"/>
                <a:gd name="connsiteX6" fmla="*/ 1620931 w 1642719"/>
                <a:gd name="connsiteY6" fmla="*/ 696988 h 741899"/>
                <a:gd name="connsiteX7" fmla="*/ 1620934 w 1642719"/>
                <a:gd name="connsiteY7" fmla="*/ 696988 h 741899"/>
                <a:gd name="connsiteX8" fmla="*/ 1620915 w 1642719"/>
                <a:gd name="connsiteY8" fmla="*/ 696979 h 741899"/>
                <a:gd name="connsiteX9" fmla="*/ 405126 w 1642719"/>
                <a:gd name="connsiteY9" fmla="*/ 0 h 741899"/>
                <a:gd name="connsiteX0" fmla="*/ 405126 w 1642719"/>
                <a:gd name="connsiteY0" fmla="*/ 0 h 741899"/>
                <a:gd name="connsiteX1" fmla="*/ 0 w 1642719"/>
                <a:gd name="connsiteY1" fmla="*/ 37638 h 741899"/>
                <a:gd name="connsiteX2" fmla="*/ 1215323 w 1642719"/>
                <a:gd name="connsiteY2" fmla="*/ 741899 h 741899"/>
                <a:gd name="connsiteX3" fmla="*/ 1620930 w 1642719"/>
                <a:gd name="connsiteY3" fmla="*/ 696989 h 741899"/>
                <a:gd name="connsiteX4" fmla="*/ 1620932 w 1642719"/>
                <a:gd name="connsiteY4" fmla="*/ 696989 h 741899"/>
                <a:gd name="connsiteX5" fmla="*/ 1620931 w 1642719"/>
                <a:gd name="connsiteY5" fmla="*/ 696988 h 741899"/>
                <a:gd name="connsiteX6" fmla="*/ 1620934 w 1642719"/>
                <a:gd name="connsiteY6" fmla="*/ 696988 h 741899"/>
                <a:gd name="connsiteX7" fmla="*/ 1620915 w 1642719"/>
                <a:gd name="connsiteY7" fmla="*/ 696979 h 741899"/>
                <a:gd name="connsiteX8" fmla="*/ 405126 w 1642719"/>
                <a:gd name="connsiteY8" fmla="*/ 0 h 741899"/>
                <a:gd name="connsiteX0" fmla="*/ 405126 w 1642719"/>
                <a:gd name="connsiteY0" fmla="*/ 0 h 741899"/>
                <a:gd name="connsiteX1" fmla="*/ 0 w 1642719"/>
                <a:gd name="connsiteY1" fmla="*/ 37638 h 741899"/>
                <a:gd name="connsiteX2" fmla="*/ 1215323 w 1642719"/>
                <a:gd name="connsiteY2" fmla="*/ 741899 h 741899"/>
                <a:gd name="connsiteX3" fmla="*/ 1319277 w 1642719"/>
                <a:gd name="connsiteY3" fmla="*/ 736698 h 741899"/>
                <a:gd name="connsiteX4" fmla="*/ 1620930 w 1642719"/>
                <a:gd name="connsiteY4" fmla="*/ 696989 h 741899"/>
                <a:gd name="connsiteX5" fmla="*/ 1620932 w 1642719"/>
                <a:gd name="connsiteY5" fmla="*/ 696989 h 741899"/>
                <a:gd name="connsiteX6" fmla="*/ 1620931 w 1642719"/>
                <a:gd name="connsiteY6" fmla="*/ 696988 h 741899"/>
                <a:gd name="connsiteX7" fmla="*/ 1620934 w 1642719"/>
                <a:gd name="connsiteY7" fmla="*/ 696988 h 741899"/>
                <a:gd name="connsiteX8" fmla="*/ 1620915 w 1642719"/>
                <a:gd name="connsiteY8" fmla="*/ 696979 h 741899"/>
                <a:gd name="connsiteX9" fmla="*/ 405126 w 1642719"/>
                <a:gd name="connsiteY9" fmla="*/ 0 h 741899"/>
                <a:gd name="connsiteX0" fmla="*/ 405126 w 1642719"/>
                <a:gd name="connsiteY0" fmla="*/ 0 h 741899"/>
                <a:gd name="connsiteX1" fmla="*/ 0 w 1642719"/>
                <a:gd name="connsiteY1" fmla="*/ 37638 h 741899"/>
                <a:gd name="connsiteX2" fmla="*/ 1215323 w 1642719"/>
                <a:gd name="connsiteY2" fmla="*/ 741899 h 741899"/>
                <a:gd name="connsiteX3" fmla="*/ 1620930 w 1642719"/>
                <a:gd name="connsiteY3" fmla="*/ 696989 h 741899"/>
                <a:gd name="connsiteX4" fmla="*/ 1620932 w 1642719"/>
                <a:gd name="connsiteY4" fmla="*/ 696989 h 741899"/>
                <a:gd name="connsiteX5" fmla="*/ 1620931 w 1642719"/>
                <a:gd name="connsiteY5" fmla="*/ 696988 h 741899"/>
                <a:gd name="connsiteX6" fmla="*/ 1620934 w 1642719"/>
                <a:gd name="connsiteY6" fmla="*/ 696988 h 741899"/>
                <a:gd name="connsiteX7" fmla="*/ 1620915 w 1642719"/>
                <a:gd name="connsiteY7" fmla="*/ 696979 h 741899"/>
                <a:gd name="connsiteX8" fmla="*/ 405126 w 1642719"/>
                <a:gd name="connsiteY8" fmla="*/ 0 h 741899"/>
                <a:gd name="connsiteX0" fmla="*/ 405126 w 1642719"/>
                <a:gd name="connsiteY0" fmla="*/ 0 h 741899"/>
                <a:gd name="connsiteX1" fmla="*/ 0 w 1642719"/>
                <a:gd name="connsiteY1" fmla="*/ 37638 h 741899"/>
                <a:gd name="connsiteX2" fmla="*/ 1215323 w 1642719"/>
                <a:gd name="connsiteY2" fmla="*/ 741899 h 741899"/>
                <a:gd name="connsiteX3" fmla="*/ 1620930 w 1642719"/>
                <a:gd name="connsiteY3" fmla="*/ 696989 h 741899"/>
                <a:gd name="connsiteX4" fmla="*/ 1620932 w 1642719"/>
                <a:gd name="connsiteY4" fmla="*/ 696989 h 741899"/>
                <a:gd name="connsiteX5" fmla="*/ 1620931 w 1642719"/>
                <a:gd name="connsiteY5" fmla="*/ 696988 h 741899"/>
                <a:gd name="connsiteX6" fmla="*/ 1620934 w 1642719"/>
                <a:gd name="connsiteY6" fmla="*/ 696988 h 741899"/>
                <a:gd name="connsiteX7" fmla="*/ 1620915 w 1642719"/>
                <a:gd name="connsiteY7" fmla="*/ 696979 h 741899"/>
                <a:gd name="connsiteX8" fmla="*/ 405126 w 1642719"/>
                <a:gd name="connsiteY8" fmla="*/ 0 h 741899"/>
                <a:gd name="connsiteX0" fmla="*/ 405126 w 1642719"/>
                <a:gd name="connsiteY0" fmla="*/ 0 h 741899"/>
                <a:gd name="connsiteX1" fmla="*/ 0 w 1642719"/>
                <a:gd name="connsiteY1" fmla="*/ 37638 h 741899"/>
                <a:gd name="connsiteX2" fmla="*/ 1215323 w 1642719"/>
                <a:gd name="connsiteY2" fmla="*/ 741899 h 741899"/>
                <a:gd name="connsiteX3" fmla="*/ 1620930 w 1642719"/>
                <a:gd name="connsiteY3" fmla="*/ 696989 h 741899"/>
                <a:gd name="connsiteX4" fmla="*/ 1620932 w 1642719"/>
                <a:gd name="connsiteY4" fmla="*/ 696989 h 741899"/>
                <a:gd name="connsiteX5" fmla="*/ 1620931 w 1642719"/>
                <a:gd name="connsiteY5" fmla="*/ 696988 h 741899"/>
                <a:gd name="connsiteX6" fmla="*/ 1620934 w 1642719"/>
                <a:gd name="connsiteY6" fmla="*/ 696988 h 741899"/>
                <a:gd name="connsiteX7" fmla="*/ 405126 w 1642719"/>
                <a:gd name="connsiteY7" fmla="*/ 0 h 741899"/>
                <a:gd name="connsiteX0" fmla="*/ 405126 w 1642719"/>
                <a:gd name="connsiteY0" fmla="*/ 0 h 741899"/>
                <a:gd name="connsiteX1" fmla="*/ 0 w 1642719"/>
                <a:gd name="connsiteY1" fmla="*/ 37638 h 741899"/>
                <a:gd name="connsiteX2" fmla="*/ 1215323 w 1642719"/>
                <a:gd name="connsiteY2" fmla="*/ 741899 h 741899"/>
                <a:gd name="connsiteX3" fmla="*/ 1620930 w 1642719"/>
                <a:gd name="connsiteY3" fmla="*/ 696989 h 741899"/>
                <a:gd name="connsiteX4" fmla="*/ 1620932 w 1642719"/>
                <a:gd name="connsiteY4" fmla="*/ 696989 h 741899"/>
                <a:gd name="connsiteX5" fmla="*/ 1620931 w 1642719"/>
                <a:gd name="connsiteY5" fmla="*/ 696988 h 741899"/>
                <a:gd name="connsiteX6" fmla="*/ 405126 w 1642719"/>
                <a:gd name="connsiteY6" fmla="*/ 0 h 741899"/>
                <a:gd name="connsiteX0" fmla="*/ 405126 w 1642719"/>
                <a:gd name="connsiteY0" fmla="*/ 0 h 741899"/>
                <a:gd name="connsiteX1" fmla="*/ 0 w 1642719"/>
                <a:gd name="connsiteY1" fmla="*/ 37638 h 741899"/>
                <a:gd name="connsiteX2" fmla="*/ 1215323 w 1642719"/>
                <a:gd name="connsiteY2" fmla="*/ 741899 h 741899"/>
                <a:gd name="connsiteX3" fmla="*/ 1620930 w 1642719"/>
                <a:gd name="connsiteY3" fmla="*/ 696989 h 741899"/>
                <a:gd name="connsiteX4" fmla="*/ 1620932 w 1642719"/>
                <a:gd name="connsiteY4" fmla="*/ 696989 h 741899"/>
                <a:gd name="connsiteX5" fmla="*/ 1620931 w 1642719"/>
                <a:gd name="connsiteY5" fmla="*/ 696988 h 741899"/>
                <a:gd name="connsiteX6" fmla="*/ 405126 w 1642719"/>
                <a:gd name="connsiteY6" fmla="*/ 0 h 741899"/>
                <a:gd name="connsiteX0" fmla="*/ 405126 w 1642719"/>
                <a:gd name="connsiteY0" fmla="*/ 0 h 741899"/>
                <a:gd name="connsiteX1" fmla="*/ 0 w 1642719"/>
                <a:gd name="connsiteY1" fmla="*/ 37638 h 741899"/>
                <a:gd name="connsiteX2" fmla="*/ 1215323 w 1642719"/>
                <a:gd name="connsiteY2" fmla="*/ 741899 h 741899"/>
                <a:gd name="connsiteX3" fmla="*/ 1620930 w 1642719"/>
                <a:gd name="connsiteY3" fmla="*/ 696989 h 741899"/>
                <a:gd name="connsiteX4" fmla="*/ 1620932 w 1642719"/>
                <a:gd name="connsiteY4" fmla="*/ 696989 h 741899"/>
                <a:gd name="connsiteX5" fmla="*/ 405126 w 1642719"/>
                <a:gd name="connsiteY5" fmla="*/ 0 h 741899"/>
                <a:gd name="connsiteX0" fmla="*/ 405126 w 1620930"/>
                <a:gd name="connsiteY0" fmla="*/ 0 h 741899"/>
                <a:gd name="connsiteX1" fmla="*/ 0 w 1620930"/>
                <a:gd name="connsiteY1" fmla="*/ 37638 h 741899"/>
                <a:gd name="connsiteX2" fmla="*/ 1215323 w 1620930"/>
                <a:gd name="connsiteY2" fmla="*/ 741899 h 741899"/>
                <a:gd name="connsiteX3" fmla="*/ 1620930 w 1620930"/>
                <a:gd name="connsiteY3" fmla="*/ 696989 h 741899"/>
                <a:gd name="connsiteX4" fmla="*/ 405126 w 1620930"/>
                <a:gd name="connsiteY4" fmla="*/ 0 h 741899"/>
                <a:gd name="connsiteX0" fmla="*/ 405126 w 1620930"/>
                <a:gd name="connsiteY0" fmla="*/ 0 h 741899"/>
                <a:gd name="connsiteX1" fmla="*/ 0 w 1620930"/>
                <a:gd name="connsiteY1" fmla="*/ 37638 h 741899"/>
                <a:gd name="connsiteX2" fmla="*/ 1215323 w 1620930"/>
                <a:gd name="connsiteY2" fmla="*/ 741899 h 741899"/>
                <a:gd name="connsiteX3" fmla="*/ 1620930 w 1620930"/>
                <a:gd name="connsiteY3" fmla="*/ 696989 h 741899"/>
                <a:gd name="connsiteX4" fmla="*/ 405126 w 1620930"/>
                <a:gd name="connsiteY4" fmla="*/ 0 h 741899"/>
                <a:gd name="connsiteX0" fmla="*/ 405126 w 1620930"/>
                <a:gd name="connsiteY0" fmla="*/ 0 h 741899"/>
                <a:gd name="connsiteX1" fmla="*/ 0 w 1620930"/>
                <a:gd name="connsiteY1" fmla="*/ 37638 h 741899"/>
                <a:gd name="connsiteX2" fmla="*/ 1215323 w 1620930"/>
                <a:gd name="connsiteY2" fmla="*/ 741899 h 741899"/>
                <a:gd name="connsiteX3" fmla="*/ 1620930 w 1620930"/>
                <a:gd name="connsiteY3" fmla="*/ 696989 h 741899"/>
                <a:gd name="connsiteX4" fmla="*/ 405126 w 1620930"/>
                <a:gd name="connsiteY4" fmla="*/ 0 h 741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20930" h="741899">
                  <a:moveTo>
                    <a:pt x="405126" y="0"/>
                  </a:moveTo>
                  <a:lnTo>
                    <a:pt x="0" y="37638"/>
                  </a:lnTo>
                  <a:lnTo>
                    <a:pt x="1215323" y="741899"/>
                  </a:lnTo>
                  <a:lnTo>
                    <a:pt x="1620930" y="696989"/>
                  </a:lnTo>
                  <a:lnTo>
                    <a:pt x="405126"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352" name="Freeform: Shape 351">
              <a:extLst>
                <a:ext uri="{FF2B5EF4-FFF2-40B4-BE49-F238E27FC236}">
                  <a16:creationId xmlns:a16="http://schemas.microsoft.com/office/drawing/2014/main" id="{B75A923E-3432-44BA-9640-444B9D3EEE8A}"/>
                </a:ext>
              </a:extLst>
            </p:cNvPr>
            <p:cNvSpPr/>
            <p:nvPr/>
          </p:nvSpPr>
          <p:spPr bwMode="gray">
            <a:xfrm flipH="1">
              <a:off x="5800633" y="2639827"/>
              <a:ext cx="786634" cy="940047"/>
            </a:xfrm>
            <a:custGeom>
              <a:avLst/>
              <a:gdLst>
                <a:gd name="connsiteX0" fmla="*/ 805816 w 805816"/>
                <a:gd name="connsiteY0" fmla="*/ 0 h 962970"/>
                <a:gd name="connsiteX1" fmla="*/ 436155 w 805816"/>
                <a:gd name="connsiteY1" fmla="*/ 37871 h 962970"/>
                <a:gd name="connsiteX2" fmla="*/ 0 w 805816"/>
                <a:gd name="connsiteY2" fmla="*/ 453056 h 962970"/>
                <a:gd name="connsiteX3" fmla="*/ 0 w 805816"/>
                <a:gd name="connsiteY3" fmla="*/ 461320 h 962970"/>
                <a:gd name="connsiteX4" fmla="*/ 0 w 805816"/>
                <a:gd name="connsiteY4" fmla="*/ 788346 h 962970"/>
                <a:gd name="connsiteX5" fmla="*/ 0 w 805816"/>
                <a:gd name="connsiteY5" fmla="*/ 962970 h 962970"/>
                <a:gd name="connsiteX6" fmla="*/ 805816 w 805816"/>
                <a:gd name="connsiteY6" fmla="*/ 503254 h 962970"/>
                <a:gd name="connsiteX7" fmla="*/ 805816 w 805816"/>
                <a:gd name="connsiteY7" fmla="*/ 328630 h 962970"/>
                <a:gd name="connsiteX8" fmla="*/ 805816 w 805816"/>
                <a:gd name="connsiteY8" fmla="*/ 328630 h 962970"/>
                <a:gd name="connsiteX0" fmla="*/ 805816 w 805816"/>
                <a:gd name="connsiteY0" fmla="*/ 0 h 962970"/>
                <a:gd name="connsiteX1" fmla="*/ 436155 w 805816"/>
                <a:gd name="connsiteY1" fmla="*/ 37871 h 962970"/>
                <a:gd name="connsiteX2" fmla="*/ 0 w 805816"/>
                <a:gd name="connsiteY2" fmla="*/ 453056 h 962970"/>
                <a:gd name="connsiteX3" fmla="*/ 0 w 805816"/>
                <a:gd name="connsiteY3" fmla="*/ 461320 h 962970"/>
                <a:gd name="connsiteX4" fmla="*/ 0 w 805816"/>
                <a:gd name="connsiteY4" fmla="*/ 962970 h 962970"/>
                <a:gd name="connsiteX5" fmla="*/ 805816 w 805816"/>
                <a:gd name="connsiteY5" fmla="*/ 503254 h 962970"/>
                <a:gd name="connsiteX6" fmla="*/ 805816 w 805816"/>
                <a:gd name="connsiteY6" fmla="*/ 328630 h 962970"/>
                <a:gd name="connsiteX7" fmla="*/ 805816 w 805816"/>
                <a:gd name="connsiteY7" fmla="*/ 328630 h 962970"/>
                <a:gd name="connsiteX8" fmla="*/ 805816 w 805816"/>
                <a:gd name="connsiteY8" fmla="*/ 0 h 962970"/>
                <a:gd name="connsiteX0" fmla="*/ 805816 w 805816"/>
                <a:gd name="connsiteY0" fmla="*/ 0 h 962970"/>
                <a:gd name="connsiteX1" fmla="*/ 436155 w 805816"/>
                <a:gd name="connsiteY1" fmla="*/ 37871 h 962970"/>
                <a:gd name="connsiteX2" fmla="*/ 0 w 805816"/>
                <a:gd name="connsiteY2" fmla="*/ 453056 h 962970"/>
                <a:gd name="connsiteX3" fmla="*/ 0 w 805816"/>
                <a:gd name="connsiteY3" fmla="*/ 461320 h 962970"/>
                <a:gd name="connsiteX4" fmla="*/ 0 w 805816"/>
                <a:gd name="connsiteY4" fmla="*/ 962970 h 962970"/>
                <a:gd name="connsiteX5" fmla="*/ 805816 w 805816"/>
                <a:gd name="connsiteY5" fmla="*/ 503254 h 962970"/>
                <a:gd name="connsiteX6" fmla="*/ 805816 w 805816"/>
                <a:gd name="connsiteY6" fmla="*/ 328630 h 962970"/>
                <a:gd name="connsiteX7" fmla="*/ 805816 w 805816"/>
                <a:gd name="connsiteY7" fmla="*/ 0 h 962970"/>
                <a:gd name="connsiteX0" fmla="*/ 805816 w 805816"/>
                <a:gd name="connsiteY0" fmla="*/ 0 h 962970"/>
                <a:gd name="connsiteX1" fmla="*/ 436155 w 805816"/>
                <a:gd name="connsiteY1" fmla="*/ 37871 h 962970"/>
                <a:gd name="connsiteX2" fmla="*/ 0 w 805816"/>
                <a:gd name="connsiteY2" fmla="*/ 453056 h 962970"/>
                <a:gd name="connsiteX3" fmla="*/ 0 w 805816"/>
                <a:gd name="connsiteY3" fmla="*/ 962970 h 962970"/>
                <a:gd name="connsiteX4" fmla="*/ 805816 w 805816"/>
                <a:gd name="connsiteY4" fmla="*/ 503254 h 962970"/>
                <a:gd name="connsiteX5" fmla="*/ 805816 w 805816"/>
                <a:gd name="connsiteY5" fmla="*/ 328630 h 962970"/>
                <a:gd name="connsiteX6" fmla="*/ 805816 w 805816"/>
                <a:gd name="connsiteY6" fmla="*/ 0 h 962970"/>
                <a:gd name="connsiteX0" fmla="*/ 805816 w 805816"/>
                <a:gd name="connsiteY0" fmla="*/ 0 h 962970"/>
                <a:gd name="connsiteX1" fmla="*/ 436155 w 805816"/>
                <a:gd name="connsiteY1" fmla="*/ 37871 h 962970"/>
                <a:gd name="connsiteX2" fmla="*/ 0 w 805816"/>
                <a:gd name="connsiteY2" fmla="*/ 453056 h 962970"/>
                <a:gd name="connsiteX3" fmla="*/ 0 w 805816"/>
                <a:gd name="connsiteY3" fmla="*/ 962970 h 962970"/>
                <a:gd name="connsiteX4" fmla="*/ 805816 w 805816"/>
                <a:gd name="connsiteY4" fmla="*/ 503254 h 962970"/>
                <a:gd name="connsiteX5" fmla="*/ 805816 w 805816"/>
                <a:gd name="connsiteY5" fmla="*/ 0 h 962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5816" h="962970">
                  <a:moveTo>
                    <a:pt x="805816" y="0"/>
                  </a:moveTo>
                  <a:lnTo>
                    <a:pt x="436155" y="37871"/>
                  </a:lnTo>
                  <a:lnTo>
                    <a:pt x="0" y="453056"/>
                  </a:lnTo>
                  <a:lnTo>
                    <a:pt x="0" y="962970"/>
                  </a:lnTo>
                  <a:lnTo>
                    <a:pt x="805816" y="503254"/>
                  </a:lnTo>
                  <a:lnTo>
                    <a:pt x="805816"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385" name="Group 384">
            <a:extLst>
              <a:ext uri="{FF2B5EF4-FFF2-40B4-BE49-F238E27FC236}">
                <a16:creationId xmlns:a16="http://schemas.microsoft.com/office/drawing/2014/main" id="{0EB60D89-71D1-439E-B138-86F928D7AFC8}"/>
              </a:ext>
            </a:extLst>
          </p:cNvPr>
          <p:cNvGrpSpPr/>
          <p:nvPr/>
        </p:nvGrpSpPr>
        <p:grpSpPr bwMode="gray">
          <a:xfrm>
            <a:off x="5367536" y="3021125"/>
            <a:ext cx="1708142" cy="1287196"/>
            <a:chOff x="4797851" y="2807827"/>
            <a:chExt cx="1789416" cy="1348443"/>
          </a:xfrm>
        </p:grpSpPr>
        <p:sp>
          <p:nvSpPr>
            <p:cNvPr id="372" name="Freeform: Shape 371">
              <a:extLst>
                <a:ext uri="{FF2B5EF4-FFF2-40B4-BE49-F238E27FC236}">
                  <a16:creationId xmlns:a16="http://schemas.microsoft.com/office/drawing/2014/main" id="{76F1B9F5-C567-4693-A0EC-9E20F35F9600}"/>
                </a:ext>
              </a:extLst>
            </p:cNvPr>
            <p:cNvSpPr/>
            <p:nvPr/>
          </p:nvSpPr>
          <p:spPr bwMode="gray">
            <a:xfrm>
              <a:off x="5581707" y="3258814"/>
              <a:ext cx="1004241" cy="897451"/>
            </a:xfrm>
            <a:custGeom>
              <a:avLst/>
              <a:gdLst>
                <a:gd name="connsiteX0" fmla="*/ 1004241 w 1004241"/>
                <a:gd name="connsiteY0" fmla="*/ 0 h 897451"/>
                <a:gd name="connsiteX1" fmla="*/ 1004241 w 1004241"/>
                <a:gd name="connsiteY1" fmla="*/ 316703 h 897451"/>
                <a:gd name="connsiteX2" fmla="*/ 221594 w 1004241"/>
                <a:gd name="connsiteY2" fmla="*/ 769527 h 897451"/>
                <a:gd name="connsiteX3" fmla="*/ 221594 w 1004241"/>
                <a:gd name="connsiteY3" fmla="*/ 769241 h 897451"/>
                <a:gd name="connsiteX4" fmla="*/ 0 w 1004241"/>
                <a:gd name="connsiteY4" fmla="*/ 897451 h 897451"/>
                <a:gd name="connsiteX5" fmla="*/ 0 w 1004241"/>
                <a:gd name="connsiteY5" fmla="*/ 580748 h 897451"/>
                <a:gd name="connsiteX6" fmla="*/ 782647 w 1004241"/>
                <a:gd name="connsiteY6" fmla="*/ 127924 h 897451"/>
                <a:gd name="connsiteX7" fmla="*/ 782647 w 1004241"/>
                <a:gd name="connsiteY7" fmla="*/ 128210 h 897451"/>
                <a:gd name="connsiteX0" fmla="*/ 1004241 w 1004241"/>
                <a:gd name="connsiteY0" fmla="*/ 0 h 897451"/>
                <a:gd name="connsiteX1" fmla="*/ 1004241 w 1004241"/>
                <a:gd name="connsiteY1" fmla="*/ 316703 h 897451"/>
                <a:gd name="connsiteX2" fmla="*/ 221594 w 1004241"/>
                <a:gd name="connsiteY2" fmla="*/ 769527 h 897451"/>
                <a:gd name="connsiteX3" fmla="*/ 0 w 1004241"/>
                <a:gd name="connsiteY3" fmla="*/ 897451 h 897451"/>
                <a:gd name="connsiteX4" fmla="*/ 0 w 1004241"/>
                <a:gd name="connsiteY4" fmla="*/ 580748 h 897451"/>
                <a:gd name="connsiteX5" fmla="*/ 782647 w 1004241"/>
                <a:gd name="connsiteY5" fmla="*/ 127924 h 897451"/>
                <a:gd name="connsiteX6" fmla="*/ 782647 w 1004241"/>
                <a:gd name="connsiteY6" fmla="*/ 128210 h 897451"/>
                <a:gd name="connsiteX7" fmla="*/ 1004241 w 1004241"/>
                <a:gd name="connsiteY7" fmla="*/ 0 h 897451"/>
                <a:gd name="connsiteX0" fmla="*/ 1004241 w 1004241"/>
                <a:gd name="connsiteY0" fmla="*/ 0 h 897451"/>
                <a:gd name="connsiteX1" fmla="*/ 1004241 w 1004241"/>
                <a:gd name="connsiteY1" fmla="*/ 316703 h 897451"/>
                <a:gd name="connsiteX2" fmla="*/ 221594 w 1004241"/>
                <a:gd name="connsiteY2" fmla="*/ 769527 h 897451"/>
                <a:gd name="connsiteX3" fmla="*/ 0 w 1004241"/>
                <a:gd name="connsiteY3" fmla="*/ 897451 h 897451"/>
                <a:gd name="connsiteX4" fmla="*/ 0 w 1004241"/>
                <a:gd name="connsiteY4" fmla="*/ 580748 h 897451"/>
                <a:gd name="connsiteX5" fmla="*/ 782647 w 1004241"/>
                <a:gd name="connsiteY5" fmla="*/ 127924 h 897451"/>
                <a:gd name="connsiteX6" fmla="*/ 1004241 w 1004241"/>
                <a:gd name="connsiteY6" fmla="*/ 0 h 897451"/>
                <a:gd name="connsiteX0" fmla="*/ 1004241 w 1004241"/>
                <a:gd name="connsiteY0" fmla="*/ 0 h 897451"/>
                <a:gd name="connsiteX1" fmla="*/ 1004241 w 1004241"/>
                <a:gd name="connsiteY1" fmla="*/ 316703 h 897451"/>
                <a:gd name="connsiteX2" fmla="*/ 221594 w 1004241"/>
                <a:gd name="connsiteY2" fmla="*/ 769527 h 897451"/>
                <a:gd name="connsiteX3" fmla="*/ 0 w 1004241"/>
                <a:gd name="connsiteY3" fmla="*/ 897451 h 897451"/>
                <a:gd name="connsiteX4" fmla="*/ 0 w 1004241"/>
                <a:gd name="connsiteY4" fmla="*/ 580748 h 897451"/>
                <a:gd name="connsiteX5" fmla="*/ 1004241 w 1004241"/>
                <a:gd name="connsiteY5" fmla="*/ 0 h 897451"/>
                <a:gd name="connsiteX0" fmla="*/ 1004241 w 1004241"/>
                <a:gd name="connsiteY0" fmla="*/ 0 h 897451"/>
                <a:gd name="connsiteX1" fmla="*/ 1004241 w 1004241"/>
                <a:gd name="connsiteY1" fmla="*/ 316703 h 897451"/>
                <a:gd name="connsiteX2" fmla="*/ 0 w 1004241"/>
                <a:gd name="connsiteY2" fmla="*/ 897451 h 897451"/>
                <a:gd name="connsiteX3" fmla="*/ 0 w 1004241"/>
                <a:gd name="connsiteY3" fmla="*/ 580748 h 897451"/>
                <a:gd name="connsiteX4" fmla="*/ 1004241 w 1004241"/>
                <a:gd name="connsiteY4" fmla="*/ 0 h 8974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241" h="897451">
                  <a:moveTo>
                    <a:pt x="1004241" y="0"/>
                  </a:moveTo>
                  <a:lnTo>
                    <a:pt x="1004241" y="316703"/>
                  </a:lnTo>
                  <a:lnTo>
                    <a:pt x="0" y="897451"/>
                  </a:lnTo>
                  <a:lnTo>
                    <a:pt x="0" y="580748"/>
                  </a:lnTo>
                  <a:lnTo>
                    <a:pt x="1004241" y="0"/>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373" name="Freeform: Shape 372">
              <a:extLst>
                <a:ext uri="{FF2B5EF4-FFF2-40B4-BE49-F238E27FC236}">
                  <a16:creationId xmlns:a16="http://schemas.microsoft.com/office/drawing/2014/main" id="{B2D3E088-92C4-4FCF-B6BA-909126B4FD1B}"/>
                </a:ext>
              </a:extLst>
            </p:cNvPr>
            <p:cNvSpPr/>
            <p:nvPr/>
          </p:nvSpPr>
          <p:spPr bwMode="gray">
            <a:xfrm>
              <a:off x="4797851" y="2807827"/>
              <a:ext cx="1789416" cy="1031179"/>
            </a:xfrm>
            <a:custGeom>
              <a:avLst/>
              <a:gdLst>
                <a:gd name="connsiteX0" fmla="*/ 1005505 w 1789416"/>
                <a:gd name="connsiteY0" fmla="*/ 0 h 1031179"/>
                <a:gd name="connsiteX1" fmla="*/ 1789416 w 1789416"/>
                <a:gd name="connsiteY1" fmla="*/ 451628 h 1031179"/>
                <a:gd name="connsiteX2" fmla="*/ 1567597 w 1789416"/>
                <a:gd name="connsiteY2" fmla="*/ 579423 h 1031179"/>
                <a:gd name="connsiteX3" fmla="*/ 1567822 w 1789416"/>
                <a:gd name="connsiteY3" fmla="*/ 579552 h 1031179"/>
                <a:gd name="connsiteX4" fmla="*/ 783911 w 1789416"/>
                <a:gd name="connsiteY4" fmla="*/ 1031179 h 1031179"/>
                <a:gd name="connsiteX5" fmla="*/ 0 w 1789416"/>
                <a:gd name="connsiteY5" fmla="*/ 579552 h 1031179"/>
                <a:gd name="connsiteX6" fmla="*/ 221819 w 1789416"/>
                <a:gd name="connsiteY6" fmla="*/ 451758 h 1031179"/>
                <a:gd name="connsiteX7" fmla="*/ 221594 w 1789416"/>
                <a:gd name="connsiteY7" fmla="*/ 451628 h 1031179"/>
                <a:gd name="connsiteX0" fmla="*/ 1005505 w 1789416"/>
                <a:gd name="connsiteY0" fmla="*/ 0 h 1031179"/>
                <a:gd name="connsiteX1" fmla="*/ 1789416 w 1789416"/>
                <a:gd name="connsiteY1" fmla="*/ 451628 h 1031179"/>
                <a:gd name="connsiteX2" fmla="*/ 1567597 w 1789416"/>
                <a:gd name="connsiteY2" fmla="*/ 579423 h 1031179"/>
                <a:gd name="connsiteX3" fmla="*/ 1567822 w 1789416"/>
                <a:gd name="connsiteY3" fmla="*/ 579552 h 1031179"/>
                <a:gd name="connsiteX4" fmla="*/ 783911 w 1789416"/>
                <a:gd name="connsiteY4" fmla="*/ 1031179 h 1031179"/>
                <a:gd name="connsiteX5" fmla="*/ 0 w 1789416"/>
                <a:gd name="connsiteY5" fmla="*/ 579552 h 1031179"/>
                <a:gd name="connsiteX6" fmla="*/ 221819 w 1789416"/>
                <a:gd name="connsiteY6" fmla="*/ 451758 h 1031179"/>
                <a:gd name="connsiteX7" fmla="*/ 1005505 w 1789416"/>
                <a:gd name="connsiteY7" fmla="*/ 0 h 1031179"/>
                <a:gd name="connsiteX0" fmla="*/ 1005505 w 1789416"/>
                <a:gd name="connsiteY0" fmla="*/ 0 h 1031179"/>
                <a:gd name="connsiteX1" fmla="*/ 1789416 w 1789416"/>
                <a:gd name="connsiteY1" fmla="*/ 451628 h 1031179"/>
                <a:gd name="connsiteX2" fmla="*/ 1567597 w 1789416"/>
                <a:gd name="connsiteY2" fmla="*/ 579423 h 1031179"/>
                <a:gd name="connsiteX3" fmla="*/ 1567822 w 1789416"/>
                <a:gd name="connsiteY3" fmla="*/ 579552 h 1031179"/>
                <a:gd name="connsiteX4" fmla="*/ 783911 w 1789416"/>
                <a:gd name="connsiteY4" fmla="*/ 1031179 h 1031179"/>
                <a:gd name="connsiteX5" fmla="*/ 0 w 1789416"/>
                <a:gd name="connsiteY5" fmla="*/ 579552 h 1031179"/>
                <a:gd name="connsiteX6" fmla="*/ 1005505 w 1789416"/>
                <a:gd name="connsiteY6" fmla="*/ 0 h 1031179"/>
                <a:gd name="connsiteX0" fmla="*/ 1005505 w 1789416"/>
                <a:gd name="connsiteY0" fmla="*/ 0 h 1031179"/>
                <a:gd name="connsiteX1" fmla="*/ 1789416 w 1789416"/>
                <a:gd name="connsiteY1" fmla="*/ 451628 h 1031179"/>
                <a:gd name="connsiteX2" fmla="*/ 1567597 w 1789416"/>
                <a:gd name="connsiteY2" fmla="*/ 579423 h 1031179"/>
                <a:gd name="connsiteX3" fmla="*/ 783911 w 1789416"/>
                <a:gd name="connsiteY3" fmla="*/ 1031179 h 1031179"/>
                <a:gd name="connsiteX4" fmla="*/ 0 w 1789416"/>
                <a:gd name="connsiteY4" fmla="*/ 579552 h 1031179"/>
                <a:gd name="connsiteX5" fmla="*/ 1005505 w 1789416"/>
                <a:gd name="connsiteY5" fmla="*/ 0 h 1031179"/>
                <a:gd name="connsiteX0" fmla="*/ 1005505 w 1789416"/>
                <a:gd name="connsiteY0" fmla="*/ 0 h 1031179"/>
                <a:gd name="connsiteX1" fmla="*/ 1789416 w 1789416"/>
                <a:gd name="connsiteY1" fmla="*/ 451628 h 1031179"/>
                <a:gd name="connsiteX2" fmla="*/ 783911 w 1789416"/>
                <a:gd name="connsiteY2" fmla="*/ 1031179 h 1031179"/>
                <a:gd name="connsiteX3" fmla="*/ 0 w 1789416"/>
                <a:gd name="connsiteY3" fmla="*/ 579552 h 1031179"/>
                <a:gd name="connsiteX4" fmla="*/ 1005505 w 1789416"/>
                <a:gd name="connsiteY4" fmla="*/ 0 h 10311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9416" h="1031179">
                  <a:moveTo>
                    <a:pt x="1005505" y="0"/>
                  </a:moveTo>
                  <a:lnTo>
                    <a:pt x="1789416" y="451628"/>
                  </a:lnTo>
                  <a:lnTo>
                    <a:pt x="783911" y="1031179"/>
                  </a:lnTo>
                  <a:lnTo>
                    <a:pt x="0" y="579552"/>
                  </a:lnTo>
                  <a:lnTo>
                    <a:pt x="1005505"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369" name="Freeform: Shape 368">
              <a:extLst>
                <a:ext uri="{FF2B5EF4-FFF2-40B4-BE49-F238E27FC236}">
                  <a16:creationId xmlns:a16="http://schemas.microsoft.com/office/drawing/2014/main" id="{C841B0EF-78B1-43B9-9473-3B53F0B67C52}"/>
                </a:ext>
              </a:extLst>
            </p:cNvPr>
            <p:cNvSpPr/>
            <p:nvPr/>
          </p:nvSpPr>
          <p:spPr bwMode="gray">
            <a:xfrm>
              <a:off x="4798275" y="3386740"/>
              <a:ext cx="782648" cy="769530"/>
            </a:xfrm>
            <a:custGeom>
              <a:avLst/>
              <a:gdLst>
                <a:gd name="connsiteX0" fmla="*/ 0 w 783077"/>
                <a:gd name="connsiteY0" fmla="*/ 0 h 918215"/>
                <a:gd name="connsiteX1" fmla="*/ 782648 w 783077"/>
                <a:gd name="connsiteY1" fmla="*/ 452824 h 918215"/>
                <a:gd name="connsiteX2" fmla="*/ 783077 w 783077"/>
                <a:gd name="connsiteY2" fmla="*/ 918215 h 918215"/>
                <a:gd name="connsiteX3" fmla="*/ 782785 w 783077"/>
                <a:gd name="connsiteY3" fmla="*/ 918046 h 918215"/>
                <a:gd name="connsiteX4" fmla="*/ 782648 w 783077"/>
                <a:gd name="connsiteY4" fmla="*/ 769531 h 918215"/>
                <a:gd name="connsiteX5" fmla="*/ 0 w 783077"/>
                <a:gd name="connsiteY5" fmla="*/ 316707 h 918215"/>
                <a:gd name="connsiteX0" fmla="*/ 0 w 783077"/>
                <a:gd name="connsiteY0" fmla="*/ 0 h 918215"/>
                <a:gd name="connsiteX1" fmla="*/ 782648 w 783077"/>
                <a:gd name="connsiteY1" fmla="*/ 452824 h 918215"/>
                <a:gd name="connsiteX2" fmla="*/ 783077 w 783077"/>
                <a:gd name="connsiteY2" fmla="*/ 918215 h 918215"/>
                <a:gd name="connsiteX3" fmla="*/ 782648 w 783077"/>
                <a:gd name="connsiteY3" fmla="*/ 769531 h 918215"/>
                <a:gd name="connsiteX4" fmla="*/ 0 w 783077"/>
                <a:gd name="connsiteY4" fmla="*/ 316707 h 918215"/>
                <a:gd name="connsiteX5" fmla="*/ 0 w 783077"/>
                <a:gd name="connsiteY5" fmla="*/ 0 h 918215"/>
                <a:gd name="connsiteX0" fmla="*/ 0 w 880478"/>
                <a:gd name="connsiteY0" fmla="*/ 0 h 771219"/>
                <a:gd name="connsiteX1" fmla="*/ 782648 w 880478"/>
                <a:gd name="connsiteY1" fmla="*/ 452824 h 771219"/>
                <a:gd name="connsiteX2" fmla="*/ 782648 w 880478"/>
                <a:gd name="connsiteY2" fmla="*/ 769531 h 771219"/>
                <a:gd name="connsiteX3" fmla="*/ 0 w 880478"/>
                <a:gd name="connsiteY3" fmla="*/ 316707 h 771219"/>
                <a:gd name="connsiteX4" fmla="*/ 0 w 880478"/>
                <a:gd name="connsiteY4" fmla="*/ 0 h 771219"/>
                <a:gd name="connsiteX0" fmla="*/ 0 w 840621"/>
                <a:gd name="connsiteY0" fmla="*/ 0 h 769531"/>
                <a:gd name="connsiteX1" fmla="*/ 782648 w 840621"/>
                <a:gd name="connsiteY1" fmla="*/ 452824 h 769531"/>
                <a:gd name="connsiteX2" fmla="*/ 782648 w 840621"/>
                <a:gd name="connsiteY2" fmla="*/ 769531 h 769531"/>
                <a:gd name="connsiteX3" fmla="*/ 0 w 840621"/>
                <a:gd name="connsiteY3" fmla="*/ 316707 h 769531"/>
                <a:gd name="connsiteX4" fmla="*/ 0 w 840621"/>
                <a:gd name="connsiteY4" fmla="*/ 0 h 769531"/>
                <a:gd name="connsiteX0" fmla="*/ 0 w 782648"/>
                <a:gd name="connsiteY0" fmla="*/ 0 h 769531"/>
                <a:gd name="connsiteX1" fmla="*/ 782648 w 782648"/>
                <a:gd name="connsiteY1" fmla="*/ 452824 h 769531"/>
                <a:gd name="connsiteX2" fmla="*/ 782648 w 782648"/>
                <a:gd name="connsiteY2" fmla="*/ 769531 h 769531"/>
                <a:gd name="connsiteX3" fmla="*/ 0 w 782648"/>
                <a:gd name="connsiteY3" fmla="*/ 316707 h 769531"/>
                <a:gd name="connsiteX4" fmla="*/ 0 w 782648"/>
                <a:gd name="connsiteY4" fmla="*/ 0 h 769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2648" h="769531">
                  <a:moveTo>
                    <a:pt x="0" y="0"/>
                  </a:moveTo>
                  <a:lnTo>
                    <a:pt x="782648" y="452824"/>
                  </a:lnTo>
                  <a:lnTo>
                    <a:pt x="782648" y="769531"/>
                  </a:lnTo>
                  <a:lnTo>
                    <a:pt x="0" y="316707"/>
                  </a:lnTo>
                  <a:lnTo>
                    <a:pt x="0" y="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448" name="Freeform: Shape 447">
            <a:extLst>
              <a:ext uri="{FF2B5EF4-FFF2-40B4-BE49-F238E27FC236}">
                <a16:creationId xmlns:a16="http://schemas.microsoft.com/office/drawing/2014/main" id="{05ABF057-5B1E-4001-B7AE-ED86AB486BD6}"/>
              </a:ext>
            </a:extLst>
          </p:cNvPr>
          <p:cNvSpPr/>
          <p:nvPr/>
        </p:nvSpPr>
        <p:spPr bwMode="gray">
          <a:xfrm rot="14400000" flipH="1">
            <a:off x="5261081" y="3672495"/>
            <a:ext cx="125657" cy="316401"/>
          </a:xfrm>
          <a:custGeom>
            <a:avLst/>
            <a:gdLst>
              <a:gd name="connsiteX0" fmla="*/ 778 w 125657"/>
              <a:gd name="connsiteY0" fmla="*/ 1085569 h 1703129"/>
              <a:gd name="connsiteX1" fmla="*/ 125657 w 125657"/>
              <a:gd name="connsiteY1" fmla="*/ 1013470 h 1703129"/>
              <a:gd name="connsiteX2" fmla="*/ 125657 w 125657"/>
              <a:gd name="connsiteY2" fmla="*/ 940422 h 1703129"/>
              <a:gd name="connsiteX3" fmla="*/ 125657 w 125657"/>
              <a:gd name="connsiteY3" fmla="*/ 834840 h 1703129"/>
              <a:gd name="connsiteX4" fmla="*/ 125657 w 125657"/>
              <a:gd name="connsiteY4" fmla="*/ 72133 h 1703129"/>
              <a:gd name="connsiteX5" fmla="*/ 2328 w 125657"/>
              <a:gd name="connsiteY5" fmla="*/ 0 h 1703129"/>
              <a:gd name="connsiteX6" fmla="*/ 821 w 125657"/>
              <a:gd name="connsiteY6" fmla="*/ 1055608 h 1703129"/>
              <a:gd name="connsiteX7" fmla="*/ 0 w 125657"/>
              <a:gd name="connsiteY7" fmla="*/ 1630996 h 1703129"/>
              <a:gd name="connsiteX8" fmla="*/ 125657 w 125657"/>
              <a:gd name="connsiteY8" fmla="*/ 1703129 h 1703129"/>
              <a:gd name="connsiteX9" fmla="*/ 125657 w 125657"/>
              <a:gd name="connsiteY9" fmla="*/ 1386728 h 1703129"/>
              <a:gd name="connsiteX10" fmla="*/ 245 w 125657"/>
              <a:gd name="connsiteY10" fmla="*/ 1459135 h 1703129"/>
              <a:gd name="connsiteX11" fmla="*/ 205 w 125657"/>
              <a:gd name="connsiteY11" fmla="*/ 1487248 h 1703129"/>
              <a:gd name="connsiteX12" fmla="*/ 0 w 125657"/>
              <a:gd name="connsiteY12" fmla="*/ 1630996 h 1703129"/>
              <a:gd name="connsiteX0" fmla="*/ 821 w 125657"/>
              <a:gd name="connsiteY0" fmla="*/ 1055608 h 1703129"/>
              <a:gd name="connsiteX1" fmla="*/ 125657 w 125657"/>
              <a:gd name="connsiteY1" fmla="*/ 1013470 h 1703129"/>
              <a:gd name="connsiteX2" fmla="*/ 125657 w 125657"/>
              <a:gd name="connsiteY2" fmla="*/ 940422 h 1703129"/>
              <a:gd name="connsiteX3" fmla="*/ 125657 w 125657"/>
              <a:gd name="connsiteY3" fmla="*/ 834840 h 1703129"/>
              <a:gd name="connsiteX4" fmla="*/ 125657 w 125657"/>
              <a:gd name="connsiteY4" fmla="*/ 72133 h 1703129"/>
              <a:gd name="connsiteX5" fmla="*/ 2328 w 125657"/>
              <a:gd name="connsiteY5" fmla="*/ 0 h 1703129"/>
              <a:gd name="connsiteX6" fmla="*/ 821 w 125657"/>
              <a:gd name="connsiteY6" fmla="*/ 1055608 h 1703129"/>
              <a:gd name="connsiteX7" fmla="*/ 0 w 125657"/>
              <a:gd name="connsiteY7" fmla="*/ 1630996 h 1703129"/>
              <a:gd name="connsiteX8" fmla="*/ 125657 w 125657"/>
              <a:gd name="connsiteY8" fmla="*/ 1703129 h 1703129"/>
              <a:gd name="connsiteX9" fmla="*/ 125657 w 125657"/>
              <a:gd name="connsiteY9" fmla="*/ 1386728 h 1703129"/>
              <a:gd name="connsiteX10" fmla="*/ 245 w 125657"/>
              <a:gd name="connsiteY10" fmla="*/ 1459135 h 1703129"/>
              <a:gd name="connsiteX11" fmla="*/ 205 w 125657"/>
              <a:gd name="connsiteY11" fmla="*/ 1487248 h 1703129"/>
              <a:gd name="connsiteX12" fmla="*/ 0 w 125657"/>
              <a:gd name="connsiteY12" fmla="*/ 1630996 h 1703129"/>
              <a:gd name="connsiteX0" fmla="*/ 2328 w 125657"/>
              <a:gd name="connsiteY0" fmla="*/ 0 h 1703129"/>
              <a:gd name="connsiteX1" fmla="*/ 125657 w 125657"/>
              <a:gd name="connsiteY1" fmla="*/ 1013470 h 1703129"/>
              <a:gd name="connsiteX2" fmla="*/ 125657 w 125657"/>
              <a:gd name="connsiteY2" fmla="*/ 940422 h 1703129"/>
              <a:gd name="connsiteX3" fmla="*/ 125657 w 125657"/>
              <a:gd name="connsiteY3" fmla="*/ 834840 h 1703129"/>
              <a:gd name="connsiteX4" fmla="*/ 125657 w 125657"/>
              <a:gd name="connsiteY4" fmla="*/ 72133 h 1703129"/>
              <a:gd name="connsiteX5" fmla="*/ 2328 w 125657"/>
              <a:gd name="connsiteY5" fmla="*/ 0 h 1703129"/>
              <a:gd name="connsiteX6" fmla="*/ 0 w 125657"/>
              <a:gd name="connsiteY6" fmla="*/ 1630996 h 1703129"/>
              <a:gd name="connsiteX7" fmla="*/ 125657 w 125657"/>
              <a:gd name="connsiteY7" fmla="*/ 1703129 h 1703129"/>
              <a:gd name="connsiteX8" fmla="*/ 125657 w 125657"/>
              <a:gd name="connsiteY8" fmla="*/ 1386728 h 1703129"/>
              <a:gd name="connsiteX9" fmla="*/ 245 w 125657"/>
              <a:gd name="connsiteY9" fmla="*/ 1459135 h 1703129"/>
              <a:gd name="connsiteX10" fmla="*/ 205 w 125657"/>
              <a:gd name="connsiteY10" fmla="*/ 1487248 h 1703129"/>
              <a:gd name="connsiteX11" fmla="*/ 0 w 125657"/>
              <a:gd name="connsiteY11" fmla="*/ 1630996 h 1703129"/>
              <a:gd name="connsiteX0" fmla="*/ 2328 w 125657"/>
              <a:gd name="connsiteY0" fmla="*/ 0 h 1703129"/>
              <a:gd name="connsiteX1" fmla="*/ 125657 w 125657"/>
              <a:gd name="connsiteY1" fmla="*/ 940422 h 1703129"/>
              <a:gd name="connsiteX2" fmla="*/ 125657 w 125657"/>
              <a:gd name="connsiteY2" fmla="*/ 834840 h 1703129"/>
              <a:gd name="connsiteX3" fmla="*/ 125657 w 125657"/>
              <a:gd name="connsiteY3" fmla="*/ 72133 h 1703129"/>
              <a:gd name="connsiteX4" fmla="*/ 2328 w 125657"/>
              <a:gd name="connsiteY4" fmla="*/ 0 h 1703129"/>
              <a:gd name="connsiteX5" fmla="*/ 0 w 125657"/>
              <a:gd name="connsiteY5" fmla="*/ 1630996 h 1703129"/>
              <a:gd name="connsiteX6" fmla="*/ 125657 w 125657"/>
              <a:gd name="connsiteY6" fmla="*/ 1703129 h 1703129"/>
              <a:gd name="connsiteX7" fmla="*/ 125657 w 125657"/>
              <a:gd name="connsiteY7" fmla="*/ 1386728 h 1703129"/>
              <a:gd name="connsiteX8" fmla="*/ 245 w 125657"/>
              <a:gd name="connsiteY8" fmla="*/ 1459135 h 1703129"/>
              <a:gd name="connsiteX9" fmla="*/ 205 w 125657"/>
              <a:gd name="connsiteY9" fmla="*/ 1487248 h 1703129"/>
              <a:gd name="connsiteX10" fmla="*/ 0 w 125657"/>
              <a:gd name="connsiteY10" fmla="*/ 1630996 h 1703129"/>
              <a:gd name="connsiteX0" fmla="*/ 2328 w 125657"/>
              <a:gd name="connsiteY0" fmla="*/ 0 h 1703129"/>
              <a:gd name="connsiteX1" fmla="*/ 125657 w 125657"/>
              <a:gd name="connsiteY1" fmla="*/ 834840 h 1703129"/>
              <a:gd name="connsiteX2" fmla="*/ 125657 w 125657"/>
              <a:gd name="connsiteY2" fmla="*/ 72133 h 1703129"/>
              <a:gd name="connsiteX3" fmla="*/ 2328 w 125657"/>
              <a:gd name="connsiteY3" fmla="*/ 0 h 1703129"/>
              <a:gd name="connsiteX4" fmla="*/ 0 w 125657"/>
              <a:gd name="connsiteY4" fmla="*/ 1630996 h 1703129"/>
              <a:gd name="connsiteX5" fmla="*/ 125657 w 125657"/>
              <a:gd name="connsiteY5" fmla="*/ 1703129 h 1703129"/>
              <a:gd name="connsiteX6" fmla="*/ 125657 w 125657"/>
              <a:gd name="connsiteY6" fmla="*/ 1386728 h 1703129"/>
              <a:gd name="connsiteX7" fmla="*/ 245 w 125657"/>
              <a:gd name="connsiteY7" fmla="*/ 1459135 h 1703129"/>
              <a:gd name="connsiteX8" fmla="*/ 205 w 125657"/>
              <a:gd name="connsiteY8" fmla="*/ 1487248 h 1703129"/>
              <a:gd name="connsiteX9" fmla="*/ 0 w 125657"/>
              <a:gd name="connsiteY9" fmla="*/ 1630996 h 1703129"/>
              <a:gd name="connsiteX0" fmla="*/ 2328 w 125657"/>
              <a:gd name="connsiteY0" fmla="*/ 0 h 1703129"/>
              <a:gd name="connsiteX1" fmla="*/ 125657 w 125657"/>
              <a:gd name="connsiteY1" fmla="*/ 72133 h 1703129"/>
              <a:gd name="connsiteX2" fmla="*/ 2328 w 125657"/>
              <a:gd name="connsiteY2" fmla="*/ 0 h 1703129"/>
              <a:gd name="connsiteX3" fmla="*/ 0 w 125657"/>
              <a:gd name="connsiteY3" fmla="*/ 1630996 h 1703129"/>
              <a:gd name="connsiteX4" fmla="*/ 125657 w 125657"/>
              <a:gd name="connsiteY4" fmla="*/ 1703129 h 1703129"/>
              <a:gd name="connsiteX5" fmla="*/ 125657 w 125657"/>
              <a:gd name="connsiteY5" fmla="*/ 1386728 h 1703129"/>
              <a:gd name="connsiteX6" fmla="*/ 245 w 125657"/>
              <a:gd name="connsiteY6" fmla="*/ 1459135 h 1703129"/>
              <a:gd name="connsiteX7" fmla="*/ 205 w 125657"/>
              <a:gd name="connsiteY7" fmla="*/ 1487248 h 1703129"/>
              <a:gd name="connsiteX8" fmla="*/ 0 w 125657"/>
              <a:gd name="connsiteY8" fmla="*/ 1630996 h 1703129"/>
              <a:gd name="connsiteX0" fmla="*/ 0 w 125657"/>
              <a:gd name="connsiteY0" fmla="*/ 244268 h 316401"/>
              <a:gd name="connsiteX1" fmla="*/ 125657 w 125657"/>
              <a:gd name="connsiteY1" fmla="*/ 316401 h 316401"/>
              <a:gd name="connsiteX2" fmla="*/ 125657 w 125657"/>
              <a:gd name="connsiteY2" fmla="*/ 0 h 316401"/>
              <a:gd name="connsiteX3" fmla="*/ 245 w 125657"/>
              <a:gd name="connsiteY3" fmla="*/ 72407 h 316401"/>
              <a:gd name="connsiteX4" fmla="*/ 205 w 125657"/>
              <a:gd name="connsiteY4" fmla="*/ 100520 h 316401"/>
              <a:gd name="connsiteX5" fmla="*/ 0 w 125657"/>
              <a:gd name="connsiteY5" fmla="*/ 244268 h 316401"/>
              <a:gd name="connsiteX0" fmla="*/ 15569 w 141226"/>
              <a:gd name="connsiteY0" fmla="*/ 244268 h 316401"/>
              <a:gd name="connsiteX1" fmla="*/ 141226 w 141226"/>
              <a:gd name="connsiteY1" fmla="*/ 316401 h 316401"/>
              <a:gd name="connsiteX2" fmla="*/ 141226 w 141226"/>
              <a:gd name="connsiteY2" fmla="*/ 0 h 316401"/>
              <a:gd name="connsiteX3" fmla="*/ 15814 w 141226"/>
              <a:gd name="connsiteY3" fmla="*/ 72407 h 316401"/>
              <a:gd name="connsiteX4" fmla="*/ 15569 w 141226"/>
              <a:gd name="connsiteY4" fmla="*/ 244268 h 316401"/>
              <a:gd name="connsiteX0" fmla="*/ 9254 w 134911"/>
              <a:gd name="connsiteY0" fmla="*/ 244268 h 316401"/>
              <a:gd name="connsiteX1" fmla="*/ 134911 w 134911"/>
              <a:gd name="connsiteY1" fmla="*/ 316401 h 316401"/>
              <a:gd name="connsiteX2" fmla="*/ 134911 w 134911"/>
              <a:gd name="connsiteY2" fmla="*/ 0 h 316401"/>
              <a:gd name="connsiteX3" fmla="*/ 9499 w 134911"/>
              <a:gd name="connsiteY3" fmla="*/ 72407 h 316401"/>
              <a:gd name="connsiteX4" fmla="*/ 9254 w 134911"/>
              <a:gd name="connsiteY4" fmla="*/ 244268 h 316401"/>
              <a:gd name="connsiteX0" fmla="*/ 0 w 125657"/>
              <a:gd name="connsiteY0" fmla="*/ 244268 h 316401"/>
              <a:gd name="connsiteX1" fmla="*/ 125657 w 125657"/>
              <a:gd name="connsiteY1" fmla="*/ 316401 h 316401"/>
              <a:gd name="connsiteX2" fmla="*/ 125657 w 125657"/>
              <a:gd name="connsiteY2" fmla="*/ 0 h 316401"/>
              <a:gd name="connsiteX3" fmla="*/ 245 w 125657"/>
              <a:gd name="connsiteY3" fmla="*/ 72407 h 316401"/>
              <a:gd name="connsiteX4" fmla="*/ 0 w 125657"/>
              <a:gd name="connsiteY4" fmla="*/ 244268 h 3164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57" h="316401">
                <a:moveTo>
                  <a:pt x="0" y="244268"/>
                </a:moveTo>
                <a:lnTo>
                  <a:pt x="125657" y="316401"/>
                </a:lnTo>
                <a:lnTo>
                  <a:pt x="125657" y="0"/>
                </a:lnTo>
                <a:lnTo>
                  <a:pt x="245" y="72407"/>
                </a:lnTo>
                <a:cubicBezTo>
                  <a:pt x="122" y="158337"/>
                  <a:pt x="122" y="158337"/>
                  <a:pt x="0" y="244268"/>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447" name="Freeform: Shape 446">
            <a:extLst>
              <a:ext uri="{FF2B5EF4-FFF2-40B4-BE49-F238E27FC236}">
                <a16:creationId xmlns:a16="http://schemas.microsoft.com/office/drawing/2014/main" id="{E3EAF679-E72E-46CD-8F6E-3A39194B2092}"/>
              </a:ext>
            </a:extLst>
          </p:cNvPr>
          <p:cNvSpPr/>
          <p:nvPr/>
        </p:nvSpPr>
        <p:spPr bwMode="gray">
          <a:xfrm rot="14400000">
            <a:off x="5292607" y="3763246"/>
            <a:ext cx="125657" cy="388688"/>
          </a:xfrm>
          <a:custGeom>
            <a:avLst/>
            <a:gdLst>
              <a:gd name="connsiteX0" fmla="*/ 125657 w 125657"/>
              <a:gd name="connsiteY0" fmla="*/ 1013471 h 1703129"/>
              <a:gd name="connsiteX1" fmla="*/ 79819 w 125657"/>
              <a:gd name="connsiteY1" fmla="*/ 987006 h 1703129"/>
              <a:gd name="connsiteX2" fmla="*/ 79232 w 125657"/>
              <a:gd name="connsiteY2" fmla="*/ 986667 h 1703129"/>
              <a:gd name="connsiteX3" fmla="*/ 72828 w 125657"/>
              <a:gd name="connsiteY3" fmla="*/ 982970 h 1703129"/>
              <a:gd name="connsiteX4" fmla="*/ 6780 w 125657"/>
              <a:gd name="connsiteY4" fmla="*/ 981914 h 1703129"/>
              <a:gd name="connsiteX5" fmla="*/ 921 w 125657"/>
              <a:gd name="connsiteY5" fmla="*/ 985264 h 1703129"/>
              <a:gd name="connsiteX6" fmla="*/ 941 w 125657"/>
              <a:gd name="connsiteY6" fmla="*/ 971589 h 1703129"/>
              <a:gd name="connsiteX7" fmla="*/ 2328 w 125657"/>
              <a:gd name="connsiteY7" fmla="*/ 0 h 1703129"/>
              <a:gd name="connsiteX8" fmla="*/ 125657 w 125657"/>
              <a:gd name="connsiteY8" fmla="*/ 72133 h 1703129"/>
              <a:gd name="connsiteX9" fmla="*/ 125657 w 125657"/>
              <a:gd name="connsiteY9" fmla="*/ 1703129 h 1703129"/>
              <a:gd name="connsiteX10" fmla="*/ 0 w 125657"/>
              <a:gd name="connsiteY10" fmla="*/ 1630996 h 1703129"/>
              <a:gd name="connsiteX11" fmla="*/ 386 w 125657"/>
              <a:gd name="connsiteY11" fmla="*/ 1360225 h 1703129"/>
              <a:gd name="connsiteX12" fmla="*/ 451 w 125657"/>
              <a:gd name="connsiteY12" fmla="*/ 1314441 h 1703129"/>
              <a:gd name="connsiteX13" fmla="*/ 125657 w 125657"/>
              <a:gd name="connsiteY13" fmla="*/ 1386729 h 1703129"/>
              <a:gd name="connsiteX0" fmla="*/ 133126 w 133126"/>
              <a:gd name="connsiteY0" fmla="*/ 1013471 h 1703129"/>
              <a:gd name="connsiteX1" fmla="*/ 87288 w 133126"/>
              <a:gd name="connsiteY1" fmla="*/ 987006 h 1703129"/>
              <a:gd name="connsiteX2" fmla="*/ 86701 w 133126"/>
              <a:gd name="connsiteY2" fmla="*/ 986667 h 1703129"/>
              <a:gd name="connsiteX3" fmla="*/ 80297 w 133126"/>
              <a:gd name="connsiteY3" fmla="*/ 982970 h 1703129"/>
              <a:gd name="connsiteX4" fmla="*/ 14249 w 133126"/>
              <a:gd name="connsiteY4" fmla="*/ 981914 h 1703129"/>
              <a:gd name="connsiteX5" fmla="*/ 8390 w 133126"/>
              <a:gd name="connsiteY5" fmla="*/ 985264 h 1703129"/>
              <a:gd name="connsiteX6" fmla="*/ 9797 w 133126"/>
              <a:gd name="connsiteY6" fmla="*/ 0 h 1703129"/>
              <a:gd name="connsiteX7" fmla="*/ 133126 w 133126"/>
              <a:gd name="connsiteY7" fmla="*/ 72133 h 1703129"/>
              <a:gd name="connsiteX8" fmla="*/ 133126 w 133126"/>
              <a:gd name="connsiteY8" fmla="*/ 1013471 h 1703129"/>
              <a:gd name="connsiteX9" fmla="*/ 133126 w 133126"/>
              <a:gd name="connsiteY9" fmla="*/ 1703129 h 1703129"/>
              <a:gd name="connsiteX10" fmla="*/ 7469 w 133126"/>
              <a:gd name="connsiteY10" fmla="*/ 1630996 h 1703129"/>
              <a:gd name="connsiteX11" fmla="*/ 7855 w 133126"/>
              <a:gd name="connsiteY11" fmla="*/ 1360225 h 1703129"/>
              <a:gd name="connsiteX12" fmla="*/ 7920 w 133126"/>
              <a:gd name="connsiteY12" fmla="*/ 1314441 h 1703129"/>
              <a:gd name="connsiteX13" fmla="*/ 133126 w 133126"/>
              <a:gd name="connsiteY13" fmla="*/ 1386729 h 1703129"/>
              <a:gd name="connsiteX14" fmla="*/ 133126 w 133126"/>
              <a:gd name="connsiteY14" fmla="*/ 1703129 h 1703129"/>
              <a:gd name="connsiteX0" fmla="*/ 125657 w 125657"/>
              <a:gd name="connsiteY0" fmla="*/ 1013471 h 1703129"/>
              <a:gd name="connsiteX1" fmla="*/ 79819 w 125657"/>
              <a:gd name="connsiteY1" fmla="*/ 987006 h 1703129"/>
              <a:gd name="connsiteX2" fmla="*/ 79232 w 125657"/>
              <a:gd name="connsiteY2" fmla="*/ 986667 h 1703129"/>
              <a:gd name="connsiteX3" fmla="*/ 72828 w 125657"/>
              <a:gd name="connsiteY3" fmla="*/ 982970 h 1703129"/>
              <a:gd name="connsiteX4" fmla="*/ 6780 w 125657"/>
              <a:gd name="connsiteY4" fmla="*/ 981914 h 1703129"/>
              <a:gd name="connsiteX5" fmla="*/ 2328 w 125657"/>
              <a:gd name="connsiteY5" fmla="*/ 0 h 1703129"/>
              <a:gd name="connsiteX6" fmla="*/ 125657 w 125657"/>
              <a:gd name="connsiteY6" fmla="*/ 72133 h 1703129"/>
              <a:gd name="connsiteX7" fmla="*/ 125657 w 125657"/>
              <a:gd name="connsiteY7" fmla="*/ 1013471 h 1703129"/>
              <a:gd name="connsiteX8" fmla="*/ 125657 w 125657"/>
              <a:gd name="connsiteY8" fmla="*/ 1703129 h 1703129"/>
              <a:gd name="connsiteX9" fmla="*/ 0 w 125657"/>
              <a:gd name="connsiteY9" fmla="*/ 1630996 h 1703129"/>
              <a:gd name="connsiteX10" fmla="*/ 386 w 125657"/>
              <a:gd name="connsiteY10" fmla="*/ 1360225 h 1703129"/>
              <a:gd name="connsiteX11" fmla="*/ 451 w 125657"/>
              <a:gd name="connsiteY11" fmla="*/ 1314441 h 1703129"/>
              <a:gd name="connsiteX12" fmla="*/ 125657 w 125657"/>
              <a:gd name="connsiteY12" fmla="*/ 1386729 h 1703129"/>
              <a:gd name="connsiteX13" fmla="*/ 125657 w 125657"/>
              <a:gd name="connsiteY13" fmla="*/ 1703129 h 1703129"/>
              <a:gd name="connsiteX0" fmla="*/ 125657 w 125657"/>
              <a:gd name="connsiteY0" fmla="*/ 1013471 h 1703129"/>
              <a:gd name="connsiteX1" fmla="*/ 79819 w 125657"/>
              <a:gd name="connsiteY1" fmla="*/ 987006 h 1703129"/>
              <a:gd name="connsiteX2" fmla="*/ 79232 w 125657"/>
              <a:gd name="connsiteY2" fmla="*/ 986667 h 1703129"/>
              <a:gd name="connsiteX3" fmla="*/ 72828 w 125657"/>
              <a:gd name="connsiteY3" fmla="*/ 982970 h 1703129"/>
              <a:gd name="connsiteX4" fmla="*/ 2328 w 125657"/>
              <a:gd name="connsiteY4" fmla="*/ 0 h 1703129"/>
              <a:gd name="connsiteX5" fmla="*/ 125657 w 125657"/>
              <a:gd name="connsiteY5" fmla="*/ 72133 h 1703129"/>
              <a:gd name="connsiteX6" fmla="*/ 125657 w 125657"/>
              <a:gd name="connsiteY6" fmla="*/ 1013471 h 1703129"/>
              <a:gd name="connsiteX7" fmla="*/ 125657 w 125657"/>
              <a:gd name="connsiteY7" fmla="*/ 1703129 h 1703129"/>
              <a:gd name="connsiteX8" fmla="*/ 0 w 125657"/>
              <a:gd name="connsiteY8" fmla="*/ 1630996 h 1703129"/>
              <a:gd name="connsiteX9" fmla="*/ 386 w 125657"/>
              <a:gd name="connsiteY9" fmla="*/ 1360225 h 1703129"/>
              <a:gd name="connsiteX10" fmla="*/ 451 w 125657"/>
              <a:gd name="connsiteY10" fmla="*/ 1314441 h 1703129"/>
              <a:gd name="connsiteX11" fmla="*/ 125657 w 125657"/>
              <a:gd name="connsiteY11" fmla="*/ 1386729 h 1703129"/>
              <a:gd name="connsiteX12" fmla="*/ 125657 w 125657"/>
              <a:gd name="connsiteY12" fmla="*/ 1703129 h 1703129"/>
              <a:gd name="connsiteX0" fmla="*/ 125657 w 125657"/>
              <a:gd name="connsiteY0" fmla="*/ 1013471 h 1703129"/>
              <a:gd name="connsiteX1" fmla="*/ 79819 w 125657"/>
              <a:gd name="connsiteY1" fmla="*/ 987006 h 1703129"/>
              <a:gd name="connsiteX2" fmla="*/ 79232 w 125657"/>
              <a:gd name="connsiteY2" fmla="*/ 986667 h 1703129"/>
              <a:gd name="connsiteX3" fmla="*/ 2328 w 125657"/>
              <a:gd name="connsiteY3" fmla="*/ 0 h 1703129"/>
              <a:gd name="connsiteX4" fmla="*/ 125657 w 125657"/>
              <a:gd name="connsiteY4" fmla="*/ 72133 h 1703129"/>
              <a:gd name="connsiteX5" fmla="*/ 125657 w 125657"/>
              <a:gd name="connsiteY5" fmla="*/ 1013471 h 1703129"/>
              <a:gd name="connsiteX6" fmla="*/ 125657 w 125657"/>
              <a:gd name="connsiteY6" fmla="*/ 1703129 h 1703129"/>
              <a:gd name="connsiteX7" fmla="*/ 0 w 125657"/>
              <a:gd name="connsiteY7" fmla="*/ 1630996 h 1703129"/>
              <a:gd name="connsiteX8" fmla="*/ 386 w 125657"/>
              <a:gd name="connsiteY8" fmla="*/ 1360225 h 1703129"/>
              <a:gd name="connsiteX9" fmla="*/ 451 w 125657"/>
              <a:gd name="connsiteY9" fmla="*/ 1314441 h 1703129"/>
              <a:gd name="connsiteX10" fmla="*/ 125657 w 125657"/>
              <a:gd name="connsiteY10" fmla="*/ 1386729 h 1703129"/>
              <a:gd name="connsiteX11" fmla="*/ 125657 w 125657"/>
              <a:gd name="connsiteY11" fmla="*/ 1703129 h 1703129"/>
              <a:gd name="connsiteX0" fmla="*/ 125657 w 125657"/>
              <a:gd name="connsiteY0" fmla="*/ 1013471 h 1703129"/>
              <a:gd name="connsiteX1" fmla="*/ 79819 w 125657"/>
              <a:gd name="connsiteY1" fmla="*/ 987006 h 1703129"/>
              <a:gd name="connsiteX2" fmla="*/ 2328 w 125657"/>
              <a:gd name="connsiteY2" fmla="*/ 0 h 1703129"/>
              <a:gd name="connsiteX3" fmla="*/ 125657 w 125657"/>
              <a:gd name="connsiteY3" fmla="*/ 72133 h 1703129"/>
              <a:gd name="connsiteX4" fmla="*/ 125657 w 125657"/>
              <a:gd name="connsiteY4" fmla="*/ 1013471 h 1703129"/>
              <a:gd name="connsiteX5" fmla="*/ 125657 w 125657"/>
              <a:gd name="connsiteY5" fmla="*/ 1703129 h 1703129"/>
              <a:gd name="connsiteX6" fmla="*/ 0 w 125657"/>
              <a:gd name="connsiteY6" fmla="*/ 1630996 h 1703129"/>
              <a:gd name="connsiteX7" fmla="*/ 386 w 125657"/>
              <a:gd name="connsiteY7" fmla="*/ 1360225 h 1703129"/>
              <a:gd name="connsiteX8" fmla="*/ 451 w 125657"/>
              <a:gd name="connsiteY8" fmla="*/ 1314441 h 1703129"/>
              <a:gd name="connsiteX9" fmla="*/ 125657 w 125657"/>
              <a:gd name="connsiteY9" fmla="*/ 1386729 h 1703129"/>
              <a:gd name="connsiteX10" fmla="*/ 125657 w 125657"/>
              <a:gd name="connsiteY10" fmla="*/ 1703129 h 1703129"/>
              <a:gd name="connsiteX0" fmla="*/ 125657 w 125657"/>
              <a:gd name="connsiteY0" fmla="*/ 1013471 h 1703129"/>
              <a:gd name="connsiteX1" fmla="*/ 2328 w 125657"/>
              <a:gd name="connsiteY1" fmla="*/ 0 h 1703129"/>
              <a:gd name="connsiteX2" fmla="*/ 125657 w 125657"/>
              <a:gd name="connsiteY2" fmla="*/ 72133 h 1703129"/>
              <a:gd name="connsiteX3" fmla="*/ 125657 w 125657"/>
              <a:gd name="connsiteY3" fmla="*/ 1013471 h 1703129"/>
              <a:gd name="connsiteX4" fmla="*/ 125657 w 125657"/>
              <a:gd name="connsiteY4" fmla="*/ 1703129 h 1703129"/>
              <a:gd name="connsiteX5" fmla="*/ 0 w 125657"/>
              <a:gd name="connsiteY5" fmla="*/ 1630996 h 1703129"/>
              <a:gd name="connsiteX6" fmla="*/ 386 w 125657"/>
              <a:gd name="connsiteY6" fmla="*/ 1360225 h 1703129"/>
              <a:gd name="connsiteX7" fmla="*/ 451 w 125657"/>
              <a:gd name="connsiteY7" fmla="*/ 1314441 h 1703129"/>
              <a:gd name="connsiteX8" fmla="*/ 125657 w 125657"/>
              <a:gd name="connsiteY8" fmla="*/ 1386729 h 1703129"/>
              <a:gd name="connsiteX9" fmla="*/ 125657 w 125657"/>
              <a:gd name="connsiteY9" fmla="*/ 1703129 h 1703129"/>
              <a:gd name="connsiteX0" fmla="*/ 125657 w 125657"/>
              <a:gd name="connsiteY0" fmla="*/ 72133 h 1703129"/>
              <a:gd name="connsiteX1" fmla="*/ 2328 w 125657"/>
              <a:gd name="connsiteY1" fmla="*/ 0 h 1703129"/>
              <a:gd name="connsiteX2" fmla="*/ 125657 w 125657"/>
              <a:gd name="connsiteY2" fmla="*/ 72133 h 1703129"/>
              <a:gd name="connsiteX3" fmla="*/ 125657 w 125657"/>
              <a:gd name="connsiteY3" fmla="*/ 1703129 h 1703129"/>
              <a:gd name="connsiteX4" fmla="*/ 0 w 125657"/>
              <a:gd name="connsiteY4" fmla="*/ 1630996 h 1703129"/>
              <a:gd name="connsiteX5" fmla="*/ 386 w 125657"/>
              <a:gd name="connsiteY5" fmla="*/ 1360225 h 1703129"/>
              <a:gd name="connsiteX6" fmla="*/ 451 w 125657"/>
              <a:gd name="connsiteY6" fmla="*/ 1314441 h 1703129"/>
              <a:gd name="connsiteX7" fmla="*/ 125657 w 125657"/>
              <a:gd name="connsiteY7" fmla="*/ 1386729 h 1703129"/>
              <a:gd name="connsiteX8" fmla="*/ 125657 w 125657"/>
              <a:gd name="connsiteY8" fmla="*/ 1703129 h 1703129"/>
              <a:gd name="connsiteX0" fmla="*/ 125657 w 125657"/>
              <a:gd name="connsiteY0" fmla="*/ 388688 h 388688"/>
              <a:gd name="connsiteX1" fmla="*/ 0 w 125657"/>
              <a:gd name="connsiteY1" fmla="*/ 316555 h 388688"/>
              <a:gd name="connsiteX2" fmla="*/ 386 w 125657"/>
              <a:gd name="connsiteY2" fmla="*/ 45784 h 388688"/>
              <a:gd name="connsiteX3" fmla="*/ 451 w 125657"/>
              <a:gd name="connsiteY3" fmla="*/ 0 h 388688"/>
              <a:gd name="connsiteX4" fmla="*/ 125657 w 125657"/>
              <a:gd name="connsiteY4" fmla="*/ 72288 h 388688"/>
              <a:gd name="connsiteX5" fmla="*/ 125657 w 125657"/>
              <a:gd name="connsiteY5" fmla="*/ 388688 h 388688"/>
              <a:gd name="connsiteX0" fmla="*/ 141112 w 141112"/>
              <a:gd name="connsiteY0" fmla="*/ 388688 h 388688"/>
              <a:gd name="connsiteX1" fmla="*/ 15455 w 141112"/>
              <a:gd name="connsiteY1" fmla="*/ 316555 h 388688"/>
              <a:gd name="connsiteX2" fmla="*/ 15906 w 141112"/>
              <a:gd name="connsiteY2" fmla="*/ 0 h 388688"/>
              <a:gd name="connsiteX3" fmla="*/ 141112 w 141112"/>
              <a:gd name="connsiteY3" fmla="*/ 72288 h 388688"/>
              <a:gd name="connsiteX4" fmla="*/ 141112 w 141112"/>
              <a:gd name="connsiteY4" fmla="*/ 388688 h 388688"/>
              <a:gd name="connsiteX0" fmla="*/ 134866 w 134866"/>
              <a:gd name="connsiteY0" fmla="*/ 388688 h 388688"/>
              <a:gd name="connsiteX1" fmla="*/ 9209 w 134866"/>
              <a:gd name="connsiteY1" fmla="*/ 316555 h 388688"/>
              <a:gd name="connsiteX2" fmla="*/ 9660 w 134866"/>
              <a:gd name="connsiteY2" fmla="*/ 0 h 388688"/>
              <a:gd name="connsiteX3" fmla="*/ 134866 w 134866"/>
              <a:gd name="connsiteY3" fmla="*/ 72288 h 388688"/>
              <a:gd name="connsiteX4" fmla="*/ 134866 w 134866"/>
              <a:gd name="connsiteY4" fmla="*/ 388688 h 388688"/>
              <a:gd name="connsiteX0" fmla="*/ 125657 w 125657"/>
              <a:gd name="connsiteY0" fmla="*/ 388688 h 388688"/>
              <a:gd name="connsiteX1" fmla="*/ 0 w 125657"/>
              <a:gd name="connsiteY1" fmla="*/ 316555 h 388688"/>
              <a:gd name="connsiteX2" fmla="*/ 451 w 125657"/>
              <a:gd name="connsiteY2" fmla="*/ 0 h 388688"/>
              <a:gd name="connsiteX3" fmla="*/ 125657 w 125657"/>
              <a:gd name="connsiteY3" fmla="*/ 72288 h 388688"/>
              <a:gd name="connsiteX4" fmla="*/ 125657 w 125657"/>
              <a:gd name="connsiteY4" fmla="*/ 388688 h 388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57" h="388688">
                <a:moveTo>
                  <a:pt x="125657" y="388688"/>
                </a:moveTo>
                <a:lnTo>
                  <a:pt x="0" y="316555"/>
                </a:lnTo>
                <a:cubicBezTo>
                  <a:pt x="225" y="158277"/>
                  <a:pt x="225" y="158277"/>
                  <a:pt x="451" y="0"/>
                </a:cubicBezTo>
                <a:lnTo>
                  <a:pt x="125657" y="72288"/>
                </a:lnTo>
                <a:lnTo>
                  <a:pt x="125657" y="388688"/>
                </a:lnTo>
                <a:close/>
              </a:path>
            </a:pathLst>
          </a:custGeom>
          <a:solidFill>
            <a:schemeClr val="accent4"/>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nvGrpSpPr>
          <p:cNvPr id="810" name="Group 809">
            <a:extLst>
              <a:ext uri="{FF2B5EF4-FFF2-40B4-BE49-F238E27FC236}">
                <a16:creationId xmlns:a16="http://schemas.microsoft.com/office/drawing/2014/main" id="{BDEF1693-40E6-443B-A3C7-3F890EFB871F}"/>
              </a:ext>
            </a:extLst>
          </p:cNvPr>
          <p:cNvGrpSpPr/>
          <p:nvPr/>
        </p:nvGrpSpPr>
        <p:grpSpPr bwMode="gray">
          <a:xfrm>
            <a:off x="10589919" y="3558901"/>
            <a:ext cx="540292" cy="463028"/>
            <a:chOff x="9779884" y="2533266"/>
            <a:chExt cx="540292" cy="463028"/>
          </a:xfrm>
        </p:grpSpPr>
        <p:sp>
          <p:nvSpPr>
            <p:cNvPr id="811" name="Oval 386">
              <a:extLst>
                <a:ext uri="{FF2B5EF4-FFF2-40B4-BE49-F238E27FC236}">
                  <a16:creationId xmlns:a16="http://schemas.microsoft.com/office/drawing/2014/main" id="{FB1692A0-1F91-4467-A21C-B1D07D1A626E}"/>
                </a:ext>
              </a:extLst>
            </p:cNvPr>
            <p:cNvSpPr/>
            <p:nvPr/>
          </p:nvSpPr>
          <p:spPr bwMode="gray">
            <a:xfrm rot="7200000" flipH="1">
              <a:off x="10122572" y="2798691"/>
              <a:ext cx="232683" cy="162524"/>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13000">
                  <a:schemeClr val="accent2">
                    <a:lumMod val="0"/>
                    <a:lumOff val="100000"/>
                  </a:schemeClr>
                </a:gs>
                <a:gs pos="59000">
                  <a:schemeClr val="accent4"/>
                </a:gs>
              </a:gsLst>
              <a:path path="circle">
                <a:fillToRect l="100000" t="100000"/>
              </a:path>
              <a:tileRect r="-100000" b="-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812" name="Freeform: Shape 811">
              <a:extLst>
                <a:ext uri="{FF2B5EF4-FFF2-40B4-BE49-F238E27FC236}">
                  <a16:creationId xmlns:a16="http://schemas.microsoft.com/office/drawing/2014/main" id="{7D948DA7-9F49-4B8C-915D-2F5469D8A2F1}"/>
                </a:ext>
              </a:extLst>
            </p:cNvPr>
            <p:cNvSpPr/>
            <p:nvPr/>
          </p:nvSpPr>
          <p:spPr bwMode="gray">
            <a:xfrm rot="18000000">
              <a:off x="9721733" y="2602260"/>
              <a:ext cx="232684" cy="94695"/>
            </a:xfrm>
            <a:custGeom>
              <a:avLst/>
              <a:gdLst>
                <a:gd name="connsiteX0" fmla="*/ 1 w 666684"/>
                <a:gd name="connsiteY0" fmla="*/ 251989 h 271320"/>
                <a:gd name="connsiteX1" fmla="*/ 1 w 666684"/>
                <a:gd name="connsiteY1" fmla="*/ 251980 h 271320"/>
                <a:gd name="connsiteX2" fmla="*/ 0 w 666684"/>
                <a:gd name="connsiteY2" fmla="*/ 251984 h 271320"/>
                <a:gd name="connsiteX3" fmla="*/ 661514 w 666684"/>
                <a:gd name="connsiteY3" fmla="*/ 213219 h 271320"/>
                <a:gd name="connsiteX4" fmla="*/ 659911 w 666684"/>
                <a:gd name="connsiteY4" fmla="*/ 201201 h 271320"/>
                <a:gd name="connsiteX5" fmla="*/ 333342 w 666684"/>
                <a:gd name="connsiteY5" fmla="*/ 0 h 271320"/>
                <a:gd name="connsiteX6" fmla="*/ 6773 w 666684"/>
                <a:gd name="connsiteY6" fmla="*/ 201201 h 271320"/>
                <a:gd name="connsiteX7" fmla="*/ 5166 w 666684"/>
                <a:gd name="connsiteY7" fmla="*/ 213245 h 271320"/>
                <a:gd name="connsiteX8" fmla="*/ 6773 w 666684"/>
                <a:gd name="connsiteY8" fmla="*/ 203953 h 271320"/>
                <a:gd name="connsiteX9" fmla="*/ 333343 w 666684"/>
                <a:gd name="connsiteY9" fmla="*/ 48773 h 271320"/>
                <a:gd name="connsiteX10" fmla="*/ 659911 w 666684"/>
                <a:gd name="connsiteY10" fmla="*/ 203953 h 271320"/>
                <a:gd name="connsiteX11" fmla="*/ 666684 w 666684"/>
                <a:gd name="connsiteY11" fmla="*/ 271316 h 271320"/>
                <a:gd name="connsiteX12" fmla="*/ 666684 w 666684"/>
                <a:gd name="connsiteY12" fmla="*/ 271313 h 271320"/>
                <a:gd name="connsiteX13" fmla="*/ 666684 w 666684"/>
                <a:gd name="connsiteY13" fmla="*/ 271320 h 271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684" h="271320">
                  <a:moveTo>
                    <a:pt x="1" y="251989"/>
                  </a:moveTo>
                  <a:lnTo>
                    <a:pt x="1" y="251980"/>
                  </a:lnTo>
                  <a:lnTo>
                    <a:pt x="0" y="251984"/>
                  </a:lnTo>
                  <a:close/>
                  <a:moveTo>
                    <a:pt x="661514" y="213219"/>
                  </a:moveTo>
                  <a:lnTo>
                    <a:pt x="659911" y="201201"/>
                  </a:lnTo>
                  <a:cubicBezTo>
                    <a:pt x="628828" y="86376"/>
                    <a:pt x="494429" y="0"/>
                    <a:pt x="333342" y="0"/>
                  </a:cubicBezTo>
                  <a:cubicBezTo>
                    <a:pt x="172255" y="0"/>
                    <a:pt x="37855" y="86376"/>
                    <a:pt x="6773" y="201201"/>
                  </a:cubicBezTo>
                  <a:lnTo>
                    <a:pt x="5166" y="213245"/>
                  </a:lnTo>
                  <a:lnTo>
                    <a:pt x="6773" y="203953"/>
                  </a:lnTo>
                  <a:cubicBezTo>
                    <a:pt x="37856" y="115391"/>
                    <a:pt x="172255" y="48773"/>
                    <a:pt x="333343" y="48773"/>
                  </a:cubicBezTo>
                  <a:cubicBezTo>
                    <a:pt x="494430" y="48773"/>
                    <a:pt x="628829" y="115391"/>
                    <a:pt x="659911" y="203953"/>
                  </a:cubicBezTo>
                  <a:close/>
                  <a:moveTo>
                    <a:pt x="666684" y="271316"/>
                  </a:moveTo>
                  <a:lnTo>
                    <a:pt x="666684" y="271313"/>
                  </a:lnTo>
                  <a:lnTo>
                    <a:pt x="666684" y="271320"/>
                  </a:lnTo>
                  <a:close/>
                </a:path>
              </a:pathLst>
            </a:custGeom>
            <a:gradFill>
              <a:gsLst>
                <a:gs pos="85000">
                  <a:schemeClr val="bg1"/>
                </a:gs>
                <a:gs pos="37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813" name="Freeform: Shape 812">
              <a:extLst>
                <a:ext uri="{FF2B5EF4-FFF2-40B4-BE49-F238E27FC236}">
                  <a16:creationId xmlns:a16="http://schemas.microsoft.com/office/drawing/2014/main" id="{174FF108-D84E-4BF4-BF0B-F7E0A12FDD3E}"/>
                </a:ext>
              </a:extLst>
            </p:cNvPr>
            <p:cNvSpPr/>
            <p:nvPr/>
          </p:nvSpPr>
          <p:spPr bwMode="gray">
            <a:xfrm rot="7200000" flipH="1">
              <a:off x="9903138" y="2514009"/>
              <a:ext cx="233618" cy="480125"/>
            </a:xfrm>
            <a:custGeom>
              <a:avLst/>
              <a:gdLst>
                <a:gd name="connsiteX0" fmla="*/ 223541 w 233618"/>
                <a:gd name="connsiteY0" fmla="*/ 438697 h 480125"/>
                <a:gd name="connsiteX1" fmla="*/ 232684 w 233618"/>
                <a:gd name="connsiteY1" fmla="*/ 412294 h 480125"/>
                <a:gd name="connsiteX2" fmla="*/ 232684 w 233618"/>
                <a:gd name="connsiteY2" fmla="*/ 379749 h 480125"/>
                <a:gd name="connsiteX3" fmla="*/ 232684 w 233618"/>
                <a:gd name="connsiteY3" fmla="*/ 370085 h 480125"/>
                <a:gd name="connsiteX4" fmla="*/ 232684 w 233618"/>
                <a:gd name="connsiteY4" fmla="*/ 368182 h 480125"/>
                <a:gd name="connsiteX5" fmla="*/ 232684 w 233618"/>
                <a:gd name="connsiteY5" fmla="*/ 316933 h 480125"/>
                <a:gd name="connsiteX6" fmla="*/ 232684 w 233618"/>
                <a:gd name="connsiteY6" fmla="*/ 309174 h 480125"/>
                <a:gd name="connsiteX7" fmla="*/ 232684 w 233618"/>
                <a:gd name="connsiteY7" fmla="*/ 257925 h 480125"/>
                <a:gd name="connsiteX8" fmla="*/ 232684 w 233618"/>
                <a:gd name="connsiteY8" fmla="*/ 246359 h 480125"/>
                <a:gd name="connsiteX9" fmla="*/ 232684 w 233618"/>
                <a:gd name="connsiteY9" fmla="*/ 227641 h 480125"/>
                <a:gd name="connsiteX10" fmla="*/ 233618 w 233618"/>
                <a:gd name="connsiteY10" fmla="*/ 224945 h 480125"/>
                <a:gd name="connsiteX11" fmla="*/ 233618 w 233618"/>
                <a:gd name="connsiteY11" fmla="*/ 192399 h 480125"/>
                <a:gd name="connsiteX12" fmla="*/ 233618 w 233618"/>
                <a:gd name="connsiteY12" fmla="*/ 182736 h 480125"/>
                <a:gd name="connsiteX13" fmla="*/ 233617 w 233618"/>
                <a:gd name="connsiteY13" fmla="*/ 180833 h 480125"/>
                <a:gd name="connsiteX14" fmla="*/ 233617 w 233618"/>
                <a:gd name="connsiteY14" fmla="*/ 129584 h 480125"/>
                <a:gd name="connsiteX15" fmla="*/ 233618 w 233618"/>
                <a:gd name="connsiteY15" fmla="*/ 121824 h 480125"/>
                <a:gd name="connsiteX16" fmla="*/ 233617 w 233618"/>
                <a:gd name="connsiteY16" fmla="*/ 70575 h 480125"/>
                <a:gd name="connsiteX17" fmla="*/ 233618 w 233618"/>
                <a:gd name="connsiteY17" fmla="*/ 59009 h 480125"/>
                <a:gd name="connsiteX18" fmla="*/ 233618 w 233618"/>
                <a:gd name="connsiteY18" fmla="*/ 0 h 480125"/>
                <a:gd name="connsiteX19" fmla="*/ 117276 w 233618"/>
                <a:gd name="connsiteY19" fmla="*/ 67831 h 480125"/>
                <a:gd name="connsiteX20" fmla="*/ 934 w 233618"/>
                <a:gd name="connsiteY20" fmla="*/ 0 h 480125"/>
                <a:gd name="connsiteX21" fmla="*/ 934 w 233618"/>
                <a:gd name="connsiteY21" fmla="*/ 59009 h 480125"/>
                <a:gd name="connsiteX22" fmla="*/ 934 w 233618"/>
                <a:gd name="connsiteY22" fmla="*/ 70576 h 480125"/>
                <a:gd name="connsiteX23" fmla="*/ 934 w 233618"/>
                <a:gd name="connsiteY23" fmla="*/ 121825 h 480125"/>
                <a:gd name="connsiteX24" fmla="*/ 935 w 233618"/>
                <a:gd name="connsiteY24" fmla="*/ 129583 h 480125"/>
                <a:gd name="connsiteX25" fmla="*/ 934 w 233618"/>
                <a:gd name="connsiteY25" fmla="*/ 180832 h 480125"/>
                <a:gd name="connsiteX26" fmla="*/ 934 w 233618"/>
                <a:gd name="connsiteY26" fmla="*/ 182736 h 480125"/>
                <a:gd name="connsiteX27" fmla="*/ 934 w 233618"/>
                <a:gd name="connsiteY27" fmla="*/ 190049 h 480125"/>
                <a:gd name="connsiteX28" fmla="*/ 0 w 233618"/>
                <a:gd name="connsiteY28" fmla="*/ 187350 h 480125"/>
                <a:gd name="connsiteX29" fmla="*/ 0 w 233618"/>
                <a:gd name="connsiteY29" fmla="*/ 246359 h 480125"/>
                <a:gd name="connsiteX30" fmla="*/ 0 w 233618"/>
                <a:gd name="connsiteY30" fmla="*/ 257925 h 480125"/>
                <a:gd name="connsiteX31" fmla="*/ 0 w 233618"/>
                <a:gd name="connsiteY31" fmla="*/ 309174 h 480125"/>
                <a:gd name="connsiteX32" fmla="*/ 0 w 233618"/>
                <a:gd name="connsiteY32" fmla="*/ 316933 h 480125"/>
                <a:gd name="connsiteX33" fmla="*/ 0 w 233618"/>
                <a:gd name="connsiteY33" fmla="*/ 368182 h 480125"/>
                <a:gd name="connsiteX34" fmla="*/ 0 w 233618"/>
                <a:gd name="connsiteY34" fmla="*/ 370085 h 480125"/>
                <a:gd name="connsiteX35" fmla="*/ 0 w 233618"/>
                <a:gd name="connsiteY35" fmla="*/ 379749 h 480125"/>
                <a:gd name="connsiteX36" fmla="*/ 0 w 233618"/>
                <a:gd name="connsiteY36" fmla="*/ 412294 h 480125"/>
                <a:gd name="connsiteX37" fmla="*/ 116342 w 233618"/>
                <a:gd name="connsiteY37" fmla="*/ 480125 h 480125"/>
                <a:gd name="connsiteX38" fmla="*/ 223541 w 233618"/>
                <a:gd name="connsiteY38" fmla="*/ 438697 h 48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3618" h="480125">
                  <a:moveTo>
                    <a:pt x="223541" y="438697"/>
                  </a:moveTo>
                  <a:cubicBezTo>
                    <a:pt x="229429" y="430582"/>
                    <a:pt x="232684" y="421660"/>
                    <a:pt x="232684" y="412294"/>
                  </a:cubicBezTo>
                  <a:lnTo>
                    <a:pt x="232684" y="379749"/>
                  </a:lnTo>
                  <a:lnTo>
                    <a:pt x="232684" y="370085"/>
                  </a:lnTo>
                  <a:lnTo>
                    <a:pt x="232684" y="368182"/>
                  </a:lnTo>
                  <a:lnTo>
                    <a:pt x="232684" y="316933"/>
                  </a:lnTo>
                  <a:lnTo>
                    <a:pt x="232684" y="309174"/>
                  </a:lnTo>
                  <a:lnTo>
                    <a:pt x="232684" y="257925"/>
                  </a:lnTo>
                  <a:lnTo>
                    <a:pt x="232684" y="246359"/>
                  </a:lnTo>
                  <a:lnTo>
                    <a:pt x="232684" y="227641"/>
                  </a:lnTo>
                  <a:lnTo>
                    <a:pt x="233618" y="224945"/>
                  </a:lnTo>
                  <a:lnTo>
                    <a:pt x="233618" y="192399"/>
                  </a:lnTo>
                  <a:lnTo>
                    <a:pt x="233618" y="182736"/>
                  </a:lnTo>
                  <a:lnTo>
                    <a:pt x="233617" y="180833"/>
                  </a:lnTo>
                  <a:lnTo>
                    <a:pt x="233617" y="129584"/>
                  </a:lnTo>
                  <a:lnTo>
                    <a:pt x="233618" y="121824"/>
                  </a:lnTo>
                  <a:lnTo>
                    <a:pt x="233617" y="70575"/>
                  </a:lnTo>
                  <a:lnTo>
                    <a:pt x="233618" y="59009"/>
                  </a:lnTo>
                  <a:lnTo>
                    <a:pt x="233618" y="0"/>
                  </a:lnTo>
                  <a:cubicBezTo>
                    <a:pt x="233618" y="37462"/>
                    <a:pt x="181530" y="67831"/>
                    <a:pt x="117276" y="67831"/>
                  </a:cubicBezTo>
                  <a:cubicBezTo>
                    <a:pt x="53022" y="67831"/>
                    <a:pt x="934" y="37462"/>
                    <a:pt x="934" y="0"/>
                  </a:cubicBezTo>
                  <a:lnTo>
                    <a:pt x="934" y="59009"/>
                  </a:lnTo>
                  <a:lnTo>
                    <a:pt x="934" y="70576"/>
                  </a:lnTo>
                  <a:lnTo>
                    <a:pt x="934" y="121825"/>
                  </a:lnTo>
                  <a:lnTo>
                    <a:pt x="935" y="129583"/>
                  </a:lnTo>
                  <a:lnTo>
                    <a:pt x="934" y="180832"/>
                  </a:lnTo>
                  <a:lnTo>
                    <a:pt x="934" y="182736"/>
                  </a:lnTo>
                  <a:lnTo>
                    <a:pt x="934" y="190049"/>
                  </a:lnTo>
                  <a:lnTo>
                    <a:pt x="0" y="187350"/>
                  </a:lnTo>
                  <a:lnTo>
                    <a:pt x="0" y="246359"/>
                  </a:lnTo>
                  <a:lnTo>
                    <a:pt x="0" y="257925"/>
                  </a:lnTo>
                  <a:lnTo>
                    <a:pt x="0" y="309174"/>
                  </a:lnTo>
                  <a:lnTo>
                    <a:pt x="0" y="316933"/>
                  </a:lnTo>
                  <a:lnTo>
                    <a:pt x="0" y="368182"/>
                  </a:lnTo>
                  <a:lnTo>
                    <a:pt x="0" y="370085"/>
                  </a:lnTo>
                  <a:lnTo>
                    <a:pt x="0" y="379749"/>
                  </a:lnTo>
                  <a:lnTo>
                    <a:pt x="0" y="412294"/>
                  </a:lnTo>
                  <a:cubicBezTo>
                    <a:pt x="0" y="449756"/>
                    <a:pt x="52088" y="480125"/>
                    <a:pt x="116342" y="480125"/>
                  </a:cubicBezTo>
                  <a:cubicBezTo>
                    <a:pt x="164533" y="480125"/>
                    <a:pt x="205880" y="463042"/>
                    <a:pt x="223541" y="438697"/>
                  </a:cubicBezTo>
                  <a:close/>
                </a:path>
              </a:pathLst>
            </a:custGeom>
            <a:gradFill>
              <a:gsLst>
                <a:gs pos="0">
                  <a:schemeClr val="accent4"/>
                </a:gs>
                <a:gs pos="54000">
                  <a:schemeClr val="bg1"/>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820" name="Cylinder 819">
            <a:extLst>
              <a:ext uri="{FF2B5EF4-FFF2-40B4-BE49-F238E27FC236}">
                <a16:creationId xmlns:a16="http://schemas.microsoft.com/office/drawing/2014/main" id="{B881F873-10E1-45F0-8786-02D8F410E2B0}"/>
              </a:ext>
            </a:extLst>
          </p:cNvPr>
          <p:cNvSpPr/>
          <p:nvPr/>
        </p:nvSpPr>
        <p:spPr bwMode="gray">
          <a:xfrm>
            <a:off x="10685333" y="3366774"/>
            <a:ext cx="81425" cy="283794"/>
          </a:xfrm>
          <a:prstGeom prst="can">
            <a:avLst>
              <a:gd name="adj" fmla="val 71299"/>
            </a:avLst>
          </a:prstGeom>
          <a:gradFill flip="none" rotWithShape="1">
            <a:gsLst>
              <a:gs pos="100000">
                <a:schemeClr val="accent2">
                  <a:lumMod val="0"/>
                  <a:lumOff val="100000"/>
                </a:schemeClr>
              </a:gs>
              <a:gs pos="43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nvGrpSpPr>
          <p:cNvPr id="814" name="Group 813">
            <a:extLst>
              <a:ext uri="{FF2B5EF4-FFF2-40B4-BE49-F238E27FC236}">
                <a16:creationId xmlns:a16="http://schemas.microsoft.com/office/drawing/2014/main" id="{6BF1795D-D44F-4E32-93C4-06C33093E200}"/>
              </a:ext>
            </a:extLst>
          </p:cNvPr>
          <p:cNvGrpSpPr/>
          <p:nvPr/>
        </p:nvGrpSpPr>
        <p:grpSpPr bwMode="gray">
          <a:xfrm>
            <a:off x="10589919" y="3152501"/>
            <a:ext cx="540292" cy="463028"/>
            <a:chOff x="9779884" y="2533266"/>
            <a:chExt cx="540292" cy="463028"/>
          </a:xfrm>
        </p:grpSpPr>
        <p:sp>
          <p:nvSpPr>
            <p:cNvPr id="815" name="Oval 386">
              <a:extLst>
                <a:ext uri="{FF2B5EF4-FFF2-40B4-BE49-F238E27FC236}">
                  <a16:creationId xmlns:a16="http://schemas.microsoft.com/office/drawing/2014/main" id="{44C8BD86-5B1A-4FB3-9BF9-54D24110C431}"/>
                </a:ext>
              </a:extLst>
            </p:cNvPr>
            <p:cNvSpPr/>
            <p:nvPr/>
          </p:nvSpPr>
          <p:spPr bwMode="gray">
            <a:xfrm rot="7200000" flipH="1">
              <a:off x="10122572" y="2798691"/>
              <a:ext cx="232683" cy="162524"/>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13000">
                  <a:schemeClr val="accent2">
                    <a:lumMod val="0"/>
                    <a:lumOff val="100000"/>
                  </a:schemeClr>
                </a:gs>
                <a:gs pos="59000">
                  <a:schemeClr val="accent4"/>
                </a:gs>
              </a:gsLst>
              <a:path path="circle">
                <a:fillToRect l="100000" t="100000"/>
              </a:path>
              <a:tileRect r="-100000" b="-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816" name="Freeform: Shape 815">
              <a:extLst>
                <a:ext uri="{FF2B5EF4-FFF2-40B4-BE49-F238E27FC236}">
                  <a16:creationId xmlns:a16="http://schemas.microsoft.com/office/drawing/2014/main" id="{B9845A1C-0BF4-466E-A7FD-4871CEB47827}"/>
                </a:ext>
              </a:extLst>
            </p:cNvPr>
            <p:cNvSpPr/>
            <p:nvPr/>
          </p:nvSpPr>
          <p:spPr bwMode="gray">
            <a:xfrm rot="18000000">
              <a:off x="9721733" y="2602260"/>
              <a:ext cx="232684" cy="94695"/>
            </a:xfrm>
            <a:custGeom>
              <a:avLst/>
              <a:gdLst>
                <a:gd name="connsiteX0" fmla="*/ 1 w 666684"/>
                <a:gd name="connsiteY0" fmla="*/ 251989 h 271320"/>
                <a:gd name="connsiteX1" fmla="*/ 1 w 666684"/>
                <a:gd name="connsiteY1" fmla="*/ 251980 h 271320"/>
                <a:gd name="connsiteX2" fmla="*/ 0 w 666684"/>
                <a:gd name="connsiteY2" fmla="*/ 251984 h 271320"/>
                <a:gd name="connsiteX3" fmla="*/ 661514 w 666684"/>
                <a:gd name="connsiteY3" fmla="*/ 213219 h 271320"/>
                <a:gd name="connsiteX4" fmla="*/ 659911 w 666684"/>
                <a:gd name="connsiteY4" fmla="*/ 201201 h 271320"/>
                <a:gd name="connsiteX5" fmla="*/ 333342 w 666684"/>
                <a:gd name="connsiteY5" fmla="*/ 0 h 271320"/>
                <a:gd name="connsiteX6" fmla="*/ 6773 w 666684"/>
                <a:gd name="connsiteY6" fmla="*/ 201201 h 271320"/>
                <a:gd name="connsiteX7" fmla="*/ 5166 w 666684"/>
                <a:gd name="connsiteY7" fmla="*/ 213245 h 271320"/>
                <a:gd name="connsiteX8" fmla="*/ 6773 w 666684"/>
                <a:gd name="connsiteY8" fmla="*/ 203953 h 271320"/>
                <a:gd name="connsiteX9" fmla="*/ 333343 w 666684"/>
                <a:gd name="connsiteY9" fmla="*/ 48773 h 271320"/>
                <a:gd name="connsiteX10" fmla="*/ 659911 w 666684"/>
                <a:gd name="connsiteY10" fmla="*/ 203953 h 271320"/>
                <a:gd name="connsiteX11" fmla="*/ 666684 w 666684"/>
                <a:gd name="connsiteY11" fmla="*/ 271316 h 271320"/>
                <a:gd name="connsiteX12" fmla="*/ 666684 w 666684"/>
                <a:gd name="connsiteY12" fmla="*/ 271313 h 271320"/>
                <a:gd name="connsiteX13" fmla="*/ 666684 w 666684"/>
                <a:gd name="connsiteY13" fmla="*/ 271320 h 271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684" h="271320">
                  <a:moveTo>
                    <a:pt x="1" y="251989"/>
                  </a:moveTo>
                  <a:lnTo>
                    <a:pt x="1" y="251980"/>
                  </a:lnTo>
                  <a:lnTo>
                    <a:pt x="0" y="251984"/>
                  </a:lnTo>
                  <a:close/>
                  <a:moveTo>
                    <a:pt x="661514" y="213219"/>
                  </a:moveTo>
                  <a:lnTo>
                    <a:pt x="659911" y="201201"/>
                  </a:lnTo>
                  <a:cubicBezTo>
                    <a:pt x="628828" y="86376"/>
                    <a:pt x="494429" y="0"/>
                    <a:pt x="333342" y="0"/>
                  </a:cubicBezTo>
                  <a:cubicBezTo>
                    <a:pt x="172255" y="0"/>
                    <a:pt x="37855" y="86376"/>
                    <a:pt x="6773" y="201201"/>
                  </a:cubicBezTo>
                  <a:lnTo>
                    <a:pt x="5166" y="213245"/>
                  </a:lnTo>
                  <a:lnTo>
                    <a:pt x="6773" y="203953"/>
                  </a:lnTo>
                  <a:cubicBezTo>
                    <a:pt x="37856" y="115391"/>
                    <a:pt x="172255" y="48773"/>
                    <a:pt x="333343" y="48773"/>
                  </a:cubicBezTo>
                  <a:cubicBezTo>
                    <a:pt x="494430" y="48773"/>
                    <a:pt x="628829" y="115391"/>
                    <a:pt x="659911" y="203953"/>
                  </a:cubicBezTo>
                  <a:close/>
                  <a:moveTo>
                    <a:pt x="666684" y="271316"/>
                  </a:moveTo>
                  <a:lnTo>
                    <a:pt x="666684" y="271313"/>
                  </a:lnTo>
                  <a:lnTo>
                    <a:pt x="666684" y="271320"/>
                  </a:lnTo>
                  <a:close/>
                </a:path>
              </a:pathLst>
            </a:custGeom>
            <a:gradFill>
              <a:gsLst>
                <a:gs pos="85000">
                  <a:schemeClr val="bg1"/>
                </a:gs>
                <a:gs pos="37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817" name="Freeform: Shape 816">
              <a:extLst>
                <a:ext uri="{FF2B5EF4-FFF2-40B4-BE49-F238E27FC236}">
                  <a16:creationId xmlns:a16="http://schemas.microsoft.com/office/drawing/2014/main" id="{5144B8A2-6A19-43ED-9D95-1CC8C1F614A2}"/>
                </a:ext>
              </a:extLst>
            </p:cNvPr>
            <p:cNvSpPr/>
            <p:nvPr/>
          </p:nvSpPr>
          <p:spPr bwMode="gray">
            <a:xfrm rot="7200000" flipH="1">
              <a:off x="9903138" y="2514009"/>
              <a:ext cx="233618" cy="480125"/>
            </a:xfrm>
            <a:custGeom>
              <a:avLst/>
              <a:gdLst>
                <a:gd name="connsiteX0" fmla="*/ 223541 w 233618"/>
                <a:gd name="connsiteY0" fmla="*/ 438697 h 480125"/>
                <a:gd name="connsiteX1" fmla="*/ 232684 w 233618"/>
                <a:gd name="connsiteY1" fmla="*/ 412294 h 480125"/>
                <a:gd name="connsiteX2" fmla="*/ 232684 w 233618"/>
                <a:gd name="connsiteY2" fmla="*/ 379749 h 480125"/>
                <a:gd name="connsiteX3" fmla="*/ 232684 w 233618"/>
                <a:gd name="connsiteY3" fmla="*/ 370085 h 480125"/>
                <a:gd name="connsiteX4" fmla="*/ 232684 w 233618"/>
                <a:gd name="connsiteY4" fmla="*/ 368182 h 480125"/>
                <a:gd name="connsiteX5" fmla="*/ 232684 w 233618"/>
                <a:gd name="connsiteY5" fmla="*/ 316933 h 480125"/>
                <a:gd name="connsiteX6" fmla="*/ 232684 w 233618"/>
                <a:gd name="connsiteY6" fmla="*/ 309174 h 480125"/>
                <a:gd name="connsiteX7" fmla="*/ 232684 w 233618"/>
                <a:gd name="connsiteY7" fmla="*/ 257925 h 480125"/>
                <a:gd name="connsiteX8" fmla="*/ 232684 w 233618"/>
                <a:gd name="connsiteY8" fmla="*/ 246359 h 480125"/>
                <a:gd name="connsiteX9" fmla="*/ 232684 w 233618"/>
                <a:gd name="connsiteY9" fmla="*/ 227641 h 480125"/>
                <a:gd name="connsiteX10" fmla="*/ 233618 w 233618"/>
                <a:gd name="connsiteY10" fmla="*/ 224945 h 480125"/>
                <a:gd name="connsiteX11" fmla="*/ 233618 w 233618"/>
                <a:gd name="connsiteY11" fmla="*/ 192399 h 480125"/>
                <a:gd name="connsiteX12" fmla="*/ 233618 w 233618"/>
                <a:gd name="connsiteY12" fmla="*/ 182736 h 480125"/>
                <a:gd name="connsiteX13" fmla="*/ 233617 w 233618"/>
                <a:gd name="connsiteY13" fmla="*/ 180833 h 480125"/>
                <a:gd name="connsiteX14" fmla="*/ 233617 w 233618"/>
                <a:gd name="connsiteY14" fmla="*/ 129584 h 480125"/>
                <a:gd name="connsiteX15" fmla="*/ 233618 w 233618"/>
                <a:gd name="connsiteY15" fmla="*/ 121824 h 480125"/>
                <a:gd name="connsiteX16" fmla="*/ 233617 w 233618"/>
                <a:gd name="connsiteY16" fmla="*/ 70575 h 480125"/>
                <a:gd name="connsiteX17" fmla="*/ 233618 w 233618"/>
                <a:gd name="connsiteY17" fmla="*/ 59009 h 480125"/>
                <a:gd name="connsiteX18" fmla="*/ 233618 w 233618"/>
                <a:gd name="connsiteY18" fmla="*/ 0 h 480125"/>
                <a:gd name="connsiteX19" fmla="*/ 117276 w 233618"/>
                <a:gd name="connsiteY19" fmla="*/ 67831 h 480125"/>
                <a:gd name="connsiteX20" fmla="*/ 934 w 233618"/>
                <a:gd name="connsiteY20" fmla="*/ 0 h 480125"/>
                <a:gd name="connsiteX21" fmla="*/ 934 w 233618"/>
                <a:gd name="connsiteY21" fmla="*/ 59009 h 480125"/>
                <a:gd name="connsiteX22" fmla="*/ 934 w 233618"/>
                <a:gd name="connsiteY22" fmla="*/ 70576 h 480125"/>
                <a:gd name="connsiteX23" fmla="*/ 934 w 233618"/>
                <a:gd name="connsiteY23" fmla="*/ 121825 h 480125"/>
                <a:gd name="connsiteX24" fmla="*/ 935 w 233618"/>
                <a:gd name="connsiteY24" fmla="*/ 129583 h 480125"/>
                <a:gd name="connsiteX25" fmla="*/ 934 w 233618"/>
                <a:gd name="connsiteY25" fmla="*/ 180832 h 480125"/>
                <a:gd name="connsiteX26" fmla="*/ 934 w 233618"/>
                <a:gd name="connsiteY26" fmla="*/ 182736 h 480125"/>
                <a:gd name="connsiteX27" fmla="*/ 934 w 233618"/>
                <a:gd name="connsiteY27" fmla="*/ 190049 h 480125"/>
                <a:gd name="connsiteX28" fmla="*/ 0 w 233618"/>
                <a:gd name="connsiteY28" fmla="*/ 187350 h 480125"/>
                <a:gd name="connsiteX29" fmla="*/ 0 w 233618"/>
                <a:gd name="connsiteY29" fmla="*/ 246359 h 480125"/>
                <a:gd name="connsiteX30" fmla="*/ 0 w 233618"/>
                <a:gd name="connsiteY30" fmla="*/ 257925 h 480125"/>
                <a:gd name="connsiteX31" fmla="*/ 0 w 233618"/>
                <a:gd name="connsiteY31" fmla="*/ 309174 h 480125"/>
                <a:gd name="connsiteX32" fmla="*/ 0 w 233618"/>
                <a:gd name="connsiteY32" fmla="*/ 316933 h 480125"/>
                <a:gd name="connsiteX33" fmla="*/ 0 w 233618"/>
                <a:gd name="connsiteY33" fmla="*/ 368182 h 480125"/>
                <a:gd name="connsiteX34" fmla="*/ 0 w 233618"/>
                <a:gd name="connsiteY34" fmla="*/ 370085 h 480125"/>
                <a:gd name="connsiteX35" fmla="*/ 0 w 233618"/>
                <a:gd name="connsiteY35" fmla="*/ 379749 h 480125"/>
                <a:gd name="connsiteX36" fmla="*/ 0 w 233618"/>
                <a:gd name="connsiteY36" fmla="*/ 412294 h 480125"/>
                <a:gd name="connsiteX37" fmla="*/ 116342 w 233618"/>
                <a:gd name="connsiteY37" fmla="*/ 480125 h 480125"/>
                <a:gd name="connsiteX38" fmla="*/ 223541 w 233618"/>
                <a:gd name="connsiteY38" fmla="*/ 438697 h 48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3618" h="480125">
                  <a:moveTo>
                    <a:pt x="223541" y="438697"/>
                  </a:moveTo>
                  <a:cubicBezTo>
                    <a:pt x="229429" y="430582"/>
                    <a:pt x="232684" y="421660"/>
                    <a:pt x="232684" y="412294"/>
                  </a:cubicBezTo>
                  <a:lnTo>
                    <a:pt x="232684" y="379749"/>
                  </a:lnTo>
                  <a:lnTo>
                    <a:pt x="232684" y="370085"/>
                  </a:lnTo>
                  <a:lnTo>
                    <a:pt x="232684" y="368182"/>
                  </a:lnTo>
                  <a:lnTo>
                    <a:pt x="232684" y="316933"/>
                  </a:lnTo>
                  <a:lnTo>
                    <a:pt x="232684" y="309174"/>
                  </a:lnTo>
                  <a:lnTo>
                    <a:pt x="232684" y="257925"/>
                  </a:lnTo>
                  <a:lnTo>
                    <a:pt x="232684" y="246359"/>
                  </a:lnTo>
                  <a:lnTo>
                    <a:pt x="232684" y="227641"/>
                  </a:lnTo>
                  <a:lnTo>
                    <a:pt x="233618" y="224945"/>
                  </a:lnTo>
                  <a:lnTo>
                    <a:pt x="233618" y="192399"/>
                  </a:lnTo>
                  <a:lnTo>
                    <a:pt x="233618" y="182736"/>
                  </a:lnTo>
                  <a:lnTo>
                    <a:pt x="233617" y="180833"/>
                  </a:lnTo>
                  <a:lnTo>
                    <a:pt x="233617" y="129584"/>
                  </a:lnTo>
                  <a:lnTo>
                    <a:pt x="233618" y="121824"/>
                  </a:lnTo>
                  <a:lnTo>
                    <a:pt x="233617" y="70575"/>
                  </a:lnTo>
                  <a:lnTo>
                    <a:pt x="233618" y="59009"/>
                  </a:lnTo>
                  <a:lnTo>
                    <a:pt x="233618" y="0"/>
                  </a:lnTo>
                  <a:cubicBezTo>
                    <a:pt x="233618" y="37462"/>
                    <a:pt x="181530" y="67831"/>
                    <a:pt x="117276" y="67831"/>
                  </a:cubicBezTo>
                  <a:cubicBezTo>
                    <a:pt x="53022" y="67831"/>
                    <a:pt x="934" y="37462"/>
                    <a:pt x="934" y="0"/>
                  </a:cubicBezTo>
                  <a:lnTo>
                    <a:pt x="934" y="59009"/>
                  </a:lnTo>
                  <a:lnTo>
                    <a:pt x="934" y="70576"/>
                  </a:lnTo>
                  <a:lnTo>
                    <a:pt x="934" y="121825"/>
                  </a:lnTo>
                  <a:lnTo>
                    <a:pt x="935" y="129583"/>
                  </a:lnTo>
                  <a:lnTo>
                    <a:pt x="934" y="180832"/>
                  </a:lnTo>
                  <a:lnTo>
                    <a:pt x="934" y="182736"/>
                  </a:lnTo>
                  <a:lnTo>
                    <a:pt x="934" y="190049"/>
                  </a:lnTo>
                  <a:lnTo>
                    <a:pt x="0" y="187350"/>
                  </a:lnTo>
                  <a:lnTo>
                    <a:pt x="0" y="246359"/>
                  </a:lnTo>
                  <a:lnTo>
                    <a:pt x="0" y="257925"/>
                  </a:lnTo>
                  <a:lnTo>
                    <a:pt x="0" y="309174"/>
                  </a:lnTo>
                  <a:lnTo>
                    <a:pt x="0" y="316933"/>
                  </a:lnTo>
                  <a:lnTo>
                    <a:pt x="0" y="368182"/>
                  </a:lnTo>
                  <a:lnTo>
                    <a:pt x="0" y="370085"/>
                  </a:lnTo>
                  <a:lnTo>
                    <a:pt x="0" y="379749"/>
                  </a:lnTo>
                  <a:lnTo>
                    <a:pt x="0" y="412294"/>
                  </a:lnTo>
                  <a:cubicBezTo>
                    <a:pt x="0" y="449756"/>
                    <a:pt x="52088" y="480125"/>
                    <a:pt x="116342" y="480125"/>
                  </a:cubicBezTo>
                  <a:cubicBezTo>
                    <a:pt x="164533" y="480125"/>
                    <a:pt x="205880" y="463042"/>
                    <a:pt x="223541" y="438697"/>
                  </a:cubicBezTo>
                  <a:close/>
                </a:path>
              </a:pathLst>
            </a:custGeom>
            <a:gradFill>
              <a:gsLst>
                <a:gs pos="0">
                  <a:schemeClr val="accent4"/>
                </a:gs>
                <a:gs pos="54000">
                  <a:schemeClr val="bg1"/>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819" name="Cylinder 818">
            <a:extLst>
              <a:ext uri="{FF2B5EF4-FFF2-40B4-BE49-F238E27FC236}">
                <a16:creationId xmlns:a16="http://schemas.microsoft.com/office/drawing/2014/main" id="{CCC35EBB-61FA-45B3-80F2-9F1F0B8BF21E}"/>
              </a:ext>
            </a:extLst>
          </p:cNvPr>
          <p:cNvSpPr/>
          <p:nvPr/>
        </p:nvSpPr>
        <p:spPr bwMode="gray">
          <a:xfrm>
            <a:off x="10948063" y="3104837"/>
            <a:ext cx="81425" cy="283794"/>
          </a:xfrm>
          <a:prstGeom prst="can">
            <a:avLst>
              <a:gd name="adj" fmla="val 71299"/>
            </a:avLst>
          </a:prstGeom>
          <a:gradFill flip="none" rotWithShape="1">
            <a:gsLst>
              <a:gs pos="100000">
                <a:schemeClr val="accent2">
                  <a:lumMod val="0"/>
                  <a:lumOff val="100000"/>
                </a:schemeClr>
              </a:gs>
              <a:gs pos="43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nvGrpSpPr>
          <p:cNvPr id="809" name="Group 808">
            <a:extLst>
              <a:ext uri="{FF2B5EF4-FFF2-40B4-BE49-F238E27FC236}">
                <a16:creationId xmlns:a16="http://schemas.microsoft.com/office/drawing/2014/main" id="{39BDE8FD-25F6-49D9-AC67-8EAC951CCC91}"/>
              </a:ext>
            </a:extLst>
          </p:cNvPr>
          <p:cNvGrpSpPr/>
          <p:nvPr/>
        </p:nvGrpSpPr>
        <p:grpSpPr bwMode="gray">
          <a:xfrm>
            <a:off x="10589919" y="2748482"/>
            <a:ext cx="540292" cy="463028"/>
            <a:chOff x="9779884" y="2533266"/>
            <a:chExt cx="540292" cy="463028"/>
          </a:xfrm>
        </p:grpSpPr>
        <p:sp>
          <p:nvSpPr>
            <p:cNvPr id="807" name="Oval 386">
              <a:extLst>
                <a:ext uri="{FF2B5EF4-FFF2-40B4-BE49-F238E27FC236}">
                  <a16:creationId xmlns:a16="http://schemas.microsoft.com/office/drawing/2014/main" id="{AC07241B-DF3D-4E45-A2AB-FFD5B7564903}"/>
                </a:ext>
              </a:extLst>
            </p:cNvPr>
            <p:cNvSpPr/>
            <p:nvPr/>
          </p:nvSpPr>
          <p:spPr bwMode="gray">
            <a:xfrm rot="7200000" flipH="1">
              <a:off x="10122572" y="2798691"/>
              <a:ext cx="232683" cy="162524"/>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13000">
                  <a:schemeClr val="accent2">
                    <a:lumMod val="0"/>
                    <a:lumOff val="100000"/>
                  </a:schemeClr>
                </a:gs>
                <a:gs pos="59000">
                  <a:schemeClr val="accent4"/>
                </a:gs>
              </a:gsLst>
              <a:path path="circle">
                <a:fillToRect l="100000" t="100000"/>
              </a:path>
              <a:tileRect r="-100000" b="-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97" name="Freeform: Shape 796">
              <a:extLst>
                <a:ext uri="{FF2B5EF4-FFF2-40B4-BE49-F238E27FC236}">
                  <a16:creationId xmlns:a16="http://schemas.microsoft.com/office/drawing/2014/main" id="{2F76C6D9-D5CF-41A9-A710-F7020BA123BE}"/>
                </a:ext>
              </a:extLst>
            </p:cNvPr>
            <p:cNvSpPr/>
            <p:nvPr/>
          </p:nvSpPr>
          <p:spPr bwMode="gray">
            <a:xfrm rot="18000000">
              <a:off x="9721733" y="2602260"/>
              <a:ext cx="232684" cy="94695"/>
            </a:xfrm>
            <a:custGeom>
              <a:avLst/>
              <a:gdLst>
                <a:gd name="connsiteX0" fmla="*/ 1 w 666684"/>
                <a:gd name="connsiteY0" fmla="*/ 251989 h 271320"/>
                <a:gd name="connsiteX1" fmla="*/ 1 w 666684"/>
                <a:gd name="connsiteY1" fmla="*/ 251980 h 271320"/>
                <a:gd name="connsiteX2" fmla="*/ 0 w 666684"/>
                <a:gd name="connsiteY2" fmla="*/ 251984 h 271320"/>
                <a:gd name="connsiteX3" fmla="*/ 661514 w 666684"/>
                <a:gd name="connsiteY3" fmla="*/ 213219 h 271320"/>
                <a:gd name="connsiteX4" fmla="*/ 659911 w 666684"/>
                <a:gd name="connsiteY4" fmla="*/ 201201 h 271320"/>
                <a:gd name="connsiteX5" fmla="*/ 333342 w 666684"/>
                <a:gd name="connsiteY5" fmla="*/ 0 h 271320"/>
                <a:gd name="connsiteX6" fmla="*/ 6773 w 666684"/>
                <a:gd name="connsiteY6" fmla="*/ 201201 h 271320"/>
                <a:gd name="connsiteX7" fmla="*/ 5166 w 666684"/>
                <a:gd name="connsiteY7" fmla="*/ 213245 h 271320"/>
                <a:gd name="connsiteX8" fmla="*/ 6773 w 666684"/>
                <a:gd name="connsiteY8" fmla="*/ 203953 h 271320"/>
                <a:gd name="connsiteX9" fmla="*/ 333343 w 666684"/>
                <a:gd name="connsiteY9" fmla="*/ 48773 h 271320"/>
                <a:gd name="connsiteX10" fmla="*/ 659911 w 666684"/>
                <a:gd name="connsiteY10" fmla="*/ 203953 h 271320"/>
                <a:gd name="connsiteX11" fmla="*/ 666684 w 666684"/>
                <a:gd name="connsiteY11" fmla="*/ 271316 h 271320"/>
                <a:gd name="connsiteX12" fmla="*/ 666684 w 666684"/>
                <a:gd name="connsiteY12" fmla="*/ 271313 h 271320"/>
                <a:gd name="connsiteX13" fmla="*/ 666684 w 666684"/>
                <a:gd name="connsiteY13" fmla="*/ 271320 h 271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684" h="271320">
                  <a:moveTo>
                    <a:pt x="1" y="251989"/>
                  </a:moveTo>
                  <a:lnTo>
                    <a:pt x="1" y="251980"/>
                  </a:lnTo>
                  <a:lnTo>
                    <a:pt x="0" y="251984"/>
                  </a:lnTo>
                  <a:close/>
                  <a:moveTo>
                    <a:pt x="661514" y="213219"/>
                  </a:moveTo>
                  <a:lnTo>
                    <a:pt x="659911" y="201201"/>
                  </a:lnTo>
                  <a:cubicBezTo>
                    <a:pt x="628828" y="86376"/>
                    <a:pt x="494429" y="0"/>
                    <a:pt x="333342" y="0"/>
                  </a:cubicBezTo>
                  <a:cubicBezTo>
                    <a:pt x="172255" y="0"/>
                    <a:pt x="37855" y="86376"/>
                    <a:pt x="6773" y="201201"/>
                  </a:cubicBezTo>
                  <a:lnTo>
                    <a:pt x="5166" y="213245"/>
                  </a:lnTo>
                  <a:lnTo>
                    <a:pt x="6773" y="203953"/>
                  </a:lnTo>
                  <a:cubicBezTo>
                    <a:pt x="37856" y="115391"/>
                    <a:pt x="172255" y="48773"/>
                    <a:pt x="333343" y="48773"/>
                  </a:cubicBezTo>
                  <a:cubicBezTo>
                    <a:pt x="494430" y="48773"/>
                    <a:pt x="628829" y="115391"/>
                    <a:pt x="659911" y="203953"/>
                  </a:cubicBezTo>
                  <a:close/>
                  <a:moveTo>
                    <a:pt x="666684" y="271316"/>
                  </a:moveTo>
                  <a:lnTo>
                    <a:pt x="666684" y="271313"/>
                  </a:lnTo>
                  <a:lnTo>
                    <a:pt x="666684" y="271320"/>
                  </a:lnTo>
                  <a:close/>
                </a:path>
              </a:pathLst>
            </a:custGeom>
            <a:gradFill>
              <a:gsLst>
                <a:gs pos="85000">
                  <a:schemeClr val="bg1"/>
                </a:gs>
                <a:gs pos="37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808" name="Freeform: Shape 807">
              <a:extLst>
                <a:ext uri="{FF2B5EF4-FFF2-40B4-BE49-F238E27FC236}">
                  <a16:creationId xmlns:a16="http://schemas.microsoft.com/office/drawing/2014/main" id="{90FF7509-378F-4EC0-9150-EEECDA71ECDF}"/>
                </a:ext>
              </a:extLst>
            </p:cNvPr>
            <p:cNvSpPr/>
            <p:nvPr/>
          </p:nvSpPr>
          <p:spPr bwMode="gray">
            <a:xfrm rot="7200000" flipH="1">
              <a:off x="9903138" y="2514009"/>
              <a:ext cx="233618" cy="480125"/>
            </a:xfrm>
            <a:custGeom>
              <a:avLst/>
              <a:gdLst>
                <a:gd name="connsiteX0" fmla="*/ 223541 w 233618"/>
                <a:gd name="connsiteY0" fmla="*/ 438697 h 480125"/>
                <a:gd name="connsiteX1" fmla="*/ 232684 w 233618"/>
                <a:gd name="connsiteY1" fmla="*/ 412294 h 480125"/>
                <a:gd name="connsiteX2" fmla="*/ 232684 w 233618"/>
                <a:gd name="connsiteY2" fmla="*/ 379749 h 480125"/>
                <a:gd name="connsiteX3" fmla="*/ 232684 w 233618"/>
                <a:gd name="connsiteY3" fmla="*/ 370085 h 480125"/>
                <a:gd name="connsiteX4" fmla="*/ 232684 w 233618"/>
                <a:gd name="connsiteY4" fmla="*/ 368182 h 480125"/>
                <a:gd name="connsiteX5" fmla="*/ 232684 w 233618"/>
                <a:gd name="connsiteY5" fmla="*/ 316933 h 480125"/>
                <a:gd name="connsiteX6" fmla="*/ 232684 w 233618"/>
                <a:gd name="connsiteY6" fmla="*/ 309174 h 480125"/>
                <a:gd name="connsiteX7" fmla="*/ 232684 w 233618"/>
                <a:gd name="connsiteY7" fmla="*/ 257925 h 480125"/>
                <a:gd name="connsiteX8" fmla="*/ 232684 w 233618"/>
                <a:gd name="connsiteY8" fmla="*/ 246359 h 480125"/>
                <a:gd name="connsiteX9" fmla="*/ 232684 w 233618"/>
                <a:gd name="connsiteY9" fmla="*/ 227641 h 480125"/>
                <a:gd name="connsiteX10" fmla="*/ 233618 w 233618"/>
                <a:gd name="connsiteY10" fmla="*/ 224945 h 480125"/>
                <a:gd name="connsiteX11" fmla="*/ 233618 w 233618"/>
                <a:gd name="connsiteY11" fmla="*/ 192399 h 480125"/>
                <a:gd name="connsiteX12" fmla="*/ 233618 w 233618"/>
                <a:gd name="connsiteY12" fmla="*/ 182736 h 480125"/>
                <a:gd name="connsiteX13" fmla="*/ 233617 w 233618"/>
                <a:gd name="connsiteY13" fmla="*/ 180833 h 480125"/>
                <a:gd name="connsiteX14" fmla="*/ 233617 w 233618"/>
                <a:gd name="connsiteY14" fmla="*/ 129584 h 480125"/>
                <a:gd name="connsiteX15" fmla="*/ 233618 w 233618"/>
                <a:gd name="connsiteY15" fmla="*/ 121824 h 480125"/>
                <a:gd name="connsiteX16" fmla="*/ 233617 w 233618"/>
                <a:gd name="connsiteY16" fmla="*/ 70575 h 480125"/>
                <a:gd name="connsiteX17" fmla="*/ 233618 w 233618"/>
                <a:gd name="connsiteY17" fmla="*/ 59009 h 480125"/>
                <a:gd name="connsiteX18" fmla="*/ 233618 w 233618"/>
                <a:gd name="connsiteY18" fmla="*/ 0 h 480125"/>
                <a:gd name="connsiteX19" fmla="*/ 117276 w 233618"/>
                <a:gd name="connsiteY19" fmla="*/ 67831 h 480125"/>
                <a:gd name="connsiteX20" fmla="*/ 934 w 233618"/>
                <a:gd name="connsiteY20" fmla="*/ 0 h 480125"/>
                <a:gd name="connsiteX21" fmla="*/ 934 w 233618"/>
                <a:gd name="connsiteY21" fmla="*/ 59009 h 480125"/>
                <a:gd name="connsiteX22" fmla="*/ 934 w 233618"/>
                <a:gd name="connsiteY22" fmla="*/ 70576 h 480125"/>
                <a:gd name="connsiteX23" fmla="*/ 934 w 233618"/>
                <a:gd name="connsiteY23" fmla="*/ 121825 h 480125"/>
                <a:gd name="connsiteX24" fmla="*/ 935 w 233618"/>
                <a:gd name="connsiteY24" fmla="*/ 129583 h 480125"/>
                <a:gd name="connsiteX25" fmla="*/ 934 w 233618"/>
                <a:gd name="connsiteY25" fmla="*/ 180832 h 480125"/>
                <a:gd name="connsiteX26" fmla="*/ 934 w 233618"/>
                <a:gd name="connsiteY26" fmla="*/ 182736 h 480125"/>
                <a:gd name="connsiteX27" fmla="*/ 934 w 233618"/>
                <a:gd name="connsiteY27" fmla="*/ 190049 h 480125"/>
                <a:gd name="connsiteX28" fmla="*/ 0 w 233618"/>
                <a:gd name="connsiteY28" fmla="*/ 187350 h 480125"/>
                <a:gd name="connsiteX29" fmla="*/ 0 w 233618"/>
                <a:gd name="connsiteY29" fmla="*/ 246359 h 480125"/>
                <a:gd name="connsiteX30" fmla="*/ 0 w 233618"/>
                <a:gd name="connsiteY30" fmla="*/ 257925 h 480125"/>
                <a:gd name="connsiteX31" fmla="*/ 0 w 233618"/>
                <a:gd name="connsiteY31" fmla="*/ 309174 h 480125"/>
                <a:gd name="connsiteX32" fmla="*/ 0 w 233618"/>
                <a:gd name="connsiteY32" fmla="*/ 316933 h 480125"/>
                <a:gd name="connsiteX33" fmla="*/ 0 w 233618"/>
                <a:gd name="connsiteY33" fmla="*/ 368182 h 480125"/>
                <a:gd name="connsiteX34" fmla="*/ 0 w 233618"/>
                <a:gd name="connsiteY34" fmla="*/ 370085 h 480125"/>
                <a:gd name="connsiteX35" fmla="*/ 0 w 233618"/>
                <a:gd name="connsiteY35" fmla="*/ 379749 h 480125"/>
                <a:gd name="connsiteX36" fmla="*/ 0 w 233618"/>
                <a:gd name="connsiteY36" fmla="*/ 412294 h 480125"/>
                <a:gd name="connsiteX37" fmla="*/ 116342 w 233618"/>
                <a:gd name="connsiteY37" fmla="*/ 480125 h 480125"/>
                <a:gd name="connsiteX38" fmla="*/ 223541 w 233618"/>
                <a:gd name="connsiteY38" fmla="*/ 438697 h 48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3618" h="480125">
                  <a:moveTo>
                    <a:pt x="223541" y="438697"/>
                  </a:moveTo>
                  <a:cubicBezTo>
                    <a:pt x="229429" y="430582"/>
                    <a:pt x="232684" y="421660"/>
                    <a:pt x="232684" y="412294"/>
                  </a:cubicBezTo>
                  <a:lnTo>
                    <a:pt x="232684" y="379749"/>
                  </a:lnTo>
                  <a:lnTo>
                    <a:pt x="232684" y="370085"/>
                  </a:lnTo>
                  <a:lnTo>
                    <a:pt x="232684" y="368182"/>
                  </a:lnTo>
                  <a:lnTo>
                    <a:pt x="232684" y="316933"/>
                  </a:lnTo>
                  <a:lnTo>
                    <a:pt x="232684" y="309174"/>
                  </a:lnTo>
                  <a:lnTo>
                    <a:pt x="232684" y="257925"/>
                  </a:lnTo>
                  <a:lnTo>
                    <a:pt x="232684" y="246359"/>
                  </a:lnTo>
                  <a:lnTo>
                    <a:pt x="232684" y="227641"/>
                  </a:lnTo>
                  <a:lnTo>
                    <a:pt x="233618" y="224945"/>
                  </a:lnTo>
                  <a:lnTo>
                    <a:pt x="233618" y="192399"/>
                  </a:lnTo>
                  <a:lnTo>
                    <a:pt x="233618" y="182736"/>
                  </a:lnTo>
                  <a:lnTo>
                    <a:pt x="233617" y="180833"/>
                  </a:lnTo>
                  <a:lnTo>
                    <a:pt x="233617" y="129584"/>
                  </a:lnTo>
                  <a:lnTo>
                    <a:pt x="233618" y="121824"/>
                  </a:lnTo>
                  <a:lnTo>
                    <a:pt x="233617" y="70575"/>
                  </a:lnTo>
                  <a:lnTo>
                    <a:pt x="233618" y="59009"/>
                  </a:lnTo>
                  <a:lnTo>
                    <a:pt x="233618" y="0"/>
                  </a:lnTo>
                  <a:cubicBezTo>
                    <a:pt x="233618" y="37462"/>
                    <a:pt x="181530" y="67831"/>
                    <a:pt x="117276" y="67831"/>
                  </a:cubicBezTo>
                  <a:cubicBezTo>
                    <a:pt x="53022" y="67831"/>
                    <a:pt x="934" y="37462"/>
                    <a:pt x="934" y="0"/>
                  </a:cubicBezTo>
                  <a:lnTo>
                    <a:pt x="934" y="59009"/>
                  </a:lnTo>
                  <a:lnTo>
                    <a:pt x="934" y="70576"/>
                  </a:lnTo>
                  <a:lnTo>
                    <a:pt x="934" y="121825"/>
                  </a:lnTo>
                  <a:lnTo>
                    <a:pt x="935" y="129583"/>
                  </a:lnTo>
                  <a:lnTo>
                    <a:pt x="934" y="180832"/>
                  </a:lnTo>
                  <a:lnTo>
                    <a:pt x="934" y="182736"/>
                  </a:lnTo>
                  <a:lnTo>
                    <a:pt x="934" y="190049"/>
                  </a:lnTo>
                  <a:lnTo>
                    <a:pt x="0" y="187350"/>
                  </a:lnTo>
                  <a:lnTo>
                    <a:pt x="0" y="246359"/>
                  </a:lnTo>
                  <a:lnTo>
                    <a:pt x="0" y="257925"/>
                  </a:lnTo>
                  <a:lnTo>
                    <a:pt x="0" y="309174"/>
                  </a:lnTo>
                  <a:lnTo>
                    <a:pt x="0" y="316933"/>
                  </a:lnTo>
                  <a:lnTo>
                    <a:pt x="0" y="368182"/>
                  </a:lnTo>
                  <a:lnTo>
                    <a:pt x="0" y="370085"/>
                  </a:lnTo>
                  <a:lnTo>
                    <a:pt x="0" y="379749"/>
                  </a:lnTo>
                  <a:lnTo>
                    <a:pt x="0" y="412294"/>
                  </a:lnTo>
                  <a:cubicBezTo>
                    <a:pt x="0" y="449756"/>
                    <a:pt x="52088" y="480125"/>
                    <a:pt x="116342" y="480125"/>
                  </a:cubicBezTo>
                  <a:cubicBezTo>
                    <a:pt x="164533" y="480125"/>
                    <a:pt x="205880" y="463042"/>
                    <a:pt x="223541" y="438697"/>
                  </a:cubicBezTo>
                  <a:close/>
                </a:path>
              </a:pathLst>
            </a:custGeom>
            <a:gradFill>
              <a:gsLst>
                <a:gs pos="0">
                  <a:schemeClr val="accent4"/>
                </a:gs>
                <a:gs pos="54000">
                  <a:schemeClr val="bg1"/>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957" name="Group 956">
            <a:extLst>
              <a:ext uri="{FF2B5EF4-FFF2-40B4-BE49-F238E27FC236}">
                <a16:creationId xmlns:a16="http://schemas.microsoft.com/office/drawing/2014/main" id="{1E7C7C13-0A18-4235-9D13-D1D21E93D716}"/>
              </a:ext>
            </a:extLst>
          </p:cNvPr>
          <p:cNvGrpSpPr/>
          <p:nvPr/>
        </p:nvGrpSpPr>
        <p:grpSpPr bwMode="gray">
          <a:xfrm>
            <a:off x="9572754" y="3928086"/>
            <a:ext cx="1062949" cy="1324130"/>
            <a:chOff x="8662706" y="3768432"/>
            <a:chExt cx="1062949" cy="1324130"/>
          </a:xfrm>
        </p:grpSpPr>
        <p:grpSp>
          <p:nvGrpSpPr>
            <p:cNvPr id="874" name="Group 873">
              <a:extLst>
                <a:ext uri="{FF2B5EF4-FFF2-40B4-BE49-F238E27FC236}">
                  <a16:creationId xmlns:a16="http://schemas.microsoft.com/office/drawing/2014/main" id="{E602CAD9-79CF-433F-80B4-D82D1F8F4C4C}"/>
                </a:ext>
              </a:extLst>
            </p:cNvPr>
            <p:cNvGrpSpPr>
              <a:grpSpLocks noChangeAspect="1"/>
            </p:cNvGrpSpPr>
            <p:nvPr/>
          </p:nvGrpSpPr>
          <p:grpSpPr bwMode="gray">
            <a:xfrm>
              <a:off x="9465583" y="3768432"/>
              <a:ext cx="260072" cy="869376"/>
              <a:chOff x="12676185" y="-2160831"/>
              <a:chExt cx="1918718" cy="6413936"/>
            </a:xfrm>
          </p:grpSpPr>
          <p:sp>
            <p:nvSpPr>
              <p:cNvPr id="879" name="Freeform: Shape 878">
                <a:extLst>
                  <a:ext uri="{FF2B5EF4-FFF2-40B4-BE49-F238E27FC236}">
                    <a16:creationId xmlns:a16="http://schemas.microsoft.com/office/drawing/2014/main" id="{A4F82839-36D3-4F6C-A7A9-9FDC60119258}"/>
                  </a:ext>
                </a:extLst>
              </p:cNvPr>
              <p:cNvSpPr/>
              <p:nvPr/>
            </p:nvSpPr>
            <p:spPr bwMode="gray">
              <a:xfrm>
                <a:off x="12676197" y="-1380013"/>
                <a:ext cx="1918706" cy="5633118"/>
              </a:xfrm>
              <a:custGeom>
                <a:avLst/>
                <a:gdLst>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581962 h 5633118"/>
                  <a:gd name="connsiteX6" fmla="*/ 1918706 w 1918706"/>
                  <a:gd name="connsiteY6" fmla="*/ 981092 h 5633118"/>
                  <a:gd name="connsiteX7" fmla="*/ 1918706 w 1918706"/>
                  <a:gd name="connsiteY7" fmla="*/ 1004563 h 5633118"/>
                  <a:gd name="connsiteX8" fmla="*/ 1918706 w 1918706"/>
                  <a:gd name="connsiteY8" fmla="*/ 1068547 h 5633118"/>
                  <a:gd name="connsiteX9" fmla="*/ 1918706 w 1918706"/>
                  <a:gd name="connsiteY9" fmla="*/ 1076469 h 5633118"/>
                  <a:gd name="connsiteX10" fmla="*/ 1918706 w 1918706"/>
                  <a:gd name="connsiteY10" fmla="*/ 1491148 h 5633118"/>
                  <a:gd name="connsiteX11" fmla="*/ 1918706 w 1918706"/>
                  <a:gd name="connsiteY11" fmla="*/ 1499070 h 5633118"/>
                  <a:gd name="connsiteX12" fmla="*/ 1918706 w 1918706"/>
                  <a:gd name="connsiteY12" fmla="*/ 1506844 h 5633118"/>
                  <a:gd name="connsiteX13" fmla="*/ 1918706 w 1918706"/>
                  <a:gd name="connsiteY13" fmla="*/ 1563054 h 5633118"/>
                  <a:gd name="connsiteX14" fmla="*/ 1918706 w 1918706"/>
                  <a:gd name="connsiteY14" fmla="*/ 1586524 h 5633118"/>
                  <a:gd name="connsiteX15" fmla="*/ 1918706 w 1918706"/>
                  <a:gd name="connsiteY15" fmla="*/ 1985655 h 5633118"/>
                  <a:gd name="connsiteX16" fmla="*/ 1918706 w 1918706"/>
                  <a:gd name="connsiteY16" fmla="*/ 2001351 h 5633118"/>
                  <a:gd name="connsiteX17" fmla="*/ 1918706 w 1918706"/>
                  <a:gd name="connsiteY17" fmla="*/ 2009125 h 5633118"/>
                  <a:gd name="connsiteX18" fmla="*/ 1918706 w 1918706"/>
                  <a:gd name="connsiteY18" fmla="*/ 2073109 h 5633118"/>
                  <a:gd name="connsiteX19" fmla="*/ 1918706 w 1918706"/>
                  <a:gd name="connsiteY19" fmla="*/ 2081031 h 5633118"/>
                  <a:gd name="connsiteX20" fmla="*/ 1918706 w 1918706"/>
                  <a:gd name="connsiteY20" fmla="*/ 2088805 h 5633118"/>
                  <a:gd name="connsiteX21" fmla="*/ 1918706 w 1918706"/>
                  <a:gd name="connsiteY21" fmla="*/ 2503632 h 5633118"/>
                  <a:gd name="connsiteX22" fmla="*/ 1918706 w 1918706"/>
                  <a:gd name="connsiteY22" fmla="*/ 2511407 h 5633118"/>
                  <a:gd name="connsiteX23" fmla="*/ 1918706 w 1918706"/>
                  <a:gd name="connsiteY23" fmla="*/ 2567616 h 5633118"/>
                  <a:gd name="connsiteX24" fmla="*/ 1918706 w 1918706"/>
                  <a:gd name="connsiteY24" fmla="*/ 2583313 h 5633118"/>
                  <a:gd name="connsiteX25" fmla="*/ 1918706 w 1918706"/>
                  <a:gd name="connsiteY25" fmla="*/ 2591087 h 5633118"/>
                  <a:gd name="connsiteX26" fmla="*/ 1918706 w 1918706"/>
                  <a:gd name="connsiteY26" fmla="*/ 2992759 h 5633118"/>
                  <a:gd name="connsiteX27" fmla="*/ 1918706 w 1918706"/>
                  <a:gd name="connsiteY27" fmla="*/ 3005914 h 5633118"/>
                  <a:gd name="connsiteX28" fmla="*/ 1918706 w 1918706"/>
                  <a:gd name="connsiteY28" fmla="*/ 3013688 h 5633118"/>
                  <a:gd name="connsiteX29" fmla="*/ 1918706 w 1918706"/>
                  <a:gd name="connsiteY29" fmla="*/ 3085594 h 5633118"/>
                  <a:gd name="connsiteX30" fmla="*/ 1918706 w 1918706"/>
                  <a:gd name="connsiteY30" fmla="*/ 3093368 h 5633118"/>
                  <a:gd name="connsiteX31" fmla="*/ 1918706 w 1918706"/>
                  <a:gd name="connsiteY31" fmla="*/ 3487266 h 5633118"/>
                  <a:gd name="connsiteX32" fmla="*/ 1918706 w 1918706"/>
                  <a:gd name="connsiteY32" fmla="*/ 3508195 h 5633118"/>
                  <a:gd name="connsiteX33" fmla="*/ 1918706 w 1918706"/>
                  <a:gd name="connsiteY33" fmla="*/ 3515969 h 5633118"/>
                  <a:gd name="connsiteX34" fmla="*/ 1918706 w 1918706"/>
                  <a:gd name="connsiteY34" fmla="*/ 3574721 h 5633118"/>
                  <a:gd name="connsiteX35" fmla="*/ 1918706 w 1918706"/>
                  <a:gd name="connsiteY35" fmla="*/ 3587875 h 5633118"/>
                  <a:gd name="connsiteX36" fmla="*/ 1918706 w 1918706"/>
                  <a:gd name="connsiteY36" fmla="*/ 3595649 h 5633118"/>
                  <a:gd name="connsiteX37" fmla="*/ 1918706 w 1918706"/>
                  <a:gd name="connsiteY37" fmla="*/ 3997322 h 5633118"/>
                  <a:gd name="connsiteX38" fmla="*/ 1918706 w 1918706"/>
                  <a:gd name="connsiteY38" fmla="*/ 4010476 h 5633118"/>
                  <a:gd name="connsiteX39" fmla="*/ 1918706 w 1918706"/>
                  <a:gd name="connsiteY39" fmla="*/ 4069228 h 5633118"/>
                  <a:gd name="connsiteX40" fmla="*/ 1918706 w 1918706"/>
                  <a:gd name="connsiteY40" fmla="*/ 4090156 h 5633118"/>
                  <a:gd name="connsiteX41" fmla="*/ 1918706 w 1918706"/>
                  <a:gd name="connsiteY41" fmla="*/ 4097931 h 5633118"/>
                  <a:gd name="connsiteX42" fmla="*/ 1918706 w 1918706"/>
                  <a:gd name="connsiteY42" fmla="*/ 4491829 h 5633118"/>
                  <a:gd name="connsiteX43" fmla="*/ 1918706 w 1918706"/>
                  <a:gd name="connsiteY43" fmla="*/ 4579284 h 5633118"/>
                  <a:gd name="connsiteX44" fmla="*/ 1918706 w 1918706"/>
                  <a:gd name="connsiteY44" fmla="*/ 4592438 h 5633118"/>
                  <a:gd name="connsiteX45" fmla="*/ 1918706 w 1918706"/>
                  <a:gd name="connsiteY45" fmla="*/ 5073791 h 5633118"/>
                  <a:gd name="connsiteX46" fmla="*/ 959355 w 1918706"/>
                  <a:gd name="connsiteY46" fmla="*/ 5633118 h 5633118"/>
                  <a:gd name="connsiteX47" fmla="*/ 0 w 1918706"/>
                  <a:gd name="connsiteY47" fmla="*/ 5073791 h 5633118"/>
                  <a:gd name="connsiteX48" fmla="*/ 0 w 1918706"/>
                  <a:gd name="connsiteY48" fmla="*/ 4592438 h 5633118"/>
                  <a:gd name="connsiteX49" fmla="*/ 0 w 1918706"/>
                  <a:gd name="connsiteY49" fmla="*/ 4579284 h 5633118"/>
                  <a:gd name="connsiteX50" fmla="*/ 0 w 1918706"/>
                  <a:gd name="connsiteY50" fmla="*/ 4491829 h 5633118"/>
                  <a:gd name="connsiteX51" fmla="*/ 0 w 1918706"/>
                  <a:gd name="connsiteY51" fmla="*/ 4097931 h 5633118"/>
                  <a:gd name="connsiteX52" fmla="*/ 0 w 1918706"/>
                  <a:gd name="connsiteY52" fmla="*/ 4090156 h 5633118"/>
                  <a:gd name="connsiteX53" fmla="*/ 0 w 1918706"/>
                  <a:gd name="connsiteY53" fmla="*/ 4069228 h 5633118"/>
                  <a:gd name="connsiteX54" fmla="*/ 0 w 1918706"/>
                  <a:gd name="connsiteY54" fmla="*/ 4010476 h 5633118"/>
                  <a:gd name="connsiteX55" fmla="*/ 0 w 1918706"/>
                  <a:gd name="connsiteY55" fmla="*/ 3997322 h 5633118"/>
                  <a:gd name="connsiteX56" fmla="*/ 0 w 1918706"/>
                  <a:gd name="connsiteY56" fmla="*/ 3595649 h 5633118"/>
                  <a:gd name="connsiteX57" fmla="*/ 0 w 1918706"/>
                  <a:gd name="connsiteY57" fmla="*/ 3587875 h 5633118"/>
                  <a:gd name="connsiteX58" fmla="*/ 0 w 1918706"/>
                  <a:gd name="connsiteY58" fmla="*/ 3574721 h 5633118"/>
                  <a:gd name="connsiteX59" fmla="*/ 0 w 1918706"/>
                  <a:gd name="connsiteY59" fmla="*/ 3515969 h 5633118"/>
                  <a:gd name="connsiteX60" fmla="*/ 0 w 1918706"/>
                  <a:gd name="connsiteY60" fmla="*/ 3508195 h 5633118"/>
                  <a:gd name="connsiteX61" fmla="*/ 0 w 1918706"/>
                  <a:gd name="connsiteY61" fmla="*/ 3487266 h 5633118"/>
                  <a:gd name="connsiteX62" fmla="*/ 0 w 1918706"/>
                  <a:gd name="connsiteY62" fmla="*/ 3093368 h 5633118"/>
                  <a:gd name="connsiteX63" fmla="*/ 0 w 1918706"/>
                  <a:gd name="connsiteY63" fmla="*/ 3085594 h 5633118"/>
                  <a:gd name="connsiteX64" fmla="*/ 0 w 1918706"/>
                  <a:gd name="connsiteY64" fmla="*/ 3013688 h 5633118"/>
                  <a:gd name="connsiteX65" fmla="*/ 0 w 1918706"/>
                  <a:gd name="connsiteY65" fmla="*/ 3005914 h 5633118"/>
                  <a:gd name="connsiteX66" fmla="*/ 0 w 1918706"/>
                  <a:gd name="connsiteY66" fmla="*/ 2992759 h 5633118"/>
                  <a:gd name="connsiteX67" fmla="*/ 0 w 1918706"/>
                  <a:gd name="connsiteY67" fmla="*/ 2591087 h 5633118"/>
                  <a:gd name="connsiteX68" fmla="*/ 0 w 1918706"/>
                  <a:gd name="connsiteY68" fmla="*/ 2583313 h 5633118"/>
                  <a:gd name="connsiteX69" fmla="*/ 0 w 1918706"/>
                  <a:gd name="connsiteY69" fmla="*/ 2567616 h 5633118"/>
                  <a:gd name="connsiteX70" fmla="*/ 0 w 1918706"/>
                  <a:gd name="connsiteY70" fmla="*/ 2511407 h 5633118"/>
                  <a:gd name="connsiteX71" fmla="*/ 0 w 1918706"/>
                  <a:gd name="connsiteY71" fmla="*/ 2503632 h 5633118"/>
                  <a:gd name="connsiteX72" fmla="*/ 0 w 1918706"/>
                  <a:gd name="connsiteY72" fmla="*/ 2088805 h 5633118"/>
                  <a:gd name="connsiteX73" fmla="*/ 0 w 1918706"/>
                  <a:gd name="connsiteY73" fmla="*/ 2081031 h 5633118"/>
                  <a:gd name="connsiteX74" fmla="*/ 0 w 1918706"/>
                  <a:gd name="connsiteY74" fmla="*/ 2073109 h 5633118"/>
                  <a:gd name="connsiteX75" fmla="*/ 0 w 1918706"/>
                  <a:gd name="connsiteY75" fmla="*/ 2009125 h 5633118"/>
                  <a:gd name="connsiteX76" fmla="*/ 0 w 1918706"/>
                  <a:gd name="connsiteY76" fmla="*/ 2001351 h 5633118"/>
                  <a:gd name="connsiteX77" fmla="*/ 0 w 1918706"/>
                  <a:gd name="connsiteY77" fmla="*/ 1985655 h 5633118"/>
                  <a:gd name="connsiteX78" fmla="*/ 0 w 1918706"/>
                  <a:gd name="connsiteY78" fmla="*/ 1586524 h 5633118"/>
                  <a:gd name="connsiteX79" fmla="*/ 0 w 1918706"/>
                  <a:gd name="connsiteY79" fmla="*/ 1563054 h 5633118"/>
                  <a:gd name="connsiteX80" fmla="*/ 0 w 1918706"/>
                  <a:gd name="connsiteY80" fmla="*/ 1506844 h 5633118"/>
                  <a:gd name="connsiteX81" fmla="*/ 0 w 1918706"/>
                  <a:gd name="connsiteY81" fmla="*/ 1499070 h 5633118"/>
                  <a:gd name="connsiteX82" fmla="*/ 0 w 1918706"/>
                  <a:gd name="connsiteY82" fmla="*/ 1491148 h 5633118"/>
                  <a:gd name="connsiteX83" fmla="*/ 0 w 1918706"/>
                  <a:gd name="connsiteY83" fmla="*/ 1076469 h 5633118"/>
                  <a:gd name="connsiteX84" fmla="*/ 0 w 1918706"/>
                  <a:gd name="connsiteY84" fmla="*/ 1068547 h 5633118"/>
                  <a:gd name="connsiteX85" fmla="*/ 0 w 1918706"/>
                  <a:gd name="connsiteY85" fmla="*/ 1004563 h 5633118"/>
                  <a:gd name="connsiteX86" fmla="*/ 0 w 1918706"/>
                  <a:gd name="connsiteY86" fmla="*/ 981092 h 5633118"/>
                  <a:gd name="connsiteX87" fmla="*/ 0 w 1918706"/>
                  <a:gd name="connsiteY87" fmla="*/ 581962 h 5633118"/>
                  <a:gd name="connsiteX88" fmla="*/ 0 w 1918706"/>
                  <a:gd name="connsiteY88" fmla="*/ 494507 h 5633118"/>
                  <a:gd name="connsiteX89" fmla="*/ 0 w 1918706"/>
                  <a:gd name="connsiteY89" fmla="*/ 486585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981092 h 5633118"/>
                  <a:gd name="connsiteX6" fmla="*/ 1918706 w 1918706"/>
                  <a:gd name="connsiteY6" fmla="*/ 1004563 h 5633118"/>
                  <a:gd name="connsiteX7" fmla="*/ 1918706 w 1918706"/>
                  <a:gd name="connsiteY7" fmla="*/ 1068547 h 5633118"/>
                  <a:gd name="connsiteX8" fmla="*/ 1918706 w 1918706"/>
                  <a:gd name="connsiteY8" fmla="*/ 1076469 h 5633118"/>
                  <a:gd name="connsiteX9" fmla="*/ 1918706 w 1918706"/>
                  <a:gd name="connsiteY9" fmla="*/ 1491148 h 5633118"/>
                  <a:gd name="connsiteX10" fmla="*/ 1918706 w 1918706"/>
                  <a:gd name="connsiteY10" fmla="*/ 1499070 h 5633118"/>
                  <a:gd name="connsiteX11" fmla="*/ 1918706 w 1918706"/>
                  <a:gd name="connsiteY11" fmla="*/ 1506844 h 5633118"/>
                  <a:gd name="connsiteX12" fmla="*/ 1918706 w 1918706"/>
                  <a:gd name="connsiteY12" fmla="*/ 1563054 h 5633118"/>
                  <a:gd name="connsiteX13" fmla="*/ 1918706 w 1918706"/>
                  <a:gd name="connsiteY13" fmla="*/ 1586524 h 5633118"/>
                  <a:gd name="connsiteX14" fmla="*/ 1918706 w 1918706"/>
                  <a:gd name="connsiteY14" fmla="*/ 1985655 h 5633118"/>
                  <a:gd name="connsiteX15" fmla="*/ 1918706 w 1918706"/>
                  <a:gd name="connsiteY15" fmla="*/ 2001351 h 5633118"/>
                  <a:gd name="connsiteX16" fmla="*/ 1918706 w 1918706"/>
                  <a:gd name="connsiteY16" fmla="*/ 2009125 h 5633118"/>
                  <a:gd name="connsiteX17" fmla="*/ 1918706 w 1918706"/>
                  <a:gd name="connsiteY17" fmla="*/ 2073109 h 5633118"/>
                  <a:gd name="connsiteX18" fmla="*/ 1918706 w 1918706"/>
                  <a:gd name="connsiteY18" fmla="*/ 2081031 h 5633118"/>
                  <a:gd name="connsiteX19" fmla="*/ 1918706 w 1918706"/>
                  <a:gd name="connsiteY19" fmla="*/ 2088805 h 5633118"/>
                  <a:gd name="connsiteX20" fmla="*/ 1918706 w 1918706"/>
                  <a:gd name="connsiteY20" fmla="*/ 2503632 h 5633118"/>
                  <a:gd name="connsiteX21" fmla="*/ 1918706 w 1918706"/>
                  <a:gd name="connsiteY21" fmla="*/ 2511407 h 5633118"/>
                  <a:gd name="connsiteX22" fmla="*/ 1918706 w 1918706"/>
                  <a:gd name="connsiteY22" fmla="*/ 2567616 h 5633118"/>
                  <a:gd name="connsiteX23" fmla="*/ 1918706 w 1918706"/>
                  <a:gd name="connsiteY23" fmla="*/ 2583313 h 5633118"/>
                  <a:gd name="connsiteX24" fmla="*/ 1918706 w 1918706"/>
                  <a:gd name="connsiteY24" fmla="*/ 2591087 h 5633118"/>
                  <a:gd name="connsiteX25" fmla="*/ 1918706 w 1918706"/>
                  <a:gd name="connsiteY25" fmla="*/ 2992759 h 5633118"/>
                  <a:gd name="connsiteX26" fmla="*/ 1918706 w 1918706"/>
                  <a:gd name="connsiteY26" fmla="*/ 3005914 h 5633118"/>
                  <a:gd name="connsiteX27" fmla="*/ 1918706 w 1918706"/>
                  <a:gd name="connsiteY27" fmla="*/ 3013688 h 5633118"/>
                  <a:gd name="connsiteX28" fmla="*/ 1918706 w 1918706"/>
                  <a:gd name="connsiteY28" fmla="*/ 3085594 h 5633118"/>
                  <a:gd name="connsiteX29" fmla="*/ 1918706 w 1918706"/>
                  <a:gd name="connsiteY29" fmla="*/ 3093368 h 5633118"/>
                  <a:gd name="connsiteX30" fmla="*/ 1918706 w 1918706"/>
                  <a:gd name="connsiteY30" fmla="*/ 3487266 h 5633118"/>
                  <a:gd name="connsiteX31" fmla="*/ 1918706 w 1918706"/>
                  <a:gd name="connsiteY31" fmla="*/ 3508195 h 5633118"/>
                  <a:gd name="connsiteX32" fmla="*/ 1918706 w 1918706"/>
                  <a:gd name="connsiteY32" fmla="*/ 3515969 h 5633118"/>
                  <a:gd name="connsiteX33" fmla="*/ 1918706 w 1918706"/>
                  <a:gd name="connsiteY33" fmla="*/ 3574721 h 5633118"/>
                  <a:gd name="connsiteX34" fmla="*/ 1918706 w 1918706"/>
                  <a:gd name="connsiteY34" fmla="*/ 3587875 h 5633118"/>
                  <a:gd name="connsiteX35" fmla="*/ 1918706 w 1918706"/>
                  <a:gd name="connsiteY35" fmla="*/ 3595649 h 5633118"/>
                  <a:gd name="connsiteX36" fmla="*/ 1918706 w 1918706"/>
                  <a:gd name="connsiteY36" fmla="*/ 3997322 h 5633118"/>
                  <a:gd name="connsiteX37" fmla="*/ 1918706 w 1918706"/>
                  <a:gd name="connsiteY37" fmla="*/ 4010476 h 5633118"/>
                  <a:gd name="connsiteX38" fmla="*/ 1918706 w 1918706"/>
                  <a:gd name="connsiteY38" fmla="*/ 4069228 h 5633118"/>
                  <a:gd name="connsiteX39" fmla="*/ 1918706 w 1918706"/>
                  <a:gd name="connsiteY39" fmla="*/ 4090156 h 5633118"/>
                  <a:gd name="connsiteX40" fmla="*/ 1918706 w 1918706"/>
                  <a:gd name="connsiteY40" fmla="*/ 4097931 h 5633118"/>
                  <a:gd name="connsiteX41" fmla="*/ 1918706 w 1918706"/>
                  <a:gd name="connsiteY41" fmla="*/ 4491829 h 5633118"/>
                  <a:gd name="connsiteX42" fmla="*/ 1918706 w 1918706"/>
                  <a:gd name="connsiteY42" fmla="*/ 4579284 h 5633118"/>
                  <a:gd name="connsiteX43" fmla="*/ 1918706 w 1918706"/>
                  <a:gd name="connsiteY43" fmla="*/ 4592438 h 5633118"/>
                  <a:gd name="connsiteX44" fmla="*/ 1918706 w 1918706"/>
                  <a:gd name="connsiteY44" fmla="*/ 5073791 h 5633118"/>
                  <a:gd name="connsiteX45" fmla="*/ 959355 w 1918706"/>
                  <a:gd name="connsiteY45" fmla="*/ 5633118 h 5633118"/>
                  <a:gd name="connsiteX46" fmla="*/ 0 w 1918706"/>
                  <a:gd name="connsiteY46" fmla="*/ 5073791 h 5633118"/>
                  <a:gd name="connsiteX47" fmla="*/ 0 w 1918706"/>
                  <a:gd name="connsiteY47" fmla="*/ 4592438 h 5633118"/>
                  <a:gd name="connsiteX48" fmla="*/ 0 w 1918706"/>
                  <a:gd name="connsiteY48" fmla="*/ 4579284 h 5633118"/>
                  <a:gd name="connsiteX49" fmla="*/ 0 w 1918706"/>
                  <a:gd name="connsiteY49" fmla="*/ 4491829 h 5633118"/>
                  <a:gd name="connsiteX50" fmla="*/ 0 w 1918706"/>
                  <a:gd name="connsiteY50" fmla="*/ 4097931 h 5633118"/>
                  <a:gd name="connsiteX51" fmla="*/ 0 w 1918706"/>
                  <a:gd name="connsiteY51" fmla="*/ 4090156 h 5633118"/>
                  <a:gd name="connsiteX52" fmla="*/ 0 w 1918706"/>
                  <a:gd name="connsiteY52" fmla="*/ 4069228 h 5633118"/>
                  <a:gd name="connsiteX53" fmla="*/ 0 w 1918706"/>
                  <a:gd name="connsiteY53" fmla="*/ 4010476 h 5633118"/>
                  <a:gd name="connsiteX54" fmla="*/ 0 w 1918706"/>
                  <a:gd name="connsiteY54" fmla="*/ 3997322 h 5633118"/>
                  <a:gd name="connsiteX55" fmla="*/ 0 w 1918706"/>
                  <a:gd name="connsiteY55" fmla="*/ 3595649 h 5633118"/>
                  <a:gd name="connsiteX56" fmla="*/ 0 w 1918706"/>
                  <a:gd name="connsiteY56" fmla="*/ 3587875 h 5633118"/>
                  <a:gd name="connsiteX57" fmla="*/ 0 w 1918706"/>
                  <a:gd name="connsiteY57" fmla="*/ 3574721 h 5633118"/>
                  <a:gd name="connsiteX58" fmla="*/ 0 w 1918706"/>
                  <a:gd name="connsiteY58" fmla="*/ 3515969 h 5633118"/>
                  <a:gd name="connsiteX59" fmla="*/ 0 w 1918706"/>
                  <a:gd name="connsiteY59" fmla="*/ 3508195 h 5633118"/>
                  <a:gd name="connsiteX60" fmla="*/ 0 w 1918706"/>
                  <a:gd name="connsiteY60" fmla="*/ 3487266 h 5633118"/>
                  <a:gd name="connsiteX61" fmla="*/ 0 w 1918706"/>
                  <a:gd name="connsiteY61" fmla="*/ 3093368 h 5633118"/>
                  <a:gd name="connsiteX62" fmla="*/ 0 w 1918706"/>
                  <a:gd name="connsiteY62" fmla="*/ 3085594 h 5633118"/>
                  <a:gd name="connsiteX63" fmla="*/ 0 w 1918706"/>
                  <a:gd name="connsiteY63" fmla="*/ 3013688 h 5633118"/>
                  <a:gd name="connsiteX64" fmla="*/ 0 w 1918706"/>
                  <a:gd name="connsiteY64" fmla="*/ 3005914 h 5633118"/>
                  <a:gd name="connsiteX65" fmla="*/ 0 w 1918706"/>
                  <a:gd name="connsiteY65" fmla="*/ 2992759 h 5633118"/>
                  <a:gd name="connsiteX66" fmla="*/ 0 w 1918706"/>
                  <a:gd name="connsiteY66" fmla="*/ 2591087 h 5633118"/>
                  <a:gd name="connsiteX67" fmla="*/ 0 w 1918706"/>
                  <a:gd name="connsiteY67" fmla="*/ 2583313 h 5633118"/>
                  <a:gd name="connsiteX68" fmla="*/ 0 w 1918706"/>
                  <a:gd name="connsiteY68" fmla="*/ 2567616 h 5633118"/>
                  <a:gd name="connsiteX69" fmla="*/ 0 w 1918706"/>
                  <a:gd name="connsiteY69" fmla="*/ 2511407 h 5633118"/>
                  <a:gd name="connsiteX70" fmla="*/ 0 w 1918706"/>
                  <a:gd name="connsiteY70" fmla="*/ 2503632 h 5633118"/>
                  <a:gd name="connsiteX71" fmla="*/ 0 w 1918706"/>
                  <a:gd name="connsiteY71" fmla="*/ 2088805 h 5633118"/>
                  <a:gd name="connsiteX72" fmla="*/ 0 w 1918706"/>
                  <a:gd name="connsiteY72" fmla="*/ 2081031 h 5633118"/>
                  <a:gd name="connsiteX73" fmla="*/ 0 w 1918706"/>
                  <a:gd name="connsiteY73" fmla="*/ 2073109 h 5633118"/>
                  <a:gd name="connsiteX74" fmla="*/ 0 w 1918706"/>
                  <a:gd name="connsiteY74" fmla="*/ 2009125 h 5633118"/>
                  <a:gd name="connsiteX75" fmla="*/ 0 w 1918706"/>
                  <a:gd name="connsiteY75" fmla="*/ 2001351 h 5633118"/>
                  <a:gd name="connsiteX76" fmla="*/ 0 w 1918706"/>
                  <a:gd name="connsiteY76" fmla="*/ 1985655 h 5633118"/>
                  <a:gd name="connsiteX77" fmla="*/ 0 w 1918706"/>
                  <a:gd name="connsiteY77" fmla="*/ 1586524 h 5633118"/>
                  <a:gd name="connsiteX78" fmla="*/ 0 w 1918706"/>
                  <a:gd name="connsiteY78" fmla="*/ 1563054 h 5633118"/>
                  <a:gd name="connsiteX79" fmla="*/ 0 w 1918706"/>
                  <a:gd name="connsiteY79" fmla="*/ 1506844 h 5633118"/>
                  <a:gd name="connsiteX80" fmla="*/ 0 w 1918706"/>
                  <a:gd name="connsiteY80" fmla="*/ 1499070 h 5633118"/>
                  <a:gd name="connsiteX81" fmla="*/ 0 w 1918706"/>
                  <a:gd name="connsiteY81" fmla="*/ 1491148 h 5633118"/>
                  <a:gd name="connsiteX82" fmla="*/ 0 w 1918706"/>
                  <a:gd name="connsiteY82" fmla="*/ 1076469 h 5633118"/>
                  <a:gd name="connsiteX83" fmla="*/ 0 w 1918706"/>
                  <a:gd name="connsiteY83" fmla="*/ 1068547 h 5633118"/>
                  <a:gd name="connsiteX84" fmla="*/ 0 w 1918706"/>
                  <a:gd name="connsiteY84" fmla="*/ 1004563 h 5633118"/>
                  <a:gd name="connsiteX85" fmla="*/ 0 w 1918706"/>
                  <a:gd name="connsiteY85" fmla="*/ 981092 h 5633118"/>
                  <a:gd name="connsiteX86" fmla="*/ 0 w 1918706"/>
                  <a:gd name="connsiteY86" fmla="*/ 581962 h 5633118"/>
                  <a:gd name="connsiteX87" fmla="*/ 0 w 1918706"/>
                  <a:gd name="connsiteY87" fmla="*/ 494507 h 5633118"/>
                  <a:gd name="connsiteX88" fmla="*/ 0 w 1918706"/>
                  <a:gd name="connsiteY88" fmla="*/ 486585 h 5633118"/>
                  <a:gd name="connsiteX89" fmla="*/ 0 w 1918706"/>
                  <a:gd name="connsiteY8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981092 h 5633118"/>
                  <a:gd name="connsiteX5" fmla="*/ 1918706 w 1918706"/>
                  <a:gd name="connsiteY5" fmla="*/ 1004563 h 5633118"/>
                  <a:gd name="connsiteX6" fmla="*/ 1918706 w 1918706"/>
                  <a:gd name="connsiteY6" fmla="*/ 1068547 h 5633118"/>
                  <a:gd name="connsiteX7" fmla="*/ 1918706 w 1918706"/>
                  <a:gd name="connsiteY7" fmla="*/ 1076469 h 5633118"/>
                  <a:gd name="connsiteX8" fmla="*/ 1918706 w 1918706"/>
                  <a:gd name="connsiteY8" fmla="*/ 1491148 h 5633118"/>
                  <a:gd name="connsiteX9" fmla="*/ 1918706 w 1918706"/>
                  <a:gd name="connsiteY9" fmla="*/ 1499070 h 5633118"/>
                  <a:gd name="connsiteX10" fmla="*/ 1918706 w 1918706"/>
                  <a:gd name="connsiteY10" fmla="*/ 1506844 h 5633118"/>
                  <a:gd name="connsiteX11" fmla="*/ 1918706 w 1918706"/>
                  <a:gd name="connsiteY11" fmla="*/ 1563054 h 5633118"/>
                  <a:gd name="connsiteX12" fmla="*/ 1918706 w 1918706"/>
                  <a:gd name="connsiteY12" fmla="*/ 1586524 h 5633118"/>
                  <a:gd name="connsiteX13" fmla="*/ 1918706 w 1918706"/>
                  <a:gd name="connsiteY13" fmla="*/ 1985655 h 5633118"/>
                  <a:gd name="connsiteX14" fmla="*/ 1918706 w 1918706"/>
                  <a:gd name="connsiteY14" fmla="*/ 2001351 h 5633118"/>
                  <a:gd name="connsiteX15" fmla="*/ 1918706 w 1918706"/>
                  <a:gd name="connsiteY15" fmla="*/ 2009125 h 5633118"/>
                  <a:gd name="connsiteX16" fmla="*/ 1918706 w 1918706"/>
                  <a:gd name="connsiteY16" fmla="*/ 2073109 h 5633118"/>
                  <a:gd name="connsiteX17" fmla="*/ 1918706 w 1918706"/>
                  <a:gd name="connsiteY17" fmla="*/ 2081031 h 5633118"/>
                  <a:gd name="connsiteX18" fmla="*/ 1918706 w 1918706"/>
                  <a:gd name="connsiteY18" fmla="*/ 2088805 h 5633118"/>
                  <a:gd name="connsiteX19" fmla="*/ 1918706 w 1918706"/>
                  <a:gd name="connsiteY19" fmla="*/ 2503632 h 5633118"/>
                  <a:gd name="connsiteX20" fmla="*/ 1918706 w 1918706"/>
                  <a:gd name="connsiteY20" fmla="*/ 2511407 h 5633118"/>
                  <a:gd name="connsiteX21" fmla="*/ 1918706 w 1918706"/>
                  <a:gd name="connsiteY21" fmla="*/ 2567616 h 5633118"/>
                  <a:gd name="connsiteX22" fmla="*/ 1918706 w 1918706"/>
                  <a:gd name="connsiteY22" fmla="*/ 2583313 h 5633118"/>
                  <a:gd name="connsiteX23" fmla="*/ 1918706 w 1918706"/>
                  <a:gd name="connsiteY23" fmla="*/ 2591087 h 5633118"/>
                  <a:gd name="connsiteX24" fmla="*/ 1918706 w 1918706"/>
                  <a:gd name="connsiteY24" fmla="*/ 2992759 h 5633118"/>
                  <a:gd name="connsiteX25" fmla="*/ 1918706 w 1918706"/>
                  <a:gd name="connsiteY25" fmla="*/ 3005914 h 5633118"/>
                  <a:gd name="connsiteX26" fmla="*/ 1918706 w 1918706"/>
                  <a:gd name="connsiteY26" fmla="*/ 3013688 h 5633118"/>
                  <a:gd name="connsiteX27" fmla="*/ 1918706 w 1918706"/>
                  <a:gd name="connsiteY27" fmla="*/ 3085594 h 5633118"/>
                  <a:gd name="connsiteX28" fmla="*/ 1918706 w 1918706"/>
                  <a:gd name="connsiteY28" fmla="*/ 3093368 h 5633118"/>
                  <a:gd name="connsiteX29" fmla="*/ 1918706 w 1918706"/>
                  <a:gd name="connsiteY29" fmla="*/ 3487266 h 5633118"/>
                  <a:gd name="connsiteX30" fmla="*/ 1918706 w 1918706"/>
                  <a:gd name="connsiteY30" fmla="*/ 3508195 h 5633118"/>
                  <a:gd name="connsiteX31" fmla="*/ 1918706 w 1918706"/>
                  <a:gd name="connsiteY31" fmla="*/ 3515969 h 5633118"/>
                  <a:gd name="connsiteX32" fmla="*/ 1918706 w 1918706"/>
                  <a:gd name="connsiteY32" fmla="*/ 3574721 h 5633118"/>
                  <a:gd name="connsiteX33" fmla="*/ 1918706 w 1918706"/>
                  <a:gd name="connsiteY33" fmla="*/ 3587875 h 5633118"/>
                  <a:gd name="connsiteX34" fmla="*/ 1918706 w 1918706"/>
                  <a:gd name="connsiteY34" fmla="*/ 3595649 h 5633118"/>
                  <a:gd name="connsiteX35" fmla="*/ 1918706 w 1918706"/>
                  <a:gd name="connsiteY35" fmla="*/ 3997322 h 5633118"/>
                  <a:gd name="connsiteX36" fmla="*/ 1918706 w 1918706"/>
                  <a:gd name="connsiteY36" fmla="*/ 4010476 h 5633118"/>
                  <a:gd name="connsiteX37" fmla="*/ 1918706 w 1918706"/>
                  <a:gd name="connsiteY37" fmla="*/ 4069228 h 5633118"/>
                  <a:gd name="connsiteX38" fmla="*/ 1918706 w 1918706"/>
                  <a:gd name="connsiteY38" fmla="*/ 4090156 h 5633118"/>
                  <a:gd name="connsiteX39" fmla="*/ 1918706 w 1918706"/>
                  <a:gd name="connsiteY39" fmla="*/ 4097931 h 5633118"/>
                  <a:gd name="connsiteX40" fmla="*/ 1918706 w 1918706"/>
                  <a:gd name="connsiteY40" fmla="*/ 4491829 h 5633118"/>
                  <a:gd name="connsiteX41" fmla="*/ 1918706 w 1918706"/>
                  <a:gd name="connsiteY41" fmla="*/ 4579284 h 5633118"/>
                  <a:gd name="connsiteX42" fmla="*/ 1918706 w 1918706"/>
                  <a:gd name="connsiteY42" fmla="*/ 4592438 h 5633118"/>
                  <a:gd name="connsiteX43" fmla="*/ 1918706 w 1918706"/>
                  <a:gd name="connsiteY43" fmla="*/ 5073791 h 5633118"/>
                  <a:gd name="connsiteX44" fmla="*/ 959355 w 1918706"/>
                  <a:gd name="connsiteY44" fmla="*/ 5633118 h 5633118"/>
                  <a:gd name="connsiteX45" fmla="*/ 0 w 1918706"/>
                  <a:gd name="connsiteY45" fmla="*/ 5073791 h 5633118"/>
                  <a:gd name="connsiteX46" fmla="*/ 0 w 1918706"/>
                  <a:gd name="connsiteY46" fmla="*/ 4592438 h 5633118"/>
                  <a:gd name="connsiteX47" fmla="*/ 0 w 1918706"/>
                  <a:gd name="connsiteY47" fmla="*/ 4579284 h 5633118"/>
                  <a:gd name="connsiteX48" fmla="*/ 0 w 1918706"/>
                  <a:gd name="connsiteY48" fmla="*/ 4491829 h 5633118"/>
                  <a:gd name="connsiteX49" fmla="*/ 0 w 1918706"/>
                  <a:gd name="connsiteY49" fmla="*/ 4097931 h 5633118"/>
                  <a:gd name="connsiteX50" fmla="*/ 0 w 1918706"/>
                  <a:gd name="connsiteY50" fmla="*/ 4090156 h 5633118"/>
                  <a:gd name="connsiteX51" fmla="*/ 0 w 1918706"/>
                  <a:gd name="connsiteY51" fmla="*/ 4069228 h 5633118"/>
                  <a:gd name="connsiteX52" fmla="*/ 0 w 1918706"/>
                  <a:gd name="connsiteY52" fmla="*/ 4010476 h 5633118"/>
                  <a:gd name="connsiteX53" fmla="*/ 0 w 1918706"/>
                  <a:gd name="connsiteY53" fmla="*/ 3997322 h 5633118"/>
                  <a:gd name="connsiteX54" fmla="*/ 0 w 1918706"/>
                  <a:gd name="connsiteY54" fmla="*/ 3595649 h 5633118"/>
                  <a:gd name="connsiteX55" fmla="*/ 0 w 1918706"/>
                  <a:gd name="connsiteY55" fmla="*/ 3587875 h 5633118"/>
                  <a:gd name="connsiteX56" fmla="*/ 0 w 1918706"/>
                  <a:gd name="connsiteY56" fmla="*/ 3574721 h 5633118"/>
                  <a:gd name="connsiteX57" fmla="*/ 0 w 1918706"/>
                  <a:gd name="connsiteY57" fmla="*/ 3515969 h 5633118"/>
                  <a:gd name="connsiteX58" fmla="*/ 0 w 1918706"/>
                  <a:gd name="connsiteY58" fmla="*/ 3508195 h 5633118"/>
                  <a:gd name="connsiteX59" fmla="*/ 0 w 1918706"/>
                  <a:gd name="connsiteY59" fmla="*/ 3487266 h 5633118"/>
                  <a:gd name="connsiteX60" fmla="*/ 0 w 1918706"/>
                  <a:gd name="connsiteY60" fmla="*/ 3093368 h 5633118"/>
                  <a:gd name="connsiteX61" fmla="*/ 0 w 1918706"/>
                  <a:gd name="connsiteY61" fmla="*/ 3085594 h 5633118"/>
                  <a:gd name="connsiteX62" fmla="*/ 0 w 1918706"/>
                  <a:gd name="connsiteY62" fmla="*/ 3013688 h 5633118"/>
                  <a:gd name="connsiteX63" fmla="*/ 0 w 1918706"/>
                  <a:gd name="connsiteY63" fmla="*/ 3005914 h 5633118"/>
                  <a:gd name="connsiteX64" fmla="*/ 0 w 1918706"/>
                  <a:gd name="connsiteY64" fmla="*/ 2992759 h 5633118"/>
                  <a:gd name="connsiteX65" fmla="*/ 0 w 1918706"/>
                  <a:gd name="connsiteY65" fmla="*/ 2591087 h 5633118"/>
                  <a:gd name="connsiteX66" fmla="*/ 0 w 1918706"/>
                  <a:gd name="connsiteY66" fmla="*/ 2583313 h 5633118"/>
                  <a:gd name="connsiteX67" fmla="*/ 0 w 1918706"/>
                  <a:gd name="connsiteY67" fmla="*/ 2567616 h 5633118"/>
                  <a:gd name="connsiteX68" fmla="*/ 0 w 1918706"/>
                  <a:gd name="connsiteY68" fmla="*/ 2511407 h 5633118"/>
                  <a:gd name="connsiteX69" fmla="*/ 0 w 1918706"/>
                  <a:gd name="connsiteY69" fmla="*/ 2503632 h 5633118"/>
                  <a:gd name="connsiteX70" fmla="*/ 0 w 1918706"/>
                  <a:gd name="connsiteY70" fmla="*/ 2088805 h 5633118"/>
                  <a:gd name="connsiteX71" fmla="*/ 0 w 1918706"/>
                  <a:gd name="connsiteY71" fmla="*/ 2081031 h 5633118"/>
                  <a:gd name="connsiteX72" fmla="*/ 0 w 1918706"/>
                  <a:gd name="connsiteY72" fmla="*/ 2073109 h 5633118"/>
                  <a:gd name="connsiteX73" fmla="*/ 0 w 1918706"/>
                  <a:gd name="connsiteY73" fmla="*/ 2009125 h 5633118"/>
                  <a:gd name="connsiteX74" fmla="*/ 0 w 1918706"/>
                  <a:gd name="connsiteY74" fmla="*/ 2001351 h 5633118"/>
                  <a:gd name="connsiteX75" fmla="*/ 0 w 1918706"/>
                  <a:gd name="connsiteY75" fmla="*/ 1985655 h 5633118"/>
                  <a:gd name="connsiteX76" fmla="*/ 0 w 1918706"/>
                  <a:gd name="connsiteY76" fmla="*/ 1586524 h 5633118"/>
                  <a:gd name="connsiteX77" fmla="*/ 0 w 1918706"/>
                  <a:gd name="connsiteY77" fmla="*/ 1563054 h 5633118"/>
                  <a:gd name="connsiteX78" fmla="*/ 0 w 1918706"/>
                  <a:gd name="connsiteY78" fmla="*/ 1506844 h 5633118"/>
                  <a:gd name="connsiteX79" fmla="*/ 0 w 1918706"/>
                  <a:gd name="connsiteY79" fmla="*/ 1499070 h 5633118"/>
                  <a:gd name="connsiteX80" fmla="*/ 0 w 1918706"/>
                  <a:gd name="connsiteY80" fmla="*/ 1491148 h 5633118"/>
                  <a:gd name="connsiteX81" fmla="*/ 0 w 1918706"/>
                  <a:gd name="connsiteY81" fmla="*/ 1076469 h 5633118"/>
                  <a:gd name="connsiteX82" fmla="*/ 0 w 1918706"/>
                  <a:gd name="connsiteY82" fmla="*/ 1068547 h 5633118"/>
                  <a:gd name="connsiteX83" fmla="*/ 0 w 1918706"/>
                  <a:gd name="connsiteY83" fmla="*/ 1004563 h 5633118"/>
                  <a:gd name="connsiteX84" fmla="*/ 0 w 1918706"/>
                  <a:gd name="connsiteY84" fmla="*/ 981092 h 5633118"/>
                  <a:gd name="connsiteX85" fmla="*/ 0 w 1918706"/>
                  <a:gd name="connsiteY85" fmla="*/ 581962 h 5633118"/>
                  <a:gd name="connsiteX86" fmla="*/ 0 w 1918706"/>
                  <a:gd name="connsiteY86" fmla="*/ 494507 h 5633118"/>
                  <a:gd name="connsiteX87" fmla="*/ 0 w 1918706"/>
                  <a:gd name="connsiteY87" fmla="*/ 486585 h 5633118"/>
                  <a:gd name="connsiteX88" fmla="*/ 0 w 1918706"/>
                  <a:gd name="connsiteY8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486585 h 5633118"/>
                  <a:gd name="connsiteX87" fmla="*/ 0 w 1918706"/>
                  <a:gd name="connsiteY8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076469 h 5633118"/>
                  <a:gd name="connsiteX80" fmla="*/ 0 w 1918706"/>
                  <a:gd name="connsiteY8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591087 h 5633118"/>
                  <a:gd name="connsiteX64" fmla="*/ 0 w 1918706"/>
                  <a:gd name="connsiteY6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2591087 h 5633118"/>
                  <a:gd name="connsiteX63" fmla="*/ 0 w 1918706"/>
                  <a:gd name="connsiteY6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2591087 h 5633118"/>
                  <a:gd name="connsiteX62" fmla="*/ 0 w 1918706"/>
                  <a:gd name="connsiteY6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2591087 h 5633118"/>
                  <a:gd name="connsiteX61" fmla="*/ 0 w 1918706"/>
                  <a:gd name="connsiteY6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68547 h 5633118"/>
                  <a:gd name="connsiteX5" fmla="*/ 1918706 w 1918706"/>
                  <a:gd name="connsiteY5" fmla="*/ 1076469 h 5633118"/>
                  <a:gd name="connsiteX6" fmla="*/ 1918706 w 1918706"/>
                  <a:gd name="connsiteY6" fmla="*/ 1491148 h 5633118"/>
                  <a:gd name="connsiteX7" fmla="*/ 1918706 w 1918706"/>
                  <a:gd name="connsiteY7" fmla="*/ 1499070 h 5633118"/>
                  <a:gd name="connsiteX8" fmla="*/ 1918706 w 1918706"/>
                  <a:gd name="connsiteY8" fmla="*/ 1506844 h 5633118"/>
                  <a:gd name="connsiteX9" fmla="*/ 1918706 w 1918706"/>
                  <a:gd name="connsiteY9" fmla="*/ 1563054 h 5633118"/>
                  <a:gd name="connsiteX10" fmla="*/ 1918706 w 1918706"/>
                  <a:gd name="connsiteY10" fmla="*/ 1586524 h 5633118"/>
                  <a:gd name="connsiteX11" fmla="*/ 1918706 w 1918706"/>
                  <a:gd name="connsiteY11" fmla="*/ 1985655 h 5633118"/>
                  <a:gd name="connsiteX12" fmla="*/ 1918706 w 1918706"/>
                  <a:gd name="connsiteY12" fmla="*/ 2001351 h 5633118"/>
                  <a:gd name="connsiteX13" fmla="*/ 1918706 w 1918706"/>
                  <a:gd name="connsiteY13" fmla="*/ 2009125 h 5633118"/>
                  <a:gd name="connsiteX14" fmla="*/ 1918706 w 1918706"/>
                  <a:gd name="connsiteY14" fmla="*/ 2073109 h 5633118"/>
                  <a:gd name="connsiteX15" fmla="*/ 1918706 w 1918706"/>
                  <a:gd name="connsiteY15" fmla="*/ 2081031 h 5633118"/>
                  <a:gd name="connsiteX16" fmla="*/ 1918706 w 1918706"/>
                  <a:gd name="connsiteY16" fmla="*/ 2088805 h 5633118"/>
                  <a:gd name="connsiteX17" fmla="*/ 1918706 w 1918706"/>
                  <a:gd name="connsiteY17" fmla="*/ 2503632 h 5633118"/>
                  <a:gd name="connsiteX18" fmla="*/ 1918706 w 1918706"/>
                  <a:gd name="connsiteY18" fmla="*/ 2511407 h 5633118"/>
                  <a:gd name="connsiteX19" fmla="*/ 1918706 w 1918706"/>
                  <a:gd name="connsiteY19" fmla="*/ 2567616 h 5633118"/>
                  <a:gd name="connsiteX20" fmla="*/ 1918706 w 1918706"/>
                  <a:gd name="connsiteY20" fmla="*/ 2583313 h 5633118"/>
                  <a:gd name="connsiteX21" fmla="*/ 1918706 w 1918706"/>
                  <a:gd name="connsiteY21" fmla="*/ 2591087 h 5633118"/>
                  <a:gd name="connsiteX22" fmla="*/ 1918706 w 1918706"/>
                  <a:gd name="connsiteY22" fmla="*/ 2992759 h 5633118"/>
                  <a:gd name="connsiteX23" fmla="*/ 1918706 w 1918706"/>
                  <a:gd name="connsiteY23" fmla="*/ 3005914 h 5633118"/>
                  <a:gd name="connsiteX24" fmla="*/ 1918706 w 1918706"/>
                  <a:gd name="connsiteY24" fmla="*/ 3013688 h 5633118"/>
                  <a:gd name="connsiteX25" fmla="*/ 1918706 w 1918706"/>
                  <a:gd name="connsiteY25" fmla="*/ 3085594 h 5633118"/>
                  <a:gd name="connsiteX26" fmla="*/ 1918706 w 1918706"/>
                  <a:gd name="connsiteY26" fmla="*/ 3093368 h 5633118"/>
                  <a:gd name="connsiteX27" fmla="*/ 1918706 w 1918706"/>
                  <a:gd name="connsiteY27" fmla="*/ 3487266 h 5633118"/>
                  <a:gd name="connsiteX28" fmla="*/ 1918706 w 1918706"/>
                  <a:gd name="connsiteY28" fmla="*/ 3508195 h 5633118"/>
                  <a:gd name="connsiteX29" fmla="*/ 1918706 w 1918706"/>
                  <a:gd name="connsiteY29" fmla="*/ 3515969 h 5633118"/>
                  <a:gd name="connsiteX30" fmla="*/ 1918706 w 1918706"/>
                  <a:gd name="connsiteY30" fmla="*/ 3574721 h 5633118"/>
                  <a:gd name="connsiteX31" fmla="*/ 1918706 w 1918706"/>
                  <a:gd name="connsiteY31" fmla="*/ 3587875 h 5633118"/>
                  <a:gd name="connsiteX32" fmla="*/ 1918706 w 1918706"/>
                  <a:gd name="connsiteY32" fmla="*/ 3595649 h 5633118"/>
                  <a:gd name="connsiteX33" fmla="*/ 1918706 w 1918706"/>
                  <a:gd name="connsiteY33" fmla="*/ 3997322 h 5633118"/>
                  <a:gd name="connsiteX34" fmla="*/ 1918706 w 1918706"/>
                  <a:gd name="connsiteY34" fmla="*/ 4010476 h 5633118"/>
                  <a:gd name="connsiteX35" fmla="*/ 1918706 w 1918706"/>
                  <a:gd name="connsiteY35" fmla="*/ 4069228 h 5633118"/>
                  <a:gd name="connsiteX36" fmla="*/ 1918706 w 1918706"/>
                  <a:gd name="connsiteY36" fmla="*/ 4090156 h 5633118"/>
                  <a:gd name="connsiteX37" fmla="*/ 1918706 w 1918706"/>
                  <a:gd name="connsiteY37" fmla="*/ 4097931 h 5633118"/>
                  <a:gd name="connsiteX38" fmla="*/ 1918706 w 1918706"/>
                  <a:gd name="connsiteY38" fmla="*/ 4491829 h 5633118"/>
                  <a:gd name="connsiteX39" fmla="*/ 1918706 w 1918706"/>
                  <a:gd name="connsiteY39" fmla="*/ 4579284 h 5633118"/>
                  <a:gd name="connsiteX40" fmla="*/ 1918706 w 1918706"/>
                  <a:gd name="connsiteY40" fmla="*/ 4592438 h 5633118"/>
                  <a:gd name="connsiteX41" fmla="*/ 1918706 w 1918706"/>
                  <a:gd name="connsiteY41" fmla="*/ 5073791 h 5633118"/>
                  <a:gd name="connsiteX42" fmla="*/ 959355 w 1918706"/>
                  <a:gd name="connsiteY42" fmla="*/ 5633118 h 5633118"/>
                  <a:gd name="connsiteX43" fmla="*/ 0 w 1918706"/>
                  <a:gd name="connsiteY43" fmla="*/ 5073791 h 5633118"/>
                  <a:gd name="connsiteX44" fmla="*/ 0 w 1918706"/>
                  <a:gd name="connsiteY44" fmla="*/ 4592438 h 5633118"/>
                  <a:gd name="connsiteX45" fmla="*/ 0 w 1918706"/>
                  <a:gd name="connsiteY45" fmla="*/ 4579284 h 5633118"/>
                  <a:gd name="connsiteX46" fmla="*/ 0 w 1918706"/>
                  <a:gd name="connsiteY46" fmla="*/ 4491829 h 5633118"/>
                  <a:gd name="connsiteX47" fmla="*/ 0 w 1918706"/>
                  <a:gd name="connsiteY47" fmla="*/ 4097931 h 5633118"/>
                  <a:gd name="connsiteX48" fmla="*/ 0 w 1918706"/>
                  <a:gd name="connsiteY48" fmla="*/ 4090156 h 5633118"/>
                  <a:gd name="connsiteX49" fmla="*/ 0 w 1918706"/>
                  <a:gd name="connsiteY49" fmla="*/ 4069228 h 5633118"/>
                  <a:gd name="connsiteX50" fmla="*/ 0 w 1918706"/>
                  <a:gd name="connsiteY50" fmla="*/ 4010476 h 5633118"/>
                  <a:gd name="connsiteX51" fmla="*/ 0 w 1918706"/>
                  <a:gd name="connsiteY51" fmla="*/ 3997322 h 5633118"/>
                  <a:gd name="connsiteX52" fmla="*/ 0 w 1918706"/>
                  <a:gd name="connsiteY52" fmla="*/ 3595649 h 5633118"/>
                  <a:gd name="connsiteX53" fmla="*/ 0 w 1918706"/>
                  <a:gd name="connsiteY53" fmla="*/ 3587875 h 5633118"/>
                  <a:gd name="connsiteX54" fmla="*/ 0 w 1918706"/>
                  <a:gd name="connsiteY54" fmla="*/ 3574721 h 5633118"/>
                  <a:gd name="connsiteX55" fmla="*/ 0 w 1918706"/>
                  <a:gd name="connsiteY55" fmla="*/ 3515969 h 5633118"/>
                  <a:gd name="connsiteX56" fmla="*/ 0 w 1918706"/>
                  <a:gd name="connsiteY56" fmla="*/ 3508195 h 5633118"/>
                  <a:gd name="connsiteX57" fmla="*/ 0 w 1918706"/>
                  <a:gd name="connsiteY57" fmla="*/ 3487266 h 5633118"/>
                  <a:gd name="connsiteX58" fmla="*/ 0 w 1918706"/>
                  <a:gd name="connsiteY5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076469 h 5633118"/>
                  <a:gd name="connsiteX5" fmla="*/ 1918706 w 1918706"/>
                  <a:gd name="connsiteY5" fmla="*/ 1491148 h 5633118"/>
                  <a:gd name="connsiteX6" fmla="*/ 1918706 w 1918706"/>
                  <a:gd name="connsiteY6" fmla="*/ 1499070 h 5633118"/>
                  <a:gd name="connsiteX7" fmla="*/ 1918706 w 1918706"/>
                  <a:gd name="connsiteY7" fmla="*/ 1506844 h 5633118"/>
                  <a:gd name="connsiteX8" fmla="*/ 1918706 w 1918706"/>
                  <a:gd name="connsiteY8" fmla="*/ 1563054 h 5633118"/>
                  <a:gd name="connsiteX9" fmla="*/ 1918706 w 1918706"/>
                  <a:gd name="connsiteY9" fmla="*/ 1586524 h 5633118"/>
                  <a:gd name="connsiteX10" fmla="*/ 1918706 w 1918706"/>
                  <a:gd name="connsiteY10" fmla="*/ 1985655 h 5633118"/>
                  <a:gd name="connsiteX11" fmla="*/ 1918706 w 1918706"/>
                  <a:gd name="connsiteY11" fmla="*/ 2001351 h 5633118"/>
                  <a:gd name="connsiteX12" fmla="*/ 1918706 w 1918706"/>
                  <a:gd name="connsiteY12" fmla="*/ 2009125 h 5633118"/>
                  <a:gd name="connsiteX13" fmla="*/ 1918706 w 1918706"/>
                  <a:gd name="connsiteY13" fmla="*/ 2073109 h 5633118"/>
                  <a:gd name="connsiteX14" fmla="*/ 1918706 w 1918706"/>
                  <a:gd name="connsiteY14" fmla="*/ 2081031 h 5633118"/>
                  <a:gd name="connsiteX15" fmla="*/ 1918706 w 1918706"/>
                  <a:gd name="connsiteY15" fmla="*/ 2088805 h 5633118"/>
                  <a:gd name="connsiteX16" fmla="*/ 1918706 w 1918706"/>
                  <a:gd name="connsiteY16" fmla="*/ 2503632 h 5633118"/>
                  <a:gd name="connsiteX17" fmla="*/ 1918706 w 1918706"/>
                  <a:gd name="connsiteY17" fmla="*/ 2511407 h 5633118"/>
                  <a:gd name="connsiteX18" fmla="*/ 1918706 w 1918706"/>
                  <a:gd name="connsiteY18" fmla="*/ 2567616 h 5633118"/>
                  <a:gd name="connsiteX19" fmla="*/ 1918706 w 1918706"/>
                  <a:gd name="connsiteY19" fmla="*/ 2583313 h 5633118"/>
                  <a:gd name="connsiteX20" fmla="*/ 1918706 w 1918706"/>
                  <a:gd name="connsiteY20" fmla="*/ 2591087 h 5633118"/>
                  <a:gd name="connsiteX21" fmla="*/ 1918706 w 1918706"/>
                  <a:gd name="connsiteY21" fmla="*/ 2992759 h 5633118"/>
                  <a:gd name="connsiteX22" fmla="*/ 1918706 w 1918706"/>
                  <a:gd name="connsiteY22" fmla="*/ 3005914 h 5633118"/>
                  <a:gd name="connsiteX23" fmla="*/ 1918706 w 1918706"/>
                  <a:gd name="connsiteY23" fmla="*/ 3013688 h 5633118"/>
                  <a:gd name="connsiteX24" fmla="*/ 1918706 w 1918706"/>
                  <a:gd name="connsiteY24" fmla="*/ 3085594 h 5633118"/>
                  <a:gd name="connsiteX25" fmla="*/ 1918706 w 1918706"/>
                  <a:gd name="connsiteY25" fmla="*/ 3093368 h 5633118"/>
                  <a:gd name="connsiteX26" fmla="*/ 1918706 w 1918706"/>
                  <a:gd name="connsiteY26" fmla="*/ 3487266 h 5633118"/>
                  <a:gd name="connsiteX27" fmla="*/ 1918706 w 1918706"/>
                  <a:gd name="connsiteY27" fmla="*/ 3508195 h 5633118"/>
                  <a:gd name="connsiteX28" fmla="*/ 1918706 w 1918706"/>
                  <a:gd name="connsiteY28" fmla="*/ 3515969 h 5633118"/>
                  <a:gd name="connsiteX29" fmla="*/ 1918706 w 1918706"/>
                  <a:gd name="connsiteY29" fmla="*/ 3574721 h 5633118"/>
                  <a:gd name="connsiteX30" fmla="*/ 1918706 w 1918706"/>
                  <a:gd name="connsiteY30" fmla="*/ 3587875 h 5633118"/>
                  <a:gd name="connsiteX31" fmla="*/ 1918706 w 1918706"/>
                  <a:gd name="connsiteY31" fmla="*/ 3595649 h 5633118"/>
                  <a:gd name="connsiteX32" fmla="*/ 1918706 w 1918706"/>
                  <a:gd name="connsiteY32" fmla="*/ 3997322 h 5633118"/>
                  <a:gd name="connsiteX33" fmla="*/ 1918706 w 1918706"/>
                  <a:gd name="connsiteY33" fmla="*/ 4010476 h 5633118"/>
                  <a:gd name="connsiteX34" fmla="*/ 1918706 w 1918706"/>
                  <a:gd name="connsiteY34" fmla="*/ 4069228 h 5633118"/>
                  <a:gd name="connsiteX35" fmla="*/ 1918706 w 1918706"/>
                  <a:gd name="connsiteY35" fmla="*/ 4090156 h 5633118"/>
                  <a:gd name="connsiteX36" fmla="*/ 1918706 w 1918706"/>
                  <a:gd name="connsiteY36" fmla="*/ 4097931 h 5633118"/>
                  <a:gd name="connsiteX37" fmla="*/ 1918706 w 1918706"/>
                  <a:gd name="connsiteY37" fmla="*/ 4491829 h 5633118"/>
                  <a:gd name="connsiteX38" fmla="*/ 1918706 w 1918706"/>
                  <a:gd name="connsiteY38" fmla="*/ 4579284 h 5633118"/>
                  <a:gd name="connsiteX39" fmla="*/ 1918706 w 1918706"/>
                  <a:gd name="connsiteY39" fmla="*/ 4592438 h 5633118"/>
                  <a:gd name="connsiteX40" fmla="*/ 1918706 w 1918706"/>
                  <a:gd name="connsiteY40" fmla="*/ 5073791 h 5633118"/>
                  <a:gd name="connsiteX41" fmla="*/ 959355 w 1918706"/>
                  <a:gd name="connsiteY41" fmla="*/ 5633118 h 5633118"/>
                  <a:gd name="connsiteX42" fmla="*/ 0 w 1918706"/>
                  <a:gd name="connsiteY42" fmla="*/ 5073791 h 5633118"/>
                  <a:gd name="connsiteX43" fmla="*/ 0 w 1918706"/>
                  <a:gd name="connsiteY43" fmla="*/ 4592438 h 5633118"/>
                  <a:gd name="connsiteX44" fmla="*/ 0 w 1918706"/>
                  <a:gd name="connsiteY44" fmla="*/ 4579284 h 5633118"/>
                  <a:gd name="connsiteX45" fmla="*/ 0 w 1918706"/>
                  <a:gd name="connsiteY45" fmla="*/ 4491829 h 5633118"/>
                  <a:gd name="connsiteX46" fmla="*/ 0 w 1918706"/>
                  <a:gd name="connsiteY46" fmla="*/ 4097931 h 5633118"/>
                  <a:gd name="connsiteX47" fmla="*/ 0 w 1918706"/>
                  <a:gd name="connsiteY47" fmla="*/ 4090156 h 5633118"/>
                  <a:gd name="connsiteX48" fmla="*/ 0 w 1918706"/>
                  <a:gd name="connsiteY48" fmla="*/ 4069228 h 5633118"/>
                  <a:gd name="connsiteX49" fmla="*/ 0 w 1918706"/>
                  <a:gd name="connsiteY49" fmla="*/ 4010476 h 5633118"/>
                  <a:gd name="connsiteX50" fmla="*/ 0 w 1918706"/>
                  <a:gd name="connsiteY50" fmla="*/ 3997322 h 5633118"/>
                  <a:gd name="connsiteX51" fmla="*/ 0 w 1918706"/>
                  <a:gd name="connsiteY51" fmla="*/ 3595649 h 5633118"/>
                  <a:gd name="connsiteX52" fmla="*/ 0 w 1918706"/>
                  <a:gd name="connsiteY52" fmla="*/ 3587875 h 5633118"/>
                  <a:gd name="connsiteX53" fmla="*/ 0 w 1918706"/>
                  <a:gd name="connsiteY53" fmla="*/ 3574721 h 5633118"/>
                  <a:gd name="connsiteX54" fmla="*/ 0 w 1918706"/>
                  <a:gd name="connsiteY54" fmla="*/ 3515969 h 5633118"/>
                  <a:gd name="connsiteX55" fmla="*/ 0 w 1918706"/>
                  <a:gd name="connsiteY55" fmla="*/ 3508195 h 5633118"/>
                  <a:gd name="connsiteX56" fmla="*/ 0 w 1918706"/>
                  <a:gd name="connsiteY56" fmla="*/ 3487266 h 5633118"/>
                  <a:gd name="connsiteX57" fmla="*/ 0 w 1918706"/>
                  <a:gd name="connsiteY5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491148 h 5633118"/>
                  <a:gd name="connsiteX5" fmla="*/ 1918706 w 1918706"/>
                  <a:gd name="connsiteY5" fmla="*/ 1499070 h 5633118"/>
                  <a:gd name="connsiteX6" fmla="*/ 1918706 w 1918706"/>
                  <a:gd name="connsiteY6" fmla="*/ 1506844 h 5633118"/>
                  <a:gd name="connsiteX7" fmla="*/ 1918706 w 1918706"/>
                  <a:gd name="connsiteY7" fmla="*/ 1563054 h 5633118"/>
                  <a:gd name="connsiteX8" fmla="*/ 1918706 w 1918706"/>
                  <a:gd name="connsiteY8" fmla="*/ 1586524 h 5633118"/>
                  <a:gd name="connsiteX9" fmla="*/ 1918706 w 1918706"/>
                  <a:gd name="connsiteY9" fmla="*/ 1985655 h 5633118"/>
                  <a:gd name="connsiteX10" fmla="*/ 1918706 w 1918706"/>
                  <a:gd name="connsiteY10" fmla="*/ 2001351 h 5633118"/>
                  <a:gd name="connsiteX11" fmla="*/ 1918706 w 1918706"/>
                  <a:gd name="connsiteY11" fmla="*/ 2009125 h 5633118"/>
                  <a:gd name="connsiteX12" fmla="*/ 1918706 w 1918706"/>
                  <a:gd name="connsiteY12" fmla="*/ 2073109 h 5633118"/>
                  <a:gd name="connsiteX13" fmla="*/ 1918706 w 1918706"/>
                  <a:gd name="connsiteY13" fmla="*/ 2081031 h 5633118"/>
                  <a:gd name="connsiteX14" fmla="*/ 1918706 w 1918706"/>
                  <a:gd name="connsiteY14" fmla="*/ 2088805 h 5633118"/>
                  <a:gd name="connsiteX15" fmla="*/ 1918706 w 1918706"/>
                  <a:gd name="connsiteY15" fmla="*/ 2503632 h 5633118"/>
                  <a:gd name="connsiteX16" fmla="*/ 1918706 w 1918706"/>
                  <a:gd name="connsiteY16" fmla="*/ 2511407 h 5633118"/>
                  <a:gd name="connsiteX17" fmla="*/ 1918706 w 1918706"/>
                  <a:gd name="connsiteY17" fmla="*/ 2567616 h 5633118"/>
                  <a:gd name="connsiteX18" fmla="*/ 1918706 w 1918706"/>
                  <a:gd name="connsiteY18" fmla="*/ 2583313 h 5633118"/>
                  <a:gd name="connsiteX19" fmla="*/ 1918706 w 1918706"/>
                  <a:gd name="connsiteY19" fmla="*/ 2591087 h 5633118"/>
                  <a:gd name="connsiteX20" fmla="*/ 1918706 w 1918706"/>
                  <a:gd name="connsiteY20" fmla="*/ 2992759 h 5633118"/>
                  <a:gd name="connsiteX21" fmla="*/ 1918706 w 1918706"/>
                  <a:gd name="connsiteY21" fmla="*/ 3005914 h 5633118"/>
                  <a:gd name="connsiteX22" fmla="*/ 1918706 w 1918706"/>
                  <a:gd name="connsiteY22" fmla="*/ 3013688 h 5633118"/>
                  <a:gd name="connsiteX23" fmla="*/ 1918706 w 1918706"/>
                  <a:gd name="connsiteY23" fmla="*/ 3085594 h 5633118"/>
                  <a:gd name="connsiteX24" fmla="*/ 1918706 w 1918706"/>
                  <a:gd name="connsiteY24" fmla="*/ 3093368 h 5633118"/>
                  <a:gd name="connsiteX25" fmla="*/ 1918706 w 1918706"/>
                  <a:gd name="connsiteY25" fmla="*/ 3487266 h 5633118"/>
                  <a:gd name="connsiteX26" fmla="*/ 1918706 w 1918706"/>
                  <a:gd name="connsiteY26" fmla="*/ 3508195 h 5633118"/>
                  <a:gd name="connsiteX27" fmla="*/ 1918706 w 1918706"/>
                  <a:gd name="connsiteY27" fmla="*/ 3515969 h 5633118"/>
                  <a:gd name="connsiteX28" fmla="*/ 1918706 w 1918706"/>
                  <a:gd name="connsiteY28" fmla="*/ 3574721 h 5633118"/>
                  <a:gd name="connsiteX29" fmla="*/ 1918706 w 1918706"/>
                  <a:gd name="connsiteY29" fmla="*/ 3587875 h 5633118"/>
                  <a:gd name="connsiteX30" fmla="*/ 1918706 w 1918706"/>
                  <a:gd name="connsiteY30" fmla="*/ 3595649 h 5633118"/>
                  <a:gd name="connsiteX31" fmla="*/ 1918706 w 1918706"/>
                  <a:gd name="connsiteY31" fmla="*/ 3997322 h 5633118"/>
                  <a:gd name="connsiteX32" fmla="*/ 1918706 w 1918706"/>
                  <a:gd name="connsiteY32" fmla="*/ 4010476 h 5633118"/>
                  <a:gd name="connsiteX33" fmla="*/ 1918706 w 1918706"/>
                  <a:gd name="connsiteY33" fmla="*/ 4069228 h 5633118"/>
                  <a:gd name="connsiteX34" fmla="*/ 1918706 w 1918706"/>
                  <a:gd name="connsiteY34" fmla="*/ 4090156 h 5633118"/>
                  <a:gd name="connsiteX35" fmla="*/ 1918706 w 1918706"/>
                  <a:gd name="connsiteY35" fmla="*/ 4097931 h 5633118"/>
                  <a:gd name="connsiteX36" fmla="*/ 1918706 w 1918706"/>
                  <a:gd name="connsiteY36" fmla="*/ 4491829 h 5633118"/>
                  <a:gd name="connsiteX37" fmla="*/ 1918706 w 1918706"/>
                  <a:gd name="connsiteY37" fmla="*/ 4579284 h 5633118"/>
                  <a:gd name="connsiteX38" fmla="*/ 1918706 w 1918706"/>
                  <a:gd name="connsiteY38" fmla="*/ 4592438 h 5633118"/>
                  <a:gd name="connsiteX39" fmla="*/ 1918706 w 1918706"/>
                  <a:gd name="connsiteY39" fmla="*/ 5073791 h 5633118"/>
                  <a:gd name="connsiteX40" fmla="*/ 959355 w 1918706"/>
                  <a:gd name="connsiteY40" fmla="*/ 5633118 h 5633118"/>
                  <a:gd name="connsiteX41" fmla="*/ 0 w 1918706"/>
                  <a:gd name="connsiteY41" fmla="*/ 5073791 h 5633118"/>
                  <a:gd name="connsiteX42" fmla="*/ 0 w 1918706"/>
                  <a:gd name="connsiteY42" fmla="*/ 4592438 h 5633118"/>
                  <a:gd name="connsiteX43" fmla="*/ 0 w 1918706"/>
                  <a:gd name="connsiteY43" fmla="*/ 4579284 h 5633118"/>
                  <a:gd name="connsiteX44" fmla="*/ 0 w 1918706"/>
                  <a:gd name="connsiteY44" fmla="*/ 4491829 h 5633118"/>
                  <a:gd name="connsiteX45" fmla="*/ 0 w 1918706"/>
                  <a:gd name="connsiteY45" fmla="*/ 4097931 h 5633118"/>
                  <a:gd name="connsiteX46" fmla="*/ 0 w 1918706"/>
                  <a:gd name="connsiteY46" fmla="*/ 4090156 h 5633118"/>
                  <a:gd name="connsiteX47" fmla="*/ 0 w 1918706"/>
                  <a:gd name="connsiteY47" fmla="*/ 4069228 h 5633118"/>
                  <a:gd name="connsiteX48" fmla="*/ 0 w 1918706"/>
                  <a:gd name="connsiteY48" fmla="*/ 4010476 h 5633118"/>
                  <a:gd name="connsiteX49" fmla="*/ 0 w 1918706"/>
                  <a:gd name="connsiteY49" fmla="*/ 3997322 h 5633118"/>
                  <a:gd name="connsiteX50" fmla="*/ 0 w 1918706"/>
                  <a:gd name="connsiteY50" fmla="*/ 3595649 h 5633118"/>
                  <a:gd name="connsiteX51" fmla="*/ 0 w 1918706"/>
                  <a:gd name="connsiteY51" fmla="*/ 3587875 h 5633118"/>
                  <a:gd name="connsiteX52" fmla="*/ 0 w 1918706"/>
                  <a:gd name="connsiteY52" fmla="*/ 3574721 h 5633118"/>
                  <a:gd name="connsiteX53" fmla="*/ 0 w 1918706"/>
                  <a:gd name="connsiteY53" fmla="*/ 3515969 h 5633118"/>
                  <a:gd name="connsiteX54" fmla="*/ 0 w 1918706"/>
                  <a:gd name="connsiteY54" fmla="*/ 3508195 h 5633118"/>
                  <a:gd name="connsiteX55" fmla="*/ 0 w 1918706"/>
                  <a:gd name="connsiteY55" fmla="*/ 3487266 h 5633118"/>
                  <a:gd name="connsiteX56" fmla="*/ 0 w 1918706"/>
                  <a:gd name="connsiteY5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06844 h 5633118"/>
                  <a:gd name="connsiteX6" fmla="*/ 1918706 w 1918706"/>
                  <a:gd name="connsiteY6" fmla="*/ 1563054 h 5633118"/>
                  <a:gd name="connsiteX7" fmla="*/ 1918706 w 1918706"/>
                  <a:gd name="connsiteY7" fmla="*/ 1586524 h 5633118"/>
                  <a:gd name="connsiteX8" fmla="*/ 1918706 w 1918706"/>
                  <a:gd name="connsiteY8" fmla="*/ 1985655 h 5633118"/>
                  <a:gd name="connsiteX9" fmla="*/ 1918706 w 1918706"/>
                  <a:gd name="connsiteY9" fmla="*/ 2001351 h 5633118"/>
                  <a:gd name="connsiteX10" fmla="*/ 1918706 w 1918706"/>
                  <a:gd name="connsiteY10" fmla="*/ 2009125 h 5633118"/>
                  <a:gd name="connsiteX11" fmla="*/ 1918706 w 1918706"/>
                  <a:gd name="connsiteY11" fmla="*/ 2073109 h 5633118"/>
                  <a:gd name="connsiteX12" fmla="*/ 1918706 w 1918706"/>
                  <a:gd name="connsiteY12" fmla="*/ 2081031 h 5633118"/>
                  <a:gd name="connsiteX13" fmla="*/ 1918706 w 1918706"/>
                  <a:gd name="connsiteY13" fmla="*/ 2088805 h 5633118"/>
                  <a:gd name="connsiteX14" fmla="*/ 1918706 w 1918706"/>
                  <a:gd name="connsiteY14" fmla="*/ 2503632 h 5633118"/>
                  <a:gd name="connsiteX15" fmla="*/ 1918706 w 1918706"/>
                  <a:gd name="connsiteY15" fmla="*/ 2511407 h 5633118"/>
                  <a:gd name="connsiteX16" fmla="*/ 1918706 w 1918706"/>
                  <a:gd name="connsiteY16" fmla="*/ 2567616 h 5633118"/>
                  <a:gd name="connsiteX17" fmla="*/ 1918706 w 1918706"/>
                  <a:gd name="connsiteY17" fmla="*/ 2583313 h 5633118"/>
                  <a:gd name="connsiteX18" fmla="*/ 1918706 w 1918706"/>
                  <a:gd name="connsiteY18" fmla="*/ 2591087 h 5633118"/>
                  <a:gd name="connsiteX19" fmla="*/ 1918706 w 1918706"/>
                  <a:gd name="connsiteY19" fmla="*/ 2992759 h 5633118"/>
                  <a:gd name="connsiteX20" fmla="*/ 1918706 w 1918706"/>
                  <a:gd name="connsiteY20" fmla="*/ 3005914 h 5633118"/>
                  <a:gd name="connsiteX21" fmla="*/ 1918706 w 1918706"/>
                  <a:gd name="connsiteY21" fmla="*/ 3013688 h 5633118"/>
                  <a:gd name="connsiteX22" fmla="*/ 1918706 w 1918706"/>
                  <a:gd name="connsiteY22" fmla="*/ 3085594 h 5633118"/>
                  <a:gd name="connsiteX23" fmla="*/ 1918706 w 1918706"/>
                  <a:gd name="connsiteY23" fmla="*/ 3093368 h 5633118"/>
                  <a:gd name="connsiteX24" fmla="*/ 1918706 w 1918706"/>
                  <a:gd name="connsiteY24" fmla="*/ 3487266 h 5633118"/>
                  <a:gd name="connsiteX25" fmla="*/ 1918706 w 1918706"/>
                  <a:gd name="connsiteY25" fmla="*/ 3508195 h 5633118"/>
                  <a:gd name="connsiteX26" fmla="*/ 1918706 w 1918706"/>
                  <a:gd name="connsiteY26" fmla="*/ 3515969 h 5633118"/>
                  <a:gd name="connsiteX27" fmla="*/ 1918706 w 1918706"/>
                  <a:gd name="connsiteY27" fmla="*/ 3574721 h 5633118"/>
                  <a:gd name="connsiteX28" fmla="*/ 1918706 w 1918706"/>
                  <a:gd name="connsiteY28" fmla="*/ 3587875 h 5633118"/>
                  <a:gd name="connsiteX29" fmla="*/ 1918706 w 1918706"/>
                  <a:gd name="connsiteY29" fmla="*/ 3595649 h 5633118"/>
                  <a:gd name="connsiteX30" fmla="*/ 1918706 w 1918706"/>
                  <a:gd name="connsiteY30" fmla="*/ 3997322 h 5633118"/>
                  <a:gd name="connsiteX31" fmla="*/ 1918706 w 1918706"/>
                  <a:gd name="connsiteY31" fmla="*/ 4010476 h 5633118"/>
                  <a:gd name="connsiteX32" fmla="*/ 1918706 w 1918706"/>
                  <a:gd name="connsiteY32" fmla="*/ 4069228 h 5633118"/>
                  <a:gd name="connsiteX33" fmla="*/ 1918706 w 1918706"/>
                  <a:gd name="connsiteY33" fmla="*/ 4090156 h 5633118"/>
                  <a:gd name="connsiteX34" fmla="*/ 1918706 w 1918706"/>
                  <a:gd name="connsiteY34" fmla="*/ 4097931 h 5633118"/>
                  <a:gd name="connsiteX35" fmla="*/ 1918706 w 1918706"/>
                  <a:gd name="connsiteY35" fmla="*/ 4491829 h 5633118"/>
                  <a:gd name="connsiteX36" fmla="*/ 1918706 w 1918706"/>
                  <a:gd name="connsiteY36" fmla="*/ 4579284 h 5633118"/>
                  <a:gd name="connsiteX37" fmla="*/ 1918706 w 1918706"/>
                  <a:gd name="connsiteY37" fmla="*/ 4592438 h 5633118"/>
                  <a:gd name="connsiteX38" fmla="*/ 1918706 w 1918706"/>
                  <a:gd name="connsiteY38" fmla="*/ 5073791 h 5633118"/>
                  <a:gd name="connsiteX39" fmla="*/ 959355 w 1918706"/>
                  <a:gd name="connsiteY39" fmla="*/ 5633118 h 5633118"/>
                  <a:gd name="connsiteX40" fmla="*/ 0 w 1918706"/>
                  <a:gd name="connsiteY40" fmla="*/ 5073791 h 5633118"/>
                  <a:gd name="connsiteX41" fmla="*/ 0 w 1918706"/>
                  <a:gd name="connsiteY41" fmla="*/ 4592438 h 5633118"/>
                  <a:gd name="connsiteX42" fmla="*/ 0 w 1918706"/>
                  <a:gd name="connsiteY42" fmla="*/ 4579284 h 5633118"/>
                  <a:gd name="connsiteX43" fmla="*/ 0 w 1918706"/>
                  <a:gd name="connsiteY43" fmla="*/ 4491829 h 5633118"/>
                  <a:gd name="connsiteX44" fmla="*/ 0 w 1918706"/>
                  <a:gd name="connsiteY44" fmla="*/ 4097931 h 5633118"/>
                  <a:gd name="connsiteX45" fmla="*/ 0 w 1918706"/>
                  <a:gd name="connsiteY45" fmla="*/ 4090156 h 5633118"/>
                  <a:gd name="connsiteX46" fmla="*/ 0 w 1918706"/>
                  <a:gd name="connsiteY46" fmla="*/ 4069228 h 5633118"/>
                  <a:gd name="connsiteX47" fmla="*/ 0 w 1918706"/>
                  <a:gd name="connsiteY47" fmla="*/ 4010476 h 5633118"/>
                  <a:gd name="connsiteX48" fmla="*/ 0 w 1918706"/>
                  <a:gd name="connsiteY48" fmla="*/ 3997322 h 5633118"/>
                  <a:gd name="connsiteX49" fmla="*/ 0 w 1918706"/>
                  <a:gd name="connsiteY49" fmla="*/ 3595649 h 5633118"/>
                  <a:gd name="connsiteX50" fmla="*/ 0 w 1918706"/>
                  <a:gd name="connsiteY50" fmla="*/ 3587875 h 5633118"/>
                  <a:gd name="connsiteX51" fmla="*/ 0 w 1918706"/>
                  <a:gd name="connsiteY51" fmla="*/ 3574721 h 5633118"/>
                  <a:gd name="connsiteX52" fmla="*/ 0 w 1918706"/>
                  <a:gd name="connsiteY52" fmla="*/ 3515969 h 5633118"/>
                  <a:gd name="connsiteX53" fmla="*/ 0 w 1918706"/>
                  <a:gd name="connsiteY53" fmla="*/ 3508195 h 5633118"/>
                  <a:gd name="connsiteX54" fmla="*/ 0 w 1918706"/>
                  <a:gd name="connsiteY54" fmla="*/ 3487266 h 5633118"/>
                  <a:gd name="connsiteX55" fmla="*/ 0 w 1918706"/>
                  <a:gd name="connsiteY5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63054 h 5633118"/>
                  <a:gd name="connsiteX6" fmla="*/ 1918706 w 1918706"/>
                  <a:gd name="connsiteY6" fmla="*/ 1586524 h 5633118"/>
                  <a:gd name="connsiteX7" fmla="*/ 1918706 w 1918706"/>
                  <a:gd name="connsiteY7" fmla="*/ 1985655 h 5633118"/>
                  <a:gd name="connsiteX8" fmla="*/ 1918706 w 1918706"/>
                  <a:gd name="connsiteY8" fmla="*/ 2001351 h 5633118"/>
                  <a:gd name="connsiteX9" fmla="*/ 1918706 w 1918706"/>
                  <a:gd name="connsiteY9" fmla="*/ 2009125 h 5633118"/>
                  <a:gd name="connsiteX10" fmla="*/ 1918706 w 1918706"/>
                  <a:gd name="connsiteY10" fmla="*/ 2073109 h 5633118"/>
                  <a:gd name="connsiteX11" fmla="*/ 1918706 w 1918706"/>
                  <a:gd name="connsiteY11" fmla="*/ 2081031 h 5633118"/>
                  <a:gd name="connsiteX12" fmla="*/ 1918706 w 1918706"/>
                  <a:gd name="connsiteY12" fmla="*/ 2088805 h 5633118"/>
                  <a:gd name="connsiteX13" fmla="*/ 1918706 w 1918706"/>
                  <a:gd name="connsiteY13" fmla="*/ 2503632 h 5633118"/>
                  <a:gd name="connsiteX14" fmla="*/ 1918706 w 1918706"/>
                  <a:gd name="connsiteY14" fmla="*/ 2511407 h 5633118"/>
                  <a:gd name="connsiteX15" fmla="*/ 1918706 w 1918706"/>
                  <a:gd name="connsiteY15" fmla="*/ 2567616 h 5633118"/>
                  <a:gd name="connsiteX16" fmla="*/ 1918706 w 1918706"/>
                  <a:gd name="connsiteY16" fmla="*/ 2583313 h 5633118"/>
                  <a:gd name="connsiteX17" fmla="*/ 1918706 w 1918706"/>
                  <a:gd name="connsiteY17" fmla="*/ 2591087 h 5633118"/>
                  <a:gd name="connsiteX18" fmla="*/ 1918706 w 1918706"/>
                  <a:gd name="connsiteY18" fmla="*/ 2992759 h 5633118"/>
                  <a:gd name="connsiteX19" fmla="*/ 1918706 w 1918706"/>
                  <a:gd name="connsiteY19" fmla="*/ 3005914 h 5633118"/>
                  <a:gd name="connsiteX20" fmla="*/ 1918706 w 1918706"/>
                  <a:gd name="connsiteY20" fmla="*/ 3013688 h 5633118"/>
                  <a:gd name="connsiteX21" fmla="*/ 1918706 w 1918706"/>
                  <a:gd name="connsiteY21" fmla="*/ 3085594 h 5633118"/>
                  <a:gd name="connsiteX22" fmla="*/ 1918706 w 1918706"/>
                  <a:gd name="connsiteY22" fmla="*/ 3093368 h 5633118"/>
                  <a:gd name="connsiteX23" fmla="*/ 1918706 w 1918706"/>
                  <a:gd name="connsiteY23" fmla="*/ 3487266 h 5633118"/>
                  <a:gd name="connsiteX24" fmla="*/ 1918706 w 1918706"/>
                  <a:gd name="connsiteY24" fmla="*/ 3508195 h 5633118"/>
                  <a:gd name="connsiteX25" fmla="*/ 1918706 w 1918706"/>
                  <a:gd name="connsiteY25" fmla="*/ 3515969 h 5633118"/>
                  <a:gd name="connsiteX26" fmla="*/ 1918706 w 1918706"/>
                  <a:gd name="connsiteY26" fmla="*/ 3574721 h 5633118"/>
                  <a:gd name="connsiteX27" fmla="*/ 1918706 w 1918706"/>
                  <a:gd name="connsiteY27" fmla="*/ 3587875 h 5633118"/>
                  <a:gd name="connsiteX28" fmla="*/ 1918706 w 1918706"/>
                  <a:gd name="connsiteY28" fmla="*/ 3595649 h 5633118"/>
                  <a:gd name="connsiteX29" fmla="*/ 1918706 w 1918706"/>
                  <a:gd name="connsiteY29" fmla="*/ 3997322 h 5633118"/>
                  <a:gd name="connsiteX30" fmla="*/ 1918706 w 1918706"/>
                  <a:gd name="connsiteY30" fmla="*/ 4010476 h 5633118"/>
                  <a:gd name="connsiteX31" fmla="*/ 1918706 w 1918706"/>
                  <a:gd name="connsiteY31" fmla="*/ 4069228 h 5633118"/>
                  <a:gd name="connsiteX32" fmla="*/ 1918706 w 1918706"/>
                  <a:gd name="connsiteY32" fmla="*/ 4090156 h 5633118"/>
                  <a:gd name="connsiteX33" fmla="*/ 1918706 w 1918706"/>
                  <a:gd name="connsiteY33" fmla="*/ 4097931 h 5633118"/>
                  <a:gd name="connsiteX34" fmla="*/ 1918706 w 1918706"/>
                  <a:gd name="connsiteY34" fmla="*/ 4491829 h 5633118"/>
                  <a:gd name="connsiteX35" fmla="*/ 1918706 w 1918706"/>
                  <a:gd name="connsiteY35" fmla="*/ 4579284 h 5633118"/>
                  <a:gd name="connsiteX36" fmla="*/ 1918706 w 1918706"/>
                  <a:gd name="connsiteY36" fmla="*/ 4592438 h 5633118"/>
                  <a:gd name="connsiteX37" fmla="*/ 1918706 w 1918706"/>
                  <a:gd name="connsiteY37" fmla="*/ 5073791 h 5633118"/>
                  <a:gd name="connsiteX38" fmla="*/ 959355 w 1918706"/>
                  <a:gd name="connsiteY38" fmla="*/ 5633118 h 5633118"/>
                  <a:gd name="connsiteX39" fmla="*/ 0 w 1918706"/>
                  <a:gd name="connsiteY39" fmla="*/ 5073791 h 5633118"/>
                  <a:gd name="connsiteX40" fmla="*/ 0 w 1918706"/>
                  <a:gd name="connsiteY40" fmla="*/ 4592438 h 5633118"/>
                  <a:gd name="connsiteX41" fmla="*/ 0 w 1918706"/>
                  <a:gd name="connsiteY41" fmla="*/ 4579284 h 5633118"/>
                  <a:gd name="connsiteX42" fmla="*/ 0 w 1918706"/>
                  <a:gd name="connsiteY42" fmla="*/ 4491829 h 5633118"/>
                  <a:gd name="connsiteX43" fmla="*/ 0 w 1918706"/>
                  <a:gd name="connsiteY43" fmla="*/ 4097931 h 5633118"/>
                  <a:gd name="connsiteX44" fmla="*/ 0 w 1918706"/>
                  <a:gd name="connsiteY44" fmla="*/ 4090156 h 5633118"/>
                  <a:gd name="connsiteX45" fmla="*/ 0 w 1918706"/>
                  <a:gd name="connsiteY45" fmla="*/ 4069228 h 5633118"/>
                  <a:gd name="connsiteX46" fmla="*/ 0 w 1918706"/>
                  <a:gd name="connsiteY46" fmla="*/ 4010476 h 5633118"/>
                  <a:gd name="connsiteX47" fmla="*/ 0 w 1918706"/>
                  <a:gd name="connsiteY47" fmla="*/ 3997322 h 5633118"/>
                  <a:gd name="connsiteX48" fmla="*/ 0 w 1918706"/>
                  <a:gd name="connsiteY48" fmla="*/ 3595649 h 5633118"/>
                  <a:gd name="connsiteX49" fmla="*/ 0 w 1918706"/>
                  <a:gd name="connsiteY49" fmla="*/ 3587875 h 5633118"/>
                  <a:gd name="connsiteX50" fmla="*/ 0 w 1918706"/>
                  <a:gd name="connsiteY50" fmla="*/ 3574721 h 5633118"/>
                  <a:gd name="connsiteX51" fmla="*/ 0 w 1918706"/>
                  <a:gd name="connsiteY51" fmla="*/ 3515969 h 5633118"/>
                  <a:gd name="connsiteX52" fmla="*/ 0 w 1918706"/>
                  <a:gd name="connsiteY52" fmla="*/ 3508195 h 5633118"/>
                  <a:gd name="connsiteX53" fmla="*/ 0 w 1918706"/>
                  <a:gd name="connsiteY53" fmla="*/ 3487266 h 5633118"/>
                  <a:gd name="connsiteX54" fmla="*/ 0 w 1918706"/>
                  <a:gd name="connsiteY5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563054 h 5633118"/>
                  <a:gd name="connsiteX5" fmla="*/ 1918706 w 1918706"/>
                  <a:gd name="connsiteY5" fmla="*/ 1586524 h 5633118"/>
                  <a:gd name="connsiteX6" fmla="*/ 1918706 w 1918706"/>
                  <a:gd name="connsiteY6" fmla="*/ 1985655 h 5633118"/>
                  <a:gd name="connsiteX7" fmla="*/ 1918706 w 1918706"/>
                  <a:gd name="connsiteY7" fmla="*/ 2001351 h 5633118"/>
                  <a:gd name="connsiteX8" fmla="*/ 1918706 w 1918706"/>
                  <a:gd name="connsiteY8" fmla="*/ 2009125 h 5633118"/>
                  <a:gd name="connsiteX9" fmla="*/ 1918706 w 1918706"/>
                  <a:gd name="connsiteY9" fmla="*/ 2073109 h 5633118"/>
                  <a:gd name="connsiteX10" fmla="*/ 1918706 w 1918706"/>
                  <a:gd name="connsiteY10" fmla="*/ 2081031 h 5633118"/>
                  <a:gd name="connsiteX11" fmla="*/ 1918706 w 1918706"/>
                  <a:gd name="connsiteY11" fmla="*/ 2088805 h 5633118"/>
                  <a:gd name="connsiteX12" fmla="*/ 1918706 w 1918706"/>
                  <a:gd name="connsiteY12" fmla="*/ 2503632 h 5633118"/>
                  <a:gd name="connsiteX13" fmla="*/ 1918706 w 1918706"/>
                  <a:gd name="connsiteY13" fmla="*/ 2511407 h 5633118"/>
                  <a:gd name="connsiteX14" fmla="*/ 1918706 w 1918706"/>
                  <a:gd name="connsiteY14" fmla="*/ 2567616 h 5633118"/>
                  <a:gd name="connsiteX15" fmla="*/ 1918706 w 1918706"/>
                  <a:gd name="connsiteY15" fmla="*/ 2583313 h 5633118"/>
                  <a:gd name="connsiteX16" fmla="*/ 1918706 w 1918706"/>
                  <a:gd name="connsiteY16" fmla="*/ 2591087 h 5633118"/>
                  <a:gd name="connsiteX17" fmla="*/ 1918706 w 1918706"/>
                  <a:gd name="connsiteY17" fmla="*/ 2992759 h 5633118"/>
                  <a:gd name="connsiteX18" fmla="*/ 1918706 w 1918706"/>
                  <a:gd name="connsiteY18" fmla="*/ 3005914 h 5633118"/>
                  <a:gd name="connsiteX19" fmla="*/ 1918706 w 1918706"/>
                  <a:gd name="connsiteY19" fmla="*/ 3013688 h 5633118"/>
                  <a:gd name="connsiteX20" fmla="*/ 1918706 w 1918706"/>
                  <a:gd name="connsiteY20" fmla="*/ 3085594 h 5633118"/>
                  <a:gd name="connsiteX21" fmla="*/ 1918706 w 1918706"/>
                  <a:gd name="connsiteY21" fmla="*/ 3093368 h 5633118"/>
                  <a:gd name="connsiteX22" fmla="*/ 1918706 w 1918706"/>
                  <a:gd name="connsiteY22" fmla="*/ 3487266 h 5633118"/>
                  <a:gd name="connsiteX23" fmla="*/ 1918706 w 1918706"/>
                  <a:gd name="connsiteY23" fmla="*/ 3508195 h 5633118"/>
                  <a:gd name="connsiteX24" fmla="*/ 1918706 w 1918706"/>
                  <a:gd name="connsiteY24" fmla="*/ 3515969 h 5633118"/>
                  <a:gd name="connsiteX25" fmla="*/ 1918706 w 1918706"/>
                  <a:gd name="connsiteY25" fmla="*/ 3574721 h 5633118"/>
                  <a:gd name="connsiteX26" fmla="*/ 1918706 w 1918706"/>
                  <a:gd name="connsiteY26" fmla="*/ 3587875 h 5633118"/>
                  <a:gd name="connsiteX27" fmla="*/ 1918706 w 1918706"/>
                  <a:gd name="connsiteY27" fmla="*/ 3595649 h 5633118"/>
                  <a:gd name="connsiteX28" fmla="*/ 1918706 w 1918706"/>
                  <a:gd name="connsiteY28" fmla="*/ 3997322 h 5633118"/>
                  <a:gd name="connsiteX29" fmla="*/ 1918706 w 1918706"/>
                  <a:gd name="connsiteY29" fmla="*/ 4010476 h 5633118"/>
                  <a:gd name="connsiteX30" fmla="*/ 1918706 w 1918706"/>
                  <a:gd name="connsiteY30" fmla="*/ 4069228 h 5633118"/>
                  <a:gd name="connsiteX31" fmla="*/ 1918706 w 1918706"/>
                  <a:gd name="connsiteY31" fmla="*/ 4090156 h 5633118"/>
                  <a:gd name="connsiteX32" fmla="*/ 1918706 w 1918706"/>
                  <a:gd name="connsiteY32" fmla="*/ 4097931 h 5633118"/>
                  <a:gd name="connsiteX33" fmla="*/ 1918706 w 1918706"/>
                  <a:gd name="connsiteY33" fmla="*/ 4491829 h 5633118"/>
                  <a:gd name="connsiteX34" fmla="*/ 1918706 w 1918706"/>
                  <a:gd name="connsiteY34" fmla="*/ 4579284 h 5633118"/>
                  <a:gd name="connsiteX35" fmla="*/ 1918706 w 1918706"/>
                  <a:gd name="connsiteY35" fmla="*/ 4592438 h 5633118"/>
                  <a:gd name="connsiteX36" fmla="*/ 1918706 w 1918706"/>
                  <a:gd name="connsiteY36" fmla="*/ 5073791 h 5633118"/>
                  <a:gd name="connsiteX37" fmla="*/ 959355 w 1918706"/>
                  <a:gd name="connsiteY37" fmla="*/ 5633118 h 5633118"/>
                  <a:gd name="connsiteX38" fmla="*/ 0 w 1918706"/>
                  <a:gd name="connsiteY38" fmla="*/ 5073791 h 5633118"/>
                  <a:gd name="connsiteX39" fmla="*/ 0 w 1918706"/>
                  <a:gd name="connsiteY39" fmla="*/ 4592438 h 5633118"/>
                  <a:gd name="connsiteX40" fmla="*/ 0 w 1918706"/>
                  <a:gd name="connsiteY40" fmla="*/ 4579284 h 5633118"/>
                  <a:gd name="connsiteX41" fmla="*/ 0 w 1918706"/>
                  <a:gd name="connsiteY41" fmla="*/ 4491829 h 5633118"/>
                  <a:gd name="connsiteX42" fmla="*/ 0 w 1918706"/>
                  <a:gd name="connsiteY42" fmla="*/ 4097931 h 5633118"/>
                  <a:gd name="connsiteX43" fmla="*/ 0 w 1918706"/>
                  <a:gd name="connsiteY43" fmla="*/ 4090156 h 5633118"/>
                  <a:gd name="connsiteX44" fmla="*/ 0 w 1918706"/>
                  <a:gd name="connsiteY44" fmla="*/ 4069228 h 5633118"/>
                  <a:gd name="connsiteX45" fmla="*/ 0 w 1918706"/>
                  <a:gd name="connsiteY45" fmla="*/ 4010476 h 5633118"/>
                  <a:gd name="connsiteX46" fmla="*/ 0 w 1918706"/>
                  <a:gd name="connsiteY46" fmla="*/ 3997322 h 5633118"/>
                  <a:gd name="connsiteX47" fmla="*/ 0 w 1918706"/>
                  <a:gd name="connsiteY47" fmla="*/ 3595649 h 5633118"/>
                  <a:gd name="connsiteX48" fmla="*/ 0 w 1918706"/>
                  <a:gd name="connsiteY48" fmla="*/ 3587875 h 5633118"/>
                  <a:gd name="connsiteX49" fmla="*/ 0 w 1918706"/>
                  <a:gd name="connsiteY49" fmla="*/ 3574721 h 5633118"/>
                  <a:gd name="connsiteX50" fmla="*/ 0 w 1918706"/>
                  <a:gd name="connsiteY50" fmla="*/ 3515969 h 5633118"/>
                  <a:gd name="connsiteX51" fmla="*/ 0 w 1918706"/>
                  <a:gd name="connsiteY51" fmla="*/ 3508195 h 5633118"/>
                  <a:gd name="connsiteX52" fmla="*/ 0 w 1918706"/>
                  <a:gd name="connsiteY52" fmla="*/ 3487266 h 5633118"/>
                  <a:gd name="connsiteX53" fmla="*/ 0 w 1918706"/>
                  <a:gd name="connsiteY5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586524 h 5633118"/>
                  <a:gd name="connsiteX5" fmla="*/ 1918706 w 1918706"/>
                  <a:gd name="connsiteY5" fmla="*/ 1985655 h 5633118"/>
                  <a:gd name="connsiteX6" fmla="*/ 1918706 w 1918706"/>
                  <a:gd name="connsiteY6" fmla="*/ 2001351 h 5633118"/>
                  <a:gd name="connsiteX7" fmla="*/ 1918706 w 1918706"/>
                  <a:gd name="connsiteY7" fmla="*/ 2009125 h 5633118"/>
                  <a:gd name="connsiteX8" fmla="*/ 1918706 w 1918706"/>
                  <a:gd name="connsiteY8" fmla="*/ 2073109 h 5633118"/>
                  <a:gd name="connsiteX9" fmla="*/ 1918706 w 1918706"/>
                  <a:gd name="connsiteY9" fmla="*/ 2081031 h 5633118"/>
                  <a:gd name="connsiteX10" fmla="*/ 1918706 w 1918706"/>
                  <a:gd name="connsiteY10" fmla="*/ 2088805 h 5633118"/>
                  <a:gd name="connsiteX11" fmla="*/ 1918706 w 1918706"/>
                  <a:gd name="connsiteY11" fmla="*/ 2503632 h 5633118"/>
                  <a:gd name="connsiteX12" fmla="*/ 1918706 w 1918706"/>
                  <a:gd name="connsiteY12" fmla="*/ 2511407 h 5633118"/>
                  <a:gd name="connsiteX13" fmla="*/ 1918706 w 1918706"/>
                  <a:gd name="connsiteY13" fmla="*/ 2567616 h 5633118"/>
                  <a:gd name="connsiteX14" fmla="*/ 1918706 w 1918706"/>
                  <a:gd name="connsiteY14" fmla="*/ 2583313 h 5633118"/>
                  <a:gd name="connsiteX15" fmla="*/ 1918706 w 1918706"/>
                  <a:gd name="connsiteY15" fmla="*/ 2591087 h 5633118"/>
                  <a:gd name="connsiteX16" fmla="*/ 1918706 w 1918706"/>
                  <a:gd name="connsiteY16" fmla="*/ 2992759 h 5633118"/>
                  <a:gd name="connsiteX17" fmla="*/ 1918706 w 1918706"/>
                  <a:gd name="connsiteY17" fmla="*/ 3005914 h 5633118"/>
                  <a:gd name="connsiteX18" fmla="*/ 1918706 w 1918706"/>
                  <a:gd name="connsiteY18" fmla="*/ 3013688 h 5633118"/>
                  <a:gd name="connsiteX19" fmla="*/ 1918706 w 1918706"/>
                  <a:gd name="connsiteY19" fmla="*/ 3085594 h 5633118"/>
                  <a:gd name="connsiteX20" fmla="*/ 1918706 w 1918706"/>
                  <a:gd name="connsiteY20" fmla="*/ 3093368 h 5633118"/>
                  <a:gd name="connsiteX21" fmla="*/ 1918706 w 1918706"/>
                  <a:gd name="connsiteY21" fmla="*/ 3487266 h 5633118"/>
                  <a:gd name="connsiteX22" fmla="*/ 1918706 w 1918706"/>
                  <a:gd name="connsiteY22" fmla="*/ 3508195 h 5633118"/>
                  <a:gd name="connsiteX23" fmla="*/ 1918706 w 1918706"/>
                  <a:gd name="connsiteY23" fmla="*/ 3515969 h 5633118"/>
                  <a:gd name="connsiteX24" fmla="*/ 1918706 w 1918706"/>
                  <a:gd name="connsiteY24" fmla="*/ 3574721 h 5633118"/>
                  <a:gd name="connsiteX25" fmla="*/ 1918706 w 1918706"/>
                  <a:gd name="connsiteY25" fmla="*/ 3587875 h 5633118"/>
                  <a:gd name="connsiteX26" fmla="*/ 1918706 w 1918706"/>
                  <a:gd name="connsiteY26" fmla="*/ 3595649 h 5633118"/>
                  <a:gd name="connsiteX27" fmla="*/ 1918706 w 1918706"/>
                  <a:gd name="connsiteY27" fmla="*/ 3997322 h 5633118"/>
                  <a:gd name="connsiteX28" fmla="*/ 1918706 w 1918706"/>
                  <a:gd name="connsiteY28" fmla="*/ 4010476 h 5633118"/>
                  <a:gd name="connsiteX29" fmla="*/ 1918706 w 1918706"/>
                  <a:gd name="connsiteY29" fmla="*/ 4069228 h 5633118"/>
                  <a:gd name="connsiteX30" fmla="*/ 1918706 w 1918706"/>
                  <a:gd name="connsiteY30" fmla="*/ 4090156 h 5633118"/>
                  <a:gd name="connsiteX31" fmla="*/ 1918706 w 1918706"/>
                  <a:gd name="connsiteY31" fmla="*/ 4097931 h 5633118"/>
                  <a:gd name="connsiteX32" fmla="*/ 1918706 w 1918706"/>
                  <a:gd name="connsiteY32" fmla="*/ 4491829 h 5633118"/>
                  <a:gd name="connsiteX33" fmla="*/ 1918706 w 1918706"/>
                  <a:gd name="connsiteY33" fmla="*/ 4579284 h 5633118"/>
                  <a:gd name="connsiteX34" fmla="*/ 1918706 w 1918706"/>
                  <a:gd name="connsiteY34" fmla="*/ 4592438 h 5633118"/>
                  <a:gd name="connsiteX35" fmla="*/ 1918706 w 1918706"/>
                  <a:gd name="connsiteY35" fmla="*/ 5073791 h 5633118"/>
                  <a:gd name="connsiteX36" fmla="*/ 959355 w 1918706"/>
                  <a:gd name="connsiteY36" fmla="*/ 5633118 h 5633118"/>
                  <a:gd name="connsiteX37" fmla="*/ 0 w 1918706"/>
                  <a:gd name="connsiteY37" fmla="*/ 5073791 h 5633118"/>
                  <a:gd name="connsiteX38" fmla="*/ 0 w 1918706"/>
                  <a:gd name="connsiteY38" fmla="*/ 4592438 h 5633118"/>
                  <a:gd name="connsiteX39" fmla="*/ 0 w 1918706"/>
                  <a:gd name="connsiteY39" fmla="*/ 4579284 h 5633118"/>
                  <a:gd name="connsiteX40" fmla="*/ 0 w 1918706"/>
                  <a:gd name="connsiteY40" fmla="*/ 4491829 h 5633118"/>
                  <a:gd name="connsiteX41" fmla="*/ 0 w 1918706"/>
                  <a:gd name="connsiteY41" fmla="*/ 4097931 h 5633118"/>
                  <a:gd name="connsiteX42" fmla="*/ 0 w 1918706"/>
                  <a:gd name="connsiteY42" fmla="*/ 4090156 h 5633118"/>
                  <a:gd name="connsiteX43" fmla="*/ 0 w 1918706"/>
                  <a:gd name="connsiteY43" fmla="*/ 4069228 h 5633118"/>
                  <a:gd name="connsiteX44" fmla="*/ 0 w 1918706"/>
                  <a:gd name="connsiteY44" fmla="*/ 4010476 h 5633118"/>
                  <a:gd name="connsiteX45" fmla="*/ 0 w 1918706"/>
                  <a:gd name="connsiteY45" fmla="*/ 3997322 h 5633118"/>
                  <a:gd name="connsiteX46" fmla="*/ 0 w 1918706"/>
                  <a:gd name="connsiteY46" fmla="*/ 3595649 h 5633118"/>
                  <a:gd name="connsiteX47" fmla="*/ 0 w 1918706"/>
                  <a:gd name="connsiteY47" fmla="*/ 3587875 h 5633118"/>
                  <a:gd name="connsiteX48" fmla="*/ 0 w 1918706"/>
                  <a:gd name="connsiteY48" fmla="*/ 3574721 h 5633118"/>
                  <a:gd name="connsiteX49" fmla="*/ 0 w 1918706"/>
                  <a:gd name="connsiteY49" fmla="*/ 3515969 h 5633118"/>
                  <a:gd name="connsiteX50" fmla="*/ 0 w 1918706"/>
                  <a:gd name="connsiteY50" fmla="*/ 3508195 h 5633118"/>
                  <a:gd name="connsiteX51" fmla="*/ 0 w 1918706"/>
                  <a:gd name="connsiteY51" fmla="*/ 3487266 h 5633118"/>
                  <a:gd name="connsiteX52" fmla="*/ 0 w 1918706"/>
                  <a:gd name="connsiteY5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985655 h 5633118"/>
                  <a:gd name="connsiteX5" fmla="*/ 1918706 w 1918706"/>
                  <a:gd name="connsiteY5" fmla="*/ 2001351 h 5633118"/>
                  <a:gd name="connsiteX6" fmla="*/ 1918706 w 1918706"/>
                  <a:gd name="connsiteY6" fmla="*/ 2009125 h 5633118"/>
                  <a:gd name="connsiteX7" fmla="*/ 1918706 w 1918706"/>
                  <a:gd name="connsiteY7" fmla="*/ 2073109 h 5633118"/>
                  <a:gd name="connsiteX8" fmla="*/ 1918706 w 1918706"/>
                  <a:gd name="connsiteY8" fmla="*/ 2081031 h 5633118"/>
                  <a:gd name="connsiteX9" fmla="*/ 1918706 w 1918706"/>
                  <a:gd name="connsiteY9" fmla="*/ 2088805 h 5633118"/>
                  <a:gd name="connsiteX10" fmla="*/ 1918706 w 1918706"/>
                  <a:gd name="connsiteY10" fmla="*/ 2503632 h 5633118"/>
                  <a:gd name="connsiteX11" fmla="*/ 1918706 w 1918706"/>
                  <a:gd name="connsiteY11" fmla="*/ 2511407 h 5633118"/>
                  <a:gd name="connsiteX12" fmla="*/ 1918706 w 1918706"/>
                  <a:gd name="connsiteY12" fmla="*/ 2567616 h 5633118"/>
                  <a:gd name="connsiteX13" fmla="*/ 1918706 w 1918706"/>
                  <a:gd name="connsiteY13" fmla="*/ 2583313 h 5633118"/>
                  <a:gd name="connsiteX14" fmla="*/ 1918706 w 1918706"/>
                  <a:gd name="connsiteY14" fmla="*/ 2591087 h 5633118"/>
                  <a:gd name="connsiteX15" fmla="*/ 1918706 w 1918706"/>
                  <a:gd name="connsiteY15" fmla="*/ 2992759 h 5633118"/>
                  <a:gd name="connsiteX16" fmla="*/ 1918706 w 1918706"/>
                  <a:gd name="connsiteY16" fmla="*/ 3005914 h 5633118"/>
                  <a:gd name="connsiteX17" fmla="*/ 1918706 w 1918706"/>
                  <a:gd name="connsiteY17" fmla="*/ 3013688 h 5633118"/>
                  <a:gd name="connsiteX18" fmla="*/ 1918706 w 1918706"/>
                  <a:gd name="connsiteY18" fmla="*/ 3085594 h 5633118"/>
                  <a:gd name="connsiteX19" fmla="*/ 1918706 w 1918706"/>
                  <a:gd name="connsiteY19" fmla="*/ 3093368 h 5633118"/>
                  <a:gd name="connsiteX20" fmla="*/ 1918706 w 1918706"/>
                  <a:gd name="connsiteY20" fmla="*/ 3487266 h 5633118"/>
                  <a:gd name="connsiteX21" fmla="*/ 1918706 w 1918706"/>
                  <a:gd name="connsiteY21" fmla="*/ 3508195 h 5633118"/>
                  <a:gd name="connsiteX22" fmla="*/ 1918706 w 1918706"/>
                  <a:gd name="connsiteY22" fmla="*/ 3515969 h 5633118"/>
                  <a:gd name="connsiteX23" fmla="*/ 1918706 w 1918706"/>
                  <a:gd name="connsiteY23" fmla="*/ 3574721 h 5633118"/>
                  <a:gd name="connsiteX24" fmla="*/ 1918706 w 1918706"/>
                  <a:gd name="connsiteY24" fmla="*/ 3587875 h 5633118"/>
                  <a:gd name="connsiteX25" fmla="*/ 1918706 w 1918706"/>
                  <a:gd name="connsiteY25" fmla="*/ 3595649 h 5633118"/>
                  <a:gd name="connsiteX26" fmla="*/ 1918706 w 1918706"/>
                  <a:gd name="connsiteY26" fmla="*/ 3997322 h 5633118"/>
                  <a:gd name="connsiteX27" fmla="*/ 1918706 w 1918706"/>
                  <a:gd name="connsiteY27" fmla="*/ 4010476 h 5633118"/>
                  <a:gd name="connsiteX28" fmla="*/ 1918706 w 1918706"/>
                  <a:gd name="connsiteY28" fmla="*/ 4069228 h 5633118"/>
                  <a:gd name="connsiteX29" fmla="*/ 1918706 w 1918706"/>
                  <a:gd name="connsiteY29" fmla="*/ 4090156 h 5633118"/>
                  <a:gd name="connsiteX30" fmla="*/ 1918706 w 1918706"/>
                  <a:gd name="connsiteY30" fmla="*/ 4097931 h 5633118"/>
                  <a:gd name="connsiteX31" fmla="*/ 1918706 w 1918706"/>
                  <a:gd name="connsiteY31" fmla="*/ 4491829 h 5633118"/>
                  <a:gd name="connsiteX32" fmla="*/ 1918706 w 1918706"/>
                  <a:gd name="connsiteY32" fmla="*/ 4579284 h 5633118"/>
                  <a:gd name="connsiteX33" fmla="*/ 1918706 w 1918706"/>
                  <a:gd name="connsiteY33" fmla="*/ 4592438 h 5633118"/>
                  <a:gd name="connsiteX34" fmla="*/ 1918706 w 1918706"/>
                  <a:gd name="connsiteY34" fmla="*/ 5073791 h 5633118"/>
                  <a:gd name="connsiteX35" fmla="*/ 959355 w 1918706"/>
                  <a:gd name="connsiteY35" fmla="*/ 5633118 h 5633118"/>
                  <a:gd name="connsiteX36" fmla="*/ 0 w 1918706"/>
                  <a:gd name="connsiteY36" fmla="*/ 5073791 h 5633118"/>
                  <a:gd name="connsiteX37" fmla="*/ 0 w 1918706"/>
                  <a:gd name="connsiteY37" fmla="*/ 4592438 h 5633118"/>
                  <a:gd name="connsiteX38" fmla="*/ 0 w 1918706"/>
                  <a:gd name="connsiteY38" fmla="*/ 4579284 h 5633118"/>
                  <a:gd name="connsiteX39" fmla="*/ 0 w 1918706"/>
                  <a:gd name="connsiteY39" fmla="*/ 4491829 h 5633118"/>
                  <a:gd name="connsiteX40" fmla="*/ 0 w 1918706"/>
                  <a:gd name="connsiteY40" fmla="*/ 4097931 h 5633118"/>
                  <a:gd name="connsiteX41" fmla="*/ 0 w 1918706"/>
                  <a:gd name="connsiteY41" fmla="*/ 4090156 h 5633118"/>
                  <a:gd name="connsiteX42" fmla="*/ 0 w 1918706"/>
                  <a:gd name="connsiteY42" fmla="*/ 4069228 h 5633118"/>
                  <a:gd name="connsiteX43" fmla="*/ 0 w 1918706"/>
                  <a:gd name="connsiteY43" fmla="*/ 4010476 h 5633118"/>
                  <a:gd name="connsiteX44" fmla="*/ 0 w 1918706"/>
                  <a:gd name="connsiteY44" fmla="*/ 3997322 h 5633118"/>
                  <a:gd name="connsiteX45" fmla="*/ 0 w 1918706"/>
                  <a:gd name="connsiteY45" fmla="*/ 3595649 h 5633118"/>
                  <a:gd name="connsiteX46" fmla="*/ 0 w 1918706"/>
                  <a:gd name="connsiteY46" fmla="*/ 3587875 h 5633118"/>
                  <a:gd name="connsiteX47" fmla="*/ 0 w 1918706"/>
                  <a:gd name="connsiteY47" fmla="*/ 3574721 h 5633118"/>
                  <a:gd name="connsiteX48" fmla="*/ 0 w 1918706"/>
                  <a:gd name="connsiteY48" fmla="*/ 3515969 h 5633118"/>
                  <a:gd name="connsiteX49" fmla="*/ 0 w 1918706"/>
                  <a:gd name="connsiteY49" fmla="*/ 3508195 h 5633118"/>
                  <a:gd name="connsiteX50" fmla="*/ 0 w 1918706"/>
                  <a:gd name="connsiteY50" fmla="*/ 3487266 h 5633118"/>
                  <a:gd name="connsiteX51" fmla="*/ 0 w 1918706"/>
                  <a:gd name="connsiteY5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09125 h 5633118"/>
                  <a:gd name="connsiteX6" fmla="*/ 1918706 w 1918706"/>
                  <a:gd name="connsiteY6" fmla="*/ 2073109 h 5633118"/>
                  <a:gd name="connsiteX7" fmla="*/ 1918706 w 1918706"/>
                  <a:gd name="connsiteY7" fmla="*/ 2081031 h 5633118"/>
                  <a:gd name="connsiteX8" fmla="*/ 1918706 w 1918706"/>
                  <a:gd name="connsiteY8" fmla="*/ 2088805 h 5633118"/>
                  <a:gd name="connsiteX9" fmla="*/ 1918706 w 1918706"/>
                  <a:gd name="connsiteY9" fmla="*/ 2503632 h 5633118"/>
                  <a:gd name="connsiteX10" fmla="*/ 1918706 w 1918706"/>
                  <a:gd name="connsiteY10" fmla="*/ 2511407 h 5633118"/>
                  <a:gd name="connsiteX11" fmla="*/ 1918706 w 1918706"/>
                  <a:gd name="connsiteY11" fmla="*/ 2567616 h 5633118"/>
                  <a:gd name="connsiteX12" fmla="*/ 1918706 w 1918706"/>
                  <a:gd name="connsiteY12" fmla="*/ 2583313 h 5633118"/>
                  <a:gd name="connsiteX13" fmla="*/ 1918706 w 1918706"/>
                  <a:gd name="connsiteY13" fmla="*/ 2591087 h 5633118"/>
                  <a:gd name="connsiteX14" fmla="*/ 1918706 w 1918706"/>
                  <a:gd name="connsiteY14" fmla="*/ 2992759 h 5633118"/>
                  <a:gd name="connsiteX15" fmla="*/ 1918706 w 1918706"/>
                  <a:gd name="connsiteY15" fmla="*/ 3005914 h 5633118"/>
                  <a:gd name="connsiteX16" fmla="*/ 1918706 w 1918706"/>
                  <a:gd name="connsiteY16" fmla="*/ 3013688 h 5633118"/>
                  <a:gd name="connsiteX17" fmla="*/ 1918706 w 1918706"/>
                  <a:gd name="connsiteY17" fmla="*/ 3085594 h 5633118"/>
                  <a:gd name="connsiteX18" fmla="*/ 1918706 w 1918706"/>
                  <a:gd name="connsiteY18" fmla="*/ 3093368 h 5633118"/>
                  <a:gd name="connsiteX19" fmla="*/ 1918706 w 1918706"/>
                  <a:gd name="connsiteY19" fmla="*/ 3487266 h 5633118"/>
                  <a:gd name="connsiteX20" fmla="*/ 1918706 w 1918706"/>
                  <a:gd name="connsiteY20" fmla="*/ 3508195 h 5633118"/>
                  <a:gd name="connsiteX21" fmla="*/ 1918706 w 1918706"/>
                  <a:gd name="connsiteY21" fmla="*/ 3515969 h 5633118"/>
                  <a:gd name="connsiteX22" fmla="*/ 1918706 w 1918706"/>
                  <a:gd name="connsiteY22" fmla="*/ 3574721 h 5633118"/>
                  <a:gd name="connsiteX23" fmla="*/ 1918706 w 1918706"/>
                  <a:gd name="connsiteY23" fmla="*/ 3587875 h 5633118"/>
                  <a:gd name="connsiteX24" fmla="*/ 1918706 w 1918706"/>
                  <a:gd name="connsiteY24" fmla="*/ 3595649 h 5633118"/>
                  <a:gd name="connsiteX25" fmla="*/ 1918706 w 1918706"/>
                  <a:gd name="connsiteY25" fmla="*/ 3997322 h 5633118"/>
                  <a:gd name="connsiteX26" fmla="*/ 1918706 w 1918706"/>
                  <a:gd name="connsiteY26" fmla="*/ 4010476 h 5633118"/>
                  <a:gd name="connsiteX27" fmla="*/ 1918706 w 1918706"/>
                  <a:gd name="connsiteY27" fmla="*/ 4069228 h 5633118"/>
                  <a:gd name="connsiteX28" fmla="*/ 1918706 w 1918706"/>
                  <a:gd name="connsiteY28" fmla="*/ 4090156 h 5633118"/>
                  <a:gd name="connsiteX29" fmla="*/ 1918706 w 1918706"/>
                  <a:gd name="connsiteY29" fmla="*/ 4097931 h 5633118"/>
                  <a:gd name="connsiteX30" fmla="*/ 1918706 w 1918706"/>
                  <a:gd name="connsiteY30" fmla="*/ 4491829 h 5633118"/>
                  <a:gd name="connsiteX31" fmla="*/ 1918706 w 1918706"/>
                  <a:gd name="connsiteY31" fmla="*/ 4579284 h 5633118"/>
                  <a:gd name="connsiteX32" fmla="*/ 1918706 w 1918706"/>
                  <a:gd name="connsiteY32" fmla="*/ 4592438 h 5633118"/>
                  <a:gd name="connsiteX33" fmla="*/ 1918706 w 1918706"/>
                  <a:gd name="connsiteY33" fmla="*/ 5073791 h 5633118"/>
                  <a:gd name="connsiteX34" fmla="*/ 959355 w 1918706"/>
                  <a:gd name="connsiteY34" fmla="*/ 5633118 h 5633118"/>
                  <a:gd name="connsiteX35" fmla="*/ 0 w 1918706"/>
                  <a:gd name="connsiteY35" fmla="*/ 5073791 h 5633118"/>
                  <a:gd name="connsiteX36" fmla="*/ 0 w 1918706"/>
                  <a:gd name="connsiteY36" fmla="*/ 4592438 h 5633118"/>
                  <a:gd name="connsiteX37" fmla="*/ 0 w 1918706"/>
                  <a:gd name="connsiteY37" fmla="*/ 4579284 h 5633118"/>
                  <a:gd name="connsiteX38" fmla="*/ 0 w 1918706"/>
                  <a:gd name="connsiteY38" fmla="*/ 4491829 h 5633118"/>
                  <a:gd name="connsiteX39" fmla="*/ 0 w 1918706"/>
                  <a:gd name="connsiteY39" fmla="*/ 4097931 h 5633118"/>
                  <a:gd name="connsiteX40" fmla="*/ 0 w 1918706"/>
                  <a:gd name="connsiteY40" fmla="*/ 4090156 h 5633118"/>
                  <a:gd name="connsiteX41" fmla="*/ 0 w 1918706"/>
                  <a:gd name="connsiteY41" fmla="*/ 4069228 h 5633118"/>
                  <a:gd name="connsiteX42" fmla="*/ 0 w 1918706"/>
                  <a:gd name="connsiteY42" fmla="*/ 4010476 h 5633118"/>
                  <a:gd name="connsiteX43" fmla="*/ 0 w 1918706"/>
                  <a:gd name="connsiteY43" fmla="*/ 3997322 h 5633118"/>
                  <a:gd name="connsiteX44" fmla="*/ 0 w 1918706"/>
                  <a:gd name="connsiteY44" fmla="*/ 3595649 h 5633118"/>
                  <a:gd name="connsiteX45" fmla="*/ 0 w 1918706"/>
                  <a:gd name="connsiteY45" fmla="*/ 3587875 h 5633118"/>
                  <a:gd name="connsiteX46" fmla="*/ 0 w 1918706"/>
                  <a:gd name="connsiteY46" fmla="*/ 3574721 h 5633118"/>
                  <a:gd name="connsiteX47" fmla="*/ 0 w 1918706"/>
                  <a:gd name="connsiteY47" fmla="*/ 3515969 h 5633118"/>
                  <a:gd name="connsiteX48" fmla="*/ 0 w 1918706"/>
                  <a:gd name="connsiteY48" fmla="*/ 3508195 h 5633118"/>
                  <a:gd name="connsiteX49" fmla="*/ 0 w 1918706"/>
                  <a:gd name="connsiteY49" fmla="*/ 3487266 h 5633118"/>
                  <a:gd name="connsiteX50" fmla="*/ 0 w 1918706"/>
                  <a:gd name="connsiteY5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73109 h 5633118"/>
                  <a:gd name="connsiteX6" fmla="*/ 1918706 w 1918706"/>
                  <a:gd name="connsiteY6" fmla="*/ 2081031 h 5633118"/>
                  <a:gd name="connsiteX7" fmla="*/ 1918706 w 1918706"/>
                  <a:gd name="connsiteY7" fmla="*/ 2088805 h 5633118"/>
                  <a:gd name="connsiteX8" fmla="*/ 1918706 w 1918706"/>
                  <a:gd name="connsiteY8" fmla="*/ 2503632 h 5633118"/>
                  <a:gd name="connsiteX9" fmla="*/ 1918706 w 1918706"/>
                  <a:gd name="connsiteY9" fmla="*/ 2511407 h 5633118"/>
                  <a:gd name="connsiteX10" fmla="*/ 1918706 w 1918706"/>
                  <a:gd name="connsiteY10" fmla="*/ 2567616 h 5633118"/>
                  <a:gd name="connsiteX11" fmla="*/ 1918706 w 1918706"/>
                  <a:gd name="connsiteY11" fmla="*/ 2583313 h 5633118"/>
                  <a:gd name="connsiteX12" fmla="*/ 1918706 w 1918706"/>
                  <a:gd name="connsiteY12" fmla="*/ 2591087 h 5633118"/>
                  <a:gd name="connsiteX13" fmla="*/ 1918706 w 1918706"/>
                  <a:gd name="connsiteY13" fmla="*/ 2992759 h 5633118"/>
                  <a:gd name="connsiteX14" fmla="*/ 1918706 w 1918706"/>
                  <a:gd name="connsiteY14" fmla="*/ 3005914 h 5633118"/>
                  <a:gd name="connsiteX15" fmla="*/ 1918706 w 1918706"/>
                  <a:gd name="connsiteY15" fmla="*/ 3013688 h 5633118"/>
                  <a:gd name="connsiteX16" fmla="*/ 1918706 w 1918706"/>
                  <a:gd name="connsiteY16" fmla="*/ 3085594 h 5633118"/>
                  <a:gd name="connsiteX17" fmla="*/ 1918706 w 1918706"/>
                  <a:gd name="connsiteY17" fmla="*/ 3093368 h 5633118"/>
                  <a:gd name="connsiteX18" fmla="*/ 1918706 w 1918706"/>
                  <a:gd name="connsiteY18" fmla="*/ 3487266 h 5633118"/>
                  <a:gd name="connsiteX19" fmla="*/ 1918706 w 1918706"/>
                  <a:gd name="connsiteY19" fmla="*/ 3508195 h 5633118"/>
                  <a:gd name="connsiteX20" fmla="*/ 1918706 w 1918706"/>
                  <a:gd name="connsiteY20" fmla="*/ 3515969 h 5633118"/>
                  <a:gd name="connsiteX21" fmla="*/ 1918706 w 1918706"/>
                  <a:gd name="connsiteY21" fmla="*/ 3574721 h 5633118"/>
                  <a:gd name="connsiteX22" fmla="*/ 1918706 w 1918706"/>
                  <a:gd name="connsiteY22" fmla="*/ 3587875 h 5633118"/>
                  <a:gd name="connsiteX23" fmla="*/ 1918706 w 1918706"/>
                  <a:gd name="connsiteY23" fmla="*/ 3595649 h 5633118"/>
                  <a:gd name="connsiteX24" fmla="*/ 1918706 w 1918706"/>
                  <a:gd name="connsiteY24" fmla="*/ 3997322 h 5633118"/>
                  <a:gd name="connsiteX25" fmla="*/ 1918706 w 1918706"/>
                  <a:gd name="connsiteY25" fmla="*/ 4010476 h 5633118"/>
                  <a:gd name="connsiteX26" fmla="*/ 1918706 w 1918706"/>
                  <a:gd name="connsiteY26" fmla="*/ 4069228 h 5633118"/>
                  <a:gd name="connsiteX27" fmla="*/ 1918706 w 1918706"/>
                  <a:gd name="connsiteY27" fmla="*/ 4090156 h 5633118"/>
                  <a:gd name="connsiteX28" fmla="*/ 1918706 w 1918706"/>
                  <a:gd name="connsiteY28" fmla="*/ 4097931 h 5633118"/>
                  <a:gd name="connsiteX29" fmla="*/ 1918706 w 1918706"/>
                  <a:gd name="connsiteY29" fmla="*/ 4491829 h 5633118"/>
                  <a:gd name="connsiteX30" fmla="*/ 1918706 w 1918706"/>
                  <a:gd name="connsiteY30" fmla="*/ 4579284 h 5633118"/>
                  <a:gd name="connsiteX31" fmla="*/ 1918706 w 1918706"/>
                  <a:gd name="connsiteY31" fmla="*/ 4592438 h 5633118"/>
                  <a:gd name="connsiteX32" fmla="*/ 1918706 w 1918706"/>
                  <a:gd name="connsiteY32" fmla="*/ 5073791 h 5633118"/>
                  <a:gd name="connsiteX33" fmla="*/ 959355 w 1918706"/>
                  <a:gd name="connsiteY33" fmla="*/ 5633118 h 5633118"/>
                  <a:gd name="connsiteX34" fmla="*/ 0 w 1918706"/>
                  <a:gd name="connsiteY34" fmla="*/ 5073791 h 5633118"/>
                  <a:gd name="connsiteX35" fmla="*/ 0 w 1918706"/>
                  <a:gd name="connsiteY35" fmla="*/ 4592438 h 5633118"/>
                  <a:gd name="connsiteX36" fmla="*/ 0 w 1918706"/>
                  <a:gd name="connsiteY36" fmla="*/ 4579284 h 5633118"/>
                  <a:gd name="connsiteX37" fmla="*/ 0 w 1918706"/>
                  <a:gd name="connsiteY37" fmla="*/ 4491829 h 5633118"/>
                  <a:gd name="connsiteX38" fmla="*/ 0 w 1918706"/>
                  <a:gd name="connsiteY38" fmla="*/ 4097931 h 5633118"/>
                  <a:gd name="connsiteX39" fmla="*/ 0 w 1918706"/>
                  <a:gd name="connsiteY39" fmla="*/ 4090156 h 5633118"/>
                  <a:gd name="connsiteX40" fmla="*/ 0 w 1918706"/>
                  <a:gd name="connsiteY40" fmla="*/ 4069228 h 5633118"/>
                  <a:gd name="connsiteX41" fmla="*/ 0 w 1918706"/>
                  <a:gd name="connsiteY41" fmla="*/ 4010476 h 5633118"/>
                  <a:gd name="connsiteX42" fmla="*/ 0 w 1918706"/>
                  <a:gd name="connsiteY42" fmla="*/ 3997322 h 5633118"/>
                  <a:gd name="connsiteX43" fmla="*/ 0 w 1918706"/>
                  <a:gd name="connsiteY43" fmla="*/ 3595649 h 5633118"/>
                  <a:gd name="connsiteX44" fmla="*/ 0 w 1918706"/>
                  <a:gd name="connsiteY44" fmla="*/ 3587875 h 5633118"/>
                  <a:gd name="connsiteX45" fmla="*/ 0 w 1918706"/>
                  <a:gd name="connsiteY45" fmla="*/ 3574721 h 5633118"/>
                  <a:gd name="connsiteX46" fmla="*/ 0 w 1918706"/>
                  <a:gd name="connsiteY46" fmla="*/ 3515969 h 5633118"/>
                  <a:gd name="connsiteX47" fmla="*/ 0 w 1918706"/>
                  <a:gd name="connsiteY47" fmla="*/ 3508195 h 5633118"/>
                  <a:gd name="connsiteX48" fmla="*/ 0 w 1918706"/>
                  <a:gd name="connsiteY48" fmla="*/ 3487266 h 5633118"/>
                  <a:gd name="connsiteX49" fmla="*/ 0 w 1918706"/>
                  <a:gd name="connsiteY4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73109 h 5633118"/>
                  <a:gd name="connsiteX5" fmla="*/ 1918706 w 1918706"/>
                  <a:gd name="connsiteY5" fmla="*/ 2081031 h 5633118"/>
                  <a:gd name="connsiteX6" fmla="*/ 1918706 w 1918706"/>
                  <a:gd name="connsiteY6" fmla="*/ 2088805 h 5633118"/>
                  <a:gd name="connsiteX7" fmla="*/ 1918706 w 1918706"/>
                  <a:gd name="connsiteY7" fmla="*/ 2503632 h 5633118"/>
                  <a:gd name="connsiteX8" fmla="*/ 1918706 w 1918706"/>
                  <a:gd name="connsiteY8" fmla="*/ 2511407 h 5633118"/>
                  <a:gd name="connsiteX9" fmla="*/ 1918706 w 1918706"/>
                  <a:gd name="connsiteY9" fmla="*/ 2567616 h 5633118"/>
                  <a:gd name="connsiteX10" fmla="*/ 1918706 w 1918706"/>
                  <a:gd name="connsiteY10" fmla="*/ 2583313 h 5633118"/>
                  <a:gd name="connsiteX11" fmla="*/ 1918706 w 1918706"/>
                  <a:gd name="connsiteY11" fmla="*/ 2591087 h 5633118"/>
                  <a:gd name="connsiteX12" fmla="*/ 1918706 w 1918706"/>
                  <a:gd name="connsiteY12" fmla="*/ 2992759 h 5633118"/>
                  <a:gd name="connsiteX13" fmla="*/ 1918706 w 1918706"/>
                  <a:gd name="connsiteY13" fmla="*/ 3005914 h 5633118"/>
                  <a:gd name="connsiteX14" fmla="*/ 1918706 w 1918706"/>
                  <a:gd name="connsiteY14" fmla="*/ 3013688 h 5633118"/>
                  <a:gd name="connsiteX15" fmla="*/ 1918706 w 1918706"/>
                  <a:gd name="connsiteY15" fmla="*/ 3085594 h 5633118"/>
                  <a:gd name="connsiteX16" fmla="*/ 1918706 w 1918706"/>
                  <a:gd name="connsiteY16" fmla="*/ 3093368 h 5633118"/>
                  <a:gd name="connsiteX17" fmla="*/ 1918706 w 1918706"/>
                  <a:gd name="connsiteY17" fmla="*/ 3487266 h 5633118"/>
                  <a:gd name="connsiteX18" fmla="*/ 1918706 w 1918706"/>
                  <a:gd name="connsiteY18" fmla="*/ 3508195 h 5633118"/>
                  <a:gd name="connsiteX19" fmla="*/ 1918706 w 1918706"/>
                  <a:gd name="connsiteY19" fmla="*/ 3515969 h 5633118"/>
                  <a:gd name="connsiteX20" fmla="*/ 1918706 w 1918706"/>
                  <a:gd name="connsiteY20" fmla="*/ 3574721 h 5633118"/>
                  <a:gd name="connsiteX21" fmla="*/ 1918706 w 1918706"/>
                  <a:gd name="connsiteY21" fmla="*/ 3587875 h 5633118"/>
                  <a:gd name="connsiteX22" fmla="*/ 1918706 w 1918706"/>
                  <a:gd name="connsiteY22" fmla="*/ 3595649 h 5633118"/>
                  <a:gd name="connsiteX23" fmla="*/ 1918706 w 1918706"/>
                  <a:gd name="connsiteY23" fmla="*/ 3997322 h 5633118"/>
                  <a:gd name="connsiteX24" fmla="*/ 1918706 w 1918706"/>
                  <a:gd name="connsiteY24" fmla="*/ 4010476 h 5633118"/>
                  <a:gd name="connsiteX25" fmla="*/ 1918706 w 1918706"/>
                  <a:gd name="connsiteY25" fmla="*/ 4069228 h 5633118"/>
                  <a:gd name="connsiteX26" fmla="*/ 1918706 w 1918706"/>
                  <a:gd name="connsiteY26" fmla="*/ 4090156 h 5633118"/>
                  <a:gd name="connsiteX27" fmla="*/ 1918706 w 1918706"/>
                  <a:gd name="connsiteY27" fmla="*/ 4097931 h 5633118"/>
                  <a:gd name="connsiteX28" fmla="*/ 1918706 w 1918706"/>
                  <a:gd name="connsiteY28" fmla="*/ 4491829 h 5633118"/>
                  <a:gd name="connsiteX29" fmla="*/ 1918706 w 1918706"/>
                  <a:gd name="connsiteY29" fmla="*/ 4579284 h 5633118"/>
                  <a:gd name="connsiteX30" fmla="*/ 1918706 w 1918706"/>
                  <a:gd name="connsiteY30" fmla="*/ 4592438 h 5633118"/>
                  <a:gd name="connsiteX31" fmla="*/ 1918706 w 1918706"/>
                  <a:gd name="connsiteY31" fmla="*/ 5073791 h 5633118"/>
                  <a:gd name="connsiteX32" fmla="*/ 959355 w 1918706"/>
                  <a:gd name="connsiteY32" fmla="*/ 5633118 h 5633118"/>
                  <a:gd name="connsiteX33" fmla="*/ 0 w 1918706"/>
                  <a:gd name="connsiteY33" fmla="*/ 5073791 h 5633118"/>
                  <a:gd name="connsiteX34" fmla="*/ 0 w 1918706"/>
                  <a:gd name="connsiteY34" fmla="*/ 4592438 h 5633118"/>
                  <a:gd name="connsiteX35" fmla="*/ 0 w 1918706"/>
                  <a:gd name="connsiteY35" fmla="*/ 4579284 h 5633118"/>
                  <a:gd name="connsiteX36" fmla="*/ 0 w 1918706"/>
                  <a:gd name="connsiteY36" fmla="*/ 4491829 h 5633118"/>
                  <a:gd name="connsiteX37" fmla="*/ 0 w 1918706"/>
                  <a:gd name="connsiteY37" fmla="*/ 4097931 h 5633118"/>
                  <a:gd name="connsiteX38" fmla="*/ 0 w 1918706"/>
                  <a:gd name="connsiteY38" fmla="*/ 4090156 h 5633118"/>
                  <a:gd name="connsiteX39" fmla="*/ 0 w 1918706"/>
                  <a:gd name="connsiteY39" fmla="*/ 4069228 h 5633118"/>
                  <a:gd name="connsiteX40" fmla="*/ 0 w 1918706"/>
                  <a:gd name="connsiteY40" fmla="*/ 4010476 h 5633118"/>
                  <a:gd name="connsiteX41" fmla="*/ 0 w 1918706"/>
                  <a:gd name="connsiteY41" fmla="*/ 3997322 h 5633118"/>
                  <a:gd name="connsiteX42" fmla="*/ 0 w 1918706"/>
                  <a:gd name="connsiteY42" fmla="*/ 3595649 h 5633118"/>
                  <a:gd name="connsiteX43" fmla="*/ 0 w 1918706"/>
                  <a:gd name="connsiteY43" fmla="*/ 3587875 h 5633118"/>
                  <a:gd name="connsiteX44" fmla="*/ 0 w 1918706"/>
                  <a:gd name="connsiteY44" fmla="*/ 3574721 h 5633118"/>
                  <a:gd name="connsiteX45" fmla="*/ 0 w 1918706"/>
                  <a:gd name="connsiteY45" fmla="*/ 3515969 h 5633118"/>
                  <a:gd name="connsiteX46" fmla="*/ 0 w 1918706"/>
                  <a:gd name="connsiteY46" fmla="*/ 3508195 h 5633118"/>
                  <a:gd name="connsiteX47" fmla="*/ 0 w 1918706"/>
                  <a:gd name="connsiteY47" fmla="*/ 3487266 h 5633118"/>
                  <a:gd name="connsiteX48" fmla="*/ 0 w 1918706"/>
                  <a:gd name="connsiteY4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088805 h 5633118"/>
                  <a:gd name="connsiteX6" fmla="*/ 1918706 w 1918706"/>
                  <a:gd name="connsiteY6" fmla="*/ 2503632 h 5633118"/>
                  <a:gd name="connsiteX7" fmla="*/ 1918706 w 1918706"/>
                  <a:gd name="connsiteY7" fmla="*/ 2511407 h 5633118"/>
                  <a:gd name="connsiteX8" fmla="*/ 1918706 w 1918706"/>
                  <a:gd name="connsiteY8" fmla="*/ 2567616 h 5633118"/>
                  <a:gd name="connsiteX9" fmla="*/ 1918706 w 1918706"/>
                  <a:gd name="connsiteY9" fmla="*/ 2583313 h 5633118"/>
                  <a:gd name="connsiteX10" fmla="*/ 1918706 w 1918706"/>
                  <a:gd name="connsiteY10" fmla="*/ 2591087 h 5633118"/>
                  <a:gd name="connsiteX11" fmla="*/ 1918706 w 1918706"/>
                  <a:gd name="connsiteY11" fmla="*/ 2992759 h 5633118"/>
                  <a:gd name="connsiteX12" fmla="*/ 1918706 w 1918706"/>
                  <a:gd name="connsiteY12" fmla="*/ 3005914 h 5633118"/>
                  <a:gd name="connsiteX13" fmla="*/ 1918706 w 1918706"/>
                  <a:gd name="connsiteY13" fmla="*/ 3013688 h 5633118"/>
                  <a:gd name="connsiteX14" fmla="*/ 1918706 w 1918706"/>
                  <a:gd name="connsiteY14" fmla="*/ 3085594 h 5633118"/>
                  <a:gd name="connsiteX15" fmla="*/ 1918706 w 1918706"/>
                  <a:gd name="connsiteY15" fmla="*/ 3093368 h 5633118"/>
                  <a:gd name="connsiteX16" fmla="*/ 1918706 w 1918706"/>
                  <a:gd name="connsiteY16" fmla="*/ 3487266 h 5633118"/>
                  <a:gd name="connsiteX17" fmla="*/ 1918706 w 1918706"/>
                  <a:gd name="connsiteY17" fmla="*/ 3508195 h 5633118"/>
                  <a:gd name="connsiteX18" fmla="*/ 1918706 w 1918706"/>
                  <a:gd name="connsiteY18" fmla="*/ 3515969 h 5633118"/>
                  <a:gd name="connsiteX19" fmla="*/ 1918706 w 1918706"/>
                  <a:gd name="connsiteY19" fmla="*/ 3574721 h 5633118"/>
                  <a:gd name="connsiteX20" fmla="*/ 1918706 w 1918706"/>
                  <a:gd name="connsiteY20" fmla="*/ 3587875 h 5633118"/>
                  <a:gd name="connsiteX21" fmla="*/ 1918706 w 1918706"/>
                  <a:gd name="connsiteY21" fmla="*/ 3595649 h 5633118"/>
                  <a:gd name="connsiteX22" fmla="*/ 1918706 w 1918706"/>
                  <a:gd name="connsiteY22" fmla="*/ 3997322 h 5633118"/>
                  <a:gd name="connsiteX23" fmla="*/ 1918706 w 1918706"/>
                  <a:gd name="connsiteY23" fmla="*/ 4010476 h 5633118"/>
                  <a:gd name="connsiteX24" fmla="*/ 1918706 w 1918706"/>
                  <a:gd name="connsiteY24" fmla="*/ 4069228 h 5633118"/>
                  <a:gd name="connsiteX25" fmla="*/ 1918706 w 1918706"/>
                  <a:gd name="connsiteY25" fmla="*/ 4090156 h 5633118"/>
                  <a:gd name="connsiteX26" fmla="*/ 1918706 w 1918706"/>
                  <a:gd name="connsiteY26" fmla="*/ 4097931 h 5633118"/>
                  <a:gd name="connsiteX27" fmla="*/ 1918706 w 1918706"/>
                  <a:gd name="connsiteY27" fmla="*/ 4491829 h 5633118"/>
                  <a:gd name="connsiteX28" fmla="*/ 1918706 w 1918706"/>
                  <a:gd name="connsiteY28" fmla="*/ 4579284 h 5633118"/>
                  <a:gd name="connsiteX29" fmla="*/ 1918706 w 1918706"/>
                  <a:gd name="connsiteY29" fmla="*/ 4592438 h 5633118"/>
                  <a:gd name="connsiteX30" fmla="*/ 1918706 w 1918706"/>
                  <a:gd name="connsiteY30" fmla="*/ 5073791 h 5633118"/>
                  <a:gd name="connsiteX31" fmla="*/ 959355 w 1918706"/>
                  <a:gd name="connsiteY31" fmla="*/ 5633118 h 5633118"/>
                  <a:gd name="connsiteX32" fmla="*/ 0 w 1918706"/>
                  <a:gd name="connsiteY32" fmla="*/ 5073791 h 5633118"/>
                  <a:gd name="connsiteX33" fmla="*/ 0 w 1918706"/>
                  <a:gd name="connsiteY33" fmla="*/ 4592438 h 5633118"/>
                  <a:gd name="connsiteX34" fmla="*/ 0 w 1918706"/>
                  <a:gd name="connsiteY34" fmla="*/ 4579284 h 5633118"/>
                  <a:gd name="connsiteX35" fmla="*/ 0 w 1918706"/>
                  <a:gd name="connsiteY35" fmla="*/ 4491829 h 5633118"/>
                  <a:gd name="connsiteX36" fmla="*/ 0 w 1918706"/>
                  <a:gd name="connsiteY36" fmla="*/ 4097931 h 5633118"/>
                  <a:gd name="connsiteX37" fmla="*/ 0 w 1918706"/>
                  <a:gd name="connsiteY37" fmla="*/ 4090156 h 5633118"/>
                  <a:gd name="connsiteX38" fmla="*/ 0 w 1918706"/>
                  <a:gd name="connsiteY38" fmla="*/ 4069228 h 5633118"/>
                  <a:gd name="connsiteX39" fmla="*/ 0 w 1918706"/>
                  <a:gd name="connsiteY39" fmla="*/ 4010476 h 5633118"/>
                  <a:gd name="connsiteX40" fmla="*/ 0 w 1918706"/>
                  <a:gd name="connsiteY40" fmla="*/ 3997322 h 5633118"/>
                  <a:gd name="connsiteX41" fmla="*/ 0 w 1918706"/>
                  <a:gd name="connsiteY41" fmla="*/ 3595649 h 5633118"/>
                  <a:gd name="connsiteX42" fmla="*/ 0 w 1918706"/>
                  <a:gd name="connsiteY42" fmla="*/ 3587875 h 5633118"/>
                  <a:gd name="connsiteX43" fmla="*/ 0 w 1918706"/>
                  <a:gd name="connsiteY43" fmla="*/ 3574721 h 5633118"/>
                  <a:gd name="connsiteX44" fmla="*/ 0 w 1918706"/>
                  <a:gd name="connsiteY44" fmla="*/ 3515969 h 5633118"/>
                  <a:gd name="connsiteX45" fmla="*/ 0 w 1918706"/>
                  <a:gd name="connsiteY45" fmla="*/ 3508195 h 5633118"/>
                  <a:gd name="connsiteX46" fmla="*/ 0 w 1918706"/>
                  <a:gd name="connsiteY46" fmla="*/ 3487266 h 5633118"/>
                  <a:gd name="connsiteX47" fmla="*/ 0 w 1918706"/>
                  <a:gd name="connsiteY4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503632 h 5633118"/>
                  <a:gd name="connsiteX6" fmla="*/ 1918706 w 1918706"/>
                  <a:gd name="connsiteY6" fmla="*/ 2511407 h 5633118"/>
                  <a:gd name="connsiteX7" fmla="*/ 1918706 w 1918706"/>
                  <a:gd name="connsiteY7" fmla="*/ 2567616 h 5633118"/>
                  <a:gd name="connsiteX8" fmla="*/ 1918706 w 1918706"/>
                  <a:gd name="connsiteY8" fmla="*/ 2583313 h 5633118"/>
                  <a:gd name="connsiteX9" fmla="*/ 1918706 w 1918706"/>
                  <a:gd name="connsiteY9" fmla="*/ 2591087 h 5633118"/>
                  <a:gd name="connsiteX10" fmla="*/ 1918706 w 1918706"/>
                  <a:gd name="connsiteY10" fmla="*/ 2992759 h 5633118"/>
                  <a:gd name="connsiteX11" fmla="*/ 1918706 w 1918706"/>
                  <a:gd name="connsiteY11" fmla="*/ 3005914 h 5633118"/>
                  <a:gd name="connsiteX12" fmla="*/ 1918706 w 1918706"/>
                  <a:gd name="connsiteY12" fmla="*/ 3013688 h 5633118"/>
                  <a:gd name="connsiteX13" fmla="*/ 1918706 w 1918706"/>
                  <a:gd name="connsiteY13" fmla="*/ 3085594 h 5633118"/>
                  <a:gd name="connsiteX14" fmla="*/ 1918706 w 1918706"/>
                  <a:gd name="connsiteY14" fmla="*/ 3093368 h 5633118"/>
                  <a:gd name="connsiteX15" fmla="*/ 1918706 w 1918706"/>
                  <a:gd name="connsiteY15" fmla="*/ 3487266 h 5633118"/>
                  <a:gd name="connsiteX16" fmla="*/ 1918706 w 1918706"/>
                  <a:gd name="connsiteY16" fmla="*/ 3508195 h 5633118"/>
                  <a:gd name="connsiteX17" fmla="*/ 1918706 w 1918706"/>
                  <a:gd name="connsiteY17" fmla="*/ 3515969 h 5633118"/>
                  <a:gd name="connsiteX18" fmla="*/ 1918706 w 1918706"/>
                  <a:gd name="connsiteY18" fmla="*/ 3574721 h 5633118"/>
                  <a:gd name="connsiteX19" fmla="*/ 1918706 w 1918706"/>
                  <a:gd name="connsiteY19" fmla="*/ 3587875 h 5633118"/>
                  <a:gd name="connsiteX20" fmla="*/ 1918706 w 1918706"/>
                  <a:gd name="connsiteY20" fmla="*/ 3595649 h 5633118"/>
                  <a:gd name="connsiteX21" fmla="*/ 1918706 w 1918706"/>
                  <a:gd name="connsiteY21" fmla="*/ 3997322 h 5633118"/>
                  <a:gd name="connsiteX22" fmla="*/ 1918706 w 1918706"/>
                  <a:gd name="connsiteY22" fmla="*/ 4010476 h 5633118"/>
                  <a:gd name="connsiteX23" fmla="*/ 1918706 w 1918706"/>
                  <a:gd name="connsiteY23" fmla="*/ 4069228 h 5633118"/>
                  <a:gd name="connsiteX24" fmla="*/ 1918706 w 1918706"/>
                  <a:gd name="connsiteY24" fmla="*/ 4090156 h 5633118"/>
                  <a:gd name="connsiteX25" fmla="*/ 1918706 w 1918706"/>
                  <a:gd name="connsiteY25" fmla="*/ 4097931 h 5633118"/>
                  <a:gd name="connsiteX26" fmla="*/ 1918706 w 1918706"/>
                  <a:gd name="connsiteY26" fmla="*/ 4491829 h 5633118"/>
                  <a:gd name="connsiteX27" fmla="*/ 1918706 w 1918706"/>
                  <a:gd name="connsiteY27" fmla="*/ 4579284 h 5633118"/>
                  <a:gd name="connsiteX28" fmla="*/ 1918706 w 1918706"/>
                  <a:gd name="connsiteY28" fmla="*/ 4592438 h 5633118"/>
                  <a:gd name="connsiteX29" fmla="*/ 1918706 w 1918706"/>
                  <a:gd name="connsiteY29" fmla="*/ 5073791 h 5633118"/>
                  <a:gd name="connsiteX30" fmla="*/ 959355 w 1918706"/>
                  <a:gd name="connsiteY30" fmla="*/ 5633118 h 5633118"/>
                  <a:gd name="connsiteX31" fmla="*/ 0 w 1918706"/>
                  <a:gd name="connsiteY31" fmla="*/ 5073791 h 5633118"/>
                  <a:gd name="connsiteX32" fmla="*/ 0 w 1918706"/>
                  <a:gd name="connsiteY32" fmla="*/ 4592438 h 5633118"/>
                  <a:gd name="connsiteX33" fmla="*/ 0 w 1918706"/>
                  <a:gd name="connsiteY33" fmla="*/ 4579284 h 5633118"/>
                  <a:gd name="connsiteX34" fmla="*/ 0 w 1918706"/>
                  <a:gd name="connsiteY34" fmla="*/ 4491829 h 5633118"/>
                  <a:gd name="connsiteX35" fmla="*/ 0 w 1918706"/>
                  <a:gd name="connsiteY35" fmla="*/ 4097931 h 5633118"/>
                  <a:gd name="connsiteX36" fmla="*/ 0 w 1918706"/>
                  <a:gd name="connsiteY36" fmla="*/ 4090156 h 5633118"/>
                  <a:gd name="connsiteX37" fmla="*/ 0 w 1918706"/>
                  <a:gd name="connsiteY37" fmla="*/ 4069228 h 5633118"/>
                  <a:gd name="connsiteX38" fmla="*/ 0 w 1918706"/>
                  <a:gd name="connsiteY38" fmla="*/ 4010476 h 5633118"/>
                  <a:gd name="connsiteX39" fmla="*/ 0 w 1918706"/>
                  <a:gd name="connsiteY39" fmla="*/ 3997322 h 5633118"/>
                  <a:gd name="connsiteX40" fmla="*/ 0 w 1918706"/>
                  <a:gd name="connsiteY40" fmla="*/ 3595649 h 5633118"/>
                  <a:gd name="connsiteX41" fmla="*/ 0 w 1918706"/>
                  <a:gd name="connsiteY41" fmla="*/ 3587875 h 5633118"/>
                  <a:gd name="connsiteX42" fmla="*/ 0 w 1918706"/>
                  <a:gd name="connsiteY42" fmla="*/ 3574721 h 5633118"/>
                  <a:gd name="connsiteX43" fmla="*/ 0 w 1918706"/>
                  <a:gd name="connsiteY43" fmla="*/ 3515969 h 5633118"/>
                  <a:gd name="connsiteX44" fmla="*/ 0 w 1918706"/>
                  <a:gd name="connsiteY44" fmla="*/ 3508195 h 5633118"/>
                  <a:gd name="connsiteX45" fmla="*/ 0 w 1918706"/>
                  <a:gd name="connsiteY45" fmla="*/ 3487266 h 5633118"/>
                  <a:gd name="connsiteX46" fmla="*/ 0 w 1918706"/>
                  <a:gd name="connsiteY4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503632 h 5633118"/>
                  <a:gd name="connsiteX5" fmla="*/ 1918706 w 1918706"/>
                  <a:gd name="connsiteY5" fmla="*/ 2511407 h 5633118"/>
                  <a:gd name="connsiteX6" fmla="*/ 1918706 w 1918706"/>
                  <a:gd name="connsiteY6" fmla="*/ 2567616 h 5633118"/>
                  <a:gd name="connsiteX7" fmla="*/ 1918706 w 1918706"/>
                  <a:gd name="connsiteY7" fmla="*/ 2583313 h 5633118"/>
                  <a:gd name="connsiteX8" fmla="*/ 1918706 w 1918706"/>
                  <a:gd name="connsiteY8" fmla="*/ 2591087 h 5633118"/>
                  <a:gd name="connsiteX9" fmla="*/ 1918706 w 1918706"/>
                  <a:gd name="connsiteY9" fmla="*/ 2992759 h 5633118"/>
                  <a:gd name="connsiteX10" fmla="*/ 1918706 w 1918706"/>
                  <a:gd name="connsiteY10" fmla="*/ 3005914 h 5633118"/>
                  <a:gd name="connsiteX11" fmla="*/ 1918706 w 1918706"/>
                  <a:gd name="connsiteY11" fmla="*/ 3013688 h 5633118"/>
                  <a:gd name="connsiteX12" fmla="*/ 1918706 w 1918706"/>
                  <a:gd name="connsiteY12" fmla="*/ 3085594 h 5633118"/>
                  <a:gd name="connsiteX13" fmla="*/ 1918706 w 1918706"/>
                  <a:gd name="connsiteY13" fmla="*/ 3093368 h 5633118"/>
                  <a:gd name="connsiteX14" fmla="*/ 1918706 w 1918706"/>
                  <a:gd name="connsiteY14" fmla="*/ 3487266 h 5633118"/>
                  <a:gd name="connsiteX15" fmla="*/ 1918706 w 1918706"/>
                  <a:gd name="connsiteY15" fmla="*/ 3508195 h 5633118"/>
                  <a:gd name="connsiteX16" fmla="*/ 1918706 w 1918706"/>
                  <a:gd name="connsiteY16" fmla="*/ 3515969 h 5633118"/>
                  <a:gd name="connsiteX17" fmla="*/ 1918706 w 1918706"/>
                  <a:gd name="connsiteY17" fmla="*/ 3574721 h 5633118"/>
                  <a:gd name="connsiteX18" fmla="*/ 1918706 w 1918706"/>
                  <a:gd name="connsiteY18" fmla="*/ 3587875 h 5633118"/>
                  <a:gd name="connsiteX19" fmla="*/ 1918706 w 1918706"/>
                  <a:gd name="connsiteY19" fmla="*/ 3595649 h 5633118"/>
                  <a:gd name="connsiteX20" fmla="*/ 1918706 w 1918706"/>
                  <a:gd name="connsiteY20" fmla="*/ 3997322 h 5633118"/>
                  <a:gd name="connsiteX21" fmla="*/ 1918706 w 1918706"/>
                  <a:gd name="connsiteY21" fmla="*/ 4010476 h 5633118"/>
                  <a:gd name="connsiteX22" fmla="*/ 1918706 w 1918706"/>
                  <a:gd name="connsiteY22" fmla="*/ 4069228 h 5633118"/>
                  <a:gd name="connsiteX23" fmla="*/ 1918706 w 1918706"/>
                  <a:gd name="connsiteY23" fmla="*/ 4090156 h 5633118"/>
                  <a:gd name="connsiteX24" fmla="*/ 1918706 w 1918706"/>
                  <a:gd name="connsiteY24" fmla="*/ 4097931 h 5633118"/>
                  <a:gd name="connsiteX25" fmla="*/ 1918706 w 1918706"/>
                  <a:gd name="connsiteY25" fmla="*/ 4491829 h 5633118"/>
                  <a:gd name="connsiteX26" fmla="*/ 1918706 w 1918706"/>
                  <a:gd name="connsiteY26" fmla="*/ 4579284 h 5633118"/>
                  <a:gd name="connsiteX27" fmla="*/ 1918706 w 1918706"/>
                  <a:gd name="connsiteY27" fmla="*/ 4592438 h 5633118"/>
                  <a:gd name="connsiteX28" fmla="*/ 1918706 w 1918706"/>
                  <a:gd name="connsiteY28" fmla="*/ 5073791 h 5633118"/>
                  <a:gd name="connsiteX29" fmla="*/ 959355 w 1918706"/>
                  <a:gd name="connsiteY29" fmla="*/ 5633118 h 5633118"/>
                  <a:gd name="connsiteX30" fmla="*/ 0 w 1918706"/>
                  <a:gd name="connsiteY30" fmla="*/ 5073791 h 5633118"/>
                  <a:gd name="connsiteX31" fmla="*/ 0 w 1918706"/>
                  <a:gd name="connsiteY31" fmla="*/ 4592438 h 5633118"/>
                  <a:gd name="connsiteX32" fmla="*/ 0 w 1918706"/>
                  <a:gd name="connsiteY32" fmla="*/ 4579284 h 5633118"/>
                  <a:gd name="connsiteX33" fmla="*/ 0 w 1918706"/>
                  <a:gd name="connsiteY33" fmla="*/ 4491829 h 5633118"/>
                  <a:gd name="connsiteX34" fmla="*/ 0 w 1918706"/>
                  <a:gd name="connsiteY34" fmla="*/ 4097931 h 5633118"/>
                  <a:gd name="connsiteX35" fmla="*/ 0 w 1918706"/>
                  <a:gd name="connsiteY35" fmla="*/ 4090156 h 5633118"/>
                  <a:gd name="connsiteX36" fmla="*/ 0 w 1918706"/>
                  <a:gd name="connsiteY36" fmla="*/ 4069228 h 5633118"/>
                  <a:gd name="connsiteX37" fmla="*/ 0 w 1918706"/>
                  <a:gd name="connsiteY37" fmla="*/ 4010476 h 5633118"/>
                  <a:gd name="connsiteX38" fmla="*/ 0 w 1918706"/>
                  <a:gd name="connsiteY38" fmla="*/ 3997322 h 5633118"/>
                  <a:gd name="connsiteX39" fmla="*/ 0 w 1918706"/>
                  <a:gd name="connsiteY39" fmla="*/ 3595649 h 5633118"/>
                  <a:gd name="connsiteX40" fmla="*/ 0 w 1918706"/>
                  <a:gd name="connsiteY40" fmla="*/ 3587875 h 5633118"/>
                  <a:gd name="connsiteX41" fmla="*/ 0 w 1918706"/>
                  <a:gd name="connsiteY41" fmla="*/ 3574721 h 5633118"/>
                  <a:gd name="connsiteX42" fmla="*/ 0 w 1918706"/>
                  <a:gd name="connsiteY42" fmla="*/ 3515969 h 5633118"/>
                  <a:gd name="connsiteX43" fmla="*/ 0 w 1918706"/>
                  <a:gd name="connsiteY43" fmla="*/ 3508195 h 5633118"/>
                  <a:gd name="connsiteX44" fmla="*/ 0 w 1918706"/>
                  <a:gd name="connsiteY44" fmla="*/ 3487266 h 5633118"/>
                  <a:gd name="connsiteX45" fmla="*/ 0 w 1918706"/>
                  <a:gd name="connsiteY4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11407 h 5633118"/>
                  <a:gd name="connsiteX5" fmla="*/ 1918706 w 1918706"/>
                  <a:gd name="connsiteY5" fmla="*/ 2567616 h 5633118"/>
                  <a:gd name="connsiteX6" fmla="*/ 1918706 w 1918706"/>
                  <a:gd name="connsiteY6" fmla="*/ 2583313 h 5633118"/>
                  <a:gd name="connsiteX7" fmla="*/ 1918706 w 1918706"/>
                  <a:gd name="connsiteY7" fmla="*/ 2591087 h 5633118"/>
                  <a:gd name="connsiteX8" fmla="*/ 1918706 w 1918706"/>
                  <a:gd name="connsiteY8" fmla="*/ 2992759 h 5633118"/>
                  <a:gd name="connsiteX9" fmla="*/ 1918706 w 1918706"/>
                  <a:gd name="connsiteY9" fmla="*/ 3005914 h 5633118"/>
                  <a:gd name="connsiteX10" fmla="*/ 1918706 w 1918706"/>
                  <a:gd name="connsiteY10" fmla="*/ 3013688 h 5633118"/>
                  <a:gd name="connsiteX11" fmla="*/ 1918706 w 1918706"/>
                  <a:gd name="connsiteY11" fmla="*/ 3085594 h 5633118"/>
                  <a:gd name="connsiteX12" fmla="*/ 1918706 w 1918706"/>
                  <a:gd name="connsiteY12" fmla="*/ 3093368 h 5633118"/>
                  <a:gd name="connsiteX13" fmla="*/ 1918706 w 1918706"/>
                  <a:gd name="connsiteY13" fmla="*/ 3487266 h 5633118"/>
                  <a:gd name="connsiteX14" fmla="*/ 1918706 w 1918706"/>
                  <a:gd name="connsiteY14" fmla="*/ 3508195 h 5633118"/>
                  <a:gd name="connsiteX15" fmla="*/ 1918706 w 1918706"/>
                  <a:gd name="connsiteY15" fmla="*/ 3515969 h 5633118"/>
                  <a:gd name="connsiteX16" fmla="*/ 1918706 w 1918706"/>
                  <a:gd name="connsiteY16" fmla="*/ 3574721 h 5633118"/>
                  <a:gd name="connsiteX17" fmla="*/ 1918706 w 1918706"/>
                  <a:gd name="connsiteY17" fmla="*/ 3587875 h 5633118"/>
                  <a:gd name="connsiteX18" fmla="*/ 1918706 w 1918706"/>
                  <a:gd name="connsiteY18" fmla="*/ 3595649 h 5633118"/>
                  <a:gd name="connsiteX19" fmla="*/ 1918706 w 1918706"/>
                  <a:gd name="connsiteY19" fmla="*/ 3997322 h 5633118"/>
                  <a:gd name="connsiteX20" fmla="*/ 1918706 w 1918706"/>
                  <a:gd name="connsiteY20" fmla="*/ 4010476 h 5633118"/>
                  <a:gd name="connsiteX21" fmla="*/ 1918706 w 1918706"/>
                  <a:gd name="connsiteY21" fmla="*/ 4069228 h 5633118"/>
                  <a:gd name="connsiteX22" fmla="*/ 1918706 w 1918706"/>
                  <a:gd name="connsiteY22" fmla="*/ 4090156 h 5633118"/>
                  <a:gd name="connsiteX23" fmla="*/ 1918706 w 1918706"/>
                  <a:gd name="connsiteY23" fmla="*/ 4097931 h 5633118"/>
                  <a:gd name="connsiteX24" fmla="*/ 1918706 w 1918706"/>
                  <a:gd name="connsiteY24" fmla="*/ 4491829 h 5633118"/>
                  <a:gd name="connsiteX25" fmla="*/ 1918706 w 1918706"/>
                  <a:gd name="connsiteY25" fmla="*/ 4579284 h 5633118"/>
                  <a:gd name="connsiteX26" fmla="*/ 1918706 w 1918706"/>
                  <a:gd name="connsiteY26" fmla="*/ 4592438 h 5633118"/>
                  <a:gd name="connsiteX27" fmla="*/ 1918706 w 1918706"/>
                  <a:gd name="connsiteY27" fmla="*/ 5073791 h 5633118"/>
                  <a:gd name="connsiteX28" fmla="*/ 959355 w 1918706"/>
                  <a:gd name="connsiteY28" fmla="*/ 5633118 h 5633118"/>
                  <a:gd name="connsiteX29" fmla="*/ 0 w 1918706"/>
                  <a:gd name="connsiteY29" fmla="*/ 5073791 h 5633118"/>
                  <a:gd name="connsiteX30" fmla="*/ 0 w 1918706"/>
                  <a:gd name="connsiteY30" fmla="*/ 4592438 h 5633118"/>
                  <a:gd name="connsiteX31" fmla="*/ 0 w 1918706"/>
                  <a:gd name="connsiteY31" fmla="*/ 4579284 h 5633118"/>
                  <a:gd name="connsiteX32" fmla="*/ 0 w 1918706"/>
                  <a:gd name="connsiteY32" fmla="*/ 4491829 h 5633118"/>
                  <a:gd name="connsiteX33" fmla="*/ 0 w 1918706"/>
                  <a:gd name="connsiteY33" fmla="*/ 4097931 h 5633118"/>
                  <a:gd name="connsiteX34" fmla="*/ 0 w 1918706"/>
                  <a:gd name="connsiteY34" fmla="*/ 4090156 h 5633118"/>
                  <a:gd name="connsiteX35" fmla="*/ 0 w 1918706"/>
                  <a:gd name="connsiteY35" fmla="*/ 4069228 h 5633118"/>
                  <a:gd name="connsiteX36" fmla="*/ 0 w 1918706"/>
                  <a:gd name="connsiteY36" fmla="*/ 4010476 h 5633118"/>
                  <a:gd name="connsiteX37" fmla="*/ 0 w 1918706"/>
                  <a:gd name="connsiteY37" fmla="*/ 3997322 h 5633118"/>
                  <a:gd name="connsiteX38" fmla="*/ 0 w 1918706"/>
                  <a:gd name="connsiteY38" fmla="*/ 3595649 h 5633118"/>
                  <a:gd name="connsiteX39" fmla="*/ 0 w 1918706"/>
                  <a:gd name="connsiteY39" fmla="*/ 3587875 h 5633118"/>
                  <a:gd name="connsiteX40" fmla="*/ 0 w 1918706"/>
                  <a:gd name="connsiteY40" fmla="*/ 3574721 h 5633118"/>
                  <a:gd name="connsiteX41" fmla="*/ 0 w 1918706"/>
                  <a:gd name="connsiteY41" fmla="*/ 3515969 h 5633118"/>
                  <a:gd name="connsiteX42" fmla="*/ 0 w 1918706"/>
                  <a:gd name="connsiteY42" fmla="*/ 3508195 h 5633118"/>
                  <a:gd name="connsiteX43" fmla="*/ 0 w 1918706"/>
                  <a:gd name="connsiteY43" fmla="*/ 3487266 h 5633118"/>
                  <a:gd name="connsiteX44" fmla="*/ 0 w 1918706"/>
                  <a:gd name="connsiteY4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67616 h 5633118"/>
                  <a:gd name="connsiteX5" fmla="*/ 1918706 w 1918706"/>
                  <a:gd name="connsiteY5" fmla="*/ 2583313 h 5633118"/>
                  <a:gd name="connsiteX6" fmla="*/ 1918706 w 1918706"/>
                  <a:gd name="connsiteY6" fmla="*/ 2591087 h 5633118"/>
                  <a:gd name="connsiteX7" fmla="*/ 1918706 w 1918706"/>
                  <a:gd name="connsiteY7" fmla="*/ 2992759 h 5633118"/>
                  <a:gd name="connsiteX8" fmla="*/ 1918706 w 1918706"/>
                  <a:gd name="connsiteY8" fmla="*/ 3005914 h 5633118"/>
                  <a:gd name="connsiteX9" fmla="*/ 1918706 w 1918706"/>
                  <a:gd name="connsiteY9" fmla="*/ 3013688 h 5633118"/>
                  <a:gd name="connsiteX10" fmla="*/ 1918706 w 1918706"/>
                  <a:gd name="connsiteY10" fmla="*/ 3085594 h 5633118"/>
                  <a:gd name="connsiteX11" fmla="*/ 1918706 w 1918706"/>
                  <a:gd name="connsiteY11" fmla="*/ 3093368 h 5633118"/>
                  <a:gd name="connsiteX12" fmla="*/ 1918706 w 1918706"/>
                  <a:gd name="connsiteY12" fmla="*/ 3487266 h 5633118"/>
                  <a:gd name="connsiteX13" fmla="*/ 1918706 w 1918706"/>
                  <a:gd name="connsiteY13" fmla="*/ 3508195 h 5633118"/>
                  <a:gd name="connsiteX14" fmla="*/ 1918706 w 1918706"/>
                  <a:gd name="connsiteY14" fmla="*/ 3515969 h 5633118"/>
                  <a:gd name="connsiteX15" fmla="*/ 1918706 w 1918706"/>
                  <a:gd name="connsiteY15" fmla="*/ 3574721 h 5633118"/>
                  <a:gd name="connsiteX16" fmla="*/ 1918706 w 1918706"/>
                  <a:gd name="connsiteY16" fmla="*/ 3587875 h 5633118"/>
                  <a:gd name="connsiteX17" fmla="*/ 1918706 w 1918706"/>
                  <a:gd name="connsiteY17" fmla="*/ 3595649 h 5633118"/>
                  <a:gd name="connsiteX18" fmla="*/ 1918706 w 1918706"/>
                  <a:gd name="connsiteY18" fmla="*/ 3997322 h 5633118"/>
                  <a:gd name="connsiteX19" fmla="*/ 1918706 w 1918706"/>
                  <a:gd name="connsiteY19" fmla="*/ 4010476 h 5633118"/>
                  <a:gd name="connsiteX20" fmla="*/ 1918706 w 1918706"/>
                  <a:gd name="connsiteY20" fmla="*/ 4069228 h 5633118"/>
                  <a:gd name="connsiteX21" fmla="*/ 1918706 w 1918706"/>
                  <a:gd name="connsiteY21" fmla="*/ 4090156 h 5633118"/>
                  <a:gd name="connsiteX22" fmla="*/ 1918706 w 1918706"/>
                  <a:gd name="connsiteY22" fmla="*/ 4097931 h 5633118"/>
                  <a:gd name="connsiteX23" fmla="*/ 1918706 w 1918706"/>
                  <a:gd name="connsiteY23" fmla="*/ 4491829 h 5633118"/>
                  <a:gd name="connsiteX24" fmla="*/ 1918706 w 1918706"/>
                  <a:gd name="connsiteY24" fmla="*/ 4579284 h 5633118"/>
                  <a:gd name="connsiteX25" fmla="*/ 1918706 w 1918706"/>
                  <a:gd name="connsiteY25" fmla="*/ 4592438 h 5633118"/>
                  <a:gd name="connsiteX26" fmla="*/ 1918706 w 1918706"/>
                  <a:gd name="connsiteY26" fmla="*/ 5073791 h 5633118"/>
                  <a:gd name="connsiteX27" fmla="*/ 959355 w 1918706"/>
                  <a:gd name="connsiteY27" fmla="*/ 5633118 h 5633118"/>
                  <a:gd name="connsiteX28" fmla="*/ 0 w 1918706"/>
                  <a:gd name="connsiteY28" fmla="*/ 5073791 h 5633118"/>
                  <a:gd name="connsiteX29" fmla="*/ 0 w 1918706"/>
                  <a:gd name="connsiteY29" fmla="*/ 4592438 h 5633118"/>
                  <a:gd name="connsiteX30" fmla="*/ 0 w 1918706"/>
                  <a:gd name="connsiteY30" fmla="*/ 4579284 h 5633118"/>
                  <a:gd name="connsiteX31" fmla="*/ 0 w 1918706"/>
                  <a:gd name="connsiteY31" fmla="*/ 4491829 h 5633118"/>
                  <a:gd name="connsiteX32" fmla="*/ 0 w 1918706"/>
                  <a:gd name="connsiteY32" fmla="*/ 4097931 h 5633118"/>
                  <a:gd name="connsiteX33" fmla="*/ 0 w 1918706"/>
                  <a:gd name="connsiteY33" fmla="*/ 4090156 h 5633118"/>
                  <a:gd name="connsiteX34" fmla="*/ 0 w 1918706"/>
                  <a:gd name="connsiteY34" fmla="*/ 4069228 h 5633118"/>
                  <a:gd name="connsiteX35" fmla="*/ 0 w 1918706"/>
                  <a:gd name="connsiteY35" fmla="*/ 4010476 h 5633118"/>
                  <a:gd name="connsiteX36" fmla="*/ 0 w 1918706"/>
                  <a:gd name="connsiteY36" fmla="*/ 3997322 h 5633118"/>
                  <a:gd name="connsiteX37" fmla="*/ 0 w 1918706"/>
                  <a:gd name="connsiteY37" fmla="*/ 3595649 h 5633118"/>
                  <a:gd name="connsiteX38" fmla="*/ 0 w 1918706"/>
                  <a:gd name="connsiteY38" fmla="*/ 3587875 h 5633118"/>
                  <a:gd name="connsiteX39" fmla="*/ 0 w 1918706"/>
                  <a:gd name="connsiteY39" fmla="*/ 3574721 h 5633118"/>
                  <a:gd name="connsiteX40" fmla="*/ 0 w 1918706"/>
                  <a:gd name="connsiteY40" fmla="*/ 3515969 h 5633118"/>
                  <a:gd name="connsiteX41" fmla="*/ 0 w 1918706"/>
                  <a:gd name="connsiteY41" fmla="*/ 3508195 h 5633118"/>
                  <a:gd name="connsiteX42" fmla="*/ 0 w 1918706"/>
                  <a:gd name="connsiteY42" fmla="*/ 3487266 h 5633118"/>
                  <a:gd name="connsiteX43" fmla="*/ 0 w 1918706"/>
                  <a:gd name="connsiteY4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591087 h 5633118"/>
                  <a:gd name="connsiteX6" fmla="*/ 1918706 w 1918706"/>
                  <a:gd name="connsiteY6" fmla="*/ 2992759 h 5633118"/>
                  <a:gd name="connsiteX7" fmla="*/ 1918706 w 1918706"/>
                  <a:gd name="connsiteY7" fmla="*/ 3005914 h 5633118"/>
                  <a:gd name="connsiteX8" fmla="*/ 1918706 w 1918706"/>
                  <a:gd name="connsiteY8" fmla="*/ 3013688 h 5633118"/>
                  <a:gd name="connsiteX9" fmla="*/ 1918706 w 1918706"/>
                  <a:gd name="connsiteY9" fmla="*/ 3085594 h 5633118"/>
                  <a:gd name="connsiteX10" fmla="*/ 1918706 w 1918706"/>
                  <a:gd name="connsiteY10" fmla="*/ 3093368 h 5633118"/>
                  <a:gd name="connsiteX11" fmla="*/ 1918706 w 1918706"/>
                  <a:gd name="connsiteY11" fmla="*/ 3487266 h 5633118"/>
                  <a:gd name="connsiteX12" fmla="*/ 1918706 w 1918706"/>
                  <a:gd name="connsiteY12" fmla="*/ 3508195 h 5633118"/>
                  <a:gd name="connsiteX13" fmla="*/ 1918706 w 1918706"/>
                  <a:gd name="connsiteY13" fmla="*/ 3515969 h 5633118"/>
                  <a:gd name="connsiteX14" fmla="*/ 1918706 w 1918706"/>
                  <a:gd name="connsiteY14" fmla="*/ 3574721 h 5633118"/>
                  <a:gd name="connsiteX15" fmla="*/ 1918706 w 1918706"/>
                  <a:gd name="connsiteY15" fmla="*/ 3587875 h 5633118"/>
                  <a:gd name="connsiteX16" fmla="*/ 1918706 w 1918706"/>
                  <a:gd name="connsiteY16" fmla="*/ 3595649 h 5633118"/>
                  <a:gd name="connsiteX17" fmla="*/ 1918706 w 1918706"/>
                  <a:gd name="connsiteY17" fmla="*/ 3997322 h 5633118"/>
                  <a:gd name="connsiteX18" fmla="*/ 1918706 w 1918706"/>
                  <a:gd name="connsiteY18" fmla="*/ 4010476 h 5633118"/>
                  <a:gd name="connsiteX19" fmla="*/ 1918706 w 1918706"/>
                  <a:gd name="connsiteY19" fmla="*/ 4069228 h 5633118"/>
                  <a:gd name="connsiteX20" fmla="*/ 1918706 w 1918706"/>
                  <a:gd name="connsiteY20" fmla="*/ 4090156 h 5633118"/>
                  <a:gd name="connsiteX21" fmla="*/ 1918706 w 1918706"/>
                  <a:gd name="connsiteY21" fmla="*/ 4097931 h 5633118"/>
                  <a:gd name="connsiteX22" fmla="*/ 1918706 w 1918706"/>
                  <a:gd name="connsiteY22" fmla="*/ 4491829 h 5633118"/>
                  <a:gd name="connsiteX23" fmla="*/ 1918706 w 1918706"/>
                  <a:gd name="connsiteY23" fmla="*/ 4579284 h 5633118"/>
                  <a:gd name="connsiteX24" fmla="*/ 1918706 w 1918706"/>
                  <a:gd name="connsiteY24" fmla="*/ 4592438 h 5633118"/>
                  <a:gd name="connsiteX25" fmla="*/ 1918706 w 1918706"/>
                  <a:gd name="connsiteY25" fmla="*/ 5073791 h 5633118"/>
                  <a:gd name="connsiteX26" fmla="*/ 959355 w 1918706"/>
                  <a:gd name="connsiteY26" fmla="*/ 5633118 h 5633118"/>
                  <a:gd name="connsiteX27" fmla="*/ 0 w 1918706"/>
                  <a:gd name="connsiteY27" fmla="*/ 5073791 h 5633118"/>
                  <a:gd name="connsiteX28" fmla="*/ 0 w 1918706"/>
                  <a:gd name="connsiteY28" fmla="*/ 4592438 h 5633118"/>
                  <a:gd name="connsiteX29" fmla="*/ 0 w 1918706"/>
                  <a:gd name="connsiteY29" fmla="*/ 4579284 h 5633118"/>
                  <a:gd name="connsiteX30" fmla="*/ 0 w 1918706"/>
                  <a:gd name="connsiteY30" fmla="*/ 4491829 h 5633118"/>
                  <a:gd name="connsiteX31" fmla="*/ 0 w 1918706"/>
                  <a:gd name="connsiteY31" fmla="*/ 4097931 h 5633118"/>
                  <a:gd name="connsiteX32" fmla="*/ 0 w 1918706"/>
                  <a:gd name="connsiteY32" fmla="*/ 4090156 h 5633118"/>
                  <a:gd name="connsiteX33" fmla="*/ 0 w 1918706"/>
                  <a:gd name="connsiteY33" fmla="*/ 4069228 h 5633118"/>
                  <a:gd name="connsiteX34" fmla="*/ 0 w 1918706"/>
                  <a:gd name="connsiteY34" fmla="*/ 4010476 h 5633118"/>
                  <a:gd name="connsiteX35" fmla="*/ 0 w 1918706"/>
                  <a:gd name="connsiteY35" fmla="*/ 3997322 h 5633118"/>
                  <a:gd name="connsiteX36" fmla="*/ 0 w 1918706"/>
                  <a:gd name="connsiteY36" fmla="*/ 3595649 h 5633118"/>
                  <a:gd name="connsiteX37" fmla="*/ 0 w 1918706"/>
                  <a:gd name="connsiteY37" fmla="*/ 3587875 h 5633118"/>
                  <a:gd name="connsiteX38" fmla="*/ 0 w 1918706"/>
                  <a:gd name="connsiteY38" fmla="*/ 3574721 h 5633118"/>
                  <a:gd name="connsiteX39" fmla="*/ 0 w 1918706"/>
                  <a:gd name="connsiteY39" fmla="*/ 3515969 h 5633118"/>
                  <a:gd name="connsiteX40" fmla="*/ 0 w 1918706"/>
                  <a:gd name="connsiteY40" fmla="*/ 3508195 h 5633118"/>
                  <a:gd name="connsiteX41" fmla="*/ 0 w 1918706"/>
                  <a:gd name="connsiteY41" fmla="*/ 3487266 h 5633118"/>
                  <a:gd name="connsiteX42" fmla="*/ 0 w 1918706"/>
                  <a:gd name="connsiteY4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992759 h 5633118"/>
                  <a:gd name="connsiteX6" fmla="*/ 1918706 w 1918706"/>
                  <a:gd name="connsiteY6" fmla="*/ 3005914 h 5633118"/>
                  <a:gd name="connsiteX7" fmla="*/ 1918706 w 1918706"/>
                  <a:gd name="connsiteY7" fmla="*/ 3013688 h 5633118"/>
                  <a:gd name="connsiteX8" fmla="*/ 1918706 w 1918706"/>
                  <a:gd name="connsiteY8" fmla="*/ 3085594 h 5633118"/>
                  <a:gd name="connsiteX9" fmla="*/ 1918706 w 1918706"/>
                  <a:gd name="connsiteY9" fmla="*/ 3093368 h 5633118"/>
                  <a:gd name="connsiteX10" fmla="*/ 1918706 w 1918706"/>
                  <a:gd name="connsiteY10" fmla="*/ 3487266 h 5633118"/>
                  <a:gd name="connsiteX11" fmla="*/ 1918706 w 1918706"/>
                  <a:gd name="connsiteY11" fmla="*/ 3508195 h 5633118"/>
                  <a:gd name="connsiteX12" fmla="*/ 1918706 w 1918706"/>
                  <a:gd name="connsiteY12" fmla="*/ 3515969 h 5633118"/>
                  <a:gd name="connsiteX13" fmla="*/ 1918706 w 1918706"/>
                  <a:gd name="connsiteY13" fmla="*/ 3574721 h 5633118"/>
                  <a:gd name="connsiteX14" fmla="*/ 1918706 w 1918706"/>
                  <a:gd name="connsiteY14" fmla="*/ 3587875 h 5633118"/>
                  <a:gd name="connsiteX15" fmla="*/ 1918706 w 1918706"/>
                  <a:gd name="connsiteY15" fmla="*/ 3595649 h 5633118"/>
                  <a:gd name="connsiteX16" fmla="*/ 1918706 w 1918706"/>
                  <a:gd name="connsiteY16" fmla="*/ 3997322 h 5633118"/>
                  <a:gd name="connsiteX17" fmla="*/ 1918706 w 1918706"/>
                  <a:gd name="connsiteY17" fmla="*/ 4010476 h 5633118"/>
                  <a:gd name="connsiteX18" fmla="*/ 1918706 w 1918706"/>
                  <a:gd name="connsiteY18" fmla="*/ 4069228 h 5633118"/>
                  <a:gd name="connsiteX19" fmla="*/ 1918706 w 1918706"/>
                  <a:gd name="connsiteY19" fmla="*/ 4090156 h 5633118"/>
                  <a:gd name="connsiteX20" fmla="*/ 1918706 w 1918706"/>
                  <a:gd name="connsiteY20" fmla="*/ 4097931 h 5633118"/>
                  <a:gd name="connsiteX21" fmla="*/ 1918706 w 1918706"/>
                  <a:gd name="connsiteY21" fmla="*/ 4491829 h 5633118"/>
                  <a:gd name="connsiteX22" fmla="*/ 1918706 w 1918706"/>
                  <a:gd name="connsiteY22" fmla="*/ 4579284 h 5633118"/>
                  <a:gd name="connsiteX23" fmla="*/ 1918706 w 1918706"/>
                  <a:gd name="connsiteY23" fmla="*/ 4592438 h 5633118"/>
                  <a:gd name="connsiteX24" fmla="*/ 1918706 w 1918706"/>
                  <a:gd name="connsiteY24" fmla="*/ 5073791 h 5633118"/>
                  <a:gd name="connsiteX25" fmla="*/ 959355 w 1918706"/>
                  <a:gd name="connsiteY25" fmla="*/ 5633118 h 5633118"/>
                  <a:gd name="connsiteX26" fmla="*/ 0 w 1918706"/>
                  <a:gd name="connsiteY26" fmla="*/ 5073791 h 5633118"/>
                  <a:gd name="connsiteX27" fmla="*/ 0 w 1918706"/>
                  <a:gd name="connsiteY27" fmla="*/ 4592438 h 5633118"/>
                  <a:gd name="connsiteX28" fmla="*/ 0 w 1918706"/>
                  <a:gd name="connsiteY28" fmla="*/ 4579284 h 5633118"/>
                  <a:gd name="connsiteX29" fmla="*/ 0 w 1918706"/>
                  <a:gd name="connsiteY29" fmla="*/ 4491829 h 5633118"/>
                  <a:gd name="connsiteX30" fmla="*/ 0 w 1918706"/>
                  <a:gd name="connsiteY30" fmla="*/ 4097931 h 5633118"/>
                  <a:gd name="connsiteX31" fmla="*/ 0 w 1918706"/>
                  <a:gd name="connsiteY31" fmla="*/ 4090156 h 5633118"/>
                  <a:gd name="connsiteX32" fmla="*/ 0 w 1918706"/>
                  <a:gd name="connsiteY32" fmla="*/ 4069228 h 5633118"/>
                  <a:gd name="connsiteX33" fmla="*/ 0 w 1918706"/>
                  <a:gd name="connsiteY33" fmla="*/ 4010476 h 5633118"/>
                  <a:gd name="connsiteX34" fmla="*/ 0 w 1918706"/>
                  <a:gd name="connsiteY34" fmla="*/ 3997322 h 5633118"/>
                  <a:gd name="connsiteX35" fmla="*/ 0 w 1918706"/>
                  <a:gd name="connsiteY35" fmla="*/ 3595649 h 5633118"/>
                  <a:gd name="connsiteX36" fmla="*/ 0 w 1918706"/>
                  <a:gd name="connsiteY36" fmla="*/ 3587875 h 5633118"/>
                  <a:gd name="connsiteX37" fmla="*/ 0 w 1918706"/>
                  <a:gd name="connsiteY37" fmla="*/ 3574721 h 5633118"/>
                  <a:gd name="connsiteX38" fmla="*/ 0 w 1918706"/>
                  <a:gd name="connsiteY38" fmla="*/ 3515969 h 5633118"/>
                  <a:gd name="connsiteX39" fmla="*/ 0 w 1918706"/>
                  <a:gd name="connsiteY39" fmla="*/ 3508195 h 5633118"/>
                  <a:gd name="connsiteX40" fmla="*/ 0 w 1918706"/>
                  <a:gd name="connsiteY40" fmla="*/ 3487266 h 5633118"/>
                  <a:gd name="connsiteX41" fmla="*/ 0 w 1918706"/>
                  <a:gd name="connsiteY4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992759 h 5633118"/>
                  <a:gd name="connsiteX5" fmla="*/ 1918706 w 1918706"/>
                  <a:gd name="connsiteY5" fmla="*/ 3005914 h 5633118"/>
                  <a:gd name="connsiteX6" fmla="*/ 1918706 w 1918706"/>
                  <a:gd name="connsiteY6" fmla="*/ 3013688 h 5633118"/>
                  <a:gd name="connsiteX7" fmla="*/ 1918706 w 1918706"/>
                  <a:gd name="connsiteY7" fmla="*/ 3085594 h 5633118"/>
                  <a:gd name="connsiteX8" fmla="*/ 1918706 w 1918706"/>
                  <a:gd name="connsiteY8" fmla="*/ 3093368 h 5633118"/>
                  <a:gd name="connsiteX9" fmla="*/ 1918706 w 1918706"/>
                  <a:gd name="connsiteY9" fmla="*/ 3487266 h 5633118"/>
                  <a:gd name="connsiteX10" fmla="*/ 1918706 w 1918706"/>
                  <a:gd name="connsiteY10" fmla="*/ 3508195 h 5633118"/>
                  <a:gd name="connsiteX11" fmla="*/ 1918706 w 1918706"/>
                  <a:gd name="connsiteY11" fmla="*/ 3515969 h 5633118"/>
                  <a:gd name="connsiteX12" fmla="*/ 1918706 w 1918706"/>
                  <a:gd name="connsiteY12" fmla="*/ 3574721 h 5633118"/>
                  <a:gd name="connsiteX13" fmla="*/ 1918706 w 1918706"/>
                  <a:gd name="connsiteY13" fmla="*/ 3587875 h 5633118"/>
                  <a:gd name="connsiteX14" fmla="*/ 1918706 w 1918706"/>
                  <a:gd name="connsiteY14" fmla="*/ 3595649 h 5633118"/>
                  <a:gd name="connsiteX15" fmla="*/ 1918706 w 1918706"/>
                  <a:gd name="connsiteY15" fmla="*/ 3997322 h 5633118"/>
                  <a:gd name="connsiteX16" fmla="*/ 1918706 w 1918706"/>
                  <a:gd name="connsiteY16" fmla="*/ 4010476 h 5633118"/>
                  <a:gd name="connsiteX17" fmla="*/ 1918706 w 1918706"/>
                  <a:gd name="connsiteY17" fmla="*/ 4069228 h 5633118"/>
                  <a:gd name="connsiteX18" fmla="*/ 1918706 w 1918706"/>
                  <a:gd name="connsiteY18" fmla="*/ 4090156 h 5633118"/>
                  <a:gd name="connsiteX19" fmla="*/ 1918706 w 1918706"/>
                  <a:gd name="connsiteY19" fmla="*/ 4097931 h 5633118"/>
                  <a:gd name="connsiteX20" fmla="*/ 1918706 w 1918706"/>
                  <a:gd name="connsiteY20" fmla="*/ 4491829 h 5633118"/>
                  <a:gd name="connsiteX21" fmla="*/ 1918706 w 1918706"/>
                  <a:gd name="connsiteY21" fmla="*/ 4579284 h 5633118"/>
                  <a:gd name="connsiteX22" fmla="*/ 1918706 w 1918706"/>
                  <a:gd name="connsiteY22" fmla="*/ 4592438 h 5633118"/>
                  <a:gd name="connsiteX23" fmla="*/ 1918706 w 1918706"/>
                  <a:gd name="connsiteY23" fmla="*/ 5073791 h 5633118"/>
                  <a:gd name="connsiteX24" fmla="*/ 959355 w 1918706"/>
                  <a:gd name="connsiteY24" fmla="*/ 5633118 h 5633118"/>
                  <a:gd name="connsiteX25" fmla="*/ 0 w 1918706"/>
                  <a:gd name="connsiteY25" fmla="*/ 5073791 h 5633118"/>
                  <a:gd name="connsiteX26" fmla="*/ 0 w 1918706"/>
                  <a:gd name="connsiteY26" fmla="*/ 4592438 h 5633118"/>
                  <a:gd name="connsiteX27" fmla="*/ 0 w 1918706"/>
                  <a:gd name="connsiteY27" fmla="*/ 4579284 h 5633118"/>
                  <a:gd name="connsiteX28" fmla="*/ 0 w 1918706"/>
                  <a:gd name="connsiteY28" fmla="*/ 4491829 h 5633118"/>
                  <a:gd name="connsiteX29" fmla="*/ 0 w 1918706"/>
                  <a:gd name="connsiteY29" fmla="*/ 4097931 h 5633118"/>
                  <a:gd name="connsiteX30" fmla="*/ 0 w 1918706"/>
                  <a:gd name="connsiteY30" fmla="*/ 4090156 h 5633118"/>
                  <a:gd name="connsiteX31" fmla="*/ 0 w 1918706"/>
                  <a:gd name="connsiteY31" fmla="*/ 4069228 h 5633118"/>
                  <a:gd name="connsiteX32" fmla="*/ 0 w 1918706"/>
                  <a:gd name="connsiteY32" fmla="*/ 4010476 h 5633118"/>
                  <a:gd name="connsiteX33" fmla="*/ 0 w 1918706"/>
                  <a:gd name="connsiteY33" fmla="*/ 3997322 h 5633118"/>
                  <a:gd name="connsiteX34" fmla="*/ 0 w 1918706"/>
                  <a:gd name="connsiteY34" fmla="*/ 3595649 h 5633118"/>
                  <a:gd name="connsiteX35" fmla="*/ 0 w 1918706"/>
                  <a:gd name="connsiteY35" fmla="*/ 3587875 h 5633118"/>
                  <a:gd name="connsiteX36" fmla="*/ 0 w 1918706"/>
                  <a:gd name="connsiteY36" fmla="*/ 3574721 h 5633118"/>
                  <a:gd name="connsiteX37" fmla="*/ 0 w 1918706"/>
                  <a:gd name="connsiteY37" fmla="*/ 3515969 h 5633118"/>
                  <a:gd name="connsiteX38" fmla="*/ 0 w 1918706"/>
                  <a:gd name="connsiteY38" fmla="*/ 3508195 h 5633118"/>
                  <a:gd name="connsiteX39" fmla="*/ 0 w 1918706"/>
                  <a:gd name="connsiteY39" fmla="*/ 3487266 h 5633118"/>
                  <a:gd name="connsiteX40" fmla="*/ 0 w 1918706"/>
                  <a:gd name="connsiteY4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13688 h 5633118"/>
                  <a:gd name="connsiteX6" fmla="*/ 1918706 w 1918706"/>
                  <a:gd name="connsiteY6" fmla="*/ 3085594 h 5633118"/>
                  <a:gd name="connsiteX7" fmla="*/ 1918706 w 1918706"/>
                  <a:gd name="connsiteY7" fmla="*/ 3093368 h 5633118"/>
                  <a:gd name="connsiteX8" fmla="*/ 1918706 w 1918706"/>
                  <a:gd name="connsiteY8" fmla="*/ 3487266 h 5633118"/>
                  <a:gd name="connsiteX9" fmla="*/ 1918706 w 1918706"/>
                  <a:gd name="connsiteY9" fmla="*/ 3508195 h 5633118"/>
                  <a:gd name="connsiteX10" fmla="*/ 1918706 w 1918706"/>
                  <a:gd name="connsiteY10" fmla="*/ 3515969 h 5633118"/>
                  <a:gd name="connsiteX11" fmla="*/ 1918706 w 1918706"/>
                  <a:gd name="connsiteY11" fmla="*/ 3574721 h 5633118"/>
                  <a:gd name="connsiteX12" fmla="*/ 1918706 w 1918706"/>
                  <a:gd name="connsiteY12" fmla="*/ 3587875 h 5633118"/>
                  <a:gd name="connsiteX13" fmla="*/ 1918706 w 1918706"/>
                  <a:gd name="connsiteY13" fmla="*/ 3595649 h 5633118"/>
                  <a:gd name="connsiteX14" fmla="*/ 1918706 w 1918706"/>
                  <a:gd name="connsiteY14" fmla="*/ 3997322 h 5633118"/>
                  <a:gd name="connsiteX15" fmla="*/ 1918706 w 1918706"/>
                  <a:gd name="connsiteY15" fmla="*/ 4010476 h 5633118"/>
                  <a:gd name="connsiteX16" fmla="*/ 1918706 w 1918706"/>
                  <a:gd name="connsiteY16" fmla="*/ 4069228 h 5633118"/>
                  <a:gd name="connsiteX17" fmla="*/ 1918706 w 1918706"/>
                  <a:gd name="connsiteY17" fmla="*/ 4090156 h 5633118"/>
                  <a:gd name="connsiteX18" fmla="*/ 1918706 w 1918706"/>
                  <a:gd name="connsiteY18" fmla="*/ 4097931 h 5633118"/>
                  <a:gd name="connsiteX19" fmla="*/ 1918706 w 1918706"/>
                  <a:gd name="connsiteY19" fmla="*/ 4491829 h 5633118"/>
                  <a:gd name="connsiteX20" fmla="*/ 1918706 w 1918706"/>
                  <a:gd name="connsiteY20" fmla="*/ 4579284 h 5633118"/>
                  <a:gd name="connsiteX21" fmla="*/ 1918706 w 1918706"/>
                  <a:gd name="connsiteY21" fmla="*/ 4592438 h 5633118"/>
                  <a:gd name="connsiteX22" fmla="*/ 1918706 w 1918706"/>
                  <a:gd name="connsiteY22" fmla="*/ 5073791 h 5633118"/>
                  <a:gd name="connsiteX23" fmla="*/ 959355 w 1918706"/>
                  <a:gd name="connsiteY23" fmla="*/ 5633118 h 5633118"/>
                  <a:gd name="connsiteX24" fmla="*/ 0 w 1918706"/>
                  <a:gd name="connsiteY24" fmla="*/ 5073791 h 5633118"/>
                  <a:gd name="connsiteX25" fmla="*/ 0 w 1918706"/>
                  <a:gd name="connsiteY25" fmla="*/ 4592438 h 5633118"/>
                  <a:gd name="connsiteX26" fmla="*/ 0 w 1918706"/>
                  <a:gd name="connsiteY26" fmla="*/ 4579284 h 5633118"/>
                  <a:gd name="connsiteX27" fmla="*/ 0 w 1918706"/>
                  <a:gd name="connsiteY27" fmla="*/ 4491829 h 5633118"/>
                  <a:gd name="connsiteX28" fmla="*/ 0 w 1918706"/>
                  <a:gd name="connsiteY28" fmla="*/ 4097931 h 5633118"/>
                  <a:gd name="connsiteX29" fmla="*/ 0 w 1918706"/>
                  <a:gd name="connsiteY29" fmla="*/ 4090156 h 5633118"/>
                  <a:gd name="connsiteX30" fmla="*/ 0 w 1918706"/>
                  <a:gd name="connsiteY30" fmla="*/ 4069228 h 5633118"/>
                  <a:gd name="connsiteX31" fmla="*/ 0 w 1918706"/>
                  <a:gd name="connsiteY31" fmla="*/ 4010476 h 5633118"/>
                  <a:gd name="connsiteX32" fmla="*/ 0 w 1918706"/>
                  <a:gd name="connsiteY32" fmla="*/ 3997322 h 5633118"/>
                  <a:gd name="connsiteX33" fmla="*/ 0 w 1918706"/>
                  <a:gd name="connsiteY33" fmla="*/ 3595649 h 5633118"/>
                  <a:gd name="connsiteX34" fmla="*/ 0 w 1918706"/>
                  <a:gd name="connsiteY34" fmla="*/ 3587875 h 5633118"/>
                  <a:gd name="connsiteX35" fmla="*/ 0 w 1918706"/>
                  <a:gd name="connsiteY35" fmla="*/ 3574721 h 5633118"/>
                  <a:gd name="connsiteX36" fmla="*/ 0 w 1918706"/>
                  <a:gd name="connsiteY36" fmla="*/ 3515969 h 5633118"/>
                  <a:gd name="connsiteX37" fmla="*/ 0 w 1918706"/>
                  <a:gd name="connsiteY37" fmla="*/ 3508195 h 5633118"/>
                  <a:gd name="connsiteX38" fmla="*/ 0 w 1918706"/>
                  <a:gd name="connsiteY38" fmla="*/ 3487266 h 5633118"/>
                  <a:gd name="connsiteX39" fmla="*/ 0 w 1918706"/>
                  <a:gd name="connsiteY3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85594 h 5633118"/>
                  <a:gd name="connsiteX6" fmla="*/ 1918706 w 1918706"/>
                  <a:gd name="connsiteY6" fmla="*/ 3093368 h 5633118"/>
                  <a:gd name="connsiteX7" fmla="*/ 1918706 w 1918706"/>
                  <a:gd name="connsiteY7" fmla="*/ 3487266 h 5633118"/>
                  <a:gd name="connsiteX8" fmla="*/ 1918706 w 1918706"/>
                  <a:gd name="connsiteY8" fmla="*/ 3508195 h 5633118"/>
                  <a:gd name="connsiteX9" fmla="*/ 1918706 w 1918706"/>
                  <a:gd name="connsiteY9" fmla="*/ 3515969 h 5633118"/>
                  <a:gd name="connsiteX10" fmla="*/ 1918706 w 1918706"/>
                  <a:gd name="connsiteY10" fmla="*/ 3574721 h 5633118"/>
                  <a:gd name="connsiteX11" fmla="*/ 1918706 w 1918706"/>
                  <a:gd name="connsiteY11" fmla="*/ 3587875 h 5633118"/>
                  <a:gd name="connsiteX12" fmla="*/ 1918706 w 1918706"/>
                  <a:gd name="connsiteY12" fmla="*/ 3595649 h 5633118"/>
                  <a:gd name="connsiteX13" fmla="*/ 1918706 w 1918706"/>
                  <a:gd name="connsiteY13" fmla="*/ 3997322 h 5633118"/>
                  <a:gd name="connsiteX14" fmla="*/ 1918706 w 1918706"/>
                  <a:gd name="connsiteY14" fmla="*/ 4010476 h 5633118"/>
                  <a:gd name="connsiteX15" fmla="*/ 1918706 w 1918706"/>
                  <a:gd name="connsiteY15" fmla="*/ 4069228 h 5633118"/>
                  <a:gd name="connsiteX16" fmla="*/ 1918706 w 1918706"/>
                  <a:gd name="connsiteY16" fmla="*/ 4090156 h 5633118"/>
                  <a:gd name="connsiteX17" fmla="*/ 1918706 w 1918706"/>
                  <a:gd name="connsiteY17" fmla="*/ 4097931 h 5633118"/>
                  <a:gd name="connsiteX18" fmla="*/ 1918706 w 1918706"/>
                  <a:gd name="connsiteY18" fmla="*/ 4491829 h 5633118"/>
                  <a:gd name="connsiteX19" fmla="*/ 1918706 w 1918706"/>
                  <a:gd name="connsiteY19" fmla="*/ 4579284 h 5633118"/>
                  <a:gd name="connsiteX20" fmla="*/ 1918706 w 1918706"/>
                  <a:gd name="connsiteY20" fmla="*/ 4592438 h 5633118"/>
                  <a:gd name="connsiteX21" fmla="*/ 1918706 w 1918706"/>
                  <a:gd name="connsiteY21" fmla="*/ 5073791 h 5633118"/>
                  <a:gd name="connsiteX22" fmla="*/ 959355 w 1918706"/>
                  <a:gd name="connsiteY22" fmla="*/ 5633118 h 5633118"/>
                  <a:gd name="connsiteX23" fmla="*/ 0 w 1918706"/>
                  <a:gd name="connsiteY23" fmla="*/ 5073791 h 5633118"/>
                  <a:gd name="connsiteX24" fmla="*/ 0 w 1918706"/>
                  <a:gd name="connsiteY24" fmla="*/ 4592438 h 5633118"/>
                  <a:gd name="connsiteX25" fmla="*/ 0 w 1918706"/>
                  <a:gd name="connsiteY25" fmla="*/ 4579284 h 5633118"/>
                  <a:gd name="connsiteX26" fmla="*/ 0 w 1918706"/>
                  <a:gd name="connsiteY26" fmla="*/ 4491829 h 5633118"/>
                  <a:gd name="connsiteX27" fmla="*/ 0 w 1918706"/>
                  <a:gd name="connsiteY27" fmla="*/ 4097931 h 5633118"/>
                  <a:gd name="connsiteX28" fmla="*/ 0 w 1918706"/>
                  <a:gd name="connsiteY28" fmla="*/ 4090156 h 5633118"/>
                  <a:gd name="connsiteX29" fmla="*/ 0 w 1918706"/>
                  <a:gd name="connsiteY29" fmla="*/ 4069228 h 5633118"/>
                  <a:gd name="connsiteX30" fmla="*/ 0 w 1918706"/>
                  <a:gd name="connsiteY30" fmla="*/ 4010476 h 5633118"/>
                  <a:gd name="connsiteX31" fmla="*/ 0 w 1918706"/>
                  <a:gd name="connsiteY31" fmla="*/ 3997322 h 5633118"/>
                  <a:gd name="connsiteX32" fmla="*/ 0 w 1918706"/>
                  <a:gd name="connsiteY32" fmla="*/ 3595649 h 5633118"/>
                  <a:gd name="connsiteX33" fmla="*/ 0 w 1918706"/>
                  <a:gd name="connsiteY33" fmla="*/ 3587875 h 5633118"/>
                  <a:gd name="connsiteX34" fmla="*/ 0 w 1918706"/>
                  <a:gd name="connsiteY34" fmla="*/ 3574721 h 5633118"/>
                  <a:gd name="connsiteX35" fmla="*/ 0 w 1918706"/>
                  <a:gd name="connsiteY35" fmla="*/ 3515969 h 5633118"/>
                  <a:gd name="connsiteX36" fmla="*/ 0 w 1918706"/>
                  <a:gd name="connsiteY36" fmla="*/ 3508195 h 5633118"/>
                  <a:gd name="connsiteX37" fmla="*/ 0 w 1918706"/>
                  <a:gd name="connsiteY37" fmla="*/ 3487266 h 5633118"/>
                  <a:gd name="connsiteX38" fmla="*/ 0 w 1918706"/>
                  <a:gd name="connsiteY3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85594 h 5633118"/>
                  <a:gd name="connsiteX5" fmla="*/ 1918706 w 1918706"/>
                  <a:gd name="connsiteY5" fmla="*/ 3093368 h 5633118"/>
                  <a:gd name="connsiteX6" fmla="*/ 1918706 w 1918706"/>
                  <a:gd name="connsiteY6" fmla="*/ 3487266 h 5633118"/>
                  <a:gd name="connsiteX7" fmla="*/ 1918706 w 1918706"/>
                  <a:gd name="connsiteY7" fmla="*/ 3508195 h 5633118"/>
                  <a:gd name="connsiteX8" fmla="*/ 1918706 w 1918706"/>
                  <a:gd name="connsiteY8" fmla="*/ 3515969 h 5633118"/>
                  <a:gd name="connsiteX9" fmla="*/ 1918706 w 1918706"/>
                  <a:gd name="connsiteY9" fmla="*/ 3574721 h 5633118"/>
                  <a:gd name="connsiteX10" fmla="*/ 1918706 w 1918706"/>
                  <a:gd name="connsiteY10" fmla="*/ 3587875 h 5633118"/>
                  <a:gd name="connsiteX11" fmla="*/ 1918706 w 1918706"/>
                  <a:gd name="connsiteY11" fmla="*/ 3595649 h 5633118"/>
                  <a:gd name="connsiteX12" fmla="*/ 1918706 w 1918706"/>
                  <a:gd name="connsiteY12" fmla="*/ 3997322 h 5633118"/>
                  <a:gd name="connsiteX13" fmla="*/ 1918706 w 1918706"/>
                  <a:gd name="connsiteY13" fmla="*/ 4010476 h 5633118"/>
                  <a:gd name="connsiteX14" fmla="*/ 1918706 w 1918706"/>
                  <a:gd name="connsiteY14" fmla="*/ 4069228 h 5633118"/>
                  <a:gd name="connsiteX15" fmla="*/ 1918706 w 1918706"/>
                  <a:gd name="connsiteY15" fmla="*/ 4090156 h 5633118"/>
                  <a:gd name="connsiteX16" fmla="*/ 1918706 w 1918706"/>
                  <a:gd name="connsiteY16" fmla="*/ 4097931 h 5633118"/>
                  <a:gd name="connsiteX17" fmla="*/ 1918706 w 1918706"/>
                  <a:gd name="connsiteY17" fmla="*/ 4491829 h 5633118"/>
                  <a:gd name="connsiteX18" fmla="*/ 1918706 w 1918706"/>
                  <a:gd name="connsiteY18" fmla="*/ 4579284 h 5633118"/>
                  <a:gd name="connsiteX19" fmla="*/ 1918706 w 1918706"/>
                  <a:gd name="connsiteY19" fmla="*/ 4592438 h 5633118"/>
                  <a:gd name="connsiteX20" fmla="*/ 1918706 w 1918706"/>
                  <a:gd name="connsiteY20" fmla="*/ 5073791 h 5633118"/>
                  <a:gd name="connsiteX21" fmla="*/ 959355 w 1918706"/>
                  <a:gd name="connsiteY21" fmla="*/ 5633118 h 5633118"/>
                  <a:gd name="connsiteX22" fmla="*/ 0 w 1918706"/>
                  <a:gd name="connsiteY22" fmla="*/ 5073791 h 5633118"/>
                  <a:gd name="connsiteX23" fmla="*/ 0 w 1918706"/>
                  <a:gd name="connsiteY23" fmla="*/ 4592438 h 5633118"/>
                  <a:gd name="connsiteX24" fmla="*/ 0 w 1918706"/>
                  <a:gd name="connsiteY24" fmla="*/ 4579284 h 5633118"/>
                  <a:gd name="connsiteX25" fmla="*/ 0 w 1918706"/>
                  <a:gd name="connsiteY25" fmla="*/ 4491829 h 5633118"/>
                  <a:gd name="connsiteX26" fmla="*/ 0 w 1918706"/>
                  <a:gd name="connsiteY26" fmla="*/ 4097931 h 5633118"/>
                  <a:gd name="connsiteX27" fmla="*/ 0 w 1918706"/>
                  <a:gd name="connsiteY27" fmla="*/ 4090156 h 5633118"/>
                  <a:gd name="connsiteX28" fmla="*/ 0 w 1918706"/>
                  <a:gd name="connsiteY28" fmla="*/ 4069228 h 5633118"/>
                  <a:gd name="connsiteX29" fmla="*/ 0 w 1918706"/>
                  <a:gd name="connsiteY29" fmla="*/ 4010476 h 5633118"/>
                  <a:gd name="connsiteX30" fmla="*/ 0 w 1918706"/>
                  <a:gd name="connsiteY30" fmla="*/ 3997322 h 5633118"/>
                  <a:gd name="connsiteX31" fmla="*/ 0 w 1918706"/>
                  <a:gd name="connsiteY31" fmla="*/ 3595649 h 5633118"/>
                  <a:gd name="connsiteX32" fmla="*/ 0 w 1918706"/>
                  <a:gd name="connsiteY32" fmla="*/ 3587875 h 5633118"/>
                  <a:gd name="connsiteX33" fmla="*/ 0 w 1918706"/>
                  <a:gd name="connsiteY33" fmla="*/ 3574721 h 5633118"/>
                  <a:gd name="connsiteX34" fmla="*/ 0 w 1918706"/>
                  <a:gd name="connsiteY34" fmla="*/ 3515969 h 5633118"/>
                  <a:gd name="connsiteX35" fmla="*/ 0 w 1918706"/>
                  <a:gd name="connsiteY35" fmla="*/ 3508195 h 5633118"/>
                  <a:gd name="connsiteX36" fmla="*/ 0 w 1918706"/>
                  <a:gd name="connsiteY36" fmla="*/ 3487266 h 5633118"/>
                  <a:gd name="connsiteX37" fmla="*/ 0 w 1918706"/>
                  <a:gd name="connsiteY3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093368 h 5633118"/>
                  <a:gd name="connsiteX5" fmla="*/ 1918706 w 1918706"/>
                  <a:gd name="connsiteY5" fmla="*/ 3487266 h 5633118"/>
                  <a:gd name="connsiteX6" fmla="*/ 1918706 w 1918706"/>
                  <a:gd name="connsiteY6" fmla="*/ 3508195 h 5633118"/>
                  <a:gd name="connsiteX7" fmla="*/ 1918706 w 1918706"/>
                  <a:gd name="connsiteY7" fmla="*/ 3515969 h 5633118"/>
                  <a:gd name="connsiteX8" fmla="*/ 1918706 w 1918706"/>
                  <a:gd name="connsiteY8" fmla="*/ 3574721 h 5633118"/>
                  <a:gd name="connsiteX9" fmla="*/ 1918706 w 1918706"/>
                  <a:gd name="connsiteY9" fmla="*/ 3587875 h 5633118"/>
                  <a:gd name="connsiteX10" fmla="*/ 1918706 w 1918706"/>
                  <a:gd name="connsiteY10" fmla="*/ 3595649 h 5633118"/>
                  <a:gd name="connsiteX11" fmla="*/ 1918706 w 1918706"/>
                  <a:gd name="connsiteY11" fmla="*/ 3997322 h 5633118"/>
                  <a:gd name="connsiteX12" fmla="*/ 1918706 w 1918706"/>
                  <a:gd name="connsiteY12" fmla="*/ 4010476 h 5633118"/>
                  <a:gd name="connsiteX13" fmla="*/ 1918706 w 1918706"/>
                  <a:gd name="connsiteY13" fmla="*/ 4069228 h 5633118"/>
                  <a:gd name="connsiteX14" fmla="*/ 1918706 w 1918706"/>
                  <a:gd name="connsiteY14" fmla="*/ 4090156 h 5633118"/>
                  <a:gd name="connsiteX15" fmla="*/ 1918706 w 1918706"/>
                  <a:gd name="connsiteY15" fmla="*/ 4097931 h 5633118"/>
                  <a:gd name="connsiteX16" fmla="*/ 1918706 w 1918706"/>
                  <a:gd name="connsiteY16" fmla="*/ 4491829 h 5633118"/>
                  <a:gd name="connsiteX17" fmla="*/ 1918706 w 1918706"/>
                  <a:gd name="connsiteY17" fmla="*/ 4579284 h 5633118"/>
                  <a:gd name="connsiteX18" fmla="*/ 1918706 w 1918706"/>
                  <a:gd name="connsiteY18" fmla="*/ 4592438 h 5633118"/>
                  <a:gd name="connsiteX19" fmla="*/ 1918706 w 1918706"/>
                  <a:gd name="connsiteY19" fmla="*/ 5073791 h 5633118"/>
                  <a:gd name="connsiteX20" fmla="*/ 959355 w 1918706"/>
                  <a:gd name="connsiteY20" fmla="*/ 5633118 h 5633118"/>
                  <a:gd name="connsiteX21" fmla="*/ 0 w 1918706"/>
                  <a:gd name="connsiteY21" fmla="*/ 5073791 h 5633118"/>
                  <a:gd name="connsiteX22" fmla="*/ 0 w 1918706"/>
                  <a:gd name="connsiteY22" fmla="*/ 4592438 h 5633118"/>
                  <a:gd name="connsiteX23" fmla="*/ 0 w 1918706"/>
                  <a:gd name="connsiteY23" fmla="*/ 4579284 h 5633118"/>
                  <a:gd name="connsiteX24" fmla="*/ 0 w 1918706"/>
                  <a:gd name="connsiteY24" fmla="*/ 4491829 h 5633118"/>
                  <a:gd name="connsiteX25" fmla="*/ 0 w 1918706"/>
                  <a:gd name="connsiteY25" fmla="*/ 4097931 h 5633118"/>
                  <a:gd name="connsiteX26" fmla="*/ 0 w 1918706"/>
                  <a:gd name="connsiteY26" fmla="*/ 4090156 h 5633118"/>
                  <a:gd name="connsiteX27" fmla="*/ 0 w 1918706"/>
                  <a:gd name="connsiteY27" fmla="*/ 4069228 h 5633118"/>
                  <a:gd name="connsiteX28" fmla="*/ 0 w 1918706"/>
                  <a:gd name="connsiteY28" fmla="*/ 4010476 h 5633118"/>
                  <a:gd name="connsiteX29" fmla="*/ 0 w 1918706"/>
                  <a:gd name="connsiteY29" fmla="*/ 3997322 h 5633118"/>
                  <a:gd name="connsiteX30" fmla="*/ 0 w 1918706"/>
                  <a:gd name="connsiteY30" fmla="*/ 3595649 h 5633118"/>
                  <a:gd name="connsiteX31" fmla="*/ 0 w 1918706"/>
                  <a:gd name="connsiteY31" fmla="*/ 3587875 h 5633118"/>
                  <a:gd name="connsiteX32" fmla="*/ 0 w 1918706"/>
                  <a:gd name="connsiteY32" fmla="*/ 3574721 h 5633118"/>
                  <a:gd name="connsiteX33" fmla="*/ 0 w 1918706"/>
                  <a:gd name="connsiteY33" fmla="*/ 3515969 h 5633118"/>
                  <a:gd name="connsiteX34" fmla="*/ 0 w 1918706"/>
                  <a:gd name="connsiteY34" fmla="*/ 3508195 h 5633118"/>
                  <a:gd name="connsiteX35" fmla="*/ 0 w 1918706"/>
                  <a:gd name="connsiteY35" fmla="*/ 3487266 h 5633118"/>
                  <a:gd name="connsiteX36" fmla="*/ 0 w 1918706"/>
                  <a:gd name="connsiteY3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487266 h 5633118"/>
                  <a:gd name="connsiteX5" fmla="*/ 1918706 w 1918706"/>
                  <a:gd name="connsiteY5" fmla="*/ 3508195 h 5633118"/>
                  <a:gd name="connsiteX6" fmla="*/ 1918706 w 1918706"/>
                  <a:gd name="connsiteY6" fmla="*/ 3515969 h 5633118"/>
                  <a:gd name="connsiteX7" fmla="*/ 1918706 w 1918706"/>
                  <a:gd name="connsiteY7" fmla="*/ 3574721 h 5633118"/>
                  <a:gd name="connsiteX8" fmla="*/ 1918706 w 1918706"/>
                  <a:gd name="connsiteY8" fmla="*/ 3587875 h 5633118"/>
                  <a:gd name="connsiteX9" fmla="*/ 1918706 w 1918706"/>
                  <a:gd name="connsiteY9" fmla="*/ 3595649 h 5633118"/>
                  <a:gd name="connsiteX10" fmla="*/ 1918706 w 1918706"/>
                  <a:gd name="connsiteY10" fmla="*/ 3997322 h 5633118"/>
                  <a:gd name="connsiteX11" fmla="*/ 1918706 w 1918706"/>
                  <a:gd name="connsiteY11" fmla="*/ 4010476 h 5633118"/>
                  <a:gd name="connsiteX12" fmla="*/ 1918706 w 1918706"/>
                  <a:gd name="connsiteY12" fmla="*/ 4069228 h 5633118"/>
                  <a:gd name="connsiteX13" fmla="*/ 1918706 w 1918706"/>
                  <a:gd name="connsiteY13" fmla="*/ 4090156 h 5633118"/>
                  <a:gd name="connsiteX14" fmla="*/ 1918706 w 1918706"/>
                  <a:gd name="connsiteY14" fmla="*/ 4097931 h 5633118"/>
                  <a:gd name="connsiteX15" fmla="*/ 1918706 w 1918706"/>
                  <a:gd name="connsiteY15" fmla="*/ 4491829 h 5633118"/>
                  <a:gd name="connsiteX16" fmla="*/ 1918706 w 1918706"/>
                  <a:gd name="connsiteY16" fmla="*/ 4579284 h 5633118"/>
                  <a:gd name="connsiteX17" fmla="*/ 1918706 w 1918706"/>
                  <a:gd name="connsiteY17" fmla="*/ 4592438 h 5633118"/>
                  <a:gd name="connsiteX18" fmla="*/ 1918706 w 1918706"/>
                  <a:gd name="connsiteY18" fmla="*/ 5073791 h 5633118"/>
                  <a:gd name="connsiteX19" fmla="*/ 959355 w 1918706"/>
                  <a:gd name="connsiteY19" fmla="*/ 5633118 h 5633118"/>
                  <a:gd name="connsiteX20" fmla="*/ 0 w 1918706"/>
                  <a:gd name="connsiteY20" fmla="*/ 5073791 h 5633118"/>
                  <a:gd name="connsiteX21" fmla="*/ 0 w 1918706"/>
                  <a:gd name="connsiteY21" fmla="*/ 4592438 h 5633118"/>
                  <a:gd name="connsiteX22" fmla="*/ 0 w 1918706"/>
                  <a:gd name="connsiteY22" fmla="*/ 4579284 h 5633118"/>
                  <a:gd name="connsiteX23" fmla="*/ 0 w 1918706"/>
                  <a:gd name="connsiteY23" fmla="*/ 4491829 h 5633118"/>
                  <a:gd name="connsiteX24" fmla="*/ 0 w 1918706"/>
                  <a:gd name="connsiteY24" fmla="*/ 4097931 h 5633118"/>
                  <a:gd name="connsiteX25" fmla="*/ 0 w 1918706"/>
                  <a:gd name="connsiteY25" fmla="*/ 4090156 h 5633118"/>
                  <a:gd name="connsiteX26" fmla="*/ 0 w 1918706"/>
                  <a:gd name="connsiteY26" fmla="*/ 4069228 h 5633118"/>
                  <a:gd name="connsiteX27" fmla="*/ 0 w 1918706"/>
                  <a:gd name="connsiteY27" fmla="*/ 4010476 h 5633118"/>
                  <a:gd name="connsiteX28" fmla="*/ 0 w 1918706"/>
                  <a:gd name="connsiteY28" fmla="*/ 3997322 h 5633118"/>
                  <a:gd name="connsiteX29" fmla="*/ 0 w 1918706"/>
                  <a:gd name="connsiteY29" fmla="*/ 3595649 h 5633118"/>
                  <a:gd name="connsiteX30" fmla="*/ 0 w 1918706"/>
                  <a:gd name="connsiteY30" fmla="*/ 3587875 h 5633118"/>
                  <a:gd name="connsiteX31" fmla="*/ 0 w 1918706"/>
                  <a:gd name="connsiteY31" fmla="*/ 3574721 h 5633118"/>
                  <a:gd name="connsiteX32" fmla="*/ 0 w 1918706"/>
                  <a:gd name="connsiteY32" fmla="*/ 3515969 h 5633118"/>
                  <a:gd name="connsiteX33" fmla="*/ 0 w 1918706"/>
                  <a:gd name="connsiteY33" fmla="*/ 3508195 h 5633118"/>
                  <a:gd name="connsiteX34" fmla="*/ 0 w 1918706"/>
                  <a:gd name="connsiteY34" fmla="*/ 3487266 h 5633118"/>
                  <a:gd name="connsiteX35" fmla="*/ 0 w 1918706"/>
                  <a:gd name="connsiteY3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74721 h 5633118"/>
                  <a:gd name="connsiteX7" fmla="*/ 1918706 w 1918706"/>
                  <a:gd name="connsiteY7" fmla="*/ 3587875 h 5633118"/>
                  <a:gd name="connsiteX8" fmla="*/ 1918706 w 1918706"/>
                  <a:gd name="connsiteY8" fmla="*/ 3595649 h 5633118"/>
                  <a:gd name="connsiteX9" fmla="*/ 1918706 w 1918706"/>
                  <a:gd name="connsiteY9" fmla="*/ 3997322 h 5633118"/>
                  <a:gd name="connsiteX10" fmla="*/ 1918706 w 1918706"/>
                  <a:gd name="connsiteY10" fmla="*/ 4010476 h 5633118"/>
                  <a:gd name="connsiteX11" fmla="*/ 1918706 w 1918706"/>
                  <a:gd name="connsiteY11" fmla="*/ 4069228 h 5633118"/>
                  <a:gd name="connsiteX12" fmla="*/ 1918706 w 1918706"/>
                  <a:gd name="connsiteY12" fmla="*/ 4090156 h 5633118"/>
                  <a:gd name="connsiteX13" fmla="*/ 1918706 w 1918706"/>
                  <a:gd name="connsiteY13" fmla="*/ 4097931 h 5633118"/>
                  <a:gd name="connsiteX14" fmla="*/ 1918706 w 1918706"/>
                  <a:gd name="connsiteY14" fmla="*/ 4491829 h 5633118"/>
                  <a:gd name="connsiteX15" fmla="*/ 1918706 w 1918706"/>
                  <a:gd name="connsiteY15" fmla="*/ 4579284 h 5633118"/>
                  <a:gd name="connsiteX16" fmla="*/ 1918706 w 1918706"/>
                  <a:gd name="connsiteY16" fmla="*/ 4592438 h 5633118"/>
                  <a:gd name="connsiteX17" fmla="*/ 1918706 w 1918706"/>
                  <a:gd name="connsiteY17" fmla="*/ 5073791 h 5633118"/>
                  <a:gd name="connsiteX18" fmla="*/ 959355 w 1918706"/>
                  <a:gd name="connsiteY18" fmla="*/ 5633118 h 5633118"/>
                  <a:gd name="connsiteX19" fmla="*/ 0 w 1918706"/>
                  <a:gd name="connsiteY19" fmla="*/ 5073791 h 5633118"/>
                  <a:gd name="connsiteX20" fmla="*/ 0 w 1918706"/>
                  <a:gd name="connsiteY20" fmla="*/ 4592438 h 5633118"/>
                  <a:gd name="connsiteX21" fmla="*/ 0 w 1918706"/>
                  <a:gd name="connsiteY21" fmla="*/ 4579284 h 5633118"/>
                  <a:gd name="connsiteX22" fmla="*/ 0 w 1918706"/>
                  <a:gd name="connsiteY22" fmla="*/ 4491829 h 5633118"/>
                  <a:gd name="connsiteX23" fmla="*/ 0 w 1918706"/>
                  <a:gd name="connsiteY23" fmla="*/ 4097931 h 5633118"/>
                  <a:gd name="connsiteX24" fmla="*/ 0 w 1918706"/>
                  <a:gd name="connsiteY24" fmla="*/ 4090156 h 5633118"/>
                  <a:gd name="connsiteX25" fmla="*/ 0 w 1918706"/>
                  <a:gd name="connsiteY25" fmla="*/ 4069228 h 5633118"/>
                  <a:gd name="connsiteX26" fmla="*/ 0 w 1918706"/>
                  <a:gd name="connsiteY26" fmla="*/ 4010476 h 5633118"/>
                  <a:gd name="connsiteX27" fmla="*/ 0 w 1918706"/>
                  <a:gd name="connsiteY27" fmla="*/ 3997322 h 5633118"/>
                  <a:gd name="connsiteX28" fmla="*/ 0 w 1918706"/>
                  <a:gd name="connsiteY28" fmla="*/ 3595649 h 5633118"/>
                  <a:gd name="connsiteX29" fmla="*/ 0 w 1918706"/>
                  <a:gd name="connsiteY29" fmla="*/ 3587875 h 5633118"/>
                  <a:gd name="connsiteX30" fmla="*/ 0 w 1918706"/>
                  <a:gd name="connsiteY30" fmla="*/ 3574721 h 5633118"/>
                  <a:gd name="connsiteX31" fmla="*/ 0 w 1918706"/>
                  <a:gd name="connsiteY31" fmla="*/ 3515969 h 5633118"/>
                  <a:gd name="connsiteX32" fmla="*/ 0 w 1918706"/>
                  <a:gd name="connsiteY32" fmla="*/ 3508195 h 5633118"/>
                  <a:gd name="connsiteX33" fmla="*/ 0 w 1918706"/>
                  <a:gd name="connsiteY33" fmla="*/ 3487266 h 5633118"/>
                  <a:gd name="connsiteX34" fmla="*/ 0 w 1918706"/>
                  <a:gd name="connsiteY3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87875 h 5633118"/>
                  <a:gd name="connsiteX7" fmla="*/ 1918706 w 1918706"/>
                  <a:gd name="connsiteY7" fmla="*/ 3595649 h 5633118"/>
                  <a:gd name="connsiteX8" fmla="*/ 1918706 w 1918706"/>
                  <a:gd name="connsiteY8" fmla="*/ 3997322 h 5633118"/>
                  <a:gd name="connsiteX9" fmla="*/ 1918706 w 1918706"/>
                  <a:gd name="connsiteY9" fmla="*/ 4010476 h 5633118"/>
                  <a:gd name="connsiteX10" fmla="*/ 1918706 w 1918706"/>
                  <a:gd name="connsiteY10" fmla="*/ 4069228 h 5633118"/>
                  <a:gd name="connsiteX11" fmla="*/ 1918706 w 1918706"/>
                  <a:gd name="connsiteY11" fmla="*/ 4090156 h 5633118"/>
                  <a:gd name="connsiteX12" fmla="*/ 1918706 w 1918706"/>
                  <a:gd name="connsiteY12" fmla="*/ 4097931 h 5633118"/>
                  <a:gd name="connsiteX13" fmla="*/ 1918706 w 1918706"/>
                  <a:gd name="connsiteY13" fmla="*/ 4491829 h 5633118"/>
                  <a:gd name="connsiteX14" fmla="*/ 1918706 w 1918706"/>
                  <a:gd name="connsiteY14" fmla="*/ 4579284 h 5633118"/>
                  <a:gd name="connsiteX15" fmla="*/ 1918706 w 1918706"/>
                  <a:gd name="connsiteY15" fmla="*/ 4592438 h 5633118"/>
                  <a:gd name="connsiteX16" fmla="*/ 1918706 w 1918706"/>
                  <a:gd name="connsiteY16" fmla="*/ 5073791 h 5633118"/>
                  <a:gd name="connsiteX17" fmla="*/ 959355 w 1918706"/>
                  <a:gd name="connsiteY17" fmla="*/ 5633118 h 5633118"/>
                  <a:gd name="connsiteX18" fmla="*/ 0 w 1918706"/>
                  <a:gd name="connsiteY18" fmla="*/ 5073791 h 5633118"/>
                  <a:gd name="connsiteX19" fmla="*/ 0 w 1918706"/>
                  <a:gd name="connsiteY19" fmla="*/ 4592438 h 5633118"/>
                  <a:gd name="connsiteX20" fmla="*/ 0 w 1918706"/>
                  <a:gd name="connsiteY20" fmla="*/ 4579284 h 5633118"/>
                  <a:gd name="connsiteX21" fmla="*/ 0 w 1918706"/>
                  <a:gd name="connsiteY21" fmla="*/ 4491829 h 5633118"/>
                  <a:gd name="connsiteX22" fmla="*/ 0 w 1918706"/>
                  <a:gd name="connsiteY22" fmla="*/ 4097931 h 5633118"/>
                  <a:gd name="connsiteX23" fmla="*/ 0 w 1918706"/>
                  <a:gd name="connsiteY23" fmla="*/ 4090156 h 5633118"/>
                  <a:gd name="connsiteX24" fmla="*/ 0 w 1918706"/>
                  <a:gd name="connsiteY24" fmla="*/ 4069228 h 5633118"/>
                  <a:gd name="connsiteX25" fmla="*/ 0 w 1918706"/>
                  <a:gd name="connsiteY25" fmla="*/ 4010476 h 5633118"/>
                  <a:gd name="connsiteX26" fmla="*/ 0 w 1918706"/>
                  <a:gd name="connsiteY26" fmla="*/ 3997322 h 5633118"/>
                  <a:gd name="connsiteX27" fmla="*/ 0 w 1918706"/>
                  <a:gd name="connsiteY27" fmla="*/ 3595649 h 5633118"/>
                  <a:gd name="connsiteX28" fmla="*/ 0 w 1918706"/>
                  <a:gd name="connsiteY28" fmla="*/ 3587875 h 5633118"/>
                  <a:gd name="connsiteX29" fmla="*/ 0 w 1918706"/>
                  <a:gd name="connsiteY29" fmla="*/ 3574721 h 5633118"/>
                  <a:gd name="connsiteX30" fmla="*/ 0 w 1918706"/>
                  <a:gd name="connsiteY30" fmla="*/ 3515969 h 5633118"/>
                  <a:gd name="connsiteX31" fmla="*/ 0 w 1918706"/>
                  <a:gd name="connsiteY31" fmla="*/ 3508195 h 5633118"/>
                  <a:gd name="connsiteX32" fmla="*/ 0 w 1918706"/>
                  <a:gd name="connsiteY32" fmla="*/ 3487266 h 5633118"/>
                  <a:gd name="connsiteX33" fmla="*/ 0 w 1918706"/>
                  <a:gd name="connsiteY3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87875 h 5633118"/>
                  <a:gd name="connsiteX6" fmla="*/ 1918706 w 1918706"/>
                  <a:gd name="connsiteY6" fmla="*/ 3595649 h 5633118"/>
                  <a:gd name="connsiteX7" fmla="*/ 1918706 w 1918706"/>
                  <a:gd name="connsiteY7" fmla="*/ 3997322 h 5633118"/>
                  <a:gd name="connsiteX8" fmla="*/ 1918706 w 1918706"/>
                  <a:gd name="connsiteY8" fmla="*/ 4010476 h 5633118"/>
                  <a:gd name="connsiteX9" fmla="*/ 1918706 w 1918706"/>
                  <a:gd name="connsiteY9" fmla="*/ 4069228 h 5633118"/>
                  <a:gd name="connsiteX10" fmla="*/ 1918706 w 1918706"/>
                  <a:gd name="connsiteY10" fmla="*/ 4090156 h 5633118"/>
                  <a:gd name="connsiteX11" fmla="*/ 1918706 w 1918706"/>
                  <a:gd name="connsiteY11" fmla="*/ 4097931 h 5633118"/>
                  <a:gd name="connsiteX12" fmla="*/ 1918706 w 1918706"/>
                  <a:gd name="connsiteY12" fmla="*/ 4491829 h 5633118"/>
                  <a:gd name="connsiteX13" fmla="*/ 1918706 w 1918706"/>
                  <a:gd name="connsiteY13" fmla="*/ 4579284 h 5633118"/>
                  <a:gd name="connsiteX14" fmla="*/ 1918706 w 1918706"/>
                  <a:gd name="connsiteY14" fmla="*/ 4592438 h 5633118"/>
                  <a:gd name="connsiteX15" fmla="*/ 1918706 w 1918706"/>
                  <a:gd name="connsiteY15" fmla="*/ 5073791 h 5633118"/>
                  <a:gd name="connsiteX16" fmla="*/ 959355 w 1918706"/>
                  <a:gd name="connsiteY16" fmla="*/ 5633118 h 5633118"/>
                  <a:gd name="connsiteX17" fmla="*/ 0 w 1918706"/>
                  <a:gd name="connsiteY17" fmla="*/ 5073791 h 5633118"/>
                  <a:gd name="connsiteX18" fmla="*/ 0 w 1918706"/>
                  <a:gd name="connsiteY18" fmla="*/ 4592438 h 5633118"/>
                  <a:gd name="connsiteX19" fmla="*/ 0 w 1918706"/>
                  <a:gd name="connsiteY19" fmla="*/ 4579284 h 5633118"/>
                  <a:gd name="connsiteX20" fmla="*/ 0 w 1918706"/>
                  <a:gd name="connsiteY20" fmla="*/ 4491829 h 5633118"/>
                  <a:gd name="connsiteX21" fmla="*/ 0 w 1918706"/>
                  <a:gd name="connsiteY21" fmla="*/ 4097931 h 5633118"/>
                  <a:gd name="connsiteX22" fmla="*/ 0 w 1918706"/>
                  <a:gd name="connsiteY22" fmla="*/ 4090156 h 5633118"/>
                  <a:gd name="connsiteX23" fmla="*/ 0 w 1918706"/>
                  <a:gd name="connsiteY23" fmla="*/ 4069228 h 5633118"/>
                  <a:gd name="connsiteX24" fmla="*/ 0 w 1918706"/>
                  <a:gd name="connsiteY24" fmla="*/ 4010476 h 5633118"/>
                  <a:gd name="connsiteX25" fmla="*/ 0 w 1918706"/>
                  <a:gd name="connsiteY25" fmla="*/ 3997322 h 5633118"/>
                  <a:gd name="connsiteX26" fmla="*/ 0 w 1918706"/>
                  <a:gd name="connsiteY26" fmla="*/ 3595649 h 5633118"/>
                  <a:gd name="connsiteX27" fmla="*/ 0 w 1918706"/>
                  <a:gd name="connsiteY27" fmla="*/ 3587875 h 5633118"/>
                  <a:gd name="connsiteX28" fmla="*/ 0 w 1918706"/>
                  <a:gd name="connsiteY28" fmla="*/ 3574721 h 5633118"/>
                  <a:gd name="connsiteX29" fmla="*/ 0 w 1918706"/>
                  <a:gd name="connsiteY29" fmla="*/ 3515969 h 5633118"/>
                  <a:gd name="connsiteX30" fmla="*/ 0 w 1918706"/>
                  <a:gd name="connsiteY30" fmla="*/ 3508195 h 5633118"/>
                  <a:gd name="connsiteX31" fmla="*/ 0 w 1918706"/>
                  <a:gd name="connsiteY31" fmla="*/ 3487266 h 5633118"/>
                  <a:gd name="connsiteX32" fmla="*/ 0 w 1918706"/>
                  <a:gd name="connsiteY3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595649 h 5633118"/>
                  <a:gd name="connsiteX6" fmla="*/ 1918706 w 1918706"/>
                  <a:gd name="connsiteY6" fmla="*/ 3997322 h 5633118"/>
                  <a:gd name="connsiteX7" fmla="*/ 1918706 w 1918706"/>
                  <a:gd name="connsiteY7" fmla="*/ 4010476 h 5633118"/>
                  <a:gd name="connsiteX8" fmla="*/ 1918706 w 1918706"/>
                  <a:gd name="connsiteY8" fmla="*/ 4069228 h 5633118"/>
                  <a:gd name="connsiteX9" fmla="*/ 1918706 w 1918706"/>
                  <a:gd name="connsiteY9" fmla="*/ 4090156 h 5633118"/>
                  <a:gd name="connsiteX10" fmla="*/ 1918706 w 1918706"/>
                  <a:gd name="connsiteY10" fmla="*/ 4097931 h 5633118"/>
                  <a:gd name="connsiteX11" fmla="*/ 1918706 w 1918706"/>
                  <a:gd name="connsiteY11" fmla="*/ 4491829 h 5633118"/>
                  <a:gd name="connsiteX12" fmla="*/ 1918706 w 1918706"/>
                  <a:gd name="connsiteY12" fmla="*/ 4579284 h 5633118"/>
                  <a:gd name="connsiteX13" fmla="*/ 1918706 w 1918706"/>
                  <a:gd name="connsiteY13" fmla="*/ 4592438 h 5633118"/>
                  <a:gd name="connsiteX14" fmla="*/ 1918706 w 1918706"/>
                  <a:gd name="connsiteY14" fmla="*/ 5073791 h 5633118"/>
                  <a:gd name="connsiteX15" fmla="*/ 959355 w 1918706"/>
                  <a:gd name="connsiteY15" fmla="*/ 5633118 h 5633118"/>
                  <a:gd name="connsiteX16" fmla="*/ 0 w 1918706"/>
                  <a:gd name="connsiteY16" fmla="*/ 5073791 h 5633118"/>
                  <a:gd name="connsiteX17" fmla="*/ 0 w 1918706"/>
                  <a:gd name="connsiteY17" fmla="*/ 4592438 h 5633118"/>
                  <a:gd name="connsiteX18" fmla="*/ 0 w 1918706"/>
                  <a:gd name="connsiteY18" fmla="*/ 4579284 h 5633118"/>
                  <a:gd name="connsiteX19" fmla="*/ 0 w 1918706"/>
                  <a:gd name="connsiteY19" fmla="*/ 4491829 h 5633118"/>
                  <a:gd name="connsiteX20" fmla="*/ 0 w 1918706"/>
                  <a:gd name="connsiteY20" fmla="*/ 4097931 h 5633118"/>
                  <a:gd name="connsiteX21" fmla="*/ 0 w 1918706"/>
                  <a:gd name="connsiteY21" fmla="*/ 4090156 h 5633118"/>
                  <a:gd name="connsiteX22" fmla="*/ 0 w 1918706"/>
                  <a:gd name="connsiteY22" fmla="*/ 4069228 h 5633118"/>
                  <a:gd name="connsiteX23" fmla="*/ 0 w 1918706"/>
                  <a:gd name="connsiteY23" fmla="*/ 4010476 h 5633118"/>
                  <a:gd name="connsiteX24" fmla="*/ 0 w 1918706"/>
                  <a:gd name="connsiteY24" fmla="*/ 3997322 h 5633118"/>
                  <a:gd name="connsiteX25" fmla="*/ 0 w 1918706"/>
                  <a:gd name="connsiteY25" fmla="*/ 3595649 h 5633118"/>
                  <a:gd name="connsiteX26" fmla="*/ 0 w 1918706"/>
                  <a:gd name="connsiteY26" fmla="*/ 3587875 h 5633118"/>
                  <a:gd name="connsiteX27" fmla="*/ 0 w 1918706"/>
                  <a:gd name="connsiteY27" fmla="*/ 3574721 h 5633118"/>
                  <a:gd name="connsiteX28" fmla="*/ 0 w 1918706"/>
                  <a:gd name="connsiteY28" fmla="*/ 3515969 h 5633118"/>
                  <a:gd name="connsiteX29" fmla="*/ 0 w 1918706"/>
                  <a:gd name="connsiteY29" fmla="*/ 3508195 h 5633118"/>
                  <a:gd name="connsiteX30" fmla="*/ 0 w 1918706"/>
                  <a:gd name="connsiteY30" fmla="*/ 3487266 h 5633118"/>
                  <a:gd name="connsiteX31" fmla="*/ 0 w 1918706"/>
                  <a:gd name="connsiteY3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997322 h 5633118"/>
                  <a:gd name="connsiteX6" fmla="*/ 1918706 w 1918706"/>
                  <a:gd name="connsiteY6" fmla="*/ 4010476 h 5633118"/>
                  <a:gd name="connsiteX7" fmla="*/ 1918706 w 1918706"/>
                  <a:gd name="connsiteY7" fmla="*/ 4069228 h 5633118"/>
                  <a:gd name="connsiteX8" fmla="*/ 1918706 w 1918706"/>
                  <a:gd name="connsiteY8" fmla="*/ 4090156 h 5633118"/>
                  <a:gd name="connsiteX9" fmla="*/ 1918706 w 1918706"/>
                  <a:gd name="connsiteY9" fmla="*/ 4097931 h 5633118"/>
                  <a:gd name="connsiteX10" fmla="*/ 1918706 w 1918706"/>
                  <a:gd name="connsiteY10" fmla="*/ 4491829 h 5633118"/>
                  <a:gd name="connsiteX11" fmla="*/ 1918706 w 1918706"/>
                  <a:gd name="connsiteY11" fmla="*/ 4579284 h 5633118"/>
                  <a:gd name="connsiteX12" fmla="*/ 1918706 w 1918706"/>
                  <a:gd name="connsiteY12" fmla="*/ 4592438 h 5633118"/>
                  <a:gd name="connsiteX13" fmla="*/ 1918706 w 1918706"/>
                  <a:gd name="connsiteY13" fmla="*/ 5073791 h 5633118"/>
                  <a:gd name="connsiteX14" fmla="*/ 959355 w 1918706"/>
                  <a:gd name="connsiteY14" fmla="*/ 5633118 h 5633118"/>
                  <a:gd name="connsiteX15" fmla="*/ 0 w 1918706"/>
                  <a:gd name="connsiteY15" fmla="*/ 5073791 h 5633118"/>
                  <a:gd name="connsiteX16" fmla="*/ 0 w 1918706"/>
                  <a:gd name="connsiteY16" fmla="*/ 4592438 h 5633118"/>
                  <a:gd name="connsiteX17" fmla="*/ 0 w 1918706"/>
                  <a:gd name="connsiteY17" fmla="*/ 4579284 h 5633118"/>
                  <a:gd name="connsiteX18" fmla="*/ 0 w 1918706"/>
                  <a:gd name="connsiteY18" fmla="*/ 4491829 h 5633118"/>
                  <a:gd name="connsiteX19" fmla="*/ 0 w 1918706"/>
                  <a:gd name="connsiteY19" fmla="*/ 4097931 h 5633118"/>
                  <a:gd name="connsiteX20" fmla="*/ 0 w 1918706"/>
                  <a:gd name="connsiteY20" fmla="*/ 4090156 h 5633118"/>
                  <a:gd name="connsiteX21" fmla="*/ 0 w 1918706"/>
                  <a:gd name="connsiteY21" fmla="*/ 4069228 h 5633118"/>
                  <a:gd name="connsiteX22" fmla="*/ 0 w 1918706"/>
                  <a:gd name="connsiteY22" fmla="*/ 4010476 h 5633118"/>
                  <a:gd name="connsiteX23" fmla="*/ 0 w 1918706"/>
                  <a:gd name="connsiteY23" fmla="*/ 3997322 h 5633118"/>
                  <a:gd name="connsiteX24" fmla="*/ 0 w 1918706"/>
                  <a:gd name="connsiteY24" fmla="*/ 3595649 h 5633118"/>
                  <a:gd name="connsiteX25" fmla="*/ 0 w 1918706"/>
                  <a:gd name="connsiteY25" fmla="*/ 3587875 h 5633118"/>
                  <a:gd name="connsiteX26" fmla="*/ 0 w 1918706"/>
                  <a:gd name="connsiteY26" fmla="*/ 3574721 h 5633118"/>
                  <a:gd name="connsiteX27" fmla="*/ 0 w 1918706"/>
                  <a:gd name="connsiteY27" fmla="*/ 3515969 h 5633118"/>
                  <a:gd name="connsiteX28" fmla="*/ 0 w 1918706"/>
                  <a:gd name="connsiteY28" fmla="*/ 3508195 h 5633118"/>
                  <a:gd name="connsiteX29" fmla="*/ 0 w 1918706"/>
                  <a:gd name="connsiteY29" fmla="*/ 3487266 h 5633118"/>
                  <a:gd name="connsiteX30" fmla="*/ 0 w 1918706"/>
                  <a:gd name="connsiteY3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997322 h 5633118"/>
                  <a:gd name="connsiteX5" fmla="*/ 1918706 w 1918706"/>
                  <a:gd name="connsiteY5" fmla="*/ 4010476 h 5633118"/>
                  <a:gd name="connsiteX6" fmla="*/ 1918706 w 1918706"/>
                  <a:gd name="connsiteY6" fmla="*/ 4069228 h 5633118"/>
                  <a:gd name="connsiteX7" fmla="*/ 1918706 w 1918706"/>
                  <a:gd name="connsiteY7" fmla="*/ 4090156 h 5633118"/>
                  <a:gd name="connsiteX8" fmla="*/ 1918706 w 1918706"/>
                  <a:gd name="connsiteY8" fmla="*/ 4097931 h 5633118"/>
                  <a:gd name="connsiteX9" fmla="*/ 1918706 w 1918706"/>
                  <a:gd name="connsiteY9" fmla="*/ 4491829 h 5633118"/>
                  <a:gd name="connsiteX10" fmla="*/ 1918706 w 1918706"/>
                  <a:gd name="connsiteY10" fmla="*/ 4579284 h 5633118"/>
                  <a:gd name="connsiteX11" fmla="*/ 1918706 w 1918706"/>
                  <a:gd name="connsiteY11" fmla="*/ 4592438 h 5633118"/>
                  <a:gd name="connsiteX12" fmla="*/ 1918706 w 1918706"/>
                  <a:gd name="connsiteY12" fmla="*/ 5073791 h 5633118"/>
                  <a:gd name="connsiteX13" fmla="*/ 959355 w 1918706"/>
                  <a:gd name="connsiteY13" fmla="*/ 5633118 h 5633118"/>
                  <a:gd name="connsiteX14" fmla="*/ 0 w 1918706"/>
                  <a:gd name="connsiteY14" fmla="*/ 5073791 h 5633118"/>
                  <a:gd name="connsiteX15" fmla="*/ 0 w 1918706"/>
                  <a:gd name="connsiteY15" fmla="*/ 4592438 h 5633118"/>
                  <a:gd name="connsiteX16" fmla="*/ 0 w 1918706"/>
                  <a:gd name="connsiteY16" fmla="*/ 4579284 h 5633118"/>
                  <a:gd name="connsiteX17" fmla="*/ 0 w 1918706"/>
                  <a:gd name="connsiteY17" fmla="*/ 4491829 h 5633118"/>
                  <a:gd name="connsiteX18" fmla="*/ 0 w 1918706"/>
                  <a:gd name="connsiteY18" fmla="*/ 4097931 h 5633118"/>
                  <a:gd name="connsiteX19" fmla="*/ 0 w 1918706"/>
                  <a:gd name="connsiteY19" fmla="*/ 4090156 h 5633118"/>
                  <a:gd name="connsiteX20" fmla="*/ 0 w 1918706"/>
                  <a:gd name="connsiteY20" fmla="*/ 4069228 h 5633118"/>
                  <a:gd name="connsiteX21" fmla="*/ 0 w 1918706"/>
                  <a:gd name="connsiteY21" fmla="*/ 4010476 h 5633118"/>
                  <a:gd name="connsiteX22" fmla="*/ 0 w 1918706"/>
                  <a:gd name="connsiteY22" fmla="*/ 3997322 h 5633118"/>
                  <a:gd name="connsiteX23" fmla="*/ 0 w 1918706"/>
                  <a:gd name="connsiteY23" fmla="*/ 3595649 h 5633118"/>
                  <a:gd name="connsiteX24" fmla="*/ 0 w 1918706"/>
                  <a:gd name="connsiteY24" fmla="*/ 3587875 h 5633118"/>
                  <a:gd name="connsiteX25" fmla="*/ 0 w 1918706"/>
                  <a:gd name="connsiteY25" fmla="*/ 3574721 h 5633118"/>
                  <a:gd name="connsiteX26" fmla="*/ 0 w 1918706"/>
                  <a:gd name="connsiteY26" fmla="*/ 3515969 h 5633118"/>
                  <a:gd name="connsiteX27" fmla="*/ 0 w 1918706"/>
                  <a:gd name="connsiteY27" fmla="*/ 3508195 h 5633118"/>
                  <a:gd name="connsiteX28" fmla="*/ 0 w 1918706"/>
                  <a:gd name="connsiteY28" fmla="*/ 3487266 h 5633118"/>
                  <a:gd name="connsiteX29" fmla="*/ 0 w 1918706"/>
                  <a:gd name="connsiteY2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10476 h 5633118"/>
                  <a:gd name="connsiteX5" fmla="*/ 1918706 w 1918706"/>
                  <a:gd name="connsiteY5" fmla="*/ 4069228 h 5633118"/>
                  <a:gd name="connsiteX6" fmla="*/ 1918706 w 1918706"/>
                  <a:gd name="connsiteY6" fmla="*/ 4090156 h 5633118"/>
                  <a:gd name="connsiteX7" fmla="*/ 1918706 w 1918706"/>
                  <a:gd name="connsiteY7" fmla="*/ 4097931 h 5633118"/>
                  <a:gd name="connsiteX8" fmla="*/ 1918706 w 1918706"/>
                  <a:gd name="connsiteY8" fmla="*/ 4491829 h 5633118"/>
                  <a:gd name="connsiteX9" fmla="*/ 1918706 w 1918706"/>
                  <a:gd name="connsiteY9" fmla="*/ 4579284 h 5633118"/>
                  <a:gd name="connsiteX10" fmla="*/ 1918706 w 1918706"/>
                  <a:gd name="connsiteY10" fmla="*/ 4592438 h 5633118"/>
                  <a:gd name="connsiteX11" fmla="*/ 1918706 w 1918706"/>
                  <a:gd name="connsiteY11" fmla="*/ 5073791 h 5633118"/>
                  <a:gd name="connsiteX12" fmla="*/ 959355 w 1918706"/>
                  <a:gd name="connsiteY12" fmla="*/ 5633118 h 5633118"/>
                  <a:gd name="connsiteX13" fmla="*/ 0 w 1918706"/>
                  <a:gd name="connsiteY13" fmla="*/ 5073791 h 5633118"/>
                  <a:gd name="connsiteX14" fmla="*/ 0 w 1918706"/>
                  <a:gd name="connsiteY14" fmla="*/ 4592438 h 5633118"/>
                  <a:gd name="connsiteX15" fmla="*/ 0 w 1918706"/>
                  <a:gd name="connsiteY15" fmla="*/ 4579284 h 5633118"/>
                  <a:gd name="connsiteX16" fmla="*/ 0 w 1918706"/>
                  <a:gd name="connsiteY16" fmla="*/ 4491829 h 5633118"/>
                  <a:gd name="connsiteX17" fmla="*/ 0 w 1918706"/>
                  <a:gd name="connsiteY17" fmla="*/ 4097931 h 5633118"/>
                  <a:gd name="connsiteX18" fmla="*/ 0 w 1918706"/>
                  <a:gd name="connsiteY18" fmla="*/ 4090156 h 5633118"/>
                  <a:gd name="connsiteX19" fmla="*/ 0 w 1918706"/>
                  <a:gd name="connsiteY19" fmla="*/ 4069228 h 5633118"/>
                  <a:gd name="connsiteX20" fmla="*/ 0 w 1918706"/>
                  <a:gd name="connsiteY20" fmla="*/ 4010476 h 5633118"/>
                  <a:gd name="connsiteX21" fmla="*/ 0 w 1918706"/>
                  <a:gd name="connsiteY21" fmla="*/ 3997322 h 5633118"/>
                  <a:gd name="connsiteX22" fmla="*/ 0 w 1918706"/>
                  <a:gd name="connsiteY22" fmla="*/ 3595649 h 5633118"/>
                  <a:gd name="connsiteX23" fmla="*/ 0 w 1918706"/>
                  <a:gd name="connsiteY23" fmla="*/ 3587875 h 5633118"/>
                  <a:gd name="connsiteX24" fmla="*/ 0 w 1918706"/>
                  <a:gd name="connsiteY24" fmla="*/ 3574721 h 5633118"/>
                  <a:gd name="connsiteX25" fmla="*/ 0 w 1918706"/>
                  <a:gd name="connsiteY25" fmla="*/ 3515969 h 5633118"/>
                  <a:gd name="connsiteX26" fmla="*/ 0 w 1918706"/>
                  <a:gd name="connsiteY26" fmla="*/ 3508195 h 5633118"/>
                  <a:gd name="connsiteX27" fmla="*/ 0 w 1918706"/>
                  <a:gd name="connsiteY27" fmla="*/ 3487266 h 5633118"/>
                  <a:gd name="connsiteX28" fmla="*/ 0 w 1918706"/>
                  <a:gd name="connsiteY2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69228 h 5633118"/>
                  <a:gd name="connsiteX5" fmla="*/ 1918706 w 1918706"/>
                  <a:gd name="connsiteY5" fmla="*/ 4090156 h 5633118"/>
                  <a:gd name="connsiteX6" fmla="*/ 1918706 w 1918706"/>
                  <a:gd name="connsiteY6" fmla="*/ 4097931 h 5633118"/>
                  <a:gd name="connsiteX7" fmla="*/ 1918706 w 1918706"/>
                  <a:gd name="connsiteY7" fmla="*/ 4491829 h 5633118"/>
                  <a:gd name="connsiteX8" fmla="*/ 1918706 w 1918706"/>
                  <a:gd name="connsiteY8" fmla="*/ 4579284 h 5633118"/>
                  <a:gd name="connsiteX9" fmla="*/ 1918706 w 1918706"/>
                  <a:gd name="connsiteY9" fmla="*/ 4592438 h 5633118"/>
                  <a:gd name="connsiteX10" fmla="*/ 1918706 w 1918706"/>
                  <a:gd name="connsiteY10" fmla="*/ 5073791 h 5633118"/>
                  <a:gd name="connsiteX11" fmla="*/ 959355 w 1918706"/>
                  <a:gd name="connsiteY11" fmla="*/ 5633118 h 5633118"/>
                  <a:gd name="connsiteX12" fmla="*/ 0 w 1918706"/>
                  <a:gd name="connsiteY12" fmla="*/ 5073791 h 5633118"/>
                  <a:gd name="connsiteX13" fmla="*/ 0 w 1918706"/>
                  <a:gd name="connsiteY13" fmla="*/ 4592438 h 5633118"/>
                  <a:gd name="connsiteX14" fmla="*/ 0 w 1918706"/>
                  <a:gd name="connsiteY14" fmla="*/ 4579284 h 5633118"/>
                  <a:gd name="connsiteX15" fmla="*/ 0 w 1918706"/>
                  <a:gd name="connsiteY15" fmla="*/ 4491829 h 5633118"/>
                  <a:gd name="connsiteX16" fmla="*/ 0 w 1918706"/>
                  <a:gd name="connsiteY16" fmla="*/ 4097931 h 5633118"/>
                  <a:gd name="connsiteX17" fmla="*/ 0 w 1918706"/>
                  <a:gd name="connsiteY17" fmla="*/ 4090156 h 5633118"/>
                  <a:gd name="connsiteX18" fmla="*/ 0 w 1918706"/>
                  <a:gd name="connsiteY18" fmla="*/ 4069228 h 5633118"/>
                  <a:gd name="connsiteX19" fmla="*/ 0 w 1918706"/>
                  <a:gd name="connsiteY19" fmla="*/ 4010476 h 5633118"/>
                  <a:gd name="connsiteX20" fmla="*/ 0 w 1918706"/>
                  <a:gd name="connsiteY20" fmla="*/ 3997322 h 5633118"/>
                  <a:gd name="connsiteX21" fmla="*/ 0 w 1918706"/>
                  <a:gd name="connsiteY21" fmla="*/ 3595649 h 5633118"/>
                  <a:gd name="connsiteX22" fmla="*/ 0 w 1918706"/>
                  <a:gd name="connsiteY22" fmla="*/ 3587875 h 5633118"/>
                  <a:gd name="connsiteX23" fmla="*/ 0 w 1918706"/>
                  <a:gd name="connsiteY23" fmla="*/ 3574721 h 5633118"/>
                  <a:gd name="connsiteX24" fmla="*/ 0 w 1918706"/>
                  <a:gd name="connsiteY24" fmla="*/ 3515969 h 5633118"/>
                  <a:gd name="connsiteX25" fmla="*/ 0 w 1918706"/>
                  <a:gd name="connsiteY25" fmla="*/ 3508195 h 5633118"/>
                  <a:gd name="connsiteX26" fmla="*/ 0 w 1918706"/>
                  <a:gd name="connsiteY26" fmla="*/ 3487266 h 5633118"/>
                  <a:gd name="connsiteX27" fmla="*/ 0 w 1918706"/>
                  <a:gd name="connsiteY2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097931 h 5633118"/>
                  <a:gd name="connsiteX6" fmla="*/ 1918706 w 1918706"/>
                  <a:gd name="connsiteY6" fmla="*/ 4491829 h 5633118"/>
                  <a:gd name="connsiteX7" fmla="*/ 1918706 w 1918706"/>
                  <a:gd name="connsiteY7" fmla="*/ 4579284 h 5633118"/>
                  <a:gd name="connsiteX8" fmla="*/ 1918706 w 1918706"/>
                  <a:gd name="connsiteY8" fmla="*/ 4592438 h 5633118"/>
                  <a:gd name="connsiteX9" fmla="*/ 1918706 w 1918706"/>
                  <a:gd name="connsiteY9" fmla="*/ 5073791 h 5633118"/>
                  <a:gd name="connsiteX10" fmla="*/ 959355 w 1918706"/>
                  <a:gd name="connsiteY10" fmla="*/ 5633118 h 5633118"/>
                  <a:gd name="connsiteX11" fmla="*/ 0 w 1918706"/>
                  <a:gd name="connsiteY11" fmla="*/ 5073791 h 5633118"/>
                  <a:gd name="connsiteX12" fmla="*/ 0 w 1918706"/>
                  <a:gd name="connsiteY12" fmla="*/ 4592438 h 5633118"/>
                  <a:gd name="connsiteX13" fmla="*/ 0 w 1918706"/>
                  <a:gd name="connsiteY13" fmla="*/ 4579284 h 5633118"/>
                  <a:gd name="connsiteX14" fmla="*/ 0 w 1918706"/>
                  <a:gd name="connsiteY14" fmla="*/ 4491829 h 5633118"/>
                  <a:gd name="connsiteX15" fmla="*/ 0 w 1918706"/>
                  <a:gd name="connsiteY15" fmla="*/ 4097931 h 5633118"/>
                  <a:gd name="connsiteX16" fmla="*/ 0 w 1918706"/>
                  <a:gd name="connsiteY16" fmla="*/ 4090156 h 5633118"/>
                  <a:gd name="connsiteX17" fmla="*/ 0 w 1918706"/>
                  <a:gd name="connsiteY17" fmla="*/ 4069228 h 5633118"/>
                  <a:gd name="connsiteX18" fmla="*/ 0 w 1918706"/>
                  <a:gd name="connsiteY18" fmla="*/ 4010476 h 5633118"/>
                  <a:gd name="connsiteX19" fmla="*/ 0 w 1918706"/>
                  <a:gd name="connsiteY19" fmla="*/ 3997322 h 5633118"/>
                  <a:gd name="connsiteX20" fmla="*/ 0 w 1918706"/>
                  <a:gd name="connsiteY20" fmla="*/ 3595649 h 5633118"/>
                  <a:gd name="connsiteX21" fmla="*/ 0 w 1918706"/>
                  <a:gd name="connsiteY21" fmla="*/ 3587875 h 5633118"/>
                  <a:gd name="connsiteX22" fmla="*/ 0 w 1918706"/>
                  <a:gd name="connsiteY22" fmla="*/ 3574721 h 5633118"/>
                  <a:gd name="connsiteX23" fmla="*/ 0 w 1918706"/>
                  <a:gd name="connsiteY23" fmla="*/ 3515969 h 5633118"/>
                  <a:gd name="connsiteX24" fmla="*/ 0 w 1918706"/>
                  <a:gd name="connsiteY24" fmla="*/ 3508195 h 5633118"/>
                  <a:gd name="connsiteX25" fmla="*/ 0 w 1918706"/>
                  <a:gd name="connsiteY25" fmla="*/ 3487266 h 5633118"/>
                  <a:gd name="connsiteX26" fmla="*/ 0 w 1918706"/>
                  <a:gd name="connsiteY2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491829 h 5633118"/>
                  <a:gd name="connsiteX6" fmla="*/ 1918706 w 1918706"/>
                  <a:gd name="connsiteY6" fmla="*/ 4579284 h 5633118"/>
                  <a:gd name="connsiteX7" fmla="*/ 1918706 w 1918706"/>
                  <a:gd name="connsiteY7" fmla="*/ 4592438 h 5633118"/>
                  <a:gd name="connsiteX8" fmla="*/ 1918706 w 1918706"/>
                  <a:gd name="connsiteY8" fmla="*/ 5073791 h 5633118"/>
                  <a:gd name="connsiteX9" fmla="*/ 959355 w 1918706"/>
                  <a:gd name="connsiteY9" fmla="*/ 5633118 h 5633118"/>
                  <a:gd name="connsiteX10" fmla="*/ 0 w 1918706"/>
                  <a:gd name="connsiteY10" fmla="*/ 5073791 h 5633118"/>
                  <a:gd name="connsiteX11" fmla="*/ 0 w 1918706"/>
                  <a:gd name="connsiteY11" fmla="*/ 4592438 h 5633118"/>
                  <a:gd name="connsiteX12" fmla="*/ 0 w 1918706"/>
                  <a:gd name="connsiteY12" fmla="*/ 4579284 h 5633118"/>
                  <a:gd name="connsiteX13" fmla="*/ 0 w 1918706"/>
                  <a:gd name="connsiteY13" fmla="*/ 4491829 h 5633118"/>
                  <a:gd name="connsiteX14" fmla="*/ 0 w 1918706"/>
                  <a:gd name="connsiteY14" fmla="*/ 4097931 h 5633118"/>
                  <a:gd name="connsiteX15" fmla="*/ 0 w 1918706"/>
                  <a:gd name="connsiteY15" fmla="*/ 4090156 h 5633118"/>
                  <a:gd name="connsiteX16" fmla="*/ 0 w 1918706"/>
                  <a:gd name="connsiteY16" fmla="*/ 4069228 h 5633118"/>
                  <a:gd name="connsiteX17" fmla="*/ 0 w 1918706"/>
                  <a:gd name="connsiteY17" fmla="*/ 4010476 h 5633118"/>
                  <a:gd name="connsiteX18" fmla="*/ 0 w 1918706"/>
                  <a:gd name="connsiteY18" fmla="*/ 3997322 h 5633118"/>
                  <a:gd name="connsiteX19" fmla="*/ 0 w 1918706"/>
                  <a:gd name="connsiteY19" fmla="*/ 3595649 h 5633118"/>
                  <a:gd name="connsiteX20" fmla="*/ 0 w 1918706"/>
                  <a:gd name="connsiteY20" fmla="*/ 3587875 h 5633118"/>
                  <a:gd name="connsiteX21" fmla="*/ 0 w 1918706"/>
                  <a:gd name="connsiteY21" fmla="*/ 3574721 h 5633118"/>
                  <a:gd name="connsiteX22" fmla="*/ 0 w 1918706"/>
                  <a:gd name="connsiteY22" fmla="*/ 3515969 h 5633118"/>
                  <a:gd name="connsiteX23" fmla="*/ 0 w 1918706"/>
                  <a:gd name="connsiteY23" fmla="*/ 3508195 h 5633118"/>
                  <a:gd name="connsiteX24" fmla="*/ 0 w 1918706"/>
                  <a:gd name="connsiteY24" fmla="*/ 3487266 h 5633118"/>
                  <a:gd name="connsiteX25" fmla="*/ 0 w 1918706"/>
                  <a:gd name="connsiteY2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090156 h 5633118"/>
                  <a:gd name="connsiteX4" fmla="*/ 1918706 w 1918706"/>
                  <a:gd name="connsiteY4" fmla="*/ 4491829 h 5633118"/>
                  <a:gd name="connsiteX5" fmla="*/ 1918706 w 1918706"/>
                  <a:gd name="connsiteY5" fmla="*/ 4579284 h 5633118"/>
                  <a:gd name="connsiteX6" fmla="*/ 1918706 w 1918706"/>
                  <a:gd name="connsiteY6" fmla="*/ 4592438 h 5633118"/>
                  <a:gd name="connsiteX7" fmla="*/ 1918706 w 1918706"/>
                  <a:gd name="connsiteY7" fmla="*/ 5073791 h 5633118"/>
                  <a:gd name="connsiteX8" fmla="*/ 959355 w 1918706"/>
                  <a:gd name="connsiteY8" fmla="*/ 5633118 h 5633118"/>
                  <a:gd name="connsiteX9" fmla="*/ 0 w 1918706"/>
                  <a:gd name="connsiteY9" fmla="*/ 5073791 h 5633118"/>
                  <a:gd name="connsiteX10" fmla="*/ 0 w 1918706"/>
                  <a:gd name="connsiteY10" fmla="*/ 4592438 h 5633118"/>
                  <a:gd name="connsiteX11" fmla="*/ 0 w 1918706"/>
                  <a:gd name="connsiteY11" fmla="*/ 4579284 h 5633118"/>
                  <a:gd name="connsiteX12" fmla="*/ 0 w 1918706"/>
                  <a:gd name="connsiteY12" fmla="*/ 4491829 h 5633118"/>
                  <a:gd name="connsiteX13" fmla="*/ 0 w 1918706"/>
                  <a:gd name="connsiteY13" fmla="*/ 4097931 h 5633118"/>
                  <a:gd name="connsiteX14" fmla="*/ 0 w 1918706"/>
                  <a:gd name="connsiteY14" fmla="*/ 4090156 h 5633118"/>
                  <a:gd name="connsiteX15" fmla="*/ 0 w 1918706"/>
                  <a:gd name="connsiteY15" fmla="*/ 4069228 h 5633118"/>
                  <a:gd name="connsiteX16" fmla="*/ 0 w 1918706"/>
                  <a:gd name="connsiteY16" fmla="*/ 4010476 h 5633118"/>
                  <a:gd name="connsiteX17" fmla="*/ 0 w 1918706"/>
                  <a:gd name="connsiteY17" fmla="*/ 3997322 h 5633118"/>
                  <a:gd name="connsiteX18" fmla="*/ 0 w 1918706"/>
                  <a:gd name="connsiteY18" fmla="*/ 3595649 h 5633118"/>
                  <a:gd name="connsiteX19" fmla="*/ 0 w 1918706"/>
                  <a:gd name="connsiteY19" fmla="*/ 3587875 h 5633118"/>
                  <a:gd name="connsiteX20" fmla="*/ 0 w 1918706"/>
                  <a:gd name="connsiteY20" fmla="*/ 3574721 h 5633118"/>
                  <a:gd name="connsiteX21" fmla="*/ 0 w 1918706"/>
                  <a:gd name="connsiteY21" fmla="*/ 3515969 h 5633118"/>
                  <a:gd name="connsiteX22" fmla="*/ 0 w 1918706"/>
                  <a:gd name="connsiteY22" fmla="*/ 3508195 h 5633118"/>
                  <a:gd name="connsiteX23" fmla="*/ 0 w 1918706"/>
                  <a:gd name="connsiteY23" fmla="*/ 3487266 h 5633118"/>
                  <a:gd name="connsiteX24" fmla="*/ 0 w 1918706"/>
                  <a:gd name="connsiteY2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491829 h 5633118"/>
                  <a:gd name="connsiteX4" fmla="*/ 1918706 w 1918706"/>
                  <a:gd name="connsiteY4" fmla="*/ 4579284 h 5633118"/>
                  <a:gd name="connsiteX5" fmla="*/ 1918706 w 1918706"/>
                  <a:gd name="connsiteY5" fmla="*/ 4592438 h 5633118"/>
                  <a:gd name="connsiteX6" fmla="*/ 1918706 w 1918706"/>
                  <a:gd name="connsiteY6" fmla="*/ 5073791 h 5633118"/>
                  <a:gd name="connsiteX7" fmla="*/ 959355 w 1918706"/>
                  <a:gd name="connsiteY7" fmla="*/ 5633118 h 5633118"/>
                  <a:gd name="connsiteX8" fmla="*/ 0 w 1918706"/>
                  <a:gd name="connsiteY8" fmla="*/ 5073791 h 5633118"/>
                  <a:gd name="connsiteX9" fmla="*/ 0 w 1918706"/>
                  <a:gd name="connsiteY9" fmla="*/ 4592438 h 5633118"/>
                  <a:gd name="connsiteX10" fmla="*/ 0 w 1918706"/>
                  <a:gd name="connsiteY10" fmla="*/ 4579284 h 5633118"/>
                  <a:gd name="connsiteX11" fmla="*/ 0 w 1918706"/>
                  <a:gd name="connsiteY11" fmla="*/ 4491829 h 5633118"/>
                  <a:gd name="connsiteX12" fmla="*/ 0 w 1918706"/>
                  <a:gd name="connsiteY12" fmla="*/ 4097931 h 5633118"/>
                  <a:gd name="connsiteX13" fmla="*/ 0 w 1918706"/>
                  <a:gd name="connsiteY13" fmla="*/ 4090156 h 5633118"/>
                  <a:gd name="connsiteX14" fmla="*/ 0 w 1918706"/>
                  <a:gd name="connsiteY14" fmla="*/ 4069228 h 5633118"/>
                  <a:gd name="connsiteX15" fmla="*/ 0 w 1918706"/>
                  <a:gd name="connsiteY15" fmla="*/ 4010476 h 5633118"/>
                  <a:gd name="connsiteX16" fmla="*/ 0 w 1918706"/>
                  <a:gd name="connsiteY16" fmla="*/ 3997322 h 5633118"/>
                  <a:gd name="connsiteX17" fmla="*/ 0 w 1918706"/>
                  <a:gd name="connsiteY17" fmla="*/ 3595649 h 5633118"/>
                  <a:gd name="connsiteX18" fmla="*/ 0 w 1918706"/>
                  <a:gd name="connsiteY18" fmla="*/ 3587875 h 5633118"/>
                  <a:gd name="connsiteX19" fmla="*/ 0 w 1918706"/>
                  <a:gd name="connsiteY19" fmla="*/ 3574721 h 5633118"/>
                  <a:gd name="connsiteX20" fmla="*/ 0 w 1918706"/>
                  <a:gd name="connsiteY20" fmla="*/ 3515969 h 5633118"/>
                  <a:gd name="connsiteX21" fmla="*/ 0 w 1918706"/>
                  <a:gd name="connsiteY21" fmla="*/ 3508195 h 5633118"/>
                  <a:gd name="connsiteX22" fmla="*/ 0 w 1918706"/>
                  <a:gd name="connsiteY22" fmla="*/ 3487266 h 5633118"/>
                  <a:gd name="connsiteX23" fmla="*/ 0 w 1918706"/>
                  <a:gd name="connsiteY2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4592438 h 5633118"/>
                  <a:gd name="connsiteX5" fmla="*/ 1918706 w 1918706"/>
                  <a:gd name="connsiteY5" fmla="*/ 5073791 h 5633118"/>
                  <a:gd name="connsiteX6" fmla="*/ 959355 w 1918706"/>
                  <a:gd name="connsiteY6" fmla="*/ 5633118 h 5633118"/>
                  <a:gd name="connsiteX7" fmla="*/ 0 w 1918706"/>
                  <a:gd name="connsiteY7" fmla="*/ 5073791 h 5633118"/>
                  <a:gd name="connsiteX8" fmla="*/ 0 w 1918706"/>
                  <a:gd name="connsiteY8" fmla="*/ 4592438 h 5633118"/>
                  <a:gd name="connsiteX9" fmla="*/ 0 w 1918706"/>
                  <a:gd name="connsiteY9" fmla="*/ 4579284 h 5633118"/>
                  <a:gd name="connsiteX10" fmla="*/ 0 w 1918706"/>
                  <a:gd name="connsiteY10" fmla="*/ 4491829 h 5633118"/>
                  <a:gd name="connsiteX11" fmla="*/ 0 w 1918706"/>
                  <a:gd name="connsiteY11" fmla="*/ 4097931 h 5633118"/>
                  <a:gd name="connsiteX12" fmla="*/ 0 w 1918706"/>
                  <a:gd name="connsiteY12" fmla="*/ 4090156 h 5633118"/>
                  <a:gd name="connsiteX13" fmla="*/ 0 w 1918706"/>
                  <a:gd name="connsiteY13" fmla="*/ 4069228 h 5633118"/>
                  <a:gd name="connsiteX14" fmla="*/ 0 w 1918706"/>
                  <a:gd name="connsiteY14" fmla="*/ 4010476 h 5633118"/>
                  <a:gd name="connsiteX15" fmla="*/ 0 w 1918706"/>
                  <a:gd name="connsiteY15" fmla="*/ 3997322 h 5633118"/>
                  <a:gd name="connsiteX16" fmla="*/ 0 w 1918706"/>
                  <a:gd name="connsiteY16" fmla="*/ 3595649 h 5633118"/>
                  <a:gd name="connsiteX17" fmla="*/ 0 w 1918706"/>
                  <a:gd name="connsiteY17" fmla="*/ 3587875 h 5633118"/>
                  <a:gd name="connsiteX18" fmla="*/ 0 w 1918706"/>
                  <a:gd name="connsiteY18" fmla="*/ 3574721 h 5633118"/>
                  <a:gd name="connsiteX19" fmla="*/ 0 w 1918706"/>
                  <a:gd name="connsiteY19" fmla="*/ 3515969 h 5633118"/>
                  <a:gd name="connsiteX20" fmla="*/ 0 w 1918706"/>
                  <a:gd name="connsiteY20" fmla="*/ 3508195 h 5633118"/>
                  <a:gd name="connsiteX21" fmla="*/ 0 w 1918706"/>
                  <a:gd name="connsiteY21" fmla="*/ 3487266 h 5633118"/>
                  <a:gd name="connsiteX22" fmla="*/ 0 w 1918706"/>
                  <a:gd name="connsiteY2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5073791 h 5633118"/>
                  <a:gd name="connsiteX5" fmla="*/ 959355 w 1918706"/>
                  <a:gd name="connsiteY5" fmla="*/ 5633118 h 5633118"/>
                  <a:gd name="connsiteX6" fmla="*/ 0 w 1918706"/>
                  <a:gd name="connsiteY6" fmla="*/ 5073791 h 5633118"/>
                  <a:gd name="connsiteX7" fmla="*/ 0 w 1918706"/>
                  <a:gd name="connsiteY7" fmla="*/ 4592438 h 5633118"/>
                  <a:gd name="connsiteX8" fmla="*/ 0 w 1918706"/>
                  <a:gd name="connsiteY8" fmla="*/ 4579284 h 5633118"/>
                  <a:gd name="connsiteX9" fmla="*/ 0 w 1918706"/>
                  <a:gd name="connsiteY9" fmla="*/ 4491829 h 5633118"/>
                  <a:gd name="connsiteX10" fmla="*/ 0 w 1918706"/>
                  <a:gd name="connsiteY10" fmla="*/ 4097931 h 5633118"/>
                  <a:gd name="connsiteX11" fmla="*/ 0 w 1918706"/>
                  <a:gd name="connsiteY11" fmla="*/ 4090156 h 5633118"/>
                  <a:gd name="connsiteX12" fmla="*/ 0 w 1918706"/>
                  <a:gd name="connsiteY12" fmla="*/ 4069228 h 5633118"/>
                  <a:gd name="connsiteX13" fmla="*/ 0 w 1918706"/>
                  <a:gd name="connsiteY13" fmla="*/ 4010476 h 5633118"/>
                  <a:gd name="connsiteX14" fmla="*/ 0 w 1918706"/>
                  <a:gd name="connsiteY14" fmla="*/ 3997322 h 5633118"/>
                  <a:gd name="connsiteX15" fmla="*/ 0 w 1918706"/>
                  <a:gd name="connsiteY15" fmla="*/ 3595649 h 5633118"/>
                  <a:gd name="connsiteX16" fmla="*/ 0 w 1918706"/>
                  <a:gd name="connsiteY16" fmla="*/ 3587875 h 5633118"/>
                  <a:gd name="connsiteX17" fmla="*/ 0 w 1918706"/>
                  <a:gd name="connsiteY17" fmla="*/ 3574721 h 5633118"/>
                  <a:gd name="connsiteX18" fmla="*/ 0 w 1918706"/>
                  <a:gd name="connsiteY18" fmla="*/ 3515969 h 5633118"/>
                  <a:gd name="connsiteX19" fmla="*/ 0 w 1918706"/>
                  <a:gd name="connsiteY19" fmla="*/ 3508195 h 5633118"/>
                  <a:gd name="connsiteX20" fmla="*/ 0 w 1918706"/>
                  <a:gd name="connsiteY20" fmla="*/ 3487266 h 5633118"/>
                  <a:gd name="connsiteX21" fmla="*/ 0 w 1918706"/>
                  <a:gd name="connsiteY2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3487266 h 5633118"/>
                  <a:gd name="connsiteX20" fmla="*/ 0 w 1918706"/>
                  <a:gd name="connsiteY2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10064 w 1928770"/>
                  <a:gd name="connsiteY7" fmla="*/ 4579284 h 5633118"/>
                  <a:gd name="connsiteX8" fmla="*/ 0 w 1928770"/>
                  <a:gd name="connsiteY8" fmla="*/ 4484457 h 5633118"/>
                  <a:gd name="connsiteX9" fmla="*/ 10064 w 1928770"/>
                  <a:gd name="connsiteY9"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0 w 1928770"/>
                  <a:gd name="connsiteY7" fmla="*/ 4484457 h 5633118"/>
                  <a:gd name="connsiteX8" fmla="*/ 10064 w 1928770"/>
                  <a:gd name="connsiteY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0 h 563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8706" h="5633118">
                    <a:moveTo>
                      <a:pt x="0" y="0"/>
                    </a:moveTo>
                    <a:cubicBezTo>
                      <a:pt x="0" y="308912"/>
                      <a:pt x="429517" y="559332"/>
                      <a:pt x="959355" y="559332"/>
                    </a:cubicBezTo>
                    <a:cubicBezTo>
                      <a:pt x="1489193" y="559332"/>
                      <a:pt x="1918706" y="308912"/>
                      <a:pt x="1918706" y="0"/>
                    </a:cubicBezTo>
                    <a:lnTo>
                      <a:pt x="1918706" y="5073791"/>
                    </a:lnTo>
                    <a:cubicBezTo>
                      <a:pt x="1918706" y="5382699"/>
                      <a:pt x="1489193" y="5633118"/>
                      <a:pt x="959355" y="5633118"/>
                    </a:cubicBezTo>
                    <a:cubicBezTo>
                      <a:pt x="429517" y="5633118"/>
                      <a:pt x="0" y="5382699"/>
                      <a:pt x="0" y="5073791"/>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880" name="Oval 386">
                <a:extLst>
                  <a:ext uri="{FF2B5EF4-FFF2-40B4-BE49-F238E27FC236}">
                    <a16:creationId xmlns:a16="http://schemas.microsoft.com/office/drawing/2014/main" id="{525CF706-3968-49A4-B0FF-87C1FD188129}"/>
                  </a:ext>
                </a:extLst>
              </p:cNvPr>
              <p:cNvSpPr/>
              <p:nvPr/>
            </p:nvSpPr>
            <p:spPr bwMode="gray">
              <a:xfrm>
                <a:off x="12676185" y="-2160831"/>
                <a:ext cx="1918706" cy="1340175"/>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822" name="Group 821">
              <a:extLst>
                <a:ext uri="{FF2B5EF4-FFF2-40B4-BE49-F238E27FC236}">
                  <a16:creationId xmlns:a16="http://schemas.microsoft.com/office/drawing/2014/main" id="{D13E37C5-3408-4F68-B9ED-5D06B3D1EDDB}"/>
                </a:ext>
              </a:extLst>
            </p:cNvPr>
            <p:cNvGrpSpPr>
              <a:grpSpLocks noChangeAspect="1"/>
            </p:cNvGrpSpPr>
            <p:nvPr/>
          </p:nvGrpSpPr>
          <p:grpSpPr bwMode="gray">
            <a:xfrm>
              <a:off x="9264875" y="3882121"/>
              <a:ext cx="260073" cy="869376"/>
              <a:chOff x="12676185" y="-2160831"/>
              <a:chExt cx="1918718" cy="6413936"/>
            </a:xfrm>
          </p:grpSpPr>
          <p:sp>
            <p:nvSpPr>
              <p:cNvPr id="847" name="Freeform: Shape 846">
                <a:extLst>
                  <a:ext uri="{FF2B5EF4-FFF2-40B4-BE49-F238E27FC236}">
                    <a16:creationId xmlns:a16="http://schemas.microsoft.com/office/drawing/2014/main" id="{74C94FDE-78A4-49B7-B3DE-CC61E65DE2CD}"/>
                  </a:ext>
                </a:extLst>
              </p:cNvPr>
              <p:cNvSpPr/>
              <p:nvPr/>
            </p:nvSpPr>
            <p:spPr bwMode="gray">
              <a:xfrm>
                <a:off x="12676197" y="-1380013"/>
                <a:ext cx="1918706" cy="5633118"/>
              </a:xfrm>
              <a:custGeom>
                <a:avLst/>
                <a:gdLst>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581962 h 5633118"/>
                  <a:gd name="connsiteX6" fmla="*/ 1918706 w 1918706"/>
                  <a:gd name="connsiteY6" fmla="*/ 981092 h 5633118"/>
                  <a:gd name="connsiteX7" fmla="*/ 1918706 w 1918706"/>
                  <a:gd name="connsiteY7" fmla="*/ 1004563 h 5633118"/>
                  <a:gd name="connsiteX8" fmla="*/ 1918706 w 1918706"/>
                  <a:gd name="connsiteY8" fmla="*/ 1068547 h 5633118"/>
                  <a:gd name="connsiteX9" fmla="*/ 1918706 w 1918706"/>
                  <a:gd name="connsiteY9" fmla="*/ 1076469 h 5633118"/>
                  <a:gd name="connsiteX10" fmla="*/ 1918706 w 1918706"/>
                  <a:gd name="connsiteY10" fmla="*/ 1491148 h 5633118"/>
                  <a:gd name="connsiteX11" fmla="*/ 1918706 w 1918706"/>
                  <a:gd name="connsiteY11" fmla="*/ 1499070 h 5633118"/>
                  <a:gd name="connsiteX12" fmla="*/ 1918706 w 1918706"/>
                  <a:gd name="connsiteY12" fmla="*/ 1506844 h 5633118"/>
                  <a:gd name="connsiteX13" fmla="*/ 1918706 w 1918706"/>
                  <a:gd name="connsiteY13" fmla="*/ 1563054 h 5633118"/>
                  <a:gd name="connsiteX14" fmla="*/ 1918706 w 1918706"/>
                  <a:gd name="connsiteY14" fmla="*/ 1586524 h 5633118"/>
                  <a:gd name="connsiteX15" fmla="*/ 1918706 w 1918706"/>
                  <a:gd name="connsiteY15" fmla="*/ 1985655 h 5633118"/>
                  <a:gd name="connsiteX16" fmla="*/ 1918706 w 1918706"/>
                  <a:gd name="connsiteY16" fmla="*/ 2001351 h 5633118"/>
                  <a:gd name="connsiteX17" fmla="*/ 1918706 w 1918706"/>
                  <a:gd name="connsiteY17" fmla="*/ 2009125 h 5633118"/>
                  <a:gd name="connsiteX18" fmla="*/ 1918706 w 1918706"/>
                  <a:gd name="connsiteY18" fmla="*/ 2073109 h 5633118"/>
                  <a:gd name="connsiteX19" fmla="*/ 1918706 w 1918706"/>
                  <a:gd name="connsiteY19" fmla="*/ 2081031 h 5633118"/>
                  <a:gd name="connsiteX20" fmla="*/ 1918706 w 1918706"/>
                  <a:gd name="connsiteY20" fmla="*/ 2088805 h 5633118"/>
                  <a:gd name="connsiteX21" fmla="*/ 1918706 w 1918706"/>
                  <a:gd name="connsiteY21" fmla="*/ 2503632 h 5633118"/>
                  <a:gd name="connsiteX22" fmla="*/ 1918706 w 1918706"/>
                  <a:gd name="connsiteY22" fmla="*/ 2511407 h 5633118"/>
                  <a:gd name="connsiteX23" fmla="*/ 1918706 w 1918706"/>
                  <a:gd name="connsiteY23" fmla="*/ 2567616 h 5633118"/>
                  <a:gd name="connsiteX24" fmla="*/ 1918706 w 1918706"/>
                  <a:gd name="connsiteY24" fmla="*/ 2583313 h 5633118"/>
                  <a:gd name="connsiteX25" fmla="*/ 1918706 w 1918706"/>
                  <a:gd name="connsiteY25" fmla="*/ 2591087 h 5633118"/>
                  <a:gd name="connsiteX26" fmla="*/ 1918706 w 1918706"/>
                  <a:gd name="connsiteY26" fmla="*/ 2992759 h 5633118"/>
                  <a:gd name="connsiteX27" fmla="*/ 1918706 w 1918706"/>
                  <a:gd name="connsiteY27" fmla="*/ 3005914 h 5633118"/>
                  <a:gd name="connsiteX28" fmla="*/ 1918706 w 1918706"/>
                  <a:gd name="connsiteY28" fmla="*/ 3013688 h 5633118"/>
                  <a:gd name="connsiteX29" fmla="*/ 1918706 w 1918706"/>
                  <a:gd name="connsiteY29" fmla="*/ 3085594 h 5633118"/>
                  <a:gd name="connsiteX30" fmla="*/ 1918706 w 1918706"/>
                  <a:gd name="connsiteY30" fmla="*/ 3093368 h 5633118"/>
                  <a:gd name="connsiteX31" fmla="*/ 1918706 w 1918706"/>
                  <a:gd name="connsiteY31" fmla="*/ 3487266 h 5633118"/>
                  <a:gd name="connsiteX32" fmla="*/ 1918706 w 1918706"/>
                  <a:gd name="connsiteY32" fmla="*/ 3508195 h 5633118"/>
                  <a:gd name="connsiteX33" fmla="*/ 1918706 w 1918706"/>
                  <a:gd name="connsiteY33" fmla="*/ 3515969 h 5633118"/>
                  <a:gd name="connsiteX34" fmla="*/ 1918706 w 1918706"/>
                  <a:gd name="connsiteY34" fmla="*/ 3574721 h 5633118"/>
                  <a:gd name="connsiteX35" fmla="*/ 1918706 w 1918706"/>
                  <a:gd name="connsiteY35" fmla="*/ 3587875 h 5633118"/>
                  <a:gd name="connsiteX36" fmla="*/ 1918706 w 1918706"/>
                  <a:gd name="connsiteY36" fmla="*/ 3595649 h 5633118"/>
                  <a:gd name="connsiteX37" fmla="*/ 1918706 w 1918706"/>
                  <a:gd name="connsiteY37" fmla="*/ 3997322 h 5633118"/>
                  <a:gd name="connsiteX38" fmla="*/ 1918706 w 1918706"/>
                  <a:gd name="connsiteY38" fmla="*/ 4010476 h 5633118"/>
                  <a:gd name="connsiteX39" fmla="*/ 1918706 w 1918706"/>
                  <a:gd name="connsiteY39" fmla="*/ 4069228 h 5633118"/>
                  <a:gd name="connsiteX40" fmla="*/ 1918706 w 1918706"/>
                  <a:gd name="connsiteY40" fmla="*/ 4090156 h 5633118"/>
                  <a:gd name="connsiteX41" fmla="*/ 1918706 w 1918706"/>
                  <a:gd name="connsiteY41" fmla="*/ 4097931 h 5633118"/>
                  <a:gd name="connsiteX42" fmla="*/ 1918706 w 1918706"/>
                  <a:gd name="connsiteY42" fmla="*/ 4491829 h 5633118"/>
                  <a:gd name="connsiteX43" fmla="*/ 1918706 w 1918706"/>
                  <a:gd name="connsiteY43" fmla="*/ 4579284 h 5633118"/>
                  <a:gd name="connsiteX44" fmla="*/ 1918706 w 1918706"/>
                  <a:gd name="connsiteY44" fmla="*/ 4592438 h 5633118"/>
                  <a:gd name="connsiteX45" fmla="*/ 1918706 w 1918706"/>
                  <a:gd name="connsiteY45" fmla="*/ 5073791 h 5633118"/>
                  <a:gd name="connsiteX46" fmla="*/ 959355 w 1918706"/>
                  <a:gd name="connsiteY46" fmla="*/ 5633118 h 5633118"/>
                  <a:gd name="connsiteX47" fmla="*/ 0 w 1918706"/>
                  <a:gd name="connsiteY47" fmla="*/ 5073791 h 5633118"/>
                  <a:gd name="connsiteX48" fmla="*/ 0 w 1918706"/>
                  <a:gd name="connsiteY48" fmla="*/ 4592438 h 5633118"/>
                  <a:gd name="connsiteX49" fmla="*/ 0 w 1918706"/>
                  <a:gd name="connsiteY49" fmla="*/ 4579284 h 5633118"/>
                  <a:gd name="connsiteX50" fmla="*/ 0 w 1918706"/>
                  <a:gd name="connsiteY50" fmla="*/ 4491829 h 5633118"/>
                  <a:gd name="connsiteX51" fmla="*/ 0 w 1918706"/>
                  <a:gd name="connsiteY51" fmla="*/ 4097931 h 5633118"/>
                  <a:gd name="connsiteX52" fmla="*/ 0 w 1918706"/>
                  <a:gd name="connsiteY52" fmla="*/ 4090156 h 5633118"/>
                  <a:gd name="connsiteX53" fmla="*/ 0 w 1918706"/>
                  <a:gd name="connsiteY53" fmla="*/ 4069228 h 5633118"/>
                  <a:gd name="connsiteX54" fmla="*/ 0 w 1918706"/>
                  <a:gd name="connsiteY54" fmla="*/ 4010476 h 5633118"/>
                  <a:gd name="connsiteX55" fmla="*/ 0 w 1918706"/>
                  <a:gd name="connsiteY55" fmla="*/ 3997322 h 5633118"/>
                  <a:gd name="connsiteX56" fmla="*/ 0 w 1918706"/>
                  <a:gd name="connsiteY56" fmla="*/ 3595649 h 5633118"/>
                  <a:gd name="connsiteX57" fmla="*/ 0 w 1918706"/>
                  <a:gd name="connsiteY57" fmla="*/ 3587875 h 5633118"/>
                  <a:gd name="connsiteX58" fmla="*/ 0 w 1918706"/>
                  <a:gd name="connsiteY58" fmla="*/ 3574721 h 5633118"/>
                  <a:gd name="connsiteX59" fmla="*/ 0 w 1918706"/>
                  <a:gd name="connsiteY59" fmla="*/ 3515969 h 5633118"/>
                  <a:gd name="connsiteX60" fmla="*/ 0 w 1918706"/>
                  <a:gd name="connsiteY60" fmla="*/ 3508195 h 5633118"/>
                  <a:gd name="connsiteX61" fmla="*/ 0 w 1918706"/>
                  <a:gd name="connsiteY61" fmla="*/ 3487266 h 5633118"/>
                  <a:gd name="connsiteX62" fmla="*/ 0 w 1918706"/>
                  <a:gd name="connsiteY62" fmla="*/ 3093368 h 5633118"/>
                  <a:gd name="connsiteX63" fmla="*/ 0 w 1918706"/>
                  <a:gd name="connsiteY63" fmla="*/ 3085594 h 5633118"/>
                  <a:gd name="connsiteX64" fmla="*/ 0 w 1918706"/>
                  <a:gd name="connsiteY64" fmla="*/ 3013688 h 5633118"/>
                  <a:gd name="connsiteX65" fmla="*/ 0 w 1918706"/>
                  <a:gd name="connsiteY65" fmla="*/ 3005914 h 5633118"/>
                  <a:gd name="connsiteX66" fmla="*/ 0 w 1918706"/>
                  <a:gd name="connsiteY66" fmla="*/ 2992759 h 5633118"/>
                  <a:gd name="connsiteX67" fmla="*/ 0 w 1918706"/>
                  <a:gd name="connsiteY67" fmla="*/ 2591087 h 5633118"/>
                  <a:gd name="connsiteX68" fmla="*/ 0 w 1918706"/>
                  <a:gd name="connsiteY68" fmla="*/ 2583313 h 5633118"/>
                  <a:gd name="connsiteX69" fmla="*/ 0 w 1918706"/>
                  <a:gd name="connsiteY69" fmla="*/ 2567616 h 5633118"/>
                  <a:gd name="connsiteX70" fmla="*/ 0 w 1918706"/>
                  <a:gd name="connsiteY70" fmla="*/ 2511407 h 5633118"/>
                  <a:gd name="connsiteX71" fmla="*/ 0 w 1918706"/>
                  <a:gd name="connsiteY71" fmla="*/ 2503632 h 5633118"/>
                  <a:gd name="connsiteX72" fmla="*/ 0 w 1918706"/>
                  <a:gd name="connsiteY72" fmla="*/ 2088805 h 5633118"/>
                  <a:gd name="connsiteX73" fmla="*/ 0 w 1918706"/>
                  <a:gd name="connsiteY73" fmla="*/ 2081031 h 5633118"/>
                  <a:gd name="connsiteX74" fmla="*/ 0 w 1918706"/>
                  <a:gd name="connsiteY74" fmla="*/ 2073109 h 5633118"/>
                  <a:gd name="connsiteX75" fmla="*/ 0 w 1918706"/>
                  <a:gd name="connsiteY75" fmla="*/ 2009125 h 5633118"/>
                  <a:gd name="connsiteX76" fmla="*/ 0 w 1918706"/>
                  <a:gd name="connsiteY76" fmla="*/ 2001351 h 5633118"/>
                  <a:gd name="connsiteX77" fmla="*/ 0 w 1918706"/>
                  <a:gd name="connsiteY77" fmla="*/ 1985655 h 5633118"/>
                  <a:gd name="connsiteX78" fmla="*/ 0 w 1918706"/>
                  <a:gd name="connsiteY78" fmla="*/ 1586524 h 5633118"/>
                  <a:gd name="connsiteX79" fmla="*/ 0 w 1918706"/>
                  <a:gd name="connsiteY79" fmla="*/ 1563054 h 5633118"/>
                  <a:gd name="connsiteX80" fmla="*/ 0 w 1918706"/>
                  <a:gd name="connsiteY80" fmla="*/ 1506844 h 5633118"/>
                  <a:gd name="connsiteX81" fmla="*/ 0 w 1918706"/>
                  <a:gd name="connsiteY81" fmla="*/ 1499070 h 5633118"/>
                  <a:gd name="connsiteX82" fmla="*/ 0 w 1918706"/>
                  <a:gd name="connsiteY82" fmla="*/ 1491148 h 5633118"/>
                  <a:gd name="connsiteX83" fmla="*/ 0 w 1918706"/>
                  <a:gd name="connsiteY83" fmla="*/ 1076469 h 5633118"/>
                  <a:gd name="connsiteX84" fmla="*/ 0 w 1918706"/>
                  <a:gd name="connsiteY84" fmla="*/ 1068547 h 5633118"/>
                  <a:gd name="connsiteX85" fmla="*/ 0 w 1918706"/>
                  <a:gd name="connsiteY85" fmla="*/ 1004563 h 5633118"/>
                  <a:gd name="connsiteX86" fmla="*/ 0 w 1918706"/>
                  <a:gd name="connsiteY86" fmla="*/ 981092 h 5633118"/>
                  <a:gd name="connsiteX87" fmla="*/ 0 w 1918706"/>
                  <a:gd name="connsiteY87" fmla="*/ 581962 h 5633118"/>
                  <a:gd name="connsiteX88" fmla="*/ 0 w 1918706"/>
                  <a:gd name="connsiteY88" fmla="*/ 494507 h 5633118"/>
                  <a:gd name="connsiteX89" fmla="*/ 0 w 1918706"/>
                  <a:gd name="connsiteY89" fmla="*/ 486585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981092 h 5633118"/>
                  <a:gd name="connsiteX6" fmla="*/ 1918706 w 1918706"/>
                  <a:gd name="connsiteY6" fmla="*/ 1004563 h 5633118"/>
                  <a:gd name="connsiteX7" fmla="*/ 1918706 w 1918706"/>
                  <a:gd name="connsiteY7" fmla="*/ 1068547 h 5633118"/>
                  <a:gd name="connsiteX8" fmla="*/ 1918706 w 1918706"/>
                  <a:gd name="connsiteY8" fmla="*/ 1076469 h 5633118"/>
                  <a:gd name="connsiteX9" fmla="*/ 1918706 w 1918706"/>
                  <a:gd name="connsiteY9" fmla="*/ 1491148 h 5633118"/>
                  <a:gd name="connsiteX10" fmla="*/ 1918706 w 1918706"/>
                  <a:gd name="connsiteY10" fmla="*/ 1499070 h 5633118"/>
                  <a:gd name="connsiteX11" fmla="*/ 1918706 w 1918706"/>
                  <a:gd name="connsiteY11" fmla="*/ 1506844 h 5633118"/>
                  <a:gd name="connsiteX12" fmla="*/ 1918706 w 1918706"/>
                  <a:gd name="connsiteY12" fmla="*/ 1563054 h 5633118"/>
                  <a:gd name="connsiteX13" fmla="*/ 1918706 w 1918706"/>
                  <a:gd name="connsiteY13" fmla="*/ 1586524 h 5633118"/>
                  <a:gd name="connsiteX14" fmla="*/ 1918706 w 1918706"/>
                  <a:gd name="connsiteY14" fmla="*/ 1985655 h 5633118"/>
                  <a:gd name="connsiteX15" fmla="*/ 1918706 w 1918706"/>
                  <a:gd name="connsiteY15" fmla="*/ 2001351 h 5633118"/>
                  <a:gd name="connsiteX16" fmla="*/ 1918706 w 1918706"/>
                  <a:gd name="connsiteY16" fmla="*/ 2009125 h 5633118"/>
                  <a:gd name="connsiteX17" fmla="*/ 1918706 w 1918706"/>
                  <a:gd name="connsiteY17" fmla="*/ 2073109 h 5633118"/>
                  <a:gd name="connsiteX18" fmla="*/ 1918706 w 1918706"/>
                  <a:gd name="connsiteY18" fmla="*/ 2081031 h 5633118"/>
                  <a:gd name="connsiteX19" fmla="*/ 1918706 w 1918706"/>
                  <a:gd name="connsiteY19" fmla="*/ 2088805 h 5633118"/>
                  <a:gd name="connsiteX20" fmla="*/ 1918706 w 1918706"/>
                  <a:gd name="connsiteY20" fmla="*/ 2503632 h 5633118"/>
                  <a:gd name="connsiteX21" fmla="*/ 1918706 w 1918706"/>
                  <a:gd name="connsiteY21" fmla="*/ 2511407 h 5633118"/>
                  <a:gd name="connsiteX22" fmla="*/ 1918706 w 1918706"/>
                  <a:gd name="connsiteY22" fmla="*/ 2567616 h 5633118"/>
                  <a:gd name="connsiteX23" fmla="*/ 1918706 w 1918706"/>
                  <a:gd name="connsiteY23" fmla="*/ 2583313 h 5633118"/>
                  <a:gd name="connsiteX24" fmla="*/ 1918706 w 1918706"/>
                  <a:gd name="connsiteY24" fmla="*/ 2591087 h 5633118"/>
                  <a:gd name="connsiteX25" fmla="*/ 1918706 w 1918706"/>
                  <a:gd name="connsiteY25" fmla="*/ 2992759 h 5633118"/>
                  <a:gd name="connsiteX26" fmla="*/ 1918706 w 1918706"/>
                  <a:gd name="connsiteY26" fmla="*/ 3005914 h 5633118"/>
                  <a:gd name="connsiteX27" fmla="*/ 1918706 w 1918706"/>
                  <a:gd name="connsiteY27" fmla="*/ 3013688 h 5633118"/>
                  <a:gd name="connsiteX28" fmla="*/ 1918706 w 1918706"/>
                  <a:gd name="connsiteY28" fmla="*/ 3085594 h 5633118"/>
                  <a:gd name="connsiteX29" fmla="*/ 1918706 w 1918706"/>
                  <a:gd name="connsiteY29" fmla="*/ 3093368 h 5633118"/>
                  <a:gd name="connsiteX30" fmla="*/ 1918706 w 1918706"/>
                  <a:gd name="connsiteY30" fmla="*/ 3487266 h 5633118"/>
                  <a:gd name="connsiteX31" fmla="*/ 1918706 w 1918706"/>
                  <a:gd name="connsiteY31" fmla="*/ 3508195 h 5633118"/>
                  <a:gd name="connsiteX32" fmla="*/ 1918706 w 1918706"/>
                  <a:gd name="connsiteY32" fmla="*/ 3515969 h 5633118"/>
                  <a:gd name="connsiteX33" fmla="*/ 1918706 w 1918706"/>
                  <a:gd name="connsiteY33" fmla="*/ 3574721 h 5633118"/>
                  <a:gd name="connsiteX34" fmla="*/ 1918706 w 1918706"/>
                  <a:gd name="connsiteY34" fmla="*/ 3587875 h 5633118"/>
                  <a:gd name="connsiteX35" fmla="*/ 1918706 w 1918706"/>
                  <a:gd name="connsiteY35" fmla="*/ 3595649 h 5633118"/>
                  <a:gd name="connsiteX36" fmla="*/ 1918706 w 1918706"/>
                  <a:gd name="connsiteY36" fmla="*/ 3997322 h 5633118"/>
                  <a:gd name="connsiteX37" fmla="*/ 1918706 w 1918706"/>
                  <a:gd name="connsiteY37" fmla="*/ 4010476 h 5633118"/>
                  <a:gd name="connsiteX38" fmla="*/ 1918706 w 1918706"/>
                  <a:gd name="connsiteY38" fmla="*/ 4069228 h 5633118"/>
                  <a:gd name="connsiteX39" fmla="*/ 1918706 w 1918706"/>
                  <a:gd name="connsiteY39" fmla="*/ 4090156 h 5633118"/>
                  <a:gd name="connsiteX40" fmla="*/ 1918706 w 1918706"/>
                  <a:gd name="connsiteY40" fmla="*/ 4097931 h 5633118"/>
                  <a:gd name="connsiteX41" fmla="*/ 1918706 w 1918706"/>
                  <a:gd name="connsiteY41" fmla="*/ 4491829 h 5633118"/>
                  <a:gd name="connsiteX42" fmla="*/ 1918706 w 1918706"/>
                  <a:gd name="connsiteY42" fmla="*/ 4579284 h 5633118"/>
                  <a:gd name="connsiteX43" fmla="*/ 1918706 w 1918706"/>
                  <a:gd name="connsiteY43" fmla="*/ 4592438 h 5633118"/>
                  <a:gd name="connsiteX44" fmla="*/ 1918706 w 1918706"/>
                  <a:gd name="connsiteY44" fmla="*/ 5073791 h 5633118"/>
                  <a:gd name="connsiteX45" fmla="*/ 959355 w 1918706"/>
                  <a:gd name="connsiteY45" fmla="*/ 5633118 h 5633118"/>
                  <a:gd name="connsiteX46" fmla="*/ 0 w 1918706"/>
                  <a:gd name="connsiteY46" fmla="*/ 5073791 h 5633118"/>
                  <a:gd name="connsiteX47" fmla="*/ 0 w 1918706"/>
                  <a:gd name="connsiteY47" fmla="*/ 4592438 h 5633118"/>
                  <a:gd name="connsiteX48" fmla="*/ 0 w 1918706"/>
                  <a:gd name="connsiteY48" fmla="*/ 4579284 h 5633118"/>
                  <a:gd name="connsiteX49" fmla="*/ 0 w 1918706"/>
                  <a:gd name="connsiteY49" fmla="*/ 4491829 h 5633118"/>
                  <a:gd name="connsiteX50" fmla="*/ 0 w 1918706"/>
                  <a:gd name="connsiteY50" fmla="*/ 4097931 h 5633118"/>
                  <a:gd name="connsiteX51" fmla="*/ 0 w 1918706"/>
                  <a:gd name="connsiteY51" fmla="*/ 4090156 h 5633118"/>
                  <a:gd name="connsiteX52" fmla="*/ 0 w 1918706"/>
                  <a:gd name="connsiteY52" fmla="*/ 4069228 h 5633118"/>
                  <a:gd name="connsiteX53" fmla="*/ 0 w 1918706"/>
                  <a:gd name="connsiteY53" fmla="*/ 4010476 h 5633118"/>
                  <a:gd name="connsiteX54" fmla="*/ 0 w 1918706"/>
                  <a:gd name="connsiteY54" fmla="*/ 3997322 h 5633118"/>
                  <a:gd name="connsiteX55" fmla="*/ 0 w 1918706"/>
                  <a:gd name="connsiteY55" fmla="*/ 3595649 h 5633118"/>
                  <a:gd name="connsiteX56" fmla="*/ 0 w 1918706"/>
                  <a:gd name="connsiteY56" fmla="*/ 3587875 h 5633118"/>
                  <a:gd name="connsiteX57" fmla="*/ 0 w 1918706"/>
                  <a:gd name="connsiteY57" fmla="*/ 3574721 h 5633118"/>
                  <a:gd name="connsiteX58" fmla="*/ 0 w 1918706"/>
                  <a:gd name="connsiteY58" fmla="*/ 3515969 h 5633118"/>
                  <a:gd name="connsiteX59" fmla="*/ 0 w 1918706"/>
                  <a:gd name="connsiteY59" fmla="*/ 3508195 h 5633118"/>
                  <a:gd name="connsiteX60" fmla="*/ 0 w 1918706"/>
                  <a:gd name="connsiteY60" fmla="*/ 3487266 h 5633118"/>
                  <a:gd name="connsiteX61" fmla="*/ 0 w 1918706"/>
                  <a:gd name="connsiteY61" fmla="*/ 3093368 h 5633118"/>
                  <a:gd name="connsiteX62" fmla="*/ 0 w 1918706"/>
                  <a:gd name="connsiteY62" fmla="*/ 3085594 h 5633118"/>
                  <a:gd name="connsiteX63" fmla="*/ 0 w 1918706"/>
                  <a:gd name="connsiteY63" fmla="*/ 3013688 h 5633118"/>
                  <a:gd name="connsiteX64" fmla="*/ 0 w 1918706"/>
                  <a:gd name="connsiteY64" fmla="*/ 3005914 h 5633118"/>
                  <a:gd name="connsiteX65" fmla="*/ 0 w 1918706"/>
                  <a:gd name="connsiteY65" fmla="*/ 2992759 h 5633118"/>
                  <a:gd name="connsiteX66" fmla="*/ 0 w 1918706"/>
                  <a:gd name="connsiteY66" fmla="*/ 2591087 h 5633118"/>
                  <a:gd name="connsiteX67" fmla="*/ 0 w 1918706"/>
                  <a:gd name="connsiteY67" fmla="*/ 2583313 h 5633118"/>
                  <a:gd name="connsiteX68" fmla="*/ 0 w 1918706"/>
                  <a:gd name="connsiteY68" fmla="*/ 2567616 h 5633118"/>
                  <a:gd name="connsiteX69" fmla="*/ 0 w 1918706"/>
                  <a:gd name="connsiteY69" fmla="*/ 2511407 h 5633118"/>
                  <a:gd name="connsiteX70" fmla="*/ 0 w 1918706"/>
                  <a:gd name="connsiteY70" fmla="*/ 2503632 h 5633118"/>
                  <a:gd name="connsiteX71" fmla="*/ 0 w 1918706"/>
                  <a:gd name="connsiteY71" fmla="*/ 2088805 h 5633118"/>
                  <a:gd name="connsiteX72" fmla="*/ 0 w 1918706"/>
                  <a:gd name="connsiteY72" fmla="*/ 2081031 h 5633118"/>
                  <a:gd name="connsiteX73" fmla="*/ 0 w 1918706"/>
                  <a:gd name="connsiteY73" fmla="*/ 2073109 h 5633118"/>
                  <a:gd name="connsiteX74" fmla="*/ 0 w 1918706"/>
                  <a:gd name="connsiteY74" fmla="*/ 2009125 h 5633118"/>
                  <a:gd name="connsiteX75" fmla="*/ 0 w 1918706"/>
                  <a:gd name="connsiteY75" fmla="*/ 2001351 h 5633118"/>
                  <a:gd name="connsiteX76" fmla="*/ 0 w 1918706"/>
                  <a:gd name="connsiteY76" fmla="*/ 1985655 h 5633118"/>
                  <a:gd name="connsiteX77" fmla="*/ 0 w 1918706"/>
                  <a:gd name="connsiteY77" fmla="*/ 1586524 h 5633118"/>
                  <a:gd name="connsiteX78" fmla="*/ 0 w 1918706"/>
                  <a:gd name="connsiteY78" fmla="*/ 1563054 h 5633118"/>
                  <a:gd name="connsiteX79" fmla="*/ 0 w 1918706"/>
                  <a:gd name="connsiteY79" fmla="*/ 1506844 h 5633118"/>
                  <a:gd name="connsiteX80" fmla="*/ 0 w 1918706"/>
                  <a:gd name="connsiteY80" fmla="*/ 1499070 h 5633118"/>
                  <a:gd name="connsiteX81" fmla="*/ 0 w 1918706"/>
                  <a:gd name="connsiteY81" fmla="*/ 1491148 h 5633118"/>
                  <a:gd name="connsiteX82" fmla="*/ 0 w 1918706"/>
                  <a:gd name="connsiteY82" fmla="*/ 1076469 h 5633118"/>
                  <a:gd name="connsiteX83" fmla="*/ 0 w 1918706"/>
                  <a:gd name="connsiteY83" fmla="*/ 1068547 h 5633118"/>
                  <a:gd name="connsiteX84" fmla="*/ 0 w 1918706"/>
                  <a:gd name="connsiteY84" fmla="*/ 1004563 h 5633118"/>
                  <a:gd name="connsiteX85" fmla="*/ 0 w 1918706"/>
                  <a:gd name="connsiteY85" fmla="*/ 981092 h 5633118"/>
                  <a:gd name="connsiteX86" fmla="*/ 0 w 1918706"/>
                  <a:gd name="connsiteY86" fmla="*/ 581962 h 5633118"/>
                  <a:gd name="connsiteX87" fmla="*/ 0 w 1918706"/>
                  <a:gd name="connsiteY87" fmla="*/ 494507 h 5633118"/>
                  <a:gd name="connsiteX88" fmla="*/ 0 w 1918706"/>
                  <a:gd name="connsiteY88" fmla="*/ 486585 h 5633118"/>
                  <a:gd name="connsiteX89" fmla="*/ 0 w 1918706"/>
                  <a:gd name="connsiteY8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981092 h 5633118"/>
                  <a:gd name="connsiteX5" fmla="*/ 1918706 w 1918706"/>
                  <a:gd name="connsiteY5" fmla="*/ 1004563 h 5633118"/>
                  <a:gd name="connsiteX6" fmla="*/ 1918706 w 1918706"/>
                  <a:gd name="connsiteY6" fmla="*/ 1068547 h 5633118"/>
                  <a:gd name="connsiteX7" fmla="*/ 1918706 w 1918706"/>
                  <a:gd name="connsiteY7" fmla="*/ 1076469 h 5633118"/>
                  <a:gd name="connsiteX8" fmla="*/ 1918706 w 1918706"/>
                  <a:gd name="connsiteY8" fmla="*/ 1491148 h 5633118"/>
                  <a:gd name="connsiteX9" fmla="*/ 1918706 w 1918706"/>
                  <a:gd name="connsiteY9" fmla="*/ 1499070 h 5633118"/>
                  <a:gd name="connsiteX10" fmla="*/ 1918706 w 1918706"/>
                  <a:gd name="connsiteY10" fmla="*/ 1506844 h 5633118"/>
                  <a:gd name="connsiteX11" fmla="*/ 1918706 w 1918706"/>
                  <a:gd name="connsiteY11" fmla="*/ 1563054 h 5633118"/>
                  <a:gd name="connsiteX12" fmla="*/ 1918706 w 1918706"/>
                  <a:gd name="connsiteY12" fmla="*/ 1586524 h 5633118"/>
                  <a:gd name="connsiteX13" fmla="*/ 1918706 w 1918706"/>
                  <a:gd name="connsiteY13" fmla="*/ 1985655 h 5633118"/>
                  <a:gd name="connsiteX14" fmla="*/ 1918706 w 1918706"/>
                  <a:gd name="connsiteY14" fmla="*/ 2001351 h 5633118"/>
                  <a:gd name="connsiteX15" fmla="*/ 1918706 w 1918706"/>
                  <a:gd name="connsiteY15" fmla="*/ 2009125 h 5633118"/>
                  <a:gd name="connsiteX16" fmla="*/ 1918706 w 1918706"/>
                  <a:gd name="connsiteY16" fmla="*/ 2073109 h 5633118"/>
                  <a:gd name="connsiteX17" fmla="*/ 1918706 w 1918706"/>
                  <a:gd name="connsiteY17" fmla="*/ 2081031 h 5633118"/>
                  <a:gd name="connsiteX18" fmla="*/ 1918706 w 1918706"/>
                  <a:gd name="connsiteY18" fmla="*/ 2088805 h 5633118"/>
                  <a:gd name="connsiteX19" fmla="*/ 1918706 w 1918706"/>
                  <a:gd name="connsiteY19" fmla="*/ 2503632 h 5633118"/>
                  <a:gd name="connsiteX20" fmla="*/ 1918706 w 1918706"/>
                  <a:gd name="connsiteY20" fmla="*/ 2511407 h 5633118"/>
                  <a:gd name="connsiteX21" fmla="*/ 1918706 w 1918706"/>
                  <a:gd name="connsiteY21" fmla="*/ 2567616 h 5633118"/>
                  <a:gd name="connsiteX22" fmla="*/ 1918706 w 1918706"/>
                  <a:gd name="connsiteY22" fmla="*/ 2583313 h 5633118"/>
                  <a:gd name="connsiteX23" fmla="*/ 1918706 w 1918706"/>
                  <a:gd name="connsiteY23" fmla="*/ 2591087 h 5633118"/>
                  <a:gd name="connsiteX24" fmla="*/ 1918706 w 1918706"/>
                  <a:gd name="connsiteY24" fmla="*/ 2992759 h 5633118"/>
                  <a:gd name="connsiteX25" fmla="*/ 1918706 w 1918706"/>
                  <a:gd name="connsiteY25" fmla="*/ 3005914 h 5633118"/>
                  <a:gd name="connsiteX26" fmla="*/ 1918706 w 1918706"/>
                  <a:gd name="connsiteY26" fmla="*/ 3013688 h 5633118"/>
                  <a:gd name="connsiteX27" fmla="*/ 1918706 w 1918706"/>
                  <a:gd name="connsiteY27" fmla="*/ 3085594 h 5633118"/>
                  <a:gd name="connsiteX28" fmla="*/ 1918706 w 1918706"/>
                  <a:gd name="connsiteY28" fmla="*/ 3093368 h 5633118"/>
                  <a:gd name="connsiteX29" fmla="*/ 1918706 w 1918706"/>
                  <a:gd name="connsiteY29" fmla="*/ 3487266 h 5633118"/>
                  <a:gd name="connsiteX30" fmla="*/ 1918706 w 1918706"/>
                  <a:gd name="connsiteY30" fmla="*/ 3508195 h 5633118"/>
                  <a:gd name="connsiteX31" fmla="*/ 1918706 w 1918706"/>
                  <a:gd name="connsiteY31" fmla="*/ 3515969 h 5633118"/>
                  <a:gd name="connsiteX32" fmla="*/ 1918706 w 1918706"/>
                  <a:gd name="connsiteY32" fmla="*/ 3574721 h 5633118"/>
                  <a:gd name="connsiteX33" fmla="*/ 1918706 w 1918706"/>
                  <a:gd name="connsiteY33" fmla="*/ 3587875 h 5633118"/>
                  <a:gd name="connsiteX34" fmla="*/ 1918706 w 1918706"/>
                  <a:gd name="connsiteY34" fmla="*/ 3595649 h 5633118"/>
                  <a:gd name="connsiteX35" fmla="*/ 1918706 w 1918706"/>
                  <a:gd name="connsiteY35" fmla="*/ 3997322 h 5633118"/>
                  <a:gd name="connsiteX36" fmla="*/ 1918706 w 1918706"/>
                  <a:gd name="connsiteY36" fmla="*/ 4010476 h 5633118"/>
                  <a:gd name="connsiteX37" fmla="*/ 1918706 w 1918706"/>
                  <a:gd name="connsiteY37" fmla="*/ 4069228 h 5633118"/>
                  <a:gd name="connsiteX38" fmla="*/ 1918706 w 1918706"/>
                  <a:gd name="connsiteY38" fmla="*/ 4090156 h 5633118"/>
                  <a:gd name="connsiteX39" fmla="*/ 1918706 w 1918706"/>
                  <a:gd name="connsiteY39" fmla="*/ 4097931 h 5633118"/>
                  <a:gd name="connsiteX40" fmla="*/ 1918706 w 1918706"/>
                  <a:gd name="connsiteY40" fmla="*/ 4491829 h 5633118"/>
                  <a:gd name="connsiteX41" fmla="*/ 1918706 w 1918706"/>
                  <a:gd name="connsiteY41" fmla="*/ 4579284 h 5633118"/>
                  <a:gd name="connsiteX42" fmla="*/ 1918706 w 1918706"/>
                  <a:gd name="connsiteY42" fmla="*/ 4592438 h 5633118"/>
                  <a:gd name="connsiteX43" fmla="*/ 1918706 w 1918706"/>
                  <a:gd name="connsiteY43" fmla="*/ 5073791 h 5633118"/>
                  <a:gd name="connsiteX44" fmla="*/ 959355 w 1918706"/>
                  <a:gd name="connsiteY44" fmla="*/ 5633118 h 5633118"/>
                  <a:gd name="connsiteX45" fmla="*/ 0 w 1918706"/>
                  <a:gd name="connsiteY45" fmla="*/ 5073791 h 5633118"/>
                  <a:gd name="connsiteX46" fmla="*/ 0 w 1918706"/>
                  <a:gd name="connsiteY46" fmla="*/ 4592438 h 5633118"/>
                  <a:gd name="connsiteX47" fmla="*/ 0 w 1918706"/>
                  <a:gd name="connsiteY47" fmla="*/ 4579284 h 5633118"/>
                  <a:gd name="connsiteX48" fmla="*/ 0 w 1918706"/>
                  <a:gd name="connsiteY48" fmla="*/ 4491829 h 5633118"/>
                  <a:gd name="connsiteX49" fmla="*/ 0 w 1918706"/>
                  <a:gd name="connsiteY49" fmla="*/ 4097931 h 5633118"/>
                  <a:gd name="connsiteX50" fmla="*/ 0 w 1918706"/>
                  <a:gd name="connsiteY50" fmla="*/ 4090156 h 5633118"/>
                  <a:gd name="connsiteX51" fmla="*/ 0 w 1918706"/>
                  <a:gd name="connsiteY51" fmla="*/ 4069228 h 5633118"/>
                  <a:gd name="connsiteX52" fmla="*/ 0 w 1918706"/>
                  <a:gd name="connsiteY52" fmla="*/ 4010476 h 5633118"/>
                  <a:gd name="connsiteX53" fmla="*/ 0 w 1918706"/>
                  <a:gd name="connsiteY53" fmla="*/ 3997322 h 5633118"/>
                  <a:gd name="connsiteX54" fmla="*/ 0 w 1918706"/>
                  <a:gd name="connsiteY54" fmla="*/ 3595649 h 5633118"/>
                  <a:gd name="connsiteX55" fmla="*/ 0 w 1918706"/>
                  <a:gd name="connsiteY55" fmla="*/ 3587875 h 5633118"/>
                  <a:gd name="connsiteX56" fmla="*/ 0 w 1918706"/>
                  <a:gd name="connsiteY56" fmla="*/ 3574721 h 5633118"/>
                  <a:gd name="connsiteX57" fmla="*/ 0 w 1918706"/>
                  <a:gd name="connsiteY57" fmla="*/ 3515969 h 5633118"/>
                  <a:gd name="connsiteX58" fmla="*/ 0 w 1918706"/>
                  <a:gd name="connsiteY58" fmla="*/ 3508195 h 5633118"/>
                  <a:gd name="connsiteX59" fmla="*/ 0 w 1918706"/>
                  <a:gd name="connsiteY59" fmla="*/ 3487266 h 5633118"/>
                  <a:gd name="connsiteX60" fmla="*/ 0 w 1918706"/>
                  <a:gd name="connsiteY60" fmla="*/ 3093368 h 5633118"/>
                  <a:gd name="connsiteX61" fmla="*/ 0 w 1918706"/>
                  <a:gd name="connsiteY61" fmla="*/ 3085594 h 5633118"/>
                  <a:gd name="connsiteX62" fmla="*/ 0 w 1918706"/>
                  <a:gd name="connsiteY62" fmla="*/ 3013688 h 5633118"/>
                  <a:gd name="connsiteX63" fmla="*/ 0 w 1918706"/>
                  <a:gd name="connsiteY63" fmla="*/ 3005914 h 5633118"/>
                  <a:gd name="connsiteX64" fmla="*/ 0 w 1918706"/>
                  <a:gd name="connsiteY64" fmla="*/ 2992759 h 5633118"/>
                  <a:gd name="connsiteX65" fmla="*/ 0 w 1918706"/>
                  <a:gd name="connsiteY65" fmla="*/ 2591087 h 5633118"/>
                  <a:gd name="connsiteX66" fmla="*/ 0 w 1918706"/>
                  <a:gd name="connsiteY66" fmla="*/ 2583313 h 5633118"/>
                  <a:gd name="connsiteX67" fmla="*/ 0 w 1918706"/>
                  <a:gd name="connsiteY67" fmla="*/ 2567616 h 5633118"/>
                  <a:gd name="connsiteX68" fmla="*/ 0 w 1918706"/>
                  <a:gd name="connsiteY68" fmla="*/ 2511407 h 5633118"/>
                  <a:gd name="connsiteX69" fmla="*/ 0 w 1918706"/>
                  <a:gd name="connsiteY69" fmla="*/ 2503632 h 5633118"/>
                  <a:gd name="connsiteX70" fmla="*/ 0 w 1918706"/>
                  <a:gd name="connsiteY70" fmla="*/ 2088805 h 5633118"/>
                  <a:gd name="connsiteX71" fmla="*/ 0 w 1918706"/>
                  <a:gd name="connsiteY71" fmla="*/ 2081031 h 5633118"/>
                  <a:gd name="connsiteX72" fmla="*/ 0 w 1918706"/>
                  <a:gd name="connsiteY72" fmla="*/ 2073109 h 5633118"/>
                  <a:gd name="connsiteX73" fmla="*/ 0 w 1918706"/>
                  <a:gd name="connsiteY73" fmla="*/ 2009125 h 5633118"/>
                  <a:gd name="connsiteX74" fmla="*/ 0 w 1918706"/>
                  <a:gd name="connsiteY74" fmla="*/ 2001351 h 5633118"/>
                  <a:gd name="connsiteX75" fmla="*/ 0 w 1918706"/>
                  <a:gd name="connsiteY75" fmla="*/ 1985655 h 5633118"/>
                  <a:gd name="connsiteX76" fmla="*/ 0 w 1918706"/>
                  <a:gd name="connsiteY76" fmla="*/ 1586524 h 5633118"/>
                  <a:gd name="connsiteX77" fmla="*/ 0 w 1918706"/>
                  <a:gd name="connsiteY77" fmla="*/ 1563054 h 5633118"/>
                  <a:gd name="connsiteX78" fmla="*/ 0 w 1918706"/>
                  <a:gd name="connsiteY78" fmla="*/ 1506844 h 5633118"/>
                  <a:gd name="connsiteX79" fmla="*/ 0 w 1918706"/>
                  <a:gd name="connsiteY79" fmla="*/ 1499070 h 5633118"/>
                  <a:gd name="connsiteX80" fmla="*/ 0 w 1918706"/>
                  <a:gd name="connsiteY80" fmla="*/ 1491148 h 5633118"/>
                  <a:gd name="connsiteX81" fmla="*/ 0 w 1918706"/>
                  <a:gd name="connsiteY81" fmla="*/ 1076469 h 5633118"/>
                  <a:gd name="connsiteX82" fmla="*/ 0 w 1918706"/>
                  <a:gd name="connsiteY82" fmla="*/ 1068547 h 5633118"/>
                  <a:gd name="connsiteX83" fmla="*/ 0 w 1918706"/>
                  <a:gd name="connsiteY83" fmla="*/ 1004563 h 5633118"/>
                  <a:gd name="connsiteX84" fmla="*/ 0 w 1918706"/>
                  <a:gd name="connsiteY84" fmla="*/ 981092 h 5633118"/>
                  <a:gd name="connsiteX85" fmla="*/ 0 w 1918706"/>
                  <a:gd name="connsiteY85" fmla="*/ 581962 h 5633118"/>
                  <a:gd name="connsiteX86" fmla="*/ 0 w 1918706"/>
                  <a:gd name="connsiteY86" fmla="*/ 494507 h 5633118"/>
                  <a:gd name="connsiteX87" fmla="*/ 0 w 1918706"/>
                  <a:gd name="connsiteY87" fmla="*/ 486585 h 5633118"/>
                  <a:gd name="connsiteX88" fmla="*/ 0 w 1918706"/>
                  <a:gd name="connsiteY8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486585 h 5633118"/>
                  <a:gd name="connsiteX87" fmla="*/ 0 w 1918706"/>
                  <a:gd name="connsiteY8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076469 h 5633118"/>
                  <a:gd name="connsiteX80" fmla="*/ 0 w 1918706"/>
                  <a:gd name="connsiteY8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591087 h 5633118"/>
                  <a:gd name="connsiteX64" fmla="*/ 0 w 1918706"/>
                  <a:gd name="connsiteY6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2591087 h 5633118"/>
                  <a:gd name="connsiteX63" fmla="*/ 0 w 1918706"/>
                  <a:gd name="connsiteY6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2591087 h 5633118"/>
                  <a:gd name="connsiteX62" fmla="*/ 0 w 1918706"/>
                  <a:gd name="connsiteY6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2591087 h 5633118"/>
                  <a:gd name="connsiteX61" fmla="*/ 0 w 1918706"/>
                  <a:gd name="connsiteY6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68547 h 5633118"/>
                  <a:gd name="connsiteX5" fmla="*/ 1918706 w 1918706"/>
                  <a:gd name="connsiteY5" fmla="*/ 1076469 h 5633118"/>
                  <a:gd name="connsiteX6" fmla="*/ 1918706 w 1918706"/>
                  <a:gd name="connsiteY6" fmla="*/ 1491148 h 5633118"/>
                  <a:gd name="connsiteX7" fmla="*/ 1918706 w 1918706"/>
                  <a:gd name="connsiteY7" fmla="*/ 1499070 h 5633118"/>
                  <a:gd name="connsiteX8" fmla="*/ 1918706 w 1918706"/>
                  <a:gd name="connsiteY8" fmla="*/ 1506844 h 5633118"/>
                  <a:gd name="connsiteX9" fmla="*/ 1918706 w 1918706"/>
                  <a:gd name="connsiteY9" fmla="*/ 1563054 h 5633118"/>
                  <a:gd name="connsiteX10" fmla="*/ 1918706 w 1918706"/>
                  <a:gd name="connsiteY10" fmla="*/ 1586524 h 5633118"/>
                  <a:gd name="connsiteX11" fmla="*/ 1918706 w 1918706"/>
                  <a:gd name="connsiteY11" fmla="*/ 1985655 h 5633118"/>
                  <a:gd name="connsiteX12" fmla="*/ 1918706 w 1918706"/>
                  <a:gd name="connsiteY12" fmla="*/ 2001351 h 5633118"/>
                  <a:gd name="connsiteX13" fmla="*/ 1918706 w 1918706"/>
                  <a:gd name="connsiteY13" fmla="*/ 2009125 h 5633118"/>
                  <a:gd name="connsiteX14" fmla="*/ 1918706 w 1918706"/>
                  <a:gd name="connsiteY14" fmla="*/ 2073109 h 5633118"/>
                  <a:gd name="connsiteX15" fmla="*/ 1918706 w 1918706"/>
                  <a:gd name="connsiteY15" fmla="*/ 2081031 h 5633118"/>
                  <a:gd name="connsiteX16" fmla="*/ 1918706 w 1918706"/>
                  <a:gd name="connsiteY16" fmla="*/ 2088805 h 5633118"/>
                  <a:gd name="connsiteX17" fmla="*/ 1918706 w 1918706"/>
                  <a:gd name="connsiteY17" fmla="*/ 2503632 h 5633118"/>
                  <a:gd name="connsiteX18" fmla="*/ 1918706 w 1918706"/>
                  <a:gd name="connsiteY18" fmla="*/ 2511407 h 5633118"/>
                  <a:gd name="connsiteX19" fmla="*/ 1918706 w 1918706"/>
                  <a:gd name="connsiteY19" fmla="*/ 2567616 h 5633118"/>
                  <a:gd name="connsiteX20" fmla="*/ 1918706 w 1918706"/>
                  <a:gd name="connsiteY20" fmla="*/ 2583313 h 5633118"/>
                  <a:gd name="connsiteX21" fmla="*/ 1918706 w 1918706"/>
                  <a:gd name="connsiteY21" fmla="*/ 2591087 h 5633118"/>
                  <a:gd name="connsiteX22" fmla="*/ 1918706 w 1918706"/>
                  <a:gd name="connsiteY22" fmla="*/ 2992759 h 5633118"/>
                  <a:gd name="connsiteX23" fmla="*/ 1918706 w 1918706"/>
                  <a:gd name="connsiteY23" fmla="*/ 3005914 h 5633118"/>
                  <a:gd name="connsiteX24" fmla="*/ 1918706 w 1918706"/>
                  <a:gd name="connsiteY24" fmla="*/ 3013688 h 5633118"/>
                  <a:gd name="connsiteX25" fmla="*/ 1918706 w 1918706"/>
                  <a:gd name="connsiteY25" fmla="*/ 3085594 h 5633118"/>
                  <a:gd name="connsiteX26" fmla="*/ 1918706 w 1918706"/>
                  <a:gd name="connsiteY26" fmla="*/ 3093368 h 5633118"/>
                  <a:gd name="connsiteX27" fmla="*/ 1918706 w 1918706"/>
                  <a:gd name="connsiteY27" fmla="*/ 3487266 h 5633118"/>
                  <a:gd name="connsiteX28" fmla="*/ 1918706 w 1918706"/>
                  <a:gd name="connsiteY28" fmla="*/ 3508195 h 5633118"/>
                  <a:gd name="connsiteX29" fmla="*/ 1918706 w 1918706"/>
                  <a:gd name="connsiteY29" fmla="*/ 3515969 h 5633118"/>
                  <a:gd name="connsiteX30" fmla="*/ 1918706 w 1918706"/>
                  <a:gd name="connsiteY30" fmla="*/ 3574721 h 5633118"/>
                  <a:gd name="connsiteX31" fmla="*/ 1918706 w 1918706"/>
                  <a:gd name="connsiteY31" fmla="*/ 3587875 h 5633118"/>
                  <a:gd name="connsiteX32" fmla="*/ 1918706 w 1918706"/>
                  <a:gd name="connsiteY32" fmla="*/ 3595649 h 5633118"/>
                  <a:gd name="connsiteX33" fmla="*/ 1918706 w 1918706"/>
                  <a:gd name="connsiteY33" fmla="*/ 3997322 h 5633118"/>
                  <a:gd name="connsiteX34" fmla="*/ 1918706 w 1918706"/>
                  <a:gd name="connsiteY34" fmla="*/ 4010476 h 5633118"/>
                  <a:gd name="connsiteX35" fmla="*/ 1918706 w 1918706"/>
                  <a:gd name="connsiteY35" fmla="*/ 4069228 h 5633118"/>
                  <a:gd name="connsiteX36" fmla="*/ 1918706 w 1918706"/>
                  <a:gd name="connsiteY36" fmla="*/ 4090156 h 5633118"/>
                  <a:gd name="connsiteX37" fmla="*/ 1918706 w 1918706"/>
                  <a:gd name="connsiteY37" fmla="*/ 4097931 h 5633118"/>
                  <a:gd name="connsiteX38" fmla="*/ 1918706 w 1918706"/>
                  <a:gd name="connsiteY38" fmla="*/ 4491829 h 5633118"/>
                  <a:gd name="connsiteX39" fmla="*/ 1918706 w 1918706"/>
                  <a:gd name="connsiteY39" fmla="*/ 4579284 h 5633118"/>
                  <a:gd name="connsiteX40" fmla="*/ 1918706 w 1918706"/>
                  <a:gd name="connsiteY40" fmla="*/ 4592438 h 5633118"/>
                  <a:gd name="connsiteX41" fmla="*/ 1918706 w 1918706"/>
                  <a:gd name="connsiteY41" fmla="*/ 5073791 h 5633118"/>
                  <a:gd name="connsiteX42" fmla="*/ 959355 w 1918706"/>
                  <a:gd name="connsiteY42" fmla="*/ 5633118 h 5633118"/>
                  <a:gd name="connsiteX43" fmla="*/ 0 w 1918706"/>
                  <a:gd name="connsiteY43" fmla="*/ 5073791 h 5633118"/>
                  <a:gd name="connsiteX44" fmla="*/ 0 w 1918706"/>
                  <a:gd name="connsiteY44" fmla="*/ 4592438 h 5633118"/>
                  <a:gd name="connsiteX45" fmla="*/ 0 w 1918706"/>
                  <a:gd name="connsiteY45" fmla="*/ 4579284 h 5633118"/>
                  <a:gd name="connsiteX46" fmla="*/ 0 w 1918706"/>
                  <a:gd name="connsiteY46" fmla="*/ 4491829 h 5633118"/>
                  <a:gd name="connsiteX47" fmla="*/ 0 w 1918706"/>
                  <a:gd name="connsiteY47" fmla="*/ 4097931 h 5633118"/>
                  <a:gd name="connsiteX48" fmla="*/ 0 w 1918706"/>
                  <a:gd name="connsiteY48" fmla="*/ 4090156 h 5633118"/>
                  <a:gd name="connsiteX49" fmla="*/ 0 w 1918706"/>
                  <a:gd name="connsiteY49" fmla="*/ 4069228 h 5633118"/>
                  <a:gd name="connsiteX50" fmla="*/ 0 w 1918706"/>
                  <a:gd name="connsiteY50" fmla="*/ 4010476 h 5633118"/>
                  <a:gd name="connsiteX51" fmla="*/ 0 w 1918706"/>
                  <a:gd name="connsiteY51" fmla="*/ 3997322 h 5633118"/>
                  <a:gd name="connsiteX52" fmla="*/ 0 w 1918706"/>
                  <a:gd name="connsiteY52" fmla="*/ 3595649 h 5633118"/>
                  <a:gd name="connsiteX53" fmla="*/ 0 w 1918706"/>
                  <a:gd name="connsiteY53" fmla="*/ 3587875 h 5633118"/>
                  <a:gd name="connsiteX54" fmla="*/ 0 w 1918706"/>
                  <a:gd name="connsiteY54" fmla="*/ 3574721 h 5633118"/>
                  <a:gd name="connsiteX55" fmla="*/ 0 w 1918706"/>
                  <a:gd name="connsiteY55" fmla="*/ 3515969 h 5633118"/>
                  <a:gd name="connsiteX56" fmla="*/ 0 w 1918706"/>
                  <a:gd name="connsiteY56" fmla="*/ 3508195 h 5633118"/>
                  <a:gd name="connsiteX57" fmla="*/ 0 w 1918706"/>
                  <a:gd name="connsiteY57" fmla="*/ 3487266 h 5633118"/>
                  <a:gd name="connsiteX58" fmla="*/ 0 w 1918706"/>
                  <a:gd name="connsiteY5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076469 h 5633118"/>
                  <a:gd name="connsiteX5" fmla="*/ 1918706 w 1918706"/>
                  <a:gd name="connsiteY5" fmla="*/ 1491148 h 5633118"/>
                  <a:gd name="connsiteX6" fmla="*/ 1918706 w 1918706"/>
                  <a:gd name="connsiteY6" fmla="*/ 1499070 h 5633118"/>
                  <a:gd name="connsiteX7" fmla="*/ 1918706 w 1918706"/>
                  <a:gd name="connsiteY7" fmla="*/ 1506844 h 5633118"/>
                  <a:gd name="connsiteX8" fmla="*/ 1918706 w 1918706"/>
                  <a:gd name="connsiteY8" fmla="*/ 1563054 h 5633118"/>
                  <a:gd name="connsiteX9" fmla="*/ 1918706 w 1918706"/>
                  <a:gd name="connsiteY9" fmla="*/ 1586524 h 5633118"/>
                  <a:gd name="connsiteX10" fmla="*/ 1918706 w 1918706"/>
                  <a:gd name="connsiteY10" fmla="*/ 1985655 h 5633118"/>
                  <a:gd name="connsiteX11" fmla="*/ 1918706 w 1918706"/>
                  <a:gd name="connsiteY11" fmla="*/ 2001351 h 5633118"/>
                  <a:gd name="connsiteX12" fmla="*/ 1918706 w 1918706"/>
                  <a:gd name="connsiteY12" fmla="*/ 2009125 h 5633118"/>
                  <a:gd name="connsiteX13" fmla="*/ 1918706 w 1918706"/>
                  <a:gd name="connsiteY13" fmla="*/ 2073109 h 5633118"/>
                  <a:gd name="connsiteX14" fmla="*/ 1918706 w 1918706"/>
                  <a:gd name="connsiteY14" fmla="*/ 2081031 h 5633118"/>
                  <a:gd name="connsiteX15" fmla="*/ 1918706 w 1918706"/>
                  <a:gd name="connsiteY15" fmla="*/ 2088805 h 5633118"/>
                  <a:gd name="connsiteX16" fmla="*/ 1918706 w 1918706"/>
                  <a:gd name="connsiteY16" fmla="*/ 2503632 h 5633118"/>
                  <a:gd name="connsiteX17" fmla="*/ 1918706 w 1918706"/>
                  <a:gd name="connsiteY17" fmla="*/ 2511407 h 5633118"/>
                  <a:gd name="connsiteX18" fmla="*/ 1918706 w 1918706"/>
                  <a:gd name="connsiteY18" fmla="*/ 2567616 h 5633118"/>
                  <a:gd name="connsiteX19" fmla="*/ 1918706 w 1918706"/>
                  <a:gd name="connsiteY19" fmla="*/ 2583313 h 5633118"/>
                  <a:gd name="connsiteX20" fmla="*/ 1918706 w 1918706"/>
                  <a:gd name="connsiteY20" fmla="*/ 2591087 h 5633118"/>
                  <a:gd name="connsiteX21" fmla="*/ 1918706 w 1918706"/>
                  <a:gd name="connsiteY21" fmla="*/ 2992759 h 5633118"/>
                  <a:gd name="connsiteX22" fmla="*/ 1918706 w 1918706"/>
                  <a:gd name="connsiteY22" fmla="*/ 3005914 h 5633118"/>
                  <a:gd name="connsiteX23" fmla="*/ 1918706 w 1918706"/>
                  <a:gd name="connsiteY23" fmla="*/ 3013688 h 5633118"/>
                  <a:gd name="connsiteX24" fmla="*/ 1918706 w 1918706"/>
                  <a:gd name="connsiteY24" fmla="*/ 3085594 h 5633118"/>
                  <a:gd name="connsiteX25" fmla="*/ 1918706 w 1918706"/>
                  <a:gd name="connsiteY25" fmla="*/ 3093368 h 5633118"/>
                  <a:gd name="connsiteX26" fmla="*/ 1918706 w 1918706"/>
                  <a:gd name="connsiteY26" fmla="*/ 3487266 h 5633118"/>
                  <a:gd name="connsiteX27" fmla="*/ 1918706 w 1918706"/>
                  <a:gd name="connsiteY27" fmla="*/ 3508195 h 5633118"/>
                  <a:gd name="connsiteX28" fmla="*/ 1918706 w 1918706"/>
                  <a:gd name="connsiteY28" fmla="*/ 3515969 h 5633118"/>
                  <a:gd name="connsiteX29" fmla="*/ 1918706 w 1918706"/>
                  <a:gd name="connsiteY29" fmla="*/ 3574721 h 5633118"/>
                  <a:gd name="connsiteX30" fmla="*/ 1918706 w 1918706"/>
                  <a:gd name="connsiteY30" fmla="*/ 3587875 h 5633118"/>
                  <a:gd name="connsiteX31" fmla="*/ 1918706 w 1918706"/>
                  <a:gd name="connsiteY31" fmla="*/ 3595649 h 5633118"/>
                  <a:gd name="connsiteX32" fmla="*/ 1918706 w 1918706"/>
                  <a:gd name="connsiteY32" fmla="*/ 3997322 h 5633118"/>
                  <a:gd name="connsiteX33" fmla="*/ 1918706 w 1918706"/>
                  <a:gd name="connsiteY33" fmla="*/ 4010476 h 5633118"/>
                  <a:gd name="connsiteX34" fmla="*/ 1918706 w 1918706"/>
                  <a:gd name="connsiteY34" fmla="*/ 4069228 h 5633118"/>
                  <a:gd name="connsiteX35" fmla="*/ 1918706 w 1918706"/>
                  <a:gd name="connsiteY35" fmla="*/ 4090156 h 5633118"/>
                  <a:gd name="connsiteX36" fmla="*/ 1918706 w 1918706"/>
                  <a:gd name="connsiteY36" fmla="*/ 4097931 h 5633118"/>
                  <a:gd name="connsiteX37" fmla="*/ 1918706 w 1918706"/>
                  <a:gd name="connsiteY37" fmla="*/ 4491829 h 5633118"/>
                  <a:gd name="connsiteX38" fmla="*/ 1918706 w 1918706"/>
                  <a:gd name="connsiteY38" fmla="*/ 4579284 h 5633118"/>
                  <a:gd name="connsiteX39" fmla="*/ 1918706 w 1918706"/>
                  <a:gd name="connsiteY39" fmla="*/ 4592438 h 5633118"/>
                  <a:gd name="connsiteX40" fmla="*/ 1918706 w 1918706"/>
                  <a:gd name="connsiteY40" fmla="*/ 5073791 h 5633118"/>
                  <a:gd name="connsiteX41" fmla="*/ 959355 w 1918706"/>
                  <a:gd name="connsiteY41" fmla="*/ 5633118 h 5633118"/>
                  <a:gd name="connsiteX42" fmla="*/ 0 w 1918706"/>
                  <a:gd name="connsiteY42" fmla="*/ 5073791 h 5633118"/>
                  <a:gd name="connsiteX43" fmla="*/ 0 w 1918706"/>
                  <a:gd name="connsiteY43" fmla="*/ 4592438 h 5633118"/>
                  <a:gd name="connsiteX44" fmla="*/ 0 w 1918706"/>
                  <a:gd name="connsiteY44" fmla="*/ 4579284 h 5633118"/>
                  <a:gd name="connsiteX45" fmla="*/ 0 w 1918706"/>
                  <a:gd name="connsiteY45" fmla="*/ 4491829 h 5633118"/>
                  <a:gd name="connsiteX46" fmla="*/ 0 w 1918706"/>
                  <a:gd name="connsiteY46" fmla="*/ 4097931 h 5633118"/>
                  <a:gd name="connsiteX47" fmla="*/ 0 w 1918706"/>
                  <a:gd name="connsiteY47" fmla="*/ 4090156 h 5633118"/>
                  <a:gd name="connsiteX48" fmla="*/ 0 w 1918706"/>
                  <a:gd name="connsiteY48" fmla="*/ 4069228 h 5633118"/>
                  <a:gd name="connsiteX49" fmla="*/ 0 w 1918706"/>
                  <a:gd name="connsiteY49" fmla="*/ 4010476 h 5633118"/>
                  <a:gd name="connsiteX50" fmla="*/ 0 w 1918706"/>
                  <a:gd name="connsiteY50" fmla="*/ 3997322 h 5633118"/>
                  <a:gd name="connsiteX51" fmla="*/ 0 w 1918706"/>
                  <a:gd name="connsiteY51" fmla="*/ 3595649 h 5633118"/>
                  <a:gd name="connsiteX52" fmla="*/ 0 w 1918706"/>
                  <a:gd name="connsiteY52" fmla="*/ 3587875 h 5633118"/>
                  <a:gd name="connsiteX53" fmla="*/ 0 w 1918706"/>
                  <a:gd name="connsiteY53" fmla="*/ 3574721 h 5633118"/>
                  <a:gd name="connsiteX54" fmla="*/ 0 w 1918706"/>
                  <a:gd name="connsiteY54" fmla="*/ 3515969 h 5633118"/>
                  <a:gd name="connsiteX55" fmla="*/ 0 w 1918706"/>
                  <a:gd name="connsiteY55" fmla="*/ 3508195 h 5633118"/>
                  <a:gd name="connsiteX56" fmla="*/ 0 w 1918706"/>
                  <a:gd name="connsiteY56" fmla="*/ 3487266 h 5633118"/>
                  <a:gd name="connsiteX57" fmla="*/ 0 w 1918706"/>
                  <a:gd name="connsiteY5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491148 h 5633118"/>
                  <a:gd name="connsiteX5" fmla="*/ 1918706 w 1918706"/>
                  <a:gd name="connsiteY5" fmla="*/ 1499070 h 5633118"/>
                  <a:gd name="connsiteX6" fmla="*/ 1918706 w 1918706"/>
                  <a:gd name="connsiteY6" fmla="*/ 1506844 h 5633118"/>
                  <a:gd name="connsiteX7" fmla="*/ 1918706 w 1918706"/>
                  <a:gd name="connsiteY7" fmla="*/ 1563054 h 5633118"/>
                  <a:gd name="connsiteX8" fmla="*/ 1918706 w 1918706"/>
                  <a:gd name="connsiteY8" fmla="*/ 1586524 h 5633118"/>
                  <a:gd name="connsiteX9" fmla="*/ 1918706 w 1918706"/>
                  <a:gd name="connsiteY9" fmla="*/ 1985655 h 5633118"/>
                  <a:gd name="connsiteX10" fmla="*/ 1918706 w 1918706"/>
                  <a:gd name="connsiteY10" fmla="*/ 2001351 h 5633118"/>
                  <a:gd name="connsiteX11" fmla="*/ 1918706 w 1918706"/>
                  <a:gd name="connsiteY11" fmla="*/ 2009125 h 5633118"/>
                  <a:gd name="connsiteX12" fmla="*/ 1918706 w 1918706"/>
                  <a:gd name="connsiteY12" fmla="*/ 2073109 h 5633118"/>
                  <a:gd name="connsiteX13" fmla="*/ 1918706 w 1918706"/>
                  <a:gd name="connsiteY13" fmla="*/ 2081031 h 5633118"/>
                  <a:gd name="connsiteX14" fmla="*/ 1918706 w 1918706"/>
                  <a:gd name="connsiteY14" fmla="*/ 2088805 h 5633118"/>
                  <a:gd name="connsiteX15" fmla="*/ 1918706 w 1918706"/>
                  <a:gd name="connsiteY15" fmla="*/ 2503632 h 5633118"/>
                  <a:gd name="connsiteX16" fmla="*/ 1918706 w 1918706"/>
                  <a:gd name="connsiteY16" fmla="*/ 2511407 h 5633118"/>
                  <a:gd name="connsiteX17" fmla="*/ 1918706 w 1918706"/>
                  <a:gd name="connsiteY17" fmla="*/ 2567616 h 5633118"/>
                  <a:gd name="connsiteX18" fmla="*/ 1918706 w 1918706"/>
                  <a:gd name="connsiteY18" fmla="*/ 2583313 h 5633118"/>
                  <a:gd name="connsiteX19" fmla="*/ 1918706 w 1918706"/>
                  <a:gd name="connsiteY19" fmla="*/ 2591087 h 5633118"/>
                  <a:gd name="connsiteX20" fmla="*/ 1918706 w 1918706"/>
                  <a:gd name="connsiteY20" fmla="*/ 2992759 h 5633118"/>
                  <a:gd name="connsiteX21" fmla="*/ 1918706 w 1918706"/>
                  <a:gd name="connsiteY21" fmla="*/ 3005914 h 5633118"/>
                  <a:gd name="connsiteX22" fmla="*/ 1918706 w 1918706"/>
                  <a:gd name="connsiteY22" fmla="*/ 3013688 h 5633118"/>
                  <a:gd name="connsiteX23" fmla="*/ 1918706 w 1918706"/>
                  <a:gd name="connsiteY23" fmla="*/ 3085594 h 5633118"/>
                  <a:gd name="connsiteX24" fmla="*/ 1918706 w 1918706"/>
                  <a:gd name="connsiteY24" fmla="*/ 3093368 h 5633118"/>
                  <a:gd name="connsiteX25" fmla="*/ 1918706 w 1918706"/>
                  <a:gd name="connsiteY25" fmla="*/ 3487266 h 5633118"/>
                  <a:gd name="connsiteX26" fmla="*/ 1918706 w 1918706"/>
                  <a:gd name="connsiteY26" fmla="*/ 3508195 h 5633118"/>
                  <a:gd name="connsiteX27" fmla="*/ 1918706 w 1918706"/>
                  <a:gd name="connsiteY27" fmla="*/ 3515969 h 5633118"/>
                  <a:gd name="connsiteX28" fmla="*/ 1918706 w 1918706"/>
                  <a:gd name="connsiteY28" fmla="*/ 3574721 h 5633118"/>
                  <a:gd name="connsiteX29" fmla="*/ 1918706 w 1918706"/>
                  <a:gd name="connsiteY29" fmla="*/ 3587875 h 5633118"/>
                  <a:gd name="connsiteX30" fmla="*/ 1918706 w 1918706"/>
                  <a:gd name="connsiteY30" fmla="*/ 3595649 h 5633118"/>
                  <a:gd name="connsiteX31" fmla="*/ 1918706 w 1918706"/>
                  <a:gd name="connsiteY31" fmla="*/ 3997322 h 5633118"/>
                  <a:gd name="connsiteX32" fmla="*/ 1918706 w 1918706"/>
                  <a:gd name="connsiteY32" fmla="*/ 4010476 h 5633118"/>
                  <a:gd name="connsiteX33" fmla="*/ 1918706 w 1918706"/>
                  <a:gd name="connsiteY33" fmla="*/ 4069228 h 5633118"/>
                  <a:gd name="connsiteX34" fmla="*/ 1918706 w 1918706"/>
                  <a:gd name="connsiteY34" fmla="*/ 4090156 h 5633118"/>
                  <a:gd name="connsiteX35" fmla="*/ 1918706 w 1918706"/>
                  <a:gd name="connsiteY35" fmla="*/ 4097931 h 5633118"/>
                  <a:gd name="connsiteX36" fmla="*/ 1918706 w 1918706"/>
                  <a:gd name="connsiteY36" fmla="*/ 4491829 h 5633118"/>
                  <a:gd name="connsiteX37" fmla="*/ 1918706 w 1918706"/>
                  <a:gd name="connsiteY37" fmla="*/ 4579284 h 5633118"/>
                  <a:gd name="connsiteX38" fmla="*/ 1918706 w 1918706"/>
                  <a:gd name="connsiteY38" fmla="*/ 4592438 h 5633118"/>
                  <a:gd name="connsiteX39" fmla="*/ 1918706 w 1918706"/>
                  <a:gd name="connsiteY39" fmla="*/ 5073791 h 5633118"/>
                  <a:gd name="connsiteX40" fmla="*/ 959355 w 1918706"/>
                  <a:gd name="connsiteY40" fmla="*/ 5633118 h 5633118"/>
                  <a:gd name="connsiteX41" fmla="*/ 0 w 1918706"/>
                  <a:gd name="connsiteY41" fmla="*/ 5073791 h 5633118"/>
                  <a:gd name="connsiteX42" fmla="*/ 0 w 1918706"/>
                  <a:gd name="connsiteY42" fmla="*/ 4592438 h 5633118"/>
                  <a:gd name="connsiteX43" fmla="*/ 0 w 1918706"/>
                  <a:gd name="connsiteY43" fmla="*/ 4579284 h 5633118"/>
                  <a:gd name="connsiteX44" fmla="*/ 0 w 1918706"/>
                  <a:gd name="connsiteY44" fmla="*/ 4491829 h 5633118"/>
                  <a:gd name="connsiteX45" fmla="*/ 0 w 1918706"/>
                  <a:gd name="connsiteY45" fmla="*/ 4097931 h 5633118"/>
                  <a:gd name="connsiteX46" fmla="*/ 0 w 1918706"/>
                  <a:gd name="connsiteY46" fmla="*/ 4090156 h 5633118"/>
                  <a:gd name="connsiteX47" fmla="*/ 0 w 1918706"/>
                  <a:gd name="connsiteY47" fmla="*/ 4069228 h 5633118"/>
                  <a:gd name="connsiteX48" fmla="*/ 0 w 1918706"/>
                  <a:gd name="connsiteY48" fmla="*/ 4010476 h 5633118"/>
                  <a:gd name="connsiteX49" fmla="*/ 0 w 1918706"/>
                  <a:gd name="connsiteY49" fmla="*/ 3997322 h 5633118"/>
                  <a:gd name="connsiteX50" fmla="*/ 0 w 1918706"/>
                  <a:gd name="connsiteY50" fmla="*/ 3595649 h 5633118"/>
                  <a:gd name="connsiteX51" fmla="*/ 0 w 1918706"/>
                  <a:gd name="connsiteY51" fmla="*/ 3587875 h 5633118"/>
                  <a:gd name="connsiteX52" fmla="*/ 0 w 1918706"/>
                  <a:gd name="connsiteY52" fmla="*/ 3574721 h 5633118"/>
                  <a:gd name="connsiteX53" fmla="*/ 0 w 1918706"/>
                  <a:gd name="connsiteY53" fmla="*/ 3515969 h 5633118"/>
                  <a:gd name="connsiteX54" fmla="*/ 0 w 1918706"/>
                  <a:gd name="connsiteY54" fmla="*/ 3508195 h 5633118"/>
                  <a:gd name="connsiteX55" fmla="*/ 0 w 1918706"/>
                  <a:gd name="connsiteY55" fmla="*/ 3487266 h 5633118"/>
                  <a:gd name="connsiteX56" fmla="*/ 0 w 1918706"/>
                  <a:gd name="connsiteY5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06844 h 5633118"/>
                  <a:gd name="connsiteX6" fmla="*/ 1918706 w 1918706"/>
                  <a:gd name="connsiteY6" fmla="*/ 1563054 h 5633118"/>
                  <a:gd name="connsiteX7" fmla="*/ 1918706 w 1918706"/>
                  <a:gd name="connsiteY7" fmla="*/ 1586524 h 5633118"/>
                  <a:gd name="connsiteX8" fmla="*/ 1918706 w 1918706"/>
                  <a:gd name="connsiteY8" fmla="*/ 1985655 h 5633118"/>
                  <a:gd name="connsiteX9" fmla="*/ 1918706 w 1918706"/>
                  <a:gd name="connsiteY9" fmla="*/ 2001351 h 5633118"/>
                  <a:gd name="connsiteX10" fmla="*/ 1918706 w 1918706"/>
                  <a:gd name="connsiteY10" fmla="*/ 2009125 h 5633118"/>
                  <a:gd name="connsiteX11" fmla="*/ 1918706 w 1918706"/>
                  <a:gd name="connsiteY11" fmla="*/ 2073109 h 5633118"/>
                  <a:gd name="connsiteX12" fmla="*/ 1918706 w 1918706"/>
                  <a:gd name="connsiteY12" fmla="*/ 2081031 h 5633118"/>
                  <a:gd name="connsiteX13" fmla="*/ 1918706 w 1918706"/>
                  <a:gd name="connsiteY13" fmla="*/ 2088805 h 5633118"/>
                  <a:gd name="connsiteX14" fmla="*/ 1918706 w 1918706"/>
                  <a:gd name="connsiteY14" fmla="*/ 2503632 h 5633118"/>
                  <a:gd name="connsiteX15" fmla="*/ 1918706 w 1918706"/>
                  <a:gd name="connsiteY15" fmla="*/ 2511407 h 5633118"/>
                  <a:gd name="connsiteX16" fmla="*/ 1918706 w 1918706"/>
                  <a:gd name="connsiteY16" fmla="*/ 2567616 h 5633118"/>
                  <a:gd name="connsiteX17" fmla="*/ 1918706 w 1918706"/>
                  <a:gd name="connsiteY17" fmla="*/ 2583313 h 5633118"/>
                  <a:gd name="connsiteX18" fmla="*/ 1918706 w 1918706"/>
                  <a:gd name="connsiteY18" fmla="*/ 2591087 h 5633118"/>
                  <a:gd name="connsiteX19" fmla="*/ 1918706 w 1918706"/>
                  <a:gd name="connsiteY19" fmla="*/ 2992759 h 5633118"/>
                  <a:gd name="connsiteX20" fmla="*/ 1918706 w 1918706"/>
                  <a:gd name="connsiteY20" fmla="*/ 3005914 h 5633118"/>
                  <a:gd name="connsiteX21" fmla="*/ 1918706 w 1918706"/>
                  <a:gd name="connsiteY21" fmla="*/ 3013688 h 5633118"/>
                  <a:gd name="connsiteX22" fmla="*/ 1918706 w 1918706"/>
                  <a:gd name="connsiteY22" fmla="*/ 3085594 h 5633118"/>
                  <a:gd name="connsiteX23" fmla="*/ 1918706 w 1918706"/>
                  <a:gd name="connsiteY23" fmla="*/ 3093368 h 5633118"/>
                  <a:gd name="connsiteX24" fmla="*/ 1918706 w 1918706"/>
                  <a:gd name="connsiteY24" fmla="*/ 3487266 h 5633118"/>
                  <a:gd name="connsiteX25" fmla="*/ 1918706 w 1918706"/>
                  <a:gd name="connsiteY25" fmla="*/ 3508195 h 5633118"/>
                  <a:gd name="connsiteX26" fmla="*/ 1918706 w 1918706"/>
                  <a:gd name="connsiteY26" fmla="*/ 3515969 h 5633118"/>
                  <a:gd name="connsiteX27" fmla="*/ 1918706 w 1918706"/>
                  <a:gd name="connsiteY27" fmla="*/ 3574721 h 5633118"/>
                  <a:gd name="connsiteX28" fmla="*/ 1918706 w 1918706"/>
                  <a:gd name="connsiteY28" fmla="*/ 3587875 h 5633118"/>
                  <a:gd name="connsiteX29" fmla="*/ 1918706 w 1918706"/>
                  <a:gd name="connsiteY29" fmla="*/ 3595649 h 5633118"/>
                  <a:gd name="connsiteX30" fmla="*/ 1918706 w 1918706"/>
                  <a:gd name="connsiteY30" fmla="*/ 3997322 h 5633118"/>
                  <a:gd name="connsiteX31" fmla="*/ 1918706 w 1918706"/>
                  <a:gd name="connsiteY31" fmla="*/ 4010476 h 5633118"/>
                  <a:gd name="connsiteX32" fmla="*/ 1918706 w 1918706"/>
                  <a:gd name="connsiteY32" fmla="*/ 4069228 h 5633118"/>
                  <a:gd name="connsiteX33" fmla="*/ 1918706 w 1918706"/>
                  <a:gd name="connsiteY33" fmla="*/ 4090156 h 5633118"/>
                  <a:gd name="connsiteX34" fmla="*/ 1918706 w 1918706"/>
                  <a:gd name="connsiteY34" fmla="*/ 4097931 h 5633118"/>
                  <a:gd name="connsiteX35" fmla="*/ 1918706 w 1918706"/>
                  <a:gd name="connsiteY35" fmla="*/ 4491829 h 5633118"/>
                  <a:gd name="connsiteX36" fmla="*/ 1918706 w 1918706"/>
                  <a:gd name="connsiteY36" fmla="*/ 4579284 h 5633118"/>
                  <a:gd name="connsiteX37" fmla="*/ 1918706 w 1918706"/>
                  <a:gd name="connsiteY37" fmla="*/ 4592438 h 5633118"/>
                  <a:gd name="connsiteX38" fmla="*/ 1918706 w 1918706"/>
                  <a:gd name="connsiteY38" fmla="*/ 5073791 h 5633118"/>
                  <a:gd name="connsiteX39" fmla="*/ 959355 w 1918706"/>
                  <a:gd name="connsiteY39" fmla="*/ 5633118 h 5633118"/>
                  <a:gd name="connsiteX40" fmla="*/ 0 w 1918706"/>
                  <a:gd name="connsiteY40" fmla="*/ 5073791 h 5633118"/>
                  <a:gd name="connsiteX41" fmla="*/ 0 w 1918706"/>
                  <a:gd name="connsiteY41" fmla="*/ 4592438 h 5633118"/>
                  <a:gd name="connsiteX42" fmla="*/ 0 w 1918706"/>
                  <a:gd name="connsiteY42" fmla="*/ 4579284 h 5633118"/>
                  <a:gd name="connsiteX43" fmla="*/ 0 w 1918706"/>
                  <a:gd name="connsiteY43" fmla="*/ 4491829 h 5633118"/>
                  <a:gd name="connsiteX44" fmla="*/ 0 w 1918706"/>
                  <a:gd name="connsiteY44" fmla="*/ 4097931 h 5633118"/>
                  <a:gd name="connsiteX45" fmla="*/ 0 w 1918706"/>
                  <a:gd name="connsiteY45" fmla="*/ 4090156 h 5633118"/>
                  <a:gd name="connsiteX46" fmla="*/ 0 w 1918706"/>
                  <a:gd name="connsiteY46" fmla="*/ 4069228 h 5633118"/>
                  <a:gd name="connsiteX47" fmla="*/ 0 w 1918706"/>
                  <a:gd name="connsiteY47" fmla="*/ 4010476 h 5633118"/>
                  <a:gd name="connsiteX48" fmla="*/ 0 w 1918706"/>
                  <a:gd name="connsiteY48" fmla="*/ 3997322 h 5633118"/>
                  <a:gd name="connsiteX49" fmla="*/ 0 w 1918706"/>
                  <a:gd name="connsiteY49" fmla="*/ 3595649 h 5633118"/>
                  <a:gd name="connsiteX50" fmla="*/ 0 w 1918706"/>
                  <a:gd name="connsiteY50" fmla="*/ 3587875 h 5633118"/>
                  <a:gd name="connsiteX51" fmla="*/ 0 w 1918706"/>
                  <a:gd name="connsiteY51" fmla="*/ 3574721 h 5633118"/>
                  <a:gd name="connsiteX52" fmla="*/ 0 w 1918706"/>
                  <a:gd name="connsiteY52" fmla="*/ 3515969 h 5633118"/>
                  <a:gd name="connsiteX53" fmla="*/ 0 w 1918706"/>
                  <a:gd name="connsiteY53" fmla="*/ 3508195 h 5633118"/>
                  <a:gd name="connsiteX54" fmla="*/ 0 w 1918706"/>
                  <a:gd name="connsiteY54" fmla="*/ 3487266 h 5633118"/>
                  <a:gd name="connsiteX55" fmla="*/ 0 w 1918706"/>
                  <a:gd name="connsiteY5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63054 h 5633118"/>
                  <a:gd name="connsiteX6" fmla="*/ 1918706 w 1918706"/>
                  <a:gd name="connsiteY6" fmla="*/ 1586524 h 5633118"/>
                  <a:gd name="connsiteX7" fmla="*/ 1918706 w 1918706"/>
                  <a:gd name="connsiteY7" fmla="*/ 1985655 h 5633118"/>
                  <a:gd name="connsiteX8" fmla="*/ 1918706 w 1918706"/>
                  <a:gd name="connsiteY8" fmla="*/ 2001351 h 5633118"/>
                  <a:gd name="connsiteX9" fmla="*/ 1918706 w 1918706"/>
                  <a:gd name="connsiteY9" fmla="*/ 2009125 h 5633118"/>
                  <a:gd name="connsiteX10" fmla="*/ 1918706 w 1918706"/>
                  <a:gd name="connsiteY10" fmla="*/ 2073109 h 5633118"/>
                  <a:gd name="connsiteX11" fmla="*/ 1918706 w 1918706"/>
                  <a:gd name="connsiteY11" fmla="*/ 2081031 h 5633118"/>
                  <a:gd name="connsiteX12" fmla="*/ 1918706 w 1918706"/>
                  <a:gd name="connsiteY12" fmla="*/ 2088805 h 5633118"/>
                  <a:gd name="connsiteX13" fmla="*/ 1918706 w 1918706"/>
                  <a:gd name="connsiteY13" fmla="*/ 2503632 h 5633118"/>
                  <a:gd name="connsiteX14" fmla="*/ 1918706 w 1918706"/>
                  <a:gd name="connsiteY14" fmla="*/ 2511407 h 5633118"/>
                  <a:gd name="connsiteX15" fmla="*/ 1918706 w 1918706"/>
                  <a:gd name="connsiteY15" fmla="*/ 2567616 h 5633118"/>
                  <a:gd name="connsiteX16" fmla="*/ 1918706 w 1918706"/>
                  <a:gd name="connsiteY16" fmla="*/ 2583313 h 5633118"/>
                  <a:gd name="connsiteX17" fmla="*/ 1918706 w 1918706"/>
                  <a:gd name="connsiteY17" fmla="*/ 2591087 h 5633118"/>
                  <a:gd name="connsiteX18" fmla="*/ 1918706 w 1918706"/>
                  <a:gd name="connsiteY18" fmla="*/ 2992759 h 5633118"/>
                  <a:gd name="connsiteX19" fmla="*/ 1918706 w 1918706"/>
                  <a:gd name="connsiteY19" fmla="*/ 3005914 h 5633118"/>
                  <a:gd name="connsiteX20" fmla="*/ 1918706 w 1918706"/>
                  <a:gd name="connsiteY20" fmla="*/ 3013688 h 5633118"/>
                  <a:gd name="connsiteX21" fmla="*/ 1918706 w 1918706"/>
                  <a:gd name="connsiteY21" fmla="*/ 3085594 h 5633118"/>
                  <a:gd name="connsiteX22" fmla="*/ 1918706 w 1918706"/>
                  <a:gd name="connsiteY22" fmla="*/ 3093368 h 5633118"/>
                  <a:gd name="connsiteX23" fmla="*/ 1918706 w 1918706"/>
                  <a:gd name="connsiteY23" fmla="*/ 3487266 h 5633118"/>
                  <a:gd name="connsiteX24" fmla="*/ 1918706 w 1918706"/>
                  <a:gd name="connsiteY24" fmla="*/ 3508195 h 5633118"/>
                  <a:gd name="connsiteX25" fmla="*/ 1918706 w 1918706"/>
                  <a:gd name="connsiteY25" fmla="*/ 3515969 h 5633118"/>
                  <a:gd name="connsiteX26" fmla="*/ 1918706 w 1918706"/>
                  <a:gd name="connsiteY26" fmla="*/ 3574721 h 5633118"/>
                  <a:gd name="connsiteX27" fmla="*/ 1918706 w 1918706"/>
                  <a:gd name="connsiteY27" fmla="*/ 3587875 h 5633118"/>
                  <a:gd name="connsiteX28" fmla="*/ 1918706 w 1918706"/>
                  <a:gd name="connsiteY28" fmla="*/ 3595649 h 5633118"/>
                  <a:gd name="connsiteX29" fmla="*/ 1918706 w 1918706"/>
                  <a:gd name="connsiteY29" fmla="*/ 3997322 h 5633118"/>
                  <a:gd name="connsiteX30" fmla="*/ 1918706 w 1918706"/>
                  <a:gd name="connsiteY30" fmla="*/ 4010476 h 5633118"/>
                  <a:gd name="connsiteX31" fmla="*/ 1918706 w 1918706"/>
                  <a:gd name="connsiteY31" fmla="*/ 4069228 h 5633118"/>
                  <a:gd name="connsiteX32" fmla="*/ 1918706 w 1918706"/>
                  <a:gd name="connsiteY32" fmla="*/ 4090156 h 5633118"/>
                  <a:gd name="connsiteX33" fmla="*/ 1918706 w 1918706"/>
                  <a:gd name="connsiteY33" fmla="*/ 4097931 h 5633118"/>
                  <a:gd name="connsiteX34" fmla="*/ 1918706 w 1918706"/>
                  <a:gd name="connsiteY34" fmla="*/ 4491829 h 5633118"/>
                  <a:gd name="connsiteX35" fmla="*/ 1918706 w 1918706"/>
                  <a:gd name="connsiteY35" fmla="*/ 4579284 h 5633118"/>
                  <a:gd name="connsiteX36" fmla="*/ 1918706 w 1918706"/>
                  <a:gd name="connsiteY36" fmla="*/ 4592438 h 5633118"/>
                  <a:gd name="connsiteX37" fmla="*/ 1918706 w 1918706"/>
                  <a:gd name="connsiteY37" fmla="*/ 5073791 h 5633118"/>
                  <a:gd name="connsiteX38" fmla="*/ 959355 w 1918706"/>
                  <a:gd name="connsiteY38" fmla="*/ 5633118 h 5633118"/>
                  <a:gd name="connsiteX39" fmla="*/ 0 w 1918706"/>
                  <a:gd name="connsiteY39" fmla="*/ 5073791 h 5633118"/>
                  <a:gd name="connsiteX40" fmla="*/ 0 w 1918706"/>
                  <a:gd name="connsiteY40" fmla="*/ 4592438 h 5633118"/>
                  <a:gd name="connsiteX41" fmla="*/ 0 w 1918706"/>
                  <a:gd name="connsiteY41" fmla="*/ 4579284 h 5633118"/>
                  <a:gd name="connsiteX42" fmla="*/ 0 w 1918706"/>
                  <a:gd name="connsiteY42" fmla="*/ 4491829 h 5633118"/>
                  <a:gd name="connsiteX43" fmla="*/ 0 w 1918706"/>
                  <a:gd name="connsiteY43" fmla="*/ 4097931 h 5633118"/>
                  <a:gd name="connsiteX44" fmla="*/ 0 w 1918706"/>
                  <a:gd name="connsiteY44" fmla="*/ 4090156 h 5633118"/>
                  <a:gd name="connsiteX45" fmla="*/ 0 w 1918706"/>
                  <a:gd name="connsiteY45" fmla="*/ 4069228 h 5633118"/>
                  <a:gd name="connsiteX46" fmla="*/ 0 w 1918706"/>
                  <a:gd name="connsiteY46" fmla="*/ 4010476 h 5633118"/>
                  <a:gd name="connsiteX47" fmla="*/ 0 w 1918706"/>
                  <a:gd name="connsiteY47" fmla="*/ 3997322 h 5633118"/>
                  <a:gd name="connsiteX48" fmla="*/ 0 w 1918706"/>
                  <a:gd name="connsiteY48" fmla="*/ 3595649 h 5633118"/>
                  <a:gd name="connsiteX49" fmla="*/ 0 w 1918706"/>
                  <a:gd name="connsiteY49" fmla="*/ 3587875 h 5633118"/>
                  <a:gd name="connsiteX50" fmla="*/ 0 w 1918706"/>
                  <a:gd name="connsiteY50" fmla="*/ 3574721 h 5633118"/>
                  <a:gd name="connsiteX51" fmla="*/ 0 w 1918706"/>
                  <a:gd name="connsiteY51" fmla="*/ 3515969 h 5633118"/>
                  <a:gd name="connsiteX52" fmla="*/ 0 w 1918706"/>
                  <a:gd name="connsiteY52" fmla="*/ 3508195 h 5633118"/>
                  <a:gd name="connsiteX53" fmla="*/ 0 w 1918706"/>
                  <a:gd name="connsiteY53" fmla="*/ 3487266 h 5633118"/>
                  <a:gd name="connsiteX54" fmla="*/ 0 w 1918706"/>
                  <a:gd name="connsiteY5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563054 h 5633118"/>
                  <a:gd name="connsiteX5" fmla="*/ 1918706 w 1918706"/>
                  <a:gd name="connsiteY5" fmla="*/ 1586524 h 5633118"/>
                  <a:gd name="connsiteX6" fmla="*/ 1918706 w 1918706"/>
                  <a:gd name="connsiteY6" fmla="*/ 1985655 h 5633118"/>
                  <a:gd name="connsiteX7" fmla="*/ 1918706 w 1918706"/>
                  <a:gd name="connsiteY7" fmla="*/ 2001351 h 5633118"/>
                  <a:gd name="connsiteX8" fmla="*/ 1918706 w 1918706"/>
                  <a:gd name="connsiteY8" fmla="*/ 2009125 h 5633118"/>
                  <a:gd name="connsiteX9" fmla="*/ 1918706 w 1918706"/>
                  <a:gd name="connsiteY9" fmla="*/ 2073109 h 5633118"/>
                  <a:gd name="connsiteX10" fmla="*/ 1918706 w 1918706"/>
                  <a:gd name="connsiteY10" fmla="*/ 2081031 h 5633118"/>
                  <a:gd name="connsiteX11" fmla="*/ 1918706 w 1918706"/>
                  <a:gd name="connsiteY11" fmla="*/ 2088805 h 5633118"/>
                  <a:gd name="connsiteX12" fmla="*/ 1918706 w 1918706"/>
                  <a:gd name="connsiteY12" fmla="*/ 2503632 h 5633118"/>
                  <a:gd name="connsiteX13" fmla="*/ 1918706 w 1918706"/>
                  <a:gd name="connsiteY13" fmla="*/ 2511407 h 5633118"/>
                  <a:gd name="connsiteX14" fmla="*/ 1918706 w 1918706"/>
                  <a:gd name="connsiteY14" fmla="*/ 2567616 h 5633118"/>
                  <a:gd name="connsiteX15" fmla="*/ 1918706 w 1918706"/>
                  <a:gd name="connsiteY15" fmla="*/ 2583313 h 5633118"/>
                  <a:gd name="connsiteX16" fmla="*/ 1918706 w 1918706"/>
                  <a:gd name="connsiteY16" fmla="*/ 2591087 h 5633118"/>
                  <a:gd name="connsiteX17" fmla="*/ 1918706 w 1918706"/>
                  <a:gd name="connsiteY17" fmla="*/ 2992759 h 5633118"/>
                  <a:gd name="connsiteX18" fmla="*/ 1918706 w 1918706"/>
                  <a:gd name="connsiteY18" fmla="*/ 3005914 h 5633118"/>
                  <a:gd name="connsiteX19" fmla="*/ 1918706 w 1918706"/>
                  <a:gd name="connsiteY19" fmla="*/ 3013688 h 5633118"/>
                  <a:gd name="connsiteX20" fmla="*/ 1918706 w 1918706"/>
                  <a:gd name="connsiteY20" fmla="*/ 3085594 h 5633118"/>
                  <a:gd name="connsiteX21" fmla="*/ 1918706 w 1918706"/>
                  <a:gd name="connsiteY21" fmla="*/ 3093368 h 5633118"/>
                  <a:gd name="connsiteX22" fmla="*/ 1918706 w 1918706"/>
                  <a:gd name="connsiteY22" fmla="*/ 3487266 h 5633118"/>
                  <a:gd name="connsiteX23" fmla="*/ 1918706 w 1918706"/>
                  <a:gd name="connsiteY23" fmla="*/ 3508195 h 5633118"/>
                  <a:gd name="connsiteX24" fmla="*/ 1918706 w 1918706"/>
                  <a:gd name="connsiteY24" fmla="*/ 3515969 h 5633118"/>
                  <a:gd name="connsiteX25" fmla="*/ 1918706 w 1918706"/>
                  <a:gd name="connsiteY25" fmla="*/ 3574721 h 5633118"/>
                  <a:gd name="connsiteX26" fmla="*/ 1918706 w 1918706"/>
                  <a:gd name="connsiteY26" fmla="*/ 3587875 h 5633118"/>
                  <a:gd name="connsiteX27" fmla="*/ 1918706 w 1918706"/>
                  <a:gd name="connsiteY27" fmla="*/ 3595649 h 5633118"/>
                  <a:gd name="connsiteX28" fmla="*/ 1918706 w 1918706"/>
                  <a:gd name="connsiteY28" fmla="*/ 3997322 h 5633118"/>
                  <a:gd name="connsiteX29" fmla="*/ 1918706 w 1918706"/>
                  <a:gd name="connsiteY29" fmla="*/ 4010476 h 5633118"/>
                  <a:gd name="connsiteX30" fmla="*/ 1918706 w 1918706"/>
                  <a:gd name="connsiteY30" fmla="*/ 4069228 h 5633118"/>
                  <a:gd name="connsiteX31" fmla="*/ 1918706 w 1918706"/>
                  <a:gd name="connsiteY31" fmla="*/ 4090156 h 5633118"/>
                  <a:gd name="connsiteX32" fmla="*/ 1918706 w 1918706"/>
                  <a:gd name="connsiteY32" fmla="*/ 4097931 h 5633118"/>
                  <a:gd name="connsiteX33" fmla="*/ 1918706 w 1918706"/>
                  <a:gd name="connsiteY33" fmla="*/ 4491829 h 5633118"/>
                  <a:gd name="connsiteX34" fmla="*/ 1918706 w 1918706"/>
                  <a:gd name="connsiteY34" fmla="*/ 4579284 h 5633118"/>
                  <a:gd name="connsiteX35" fmla="*/ 1918706 w 1918706"/>
                  <a:gd name="connsiteY35" fmla="*/ 4592438 h 5633118"/>
                  <a:gd name="connsiteX36" fmla="*/ 1918706 w 1918706"/>
                  <a:gd name="connsiteY36" fmla="*/ 5073791 h 5633118"/>
                  <a:gd name="connsiteX37" fmla="*/ 959355 w 1918706"/>
                  <a:gd name="connsiteY37" fmla="*/ 5633118 h 5633118"/>
                  <a:gd name="connsiteX38" fmla="*/ 0 w 1918706"/>
                  <a:gd name="connsiteY38" fmla="*/ 5073791 h 5633118"/>
                  <a:gd name="connsiteX39" fmla="*/ 0 w 1918706"/>
                  <a:gd name="connsiteY39" fmla="*/ 4592438 h 5633118"/>
                  <a:gd name="connsiteX40" fmla="*/ 0 w 1918706"/>
                  <a:gd name="connsiteY40" fmla="*/ 4579284 h 5633118"/>
                  <a:gd name="connsiteX41" fmla="*/ 0 w 1918706"/>
                  <a:gd name="connsiteY41" fmla="*/ 4491829 h 5633118"/>
                  <a:gd name="connsiteX42" fmla="*/ 0 w 1918706"/>
                  <a:gd name="connsiteY42" fmla="*/ 4097931 h 5633118"/>
                  <a:gd name="connsiteX43" fmla="*/ 0 w 1918706"/>
                  <a:gd name="connsiteY43" fmla="*/ 4090156 h 5633118"/>
                  <a:gd name="connsiteX44" fmla="*/ 0 w 1918706"/>
                  <a:gd name="connsiteY44" fmla="*/ 4069228 h 5633118"/>
                  <a:gd name="connsiteX45" fmla="*/ 0 w 1918706"/>
                  <a:gd name="connsiteY45" fmla="*/ 4010476 h 5633118"/>
                  <a:gd name="connsiteX46" fmla="*/ 0 w 1918706"/>
                  <a:gd name="connsiteY46" fmla="*/ 3997322 h 5633118"/>
                  <a:gd name="connsiteX47" fmla="*/ 0 w 1918706"/>
                  <a:gd name="connsiteY47" fmla="*/ 3595649 h 5633118"/>
                  <a:gd name="connsiteX48" fmla="*/ 0 w 1918706"/>
                  <a:gd name="connsiteY48" fmla="*/ 3587875 h 5633118"/>
                  <a:gd name="connsiteX49" fmla="*/ 0 w 1918706"/>
                  <a:gd name="connsiteY49" fmla="*/ 3574721 h 5633118"/>
                  <a:gd name="connsiteX50" fmla="*/ 0 w 1918706"/>
                  <a:gd name="connsiteY50" fmla="*/ 3515969 h 5633118"/>
                  <a:gd name="connsiteX51" fmla="*/ 0 w 1918706"/>
                  <a:gd name="connsiteY51" fmla="*/ 3508195 h 5633118"/>
                  <a:gd name="connsiteX52" fmla="*/ 0 w 1918706"/>
                  <a:gd name="connsiteY52" fmla="*/ 3487266 h 5633118"/>
                  <a:gd name="connsiteX53" fmla="*/ 0 w 1918706"/>
                  <a:gd name="connsiteY5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586524 h 5633118"/>
                  <a:gd name="connsiteX5" fmla="*/ 1918706 w 1918706"/>
                  <a:gd name="connsiteY5" fmla="*/ 1985655 h 5633118"/>
                  <a:gd name="connsiteX6" fmla="*/ 1918706 w 1918706"/>
                  <a:gd name="connsiteY6" fmla="*/ 2001351 h 5633118"/>
                  <a:gd name="connsiteX7" fmla="*/ 1918706 w 1918706"/>
                  <a:gd name="connsiteY7" fmla="*/ 2009125 h 5633118"/>
                  <a:gd name="connsiteX8" fmla="*/ 1918706 w 1918706"/>
                  <a:gd name="connsiteY8" fmla="*/ 2073109 h 5633118"/>
                  <a:gd name="connsiteX9" fmla="*/ 1918706 w 1918706"/>
                  <a:gd name="connsiteY9" fmla="*/ 2081031 h 5633118"/>
                  <a:gd name="connsiteX10" fmla="*/ 1918706 w 1918706"/>
                  <a:gd name="connsiteY10" fmla="*/ 2088805 h 5633118"/>
                  <a:gd name="connsiteX11" fmla="*/ 1918706 w 1918706"/>
                  <a:gd name="connsiteY11" fmla="*/ 2503632 h 5633118"/>
                  <a:gd name="connsiteX12" fmla="*/ 1918706 w 1918706"/>
                  <a:gd name="connsiteY12" fmla="*/ 2511407 h 5633118"/>
                  <a:gd name="connsiteX13" fmla="*/ 1918706 w 1918706"/>
                  <a:gd name="connsiteY13" fmla="*/ 2567616 h 5633118"/>
                  <a:gd name="connsiteX14" fmla="*/ 1918706 w 1918706"/>
                  <a:gd name="connsiteY14" fmla="*/ 2583313 h 5633118"/>
                  <a:gd name="connsiteX15" fmla="*/ 1918706 w 1918706"/>
                  <a:gd name="connsiteY15" fmla="*/ 2591087 h 5633118"/>
                  <a:gd name="connsiteX16" fmla="*/ 1918706 w 1918706"/>
                  <a:gd name="connsiteY16" fmla="*/ 2992759 h 5633118"/>
                  <a:gd name="connsiteX17" fmla="*/ 1918706 w 1918706"/>
                  <a:gd name="connsiteY17" fmla="*/ 3005914 h 5633118"/>
                  <a:gd name="connsiteX18" fmla="*/ 1918706 w 1918706"/>
                  <a:gd name="connsiteY18" fmla="*/ 3013688 h 5633118"/>
                  <a:gd name="connsiteX19" fmla="*/ 1918706 w 1918706"/>
                  <a:gd name="connsiteY19" fmla="*/ 3085594 h 5633118"/>
                  <a:gd name="connsiteX20" fmla="*/ 1918706 w 1918706"/>
                  <a:gd name="connsiteY20" fmla="*/ 3093368 h 5633118"/>
                  <a:gd name="connsiteX21" fmla="*/ 1918706 w 1918706"/>
                  <a:gd name="connsiteY21" fmla="*/ 3487266 h 5633118"/>
                  <a:gd name="connsiteX22" fmla="*/ 1918706 w 1918706"/>
                  <a:gd name="connsiteY22" fmla="*/ 3508195 h 5633118"/>
                  <a:gd name="connsiteX23" fmla="*/ 1918706 w 1918706"/>
                  <a:gd name="connsiteY23" fmla="*/ 3515969 h 5633118"/>
                  <a:gd name="connsiteX24" fmla="*/ 1918706 w 1918706"/>
                  <a:gd name="connsiteY24" fmla="*/ 3574721 h 5633118"/>
                  <a:gd name="connsiteX25" fmla="*/ 1918706 w 1918706"/>
                  <a:gd name="connsiteY25" fmla="*/ 3587875 h 5633118"/>
                  <a:gd name="connsiteX26" fmla="*/ 1918706 w 1918706"/>
                  <a:gd name="connsiteY26" fmla="*/ 3595649 h 5633118"/>
                  <a:gd name="connsiteX27" fmla="*/ 1918706 w 1918706"/>
                  <a:gd name="connsiteY27" fmla="*/ 3997322 h 5633118"/>
                  <a:gd name="connsiteX28" fmla="*/ 1918706 w 1918706"/>
                  <a:gd name="connsiteY28" fmla="*/ 4010476 h 5633118"/>
                  <a:gd name="connsiteX29" fmla="*/ 1918706 w 1918706"/>
                  <a:gd name="connsiteY29" fmla="*/ 4069228 h 5633118"/>
                  <a:gd name="connsiteX30" fmla="*/ 1918706 w 1918706"/>
                  <a:gd name="connsiteY30" fmla="*/ 4090156 h 5633118"/>
                  <a:gd name="connsiteX31" fmla="*/ 1918706 w 1918706"/>
                  <a:gd name="connsiteY31" fmla="*/ 4097931 h 5633118"/>
                  <a:gd name="connsiteX32" fmla="*/ 1918706 w 1918706"/>
                  <a:gd name="connsiteY32" fmla="*/ 4491829 h 5633118"/>
                  <a:gd name="connsiteX33" fmla="*/ 1918706 w 1918706"/>
                  <a:gd name="connsiteY33" fmla="*/ 4579284 h 5633118"/>
                  <a:gd name="connsiteX34" fmla="*/ 1918706 w 1918706"/>
                  <a:gd name="connsiteY34" fmla="*/ 4592438 h 5633118"/>
                  <a:gd name="connsiteX35" fmla="*/ 1918706 w 1918706"/>
                  <a:gd name="connsiteY35" fmla="*/ 5073791 h 5633118"/>
                  <a:gd name="connsiteX36" fmla="*/ 959355 w 1918706"/>
                  <a:gd name="connsiteY36" fmla="*/ 5633118 h 5633118"/>
                  <a:gd name="connsiteX37" fmla="*/ 0 w 1918706"/>
                  <a:gd name="connsiteY37" fmla="*/ 5073791 h 5633118"/>
                  <a:gd name="connsiteX38" fmla="*/ 0 w 1918706"/>
                  <a:gd name="connsiteY38" fmla="*/ 4592438 h 5633118"/>
                  <a:gd name="connsiteX39" fmla="*/ 0 w 1918706"/>
                  <a:gd name="connsiteY39" fmla="*/ 4579284 h 5633118"/>
                  <a:gd name="connsiteX40" fmla="*/ 0 w 1918706"/>
                  <a:gd name="connsiteY40" fmla="*/ 4491829 h 5633118"/>
                  <a:gd name="connsiteX41" fmla="*/ 0 w 1918706"/>
                  <a:gd name="connsiteY41" fmla="*/ 4097931 h 5633118"/>
                  <a:gd name="connsiteX42" fmla="*/ 0 w 1918706"/>
                  <a:gd name="connsiteY42" fmla="*/ 4090156 h 5633118"/>
                  <a:gd name="connsiteX43" fmla="*/ 0 w 1918706"/>
                  <a:gd name="connsiteY43" fmla="*/ 4069228 h 5633118"/>
                  <a:gd name="connsiteX44" fmla="*/ 0 w 1918706"/>
                  <a:gd name="connsiteY44" fmla="*/ 4010476 h 5633118"/>
                  <a:gd name="connsiteX45" fmla="*/ 0 w 1918706"/>
                  <a:gd name="connsiteY45" fmla="*/ 3997322 h 5633118"/>
                  <a:gd name="connsiteX46" fmla="*/ 0 w 1918706"/>
                  <a:gd name="connsiteY46" fmla="*/ 3595649 h 5633118"/>
                  <a:gd name="connsiteX47" fmla="*/ 0 w 1918706"/>
                  <a:gd name="connsiteY47" fmla="*/ 3587875 h 5633118"/>
                  <a:gd name="connsiteX48" fmla="*/ 0 w 1918706"/>
                  <a:gd name="connsiteY48" fmla="*/ 3574721 h 5633118"/>
                  <a:gd name="connsiteX49" fmla="*/ 0 w 1918706"/>
                  <a:gd name="connsiteY49" fmla="*/ 3515969 h 5633118"/>
                  <a:gd name="connsiteX50" fmla="*/ 0 w 1918706"/>
                  <a:gd name="connsiteY50" fmla="*/ 3508195 h 5633118"/>
                  <a:gd name="connsiteX51" fmla="*/ 0 w 1918706"/>
                  <a:gd name="connsiteY51" fmla="*/ 3487266 h 5633118"/>
                  <a:gd name="connsiteX52" fmla="*/ 0 w 1918706"/>
                  <a:gd name="connsiteY5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985655 h 5633118"/>
                  <a:gd name="connsiteX5" fmla="*/ 1918706 w 1918706"/>
                  <a:gd name="connsiteY5" fmla="*/ 2001351 h 5633118"/>
                  <a:gd name="connsiteX6" fmla="*/ 1918706 w 1918706"/>
                  <a:gd name="connsiteY6" fmla="*/ 2009125 h 5633118"/>
                  <a:gd name="connsiteX7" fmla="*/ 1918706 w 1918706"/>
                  <a:gd name="connsiteY7" fmla="*/ 2073109 h 5633118"/>
                  <a:gd name="connsiteX8" fmla="*/ 1918706 w 1918706"/>
                  <a:gd name="connsiteY8" fmla="*/ 2081031 h 5633118"/>
                  <a:gd name="connsiteX9" fmla="*/ 1918706 w 1918706"/>
                  <a:gd name="connsiteY9" fmla="*/ 2088805 h 5633118"/>
                  <a:gd name="connsiteX10" fmla="*/ 1918706 w 1918706"/>
                  <a:gd name="connsiteY10" fmla="*/ 2503632 h 5633118"/>
                  <a:gd name="connsiteX11" fmla="*/ 1918706 w 1918706"/>
                  <a:gd name="connsiteY11" fmla="*/ 2511407 h 5633118"/>
                  <a:gd name="connsiteX12" fmla="*/ 1918706 w 1918706"/>
                  <a:gd name="connsiteY12" fmla="*/ 2567616 h 5633118"/>
                  <a:gd name="connsiteX13" fmla="*/ 1918706 w 1918706"/>
                  <a:gd name="connsiteY13" fmla="*/ 2583313 h 5633118"/>
                  <a:gd name="connsiteX14" fmla="*/ 1918706 w 1918706"/>
                  <a:gd name="connsiteY14" fmla="*/ 2591087 h 5633118"/>
                  <a:gd name="connsiteX15" fmla="*/ 1918706 w 1918706"/>
                  <a:gd name="connsiteY15" fmla="*/ 2992759 h 5633118"/>
                  <a:gd name="connsiteX16" fmla="*/ 1918706 w 1918706"/>
                  <a:gd name="connsiteY16" fmla="*/ 3005914 h 5633118"/>
                  <a:gd name="connsiteX17" fmla="*/ 1918706 w 1918706"/>
                  <a:gd name="connsiteY17" fmla="*/ 3013688 h 5633118"/>
                  <a:gd name="connsiteX18" fmla="*/ 1918706 w 1918706"/>
                  <a:gd name="connsiteY18" fmla="*/ 3085594 h 5633118"/>
                  <a:gd name="connsiteX19" fmla="*/ 1918706 w 1918706"/>
                  <a:gd name="connsiteY19" fmla="*/ 3093368 h 5633118"/>
                  <a:gd name="connsiteX20" fmla="*/ 1918706 w 1918706"/>
                  <a:gd name="connsiteY20" fmla="*/ 3487266 h 5633118"/>
                  <a:gd name="connsiteX21" fmla="*/ 1918706 w 1918706"/>
                  <a:gd name="connsiteY21" fmla="*/ 3508195 h 5633118"/>
                  <a:gd name="connsiteX22" fmla="*/ 1918706 w 1918706"/>
                  <a:gd name="connsiteY22" fmla="*/ 3515969 h 5633118"/>
                  <a:gd name="connsiteX23" fmla="*/ 1918706 w 1918706"/>
                  <a:gd name="connsiteY23" fmla="*/ 3574721 h 5633118"/>
                  <a:gd name="connsiteX24" fmla="*/ 1918706 w 1918706"/>
                  <a:gd name="connsiteY24" fmla="*/ 3587875 h 5633118"/>
                  <a:gd name="connsiteX25" fmla="*/ 1918706 w 1918706"/>
                  <a:gd name="connsiteY25" fmla="*/ 3595649 h 5633118"/>
                  <a:gd name="connsiteX26" fmla="*/ 1918706 w 1918706"/>
                  <a:gd name="connsiteY26" fmla="*/ 3997322 h 5633118"/>
                  <a:gd name="connsiteX27" fmla="*/ 1918706 w 1918706"/>
                  <a:gd name="connsiteY27" fmla="*/ 4010476 h 5633118"/>
                  <a:gd name="connsiteX28" fmla="*/ 1918706 w 1918706"/>
                  <a:gd name="connsiteY28" fmla="*/ 4069228 h 5633118"/>
                  <a:gd name="connsiteX29" fmla="*/ 1918706 w 1918706"/>
                  <a:gd name="connsiteY29" fmla="*/ 4090156 h 5633118"/>
                  <a:gd name="connsiteX30" fmla="*/ 1918706 w 1918706"/>
                  <a:gd name="connsiteY30" fmla="*/ 4097931 h 5633118"/>
                  <a:gd name="connsiteX31" fmla="*/ 1918706 w 1918706"/>
                  <a:gd name="connsiteY31" fmla="*/ 4491829 h 5633118"/>
                  <a:gd name="connsiteX32" fmla="*/ 1918706 w 1918706"/>
                  <a:gd name="connsiteY32" fmla="*/ 4579284 h 5633118"/>
                  <a:gd name="connsiteX33" fmla="*/ 1918706 w 1918706"/>
                  <a:gd name="connsiteY33" fmla="*/ 4592438 h 5633118"/>
                  <a:gd name="connsiteX34" fmla="*/ 1918706 w 1918706"/>
                  <a:gd name="connsiteY34" fmla="*/ 5073791 h 5633118"/>
                  <a:gd name="connsiteX35" fmla="*/ 959355 w 1918706"/>
                  <a:gd name="connsiteY35" fmla="*/ 5633118 h 5633118"/>
                  <a:gd name="connsiteX36" fmla="*/ 0 w 1918706"/>
                  <a:gd name="connsiteY36" fmla="*/ 5073791 h 5633118"/>
                  <a:gd name="connsiteX37" fmla="*/ 0 w 1918706"/>
                  <a:gd name="connsiteY37" fmla="*/ 4592438 h 5633118"/>
                  <a:gd name="connsiteX38" fmla="*/ 0 w 1918706"/>
                  <a:gd name="connsiteY38" fmla="*/ 4579284 h 5633118"/>
                  <a:gd name="connsiteX39" fmla="*/ 0 w 1918706"/>
                  <a:gd name="connsiteY39" fmla="*/ 4491829 h 5633118"/>
                  <a:gd name="connsiteX40" fmla="*/ 0 w 1918706"/>
                  <a:gd name="connsiteY40" fmla="*/ 4097931 h 5633118"/>
                  <a:gd name="connsiteX41" fmla="*/ 0 w 1918706"/>
                  <a:gd name="connsiteY41" fmla="*/ 4090156 h 5633118"/>
                  <a:gd name="connsiteX42" fmla="*/ 0 w 1918706"/>
                  <a:gd name="connsiteY42" fmla="*/ 4069228 h 5633118"/>
                  <a:gd name="connsiteX43" fmla="*/ 0 w 1918706"/>
                  <a:gd name="connsiteY43" fmla="*/ 4010476 h 5633118"/>
                  <a:gd name="connsiteX44" fmla="*/ 0 w 1918706"/>
                  <a:gd name="connsiteY44" fmla="*/ 3997322 h 5633118"/>
                  <a:gd name="connsiteX45" fmla="*/ 0 w 1918706"/>
                  <a:gd name="connsiteY45" fmla="*/ 3595649 h 5633118"/>
                  <a:gd name="connsiteX46" fmla="*/ 0 w 1918706"/>
                  <a:gd name="connsiteY46" fmla="*/ 3587875 h 5633118"/>
                  <a:gd name="connsiteX47" fmla="*/ 0 w 1918706"/>
                  <a:gd name="connsiteY47" fmla="*/ 3574721 h 5633118"/>
                  <a:gd name="connsiteX48" fmla="*/ 0 w 1918706"/>
                  <a:gd name="connsiteY48" fmla="*/ 3515969 h 5633118"/>
                  <a:gd name="connsiteX49" fmla="*/ 0 w 1918706"/>
                  <a:gd name="connsiteY49" fmla="*/ 3508195 h 5633118"/>
                  <a:gd name="connsiteX50" fmla="*/ 0 w 1918706"/>
                  <a:gd name="connsiteY50" fmla="*/ 3487266 h 5633118"/>
                  <a:gd name="connsiteX51" fmla="*/ 0 w 1918706"/>
                  <a:gd name="connsiteY5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09125 h 5633118"/>
                  <a:gd name="connsiteX6" fmla="*/ 1918706 w 1918706"/>
                  <a:gd name="connsiteY6" fmla="*/ 2073109 h 5633118"/>
                  <a:gd name="connsiteX7" fmla="*/ 1918706 w 1918706"/>
                  <a:gd name="connsiteY7" fmla="*/ 2081031 h 5633118"/>
                  <a:gd name="connsiteX8" fmla="*/ 1918706 w 1918706"/>
                  <a:gd name="connsiteY8" fmla="*/ 2088805 h 5633118"/>
                  <a:gd name="connsiteX9" fmla="*/ 1918706 w 1918706"/>
                  <a:gd name="connsiteY9" fmla="*/ 2503632 h 5633118"/>
                  <a:gd name="connsiteX10" fmla="*/ 1918706 w 1918706"/>
                  <a:gd name="connsiteY10" fmla="*/ 2511407 h 5633118"/>
                  <a:gd name="connsiteX11" fmla="*/ 1918706 w 1918706"/>
                  <a:gd name="connsiteY11" fmla="*/ 2567616 h 5633118"/>
                  <a:gd name="connsiteX12" fmla="*/ 1918706 w 1918706"/>
                  <a:gd name="connsiteY12" fmla="*/ 2583313 h 5633118"/>
                  <a:gd name="connsiteX13" fmla="*/ 1918706 w 1918706"/>
                  <a:gd name="connsiteY13" fmla="*/ 2591087 h 5633118"/>
                  <a:gd name="connsiteX14" fmla="*/ 1918706 w 1918706"/>
                  <a:gd name="connsiteY14" fmla="*/ 2992759 h 5633118"/>
                  <a:gd name="connsiteX15" fmla="*/ 1918706 w 1918706"/>
                  <a:gd name="connsiteY15" fmla="*/ 3005914 h 5633118"/>
                  <a:gd name="connsiteX16" fmla="*/ 1918706 w 1918706"/>
                  <a:gd name="connsiteY16" fmla="*/ 3013688 h 5633118"/>
                  <a:gd name="connsiteX17" fmla="*/ 1918706 w 1918706"/>
                  <a:gd name="connsiteY17" fmla="*/ 3085594 h 5633118"/>
                  <a:gd name="connsiteX18" fmla="*/ 1918706 w 1918706"/>
                  <a:gd name="connsiteY18" fmla="*/ 3093368 h 5633118"/>
                  <a:gd name="connsiteX19" fmla="*/ 1918706 w 1918706"/>
                  <a:gd name="connsiteY19" fmla="*/ 3487266 h 5633118"/>
                  <a:gd name="connsiteX20" fmla="*/ 1918706 w 1918706"/>
                  <a:gd name="connsiteY20" fmla="*/ 3508195 h 5633118"/>
                  <a:gd name="connsiteX21" fmla="*/ 1918706 w 1918706"/>
                  <a:gd name="connsiteY21" fmla="*/ 3515969 h 5633118"/>
                  <a:gd name="connsiteX22" fmla="*/ 1918706 w 1918706"/>
                  <a:gd name="connsiteY22" fmla="*/ 3574721 h 5633118"/>
                  <a:gd name="connsiteX23" fmla="*/ 1918706 w 1918706"/>
                  <a:gd name="connsiteY23" fmla="*/ 3587875 h 5633118"/>
                  <a:gd name="connsiteX24" fmla="*/ 1918706 w 1918706"/>
                  <a:gd name="connsiteY24" fmla="*/ 3595649 h 5633118"/>
                  <a:gd name="connsiteX25" fmla="*/ 1918706 w 1918706"/>
                  <a:gd name="connsiteY25" fmla="*/ 3997322 h 5633118"/>
                  <a:gd name="connsiteX26" fmla="*/ 1918706 w 1918706"/>
                  <a:gd name="connsiteY26" fmla="*/ 4010476 h 5633118"/>
                  <a:gd name="connsiteX27" fmla="*/ 1918706 w 1918706"/>
                  <a:gd name="connsiteY27" fmla="*/ 4069228 h 5633118"/>
                  <a:gd name="connsiteX28" fmla="*/ 1918706 w 1918706"/>
                  <a:gd name="connsiteY28" fmla="*/ 4090156 h 5633118"/>
                  <a:gd name="connsiteX29" fmla="*/ 1918706 w 1918706"/>
                  <a:gd name="connsiteY29" fmla="*/ 4097931 h 5633118"/>
                  <a:gd name="connsiteX30" fmla="*/ 1918706 w 1918706"/>
                  <a:gd name="connsiteY30" fmla="*/ 4491829 h 5633118"/>
                  <a:gd name="connsiteX31" fmla="*/ 1918706 w 1918706"/>
                  <a:gd name="connsiteY31" fmla="*/ 4579284 h 5633118"/>
                  <a:gd name="connsiteX32" fmla="*/ 1918706 w 1918706"/>
                  <a:gd name="connsiteY32" fmla="*/ 4592438 h 5633118"/>
                  <a:gd name="connsiteX33" fmla="*/ 1918706 w 1918706"/>
                  <a:gd name="connsiteY33" fmla="*/ 5073791 h 5633118"/>
                  <a:gd name="connsiteX34" fmla="*/ 959355 w 1918706"/>
                  <a:gd name="connsiteY34" fmla="*/ 5633118 h 5633118"/>
                  <a:gd name="connsiteX35" fmla="*/ 0 w 1918706"/>
                  <a:gd name="connsiteY35" fmla="*/ 5073791 h 5633118"/>
                  <a:gd name="connsiteX36" fmla="*/ 0 w 1918706"/>
                  <a:gd name="connsiteY36" fmla="*/ 4592438 h 5633118"/>
                  <a:gd name="connsiteX37" fmla="*/ 0 w 1918706"/>
                  <a:gd name="connsiteY37" fmla="*/ 4579284 h 5633118"/>
                  <a:gd name="connsiteX38" fmla="*/ 0 w 1918706"/>
                  <a:gd name="connsiteY38" fmla="*/ 4491829 h 5633118"/>
                  <a:gd name="connsiteX39" fmla="*/ 0 w 1918706"/>
                  <a:gd name="connsiteY39" fmla="*/ 4097931 h 5633118"/>
                  <a:gd name="connsiteX40" fmla="*/ 0 w 1918706"/>
                  <a:gd name="connsiteY40" fmla="*/ 4090156 h 5633118"/>
                  <a:gd name="connsiteX41" fmla="*/ 0 w 1918706"/>
                  <a:gd name="connsiteY41" fmla="*/ 4069228 h 5633118"/>
                  <a:gd name="connsiteX42" fmla="*/ 0 w 1918706"/>
                  <a:gd name="connsiteY42" fmla="*/ 4010476 h 5633118"/>
                  <a:gd name="connsiteX43" fmla="*/ 0 w 1918706"/>
                  <a:gd name="connsiteY43" fmla="*/ 3997322 h 5633118"/>
                  <a:gd name="connsiteX44" fmla="*/ 0 w 1918706"/>
                  <a:gd name="connsiteY44" fmla="*/ 3595649 h 5633118"/>
                  <a:gd name="connsiteX45" fmla="*/ 0 w 1918706"/>
                  <a:gd name="connsiteY45" fmla="*/ 3587875 h 5633118"/>
                  <a:gd name="connsiteX46" fmla="*/ 0 w 1918706"/>
                  <a:gd name="connsiteY46" fmla="*/ 3574721 h 5633118"/>
                  <a:gd name="connsiteX47" fmla="*/ 0 w 1918706"/>
                  <a:gd name="connsiteY47" fmla="*/ 3515969 h 5633118"/>
                  <a:gd name="connsiteX48" fmla="*/ 0 w 1918706"/>
                  <a:gd name="connsiteY48" fmla="*/ 3508195 h 5633118"/>
                  <a:gd name="connsiteX49" fmla="*/ 0 w 1918706"/>
                  <a:gd name="connsiteY49" fmla="*/ 3487266 h 5633118"/>
                  <a:gd name="connsiteX50" fmla="*/ 0 w 1918706"/>
                  <a:gd name="connsiteY5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73109 h 5633118"/>
                  <a:gd name="connsiteX6" fmla="*/ 1918706 w 1918706"/>
                  <a:gd name="connsiteY6" fmla="*/ 2081031 h 5633118"/>
                  <a:gd name="connsiteX7" fmla="*/ 1918706 w 1918706"/>
                  <a:gd name="connsiteY7" fmla="*/ 2088805 h 5633118"/>
                  <a:gd name="connsiteX8" fmla="*/ 1918706 w 1918706"/>
                  <a:gd name="connsiteY8" fmla="*/ 2503632 h 5633118"/>
                  <a:gd name="connsiteX9" fmla="*/ 1918706 w 1918706"/>
                  <a:gd name="connsiteY9" fmla="*/ 2511407 h 5633118"/>
                  <a:gd name="connsiteX10" fmla="*/ 1918706 w 1918706"/>
                  <a:gd name="connsiteY10" fmla="*/ 2567616 h 5633118"/>
                  <a:gd name="connsiteX11" fmla="*/ 1918706 w 1918706"/>
                  <a:gd name="connsiteY11" fmla="*/ 2583313 h 5633118"/>
                  <a:gd name="connsiteX12" fmla="*/ 1918706 w 1918706"/>
                  <a:gd name="connsiteY12" fmla="*/ 2591087 h 5633118"/>
                  <a:gd name="connsiteX13" fmla="*/ 1918706 w 1918706"/>
                  <a:gd name="connsiteY13" fmla="*/ 2992759 h 5633118"/>
                  <a:gd name="connsiteX14" fmla="*/ 1918706 w 1918706"/>
                  <a:gd name="connsiteY14" fmla="*/ 3005914 h 5633118"/>
                  <a:gd name="connsiteX15" fmla="*/ 1918706 w 1918706"/>
                  <a:gd name="connsiteY15" fmla="*/ 3013688 h 5633118"/>
                  <a:gd name="connsiteX16" fmla="*/ 1918706 w 1918706"/>
                  <a:gd name="connsiteY16" fmla="*/ 3085594 h 5633118"/>
                  <a:gd name="connsiteX17" fmla="*/ 1918706 w 1918706"/>
                  <a:gd name="connsiteY17" fmla="*/ 3093368 h 5633118"/>
                  <a:gd name="connsiteX18" fmla="*/ 1918706 w 1918706"/>
                  <a:gd name="connsiteY18" fmla="*/ 3487266 h 5633118"/>
                  <a:gd name="connsiteX19" fmla="*/ 1918706 w 1918706"/>
                  <a:gd name="connsiteY19" fmla="*/ 3508195 h 5633118"/>
                  <a:gd name="connsiteX20" fmla="*/ 1918706 w 1918706"/>
                  <a:gd name="connsiteY20" fmla="*/ 3515969 h 5633118"/>
                  <a:gd name="connsiteX21" fmla="*/ 1918706 w 1918706"/>
                  <a:gd name="connsiteY21" fmla="*/ 3574721 h 5633118"/>
                  <a:gd name="connsiteX22" fmla="*/ 1918706 w 1918706"/>
                  <a:gd name="connsiteY22" fmla="*/ 3587875 h 5633118"/>
                  <a:gd name="connsiteX23" fmla="*/ 1918706 w 1918706"/>
                  <a:gd name="connsiteY23" fmla="*/ 3595649 h 5633118"/>
                  <a:gd name="connsiteX24" fmla="*/ 1918706 w 1918706"/>
                  <a:gd name="connsiteY24" fmla="*/ 3997322 h 5633118"/>
                  <a:gd name="connsiteX25" fmla="*/ 1918706 w 1918706"/>
                  <a:gd name="connsiteY25" fmla="*/ 4010476 h 5633118"/>
                  <a:gd name="connsiteX26" fmla="*/ 1918706 w 1918706"/>
                  <a:gd name="connsiteY26" fmla="*/ 4069228 h 5633118"/>
                  <a:gd name="connsiteX27" fmla="*/ 1918706 w 1918706"/>
                  <a:gd name="connsiteY27" fmla="*/ 4090156 h 5633118"/>
                  <a:gd name="connsiteX28" fmla="*/ 1918706 w 1918706"/>
                  <a:gd name="connsiteY28" fmla="*/ 4097931 h 5633118"/>
                  <a:gd name="connsiteX29" fmla="*/ 1918706 w 1918706"/>
                  <a:gd name="connsiteY29" fmla="*/ 4491829 h 5633118"/>
                  <a:gd name="connsiteX30" fmla="*/ 1918706 w 1918706"/>
                  <a:gd name="connsiteY30" fmla="*/ 4579284 h 5633118"/>
                  <a:gd name="connsiteX31" fmla="*/ 1918706 w 1918706"/>
                  <a:gd name="connsiteY31" fmla="*/ 4592438 h 5633118"/>
                  <a:gd name="connsiteX32" fmla="*/ 1918706 w 1918706"/>
                  <a:gd name="connsiteY32" fmla="*/ 5073791 h 5633118"/>
                  <a:gd name="connsiteX33" fmla="*/ 959355 w 1918706"/>
                  <a:gd name="connsiteY33" fmla="*/ 5633118 h 5633118"/>
                  <a:gd name="connsiteX34" fmla="*/ 0 w 1918706"/>
                  <a:gd name="connsiteY34" fmla="*/ 5073791 h 5633118"/>
                  <a:gd name="connsiteX35" fmla="*/ 0 w 1918706"/>
                  <a:gd name="connsiteY35" fmla="*/ 4592438 h 5633118"/>
                  <a:gd name="connsiteX36" fmla="*/ 0 w 1918706"/>
                  <a:gd name="connsiteY36" fmla="*/ 4579284 h 5633118"/>
                  <a:gd name="connsiteX37" fmla="*/ 0 w 1918706"/>
                  <a:gd name="connsiteY37" fmla="*/ 4491829 h 5633118"/>
                  <a:gd name="connsiteX38" fmla="*/ 0 w 1918706"/>
                  <a:gd name="connsiteY38" fmla="*/ 4097931 h 5633118"/>
                  <a:gd name="connsiteX39" fmla="*/ 0 w 1918706"/>
                  <a:gd name="connsiteY39" fmla="*/ 4090156 h 5633118"/>
                  <a:gd name="connsiteX40" fmla="*/ 0 w 1918706"/>
                  <a:gd name="connsiteY40" fmla="*/ 4069228 h 5633118"/>
                  <a:gd name="connsiteX41" fmla="*/ 0 w 1918706"/>
                  <a:gd name="connsiteY41" fmla="*/ 4010476 h 5633118"/>
                  <a:gd name="connsiteX42" fmla="*/ 0 w 1918706"/>
                  <a:gd name="connsiteY42" fmla="*/ 3997322 h 5633118"/>
                  <a:gd name="connsiteX43" fmla="*/ 0 w 1918706"/>
                  <a:gd name="connsiteY43" fmla="*/ 3595649 h 5633118"/>
                  <a:gd name="connsiteX44" fmla="*/ 0 w 1918706"/>
                  <a:gd name="connsiteY44" fmla="*/ 3587875 h 5633118"/>
                  <a:gd name="connsiteX45" fmla="*/ 0 w 1918706"/>
                  <a:gd name="connsiteY45" fmla="*/ 3574721 h 5633118"/>
                  <a:gd name="connsiteX46" fmla="*/ 0 w 1918706"/>
                  <a:gd name="connsiteY46" fmla="*/ 3515969 h 5633118"/>
                  <a:gd name="connsiteX47" fmla="*/ 0 w 1918706"/>
                  <a:gd name="connsiteY47" fmla="*/ 3508195 h 5633118"/>
                  <a:gd name="connsiteX48" fmla="*/ 0 w 1918706"/>
                  <a:gd name="connsiteY48" fmla="*/ 3487266 h 5633118"/>
                  <a:gd name="connsiteX49" fmla="*/ 0 w 1918706"/>
                  <a:gd name="connsiteY4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73109 h 5633118"/>
                  <a:gd name="connsiteX5" fmla="*/ 1918706 w 1918706"/>
                  <a:gd name="connsiteY5" fmla="*/ 2081031 h 5633118"/>
                  <a:gd name="connsiteX6" fmla="*/ 1918706 w 1918706"/>
                  <a:gd name="connsiteY6" fmla="*/ 2088805 h 5633118"/>
                  <a:gd name="connsiteX7" fmla="*/ 1918706 w 1918706"/>
                  <a:gd name="connsiteY7" fmla="*/ 2503632 h 5633118"/>
                  <a:gd name="connsiteX8" fmla="*/ 1918706 w 1918706"/>
                  <a:gd name="connsiteY8" fmla="*/ 2511407 h 5633118"/>
                  <a:gd name="connsiteX9" fmla="*/ 1918706 w 1918706"/>
                  <a:gd name="connsiteY9" fmla="*/ 2567616 h 5633118"/>
                  <a:gd name="connsiteX10" fmla="*/ 1918706 w 1918706"/>
                  <a:gd name="connsiteY10" fmla="*/ 2583313 h 5633118"/>
                  <a:gd name="connsiteX11" fmla="*/ 1918706 w 1918706"/>
                  <a:gd name="connsiteY11" fmla="*/ 2591087 h 5633118"/>
                  <a:gd name="connsiteX12" fmla="*/ 1918706 w 1918706"/>
                  <a:gd name="connsiteY12" fmla="*/ 2992759 h 5633118"/>
                  <a:gd name="connsiteX13" fmla="*/ 1918706 w 1918706"/>
                  <a:gd name="connsiteY13" fmla="*/ 3005914 h 5633118"/>
                  <a:gd name="connsiteX14" fmla="*/ 1918706 w 1918706"/>
                  <a:gd name="connsiteY14" fmla="*/ 3013688 h 5633118"/>
                  <a:gd name="connsiteX15" fmla="*/ 1918706 w 1918706"/>
                  <a:gd name="connsiteY15" fmla="*/ 3085594 h 5633118"/>
                  <a:gd name="connsiteX16" fmla="*/ 1918706 w 1918706"/>
                  <a:gd name="connsiteY16" fmla="*/ 3093368 h 5633118"/>
                  <a:gd name="connsiteX17" fmla="*/ 1918706 w 1918706"/>
                  <a:gd name="connsiteY17" fmla="*/ 3487266 h 5633118"/>
                  <a:gd name="connsiteX18" fmla="*/ 1918706 w 1918706"/>
                  <a:gd name="connsiteY18" fmla="*/ 3508195 h 5633118"/>
                  <a:gd name="connsiteX19" fmla="*/ 1918706 w 1918706"/>
                  <a:gd name="connsiteY19" fmla="*/ 3515969 h 5633118"/>
                  <a:gd name="connsiteX20" fmla="*/ 1918706 w 1918706"/>
                  <a:gd name="connsiteY20" fmla="*/ 3574721 h 5633118"/>
                  <a:gd name="connsiteX21" fmla="*/ 1918706 w 1918706"/>
                  <a:gd name="connsiteY21" fmla="*/ 3587875 h 5633118"/>
                  <a:gd name="connsiteX22" fmla="*/ 1918706 w 1918706"/>
                  <a:gd name="connsiteY22" fmla="*/ 3595649 h 5633118"/>
                  <a:gd name="connsiteX23" fmla="*/ 1918706 w 1918706"/>
                  <a:gd name="connsiteY23" fmla="*/ 3997322 h 5633118"/>
                  <a:gd name="connsiteX24" fmla="*/ 1918706 w 1918706"/>
                  <a:gd name="connsiteY24" fmla="*/ 4010476 h 5633118"/>
                  <a:gd name="connsiteX25" fmla="*/ 1918706 w 1918706"/>
                  <a:gd name="connsiteY25" fmla="*/ 4069228 h 5633118"/>
                  <a:gd name="connsiteX26" fmla="*/ 1918706 w 1918706"/>
                  <a:gd name="connsiteY26" fmla="*/ 4090156 h 5633118"/>
                  <a:gd name="connsiteX27" fmla="*/ 1918706 w 1918706"/>
                  <a:gd name="connsiteY27" fmla="*/ 4097931 h 5633118"/>
                  <a:gd name="connsiteX28" fmla="*/ 1918706 w 1918706"/>
                  <a:gd name="connsiteY28" fmla="*/ 4491829 h 5633118"/>
                  <a:gd name="connsiteX29" fmla="*/ 1918706 w 1918706"/>
                  <a:gd name="connsiteY29" fmla="*/ 4579284 h 5633118"/>
                  <a:gd name="connsiteX30" fmla="*/ 1918706 w 1918706"/>
                  <a:gd name="connsiteY30" fmla="*/ 4592438 h 5633118"/>
                  <a:gd name="connsiteX31" fmla="*/ 1918706 w 1918706"/>
                  <a:gd name="connsiteY31" fmla="*/ 5073791 h 5633118"/>
                  <a:gd name="connsiteX32" fmla="*/ 959355 w 1918706"/>
                  <a:gd name="connsiteY32" fmla="*/ 5633118 h 5633118"/>
                  <a:gd name="connsiteX33" fmla="*/ 0 w 1918706"/>
                  <a:gd name="connsiteY33" fmla="*/ 5073791 h 5633118"/>
                  <a:gd name="connsiteX34" fmla="*/ 0 w 1918706"/>
                  <a:gd name="connsiteY34" fmla="*/ 4592438 h 5633118"/>
                  <a:gd name="connsiteX35" fmla="*/ 0 w 1918706"/>
                  <a:gd name="connsiteY35" fmla="*/ 4579284 h 5633118"/>
                  <a:gd name="connsiteX36" fmla="*/ 0 w 1918706"/>
                  <a:gd name="connsiteY36" fmla="*/ 4491829 h 5633118"/>
                  <a:gd name="connsiteX37" fmla="*/ 0 w 1918706"/>
                  <a:gd name="connsiteY37" fmla="*/ 4097931 h 5633118"/>
                  <a:gd name="connsiteX38" fmla="*/ 0 w 1918706"/>
                  <a:gd name="connsiteY38" fmla="*/ 4090156 h 5633118"/>
                  <a:gd name="connsiteX39" fmla="*/ 0 w 1918706"/>
                  <a:gd name="connsiteY39" fmla="*/ 4069228 h 5633118"/>
                  <a:gd name="connsiteX40" fmla="*/ 0 w 1918706"/>
                  <a:gd name="connsiteY40" fmla="*/ 4010476 h 5633118"/>
                  <a:gd name="connsiteX41" fmla="*/ 0 w 1918706"/>
                  <a:gd name="connsiteY41" fmla="*/ 3997322 h 5633118"/>
                  <a:gd name="connsiteX42" fmla="*/ 0 w 1918706"/>
                  <a:gd name="connsiteY42" fmla="*/ 3595649 h 5633118"/>
                  <a:gd name="connsiteX43" fmla="*/ 0 w 1918706"/>
                  <a:gd name="connsiteY43" fmla="*/ 3587875 h 5633118"/>
                  <a:gd name="connsiteX44" fmla="*/ 0 w 1918706"/>
                  <a:gd name="connsiteY44" fmla="*/ 3574721 h 5633118"/>
                  <a:gd name="connsiteX45" fmla="*/ 0 w 1918706"/>
                  <a:gd name="connsiteY45" fmla="*/ 3515969 h 5633118"/>
                  <a:gd name="connsiteX46" fmla="*/ 0 w 1918706"/>
                  <a:gd name="connsiteY46" fmla="*/ 3508195 h 5633118"/>
                  <a:gd name="connsiteX47" fmla="*/ 0 w 1918706"/>
                  <a:gd name="connsiteY47" fmla="*/ 3487266 h 5633118"/>
                  <a:gd name="connsiteX48" fmla="*/ 0 w 1918706"/>
                  <a:gd name="connsiteY4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088805 h 5633118"/>
                  <a:gd name="connsiteX6" fmla="*/ 1918706 w 1918706"/>
                  <a:gd name="connsiteY6" fmla="*/ 2503632 h 5633118"/>
                  <a:gd name="connsiteX7" fmla="*/ 1918706 w 1918706"/>
                  <a:gd name="connsiteY7" fmla="*/ 2511407 h 5633118"/>
                  <a:gd name="connsiteX8" fmla="*/ 1918706 w 1918706"/>
                  <a:gd name="connsiteY8" fmla="*/ 2567616 h 5633118"/>
                  <a:gd name="connsiteX9" fmla="*/ 1918706 w 1918706"/>
                  <a:gd name="connsiteY9" fmla="*/ 2583313 h 5633118"/>
                  <a:gd name="connsiteX10" fmla="*/ 1918706 w 1918706"/>
                  <a:gd name="connsiteY10" fmla="*/ 2591087 h 5633118"/>
                  <a:gd name="connsiteX11" fmla="*/ 1918706 w 1918706"/>
                  <a:gd name="connsiteY11" fmla="*/ 2992759 h 5633118"/>
                  <a:gd name="connsiteX12" fmla="*/ 1918706 w 1918706"/>
                  <a:gd name="connsiteY12" fmla="*/ 3005914 h 5633118"/>
                  <a:gd name="connsiteX13" fmla="*/ 1918706 w 1918706"/>
                  <a:gd name="connsiteY13" fmla="*/ 3013688 h 5633118"/>
                  <a:gd name="connsiteX14" fmla="*/ 1918706 w 1918706"/>
                  <a:gd name="connsiteY14" fmla="*/ 3085594 h 5633118"/>
                  <a:gd name="connsiteX15" fmla="*/ 1918706 w 1918706"/>
                  <a:gd name="connsiteY15" fmla="*/ 3093368 h 5633118"/>
                  <a:gd name="connsiteX16" fmla="*/ 1918706 w 1918706"/>
                  <a:gd name="connsiteY16" fmla="*/ 3487266 h 5633118"/>
                  <a:gd name="connsiteX17" fmla="*/ 1918706 w 1918706"/>
                  <a:gd name="connsiteY17" fmla="*/ 3508195 h 5633118"/>
                  <a:gd name="connsiteX18" fmla="*/ 1918706 w 1918706"/>
                  <a:gd name="connsiteY18" fmla="*/ 3515969 h 5633118"/>
                  <a:gd name="connsiteX19" fmla="*/ 1918706 w 1918706"/>
                  <a:gd name="connsiteY19" fmla="*/ 3574721 h 5633118"/>
                  <a:gd name="connsiteX20" fmla="*/ 1918706 w 1918706"/>
                  <a:gd name="connsiteY20" fmla="*/ 3587875 h 5633118"/>
                  <a:gd name="connsiteX21" fmla="*/ 1918706 w 1918706"/>
                  <a:gd name="connsiteY21" fmla="*/ 3595649 h 5633118"/>
                  <a:gd name="connsiteX22" fmla="*/ 1918706 w 1918706"/>
                  <a:gd name="connsiteY22" fmla="*/ 3997322 h 5633118"/>
                  <a:gd name="connsiteX23" fmla="*/ 1918706 w 1918706"/>
                  <a:gd name="connsiteY23" fmla="*/ 4010476 h 5633118"/>
                  <a:gd name="connsiteX24" fmla="*/ 1918706 w 1918706"/>
                  <a:gd name="connsiteY24" fmla="*/ 4069228 h 5633118"/>
                  <a:gd name="connsiteX25" fmla="*/ 1918706 w 1918706"/>
                  <a:gd name="connsiteY25" fmla="*/ 4090156 h 5633118"/>
                  <a:gd name="connsiteX26" fmla="*/ 1918706 w 1918706"/>
                  <a:gd name="connsiteY26" fmla="*/ 4097931 h 5633118"/>
                  <a:gd name="connsiteX27" fmla="*/ 1918706 w 1918706"/>
                  <a:gd name="connsiteY27" fmla="*/ 4491829 h 5633118"/>
                  <a:gd name="connsiteX28" fmla="*/ 1918706 w 1918706"/>
                  <a:gd name="connsiteY28" fmla="*/ 4579284 h 5633118"/>
                  <a:gd name="connsiteX29" fmla="*/ 1918706 w 1918706"/>
                  <a:gd name="connsiteY29" fmla="*/ 4592438 h 5633118"/>
                  <a:gd name="connsiteX30" fmla="*/ 1918706 w 1918706"/>
                  <a:gd name="connsiteY30" fmla="*/ 5073791 h 5633118"/>
                  <a:gd name="connsiteX31" fmla="*/ 959355 w 1918706"/>
                  <a:gd name="connsiteY31" fmla="*/ 5633118 h 5633118"/>
                  <a:gd name="connsiteX32" fmla="*/ 0 w 1918706"/>
                  <a:gd name="connsiteY32" fmla="*/ 5073791 h 5633118"/>
                  <a:gd name="connsiteX33" fmla="*/ 0 w 1918706"/>
                  <a:gd name="connsiteY33" fmla="*/ 4592438 h 5633118"/>
                  <a:gd name="connsiteX34" fmla="*/ 0 w 1918706"/>
                  <a:gd name="connsiteY34" fmla="*/ 4579284 h 5633118"/>
                  <a:gd name="connsiteX35" fmla="*/ 0 w 1918706"/>
                  <a:gd name="connsiteY35" fmla="*/ 4491829 h 5633118"/>
                  <a:gd name="connsiteX36" fmla="*/ 0 w 1918706"/>
                  <a:gd name="connsiteY36" fmla="*/ 4097931 h 5633118"/>
                  <a:gd name="connsiteX37" fmla="*/ 0 w 1918706"/>
                  <a:gd name="connsiteY37" fmla="*/ 4090156 h 5633118"/>
                  <a:gd name="connsiteX38" fmla="*/ 0 w 1918706"/>
                  <a:gd name="connsiteY38" fmla="*/ 4069228 h 5633118"/>
                  <a:gd name="connsiteX39" fmla="*/ 0 w 1918706"/>
                  <a:gd name="connsiteY39" fmla="*/ 4010476 h 5633118"/>
                  <a:gd name="connsiteX40" fmla="*/ 0 w 1918706"/>
                  <a:gd name="connsiteY40" fmla="*/ 3997322 h 5633118"/>
                  <a:gd name="connsiteX41" fmla="*/ 0 w 1918706"/>
                  <a:gd name="connsiteY41" fmla="*/ 3595649 h 5633118"/>
                  <a:gd name="connsiteX42" fmla="*/ 0 w 1918706"/>
                  <a:gd name="connsiteY42" fmla="*/ 3587875 h 5633118"/>
                  <a:gd name="connsiteX43" fmla="*/ 0 w 1918706"/>
                  <a:gd name="connsiteY43" fmla="*/ 3574721 h 5633118"/>
                  <a:gd name="connsiteX44" fmla="*/ 0 w 1918706"/>
                  <a:gd name="connsiteY44" fmla="*/ 3515969 h 5633118"/>
                  <a:gd name="connsiteX45" fmla="*/ 0 w 1918706"/>
                  <a:gd name="connsiteY45" fmla="*/ 3508195 h 5633118"/>
                  <a:gd name="connsiteX46" fmla="*/ 0 w 1918706"/>
                  <a:gd name="connsiteY46" fmla="*/ 3487266 h 5633118"/>
                  <a:gd name="connsiteX47" fmla="*/ 0 w 1918706"/>
                  <a:gd name="connsiteY4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503632 h 5633118"/>
                  <a:gd name="connsiteX6" fmla="*/ 1918706 w 1918706"/>
                  <a:gd name="connsiteY6" fmla="*/ 2511407 h 5633118"/>
                  <a:gd name="connsiteX7" fmla="*/ 1918706 w 1918706"/>
                  <a:gd name="connsiteY7" fmla="*/ 2567616 h 5633118"/>
                  <a:gd name="connsiteX8" fmla="*/ 1918706 w 1918706"/>
                  <a:gd name="connsiteY8" fmla="*/ 2583313 h 5633118"/>
                  <a:gd name="connsiteX9" fmla="*/ 1918706 w 1918706"/>
                  <a:gd name="connsiteY9" fmla="*/ 2591087 h 5633118"/>
                  <a:gd name="connsiteX10" fmla="*/ 1918706 w 1918706"/>
                  <a:gd name="connsiteY10" fmla="*/ 2992759 h 5633118"/>
                  <a:gd name="connsiteX11" fmla="*/ 1918706 w 1918706"/>
                  <a:gd name="connsiteY11" fmla="*/ 3005914 h 5633118"/>
                  <a:gd name="connsiteX12" fmla="*/ 1918706 w 1918706"/>
                  <a:gd name="connsiteY12" fmla="*/ 3013688 h 5633118"/>
                  <a:gd name="connsiteX13" fmla="*/ 1918706 w 1918706"/>
                  <a:gd name="connsiteY13" fmla="*/ 3085594 h 5633118"/>
                  <a:gd name="connsiteX14" fmla="*/ 1918706 w 1918706"/>
                  <a:gd name="connsiteY14" fmla="*/ 3093368 h 5633118"/>
                  <a:gd name="connsiteX15" fmla="*/ 1918706 w 1918706"/>
                  <a:gd name="connsiteY15" fmla="*/ 3487266 h 5633118"/>
                  <a:gd name="connsiteX16" fmla="*/ 1918706 w 1918706"/>
                  <a:gd name="connsiteY16" fmla="*/ 3508195 h 5633118"/>
                  <a:gd name="connsiteX17" fmla="*/ 1918706 w 1918706"/>
                  <a:gd name="connsiteY17" fmla="*/ 3515969 h 5633118"/>
                  <a:gd name="connsiteX18" fmla="*/ 1918706 w 1918706"/>
                  <a:gd name="connsiteY18" fmla="*/ 3574721 h 5633118"/>
                  <a:gd name="connsiteX19" fmla="*/ 1918706 w 1918706"/>
                  <a:gd name="connsiteY19" fmla="*/ 3587875 h 5633118"/>
                  <a:gd name="connsiteX20" fmla="*/ 1918706 w 1918706"/>
                  <a:gd name="connsiteY20" fmla="*/ 3595649 h 5633118"/>
                  <a:gd name="connsiteX21" fmla="*/ 1918706 w 1918706"/>
                  <a:gd name="connsiteY21" fmla="*/ 3997322 h 5633118"/>
                  <a:gd name="connsiteX22" fmla="*/ 1918706 w 1918706"/>
                  <a:gd name="connsiteY22" fmla="*/ 4010476 h 5633118"/>
                  <a:gd name="connsiteX23" fmla="*/ 1918706 w 1918706"/>
                  <a:gd name="connsiteY23" fmla="*/ 4069228 h 5633118"/>
                  <a:gd name="connsiteX24" fmla="*/ 1918706 w 1918706"/>
                  <a:gd name="connsiteY24" fmla="*/ 4090156 h 5633118"/>
                  <a:gd name="connsiteX25" fmla="*/ 1918706 w 1918706"/>
                  <a:gd name="connsiteY25" fmla="*/ 4097931 h 5633118"/>
                  <a:gd name="connsiteX26" fmla="*/ 1918706 w 1918706"/>
                  <a:gd name="connsiteY26" fmla="*/ 4491829 h 5633118"/>
                  <a:gd name="connsiteX27" fmla="*/ 1918706 w 1918706"/>
                  <a:gd name="connsiteY27" fmla="*/ 4579284 h 5633118"/>
                  <a:gd name="connsiteX28" fmla="*/ 1918706 w 1918706"/>
                  <a:gd name="connsiteY28" fmla="*/ 4592438 h 5633118"/>
                  <a:gd name="connsiteX29" fmla="*/ 1918706 w 1918706"/>
                  <a:gd name="connsiteY29" fmla="*/ 5073791 h 5633118"/>
                  <a:gd name="connsiteX30" fmla="*/ 959355 w 1918706"/>
                  <a:gd name="connsiteY30" fmla="*/ 5633118 h 5633118"/>
                  <a:gd name="connsiteX31" fmla="*/ 0 w 1918706"/>
                  <a:gd name="connsiteY31" fmla="*/ 5073791 h 5633118"/>
                  <a:gd name="connsiteX32" fmla="*/ 0 w 1918706"/>
                  <a:gd name="connsiteY32" fmla="*/ 4592438 h 5633118"/>
                  <a:gd name="connsiteX33" fmla="*/ 0 w 1918706"/>
                  <a:gd name="connsiteY33" fmla="*/ 4579284 h 5633118"/>
                  <a:gd name="connsiteX34" fmla="*/ 0 w 1918706"/>
                  <a:gd name="connsiteY34" fmla="*/ 4491829 h 5633118"/>
                  <a:gd name="connsiteX35" fmla="*/ 0 w 1918706"/>
                  <a:gd name="connsiteY35" fmla="*/ 4097931 h 5633118"/>
                  <a:gd name="connsiteX36" fmla="*/ 0 w 1918706"/>
                  <a:gd name="connsiteY36" fmla="*/ 4090156 h 5633118"/>
                  <a:gd name="connsiteX37" fmla="*/ 0 w 1918706"/>
                  <a:gd name="connsiteY37" fmla="*/ 4069228 h 5633118"/>
                  <a:gd name="connsiteX38" fmla="*/ 0 w 1918706"/>
                  <a:gd name="connsiteY38" fmla="*/ 4010476 h 5633118"/>
                  <a:gd name="connsiteX39" fmla="*/ 0 w 1918706"/>
                  <a:gd name="connsiteY39" fmla="*/ 3997322 h 5633118"/>
                  <a:gd name="connsiteX40" fmla="*/ 0 w 1918706"/>
                  <a:gd name="connsiteY40" fmla="*/ 3595649 h 5633118"/>
                  <a:gd name="connsiteX41" fmla="*/ 0 w 1918706"/>
                  <a:gd name="connsiteY41" fmla="*/ 3587875 h 5633118"/>
                  <a:gd name="connsiteX42" fmla="*/ 0 w 1918706"/>
                  <a:gd name="connsiteY42" fmla="*/ 3574721 h 5633118"/>
                  <a:gd name="connsiteX43" fmla="*/ 0 w 1918706"/>
                  <a:gd name="connsiteY43" fmla="*/ 3515969 h 5633118"/>
                  <a:gd name="connsiteX44" fmla="*/ 0 w 1918706"/>
                  <a:gd name="connsiteY44" fmla="*/ 3508195 h 5633118"/>
                  <a:gd name="connsiteX45" fmla="*/ 0 w 1918706"/>
                  <a:gd name="connsiteY45" fmla="*/ 3487266 h 5633118"/>
                  <a:gd name="connsiteX46" fmla="*/ 0 w 1918706"/>
                  <a:gd name="connsiteY4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503632 h 5633118"/>
                  <a:gd name="connsiteX5" fmla="*/ 1918706 w 1918706"/>
                  <a:gd name="connsiteY5" fmla="*/ 2511407 h 5633118"/>
                  <a:gd name="connsiteX6" fmla="*/ 1918706 w 1918706"/>
                  <a:gd name="connsiteY6" fmla="*/ 2567616 h 5633118"/>
                  <a:gd name="connsiteX7" fmla="*/ 1918706 w 1918706"/>
                  <a:gd name="connsiteY7" fmla="*/ 2583313 h 5633118"/>
                  <a:gd name="connsiteX8" fmla="*/ 1918706 w 1918706"/>
                  <a:gd name="connsiteY8" fmla="*/ 2591087 h 5633118"/>
                  <a:gd name="connsiteX9" fmla="*/ 1918706 w 1918706"/>
                  <a:gd name="connsiteY9" fmla="*/ 2992759 h 5633118"/>
                  <a:gd name="connsiteX10" fmla="*/ 1918706 w 1918706"/>
                  <a:gd name="connsiteY10" fmla="*/ 3005914 h 5633118"/>
                  <a:gd name="connsiteX11" fmla="*/ 1918706 w 1918706"/>
                  <a:gd name="connsiteY11" fmla="*/ 3013688 h 5633118"/>
                  <a:gd name="connsiteX12" fmla="*/ 1918706 w 1918706"/>
                  <a:gd name="connsiteY12" fmla="*/ 3085594 h 5633118"/>
                  <a:gd name="connsiteX13" fmla="*/ 1918706 w 1918706"/>
                  <a:gd name="connsiteY13" fmla="*/ 3093368 h 5633118"/>
                  <a:gd name="connsiteX14" fmla="*/ 1918706 w 1918706"/>
                  <a:gd name="connsiteY14" fmla="*/ 3487266 h 5633118"/>
                  <a:gd name="connsiteX15" fmla="*/ 1918706 w 1918706"/>
                  <a:gd name="connsiteY15" fmla="*/ 3508195 h 5633118"/>
                  <a:gd name="connsiteX16" fmla="*/ 1918706 w 1918706"/>
                  <a:gd name="connsiteY16" fmla="*/ 3515969 h 5633118"/>
                  <a:gd name="connsiteX17" fmla="*/ 1918706 w 1918706"/>
                  <a:gd name="connsiteY17" fmla="*/ 3574721 h 5633118"/>
                  <a:gd name="connsiteX18" fmla="*/ 1918706 w 1918706"/>
                  <a:gd name="connsiteY18" fmla="*/ 3587875 h 5633118"/>
                  <a:gd name="connsiteX19" fmla="*/ 1918706 w 1918706"/>
                  <a:gd name="connsiteY19" fmla="*/ 3595649 h 5633118"/>
                  <a:gd name="connsiteX20" fmla="*/ 1918706 w 1918706"/>
                  <a:gd name="connsiteY20" fmla="*/ 3997322 h 5633118"/>
                  <a:gd name="connsiteX21" fmla="*/ 1918706 w 1918706"/>
                  <a:gd name="connsiteY21" fmla="*/ 4010476 h 5633118"/>
                  <a:gd name="connsiteX22" fmla="*/ 1918706 w 1918706"/>
                  <a:gd name="connsiteY22" fmla="*/ 4069228 h 5633118"/>
                  <a:gd name="connsiteX23" fmla="*/ 1918706 w 1918706"/>
                  <a:gd name="connsiteY23" fmla="*/ 4090156 h 5633118"/>
                  <a:gd name="connsiteX24" fmla="*/ 1918706 w 1918706"/>
                  <a:gd name="connsiteY24" fmla="*/ 4097931 h 5633118"/>
                  <a:gd name="connsiteX25" fmla="*/ 1918706 w 1918706"/>
                  <a:gd name="connsiteY25" fmla="*/ 4491829 h 5633118"/>
                  <a:gd name="connsiteX26" fmla="*/ 1918706 w 1918706"/>
                  <a:gd name="connsiteY26" fmla="*/ 4579284 h 5633118"/>
                  <a:gd name="connsiteX27" fmla="*/ 1918706 w 1918706"/>
                  <a:gd name="connsiteY27" fmla="*/ 4592438 h 5633118"/>
                  <a:gd name="connsiteX28" fmla="*/ 1918706 w 1918706"/>
                  <a:gd name="connsiteY28" fmla="*/ 5073791 h 5633118"/>
                  <a:gd name="connsiteX29" fmla="*/ 959355 w 1918706"/>
                  <a:gd name="connsiteY29" fmla="*/ 5633118 h 5633118"/>
                  <a:gd name="connsiteX30" fmla="*/ 0 w 1918706"/>
                  <a:gd name="connsiteY30" fmla="*/ 5073791 h 5633118"/>
                  <a:gd name="connsiteX31" fmla="*/ 0 w 1918706"/>
                  <a:gd name="connsiteY31" fmla="*/ 4592438 h 5633118"/>
                  <a:gd name="connsiteX32" fmla="*/ 0 w 1918706"/>
                  <a:gd name="connsiteY32" fmla="*/ 4579284 h 5633118"/>
                  <a:gd name="connsiteX33" fmla="*/ 0 w 1918706"/>
                  <a:gd name="connsiteY33" fmla="*/ 4491829 h 5633118"/>
                  <a:gd name="connsiteX34" fmla="*/ 0 w 1918706"/>
                  <a:gd name="connsiteY34" fmla="*/ 4097931 h 5633118"/>
                  <a:gd name="connsiteX35" fmla="*/ 0 w 1918706"/>
                  <a:gd name="connsiteY35" fmla="*/ 4090156 h 5633118"/>
                  <a:gd name="connsiteX36" fmla="*/ 0 w 1918706"/>
                  <a:gd name="connsiteY36" fmla="*/ 4069228 h 5633118"/>
                  <a:gd name="connsiteX37" fmla="*/ 0 w 1918706"/>
                  <a:gd name="connsiteY37" fmla="*/ 4010476 h 5633118"/>
                  <a:gd name="connsiteX38" fmla="*/ 0 w 1918706"/>
                  <a:gd name="connsiteY38" fmla="*/ 3997322 h 5633118"/>
                  <a:gd name="connsiteX39" fmla="*/ 0 w 1918706"/>
                  <a:gd name="connsiteY39" fmla="*/ 3595649 h 5633118"/>
                  <a:gd name="connsiteX40" fmla="*/ 0 w 1918706"/>
                  <a:gd name="connsiteY40" fmla="*/ 3587875 h 5633118"/>
                  <a:gd name="connsiteX41" fmla="*/ 0 w 1918706"/>
                  <a:gd name="connsiteY41" fmla="*/ 3574721 h 5633118"/>
                  <a:gd name="connsiteX42" fmla="*/ 0 w 1918706"/>
                  <a:gd name="connsiteY42" fmla="*/ 3515969 h 5633118"/>
                  <a:gd name="connsiteX43" fmla="*/ 0 w 1918706"/>
                  <a:gd name="connsiteY43" fmla="*/ 3508195 h 5633118"/>
                  <a:gd name="connsiteX44" fmla="*/ 0 w 1918706"/>
                  <a:gd name="connsiteY44" fmla="*/ 3487266 h 5633118"/>
                  <a:gd name="connsiteX45" fmla="*/ 0 w 1918706"/>
                  <a:gd name="connsiteY4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11407 h 5633118"/>
                  <a:gd name="connsiteX5" fmla="*/ 1918706 w 1918706"/>
                  <a:gd name="connsiteY5" fmla="*/ 2567616 h 5633118"/>
                  <a:gd name="connsiteX6" fmla="*/ 1918706 w 1918706"/>
                  <a:gd name="connsiteY6" fmla="*/ 2583313 h 5633118"/>
                  <a:gd name="connsiteX7" fmla="*/ 1918706 w 1918706"/>
                  <a:gd name="connsiteY7" fmla="*/ 2591087 h 5633118"/>
                  <a:gd name="connsiteX8" fmla="*/ 1918706 w 1918706"/>
                  <a:gd name="connsiteY8" fmla="*/ 2992759 h 5633118"/>
                  <a:gd name="connsiteX9" fmla="*/ 1918706 w 1918706"/>
                  <a:gd name="connsiteY9" fmla="*/ 3005914 h 5633118"/>
                  <a:gd name="connsiteX10" fmla="*/ 1918706 w 1918706"/>
                  <a:gd name="connsiteY10" fmla="*/ 3013688 h 5633118"/>
                  <a:gd name="connsiteX11" fmla="*/ 1918706 w 1918706"/>
                  <a:gd name="connsiteY11" fmla="*/ 3085594 h 5633118"/>
                  <a:gd name="connsiteX12" fmla="*/ 1918706 w 1918706"/>
                  <a:gd name="connsiteY12" fmla="*/ 3093368 h 5633118"/>
                  <a:gd name="connsiteX13" fmla="*/ 1918706 w 1918706"/>
                  <a:gd name="connsiteY13" fmla="*/ 3487266 h 5633118"/>
                  <a:gd name="connsiteX14" fmla="*/ 1918706 w 1918706"/>
                  <a:gd name="connsiteY14" fmla="*/ 3508195 h 5633118"/>
                  <a:gd name="connsiteX15" fmla="*/ 1918706 w 1918706"/>
                  <a:gd name="connsiteY15" fmla="*/ 3515969 h 5633118"/>
                  <a:gd name="connsiteX16" fmla="*/ 1918706 w 1918706"/>
                  <a:gd name="connsiteY16" fmla="*/ 3574721 h 5633118"/>
                  <a:gd name="connsiteX17" fmla="*/ 1918706 w 1918706"/>
                  <a:gd name="connsiteY17" fmla="*/ 3587875 h 5633118"/>
                  <a:gd name="connsiteX18" fmla="*/ 1918706 w 1918706"/>
                  <a:gd name="connsiteY18" fmla="*/ 3595649 h 5633118"/>
                  <a:gd name="connsiteX19" fmla="*/ 1918706 w 1918706"/>
                  <a:gd name="connsiteY19" fmla="*/ 3997322 h 5633118"/>
                  <a:gd name="connsiteX20" fmla="*/ 1918706 w 1918706"/>
                  <a:gd name="connsiteY20" fmla="*/ 4010476 h 5633118"/>
                  <a:gd name="connsiteX21" fmla="*/ 1918706 w 1918706"/>
                  <a:gd name="connsiteY21" fmla="*/ 4069228 h 5633118"/>
                  <a:gd name="connsiteX22" fmla="*/ 1918706 w 1918706"/>
                  <a:gd name="connsiteY22" fmla="*/ 4090156 h 5633118"/>
                  <a:gd name="connsiteX23" fmla="*/ 1918706 w 1918706"/>
                  <a:gd name="connsiteY23" fmla="*/ 4097931 h 5633118"/>
                  <a:gd name="connsiteX24" fmla="*/ 1918706 w 1918706"/>
                  <a:gd name="connsiteY24" fmla="*/ 4491829 h 5633118"/>
                  <a:gd name="connsiteX25" fmla="*/ 1918706 w 1918706"/>
                  <a:gd name="connsiteY25" fmla="*/ 4579284 h 5633118"/>
                  <a:gd name="connsiteX26" fmla="*/ 1918706 w 1918706"/>
                  <a:gd name="connsiteY26" fmla="*/ 4592438 h 5633118"/>
                  <a:gd name="connsiteX27" fmla="*/ 1918706 w 1918706"/>
                  <a:gd name="connsiteY27" fmla="*/ 5073791 h 5633118"/>
                  <a:gd name="connsiteX28" fmla="*/ 959355 w 1918706"/>
                  <a:gd name="connsiteY28" fmla="*/ 5633118 h 5633118"/>
                  <a:gd name="connsiteX29" fmla="*/ 0 w 1918706"/>
                  <a:gd name="connsiteY29" fmla="*/ 5073791 h 5633118"/>
                  <a:gd name="connsiteX30" fmla="*/ 0 w 1918706"/>
                  <a:gd name="connsiteY30" fmla="*/ 4592438 h 5633118"/>
                  <a:gd name="connsiteX31" fmla="*/ 0 w 1918706"/>
                  <a:gd name="connsiteY31" fmla="*/ 4579284 h 5633118"/>
                  <a:gd name="connsiteX32" fmla="*/ 0 w 1918706"/>
                  <a:gd name="connsiteY32" fmla="*/ 4491829 h 5633118"/>
                  <a:gd name="connsiteX33" fmla="*/ 0 w 1918706"/>
                  <a:gd name="connsiteY33" fmla="*/ 4097931 h 5633118"/>
                  <a:gd name="connsiteX34" fmla="*/ 0 w 1918706"/>
                  <a:gd name="connsiteY34" fmla="*/ 4090156 h 5633118"/>
                  <a:gd name="connsiteX35" fmla="*/ 0 w 1918706"/>
                  <a:gd name="connsiteY35" fmla="*/ 4069228 h 5633118"/>
                  <a:gd name="connsiteX36" fmla="*/ 0 w 1918706"/>
                  <a:gd name="connsiteY36" fmla="*/ 4010476 h 5633118"/>
                  <a:gd name="connsiteX37" fmla="*/ 0 w 1918706"/>
                  <a:gd name="connsiteY37" fmla="*/ 3997322 h 5633118"/>
                  <a:gd name="connsiteX38" fmla="*/ 0 w 1918706"/>
                  <a:gd name="connsiteY38" fmla="*/ 3595649 h 5633118"/>
                  <a:gd name="connsiteX39" fmla="*/ 0 w 1918706"/>
                  <a:gd name="connsiteY39" fmla="*/ 3587875 h 5633118"/>
                  <a:gd name="connsiteX40" fmla="*/ 0 w 1918706"/>
                  <a:gd name="connsiteY40" fmla="*/ 3574721 h 5633118"/>
                  <a:gd name="connsiteX41" fmla="*/ 0 w 1918706"/>
                  <a:gd name="connsiteY41" fmla="*/ 3515969 h 5633118"/>
                  <a:gd name="connsiteX42" fmla="*/ 0 w 1918706"/>
                  <a:gd name="connsiteY42" fmla="*/ 3508195 h 5633118"/>
                  <a:gd name="connsiteX43" fmla="*/ 0 w 1918706"/>
                  <a:gd name="connsiteY43" fmla="*/ 3487266 h 5633118"/>
                  <a:gd name="connsiteX44" fmla="*/ 0 w 1918706"/>
                  <a:gd name="connsiteY4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67616 h 5633118"/>
                  <a:gd name="connsiteX5" fmla="*/ 1918706 w 1918706"/>
                  <a:gd name="connsiteY5" fmla="*/ 2583313 h 5633118"/>
                  <a:gd name="connsiteX6" fmla="*/ 1918706 w 1918706"/>
                  <a:gd name="connsiteY6" fmla="*/ 2591087 h 5633118"/>
                  <a:gd name="connsiteX7" fmla="*/ 1918706 w 1918706"/>
                  <a:gd name="connsiteY7" fmla="*/ 2992759 h 5633118"/>
                  <a:gd name="connsiteX8" fmla="*/ 1918706 w 1918706"/>
                  <a:gd name="connsiteY8" fmla="*/ 3005914 h 5633118"/>
                  <a:gd name="connsiteX9" fmla="*/ 1918706 w 1918706"/>
                  <a:gd name="connsiteY9" fmla="*/ 3013688 h 5633118"/>
                  <a:gd name="connsiteX10" fmla="*/ 1918706 w 1918706"/>
                  <a:gd name="connsiteY10" fmla="*/ 3085594 h 5633118"/>
                  <a:gd name="connsiteX11" fmla="*/ 1918706 w 1918706"/>
                  <a:gd name="connsiteY11" fmla="*/ 3093368 h 5633118"/>
                  <a:gd name="connsiteX12" fmla="*/ 1918706 w 1918706"/>
                  <a:gd name="connsiteY12" fmla="*/ 3487266 h 5633118"/>
                  <a:gd name="connsiteX13" fmla="*/ 1918706 w 1918706"/>
                  <a:gd name="connsiteY13" fmla="*/ 3508195 h 5633118"/>
                  <a:gd name="connsiteX14" fmla="*/ 1918706 w 1918706"/>
                  <a:gd name="connsiteY14" fmla="*/ 3515969 h 5633118"/>
                  <a:gd name="connsiteX15" fmla="*/ 1918706 w 1918706"/>
                  <a:gd name="connsiteY15" fmla="*/ 3574721 h 5633118"/>
                  <a:gd name="connsiteX16" fmla="*/ 1918706 w 1918706"/>
                  <a:gd name="connsiteY16" fmla="*/ 3587875 h 5633118"/>
                  <a:gd name="connsiteX17" fmla="*/ 1918706 w 1918706"/>
                  <a:gd name="connsiteY17" fmla="*/ 3595649 h 5633118"/>
                  <a:gd name="connsiteX18" fmla="*/ 1918706 w 1918706"/>
                  <a:gd name="connsiteY18" fmla="*/ 3997322 h 5633118"/>
                  <a:gd name="connsiteX19" fmla="*/ 1918706 w 1918706"/>
                  <a:gd name="connsiteY19" fmla="*/ 4010476 h 5633118"/>
                  <a:gd name="connsiteX20" fmla="*/ 1918706 w 1918706"/>
                  <a:gd name="connsiteY20" fmla="*/ 4069228 h 5633118"/>
                  <a:gd name="connsiteX21" fmla="*/ 1918706 w 1918706"/>
                  <a:gd name="connsiteY21" fmla="*/ 4090156 h 5633118"/>
                  <a:gd name="connsiteX22" fmla="*/ 1918706 w 1918706"/>
                  <a:gd name="connsiteY22" fmla="*/ 4097931 h 5633118"/>
                  <a:gd name="connsiteX23" fmla="*/ 1918706 w 1918706"/>
                  <a:gd name="connsiteY23" fmla="*/ 4491829 h 5633118"/>
                  <a:gd name="connsiteX24" fmla="*/ 1918706 w 1918706"/>
                  <a:gd name="connsiteY24" fmla="*/ 4579284 h 5633118"/>
                  <a:gd name="connsiteX25" fmla="*/ 1918706 w 1918706"/>
                  <a:gd name="connsiteY25" fmla="*/ 4592438 h 5633118"/>
                  <a:gd name="connsiteX26" fmla="*/ 1918706 w 1918706"/>
                  <a:gd name="connsiteY26" fmla="*/ 5073791 h 5633118"/>
                  <a:gd name="connsiteX27" fmla="*/ 959355 w 1918706"/>
                  <a:gd name="connsiteY27" fmla="*/ 5633118 h 5633118"/>
                  <a:gd name="connsiteX28" fmla="*/ 0 w 1918706"/>
                  <a:gd name="connsiteY28" fmla="*/ 5073791 h 5633118"/>
                  <a:gd name="connsiteX29" fmla="*/ 0 w 1918706"/>
                  <a:gd name="connsiteY29" fmla="*/ 4592438 h 5633118"/>
                  <a:gd name="connsiteX30" fmla="*/ 0 w 1918706"/>
                  <a:gd name="connsiteY30" fmla="*/ 4579284 h 5633118"/>
                  <a:gd name="connsiteX31" fmla="*/ 0 w 1918706"/>
                  <a:gd name="connsiteY31" fmla="*/ 4491829 h 5633118"/>
                  <a:gd name="connsiteX32" fmla="*/ 0 w 1918706"/>
                  <a:gd name="connsiteY32" fmla="*/ 4097931 h 5633118"/>
                  <a:gd name="connsiteX33" fmla="*/ 0 w 1918706"/>
                  <a:gd name="connsiteY33" fmla="*/ 4090156 h 5633118"/>
                  <a:gd name="connsiteX34" fmla="*/ 0 w 1918706"/>
                  <a:gd name="connsiteY34" fmla="*/ 4069228 h 5633118"/>
                  <a:gd name="connsiteX35" fmla="*/ 0 w 1918706"/>
                  <a:gd name="connsiteY35" fmla="*/ 4010476 h 5633118"/>
                  <a:gd name="connsiteX36" fmla="*/ 0 w 1918706"/>
                  <a:gd name="connsiteY36" fmla="*/ 3997322 h 5633118"/>
                  <a:gd name="connsiteX37" fmla="*/ 0 w 1918706"/>
                  <a:gd name="connsiteY37" fmla="*/ 3595649 h 5633118"/>
                  <a:gd name="connsiteX38" fmla="*/ 0 w 1918706"/>
                  <a:gd name="connsiteY38" fmla="*/ 3587875 h 5633118"/>
                  <a:gd name="connsiteX39" fmla="*/ 0 w 1918706"/>
                  <a:gd name="connsiteY39" fmla="*/ 3574721 h 5633118"/>
                  <a:gd name="connsiteX40" fmla="*/ 0 w 1918706"/>
                  <a:gd name="connsiteY40" fmla="*/ 3515969 h 5633118"/>
                  <a:gd name="connsiteX41" fmla="*/ 0 w 1918706"/>
                  <a:gd name="connsiteY41" fmla="*/ 3508195 h 5633118"/>
                  <a:gd name="connsiteX42" fmla="*/ 0 w 1918706"/>
                  <a:gd name="connsiteY42" fmla="*/ 3487266 h 5633118"/>
                  <a:gd name="connsiteX43" fmla="*/ 0 w 1918706"/>
                  <a:gd name="connsiteY4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591087 h 5633118"/>
                  <a:gd name="connsiteX6" fmla="*/ 1918706 w 1918706"/>
                  <a:gd name="connsiteY6" fmla="*/ 2992759 h 5633118"/>
                  <a:gd name="connsiteX7" fmla="*/ 1918706 w 1918706"/>
                  <a:gd name="connsiteY7" fmla="*/ 3005914 h 5633118"/>
                  <a:gd name="connsiteX8" fmla="*/ 1918706 w 1918706"/>
                  <a:gd name="connsiteY8" fmla="*/ 3013688 h 5633118"/>
                  <a:gd name="connsiteX9" fmla="*/ 1918706 w 1918706"/>
                  <a:gd name="connsiteY9" fmla="*/ 3085594 h 5633118"/>
                  <a:gd name="connsiteX10" fmla="*/ 1918706 w 1918706"/>
                  <a:gd name="connsiteY10" fmla="*/ 3093368 h 5633118"/>
                  <a:gd name="connsiteX11" fmla="*/ 1918706 w 1918706"/>
                  <a:gd name="connsiteY11" fmla="*/ 3487266 h 5633118"/>
                  <a:gd name="connsiteX12" fmla="*/ 1918706 w 1918706"/>
                  <a:gd name="connsiteY12" fmla="*/ 3508195 h 5633118"/>
                  <a:gd name="connsiteX13" fmla="*/ 1918706 w 1918706"/>
                  <a:gd name="connsiteY13" fmla="*/ 3515969 h 5633118"/>
                  <a:gd name="connsiteX14" fmla="*/ 1918706 w 1918706"/>
                  <a:gd name="connsiteY14" fmla="*/ 3574721 h 5633118"/>
                  <a:gd name="connsiteX15" fmla="*/ 1918706 w 1918706"/>
                  <a:gd name="connsiteY15" fmla="*/ 3587875 h 5633118"/>
                  <a:gd name="connsiteX16" fmla="*/ 1918706 w 1918706"/>
                  <a:gd name="connsiteY16" fmla="*/ 3595649 h 5633118"/>
                  <a:gd name="connsiteX17" fmla="*/ 1918706 w 1918706"/>
                  <a:gd name="connsiteY17" fmla="*/ 3997322 h 5633118"/>
                  <a:gd name="connsiteX18" fmla="*/ 1918706 w 1918706"/>
                  <a:gd name="connsiteY18" fmla="*/ 4010476 h 5633118"/>
                  <a:gd name="connsiteX19" fmla="*/ 1918706 w 1918706"/>
                  <a:gd name="connsiteY19" fmla="*/ 4069228 h 5633118"/>
                  <a:gd name="connsiteX20" fmla="*/ 1918706 w 1918706"/>
                  <a:gd name="connsiteY20" fmla="*/ 4090156 h 5633118"/>
                  <a:gd name="connsiteX21" fmla="*/ 1918706 w 1918706"/>
                  <a:gd name="connsiteY21" fmla="*/ 4097931 h 5633118"/>
                  <a:gd name="connsiteX22" fmla="*/ 1918706 w 1918706"/>
                  <a:gd name="connsiteY22" fmla="*/ 4491829 h 5633118"/>
                  <a:gd name="connsiteX23" fmla="*/ 1918706 w 1918706"/>
                  <a:gd name="connsiteY23" fmla="*/ 4579284 h 5633118"/>
                  <a:gd name="connsiteX24" fmla="*/ 1918706 w 1918706"/>
                  <a:gd name="connsiteY24" fmla="*/ 4592438 h 5633118"/>
                  <a:gd name="connsiteX25" fmla="*/ 1918706 w 1918706"/>
                  <a:gd name="connsiteY25" fmla="*/ 5073791 h 5633118"/>
                  <a:gd name="connsiteX26" fmla="*/ 959355 w 1918706"/>
                  <a:gd name="connsiteY26" fmla="*/ 5633118 h 5633118"/>
                  <a:gd name="connsiteX27" fmla="*/ 0 w 1918706"/>
                  <a:gd name="connsiteY27" fmla="*/ 5073791 h 5633118"/>
                  <a:gd name="connsiteX28" fmla="*/ 0 w 1918706"/>
                  <a:gd name="connsiteY28" fmla="*/ 4592438 h 5633118"/>
                  <a:gd name="connsiteX29" fmla="*/ 0 w 1918706"/>
                  <a:gd name="connsiteY29" fmla="*/ 4579284 h 5633118"/>
                  <a:gd name="connsiteX30" fmla="*/ 0 w 1918706"/>
                  <a:gd name="connsiteY30" fmla="*/ 4491829 h 5633118"/>
                  <a:gd name="connsiteX31" fmla="*/ 0 w 1918706"/>
                  <a:gd name="connsiteY31" fmla="*/ 4097931 h 5633118"/>
                  <a:gd name="connsiteX32" fmla="*/ 0 w 1918706"/>
                  <a:gd name="connsiteY32" fmla="*/ 4090156 h 5633118"/>
                  <a:gd name="connsiteX33" fmla="*/ 0 w 1918706"/>
                  <a:gd name="connsiteY33" fmla="*/ 4069228 h 5633118"/>
                  <a:gd name="connsiteX34" fmla="*/ 0 w 1918706"/>
                  <a:gd name="connsiteY34" fmla="*/ 4010476 h 5633118"/>
                  <a:gd name="connsiteX35" fmla="*/ 0 w 1918706"/>
                  <a:gd name="connsiteY35" fmla="*/ 3997322 h 5633118"/>
                  <a:gd name="connsiteX36" fmla="*/ 0 w 1918706"/>
                  <a:gd name="connsiteY36" fmla="*/ 3595649 h 5633118"/>
                  <a:gd name="connsiteX37" fmla="*/ 0 w 1918706"/>
                  <a:gd name="connsiteY37" fmla="*/ 3587875 h 5633118"/>
                  <a:gd name="connsiteX38" fmla="*/ 0 w 1918706"/>
                  <a:gd name="connsiteY38" fmla="*/ 3574721 h 5633118"/>
                  <a:gd name="connsiteX39" fmla="*/ 0 w 1918706"/>
                  <a:gd name="connsiteY39" fmla="*/ 3515969 h 5633118"/>
                  <a:gd name="connsiteX40" fmla="*/ 0 w 1918706"/>
                  <a:gd name="connsiteY40" fmla="*/ 3508195 h 5633118"/>
                  <a:gd name="connsiteX41" fmla="*/ 0 w 1918706"/>
                  <a:gd name="connsiteY41" fmla="*/ 3487266 h 5633118"/>
                  <a:gd name="connsiteX42" fmla="*/ 0 w 1918706"/>
                  <a:gd name="connsiteY4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992759 h 5633118"/>
                  <a:gd name="connsiteX6" fmla="*/ 1918706 w 1918706"/>
                  <a:gd name="connsiteY6" fmla="*/ 3005914 h 5633118"/>
                  <a:gd name="connsiteX7" fmla="*/ 1918706 w 1918706"/>
                  <a:gd name="connsiteY7" fmla="*/ 3013688 h 5633118"/>
                  <a:gd name="connsiteX8" fmla="*/ 1918706 w 1918706"/>
                  <a:gd name="connsiteY8" fmla="*/ 3085594 h 5633118"/>
                  <a:gd name="connsiteX9" fmla="*/ 1918706 w 1918706"/>
                  <a:gd name="connsiteY9" fmla="*/ 3093368 h 5633118"/>
                  <a:gd name="connsiteX10" fmla="*/ 1918706 w 1918706"/>
                  <a:gd name="connsiteY10" fmla="*/ 3487266 h 5633118"/>
                  <a:gd name="connsiteX11" fmla="*/ 1918706 w 1918706"/>
                  <a:gd name="connsiteY11" fmla="*/ 3508195 h 5633118"/>
                  <a:gd name="connsiteX12" fmla="*/ 1918706 w 1918706"/>
                  <a:gd name="connsiteY12" fmla="*/ 3515969 h 5633118"/>
                  <a:gd name="connsiteX13" fmla="*/ 1918706 w 1918706"/>
                  <a:gd name="connsiteY13" fmla="*/ 3574721 h 5633118"/>
                  <a:gd name="connsiteX14" fmla="*/ 1918706 w 1918706"/>
                  <a:gd name="connsiteY14" fmla="*/ 3587875 h 5633118"/>
                  <a:gd name="connsiteX15" fmla="*/ 1918706 w 1918706"/>
                  <a:gd name="connsiteY15" fmla="*/ 3595649 h 5633118"/>
                  <a:gd name="connsiteX16" fmla="*/ 1918706 w 1918706"/>
                  <a:gd name="connsiteY16" fmla="*/ 3997322 h 5633118"/>
                  <a:gd name="connsiteX17" fmla="*/ 1918706 w 1918706"/>
                  <a:gd name="connsiteY17" fmla="*/ 4010476 h 5633118"/>
                  <a:gd name="connsiteX18" fmla="*/ 1918706 w 1918706"/>
                  <a:gd name="connsiteY18" fmla="*/ 4069228 h 5633118"/>
                  <a:gd name="connsiteX19" fmla="*/ 1918706 w 1918706"/>
                  <a:gd name="connsiteY19" fmla="*/ 4090156 h 5633118"/>
                  <a:gd name="connsiteX20" fmla="*/ 1918706 w 1918706"/>
                  <a:gd name="connsiteY20" fmla="*/ 4097931 h 5633118"/>
                  <a:gd name="connsiteX21" fmla="*/ 1918706 w 1918706"/>
                  <a:gd name="connsiteY21" fmla="*/ 4491829 h 5633118"/>
                  <a:gd name="connsiteX22" fmla="*/ 1918706 w 1918706"/>
                  <a:gd name="connsiteY22" fmla="*/ 4579284 h 5633118"/>
                  <a:gd name="connsiteX23" fmla="*/ 1918706 w 1918706"/>
                  <a:gd name="connsiteY23" fmla="*/ 4592438 h 5633118"/>
                  <a:gd name="connsiteX24" fmla="*/ 1918706 w 1918706"/>
                  <a:gd name="connsiteY24" fmla="*/ 5073791 h 5633118"/>
                  <a:gd name="connsiteX25" fmla="*/ 959355 w 1918706"/>
                  <a:gd name="connsiteY25" fmla="*/ 5633118 h 5633118"/>
                  <a:gd name="connsiteX26" fmla="*/ 0 w 1918706"/>
                  <a:gd name="connsiteY26" fmla="*/ 5073791 h 5633118"/>
                  <a:gd name="connsiteX27" fmla="*/ 0 w 1918706"/>
                  <a:gd name="connsiteY27" fmla="*/ 4592438 h 5633118"/>
                  <a:gd name="connsiteX28" fmla="*/ 0 w 1918706"/>
                  <a:gd name="connsiteY28" fmla="*/ 4579284 h 5633118"/>
                  <a:gd name="connsiteX29" fmla="*/ 0 w 1918706"/>
                  <a:gd name="connsiteY29" fmla="*/ 4491829 h 5633118"/>
                  <a:gd name="connsiteX30" fmla="*/ 0 w 1918706"/>
                  <a:gd name="connsiteY30" fmla="*/ 4097931 h 5633118"/>
                  <a:gd name="connsiteX31" fmla="*/ 0 w 1918706"/>
                  <a:gd name="connsiteY31" fmla="*/ 4090156 h 5633118"/>
                  <a:gd name="connsiteX32" fmla="*/ 0 w 1918706"/>
                  <a:gd name="connsiteY32" fmla="*/ 4069228 h 5633118"/>
                  <a:gd name="connsiteX33" fmla="*/ 0 w 1918706"/>
                  <a:gd name="connsiteY33" fmla="*/ 4010476 h 5633118"/>
                  <a:gd name="connsiteX34" fmla="*/ 0 w 1918706"/>
                  <a:gd name="connsiteY34" fmla="*/ 3997322 h 5633118"/>
                  <a:gd name="connsiteX35" fmla="*/ 0 w 1918706"/>
                  <a:gd name="connsiteY35" fmla="*/ 3595649 h 5633118"/>
                  <a:gd name="connsiteX36" fmla="*/ 0 w 1918706"/>
                  <a:gd name="connsiteY36" fmla="*/ 3587875 h 5633118"/>
                  <a:gd name="connsiteX37" fmla="*/ 0 w 1918706"/>
                  <a:gd name="connsiteY37" fmla="*/ 3574721 h 5633118"/>
                  <a:gd name="connsiteX38" fmla="*/ 0 w 1918706"/>
                  <a:gd name="connsiteY38" fmla="*/ 3515969 h 5633118"/>
                  <a:gd name="connsiteX39" fmla="*/ 0 w 1918706"/>
                  <a:gd name="connsiteY39" fmla="*/ 3508195 h 5633118"/>
                  <a:gd name="connsiteX40" fmla="*/ 0 w 1918706"/>
                  <a:gd name="connsiteY40" fmla="*/ 3487266 h 5633118"/>
                  <a:gd name="connsiteX41" fmla="*/ 0 w 1918706"/>
                  <a:gd name="connsiteY4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992759 h 5633118"/>
                  <a:gd name="connsiteX5" fmla="*/ 1918706 w 1918706"/>
                  <a:gd name="connsiteY5" fmla="*/ 3005914 h 5633118"/>
                  <a:gd name="connsiteX6" fmla="*/ 1918706 w 1918706"/>
                  <a:gd name="connsiteY6" fmla="*/ 3013688 h 5633118"/>
                  <a:gd name="connsiteX7" fmla="*/ 1918706 w 1918706"/>
                  <a:gd name="connsiteY7" fmla="*/ 3085594 h 5633118"/>
                  <a:gd name="connsiteX8" fmla="*/ 1918706 w 1918706"/>
                  <a:gd name="connsiteY8" fmla="*/ 3093368 h 5633118"/>
                  <a:gd name="connsiteX9" fmla="*/ 1918706 w 1918706"/>
                  <a:gd name="connsiteY9" fmla="*/ 3487266 h 5633118"/>
                  <a:gd name="connsiteX10" fmla="*/ 1918706 w 1918706"/>
                  <a:gd name="connsiteY10" fmla="*/ 3508195 h 5633118"/>
                  <a:gd name="connsiteX11" fmla="*/ 1918706 w 1918706"/>
                  <a:gd name="connsiteY11" fmla="*/ 3515969 h 5633118"/>
                  <a:gd name="connsiteX12" fmla="*/ 1918706 w 1918706"/>
                  <a:gd name="connsiteY12" fmla="*/ 3574721 h 5633118"/>
                  <a:gd name="connsiteX13" fmla="*/ 1918706 w 1918706"/>
                  <a:gd name="connsiteY13" fmla="*/ 3587875 h 5633118"/>
                  <a:gd name="connsiteX14" fmla="*/ 1918706 w 1918706"/>
                  <a:gd name="connsiteY14" fmla="*/ 3595649 h 5633118"/>
                  <a:gd name="connsiteX15" fmla="*/ 1918706 w 1918706"/>
                  <a:gd name="connsiteY15" fmla="*/ 3997322 h 5633118"/>
                  <a:gd name="connsiteX16" fmla="*/ 1918706 w 1918706"/>
                  <a:gd name="connsiteY16" fmla="*/ 4010476 h 5633118"/>
                  <a:gd name="connsiteX17" fmla="*/ 1918706 w 1918706"/>
                  <a:gd name="connsiteY17" fmla="*/ 4069228 h 5633118"/>
                  <a:gd name="connsiteX18" fmla="*/ 1918706 w 1918706"/>
                  <a:gd name="connsiteY18" fmla="*/ 4090156 h 5633118"/>
                  <a:gd name="connsiteX19" fmla="*/ 1918706 w 1918706"/>
                  <a:gd name="connsiteY19" fmla="*/ 4097931 h 5633118"/>
                  <a:gd name="connsiteX20" fmla="*/ 1918706 w 1918706"/>
                  <a:gd name="connsiteY20" fmla="*/ 4491829 h 5633118"/>
                  <a:gd name="connsiteX21" fmla="*/ 1918706 w 1918706"/>
                  <a:gd name="connsiteY21" fmla="*/ 4579284 h 5633118"/>
                  <a:gd name="connsiteX22" fmla="*/ 1918706 w 1918706"/>
                  <a:gd name="connsiteY22" fmla="*/ 4592438 h 5633118"/>
                  <a:gd name="connsiteX23" fmla="*/ 1918706 w 1918706"/>
                  <a:gd name="connsiteY23" fmla="*/ 5073791 h 5633118"/>
                  <a:gd name="connsiteX24" fmla="*/ 959355 w 1918706"/>
                  <a:gd name="connsiteY24" fmla="*/ 5633118 h 5633118"/>
                  <a:gd name="connsiteX25" fmla="*/ 0 w 1918706"/>
                  <a:gd name="connsiteY25" fmla="*/ 5073791 h 5633118"/>
                  <a:gd name="connsiteX26" fmla="*/ 0 w 1918706"/>
                  <a:gd name="connsiteY26" fmla="*/ 4592438 h 5633118"/>
                  <a:gd name="connsiteX27" fmla="*/ 0 w 1918706"/>
                  <a:gd name="connsiteY27" fmla="*/ 4579284 h 5633118"/>
                  <a:gd name="connsiteX28" fmla="*/ 0 w 1918706"/>
                  <a:gd name="connsiteY28" fmla="*/ 4491829 h 5633118"/>
                  <a:gd name="connsiteX29" fmla="*/ 0 w 1918706"/>
                  <a:gd name="connsiteY29" fmla="*/ 4097931 h 5633118"/>
                  <a:gd name="connsiteX30" fmla="*/ 0 w 1918706"/>
                  <a:gd name="connsiteY30" fmla="*/ 4090156 h 5633118"/>
                  <a:gd name="connsiteX31" fmla="*/ 0 w 1918706"/>
                  <a:gd name="connsiteY31" fmla="*/ 4069228 h 5633118"/>
                  <a:gd name="connsiteX32" fmla="*/ 0 w 1918706"/>
                  <a:gd name="connsiteY32" fmla="*/ 4010476 h 5633118"/>
                  <a:gd name="connsiteX33" fmla="*/ 0 w 1918706"/>
                  <a:gd name="connsiteY33" fmla="*/ 3997322 h 5633118"/>
                  <a:gd name="connsiteX34" fmla="*/ 0 w 1918706"/>
                  <a:gd name="connsiteY34" fmla="*/ 3595649 h 5633118"/>
                  <a:gd name="connsiteX35" fmla="*/ 0 w 1918706"/>
                  <a:gd name="connsiteY35" fmla="*/ 3587875 h 5633118"/>
                  <a:gd name="connsiteX36" fmla="*/ 0 w 1918706"/>
                  <a:gd name="connsiteY36" fmla="*/ 3574721 h 5633118"/>
                  <a:gd name="connsiteX37" fmla="*/ 0 w 1918706"/>
                  <a:gd name="connsiteY37" fmla="*/ 3515969 h 5633118"/>
                  <a:gd name="connsiteX38" fmla="*/ 0 w 1918706"/>
                  <a:gd name="connsiteY38" fmla="*/ 3508195 h 5633118"/>
                  <a:gd name="connsiteX39" fmla="*/ 0 w 1918706"/>
                  <a:gd name="connsiteY39" fmla="*/ 3487266 h 5633118"/>
                  <a:gd name="connsiteX40" fmla="*/ 0 w 1918706"/>
                  <a:gd name="connsiteY4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13688 h 5633118"/>
                  <a:gd name="connsiteX6" fmla="*/ 1918706 w 1918706"/>
                  <a:gd name="connsiteY6" fmla="*/ 3085594 h 5633118"/>
                  <a:gd name="connsiteX7" fmla="*/ 1918706 w 1918706"/>
                  <a:gd name="connsiteY7" fmla="*/ 3093368 h 5633118"/>
                  <a:gd name="connsiteX8" fmla="*/ 1918706 w 1918706"/>
                  <a:gd name="connsiteY8" fmla="*/ 3487266 h 5633118"/>
                  <a:gd name="connsiteX9" fmla="*/ 1918706 w 1918706"/>
                  <a:gd name="connsiteY9" fmla="*/ 3508195 h 5633118"/>
                  <a:gd name="connsiteX10" fmla="*/ 1918706 w 1918706"/>
                  <a:gd name="connsiteY10" fmla="*/ 3515969 h 5633118"/>
                  <a:gd name="connsiteX11" fmla="*/ 1918706 w 1918706"/>
                  <a:gd name="connsiteY11" fmla="*/ 3574721 h 5633118"/>
                  <a:gd name="connsiteX12" fmla="*/ 1918706 w 1918706"/>
                  <a:gd name="connsiteY12" fmla="*/ 3587875 h 5633118"/>
                  <a:gd name="connsiteX13" fmla="*/ 1918706 w 1918706"/>
                  <a:gd name="connsiteY13" fmla="*/ 3595649 h 5633118"/>
                  <a:gd name="connsiteX14" fmla="*/ 1918706 w 1918706"/>
                  <a:gd name="connsiteY14" fmla="*/ 3997322 h 5633118"/>
                  <a:gd name="connsiteX15" fmla="*/ 1918706 w 1918706"/>
                  <a:gd name="connsiteY15" fmla="*/ 4010476 h 5633118"/>
                  <a:gd name="connsiteX16" fmla="*/ 1918706 w 1918706"/>
                  <a:gd name="connsiteY16" fmla="*/ 4069228 h 5633118"/>
                  <a:gd name="connsiteX17" fmla="*/ 1918706 w 1918706"/>
                  <a:gd name="connsiteY17" fmla="*/ 4090156 h 5633118"/>
                  <a:gd name="connsiteX18" fmla="*/ 1918706 w 1918706"/>
                  <a:gd name="connsiteY18" fmla="*/ 4097931 h 5633118"/>
                  <a:gd name="connsiteX19" fmla="*/ 1918706 w 1918706"/>
                  <a:gd name="connsiteY19" fmla="*/ 4491829 h 5633118"/>
                  <a:gd name="connsiteX20" fmla="*/ 1918706 w 1918706"/>
                  <a:gd name="connsiteY20" fmla="*/ 4579284 h 5633118"/>
                  <a:gd name="connsiteX21" fmla="*/ 1918706 w 1918706"/>
                  <a:gd name="connsiteY21" fmla="*/ 4592438 h 5633118"/>
                  <a:gd name="connsiteX22" fmla="*/ 1918706 w 1918706"/>
                  <a:gd name="connsiteY22" fmla="*/ 5073791 h 5633118"/>
                  <a:gd name="connsiteX23" fmla="*/ 959355 w 1918706"/>
                  <a:gd name="connsiteY23" fmla="*/ 5633118 h 5633118"/>
                  <a:gd name="connsiteX24" fmla="*/ 0 w 1918706"/>
                  <a:gd name="connsiteY24" fmla="*/ 5073791 h 5633118"/>
                  <a:gd name="connsiteX25" fmla="*/ 0 w 1918706"/>
                  <a:gd name="connsiteY25" fmla="*/ 4592438 h 5633118"/>
                  <a:gd name="connsiteX26" fmla="*/ 0 w 1918706"/>
                  <a:gd name="connsiteY26" fmla="*/ 4579284 h 5633118"/>
                  <a:gd name="connsiteX27" fmla="*/ 0 w 1918706"/>
                  <a:gd name="connsiteY27" fmla="*/ 4491829 h 5633118"/>
                  <a:gd name="connsiteX28" fmla="*/ 0 w 1918706"/>
                  <a:gd name="connsiteY28" fmla="*/ 4097931 h 5633118"/>
                  <a:gd name="connsiteX29" fmla="*/ 0 w 1918706"/>
                  <a:gd name="connsiteY29" fmla="*/ 4090156 h 5633118"/>
                  <a:gd name="connsiteX30" fmla="*/ 0 w 1918706"/>
                  <a:gd name="connsiteY30" fmla="*/ 4069228 h 5633118"/>
                  <a:gd name="connsiteX31" fmla="*/ 0 w 1918706"/>
                  <a:gd name="connsiteY31" fmla="*/ 4010476 h 5633118"/>
                  <a:gd name="connsiteX32" fmla="*/ 0 w 1918706"/>
                  <a:gd name="connsiteY32" fmla="*/ 3997322 h 5633118"/>
                  <a:gd name="connsiteX33" fmla="*/ 0 w 1918706"/>
                  <a:gd name="connsiteY33" fmla="*/ 3595649 h 5633118"/>
                  <a:gd name="connsiteX34" fmla="*/ 0 w 1918706"/>
                  <a:gd name="connsiteY34" fmla="*/ 3587875 h 5633118"/>
                  <a:gd name="connsiteX35" fmla="*/ 0 w 1918706"/>
                  <a:gd name="connsiteY35" fmla="*/ 3574721 h 5633118"/>
                  <a:gd name="connsiteX36" fmla="*/ 0 w 1918706"/>
                  <a:gd name="connsiteY36" fmla="*/ 3515969 h 5633118"/>
                  <a:gd name="connsiteX37" fmla="*/ 0 w 1918706"/>
                  <a:gd name="connsiteY37" fmla="*/ 3508195 h 5633118"/>
                  <a:gd name="connsiteX38" fmla="*/ 0 w 1918706"/>
                  <a:gd name="connsiteY38" fmla="*/ 3487266 h 5633118"/>
                  <a:gd name="connsiteX39" fmla="*/ 0 w 1918706"/>
                  <a:gd name="connsiteY3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85594 h 5633118"/>
                  <a:gd name="connsiteX6" fmla="*/ 1918706 w 1918706"/>
                  <a:gd name="connsiteY6" fmla="*/ 3093368 h 5633118"/>
                  <a:gd name="connsiteX7" fmla="*/ 1918706 w 1918706"/>
                  <a:gd name="connsiteY7" fmla="*/ 3487266 h 5633118"/>
                  <a:gd name="connsiteX8" fmla="*/ 1918706 w 1918706"/>
                  <a:gd name="connsiteY8" fmla="*/ 3508195 h 5633118"/>
                  <a:gd name="connsiteX9" fmla="*/ 1918706 w 1918706"/>
                  <a:gd name="connsiteY9" fmla="*/ 3515969 h 5633118"/>
                  <a:gd name="connsiteX10" fmla="*/ 1918706 w 1918706"/>
                  <a:gd name="connsiteY10" fmla="*/ 3574721 h 5633118"/>
                  <a:gd name="connsiteX11" fmla="*/ 1918706 w 1918706"/>
                  <a:gd name="connsiteY11" fmla="*/ 3587875 h 5633118"/>
                  <a:gd name="connsiteX12" fmla="*/ 1918706 w 1918706"/>
                  <a:gd name="connsiteY12" fmla="*/ 3595649 h 5633118"/>
                  <a:gd name="connsiteX13" fmla="*/ 1918706 w 1918706"/>
                  <a:gd name="connsiteY13" fmla="*/ 3997322 h 5633118"/>
                  <a:gd name="connsiteX14" fmla="*/ 1918706 w 1918706"/>
                  <a:gd name="connsiteY14" fmla="*/ 4010476 h 5633118"/>
                  <a:gd name="connsiteX15" fmla="*/ 1918706 w 1918706"/>
                  <a:gd name="connsiteY15" fmla="*/ 4069228 h 5633118"/>
                  <a:gd name="connsiteX16" fmla="*/ 1918706 w 1918706"/>
                  <a:gd name="connsiteY16" fmla="*/ 4090156 h 5633118"/>
                  <a:gd name="connsiteX17" fmla="*/ 1918706 w 1918706"/>
                  <a:gd name="connsiteY17" fmla="*/ 4097931 h 5633118"/>
                  <a:gd name="connsiteX18" fmla="*/ 1918706 w 1918706"/>
                  <a:gd name="connsiteY18" fmla="*/ 4491829 h 5633118"/>
                  <a:gd name="connsiteX19" fmla="*/ 1918706 w 1918706"/>
                  <a:gd name="connsiteY19" fmla="*/ 4579284 h 5633118"/>
                  <a:gd name="connsiteX20" fmla="*/ 1918706 w 1918706"/>
                  <a:gd name="connsiteY20" fmla="*/ 4592438 h 5633118"/>
                  <a:gd name="connsiteX21" fmla="*/ 1918706 w 1918706"/>
                  <a:gd name="connsiteY21" fmla="*/ 5073791 h 5633118"/>
                  <a:gd name="connsiteX22" fmla="*/ 959355 w 1918706"/>
                  <a:gd name="connsiteY22" fmla="*/ 5633118 h 5633118"/>
                  <a:gd name="connsiteX23" fmla="*/ 0 w 1918706"/>
                  <a:gd name="connsiteY23" fmla="*/ 5073791 h 5633118"/>
                  <a:gd name="connsiteX24" fmla="*/ 0 w 1918706"/>
                  <a:gd name="connsiteY24" fmla="*/ 4592438 h 5633118"/>
                  <a:gd name="connsiteX25" fmla="*/ 0 w 1918706"/>
                  <a:gd name="connsiteY25" fmla="*/ 4579284 h 5633118"/>
                  <a:gd name="connsiteX26" fmla="*/ 0 w 1918706"/>
                  <a:gd name="connsiteY26" fmla="*/ 4491829 h 5633118"/>
                  <a:gd name="connsiteX27" fmla="*/ 0 w 1918706"/>
                  <a:gd name="connsiteY27" fmla="*/ 4097931 h 5633118"/>
                  <a:gd name="connsiteX28" fmla="*/ 0 w 1918706"/>
                  <a:gd name="connsiteY28" fmla="*/ 4090156 h 5633118"/>
                  <a:gd name="connsiteX29" fmla="*/ 0 w 1918706"/>
                  <a:gd name="connsiteY29" fmla="*/ 4069228 h 5633118"/>
                  <a:gd name="connsiteX30" fmla="*/ 0 w 1918706"/>
                  <a:gd name="connsiteY30" fmla="*/ 4010476 h 5633118"/>
                  <a:gd name="connsiteX31" fmla="*/ 0 w 1918706"/>
                  <a:gd name="connsiteY31" fmla="*/ 3997322 h 5633118"/>
                  <a:gd name="connsiteX32" fmla="*/ 0 w 1918706"/>
                  <a:gd name="connsiteY32" fmla="*/ 3595649 h 5633118"/>
                  <a:gd name="connsiteX33" fmla="*/ 0 w 1918706"/>
                  <a:gd name="connsiteY33" fmla="*/ 3587875 h 5633118"/>
                  <a:gd name="connsiteX34" fmla="*/ 0 w 1918706"/>
                  <a:gd name="connsiteY34" fmla="*/ 3574721 h 5633118"/>
                  <a:gd name="connsiteX35" fmla="*/ 0 w 1918706"/>
                  <a:gd name="connsiteY35" fmla="*/ 3515969 h 5633118"/>
                  <a:gd name="connsiteX36" fmla="*/ 0 w 1918706"/>
                  <a:gd name="connsiteY36" fmla="*/ 3508195 h 5633118"/>
                  <a:gd name="connsiteX37" fmla="*/ 0 w 1918706"/>
                  <a:gd name="connsiteY37" fmla="*/ 3487266 h 5633118"/>
                  <a:gd name="connsiteX38" fmla="*/ 0 w 1918706"/>
                  <a:gd name="connsiteY3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85594 h 5633118"/>
                  <a:gd name="connsiteX5" fmla="*/ 1918706 w 1918706"/>
                  <a:gd name="connsiteY5" fmla="*/ 3093368 h 5633118"/>
                  <a:gd name="connsiteX6" fmla="*/ 1918706 w 1918706"/>
                  <a:gd name="connsiteY6" fmla="*/ 3487266 h 5633118"/>
                  <a:gd name="connsiteX7" fmla="*/ 1918706 w 1918706"/>
                  <a:gd name="connsiteY7" fmla="*/ 3508195 h 5633118"/>
                  <a:gd name="connsiteX8" fmla="*/ 1918706 w 1918706"/>
                  <a:gd name="connsiteY8" fmla="*/ 3515969 h 5633118"/>
                  <a:gd name="connsiteX9" fmla="*/ 1918706 w 1918706"/>
                  <a:gd name="connsiteY9" fmla="*/ 3574721 h 5633118"/>
                  <a:gd name="connsiteX10" fmla="*/ 1918706 w 1918706"/>
                  <a:gd name="connsiteY10" fmla="*/ 3587875 h 5633118"/>
                  <a:gd name="connsiteX11" fmla="*/ 1918706 w 1918706"/>
                  <a:gd name="connsiteY11" fmla="*/ 3595649 h 5633118"/>
                  <a:gd name="connsiteX12" fmla="*/ 1918706 w 1918706"/>
                  <a:gd name="connsiteY12" fmla="*/ 3997322 h 5633118"/>
                  <a:gd name="connsiteX13" fmla="*/ 1918706 w 1918706"/>
                  <a:gd name="connsiteY13" fmla="*/ 4010476 h 5633118"/>
                  <a:gd name="connsiteX14" fmla="*/ 1918706 w 1918706"/>
                  <a:gd name="connsiteY14" fmla="*/ 4069228 h 5633118"/>
                  <a:gd name="connsiteX15" fmla="*/ 1918706 w 1918706"/>
                  <a:gd name="connsiteY15" fmla="*/ 4090156 h 5633118"/>
                  <a:gd name="connsiteX16" fmla="*/ 1918706 w 1918706"/>
                  <a:gd name="connsiteY16" fmla="*/ 4097931 h 5633118"/>
                  <a:gd name="connsiteX17" fmla="*/ 1918706 w 1918706"/>
                  <a:gd name="connsiteY17" fmla="*/ 4491829 h 5633118"/>
                  <a:gd name="connsiteX18" fmla="*/ 1918706 w 1918706"/>
                  <a:gd name="connsiteY18" fmla="*/ 4579284 h 5633118"/>
                  <a:gd name="connsiteX19" fmla="*/ 1918706 w 1918706"/>
                  <a:gd name="connsiteY19" fmla="*/ 4592438 h 5633118"/>
                  <a:gd name="connsiteX20" fmla="*/ 1918706 w 1918706"/>
                  <a:gd name="connsiteY20" fmla="*/ 5073791 h 5633118"/>
                  <a:gd name="connsiteX21" fmla="*/ 959355 w 1918706"/>
                  <a:gd name="connsiteY21" fmla="*/ 5633118 h 5633118"/>
                  <a:gd name="connsiteX22" fmla="*/ 0 w 1918706"/>
                  <a:gd name="connsiteY22" fmla="*/ 5073791 h 5633118"/>
                  <a:gd name="connsiteX23" fmla="*/ 0 w 1918706"/>
                  <a:gd name="connsiteY23" fmla="*/ 4592438 h 5633118"/>
                  <a:gd name="connsiteX24" fmla="*/ 0 w 1918706"/>
                  <a:gd name="connsiteY24" fmla="*/ 4579284 h 5633118"/>
                  <a:gd name="connsiteX25" fmla="*/ 0 w 1918706"/>
                  <a:gd name="connsiteY25" fmla="*/ 4491829 h 5633118"/>
                  <a:gd name="connsiteX26" fmla="*/ 0 w 1918706"/>
                  <a:gd name="connsiteY26" fmla="*/ 4097931 h 5633118"/>
                  <a:gd name="connsiteX27" fmla="*/ 0 w 1918706"/>
                  <a:gd name="connsiteY27" fmla="*/ 4090156 h 5633118"/>
                  <a:gd name="connsiteX28" fmla="*/ 0 w 1918706"/>
                  <a:gd name="connsiteY28" fmla="*/ 4069228 h 5633118"/>
                  <a:gd name="connsiteX29" fmla="*/ 0 w 1918706"/>
                  <a:gd name="connsiteY29" fmla="*/ 4010476 h 5633118"/>
                  <a:gd name="connsiteX30" fmla="*/ 0 w 1918706"/>
                  <a:gd name="connsiteY30" fmla="*/ 3997322 h 5633118"/>
                  <a:gd name="connsiteX31" fmla="*/ 0 w 1918706"/>
                  <a:gd name="connsiteY31" fmla="*/ 3595649 h 5633118"/>
                  <a:gd name="connsiteX32" fmla="*/ 0 w 1918706"/>
                  <a:gd name="connsiteY32" fmla="*/ 3587875 h 5633118"/>
                  <a:gd name="connsiteX33" fmla="*/ 0 w 1918706"/>
                  <a:gd name="connsiteY33" fmla="*/ 3574721 h 5633118"/>
                  <a:gd name="connsiteX34" fmla="*/ 0 w 1918706"/>
                  <a:gd name="connsiteY34" fmla="*/ 3515969 h 5633118"/>
                  <a:gd name="connsiteX35" fmla="*/ 0 w 1918706"/>
                  <a:gd name="connsiteY35" fmla="*/ 3508195 h 5633118"/>
                  <a:gd name="connsiteX36" fmla="*/ 0 w 1918706"/>
                  <a:gd name="connsiteY36" fmla="*/ 3487266 h 5633118"/>
                  <a:gd name="connsiteX37" fmla="*/ 0 w 1918706"/>
                  <a:gd name="connsiteY3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093368 h 5633118"/>
                  <a:gd name="connsiteX5" fmla="*/ 1918706 w 1918706"/>
                  <a:gd name="connsiteY5" fmla="*/ 3487266 h 5633118"/>
                  <a:gd name="connsiteX6" fmla="*/ 1918706 w 1918706"/>
                  <a:gd name="connsiteY6" fmla="*/ 3508195 h 5633118"/>
                  <a:gd name="connsiteX7" fmla="*/ 1918706 w 1918706"/>
                  <a:gd name="connsiteY7" fmla="*/ 3515969 h 5633118"/>
                  <a:gd name="connsiteX8" fmla="*/ 1918706 w 1918706"/>
                  <a:gd name="connsiteY8" fmla="*/ 3574721 h 5633118"/>
                  <a:gd name="connsiteX9" fmla="*/ 1918706 w 1918706"/>
                  <a:gd name="connsiteY9" fmla="*/ 3587875 h 5633118"/>
                  <a:gd name="connsiteX10" fmla="*/ 1918706 w 1918706"/>
                  <a:gd name="connsiteY10" fmla="*/ 3595649 h 5633118"/>
                  <a:gd name="connsiteX11" fmla="*/ 1918706 w 1918706"/>
                  <a:gd name="connsiteY11" fmla="*/ 3997322 h 5633118"/>
                  <a:gd name="connsiteX12" fmla="*/ 1918706 w 1918706"/>
                  <a:gd name="connsiteY12" fmla="*/ 4010476 h 5633118"/>
                  <a:gd name="connsiteX13" fmla="*/ 1918706 w 1918706"/>
                  <a:gd name="connsiteY13" fmla="*/ 4069228 h 5633118"/>
                  <a:gd name="connsiteX14" fmla="*/ 1918706 w 1918706"/>
                  <a:gd name="connsiteY14" fmla="*/ 4090156 h 5633118"/>
                  <a:gd name="connsiteX15" fmla="*/ 1918706 w 1918706"/>
                  <a:gd name="connsiteY15" fmla="*/ 4097931 h 5633118"/>
                  <a:gd name="connsiteX16" fmla="*/ 1918706 w 1918706"/>
                  <a:gd name="connsiteY16" fmla="*/ 4491829 h 5633118"/>
                  <a:gd name="connsiteX17" fmla="*/ 1918706 w 1918706"/>
                  <a:gd name="connsiteY17" fmla="*/ 4579284 h 5633118"/>
                  <a:gd name="connsiteX18" fmla="*/ 1918706 w 1918706"/>
                  <a:gd name="connsiteY18" fmla="*/ 4592438 h 5633118"/>
                  <a:gd name="connsiteX19" fmla="*/ 1918706 w 1918706"/>
                  <a:gd name="connsiteY19" fmla="*/ 5073791 h 5633118"/>
                  <a:gd name="connsiteX20" fmla="*/ 959355 w 1918706"/>
                  <a:gd name="connsiteY20" fmla="*/ 5633118 h 5633118"/>
                  <a:gd name="connsiteX21" fmla="*/ 0 w 1918706"/>
                  <a:gd name="connsiteY21" fmla="*/ 5073791 h 5633118"/>
                  <a:gd name="connsiteX22" fmla="*/ 0 w 1918706"/>
                  <a:gd name="connsiteY22" fmla="*/ 4592438 h 5633118"/>
                  <a:gd name="connsiteX23" fmla="*/ 0 w 1918706"/>
                  <a:gd name="connsiteY23" fmla="*/ 4579284 h 5633118"/>
                  <a:gd name="connsiteX24" fmla="*/ 0 w 1918706"/>
                  <a:gd name="connsiteY24" fmla="*/ 4491829 h 5633118"/>
                  <a:gd name="connsiteX25" fmla="*/ 0 w 1918706"/>
                  <a:gd name="connsiteY25" fmla="*/ 4097931 h 5633118"/>
                  <a:gd name="connsiteX26" fmla="*/ 0 w 1918706"/>
                  <a:gd name="connsiteY26" fmla="*/ 4090156 h 5633118"/>
                  <a:gd name="connsiteX27" fmla="*/ 0 w 1918706"/>
                  <a:gd name="connsiteY27" fmla="*/ 4069228 h 5633118"/>
                  <a:gd name="connsiteX28" fmla="*/ 0 w 1918706"/>
                  <a:gd name="connsiteY28" fmla="*/ 4010476 h 5633118"/>
                  <a:gd name="connsiteX29" fmla="*/ 0 w 1918706"/>
                  <a:gd name="connsiteY29" fmla="*/ 3997322 h 5633118"/>
                  <a:gd name="connsiteX30" fmla="*/ 0 w 1918706"/>
                  <a:gd name="connsiteY30" fmla="*/ 3595649 h 5633118"/>
                  <a:gd name="connsiteX31" fmla="*/ 0 w 1918706"/>
                  <a:gd name="connsiteY31" fmla="*/ 3587875 h 5633118"/>
                  <a:gd name="connsiteX32" fmla="*/ 0 w 1918706"/>
                  <a:gd name="connsiteY32" fmla="*/ 3574721 h 5633118"/>
                  <a:gd name="connsiteX33" fmla="*/ 0 w 1918706"/>
                  <a:gd name="connsiteY33" fmla="*/ 3515969 h 5633118"/>
                  <a:gd name="connsiteX34" fmla="*/ 0 w 1918706"/>
                  <a:gd name="connsiteY34" fmla="*/ 3508195 h 5633118"/>
                  <a:gd name="connsiteX35" fmla="*/ 0 w 1918706"/>
                  <a:gd name="connsiteY35" fmla="*/ 3487266 h 5633118"/>
                  <a:gd name="connsiteX36" fmla="*/ 0 w 1918706"/>
                  <a:gd name="connsiteY3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487266 h 5633118"/>
                  <a:gd name="connsiteX5" fmla="*/ 1918706 w 1918706"/>
                  <a:gd name="connsiteY5" fmla="*/ 3508195 h 5633118"/>
                  <a:gd name="connsiteX6" fmla="*/ 1918706 w 1918706"/>
                  <a:gd name="connsiteY6" fmla="*/ 3515969 h 5633118"/>
                  <a:gd name="connsiteX7" fmla="*/ 1918706 w 1918706"/>
                  <a:gd name="connsiteY7" fmla="*/ 3574721 h 5633118"/>
                  <a:gd name="connsiteX8" fmla="*/ 1918706 w 1918706"/>
                  <a:gd name="connsiteY8" fmla="*/ 3587875 h 5633118"/>
                  <a:gd name="connsiteX9" fmla="*/ 1918706 w 1918706"/>
                  <a:gd name="connsiteY9" fmla="*/ 3595649 h 5633118"/>
                  <a:gd name="connsiteX10" fmla="*/ 1918706 w 1918706"/>
                  <a:gd name="connsiteY10" fmla="*/ 3997322 h 5633118"/>
                  <a:gd name="connsiteX11" fmla="*/ 1918706 w 1918706"/>
                  <a:gd name="connsiteY11" fmla="*/ 4010476 h 5633118"/>
                  <a:gd name="connsiteX12" fmla="*/ 1918706 w 1918706"/>
                  <a:gd name="connsiteY12" fmla="*/ 4069228 h 5633118"/>
                  <a:gd name="connsiteX13" fmla="*/ 1918706 w 1918706"/>
                  <a:gd name="connsiteY13" fmla="*/ 4090156 h 5633118"/>
                  <a:gd name="connsiteX14" fmla="*/ 1918706 w 1918706"/>
                  <a:gd name="connsiteY14" fmla="*/ 4097931 h 5633118"/>
                  <a:gd name="connsiteX15" fmla="*/ 1918706 w 1918706"/>
                  <a:gd name="connsiteY15" fmla="*/ 4491829 h 5633118"/>
                  <a:gd name="connsiteX16" fmla="*/ 1918706 w 1918706"/>
                  <a:gd name="connsiteY16" fmla="*/ 4579284 h 5633118"/>
                  <a:gd name="connsiteX17" fmla="*/ 1918706 w 1918706"/>
                  <a:gd name="connsiteY17" fmla="*/ 4592438 h 5633118"/>
                  <a:gd name="connsiteX18" fmla="*/ 1918706 w 1918706"/>
                  <a:gd name="connsiteY18" fmla="*/ 5073791 h 5633118"/>
                  <a:gd name="connsiteX19" fmla="*/ 959355 w 1918706"/>
                  <a:gd name="connsiteY19" fmla="*/ 5633118 h 5633118"/>
                  <a:gd name="connsiteX20" fmla="*/ 0 w 1918706"/>
                  <a:gd name="connsiteY20" fmla="*/ 5073791 h 5633118"/>
                  <a:gd name="connsiteX21" fmla="*/ 0 w 1918706"/>
                  <a:gd name="connsiteY21" fmla="*/ 4592438 h 5633118"/>
                  <a:gd name="connsiteX22" fmla="*/ 0 w 1918706"/>
                  <a:gd name="connsiteY22" fmla="*/ 4579284 h 5633118"/>
                  <a:gd name="connsiteX23" fmla="*/ 0 w 1918706"/>
                  <a:gd name="connsiteY23" fmla="*/ 4491829 h 5633118"/>
                  <a:gd name="connsiteX24" fmla="*/ 0 w 1918706"/>
                  <a:gd name="connsiteY24" fmla="*/ 4097931 h 5633118"/>
                  <a:gd name="connsiteX25" fmla="*/ 0 w 1918706"/>
                  <a:gd name="connsiteY25" fmla="*/ 4090156 h 5633118"/>
                  <a:gd name="connsiteX26" fmla="*/ 0 w 1918706"/>
                  <a:gd name="connsiteY26" fmla="*/ 4069228 h 5633118"/>
                  <a:gd name="connsiteX27" fmla="*/ 0 w 1918706"/>
                  <a:gd name="connsiteY27" fmla="*/ 4010476 h 5633118"/>
                  <a:gd name="connsiteX28" fmla="*/ 0 w 1918706"/>
                  <a:gd name="connsiteY28" fmla="*/ 3997322 h 5633118"/>
                  <a:gd name="connsiteX29" fmla="*/ 0 w 1918706"/>
                  <a:gd name="connsiteY29" fmla="*/ 3595649 h 5633118"/>
                  <a:gd name="connsiteX30" fmla="*/ 0 w 1918706"/>
                  <a:gd name="connsiteY30" fmla="*/ 3587875 h 5633118"/>
                  <a:gd name="connsiteX31" fmla="*/ 0 w 1918706"/>
                  <a:gd name="connsiteY31" fmla="*/ 3574721 h 5633118"/>
                  <a:gd name="connsiteX32" fmla="*/ 0 w 1918706"/>
                  <a:gd name="connsiteY32" fmla="*/ 3515969 h 5633118"/>
                  <a:gd name="connsiteX33" fmla="*/ 0 w 1918706"/>
                  <a:gd name="connsiteY33" fmla="*/ 3508195 h 5633118"/>
                  <a:gd name="connsiteX34" fmla="*/ 0 w 1918706"/>
                  <a:gd name="connsiteY34" fmla="*/ 3487266 h 5633118"/>
                  <a:gd name="connsiteX35" fmla="*/ 0 w 1918706"/>
                  <a:gd name="connsiteY3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74721 h 5633118"/>
                  <a:gd name="connsiteX7" fmla="*/ 1918706 w 1918706"/>
                  <a:gd name="connsiteY7" fmla="*/ 3587875 h 5633118"/>
                  <a:gd name="connsiteX8" fmla="*/ 1918706 w 1918706"/>
                  <a:gd name="connsiteY8" fmla="*/ 3595649 h 5633118"/>
                  <a:gd name="connsiteX9" fmla="*/ 1918706 w 1918706"/>
                  <a:gd name="connsiteY9" fmla="*/ 3997322 h 5633118"/>
                  <a:gd name="connsiteX10" fmla="*/ 1918706 w 1918706"/>
                  <a:gd name="connsiteY10" fmla="*/ 4010476 h 5633118"/>
                  <a:gd name="connsiteX11" fmla="*/ 1918706 w 1918706"/>
                  <a:gd name="connsiteY11" fmla="*/ 4069228 h 5633118"/>
                  <a:gd name="connsiteX12" fmla="*/ 1918706 w 1918706"/>
                  <a:gd name="connsiteY12" fmla="*/ 4090156 h 5633118"/>
                  <a:gd name="connsiteX13" fmla="*/ 1918706 w 1918706"/>
                  <a:gd name="connsiteY13" fmla="*/ 4097931 h 5633118"/>
                  <a:gd name="connsiteX14" fmla="*/ 1918706 w 1918706"/>
                  <a:gd name="connsiteY14" fmla="*/ 4491829 h 5633118"/>
                  <a:gd name="connsiteX15" fmla="*/ 1918706 w 1918706"/>
                  <a:gd name="connsiteY15" fmla="*/ 4579284 h 5633118"/>
                  <a:gd name="connsiteX16" fmla="*/ 1918706 w 1918706"/>
                  <a:gd name="connsiteY16" fmla="*/ 4592438 h 5633118"/>
                  <a:gd name="connsiteX17" fmla="*/ 1918706 w 1918706"/>
                  <a:gd name="connsiteY17" fmla="*/ 5073791 h 5633118"/>
                  <a:gd name="connsiteX18" fmla="*/ 959355 w 1918706"/>
                  <a:gd name="connsiteY18" fmla="*/ 5633118 h 5633118"/>
                  <a:gd name="connsiteX19" fmla="*/ 0 w 1918706"/>
                  <a:gd name="connsiteY19" fmla="*/ 5073791 h 5633118"/>
                  <a:gd name="connsiteX20" fmla="*/ 0 w 1918706"/>
                  <a:gd name="connsiteY20" fmla="*/ 4592438 h 5633118"/>
                  <a:gd name="connsiteX21" fmla="*/ 0 w 1918706"/>
                  <a:gd name="connsiteY21" fmla="*/ 4579284 h 5633118"/>
                  <a:gd name="connsiteX22" fmla="*/ 0 w 1918706"/>
                  <a:gd name="connsiteY22" fmla="*/ 4491829 h 5633118"/>
                  <a:gd name="connsiteX23" fmla="*/ 0 w 1918706"/>
                  <a:gd name="connsiteY23" fmla="*/ 4097931 h 5633118"/>
                  <a:gd name="connsiteX24" fmla="*/ 0 w 1918706"/>
                  <a:gd name="connsiteY24" fmla="*/ 4090156 h 5633118"/>
                  <a:gd name="connsiteX25" fmla="*/ 0 w 1918706"/>
                  <a:gd name="connsiteY25" fmla="*/ 4069228 h 5633118"/>
                  <a:gd name="connsiteX26" fmla="*/ 0 w 1918706"/>
                  <a:gd name="connsiteY26" fmla="*/ 4010476 h 5633118"/>
                  <a:gd name="connsiteX27" fmla="*/ 0 w 1918706"/>
                  <a:gd name="connsiteY27" fmla="*/ 3997322 h 5633118"/>
                  <a:gd name="connsiteX28" fmla="*/ 0 w 1918706"/>
                  <a:gd name="connsiteY28" fmla="*/ 3595649 h 5633118"/>
                  <a:gd name="connsiteX29" fmla="*/ 0 w 1918706"/>
                  <a:gd name="connsiteY29" fmla="*/ 3587875 h 5633118"/>
                  <a:gd name="connsiteX30" fmla="*/ 0 w 1918706"/>
                  <a:gd name="connsiteY30" fmla="*/ 3574721 h 5633118"/>
                  <a:gd name="connsiteX31" fmla="*/ 0 w 1918706"/>
                  <a:gd name="connsiteY31" fmla="*/ 3515969 h 5633118"/>
                  <a:gd name="connsiteX32" fmla="*/ 0 w 1918706"/>
                  <a:gd name="connsiteY32" fmla="*/ 3508195 h 5633118"/>
                  <a:gd name="connsiteX33" fmla="*/ 0 w 1918706"/>
                  <a:gd name="connsiteY33" fmla="*/ 3487266 h 5633118"/>
                  <a:gd name="connsiteX34" fmla="*/ 0 w 1918706"/>
                  <a:gd name="connsiteY3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87875 h 5633118"/>
                  <a:gd name="connsiteX7" fmla="*/ 1918706 w 1918706"/>
                  <a:gd name="connsiteY7" fmla="*/ 3595649 h 5633118"/>
                  <a:gd name="connsiteX8" fmla="*/ 1918706 w 1918706"/>
                  <a:gd name="connsiteY8" fmla="*/ 3997322 h 5633118"/>
                  <a:gd name="connsiteX9" fmla="*/ 1918706 w 1918706"/>
                  <a:gd name="connsiteY9" fmla="*/ 4010476 h 5633118"/>
                  <a:gd name="connsiteX10" fmla="*/ 1918706 w 1918706"/>
                  <a:gd name="connsiteY10" fmla="*/ 4069228 h 5633118"/>
                  <a:gd name="connsiteX11" fmla="*/ 1918706 w 1918706"/>
                  <a:gd name="connsiteY11" fmla="*/ 4090156 h 5633118"/>
                  <a:gd name="connsiteX12" fmla="*/ 1918706 w 1918706"/>
                  <a:gd name="connsiteY12" fmla="*/ 4097931 h 5633118"/>
                  <a:gd name="connsiteX13" fmla="*/ 1918706 w 1918706"/>
                  <a:gd name="connsiteY13" fmla="*/ 4491829 h 5633118"/>
                  <a:gd name="connsiteX14" fmla="*/ 1918706 w 1918706"/>
                  <a:gd name="connsiteY14" fmla="*/ 4579284 h 5633118"/>
                  <a:gd name="connsiteX15" fmla="*/ 1918706 w 1918706"/>
                  <a:gd name="connsiteY15" fmla="*/ 4592438 h 5633118"/>
                  <a:gd name="connsiteX16" fmla="*/ 1918706 w 1918706"/>
                  <a:gd name="connsiteY16" fmla="*/ 5073791 h 5633118"/>
                  <a:gd name="connsiteX17" fmla="*/ 959355 w 1918706"/>
                  <a:gd name="connsiteY17" fmla="*/ 5633118 h 5633118"/>
                  <a:gd name="connsiteX18" fmla="*/ 0 w 1918706"/>
                  <a:gd name="connsiteY18" fmla="*/ 5073791 h 5633118"/>
                  <a:gd name="connsiteX19" fmla="*/ 0 w 1918706"/>
                  <a:gd name="connsiteY19" fmla="*/ 4592438 h 5633118"/>
                  <a:gd name="connsiteX20" fmla="*/ 0 w 1918706"/>
                  <a:gd name="connsiteY20" fmla="*/ 4579284 h 5633118"/>
                  <a:gd name="connsiteX21" fmla="*/ 0 w 1918706"/>
                  <a:gd name="connsiteY21" fmla="*/ 4491829 h 5633118"/>
                  <a:gd name="connsiteX22" fmla="*/ 0 w 1918706"/>
                  <a:gd name="connsiteY22" fmla="*/ 4097931 h 5633118"/>
                  <a:gd name="connsiteX23" fmla="*/ 0 w 1918706"/>
                  <a:gd name="connsiteY23" fmla="*/ 4090156 h 5633118"/>
                  <a:gd name="connsiteX24" fmla="*/ 0 w 1918706"/>
                  <a:gd name="connsiteY24" fmla="*/ 4069228 h 5633118"/>
                  <a:gd name="connsiteX25" fmla="*/ 0 w 1918706"/>
                  <a:gd name="connsiteY25" fmla="*/ 4010476 h 5633118"/>
                  <a:gd name="connsiteX26" fmla="*/ 0 w 1918706"/>
                  <a:gd name="connsiteY26" fmla="*/ 3997322 h 5633118"/>
                  <a:gd name="connsiteX27" fmla="*/ 0 w 1918706"/>
                  <a:gd name="connsiteY27" fmla="*/ 3595649 h 5633118"/>
                  <a:gd name="connsiteX28" fmla="*/ 0 w 1918706"/>
                  <a:gd name="connsiteY28" fmla="*/ 3587875 h 5633118"/>
                  <a:gd name="connsiteX29" fmla="*/ 0 w 1918706"/>
                  <a:gd name="connsiteY29" fmla="*/ 3574721 h 5633118"/>
                  <a:gd name="connsiteX30" fmla="*/ 0 w 1918706"/>
                  <a:gd name="connsiteY30" fmla="*/ 3515969 h 5633118"/>
                  <a:gd name="connsiteX31" fmla="*/ 0 w 1918706"/>
                  <a:gd name="connsiteY31" fmla="*/ 3508195 h 5633118"/>
                  <a:gd name="connsiteX32" fmla="*/ 0 w 1918706"/>
                  <a:gd name="connsiteY32" fmla="*/ 3487266 h 5633118"/>
                  <a:gd name="connsiteX33" fmla="*/ 0 w 1918706"/>
                  <a:gd name="connsiteY3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87875 h 5633118"/>
                  <a:gd name="connsiteX6" fmla="*/ 1918706 w 1918706"/>
                  <a:gd name="connsiteY6" fmla="*/ 3595649 h 5633118"/>
                  <a:gd name="connsiteX7" fmla="*/ 1918706 w 1918706"/>
                  <a:gd name="connsiteY7" fmla="*/ 3997322 h 5633118"/>
                  <a:gd name="connsiteX8" fmla="*/ 1918706 w 1918706"/>
                  <a:gd name="connsiteY8" fmla="*/ 4010476 h 5633118"/>
                  <a:gd name="connsiteX9" fmla="*/ 1918706 w 1918706"/>
                  <a:gd name="connsiteY9" fmla="*/ 4069228 h 5633118"/>
                  <a:gd name="connsiteX10" fmla="*/ 1918706 w 1918706"/>
                  <a:gd name="connsiteY10" fmla="*/ 4090156 h 5633118"/>
                  <a:gd name="connsiteX11" fmla="*/ 1918706 w 1918706"/>
                  <a:gd name="connsiteY11" fmla="*/ 4097931 h 5633118"/>
                  <a:gd name="connsiteX12" fmla="*/ 1918706 w 1918706"/>
                  <a:gd name="connsiteY12" fmla="*/ 4491829 h 5633118"/>
                  <a:gd name="connsiteX13" fmla="*/ 1918706 w 1918706"/>
                  <a:gd name="connsiteY13" fmla="*/ 4579284 h 5633118"/>
                  <a:gd name="connsiteX14" fmla="*/ 1918706 w 1918706"/>
                  <a:gd name="connsiteY14" fmla="*/ 4592438 h 5633118"/>
                  <a:gd name="connsiteX15" fmla="*/ 1918706 w 1918706"/>
                  <a:gd name="connsiteY15" fmla="*/ 5073791 h 5633118"/>
                  <a:gd name="connsiteX16" fmla="*/ 959355 w 1918706"/>
                  <a:gd name="connsiteY16" fmla="*/ 5633118 h 5633118"/>
                  <a:gd name="connsiteX17" fmla="*/ 0 w 1918706"/>
                  <a:gd name="connsiteY17" fmla="*/ 5073791 h 5633118"/>
                  <a:gd name="connsiteX18" fmla="*/ 0 w 1918706"/>
                  <a:gd name="connsiteY18" fmla="*/ 4592438 h 5633118"/>
                  <a:gd name="connsiteX19" fmla="*/ 0 w 1918706"/>
                  <a:gd name="connsiteY19" fmla="*/ 4579284 h 5633118"/>
                  <a:gd name="connsiteX20" fmla="*/ 0 w 1918706"/>
                  <a:gd name="connsiteY20" fmla="*/ 4491829 h 5633118"/>
                  <a:gd name="connsiteX21" fmla="*/ 0 w 1918706"/>
                  <a:gd name="connsiteY21" fmla="*/ 4097931 h 5633118"/>
                  <a:gd name="connsiteX22" fmla="*/ 0 w 1918706"/>
                  <a:gd name="connsiteY22" fmla="*/ 4090156 h 5633118"/>
                  <a:gd name="connsiteX23" fmla="*/ 0 w 1918706"/>
                  <a:gd name="connsiteY23" fmla="*/ 4069228 h 5633118"/>
                  <a:gd name="connsiteX24" fmla="*/ 0 w 1918706"/>
                  <a:gd name="connsiteY24" fmla="*/ 4010476 h 5633118"/>
                  <a:gd name="connsiteX25" fmla="*/ 0 w 1918706"/>
                  <a:gd name="connsiteY25" fmla="*/ 3997322 h 5633118"/>
                  <a:gd name="connsiteX26" fmla="*/ 0 w 1918706"/>
                  <a:gd name="connsiteY26" fmla="*/ 3595649 h 5633118"/>
                  <a:gd name="connsiteX27" fmla="*/ 0 w 1918706"/>
                  <a:gd name="connsiteY27" fmla="*/ 3587875 h 5633118"/>
                  <a:gd name="connsiteX28" fmla="*/ 0 w 1918706"/>
                  <a:gd name="connsiteY28" fmla="*/ 3574721 h 5633118"/>
                  <a:gd name="connsiteX29" fmla="*/ 0 w 1918706"/>
                  <a:gd name="connsiteY29" fmla="*/ 3515969 h 5633118"/>
                  <a:gd name="connsiteX30" fmla="*/ 0 w 1918706"/>
                  <a:gd name="connsiteY30" fmla="*/ 3508195 h 5633118"/>
                  <a:gd name="connsiteX31" fmla="*/ 0 w 1918706"/>
                  <a:gd name="connsiteY31" fmla="*/ 3487266 h 5633118"/>
                  <a:gd name="connsiteX32" fmla="*/ 0 w 1918706"/>
                  <a:gd name="connsiteY3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595649 h 5633118"/>
                  <a:gd name="connsiteX6" fmla="*/ 1918706 w 1918706"/>
                  <a:gd name="connsiteY6" fmla="*/ 3997322 h 5633118"/>
                  <a:gd name="connsiteX7" fmla="*/ 1918706 w 1918706"/>
                  <a:gd name="connsiteY7" fmla="*/ 4010476 h 5633118"/>
                  <a:gd name="connsiteX8" fmla="*/ 1918706 w 1918706"/>
                  <a:gd name="connsiteY8" fmla="*/ 4069228 h 5633118"/>
                  <a:gd name="connsiteX9" fmla="*/ 1918706 w 1918706"/>
                  <a:gd name="connsiteY9" fmla="*/ 4090156 h 5633118"/>
                  <a:gd name="connsiteX10" fmla="*/ 1918706 w 1918706"/>
                  <a:gd name="connsiteY10" fmla="*/ 4097931 h 5633118"/>
                  <a:gd name="connsiteX11" fmla="*/ 1918706 w 1918706"/>
                  <a:gd name="connsiteY11" fmla="*/ 4491829 h 5633118"/>
                  <a:gd name="connsiteX12" fmla="*/ 1918706 w 1918706"/>
                  <a:gd name="connsiteY12" fmla="*/ 4579284 h 5633118"/>
                  <a:gd name="connsiteX13" fmla="*/ 1918706 w 1918706"/>
                  <a:gd name="connsiteY13" fmla="*/ 4592438 h 5633118"/>
                  <a:gd name="connsiteX14" fmla="*/ 1918706 w 1918706"/>
                  <a:gd name="connsiteY14" fmla="*/ 5073791 h 5633118"/>
                  <a:gd name="connsiteX15" fmla="*/ 959355 w 1918706"/>
                  <a:gd name="connsiteY15" fmla="*/ 5633118 h 5633118"/>
                  <a:gd name="connsiteX16" fmla="*/ 0 w 1918706"/>
                  <a:gd name="connsiteY16" fmla="*/ 5073791 h 5633118"/>
                  <a:gd name="connsiteX17" fmla="*/ 0 w 1918706"/>
                  <a:gd name="connsiteY17" fmla="*/ 4592438 h 5633118"/>
                  <a:gd name="connsiteX18" fmla="*/ 0 w 1918706"/>
                  <a:gd name="connsiteY18" fmla="*/ 4579284 h 5633118"/>
                  <a:gd name="connsiteX19" fmla="*/ 0 w 1918706"/>
                  <a:gd name="connsiteY19" fmla="*/ 4491829 h 5633118"/>
                  <a:gd name="connsiteX20" fmla="*/ 0 w 1918706"/>
                  <a:gd name="connsiteY20" fmla="*/ 4097931 h 5633118"/>
                  <a:gd name="connsiteX21" fmla="*/ 0 w 1918706"/>
                  <a:gd name="connsiteY21" fmla="*/ 4090156 h 5633118"/>
                  <a:gd name="connsiteX22" fmla="*/ 0 w 1918706"/>
                  <a:gd name="connsiteY22" fmla="*/ 4069228 h 5633118"/>
                  <a:gd name="connsiteX23" fmla="*/ 0 w 1918706"/>
                  <a:gd name="connsiteY23" fmla="*/ 4010476 h 5633118"/>
                  <a:gd name="connsiteX24" fmla="*/ 0 w 1918706"/>
                  <a:gd name="connsiteY24" fmla="*/ 3997322 h 5633118"/>
                  <a:gd name="connsiteX25" fmla="*/ 0 w 1918706"/>
                  <a:gd name="connsiteY25" fmla="*/ 3595649 h 5633118"/>
                  <a:gd name="connsiteX26" fmla="*/ 0 w 1918706"/>
                  <a:gd name="connsiteY26" fmla="*/ 3587875 h 5633118"/>
                  <a:gd name="connsiteX27" fmla="*/ 0 w 1918706"/>
                  <a:gd name="connsiteY27" fmla="*/ 3574721 h 5633118"/>
                  <a:gd name="connsiteX28" fmla="*/ 0 w 1918706"/>
                  <a:gd name="connsiteY28" fmla="*/ 3515969 h 5633118"/>
                  <a:gd name="connsiteX29" fmla="*/ 0 w 1918706"/>
                  <a:gd name="connsiteY29" fmla="*/ 3508195 h 5633118"/>
                  <a:gd name="connsiteX30" fmla="*/ 0 w 1918706"/>
                  <a:gd name="connsiteY30" fmla="*/ 3487266 h 5633118"/>
                  <a:gd name="connsiteX31" fmla="*/ 0 w 1918706"/>
                  <a:gd name="connsiteY3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997322 h 5633118"/>
                  <a:gd name="connsiteX6" fmla="*/ 1918706 w 1918706"/>
                  <a:gd name="connsiteY6" fmla="*/ 4010476 h 5633118"/>
                  <a:gd name="connsiteX7" fmla="*/ 1918706 w 1918706"/>
                  <a:gd name="connsiteY7" fmla="*/ 4069228 h 5633118"/>
                  <a:gd name="connsiteX8" fmla="*/ 1918706 w 1918706"/>
                  <a:gd name="connsiteY8" fmla="*/ 4090156 h 5633118"/>
                  <a:gd name="connsiteX9" fmla="*/ 1918706 w 1918706"/>
                  <a:gd name="connsiteY9" fmla="*/ 4097931 h 5633118"/>
                  <a:gd name="connsiteX10" fmla="*/ 1918706 w 1918706"/>
                  <a:gd name="connsiteY10" fmla="*/ 4491829 h 5633118"/>
                  <a:gd name="connsiteX11" fmla="*/ 1918706 w 1918706"/>
                  <a:gd name="connsiteY11" fmla="*/ 4579284 h 5633118"/>
                  <a:gd name="connsiteX12" fmla="*/ 1918706 w 1918706"/>
                  <a:gd name="connsiteY12" fmla="*/ 4592438 h 5633118"/>
                  <a:gd name="connsiteX13" fmla="*/ 1918706 w 1918706"/>
                  <a:gd name="connsiteY13" fmla="*/ 5073791 h 5633118"/>
                  <a:gd name="connsiteX14" fmla="*/ 959355 w 1918706"/>
                  <a:gd name="connsiteY14" fmla="*/ 5633118 h 5633118"/>
                  <a:gd name="connsiteX15" fmla="*/ 0 w 1918706"/>
                  <a:gd name="connsiteY15" fmla="*/ 5073791 h 5633118"/>
                  <a:gd name="connsiteX16" fmla="*/ 0 w 1918706"/>
                  <a:gd name="connsiteY16" fmla="*/ 4592438 h 5633118"/>
                  <a:gd name="connsiteX17" fmla="*/ 0 w 1918706"/>
                  <a:gd name="connsiteY17" fmla="*/ 4579284 h 5633118"/>
                  <a:gd name="connsiteX18" fmla="*/ 0 w 1918706"/>
                  <a:gd name="connsiteY18" fmla="*/ 4491829 h 5633118"/>
                  <a:gd name="connsiteX19" fmla="*/ 0 w 1918706"/>
                  <a:gd name="connsiteY19" fmla="*/ 4097931 h 5633118"/>
                  <a:gd name="connsiteX20" fmla="*/ 0 w 1918706"/>
                  <a:gd name="connsiteY20" fmla="*/ 4090156 h 5633118"/>
                  <a:gd name="connsiteX21" fmla="*/ 0 w 1918706"/>
                  <a:gd name="connsiteY21" fmla="*/ 4069228 h 5633118"/>
                  <a:gd name="connsiteX22" fmla="*/ 0 w 1918706"/>
                  <a:gd name="connsiteY22" fmla="*/ 4010476 h 5633118"/>
                  <a:gd name="connsiteX23" fmla="*/ 0 w 1918706"/>
                  <a:gd name="connsiteY23" fmla="*/ 3997322 h 5633118"/>
                  <a:gd name="connsiteX24" fmla="*/ 0 w 1918706"/>
                  <a:gd name="connsiteY24" fmla="*/ 3595649 h 5633118"/>
                  <a:gd name="connsiteX25" fmla="*/ 0 w 1918706"/>
                  <a:gd name="connsiteY25" fmla="*/ 3587875 h 5633118"/>
                  <a:gd name="connsiteX26" fmla="*/ 0 w 1918706"/>
                  <a:gd name="connsiteY26" fmla="*/ 3574721 h 5633118"/>
                  <a:gd name="connsiteX27" fmla="*/ 0 w 1918706"/>
                  <a:gd name="connsiteY27" fmla="*/ 3515969 h 5633118"/>
                  <a:gd name="connsiteX28" fmla="*/ 0 w 1918706"/>
                  <a:gd name="connsiteY28" fmla="*/ 3508195 h 5633118"/>
                  <a:gd name="connsiteX29" fmla="*/ 0 w 1918706"/>
                  <a:gd name="connsiteY29" fmla="*/ 3487266 h 5633118"/>
                  <a:gd name="connsiteX30" fmla="*/ 0 w 1918706"/>
                  <a:gd name="connsiteY3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997322 h 5633118"/>
                  <a:gd name="connsiteX5" fmla="*/ 1918706 w 1918706"/>
                  <a:gd name="connsiteY5" fmla="*/ 4010476 h 5633118"/>
                  <a:gd name="connsiteX6" fmla="*/ 1918706 w 1918706"/>
                  <a:gd name="connsiteY6" fmla="*/ 4069228 h 5633118"/>
                  <a:gd name="connsiteX7" fmla="*/ 1918706 w 1918706"/>
                  <a:gd name="connsiteY7" fmla="*/ 4090156 h 5633118"/>
                  <a:gd name="connsiteX8" fmla="*/ 1918706 w 1918706"/>
                  <a:gd name="connsiteY8" fmla="*/ 4097931 h 5633118"/>
                  <a:gd name="connsiteX9" fmla="*/ 1918706 w 1918706"/>
                  <a:gd name="connsiteY9" fmla="*/ 4491829 h 5633118"/>
                  <a:gd name="connsiteX10" fmla="*/ 1918706 w 1918706"/>
                  <a:gd name="connsiteY10" fmla="*/ 4579284 h 5633118"/>
                  <a:gd name="connsiteX11" fmla="*/ 1918706 w 1918706"/>
                  <a:gd name="connsiteY11" fmla="*/ 4592438 h 5633118"/>
                  <a:gd name="connsiteX12" fmla="*/ 1918706 w 1918706"/>
                  <a:gd name="connsiteY12" fmla="*/ 5073791 h 5633118"/>
                  <a:gd name="connsiteX13" fmla="*/ 959355 w 1918706"/>
                  <a:gd name="connsiteY13" fmla="*/ 5633118 h 5633118"/>
                  <a:gd name="connsiteX14" fmla="*/ 0 w 1918706"/>
                  <a:gd name="connsiteY14" fmla="*/ 5073791 h 5633118"/>
                  <a:gd name="connsiteX15" fmla="*/ 0 w 1918706"/>
                  <a:gd name="connsiteY15" fmla="*/ 4592438 h 5633118"/>
                  <a:gd name="connsiteX16" fmla="*/ 0 w 1918706"/>
                  <a:gd name="connsiteY16" fmla="*/ 4579284 h 5633118"/>
                  <a:gd name="connsiteX17" fmla="*/ 0 w 1918706"/>
                  <a:gd name="connsiteY17" fmla="*/ 4491829 h 5633118"/>
                  <a:gd name="connsiteX18" fmla="*/ 0 w 1918706"/>
                  <a:gd name="connsiteY18" fmla="*/ 4097931 h 5633118"/>
                  <a:gd name="connsiteX19" fmla="*/ 0 w 1918706"/>
                  <a:gd name="connsiteY19" fmla="*/ 4090156 h 5633118"/>
                  <a:gd name="connsiteX20" fmla="*/ 0 w 1918706"/>
                  <a:gd name="connsiteY20" fmla="*/ 4069228 h 5633118"/>
                  <a:gd name="connsiteX21" fmla="*/ 0 w 1918706"/>
                  <a:gd name="connsiteY21" fmla="*/ 4010476 h 5633118"/>
                  <a:gd name="connsiteX22" fmla="*/ 0 w 1918706"/>
                  <a:gd name="connsiteY22" fmla="*/ 3997322 h 5633118"/>
                  <a:gd name="connsiteX23" fmla="*/ 0 w 1918706"/>
                  <a:gd name="connsiteY23" fmla="*/ 3595649 h 5633118"/>
                  <a:gd name="connsiteX24" fmla="*/ 0 w 1918706"/>
                  <a:gd name="connsiteY24" fmla="*/ 3587875 h 5633118"/>
                  <a:gd name="connsiteX25" fmla="*/ 0 w 1918706"/>
                  <a:gd name="connsiteY25" fmla="*/ 3574721 h 5633118"/>
                  <a:gd name="connsiteX26" fmla="*/ 0 w 1918706"/>
                  <a:gd name="connsiteY26" fmla="*/ 3515969 h 5633118"/>
                  <a:gd name="connsiteX27" fmla="*/ 0 w 1918706"/>
                  <a:gd name="connsiteY27" fmla="*/ 3508195 h 5633118"/>
                  <a:gd name="connsiteX28" fmla="*/ 0 w 1918706"/>
                  <a:gd name="connsiteY28" fmla="*/ 3487266 h 5633118"/>
                  <a:gd name="connsiteX29" fmla="*/ 0 w 1918706"/>
                  <a:gd name="connsiteY2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10476 h 5633118"/>
                  <a:gd name="connsiteX5" fmla="*/ 1918706 w 1918706"/>
                  <a:gd name="connsiteY5" fmla="*/ 4069228 h 5633118"/>
                  <a:gd name="connsiteX6" fmla="*/ 1918706 w 1918706"/>
                  <a:gd name="connsiteY6" fmla="*/ 4090156 h 5633118"/>
                  <a:gd name="connsiteX7" fmla="*/ 1918706 w 1918706"/>
                  <a:gd name="connsiteY7" fmla="*/ 4097931 h 5633118"/>
                  <a:gd name="connsiteX8" fmla="*/ 1918706 w 1918706"/>
                  <a:gd name="connsiteY8" fmla="*/ 4491829 h 5633118"/>
                  <a:gd name="connsiteX9" fmla="*/ 1918706 w 1918706"/>
                  <a:gd name="connsiteY9" fmla="*/ 4579284 h 5633118"/>
                  <a:gd name="connsiteX10" fmla="*/ 1918706 w 1918706"/>
                  <a:gd name="connsiteY10" fmla="*/ 4592438 h 5633118"/>
                  <a:gd name="connsiteX11" fmla="*/ 1918706 w 1918706"/>
                  <a:gd name="connsiteY11" fmla="*/ 5073791 h 5633118"/>
                  <a:gd name="connsiteX12" fmla="*/ 959355 w 1918706"/>
                  <a:gd name="connsiteY12" fmla="*/ 5633118 h 5633118"/>
                  <a:gd name="connsiteX13" fmla="*/ 0 w 1918706"/>
                  <a:gd name="connsiteY13" fmla="*/ 5073791 h 5633118"/>
                  <a:gd name="connsiteX14" fmla="*/ 0 w 1918706"/>
                  <a:gd name="connsiteY14" fmla="*/ 4592438 h 5633118"/>
                  <a:gd name="connsiteX15" fmla="*/ 0 w 1918706"/>
                  <a:gd name="connsiteY15" fmla="*/ 4579284 h 5633118"/>
                  <a:gd name="connsiteX16" fmla="*/ 0 w 1918706"/>
                  <a:gd name="connsiteY16" fmla="*/ 4491829 h 5633118"/>
                  <a:gd name="connsiteX17" fmla="*/ 0 w 1918706"/>
                  <a:gd name="connsiteY17" fmla="*/ 4097931 h 5633118"/>
                  <a:gd name="connsiteX18" fmla="*/ 0 w 1918706"/>
                  <a:gd name="connsiteY18" fmla="*/ 4090156 h 5633118"/>
                  <a:gd name="connsiteX19" fmla="*/ 0 w 1918706"/>
                  <a:gd name="connsiteY19" fmla="*/ 4069228 h 5633118"/>
                  <a:gd name="connsiteX20" fmla="*/ 0 w 1918706"/>
                  <a:gd name="connsiteY20" fmla="*/ 4010476 h 5633118"/>
                  <a:gd name="connsiteX21" fmla="*/ 0 w 1918706"/>
                  <a:gd name="connsiteY21" fmla="*/ 3997322 h 5633118"/>
                  <a:gd name="connsiteX22" fmla="*/ 0 w 1918706"/>
                  <a:gd name="connsiteY22" fmla="*/ 3595649 h 5633118"/>
                  <a:gd name="connsiteX23" fmla="*/ 0 w 1918706"/>
                  <a:gd name="connsiteY23" fmla="*/ 3587875 h 5633118"/>
                  <a:gd name="connsiteX24" fmla="*/ 0 w 1918706"/>
                  <a:gd name="connsiteY24" fmla="*/ 3574721 h 5633118"/>
                  <a:gd name="connsiteX25" fmla="*/ 0 w 1918706"/>
                  <a:gd name="connsiteY25" fmla="*/ 3515969 h 5633118"/>
                  <a:gd name="connsiteX26" fmla="*/ 0 w 1918706"/>
                  <a:gd name="connsiteY26" fmla="*/ 3508195 h 5633118"/>
                  <a:gd name="connsiteX27" fmla="*/ 0 w 1918706"/>
                  <a:gd name="connsiteY27" fmla="*/ 3487266 h 5633118"/>
                  <a:gd name="connsiteX28" fmla="*/ 0 w 1918706"/>
                  <a:gd name="connsiteY2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69228 h 5633118"/>
                  <a:gd name="connsiteX5" fmla="*/ 1918706 w 1918706"/>
                  <a:gd name="connsiteY5" fmla="*/ 4090156 h 5633118"/>
                  <a:gd name="connsiteX6" fmla="*/ 1918706 w 1918706"/>
                  <a:gd name="connsiteY6" fmla="*/ 4097931 h 5633118"/>
                  <a:gd name="connsiteX7" fmla="*/ 1918706 w 1918706"/>
                  <a:gd name="connsiteY7" fmla="*/ 4491829 h 5633118"/>
                  <a:gd name="connsiteX8" fmla="*/ 1918706 w 1918706"/>
                  <a:gd name="connsiteY8" fmla="*/ 4579284 h 5633118"/>
                  <a:gd name="connsiteX9" fmla="*/ 1918706 w 1918706"/>
                  <a:gd name="connsiteY9" fmla="*/ 4592438 h 5633118"/>
                  <a:gd name="connsiteX10" fmla="*/ 1918706 w 1918706"/>
                  <a:gd name="connsiteY10" fmla="*/ 5073791 h 5633118"/>
                  <a:gd name="connsiteX11" fmla="*/ 959355 w 1918706"/>
                  <a:gd name="connsiteY11" fmla="*/ 5633118 h 5633118"/>
                  <a:gd name="connsiteX12" fmla="*/ 0 w 1918706"/>
                  <a:gd name="connsiteY12" fmla="*/ 5073791 h 5633118"/>
                  <a:gd name="connsiteX13" fmla="*/ 0 w 1918706"/>
                  <a:gd name="connsiteY13" fmla="*/ 4592438 h 5633118"/>
                  <a:gd name="connsiteX14" fmla="*/ 0 w 1918706"/>
                  <a:gd name="connsiteY14" fmla="*/ 4579284 h 5633118"/>
                  <a:gd name="connsiteX15" fmla="*/ 0 w 1918706"/>
                  <a:gd name="connsiteY15" fmla="*/ 4491829 h 5633118"/>
                  <a:gd name="connsiteX16" fmla="*/ 0 w 1918706"/>
                  <a:gd name="connsiteY16" fmla="*/ 4097931 h 5633118"/>
                  <a:gd name="connsiteX17" fmla="*/ 0 w 1918706"/>
                  <a:gd name="connsiteY17" fmla="*/ 4090156 h 5633118"/>
                  <a:gd name="connsiteX18" fmla="*/ 0 w 1918706"/>
                  <a:gd name="connsiteY18" fmla="*/ 4069228 h 5633118"/>
                  <a:gd name="connsiteX19" fmla="*/ 0 w 1918706"/>
                  <a:gd name="connsiteY19" fmla="*/ 4010476 h 5633118"/>
                  <a:gd name="connsiteX20" fmla="*/ 0 w 1918706"/>
                  <a:gd name="connsiteY20" fmla="*/ 3997322 h 5633118"/>
                  <a:gd name="connsiteX21" fmla="*/ 0 w 1918706"/>
                  <a:gd name="connsiteY21" fmla="*/ 3595649 h 5633118"/>
                  <a:gd name="connsiteX22" fmla="*/ 0 w 1918706"/>
                  <a:gd name="connsiteY22" fmla="*/ 3587875 h 5633118"/>
                  <a:gd name="connsiteX23" fmla="*/ 0 w 1918706"/>
                  <a:gd name="connsiteY23" fmla="*/ 3574721 h 5633118"/>
                  <a:gd name="connsiteX24" fmla="*/ 0 w 1918706"/>
                  <a:gd name="connsiteY24" fmla="*/ 3515969 h 5633118"/>
                  <a:gd name="connsiteX25" fmla="*/ 0 w 1918706"/>
                  <a:gd name="connsiteY25" fmla="*/ 3508195 h 5633118"/>
                  <a:gd name="connsiteX26" fmla="*/ 0 w 1918706"/>
                  <a:gd name="connsiteY26" fmla="*/ 3487266 h 5633118"/>
                  <a:gd name="connsiteX27" fmla="*/ 0 w 1918706"/>
                  <a:gd name="connsiteY2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097931 h 5633118"/>
                  <a:gd name="connsiteX6" fmla="*/ 1918706 w 1918706"/>
                  <a:gd name="connsiteY6" fmla="*/ 4491829 h 5633118"/>
                  <a:gd name="connsiteX7" fmla="*/ 1918706 w 1918706"/>
                  <a:gd name="connsiteY7" fmla="*/ 4579284 h 5633118"/>
                  <a:gd name="connsiteX8" fmla="*/ 1918706 w 1918706"/>
                  <a:gd name="connsiteY8" fmla="*/ 4592438 h 5633118"/>
                  <a:gd name="connsiteX9" fmla="*/ 1918706 w 1918706"/>
                  <a:gd name="connsiteY9" fmla="*/ 5073791 h 5633118"/>
                  <a:gd name="connsiteX10" fmla="*/ 959355 w 1918706"/>
                  <a:gd name="connsiteY10" fmla="*/ 5633118 h 5633118"/>
                  <a:gd name="connsiteX11" fmla="*/ 0 w 1918706"/>
                  <a:gd name="connsiteY11" fmla="*/ 5073791 h 5633118"/>
                  <a:gd name="connsiteX12" fmla="*/ 0 w 1918706"/>
                  <a:gd name="connsiteY12" fmla="*/ 4592438 h 5633118"/>
                  <a:gd name="connsiteX13" fmla="*/ 0 w 1918706"/>
                  <a:gd name="connsiteY13" fmla="*/ 4579284 h 5633118"/>
                  <a:gd name="connsiteX14" fmla="*/ 0 w 1918706"/>
                  <a:gd name="connsiteY14" fmla="*/ 4491829 h 5633118"/>
                  <a:gd name="connsiteX15" fmla="*/ 0 w 1918706"/>
                  <a:gd name="connsiteY15" fmla="*/ 4097931 h 5633118"/>
                  <a:gd name="connsiteX16" fmla="*/ 0 w 1918706"/>
                  <a:gd name="connsiteY16" fmla="*/ 4090156 h 5633118"/>
                  <a:gd name="connsiteX17" fmla="*/ 0 w 1918706"/>
                  <a:gd name="connsiteY17" fmla="*/ 4069228 h 5633118"/>
                  <a:gd name="connsiteX18" fmla="*/ 0 w 1918706"/>
                  <a:gd name="connsiteY18" fmla="*/ 4010476 h 5633118"/>
                  <a:gd name="connsiteX19" fmla="*/ 0 w 1918706"/>
                  <a:gd name="connsiteY19" fmla="*/ 3997322 h 5633118"/>
                  <a:gd name="connsiteX20" fmla="*/ 0 w 1918706"/>
                  <a:gd name="connsiteY20" fmla="*/ 3595649 h 5633118"/>
                  <a:gd name="connsiteX21" fmla="*/ 0 w 1918706"/>
                  <a:gd name="connsiteY21" fmla="*/ 3587875 h 5633118"/>
                  <a:gd name="connsiteX22" fmla="*/ 0 w 1918706"/>
                  <a:gd name="connsiteY22" fmla="*/ 3574721 h 5633118"/>
                  <a:gd name="connsiteX23" fmla="*/ 0 w 1918706"/>
                  <a:gd name="connsiteY23" fmla="*/ 3515969 h 5633118"/>
                  <a:gd name="connsiteX24" fmla="*/ 0 w 1918706"/>
                  <a:gd name="connsiteY24" fmla="*/ 3508195 h 5633118"/>
                  <a:gd name="connsiteX25" fmla="*/ 0 w 1918706"/>
                  <a:gd name="connsiteY25" fmla="*/ 3487266 h 5633118"/>
                  <a:gd name="connsiteX26" fmla="*/ 0 w 1918706"/>
                  <a:gd name="connsiteY2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491829 h 5633118"/>
                  <a:gd name="connsiteX6" fmla="*/ 1918706 w 1918706"/>
                  <a:gd name="connsiteY6" fmla="*/ 4579284 h 5633118"/>
                  <a:gd name="connsiteX7" fmla="*/ 1918706 w 1918706"/>
                  <a:gd name="connsiteY7" fmla="*/ 4592438 h 5633118"/>
                  <a:gd name="connsiteX8" fmla="*/ 1918706 w 1918706"/>
                  <a:gd name="connsiteY8" fmla="*/ 5073791 h 5633118"/>
                  <a:gd name="connsiteX9" fmla="*/ 959355 w 1918706"/>
                  <a:gd name="connsiteY9" fmla="*/ 5633118 h 5633118"/>
                  <a:gd name="connsiteX10" fmla="*/ 0 w 1918706"/>
                  <a:gd name="connsiteY10" fmla="*/ 5073791 h 5633118"/>
                  <a:gd name="connsiteX11" fmla="*/ 0 w 1918706"/>
                  <a:gd name="connsiteY11" fmla="*/ 4592438 h 5633118"/>
                  <a:gd name="connsiteX12" fmla="*/ 0 w 1918706"/>
                  <a:gd name="connsiteY12" fmla="*/ 4579284 h 5633118"/>
                  <a:gd name="connsiteX13" fmla="*/ 0 w 1918706"/>
                  <a:gd name="connsiteY13" fmla="*/ 4491829 h 5633118"/>
                  <a:gd name="connsiteX14" fmla="*/ 0 w 1918706"/>
                  <a:gd name="connsiteY14" fmla="*/ 4097931 h 5633118"/>
                  <a:gd name="connsiteX15" fmla="*/ 0 w 1918706"/>
                  <a:gd name="connsiteY15" fmla="*/ 4090156 h 5633118"/>
                  <a:gd name="connsiteX16" fmla="*/ 0 w 1918706"/>
                  <a:gd name="connsiteY16" fmla="*/ 4069228 h 5633118"/>
                  <a:gd name="connsiteX17" fmla="*/ 0 w 1918706"/>
                  <a:gd name="connsiteY17" fmla="*/ 4010476 h 5633118"/>
                  <a:gd name="connsiteX18" fmla="*/ 0 w 1918706"/>
                  <a:gd name="connsiteY18" fmla="*/ 3997322 h 5633118"/>
                  <a:gd name="connsiteX19" fmla="*/ 0 w 1918706"/>
                  <a:gd name="connsiteY19" fmla="*/ 3595649 h 5633118"/>
                  <a:gd name="connsiteX20" fmla="*/ 0 w 1918706"/>
                  <a:gd name="connsiteY20" fmla="*/ 3587875 h 5633118"/>
                  <a:gd name="connsiteX21" fmla="*/ 0 w 1918706"/>
                  <a:gd name="connsiteY21" fmla="*/ 3574721 h 5633118"/>
                  <a:gd name="connsiteX22" fmla="*/ 0 w 1918706"/>
                  <a:gd name="connsiteY22" fmla="*/ 3515969 h 5633118"/>
                  <a:gd name="connsiteX23" fmla="*/ 0 w 1918706"/>
                  <a:gd name="connsiteY23" fmla="*/ 3508195 h 5633118"/>
                  <a:gd name="connsiteX24" fmla="*/ 0 w 1918706"/>
                  <a:gd name="connsiteY24" fmla="*/ 3487266 h 5633118"/>
                  <a:gd name="connsiteX25" fmla="*/ 0 w 1918706"/>
                  <a:gd name="connsiteY2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090156 h 5633118"/>
                  <a:gd name="connsiteX4" fmla="*/ 1918706 w 1918706"/>
                  <a:gd name="connsiteY4" fmla="*/ 4491829 h 5633118"/>
                  <a:gd name="connsiteX5" fmla="*/ 1918706 w 1918706"/>
                  <a:gd name="connsiteY5" fmla="*/ 4579284 h 5633118"/>
                  <a:gd name="connsiteX6" fmla="*/ 1918706 w 1918706"/>
                  <a:gd name="connsiteY6" fmla="*/ 4592438 h 5633118"/>
                  <a:gd name="connsiteX7" fmla="*/ 1918706 w 1918706"/>
                  <a:gd name="connsiteY7" fmla="*/ 5073791 h 5633118"/>
                  <a:gd name="connsiteX8" fmla="*/ 959355 w 1918706"/>
                  <a:gd name="connsiteY8" fmla="*/ 5633118 h 5633118"/>
                  <a:gd name="connsiteX9" fmla="*/ 0 w 1918706"/>
                  <a:gd name="connsiteY9" fmla="*/ 5073791 h 5633118"/>
                  <a:gd name="connsiteX10" fmla="*/ 0 w 1918706"/>
                  <a:gd name="connsiteY10" fmla="*/ 4592438 h 5633118"/>
                  <a:gd name="connsiteX11" fmla="*/ 0 w 1918706"/>
                  <a:gd name="connsiteY11" fmla="*/ 4579284 h 5633118"/>
                  <a:gd name="connsiteX12" fmla="*/ 0 w 1918706"/>
                  <a:gd name="connsiteY12" fmla="*/ 4491829 h 5633118"/>
                  <a:gd name="connsiteX13" fmla="*/ 0 w 1918706"/>
                  <a:gd name="connsiteY13" fmla="*/ 4097931 h 5633118"/>
                  <a:gd name="connsiteX14" fmla="*/ 0 w 1918706"/>
                  <a:gd name="connsiteY14" fmla="*/ 4090156 h 5633118"/>
                  <a:gd name="connsiteX15" fmla="*/ 0 w 1918706"/>
                  <a:gd name="connsiteY15" fmla="*/ 4069228 h 5633118"/>
                  <a:gd name="connsiteX16" fmla="*/ 0 w 1918706"/>
                  <a:gd name="connsiteY16" fmla="*/ 4010476 h 5633118"/>
                  <a:gd name="connsiteX17" fmla="*/ 0 w 1918706"/>
                  <a:gd name="connsiteY17" fmla="*/ 3997322 h 5633118"/>
                  <a:gd name="connsiteX18" fmla="*/ 0 w 1918706"/>
                  <a:gd name="connsiteY18" fmla="*/ 3595649 h 5633118"/>
                  <a:gd name="connsiteX19" fmla="*/ 0 w 1918706"/>
                  <a:gd name="connsiteY19" fmla="*/ 3587875 h 5633118"/>
                  <a:gd name="connsiteX20" fmla="*/ 0 w 1918706"/>
                  <a:gd name="connsiteY20" fmla="*/ 3574721 h 5633118"/>
                  <a:gd name="connsiteX21" fmla="*/ 0 w 1918706"/>
                  <a:gd name="connsiteY21" fmla="*/ 3515969 h 5633118"/>
                  <a:gd name="connsiteX22" fmla="*/ 0 w 1918706"/>
                  <a:gd name="connsiteY22" fmla="*/ 3508195 h 5633118"/>
                  <a:gd name="connsiteX23" fmla="*/ 0 w 1918706"/>
                  <a:gd name="connsiteY23" fmla="*/ 3487266 h 5633118"/>
                  <a:gd name="connsiteX24" fmla="*/ 0 w 1918706"/>
                  <a:gd name="connsiteY2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491829 h 5633118"/>
                  <a:gd name="connsiteX4" fmla="*/ 1918706 w 1918706"/>
                  <a:gd name="connsiteY4" fmla="*/ 4579284 h 5633118"/>
                  <a:gd name="connsiteX5" fmla="*/ 1918706 w 1918706"/>
                  <a:gd name="connsiteY5" fmla="*/ 4592438 h 5633118"/>
                  <a:gd name="connsiteX6" fmla="*/ 1918706 w 1918706"/>
                  <a:gd name="connsiteY6" fmla="*/ 5073791 h 5633118"/>
                  <a:gd name="connsiteX7" fmla="*/ 959355 w 1918706"/>
                  <a:gd name="connsiteY7" fmla="*/ 5633118 h 5633118"/>
                  <a:gd name="connsiteX8" fmla="*/ 0 w 1918706"/>
                  <a:gd name="connsiteY8" fmla="*/ 5073791 h 5633118"/>
                  <a:gd name="connsiteX9" fmla="*/ 0 w 1918706"/>
                  <a:gd name="connsiteY9" fmla="*/ 4592438 h 5633118"/>
                  <a:gd name="connsiteX10" fmla="*/ 0 w 1918706"/>
                  <a:gd name="connsiteY10" fmla="*/ 4579284 h 5633118"/>
                  <a:gd name="connsiteX11" fmla="*/ 0 w 1918706"/>
                  <a:gd name="connsiteY11" fmla="*/ 4491829 h 5633118"/>
                  <a:gd name="connsiteX12" fmla="*/ 0 w 1918706"/>
                  <a:gd name="connsiteY12" fmla="*/ 4097931 h 5633118"/>
                  <a:gd name="connsiteX13" fmla="*/ 0 w 1918706"/>
                  <a:gd name="connsiteY13" fmla="*/ 4090156 h 5633118"/>
                  <a:gd name="connsiteX14" fmla="*/ 0 w 1918706"/>
                  <a:gd name="connsiteY14" fmla="*/ 4069228 h 5633118"/>
                  <a:gd name="connsiteX15" fmla="*/ 0 w 1918706"/>
                  <a:gd name="connsiteY15" fmla="*/ 4010476 h 5633118"/>
                  <a:gd name="connsiteX16" fmla="*/ 0 w 1918706"/>
                  <a:gd name="connsiteY16" fmla="*/ 3997322 h 5633118"/>
                  <a:gd name="connsiteX17" fmla="*/ 0 w 1918706"/>
                  <a:gd name="connsiteY17" fmla="*/ 3595649 h 5633118"/>
                  <a:gd name="connsiteX18" fmla="*/ 0 w 1918706"/>
                  <a:gd name="connsiteY18" fmla="*/ 3587875 h 5633118"/>
                  <a:gd name="connsiteX19" fmla="*/ 0 w 1918706"/>
                  <a:gd name="connsiteY19" fmla="*/ 3574721 h 5633118"/>
                  <a:gd name="connsiteX20" fmla="*/ 0 w 1918706"/>
                  <a:gd name="connsiteY20" fmla="*/ 3515969 h 5633118"/>
                  <a:gd name="connsiteX21" fmla="*/ 0 w 1918706"/>
                  <a:gd name="connsiteY21" fmla="*/ 3508195 h 5633118"/>
                  <a:gd name="connsiteX22" fmla="*/ 0 w 1918706"/>
                  <a:gd name="connsiteY22" fmla="*/ 3487266 h 5633118"/>
                  <a:gd name="connsiteX23" fmla="*/ 0 w 1918706"/>
                  <a:gd name="connsiteY2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4592438 h 5633118"/>
                  <a:gd name="connsiteX5" fmla="*/ 1918706 w 1918706"/>
                  <a:gd name="connsiteY5" fmla="*/ 5073791 h 5633118"/>
                  <a:gd name="connsiteX6" fmla="*/ 959355 w 1918706"/>
                  <a:gd name="connsiteY6" fmla="*/ 5633118 h 5633118"/>
                  <a:gd name="connsiteX7" fmla="*/ 0 w 1918706"/>
                  <a:gd name="connsiteY7" fmla="*/ 5073791 h 5633118"/>
                  <a:gd name="connsiteX8" fmla="*/ 0 w 1918706"/>
                  <a:gd name="connsiteY8" fmla="*/ 4592438 h 5633118"/>
                  <a:gd name="connsiteX9" fmla="*/ 0 w 1918706"/>
                  <a:gd name="connsiteY9" fmla="*/ 4579284 h 5633118"/>
                  <a:gd name="connsiteX10" fmla="*/ 0 w 1918706"/>
                  <a:gd name="connsiteY10" fmla="*/ 4491829 h 5633118"/>
                  <a:gd name="connsiteX11" fmla="*/ 0 w 1918706"/>
                  <a:gd name="connsiteY11" fmla="*/ 4097931 h 5633118"/>
                  <a:gd name="connsiteX12" fmla="*/ 0 w 1918706"/>
                  <a:gd name="connsiteY12" fmla="*/ 4090156 h 5633118"/>
                  <a:gd name="connsiteX13" fmla="*/ 0 w 1918706"/>
                  <a:gd name="connsiteY13" fmla="*/ 4069228 h 5633118"/>
                  <a:gd name="connsiteX14" fmla="*/ 0 w 1918706"/>
                  <a:gd name="connsiteY14" fmla="*/ 4010476 h 5633118"/>
                  <a:gd name="connsiteX15" fmla="*/ 0 w 1918706"/>
                  <a:gd name="connsiteY15" fmla="*/ 3997322 h 5633118"/>
                  <a:gd name="connsiteX16" fmla="*/ 0 w 1918706"/>
                  <a:gd name="connsiteY16" fmla="*/ 3595649 h 5633118"/>
                  <a:gd name="connsiteX17" fmla="*/ 0 w 1918706"/>
                  <a:gd name="connsiteY17" fmla="*/ 3587875 h 5633118"/>
                  <a:gd name="connsiteX18" fmla="*/ 0 w 1918706"/>
                  <a:gd name="connsiteY18" fmla="*/ 3574721 h 5633118"/>
                  <a:gd name="connsiteX19" fmla="*/ 0 w 1918706"/>
                  <a:gd name="connsiteY19" fmla="*/ 3515969 h 5633118"/>
                  <a:gd name="connsiteX20" fmla="*/ 0 w 1918706"/>
                  <a:gd name="connsiteY20" fmla="*/ 3508195 h 5633118"/>
                  <a:gd name="connsiteX21" fmla="*/ 0 w 1918706"/>
                  <a:gd name="connsiteY21" fmla="*/ 3487266 h 5633118"/>
                  <a:gd name="connsiteX22" fmla="*/ 0 w 1918706"/>
                  <a:gd name="connsiteY2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5073791 h 5633118"/>
                  <a:gd name="connsiteX5" fmla="*/ 959355 w 1918706"/>
                  <a:gd name="connsiteY5" fmla="*/ 5633118 h 5633118"/>
                  <a:gd name="connsiteX6" fmla="*/ 0 w 1918706"/>
                  <a:gd name="connsiteY6" fmla="*/ 5073791 h 5633118"/>
                  <a:gd name="connsiteX7" fmla="*/ 0 w 1918706"/>
                  <a:gd name="connsiteY7" fmla="*/ 4592438 h 5633118"/>
                  <a:gd name="connsiteX8" fmla="*/ 0 w 1918706"/>
                  <a:gd name="connsiteY8" fmla="*/ 4579284 h 5633118"/>
                  <a:gd name="connsiteX9" fmla="*/ 0 w 1918706"/>
                  <a:gd name="connsiteY9" fmla="*/ 4491829 h 5633118"/>
                  <a:gd name="connsiteX10" fmla="*/ 0 w 1918706"/>
                  <a:gd name="connsiteY10" fmla="*/ 4097931 h 5633118"/>
                  <a:gd name="connsiteX11" fmla="*/ 0 w 1918706"/>
                  <a:gd name="connsiteY11" fmla="*/ 4090156 h 5633118"/>
                  <a:gd name="connsiteX12" fmla="*/ 0 w 1918706"/>
                  <a:gd name="connsiteY12" fmla="*/ 4069228 h 5633118"/>
                  <a:gd name="connsiteX13" fmla="*/ 0 w 1918706"/>
                  <a:gd name="connsiteY13" fmla="*/ 4010476 h 5633118"/>
                  <a:gd name="connsiteX14" fmla="*/ 0 w 1918706"/>
                  <a:gd name="connsiteY14" fmla="*/ 3997322 h 5633118"/>
                  <a:gd name="connsiteX15" fmla="*/ 0 w 1918706"/>
                  <a:gd name="connsiteY15" fmla="*/ 3595649 h 5633118"/>
                  <a:gd name="connsiteX16" fmla="*/ 0 w 1918706"/>
                  <a:gd name="connsiteY16" fmla="*/ 3587875 h 5633118"/>
                  <a:gd name="connsiteX17" fmla="*/ 0 w 1918706"/>
                  <a:gd name="connsiteY17" fmla="*/ 3574721 h 5633118"/>
                  <a:gd name="connsiteX18" fmla="*/ 0 w 1918706"/>
                  <a:gd name="connsiteY18" fmla="*/ 3515969 h 5633118"/>
                  <a:gd name="connsiteX19" fmla="*/ 0 w 1918706"/>
                  <a:gd name="connsiteY19" fmla="*/ 3508195 h 5633118"/>
                  <a:gd name="connsiteX20" fmla="*/ 0 w 1918706"/>
                  <a:gd name="connsiteY20" fmla="*/ 3487266 h 5633118"/>
                  <a:gd name="connsiteX21" fmla="*/ 0 w 1918706"/>
                  <a:gd name="connsiteY2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3487266 h 5633118"/>
                  <a:gd name="connsiteX20" fmla="*/ 0 w 1918706"/>
                  <a:gd name="connsiteY2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10064 w 1928770"/>
                  <a:gd name="connsiteY7" fmla="*/ 4579284 h 5633118"/>
                  <a:gd name="connsiteX8" fmla="*/ 0 w 1928770"/>
                  <a:gd name="connsiteY8" fmla="*/ 4484457 h 5633118"/>
                  <a:gd name="connsiteX9" fmla="*/ 10064 w 1928770"/>
                  <a:gd name="connsiteY9"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0 w 1928770"/>
                  <a:gd name="connsiteY7" fmla="*/ 4484457 h 5633118"/>
                  <a:gd name="connsiteX8" fmla="*/ 10064 w 1928770"/>
                  <a:gd name="connsiteY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0 h 563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8706" h="5633118">
                    <a:moveTo>
                      <a:pt x="0" y="0"/>
                    </a:moveTo>
                    <a:cubicBezTo>
                      <a:pt x="0" y="308912"/>
                      <a:pt x="429517" y="559332"/>
                      <a:pt x="959355" y="559332"/>
                    </a:cubicBezTo>
                    <a:cubicBezTo>
                      <a:pt x="1489193" y="559332"/>
                      <a:pt x="1918706" y="308912"/>
                      <a:pt x="1918706" y="0"/>
                    </a:cubicBezTo>
                    <a:lnTo>
                      <a:pt x="1918706" y="5073791"/>
                    </a:lnTo>
                    <a:cubicBezTo>
                      <a:pt x="1918706" y="5382699"/>
                      <a:pt x="1489193" y="5633118"/>
                      <a:pt x="959355" y="5633118"/>
                    </a:cubicBezTo>
                    <a:cubicBezTo>
                      <a:pt x="429517" y="5633118"/>
                      <a:pt x="0" y="5382699"/>
                      <a:pt x="0" y="5073791"/>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848" name="Oval 386">
                <a:extLst>
                  <a:ext uri="{FF2B5EF4-FFF2-40B4-BE49-F238E27FC236}">
                    <a16:creationId xmlns:a16="http://schemas.microsoft.com/office/drawing/2014/main" id="{CD90188A-EC86-4FD2-8422-A9EE661680C7}"/>
                  </a:ext>
                </a:extLst>
              </p:cNvPr>
              <p:cNvSpPr/>
              <p:nvPr/>
            </p:nvSpPr>
            <p:spPr bwMode="gray">
              <a:xfrm>
                <a:off x="12676185" y="-2160831"/>
                <a:ext cx="1918706" cy="1340175"/>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850" name="Group 849">
              <a:extLst>
                <a:ext uri="{FF2B5EF4-FFF2-40B4-BE49-F238E27FC236}">
                  <a16:creationId xmlns:a16="http://schemas.microsoft.com/office/drawing/2014/main" id="{3FBE7A4C-1833-4EBA-B664-15A453C9D5CA}"/>
                </a:ext>
              </a:extLst>
            </p:cNvPr>
            <p:cNvGrpSpPr>
              <a:grpSpLocks noChangeAspect="1"/>
            </p:cNvGrpSpPr>
            <p:nvPr/>
          </p:nvGrpSpPr>
          <p:grpSpPr bwMode="gray">
            <a:xfrm>
              <a:off x="9064148" y="3995810"/>
              <a:ext cx="260073" cy="869376"/>
              <a:chOff x="12676185" y="-2160831"/>
              <a:chExt cx="1918718" cy="6413936"/>
            </a:xfrm>
          </p:grpSpPr>
          <p:sp>
            <p:nvSpPr>
              <p:cNvPr id="855" name="Freeform: Shape 854">
                <a:extLst>
                  <a:ext uri="{FF2B5EF4-FFF2-40B4-BE49-F238E27FC236}">
                    <a16:creationId xmlns:a16="http://schemas.microsoft.com/office/drawing/2014/main" id="{0BC44650-2866-461E-9F1B-07011229D2D8}"/>
                  </a:ext>
                </a:extLst>
              </p:cNvPr>
              <p:cNvSpPr/>
              <p:nvPr/>
            </p:nvSpPr>
            <p:spPr bwMode="gray">
              <a:xfrm>
                <a:off x="12676197" y="-1380013"/>
                <a:ext cx="1918706" cy="5633118"/>
              </a:xfrm>
              <a:custGeom>
                <a:avLst/>
                <a:gdLst>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581962 h 5633118"/>
                  <a:gd name="connsiteX6" fmla="*/ 1918706 w 1918706"/>
                  <a:gd name="connsiteY6" fmla="*/ 981092 h 5633118"/>
                  <a:gd name="connsiteX7" fmla="*/ 1918706 w 1918706"/>
                  <a:gd name="connsiteY7" fmla="*/ 1004563 h 5633118"/>
                  <a:gd name="connsiteX8" fmla="*/ 1918706 w 1918706"/>
                  <a:gd name="connsiteY8" fmla="*/ 1068547 h 5633118"/>
                  <a:gd name="connsiteX9" fmla="*/ 1918706 w 1918706"/>
                  <a:gd name="connsiteY9" fmla="*/ 1076469 h 5633118"/>
                  <a:gd name="connsiteX10" fmla="*/ 1918706 w 1918706"/>
                  <a:gd name="connsiteY10" fmla="*/ 1491148 h 5633118"/>
                  <a:gd name="connsiteX11" fmla="*/ 1918706 w 1918706"/>
                  <a:gd name="connsiteY11" fmla="*/ 1499070 h 5633118"/>
                  <a:gd name="connsiteX12" fmla="*/ 1918706 w 1918706"/>
                  <a:gd name="connsiteY12" fmla="*/ 1506844 h 5633118"/>
                  <a:gd name="connsiteX13" fmla="*/ 1918706 w 1918706"/>
                  <a:gd name="connsiteY13" fmla="*/ 1563054 h 5633118"/>
                  <a:gd name="connsiteX14" fmla="*/ 1918706 w 1918706"/>
                  <a:gd name="connsiteY14" fmla="*/ 1586524 h 5633118"/>
                  <a:gd name="connsiteX15" fmla="*/ 1918706 w 1918706"/>
                  <a:gd name="connsiteY15" fmla="*/ 1985655 h 5633118"/>
                  <a:gd name="connsiteX16" fmla="*/ 1918706 w 1918706"/>
                  <a:gd name="connsiteY16" fmla="*/ 2001351 h 5633118"/>
                  <a:gd name="connsiteX17" fmla="*/ 1918706 w 1918706"/>
                  <a:gd name="connsiteY17" fmla="*/ 2009125 h 5633118"/>
                  <a:gd name="connsiteX18" fmla="*/ 1918706 w 1918706"/>
                  <a:gd name="connsiteY18" fmla="*/ 2073109 h 5633118"/>
                  <a:gd name="connsiteX19" fmla="*/ 1918706 w 1918706"/>
                  <a:gd name="connsiteY19" fmla="*/ 2081031 h 5633118"/>
                  <a:gd name="connsiteX20" fmla="*/ 1918706 w 1918706"/>
                  <a:gd name="connsiteY20" fmla="*/ 2088805 h 5633118"/>
                  <a:gd name="connsiteX21" fmla="*/ 1918706 w 1918706"/>
                  <a:gd name="connsiteY21" fmla="*/ 2503632 h 5633118"/>
                  <a:gd name="connsiteX22" fmla="*/ 1918706 w 1918706"/>
                  <a:gd name="connsiteY22" fmla="*/ 2511407 h 5633118"/>
                  <a:gd name="connsiteX23" fmla="*/ 1918706 w 1918706"/>
                  <a:gd name="connsiteY23" fmla="*/ 2567616 h 5633118"/>
                  <a:gd name="connsiteX24" fmla="*/ 1918706 w 1918706"/>
                  <a:gd name="connsiteY24" fmla="*/ 2583313 h 5633118"/>
                  <a:gd name="connsiteX25" fmla="*/ 1918706 w 1918706"/>
                  <a:gd name="connsiteY25" fmla="*/ 2591087 h 5633118"/>
                  <a:gd name="connsiteX26" fmla="*/ 1918706 w 1918706"/>
                  <a:gd name="connsiteY26" fmla="*/ 2992759 h 5633118"/>
                  <a:gd name="connsiteX27" fmla="*/ 1918706 w 1918706"/>
                  <a:gd name="connsiteY27" fmla="*/ 3005914 h 5633118"/>
                  <a:gd name="connsiteX28" fmla="*/ 1918706 w 1918706"/>
                  <a:gd name="connsiteY28" fmla="*/ 3013688 h 5633118"/>
                  <a:gd name="connsiteX29" fmla="*/ 1918706 w 1918706"/>
                  <a:gd name="connsiteY29" fmla="*/ 3085594 h 5633118"/>
                  <a:gd name="connsiteX30" fmla="*/ 1918706 w 1918706"/>
                  <a:gd name="connsiteY30" fmla="*/ 3093368 h 5633118"/>
                  <a:gd name="connsiteX31" fmla="*/ 1918706 w 1918706"/>
                  <a:gd name="connsiteY31" fmla="*/ 3487266 h 5633118"/>
                  <a:gd name="connsiteX32" fmla="*/ 1918706 w 1918706"/>
                  <a:gd name="connsiteY32" fmla="*/ 3508195 h 5633118"/>
                  <a:gd name="connsiteX33" fmla="*/ 1918706 w 1918706"/>
                  <a:gd name="connsiteY33" fmla="*/ 3515969 h 5633118"/>
                  <a:gd name="connsiteX34" fmla="*/ 1918706 w 1918706"/>
                  <a:gd name="connsiteY34" fmla="*/ 3574721 h 5633118"/>
                  <a:gd name="connsiteX35" fmla="*/ 1918706 w 1918706"/>
                  <a:gd name="connsiteY35" fmla="*/ 3587875 h 5633118"/>
                  <a:gd name="connsiteX36" fmla="*/ 1918706 w 1918706"/>
                  <a:gd name="connsiteY36" fmla="*/ 3595649 h 5633118"/>
                  <a:gd name="connsiteX37" fmla="*/ 1918706 w 1918706"/>
                  <a:gd name="connsiteY37" fmla="*/ 3997322 h 5633118"/>
                  <a:gd name="connsiteX38" fmla="*/ 1918706 w 1918706"/>
                  <a:gd name="connsiteY38" fmla="*/ 4010476 h 5633118"/>
                  <a:gd name="connsiteX39" fmla="*/ 1918706 w 1918706"/>
                  <a:gd name="connsiteY39" fmla="*/ 4069228 h 5633118"/>
                  <a:gd name="connsiteX40" fmla="*/ 1918706 w 1918706"/>
                  <a:gd name="connsiteY40" fmla="*/ 4090156 h 5633118"/>
                  <a:gd name="connsiteX41" fmla="*/ 1918706 w 1918706"/>
                  <a:gd name="connsiteY41" fmla="*/ 4097931 h 5633118"/>
                  <a:gd name="connsiteX42" fmla="*/ 1918706 w 1918706"/>
                  <a:gd name="connsiteY42" fmla="*/ 4491829 h 5633118"/>
                  <a:gd name="connsiteX43" fmla="*/ 1918706 w 1918706"/>
                  <a:gd name="connsiteY43" fmla="*/ 4579284 h 5633118"/>
                  <a:gd name="connsiteX44" fmla="*/ 1918706 w 1918706"/>
                  <a:gd name="connsiteY44" fmla="*/ 4592438 h 5633118"/>
                  <a:gd name="connsiteX45" fmla="*/ 1918706 w 1918706"/>
                  <a:gd name="connsiteY45" fmla="*/ 5073791 h 5633118"/>
                  <a:gd name="connsiteX46" fmla="*/ 959355 w 1918706"/>
                  <a:gd name="connsiteY46" fmla="*/ 5633118 h 5633118"/>
                  <a:gd name="connsiteX47" fmla="*/ 0 w 1918706"/>
                  <a:gd name="connsiteY47" fmla="*/ 5073791 h 5633118"/>
                  <a:gd name="connsiteX48" fmla="*/ 0 w 1918706"/>
                  <a:gd name="connsiteY48" fmla="*/ 4592438 h 5633118"/>
                  <a:gd name="connsiteX49" fmla="*/ 0 w 1918706"/>
                  <a:gd name="connsiteY49" fmla="*/ 4579284 h 5633118"/>
                  <a:gd name="connsiteX50" fmla="*/ 0 w 1918706"/>
                  <a:gd name="connsiteY50" fmla="*/ 4491829 h 5633118"/>
                  <a:gd name="connsiteX51" fmla="*/ 0 w 1918706"/>
                  <a:gd name="connsiteY51" fmla="*/ 4097931 h 5633118"/>
                  <a:gd name="connsiteX52" fmla="*/ 0 w 1918706"/>
                  <a:gd name="connsiteY52" fmla="*/ 4090156 h 5633118"/>
                  <a:gd name="connsiteX53" fmla="*/ 0 w 1918706"/>
                  <a:gd name="connsiteY53" fmla="*/ 4069228 h 5633118"/>
                  <a:gd name="connsiteX54" fmla="*/ 0 w 1918706"/>
                  <a:gd name="connsiteY54" fmla="*/ 4010476 h 5633118"/>
                  <a:gd name="connsiteX55" fmla="*/ 0 w 1918706"/>
                  <a:gd name="connsiteY55" fmla="*/ 3997322 h 5633118"/>
                  <a:gd name="connsiteX56" fmla="*/ 0 w 1918706"/>
                  <a:gd name="connsiteY56" fmla="*/ 3595649 h 5633118"/>
                  <a:gd name="connsiteX57" fmla="*/ 0 w 1918706"/>
                  <a:gd name="connsiteY57" fmla="*/ 3587875 h 5633118"/>
                  <a:gd name="connsiteX58" fmla="*/ 0 w 1918706"/>
                  <a:gd name="connsiteY58" fmla="*/ 3574721 h 5633118"/>
                  <a:gd name="connsiteX59" fmla="*/ 0 w 1918706"/>
                  <a:gd name="connsiteY59" fmla="*/ 3515969 h 5633118"/>
                  <a:gd name="connsiteX60" fmla="*/ 0 w 1918706"/>
                  <a:gd name="connsiteY60" fmla="*/ 3508195 h 5633118"/>
                  <a:gd name="connsiteX61" fmla="*/ 0 w 1918706"/>
                  <a:gd name="connsiteY61" fmla="*/ 3487266 h 5633118"/>
                  <a:gd name="connsiteX62" fmla="*/ 0 w 1918706"/>
                  <a:gd name="connsiteY62" fmla="*/ 3093368 h 5633118"/>
                  <a:gd name="connsiteX63" fmla="*/ 0 w 1918706"/>
                  <a:gd name="connsiteY63" fmla="*/ 3085594 h 5633118"/>
                  <a:gd name="connsiteX64" fmla="*/ 0 w 1918706"/>
                  <a:gd name="connsiteY64" fmla="*/ 3013688 h 5633118"/>
                  <a:gd name="connsiteX65" fmla="*/ 0 w 1918706"/>
                  <a:gd name="connsiteY65" fmla="*/ 3005914 h 5633118"/>
                  <a:gd name="connsiteX66" fmla="*/ 0 w 1918706"/>
                  <a:gd name="connsiteY66" fmla="*/ 2992759 h 5633118"/>
                  <a:gd name="connsiteX67" fmla="*/ 0 w 1918706"/>
                  <a:gd name="connsiteY67" fmla="*/ 2591087 h 5633118"/>
                  <a:gd name="connsiteX68" fmla="*/ 0 w 1918706"/>
                  <a:gd name="connsiteY68" fmla="*/ 2583313 h 5633118"/>
                  <a:gd name="connsiteX69" fmla="*/ 0 w 1918706"/>
                  <a:gd name="connsiteY69" fmla="*/ 2567616 h 5633118"/>
                  <a:gd name="connsiteX70" fmla="*/ 0 w 1918706"/>
                  <a:gd name="connsiteY70" fmla="*/ 2511407 h 5633118"/>
                  <a:gd name="connsiteX71" fmla="*/ 0 w 1918706"/>
                  <a:gd name="connsiteY71" fmla="*/ 2503632 h 5633118"/>
                  <a:gd name="connsiteX72" fmla="*/ 0 w 1918706"/>
                  <a:gd name="connsiteY72" fmla="*/ 2088805 h 5633118"/>
                  <a:gd name="connsiteX73" fmla="*/ 0 w 1918706"/>
                  <a:gd name="connsiteY73" fmla="*/ 2081031 h 5633118"/>
                  <a:gd name="connsiteX74" fmla="*/ 0 w 1918706"/>
                  <a:gd name="connsiteY74" fmla="*/ 2073109 h 5633118"/>
                  <a:gd name="connsiteX75" fmla="*/ 0 w 1918706"/>
                  <a:gd name="connsiteY75" fmla="*/ 2009125 h 5633118"/>
                  <a:gd name="connsiteX76" fmla="*/ 0 w 1918706"/>
                  <a:gd name="connsiteY76" fmla="*/ 2001351 h 5633118"/>
                  <a:gd name="connsiteX77" fmla="*/ 0 w 1918706"/>
                  <a:gd name="connsiteY77" fmla="*/ 1985655 h 5633118"/>
                  <a:gd name="connsiteX78" fmla="*/ 0 w 1918706"/>
                  <a:gd name="connsiteY78" fmla="*/ 1586524 h 5633118"/>
                  <a:gd name="connsiteX79" fmla="*/ 0 w 1918706"/>
                  <a:gd name="connsiteY79" fmla="*/ 1563054 h 5633118"/>
                  <a:gd name="connsiteX80" fmla="*/ 0 w 1918706"/>
                  <a:gd name="connsiteY80" fmla="*/ 1506844 h 5633118"/>
                  <a:gd name="connsiteX81" fmla="*/ 0 w 1918706"/>
                  <a:gd name="connsiteY81" fmla="*/ 1499070 h 5633118"/>
                  <a:gd name="connsiteX82" fmla="*/ 0 w 1918706"/>
                  <a:gd name="connsiteY82" fmla="*/ 1491148 h 5633118"/>
                  <a:gd name="connsiteX83" fmla="*/ 0 w 1918706"/>
                  <a:gd name="connsiteY83" fmla="*/ 1076469 h 5633118"/>
                  <a:gd name="connsiteX84" fmla="*/ 0 w 1918706"/>
                  <a:gd name="connsiteY84" fmla="*/ 1068547 h 5633118"/>
                  <a:gd name="connsiteX85" fmla="*/ 0 w 1918706"/>
                  <a:gd name="connsiteY85" fmla="*/ 1004563 h 5633118"/>
                  <a:gd name="connsiteX86" fmla="*/ 0 w 1918706"/>
                  <a:gd name="connsiteY86" fmla="*/ 981092 h 5633118"/>
                  <a:gd name="connsiteX87" fmla="*/ 0 w 1918706"/>
                  <a:gd name="connsiteY87" fmla="*/ 581962 h 5633118"/>
                  <a:gd name="connsiteX88" fmla="*/ 0 w 1918706"/>
                  <a:gd name="connsiteY88" fmla="*/ 494507 h 5633118"/>
                  <a:gd name="connsiteX89" fmla="*/ 0 w 1918706"/>
                  <a:gd name="connsiteY89" fmla="*/ 486585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981092 h 5633118"/>
                  <a:gd name="connsiteX6" fmla="*/ 1918706 w 1918706"/>
                  <a:gd name="connsiteY6" fmla="*/ 1004563 h 5633118"/>
                  <a:gd name="connsiteX7" fmla="*/ 1918706 w 1918706"/>
                  <a:gd name="connsiteY7" fmla="*/ 1068547 h 5633118"/>
                  <a:gd name="connsiteX8" fmla="*/ 1918706 w 1918706"/>
                  <a:gd name="connsiteY8" fmla="*/ 1076469 h 5633118"/>
                  <a:gd name="connsiteX9" fmla="*/ 1918706 w 1918706"/>
                  <a:gd name="connsiteY9" fmla="*/ 1491148 h 5633118"/>
                  <a:gd name="connsiteX10" fmla="*/ 1918706 w 1918706"/>
                  <a:gd name="connsiteY10" fmla="*/ 1499070 h 5633118"/>
                  <a:gd name="connsiteX11" fmla="*/ 1918706 w 1918706"/>
                  <a:gd name="connsiteY11" fmla="*/ 1506844 h 5633118"/>
                  <a:gd name="connsiteX12" fmla="*/ 1918706 w 1918706"/>
                  <a:gd name="connsiteY12" fmla="*/ 1563054 h 5633118"/>
                  <a:gd name="connsiteX13" fmla="*/ 1918706 w 1918706"/>
                  <a:gd name="connsiteY13" fmla="*/ 1586524 h 5633118"/>
                  <a:gd name="connsiteX14" fmla="*/ 1918706 w 1918706"/>
                  <a:gd name="connsiteY14" fmla="*/ 1985655 h 5633118"/>
                  <a:gd name="connsiteX15" fmla="*/ 1918706 w 1918706"/>
                  <a:gd name="connsiteY15" fmla="*/ 2001351 h 5633118"/>
                  <a:gd name="connsiteX16" fmla="*/ 1918706 w 1918706"/>
                  <a:gd name="connsiteY16" fmla="*/ 2009125 h 5633118"/>
                  <a:gd name="connsiteX17" fmla="*/ 1918706 w 1918706"/>
                  <a:gd name="connsiteY17" fmla="*/ 2073109 h 5633118"/>
                  <a:gd name="connsiteX18" fmla="*/ 1918706 w 1918706"/>
                  <a:gd name="connsiteY18" fmla="*/ 2081031 h 5633118"/>
                  <a:gd name="connsiteX19" fmla="*/ 1918706 w 1918706"/>
                  <a:gd name="connsiteY19" fmla="*/ 2088805 h 5633118"/>
                  <a:gd name="connsiteX20" fmla="*/ 1918706 w 1918706"/>
                  <a:gd name="connsiteY20" fmla="*/ 2503632 h 5633118"/>
                  <a:gd name="connsiteX21" fmla="*/ 1918706 w 1918706"/>
                  <a:gd name="connsiteY21" fmla="*/ 2511407 h 5633118"/>
                  <a:gd name="connsiteX22" fmla="*/ 1918706 w 1918706"/>
                  <a:gd name="connsiteY22" fmla="*/ 2567616 h 5633118"/>
                  <a:gd name="connsiteX23" fmla="*/ 1918706 w 1918706"/>
                  <a:gd name="connsiteY23" fmla="*/ 2583313 h 5633118"/>
                  <a:gd name="connsiteX24" fmla="*/ 1918706 w 1918706"/>
                  <a:gd name="connsiteY24" fmla="*/ 2591087 h 5633118"/>
                  <a:gd name="connsiteX25" fmla="*/ 1918706 w 1918706"/>
                  <a:gd name="connsiteY25" fmla="*/ 2992759 h 5633118"/>
                  <a:gd name="connsiteX26" fmla="*/ 1918706 w 1918706"/>
                  <a:gd name="connsiteY26" fmla="*/ 3005914 h 5633118"/>
                  <a:gd name="connsiteX27" fmla="*/ 1918706 w 1918706"/>
                  <a:gd name="connsiteY27" fmla="*/ 3013688 h 5633118"/>
                  <a:gd name="connsiteX28" fmla="*/ 1918706 w 1918706"/>
                  <a:gd name="connsiteY28" fmla="*/ 3085594 h 5633118"/>
                  <a:gd name="connsiteX29" fmla="*/ 1918706 w 1918706"/>
                  <a:gd name="connsiteY29" fmla="*/ 3093368 h 5633118"/>
                  <a:gd name="connsiteX30" fmla="*/ 1918706 w 1918706"/>
                  <a:gd name="connsiteY30" fmla="*/ 3487266 h 5633118"/>
                  <a:gd name="connsiteX31" fmla="*/ 1918706 w 1918706"/>
                  <a:gd name="connsiteY31" fmla="*/ 3508195 h 5633118"/>
                  <a:gd name="connsiteX32" fmla="*/ 1918706 w 1918706"/>
                  <a:gd name="connsiteY32" fmla="*/ 3515969 h 5633118"/>
                  <a:gd name="connsiteX33" fmla="*/ 1918706 w 1918706"/>
                  <a:gd name="connsiteY33" fmla="*/ 3574721 h 5633118"/>
                  <a:gd name="connsiteX34" fmla="*/ 1918706 w 1918706"/>
                  <a:gd name="connsiteY34" fmla="*/ 3587875 h 5633118"/>
                  <a:gd name="connsiteX35" fmla="*/ 1918706 w 1918706"/>
                  <a:gd name="connsiteY35" fmla="*/ 3595649 h 5633118"/>
                  <a:gd name="connsiteX36" fmla="*/ 1918706 w 1918706"/>
                  <a:gd name="connsiteY36" fmla="*/ 3997322 h 5633118"/>
                  <a:gd name="connsiteX37" fmla="*/ 1918706 w 1918706"/>
                  <a:gd name="connsiteY37" fmla="*/ 4010476 h 5633118"/>
                  <a:gd name="connsiteX38" fmla="*/ 1918706 w 1918706"/>
                  <a:gd name="connsiteY38" fmla="*/ 4069228 h 5633118"/>
                  <a:gd name="connsiteX39" fmla="*/ 1918706 w 1918706"/>
                  <a:gd name="connsiteY39" fmla="*/ 4090156 h 5633118"/>
                  <a:gd name="connsiteX40" fmla="*/ 1918706 w 1918706"/>
                  <a:gd name="connsiteY40" fmla="*/ 4097931 h 5633118"/>
                  <a:gd name="connsiteX41" fmla="*/ 1918706 w 1918706"/>
                  <a:gd name="connsiteY41" fmla="*/ 4491829 h 5633118"/>
                  <a:gd name="connsiteX42" fmla="*/ 1918706 w 1918706"/>
                  <a:gd name="connsiteY42" fmla="*/ 4579284 h 5633118"/>
                  <a:gd name="connsiteX43" fmla="*/ 1918706 w 1918706"/>
                  <a:gd name="connsiteY43" fmla="*/ 4592438 h 5633118"/>
                  <a:gd name="connsiteX44" fmla="*/ 1918706 w 1918706"/>
                  <a:gd name="connsiteY44" fmla="*/ 5073791 h 5633118"/>
                  <a:gd name="connsiteX45" fmla="*/ 959355 w 1918706"/>
                  <a:gd name="connsiteY45" fmla="*/ 5633118 h 5633118"/>
                  <a:gd name="connsiteX46" fmla="*/ 0 w 1918706"/>
                  <a:gd name="connsiteY46" fmla="*/ 5073791 h 5633118"/>
                  <a:gd name="connsiteX47" fmla="*/ 0 w 1918706"/>
                  <a:gd name="connsiteY47" fmla="*/ 4592438 h 5633118"/>
                  <a:gd name="connsiteX48" fmla="*/ 0 w 1918706"/>
                  <a:gd name="connsiteY48" fmla="*/ 4579284 h 5633118"/>
                  <a:gd name="connsiteX49" fmla="*/ 0 w 1918706"/>
                  <a:gd name="connsiteY49" fmla="*/ 4491829 h 5633118"/>
                  <a:gd name="connsiteX50" fmla="*/ 0 w 1918706"/>
                  <a:gd name="connsiteY50" fmla="*/ 4097931 h 5633118"/>
                  <a:gd name="connsiteX51" fmla="*/ 0 w 1918706"/>
                  <a:gd name="connsiteY51" fmla="*/ 4090156 h 5633118"/>
                  <a:gd name="connsiteX52" fmla="*/ 0 w 1918706"/>
                  <a:gd name="connsiteY52" fmla="*/ 4069228 h 5633118"/>
                  <a:gd name="connsiteX53" fmla="*/ 0 w 1918706"/>
                  <a:gd name="connsiteY53" fmla="*/ 4010476 h 5633118"/>
                  <a:gd name="connsiteX54" fmla="*/ 0 w 1918706"/>
                  <a:gd name="connsiteY54" fmla="*/ 3997322 h 5633118"/>
                  <a:gd name="connsiteX55" fmla="*/ 0 w 1918706"/>
                  <a:gd name="connsiteY55" fmla="*/ 3595649 h 5633118"/>
                  <a:gd name="connsiteX56" fmla="*/ 0 w 1918706"/>
                  <a:gd name="connsiteY56" fmla="*/ 3587875 h 5633118"/>
                  <a:gd name="connsiteX57" fmla="*/ 0 w 1918706"/>
                  <a:gd name="connsiteY57" fmla="*/ 3574721 h 5633118"/>
                  <a:gd name="connsiteX58" fmla="*/ 0 w 1918706"/>
                  <a:gd name="connsiteY58" fmla="*/ 3515969 h 5633118"/>
                  <a:gd name="connsiteX59" fmla="*/ 0 w 1918706"/>
                  <a:gd name="connsiteY59" fmla="*/ 3508195 h 5633118"/>
                  <a:gd name="connsiteX60" fmla="*/ 0 w 1918706"/>
                  <a:gd name="connsiteY60" fmla="*/ 3487266 h 5633118"/>
                  <a:gd name="connsiteX61" fmla="*/ 0 w 1918706"/>
                  <a:gd name="connsiteY61" fmla="*/ 3093368 h 5633118"/>
                  <a:gd name="connsiteX62" fmla="*/ 0 w 1918706"/>
                  <a:gd name="connsiteY62" fmla="*/ 3085594 h 5633118"/>
                  <a:gd name="connsiteX63" fmla="*/ 0 w 1918706"/>
                  <a:gd name="connsiteY63" fmla="*/ 3013688 h 5633118"/>
                  <a:gd name="connsiteX64" fmla="*/ 0 w 1918706"/>
                  <a:gd name="connsiteY64" fmla="*/ 3005914 h 5633118"/>
                  <a:gd name="connsiteX65" fmla="*/ 0 w 1918706"/>
                  <a:gd name="connsiteY65" fmla="*/ 2992759 h 5633118"/>
                  <a:gd name="connsiteX66" fmla="*/ 0 w 1918706"/>
                  <a:gd name="connsiteY66" fmla="*/ 2591087 h 5633118"/>
                  <a:gd name="connsiteX67" fmla="*/ 0 w 1918706"/>
                  <a:gd name="connsiteY67" fmla="*/ 2583313 h 5633118"/>
                  <a:gd name="connsiteX68" fmla="*/ 0 w 1918706"/>
                  <a:gd name="connsiteY68" fmla="*/ 2567616 h 5633118"/>
                  <a:gd name="connsiteX69" fmla="*/ 0 w 1918706"/>
                  <a:gd name="connsiteY69" fmla="*/ 2511407 h 5633118"/>
                  <a:gd name="connsiteX70" fmla="*/ 0 w 1918706"/>
                  <a:gd name="connsiteY70" fmla="*/ 2503632 h 5633118"/>
                  <a:gd name="connsiteX71" fmla="*/ 0 w 1918706"/>
                  <a:gd name="connsiteY71" fmla="*/ 2088805 h 5633118"/>
                  <a:gd name="connsiteX72" fmla="*/ 0 w 1918706"/>
                  <a:gd name="connsiteY72" fmla="*/ 2081031 h 5633118"/>
                  <a:gd name="connsiteX73" fmla="*/ 0 w 1918706"/>
                  <a:gd name="connsiteY73" fmla="*/ 2073109 h 5633118"/>
                  <a:gd name="connsiteX74" fmla="*/ 0 w 1918706"/>
                  <a:gd name="connsiteY74" fmla="*/ 2009125 h 5633118"/>
                  <a:gd name="connsiteX75" fmla="*/ 0 w 1918706"/>
                  <a:gd name="connsiteY75" fmla="*/ 2001351 h 5633118"/>
                  <a:gd name="connsiteX76" fmla="*/ 0 w 1918706"/>
                  <a:gd name="connsiteY76" fmla="*/ 1985655 h 5633118"/>
                  <a:gd name="connsiteX77" fmla="*/ 0 w 1918706"/>
                  <a:gd name="connsiteY77" fmla="*/ 1586524 h 5633118"/>
                  <a:gd name="connsiteX78" fmla="*/ 0 w 1918706"/>
                  <a:gd name="connsiteY78" fmla="*/ 1563054 h 5633118"/>
                  <a:gd name="connsiteX79" fmla="*/ 0 w 1918706"/>
                  <a:gd name="connsiteY79" fmla="*/ 1506844 h 5633118"/>
                  <a:gd name="connsiteX80" fmla="*/ 0 w 1918706"/>
                  <a:gd name="connsiteY80" fmla="*/ 1499070 h 5633118"/>
                  <a:gd name="connsiteX81" fmla="*/ 0 w 1918706"/>
                  <a:gd name="connsiteY81" fmla="*/ 1491148 h 5633118"/>
                  <a:gd name="connsiteX82" fmla="*/ 0 w 1918706"/>
                  <a:gd name="connsiteY82" fmla="*/ 1076469 h 5633118"/>
                  <a:gd name="connsiteX83" fmla="*/ 0 w 1918706"/>
                  <a:gd name="connsiteY83" fmla="*/ 1068547 h 5633118"/>
                  <a:gd name="connsiteX84" fmla="*/ 0 w 1918706"/>
                  <a:gd name="connsiteY84" fmla="*/ 1004563 h 5633118"/>
                  <a:gd name="connsiteX85" fmla="*/ 0 w 1918706"/>
                  <a:gd name="connsiteY85" fmla="*/ 981092 h 5633118"/>
                  <a:gd name="connsiteX86" fmla="*/ 0 w 1918706"/>
                  <a:gd name="connsiteY86" fmla="*/ 581962 h 5633118"/>
                  <a:gd name="connsiteX87" fmla="*/ 0 w 1918706"/>
                  <a:gd name="connsiteY87" fmla="*/ 494507 h 5633118"/>
                  <a:gd name="connsiteX88" fmla="*/ 0 w 1918706"/>
                  <a:gd name="connsiteY88" fmla="*/ 486585 h 5633118"/>
                  <a:gd name="connsiteX89" fmla="*/ 0 w 1918706"/>
                  <a:gd name="connsiteY8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981092 h 5633118"/>
                  <a:gd name="connsiteX5" fmla="*/ 1918706 w 1918706"/>
                  <a:gd name="connsiteY5" fmla="*/ 1004563 h 5633118"/>
                  <a:gd name="connsiteX6" fmla="*/ 1918706 w 1918706"/>
                  <a:gd name="connsiteY6" fmla="*/ 1068547 h 5633118"/>
                  <a:gd name="connsiteX7" fmla="*/ 1918706 w 1918706"/>
                  <a:gd name="connsiteY7" fmla="*/ 1076469 h 5633118"/>
                  <a:gd name="connsiteX8" fmla="*/ 1918706 w 1918706"/>
                  <a:gd name="connsiteY8" fmla="*/ 1491148 h 5633118"/>
                  <a:gd name="connsiteX9" fmla="*/ 1918706 w 1918706"/>
                  <a:gd name="connsiteY9" fmla="*/ 1499070 h 5633118"/>
                  <a:gd name="connsiteX10" fmla="*/ 1918706 w 1918706"/>
                  <a:gd name="connsiteY10" fmla="*/ 1506844 h 5633118"/>
                  <a:gd name="connsiteX11" fmla="*/ 1918706 w 1918706"/>
                  <a:gd name="connsiteY11" fmla="*/ 1563054 h 5633118"/>
                  <a:gd name="connsiteX12" fmla="*/ 1918706 w 1918706"/>
                  <a:gd name="connsiteY12" fmla="*/ 1586524 h 5633118"/>
                  <a:gd name="connsiteX13" fmla="*/ 1918706 w 1918706"/>
                  <a:gd name="connsiteY13" fmla="*/ 1985655 h 5633118"/>
                  <a:gd name="connsiteX14" fmla="*/ 1918706 w 1918706"/>
                  <a:gd name="connsiteY14" fmla="*/ 2001351 h 5633118"/>
                  <a:gd name="connsiteX15" fmla="*/ 1918706 w 1918706"/>
                  <a:gd name="connsiteY15" fmla="*/ 2009125 h 5633118"/>
                  <a:gd name="connsiteX16" fmla="*/ 1918706 w 1918706"/>
                  <a:gd name="connsiteY16" fmla="*/ 2073109 h 5633118"/>
                  <a:gd name="connsiteX17" fmla="*/ 1918706 w 1918706"/>
                  <a:gd name="connsiteY17" fmla="*/ 2081031 h 5633118"/>
                  <a:gd name="connsiteX18" fmla="*/ 1918706 w 1918706"/>
                  <a:gd name="connsiteY18" fmla="*/ 2088805 h 5633118"/>
                  <a:gd name="connsiteX19" fmla="*/ 1918706 w 1918706"/>
                  <a:gd name="connsiteY19" fmla="*/ 2503632 h 5633118"/>
                  <a:gd name="connsiteX20" fmla="*/ 1918706 w 1918706"/>
                  <a:gd name="connsiteY20" fmla="*/ 2511407 h 5633118"/>
                  <a:gd name="connsiteX21" fmla="*/ 1918706 w 1918706"/>
                  <a:gd name="connsiteY21" fmla="*/ 2567616 h 5633118"/>
                  <a:gd name="connsiteX22" fmla="*/ 1918706 w 1918706"/>
                  <a:gd name="connsiteY22" fmla="*/ 2583313 h 5633118"/>
                  <a:gd name="connsiteX23" fmla="*/ 1918706 w 1918706"/>
                  <a:gd name="connsiteY23" fmla="*/ 2591087 h 5633118"/>
                  <a:gd name="connsiteX24" fmla="*/ 1918706 w 1918706"/>
                  <a:gd name="connsiteY24" fmla="*/ 2992759 h 5633118"/>
                  <a:gd name="connsiteX25" fmla="*/ 1918706 w 1918706"/>
                  <a:gd name="connsiteY25" fmla="*/ 3005914 h 5633118"/>
                  <a:gd name="connsiteX26" fmla="*/ 1918706 w 1918706"/>
                  <a:gd name="connsiteY26" fmla="*/ 3013688 h 5633118"/>
                  <a:gd name="connsiteX27" fmla="*/ 1918706 w 1918706"/>
                  <a:gd name="connsiteY27" fmla="*/ 3085594 h 5633118"/>
                  <a:gd name="connsiteX28" fmla="*/ 1918706 w 1918706"/>
                  <a:gd name="connsiteY28" fmla="*/ 3093368 h 5633118"/>
                  <a:gd name="connsiteX29" fmla="*/ 1918706 w 1918706"/>
                  <a:gd name="connsiteY29" fmla="*/ 3487266 h 5633118"/>
                  <a:gd name="connsiteX30" fmla="*/ 1918706 w 1918706"/>
                  <a:gd name="connsiteY30" fmla="*/ 3508195 h 5633118"/>
                  <a:gd name="connsiteX31" fmla="*/ 1918706 w 1918706"/>
                  <a:gd name="connsiteY31" fmla="*/ 3515969 h 5633118"/>
                  <a:gd name="connsiteX32" fmla="*/ 1918706 w 1918706"/>
                  <a:gd name="connsiteY32" fmla="*/ 3574721 h 5633118"/>
                  <a:gd name="connsiteX33" fmla="*/ 1918706 w 1918706"/>
                  <a:gd name="connsiteY33" fmla="*/ 3587875 h 5633118"/>
                  <a:gd name="connsiteX34" fmla="*/ 1918706 w 1918706"/>
                  <a:gd name="connsiteY34" fmla="*/ 3595649 h 5633118"/>
                  <a:gd name="connsiteX35" fmla="*/ 1918706 w 1918706"/>
                  <a:gd name="connsiteY35" fmla="*/ 3997322 h 5633118"/>
                  <a:gd name="connsiteX36" fmla="*/ 1918706 w 1918706"/>
                  <a:gd name="connsiteY36" fmla="*/ 4010476 h 5633118"/>
                  <a:gd name="connsiteX37" fmla="*/ 1918706 w 1918706"/>
                  <a:gd name="connsiteY37" fmla="*/ 4069228 h 5633118"/>
                  <a:gd name="connsiteX38" fmla="*/ 1918706 w 1918706"/>
                  <a:gd name="connsiteY38" fmla="*/ 4090156 h 5633118"/>
                  <a:gd name="connsiteX39" fmla="*/ 1918706 w 1918706"/>
                  <a:gd name="connsiteY39" fmla="*/ 4097931 h 5633118"/>
                  <a:gd name="connsiteX40" fmla="*/ 1918706 w 1918706"/>
                  <a:gd name="connsiteY40" fmla="*/ 4491829 h 5633118"/>
                  <a:gd name="connsiteX41" fmla="*/ 1918706 w 1918706"/>
                  <a:gd name="connsiteY41" fmla="*/ 4579284 h 5633118"/>
                  <a:gd name="connsiteX42" fmla="*/ 1918706 w 1918706"/>
                  <a:gd name="connsiteY42" fmla="*/ 4592438 h 5633118"/>
                  <a:gd name="connsiteX43" fmla="*/ 1918706 w 1918706"/>
                  <a:gd name="connsiteY43" fmla="*/ 5073791 h 5633118"/>
                  <a:gd name="connsiteX44" fmla="*/ 959355 w 1918706"/>
                  <a:gd name="connsiteY44" fmla="*/ 5633118 h 5633118"/>
                  <a:gd name="connsiteX45" fmla="*/ 0 w 1918706"/>
                  <a:gd name="connsiteY45" fmla="*/ 5073791 h 5633118"/>
                  <a:gd name="connsiteX46" fmla="*/ 0 w 1918706"/>
                  <a:gd name="connsiteY46" fmla="*/ 4592438 h 5633118"/>
                  <a:gd name="connsiteX47" fmla="*/ 0 w 1918706"/>
                  <a:gd name="connsiteY47" fmla="*/ 4579284 h 5633118"/>
                  <a:gd name="connsiteX48" fmla="*/ 0 w 1918706"/>
                  <a:gd name="connsiteY48" fmla="*/ 4491829 h 5633118"/>
                  <a:gd name="connsiteX49" fmla="*/ 0 w 1918706"/>
                  <a:gd name="connsiteY49" fmla="*/ 4097931 h 5633118"/>
                  <a:gd name="connsiteX50" fmla="*/ 0 w 1918706"/>
                  <a:gd name="connsiteY50" fmla="*/ 4090156 h 5633118"/>
                  <a:gd name="connsiteX51" fmla="*/ 0 w 1918706"/>
                  <a:gd name="connsiteY51" fmla="*/ 4069228 h 5633118"/>
                  <a:gd name="connsiteX52" fmla="*/ 0 w 1918706"/>
                  <a:gd name="connsiteY52" fmla="*/ 4010476 h 5633118"/>
                  <a:gd name="connsiteX53" fmla="*/ 0 w 1918706"/>
                  <a:gd name="connsiteY53" fmla="*/ 3997322 h 5633118"/>
                  <a:gd name="connsiteX54" fmla="*/ 0 w 1918706"/>
                  <a:gd name="connsiteY54" fmla="*/ 3595649 h 5633118"/>
                  <a:gd name="connsiteX55" fmla="*/ 0 w 1918706"/>
                  <a:gd name="connsiteY55" fmla="*/ 3587875 h 5633118"/>
                  <a:gd name="connsiteX56" fmla="*/ 0 w 1918706"/>
                  <a:gd name="connsiteY56" fmla="*/ 3574721 h 5633118"/>
                  <a:gd name="connsiteX57" fmla="*/ 0 w 1918706"/>
                  <a:gd name="connsiteY57" fmla="*/ 3515969 h 5633118"/>
                  <a:gd name="connsiteX58" fmla="*/ 0 w 1918706"/>
                  <a:gd name="connsiteY58" fmla="*/ 3508195 h 5633118"/>
                  <a:gd name="connsiteX59" fmla="*/ 0 w 1918706"/>
                  <a:gd name="connsiteY59" fmla="*/ 3487266 h 5633118"/>
                  <a:gd name="connsiteX60" fmla="*/ 0 w 1918706"/>
                  <a:gd name="connsiteY60" fmla="*/ 3093368 h 5633118"/>
                  <a:gd name="connsiteX61" fmla="*/ 0 w 1918706"/>
                  <a:gd name="connsiteY61" fmla="*/ 3085594 h 5633118"/>
                  <a:gd name="connsiteX62" fmla="*/ 0 w 1918706"/>
                  <a:gd name="connsiteY62" fmla="*/ 3013688 h 5633118"/>
                  <a:gd name="connsiteX63" fmla="*/ 0 w 1918706"/>
                  <a:gd name="connsiteY63" fmla="*/ 3005914 h 5633118"/>
                  <a:gd name="connsiteX64" fmla="*/ 0 w 1918706"/>
                  <a:gd name="connsiteY64" fmla="*/ 2992759 h 5633118"/>
                  <a:gd name="connsiteX65" fmla="*/ 0 w 1918706"/>
                  <a:gd name="connsiteY65" fmla="*/ 2591087 h 5633118"/>
                  <a:gd name="connsiteX66" fmla="*/ 0 w 1918706"/>
                  <a:gd name="connsiteY66" fmla="*/ 2583313 h 5633118"/>
                  <a:gd name="connsiteX67" fmla="*/ 0 w 1918706"/>
                  <a:gd name="connsiteY67" fmla="*/ 2567616 h 5633118"/>
                  <a:gd name="connsiteX68" fmla="*/ 0 w 1918706"/>
                  <a:gd name="connsiteY68" fmla="*/ 2511407 h 5633118"/>
                  <a:gd name="connsiteX69" fmla="*/ 0 w 1918706"/>
                  <a:gd name="connsiteY69" fmla="*/ 2503632 h 5633118"/>
                  <a:gd name="connsiteX70" fmla="*/ 0 w 1918706"/>
                  <a:gd name="connsiteY70" fmla="*/ 2088805 h 5633118"/>
                  <a:gd name="connsiteX71" fmla="*/ 0 w 1918706"/>
                  <a:gd name="connsiteY71" fmla="*/ 2081031 h 5633118"/>
                  <a:gd name="connsiteX72" fmla="*/ 0 w 1918706"/>
                  <a:gd name="connsiteY72" fmla="*/ 2073109 h 5633118"/>
                  <a:gd name="connsiteX73" fmla="*/ 0 w 1918706"/>
                  <a:gd name="connsiteY73" fmla="*/ 2009125 h 5633118"/>
                  <a:gd name="connsiteX74" fmla="*/ 0 w 1918706"/>
                  <a:gd name="connsiteY74" fmla="*/ 2001351 h 5633118"/>
                  <a:gd name="connsiteX75" fmla="*/ 0 w 1918706"/>
                  <a:gd name="connsiteY75" fmla="*/ 1985655 h 5633118"/>
                  <a:gd name="connsiteX76" fmla="*/ 0 w 1918706"/>
                  <a:gd name="connsiteY76" fmla="*/ 1586524 h 5633118"/>
                  <a:gd name="connsiteX77" fmla="*/ 0 w 1918706"/>
                  <a:gd name="connsiteY77" fmla="*/ 1563054 h 5633118"/>
                  <a:gd name="connsiteX78" fmla="*/ 0 w 1918706"/>
                  <a:gd name="connsiteY78" fmla="*/ 1506844 h 5633118"/>
                  <a:gd name="connsiteX79" fmla="*/ 0 w 1918706"/>
                  <a:gd name="connsiteY79" fmla="*/ 1499070 h 5633118"/>
                  <a:gd name="connsiteX80" fmla="*/ 0 w 1918706"/>
                  <a:gd name="connsiteY80" fmla="*/ 1491148 h 5633118"/>
                  <a:gd name="connsiteX81" fmla="*/ 0 w 1918706"/>
                  <a:gd name="connsiteY81" fmla="*/ 1076469 h 5633118"/>
                  <a:gd name="connsiteX82" fmla="*/ 0 w 1918706"/>
                  <a:gd name="connsiteY82" fmla="*/ 1068547 h 5633118"/>
                  <a:gd name="connsiteX83" fmla="*/ 0 w 1918706"/>
                  <a:gd name="connsiteY83" fmla="*/ 1004563 h 5633118"/>
                  <a:gd name="connsiteX84" fmla="*/ 0 w 1918706"/>
                  <a:gd name="connsiteY84" fmla="*/ 981092 h 5633118"/>
                  <a:gd name="connsiteX85" fmla="*/ 0 w 1918706"/>
                  <a:gd name="connsiteY85" fmla="*/ 581962 h 5633118"/>
                  <a:gd name="connsiteX86" fmla="*/ 0 w 1918706"/>
                  <a:gd name="connsiteY86" fmla="*/ 494507 h 5633118"/>
                  <a:gd name="connsiteX87" fmla="*/ 0 w 1918706"/>
                  <a:gd name="connsiteY87" fmla="*/ 486585 h 5633118"/>
                  <a:gd name="connsiteX88" fmla="*/ 0 w 1918706"/>
                  <a:gd name="connsiteY8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486585 h 5633118"/>
                  <a:gd name="connsiteX87" fmla="*/ 0 w 1918706"/>
                  <a:gd name="connsiteY8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076469 h 5633118"/>
                  <a:gd name="connsiteX80" fmla="*/ 0 w 1918706"/>
                  <a:gd name="connsiteY8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591087 h 5633118"/>
                  <a:gd name="connsiteX64" fmla="*/ 0 w 1918706"/>
                  <a:gd name="connsiteY6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2591087 h 5633118"/>
                  <a:gd name="connsiteX63" fmla="*/ 0 w 1918706"/>
                  <a:gd name="connsiteY6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2591087 h 5633118"/>
                  <a:gd name="connsiteX62" fmla="*/ 0 w 1918706"/>
                  <a:gd name="connsiteY6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2591087 h 5633118"/>
                  <a:gd name="connsiteX61" fmla="*/ 0 w 1918706"/>
                  <a:gd name="connsiteY6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68547 h 5633118"/>
                  <a:gd name="connsiteX5" fmla="*/ 1918706 w 1918706"/>
                  <a:gd name="connsiteY5" fmla="*/ 1076469 h 5633118"/>
                  <a:gd name="connsiteX6" fmla="*/ 1918706 w 1918706"/>
                  <a:gd name="connsiteY6" fmla="*/ 1491148 h 5633118"/>
                  <a:gd name="connsiteX7" fmla="*/ 1918706 w 1918706"/>
                  <a:gd name="connsiteY7" fmla="*/ 1499070 h 5633118"/>
                  <a:gd name="connsiteX8" fmla="*/ 1918706 w 1918706"/>
                  <a:gd name="connsiteY8" fmla="*/ 1506844 h 5633118"/>
                  <a:gd name="connsiteX9" fmla="*/ 1918706 w 1918706"/>
                  <a:gd name="connsiteY9" fmla="*/ 1563054 h 5633118"/>
                  <a:gd name="connsiteX10" fmla="*/ 1918706 w 1918706"/>
                  <a:gd name="connsiteY10" fmla="*/ 1586524 h 5633118"/>
                  <a:gd name="connsiteX11" fmla="*/ 1918706 w 1918706"/>
                  <a:gd name="connsiteY11" fmla="*/ 1985655 h 5633118"/>
                  <a:gd name="connsiteX12" fmla="*/ 1918706 w 1918706"/>
                  <a:gd name="connsiteY12" fmla="*/ 2001351 h 5633118"/>
                  <a:gd name="connsiteX13" fmla="*/ 1918706 w 1918706"/>
                  <a:gd name="connsiteY13" fmla="*/ 2009125 h 5633118"/>
                  <a:gd name="connsiteX14" fmla="*/ 1918706 w 1918706"/>
                  <a:gd name="connsiteY14" fmla="*/ 2073109 h 5633118"/>
                  <a:gd name="connsiteX15" fmla="*/ 1918706 w 1918706"/>
                  <a:gd name="connsiteY15" fmla="*/ 2081031 h 5633118"/>
                  <a:gd name="connsiteX16" fmla="*/ 1918706 w 1918706"/>
                  <a:gd name="connsiteY16" fmla="*/ 2088805 h 5633118"/>
                  <a:gd name="connsiteX17" fmla="*/ 1918706 w 1918706"/>
                  <a:gd name="connsiteY17" fmla="*/ 2503632 h 5633118"/>
                  <a:gd name="connsiteX18" fmla="*/ 1918706 w 1918706"/>
                  <a:gd name="connsiteY18" fmla="*/ 2511407 h 5633118"/>
                  <a:gd name="connsiteX19" fmla="*/ 1918706 w 1918706"/>
                  <a:gd name="connsiteY19" fmla="*/ 2567616 h 5633118"/>
                  <a:gd name="connsiteX20" fmla="*/ 1918706 w 1918706"/>
                  <a:gd name="connsiteY20" fmla="*/ 2583313 h 5633118"/>
                  <a:gd name="connsiteX21" fmla="*/ 1918706 w 1918706"/>
                  <a:gd name="connsiteY21" fmla="*/ 2591087 h 5633118"/>
                  <a:gd name="connsiteX22" fmla="*/ 1918706 w 1918706"/>
                  <a:gd name="connsiteY22" fmla="*/ 2992759 h 5633118"/>
                  <a:gd name="connsiteX23" fmla="*/ 1918706 w 1918706"/>
                  <a:gd name="connsiteY23" fmla="*/ 3005914 h 5633118"/>
                  <a:gd name="connsiteX24" fmla="*/ 1918706 w 1918706"/>
                  <a:gd name="connsiteY24" fmla="*/ 3013688 h 5633118"/>
                  <a:gd name="connsiteX25" fmla="*/ 1918706 w 1918706"/>
                  <a:gd name="connsiteY25" fmla="*/ 3085594 h 5633118"/>
                  <a:gd name="connsiteX26" fmla="*/ 1918706 w 1918706"/>
                  <a:gd name="connsiteY26" fmla="*/ 3093368 h 5633118"/>
                  <a:gd name="connsiteX27" fmla="*/ 1918706 w 1918706"/>
                  <a:gd name="connsiteY27" fmla="*/ 3487266 h 5633118"/>
                  <a:gd name="connsiteX28" fmla="*/ 1918706 w 1918706"/>
                  <a:gd name="connsiteY28" fmla="*/ 3508195 h 5633118"/>
                  <a:gd name="connsiteX29" fmla="*/ 1918706 w 1918706"/>
                  <a:gd name="connsiteY29" fmla="*/ 3515969 h 5633118"/>
                  <a:gd name="connsiteX30" fmla="*/ 1918706 w 1918706"/>
                  <a:gd name="connsiteY30" fmla="*/ 3574721 h 5633118"/>
                  <a:gd name="connsiteX31" fmla="*/ 1918706 w 1918706"/>
                  <a:gd name="connsiteY31" fmla="*/ 3587875 h 5633118"/>
                  <a:gd name="connsiteX32" fmla="*/ 1918706 w 1918706"/>
                  <a:gd name="connsiteY32" fmla="*/ 3595649 h 5633118"/>
                  <a:gd name="connsiteX33" fmla="*/ 1918706 w 1918706"/>
                  <a:gd name="connsiteY33" fmla="*/ 3997322 h 5633118"/>
                  <a:gd name="connsiteX34" fmla="*/ 1918706 w 1918706"/>
                  <a:gd name="connsiteY34" fmla="*/ 4010476 h 5633118"/>
                  <a:gd name="connsiteX35" fmla="*/ 1918706 w 1918706"/>
                  <a:gd name="connsiteY35" fmla="*/ 4069228 h 5633118"/>
                  <a:gd name="connsiteX36" fmla="*/ 1918706 w 1918706"/>
                  <a:gd name="connsiteY36" fmla="*/ 4090156 h 5633118"/>
                  <a:gd name="connsiteX37" fmla="*/ 1918706 w 1918706"/>
                  <a:gd name="connsiteY37" fmla="*/ 4097931 h 5633118"/>
                  <a:gd name="connsiteX38" fmla="*/ 1918706 w 1918706"/>
                  <a:gd name="connsiteY38" fmla="*/ 4491829 h 5633118"/>
                  <a:gd name="connsiteX39" fmla="*/ 1918706 w 1918706"/>
                  <a:gd name="connsiteY39" fmla="*/ 4579284 h 5633118"/>
                  <a:gd name="connsiteX40" fmla="*/ 1918706 w 1918706"/>
                  <a:gd name="connsiteY40" fmla="*/ 4592438 h 5633118"/>
                  <a:gd name="connsiteX41" fmla="*/ 1918706 w 1918706"/>
                  <a:gd name="connsiteY41" fmla="*/ 5073791 h 5633118"/>
                  <a:gd name="connsiteX42" fmla="*/ 959355 w 1918706"/>
                  <a:gd name="connsiteY42" fmla="*/ 5633118 h 5633118"/>
                  <a:gd name="connsiteX43" fmla="*/ 0 w 1918706"/>
                  <a:gd name="connsiteY43" fmla="*/ 5073791 h 5633118"/>
                  <a:gd name="connsiteX44" fmla="*/ 0 w 1918706"/>
                  <a:gd name="connsiteY44" fmla="*/ 4592438 h 5633118"/>
                  <a:gd name="connsiteX45" fmla="*/ 0 w 1918706"/>
                  <a:gd name="connsiteY45" fmla="*/ 4579284 h 5633118"/>
                  <a:gd name="connsiteX46" fmla="*/ 0 w 1918706"/>
                  <a:gd name="connsiteY46" fmla="*/ 4491829 h 5633118"/>
                  <a:gd name="connsiteX47" fmla="*/ 0 w 1918706"/>
                  <a:gd name="connsiteY47" fmla="*/ 4097931 h 5633118"/>
                  <a:gd name="connsiteX48" fmla="*/ 0 w 1918706"/>
                  <a:gd name="connsiteY48" fmla="*/ 4090156 h 5633118"/>
                  <a:gd name="connsiteX49" fmla="*/ 0 w 1918706"/>
                  <a:gd name="connsiteY49" fmla="*/ 4069228 h 5633118"/>
                  <a:gd name="connsiteX50" fmla="*/ 0 w 1918706"/>
                  <a:gd name="connsiteY50" fmla="*/ 4010476 h 5633118"/>
                  <a:gd name="connsiteX51" fmla="*/ 0 w 1918706"/>
                  <a:gd name="connsiteY51" fmla="*/ 3997322 h 5633118"/>
                  <a:gd name="connsiteX52" fmla="*/ 0 w 1918706"/>
                  <a:gd name="connsiteY52" fmla="*/ 3595649 h 5633118"/>
                  <a:gd name="connsiteX53" fmla="*/ 0 w 1918706"/>
                  <a:gd name="connsiteY53" fmla="*/ 3587875 h 5633118"/>
                  <a:gd name="connsiteX54" fmla="*/ 0 w 1918706"/>
                  <a:gd name="connsiteY54" fmla="*/ 3574721 h 5633118"/>
                  <a:gd name="connsiteX55" fmla="*/ 0 w 1918706"/>
                  <a:gd name="connsiteY55" fmla="*/ 3515969 h 5633118"/>
                  <a:gd name="connsiteX56" fmla="*/ 0 w 1918706"/>
                  <a:gd name="connsiteY56" fmla="*/ 3508195 h 5633118"/>
                  <a:gd name="connsiteX57" fmla="*/ 0 w 1918706"/>
                  <a:gd name="connsiteY57" fmla="*/ 3487266 h 5633118"/>
                  <a:gd name="connsiteX58" fmla="*/ 0 w 1918706"/>
                  <a:gd name="connsiteY5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076469 h 5633118"/>
                  <a:gd name="connsiteX5" fmla="*/ 1918706 w 1918706"/>
                  <a:gd name="connsiteY5" fmla="*/ 1491148 h 5633118"/>
                  <a:gd name="connsiteX6" fmla="*/ 1918706 w 1918706"/>
                  <a:gd name="connsiteY6" fmla="*/ 1499070 h 5633118"/>
                  <a:gd name="connsiteX7" fmla="*/ 1918706 w 1918706"/>
                  <a:gd name="connsiteY7" fmla="*/ 1506844 h 5633118"/>
                  <a:gd name="connsiteX8" fmla="*/ 1918706 w 1918706"/>
                  <a:gd name="connsiteY8" fmla="*/ 1563054 h 5633118"/>
                  <a:gd name="connsiteX9" fmla="*/ 1918706 w 1918706"/>
                  <a:gd name="connsiteY9" fmla="*/ 1586524 h 5633118"/>
                  <a:gd name="connsiteX10" fmla="*/ 1918706 w 1918706"/>
                  <a:gd name="connsiteY10" fmla="*/ 1985655 h 5633118"/>
                  <a:gd name="connsiteX11" fmla="*/ 1918706 w 1918706"/>
                  <a:gd name="connsiteY11" fmla="*/ 2001351 h 5633118"/>
                  <a:gd name="connsiteX12" fmla="*/ 1918706 w 1918706"/>
                  <a:gd name="connsiteY12" fmla="*/ 2009125 h 5633118"/>
                  <a:gd name="connsiteX13" fmla="*/ 1918706 w 1918706"/>
                  <a:gd name="connsiteY13" fmla="*/ 2073109 h 5633118"/>
                  <a:gd name="connsiteX14" fmla="*/ 1918706 w 1918706"/>
                  <a:gd name="connsiteY14" fmla="*/ 2081031 h 5633118"/>
                  <a:gd name="connsiteX15" fmla="*/ 1918706 w 1918706"/>
                  <a:gd name="connsiteY15" fmla="*/ 2088805 h 5633118"/>
                  <a:gd name="connsiteX16" fmla="*/ 1918706 w 1918706"/>
                  <a:gd name="connsiteY16" fmla="*/ 2503632 h 5633118"/>
                  <a:gd name="connsiteX17" fmla="*/ 1918706 w 1918706"/>
                  <a:gd name="connsiteY17" fmla="*/ 2511407 h 5633118"/>
                  <a:gd name="connsiteX18" fmla="*/ 1918706 w 1918706"/>
                  <a:gd name="connsiteY18" fmla="*/ 2567616 h 5633118"/>
                  <a:gd name="connsiteX19" fmla="*/ 1918706 w 1918706"/>
                  <a:gd name="connsiteY19" fmla="*/ 2583313 h 5633118"/>
                  <a:gd name="connsiteX20" fmla="*/ 1918706 w 1918706"/>
                  <a:gd name="connsiteY20" fmla="*/ 2591087 h 5633118"/>
                  <a:gd name="connsiteX21" fmla="*/ 1918706 w 1918706"/>
                  <a:gd name="connsiteY21" fmla="*/ 2992759 h 5633118"/>
                  <a:gd name="connsiteX22" fmla="*/ 1918706 w 1918706"/>
                  <a:gd name="connsiteY22" fmla="*/ 3005914 h 5633118"/>
                  <a:gd name="connsiteX23" fmla="*/ 1918706 w 1918706"/>
                  <a:gd name="connsiteY23" fmla="*/ 3013688 h 5633118"/>
                  <a:gd name="connsiteX24" fmla="*/ 1918706 w 1918706"/>
                  <a:gd name="connsiteY24" fmla="*/ 3085594 h 5633118"/>
                  <a:gd name="connsiteX25" fmla="*/ 1918706 w 1918706"/>
                  <a:gd name="connsiteY25" fmla="*/ 3093368 h 5633118"/>
                  <a:gd name="connsiteX26" fmla="*/ 1918706 w 1918706"/>
                  <a:gd name="connsiteY26" fmla="*/ 3487266 h 5633118"/>
                  <a:gd name="connsiteX27" fmla="*/ 1918706 w 1918706"/>
                  <a:gd name="connsiteY27" fmla="*/ 3508195 h 5633118"/>
                  <a:gd name="connsiteX28" fmla="*/ 1918706 w 1918706"/>
                  <a:gd name="connsiteY28" fmla="*/ 3515969 h 5633118"/>
                  <a:gd name="connsiteX29" fmla="*/ 1918706 w 1918706"/>
                  <a:gd name="connsiteY29" fmla="*/ 3574721 h 5633118"/>
                  <a:gd name="connsiteX30" fmla="*/ 1918706 w 1918706"/>
                  <a:gd name="connsiteY30" fmla="*/ 3587875 h 5633118"/>
                  <a:gd name="connsiteX31" fmla="*/ 1918706 w 1918706"/>
                  <a:gd name="connsiteY31" fmla="*/ 3595649 h 5633118"/>
                  <a:gd name="connsiteX32" fmla="*/ 1918706 w 1918706"/>
                  <a:gd name="connsiteY32" fmla="*/ 3997322 h 5633118"/>
                  <a:gd name="connsiteX33" fmla="*/ 1918706 w 1918706"/>
                  <a:gd name="connsiteY33" fmla="*/ 4010476 h 5633118"/>
                  <a:gd name="connsiteX34" fmla="*/ 1918706 w 1918706"/>
                  <a:gd name="connsiteY34" fmla="*/ 4069228 h 5633118"/>
                  <a:gd name="connsiteX35" fmla="*/ 1918706 w 1918706"/>
                  <a:gd name="connsiteY35" fmla="*/ 4090156 h 5633118"/>
                  <a:gd name="connsiteX36" fmla="*/ 1918706 w 1918706"/>
                  <a:gd name="connsiteY36" fmla="*/ 4097931 h 5633118"/>
                  <a:gd name="connsiteX37" fmla="*/ 1918706 w 1918706"/>
                  <a:gd name="connsiteY37" fmla="*/ 4491829 h 5633118"/>
                  <a:gd name="connsiteX38" fmla="*/ 1918706 w 1918706"/>
                  <a:gd name="connsiteY38" fmla="*/ 4579284 h 5633118"/>
                  <a:gd name="connsiteX39" fmla="*/ 1918706 w 1918706"/>
                  <a:gd name="connsiteY39" fmla="*/ 4592438 h 5633118"/>
                  <a:gd name="connsiteX40" fmla="*/ 1918706 w 1918706"/>
                  <a:gd name="connsiteY40" fmla="*/ 5073791 h 5633118"/>
                  <a:gd name="connsiteX41" fmla="*/ 959355 w 1918706"/>
                  <a:gd name="connsiteY41" fmla="*/ 5633118 h 5633118"/>
                  <a:gd name="connsiteX42" fmla="*/ 0 w 1918706"/>
                  <a:gd name="connsiteY42" fmla="*/ 5073791 h 5633118"/>
                  <a:gd name="connsiteX43" fmla="*/ 0 w 1918706"/>
                  <a:gd name="connsiteY43" fmla="*/ 4592438 h 5633118"/>
                  <a:gd name="connsiteX44" fmla="*/ 0 w 1918706"/>
                  <a:gd name="connsiteY44" fmla="*/ 4579284 h 5633118"/>
                  <a:gd name="connsiteX45" fmla="*/ 0 w 1918706"/>
                  <a:gd name="connsiteY45" fmla="*/ 4491829 h 5633118"/>
                  <a:gd name="connsiteX46" fmla="*/ 0 w 1918706"/>
                  <a:gd name="connsiteY46" fmla="*/ 4097931 h 5633118"/>
                  <a:gd name="connsiteX47" fmla="*/ 0 w 1918706"/>
                  <a:gd name="connsiteY47" fmla="*/ 4090156 h 5633118"/>
                  <a:gd name="connsiteX48" fmla="*/ 0 w 1918706"/>
                  <a:gd name="connsiteY48" fmla="*/ 4069228 h 5633118"/>
                  <a:gd name="connsiteX49" fmla="*/ 0 w 1918706"/>
                  <a:gd name="connsiteY49" fmla="*/ 4010476 h 5633118"/>
                  <a:gd name="connsiteX50" fmla="*/ 0 w 1918706"/>
                  <a:gd name="connsiteY50" fmla="*/ 3997322 h 5633118"/>
                  <a:gd name="connsiteX51" fmla="*/ 0 w 1918706"/>
                  <a:gd name="connsiteY51" fmla="*/ 3595649 h 5633118"/>
                  <a:gd name="connsiteX52" fmla="*/ 0 w 1918706"/>
                  <a:gd name="connsiteY52" fmla="*/ 3587875 h 5633118"/>
                  <a:gd name="connsiteX53" fmla="*/ 0 w 1918706"/>
                  <a:gd name="connsiteY53" fmla="*/ 3574721 h 5633118"/>
                  <a:gd name="connsiteX54" fmla="*/ 0 w 1918706"/>
                  <a:gd name="connsiteY54" fmla="*/ 3515969 h 5633118"/>
                  <a:gd name="connsiteX55" fmla="*/ 0 w 1918706"/>
                  <a:gd name="connsiteY55" fmla="*/ 3508195 h 5633118"/>
                  <a:gd name="connsiteX56" fmla="*/ 0 w 1918706"/>
                  <a:gd name="connsiteY56" fmla="*/ 3487266 h 5633118"/>
                  <a:gd name="connsiteX57" fmla="*/ 0 w 1918706"/>
                  <a:gd name="connsiteY5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491148 h 5633118"/>
                  <a:gd name="connsiteX5" fmla="*/ 1918706 w 1918706"/>
                  <a:gd name="connsiteY5" fmla="*/ 1499070 h 5633118"/>
                  <a:gd name="connsiteX6" fmla="*/ 1918706 w 1918706"/>
                  <a:gd name="connsiteY6" fmla="*/ 1506844 h 5633118"/>
                  <a:gd name="connsiteX7" fmla="*/ 1918706 w 1918706"/>
                  <a:gd name="connsiteY7" fmla="*/ 1563054 h 5633118"/>
                  <a:gd name="connsiteX8" fmla="*/ 1918706 w 1918706"/>
                  <a:gd name="connsiteY8" fmla="*/ 1586524 h 5633118"/>
                  <a:gd name="connsiteX9" fmla="*/ 1918706 w 1918706"/>
                  <a:gd name="connsiteY9" fmla="*/ 1985655 h 5633118"/>
                  <a:gd name="connsiteX10" fmla="*/ 1918706 w 1918706"/>
                  <a:gd name="connsiteY10" fmla="*/ 2001351 h 5633118"/>
                  <a:gd name="connsiteX11" fmla="*/ 1918706 w 1918706"/>
                  <a:gd name="connsiteY11" fmla="*/ 2009125 h 5633118"/>
                  <a:gd name="connsiteX12" fmla="*/ 1918706 w 1918706"/>
                  <a:gd name="connsiteY12" fmla="*/ 2073109 h 5633118"/>
                  <a:gd name="connsiteX13" fmla="*/ 1918706 w 1918706"/>
                  <a:gd name="connsiteY13" fmla="*/ 2081031 h 5633118"/>
                  <a:gd name="connsiteX14" fmla="*/ 1918706 w 1918706"/>
                  <a:gd name="connsiteY14" fmla="*/ 2088805 h 5633118"/>
                  <a:gd name="connsiteX15" fmla="*/ 1918706 w 1918706"/>
                  <a:gd name="connsiteY15" fmla="*/ 2503632 h 5633118"/>
                  <a:gd name="connsiteX16" fmla="*/ 1918706 w 1918706"/>
                  <a:gd name="connsiteY16" fmla="*/ 2511407 h 5633118"/>
                  <a:gd name="connsiteX17" fmla="*/ 1918706 w 1918706"/>
                  <a:gd name="connsiteY17" fmla="*/ 2567616 h 5633118"/>
                  <a:gd name="connsiteX18" fmla="*/ 1918706 w 1918706"/>
                  <a:gd name="connsiteY18" fmla="*/ 2583313 h 5633118"/>
                  <a:gd name="connsiteX19" fmla="*/ 1918706 w 1918706"/>
                  <a:gd name="connsiteY19" fmla="*/ 2591087 h 5633118"/>
                  <a:gd name="connsiteX20" fmla="*/ 1918706 w 1918706"/>
                  <a:gd name="connsiteY20" fmla="*/ 2992759 h 5633118"/>
                  <a:gd name="connsiteX21" fmla="*/ 1918706 w 1918706"/>
                  <a:gd name="connsiteY21" fmla="*/ 3005914 h 5633118"/>
                  <a:gd name="connsiteX22" fmla="*/ 1918706 w 1918706"/>
                  <a:gd name="connsiteY22" fmla="*/ 3013688 h 5633118"/>
                  <a:gd name="connsiteX23" fmla="*/ 1918706 w 1918706"/>
                  <a:gd name="connsiteY23" fmla="*/ 3085594 h 5633118"/>
                  <a:gd name="connsiteX24" fmla="*/ 1918706 w 1918706"/>
                  <a:gd name="connsiteY24" fmla="*/ 3093368 h 5633118"/>
                  <a:gd name="connsiteX25" fmla="*/ 1918706 w 1918706"/>
                  <a:gd name="connsiteY25" fmla="*/ 3487266 h 5633118"/>
                  <a:gd name="connsiteX26" fmla="*/ 1918706 w 1918706"/>
                  <a:gd name="connsiteY26" fmla="*/ 3508195 h 5633118"/>
                  <a:gd name="connsiteX27" fmla="*/ 1918706 w 1918706"/>
                  <a:gd name="connsiteY27" fmla="*/ 3515969 h 5633118"/>
                  <a:gd name="connsiteX28" fmla="*/ 1918706 w 1918706"/>
                  <a:gd name="connsiteY28" fmla="*/ 3574721 h 5633118"/>
                  <a:gd name="connsiteX29" fmla="*/ 1918706 w 1918706"/>
                  <a:gd name="connsiteY29" fmla="*/ 3587875 h 5633118"/>
                  <a:gd name="connsiteX30" fmla="*/ 1918706 w 1918706"/>
                  <a:gd name="connsiteY30" fmla="*/ 3595649 h 5633118"/>
                  <a:gd name="connsiteX31" fmla="*/ 1918706 w 1918706"/>
                  <a:gd name="connsiteY31" fmla="*/ 3997322 h 5633118"/>
                  <a:gd name="connsiteX32" fmla="*/ 1918706 w 1918706"/>
                  <a:gd name="connsiteY32" fmla="*/ 4010476 h 5633118"/>
                  <a:gd name="connsiteX33" fmla="*/ 1918706 w 1918706"/>
                  <a:gd name="connsiteY33" fmla="*/ 4069228 h 5633118"/>
                  <a:gd name="connsiteX34" fmla="*/ 1918706 w 1918706"/>
                  <a:gd name="connsiteY34" fmla="*/ 4090156 h 5633118"/>
                  <a:gd name="connsiteX35" fmla="*/ 1918706 w 1918706"/>
                  <a:gd name="connsiteY35" fmla="*/ 4097931 h 5633118"/>
                  <a:gd name="connsiteX36" fmla="*/ 1918706 w 1918706"/>
                  <a:gd name="connsiteY36" fmla="*/ 4491829 h 5633118"/>
                  <a:gd name="connsiteX37" fmla="*/ 1918706 w 1918706"/>
                  <a:gd name="connsiteY37" fmla="*/ 4579284 h 5633118"/>
                  <a:gd name="connsiteX38" fmla="*/ 1918706 w 1918706"/>
                  <a:gd name="connsiteY38" fmla="*/ 4592438 h 5633118"/>
                  <a:gd name="connsiteX39" fmla="*/ 1918706 w 1918706"/>
                  <a:gd name="connsiteY39" fmla="*/ 5073791 h 5633118"/>
                  <a:gd name="connsiteX40" fmla="*/ 959355 w 1918706"/>
                  <a:gd name="connsiteY40" fmla="*/ 5633118 h 5633118"/>
                  <a:gd name="connsiteX41" fmla="*/ 0 w 1918706"/>
                  <a:gd name="connsiteY41" fmla="*/ 5073791 h 5633118"/>
                  <a:gd name="connsiteX42" fmla="*/ 0 w 1918706"/>
                  <a:gd name="connsiteY42" fmla="*/ 4592438 h 5633118"/>
                  <a:gd name="connsiteX43" fmla="*/ 0 w 1918706"/>
                  <a:gd name="connsiteY43" fmla="*/ 4579284 h 5633118"/>
                  <a:gd name="connsiteX44" fmla="*/ 0 w 1918706"/>
                  <a:gd name="connsiteY44" fmla="*/ 4491829 h 5633118"/>
                  <a:gd name="connsiteX45" fmla="*/ 0 w 1918706"/>
                  <a:gd name="connsiteY45" fmla="*/ 4097931 h 5633118"/>
                  <a:gd name="connsiteX46" fmla="*/ 0 w 1918706"/>
                  <a:gd name="connsiteY46" fmla="*/ 4090156 h 5633118"/>
                  <a:gd name="connsiteX47" fmla="*/ 0 w 1918706"/>
                  <a:gd name="connsiteY47" fmla="*/ 4069228 h 5633118"/>
                  <a:gd name="connsiteX48" fmla="*/ 0 w 1918706"/>
                  <a:gd name="connsiteY48" fmla="*/ 4010476 h 5633118"/>
                  <a:gd name="connsiteX49" fmla="*/ 0 w 1918706"/>
                  <a:gd name="connsiteY49" fmla="*/ 3997322 h 5633118"/>
                  <a:gd name="connsiteX50" fmla="*/ 0 w 1918706"/>
                  <a:gd name="connsiteY50" fmla="*/ 3595649 h 5633118"/>
                  <a:gd name="connsiteX51" fmla="*/ 0 w 1918706"/>
                  <a:gd name="connsiteY51" fmla="*/ 3587875 h 5633118"/>
                  <a:gd name="connsiteX52" fmla="*/ 0 w 1918706"/>
                  <a:gd name="connsiteY52" fmla="*/ 3574721 h 5633118"/>
                  <a:gd name="connsiteX53" fmla="*/ 0 w 1918706"/>
                  <a:gd name="connsiteY53" fmla="*/ 3515969 h 5633118"/>
                  <a:gd name="connsiteX54" fmla="*/ 0 w 1918706"/>
                  <a:gd name="connsiteY54" fmla="*/ 3508195 h 5633118"/>
                  <a:gd name="connsiteX55" fmla="*/ 0 w 1918706"/>
                  <a:gd name="connsiteY55" fmla="*/ 3487266 h 5633118"/>
                  <a:gd name="connsiteX56" fmla="*/ 0 w 1918706"/>
                  <a:gd name="connsiteY5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06844 h 5633118"/>
                  <a:gd name="connsiteX6" fmla="*/ 1918706 w 1918706"/>
                  <a:gd name="connsiteY6" fmla="*/ 1563054 h 5633118"/>
                  <a:gd name="connsiteX7" fmla="*/ 1918706 w 1918706"/>
                  <a:gd name="connsiteY7" fmla="*/ 1586524 h 5633118"/>
                  <a:gd name="connsiteX8" fmla="*/ 1918706 w 1918706"/>
                  <a:gd name="connsiteY8" fmla="*/ 1985655 h 5633118"/>
                  <a:gd name="connsiteX9" fmla="*/ 1918706 w 1918706"/>
                  <a:gd name="connsiteY9" fmla="*/ 2001351 h 5633118"/>
                  <a:gd name="connsiteX10" fmla="*/ 1918706 w 1918706"/>
                  <a:gd name="connsiteY10" fmla="*/ 2009125 h 5633118"/>
                  <a:gd name="connsiteX11" fmla="*/ 1918706 w 1918706"/>
                  <a:gd name="connsiteY11" fmla="*/ 2073109 h 5633118"/>
                  <a:gd name="connsiteX12" fmla="*/ 1918706 w 1918706"/>
                  <a:gd name="connsiteY12" fmla="*/ 2081031 h 5633118"/>
                  <a:gd name="connsiteX13" fmla="*/ 1918706 w 1918706"/>
                  <a:gd name="connsiteY13" fmla="*/ 2088805 h 5633118"/>
                  <a:gd name="connsiteX14" fmla="*/ 1918706 w 1918706"/>
                  <a:gd name="connsiteY14" fmla="*/ 2503632 h 5633118"/>
                  <a:gd name="connsiteX15" fmla="*/ 1918706 w 1918706"/>
                  <a:gd name="connsiteY15" fmla="*/ 2511407 h 5633118"/>
                  <a:gd name="connsiteX16" fmla="*/ 1918706 w 1918706"/>
                  <a:gd name="connsiteY16" fmla="*/ 2567616 h 5633118"/>
                  <a:gd name="connsiteX17" fmla="*/ 1918706 w 1918706"/>
                  <a:gd name="connsiteY17" fmla="*/ 2583313 h 5633118"/>
                  <a:gd name="connsiteX18" fmla="*/ 1918706 w 1918706"/>
                  <a:gd name="connsiteY18" fmla="*/ 2591087 h 5633118"/>
                  <a:gd name="connsiteX19" fmla="*/ 1918706 w 1918706"/>
                  <a:gd name="connsiteY19" fmla="*/ 2992759 h 5633118"/>
                  <a:gd name="connsiteX20" fmla="*/ 1918706 w 1918706"/>
                  <a:gd name="connsiteY20" fmla="*/ 3005914 h 5633118"/>
                  <a:gd name="connsiteX21" fmla="*/ 1918706 w 1918706"/>
                  <a:gd name="connsiteY21" fmla="*/ 3013688 h 5633118"/>
                  <a:gd name="connsiteX22" fmla="*/ 1918706 w 1918706"/>
                  <a:gd name="connsiteY22" fmla="*/ 3085594 h 5633118"/>
                  <a:gd name="connsiteX23" fmla="*/ 1918706 w 1918706"/>
                  <a:gd name="connsiteY23" fmla="*/ 3093368 h 5633118"/>
                  <a:gd name="connsiteX24" fmla="*/ 1918706 w 1918706"/>
                  <a:gd name="connsiteY24" fmla="*/ 3487266 h 5633118"/>
                  <a:gd name="connsiteX25" fmla="*/ 1918706 w 1918706"/>
                  <a:gd name="connsiteY25" fmla="*/ 3508195 h 5633118"/>
                  <a:gd name="connsiteX26" fmla="*/ 1918706 w 1918706"/>
                  <a:gd name="connsiteY26" fmla="*/ 3515969 h 5633118"/>
                  <a:gd name="connsiteX27" fmla="*/ 1918706 w 1918706"/>
                  <a:gd name="connsiteY27" fmla="*/ 3574721 h 5633118"/>
                  <a:gd name="connsiteX28" fmla="*/ 1918706 w 1918706"/>
                  <a:gd name="connsiteY28" fmla="*/ 3587875 h 5633118"/>
                  <a:gd name="connsiteX29" fmla="*/ 1918706 w 1918706"/>
                  <a:gd name="connsiteY29" fmla="*/ 3595649 h 5633118"/>
                  <a:gd name="connsiteX30" fmla="*/ 1918706 w 1918706"/>
                  <a:gd name="connsiteY30" fmla="*/ 3997322 h 5633118"/>
                  <a:gd name="connsiteX31" fmla="*/ 1918706 w 1918706"/>
                  <a:gd name="connsiteY31" fmla="*/ 4010476 h 5633118"/>
                  <a:gd name="connsiteX32" fmla="*/ 1918706 w 1918706"/>
                  <a:gd name="connsiteY32" fmla="*/ 4069228 h 5633118"/>
                  <a:gd name="connsiteX33" fmla="*/ 1918706 w 1918706"/>
                  <a:gd name="connsiteY33" fmla="*/ 4090156 h 5633118"/>
                  <a:gd name="connsiteX34" fmla="*/ 1918706 w 1918706"/>
                  <a:gd name="connsiteY34" fmla="*/ 4097931 h 5633118"/>
                  <a:gd name="connsiteX35" fmla="*/ 1918706 w 1918706"/>
                  <a:gd name="connsiteY35" fmla="*/ 4491829 h 5633118"/>
                  <a:gd name="connsiteX36" fmla="*/ 1918706 w 1918706"/>
                  <a:gd name="connsiteY36" fmla="*/ 4579284 h 5633118"/>
                  <a:gd name="connsiteX37" fmla="*/ 1918706 w 1918706"/>
                  <a:gd name="connsiteY37" fmla="*/ 4592438 h 5633118"/>
                  <a:gd name="connsiteX38" fmla="*/ 1918706 w 1918706"/>
                  <a:gd name="connsiteY38" fmla="*/ 5073791 h 5633118"/>
                  <a:gd name="connsiteX39" fmla="*/ 959355 w 1918706"/>
                  <a:gd name="connsiteY39" fmla="*/ 5633118 h 5633118"/>
                  <a:gd name="connsiteX40" fmla="*/ 0 w 1918706"/>
                  <a:gd name="connsiteY40" fmla="*/ 5073791 h 5633118"/>
                  <a:gd name="connsiteX41" fmla="*/ 0 w 1918706"/>
                  <a:gd name="connsiteY41" fmla="*/ 4592438 h 5633118"/>
                  <a:gd name="connsiteX42" fmla="*/ 0 w 1918706"/>
                  <a:gd name="connsiteY42" fmla="*/ 4579284 h 5633118"/>
                  <a:gd name="connsiteX43" fmla="*/ 0 w 1918706"/>
                  <a:gd name="connsiteY43" fmla="*/ 4491829 h 5633118"/>
                  <a:gd name="connsiteX44" fmla="*/ 0 w 1918706"/>
                  <a:gd name="connsiteY44" fmla="*/ 4097931 h 5633118"/>
                  <a:gd name="connsiteX45" fmla="*/ 0 w 1918706"/>
                  <a:gd name="connsiteY45" fmla="*/ 4090156 h 5633118"/>
                  <a:gd name="connsiteX46" fmla="*/ 0 w 1918706"/>
                  <a:gd name="connsiteY46" fmla="*/ 4069228 h 5633118"/>
                  <a:gd name="connsiteX47" fmla="*/ 0 w 1918706"/>
                  <a:gd name="connsiteY47" fmla="*/ 4010476 h 5633118"/>
                  <a:gd name="connsiteX48" fmla="*/ 0 w 1918706"/>
                  <a:gd name="connsiteY48" fmla="*/ 3997322 h 5633118"/>
                  <a:gd name="connsiteX49" fmla="*/ 0 w 1918706"/>
                  <a:gd name="connsiteY49" fmla="*/ 3595649 h 5633118"/>
                  <a:gd name="connsiteX50" fmla="*/ 0 w 1918706"/>
                  <a:gd name="connsiteY50" fmla="*/ 3587875 h 5633118"/>
                  <a:gd name="connsiteX51" fmla="*/ 0 w 1918706"/>
                  <a:gd name="connsiteY51" fmla="*/ 3574721 h 5633118"/>
                  <a:gd name="connsiteX52" fmla="*/ 0 w 1918706"/>
                  <a:gd name="connsiteY52" fmla="*/ 3515969 h 5633118"/>
                  <a:gd name="connsiteX53" fmla="*/ 0 w 1918706"/>
                  <a:gd name="connsiteY53" fmla="*/ 3508195 h 5633118"/>
                  <a:gd name="connsiteX54" fmla="*/ 0 w 1918706"/>
                  <a:gd name="connsiteY54" fmla="*/ 3487266 h 5633118"/>
                  <a:gd name="connsiteX55" fmla="*/ 0 w 1918706"/>
                  <a:gd name="connsiteY5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63054 h 5633118"/>
                  <a:gd name="connsiteX6" fmla="*/ 1918706 w 1918706"/>
                  <a:gd name="connsiteY6" fmla="*/ 1586524 h 5633118"/>
                  <a:gd name="connsiteX7" fmla="*/ 1918706 w 1918706"/>
                  <a:gd name="connsiteY7" fmla="*/ 1985655 h 5633118"/>
                  <a:gd name="connsiteX8" fmla="*/ 1918706 w 1918706"/>
                  <a:gd name="connsiteY8" fmla="*/ 2001351 h 5633118"/>
                  <a:gd name="connsiteX9" fmla="*/ 1918706 w 1918706"/>
                  <a:gd name="connsiteY9" fmla="*/ 2009125 h 5633118"/>
                  <a:gd name="connsiteX10" fmla="*/ 1918706 w 1918706"/>
                  <a:gd name="connsiteY10" fmla="*/ 2073109 h 5633118"/>
                  <a:gd name="connsiteX11" fmla="*/ 1918706 w 1918706"/>
                  <a:gd name="connsiteY11" fmla="*/ 2081031 h 5633118"/>
                  <a:gd name="connsiteX12" fmla="*/ 1918706 w 1918706"/>
                  <a:gd name="connsiteY12" fmla="*/ 2088805 h 5633118"/>
                  <a:gd name="connsiteX13" fmla="*/ 1918706 w 1918706"/>
                  <a:gd name="connsiteY13" fmla="*/ 2503632 h 5633118"/>
                  <a:gd name="connsiteX14" fmla="*/ 1918706 w 1918706"/>
                  <a:gd name="connsiteY14" fmla="*/ 2511407 h 5633118"/>
                  <a:gd name="connsiteX15" fmla="*/ 1918706 w 1918706"/>
                  <a:gd name="connsiteY15" fmla="*/ 2567616 h 5633118"/>
                  <a:gd name="connsiteX16" fmla="*/ 1918706 w 1918706"/>
                  <a:gd name="connsiteY16" fmla="*/ 2583313 h 5633118"/>
                  <a:gd name="connsiteX17" fmla="*/ 1918706 w 1918706"/>
                  <a:gd name="connsiteY17" fmla="*/ 2591087 h 5633118"/>
                  <a:gd name="connsiteX18" fmla="*/ 1918706 w 1918706"/>
                  <a:gd name="connsiteY18" fmla="*/ 2992759 h 5633118"/>
                  <a:gd name="connsiteX19" fmla="*/ 1918706 w 1918706"/>
                  <a:gd name="connsiteY19" fmla="*/ 3005914 h 5633118"/>
                  <a:gd name="connsiteX20" fmla="*/ 1918706 w 1918706"/>
                  <a:gd name="connsiteY20" fmla="*/ 3013688 h 5633118"/>
                  <a:gd name="connsiteX21" fmla="*/ 1918706 w 1918706"/>
                  <a:gd name="connsiteY21" fmla="*/ 3085594 h 5633118"/>
                  <a:gd name="connsiteX22" fmla="*/ 1918706 w 1918706"/>
                  <a:gd name="connsiteY22" fmla="*/ 3093368 h 5633118"/>
                  <a:gd name="connsiteX23" fmla="*/ 1918706 w 1918706"/>
                  <a:gd name="connsiteY23" fmla="*/ 3487266 h 5633118"/>
                  <a:gd name="connsiteX24" fmla="*/ 1918706 w 1918706"/>
                  <a:gd name="connsiteY24" fmla="*/ 3508195 h 5633118"/>
                  <a:gd name="connsiteX25" fmla="*/ 1918706 w 1918706"/>
                  <a:gd name="connsiteY25" fmla="*/ 3515969 h 5633118"/>
                  <a:gd name="connsiteX26" fmla="*/ 1918706 w 1918706"/>
                  <a:gd name="connsiteY26" fmla="*/ 3574721 h 5633118"/>
                  <a:gd name="connsiteX27" fmla="*/ 1918706 w 1918706"/>
                  <a:gd name="connsiteY27" fmla="*/ 3587875 h 5633118"/>
                  <a:gd name="connsiteX28" fmla="*/ 1918706 w 1918706"/>
                  <a:gd name="connsiteY28" fmla="*/ 3595649 h 5633118"/>
                  <a:gd name="connsiteX29" fmla="*/ 1918706 w 1918706"/>
                  <a:gd name="connsiteY29" fmla="*/ 3997322 h 5633118"/>
                  <a:gd name="connsiteX30" fmla="*/ 1918706 w 1918706"/>
                  <a:gd name="connsiteY30" fmla="*/ 4010476 h 5633118"/>
                  <a:gd name="connsiteX31" fmla="*/ 1918706 w 1918706"/>
                  <a:gd name="connsiteY31" fmla="*/ 4069228 h 5633118"/>
                  <a:gd name="connsiteX32" fmla="*/ 1918706 w 1918706"/>
                  <a:gd name="connsiteY32" fmla="*/ 4090156 h 5633118"/>
                  <a:gd name="connsiteX33" fmla="*/ 1918706 w 1918706"/>
                  <a:gd name="connsiteY33" fmla="*/ 4097931 h 5633118"/>
                  <a:gd name="connsiteX34" fmla="*/ 1918706 w 1918706"/>
                  <a:gd name="connsiteY34" fmla="*/ 4491829 h 5633118"/>
                  <a:gd name="connsiteX35" fmla="*/ 1918706 w 1918706"/>
                  <a:gd name="connsiteY35" fmla="*/ 4579284 h 5633118"/>
                  <a:gd name="connsiteX36" fmla="*/ 1918706 w 1918706"/>
                  <a:gd name="connsiteY36" fmla="*/ 4592438 h 5633118"/>
                  <a:gd name="connsiteX37" fmla="*/ 1918706 w 1918706"/>
                  <a:gd name="connsiteY37" fmla="*/ 5073791 h 5633118"/>
                  <a:gd name="connsiteX38" fmla="*/ 959355 w 1918706"/>
                  <a:gd name="connsiteY38" fmla="*/ 5633118 h 5633118"/>
                  <a:gd name="connsiteX39" fmla="*/ 0 w 1918706"/>
                  <a:gd name="connsiteY39" fmla="*/ 5073791 h 5633118"/>
                  <a:gd name="connsiteX40" fmla="*/ 0 w 1918706"/>
                  <a:gd name="connsiteY40" fmla="*/ 4592438 h 5633118"/>
                  <a:gd name="connsiteX41" fmla="*/ 0 w 1918706"/>
                  <a:gd name="connsiteY41" fmla="*/ 4579284 h 5633118"/>
                  <a:gd name="connsiteX42" fmla="*/ 0 w 1918706"/>
                  <a:gd name="connsiteY42" fmla="*/ 4491829 h 5633118"/>
                  <a:gd name="connsiteX43" fmla="*/ 0 w 1918706"/>
                  <a:gd name="connsiteY43" fmla="*/ 4097931 h 5633118"/>
                  <a:gd name="connsiteX44" fmla="*/ 0 w 1918706"/>
                  <a:gd name="connsiteY44" fmla="*/ 4090156 h 5633118"/>
                  <a:gd name="connsiteX45" fmla="*/ 0 w 1918706"/>
                  <a:gd name="connsiteY45" fmla="*/ 4069228 h 5633118"/>
                  <a:gd name="connsiteX46" fmla="*/ 0 w 1918706"/>
                  <a:gd name="connsiteY46" fmla="*/ 4010476 h 5633118"/>
                  <a:gd name="connsiteX47" fmla="*/ 0 w 1918706"/>
                  <a:gd name="connsiteY47" fmla="*/ 3997322 h 5633118"/>
                  <a:gd name="connsiteX48" fmla="*/ 0 w 1918706"/>
                  <a:gd name="connsiteY48" fmla="*/ 3595649 h 5633118"/>
                  <a:gd name="connsiteX49" fmla="*/ 0 w 1918706"/>
                  <a:gd name="connsiteY49" fmla="*/ 3587875 h 5633118"/>
                  <a:gd name="connsiteX50" fmla="*/ 0 w 1918706"/>
                  <a:gd name="connsiteY50" fmla="*/ 3574721 h 5633118"/>
                  <a:gd name="connsiteX51" fmla="*/ 0 w 1918706"/>
                  <a:gd name="connsiteY51" fmla="*/ 3515969 h 5633118"/>
                  <a:gd name="connsiteX52" fmla="*/ 0 w 1918706"/>
                  <a:gd name="connsiteY52" fmla="*/ 3508195 h 5633118"/>
                  <a:gd name="connsiteX53" fmla="*/ 0 w 1918706"/>
                  <a:gd name="connsiteY53" fmla="*/ 3487266 h 5633118"/>
                  <a:gd name="connsiteX54" fmla="*/ 0 w 1918706"/>
                  <a:gd name="connsiteY5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563054 h 5633118"/>
                  <a:gd name="connsiteX5" fmla="*/ 1918706 w 1918706"/>
                  <a:gd name="connsiteY5" fmla="*/ 1586524 h 5633118"/>
                  <a:gd name="connsiteX6" fmla="*/ 1918706 w 1918706"/>
                  <a:gd name="connsiteY6" fmla="*/ 1985655 h 5633118"/>
                  <a:gd name="connsiteX7" fmla="*/ 1918706 w 1918706"/>
                  <a:gd name="connsiteY7" fmla="*/ 2001351 h 5633118"/>
                  <a:gd name="connsiteX8" fmla="*/ 1918706 w 1918706"/>
                  <a:gd name="connsiteY8" fmla="*/ 2009125 h 5633118"/>
                  <a:gd name="connsiteX9" fmla="*/ 1918706 w 1918706"/>
                  <a:gd name="connsiteY9" fmla="*/ 2073109 h 5633118"/>
                  <a:gd name="connsiteX10" fmla="*/ 1918706 w 1918706"/>
                  <a:gd name="connsiteY10" fmla="*/ 2081031 h 5633118"/>
                  <a:gd name="connsiteX11" fmla="*/ 1918706 w 1918706"/>
                  <a:gd name="connsiteY11" fmla="*/ 2088805 h 5633118"/>
                  <a:gd name="connsiteX12" fmla="*/ 1918706 w 1918706"/>
                  <a:gd name="connsiteY12" fmla="*/ 2503632 h 5633118"/>
                  <a:gd name="connsiteX13" fmla="*/ 1918706 w 1918706"/>
                  <a:gd name="connsiteY13" fmla="*/ 2511407 h 5633118"/>
                  <a:gd name="connsiteX14" fmla="*/ 1918706 w 1918706"/>
                  <a:gd name="connsiteY14" fmla="*/ 2567616 h 5633118"/>
                  <a:gd name="connsiteX15" fmla="*/ 1918706 w 1918706"/>
                  <a:gd name="connsiteY15" fmla="*/ 2583313 h 5633118"/>
                  <a:gd name="connsiteX16" fmla="*/ 1918706 w 1918706"/>
                  <a:gd name="connsiteY16" fmla="*/ 2591087 h 5633118"/>
                  <a:gd name="connsiteX17" fmla="*/ 1918706 w 1918706"/>
                  <a:gd name="connsiteY17" fmla="*/ 2992759 h 5633118"/>
                  <a:gd name="connsiteX18" fmla="*/ 1918706 w 1918706"/>
                  <a:gd name="connsiteY18" fmla="*/ 3005914 h 5633118"/>
                  <a:gd name="connsiteX19" fmla="*/ 1918706 w 1918706"/>
                  <a:gd name="connsiteY19" fmla="*/ 3013688 h 5633118"/>
                  <a:gd name="connsiteX20" fmla="*/ 1918706 w 1918706"/>
                  <a:gd name="connsiteY20" fmla="*/ 3085594 h 5633118"/>
                  <a:gd name="connsiteX21" fmla="*/ 1918706 w 1918706"/>
                  <a:gd name="connsiteY21" fmla="*/ 3093368 h 5633118"/>
                  <a:gd name="connsiteX22" fmla="*/ 1918706 w 1918706"/>
                  <a:gd name="connsiteY22" fmla="*/ 3487266 h 5633118"/>
                  <a:gd name="connsiteX23" fmla="*/ 1918706 w 1918706"/>
                  <a:gd name="connsiteY23" fmla="*/ 3508195 h 5633118"/>
                  <a:gd name="connsiteX24" fmla="*/ 1918706 w 1918706"/>
                  <a:gd name="connsiteY24" fmla="*/ 3515969 h 5633118"/>
                  <a:gd name="connsiteX25" fmla="*/ 1918706 w 1918706"/>
                  <a:gd name="connsiteY25" fmla="*/ 3574721 h 5633118"/>
                  <a:gd name="connsiteX26" fmla="*/ 1918706 w 1918706"/>
                  <a:gd name="connsiteY26" fmla="*/ 3587875 h 5633118"/>
                  <a:gd name="connsiteX27" fmla="*/ 1918706 w 1918706"/>
                  <a:gd name="connsiteY27" fmla="*/ 3595649 h 5633118"/>
                  <a:gd name="connsiteX28" fmla="*/ 1918706 w 1918706"/>
                  <a:gd name="connsiteY28" fmla="*/ 3997322 h 5633118"/>
                  <a:gd name="connsiteX29" fmla="*/ 1918706 w 1918706"/>
                  <a:gd name="connsiteY29" fmla="*/ 4010476 h 5633118"/>
                  <a:gd name="connsiteX30" fmla="*/ 1918706 w 1918706"/>
                  <a:gd name="connsiteY30" fmla="*/ 4069228 h 5633118"/>
                  <a:gd name="connsiteX31" fmla="*/ 1918706 w 1918706"/>
                  <a:gd name="connsiteY31" fmla="*/ 4090156 h 5633118"/>
                  <a:gd name="connsiteX32" fmla="*/ 1918706 w 1918706"/>
                  <a:gd name="connsiteY32" fmla="*/ 4097931 h 5633118"/>
                  <a:gd name="connsiteX33" fmla="*/ 1918706 w 1918706"/>
                  <a:gd name="connsiteY33" fmla="*/ 4491829 h 5633118"/>
                  <a:gd name="connsiteX34" fmla="*/ 1918706 w 1918706"/>
                  <a:gd name="connsiteY34" fmla="*/ 4579284 h 5633118"/>
                  <a:gd name="connsiteX35" fmla="*/ 1918706 w 1918706"/>
                  <a:gd name="connsiteY35" fmla="*/ 4592438 h 5633118"/>
                  <a:gd name="connsiteX36" fmla="*/ 1918706 w 1918706"/>
                  <a:gd name="connsiteY36" fmla="*/ 5073791 h 5633118"/>
                  <a:gd name="connsiteX37" fmla="*/ 959355 w 1918706"/>
                  <a:gd name="connsiteY37" fmla="*/ 5633118 h 5633118"/>
                  <a:gd name="connsiteX38" fmla="*/ 0 w 1918706"/>
                  <a:gd name="connsiteY38" fmla="*/ 5073791 h 5633118"/>
                  <a:gd name="connsiteX39" fmla="*/ 0 w 1918706"/>
                  <a:gd name="connsiteY39" fmla="*/ 4592438 h 5633118"/>
                  <a:gd name="connsiteX40" fmla="*/ 0 w 1918706"/>
                  <a:gd name="connsiteY40" fmla="*/ 4579284 h 5633118"/>
                  <a:gd name="connsiteX41" fmla="*/ 0 w 1918706"/>
                  <a:gd name="connsiteY41" fmla="*/ 4491829 h 5633118"/>
                  <a:gd name="connsiteX42" fmla="*/ 0 w 1918706"/>
                  <a:gd name="connsiteY42" fmla="*/ 4097931 h 5633118"/>
                  <a:gd name="connsiteX43" fmla="*/ 0 w 1918706"/>
                  <a:gd name="connsiteY43" fmla="*/ 4090156 h 5633118"/>
                  <a:gd name="connsiteX44" fmla="*/ 0 w 1918706"/>
                  <a:gd name="connsiteY44" fmla="*/ 4069228 h 5633118"/>
                  <a:gd name="connsiteX45" fmla="*/ 0 w 1918706"/>
                  <a:gd name="connsiteY45" fmla="*/ 4010476 h 5633118"/>
                  <a:gd name="connsiteX46" fmla="*/ 0 w 1918706"/>
                  <a:gd name="connsiteY46" fmla="*/ 3997322 h 5633118"/>
                  <a:gd name="connsiteX47" fmla="*/ 0 w 1918706"/>
                  <a:gd name="connsiteY47" fmla="*/ 3595649 h 5633118"/>
                  <a:gd name="connsiteX48" fmla="*/ 0 w 1918706"/>
                  <a:gd name="connsiteY48" fmla="*/ 3587875 h 5633118"/>
                  <a:gd name="connsiteX49" fmla="*/ 0 w 1918706"/>
                  <a:gd name="connsiteY49" fmla="*/ 3574721 h 5633118"/>
                  <a:gd name="connsiteX50" fmla="*/ 0 w 1918706"/>
                  <a:gd name="connsiteY50" fmla="*/ 3515969 h 5633118"/>
                  <a:gd name="connsiteX51" fmla="*/ 0 w 1918706"/>
                  <a:gd name="connsiteY51" fmla="*/ 3508195 h 5633118"/>
                  <a:gd name="connsiteX52" fmla="*/ 0 w 1918706"/>
                  <a:gd name="connsiteY52" fmla="*/ 3487266 h 5633118"/>
                  <a:gd name="connsiteX53" fmla="*/ 0 w 1918706"/>
                  <a:gd name="connsiteY5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586524 h 5633118"/>
                  <a:gd name="connsiteX5" fmla="*/ 1918706 w 1918706"/>
                  <a:gd name="connsiteY5" fmla="*/ 1985655 h 5633118"/>
                  <a:gd name="connsiteX6" fmla="*/ 1918706 w 1918706"/>
                  <a:gd name="connsiteY6" fmla="*/ 2001351 h 5633118"/>
                  <a:gd name="connsiteX7" fmla="*/ 1918706 w 1918706"/>
                  <a:gd name="connsiteY7" fmla="*/ 2009125 h 5633118"/>
                  <a:gd name="connsiteX8" fmla="*/ 1918706 w 1918706"/>
                  <a:gd name="connsiteY8" fmla="*/ 2073109 h 5633118"/>
                  <a:gd name="connsiteX9" fmla="*/ 1918706 w 1918706"/>
                  <a:gd name="connsiteY9" fmla="*/ 2081031 h 5633118"/>
                  <a:gd name="connsiteX10" fmla="*/ 1918706 w 1918706"/>
                  <a:gd name="connsiteY10" fmla="*/ 2088805 h 5633118"/>
                  <a:gd name="connsiteX11" fmla="*/ 1918706 w 1918706"/>
                  <a:gd name="connsiteY11" fmla="*/ 2503632 h 5633118"/>
                  <a:gd name="connsiteX12" fmla="*/ 1918706 w 1918706"/>
                  <a:gd name="connsiteY12" fmla="*/ 2511407 h 5633118"/>
                  <a:gd name="connsiteX13" fmla="*/ 1918706 w 1918706"/>
                  <a:gd name="connsiteY13" fmla="*/ 2567616 h 5633118"/>
                  <a:gd name="connsiteX14" fmla="*/ 1918706 w 1918706"/>
                  <a:gd name="connsiteY14" fmla="*/ 2583313 h 5633118"/>
                  <a:gd name="connsiteX15" fmla="*/ 1918706 w 1918706"/>
                  <a:gd name="connsiteY15" fmla="*/ 2591087 h 5633118"/>
                  <a:gd name="connsiteX16" fmla="*/ 1918706 w 1918706"/>
                  <a:gd name="connsiteY16" fmla="*/ 2992759 h 5633118"/>
                  <a:gd name="connsiteX17" fmla="*/ 1918706 w 1918706"/>
                  <a:gd name="connsiteY17" fmla="*/ 3005914 h 5633118"/>
                  <a:gd name="connsiteX18" fmla="*/ 1918706 w 1918706"/>
                  <a:gd name="connsiteY18" fmla="*/ 3013688 h 5633118"/>
                  <a:gd name="connsiteX19" fmla="*/ 1918706 w 1918706"/>
                  <a:gd name="connsiteY19" fmla="*/ 3085594 h 5633118"/>
                  <a:gd name="connsiteX20" fmla="*/ 1918706 w 1918706"/>
                  <a:gd name="connsiteY20" fmla="*/ 3093368 h 5633118"/>
                  <a:gd name="connsiteX21" fmla="*/ 1918706 w 1918706"/>
                  <a:gd name="connsiteY21" fmla="*/ 3487266 h 5633118"/>
                  <a:gd name="connsiteX22" fmla="*/ 1918706 w 1918706"/>
                  <a:gd name="connsiteY22" fmla="*/ 3508195 h 5633118"/>
                  <a:gd name="connsiteX23" fmla="*/ 1918706 w 1918706"/>
                  <a:gd name="connsiteY23" fmla="*/ 3515969 h 5633118"/>
                  <a:gd name="connsiteX24" fmla="*/ 1918706 w 1918706"/>
                  <a:gd name="connsiteY24" fmla="*/ 3574721 h 5633118"/>
                  <a:gd name="connsiteX25" fmla="*/ 1918706 w 1918706"/>
                  <a:gd name="connsiteY25" fmla="*/ 3587875 h 5633118"/>
                  <a:gd name="connsiteX26" fmla="*/ 1918706 w 1918706"/>
                  <a:gd name="connsiteY26" fmla="*/ 3595649 h 5633118"/>
                  <a:gd name="connsiteX27" fmla="*/ 1918706 w 1918706"/>
                  <a:gd name="connsiteY27" fmla="*/ 3997322 h 5633118"/>
                  <a:gd name="connsiteX28" fmla="*/ 1918706 w 1918706"/>
                  <a:gd name="connsiteY28" fmla="*/ 4010476 h 5633118"/>
                  <a:gd name="connsiteX29" fmla="*/ 1918706 w 1918706"/>
                  <a:gd name="connsiteY29" fmla="*/ 4069228 h 5633118"/>
                  <a:gd name="connsiteX30" fmla="*/ 1918706 w 1918706"/>
                  <a:gd name="connsiteY30" fmla="*/ 4090156 h 5633118"/>
                  <a:gd name="connsiteX31" fmla="*/ 1918706 w 1918706"/>
                  <a:gd name="connsiteY31" fmla="*/ 4097931 h 5633118"/>
                  <a:gd name="connsiteX32" fmla="*/ 1918706 w 1918706"/>
                  <a:gd name="connsiteY32" fmla="*/ 4491829 h 5633118"/>
                  <a:gd name="connsiteX33" fmla="*/ 1918706 w 1918706"/>
                  <a:gd name="connsiteY33" fmla="*/ 4579284 h 5633118"/>
                  <a:gd name="connsiteX34" fmla="*/ 1918706 w 1918706"/>
                  <a:gd name="connsiteY34" fmla="*/ 4592438 h 5633118"/>
                  <a:gd name="connsiteX35" fmla="*/ 1918706 w 1918706"/>
                  <a:gd name="connsiteY35" fmla="*/ 5073791 h 5633118"/>
                  <a:gd name="connsiteX36" fmla="*/ 959355 w 1918706"/>
                  <a:gd name="connsiteY36" fmla="*/ 5633118 h 5633118"/>
                  <a:gd name="connsiteX37" fmla="*/ 0 w 1918706"/>
                  <a:gd name="connsiteY37" fmla="*/ 5073791 h 5633118"/>
                  <a:gd name="connsiteX38" fmla="*/ 0 w 1918706"/>
                  <a:gd name="connsiteY38" fmla="*/ 4592438 h 5633118"/>
                  <a:gd name="connsiteX39" fmla="*/ 0 w 1918706"/>
                  <a:gd name="connsiteY39" fmla="*/ 4579284 h 5633118"/>
                  <a:gd name="connsiteX40" fmla="*/ 0 w 1918706"/>
                  <a:gd name="connsiteY40" fmla="*/ 4491829 h 5633118"/>
                  <a:gd name="connsiteX41" fmla="*/ 0 w 1918706"/>
                  <a:gd name="connsiteY41" fmla="*/ 4097931 h 5633118"/>
                  <a:gd name="connsiteX42" fmla="*/ 0 w 1918706"/>
                  <a:gd name="connsiteY42" fmla="*/ 4090156 h 5633118"/>
                  <a:gd name="connsiteX43" fmla="*/ 0 w 1918706"/>
                  <a:gd name="connsiteY43" fmla="*/ 4069228 h 5633118"/>
                  <a:gd name="connsiteX44" fmla="*/ 0 w 1918706"/>
                  <a:gd name="connsiteY44" fmla="*/ 4010476 h 5633118"/>
                  <a:gd name="connsiteX45" fmla="*/ 0 w 1918706"/>
                  <a:gd name="connsiteY45" fmla="*/ 3997322 h 5633118"/>
                  <a:gd name="connsiteX46" fmla="*/ 0 w 1918706"/>
                  <a:gd name="connsiteY46" fmla="*/ 3595649 h 5633118"/>
                  <a:gd name="connsiteX47" fmla="*/ 0 w 1918706"/>
                  <a:gd name="connsiteY47" fmla="*/ 3587875 h 5633118"/>
                  <a:gd name="connsiteX48" fmla="*/ 0 w 1918706"/>
                  <a:gd name="connsiteY48" fmla="*/ 3574721 h 5633118"/>
                  <a:gd name="connsiteX49" fmla="*/ 0 w 1918706"/>
                  <a:gd name="connsiteY49" fmla="*/ 3515969 h 5633118"/>
                  <a:gd name="connsiteX50" fmla="*/ 0 w 1918706"/>
                  <a:gd name="connsiteY50" fmla="*/ 3508195 h 5633118"/>
                  <a:gd name="connsiteX51" fmla="*/ 0 w 1918706"/>
                  <a:gd name="connsiteY51" fmla="*/ 3487266 h 5633118"/>
                  <a:gd name="connsiteX52" fmla="*/ 0 w 1918706"/>
                  <a:gd name="connsiteY5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985655 h 5633118"/>
                  <a:gd name="connsiteX5" fmla="*/ 1918706 w 1918706"/>
                  <a:gd name="connsiteY5" fmla="*/ 2001351 h 5633118"/>
                  <a:gd name="connsiteX6" fmla="*/ 1918706 w 1918706"/>
                  <a:gd name="connsiteY6" fmla="*/ 2009125 h 5633118"/>
                  <a:gd name="connsiteX7" fmla="*/ 1918706 w 1918706"/>
                  <a:gd name="connsiteY7" fmla="*/ 2073109 h 5633118"/>
                  <a:gd name="connsiteX8" fmla="*/ 1918706 w 1918706"/>
                  <a:gd name="connsiteY8" fmla="*/ 2081031 h 5633118"/>
                  <a:gd name="connsiteX9" fmla="*/ 1918706 w 1918706"/>
                  <a:gd name="connsiteY9" fmla="*/ 2088805 h 5633118"/>
                  <a:gd name="connsiteX10" fmla="*/ 1918706 w 1918706"/>
                  <a:gd name="connsiteY10" fmla="*/ 2503632 h 5633118"/>
                  <a:gd name="connsiteX11" fmla="*/ 1918706 w 1918706"/>
                  <a:gd name="connsiteY11" fmla="*/ 2511407 h 5633118"/>
                  <a:gd name="connsiteX12" fmla="*/ 1918706 w 1918706"/>
                  <a:gd name="connsiteY12" fmla="*/ 2567616 h 5633118"/>
                  <a:gd name="connsiteX13" fmla="*/ 1918706 w 1918706"/>
                  <a:gd name="connsiteY13" fmla="*/ 2583313 h 5633118"/>
                  <a:gd name="connsiteX14" fmla="*/ 1918706 w 1918706"/>
                  <a:gd name="connsiteY14" fmla="*/ 2591087 h 5633118"/>
                  <a:gd name="connsiteX15" fmla="*/ 1918706 w 1918706"/>
                  <a:gd name="connsiteY15" fmla="*/ 2992759 h 5633118"/>
                  <a:gd name="connsiteX16" fmla="*/ 1918706 w 1918706"/>
                  <a:gd name="connsiteY16" fmla="*/ 3005914 h 5633118"/>
                  <a:gd name="connsiteX17" fmla="*/ 1918706 w 1918706"/>
                  <a:gd name="connsiteY17" fmla="*/ 3013688 h 5633118"/>
                  <a:gd name="connsiteX18" fmla="*/ 1918706 w 1918706"/>
                  <a:gd name="connsiteY18" fmla="*/ 3085594 h 5633118"/>
                  <a:gd name="connsiteX19" fmla="*/ 1918706 w 1918706"/>
                  <a:gd name="connsiteY19" fmla="*/ 3093368 h 5633118"/>
                  <a:gd name="connsiteX20" fmla="*/ 1918706 w 1918706"/>
                  <a:gd name="connsiteY20" fmla="*/ 3487266 h 5633118"/>
                  <a:gd name="connsiteX21" fmla="*/ 1918706 w 1918706"/>
                  <a:gd name="connsiteY21" fmla="*/ 3508195 h 5633118"/>
                  <a:gd name="connsiteX22" fmla="*/ 1918706 w 1918706"/>
                  <a:gd name="connsiteY22" fmla="*/ 3515969 h 5633118"/>
                  <a:gd name="connsiteX23" fmla="*/ 1918706 w 1918706"/>
                  <a:gd name="connsiteY23" fmla="*/ 3574721 h 5633118"/>
                  <a:gd name="connsiteX24" fmla="*/ 1918706 w 1918706"/>
                  <a:gd name="connsiteY24" fmla="*/ 3587875 h 5633118"/>
                  <a:gd name="connsiteX25" fmla="*/ 1918706 w 1918706"/>
                  <a:gd name="connsiteY25" fmla="*/ 3595649 h 5633118"/>
                  <a:gd name="connsiteX26" fmla="*/ 1918706 w 1918706"/>
                  <a:gd name="connsiteY26" fmla="*/ 3997322 h 5633118"/>
                  <a:gd name="connsiteX27" fmla="*/ 1918706 w 1918706"/>
                  <a:gd name="connsiteY27" fmla="*/ 4010476 h 5633118"/>
                  <a:gd name="connsiteX28" fmla="*/ 1918706 w 1918706"/>
                  <a:gd name="connsiteY28" fmla="*/ 4069228 h 5633118"/>
                  <a:gd name="connsiteX29" fmla="*/ 1918706 w 1918706"/>
                  <a:gd name="connsiteY29" fmla="*/ 4090156 h 5633118"/>
                  <a:gd name="connsiteX30" fmla="*/ 1918706 w 1918706"/>
                  <a:gd name="connsiteY30" fmla="*/ 4097931 h 5633118"/>
                  <a:gd name="connsiteX31" fmla="*/ 1918706 w 1918706"/>
                  <a:gd name="connsiteY31" fmla="*/ 4491829 h 5633118"/>
                  <a:gd name="connsiteX32" fmla="*/ 1918706 w 1918706"/>
                  <a:gd name="connsiteY32" fmla="*/ 4579284 h 5633118"/>
                  <a:gd name="connsiteX33" fmla="*/ 1918706 w 1918706"/>
                  <a:gd name="connsiteY33" fmla="*/ 4592438 h 5633118"/>
                  <a:gd name="connsiteX34" fmla="*/ 1918706 w 1918706"/>
                  <a:gd name="connsiteY34" fmla="*/ 5073791 h 5633118"/>
                  <a:gd name="connsiteX35" fmla="*/ 959355 w 1918706"/>
                  <a:gd name="connsiteY35" fmla="*/ 5633118 h 5633118"/>
                  <a:gd name="connsiteX36" fmla="*/ 0 w 1918706"/>
                  <a:gd name="connsiteY36" fmla="*/ 5073791 h 5633118"/>
                  <a:gd name="connsiteX37" fmla="*/ 0 w 1918706"/>
                  <a:gd name="connsiteY37" fmla="*/ 4592438 h 5633118"/>
                  <a:gd name="connsiteX38" fmla="*/ 0 w 1918706"/>
                  <a:gd name="connsiteY38" fmla="*/ 4579284 h 5633118"/>
                  <a:gd name="connsiteX39" fmla="*/ 0 w 1918706"/>
                  <a:gd name="connsiteY39" fmla="*/ 4491829 h 5633118"/>
                  <a:gd name="connsiteX40" fmla="*/ 0 w 1918706"/>
                  <a:gd name="connsiteY40" fmla="*/ 4097931 h 5633118"/>
                  <a:gd name="connsiteX41" fmla="*/ 0 w 1918706"/>
                  <a:gd name="connsiteY41" fmla="*/ 4090156 h 5633118"/>
                  <a:gd name="connsiteX42" fmla="*/ 0 w 1918706"/>
                  <a:gd name="connsiteY42" fmla="*/ 4069228 h 5633118"/>
                  <a:gd name="connsiteX43" fmla="*/ 0 w 1918706"/>
                  <a:gd name="connsiteY43" fmla="*/ 4010476 h 5633118"/>
                  <a:gd name="connsiteX44" fmla="*/ 0 w 1918706"/>
                  <a:gd name="connsiteY44" fmla="*/ 3997322 h 5633118"/>
                  <a:gd name="connsiteX45" fmla="*/ 0 w 1918706"/>
                  <a:gd name="connsiteY45" fmla="*/ 3595649 h 5633118"/>
                  <a:gd name="connsiteX46" fmla="*/ 0 w 1918706"/>
                  <a:gd name="connsiteY46" fmla="*/ 3587875 h 5633118"/>
                  <a:gd name="connsiteX47" fmla="*/ 0 w 1918706"/>
                  <a:gd name="connsiteY47" fmla="*/ 3574721 h 5633118"/>
                  <a:gd name="connsiteX48" fmla="*/ 0 w 1918706"/>
                  <a:gd name="connsiteY48" fmla="*/ 3515969 h 5633118"/>
                  <a:gd name="connsiteX49" fmla="*/ 0 w 1918706"/>
                  <a:gd name="connsiteY49" fmla="*/ 3508195 h 5633118"/>
                  <a:gd name="connsiteX50" fmla="*/ 0 w 1918706"/>
                  <a:gd name="connsiteY50" fmla="*/ 3487266 h 5633118"/>
                  <a:gd name="connsiteX51" fmla="*/ 0 w 1918706"/>
                  <a:gd name="connsiteY5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09125 h 5633118"/>
                  <a:gd name="connsiteX6" fmla="*/ 1918706 w 1918706"/>
                  <a:gd name="connsiteY6" fmla="*/ 2073109 h 5633118"/>
                  <a:gd name="connsiteX7" fmla="*/ 1918706 w 1918706"/>
                  <a:gd name="connsiteY7" fmla="*/ 2081031 h 5633118"/>
                  <a:gd name="connsiteX8" fmla="*/ 1918706 w 1918706"/>
                  <a:gd name="connsiteY8" fmla="*/ 2088805 h 5633118"/>
                  <a:gd name="connsiteX9" fmla="*/ 1918706 w 1918706"/>
                  <a:gd name="connsiteY9" fmla="*/ 2503632 h 5633118"/>
                  <a:gd name="connsiteX10" fmla="*/ 1918706 w 1918706"/>
                  <a:gd name="connsiteY10" fmla="*/ 2511407 h 5633118"/>
                  <a:gd name="connsiteX11" fmla="*/ 1918706 w 1918706"/>
                  <a:gd name="connsiteY11" fmla="*/ 2567616 h 5633118"/>
                  <a:gd name="connsiteX12" fmla="*/ 1918706 w 1918706"/>
                  <a:gd name="connsiteY12" fmla="*/ 2583313 h 5633118"/>
                  <a:gd name="connsiteX13" fmla="*/ 1918706 w 1918706"/>
                  <a:gd name="connsiteY13" fmla="*/ 2591087 h 5633118"/>
                  <a:gd name="connsiteX14" fmla="*/ 1918706 w 1918706"/>
                  <a:gd name="connsiteY14" fmla="*/ 2992759 h 5633118"/>
                  <a:gd name="connsiteX15" fmla="*/ 1918706 w 1918706"/>
                  <a:gd name="connsiteY15" fmla="*/ 3005914 h 5633118"/>
                  <a:gd name="connsiteX16" fmla="*/ 1918706 w 1918706"/>
                  <a:gd name="connsiteY16" fmla="*/ 3013688 h 5633118"/>
                  <a:gd name="connsiteX17" fmla="*/ 1918706 w 1918706"/>
                  <a:gd name="connsiteY17" fmla="*/ 3085594 h 5633118"/>
                  <a:gd name="connsiteX18" fmla="*/ 1918706 w 1918706"/>
                  <a:gd name="connsiteY18" fmla="*/ 3093368 h 5633118"/>
                  <a:gd name="connsiteX19" fmla="*/ 1918706 w 1918706"/>
                  <a:gd name="connsiteY19" fmla="*/ 3487266 h 5633118"/>
                  <a:gd name="connsiteX20" fmla="*/ 1918706 w 1918706"/>
                  <a:gd name="connsiteY20" fmla="*/ 3508195 h 5633118"/>
                  <a:gd name="connsiteX21" fmla="*/ 1918706 w 1918706"/>
                  <a:gd name="connsiteY21" fmla="*/ 3515969 h 5633118"/>
                  <a:gd name="connsiteX22" fmla="*/ 1918706 w 1918706"/>
                  <a:gd name="connsiteY22" fmla="*/ 3574721 h 5633118"/>
                  <a:gd name="connsiteX23" fmla="*/ 1918706 w 1918706"/>
                  <a:gd name="connsiteY23" fmla="*/ 3587875 h 5633118"/>
                  <a:gd name="connsiteX24" fmla="*/ 1918706 w 1918706"/>
                  <a:gd name="connsiteY24" fmla="*/ 3595649 h 5633118"/>
                  <a:gd name="connsiteX25" fmla="*/ 1918706 w 1918706"/>
                  <a:gd name="connsiteY25" fmla="*/ 3997322 h 5633118"/>
                  <a:gd name="connsiteX26" fmla="*/ 1918706 w 1918706"/>
                  <a:gd name="connsiteY26" fmla="*/ 4010476 h 5633118"/>
                  <a:gd name="connsiteX27" fmla="*/ 1918706 w 1918706"/>
                  <a:gd name="connsiteY27" fmla="*/ 4069228 h 5633118"/>
                  <a:gd name="connsiteX28" fmla="*/ 1918706 w 1918706"/>
                  <a:gd name="connsiteY28" fmla="*/ 4090156 h 5633118"/>
                  <a:gd name="connsiteX29" fmla="*/ 1918706 w 1918706"/>
                  <a:gd name="connsiteY29" fmla="*/ 4097931 h 5633118"/>
                  <a:gd name="connsiteX30" fmla="*/ 1918706 w 1918706"/>
                  <a:gd name="connsiteY30" fmla="*/ 4491829 h 5633118"/>
                  <a:gd name="connsiteX31" fmla="*/ 1918706 w 1918706"/>
                  <a:gd name="connsiteY31" fmla="*/ 4579284 h 5633118"/>
                  <a:gd name="connsiteX32" fmla="*/ 1918706 w 1918706"/>
                  <a:gd name="connsiteY32" fmla="*/ 4592438 h 5633118"/>
                  <a:gd name="connsiteX33" fmla="*/ 1918706 w 1918706"/>
                  <a:gd name="connsiteY33" fmla="*/ 5073791 h 5633118"/>
                  <a:gd name="connsiteX34" fmla="*/ 959355 w 1918706"/>
                  <a:gd name="connsiteY34" fmla="*/ 5633118 h 5633118"/>
                  <a:gd name="connsiteX35" fmla="*/ 0 w 1918706"/>
                  <a:gd name="connsiteY35" fmla="*/ 5073791 h 5633118"/>
                  <a:gd name="connsiteX36" fmla="*/ 0 w 1918706"/>
                  <a:gd name="connsiteY36" fmla="*/ 4592438 h 5633118"/>
                  <a:gd name="connsiteX37" fmla="*/ 0 w 1918706"/>
                  <a:gd name="connsiteY37" fmla="*/ 4579284 h 5633118"/>
                  <a:gd name="connsiteX38" fmla="*/ 0 w 1918706"/>
                  <a:gd name="connsiteY38" fmla="*/ 4491829 h 5633118"/>
                  <a:gd name="connsiteX39" fmla="*/ 0 w 1918706"/>
                  <a:gd name="connsiteY39" fmla="*/ 4097931 h 5633118"/>
                  <a:gd name="connsiteX40" fmla="*/ 0 w 1918706"/>
                  <a:gd name="connsiteY40" fmla="*/ 4090156 h 5633118"/>
                  <a:gd name="connsiteX41" fmla="*/ 0 w 1918706"/>
                  <a:gd name="connsiteY41" fmla="*/ 4069228 h 5633118"/>
                  <a:gd name="connsiteX42" fmla="*/ 0 w 1918706"/>
                  <a:gd name="connsiteY42" fmla="*/ 4010476 h 5633118"/>
                  <a:gd name="connsiteX43" fmla="*/ 0 w 1918706"/>
                  <a:gd name="connsiteY43" fmla="*/ 3997322 h 5633118"/>
                  <a:gd name="connsiteX44" fmla="*/ 0 w 1918706"/>
                  <a:gd name="connsiteY44" fmla="*/ 3595649 h 5633118"/>
                  <a:gd name="connsiteX45" fmla="*/ 0 w 1918706"/>
                  <a:gd name="connsiteY45" fmla="*/ 3587875 h 5633118"/>
                  <a:gd name="connsiteX46" fmla="*/ 0 w 1918706"/>
                  <a:gd name="connsiteY46" fmla="*/ 3574721 h 5633118"/>
                  <a:gd name="connsiteX47" fmla="*/ 0 w 1918706"/>
                  <a:gd name="connsiteY47" fmla="*/ 3515969 h 5633118"/>
                  <a:gd name="connsiteX48" fmla="*/ 0 w 1918706"/>
                  <a:gd name="connsiteY48" fmla="*/ 3508195 h 5633118"/>
                  <a:gd name="connsiteX49" fmla="*/ 0 w 1918706"/>
                  <a:gd name="connsiteY49" fmla="*/ 3487266 h 5633118"/>
                  <a:gd name="connsiteX50" fmla="*/ 0 w 1918706"/>
                  <a:gd name="connsiteY5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73109 h 5633118"/>
                  <a:gd name="connsiteX6" fmla="*/ 1918706 w 1918706"/>
                  <a:gd name="connsiteY6" fmla="*/ 2081031 h 5633118"/>
                  <a:gd name="connsiteX7" fmla="*/ 1918706 w 1918706"/>
                  <a:gd name="connsiteY7" fmla="*/ 2088805 h 5633118"/>
                  <a:gd name="connsiteX8" fmla="*/ 1918706 w 1918706"/>
                  <a:gd name="connsiteY8" fmla="*/ 2503632 h 5633118"/>
                  <a:gd name="connsiteX9" fmla="*/ 1918706 w 1918706"/>
                  <a:gd name="connsiteY9" fmla="*/ 2511407 h 5633118"/>
                  <a:gd name="connsiteX10" fmla="*/ 1918706 w 1918706"/>
                  <a:gd name="connsiteY10" fmla="*/ 2567616 h 5633118"/>
                  <a:gd name="connsiteX11" fmla="*/ 1918706 w 1918706"/>
                  <a:gd name="connsiteY11" fmla="*/ 2583313 h 5633118"/>
                  <a:gd name="connsiteX12" fmla="*/ 1918706 w 1918706"/>
                  <a:gd name="connsiteY12" fmla="*/ 2591087 h 5633118"/>
                  <a:gd name="connsiteX13" fmla="*/ 1918706 w 1918706"/>
                  <a:gd name="connsiteY13" fmla="*/ 2992759 h 5633118"/>
                  <a:gd name="connsiteX14" fmla="*/ 1918706 w 1918706"/>
                  <a:gd name="connsiteY14" fmla="*/ 3005914 h 5633118"/>
                  <a:gd name="connsiteX15" fmla="*/ 1918706 w 1918706"/>
                  <a:gd name="connsiteY15" fmla="*/ 3013688 h 5633118"/>
                  <a:gd name="connsiteX16" fmla="*/ 1918706 w 1918706"/>
                  <a:gd name="connsiteY16" fmla="*/ 3085594 h 5633118"/>
                  <a:gd name="connsiteX17" fmla="*/ 1918706 w 1918706"/>
                  <a:gd name="connsiteY17" fmla="*/ 3093368 h 5633118"/>
                  <a:gd name="connsiteX18" fmla="*/ 1918706 w 1918706"/>
                  <a:gd name="connsiteY18" fmla="*/ 3487266 h 5633118"/>
                  <a:gd name="connsiteX19" fmla="*/ 1918706 w 1918706"/>
                  <a:gd name="connsiteY19" fmla="*/ 3508195 h 5633118"/>
                  <a:gd name="connsiteX20" fmla="*/ 1918706 w 1918706"/>
                  <a:gd name="connsiteY20" fmla="*/ 3515969 h 5633118"/>
                  <a:gd name="connsiteX21" fmla="*/ 1918706 w 1918706"/>
                  <a:gd name="connsiteY21" fmla="*/ 3574721 h 5633118"/>
                  <a:gd name="connsiteX22" fmla="*/ 1918706 w 1918706"/>
                  <a:gd name="connsiteY22" fmla="*/ 3587875 h 5633118"/>
                  <a:gd name="connsiteX23" fmla="*/ 1918706 w 1918706"/>
                  <a:gd name="connsiteY23" fmla="*/ 3595649 h 5633118"/>
                  <a:gd name="connsiteX24" fmla="*/ 1918706 w 1918706"/>
                  <a:gd name="connsiteY24" fmla="*/ 3997322 h 5633118"/>
                  <a:gd name="connsiteX25" fmla="*/ 1918706 w 1918706"/>
                  <a:gd name="connsiteY25" fmla="*/ 4010476 h 5633118"/>
                  <a:gd name="connsiteX26" fmla="*/ 1918706 w 1918706"/>
                  <a:gd name="connsiteY26" fmla="*/ 4069228 h 5633118"/>
                  <a:gd name="connsiteX27" fmla="*/ 1918706 w 1918706"/>
                  <a:gd name="connsiteY27" fmla="*/ 4090156 h 5633118"/>
                  <a:gd name="connsiteX28" fmla="*/ 1918706 w 1918706"/>
                  <a:gd name="connsiteY28" fmla="*/ 4097931 h 5633118"/>
                  <a:gd name="connsiteX29" fmla="*/ 1918706 w 1918706"/>
                  <a:gd name="connsiteY29" fmla="*/ 4491829 h 5633118"/>
                  <a:gd name="connsiteX30" fmla="*/ 1918706 w 1918706"/>
                  <a:gd name="connsiteY30" fmla="*/ 4579284 h 5633118"/>
                  <a:gd name="connsiteX31" fmla="*/ 1918706 w 1918706"/>
                  <a:gd name="connsiteY31" fmla="*/ 4592438 h 5633118"/>
                  <a:gd name="connsiteX32" fmla="*/ 1918706 w 1918706"/>
                  <a:gd name="connsiteY32" fmla="*/ 5073791 h 5633118"/>
                  <a:gd name="connsiteX33" fmla="*/ 959355 w 1918706"/>
                  <a:gd name="connsiteY33" fmla="*/ 5633118 h 5633118"/>
                  <a:gd name="connsiteX34" fmla="*/ 0 w 1918706"/>
                  <a:gd name="connsiteY34" fmla="*/ 5073791 h 5633118"/>
                  <a:gd name="connsiteX35" fmla="*/ 0 w 1918706"/>
                  <a:gd name="connsiteY35" fmla="*/ 4592438 h 5633118"/>
                  <a:gd name="connsiteX36" fmla="*/ 0 w 1918706"/>
                  <a:gd name="connsiteY36" fmla="*/ 4579284 h 5633118"/>
                  <a:gd name="connsiteX37" fmla="*/ 0 w 1918706"/>
                  <a:gd name="connsiteY37" fmla="*/ 4491829 h 5633118"/>
                  <a:gd name="connsiteX38" fmla="*/ 0 w 1918706"/>
                  <a:gd name="connsiteY38" fmla="*/ 4097931 h 5633118"/>
                  <a:gd name="connsiteX39" fmla="*/ 0 w 1918706"/>
                  <a:gd name="connsiteY39" fmla="*/ 4090156 h 5633118"/>
                  <a:gd name="connsiteX40" fmla="*/ 0 w 1918706"/>
                  <a:gd name="connsiteY40" fmla="*/ 4069228 h 5633118"/>
                  <a:gd name="connsiteX41" fmla="*/ 0 w 1918706"/>
                  <a:gd name="connsiteY41" fmla="*/ 4010476 h 5633118"/>
                  <a:gd name="connsiteX42" fmla="*/ 0 w 1918706"/>
                  <a:gd name="connsiteY42" fmla="*/ 3997322 h 5633118"/>
                  <a:gd name="connsiteX43" fmla="*/ 0 w 1918706"/>
                  <a:gd name="connsiteY43" fmla="*/ 3595649 h 5633118"/>
                  <a:gd name="connsiteX44" fmla="*/ 0 w 1918706"/>
                  <a:gd name="connsiteY44" fmla="*/ 3587875 h 5633118"/>
                  <a:gd name="connsiteX45" fmla="*/ 0 w 1918706"/>
                  <a:gd name="connsiteY45" fmla="*/ 3574721 h 5633118"/>
                  <a:gd name="connsiteX46" fmla="*/ 0 w 1918706"/>
                  <a:gd name="connsiteY46" fmla="*/ 3515969 h 5633118"/>
                  <a:gd name="connsiteX47" fmla="*/ 0 w 1918706"/>
                  <a:gd name="connsiteY47" fmla="*/ 3508195 h 5633118"/>
                  <a:gd name="connsiteX48" fmla="*/ 0 w 1918706"/>
                  <a:gd name="connsiteY48" fmla="*/ 3487266 h 5633118"/>
                  <a:gd name="connsiteX49" fmla="*/ 0 w 1918706"/>
                  <a:gd name="connsiteY4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73109 h 5633118"/>
                  <a:gd name="connsiteX5" fmla="*/ 1918706 w 1918706"/>
                  <a:gd name="connsiteY5" fmla="*/ 2081031 h 5633118"/>
                  <a:gd name="connsiteX6" fmla="*/ 1918706 w 1918706"/>
                  <a:gd name="connsiteY6" fmla="*/ 2088805 h 5633118"/>
                  <a:gd name="connsiteX7" fmla="*/ 1918706 w 1918706"/>
                  <a:gd name="connsiteY7" fmla="*/ 2503632 h 5633118"/>
                  <a:gd name="connsiteX8" fmla="*/ 1918706 w 1918706"/>
                  <a:gd name="connsiteY8" fmla="*/ 2511407 h 5633118"/>
                  <a:gd name="connsiteX9" fmla="*/ 1918706 w 1918706"/>
                  <a:gd name="connsiteY9" fmla="*/ 2567616 h 5633118"/>
                  <a:gd name="connsiteX10" fmla="*/ 1918706 w 1918706"/>
                  <a:gd name="connsiteY10" fmla="*/ 2583313 h 5633118"/>
                  <a:gd name="connsiteX11" fmla="*/ 1918706 w 1918706"/>
                  <a:gd name="connsiteY11" fmla="*/ 2591087 h 5633118"/>
                  <a:gd name="connsiteX12" fmla="*/ 1918706 w 1918706"/>
                  <a:gd name="connsiteY12" fmla="*/ 2992759 h 5633118"/>
                  <a:gd name="connsiteX13" fmla="*/ 1918706 w 1918706"/>
                  <a:gd name="connsiteY13" fmla="*/ 3005914 h 5633118"/>
                  <a:gd name="connsiteX14" fmla="*/ 1918706 w 1918706"/>
                  <a:gd name="connsiteY14" fmla="*/ 3013688 h 5633118"/>
                  <a:gd name="connsiteX15" fmla="*/ 1918706 w 1918706"/>
                  <a:gd name="connsiteY15" fmla="*/ 3085594 h 5633118"/>
                  <a:gd name="connsiteX16" fmla="*/ 1918706 w 1918706"/>
                  <a:gd name="connsiteY16" fmla="*/ 3093368 h 5633118"/>
                  <a:gd name="connsiteX17" fmla="*/ 1918706 w 1918706"/>
                  <a:gd name="connsiteY17" fmla="*/ 3487266 h 5633118"/>
                  <a:gd name="connsiteX18" fmla="*/ 1918706 w 1918706"/>
                  <a:gd name="connsiteY18" fmla="*/ 3508195 h 5633118"/>
                  <a:gd name="connsiteX19" fmla="*/ 1918706 w 1918706"/>
                  <a:gd name="connsiteY19" fmla="*/ 3515969 h 5633118"/>
                  <a:gd name="connsiteX20" fmla="*/ 1918706 w 1918706"/>
                  <a:gd name="connsiteY20" fmla="*/ 3574721 h 5633118"/>
                  <a:gd name="connsiteX21" fmla="*/ 1918706 w 1918706"/>
                  <a:gd name="connsiteY21" fmla="*/ 3587875 h 5633118"/>
                  <a:gd name="connsiteX22" fmla="*/ 1918706 w 1918706"/>
                  <a:gd name="connsiteY22" fmla="*/ 3595649 h 5633118"/>
                  <a:gd name="connsiteX23" fmla="*/ 1918706 w 1918706"/>
                  <a:gd name="connsiteY23" fmla="*/ 3997322 h 5633118"/>
                  <a:gd name="connsiteX24" fmla="*/ 1918706 w 1918706"/>
                  <a:gd name="connsiteY24" fmla="*/ 4010476 h 5633118"/>
                  <a:gd name="connsiteX25" fmla="*/ 1918706 w 1918706"/>
                  <a:gd name="connsiteY25" fmla="*/ 4069228 h 5633118"/>
                  <a:gd name="connsiteX26" fmla="*/ 1918706 w 1918706"/>
                  <a:gd name="connsiteY26" fmla="*/ 4090156 h 5633118"/>
                  <a:gd name="connsiteX27" fmla="*/ 1918706 w 1918706"/>
                  <a:gd name="connsiteY27" fmla="*/ 4097931 h 5633118"/>
                  <a:gd name="connsiteX28" fmla="*/ 1918706 w 1918706"/>
                  <a:gd name="connsiteY28" fmla="*/ 4491829 h 5633118"/>
                  <a:gd name="connsiteX29" fmla="*/ 1918706 w 1918706"/>
                  <a:gd name="connsiteY29" fmla="*/ 4579284 h 5633118"/>
                  <a:gd name="connsiteX30" fmla="*/ 1918706 w 1918706"/>
                  <a:gd name="connsiteY30" fmla="*/ 4592438 h 5633118"/>
                  <a:gd name="connsiteX31" fmla="*/ 1918706 w 1918706"/>
                  <a:gd name="connsiteY31" fmla="*/ 5073791 h 5633118"/>
                  <a:gd name="connsiteX32" fmla="*/ 959355 w 1918706"/>
                  <a:gd name="connsiteY32" fmla="*/ 5633118 h 5633118"/>
                  <a:gd name="connsiteX33" fmla="*/ 0 w 1918706"/>
                  <a:gd name="connsiteY33" fmla="*/ 5073791 h 5633118"/>
                  <a:gd name="connsiteX34" fmla="*/ 0 w 1918706"/>
                  <a:gd name="connsiteY34" fmla="*/ 4592438 h 5633118"/>
                  <a:gd name="connsiteX35" fmla="*/ 0 w 1918706"/>
                  <a:gd name="connsiteY35" fmla="*/ 4579284 h 5633118"/>
                  <a:gd name="connsiteX36" fmla="*/ 0 w 1918706"/>
                  <a:gd name="connsiteY36" fmla="*/ 4491829 h 5633118"/>
                  <a:gd name="connsiteX37" fmla="*/ 0 w 1918706"/>
                  <a:gd name="connsiteY37" fmla="*/ 4097931 h 5633118"/>
                  <a:gd name="connsiteX38" fmla="*/ 0 w 1918706"/>
                  <a:gd name="connsiteY38" fmla="*/ 4090156 h 5633118"/>
                  <a:gd name="connsiteX39" fmla="*/ 0 w 1918706"/>
                  <a:gd name="connsiteY39" fmla="*/ 4069228 h 5633118"/>
                  <a:gd name="connsiteX40" fmla="*/ 0 w 1918706"/>
                  <a:gd name="connsiteY40" fmla="*/ 4010476 h 5633118"/>
                  <a:gd name="connsiteX41" fmla="*/ 0 w 1918706"/>
                  <a:gd name="connsiteY41" fmla="*/ 3997322 h 5633118"/>
                  <a:gd name="connsiteX42" fmla="*/ 0 w 1918706"/>
                  <a:gd name="connsiteY42" fmla="*/ 3595649 h 5633118"/>
                  <a:gd name="connsiteX43" fmla="*/ 0 w 1918706"/>
                  <a:gd name="connsiteY43" fmla="*/ 3587875 h 5633118"/>
                  <a:gd name="connsiteX44" fmla="*/ 0 w 1918706"/>
                  <a:gd name="connsiteY44" fmla="*/ 3574721 h 5633118"/>
                  <a:gd name="connsiteX45" fmla="*/ 0 w 1918706"/>
                  <a:gd name="connsiteY45" fmla="*/ 3515969 h 5633118"/>
                  <a:gd name="connsiteX46" fmla="*/ 0 w 1918706"/>
                  <a:gd name="connsiteY46" fmla="*/ 3508195 h 5633118"/>
                  <a:gd name="connsiteX47" fmla="*/ 0 w 1918706"/>
                  <a:gd name="connsiteY47" fmla="*/ 3487266 h 5633118"/>
                  <a:gd name="connsiteX48" fmla="*/ 0 w 1918706"/>
                  <a:gd name="connsiteY4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088805 h 5633118"/>
                  <a:gd name="connsiteX6" fmla="*/ 1918706 w 1918706"/>
                  <a:gd name="connsiteY6" fmla="*/ 2503632 h 5633118"/>
                  <a:gd name="connsiteX7" fmla="*/ 1918706 w 1918706"/>
                  <a:gd name="connsiteY7" fmla="*/ 2511407 h 5633118"/>
                  <a:gd name="connsiteX8" fmla="*/ 1918706 w 1918706"/>
                  <a:gd name="connsiteY8" fmla="*/ 2567616 h 5633118"/>
                  <a:gd name="connsiteX9" fmla="*/ 1918706 w 1918706"/>
                  <a:gd name="connsiteY9" fmla="*/ 2583313 h 5633118"/>
                  <a:gd name="connsiteX10" fmla="*/ 1918706 w 1918706"/>
                  <a:gd name="connsiteY10" fmla="*/ 2591087 h 5633118"/>
                  <a:gd name="connsiteX11" fmla="*/ 1918706 w 1918706"/>
                  <a:gd name="connsiteY11" fmla="*/ 2992759 h 5633118"/>
                  <a:gd name="connsiteX12" fmla="*/ 1918706 w 1918706"/>
                  <a:gd name="connsiteY12" fmla="*/ 3005914 h 5633118"/>
                  <a:gd name="connsiteX13" fmla="*/ 1918706 w 1918706"/>
                  <a:gd name="connsiteY13" fmla="*/ 3013688 h 5633118"/>
                  <a:gd name="connsiteX14" fmla="*/ 1918706 w 1918706"/>
                  <a:gd name="connsiteY14" fmla="*/ 3085594 h 5633118"/>
                  <a:gd name="connsiteX15" fmla="*/ 1918706 w 1918706"/>
                  <a:gd name="connsiteY15" fmla="*/ 3093368 h 5633118"/>
                  <a:gd name="connsiteX16" fmla="*/ 1918706 w 1918706"/>
                  <a:gd name="connsiteY16" fmla="*/ 3487266 h 5633118"/>
                  <a:gd name="connsiteX17" fmla="*/ 1918706 w 1918706"/>
                  <a:gd name="connsiteY17" fmla="*/ 3508195 h 5633118"/>
                  <a:gd name="connsiteX18" fmla="*/ 1918706 w 1918706"/>
                  <a:gd name="connsiteY18" fmla="*/ 3515969 h 5633118"/>
                  <a:gd name="connsiteX19" fmla="*/ 1918706 w 1918706"/>
                  <a:gd name="connsiteY19" fmla="*/ 3574721 h 5633118"/>
                  <a:gd name="connsiteX20" fmla="*/ 1918706 w 1918706"/>
                  <a:gd name="connsiteY20" fmla="*/ 3587875 h 5633118"/>
                  <a:gd name="connsiteX21" fmla="*/ 1918706 w 1918706"/>
                  <a:gd name="connsiteY21" fmla="*/ 3595649 h 5633118"/>
                  <a:gd name="connsiteX22" fmla="*/ 1918706 w 1918706"/>
                  <a:gd name="connsiteY22" fmla="*/ 3997322 h 5633118"/>
                  <a:gd name="connsiteX23" fmla="*/ 1918706 w 1918706"/>
                  <a:gd name="connsiteY23" fmla="*/ 4010476 h 5633118"/>
                  <a:gd name="connsiteX24" fmla="*/ 1918706 w 1918706"/>
                  <a:gd name="connsiteY24" fmla="*/ 4069228 h 5633118"/>
                  <a:gd name="connsiteX25" fmla="*/ 1918706 w 1918706"/>
                  <a:gd name="connsiteY25" fmla="*/ 4090156 h 5633118"/>
                  <a:gd name="connsiteX26" fmla="*/ 1918706 w 1918706"/>
                  <a:gd name="connsiteY26" fmla="*/ 4097931 h 5633118"/>
                  <a:gd name="connsiteX27" fmla="*/ 1918706 w 1918706"/>
                  <a:gd name="connsiteY27" fmla="*/ 4491829 h 5633118"/>
                  <a:gd name="connsiteX28" fmla="*/ 1918706 w 1918706"/>
                  <a:gd name="connsiteY28" fmla="*/ 4579284 h 5633118"/>
                  <a:gd name="connsiteX29" fmla="*/ 1918706 w 1918706"/>
                  <a:gd name="connsiteY29" fmla="*/ 4592438 h 5633118"/>
                  <a:gd name="connsiteX30" fmla="*/ 1918706 w 1918706"/>
                  <a:gd name="connsiteY30" fmla="*/ 5073791 h 5633118"/>
                  <a:gd name="connsiteX31" fmla="*/ 959355 w 1918706"/>
                  <a:gd name="connsiteY31" fmla="*/ 5633118 h 5633118"/>
                  <a:gd name="connsiteX32" fmla="*/ 0 w 1918706"/>
                  <a:gd name="connsiteY32" fmla="*/ 5073791 h 5633118"/>
                  <a:gd name="connsiteX33" fmla="*/ 0 w 1918706"/>
                  <a:gd name="connsiteY33" fmla="*/ 4592438 h 5633118"/>
                  <a:gd name="connsiteX34" fmla="*/ 0 w 1918706"/>
                  <a:gd name="connsiteY34" fmla="*/ 4579284 h 5633118"/>
                  <a:gd name="connsiteX35" fmla="*/ 0 w 1918706"/>
                  <a:gd name="connsiteY35" fmla="*/ 4491829 h 5633118"/>
                  <a:gd name="connsiteX36" fmla="*/ 0 w 1918706"/>
                  <a:gd name="connsiteY36" fmla="*/ 4097931 h 5633118"/>
                  <a:gd name="connsiteX37" fmla="*/ 0 w 1918706"/>
                  <a:gd name="connsiteY37" fmla="*/ 4090156 h 5633118"/>
                  <a:gd name="connsiteX38" fmla="*/ 0 w 1918706"/>
                  <a:gd name="connsiteY38" fmla="*/ 4069228 h 5633118"/>
                  <a:gd name="connsiteX39" fmla="*/ 0 w 1918706"/>
                  <a:gd name="connsiteY39" fmla="*/ 4010476 h 5633118"/>
                  <a:gd name="connsiteX40" fmla="*/ 0 w 1918706"/>
                  <a:gd name="connsiteY40" fmla="*/ 3997322 h 5633118"/>
                  <a:gd name="connsiteX41" fmla="*/ 0 w 1918706"/>
                  <a:gd name="connsiteY41" fmla="*/ 3595649 h 5633118"/>
                  <a:gd name="connsiteX42" fmla="*/ 0 w 1918706"/>
                  <a:gd name="connsiteY42" fmla="*/ 3587875 h 5633118"/>
                  <a:gd name="connsiteX43" fmla="*/ 0 w 1918706"/>
                  <a:gd name="connsiteY43" fmla="*/ 3574721 h 5633118"/>
                  <a:gd name="connsiteX44" fmla="*/ 0 w 1918706"/>
                  <a:gd name="connsiteY44" fmla="*/ 3515969 h 5633118"/>
                  <a:gd name="connsiteX45" fmla="*/ 0 w 1918706"/>
                  <a:gd name="connsiteY45" fmla="*/ 3508195 h 5633118"/>
                  <a:gd name="connsiteX46" fmla="*/ 0 w 1918706"/>
                  <a:gd name="connsiteY46" fmla="*/ 3487266 h 5633118"/>
                  <a:gd name="connsiteX47" fmla="*/ 0 w 1918706"/>
                  <a:gd name="connsiteY4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503632 h 5633118"/>
                  <a:gd name="connsiteX6" fmla="*/ 1918706 w 1918706"/>
                  <a:gd name="connsiteY6" fmla="*/ 2511407 h 5633118"/>
                  <a:gd name="connsiteX7" fmla="*/ 1918706 w 1918706"/>
                  <a:gd name="connsiteY7" fmla="*/ 2567616 h 5633118"/>
                  <a:gd name="connsiteX8" fmla="*/ 1918706 w 1918706"/>
                  <a:gd name="connsiteY8" fmla="*/ 2583313 h 5633118"/>
                  <a:gd name="connsiteX9" fmla="*/ 1918706 w 1918706"/>
                  <a:gd name="connsiteY9" fmla="*/ 2591087 h 5633118"/>
                  <a:gd name="connsiteX10" fmla="*/ 1918706 w 1918706"/>
                  <a:gd name="connsiteY10" fmla="*/ 2992759 h 5633118"/>
                  <a:gd name="connsiteX11" fmla="*/ 1918706 w 1918706"/>
                  <a:gd name="connsiteY11" fmla="*/ 3005914 h 5633118"/>
                  <a:gd name="connsiteX12" fmla="*/ 1918706 w 1918706"/>
                  <a:gd name="connsiteY12" fmla="*/ 3013688 h 5633118"/>
                  <a:gd name="connsiteX13" fmla="*/ 1918706 w 1918706"/>
                  <a:gd name="connsiteY13" fmla="*/ 3085594 h 5633118"/>
                  <a:gd name="connsiteX14" fmla="*/ 1918706 w 1918706"/>
                  <a:gd name="connsiteY14" fmla="*/ 3093368 h 5633118"/>
                  <a:gd name="connsiteX15" fmla="*/ 1918706 w 1918706"/>
                  <a:gd name="connsiteY15" fmla="*/ 3487266 h 5633118"/>
                  <a:gd name="connsiteX16" fmla="*/ 1918706 w 1918706"/>
                  <a:gd name="connsiteY16" fmla="*/ 3508195 h 5633118"/>
                  <a:gd name="connsiteX17" fmla="*/ 1918706 w 1918706"/>
                  <a:gd name="connsiteY17" fmla="*/ 3515969 h 5633118"/>
                  <a:gd name="connsiteX18" fmla="*/ 1918706 w 1918706"/>
                  <a:gd name="connsiteY18" fmla="*/ 3574721 h 5633118"/>
                  <a:gd name="connsiteX19" fmla="*/ 1918706 w 1918706"/>
                  <a:gd name="connsiteY19" fmla="*/ 3587875 h 5633118"/>
                  <a:gd name="connsiteX20" fmla="*/ 1918706 w 1918706"/>
                  <a:gd name="connsiteY20" fmla="*/ 3595649 h 5633118"/>
                  <a:gd name="connsiteX21" fmla="*/ 1918706 w 1918706"/>
                  <a:gd name="connsiteY21" fmla="*/ 3997322 h 5633118"/>
                  <a:gd name="connsiteX22" fmla="*/ 1918706 w 1918706"/>
                  <a:gd name="connsiteY22" fmla="*/ 4010476 h 5633118"/>
                  <a:gd name="connsiteX23" fmla="*/ 1918706 w 1918706"/>
                  <a:gd name="connsiteY23" fmla="*/ 4069228 h 5633118"/>
                  <a:gd name="connsiteX24" fmla="*/ 1918706 w 1918706"/>
                  <a:gd name="connsiteY24" fmla="*/ 4090156 h 5633118"/>
                  <a:gd name="connsiteX25" fmla="*/ 1918706 w 1918706"/>
                  <a:gd name="connsiteY25" fmla="*/ 4097931 h 5633118"/>
                  <a:gd name="connsiteX26" fmla="*/ 1918706 w 1918706"/>
                  <a:gd name="connsiteY26" fmla="*/ 4491829 h 5633118"/>
                  <a:gd name="connsiteX27" fmla="*/ 1918706 w 1918706"/>
                  <a:gd name="connsiteY27" fmla="*/ 4579284 h 5633118"/>
                  <a:gd name="connsiteX28" fmla="*/ 1918706 w 1918706"/>
                  <a:gd name="connsiteY28" fmla="*/ 4592438 h 5633118"/>
                  <a:gd name="connsiteX29" fmla="*/ 1918706 w 1918706"/>
                  <a:gd name="connsiteY29" fmla="*/ 5073791 h 5633118"/>
                  <a:gd name="connsiteX30" fmla="*/ 959355 w 1918706"/>
                  <a:gd name="connsiteY30" fmla="*/ 5633118 h 5633118"/>
                  <a:gd name="connsiteX31" fmla="*/ 0 w 1918706"/>
                  <a:gd name="connsiteY31" fmla="*/ 5073791 h 5633118"/>
                  <a:gd name="connsiteX32" fmla="*/ 0 w 1918706"/>
                  <a:gd name="connsiteY32" fmla="*/ 4592438 h 5633118"/>
                  <a:gd name="connsiteX33" fmla="*/ 0 w 1918706"/>
                  <a:gd name="connsiteY33" fmla="*/ 4579284 h 5633118"/>
                  <a:gd name="connsiteX34" fmla="*/ 0 w 1918706"/>
                  <a:gd name="connsiteY34" fmla="*/ 4491829 h 5633118"/>
                  <a:gd name="connsiteX35" fmla="*/ 0 w 1918706"/>
                  <a:gd name="connsiteY35" fmla="*/ 4097931 h 5633118"/>
                  <a:gd name="connsiteX36" fmla="*/ 0 w 1918706"/>
                  <a:gd name="connsiteY36" fmla="*/ 4090156 h 5633118"/>
                  <a:gd name="connsiteX37" fmla="*/ 0 w 1918706"/>
                  <a:gd name="connsiteY37" fmla="*/ 4069228 h 5633118"/>
                  <a:gd name="connsiteX38" fmla="*/ 0 w 1918706"/>
                  <a:gd name="connsiteY38" fmla="*/ 4010476 h 5633118"/>
                  <a:gd name="connsiteX39" fmla="*/ 0 w 1918706"/>
                  <a:gd name="connsiteY39" fmla="*/ 3997322 h 5633118"/>
                  <a:gd name="connsiteX40" fmla="*/ 0 w 1918706"/>
                  <a:gd name="connsiteY40" fmla="*/ 3595649 h 5633118"/>
                  <a:gd name="connsiteX41" fmla="*/ 0 w 1918706"/>
                  <a:gd name="connsiteY41" fmla="*/ 3587875 h 5633118"/>
                  <a:gd name="connsiteX42" fmla="*/ 0 w 1918706"/>
                  <a:gd name="connsiteY42" fmla="*/ 3574721 h 5633118"/>
                  <a:gd name="connsiteX43" fmla="*/ 0 w 1918706"/>
                  <a:gd name="connsiteY43" fmla="*/ 3515969 h 5633118"/>
                  <a:gd name="connsiteX44" fmla="*/ 0 w 1918706"/>
                  <a:gd name="connsiteY44" fmla="*/ 3508195 h 5633118"/>
                  <a:gd name="connsiteX45" fmla="*/ 0 w 1918706"/>
                  <a:gd name="connsiteY45" fmla="*/ 3487266 h 5633118"/>
                  <a:gd name="connsiteX46" fmla="*/ 0 w 1918706"/>
                  <a:gd name="connsiteY4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503632 h 5633118"/>
                  <a:gd name="connsiteX5" fmla="*/ 1918706 w 1918706"/>
                  <a:gd name="connsiteY5" fmla="*/ 2511407 h 5633118"/>
                  <a:gd name="connsiteX6" fmla="*/ 1918706 w 1918706"/>
                  <a:gd name="connsiteY6" fmla="*/ 2567616 h 5633118"/>
                  <a:gd name="connsiteX7" fmla="*/ 1918706 w 1918706"/>
                  <a:gd name="connsiteY7" fmla="*/ 2583313 h 5633118"/>
                  <a:gd name="connsiteX8" fmla="*/ 1918706 w 1918706"/>
                  <a:gd name="connsiteY8" fmla="*/ 2591087 h 5633118"/>
                  <a:gd name="connsiteX9" fmla="*/ 1918706 w 1918706"/>
                  <a:gd name="connsiteY9" fmla="*/ 2992759 h 5633118"/>
                  <a:gd name="connsiteX10" fmla="*/ 1918706 w 1918706"/>
                  <a:gd name="connsiteY10" fmla="*/ 3005914 h 5633118"/>
                  <a:gd name="connsiteX11" fmla="*/ 1918706 w 1918706"/>
                  <a:gd name="connsiteY11" fmla="*/ 3013688 h 5633118"/>
                  <a:gd name="connsiteX12" fmla="*/ 1918706 w 1918706"/>
                  <a:gd name="connsiteY12" fmla="*/ 3085594 h 5633118"/>
                  <a:gd name="connsiteX13" fmla="*/ 1918706 w 1918706"/>
                  <a:gd name="connsiteY13" fmla="*/ 3093368 h 5633118"/>
                  <a:gd name="connsiteX14" fmla="*/ 1918706 w 1918706"/>
                  <a:gd name="connsiteY14" fmla="*/ 3487266 h 5633118"/>
                  <a:gd name="connsiteX15" fmla="*/ 1918706 w 1918706"/>
                  <a:gd name="connsiteY15" fmla="*/ 3508195 h 5633118"/>
                  <a:gd name="connsiteX16" fmla="*/ 1918706 w 1918706"/>
                  <a:gd name="connsiteY16" fmla="*/ 3515969 h 5633118"/>
                  <a:gd name="connsiteX17" fmla="*/ 1918706 w 1918706"/>
                  <a:gd name="connsiteY17" fmla="*/ 3574721 h 5633118"/>
                  <a:gd name="connsiteX18" fmla="*/ 1918706 w 1918706"/>
                  <a:gd name="connsiteY18" fmla="*/ 3587875 h 5633118"/>
                  <a:gd name="connsiteX19" fmla="*/ 1918706 w 1918706"/>
                  <a:gd name="connsiteY19" fmla="*/ 3595649 h 5633118"/>
                  <a:gd name="connsiteX20" fmla="*/ 1918706 w 1918706"/>
                  <a:gd name="connsiteY20" fmla="*/ 3997322 h 5633118"/>
                  <a:gd name="connsiteX21" fmla="*/ 1918706 w 1918706"/>
                  <a:gd name="connsiteY21" fmla="*/ 4010476 h 5633118"/>
                  <a:gd name="connsiteX22" fmla="*/ 1918706 w 1918706"/>
                  <a:gd name="connsiteY22" fmla="*/ 4069228 h 5633118"/>
                  <a:gd name="connsiteX23" fmla="*/ 1918706 w 1918706"/>
                  <a:gd name="connsiteY23" fmla="*/ 4090156 h 5633118"/>
                  <a:gd name="connsiteX24" fmla="*/ 1918706 w 1918706"/>
                  <a:gd name="connsiteY24" fmla="*/ 4097931 h 5633118"/>
                  <a:gd name="connsiteX25" fmla="*/ 1918706 w 1918706"/>
                  <a:gd name="connsiteY25" fmla="*/ 4491829 h 5633118"/>
                  <a:gd name="connsiteX26" fmla="*/ 1918706 w 1918706"/>
                  <a:gd name="connsiteY26" fmla="*/ 4579284 h 5633118"/>
                  <a:gd name="connsiteX27" fmla="*/ 1918706 w 1918706"/>
                  <a:gd name="connsiteY27" fmla="*/ 4592438 h 5633118"/>
                  <a:gd name="connsiteX28" fmla="*/ 1918706 w 1918706"/>
                  <a:gd name="connsiteY28" fmla="*/ 5073791 h 5633118"/>
                  <a:gd name="connsiteX29" fmla="*/ 959355 w 1918706"/>
                  <a:gd name="connsiteY29" fmla="*/ 5633118 h 5633118"/>
                  <a:gd name="connsiteX30" fmla="*/ 0 w 1918706"/>
                  <a:gd name="connsiteY30" fmla="*/ 5073791 h 5633118"/>
                  <a:gd name="connsiteX31" fmla="*/ 0 w 1918706"/>
                  <a:gd name="connsiteY31" fmla="*/ 4592438 h 5633118"/>
                  <a:gd name="connsiteX32" fmla="*/ 0 w 1918706"/>
                  <a:gd name="connsiteY32" fmla="*/ 4579284 h 5633118"/>
                  <a:gd name="connsiteX33" fmla="*/ 0 w 1918706"/>
                  <a:gd name="connsiteY33" fmla="*/ 4491829 h 5633118"/>
                  <a:gd name="connsiteX34" fmla="*/ 0 w 1918706"/>
                  <a:gd name="connsiteY34" fmla="*/ 4097931 h 5633118"/>
                  <a:gd name="connsiteX35" fmla="*/ 0 w 1918706"/>
                  <a:gd name="connsiteY35" fmla="*/ 4090156 h 5633118"/>
                  <a:gd name="connsiteX36" fmla="*/ 0 w 1918706"/>
                  <a:gd name="connsiteY36" fmla="*/ 4069228 h 5633118"/>
                  <a:gd name="connsiteX37" fmla="*/ 0 w 1918706"/>
                  <a:gd name="connsiteY37" fmla="*/ 4010476 h 5633118"/>
                  <a:gd name="connsiteX38" fmla="*/ 0 w 1918706"/>
                  <a:gd name="connsiteY38" fmla="*/ 3997322 h 5633118"/>
                  <a:gd name="connsiteX39" fmla="*/ 0 w 1918706"/>
                  <a:gd name="connsiteY39" fmla="*/ 3595649 h 5633118"/>
                  <a:gd name="connsiteX40" fmla="*/ 0 w 1918706"/>
                  <a:gd name="connsiteY40" fmla="*/ 3587875 h 5633118"/>
                  <a:gd name="connsiteX41" fmla="*/ 0 w 1918706"/>
                  <a:gd name="connsiteY41" fmla="*/ 3574721 h 5633118"/>
                  <a:gd name="connsiteX42" fmla="*/ 0 w 1918706"/>
                  <a:gd name="connsiteY42" fmla="*/ 3515969 h 5633118"/>
                  <a:gd name="connsiteX43" fmla="*/ 0 w 1918706"/>
                  <a:gd name="connsiteY43" fmla="*/ 3508195 h 5633118"/>
                  <a:gd name="connsiteX44" fmla="*/ 0 w 1918706"/>
                  <a:gd name="connsiteY44" fmla="*/ 3487266 h 5633118"/>
                  <a:gd name="connsiteX45" fmla="*/ 0 w 1918706"/>
                  <a:gd name="connsiteY4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11407 h 5633118"/>
                  <a:gd name="connsiteX5" fmla="*/ 1918706 w 1918706"/>
                  <a:gd name="connsiteY5" fmla="*/ 2567616 h 5633118"/>
                  <a:gd name="connsiteX6" fmla="*/ 1918706 w 1918706"/>
                  <a:gd name="connsiteY6" fmla="*/ 2583313 h 5633118"/>
                  <a:gd name="connsiteX7" fmla="*/ 1918706 w 1918706"/>
                  <a:gd name="connsiteY7" fmla="*/ 2591087 h 5633118"/>
                  <a:gd name="connsiteX8" fmla="*/ 1918706 w 1918706"/>
                  <a:gd name="connsiteY8" fmla="*/ 2992759 h 5633118"/>
                  <a:gd name="connsiteX9" fmla="*/ 1918706 w 1918706"/>
                  <a:gd name="connsiteY9" fmla="*/ 3005914 h 5633118"/>
                  <a:gd name="connsiteX10" fmla="*/ 1918706 w 1918706"/>
                  <a:gd name="connsiteY10" fmla="*/ 3013688 h 5633118"/>
                  <a:gd name="connsiteX11" fmla="*/ 1918706 w 1918706"/>
                  <a:gd name="connsiteY11" fmla="*/ 3085594 h 5633118"/>
                  <a:gd name="connsiteX12" fmla="*/ 1918706 w 1918706"/>
                  <a:gd name="connsiteY12" fmla="*/ 3093368 h 5633118"/>
                  <a:gd name="connsiteX13" fmla="*/ 1918706 w 1918706"/>
                  <a:gd name="connsiteY13" fmla="*/ 3487266 h 5633118"/>
                  <a:gd name="connsiteX14" fmla="*/ 1918706 w 1918706"/>
                  <a:gd name="connsiteY14" fmla="*/ 3508195 h 5633118"/>
                  <a:gd name="connsiteX15" fmla="*/ 1918706 w 1918706"/>
                  <a:gd name="connsiteY15" fmla="*/ 3515969 h 5633118"/>
                  <a:gd name="connsiteX16" fmla="*/ 1918706 w 1918706"/>
                  <a:gd name="connsiteY16" fmla="*/ 3574721 h 5633118"/>
                  <a:gd name="connsiteX17" fmla="*/ 1918706 w 1918706"/>
                  <a:gd name="connsiteY17" fmla="*/ 3587875 h 5633118"/>
                  <a:gd name="connsiteX18" fmla="*/ 1918706 w 1918706"/>
                  <a:gd name="connsiteY18" fmla="*/ 3595649 h 5633118"/>
                  <a:gd name="connsiteX19" fmla="*/ 1918706 w 1918706"/>
                  <a:gd name="connsiteY19" fmla="*/ 3997322 h 5633118"/>
                  <a:gd name="connsiteX20" fmla="*/ 1918706 w 1918706"/>
                  <a:gd name="connsiteY20" fmla="*/ 4010476 h 5633118"/>
                  <a:gd name="connsiteX21" fmla="*/ 1918706 w 1918706"/>
                  <a:gd name="connsiteY21" fmla="*/ 4069228 h 5633118"/>
                  <a:gd name="connsiteX22" fmla="*/ 1918706 w 1918706"/>
                  <a:gd name="connsiteY22" fmla="*/ 4090156 h 5633118"/>
                  <a:gd name="connsiteX23" fmla="*/ 1918706 w 1918706"/>
                  <a:gd name="connsiteY23" fmla="*/ 4097931 h 5633118"/>
                  <a:gd name="connsiteX24" fmla="*/ 1918706 w 1918706"/>
                  <a:gd name="connsiteY24" fmla="*/ 4491829 h 5633118"/>
                  <a:gd name="connsiteX25" fmla="*/ 1918706 w 1918706"/>
                  <a:gd name="connsiteY25" fmla="*/ 4579284 h 5633118"/>
                  <a:gd name="connsiteX26" fmla="*/ 1918706 w 1918706"/>
                  <a:gd name="connsiteY26" fmla="*/ 4592438 h 5633118"/>
                  <a:gd name="connsiteX27" fmla="*/ 1918706 w 1918706"/>
                  <a:gd name="connsiteY27" fmla="*/ 5073791 h 5633118"/>
                  <a:gd name="connsiteX28" fmla="*/ 959355 w 1918706"/>
                  <a:gd name="connsiteY28" fmla="*/ 5633118 h 5633118"/>
                  <a:gd name="connsiteX29" fmla="*/ 0 w 1918706"/>
                  <a:gd name="connsiteY29" fmla="*/ 5073791 h 5633118"/>
                  <a:gd name="connsiteX30" fmla="*/ 0 w 1918706"/>
                  <a:gd name="connsiteY30" fmla="*/ 4592438 h 5633118"/>
                  <a:gd name="connsiteX31" fmla="*/ 0 w 1918706"/>
                  <a:gd name="connsiteY31" fmla="*/ 4579284 h 5633118"/>
                  <a:gd name="connsiteX32" fmla="*/ 0 w 1918706"/>
                  <a:gd name="connsiteY32" fmla="*/ 4491829 h 5633118"/>
                  <a:gd name="connsiteX33" fmla="*/ 0 w 1918706"/>
                  <a:gd name="connsiteY33" fmla="*/ 4097931 h 5633118"/>
                  <a:gd name="connsiteX34" fmla="*/ 0 w 1918706"/>
                  <a:gd name="connsiteY34" fmla="*/ 4090156 h 5633118"/>
                  <a:gd name="connsiteX35" fmla="*/ 0 w 1918706"/>
                  <a:gd name="connsiteY35" fmla="*/ 4069228 h 5633118"/>
                  <a:gd name="connsiteX36" fmla="*/ 0 w 1918706"/>
                  <a:gd name="connsiteY36" fmla="*/ 4010476 h 5633118"/>
                  <a:gd name="connsiteX37" fmla="*/ 0 w 1918706"/>
                  <a:gd name="connsiteY37" fmla="*/ 3997322 h 5633118"/>
                  <a:gd name="connsiteX38" fmla="*/ 0 w 1918706"/>
                  <a:gd name="connsiteY38" fmla="*/ 3595649 h 5633118"/>
                  <a:gd name="connsiteX39" fmla="*/ 0 w 1918706"/>
                  <a:gd name="connsiteY39" fmla="*/ 3587875 h 5633118"/>
                  <a:gd name="connsiteX40" fmla="*/ 0 w 1918706"/>
                  <a:gd name="connsiteY40" fmla="*/ 3574721 h 5633118"/>
                  <a:gd name="connsiteX41" fmla="*/ 0 w 1918706"/>
                  <a:gd name="connsiteY41" fmla="*/ 3515969 h 5633118"/>
                  <a:gd name="connsiteX42" fmla="*/ 0 w 1918706"/>
                  <a:gd name="connsiteY42" fmla="*/ 3508195 h 5633118"/>
                  <a:gd name="connsiteX43" fmla="*/ 0 w 1918706"/>
                  <a:gd name="connsiteY43" fmla="*/ 3487266 h 5633118"/>
                  <a:gd name="connsiteX44" fmla="*/ 0 w 1918706"/>
                  <a:gd name="connsiteY4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67616 h 5633118"/>
                  <a:gd name="connsiteX5" fmla="*/ 1918706 w 1918706"/>
                  <a:gd name="connsiteY5" fmla="*/ 2583313 h 5633118"/>
                  <a:gd name="connsiteX6" fmla="*/ 1918706 w 1918706"/>
                  <a:gd name="connsiteY6" fmla="*/ 2591087 h 5633118"/>
                  <a:gd name="connsiteX7" fmla="*/ 1918706 w 1918706"/>
                  <a:gd name="connsiteY7" fmla="*/ 2992759 h 5633118"/>
                  <a:gd name="connsiteX8" fmla="*/ 1918706 w 1918706"/>
                  <a:gd name="connsiteY8" fmla="*/ 3005914 h 5633118"/>
                  <a:gd name="connsiteX9" fmla="*/ 1918706 w 1918706"/>
                  <a:gd name="connsiteY9" fmla="*/ 3013688 h 5633118"/>
                  <a:gd name="connsiteX10" fmla="*/ 1918706 w 1918706"/>
                  <a:gd name="connsiteY10" fmla="*/ 3085594 h 5633118"/>
                  <a:gd name="connsiteX11" fmla="*/ 1918706 w 1918706"/>
                  <a:gd name="connsiteY11" fmla="*/ 3093368 h 5633118"/>
                  <a:gd name="connsiteX12" fmla="*/ 1918706 w 1918706"/>
                  <a:gd name="connsiteY12" fmla="*/ 3487266 h 5633118"/>
                  <a:gd name="connsiteX13" fmla="*/ 1918706 w 1918706"/>
                  <a:gd name="connsiteY13" fmla="*/ 3508195 h 5633118"/>
                  <a:gd name="connsiteX14" fmla="*/ 1918706 w 1918706"/>
                  <a:gd name="connsiteY14" fmla="*/ 3515969 h 5633118"/>
                  <a:gd name="connsiteX15" fmla="*/ 1918706 w 1918706"/>
                  <a:gd name="connsiteY15" fmla="*/ 3574721 h 5633118"/>
                  <a:gd name="connsiteX16" fmla="*/ 1918706 w 1918706"/>
                  <a:gd name="connsiteY16" fmla="*/ 3587875 h 5633118"/>
                  <a:gd name="connsiteX17" fmla="*/ 1918706 w 1918706"/>
                  <a:gd name="connsiteY17" fmla="*/ 3595649 h 5633118"/>
                  <a:gd name="connsiteX18" fmla="*/ 1918706 w 1918706"/>
                  <a:gd name="connsiteY18" fmla="*/ 3997322 h 5633118"/>
                  <a:gd name="connsiteX19" fmla="*/ 1918706 w 1918706"/>
                  <a:gd name="connsiteY19" fmla="*/ 4010476 h 5633118"/>
                  <a:gd name="connsiteX20" fmla="*/ 1918706 w 1918706"/>
                  <a:gd name="connsiteY20" fmla="*/ 4069228 h 5633118"/>
                  <a:gd name="connsiteX21" fmla="*/ 1918706 w 1918706"/>
                  <a:gd name="connsiteY21" fmla="*/ 4090156 h 5633118"/>
                  <a:gd name="connsiteX22" fmla="*/ 1918706 w 1918706"/>
                  <a:gd name="connsiteY22" fmla="*/ 4097931 h 5633118"/>
                  <a:gd name="connsiteX23" fmla="*/ 1918706 w 1918706"/>
                  <a:gd name="connsiteY23" fmla="*/ 4491829 h 5633118"/>
                  <a:gd name="connsiteX24" fmla="*/ 1918706 w 1918706"/>
                  <a:gd name="connsiteY24" fmla="*/ 4579284 h 5633118"/>
                  <a:gd name="connsiteX25" fmla="*/ 1918706 w 1918706"/>
                  <a:gd name="connsiteY25" fmla="*/ 4592438 h 5633118"/>
                  <a:gd name="connsiteX26" fmla="*/ 1918706 w 1918706"/>
                  <a:gd name="connsiteY26" fmla="*/ 5073791 h 5633118"/>
                  <a:gd name="connsiteX27" fmla="*/ 959355 w 1918706"/>
                  <a:gd name="connsiteY27" fmla="*/ 5633118 h 5633118"/>
                  <a:gd name="connsiteX28" fmla="*/ 0 w 1918706"/>
                  <a:gd name="connsiteY28" fmla="*/ 5073791 h 5633118"/>
                  <a:gd name="connsiteX29" fmla="*/ 0 w 1918706"/>
                  <a:gd name="connsiteY29" fmla="*/ 4592438 h 5633118"/>
                  <a:gd name="connsiteX30" fmla="*/ 0 w 1918706"/>
                  <a:gd name="connsiteY30" fmla="*/ 4579284 h 5633118"/>
                  <a:gd name="connsiteX31" fmla="*/ 0 w 1918706"/>
                  <a:gd name="connsiteY31" fmla="*/ 4491829 h 5633118"/>
                  <a:gd name="connsiteX32" fmla="*/ 0 w 1918706"/>
                  <a:gd name="connsiteY32" fmla="*/ 4097931 h 5633118"/>
                  <a:gd name="connsiteX33" fmla="*/ 0 w 1918706"/>
                  <a:gd name="connsiteY33" fmla="*/ 4090156 h 5633118"/>
                  <a:gd name="connsiteX34" fmla="*/ 0 w 1918706"/>
                  <a:gd name="connsiteY34" fmla="*/ 4069228 h 5633118"/>
                  <a:gd name="connsiteX35" fmla="*/ 0 w 1918706"/>
                  <a:gd name="connsiteY35" fmla="*/ 4010476 h 5633118"/>
                  <a:gd name="connsiteX36" fmla="*/ 0 w 1918706"/>
                  <a:gd name="connsiteY36" fmla="*/ 3997322 h 5633118"/>
                  <a:gd name="connsiteX37" fmla="*/ 0 w 1918706"/>
                  <a:gd name="connsiteY37" fmla="*/ 3595649 h 5633118"/>
                  <a:gd name="connsiteX38" fmla="*/ 0 w 1918706"/>
                  <a:gd name="connsiteY38" fmla="*/ 3587875 h 5633118"/>
                  <a:gd name="connsiteX39" fmla="*/ 0 w 1918706"/>
                  <a:gd name="connsiteY39" fmla="*/ 3574721 h 5633118"/>
                  <a:gd name="connsiteX40" fmla="*/ 0 w 1918706"/>
                  <a:gd name="connsiteY40" fmla="*/ 3515969 h 5633118"/>
                  <a:gd name="connsiteX41" fmla="*/ 0 w 1918706"/>
                  <a:gd name="connsiteY41" fmla="*/ 3508195 h 5633118"/>
                  <a:gd name="connsiteX42" fmla="*/ 0 w 1918706"/>
                  <a:gd name="connsiteY42" fmla="*/ 3487266 h 5633118"/>
                  <a:gd name="connsiteX43" fmla="*/ 0 w 1918706"/>
                  <a:gd name="connsiteY4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591087 h 5633118"/>
                  <a:gd name="connsiteX6" fmla="*/ 1918706 w 1918706"/>
                  <a:gd name="connsiteY6" fmla="*/ 2992759 h 5633118"/>
                  <a:gd name="connsiteX7" fmla="*/ 1918706 w 1918706"/>
                  <a:gd name="connsiteY7" fmla="*/ 3005914 h 5633118"/>
                  <a:gd name="connsiteX8" fmla="*/ 1918706 w 1918706"/>
                  <a:gd name="connsiteY8" fmla="*/ 3013688 h 5633118"/>
                  <a:gd name="connsiteX9" fmla="*/ 1918706 w 1918706"/>
                  <a:gd name="connsiteY9" fmla="*/ 3085594 h 5633118"/>
                  <a:gd name="connsiteX10" fmla="*/ 1918706 w 1918706"/>
                  <a:gd name="connsiteY10" fmla="*/ 3093368 h 5633118"/>
                  <a:gd name="connsiteX11" fmla="*/ 1918706 w 1918706"/>
                  <a:gd name="connsiteY11" fmla="*/ 3487266 h 5633118"/>
                  <a:gd name="connsiteX12" fmla="*/ 1918706 w 1918706"/>
                  <a:gd name="connsiteY12" fmla="*/ 3508195 h 5633118"/>
                  <a:gd name="connsiteX13" fmla="*/ 1918706 w 1918706"/>
                  <a:gd name="connsiteY13" fmla="*/ 3515969 h 5633118"/>
                  <a:gd name="connsiteX14" fmla="*/ 1918706 w 1918706"/>
                  <a:gd name="connsiteY14" fmla="*/ 3574721 h 5633118"/>
                  <a:gd name="connsiteX15" fmla="*/ 1918706 w 1918706"/>
                  <a:gd name="connsiteY15" fmla="*/ 3587875 h 5633118"/>
                  <a:gd name="connsiteX16" fmla="*/ 1918706 w 1918706"/>
                  <a:gd name="connsiteY16" fmla="*/ 3595649 h 5633118"/>
                  <a:gd name="connsiteX17" fmla="*/ 1918706 w 1918706"/>
                  <a:gd name="connsiteY17" fmla="*/ 3997322 h 5633118"/>
                  <a:gd name="connsiteX18" fmla="*/ 1918706 w 1918706"/>
                  <a:gd name="connsiteY18" fmla="*/ 4010476 h 5633118"/>
                  <a:gd name="connsiteX19" fmla="*/ 1918706 w 1918706"/>
                  <a:gd name="connsiteY19" fmla="*/ 4069228 h 5633118"/>
                  <a:gd name="connsiteX20" fmla="*/ 1918706 w 1918706"/>
                  <a:gd name="connsiteY20" fmla="*/ 4090156 h 5633118"/>
                  <a:gd name="connsiteX21" fmla="*/ 1918706 w 1918706"/>
                  <a:gd name="connsiteY21" fmla="*/ 4097931 h 5633118"/>
                  <a:gd name="connsiteX22" fmla="*/ 1918706 w 1918706"/>
                  <a:gd name="connsiteY22" fmla="*/ 4491829 h 5633118"/>
                  <a:gd name="connsiteX23" fmla="*/ 1918706 w 1918706"/>
                  <a:gd name="connsiteY23" fmla="*/ 4579284 h 5633118"/>
                  <a:gd name="connsiteX24" fmla="*/ 1918706 w 1918706"/>
                  <a:gd name="connsiteY24" fmla="*/ 4592438 h 5633118"/>
                  <a:gd name="connsiteX25" fmla="*/ 1918706 w 1918706"/>
                  <a:gd name="connsiteY25" fmla="*/ 5073791 h 5633118"/>
                  <a:gd name="connsiteX26" fmla="*/ 959355 w 1918706"/>
                  <a:gd name="connsiteY26" fmla="*/ 5633118 h 5633118"/>
                  <a:gd name="connsiteX27" fmla="*/ 0 w 1918706"/>
                  <a:gd name="connsiteY27" fmla="*/ 5073791 h 5633118"/>
                  <a:gd name="connsiteX28" fmla="*/ 0 w 1918706"/>
                  <a:gd name="connsiteY28" fmla="*/ 4592438 h 5633118"/>
                  <a:gd name="connsiteX29" fmla="*/ 0 w 1918706"/>
                  <a:gd name="connsiteY29" fmla="*/ 4579284 h 5633118"/>
                  <a:gd name="connsiteX30" fmla="*/ 0 w 1918706"/>
                  <a:gd name="connsiteY30" fmla="*/ 4491829 h 5633118"/>
                  <a:gd name="connsiteX31" fmla="*/ 0 w 1918706"/>
                  <a:gd name="connsiteY31" fmla="*/ 4097931 h 5633118"/>
                  <a:gd name="connsiteX32" fmla="*/ 0 w 1918706"/>
                  <a:gd name="connsiteY32" fmla="*/ 4090156 h 5633118"/>
                  <a:gd name="connsiteX33" fmla="*/ 0 w 1918706"/>
                  <a:gd name="connsiteY33" fmla="*/ 4069228 h 5633118"/>
                  <a:gd name="connsiteX34" fmla="*/ 0 w 1918706"/>
                  <a:gd name="connsiteY34" fmla="*/ 4010476 h 5633118"/>
                  <a:gd name="connsiteX35" fmla="*/ 0 w 1918706"/>
                  <a:gd name="connsiteY35" fmla="*/ 3997322 h 5633118"/>
                  <a:gd name="connsiteX36" fmla="*/ 0 w 1918706"/>
                  <a:gd name="connsiteY36" fmla="*/ 3595649 h 5633118"/>
                  <a:gd name="connsiteX37" fmla="*/ 0 w 1918706"/>
                  <a:gd name="connsiteY37" fmla="*/ 3587875 h 5633118"/>
                  <a:gd name="connsiteX38" fmla="*/ 0 w 1918706"/>
                  <a:gd name="connsiteY38" fmla="*/ 3574721 h 5633118"/>
                  <a:gd name="connsiteX39" fmla="*/ 0 w 1918706"/>
                  <a:gd name="connsiteY39" fmla="*/ 3515969 h 5633118"/>
                  <a:gd name="connsiteX40" fmla="*/ 0 w 1918706"/>
                  <a:gd name="connsiteY40" fmla="*/ 3508195 h 5633118"/>
                  <a:gd name="connsiteX41" fmla="*/ 0 w 1918706"/>
                  <a:gd name="connsiteY41" fmla="*/ 3487266 h 5633118"/>
                  <a:gd name="connsiteX42" fmla="*/ 0 w 1918706"/>
                  <a:gd name="connsiteY4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992759 h 5633118"/>
                  <a:gd name="connsiteX6" fmla="*/ 1918706 w 1918706"/>
                  <a:gd name="connsiteY6" fmla="*/ 3005914 h 5633118"/>
                  <a:gd name="connsiteX7" fmla="*/ 1918706 w 1918706"/>
                  <a:gd name="connsiteY7" fmla="*/ 3013688 h 5633118"/>
                  <a:gd name="connsiteX8" fmla="*/ 1918706 w 1918706"/>
                  <a:gd name="connsiteY8" fmla="*/ 3085594 h 5633118"/>
                  <a:gd name="connsiteX9" fmla="*/ 1918706 w 1918706"/>
                  <a:gd name="connsiteY9" fmla="*/ 3093368 h 5633118"/>
                  <a:gd name="connsiteX10" fmla="*/ 1918706 w 1918706"/>
                  <a:gd name="connsiteY10" fmla="*/ 3487266 h 5633118"/>
                  <a:gd name="connsiteX11" fmla="*/ 1918706 w 1918706"/>
                  <a:gd name="connsiteY11" fmla="*/ 3508195 h 5633118"/>
                  <a:gd name="connsiteX12" fmla="*/ 1918706 w 1918706"/>
                  <a:gd name="connsiteY12" fmla="*/ 3515969 h 5633118"/>
                  <a:gd name="connsiteX13" fmla="*/ 1918706 w 1918706"/>
                  <a:gd name="connsiteY13" fmla="*/ 3574721 h 5633118"/>
                  <a:gd name="connsiteX14" fmla="*/ 1918706 w 1918706"/>
                  <a:gd name="connsiteY14" fmla="*/ 3587875 h 5633118"/>
                  <a:gd name="connsiteX15" fmla="*/ 1918706 w 1918706"/>
                  <a:gd name="connsiteY15" fmla="*/ 3595649 h 5633118"/>
                  <a:gd name="connsiteX16" fmla="*/ 1918706 w 1918706"/>
                  <a:gd name="connsiteY16" fmla="*/ 3997322 h 5633118"/>
                  <a:gd name="connsiteX17" fmla="*/ 1918706 w 1918706"/>
                  <a:gd name="connsiteY17" fmla="*/ 4010476 h 5633118"/>
                  <a:gd name="connsiteX18" fmla="*/ 1918706 w 1918706"/>
                  <a:gd name="connsiteY18" fmla="*/ 4069228 h 5633118"/>
                  <a:gd name="connsiteX19" fmla="*/ 1918706 w 1918706"/>
                  <a:gd name="connsiteY19" fmla="*/ 4090156 h 5633118"/>
                  <a:gd name="connsiteX20" fmla="*/ 1918706 w 1918706"/>
                  <a:gd name="connsiteY20" fmla="*/ 4097931 h 5633118"/>
                  <a:gd name="connsiteX21" fmla="*/ 1918706 w 1918706"/>
                  <a:gd name="connsiteY21" fmla="*/ 4491829 h 5633118"/>
                  <a:gd name="connsiteX22" fmla="*/ 1918706 w 1918706"/>
                  <a:gd name="connsiteY22" fmla="*/ 4579284 h 5633118"/>
                  <a:gd name="connsiteX23" fmla="*/ 1918706 w 1918706"/>
                  <a:gd name="connsiteY23" fmla="*/ 4592438 h 5633118"/>
                  <a:gd name="connsiteX24" fmla="*/ 1918706 w 1918706"/>
                  <a:gd name="connsiteY24" fmla="*/ 5073791 h 5633118"/>
                  <a:gd name="connsiteX25" fmla="*/ 959355 w 1918706"/>
                  <a:gd name="connsiteY25" fmla="*/ 5633118 h 5633118"/>
                  <a:gd name="connsiteX26" fmla="*/ 0 w 1918706"/>
                  <a:gd name="connsiteY26" fmla="*/ 5073791 h 5633118"/>
                  <a:gd name="connsiteX27" fmla="*/ 0 w 1918706"/>
                  <a:gd name="connsiteY27" fmla="*/ 4592438 h 5633118"/>
                  <a:gd name="connsiteX28" fmla="*/ 0 w 1918706"/>
                  <a:gd name="connsiteY28" fmla="*/ 4579284 h 5633118"/>
                  <a:gd name="connsiteX29" fmla="*/ 0 w 1918706"/>
                  <a:gd name="connsiteY29" fmla="*/ 4491829 h 5633118"/>
                  <a:gd name="connsiteX30" fmla="*/ 0 w 1918706"/>
                  <a:gd name="connsiteY30" fmla="*/ 4097931 h 5633118"/>
                  <a:gd name="connsiteX31" fmla="*/ 0 w 1918706"/>
                  <a:gd name="connsiteY31" fmla="*/ 4090156 h 5633118"/>
                  <a:gd name="connsiteX32" fmla="*/ 0 w 1918706"/>
                  <a:gd name="connsiteY32" fmla="*/ 4069228 h 5633118"/>
                  <a:gd name="connsiteX33" fmla="*/ 0 w 1918706"/>
                  <a:gd name="connsiteY33" fmla="*/ 4010476 h 5633118"/>
                  <a:gd name="connsiteX34" fmla="*/ 0 w 1918706"/>
                  <a:gd name="connsiteY34" fmla="*/ 3997322 h 5633118"/>
                  <a:gd name="connsiteX35" fmla="*/ 0 w 1918706"/>
                  <a:gd name="connsiteY35" fmla="*/ 3595649 h 5633118"/>
                  <a:gd name="connsiteX36" fmla="*/ 0 w 1918706"/>
                  <a:gd name="connsiteY36" fmla="*/ 3587875 h 5633118"/>
                  <a:gd name="connsiteX37" fmla="*/ 0 w 1918706"/>
                  <a:gd name="connsiteY37" fmla="*/ 3574721 h 5633118"/>
                  <a:gd name="connsiteX38" fmla="*/ 0 w 1918706"/>
                  <a:gd name="connsiteY38" fmla="*/ 3515969 h 5633118"/>
                  <a:gd name="connsiteX39" fmla="*/ 0 w 1918706"/>
                  <a:gd name="connsiteY39" fmla="*/ 3508195 h 5633118"/>
                  <a:gd name="connsiteX40" fmla="*/ 0 w 1918706"/>
                  <a:gd name="connsiteY40" fmla="*/ 3487266 h 5633118"/>
                  <a:gd name="connsiteX41" fmla="*/ 0 w 1918706"/>
                  <a:gd name="connsiteY4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992759 h 5633118"/>
                  <a:gd name="connsiteX5" fmla="*/ 1918706 w 1918706"/>
                  <a:gd name="connsiteY5" fmla="*/ 3005914 h 5633118"/>
                  <a:gd name="connsiteX6" fmla="*/ 1918706 w 1918706"/>
                  <a:gd name="connsiteY6" fmla="*/ 3013688 h 5633118"/>
                  <a:gd name="connsiteX7" fmla="*/ 1918706 w 1918706"/>
                  <a:gd name="connsiteY7" fmla="*/ 3085594 h 5633118"/>
                  <a:gd name="connsiteX8" fmla="*/ 1918706 w 1918706"/>
                  <a:gd name="connsiteY8" fmla="*/ 3093368 h 5633118"/>
                  <a:gd name="connsiteX9" fmla="*/ 1918706 w 1918706"/>
                  <a:gd name="connsiteY9" fmla="*/ 3487266 h 5633118"/>
                  <a:gd name="connsiteX10" fmla="*/ 1918706 w 1918706"/>
                  <a:gd name="connsiteY10" fmla="*/ 3508195 h 5633118"/>
                  <a:gd name="connsiteX11" fmla="*/ 1918706 w 1918706"/>
                  <a:gd name="connsiteY11" fmla="*/ 3515969 h 5633118"/>
                  <a:gd name="connsiteX12" fmla="*/ 1918706 w 1918706"/>
                  <a:gd name="connsiteY12" fmla="*/ 3574721 h 5633118"/>
                  <a:gd name="connsiteX13" fmla="*/ 1918706 w 1918706"/>
                  <a:gd name="connsiteY13" fmla="*/ 3587875 h 5633118"/>
                  <a:gd name="connsiteX14" fmla="*/ 1918706 w 1918706"/>
                  <a:gd name="connsiteY14" fmla="*/ 3595649 h 5633118"/>
                  <a:gd name="connsiteX15" fmla="*/ 1918706 w 1918706"/>
                  <a:gd name="connsiteY15" fmla="*/ 3997322 h 5633118"/>
                  <a:gd name="connsiteX16" fmla="*/ 1918706 w 1918706"/>
                  <a:gd name="connsiteY16" fmla="*/ 4010476 h 5633118"/>
                  <a:gd name="connsiteX17" fmla="*/ 1918706 w 1918706"/>
                  <a:gd name="connsiteY17" fmla="*/ 4069228 h 5633118"/>
                  <a:gd name="connsiteX18" fmla="*/ 1918706 w 1918706"/>
                  <a:gd name="connsiteY18" fmla="*/ 4090156 h 5633118"/>
                  <a:gd name="connsiteX19" fmla="*/ 1918706 w 1918706"/>
                  <a:gd name="connsiteY19" fmla="*/ 4097931 h 5633118"/>
                  <a:gd name="connsiteX20" fmla="*/ 1918706 w 1918706"/>
                  <a:gd name="connsiteY20" fmla="*/ 4491829 h 5633118"/>
                  <a:gd name="connsiteX21" fmla="*/ 1918706 w 1918706"/>
                  <a:gd name="connsiteY21" fmla="*/ 4579284 h 5633118"/>
                  <a:gd name="connsiteX22" fmla="*/ 1918706 w 1918706"/>
                  <a:gd name="connsiteY22" fmla="*/ 4592438 h 5633118"/>
                  <a:gd name="connsiteX23" fmla="*/ 1918706 w 1918706"/>
                  <a:gd name="connsiteY23" fmla="*/ 5073791 h 5633118"/>
                  <a:gd name="connsiteX24" fmla="*/ 959355 w 1918706"/>
                  <a:gd name="connsiteY24" fmla="*/ 5633118 h 5633118"/>
                  <a:gd name="connsiteX25" fmla="*/ 0 w 1918706"/>
                  <a:gd name="connsiteY25" fmla="*/ 5073791 h 5633118"/>
                  <a:gd name="connsiteX26" fmla="*/ 0 w 1918706"/>
                  <a:gd name="connsiteY26" fmla="*/ 4592438 h 5633118"/>
                  <a:gd name="connsiteX27" fmla="*/ 0 w 1918706"/>
                  <a:gd name="connsiteY27" fmla="*/ 4579284 h 5633118"/>
                  <a:gd name="connsiteX28" fmla="*/ 0 w 1918706"/>
                  <a:gd name="connsiteY28" fmla="*/ 4491829 h 5633118"/>
                  <a:gd name="connsiteX29" fmla="*/ 0 w 1918706"/>
                  <a:gd name="connsiteY29" fmla="*/ 4097931 h 5633118"/>
                  <a:gd name="connsiteX30" fmla="*/ 0 w 1918706"/>
                  <a:gd name="connsiteY30" fmla="*/ 4090156 h 5633118"/>
                  <a:gd name="connsiteX31" fmla="*/ 0 w 1918706"/>
                  <a:gd name="connsiteY31" fmla="*/ 4069228 h 5633118"/>
                  <a:gd name="connsiteX32" fmla="*/ 0 w 1918706"/>
                  <a:gd name="connsiteY32" fmla="*/ 4010476 h 5633118"/>
                  <a:gd name="connsiteX33" fmla="*/ 0 w 1918706"/>
                  <a:gd name="connsiteY33" fmla="*/ 3997322 h 5633118"/>
                  <a:gd name="connsiteX34" fmla="*/ 0 w 1918706"/>
                  <a:gd name="connsiteY34" fmla="*/ 3595649 h 5633118"/>
                  <a:gd name="connsiteX35" fmla="*/ 0 w 1918706"/>
                  <a:gd name="connsiteY35" fmla="*/ 3587875 h 5633118"/>
                  <a:gd name="connsiteX36" fmla="*/ 0 w 1918706"/>
                  <a:gd name="connsiteY36" fmla="*/ 3574721 h 5633118"/>
                  <a:gd name="connsiteX37" fmla="*/ 0 w 1918706"/>
                  <a:gd name="connsiteY37" fmla="*/ 3515969 h 5633118"/>
                  <a:gd name="connsiteX38" fmla="*/ 0 w 1918706"/>
                  <a:gd name="connsiteY38" fmla="*/ 3508195 h 5633118"/>
                  <a:gd name="connsiteX39" fmla="*/ 0 w 1918706"/>
                  <a:gd name="connsiteY39" fmla="*/ 3487266 h 5633118"/>
                  <a:gd name="connsiteX40" fmla="*/ 0 w 1918706"/>
                  <a:gd name="connsiteY4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13688 h 5633118"/>
                  <a:gd name="connsiteX6" fmla="*/ 1918706 w 1918706"/>
                  <a:gd name="connsiteY6" fmla="*/ 3085594 h 5633118"/>
                  <a:gd name="connsiteX7" fmla="*/ 1918706 w 1918706"/>
                  <a:gd name="connsiteY7" fmla="*/ 3093368 h 5633118"/>
                  <a:gd name="connsiteX8" fmla="*/ 1918706 w 1918706"/>
                  <a:gd name="connsiteY8" fmla="*/ 3487266 h 5633118"/>
                  <a:gd name="connsiteX9" fmla="*/ 1918706 w 1918706"/>
                  <a:gd name="connsiteY9" fmla="*/ 3508195 h 5633118"/>
                  <a:gd name="connsiteX10" fmla="*/ 1918706 w 1918706"/>
                  <a:gd name="connsiteY10" fmla="*/ 3515969 h 5633118"/>
                  <a:gd name="connsiteX11" fmla="*/ 1918706 w 1918706"/>
                  <a:gd name="connsiteY11" fmla="*/ 3574721 h 5633118"/>
                  <a:gd name="connsiteX12" fmla="*/ 1918706 w 1918706"/>
                  <a:gd name="connsiteY12" fmla="*/ 3587875 h 5633118"/>
                  <a:gd name="connsiteX13" fmla="*/ 1918706 w 1918706"/>
                  <a:gd name="connsiteY13" fmla="*/ 3595649 h 5633118"/>
                  <a:gd name="connsiteX14" fmla="*/ 1918706 w 1918706"/>
                  <a:gd name="connsiteY14" fmla="*/ 3997322 h 5633118"/>
                  <a:gd name="connsiteX15" fmla="*/ 1918706 w 1918706"/>
                  <a:gd name="connsiteY15" fmla="*/ 4010476 h 5633118"/>
                  <a:gd name="connsiteX16" fmla="*/ 1918706 w 1918706"/>
                  <a:gd name="connsiteY16" fmla="*/ 4069228 h 5633118"/>
                  <a:gd name="connsiteX17" fmla="*/ 1918706 w 1918706"/>
                  <a:gd name="connsiteY17" fmla="*/ 4090156 h 5633118"/>
                  <a:gd name="connsiteX18" fmla="*/ 1918706 w 1918706"/>
                  <a:gd name="connsiteY18" fmla="*/ 4097931 h 5633118"/>
                  <a:gd name="connsiteX19" fmla="*/ 1918706 w 1918706"/>
                  <a:gd name="connsiteY19" fmla="*/ 4491829 h 5633118"/>
                  <a:gd name="connsiteX20" fmla="*/ 1918706 w 1918706"/>
                  <a:gd name="connsiteY20" fmla="*/ 4579284 h 5633118"/>
                  <a:gd name="connsiteX21" fmla="*/ 1918706 w 1918706"/>
                  <a:gd name="connsiteY21" fmla="*/ 4592438 h 5633118"/>
                  <a:gd name="connsiteX22" fmla="*/ 1918706 w 1918706"/>
                  <a:gd name="connsiteY22" fmla="*/ 5073791 h 5633118"/>
                  <a:gd name="connsiteX23" fmla="*/ 959355 w 1918706"/>
                  <a:gd name="connsiteY23" fmla="*/ 5633118 h 5633118"/>
                  <a:gd name="connsiteX24" fmla="*/ 0 w 1918706"/>
                  <a:gd name="connsiteY24" fmla="*/ 5073791 h 5633118"/>
                  <a:gd name="connsiteX25" fmla="*/ 0 w 1918706"/>
                  <a:gd name="connsiteY25" fmla="*/ 4592438 h 5633118"/>
                  <a:gd name="connsiteX26" fmla="*/ 0 w 1918706"/>
                  <a:gd name="connsiteY26" fmla="*/ 4579284 h 5633118"/>
                  <a:gd name="connsiteX27" fmla="*/ 0 w 1918706"/>
                  <a:gd name="connsiteY27" fmla="*/ 4491829 h 5633118"/>
                  <a:gd name="connsiteX28" fmla="*/ 0 w 1918706"/>
                  <a:gd name="connsiteY28" fmla="*/ 4097931 h 5633118"/>
                  <a:gd name="connsiteX29" fmla="*/ 0 w 1918706"/>
                  <a:gd name="connsiteY29" fmla="*/ 4090156 h 5633118"/>
                  <a:gd name="connsiteX30" fmla="*/ 0 w 1918706"/>
                  <a:gd name="connsiteY30" fmla="*/ 4069228 h 5633118"/>
                  <a:gd name="connsiteX31" fmla="*/ 0 w 1918706"/>
                  <a:gd name="connsiteY31" fmla="*/ 4010476 h 5633118"/>
                  <a:gd name="connsiteX32" fmla="*/ 0 w 1918706"/>
                  <a:gd name="connsiteY32" fmla="*/ 3997322 h 5633118"/>
                  <a:gd name="connsiteX33" fmla="*/ 0 w 1918706"/>
                  <a:gd name="connsiteY33" fmla="*/ 3595649 h 5633118"/>
                  <a:gd name="connsiteX34" fmla="*/ 0 w 1918706"/>
                  <a:gd name="connsiteY34" fmla="*/ 3587875 h 5633118"/>
                  <a:gd name="connsiteX35" fmla="*/ 0 w 1918706"/>
                  <a:gd name="connsiteY35" fmla="*/ 3574721 h 5633118"/>
                  <a:gd name="connsiteX36" fmla="*/ 0 w 1918706"/>
                  <a:gd name="connsiteY36" fmla="*/ 3515969 h 5633118"/>
                  <a:gd name="connsiteX37" fmla="*/ 0 w 1918706"/>
                  <a:gd name="connsiteY37" fmla="*/ 3508195 h 5633118"/>
                  <a:gd name="connsiteX38" fmla="*/ 0 w 1918706"/>
                  <a:gd name="connsiteY38" fmla="*/ 3487266 h 5633118"/>
                  <a:gd name="connsiteX39" fmla="*/ 0 w 1918706"/>
                  <a:gd name="connsiteY3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85594 h 5633118"/>
                  <a:gd name="connsiteX6" fmla="*/ 1918706 w 1918706"/>
                  <a:gd name="connsiteY6" fmla="*/ 3093368 h 5633118"/>
                  <a:gd name="connsiteX7" fmla="*/ 1918706 w 1918706"/>
                  <a:gd name="connsiteY7" fmla="*/ 3487266 h 5633118"/>
                  <a:gd name="connsiteX8" fmla="*/ 1918706 w 1918706"/>
                  <a:gd name="connsiteY8" fmla="*/ 3508195 h 5633118"/>
                  <a:gd name="connsiteX9" fmla="*/ 1918706 w 1918706"/>
                  <a:gd name="connsiteY9" fmla="*/ 3515969 h 5633118"/>
                  <a:gd name="connsiteX10" fmla="*/ 1918706 w 1918706"/>
                  <a:gd name="connsiteY10" fmla="*/ 3574721 h 5633118"/>
                  <a:gd name="connsiteX11" fmla="*/ 1918706 w 1918706"/>
                  <a:gd name="connsiteY11" fmla="*/ 3587875 h 5633118"/>
                  <a:gd name="connsiteX12" fmla="*/ 1918706 w 1918706"/>
                  <a:gd name="connsiteY12" fmla="*/ 3595649 h 5633118"/>
                  <a:gd name="connsiteX13" fmla="*/ 1918706 w 1918706"/>
                  <a:gd name="connsiteY13" fmla="*/ 3997322 h 5633118"/>
                  <a:gd name="connsiteX14" fmla="*/ 1918706 w 1918706"/>
                  <a:gd name="connsiteY14" fmla="*/ 4010476 h 5633118"/>
                  <a:gd name="connsiteX15" fmla="*/ 1918706 w 1918706"/>
                  <a:gd name="connsiteY15" fmla="*/ 4069228 h 5633118"/>
                  <a:gd name="connsiteX16" fmla="*/ 1918706 w 1918706"/>
                  <a:gd name="connsiteY16" fmla="*/ 4090156 h 5633118"/>
                  <a:gd name="connsiteX17" fmla="*/ 1918706 w 1918706"/>
                  <a:gd name="connsiteY17" fmla="*/ 4097931 h 5633118"/>
                  <a:gd name="connsiteX18" fmla="*/ 1918706 w 1918706"/>
                  <a:gd name="connsiteY18" fmla="*/ 4491829 h 5633118"/>
                  <a:gd name="connsiteX19" fmla="*/ 1918706 w 1918706"/>
                  <a:gd name="connsiteY19" fmla="*/ 4579284 h 5633118"/>
                  <a:gd name="connsiteX20" fmla="*/ 1918706 w 1918706"/>
                  <a:gd name="connsiteY20" fmla="*/ 4592438 h 5633118"/>
                  <a:gd name="connsiteX21" fmla="*/ 1918706 w 1918706"/>
                  <a:gd name="connsiteY21" fmla="*/ 5073791 h 5633118"/>
                  <a:gd name="connsiteX22" fmla="*/ 959355 w 1918706"/>
                  <a:gd name="connsiteY22" fmla="*/ 5633118 h 5633118"/>
                  <a:gd name="connsiteX23" fmla="*/ 0 w 1918706"/>
                  <a:gd name="connsiteY23" fmla="*/ 5073791 h 5633118"/>
                  <a:gd name="connsiteX24" fmla="*/ 0 w 1918706"/>
                  <a:gd name="connsiteY24" fmla="*/ 4592438 h 5633118"/>
                  <a:gd name="connsiteX25" fmla="*/ 0 w 1918706"/>
                  <a:gd name="connsiteY25" fmla="*/ 4579284 h 5633118"/>
                  <a:gd name="connsiteX26" fmla="*/ 0 w 1918706"/>
                  <a:gd name="connsiteY26" fmla="*/ 4491829 h 5633118"/>
                  <a:gd name="connsiteX27" fmla="*/ 0 w 1918706"/>
                  <a:gd name="connsiteY27" fmla="*/ 4097931 h 5633118"/>
                  <a:gd name="connsiteX28" fmla="*/ 0 w 1918706"/>
                  <a:gd name="connsiteY28" fmla="*/ 4090156 h 5633118"/>
                  <a:gd name="connsiteX29" fmla="*/ 0 w 1918706"/>
                  <a:gd name="connsiteY29" fmla="*/ 4069228 h 5633118"/>
                  <a:gd name="connsiteX30" fmla="*/ 0 w 1918706"/>
                  <a:gd name="connsiteY30" fmla="*/ 4010476 h 5633118"/>
                  <a:gd name="connsiteX31" fmla="*/ 0 w 1918706"/>
                  <a:gd name="connsiteY31" fmla="*/ 3997322 h 5633118"/>
                  <a:gd name="connsiteX32" fmla="*/ 0 w 1918706"/>
                  <a:gd name="connsiteY32" fmla="*/ 3595649 h 5633118"/>
                  <a:gd name="connsiteX33" fmla="*/ 0 w 1918706"/>
                  <a:gd name="connsiteY33" fmla="*/ 3587875 h 5633118"/>
                  <a:gd name="connsiteX34" fmla="*/ 0 w 1918706"/>
                  <a:gd name="connsiteY34" fmla="*/ 3574721 h 5633118"/>
                  <a:gd name="connsiteX35" fmla="*/ 0 w 1918706"/>
                  <a:gd name="connsiteY35" fmla="*/ 3515969 h 5633118"/>
                  <a:gd name="connsiteX36" fmla="*/ 0 w 1918706"/>
                  <a:gd name="connsiteY36" fmla="*/ 3508195 h 5633118"/>
                  <a:gd name="connsiteX37" fmla="*/ 0 w 1918706"/>
                  <a:gd name="connsiteY37" fmla="*/ 3487266 h 5633118"/>
                  <a:gd name="connsiteX38" fmla="*/ 0 w 1918706"/>
                  <a:gd name="connsiteY3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85594 h 5633118"/>
                  <a:gd name="connsiteX5" fmla="*/ 1918706 w 1918706"/>
                  <a:gd name="connsiteY5" fmla="*/ 3093368 h 5633118"/>
                  <a:gd name="connsiteX6" fmla="*/ 1918706 w 1918706"/>
                  <a:gd name="connsiteY6" fmla="*/ 3487266 h 5633118"/>
                  <a:gd name="connsiteX7" fmla="*/ 1918706 w 1918706"/>
                  <a:gd name="connsiteY7" fmla="*/ 3508195 h 5633118"/>
                  <a:gd name="connsiteX8" fmla="*/ 1918706 w 1918706"/>
                  <a:gd name="connsiteY8" fmla="*/ 3515969 h 5633118"/>
                  <a:gd name="connsiteX9" fmla="*/ 1918706 w 1918706"/>
                  <a:gd name="connsiteY9" fmla="*/ 3574721 h 5633118"/>
                  <a:gd name="connsiteX10" fmla="*/ 1918706 w 1918706"/>
                  <a:gd name="connsiteY10" fmla="*/ 3587875 h 5633118"/>
                  <a:gd name="connsiteX11" fmla="*/ 1918706 w 1918706"/>
                  <a:gd name="connsiteY11" fmla="*/ 3595649 h 5633118"/>
                  <a:gd name="connsiteX12" fmla="*/ 1918706 w 1918706"/>
                  <a:gd name="connsiteY12" fmla="*/ 3997322 h 5633118"/>
                  <a:gd name="connsiteX13" fmla="*/ 1918706 w 1918706"/>
                  <a:gd name="connsiteY13" fmla="*/ 4010476 h 5633118"/>
                  <a:gd name="connsiteX14" fmla="*/ 1918706 w 1918706"/>
                  <a:gd name="connsiteY14" fmla="*/ 4069228 h 5633118"/>
                  <a:gd name="connsiteX15" fmla="*/ 1918706 w 1918706"/>
                  <a:gd name="connsiteY15" fmla="*/ 4090156 h 5633118"/>
                  <a:gd name="connsiteX16" fmla="*/ 1918706 w 1918706"/>
                  <a:gd name="connsiteY16" fmla="*/ 4097931 h 5633118"/>
                  <a:gd name="connsiteX17" fmla="*/ 1918706 w 1918706"/>
                  <a:gd name="connsiteY17" fmla="*/ 4491829 h 5633118"/>
                  <a:gd name="connsiteX18" fmla="*/ 1918706 w 1918706"/>
                  <a:gd name="connsiteY18" fmla="*/ 4579284 h 5633118"/>
                  <a:gd name="connsiteX19" fmla="*/ 1918706 w 1918706"/>
                  <a:gd name="connsiteY19" fmla="*/ 4592438 h 5633118"/>
                  <a:gd name="connsiteX20" fmla="*/ 1918706 w 1918706"/>
                  <a:gd name="connsiteY20" fmla="*/ 5073791 h 5633118"/>
                  <a:gd name="connsiteX21" fmla="*/ 959355 w 1918706"/>
                  <a:gd name="connsiteY21" fmla="*/ 5633118 h 5633118"/>
                  <a:gd name="connsiteX22" fmla="*/ 0 w 1918706"/>
                  <a:gd name="connsiteY22" fmla="*/ 5073791 h 5633118"/>
                  <a:gd name="connsiteX23" fmla="*/ 0 w 1918706"/>
                  <a:gd name="connsiteY23" fmla="*/ 4592438 h 5633118"/>
                  <a:gd name="connsiteX24" fmla="*/ 0 w 1918706"/>
                  <a:gd name="connsiteY24" fmla="*/ 4579284 h 5633118"/>
                  <a:gd name="connsiteX25" fmla="*/ 0 w 1918706"/>
                  <a:gd name="connsiteY25" fmla="*/ 4491829 h 5633118"/>
                  <a:gd name="connsiteX26" fmla="*/ 0 w 1918706"/>
                  <a:gd name="connsiteY26" fmla="*/ 4097931 h 5633118"/>
                  <a:gd name="connsiteX27" fmla="*/ 0 w 1918706"/>
                  <a:gd name="connsiteY27" fmla="*/ 4090156 h 5633118"/>
                  <a:gd name="connsiteX28" fmla="*/ 0 w 1918706"/>
                  <a:gd name="connsiteY28" fmla="*/ 4069228 h 5633118"/>
                  <a:gd name="connsiteX29" fmla="*/ 0 w 1918706"/>
                  <a:gd name="connsiteY29" fmla="*/ 4010476 h 5633118"/>
                  <a:gd name="connsiteX30" fmla="*/ 0 w 1918706"/>
                  <a:gd name="connsiteY30" fmla="*/ 3997322 h 5633118"/>
                  <a:gd name="connsiteX31" fmla="*/ 0 w 1918706"/>
                  <a:gd name="connsiteY31" fmla="*/ 3595649 h 5633118"/>
                  <a:gd name="connsiteX32" fmla="*/ 0 w 1918706"/>
                  <a:gd name="connsiteY32" fmla="*/ 3587875 h 5633118"/>
                  <a:gd name="connsiteX33" fmla="*/ 0 w 1918706"/>
                  <a:gd name="connsiteY33" fmla="*/ 3574721 h 5633118"/>
                  <a:gd name="connsiteX34" fmla="*/ 0 w 1918706"/>
                  <a:gd name="connsiteY34" fmla="*/ 3515969 h 5633118"/>
                  <a:gd name="connsiteX35" fmla="*/ 0 w 1918706"/>
                  <a:gd name="connsiteY35" fmla="*/ 3508195 h 5633118"/>
                  <a:gd name="connsiteX36" fmla="*/ 0 w 1918706"/>
                  <a:gd name="connsiteY36" fmla="*/ 3487266 h 5633118"/>
                  <a:gd name="connsiteX37" fmla="*/ 0 w 1918706"/>
                  <a:gd name="connsiteY3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093368 h 5633118"/>
                  <a:gd name="connsiteX5" fmla="*/ 1918706 w 1918706"/>
                  <a:gd name="connsiteY5" fmla="*/ 3487266 h 5633118"/>
                  <a:gd name="connsiteX6" fmla="*/ 1918706 w 1918706"/>
                  <a:gd name="connsiteY6" fmla="*/ 3508195 h 5633118"/>
                  <a:gd name="connsiteX7" fmla="*/ 1918706 w 1918706"/>
                  <a:gd name="connsiteY7" fmla="*/ 3515969 h 5633118"/>
                  <a:gd name="connsiteX8" fmla="*/ 1918706 w 1918706"/>
                  <a:gd name="connsiteY8" fmla="*/ 3574721 h 5633118"/>
                  <a:gd name="connsiteX9" fmla="*/ 1918706 w 1918706"/>
                  <a:gd name="connsiteY9" fmla="*/ 3587875 h 5633118"/>
                  <a:gd name="connsiteX10" fmla="*/ 1918706 w 1918706"/>
                  <a:gd name="connsiteY10" fmla="*/ 3595649 h 5633118"/>
                  <a:gd name="connsiteX11" fmla="*/ 1918706 w 1918706"/>
                  <a:gd name="connsiteY11" fmla="*/ 3997322 h 5633118"/>
                  <a:gd name="connsiteX12" fmla="*/ 1918706 w 1918706"/>
                  <a:gd name="connsiteY12" fmla="*/ 4010476 h 5633118"/>
                  <a:gd name="connsiteX13" fmla="*/ 1918706 w 1918706"/>
                  <a:gd name="connsiteY13" fmla="*/ 4069228 h 5633118"/>
                  <a:gd name="connsiteX14" fmla="*/ 1918706 w 1918706"/>
                  <a:gd name="connsiteY14" fmla="*/ 4090156 h 5633118"/>
                  <a:gd name="connsiteX15" fmla="*/ 1918706 w 1918706"/>
                  <a:gd name="connsiteY15" fmla="*/ 4097931 h 5633118"/>
                  <a:gd name="connsiteX16" fmla="*/ 1918706 w 1918706"/>
                  <a:gd name="connsiteY16" fmla="*/ 4491829 h 5633118"/>
                  <a:gd name="connsiteX17" fmla="*/ 1918706 w 1918706"/>
                  <a:gd name="connsiteY17" fmla="*/ 4579284 h 5633118"/>
                  <a:gd name="connsiteX18" fmla="*/ 1918706 w 1918706"/>
                  <a:gd name="connsiteY18" fmla="*/ 4592438 h 5633118"/>
                  <a:gd name="connsiteX19" fmla="*/ 1918706 w 1918706"/>
                  <a:gd name="connsiteY19" fmla="*/ 5073791 h 5633118"/>
                  <a:gd name="connsiteX20" fmla="*/ 959355 w 1918706"/>
                  <a:gd name="connsiteY20" fmla="*/ 5633118 h 5633118"/>
                  <a:gd name="connsiteX21" fmla="*/ 0 w 1918706"/>
                  <a:gd name="connsiteY21" fmla="*/ 5073791 h 5633118"/>
                  <a:gd name="connsiteX22" fmla="*/ 0 w 1918706"/>
                  <a:gd name="connsiteY22" fmla="*/ 4592438 h 5633118"/>
                  <a:gd name="connsiteX23" fmla="*/ 0 w 1918706"/>
                  <a:gd name="connsiteY23" fmla="*/ 4579284 h 5633118"/>
                  <a:gd name="connsiteX24" fmla="*/ 0 w 1918706"/>
                  <a:gd name="connsiteY24" fmla="*/ 4491829 h 5633118"/>
                  <a:gd name="connsiteX25" fmla="*/ 0 w 1918706"/>
                  <a:gd name="connsiteY25" fmla="*/ 4097931 h 5633118"/>
                  <a:gd name="connsiteX26" fmla="*/ 0 w 1918706"/>
                  <a:gd name="connsiteY26" fmla="*/ 4090156 h 5633118"/>
                  <a:gd name="connsiteX27" fmla="*/ 0 w 1918706"/>
                  <a:gd name="connsiteY27" fmla="*/ 4069228 h 5633118"/>
                  <a:gd name="connsiteX28" fmla="*/ 0 w 1918706"/>
                  <a:gd name="connsiteY28" fmla="*/ 4010476 h 5633118"/>
                  <a:gd name="connsiteX29" fmla="*/ 0 w 1918706"/>
                  <a:gd name="connsiteY29" fmla="*/ 3997322 h 5633118"/>
                  <a:gd name="connsiteX30" fmla="*/ 0 w 1918706"/>
                  <a:gd name="connsiteY30" fmla="*/ 3595649 h 5633118"/>
                  <a:gd name="connsiteX31" fmla="*/ 0 w 1918706"/>
                  <a:gd name="connsiteY31" fmla="*/ 3587875 h 5633118"/>
                  <a:gd name="connsiteX32" fmla="*/ 0 w 1918706"/>
                  <a:gd name="connsiteY32" fmla="*/ 3574721 h 5633118"/>
                  <a:gd name="connsiteX33" fmla="*/ 0 w 1918706"/>
                  <a:gd name="connsiteY33" fmla="*/ 3515969 h 5633118"/>
                  <a:gd name="connsiteX34" fmla="*/ 0 w 1918706"/>
                  <a:gd name="connsiteY34" fmla="*/ 3508195 h 5633118"/>
                  <a:gd name="connsiteX35" fmla="*/ 0 w 1918706"/>
                  <a:gd name="connsiteY35" fmla="*/ 3487266 h 5633118"/>
                  <a:gd name="connsiteX36" fmla="*/ 0 w 1918706"/>
                  <a:gd name="connsiteY3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487266 h 5633118"/>
                  <a:gd name="connsiteX5" fmla="*/ 1918706 w 1918706"/>
                  <a:gd name="connsiteY5" fmla="*/ 3508195 h 5633118"/>
                  <a:gd name="connsiteX6" fmla="*/ 1918706 w 1918706"/>
                  <a:gd name="connsiteY6" fmla="*/ 3515969 h 5633118"/>
                  <a:gd name="connsiteX7" fmla="*/ 1918706 w 1918706"/>
                  <a:gd name="connsiteY7" fmla="*/ 3574721 h 5633118"/>
                  <a:gd name="connsiteX8" fmla="*/ 1918706 w 1918706"/>
                  <a:gd name="connsiteY8" fmla="*/ 3587875 h 5633118"/>
                  <a:gd name="connsiteX9" fmla="*/ 1918706 w 1918706"/>
                  <a:gd name="connsiteY9" fmla="*/ 3595649 h 5633118"/>
                  <a:gd name="connsiteX10" fmla="*/ 1918706 w 1918706"/>
                  <a:gd name="connsiteY10" fmla="*/ 3997322 h 5633118"/>
                  <a:gd name="connsiteX11" fmla="*/ 1918706 w 1918706"/>
                  <a:gd name="connsiteY11" fmla="*/ 4010476 h 5633118"/>
                  <a:gd name="connsiteX12" fmla="*/ 1918706 w 1918706"/>
                  <a:gd name="connsiteY12" fmla="*/ 4069228 h 5633118"/>
                  <a:gd name="connsiteX13" fmla="*/ 1918706 w 1918706"/>
                  <a:gd name="connsiteY13" fmla="*/ 4090156 h 5633118"/>
                  <a:gd name="connsiteX14" fmla="*/ 1918706 w 1918706"/>
                  <a:gd name="connsiteY14" fmla="*/ 4097931 h 5633118"/>
                  <a:gd name="connsiteX15" fmla="*/ 1918706 w 1918706"/>
                  <a:gd name="connsiteY15" fmla="*/ 4491829 h 5633118"/>
                  <a:gd name="connsiteX16" fmla="*/ 1918706 w 1918706"/>
                  <a:gd name="connsiteY16" fmla="*/ 4579284 h 5633118"/>
                  <a:gd name="connsiteX17" fmla="*/ 1918706 w 1918706"/>
                  <a:gd name="connsiteY17" fmla="*/ 4592438 h 5633118"/>
                  <a:gd name="connsiteX18" fmla="*/ 1918706 w 1918706"/>
                  <a:gd name="connsiteY18" fmla="*/ 5073791 h 5633118"/>
                  <a:gd name="connsiteX19" fmla="*/ 959355 w 1918706"/>
                  <a:gd name="connsiteY19" fmla="*/ 5633118 h 5633118"/>
                  <a:gd name="connsiteX20" fmla="*/ 0 w 1918706"/>
                  <a:gd name="connsiteY20" fmla="*/ 5073791 h 5633118"/>
                  <a:gd name="connsiteX21" fmla="*/ 0 w 1918706"/>
                  <a:gd name="connsiteY21" fmla="*/ 4592438 h 5633118"/>
                  <a:gd name="connsiteX22" fmla="*/ 0 w 1918706"/>
                  <a:gd name="connsiteY22" fmla="*/ 4579284 h 5633118"/>
                  <a:gd name="connsiteX23" fmla="*/ 0 w 1918706"/>
                  <a:gd name="connsiteY23" fmla="*/ 4491829 h 5633118"/>
                  <a:gd name="connsiteX24" fmla="*/ 0 w 1918706"/>
                  <a:gd name="connsiteY24" fmla="*/ 4097931 h 5633118"/>
                  <a:gd name="connsiteX25" fmla="*/ 0 w 1918706"/>
                  <a:gd name="connsiteY25" fmla="*/ 4090156 h 5633118"/>
                  <a:gd name="connsiteX26" fmla="*/ 0 w 1918706"/>
                  <a:gd name="connsiteY26" fmla="*/ 4069228 h 5633118"/>
                  <a:gd name="connsiteX27" fmla="*/ 0 w 1918706"/>
                  <a:gd name="connsiteY27" fmla="*/ 4010476 h 5633118"/>
                  <a:gd name="connsiteX28" fmla="*/ 0 w 1918706"/>
                  <a:gd name="connsiteY28" fmla="*/ 3997322 h 5633118"/>
                  <a:gd name="connsiteX29" fmla="*/ 0 w 1918706"/>
                  <a:gd name="connsiteY29" fmla="*/ 3595649 h 5633118"/>
                  <a:gd name="connsiteX30" fmla="*/ 0 w 1918706"/>
                  <a:gd name="connsiteY30" fmla="*/ 3587875 h 5633118"/>
                  <a:gd name="connsiteX31" fmla="*/ 0 w 1918706"/>
                  <a:gd name="connsiteY31" fmla="*/ 3574721 h 5633118"/>
                  <a:gd name="connsiteX32" fmla="*/ 0 w 1918706"/>
                  <a:gd name="connsiteY32" fmla="*/ 3515969 h 5633118"/>
                  <a:gd name="connsiteX33" fmla="*/ 0 w 1918706"/>
                  <a:gd name="connsiteY33" fmla="*/ 3508195 h 5633118"/>
                  <a:gd name="connsiteX34" fmla="*/ 0 w 1918706"/>
                  <a:gd name="connsiteY34" fmla="*/ 3487266 h 5633118"/>
                  <a:gd name="connsiteX35" fmla="*/ 0 w 1918706"/>
                  <a:gd name="connsiteY3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74721 h 5633118"/>
                  <a:gd name="connsiteX7" fmla="*/ 1918706 w 1918706"/>
                  <a:gd name="connsiteY7" fmla="*/ 3587875 h 5633118"/>
                  <a:gd name="connsiteX8" fmla="*/ 1918706 w 1918706"/>
                  <a:gd name="connsiteY8" fmla="*/ 3595649 h 5633118"/>
                  <a:gd name="connsiteX9" fmla="*/ 1918706 w 1918706"/>
                  <a:gd name="connsiteY9" fmla="*/ 3997322 h 5633118"/>
                  <a:gd name="connsiteX10" fmla="*/ 1918706 w 1918706"/>
                  <a:gd name="connsiteY10" fmla="*/ 4010476 h 5633118"/>
                  <a:gd name="connsiteX11" fmla="*/ 1918706 w 1918706"/>
                  <a:gd name="connsiteY11" fmla="*/ 4069228 h 5633118"/>
                  <a:gd name="connsiteX12" fmla="*/ 1918706 w 1918706"/>
                  <a:gd name="connsiteY12" fmla="*/ 4090156 h 5633118"/>
                  <a:gd name="connsiteX13" fmla="*/ 1918706 w 1918706"/>
                  <a:gd name="connsiteY13" fmla="*/ 4097931 h 5633118"/>
                  <a:gd name="connsiteX14" fmla="*/ 1918706 w 1918706"/>
                  <a:gd name="connsiteY14" fmla="*/ 4491829 h 5633118"/>
                  <a:gd name="connsiteX15" fmla="*/ 1918706 w 1918706"/>
                  <a:gd name="connsiteY15" fmla="*/ 4579284 h 5633118"/>
                  <a:gd name="connsiteX16" fmla="*/ 1918706 w 1918706"/>
                  <a:gd name="connsiteY16" fmla="*/ 4592438 h 5633118"/>
                  <a:gd name="connsiteX17" fmla="*/ 1918706 w 1918706"/>
                  <a:gd name="connsiteY17" fmla="*/ 5073791 h 5633118"/>
                  <a:gd name="connsiteX18" fmla="*/ 959355 w 1918706"/>
                  <a:gd name="connsiteY18" fmla="*/ 5633118 h 5633118"/>
                  <a:gd name="connsiteX19" fmla="*/ 0 w 1918706"/>
                  <a:gd name="connsiteY19" fmla="*/ 5073791 h 5633118"/>
                  <a:gd name="connsiteX20" fmla="*/ 0 w 1918706"/>
                  <a:gd name="connsiteY20" fmla="*/ 4592438 h 5633118"/>
                  <a:gd name="connsiteX21" fmla="*/ 0 w 1918706"/>
                  <a:gd name="connsiteY21" fmla="*/ 4579284 h 5633118"/>
                  <a:gd name="connsiteX22" fmla="*/ 0 w 1918706"/>
                  <a:gd name="connsiteY22" fmla="*/ 4491829 h 5633118"/>
                  <a:gd name="connsiteX23" fmla="*/ 0 w 1918706"/>
                  <a:gd name="connsiteY23" fmla="*/ 4097931 h 5633118"/>
                  <a:gd name="connsiteX24" fmla="*/ 0 w 1918706"/>
                  <a:gd name="connsiteY24" fmla="*/ 4090156 h 5633118"/>
                  <a:gd name="connsiteX25" fmla="*/ 0 w 1918706"/>
                  <a:gd name="connsiteY25" fmla="*/ 4069228 h 5633118"/>
                  <a:gd name="connsiteX26" fmla="*/ 0 w 1918706"/>
                  <a:gd name="connsiteY26" fmla="*/ 4010476 h 5633118"/>
                  <a:gd name="connsiteX27" fmla="*/ 0 w 1918706"/>
                  <a:gd name="connsiteY27" fmla="*/ 3997322 h 5633118"/>
                  <a:gd name="connsiteX28" fmla="*/ 0 w 1918706"/>
                  <a:gd name="connsiteY28" fmla="*/ 3595649 h 5633118"/>
                  <a:gd name="connsiteX29" fmla="*/ 0 w 1918706"/>
                  <a:gd name="connsiteY29" fmla="*/ 3587875 h 5633118"/>
                  <a:gd name="connsiteX30" fmla="*/ 0 w 1918706"/>
                  <a:gd name="connsiteY30" fmla="*/ 3574721 h 5633118"/>
                  <a:gd name="connsiteX31" fmla="*/ 0 w 1918706"/>
                  <a:gd name="connsiteY31" fmla="*/ 3515969 h 5633118"/>
                  <a:gd name="connsiteX32" fmla="*/ 0 w 1918706"/>
                  <a:gd name="connsiteY32" fmla="*/ 3508195 h 5633118"/>
                  <a:gd name="connsiteX33" fmla="*/ 0 w 1918706"/>
                  <a:gd name="connsiteY33" fmla="*/ 3487266 h 5633118"/>
                  <a:gd name="connsiteX34" fmla="*/ 0 w 1918706"/>
                  <a:gd name="connsiteY3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87875 h 5633118"/>
                  <a:gd name="connsiteX7" fmla="*/ 1918706 w 1918706"/>
                  <a:gd name="connsiteY7" fmla="*/ 3595649 h 5633118"/>
                  <a:gd name="connsiteX8" fmla="*/ 1918706 w 1918706"/>
                  <a:gd name="connsiteY8" fmla="*/ 3997322 h 5633118"/>
                  <a:gd name="connsiteX9" fmla="*/ 1918706 w 1918706"/>
                  <a:gd name="connsiteY9" fmla="*/ 4010476 h 5633118"/>
                  <a:gd name="connsiteX10" fmla="*/ 1918706 w 1918706"/>
                  <a:gd name="connsiteY10" fmla="*/ 4069228 h 5633118"/>
                  <a:gd name="connsiteX11" fmla="*/ 1918706 w 1918706"/>
                  <a:gd name="connsiteY11" fmla="*/ 4090156 h 5633118"/>
                  <a:gd name="connsiteX12" fmla="*/ 1918706 w 1918706"/>
                  <a:gd name="connsiteY12" fmla="*/ 4097931 h 5633118"/>
                  <a:gd name="connsiteX13" fmla="*/ 1918706 w 1918706"/>
                  <a:gd name="connsiteY13" fmla="*/ 4491829 h 5633118"/>
                  <a:gd name="connsiteX14" fmla="*/ 1918706 w 1918706"/>
                  <a:gd name="connsiteY14" fmla="*/ 4579284 h 5633118"/>
                  <a:gd name="connsiteX15" fmla="*/ 1918706 w 1918706"/>
                  <a:gd name="connsiteY15" fmla="*/ 4592438 h 5633118"/>
                  <a:gd name="connsiteX16" fmla="*/ 1918706 w 1918706"/>
                  <a:gd name="connsiteY16" fmla="*/ 5073791 h 5633118"/>
                  <a:gd name="connsiteX17" fmla="*/ 959355 w 1918706"/>
                  <a:gd name="connsiteY17" fmla="*/ 5633118 h 5633118"/>
                  <a:gd name="connsiteX18" fmla="*/ 0 w 1918706"/>
                  <a:gd name="connsiteY18" fmla="*/ 5073791 h 5633118"/>
                  <a:gd name="connsiteX19" fmla="*/ 0 w 1918706"/>
                  <a:gd name="connsiteY19" fmla="*/ 4592438 h 5633118"/>
                  <a:gd name="connsiteX20" fmla="*/ 0 w 1918706"/>
                  <a:gd name="connsiteY20" fmla="*/ 4579284 h 5633118"/>
                  <a:gd name="connsiteX21" fmla="*/ 0 w 1918706"/>
                  <a:gd name="connsiteY21" fmla="*/ 4491829 h 5633118"/>
                  <a:gd name="connsiteX22" fmla="*/ 0 w 1918706"/>
                  <a:gd name="connsiteY22" fmla="*/ 4097931 h 5633118"/>
                  <a:gd name="connsiteX23" fmla="*/ 0 w 1918706"/>
                  <a:gd name="connsiteY23" fmla="*/ 4090156 h 5633118"/>
                  <a:gd name="connsiteX24" fmla="*/ 0 w 1918706"/>
                  <a:gd name="connsiteY24" fmla="*/ 4069228 h 5633118"/>
                  <a:gd name="connsiteX25" fmla="*/ 0 w 1918706"/>
                  <a:gd name="connsiteY25" fmla="*/ 4010476 h 5633118"/>
                  <a:gd name="connsiteX26" fmla="*/ 0 w 1918706"/>
                  <a:gd name="connsiteY26" fmla="*/ 3997322 h 5633118"/>
                  <a:gd name="connsiteX27" fmla="*/ 0 w 1918706"/>
                  <a:gd name="connsiteY27" fmla="*/ 3595649 h 5633118"/>
                  <a:gd name="connsiteX28" fmla="*/ 0 w 1918706"/>
                  <a:gd name="connsiteY28" fmla="*/ 3587875 h 5633118"/>
                  <a:gd name="connsiteX29" fmla="*/ 0 w 1918706"/>
                  <a:gd name="connsiteY29" fmla="*/ 3574721 h 5633118"/>
                  <a:gd name="connsiteX30" fmla="*/ 0 w 1918706"/>
                  <a:gd name="connsiteY30" fmla="*/ 3515969 h 5633118"/>
                  <a:gd name="connsiteX31" fmla="*/ 0 w 1918706"/>
                  <a:gd name="connsiteY31" fmla="*/ 3508195 h 5633118"/>
                  <a:gd name="connsiteX32" fmla="*/ 0 w 1918706"/>
                  <a:gd name="connsiteY32" fmla="*/ 3487266 h 5633118"/>
                  <a:gd name="connsiteX33" fmla="*/ 0 w 1918706"/>
                  <a:gd name="connsiteY3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87875 h 5633118"/>
                  <a:gd name="connsiteX6" fmla="*/ 1918706 w 1918706"/>
                  <a:gd name="connsiteY6" fmla="*/ 3595649 h 5633118"/>
                  <a:gd name="connsiteX7" fmla="*/ 1918706 w 1918706"/>
                  <a:gd name="connsiteY7" fmla="*/ 3997322 h 5633118"/>
                  <a:gd name="connsiteX8" fmla="*/ 1918706 w 1918706"/>
                  <a:gd name="connsiteY8" fmla="*/ 4010476 h 5633118"/>
                  <a:gd name="connsiteX9" fmla="*/ 1918706 w 1918706"/>
                  <a:gd name="connsiteY9" fmla="*/ 4069228 h 5633118"/>
                  <a:gd name="connsiteX10" fmla="*/ 1918706 w 1918706"/>
                  <a:gd name="connsiteY10" fmla="*/ 4090156 h 5633118"/>
                  <a:gd name="connsiteX11" fmla="*/ 1918706 w 1918706"/>
                  <a:gd name="connsiteY11" fmla="*/ 4097931 h 5633118"/>
                  <a:gd name="connsiteX12" fmla="*/ 1918706 w 1918706"/>
                  <a:gd name="connsiteY12" fmla="*/ 4491829 h 5633118"/>
                  <a:gd name="connsiteX13" fmla="*/ 1918706 w 1918706"/>
                  <a:gd name="connsiteY13" fmla="*/ 4579284 h 5633118"/>
                  <a:gd name="connsiteX14" fmla="*/ 1918706 w 1918706"/>
                  <a:gd name="connsiteY14" fmla="*/ 4592438 h 5633118"/>
                  <a:gd name="connsiteX15" fmla="*/ 1918706 w 1918706"/>
                  <a:gd name="connsiteY15" fmla="*/ 5073791 h 5633118"/>
                  <a:gd name="connsiteX16" fmla="*/ 959355 w 1918706"/>
                  <a:gd name="connsiteY16" fmla="*/ 5633118 h 5633118"/>
                  <a:gd name="connsiteX17" fmla="*/ 0 w 1918706"/>
                  <a:gd name="connsiteY17" fmla="*/ 5073791 h 5633118"/>
                  <a:gd name="connsiteX18" fmla="*/ 0 w 1918706"/>
                  <a:gd name="connsiteY18" fmla="*/ 4592438 h 5633118"/>
                  <a:gd name="connsiteX19" fmla="*/ 0 w 1918706"/>
                  <a:gd name="connsiteY19" fmla="*/ 4579284 h 5633118"/>
                  <a:gd name="connsiteX20" fmla="*/ 0 w 1918706"/>
                  <a:gd name="connsiteY20" fmla="*/ 4491829 h 5633118"/>
                  <a:gd name="connsiteX21" fmla="*/ 0 w 1918706"/>
                  <a:gd name="connsiteY21" fmla="*/ 4097931 h 5633118"/>
                  <a:gd name="connsiteX22" fmla="*/ 0 w 1918706"/>
                  <a:gd name="connsiteY22" fmla="*/ 4090156 h 5633118"/>
                  <a:gd name="connsiteX23" fmla="*/ 0 w 1918706"/>
                  <a:gd name="connsiteY23" fmla="*/ 4069228 h 5633118"/>
                  <a:gd name="connsiteX24" fmla="*/ 0 w 1918706"/>
                  <a:gd name="connsiteY24" fmla="*/ 4010476 h 5633118"/>
                  <a:gd name="connsiteX25" fmla="*/ 0 w 1918706"/>
                  <a:gd name="connsiteY25" fmla="*/ 3997322 h 5633118"/>
                  <a:gd name="connsiteX26" fmla="*/ 0 w 1918706"/>
                  <a:gd name="connsiteY26" fmla="*/ 3595649 h 5633118"/>
                  <a:gd name="connsiteX27" fmla="*/ 0 w 1918706"/>
                  <a:gd name="connsiteY27" fmla="*/ 3587875 h 5633118"/>
                  <a:gd name="connsiteX28" fmla="*/ 0 w 1918706"/>
                  <a:gd name="connsiteY28" fmla="*/ 3574721 h 5633118"/>
                  <a:gd name="connsiteX29" fmla="*/ 0 w 1918706"/>
                  <a:gd name="connsiteY29" fmla="*/ 3515969 h 5633118"/>
                  <a:gd name="connsiteX30" fmla="*/ 0 w 1918706"/>
                  <a:gd name="connsiteY30" fmla="*/ 3508195 h 5633118"/>
                  <a:gd name="connsiteX31" fmla="*/ 0 w 1918706"/>
                  <a:gd name="connsiteY31" fmla="*/ 3487266 h 5633118"/>
                  <a:gd name="connsiteX32" fmla="*/ 0 w 1918706"/>
                  <a:gd name="connsiteY3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595649 h 5633118"/>
                  <a:gd name="connsiteX6" fmla="*/ 1918706 w 1918706"/>
                  <a:gd name="connsiteY6" fmla="*/ 3997322 h 5633118"/>
                  <a:gd name="connsiteX7" fmla="*/ 1918706 w 1918706"/>
                  <a:gd name="connsiteY7" fmla="*/ 4010476 h 5633118"/>
                  <a:gd name="connsiteX8" fmla="*/ 1918706 w 1918706"/>
                  <a:gd name="connsiteY8" fmla="*/ 4069228 h 5633118"/>
                  <a:gd name="connsiteX9" fmla="*/ 1918706 w 1918706"/>
                  <a:gd name="connsiteY9" fmla="*/ 4090156 h 5633118"/>
                  <a:gd name="connsiteX10" fmla="*/ 1918706 w 1918706"/>
                  <a:gd name="connsiteY10" fmla="*/ 4097931 h 5633118"/>
                  <a:gd name="connsiteX11" fmla="*/ 1918706 w 1918706"/>
                  <a:gd name="connsiteY11" fmla="*/ 4491829 h 5633118"/>
                  <a:gd name="connsiteX12" fmla="*/ 1918706 w 1918706"/>
                  <a:gd name="connsiteY12" fmla="*/ 4579284 h 5633118"/>
                  <a:gd name="connsiteX13" fmla="*/ 1918706 w 1918706"/>
                  <a:gd name="connsiteY13" fmla="*/ 4592438 h 5633118"/>
                  <a:gd name="connsiteX14" fmla="*/ 1918706 w 1918706"/>
                  <a:gd name="connsiteY14" fmla="*/ 5073791 h 5633118"/>
                  <a:gd name="connsiteX15" fmla="*/ 959355 w 1918706"/>
                  <a:gd name="connsiteY15" fmla="*/ 5633118 h 5633118"/>
                  <a:gd name="connsiteX16" fmla="*/ 0 w 1918706"/>
                  <a:gd name="connsiteY16" fmla="*/ 5073791 h 5633118"/>
                  <a:gd name="connsiteX17" fmla="*/ 0 w 1918706"/>
                  <a:gd name="connsiteY17" fmla="*/ 4592438 h 5633118"/>
                  <a:gd name="connsiteX18" fmla="*/ 0 w 1918706"/>
                  <a:gd name="connsiteY18" fmla="*/ 4579284 h 5633118"/>
                  <a:gd name="connsiteX19" fmla="*/ 0 w 1918706"/>
                  <a:gd name="connsiteY19" fmla="*/ 4491829 h 5633118"/>
                  <a:gd name="connsiteX20" fmla="*/ 0 w 1918706"/>
                  <a:gd name="connsiteY20" fmla="*/ 4097931 h 5633118"/>
                  <a:gd name="connsiteX21" fmla="*/ 0 w 1918706"/>
                  <a:gd name="connsiteY21" fmla="*/ 4090156 h 5633118"/>
                  <a:gd name="connsiteX22" fmla="*/ 0 w 1918706"/>
                  <a:gd name="connsiteY22" fmla="*/ 4069228 h 5633118"/>
                  <a:gd name="connsiteX23" fmla="*/ 0 w 1918706"/>
                  <a:gd name="connsiteY23" fmla="*/ 4010476 h 5633118"/>
                  <a:gd name="connsiteX24" fmla="*/ 0 w 1918706"/>
                  <a:gd name="connsiteY24" fmla="*/ 3997322 h 5633118"/>
                  <a:gd name="connsiteX25" fmla="*/ 0 w 1918706"/>
                  <a:gd name="connsiteY25" fmla="*/ 3595649 h 5633118"/>
                  <a:gd name="connsiteX26" fmla="*/ 0 w 1918706"/>
                  <a:gd name="connsiteY26" fmla="*/ 3587875 h 5633118"/>
                  <a:gd name="connsiteX27" fmla="*/ 0 w 1918706"/>
                  <a:gd name="connsiteY27" fmla="*/ 3574721 h 5633118"/>
                  <a:gd name="connsiteX28" fmla="*/ 0 w 1918706"/>
                  <a:gd name="connsiteY28" fmla="*/ 3515969 h 5633118"/>
                  <a:gd name="connsiteX29" fmla="*/ 0 w 1918706"/>
                  <a:gd name="connsiteY29" fmla="*/ 3508195 h 5633118"/>
                  <a:gd name="connsiteX30" fmla="*/ 0 w 1918706"/>
                  <a:gd name="connsiteY30" fmla="*/ 3487266 h 5633118"/>
                  <a:gd name="connsiteX31" fmla="*/ 0 w 1918706"/>
                  <a:gd name="connsiteY3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997322 h 5633118"/>
                  <a:gd name="connsiteX6" fmla="*/ 1918706 w 1918706"/>
                  <a:gd name="connsiteY6" fmla="*/ 4010476 h 5633118"/>
                  <a:gd name="connsiteX7" fmla="*/ 1918706 w 1918706"/>
                  <a:gd name="connsiteY7" fmla="*/ 4069228 h 5633118"/>
                  <a:gd name="connsiteX8" fmla="*/ 1918706 w 1918706"/>
                  <a:gd name="connsiteY8" fmla="*/ 4090156 h 5633118"/>
                  <a:gd name="connsiteX9" fmla="*/ 1918706 w 1918706"/>
                  <a:gd name="connsiteY9" fmla="*/ 4097931 h 5633118"/>
                  <a:gd name="connsiteX10" fmla="*/ 1918706 w 1918706"/>
                  <a:gd name="connsiteY10" fmla="*/ 4491829 h 5633118"/>
                  <a:gd name="connsiteX11" fmla="*/ 1918706 w 1918706"/>
                  <a:gd name="connsiteY11" fmla="*/ 4579284 h 5633118"/>
                  <a:gd name="connsiteX12" fmla="*/ 1918706 w 1918706"/>
                  <a:gd name="connsiteY12" fmla="*/ 4592438 h 5633118"/>
                  <a:gd name="connsiteX13" fmla="*/ 1918706 w 1918706"/>
                  <a:gd name="connsiteY13" fmla="*/ 5073791 h 5633118"/>
                  <a:gd name="connsiteX14" fmla="*/ 959355 w 1918706"/>
                  <a:gd name="connsiteY14" fmla="*/ 5633118 h 5633118"/>
                  <a:gd name="connsiteX15" fmla="*/ 0 w 1918706"/>
                  <a:gd name="connsiteY15" fmla="*/ 5073791 h 5633118"/>
                  <a:gd name="connsiteX16" fmla="*/ 0 w 1918706"/>
                  <a:gd name="connsiteY16" fmla="*/ 4592438 h 5633118"/>
                  <a:gd name="connsiteX17" fmla="*/ 0 w 1918706"/>
                  <a:gd name="connsiteY17" fmla="*/ 4579284 h 5633118"/>
                  <a:gd name="connsiteX18" fmla="*/ 0 w 1918706"/>
                  <a:gd name="connsiteY18" fmla="*/ 4491829 h 5633118"/>
                  <a:gd name="connsiteX19" fmla="*/ 0 w 1918706"/>
                  <a:gd name="connsiteY19" fmla="*/ 4097931 h 5633118"/>
                  <a:gd name="connsiteX20" fmla="*/ 0 w 1918706"/>
                  <a:gd name="connsiteY20" fmla="*/ 4090156 h 5633118"/>
                  <a:gd name="connsiteX21" fmla="*/ 0 w 1918706"/>
                  <a:gd name="connsiteY21" fmla="*/ 4069228 h 5633118"/>
                  <a:gd name="connsiteX22" fmla="*/ 0 w 1918706"/>
                  <a:gd name="connsiteY22" fmla="*/ 4010476 h 5633118"/>
                  <a:gd name="connsiteX23" fmla="*/ 0 w 1918706"/>
                  <a:gd name="connsiteY23" fmla="*/ 3997322 h 5633118"/>
                  <a:gd name="connsiteX24" fmla="*/ 0 w 1918706"/>
                  <a:gd name="connsiteY24" fmla="*/ 3595649 h 5633118"/>
                  <a:gd name="connsiteX25" fmla="*/ 0 w 1918706"/>
                  <a:gd name="connsiteY25" fmla="*/ 3587875 h 5633118"/>
                  <a:gd name="connsiteX26" fmla="*/ 0 w 1918706"/>
                  <a:gd name="connsiteY26" fmla="*/ 3574721 h 5633118"/>
                  <a:gd name="connsiteX27" fmla="*/ 0 w 1918706"/>
                  <a:gd name="connsiteY27" fmla="*/ 3515969 h 5633118"/>
                  <a:gd name="connsiteX28" fmla="*/ 0 w 1918706"/>
                  <a:gd name="connsiteY28" fmla="*/ 3508195 h 5633118"/>
                  <a:gd name="connsiteX29" fmla="*/ 0 w 1918706"/>
                  <a:gd name="connsiteY29" fmla="*/ 3487266 h 5633118"/>
                  <a:gd name="connsiteX30" fmla="*/ 0 w 1918706"/>
                  <a:gd name="connsiteY3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997322 h 5633118"/>
                  <a:gd name="connsiteX5" fmla="*/ 1918706 w 1918706"/>
                  <a:gd name="connsiteY5" fmla="*/ 4010476 h 5633118"/>
                  <a:gd name="connsiteX6" fmla="*/ 1918706 w 1918706"/>
                  <a:gd name="connsiteY6" fmla="*/ 4069228 h 5633118"/>
                  <a:gd name="connsiteX7" fmla="*/ 1918706 w 1918706"/>
                  <a:gd name="connsiteY7" fmla="*/ 4090156 h 5633118"/>
                  <a:gd name="connsiteX8" fmla="*/ 1918706 w 1918706"/>
                  <a:gd name="connsiteY8" fmla="*/ 4097931 h 5633118"/>
                  <a:gd name="connsiteX9" fmla="*/ 1918706 w 1918706"/>
                  <a:gd name="connsiteY9" fmla="*/ 4491829 h 5633118"/>
                  <a:gd name="connsiteX10" fmla="*/ 1918706 w 1918706"/>
                  <a:gd name="connsiteY10" fmla="*/ 4579284 h 5633118"/>
                  <a:gd name="connsiteX11" fmla="*/ 1918706 w 1918706"/>
                  <a:gd name="connsiteY11" fmla="*/ 4592438 h 5633118"/>
                  <a:gd name="connsiteX12" fmla="*/ 1918706 w 1918706"/>
                  <a:gd name="connsiteY12" fmla="*/ 5073791 h 5633118"/>
                  <a:gd name="connsiteX13" fmla="*/ 959355 w 1918706"/>
                  <a:gd name="connsiteY13" fmla="*/ 5633118 h 5633118"/>
                  <a:gd name="connsiteX14" fmla="*/ 0 w 1918706"/>
                  <a:gd name="connsiteY14" fmla="*/ 5073791 h 5633118"/>
                  <a:gd name="connsiteX15" fmla="*/ 0 w 1918706"/>
                  <a:gd name="connsiteY15" fmla="*/ 4592438 h 5633118"/>
                  <a:gd name="connsiteX16" fmla="*/ 0 w 1918706"/>
                  <a:gd name="connsiteY16" fmla="*/ 4579284 h 5633118"/>
                  <a:gd name="connsiteX17" fmla="*/ 0 w 1918706"/>
                  <a:gd name="connsiteY17" fmla="*/ 4491829 h 5633118"/>
                  <a:gd name="connsiteX18" fmla="*/ 0 w 1918706"/>
                  <a:gd name="connsiteY18" fmla="*/ 4097931 h 5633118"/>
                  <a:gd name="connsiteX19" fmla="*/ 0 w 1918706"/>
                  <a:gd name="connsiteY19" fmla="*/ 4090156 h 5633118"/>
                  <a:gd name="connsiteX20" fmla="*/ 0 w 1918706"/>
                  <a:gd name="connsiteY20" fmla="*/ 4069228 h 5633118"/>
                  <a:gd name="connsiteX21" fmla="*/ 0 w 1918706"/>
                  <a:gd name="connsiteY21" fmla="*/ 4010476 h 5633118"/>
                  <a:gd name="connsiteX22" fmla="*/ 0 w 1918706"/>
                  <a:gd name="connsiteY22" fmla="*/ 3997322 h 5633118"/>
                  <a:gd name="connsiteX23" fmla="*/ 0 w 1918706"/>
                  <a:gd name="connsiteY23" fmla="*/ 3595649 h 5633118"/>
                  <a:gd name="connsiteX24" fmla="*/ 0 w 1918706"/>
                  <a:gd name="connsiteY24" fmla="*/ 3587875 h 5633118"/>
                  <a:gd name="connsiteX25" fmla="*/ 0 w 1918706"/>
                  <a:gd name="connsiteY25" fmla="*/ 3574721 h 5633118"/>
                  <a:gd name="connsiteX26" fmla="*/ 0 w 1918706"/>
                  <a:gd name="connsiteY26" fmla="*/ 3515969 h 5633118"/>
                  <a:gd name="connsiteX27" fmla="*/ 0 w 1918706"/>
                  <a:gd name="connsiteY27" fmla="*/ 3508195 h 5633118"/>
                  <a:gd name="connsiteX28" fmla="*/ 0 w 1918706"/>
                  <a:gd name="connsiteY28" fmla="*/ 3487266 h 5633118"/>
                  <a:gd name="connsiteX29" fmla="*/ 0 w 1918706"/>
                  <a:gd name="connsiteY2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10476 h 5633118"/>
                  <a:gd name="connsiteX5" fmla="*/ 1918706 w 1918706"/>
                  <a:gd name="connsiteY5" fmla="*/ 4069228 h 5633118"/>
                  <a:gd name="connsiteX6" fmla="*/ 1918706 w 1918706"/>
                  <a:gd name="connsiteY6" fmla="*/ 4090156 h 5633118"/>
                  <a:gd name="connsiteX7" fmla="*/ 1918706 w 1918706"/>
                  <a:gd name="connsiteY7" fmla="*/ 4097931 h 5633118"/>
                  <a:gd name="connsiteX8" fmla="*/ 1918706 w 1918706"/>
                  <a:gd name="connsiteY8" fmla="*/ 4491829 h 5633118"/>
                  <a:gd name="connsiteX9" fmla="*/ 1918706 w 1918706"/>
                  <a:gd name="connsiteY9" fmla="*/ 4579284 h 5633118"/>
                  <a:gd name="connsiteX10" fmla="*/ 1918706 w 1918706"/>
                  <a:gd name="connsiteY10" fmla="*/ 4592438 h 5633118"/>
                  <a:gd name="connsiteX11" fmla="*/ 1918706 w 1918706"/>
                  <a:gd name="connsiteY11" fmla="*/ 5073791 h 5633118"/>
                  <a:gd name="connsiteX12" fmla="*/ 959355 w 1918706"/>
                  <a:gd name="connsiteY12" fmla="*/ 5633118 h 5633118"/>
                  <a:gd name="connsiteX13" fmla="*/ 0 w 1918706"/>
                  <a:gd name="connsiteY13" fmla="*/ 5073791 h 5633118"/>
                  <a:gd name="connsiteX14" fmla="*/ 0 w 1918706"/>
                  <a:gd name="connsiteY14" fmla="*/ 4592438 h 5633118"/>
                  <a:gd name="connsiteX15" fmla="*/ 0 w 1918706"/>
                  <a:gd name="connsiteY15" fmla="*/ 4579284 h 5633118"/>
                  <a:gd name="connsiteX16" fmla="*/ 0 w 1918706"/>
                  <a:gd name="connsiteY16" fmla="*/ 4491829 h 5633118"/>
                  <a:gd name="connsiteX17" fmla="*/ 0 w 1918706"/>
                  <a:gd name="connsiteY17" fmla="*/ 4097931 h 5633118"/>
                  <a:gd name="connsiteX18" fmla="*/ 0 w 1918706"/>
                  <a:gd name="connsiteY18" fmla="*/ 4090156 h 5633118"/>
                  <a:gd name="connsiteX19" fmla="*/ 0 w 1918706"/>
                  <a:gd name="connsiteY19" fmla="*/ 4069228 h 5633118"/>
                  <a:gd name="connsiteX20" fmla="*/ 0 w 1918706"/>
                  <a:gd name="connsiteY20" fmla="*/ 4010476 h 5633118"/>
                  <a:gd name="connsiteX21" fmla="*/ 0 w 1918706"/>
                  <a:gd name="connsiteY21" fmla="*/ 3997322 h 5633118"/>
                  <a:gd name="connsiteX22" fmla="*/ 0 w 1918706"/>
                  <a:gd name="connsiteY22" fmla="*/ 3595649 h 5633118"/>
                  <a:gd name="connsiteX23" fmla="*/ 0 w 1918706"/>
                  <a:gd name="connsiteY23" fmla="*/ 3587875 h 5633118"/>
                  <a:gd name="connsiteX24" fmla="*/ 0 w 1918706"/>
                  <a:gd name="connsiteY24" fmla="*/ 3574721 h 5633118"/>
                  <a:gd name="connsiteX25" fmla="*/ 0 w 1918706"/>
                  <a:gd name="connsiteY25" fmla="*/ 3515969 h 5633118"/>
                  <a:gd name="connsiteX26" fmla="*/ 0 w 1918706"/>
                  <a:gd name="connsiteY26" fmla="*/ 3508195 h 5633118"/>
                  <a:gd name="connsiteX27" fmla="*/ 0 w 1918706"/>
                  <a:gd name="connsiteY27" fmla="*/ 3487266 h 5633118"/>
                  <a:gd name="connsiteX28" fmla="*/ 0 w 1918706"/>
                  <a:gd name="connsiteY2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69228 h 5633118"/>
                  <a:gd name="connsiteX5" fmla="*/ 1918706 w 1918706"/>
                  <a:gd name="connsiteY5" fmla="*/ 4090156 h 5633118"/>
                  <a:gd name="connsiteX6" fmla="*/ 1918706 w 1918706"/>
                  <a:gd name="connsiteY6" fmla="*/ 4097931 h 5633118"/>
                  <a:gd name="connsiteX7" fmla="*/ 1918706 w 1918706"/>
                  <a:gd name="connsiteY7" fmla="*/ 4491829 h 5633118"/>
                  <a:gd name="connsiteX8" fmla="*/ 1918706 w 1918706"/>
                  <a:gd name="connsiteY8" fmla="*/ 4579284 h 5633118"/>
                  <a:gd name="connsiteX9" fmla="*/ 1918706 w 1918706"/>
                  <a:gd name="connsiteY9" fmla="*/ 4592438 h 5633118"/>
                  <a:gd name="connsiteX10" fmla="*/ 1918706 w 1918706"/>
                  <a:gd name="connsiteY10" fmla="*/ 5073791 h 5633118"/>
                  <a:gd name="connsiteX11" fmla="*/ 959355 w 1918706"/>
                  <a:gd name="connsiteY11" fmla="*/ 5633118 h 5633118"/>
                  <a:gd name="connsiteX12" fmla="*/ 0 w 1918706"/>
                  <a:gd name="connsiteY12" fmla="*/ 5073791 h 5633118"/>
                  <a:gd name="connsiteX13" fmla="*/ 0 w 1918706"/>
                  <a:gd name="connsiteY13" fmla="*/ 4592438 h 5633118"/>
                  <a:gd name="connsiteX14" fmla="*/ 0 w 1918706"/>
                  <a:gd name="connsiteY14" fmla="*/ 4579284 h 5633118"/>
                  <a:gd name="connsiteX15" fmla="*/ 0 w 1918706"/>
                  <a:gd name="connsiteY15" fmla="*/ 4491829 h 5633118"/>
                  <a:gd name="connsiteX16" fmla="*/ 0 w 1918706"/>
                  <a:gd name="connsiteY16" fmla="*/ 4097931 h 5633118"/>
                  <a:gd name="connsiteX17" fmla="*/ 0 w 1918706"/>
                  <a:gd name="connsiteY17" fmla="*/ 4090156 h 5633118"/>
                  <a:gd name="connsiteX18" fmla="*/ 0 w 1918706"/>
                  <a:gd name="connsiteY18" fmla="*/ 4069228 h 5633118"/>
                  <a:gd name="connsiteX19" fmla="*/ 0 w 1918706"/>
                  <a:gd name="connsiteY19" fmla="*/ 4010476 h 5633118"/>
                  <a:gd name="connsiteX20" fmla="*/ 0 w 1918706"/>
                  <a:gd name="connsiteY20" fmla="*/ 3997322 h 5633118"/>
                  <a:gd name="connsiteX21" fmla="*/ 0 w 1918706"/>
                  <a:gd name="connsiteY21" fmla="*/ 3595649 h 5633118"/>
                  <a:gd name="connsiteX22" fmla="*/ 0 w 1918706"/>
                  <a:gd name="connsiteY22" fmla="*/ 3587875 h 5633118"/>
                  <a:gd name="connsiteX23" fmla="*/ 0 w 1918706"/>
                  <a:gd name="connsiteY23" fmla="*/ 3574721 h 5633118"/>
                  <a:gd name="connsiteX24" fmla="*/ 0 w 1918706"/>
                  <a:gd name="connsiteY24" fmla="*/ 3515969 h 5633118"/>
                  <a:gd name="connsiteX25" fmla="*/ 0 w 1918706"/>
                  <a:gd name="connsiteY25" fmla="*/ 3508195 h 5633118"/>
                  <a:gd name="connsiteX26" fmla="*/ 0 w 1918706"/>
                  <a:gd name="connsiteY26" fmla="*/ 3487266 h 5633118"/>
                  <a:gd name="connsiteX27" fmla="*/ 0 w 1918706"/>
                  <a:gd name="connsiteY2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097931 h 5633118"/>
                  <a:gd name="connsiteX6" fmla="*/ 1918706 w 1918706"/>
                  <a:gd name="connsiteY6" fmla="*/ 4491829 h 5633118"/>
                  <a:gd name="connsiteX7" fmla="*/ 1918706 w 1918706"/>
                  <a:gd name="connsiteY7" fmla="*/ 4579284 h 5633118"/>
                  <a:gd name="connsiteX8" fmla="*/ 1918706 w 1918706"/>
                  <a:gd name="connsiteY8" fmla="*/ 4592438 h 5633118"/>
                  <a:gd name="connsiteX9" fmla="*/ 1918706 w 1918706"/>
                  <a:gd name="connsiteY9" fmla="*/ 5073791 h 5633118"/>
                  <a:gd name="connsiteX10" fmla="*/ 959355 w 1918706"/>
                  <a:gd name="connsiteY10" fmla="*/ 5633118 h 5633118"/>
                  <a:gd name="connsiteX11" fmla="*/ 0 w 1918706"/>
                  <a:gd name="connsiteY11" fmla="*/ 5073791 h 5633118"/>
                  <a:gd name="connsiteX12" fmla="*/ 0 w 1918706"/>
                  <a:gd name="connsiteY12" fmla="*/ 4592438 h 5633118"/>
                  <a:gd name="connsiteX13" fmla="*/ 0 w 1918706"/>
                  <a:gd name="connsiteY13" fmla="*/ 4579284 h 5633118"/>
                  <a:gd name="connsiteX14" fmla="*/ 0 w 1918706"/>
                  <a:gd name="connsiteY14" fmla="*/ 4491829 h 5633118"/>
                  <a:gd name="connsiteX15" fmla="*/ 0 w 1918706"/>
                  <a:gd name="connsiteY15" fmla="*/ 4097931 h 5633118"/>
                  <a:gd name="connsiteX16" fmla="*/ 0 w 1918706"/>
                  <a:gd name="connsiteY16" fmla="*/ 4090156 h 5633118"/>
                  <a:gd name="connsiteX17" fmla="*/ 0 w 1918706"/>
                  <a:gd name="connsiteY17" fmla="*/ 4069228 h 5633118"/>
                  <a:gd name="connsiteX18" fmla="*/ 0 w 1918706"/>
                  <a:gd name="connsiteY18" fmla="*/ 4010476 h 5633118"/>
                  <a:gd name="connsiteX19" fmla="*/ 0 w 1918706"/>
                  <a:gd name="connsiteY19" fmla="*/ 3997322 h 5633118"/>
                  <a:gd name="connsiteX20" fmla="*/ 0 w 1918706"/>
                  <a:gd name="connsiteY20" fmla="*/ 3595649 h 5633118"/>
                  <a:gd name="connsiteX21" fmla="*/ 0 w 1918706"/>
                  <a:gd name="connsiteY21" fmla="*/ 3587875 h 5633118"/>
                  <a:gd name="connsiteX22" fmla="*/ 0 w 1918706"/>
                  <a:gd name="connsiteY22" fmla="*/ 3574721 h 5633118"/>
                  <a:gd name="connsiteX23" fmla="*/ 0 w 1918706"/>
                  <a:gd name="connsiteY23" fmla="*/ 3515969 h 5633118"/>
                  <a:gd name="connsiteX24" fmla="*/ 0 w 1918706"/>
                  <a:gd name="connsiteY24" fmla="*/ 3508195 h 5633118"/>
                  <a:gd name="connsiteX25" fmla="*/ 0 w 1918706"/>
                  <a:gd name="connsiteY25" fmla="*/ 3487266 h 5633118"/>
                  <a:gd name="connsiteX26" fmla="*/ 0 w 1918706"/>
                  <a:gd name="connsiteY2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491829 h 5633118"/>
                  <a:gd name="connsiteX6" fmla="*/ 1918706 w 1918706"/>
                  <a:gd name="connsiteY6" fmla="*/ 4579284 h 5633118"/>
                  <a:gd name="connsiteX7" fmla="*/ 1918706 w 1918706"/>
                  <a:gd name="connsiteY7" fmla="*/ 4592438 h 5633118"/>
                  <a:gd name="connsiteX8" fmla="*/ 1918706 w 1918706"/>
                  <a:gd name="connsiteY8" fmla="*/ 5073791 h 5633118"/>
                  <a:gd name="connsiteX9" fmla="*/ 959355 w 1918706"/>
                  <a:gd name="connsiteY9" fmla="*/ 5633118 h 5633118"/>
                  <a:gd name="connsiteX10" fmla="*/ 0 w 1918706"/>
                  <a:gd name="connsiteY10" fmla="*/ 5073791 h 5633118"/>
                  <a:gd name="connsiteX11" fmla="*/ 0 w 1918706"/>
                  <a:gd name="connsiteY11" fmla="*/ 4592438 h 5633118"/>
                  <a:gd name="connsiteX12" fmla="*/ 0 w 1918706"/>
                  <a:gd name="connsiteY12" fmla="*/ 4579284 h 5633118"/>
                  <a:gd name="connsiteX13" fmla="*/ 0 w 1918706"/>
                  <a:gd name="connsiteY13" fmla="*/ 4491829 h 5633118"/>
                  <a:gd name="connsiteX14" fmla="*/ 0 w 1918706"/>
                  <a:gd name="connsiteY14" fmla="*/ 4097931 h 5633118"/>
                  <a:gd name="connsiteX15" fmla="*/ 0 w 1918706"/>
                  <a:gd name="connsiteY15" fmla="*/ 4090156 h 5633118"/>
                  <a:gd name="connsiteX16" fmla="*/ 0 w 1918706"/>
                  <a:gd name="connsiteY16" fmla="*/ 4069228 h 5633118"/>
                  <a:gd name="connsiteX17" fmla="*/ 0 w 1918706"/>
                  <a:gd name="connsiteY17" fmla="*/ 4010476 h 5633118"/>
                  <a:gd name="connsiteX18" fmla="*/ 0 w 1918706"/>
                  <a:gd name="connsiteY18" fmla="*/ 3997322 h 5633118"/>
                  <a:gd name="connsiteX19" fmla="*/ 0 w 1918706"/>
                  <a:gd name="connsiteY19" fmla="*/ 3595649 h 5633118"/>
                  <a:gd name="connsiteX20" fmla="*/ 0 w 1918706"/>
                  <a:gd name="connsiteY20" fmla="*/ 3587875 h 5633118"/>
                  <a:gd name="connsiteX21" fmla="*/ 0 w 1918706"/>
                  <a:gd name="connsiteY21" fmla="*/ 3574721 h 5633118"/>
                  <a:gd name="connsiteX22" fmla="*/ 0 w 1918706"/>
                  <a:gd name="connsiteY22" fmla="*/ 3515969 h 5633118"/>
                  <a:gd name="connsiteX23" fmla="*/ 0 w 1918706"/>
                  <a:gd name="connsiteY23" fmla="*/ 3508195 h 5633118"/>
                  <a:gd name="connsiteX24" fmla="*/ 0 w 1918706"/>
                  <a:gd name="connsiteY24" fmla="*/ 3487266 h 5633118"/>
                  <a:gd name="connsiteX25" fmla="*/ 0 w 1918706"/>
                  <a:gd name="connsiteY2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090156 h 5633118"/>
                  <a:gd name="connsiteX4" fmla="*/ 1918706 w 1918706"/>
                  <a:gd name="connsiteY4" fmla="*/ 4491829 h 5633118"/>
                  <a:gd name="connsiteX5" fmla="*/ 1918706 w 1918706"/>
                  <a:gd name="connsiteY5" fmla="*/ 4579284 h 5633118"/>
                  <a:gd name="connsiteX6" fmla="*/ 1918706 w 1918706"/>
                  <a:gd name="connsiteY6" fmla="*/ 4592438 h 5633118"/>
                  <a:gd name="connsiteX7" fmla="*/ 1918706 w 1918706"/>
                  <a:gd name="connsiteY7" fmla="*/ 5073791 h 5633118"/>
                  <a:gd name="connsiteX8" fmla="*/ 959355 w 1918706"/>
                  <a:gd name="connsiteY8" fmla="*/ 5633118 h 5633118"/>
                  <a:gd name="connsiteX9" fmla="*/ 0 w 1918706"/>
                  <a:gd name="connsiteY9" fmla="*/ 5073791 h 5633118"/>
                  <a:gd name="connsiteX10" fmla="*/ 0 w 1918706"/>
                  <a:gd name="connsiteY10" fmla="*/ 4592438 h 5633118"/>
                  <a:gd name="connsiteX11" fmla="*/ 0 w 1918706"/>
                  <a:gd name="connsiteY11" fmla="*/ 4579284 h 5633118"/>
                  <a:gd name="connsiteX12" fmla="*/ 0 w 1918706"/>
                  <a:gd name="connsiteY12" fmla="*/ 4491829 h 5633118"/>
                  <a:gd name="connsiteX13" fmla="*/ 0 w 1918706"/>
                  <a:gd name="connsiteY13" fmla="*/ 4097931 h 5633118"/>
                  <a:gd name="connsiteX14" fmla="*/ 0 w 1918706"/>
                  <a:gd name="connsiteY14" fmla="*/ 4090156 h 5633118"/>
                  <a:gd name="connsiteX15" fmla="*/ 0 w 1918706"/>
                  <a:gd name="connsiteY15" fmla="*/ 4069228 h 5633118"/>
                  <a:gd name="connsiteX16" fmla="*/ 0 w 1918706"/>
                  <a:gd name="connsiteY16" fmla="*/ 4010476 h 5633118"/>
                  <a:gd name="connsiteX17" fmla="*/ 0 w 1918706"/>
                  <a:gd name="connsiteY17" fmla="*/ 3997322 h 5633118"/>
                  <a:gd name="connsiteX18" fmla="*/ 0 w 1918706"/>
                  <a:gd name="connsiteY18" fmla="*/ 3595649 h 5633118"/>
                  <a:gd name="connsiteX19" fmla="*/ 0 w 1918706"/>
                  <a:gd name="connsiteY19" fmla="*/ 3587875 h 5633118"/>
                  <a:gd name="connsiteX20" fmla="*/ 0 w 1918706"/>
                  <a:gd name="connsiteY20" fmla="*/ 3574721 h 5633118"/>
                  <a:gd name="connsiteX21" fmla="*/ 0 w 1918706"/>
                  <a:gd name="connsiteY21" fmla="*/ 3515969 h 5633118"/>
                  <a:gd name="connsiteX22" fmla="*/ 0 w 1918706"/>
                  <a:gd name="connsiteY22" fmla="*/ 3508195 h 5633118"/>
                  <a:gd name="connsiteX23" fmla="*/ 0 w 1918706"/>
                  <a:gd name="connsiteY23" fmla="*/ 3487266 h 5633118"/>
                  <a:gd name="connsiteX24" fmla="*/ 0 w 1918706"/>
                  <a:gd name="connsiteY2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491829 h 5633118"/>
                  <a:gd name="connsiteX4" fmla="*/ 1918706 w 1918706"/>
                  <a:gd name="connsiteY4" fmla="*/ 4579284 h 5633118"/>
                  <a:gd name="connsiteX5" fmla="*/ 1918706 w 1918706"/>
                  <a:gd name="connsiteY5" fmla="*/ 4592438 h 5633118"/>
                  <a:gd name="connsiteX6" fmla="*/ 1918706 w 1918706"/>
                  <a:gd name="connsiteY6" fmla="*/ 5073791 h 5633118"/>
                  <a:gd name="connsiteX7" fmla="*/ 959355 w 1918706"/>
                  <a:gd name="connsiteY7" fmla="*/ 5633118 h 5633118"/>
                  <a:gd name="connsiteX8" fmla="*/ 0 w 1918706"/>
                  <a:gd name="connsiteY8" fmla="*/ 5073791 h 5633118"/>
                  <a:gd name="connsiteX9" fmla="*/ 0 w 1918706"/>
                  <a:gd name="connsiteY9" fmla="*/ 4592438 h 5633118"/>
                  <a:gd name="connsiteX10" fmla="*/ 0 w 1918706"/>
                  <a:gd name="connsiteY10" fmla="*/ 4579284 h 5633118"/>
                  <a:gd name="connsiteX11" fmla="*/ 0 w 1918706"/>
                  <a:gd name="connsiteY11" fmla="*/ 4491829 h 5633118"/>
                  <a:gd name="connsiteX12" fmla="*/ 0 w 1918706"/>
                  <a:gd name="connsiteY12" fmla="*/ 4097931 h 5633118"/>
                  <a:gd name="connsiteX13" fmla="*/ 0 w 1918706"/>
                  <a:gd name="connsiteY13" fmla="*/ 4090156 h 5633118"/>
                  <a:gd name="connsiteX14" fmla="*/ 0 w 1918706"/>
                  <a:gd name="connsiteY14" fmla="*/ 4069228 h 5633118"/>
                  <a:gd name="connsiteX15" fmla="*/ 0 w 1918706"/>
                  <a:gd name="connsiteY15" fmla="*/ 4010476 h 5633118"/>
                  <a:gd name="connsiteX16" fmla="*/ 0 w 1918706"/>
                  <a:gd name="connsiteY16" fmla="*/ 3997322 h 5633118"/>
                  <a:gd name="connsiteX17" fmla="*/ 0 w 1918706"/>
                  <a:gd name="connsiteY17" fmla="*/ 3595649 h 5633118"/>
                  <a:gd name="connsiteX18" fmla="*/ 0 w 1918706"/>
                  <a:gd name="connsiteY18" fmla="*/ 3587875 h 5633118"/>
                  <a:gd name="connsiteX19" fmla="*/ 0 w 1918706"/>
                  <a:gd name="connsiteY19" fmla="*/ 3574721 h 5633118"/>
                  <a:gd name="connsiteX20" fmla="*/ 0 w 1918706"/>
                  <a:gd name="connsiteY20" fmla="*/ 3515969 h 5633118"/>
                  <a:gd name="connsiteX21" fmla="*/ 0 w 1918706"/>
                  <a:gd name="connsiteY21" fmla="*/ 3508195 h 5633118"/>
                  <a:gd name="connsiteX22" fmla="*/ 0 w 1918706"/>
                  <a:gd name="connsiteY22" fmla="*/ 3487266 h 5633118"/>
                  <a:gd name="connsiteX23" fmla="*/ 0 w 1918706"/>
                  <a:gd name="connsiteY2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4592438 h 5633118"/>
                  <a:gd name="connsiteX5" fmla="*/ 1918706 w 1918706"/>
                  <a:gd name="connsiteY5" fmla="*/ 5073791 h 5633118"/>
                  <a:gd name="connsiteX6" fmla="*/ 959355 w 1918706"/>
                  <a:gd name="connsiteY6" fmla="*/ 5633118 h 5633118"/>
                  <a:gd name="connsiteX7" fmla="*/ 0 w 1918706"/>
                  <a:gd name="connsiteY7" fmla="*/ 5073791 h 5633118"/>
                  <a:gd name="connsiteX8" fmla="*/ 0 w 1918706"/>
                  <a:gd name="connsiteY8" fmla="*/ 4592438 h 5633118"/>
                  <a:gd name="connsiteX9" fmla="*/ 0 w 1918706"/>
                  <a:gd name="connsiteY9" fmla="*/ 4579284 h 5633118"/>
                  <a:gd name="connsiteX10" fmla="*/ 0 w 1918706"/>
                  <a:gd name="connsiteY10" fmla="*/ 4491829 h 5633118"/>
                  <a:gd name="connsiteX11" fmla="*/ 0 w 1918706"/>
                  <a:gd name="connsiteY11" fmla="*/ 4097931 h 5633118"/>
                  <a:gd name="connsiteX12" fmla="*/ 0 w 1918706"/>
                  <a:gd name="connsiteY12" fmla="*/ 4090156 h 5633118"/>
                  <a:gd name="connsiteX13" fmla="*/ 0 w 1918706"/>
                  <a:gd name="connsiteY13" fmla="*/ 4069228 h 5633118"/>
                  <a:gd name="connsiteX14" fmla="*/ 0 w 1918706"/>
                  <a:gd name="connsiteY14" fmla="*/ 4010476 h 5633118"/>
                  <a:gd name="connsiteX15" fmla="*/ 0 w 1918706"/>
                  <a:gd name="connsiteY15" fmla="*/ 3997322 h 5633118"/>
                  <a:gd name="connsiteX16" fmla="*/ 0 w 1918706"/>
                  <a:gd name="connsiteY16" fmla="*/ 3595649 h 5633118"/>
                  <a:gd name="connsiteX17" fmla="*/ 0 w 1918706"/>
                  <a:gd name="connsiteY17" fmla="*/ 3587875 h 5633118"/>
                  <a:gd name="connsiteX18" fmla="*/ 0 w 1918706"/>
                  <a:gd name="connsiteY18" fmla="*/ 3574721 h 5633118"/>
                  <a:gd name="connsiteX19" fmla="*/ 0 w 1918706"/>
                  <a:gd name="connsiteY19" fmla="*/ 3515969 h 5633118"/>
                  <a:gd name="connsiteX20" fmla="*/ 0 w 1918706"/>
                  <a:gd name="connsiteY20" fmla="*/ 3508195 h 5633118"/>
                  <a:gd name="connsiteX21" fmla="*/ 0 w 1918706"/>
                  <a:gd name="connsiteY21" fmla="*/ 3487266 h 5633118"/>
                  <a:gd name="connsiteX22" fmla="*/ 0 w 1918706"/>
                  <a:gd name="connsiteY2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5073791 h 5633118"/>
                  <a:gd name="connsiteX5" fmla="*/ 959355 w 1918706"/>
                  <a:gd name="connsiteY5" fmla="*/ 5633118 h 5633118"/>
                  <a:gd name="connsiteX6" fmla="*/ 0 w 1918706"/>
                  <a:gd name="connsiteY6" fmla="*/ 5073791 h 5633118"/>
                  <a:gd name="connsiteX7" fmla="*/ 0 w 1918706"/>
                  <a:gd name="connsiteY7" fmla="*/ 4592438 h 5633118"/>
                  <a:gd name="connsiteX8" fmla="*/ 0 w 1918706"/>
                  <a:gd name="connsiteY8" fmla="*/ 4579284 h 5633118"/>
                  <a:gd name="connsiteX9" fmla="*/ 0 w 1918706"/>
                  <a:gd name="connsiteY9" fmla="*/ 4491829 h 5633118"/>
                  <a:gd name="connsiteX10" fmla="*/ 0 w 1918706"/>
                  <a:gd name="connsiteY10" fmla="*/ 4097931 h 5633118"/>
                  <a:gd name="connsiteX11" fmla="*/ 0 w 1918706"/>
                  <a:gd name="connsiteY11" fmla="*/ 4090156 h 5633118"/>
                  <a:gd name="connsiteX12" fmla="*/ 0 w 1918706"/>
                  <a:gd name="connsiteY12" fmla="*/ 4069228 h 5633118"/>
                  <a:gd name="connsiteX13" fmla="*/ 0 w 1918706"/>
                  <a:gd name="connsiteY13" fmla="*/ 4010476 h 5633118"/>
                  <a:gd name="connsiteX14" fmla="*/ 0 w 1918706"/>
                  <a:gd name="connsiteY14" fmla="*/ 3997322 h 5633118"/>
                  <a:gd name="connsiteX15" fmla="*/ 0 w 1918706"/>
                  <a:gd name="connsiteY15" fmla="*/ 3595649 h 5633118"/>
                  <a:gd name="connsiteX16" fmla="*/ 0 w 1918706"/>
                  <a:gd name="connsiteY16" fmla="*/ 3587875 h 5633118"/>
                  <a:gd name="connsiteX17" fmla="*/ 0 w 1918706"/>
                  <a:gd name="connsiteY17" fmla="*/ 3574721 h 5633118"/>
                  <a:gd name="connsiteX18" fmla="*/ 0 w 1918706"/>
                  <a:gd name="connsiteY18" fmla="*/ 3515969 h 5633118"/>
                  <a:gd name="connsiteX19" fmla="*/ 0 w 1918706"/>
                  <a:gd name="connsiteY19" fmla="*/ 3508195 h 5633118"/>
                  <a:gd name="connsiteX20" fmla="*/ 0 w 1918706"/>
                  <a:gd name="connsiteY20" fmla="*/ 3487266 h 5633118"/>
                  <a:gd name="connsiteX21" fmla="*/ 0 w 1918706"/>
                  <a:gd name="connsiteY2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3487266 h 5633118"/>
                  <a:gd name="connsiteX20" fmla="*/ 0 w 1918706"/>
                  <a:gd name="connsiteY2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10064 w 1928770"/>
                  <a:gd name="connsiteY7" fmla="*/ 4579284 h 5633118"/>
                  <a:gd name="connsiteX8" fmla="*/ 0 w 1928770"/>
                  <a:gd name="connsiteY8" fmla="*/ 4484457 h 5633118"/>
                  <a:gd name="connsiteX9" fmla="*/ 10064 w 1928770"/>
                  <a:gd name="connsiteY9"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0 w 1928770"/>
                  <a:gd name="connsiteY7" fmla="*/ 4484457 h 5633118"/>
                  <a:gd name="connsiteX8" fmla="*/ 10064 w 1928770"/>
                  <a:gd name="connsiteY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0 h 563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8706" h="5633118">
                    <a:moveTo>
                      <a:pt x="0" y="0"/>
                    </a:moveTo>
                    <a:cubicBezTo>
                      <a:pt x="0" y="308912"/>
                      <a:pt x="429517" y="559332"/>
                      <a:pt x="959355" y="559332"/>
                    </a:cubicBezTo>
                    <a:cubicBezTo>
                      <a:pt x="1489193" y="559332"/>
                      <a:pt x="1918706" y="308912"/>
                      <a:pt x="1918706" y="0"/>
                    </a:cubicBezTo>
                    <a:lnTo>
                      <a:pt x="1918706" y="5073791"/>
                    </a:lnTo>
                    <a:cubicBezTo>
                      <a:pt x="1918706" y="5382699"/>
                      <a:pt x="1489193" y="5633118"/>
                      <a:pt x="959355" y="5633118"/>
                    </a:cubicBezTo>
                    <a:cubicBezTo>
                      <a:pt x="429517" y="5633118"/>
                      <a:pt x="0" y="5382699"/>
                      <a:pt x="0" y="5073791"/>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856" name="Oval 386">
                <a:extLst>
                  <a:ext uri="{FF2B5EF4-FFF2-40B4-BE49-F238E27FC236}">
                    <a16:creationId xmlns:a16="http://schemas.microsoft.com/office/drawing/2014/main" id="{00AAAE15-306D-4CFF-94A3-43CC3C025D0B}"/>
                  </a:ext>
                </a:extLst>
              </p:cNvPr>
              <p:cNvSpPr/>
              <p:nvPr/>
            </p:nvSpPr>
            <p:spPr bwMode="gray">
              <a:xfrm>
                <a:off x="12676185" y="-2160831"/>
                <a:ext cx="1918706" cy="1340175"/>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858" name="Group 857">
              <a:extLst>
                <a:ext uri="{FF2B5EF4-FFF2-40B4-BE49-F238E27FC236}">
                  <a16:creationId xmlns:a16="http://schemas.microsoft.com/office/drawing/2014/main" id="{8E6E7A96-8F25-421B-9403-20F907F9AD79}"/>
                </a:ext>
              </a:extLst>
            </p:cNvPr>
            <p:cNvGrpSpPr>
              <a:grpSpLocks noChangeAspect="1"/>
            </p:cNvGrpSpPr>
            <p:nvPr/>
          </p:nvGrpSpPr>
          <p:grpSpPr bwMode="gray">
            <a:xfrm>
              <a:off x="8863433" y="4109499"/>
              <a:ext cx="260073" cy="869376"/>
              <a:chOff x="12676185" y="-2160831"/>
              <a:chExt cx="1918718" cy="6413936"/>
            </a:xfrm>
          </p:grpSpPr>
          <p:sp>
            <p:nvSpPr>
              <p:cNvPr id="863" name="Freeform: Shape 862">
                <a:extLst>
                  <a:ext uri="{FF2B5EF4-FFF2-40B4-BE49-F238E27FC236}">
                    <a16:creationId xmlns:a16="http://schemas.microsoft.com/office/drawing/2014/main" id="{DBDDBB7F-AE49-4160-A51B-E20061CAB8E3}"/>
                  </a:ext>
                </a:extLst>
              </p:cNvPr>
              <p:cNvSpPr/>
              <p:nvPr/>
            </p:nvSpPr>
            <p:spPr bwMode="gray">
              <a:xfrm>
                <a:off x="12676197" y="-1380013"/>
                <a:ext cx="1918706" cy="5633118"/>
              </a:xfrm>
              <a:custGeom>
                <a:avLst/>
                <a:gdLst>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581962 h 5633118"/>
                  <a:gd name="connsiteX6" fmla="*/ 1918706 w 1918706"/>
                  <a:gd name="connsiteY6" fmla="*/ 981092 h 5633118"/>
                  <a:gd name="connsiteX7" fmla="*/ 1918706 w 1918706"/>
                  <a:gd name="connsiteY7" fmla="*/ 1004563 h 5633118"/>
                  <a:gd name="connsiteX8" fmla="*/ 1918706 w 1918706"/>
                  <a:gd name="connsiteY8" fmla="*/ 1068547 h 5633118"/>
                  <a:gd name="connsiteX9" fmla="*/ 1918706 w 1918706"/>
                  <a:gd name="connsiteY9" fmla="*/ 1076469 h 5633118"/>
                  <a:gd name="connsiteX10" fmla="*/ 1918706 w 1918706"/>
                  <a:gd name="connsiteY10" fmla="*/ 1491148 h 5633118"/>
                  <a:gd name="connsiteX11" fmla="*/ 1918706 w 1918706"/>
                  <a:gd name="connsiteY11" fmla="*/ 1499070 h 5633118"/>
                  <a:gd name="connsiteX12" fmla="*/ 1918706 w 1918706"/>
                  <a:gd name="connsiteY12" fmla="*/ 1506844 h 5633118"/>
                  <a:gd name="connsiteX13" fmla="*/ 1918706 w 1918706"/>
                  <a:gd name="connsiteY13" fmla="*/ 1563054 h 5633118"/>
                  <a:gd name="connsiteX14" fmla="*/ 1918706 w 1918706"/>
                  <a:gd name="connsiteY14" fmla="*/ 1586524 h 5633118"/>
                  <a:gd name="connsiteX15" fmla="*/ 1918706 w 1918706"/>
                  <a:gd name="connsiteY15" fmla="*/ 1985655 h 5633118"/>
                  <a:gd name="connsiteX16" fmla="*/ 1918706 w 1918706"/>
                  <a:gd name="connsiteY16" fmla="*/ 2001351 h 5633118"/>
                  <a:gd name="connsiteX17" fmla="*/ 1918706 w 1918706"/>
                  <a:gd name="connsiteY17" fmla="*/ 2009125 h 5633118"/>
                  <a:gd name="connsiteX18" fmla="*/ 1918706 w 1918706"/>
                  <a:gd name="connsiteY18" fmla="*/ 2073109 h 5633118"/>
                  <a:gd name="connsiteX19" fmla="*/ 1918706 w 1918706"/>
                  <a:gd name="connsiteY19" fmla="*/ 2081031 h 5633118"/>
                  <a:gd name="connsiteX20" fmla="*/ 1918706 w 1918706"/>
                  <a:gd name="connsiteY20" fmla="*/ 2088805 h 5633118"/>
                  <a:gd name="connsiteX21" fmla="*/ 1918706 w 1918706"/>
                  <a:gd name="connsiteY21" fmla="*/ 2503632 h 5633118"/>
                  <a:gd name="connsiteX22" fmla="*/ 1918706 w 1918706"/>
                  <a:gd name="connsiteY22" fmla="*/ 2511407 h 5633118"/>
                  <a:gd name="connsiteX23" fmla="*/ 1918706 w 1918706"/>
                  <a:gd name="connsiteY23" fmla="*/ 2567616 h 5633118"/>
                  <a:gd name="connsiteX24" fmla="*/ 1918706 w 1918706"/>
                  <a:gd name="connsiteY24" fmla="*/ 2583313 h 5633118"/>
                  <a:gd name="connsiteX25" fmla="*/ 1918706 w 1918706"/>
                  <a:gd name="connsiteY25" fmla="*/ 2591087 h 5633118"/>
                  <a:gd name="connsiteX26" fmla="*/ 1918706 w 1918706"/>
                  <a:gd name="connsiteY26" fmla="*/ 2992759 h 5633118"/>
                  <a:gd name="connsiteX27" fmla="*/ 1918706 w 1918706"/>
                  <a:gd name="connsiteY27" fmla="*/ 3005914 h 5633118"/>
                  <a:gd name="connsiteX28" fmla="*/ 1918706 w 1918706"/>
                  <a:gd name="connsiteY28" fmla="*/ 3013688 h 5633118"/>
                  <a:gd name="connsiteX29" fmla="*/ 1918706 w 1918706"/>
                  <a:gd name="connsiteY29" fmla="*/ 3085594 h 5633118"/>
                  <a:gd name="connsiteX30" fmla="*/ 1918706 w 1918706"/>
                  <a:gd name="connsiteY30" fmla="*/ 3093368 h 5633118"/>
                  <a:gd name="connsiteX31" fmla="*/ 1918706 w 1918706"/>
                  <a:gd name="connsiteY31" fmla="*/ 3487266 h 5633118"/>
                  <a:gd name="connsiteX32" fmla="*/ 1918706 w 1918706"/>
                  <a:gd name="connsiteY32" fmla="*/ 3508195 h 5633118"/>
                  <a:gd name="connsiteX33" fmla="*/ 1918706 w 1918706"/>
                  <a:gd name="connsiteY33" fmla="*/ 3515969 h 5633118"/>
                  <a:gd name="connsiteX34" fmla="*/ 1918706 w 1918706"/>
                  <a:gd name="connsiteY34" fmla="*/ 3574721 h 5633118"/>
                  <a:gd name="connsiteX35" fmla="*/ 1918706 w 1918706"/>
                  <a:gd name="connsiteY35" fmla="*/ 3587875 h 5633118"/>
                  <a:gd name="connsiteX36" fmla="*/ 1918706 w 1918706"/>
                  <a:gd name="connsiteY36" fmla="*/ 3595649 h 5633118"/>
                  <a:gd name="connsiteX37" fmla="*/ 1918706 w 1918706"/>
                  <a:gd name="connsiteY37" fmla="*/ 3997322 h 5633118"/>
                  <a:gd name="connsiteX38" fmla="*/ 1918706 w 1918706"/>
                  <a:gd name="connsiteY38" fmla="*/ 4010476 h 5633118"/>
                  <a:gd name="connsiteX39" fmla="*/ 1918706 w 1918706"/>
                  <a:gd name="connsiteY39" fmla="*/ 4069228 h 5633118"/>
                  <a:gd name="connsiteX40" fmla="*/ 1918706 w 1918706"/>
                  <a:gd name="connsiteY40" fmla="*/ 4090156 h 5633118"/>
                  <a:gd name="connsiteX41" fmla="*/ 1918706 w 1918706"/>
                  <a:gd name="connsiteY41" fmla="*/ 4097931 h 5633118"/>
                  <a:gd name="connsiteX42" fmla="*/ 1918706 w 1918706"/>
                  <a:gd name="connsiteY42" fmla="*/ 4491829 h 5633118"/>
                  <a:gd name="connsiteX43" fmla="*/ 1918706 w 1918706"/>
                  <a:gd name="connsiteY43" fmla="*/ 4579284 h 5633118"/>
                  <a:gd name="connsiteX44" fmla="*/ 1918706 w 1918706"/>
                  <a:gd name="connsiteY44" fmla="*/ 4592438 h 5633118"/>
                  <a:gd name="connsiteX45" fmla="*/ 1918706 w 1918706"/>
                  <a:gd name="connsiteY45" fmla="*/ 5073791 h 5633118"/>
                  <a:gd name="connsiteX46" fmla="*/ 959355 w 1918706"/>
                  <a:gd name="connsiteY46" fmla="*/ 5633118 h 5633118"/>
                  <a:gd name="connsiteX47" fmla="*/ 0 w 1918706"/>
                  <a:gd name="connsiteY47" fmla="*/ 5073791 h 5633118"/>
                  <a:gd name="connsiteX48" fmla="*/ 0 w 1918706"/>
                  <a:gd name="connsiteY48" fmla="*/ 4592438 h 5633118"/>
                  <a:gd name="connsiteX49" fmla="*/ 0 w 1918706"/>
                  <a:gd name="connsiteY49" fmla="*/ 4579284 h 5633118"/>
                  <a:gd name="connsiteX50" fmla="*/ 0 w 1918706"/>
                  <a:gd name="connsiteY50" fmla="*/ 4491829 h 5633118"/>
                  <a:gd name="connsiteX51" fmla="*/ 0 w 1918706"/>
                  <a:gd name="connsiteY51" fmla="*/ 4097931 h 5633118"/>
                  <a:gd name="connsiteX52" fmla="*/ 0 w 1918706"/>
                  <a:gd name="connsiteY52" fmla="*/ 4090156 h 5633118"/>
                  <a:gd name="connsiteX53" fmla="*/ 0 w 1918706"/>
                  <a:gd name="connsiteY53" fmla="*/ 4069228 h 5633118"/>
                  <a:gd name="connsiteX54" fmla="*/ 0 w 1918706"/>
                  <a:gd name="connsiteY54" fmla="*/ 4010476 h 5633118"/>
                  <a:gd name="connsiteX55" fmla="*/ 0 w 1918706"/>
                  <a:gd name="connsiteY55" fmla="*/ 3997322 h 5633118"/>
                  <a:gd name="connsiteX56" fmla="*/ 0 w 1918706"/>
                  <a:gd name="connsiteY56" fmla="*/ 3595649 h 5633118"/>
                  <a:gd name="connsiteX57" fmla="*/ 0 w 1918706"/>
                  <a:gd name="connsiteY57" fmla="*/ 3587875 h 5633118"/>
                  <a:gd name="connsiteX58" fmla="*/ 0 w 1918706"/>
                  <a:gd name="connsiteY58" fmla="*/ 3574721 h 5633118"/>
                  <a:gd name="connsiteX59" fmla="*/ 0 w 1918706"/>
                  <a:gd name="connsiteY59" fmla="*/ 3515969 h 5633118"/>
                  <a:gd name="connsiteX60" fmla="*/ 0 w 1918706"/>
                  <a:gd name="connsiteY60" fmla="*/ 3508195 h 5633118"/>
                  <a:gd name="connsiteX61" fmla="*/ 0 w 1918706"/>
                  <a:gd name="connsiteY61" fmla="*/ 3487266 h 5633118"/>
                  <a:gd name="connsiteX62" fmla="*/ 0 w 1918706"/>
                  <a:gd name="connsiteY62" fmla="*/ 3093368 h 5633118"/>
                  <a:gd name="connsiteX63" fmla="*/ 0 w 1918706"/>
                  <a:gd name="connsiteY63" fmla="*/ 3085594 h 5633118"/>
                  <a:gd name="connsiteX64" fmla="*/ 0 w 1918706"/>
                  <a:gd name="connsiteY64" fmla="*/ 3013688 h 5633118"/>
                  <a:gd name="connsiteX65" fmla="*/ 0 w 1918706"/>
                  <a:gd name="connsiteY65" fmla="*/ 3005914 h 5633118"/>
                  <a:gd name="connsiteX66" fmla="*/ 0 w 1918706"/>
                  <a:gd name="connsiteY66" fmla="*/ 2992759 h 5633118"/>
                  <a:gd name="connsiteX67" fmla="*/ 0 w 1918706"/>
                  <a:gd name="connsiteY67" fmla="*/ 2591087 h 5633118"/>
                  <a:gd name="connsiteX68" fmla="*/ 0 w 1918706"/>
                  <a:gd name="connsiteY68" fmla="*/ 2583313 h 5633118"/>
                  <a:gd name="connsiteX69" fmla="*/ 0 w 1918706"/>
                  <a:gd name="connsiteY69" fmla="*/ 2567616 h 5633118"/>
                  <a:gd name="connsiteX70" fmla="*/ 0 w 1918706"/>
                  <a:gd name="connsiteY70" fmla="*/ 2511407 h 5633118"/>
                  <a:gd name="connsiteX71" fmla="*/ 0 w 1918706"/>
                  <a:gd name="connsiteY71" fmla="*/ 2503632 h 5633118"/>
                  <a:gd name="connsiteX72" fmla="*/ 0 w 1918706"/>
                  <a:gd name="connsiteY72" fmla="*/ 2088805 h 5633118"/>
                  <a:gd name="connsiteX73" fmla="*/ 0 w 1918706"/>
                  <a:gd name="connsiteY73" fmla="*/ 2081031 h 5633118"/>
                  <a:gd name="connsiteX74" fmla="*/ 0 w 1918706"/>
                  <a:gd name="connsiteY74" fmla="*/ 2073109 h 5633118"/>
                  <a:gd name="connsiteX75" fmla="*/ 0 w 1918706"/>
                  <a:gd name="connsiteY75" fmla="*/ 2009125 h 5633118"/>
                  <a:gd name="connsiteX76" fmla="*/ 0 w 1918706"/>
                  <a:gd name="connsiteY76" fmla="*/ 2001351 h 5633118"/>
                  <a:gd name="connsiteX77" fmla="*/ 0 w 1918706"/>
                  <a:gd name="connsiteY77" fmla="*/ 1985655 h 5633118"/>
                  <a:gd name="connsiteX78" fmla="*/ 0 w 1918706"/>
                  <a:gd name="connsiteY78" fmla="*/ 1586524 h 5633118"/>
                  <a:gd name="connsiteX79" fmla="*/ 0 w 1918706"/>
                  <a:gd name="connsiteY79" fmla="*/ 1563054 h 5633118"/>
                  <a:gd name="connsiteX80" fmla="*/ 0 w 1918706"/>
                  <a:gd name="connsiteY80" fmla="*/ 1506844 h 5633118"/>
                  <a:gd name="connsiteX81" fmla="*/ 0 w 1918706"/>
                  <a:gd name="connsiteY81" fmla="*/ 1499070 h 5633118"/>
                  <a:gd name="connsiteX82" fmla="*/ 0 w 1918706"/>
                  <a:gd name="connsiteY82" fmla="*/ 1491148 h 5633118"/>
                  <a:gd name="connsiteX83" fmla="*/ 0 w 1918706"/>
                  <a:gd name="connsiteY83" fmla="*/ 1076469 h 5633118"/>
                  <a:gd name="connsiteX84" fmla="*/ 0 w 1918706"/>
                  <a:gd name="connsiteY84" fmla="*/ 1068547 h 5633118"/>
                  <a:gd name="connsiteX85" fmla="*/ 0 w 1918706"/>
                  <a:gd name="connsiteY85" fmla="*/ 1004563 h 5633118"/>
                  <a:gd name="connsiteX86" fmla="*/ 0 w 1918706"/>
                  <a:gd name="connsiteY86" fmla="*/ 981092 h 5633118"/>
                  <a:gd name="connsiteX87" fmla="*/ 0 w 1918706"/>
                  <a:gd name="connsiteY87" fmla="*/ 581962 h 5633118"/>
                  <a:gd name="connsiteX88" fmla="*/ 0 w 1918706"/>
                  <a:gd name="connsiteY88" fmla="*/ 494507 h 5633118"/>
                  <a:gd name="connsiteX89" fmla="*/ 0 w 1918706"/>
                  <a:gd name="connsiteY89" fmla="*/ 486585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981092 h 5633118"/>
                  <a:gd name="connsiteX6" fmla="*/ 1918706 w 1918706"/>
                  <a:gd name="connsiteY6" fmla="*/ 1004563 h 5633118"/>
                  <a:gd name="connsiteX7" fmla="*/ 1918706 w 1918706"/>
                  <a:gd name="connsiteY7" fmla="*/ 1068547 h 5633118"/>
                  <a:gd name="connsiteX8" fmla="*/ 1918706 w 1918706"/>
                  <a:gd name="connsiteY8" fmla="*/ 1076469 h 5633118"/>
                  <a:gd name="connsiteX9" fmla="*/ 1918706 w 1918706"/>
                  <a:gd name="connsiteY9" fmla="*/ 1491148 h 5633118"/>
                  <a:gd name="connsiteX10" fmla="*/ 1918706 w 1918706"/>
                  <a:gd name="connsiteY10" fmla="*/ 1499070 h 5633118"/>
                  <a:gd name="connsiteX11" fmla="*/ 1918706 w 1918706"/>
                  <a:gd name="connsiteY11" fmla="*/ 1506844 h 5633118"/>
                  <a:gd name="connsiteX12" fmla="*/ 1918706 w 1918706"/>
                  <a:gd name="connsiteY12" fmla="*/ 1563054 h 5633118"/>
                  <a:gd name="connsiteX13" fmla="*/ 1918706 w 1918706"/>
                  <a:gd name="connsiteY13" fmla="*/ 1586524 h 5633118"/>
                  <a:gd name="connsiteX14" fmla="*/ 1918706 w 1918706"/>
                  <a:gd name="connsiteY14" fmla="*/ 1985655 h 5633118"/>
                  <a:gd name="connsiteX15" fmla="*/ 1918706 w 1918706"/>
                  <a:gd name="connsiteY15" fmla="*/ 2001351 h 5633118"/>
                  <a:gd name="connsiteX16" fmla="*/ 1918706 w 1918706"/>
                  <a:gd name="connsiteY16" fmla="*/ 2009125 h 5633118"/>
                  <a:gd name="connsiteX17" fmla="*/ 1918706 w 1918706"/>
                  <a:gd name="connsiteY17" fmla="*/ 2073109 h 5633118"/>
                  <a:gd name="connsiteX18" fmla="*/ 1918706 w 1918706"/>
                  <a:gd name="connsiteY18" fmla="*/ 2081031 h 5633118"/>
                  <a:gd name="connsiteX19" fmla="*/ 1918706 w 1918706"/>
                  <a:gd name="connsiteY19" fmla="*/ 2088805 h 5633118"/>
                  <a:gd name="connsiteX20" fmla="*/ 1918706 w 1918706"/>
                  <a:gd name="connsiteY20" fmla="*/ 2503632 h 5633118"/>
                  <a:gd name="connsiteX21" fmla="*/ 1918706 w 1918706"/>
                  <a:gd name="connsiteY21" fmla="*/ 2511407 h 5633118"/>
                  <a:gd name="connsiteX22" fmla="*/ 1918706 w 1918706"/>
                  <a:gd name="connsiteY22" fmla="*/ 2567616 h 5633118"/>
                  <a:gd name="connsiteX23" fmla="*/ 1918706 w 1918706"/>
                  <a:gd name="connsiteY23" fmla="*/ 2583313 h 5633118"/>
                  <a:gd name="connsiteX24" fmla="*/ 1918706 w 1918706"/>
                  <a:gd name="connsiteY24" fmla="*/ 2591087 h 5633118"/>
                  <a:gd name="connsiteX25" fmla="*/ 1918706 w 1918706"/>
                  <a:gd name="connsiteY25" fmla="*/ 2992759 h 5633118"/>
                  <a:gd name="connsiteX26" fmla="*/ 1918706 w 1918706"/>
                  <a:gd name="connsiteY26" fmla="*/ 3005914 h 5633118"/>
                  <a:gd name="connsiteX27" fmla="*/ 1918706 w 1918706"/>
                  <a:gd name="connsiteY27" fmla="*/ 3013688 h 5633118"/>
                  <a:gd name="connsiteX28" fmla="*/ 1918706 w 1918706"/>
                  <a:gd name="connsiteY28" fmla="*/ 3085594 h 5633118"/>
                  <a:gd name="connsiteX29" fmla="*/ 1918706 w 1918706"/>
                  <a:gd name="connsiteY29" fmla="*/ 3093368 h 5633118"/>
                  <a:gd name="connsiteX30" fmla="*/ 1918706 w 1918706"/>
                  <a:gd name="connsiteY30" fmla="*/ 3487266 h 5633118"/>
                  <a:gd name="connsiteX31" fmla="*/ 1918706 w 1918706"/>
                  <a:gd name="connsiteY31" fmla="*/ 3508195 h 5633118"/>
                  <a:gd name="connsiteX32" fmla="*/ 1918706 w 1918706"/>
                  <a:gd name="connsiteY32" fmla="*/ 3515969 h 5633118"/>
                  <a:gd name="connsiteX33" fmla="*/ 1918706 w 1918706"/>
                  <a:gd name="connsiteY33" fmla="*/ 3574721 h 5633118"/>
                  <a:gd name="connsiteX34" fmla="*/ 1918706 w 1918706"/>
                  <a:gd name="connsiteY34" fmla="*/ 3587875 h 5633118"/>
                  <a:gd name="connsiteX35" fmla="*/ 1918706 w 1918706"/>
                  <a:gd name="connsiteY35" fmla="*/ 3595649 h 5633118"/>
                  <a:gd name="connsiteX36" fmla="*/ 1918706 w 1918706"/>
                  <a:gd name="connsiteY36" fmla="*/ 3997322 h 5633118"/>
                  <a:gd name="connsiteX37" fmla="*/ 1918706 w 1918706"/>
                  <a:gd name="connsiteY37" fmla="*/ 4010476 h 5633118"/>
                  <a:gd name="connsiteX38" fmla="*/ 1918706 w 1918706"/>
                  <a:gd name="connsiteY38" fmla="*/ 4069228 h 5633118"/>
                  <a:gd name="connsiteX39" fmla="*/ 1918706 w 1918706"/>
                  <a:gd name="connsiteY39" fmla="*/ 4090156 h 5633118"/>
                  <a:gd name="connsiteX40" fmla="*/ 1918706 w 1918706"/>
                  <a:gd name="connsiteY40" fmla="*/ 4097931 h 5633118"/>
                  <a:gd name="connsiteX41" fmla="*/ 1918706 w 1918706"/>
                  <a:gd name="connsiteY41" fmla="*/ 4491829 h 5633118"/>
                  <a:gd name="connsiteX42" fmla="*/ 1918706 w 1918706"/>
                  <a:gd name="connsiteY42" fmla="*/ 4579284 h 5633118"/>
                  <a:gd name="connsiteX43" fmla="*/ 1918706 w 1918706"/>
                  <a:gd name="connsiteY43" fmla="*/ 4592438 h 5633118"/>
                  <a:gd name="connsiteX44" fmla="*/ 1918706 w 1918706"/>
                  <a:gd name="connsiteY44" fmla="*/ 5073791 h 5633118"/>
                  <a:gd name="connsiteX45" fmla="*/ 959355 w 1918706"/>
                  <a:gd name="connsiteY45" fmla="*/ 5633118 h 5633118"/>
                  <a:gd name="connsiteX46" fmla="*/ 0 w 1918706"/>
                  <a:gd name="connsiteY46" fmla="*/ 5073791 h 5633118"/>
                  <a:gd name="connsiteX47" fmla="*/ 0 w 1918706"/>
                  <a:gd name="connsiteY47" fmla="*/ 4592438 h 5633118"/>
                  <a:gd name="connsiteX48" fmla="*/ 0 w 1918706"/>
                  <a:gd name="connsiteY48" fmla="*/ 4579284 h 5633118"/>
                  <a:gd name="connsiteX49" fmla="*/ 0 w 1918706"/>
                  <a:gd name="connsiteY49" fmla="*/ 4491829 h 5633118"/>
                  <a:gd name="connsiteX50" fmla="*/ 0 w 1918706"/>
                  <a:gd name="connsiteY50" fmla="*/ 4097931 h 5633118"/>
                  <a:gd name="connsiteX51" fmla="*/ 0 w 1918706"/>
                  <a:gd name="connsiteY51" fmla="*/ 4090156 h 5633118"/>
                  <a:gd name="connsiteX52" fmla="*/ 0 w 1918706"/>
                  <a:gd name="connsiteY52" fmla="*/ 4069228 h 5633118"/>
                  <a:gd name="connsiteX53" fmla="*/ 0 w 1918706"/>
                  <a:gd name="connsiteY53" fmla="*/ 4010476 h 5633118"/>
                  <a:gd name="connsiteX54" fmla="*/ 0 w 1918706"/>
                  <a:gd name="connsiteY54" fmla="*/ 3997322 h 5633118"/>
                  <a:gd name="connsiteX55" fmla="*/ 0 w 1918706"/>
                  <a:gd name="connsiteY55" fmla="*/ 3595649 h 5633118"/>
                  <a:gd name="connsiteX56" fmla="*/ 0 w 1918706"/>
                  <a:gd name="connsiteY56" fmla="*/ 3587875 h 5633118"/>
                  <a:gd name="connsiteX57" fmla="*/ 0 w 1918706"/>
                  <a:gd name="connsiteY57" fmla="*/ 3574721 h 5633118"/>
                  <a:gd name="connsiteX58" fmla="*/ 0 w 1918706"/>
                  <a:gd name="connsiteY58" fmla="*/ 3515969 h 5633118"/>
                  <a:gd name="connsiteX59" fmla="*/ 0 w 1918706"/>
                  <a:gd name="connsiteY59" fmla="*/ 3508195 h 5633118"/>
                  <a:gd name="connsiteX60" fmla="*/ 0 w 1918706"/>
                  <a:gd name="connsiteY60" fmla="*/ 3487266 h 5633118"/>
                  <a:gd name="connsiteX61" fmla="*/ 0 w 1918706"/>
                  <a:gd name="connsiteY61" fmla="*/ 3093368 h 5633118"/>
                  <a:gd name="connsiteX62" fmla="*/ 0 w 1918706"/>
                  <a:gd name="connsiteY62" fmla="*/ 3085594 h 5633118"/>
                  <a:gd name="connsiteX63" fmla="*/ 0 w 1918706"/>
                  <a:gd name="connsiteY63" fmla="*/ 3013688 h 5633118"/>
                  <a:gd name="connsiteX64" fmla="*/ 0 w 1918706"/>
                  <a:gd name="connsiteY64" fmla="*/ 3005914 h 5633118"/>
                  <a:gd name="connsiteX65" fmla="*/ 0 w 1918706"/>
                  <a:gd name="connsiteY65" fmla="*/ 2992759 h 5633118"/>
                  <a:gd name="connsiteX66" fmla="*/ 0 w 1918706"/>
                  <a:gd name="connsiteY66" fmla="*/ 2591087 h 5633118"/>
                  <a:gd name="connsiteX67" fmla="*/ 0 w 1918706"/>
                  <a:gd name="connsiteY67" fmla="*/ 2583313 h 5633118"/>
                  <a:gd name="connsiteX68" fmla="*/ 0 w 1918706"/>
                  <a:gd name="connsiteY68" fmla="*/ 2567616 h 5633118"/>
                  <a:gd name="connsiteX69" fmla="*/ 0 w 1918706"/>
                  <a:gd name="connsiteY69" fmla="*/ 2511407 h 5633118"/>
                  <a:gd name="connsiteX70" fmla="*/ 0 w 1918706"/>
                  <a:gd name="connsiteY70" fmla="*/ 2503632 h 5633118"/>
                  <a:gd name="connsiteX71" fmla="*/ 0 w 1918706"/>
                  <a:gd name="connsiteY71" fmla="*/ 2088805 h 5633118"/>
                  <a:gd name="connsiteX72" fmla="*/ 0 w 1918706"/>
                  <a:gd name="connsiteY72" fmla="*/ 2081031 h 5633118"/>
                  <a:gd name="connsiteX73" fmla="*/ 0 w 1918706"/>
                  <a:gd name="connsiteY73" fmla="*/ 2073109 h 5633118"/>
                  <a:gd name="connsiteX74" fmla="*/ 0 w 1918706"/>
                  <a:gd name="connsiteY74" fmla="*/ 2009125 h 5633118"/>
                  <a:gd name="connsiteX75" fmla="*/ 0 w 1918706"/>
                  <a:gd name="connsiteY75" fmla="*/ 2001351 h 5633118"/>
                  <a:gd name="connsiteX76" fmla="*/ 0 w 1918706"/>
                  <a:gd name="connsiteY76" fmla="*/ 1985655 h 5633118"/>
                  <a:gd name="connsiteX77" fmla="*/ 0 w 1918706"/>
                  <a:gd name="connsiteY77" fmla="*/ 1586524 h 5633118"/>
                  <a:gd name="connsiteX78" fmla="*/ 0 w 1918706"/>
                  <a:gd name="connsiteY78" fmla="*/ 1563054 h 5633118"/>
                  <a:gd name="connsiteX79" fmla="*/ 0 w 1918706"/>
                  <a:gd name="connsiteY79" fmla="*/ 1506844 h 5633118"/>
                  <a:gd name="connsiteX80" fmla="*/ 0 w 1918706"/>
                  <a:gd name="connsiteY80" fmla="*/ 1499070 h 5633118"/>
                  <a:gd name="connsiteX81" fmla="*/ 0 w 1918706"/>
                  <a:gd name="connsiteY81" fmla="*/ 1491148 h 5633118"/>
                  <a:gd name="connsiteX82" fmla="*/ 0 w 1918706"/>
                  <a:gd name="connsiteY82" fmla="*/ 1076469 h 5633118"/>
                  <a:gd name="connsiteX83" fmla="*/ 0 w 1918706"/>
                  <a:gd name="connsiteY83" fmla="*/ 1068547 h 5633118"/>
                  <a:gd name="connsiteX84" fmla="*/ 0 w 1918706"/>
                  <a:gd name="connsiteY84" fmla="*/ 1004563 h 5633118"/>
                  <a:gd name="connsiteX85" fmla="*/ 0 w 1918706"/>
                  <a:gd name="connsiteY85" fmla="*/ 981092 h 5633118"/>
                  <a:gd name="connsiteX86" fmla="*/ 0 w 1918706"/>
                  <a:gd name="connsiteY86" fmla="*/ 581962 h 5633118"/>
                  <a:gd name="connsiteX87" fmla="*/ 0 w 1918706"/>
                  <a:gd name="connsiteY87" fmla="*/ 494507 h 5633118"/>
                  <a:gd name="connsiteX88" fmla="*/ 0 w 1918706"/>
                  <a:gd name="connsiteY88" fmla="*/ 486585 h 5633118"/>
                  <a:gd name="connsiteX89" fmla="*/ 0 w 1918706"/>
                  <a:gd name="connsiteY8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981092 h 5633118"/>
                  <a:gd name="connsiteX5" fmla="*/ 1918706 w 1918706"/>
                  <a:gd name="connsiteY5" fmla="*/ 1004563 h 5633118"/>
                  <a:gd name="connsiteX6" fmla="*/ 1918706 w 1918706"/>
                  <a:gd name="connsiteY6" fmla="*/ 1068547 h 5633118"/>
                  <a:gd name="connsiteX7" fmla="*/ 1918706 w 1918706"/>
                  <a:gd name="connsiteY7" fmla="*/ 1076469 h 5633118"/>
                  <a:gd name="connsiteX8" fmla="*/ 1918706 w 1918706"/>
                  <a:gd name="connsiteY8" fmla="*/ 1491148 h 5633118"/>
                  <a:gd name="connsiteX9" fmla="*/ 1918706 w 1918706"/>
                  <a:gd name="connsiteY9" fmla="*/ 1499070 h 5633118"/>
                  <a:gd name="connsiteX10" fmla="*/ 1918706 w 1918706"/>
                  <a:gd name="connsiteY10" fmla="*/ 1506844 h 5633118"/>
                  <a:gd name="connsiteX11" fmla="*/ 1918706 w 1918706"/>
                  <a:gd name="connsiteY11" fmla="*/ 1563054 h 5633118"/>
                  <a:gd name="connsiteX12" fmla="*/ 1918706 w 1918706"/>
                  <a:gd name="connsiteY12" fmla="*/ 1586524 h 5633118"/>
                  <a:gd name="connsiteX13" fmla="*/ 1918706 w 1918706"/>
                  <a:gd name="connsiteY13" fmla="*/ 1985655 h 5633118"/>
                  <a:gd name="connsiteX14" fmla="*/ 1918706 w 1918706"/>
                  <a:gd name="connsiteY14" fmla="*/ 2001351 h 5633118"/>
                  <a:gd name="connsiteX15" fmla="*/ 1918706 w 1918706"/>
                  <a:gd name="connsiteY15" fmla="*/ 2009125 h 5633118"/>
                  <a:gd name="connsiteX16" fmla="*/ 1918706 w 1918706"/>
                  <a:gd name="connsiteY16" fmla="*/ 2073109 h 5633118"/>
                  <a:gd name="connsiteX17" fmla="*/ 1918706 w 1918706"/>
                  <a:gd name="connsiteY17" fmla="*/ 2081031 h 5633118"/>
                  <a:gd name="connsiteX18" fmla="*/ 1918706 w 1918706"/>
                  <a:gd name="connsiteY18" fmla="*/ 2088805 h 5633118"/>
                  <a:gd name="connsiteX19" fmla="*/ 1918706 w 1918706"/>
                  <a:gd name="connsiteY19" fmla="*/ 2503632 h 5633118"/>
                  <a:gd name="connsiteX20" fmla="*/ 1918706 w 1918706"/>
                  <a:gd name="connsiteY20" fmla="*/ 2511407 h 5633118"/>
                  <a:gd name="connsiteX21" fmla="*/ 1918706 w 1918706"/>
                  <a:gd name="connsiteY21" fmla="*/ 2567616 h 5633118"/>
                  <a:gd name="connsiteX22" fmla="*/ 1918706 w 1918706"/>
                  <a:gd name="connsiteY22" fmla="*/ 2583313 h 5633118"/>
                  <a:gd name="connsiteX23" fmla="*/ 1918706 w 1918706"/>
                  <a:gd name="connsiteY23" fmla="*/ 2591087 h 5633118"/>
                  <a:gd name="connsiteX24" fmla="*/ 1918706 w 1918706"/>
                  <a:gd name="connsiteY24" fmla="*/ 2992759 h 5633118"/>
                  <a:gd name="connsiteX25" fmla="*/ 1918706 w 1918706"/>
                  <a:gd name="connsiteY25" fmla="*/ 3005914 h 5633118"/>
                  <a:gd name="connsiteX26" fmla="*/ 1918706 w 1918706"/>
                  <a:gd name="connsiteY26" fmla="*/ 3013688 h 5633118"/>
                  <a:gd name="connsiteX27" fmla="*/ 1918706 w 1918706"/>
                  <a:gd name="connsiteY27" fmla="*/ 3085594 h 5633118"/>
                  <a:gd name="connsiteX28" fmla="*/ 1918706 w 1918706"/>
                  <a:gd name="connsiteY28" fmla="*/ 3093368 h 5633118"/>
                  <a:gd name="connsiteX29" fmla="*/ 1918706 w 1918706"/>
                  <a:gd name="connsiteY29" fmla="*/ 3487266 h 5633118"/>
                  <a:gd name="connsiteX30" fmla="*/ 1918706 w 1918706"/>
                  <a:gd name="connsiteY30" fmla="*/ 3508195 h 5633118"/>
                  <a:gd name="connsiteX31" fmla="*/ 1918706 w 1918706"/>
                  <a:gd name="connsiteY31" fmla="*/ 3515969 h 5633118"/>
                  <a:gd name="connsiteX32" fmla="*/ 1918706 w 1918706"/>
                  <a:gd name="connsiteY32" fmla="*/ 3574721 h 5633118"/>
                  <a:gd name="connsiteX33" fmla="*/ 1918706 w 1918706"/>
                  <a:gd name="connsiteY33" fmla="*/ 3587875 h 5633118"/>
                  <a:gd name="connsiteX34" fmla="*/ 1918706 w 1918706"/>
                  <a:gd name="connsiteY34" fmla="*/ 3595649 h 5633118"/>
                  <a:gd name="connsiteX35" fmla="*/ 1918706 w 1918706"/>
                  <a:gd name="connsiteY35" fmla="*/ 3997322 h 5633118"/>
                  <a:gd name="connsiteX36" fmla="*/ 1918706 w 1918706"/>
                  <a:gd name="connsiteY36" fmla="*/ 4010476 h 5633118"/>
                  <a:gd name="connsiteX37" fmla="*/ 1918706 w 1918706"/>
                  <a:gd name="connsiteY37" fmla="*/ 4069228 h 5633118"/>
                  <a:gd name="connsiteX38" fmla="*/ 1918706 w 1918706"/>
                  <a:gd name="connsiteY38" fmla="*/ 4090156 h 5633118"/>
                  <a:gd name="connsiteX39" fmla="*/ 1918706 w 1918706"/>
                  <a:gd name="connsiteY39" fmla="*/ 4097931 h 5633118"/>
                  <a:gd name="connsiteX40" fmla="*/ 1918706 w 1918706"/>
                  <a:gd name="connsiteY40" fmla="*/ 4491829 h 5633118"/>
                  <a:gd name="connsiteX41" fmla="*/ 1918706 w 1918706"/>
                  <a:gd name="connsiteY41" fmla="*/ 4579284 h 5633118"/>
                  <a:gd name="connsiteX42" fmla="*/ 1918706 w 1918706"/>
                  <a:gd name="connsiteY42" fmla="*/ 4592438 h 5633118"/>
                  <a:gd name="connsiteX43" fmla="*/ 1918706 w 1918706"/>
                  <a:gd name="connsiteY43" fmla="*/ 5073791 h 5633118"/>
                  <a:gd name="connsiteX44" fmla="*/ 959355 w 1918706"/>
                  <a:gd name="connsiteY44" fmla="*/ 5633118 h 5633118"/>
                  <a:gd name="connsiteX45" fmla="*/ 0 w 1918706"/>
                  <a:gd name="connsiteY45" fmla="*/ 5073791 h 5633118"/>
                  <a:gd name="connsiteX46" fmla="*/ 0 w 1918706"/>
                  <a:gd name="connsiteY46" fmla="*/ 4592438 h 5633118"/>
                  <a:gd name="connsiteX47" fmla="*/ 0 w 1918706"/>
                  <a:gd name="connsiteY47" fmla="*/ 4579284 h 5633118"/>
                  <a:gd name="connsiteX48" fmla="*/ 0 w 1918706"/>
                  <a:gd name="connsiteY48" fmla="*/ 4491829 h 5633118"/>
                  <a:gd name="connsiteX49" fmla="*/ 0 w 1918706"/>
                  <a:gd name="connsiteY49" fmla="*/ 4097931 h 5633118"/>
                  <a:gd name="connsiteX50" fmla="*/ 0 w 1918706"/>
                  <a:gd name="connsiteY50" fmla="*/ 4090156 h 5633118"/>
                  <a:gd name="connsiteX51" fmla="*/ 0 w 1918706"/>
                  <a:gd name="connsiteY51" fmla="*/ 4069228 h 5633118"/>
                  <a:gd name="connsiteX52" fmla="*/ 0 w 1918706"/>
                  <a:gd name="connsiteY52" fmla="*/ 4010476 h 5633118"/>
                  <a:gd name="connsiteX53" fmla="*/ 0 w 1918706"/>
                  <a:gd name="connsiteY53" fmla="*/ 3997322 h 5633118"/>
                  <a:gd name="connsiteX54" fmla="*/ 0 w 1918706"/>
                  <a:gd name="connsiteY54" fmla="*/ 3595649 h 5633118"/>
                  <a:gd name="connsiteX55" fmla="*/ 0 w 1918706"/>
                  <a:gd name="connsiteY55" fmla="*/ 3587875 h 5633118"/>
                  <a:gd name="connsiteX56" fmla="*/ 0 w 1918706"/>
                  <a:gd name="connsiteY56" fmla="*/ 3574721 h 5633118"/>
                  <a:gd name="connsiteX57" fmla="*/ 0 w 1918706"/>
                  <a:gd name="connsiteY57" fmla="*/ 3515969 h 5633118"/>
                  <a:gd name="connsiteX58" fmla="*/ 0 w 1918706"/>
                  <a:gd name="connsiteY58" fmla="*/ 3508195 h 5633118"/>
                  <a:gd name="connsiteX59" fmla="*/ 0 w 1918706"/>
                  <a:gd name="connsiteY59" fmla="*/ 3487266 h 5633118"/>
                  <a:gd name="connsiteX60" fmla="*/ 0 w 1918706"/>
                  <a:gd name="connsiteY60" fmla="*/ 3093368 h 5633118"/>
                  <a:gd name="connsiteX61" fmla="*/ 0 w 1918706"/>
                  <a:gd name="connsiteY61" fmla="*/ 3085594 h 5633118"/>
                  <a:gd name="connsiteX62" fmla="*/ 0 w 1918706"/>
                  <a:gd name="connsiteY62" fmla="*/ 3013688 h 5633118"/>
                  <a:gd name="connsiteX63" fmla="*/ 0 w 1918706"/>
                  <a:gd name="connsiteY63" fmla="*/ 3005914 h 5633118"/>
                  <a:gd name="connsiteX64" fmla="*/ 0 w 1918706"/>
                  <a:gd name="connsiteY64" fmla="*/ 2992759 h 5633118"/>
                  <a:gd name="connsiteX65" fmla="*/ 0 w 1918706"/>
                  <a:gd name="connsiteY65" fmla="*/ 2591087 h 5633118"/>
                  <a:gd name="connsiteX66" fmla="*/ 0 w 1918706"/>
                  <a:gd name="connsiteY66" fmla="*/ 2583313 h 5633118"/>
                  <a:gd name="connsiteX67" fmla="*/ 0 w 1918706"/>
                  <a:gd name="connsiteY67" fmla="*/ 2567616 h 5633118"/>
                  <a:gd name="connsiteX68" fmla="*/ 0 w 1918706"/>
                  <a:gd name="connsiteY68" fmla="*/ 2511407 h 5633118"/>
                  <a:gd name="connsiteX69" fmla="*/ 0 w 1918706"/>
                  <a:gd name="connsiteY69" fmla="*/ 2503632 h 5633118"/>
                  <a:gd name="connsiteX70" fmla="*/ 0 w 1918706"/>
                  <a:gd name="connsiteY70" fmla="*/ 2088805 h 5633118"/>
                  <a:gd name="connsiteX71" fmla="*/ 0 w 1918706"/>
                  <a:gd name="connsiteY71" fmla="*/ 2081031 h 5633118"/>
                  <a:gd name="connsiteX72" fmla="*/ 0 w 1918706"/>
                  <a:gd name="connsiteY72" fmla="*/ 2073109 h 5633118"/>
                  <a:gd name="connsiteX73" fmla="*/ 0 w 1918706"/>
                  <a:gd name="connsiteY73" fmla="*/ 2009125 h 5633118"/>
                  <a:gd name="connsiteX74" fmla="*/ 0 w 1918706"/>
                  <a:gd name="connsiteY74" fmla="*/ 2001351 h 5633118"/>
                  <a:gd name="connsiteX75" fmla="*/ 0 w 1918706"/>
                  <a:gd name="connsiteY75" fmla="*/ 1985655 h 5633118"/>
                  <a:gd name="connsiteX76" fmla="*/ 0 w 1918706"/>
                  <a:gd name="connsiteY76" fmla="*/ 1586524 h 5633118"/>
                  <a:gd name="connsiteX77" fmla="*/ 0 w 1918706"/>
                  <a:gd name="connsiteY77" fmla="*/ 1563054 h 5633118"/>
                  <a:gd name="connsiteX78" fmla="*/ 0 w 1918706"/>
                  <a:gd name="connsiteY78" fmla="*/ 1506844 h 5633118"/>
                  <a:gd name="connsiteX79" fmla="*/ 0 w 1918706"/>
                  <a:gd name="connsiteY79" fmla="*/ 1499070 h 5633118"/>
                  <a:gd name="connsiteX80" fmla="*/ 0 w 1918706"/>
                  <a:gd name="connsiteY80" fmla="*/ 1491148 h 5633118"/>
                  <a:gd name="connsiteX81" fmla="*/ 0 w 1918706"/>
                  <a:gd name="connsiteY81" fmla="*/ 1076469 h 5633118"/>
                  <a:gd name="connsiteX82" fmla="*/ 0 w 1918706"/>
                  <a:gd name="connsiteY82" fmla="*/ 1068547 h 5633118"/>
                  <a:gd name="connsiteX83" fmla="*/ 0 w 1918706"/>
                  <a:gd name="connsiteY83" fmla="*/ 1004563 h 5633118"/>
                  <a:gd name="connsiteX84" fmla="*/ 0 w 1918706"/>
                  <a:gd name="connsiteY84" fmla="*/ 981092 h 5633118"/>
                  <a:gd name="connsiteX85" fmla="*/ 0 w 1918706"/>
                  <a:gd name="connsiteY85" fmla="*/ 581962 h 5633118"/>
                  <a:gd name="connsiteX86" fmla="*/ 0 w 1918706"/>
                  <a:gd name="connsiteY86" fmla="*/ 494507 h 5633118"/>
                  <a:gd name="connsiteX87" fmla="*/ 0 w 1918706"/>
                  <a:gd name="connsiteY87" fmla="*/ 486585 h 5633118"/>
                  <a:gd name="connsiteX88" fmla="*/ 0 w 1918706"/>
                  <a:gd name="connsiteY8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486585 h 5633118"/>
                  <a:gd name="connsiteX87" fmla="*/ 0 w 1918706"/>
                  <a:gd name="connsiteY8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076469 h 5633118"/>
                  <a:gd name="connsiteX80" fmla="*/ 0 w 1918706"/>
                  <a:gd name="connsiteY8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591087 h 5633118"/>
                  <a:gd name="connsiteX64" fmla="*/ 0 w 1918706"/>
                  <a:gd name="connsiteY6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2591087 h 5633118"/>
                  <a:gd name="connsiteX63" fmla="*/ 0 w 1918706"/>
                  <a:gd name="connsiteY6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2591087 h 5633118"/>
                  <a:gd name="connsiteX62" fmla="*/ 0 w 1918706"/>
                  <a:gd name="connsiteY6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2591087 h 5633118"/>
                  <a:gd name="connsiteX61" fmla="*/ 0 w 1918706"/>
                  <a:gd name="connsiteY6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68547 h 5633118"/>
                  <a:gd name="connsiteX5" fmla="*/ 1918706 w 1918706"/>
                  <a:gd name="connsiteY5" fmla="*/ 1076469 h 5633118"/>
                  <a:gd name="connsiteX6" fmla="*/ 1918706 w 1918706"/>
                  <a:gd name="connsiteY6" fmla="*/ 1491148 h 5633118"/>
                  <a:gd name="connsiteX7" fmla="*/ 1918706 w 1918706"/>
                  <a:gd name="connsiteY7" fmla="*/ 1499070 h 5633118"/>
                  <a:gd name="connsiteX8" fmla="*/ 1918706 w 1918706"/>
                  <a:gd name="connsiteY8" fmla="*/ 1506844 h 5633118"/>
                  <a:gd name="connsiteX9" fmla="*/ 1918706 w 1918706"/>
                  <a:gd name="connsiteY9" fmla="*/ 1563054 h 5633118"/>
                  <a:gd name="connsiteX10" fmla="*/ 1918706 w 1918706"/>
                  <a:gd name="connsiteY10" fmla="*/ 1586524 h 5633118"/>
                  <a:gd name="connsiteX11" fmla="*/ 1918706 w 1918706"/>
                  <a:gd name="connsiteY11" fmla="*/ 1985655 h 5633118"/>
                  <a:gd name="connsiteX12" fmla="*/ 1918706 w 1918706"/>
                  <a:gd name="connsiteY12" fmla="*/ 2001351 h 5633118"/>
                  <a:gd name="connsiteX13" fmla="*/ 1918706 w 1918706"/>
                  <a:gd name="connsiteY13" fmla="*/ 2009125 h 5633118"/>
                  <a:gd name="connsiteX14" fmla="*/ 1918706 w 1918706"/>
                  <a:gd name="connsiteY14" fmla="*/ 2073109 h 5633118"/>
                  <a:gd name="connsiteX15" fmla="*/ 1918706 w 1918706"/>
                  <a:gd name="connsiteY15" fmla="*/ 2081031 h 5633118"/>
                  <a:gd name="connsiteX16" fmla="*/ 1918706 w 1918706"/>
                  <a:gd name="connsiteY16" fmla="*/ 2088805 h 5633118"/>
                  <a:gd name="connsiteX17" fmla="*/ 1918706 w 1918706"/>
                  <a:gd name="connsiteY17" fmla="*/ 2503632 h 5633118"/>
                  <a:gd name="connsiteX18" fmla="*/ 1918706 w 1918706"/>
                  <a:gd name="connsiteY18" fmla="*/ 2511407 h 5633118"/>
                  <a:gd name="connsiteX19" fmla="*/ 1918706 w 1918706"/>
                  <a:gd name="connsiteY19" fmla="*/ 2567616 h 5633118"/>
                  <a:gd name="connsiteX20" fmla="*/ 1918706 w 1918706"/>
                  <a:gd name="connsiteY20" fmla="*/ 2583313 h 5633118"/>
                  <a:gd name="connsiteX21" fmla="*/ 1918706 w 1918706"/>
                  <a:gd name="connsiteY21" fmla="*/ 2591087 h 5633118"/>
                  <a:gd name="connsiteX22" fmla="*/ 1918706 w 1918706"/>
                  <a:gd name="connsiteY22" fmla="*/ 2992759 h 5633118"/>
                  <a:gd name="connsiteX23" fmla="*/ 1918706 w 1918706"/>
                  <a:gd name="connsiteY23" fmla="*/ 3005914 h 5633118"/>
                  <a:gd name="connsiteX24" fmla="*/ 1918706 w 1918706"/>
                  <a:gd name="connsiteY24" fmla="*/ 3013688 h 5633118"/>
                  <a:gd name="connsiteX25" fmla="*/ 1918706 w 1918706"/>
                  <a:gd name="connsiteY25" fmla="*/ 3085594 h 5633118"/>
                  <a:gd name="connsiteX26" fmla="*/ 1918706 w 1918706"/>
                  <a:gd name="connsiteY26" fmla="*/ 3093368 h 5633118"/>
                  <a:gd name="connsiteX27" fmla="*/ 1918706 w 1918706"/>
                  <a:gd name="connsiteY27" fmla="*/ 3487266 h 5633118"/>
                  <a:gd name="connsiteX28" fmla="*/ 1918706 w 1918706"/>
                  <a:gd name="connsiteY28" fmla="*/ 3508195 h 5633118"/>
                  <a:gd name="connsiteX29" fmla="*/ 1918706 w 1918706"/>
                  <a:gd name="connsiteY29" fmla="*/ 3515969 h 5633118"/>
                  <a:gd name="connsiteX30" fmla="*/ 1918706 w 1918706"/>
                  <a:gd name="connsiteY30" fmla="*/ 3574721 h 5633118"/>
                  <a:gd name="connsiteX31" fmla="*/ 1918706 w 1918706"/>
                  <a:gd name="connsiteY31" fmla="*/ 3587875 h 5633118"/>
                  <a:gd name="connsiteX32" fmla="*/ 1918706 w 1918706"/>
                  <a:gd name="connsiteY32" fmla="*/ 3595649 h 5633118"/>
                  <a:gd name="connsiteX33" fmla="*/ 1918706 w 1918706"/>
                  <a:gd name="connsiteY33" fmla="*/ 3997322 h 5633118"/>
                  <a:gd name="connsiteX34" fmla="*/ 1918706 w 1918706"/>
                  <a:gd name="connsiteY34" fmla="*/ 4010476 h 5633118"/>
                  <a:gd name="connsiteX35" fmla="*/ 1918706 w 1918706"/>
                  <a:gd name="connsiteY35" fmla="*/ 4069228 h 5633118"/>
                  <a:gd name="connsiteX36" fmla="*/ 1918706 w 1918706"/>
                  <a:gd name="connsiteY36" fmla="*/ 4090156 h 5633118"/>
                  <a:gd name="connsiteX37" fmla="*/ 1918706 w 1918706"/>
                  <a:gd name="connsiteY37" fmla="*/ 4097931 h 5633118"/>
                  <a:gd name="connsiteX38" fmla="*/ 1918706 w 1918706"/>
                  <a:gd name="connsiteY38" fmla="*/ 4491829 h 5633118"/>
                  <a:gd name="connsiteX39" fmla="*/ 1918706 w 1918706"/>
                  <a:gd name="connsiteY39" fmla="*/ 4579284 h 5633118"/>
                  <a:gd name="connsiteX40" fmla="*/ 1918706 w 1918706"/>
                  <a:gd name="connsiteY40" fmla="*/ 4592438 h 5633118"/>
                  <a:gd name="connsiteX41" fmla="*/ 1918706 w 1918706"/>
                  <a:gd name="connsiteY41" fmla="*/ 5073791 h 5633118"/>
                  <a:gd name="connsiteX42" fmla="*/ 959355 w 1918706"/>
                  <a:gd name="connsiteY42" fmla="*/ 5633118 h 5633118"/>
                  <a:gd name="connsiteX43" fmla="*/ 0 w 1918706"/>
                  <a:gd name="connsiteY43" fmla="*/ 5073791 h 5633118"/>
                  <a:gd name="connsiteX44" fmla="*/ 0 w 1918706"/>
                  <a:gd name="connsiteY44" fmla="*/ 4592438 h 5633118"/>
                  <a:gd name="connsiteX45" fmla="*/ 0 w 1918706"/>
                  <a:gd name="connsiteY45" fmla="*/ 4579284 h 5633118"/>
                  <a:gd name="connsiteX46" fmla="*/ 0 w 1918706"/>
                  <a:gd name="connsiteY46" fmla="*/ 4491829 h 5633118"/>
                  <a:gd name="connsiteX47" fmla="*/ 0 w 1918706"/>
                  <a:gd name="connsiteY47" fmla="*/ 4097931 h 5633118"/>
                  <a:gd name="connsiteX48" fmla="*/ 0 w 1918706"/>
                  <a:gd name="connsiteY48" fmla="*/ 4090156 h 5633118"/>
                  <a:gd name="connsiteX49" fmla="*/ 0 w 1918706"/>
                  <a:gd name="connsiteY49" fmla="*/ 4069228 h 5633118"/>
                  <a:gd name="connsiteX50" fmla="*/ 0 w 1918706"/>
                  <a:gd name="connsiteY50" fmla="*/ 4010476 h 5633118"/>
                  <a:gd name="connsiteX51" fmla="*/ 0 w 1918706"/>
                  <a:gd name="connsiteY51" fmla="*/ 3997322 h 5633118"/>
                  <a:gd name="connsiteX52" fmla="*/ 0 w 1918706"/>
                  <a:gd name="connsiteY52" fmla="*/ 3595649 h 5633118"/>
                  <a:gd name="connsiteX53" fmla="*/ 0 w 1918706"/>
                  <a:gd name="connsiteY53" fmla="*/ 3587875 h 5633118"/>
                  <a:gd name="connsiteX54" fmla="*/ 0 w 1918706"/>
                  <a:gd name="connsiteY54" fmla="*/ 3574721 h 5633118"/>
                  <a:gd name="connsiteX55" fmla="*/ 0 w 1918706"/>
                  <a:gd name="connsiteY55" fmla="*/ 3515969 h 5633118"/>
                  <a:gd name="connsiteX56" fmla="*/ 0 w 1918706"/>
                  <a:gd name="connsiteY56" fmla="*/ 3508195 h 5633118"/>
                  <a:gd name="connsiteX57" fmla="*/ 0 w 1918706"/>
                  <a:gd name="connsiteY57" fmla="*/ 3487266 h 5633118"/>
                  <a:gd name="connsiteX58" fmla="*/ 0 w 1918706"/>
                  <a:gd name="connsiteY5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076469 h 5633118"/>
                  <a:gd name="connsiteX5" fmla="*/ 1918706 w 1918706"/>
                  <a:gd name="connsiteY5" fmla="*/ 1491148 h 5633118"/>
                  <a:gd name="connsiteX6" fmla="*/ 1918706 w 1918706"/>
                  <a:gd name="connsiteY6" fmla="*/ 1499070 h 5633118"/>
                  <a:gd name="connsiteX7" fmla="*/ 1918706 w 1918706"/>
                  <a:gd name="connsiteY7" fmla="*/ 1506844 h 5633118"/>
                  <a:gd name="connsiteX8" fmla="*/ 1918706 w 1918706"/>
                  <a:gd name="connsiteY8" fmla="*/ 1563054 h 5633118"/>
                  <a:gd name="connsiteX9" fmla="*/ 1918706 w 1918706"/>
                  <a:gd name="connsiteY9" fmla="*/ 1586524 h 5633118"/>
                  <a:gd name="connsiteX10" fmla="*/ 1918706 w 1918706"/>
                  <a:gd name="connsiteY10" fmla="*/ 1985655 h 5633118"/>
                  <a:gd name="connsiteX11" fmla="*/ 1918706 w 1918706"/>
                  <a:gd name="connsiteY11" fmla="*/ 2001351 h 5633118"/>
                  <a:gd name="connsiteX12" fmla="*/ 1918706 w 1918706"/>
                  <a:gd name="connsiteY12" fmla="*/ 2009125 h 5633118"/>
                  <a:gd name="connsiteX13" fmla="*/ 1918706 w 1918706"/>
                  <a:gd name="connsiteY13" fmla="*/ 2073109 h 5633118"/>
                  <a:gd name="connsiteX14" fmla="*/ 1918706 w 1918706"/>
                  <a:gd name="connsiteY14" fmla="*/ 2081031 h 5633118"/>
                  <a:gd name="connsiteX15" fmla="*/ 1918706 w 1918706"/>
                  <a:gd name="connsiteY15" fmla="*/ 2088805 h 5633118"/>
                  <a:gd name="connsiteX16" fmla="*/ 1918706 w 1918706"/>
                  <a:gd name="connsiteY16" fmla="*/ 2503632 h 5633118"/>
                  <a:gd name="connsiteX17" fmla="*/ 1918706 w 1918706"/>
                  <a:gd name="connsiteY17" fmla="*/ 2511407 h 5633118"/>
                  <a:gd name="connsiteX18" fmla="*/ 1918706 w 1918706"/>
                  <a:gd name="connsiteY18" fmla="*/ 2567616 h 5633118"/>
                  <a:gd name="connsiteX19" fmla="*/ 1918706 w 1918706"/>
                  <a:gd name="connsiteY19" fmla="*/ 2583313 h 5633118"/>
                  <a:gd name="connsiteX20" fmla="*/ 1918706 w 1918706"/>
                  <a:gd name="connsiteY20" fmla="*/ 2591087 h 5633118"/>
                  <a:gd name="connsiteX21" fmla="*/ 1918706 w 1918706"/>
                  <a:gd name="connsiteY21" fmla="*/ 2992759 h 5633118"/>
                  <a:gd name="connsiteX22" fmla="*/ 1918706 w 1918706"/>
                  <a:gd name="connsiteY22" fmla="*/ 3005914 h 5633118"/>
                  <a:gd name="connsiteX23" fmla="*/ 1918706 w 1918706"/>
                  <a:gd name="connsiteY23" fmla="*/ 3013688 h 5633118"/>
                  <a:gd name="connsiteX24" fmla="*/ 1918706 w 1918706"/>
                  <a:gd name="connsiteY24" fmla="*/ 3085594 h 5633118"/>
                  <a:gd name="connsiteX25" fmla="*/ 1918706 w 1918706"/>
                  <a:gd name="connsiteY25" fmla="*/ 3093368 h 5633118"/>
                  <a:gd name="connsiteX26" fmla="*/ 1918706 w 1918706"/>
                  <a:gd name="connsiteY26" fmla="*/ 3487266 h 5633118"/>
                  <a:gd name="connsiteX27" fmla="*/ 1918706 w 1918706"/>
                  <a:gd name="connsiteY27" fmla="*/ 3508195 h 5633118"/>
                  <a:gd name="connsiteX28" fmla="*/ 1918706 w 1918706"/>
                  <a:gd name="connsiteY28" fmla="*/ 3515969 h 5633118"/>
                  <a:gd name="connsiteX29" fmla="*/ 1918706 w 1918706"/>
                  <a:gd name="connsiteY29" fmla="*/ 3574721 h 5633118"/>
                  <a:gd name="connsiteX30" fmla="*/ 1918706 w 1918706"/>
                  <a:gd name="connsiteY30" fmla="*/ 3587875 h 5633118"/>
                  <a:gd name="connsiteX31" fmla="*/ 1918706 w 1918706"/>
                  <a:gd name="connsiteY31" fmla="*/ 3595649 h 5633118"/>
                  <a:gd name="connsiteX32" fmla="*/ 1918706 w 1918706"/>
                  <a:gd name="connsiteY32" fmla="*/ 3997322 h 5633118"/>
                  <a:gd name="connsiteX33" fmla="*/ 1918706 w 1918706"/>
                  <a:gd name="connsiteY33" fmla="*/ 4010476 h 5633118"/>
                  <a:gd name="connsiteX34" fmla="*/ 1918706 w 1918706"/>
                  <a:gd name="connsiteY34" fmla="*/ 4069228 h 5633118"/>
                  <a:gd name="connsiteX35" fmla="*/ 1918706 w 1918706"/>
                  <a:gd name="connsiteY35" fmla="*/ 4090156 h 5633118"/>
                  <a:gd name="connsiteX36" fmla="*/ 1918706 w 1918706"/>
                  <a:gd name="connsiteY36" fmla="*/ 4097931 h 5633118"/>
                  <a:gd name="connsiteX37" fmla="*/ 1918706 w 1918706"/>
                  <a:gd name="connsiteY37" fmla="*/ 4491829 h 5633118"/>
                  <a:gd name="connsiteX38" fmla="*/ 1918706 w 1918706"/>
                  <a:gd name="connsiteY38" fmla="*/ 4579284 h 5633118"/>
                  <a:gd name="connsiteX39" fmla="*/ 1918706 w 1918706"/>
                  <a:gd name="connsiteY39" fmla="*/ 4592438 h 5633118"/>
                  <a:gd name="connsiteX40" fmla="*/ 1918706 w 1918706"/>
                  <a:gd name="connsiteY40" fmla="*/ 5073791 h 5633118"/>
                  <a:gd name="connsiteX41" fmla="*/ 959355 w 1918706"/>
                  <a:gd name="connsiteY41" fmla="*/ 5633118 h 5633118"/>
                  <a:gd name="connsiteX42" fmla="*/ 0 w 1918706"/>
                  <a:gd name="connsiteY42" fmla="*/ 5073791 h 5633118"/>
                  <a:gd name="connsiteX43" fmla="*/ 0 w 1918706"/>
                  <a:gd name="connsiteY43" fmla="*/ 4592438 h 5633118"/>
                  <a:gd name="connsiteX44" fmla="*/ 0 w 1918706"/>
                  <a:gd name="connsiteY44" fmla="*/ 4579284 h 5633118"/>
                  <a:gd name="connsiteX45" fmla="*/ 0 w 1918706"/>
                  <a:gd name="connsiteY45" fmla="*/ 4491829 h 5633118"/>
                  <a:gd name="connsiteX46" fmla="*/ 0 w 1918706"/>
                  <a:gd name="connsiteY46" fmla="*/ 4097931 h 5633118"/>
                  <a:gd name="connsiteX47" fmla="*/ 0 w 1918706"/>
                  <a:gd name="connsiteY47" fmla="*/ 4090156 h 5633118"/>
                  <a:gd name="connsiteX48" fmla="*/ 0 w 1918706"/>
                  <a:gd name="connsiteY48" fmla="*/ 4069228 h 5633118"/>
                  <a:gd name="connsiteX49" fmla="*/ 0 w 1918706"/>
                  <a:gd name="connsiteY49" fmla="*/ 4010476 h 5633118"/>
                  <a:gd name="connsiteX50" fmla="*/ 0 w 1918706"/>
                  <a:gd name="connsiteY50" fmla="*/ 3997322 h 5633118"/>
                  <a:gd name="connsiteX51" fmla="*/ 0 w 1918706"/>
                  <a:gd name="connsiteY51" fmla="*/ 3595649 h 5633118"/>
                  <a:gd name="connsiteX52" fmla="*/ 0 w 1918706"/>
                  <a:gd name="connsiteY52" fmla="*/ 3587875 h 5633118"/>
                  <a:gd name="connsiteX53" fmla="*/ 0 w 1918706"/>
                  <a:gd name="connsiteY53" fmla="*/ 3574721 h 5633118"/>
                  <a:gd name="connsiteX54" fmla="*/ 0 w 1918706"/>
                  <a:gd name="connsiteY54" fmla="*/ 3515969 h 5633118"/>
                  <a:gd name="connsiteX55" fmla="*/ 0 w 1918706"/>
                  <a:gd name="connsiteY55" fmla="*/ 3508195 h 5633118"/>
                  <a:gd name="connsiteX56" fmla="*/ 0 w 1918706"/>
                  <a:gd name="connsiteY56" fmla="*/ 3487266 h 5633118"/>
                  <a:gd name="connsiteX57" fmla="*/ 0 w 1918706"/>
                  <a:gd name="connsiteY5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491148 h 5633118"/>
                  <a:gd name="connsiteX5" fmla="*/ 1918706 w 1918706"/>
                  <a:gd name="connsiteY5" fmla="*/ 1499070 h 5633118"/>
                  <a:gd name="connsiteX6" fmla="*/ 1918706 w 1918706"/>
                  <a:gd name="connsiteY6" fmla="*/ 1506844 h 5633118"/>
                  <a:gd name="connsiteX7" fmla="*/ 1918706 w 1918706"/>
                  <a:gd name="connsiteY7" fmla="*/ 1563054 h 5633118"/>
                  <a:gd name="connsiteX8" fmla="*/ 1918706 w 1918706"/>
                  <a:gd name="connsiteY8" fmla="*/ 1586524 h 5633118"/>
                  <a:gd name="connsiteX9" fmla="*/ 1918706 w 1918706"/>
                  <a:gd name="connsiteY9" fmla="*/ 1985655 h 5633118"/>
                  <a:gd name="connsiteX10" fmla="*/ 1918706 w 1918706"/>
                  <a:gd name="connsiteY10" fmla="*/ 2001351 h 5633118"/>
                  <a:gd name="connsiteX11" fmla="*/ 1918706 w 1918706"/>
                  <a:gd name="connsiteY11" fmla="*/ 2009125 h 5633118"/>
                  <a:gd name="connsiteX12" fmla="*/ 1918706 w 1918706"/>
                  <a:gd name="connsiteY12" fmla="*/ 2073109 h 5633118"/>
                  <a:gd name="connsiteX13" fmla="*/ 1918706 w 1918706"/>
                  <a:gd name="connsiteY13" fmla="*/ 2081031 h 5633118"/>
                  <a:gd name="connsiteX14" fmla="*/ 1918706 w 1918706"/>
                  <a:gd name="connsiteY14" fmla="*/ 2088805 h 5633118"/>
                  <a:gd name="connsiteX15" fmla="*/ 1918706 w 1918706"/>
                  <a:gd name="connsiteY15" fmla="*/ 2503632 h 5633118"/>
                  <a:gd name="connsiteX16" fmla="*/ 1918706 w 1918706"/>
                  <a:gd name="connsiteY16" fmla="*/ 2511407 h 5633118"/>
                  <a:gd name="connsiteX17" fmla="*/ 1918706 w 1918706"/>
                  <a:gd name="connsiteY17" fmla="*/ 2567616 h 5633118"/>
                  <a:gd name="connsiteX18" fmla="*/ 1918706 w 1918706"/>
                  <a:gd name="connsiteY18" fmla="*/ 2583313 h 5633118"/>
                  <a:gd name="connsiteX19" fmla="*/ 1918706 w 1918706"/>
                  <a:gd name="connsiteY19" fmla="*/ 2591087 h 5633118"/>
                  <a:gd name="connsiteX20" fmla="*/ 1918706 w 1918706"/>
                  <a:gd name="connsiteY20" fmla="*/ 2992759 h 5633118"/>
                  <a:gd name="connsiteX21" fmla="*/ 1918706 w 1918706"/>
                  <a:gd name="connsiteY21" fmla="*/ 3005914 h 5633118"/>
                  <a:gd name="connsiteX22" fmla="*/ 1918706 w 1918706"/>
                  <a:gd name="connsiteY22" fmla="*/ 3013688 h 5633118"/>
                  <a:gd name="connsiteX23" fmla="*/ 1918706 w 1918706"/>
                  <a:gd name="connsiteY23" fmla="*/ 3085594 h 5633118"/>
                  <a:gd name="connsiteX24" fmla="*/ 1918706 w 1918706"/>
                  <a:gd name="connsiteY24" fmla="*/ 3093368 h 5633118"/>
                  <a:gd name="connsiteX25" fmla="*/ 1918706 w 1918706"/>
                  <a:gd name="connsiteY25" fmla="*/ 3487266 h 5633118"/>
                  <a:gd name="connsiteX26" fmla="*/ 1918706 w 1918706"/>
                  <a:gd name="connsiteY26" fmla="*/ 3508195 h 5633118"/>
                  <a:gd name="connsiteX27" fmla="*/ 1918706 w 1918706"/>
                  <a:gd name="connsiteY27" fmla="*/ 3515969 h 5633118"/>
                  <a:gd name="connsiteX28" fmla="*/ 1918706 w 1918706"/>
                  <a:gd name="connsiteY28" fmla="*/ 3574721 h 5633118"/>
                  <a:gd name="connsiteX29" fmla="*/ 1918706 w 1918706"/>
                  <a:gd name="connsiteY29" fmla="*/ 3587875 h 5633118"/>
                  <a:gd name="connsiteX30" fmla="*/ 1918706 w 1918706"/>
                  <a:gd name="connsiteY30" fmla="*/ 3595649 h 5633118"/>
                  <a:gd name="connsiteX31" fmla="*/ 1918706 w 1918706"/>
                  <a:gd name="connsiteY31" fmla="*/ 3997322 h 5633118"/>
                  <a:gd name="connsiteX32" fmla="*/ 1918706 w 1918706"/>
                  <a:gd name="connsiteY32" fmla="*/ 4010476 h 5633118"/>
                  <a:gd name="connsiteX33" fmla="*/ 1918706 w 1918706"/>
                  <a:gd name="connsiteY33" fmla="*/ 4069228 h 5633118"/>
                  <a:gd name="connsiteX34" fmla="*/ 1918706 w 1918706"/>
                  <a:gd name="connsiteY34" fmla="*/ 4090156 h 5633118"/>
                  <a:gd name="connsiteX35" fmla="*/ 1918706 w 1918706"/>
                  <a:gd name="connsiteY35" fmla="*/ 4097931 h 5633118"/>
                  <a:gd name="connsiteX36" fmla="*/ 1918706 w 1918706"/>
                  <a:gd name="connsiteY36" fmla="*/ 4491829 h 5633118"/>
                  <a:gd name="connsiteX37" fmla="*/ 1918706 w 1918706"/>
                  <a:gd name="connsiteY37" fmla="*/ 4579284 h 5633118"/>
                  <a:gd name="connsiteX38" fmla="*/ 1918706 w 1918706"/>
                  <a:gd name="connsiteY38" fmla="*/ 4592438 h 5633118"/>
                  <a:gd name="connsiteX39" fmla="*/ 1918706 w 1918706"/>
                  <a:gd name="connsiteY39" fmla="*/ 5073791 h 5633118"/>
                  <a:gd name="connsiteX40" fmla="*/ 959355 w 1918706"/>
                  <a:gd name="connsiteY40" fmla="*/ 5633118 h 5633118"/>
                  <a:gd name="connsiteX41" fmla="*/ 0 w 1918706"/>
                  <a:gd name="connsiteY41" fmla="*/ 5073791 h 5633118"/>
                  <a:gd name="connsiteX42" fmla="*/ 0 w 1918706"/>
                  <a:gd name="connsiteY42" fmla="*/ 4592438 h 5633118"/>
                  <a:gd name="connsiteX43" fmla="*/ 0 w 1918706"/>
                  <a:gd name="connsiteY43" fmla="*/ 4579284 h 5633118"/>
                  <a:gd name="connsiteX44" fmla="*/ 0 w 1918706"/>
                  <a:gd name="connsiteY44" fmla="*/ 4491829 h 5633118"/>
                  <a:gd name="connsiteX45" fmla="*/ 0 w 1918706"/>
                  <a:gd name="connsiteY45" fmla="*/ 4097931 h 5633118"/>
                  <a:gd name="connsiteX46" fmla="*/ 0 w 1918706"/>
                  <a:gd name="connsiteY46" fmla="*/ 4090156 h 5633118"/>
                  <a:gd name="connsiteX47" fmla="*/ 0 w 1918706"/>
                  <a:gd name="connsiteY47" fmla="*/ 4069228 h 5633118"/>
                  <a:gd name="connsiteX48" fmla="*/ 0 w 1918706"/>
                  <a:gd name="connsiteY48" fmla="*/ 4010476 h 5633118"/>
                  <a:gd name="connsiteX49" fmla="*/ 0 w 1918706"/>
                  <a:gd name="connsiteY49" fmla="*/ 3997322 h 5633118"/>
                  <a:gd name="connsiteX50" fmla="*/ 0 w 1918706"/>
                  <a:gd name="connsiteY50" fmla="*/ 3595649 h 5633118"/>
                  <a:gd name="connsiteX51" fmla="*/ 0 w 1918706"/>
                  <a:gd name="connsiteY51" fmla="*/ 3587875 h 5633118"/>
                  <a:gd name="connsiteX52" fmla="*/ 0 w 1918706"/>
                  <a:gd name="connsiteY52" fmla="*/ 3574721 h 5633118"/>
                  <a:gd name="connsiteX53" fmla="*/ 0 w 1918706"/>
                  <a:gd name="connsiteY53" fmla="*/ 3515969 h 5633118"/>
                  <a:gd name="connsiteX54" fmla="*/ 0 w 1918706"/>
                  <a:gd name="connsiteY54" fmla="*/ 3508195 h 5633118"/>
                  <a:gd name="connsiteX55" fmla="*/ 0 w 1918706"/>
                  <a:gd name="connsiteY55" fmla="*/ 3487266 h 5633118"/>
                  <a:gd name="connsiteX56" fmla="*/ 0 w 1918706"/>
                  <a:gd name="connsiteY5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06844 h 5633118"/>
                  <a:gd name="connsiteX6" fmla="*/ 1918706 w 1918706"/>
                  <a:gd name="connsiteY6" fmla="*/ 1563054 h 5633118"/>
                  <a:gd name="connsiteX7" fmla="*/ 1918706 w 1918706"/>
                  <a:gd name="connsiteY7" fmla="*/ 1586524 h 5633118"/>
                  <a:gd name="connsiteX8" fmla="*/ 1918706 w 1918706"/>
                  <a:gd name="connsiteY8" fmla="*/ 1985655 h 5633118"/>
                  <a:gd name="connsiteX9" fmla="*/ 1918706 w 1918706"/>
                  <a:gd name="connsiteY9" fmla="*/ 2001351 h 5633118"/>
                  <a:gd name="connsiteX10" fmla="*/ 1918706 w 1918706"/>
                  <a:gd name="connsiteY10" fmla="*/ 2009125 h 5633118"/>
                  <a:gd name="connsiteX11" fmla="*/ 1918706 w 1918706"/>
                  <a:gd name="connsiteY11" fmla="*/ 2073109 h 5633118"/>
                  <a:gd name="connsiteX12" fmla="*/ 1918706 w 1918706"/>
                  <a:gd name="connsiteY12" fmla="*/ 2081031 h 5633118"/>
                  <a:gd name="connsiteX13" fmla="*/ 1918706 w 1918706"/>
                  <a:gd name="connsiteY13" fmla="*/ 2088805 h 5633118"/>
                  <a:gd name="connsiteX14" fmla="*/ 1918706 w 1918706"/>
                  <a:gd name="connsiteY14" fmla="*/ 2503632 h 5633118"/>
                  <a:gd name="connsiteX15" fmla="*/ 1918706 w 1918706"/>
                  <a:gd name="connsiteY15" fmla="*/ 2511407 h 5633118"/>
                  <a:gd name="connsiteX16" fmla="*/ 1918706 w 1918706"/>
                  <a:gd name="connsiteY16" fmla="*/ 2567616 h 5633118"/>
                  <a:gd name="connsiteX17" fmla="*/ 1918706 w 1918706"/>
                  <a:gd name="connsiteY17" fmla="*/ 2583313 h 5633118"/>
                  <a:gd name="connsiteX18" fmla="*/ 1918706 w 1918706"/>
                  <a:gd name="connsiteY18" fmla="*/ 2591087 h 5633118"/>
                  <a:gd name="connsiteX19" fmla="*/ 1918706 w 1918706"/>
                  <a:gd name="connsiteY19" fmla="*/ 2992759 h 5633118"/>
                  <a:gd name="connsiteX20" fmla="*/ 1918706 w 1918706"/>
                  <a:gd name="connsiteY20" fmla="*/ 3005914 h 5633118"/>
                  <a:gd name="connsiteX21" fmla="*/ 1918706 w 1918706"/>
                  <a:gd name="connsiteY21" fmla="*/ 3013688 h 5633118"/>
                  <a:gd name="connsiteX22" fmla="*/ 1918706 w 1918706"/>
                  <a:gd name="connsiteY22" fmla="*/ 3085594 h 5633118"/>
                  <a:gd name="connsiteX23" fmla="*/ 1918706 w 1918706"/>
                  <a:gd name="connsiteY23" fmla="*/ 3093368 h 5633118"/>
                  <a:gd name="connsiteX24" fmla="*/ 1918706 w 1918706"/>
                  <a:gd name="connsiteY24" fmla="*/ 3487266 h 5633118"/>
                  <a:gd name="connsiteX25" fmla="*/ 1918706 w 1918706"/>
                  <a:gd name="connsiteY25" fmla="*/ 3508195 h 5633118"/>
                  <a:gd name="connsiteX26" fmla="*/ 1918706 w 1918706"/>
                  <a:gd name="connsiteY26" fmla="*/ 3515969 h 5633118"/>
                  <a:gd name="connsiteX27" fmla="*/ 1918706 w 1918706"/>
                  <a:gd name="connsiteY27" fmla="*/ 3574721 h 5633118"/>
                  <a:gd name="connsiteX28" fmla="*/ 1918706 w 1918706"/>
                  <a:gd name="connsiteY28" fmla="*/ 3587875 h 5633118"/>
                  <a:gd name="connsiteX29" fmla="*/ 1918706 w 1918706"/>
                  <a:gd name="connsiteY29" fmla="*/ 3595649 h 5633118"/>
                  <a:gd name="connsiteX30" fmla="*/ 1918706 w 1918706"/>
                  <a:gd name="connsiteY30" fmla="*/ 3997322 h 5633118"/>
                  <a:gd name="connsiteX31" fmla="*/ 1918706 w 1918706"/>
                  <a:gd name="connsiteY31" fmla="*/ 4010476 h 5633118"/>
                  <a:gd name="connsiteX32" fmla="*/ 1918706 w 1918706"/>
                  <a:gd name="connsiteY32" fmla="*/ 4069228 h 5633118"/>
                  <a:gd name="connsiteX33" fmla="*/ 1918706 w 1918706"/>
                  <a:gd name="connsiteY33" fmla="*/ 4090156 h 5633118"/>
                  <a:gd name="connsiteX34" fmla="*/ 1918706 w 1918706"/>
                  <a:gd name="connsiteY34" fmla="*/ 4097931 h 5633118"/>
                  <a:gd name="connsiteX35" fmla="*/ 1918706 w 1918706"/>
                  <a:gd name="connsiteY35" fmla="*/ 4491829 h 5633118"/>
                  <a:gd name="connsiteX36" fmla="*/ 1918706 w 1918706"/>
                  <a:gd name="connsiteY36" fmla="*/ 4579284 h 5633118"/>
                  <a:gd name="connsiteX37" fmla="*/ 1918706 w 1918706"/>
                  <a:gd name="connsiteY37" fmla="*/ 4592438 h 5633118"/>
                  <a:gd name="connsiteX38" fmla="*/ 1918706 w 1918706"/>
                  <a:gd name="connsiteY38" fmla="*/ 5073791 h 5633118"/>
                  <a:gd name="connsiteX39" fmla="*/ 959355 w 1918706"/>
                  <a:gd name="connsiteY39" fmla="*/ 5633118 h 5633118"/>
                  <a:gd name="connsiteX40" fmla="*/ 0 w 1918706"/>
                  <a:gd name="connsiteY40" fmla="*/ 5073791 h 5633118"/>
                  <a:gd name="connsiteX41" fmla="*/ 0 w 1918706"/>
                  <a:gd name="connsiteY41" fmla="*/ 4592438 h 5633118"/>
                  <a:gd name="connsiteX42" fmla="*/ 0 w 1918706"/>
                  <a:gd name="connsiteY42" fmla="*/ 4579284 h 5633118"/>
                  <a:gd name="connsiteX43" fmla="*/ 0 w 1918706"/>
                  <a:gd name="connsiteY43" fmla="*/ 4491829 h 5633118"/>
                  <a:gd name="connsiteX44" fmla="*/ 0 w 1918706"/>
                  <a:gd name="connsiteY44" fmla="*/ 4097931 h 5633118"/>
                  <a:gd name="connsiteX45" fmla="*/ 0 w 1918706"/>
                  <a:gd name="connsiteY45" fmla="*/ 4090156 h 5633118"/>
                  <a:gd name="connsiteX46" fmla="*/ 0 w 1918706"/>
                  <a:gd name="connsiteY46" fmla="*/ 4069228 h 5633118"/>
                  <a:gd name="connsiteX47" fmla="*/ 0 w 1918706"/>
                  <a:gd name="connsiteY47" fmla="*/ 4010476 h 5633118"/>
                  <a:gd name="connsiteX48" fmla="*/ 0 w 1918706"/>
                  <a:gd name="connsiteY48" fmla="*/ 3997322 h 5633118"/>
                  <a:gd name="connsiteX49" fmla="*/ 0 w 1918706"/>
                  <a:gd name="connsiteY49" fmla="*/ 3595649 h 5633118"/>
                  <a:gd name="connsiteX50" fmla="*/ 0 w 1918706"/>
                  <a:gd name="connsiteY50" fmla="*/ 3587875 h 5633118"/>
                  <a:gd name="connsiteX51" fmla="*/ 0 w 1918706"/>
                  <a:gd name="connsiteY51" fmla="*/ 3574721 h 5633118"/>
                  <a:gd name="connsiteX52" fmla="*/ 0 w 1918706"/>
                  <a:gd name="connsiteY52" fmla="*/ 3515969 h 5633118"/>
                  <a:gd name="connsiteX53" fmla="*/ 0 w 1918706"/>
                  <a:gd name="connsiteY53" fmla="*/ 3508195 h 5633118"/>
                  <a:gd name="connsiteX54" fmla="*/ 0 w 1918706"/>
                  <a:gd name="connsiteY54" fmla="*/ 3487266 h 5633118"/>
                  <a:gd name="connsiteX55" fmla="*/ 0 w 1918706"/>
                  <a:gd name="connsiteY5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63054 h 5633118"/>
                  <a:gd name="connsiteX6" fmla="*/ 1918706 w 1918706"/>
                  <a:gd name="connsiteY6" fmla="*/ 1586524 h 5633118"/>
                  <a:gd name="connsiteX7" fmla="*/ 1918706 w 1918706"/>
                  <a:gd name="connsiteY7" fmla="*/ 1985655 h 5633118"/>
                  <a:gd name="connsiteX8" fmla="*/ 1918706 w 1918706"/>
                  <a:gd name="connsiteY8" fmla="*/ 2001351 h 5633118"/>
                  <a:gd name="connsiteX9" fmla="*/ 1918706 w 1918706"/>
                  <a:gd name="connsiteY9" fmla="*/ 2009125 h 5633118"/>
                  <a:gd name="connsiteX10" fmla="*/ 1918706 w 1918706"/>
                  <a:gd name="connsiteY10" fmla="*/ 2073109 h 5633118"/>
                  <a:gd name="connsiteX11" fmla="*/ 1918706 w 1918706"/>
                  <a:gd name="connsiteY11" fmla="*/ 2081031 h 5633118"/>
                  <a:gd name="connsiteX12" fmla="*/ 1918706 w 1918706"/>
                  <a:gd name="connsiteY12" fmla="*/ 2088805 h 5633118"/>
                  <a:gd name="connsiteX13" fmla="*/ 1918706 w 1918706"/>
                  <a:gd name="connsiteY13" fmla="*/ 2503632 h 5633118"/>
                  <a:gd name="connsiteX14" fmla="*/ 1918706 w 1918706"/>
                  <a:gd name="connsiteY14" fmla="*/ 2511407 h 5633118"/>
                  <a:gd name="connsiteX15" fmla="*/ 1918706 w 1918706"/>
                  <a:gd name="connsiteY15" fmla="*/ 2567616 h 5633118"/>
                  <a:gd name="connsiteX16" fmla="*/ 1918706 w 1918706"/>
                  <a:gd name="connsiteY16" fmla="*/ 2583313 h 5633118"/>
                  <a:gd name="connsiteX17" fmla="*/ 1918706 w 1918706"/>
                  <a:gd name="connsiteY17" fmla="*/ 2591087 h 5633118"/>
                  <a:gd name="connsiteX18" fmla="*/ 1918706 w 1918706"/>
                  <a:gd name="connsiteY18" fmla="*/ 2992759 h 5633118"/>
                  <a:gd name="connsiteX19" fmla="*/ 1918706 w 1918706"/>
                  <a:gd name="connsiteY19" fmla="*/ 3005914 h 5633118"/>
                  <a:gd name="connsiteX20" fmla="*/ 1918706 w 1918706"/>
                  <a:gd name="connsiteY20" fmla="*/ 3013688 h 5633118"/>
                  <a:gd name="connsiteX21" fmla="*/ 1918706 w 1918706"/>
                  <a:gd name="connsiteY21" fmla="*/ 3085594 h 5633118"/>
                  <a:gd name="connsiteX22" fmla="*/ 1918706 w 1918706"/>
                  <a:gd name="connsiteY22" fmla="*/ 3093368 h 5633118"/>
                  <a:gd name="connsiteX23" fmla="*/ 1918706 w 1918706"/>
                  <a:gd name="connsiteY23" fmla="*/ 3487266 h 5633118"/>
                  <a:gd name="connsiteX24" fmla="*/ 1918706 w 1918706"/>
                  <a:gd name="connsiteY24" fmla="*/ 3508195 h 5633118"/>
                  <a:gd name="connsiteX25" fmla="*/ 1918706 w 1918706"/>
                  <a:gd name="connsiteY25" fmla="*/ 3515969 h 5633118"/>
                  <a:gd name="connsiteX26" fmla="*/ 1918706 w 1918706"/>
                  <a:gd name="connsiteY26" fmla="*/ 3574721 h 5633118"/>
                  <a:gd name="connsiteX27" fmla="*/ 1918706 w 1918706"/>
                  <a:gd name="connsiteY27" fmla="*/ 3587875 h 5633118"/>
                  <a:gd name="connsiteX28" fmla="*/ 1918706 w 1918706"/>
                  <a:gd name="connsiteY28" fmla="*/ 3595649 h 5633118"/>
                  <a:gd name="connsiteX29" fmla="*/ 1918706 w 1918706"/>
                  <a:gd name="connsiteY29" fmla="*/ 3997322 h 5633118"/>
                  <a:gd name="connsiteX30" fmla="*/ 1918706 w 1918706"/>
                  <a:gd name="connsiteY30" fmla="*/ 4010476 h 5633118"/>
                  <a:gd name="connsiteX31" fmla="*/ 1918706 w 1918706"/>
                  <a:gd name="connsiteY31" fmla="*/ 4069228 h 5633118"/>
                  <a:gd name="connsiteX32" fmla="*/ 1918706 w 1918706"/>
                  <a:gd name="connsiteY32" fmla="*/ 4090156 h 5633118"/>
                  <a:gd name="connsiteX33" fmla="*/ 1918706 w 1918706"/>
                  <a:gd name="connsiteY33" fmla="*/ 4097931 h 5633118"/>
                  <a:gd name="connsiteX34" fmla="*/ 1918706 w 1918706"/>
                  <a:gd name="connsiteY34" fmla="*/ 4491829 h 5633118"/>
                  <a:gd name="connsiteX35" fmla="*/ 1918706 w 1918706"/>
                  <a:gd name="connsiteY35" fmla="*/ 4579284 h 5633118"/>
                  <a:gd name="connsiteX36" fmla="*/ 1918706 w 1918706"/>
                  <a:gd name="connsiteY36" fmla="*/ 4592438 h 5633118"/>
                  <a:gd name="connsiteX37" fmla="*/ 1918706 w 1918706"/>
                  <a:gd name="connsiteY37" fmla="*/ 5073791 h 5633118"/>
                  <a:gd name="connsiteX38" fmla="*/ 959355 w 1918706"/>
                  <a:gd name="connsiteY38" fmla="*/ 5633118 h 5633118"/>
                  <a:gd name="connsiteX39" fmla="*/ 0 w 1918706"/>
                  <a:gd name="connsiteY39" fmla="*/ 5073791 h 5633118"/>
                  <a:gd name="connsiteX40" fmla="*/ 0 w 1918706"/>
                  <a:gd name="connsiteY40" fmla="*/ 4592438 h 5633118"/>
                  <a:gd name="connsiteX41" fmla="*/ 0 w 1918706"/>
                  <a:gd name="connsiteY41" fmla="*/ 4579284 h 5633118"/>
                  <a:gd name="connsiteX42" fmla="*/ 0 w 1918706"/>
                  <a:gd name="connsiteY42" fmla="*/ 4491829 h 5633118"/>
                  <a:gd name="connsiteX43" fmla="*/ 0 w 1918706"/>
                  <a:gd name="connsiteY43" fmla="*/ 4097931 h 5633118"/>
                  <a:gd name="connsiteX44" fmla="*/ 0 w 1918706"/>
                  <a:gd name="connsiteY44" fmla="*/ 4090156 h 5633118"/>
                  <a:gd name="connsiteX45" fmla="*/ 0 w 1918706"/>
                  <a:gd name="connsiteY45" fmla="*/ 4069228 h 5633118"/>
                  <a:gd name="connsiteX46" fmla="*/ 0 w 1918706"/>
                  <a:gd name="connsiteY46" fmla="*/ 4010476 h 5633118"/>
                  <a:gd name="connsiteX47" fmla="*/ 0 w 1918706"/>
                  <a:gd name="connsiteY47" fmla="*/ 3997322 h 5633118"/>
                  <a:gd name="connsiteX48" fmla="*/ 0 w 1918706"/>
                  <a:gd name="connsiteY48" fmla="*/ 3595649 h 5633118"/>
                  <a:gd name="connsiteX49" fmla="*/ 0 w 1918706"/>
                  <a:gd name="connsiteY49" fmla="*/ 3587875 h 5633118"/>
                  <a:gd name="connsiteX50" fmla="*/ 0 w 1918706"/>
                  <a:gd name="connsiteY50" fmla="*/ 3574721 h 5633118"/>
                  <a:gd name="connsiteX51" fmla="*/ 0 w 1918706"/>
                  <a:gd name="connsiteY51" fmla="*/ 3515969 h 5633118"/>
                  <a:gd name="connsiteX52" fmla="*/ 0 w 1918706"/>
                  <a:gd name="connsiteY52" fmla="*/ 3508195 h 5633118"/>
                  <a:gd name="connsiteX53" fmla="*/ 0 w 1918706"/>
                  <a:gd name="connsiteY53" fmla="*/ 3487266 h 5633118"/>
                  <a:gd name="connsiteX54" fmla="*/ 0 w 1918706"/>
                  <a:gd name="connsiteY5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563054 h 5633118"/>
                  <a:gd name="connsiteX5" fmla="*/ 1918706 w 1918706"/>
                  <a:gd name="connsiteY5" fmla="*/ 1586524 h 5633118"/>
                  <a:gd name="connsiteX6" fmla="*/ 1918706 w 1918706"/>
                  <a:gd name="connsiteY6" fmla="*/ 1985655 h 5633118"/>
                  <a:gd name="connsiteX7" fmla="*/ 1918706 w 1918706"/>
                  <a:gd name="connsiteY7" fmla="*/ 2001351 h 5633118"/>
                  <a:gd name="connsiteX8" fmla="*/ 1918706 w 1918706"/>
                  <a:gd name="connsiteY8" fmla="*/ 2009125 h 5633118"/>
                  <a:gd name="connsiteX9" fmla="*/ 1918706 w 1918706"/>
                  <a:gd name="connsiteY9" fmla="*/ 2073109 h 5633118"/>
                  <a:gd name="connsiteX10" fmla="*/ 1918706 w 1918706"/>
                  <a:gd name="connsiteY10" fmla="*/ 2081031 h 5633118"/>
                  <a:gd name="connsiteX11" fmla="*/ 1918706 w 1918706"/>
                  <a:gd name="connsiteY11" fmla="*/ 2088805 h 5633118"/>
                  <a:gd name="connsiteX12" fmla="*/ 1918706 w 1918706"/>
                  <a:gd name="connsiteY12" fmla="*/ 2503632 h 5633118"/>
                  <a:gd name="connsiteX13" fmla="*/ 1918706 w 1918706"/>
                  <a:gd name="connsiteY13" fmla="*/ 2511407 h 5633118"/>
                  <a:gd name="connsiteX14" fmla="*/ 1918706 w 1918706"/>
                  <a:gd name="connsiteY14" fmla="*/ 2567616 h 5633118"/>
                  <a:gd name="connsiteX15" fmla="*/ 1918706 w 1918706"/>
                  <a:gd name="connsiteY15" fmla="*/ 2583313 h 5633118"/>
                  <a:gd name="connsiteX16" fmla="*/ 1918706 w 1918706"/>
                  <a:gd name="connsiteY16" fmla="*/ 2591087 h 5633118"/>
                  <a:gd name="connsiteX17" fmla="*/ 1918706 w 1918706"/>
                  <a:gd name="connsiteY17" fmla="*/ 2992759 h 5633118"/>
                  <a:gd name="connsiteX18" fmla="*/ 1918706 w 1918706"/>
                  <a:gd name="connsiteY18" fmla="*/ 3005914 h 5633118"/>
                  <a:gd name="connsiteX19" fmla="*/ 1918706 w 1918706"/>
                  <a:gd name="connsiteY19" fmla="*/ 3013688 h 5633118"/>
                  <a:gd name="connsiteX20" fmla="*/ 1918706 w 1918706"/>
                  <a:gd name="connsiteY20" fmla="*/ 3085594 h 5633118"/>
                  <a:gd name="connsiteX21" fmla="*/ 1918706 w 1918706"/>
                  <a:gd name="connsiteY21" fmla="*/ 3093368 h 5633118"/>
                  <a:gd name="connsiteX22" fmla="*/ 1918706 w 1918706"/>
                  <a:gd name="connsiteY22" fmla="*/ 3487266 h 5633118"/>
                  <a:gd name="connsiteX23" fmla="*/ 1918706 w 1918706"/>
                  <a:gd name="connsiteY23" fmla="*/ 3508195 h 5633118"/>
                  <a:gd name="connsiteX24" fmla="*/ 1918706 w 1918706"/>
                  <a:gd name="connsiteY24" fmla="*/ 3515969 h 5633118"/>
                  <a:gd name="connsiteX25" fmla="*/ 1918706 w 1918706"/>
                  <a:gd name="connsiteY25" fmla="*/ 3574721 h 5633118"/>
                  <a:gd name="connsiteX26" fmla="*/ 1918706 w 1918706"/>
                  <a:gd name="connsiteY26" fmla="*/ 3587875 h 5633118"/>
                  <a:gd name="connsiteX27" fmla="*/ 1918706 w 1918706"/>
                  <a:gd name="connsiteY27" fmla="*/ 3595649 h 5633118"/>
                  <a:gd name="connsiteX28" fmla="*/ 1918706 w 1918706"/>
                  <a:gd name="connsiteY28" fmla="*/ 3997322 h 5633118"/>
                  <a:gd name="connsiteX29" fmla="*/ 1918706 w 1918706"/>
                  <a:gd name="connsiteY29" fmla="*/ 4010476 h 5633118"/>
                  <a:gd name="connsiteX30" fmla="*/ 1918706 w 1918706"/>
                  <a:gd name="connsiteY30" fmla="*/ 4069228 h 5633118"/>
                  <a:gd name="connsiteX31" fmla="*/ 1918706 w 1918706"/>
                  <a:gd name="connsiteY31" fmla="*/ 4090156 h 5633118"/>
                  <a:gd name="connsiteX32" fmla="*/ 1918706 w 1918706"/>
                  <a:gd name="connsiteY32" fmla="*/ 4097931 h 5633118"/>
                  <a:gd name="connsiteX33" fmla="*/ 1918706 w 1918706"/>
                  <a:gd name="connsiteY33" fmla="*/ 4491829 h 5633118"/>
                  <a:gd name="connsiteX34" fmla="*/ 1918706 w 1918706"/>
                  <a:gd name="connsiteY34" fmla="*/ 4579284 h 5633118"/>
                  <a:gd name="connsiteX35" fmla="*/ 1918706 w 1918706"/>
                  <a:gd name="connsiteY35" fmla="*/ 4592438 h 5633118"/>
                  <a:gd name="connsiteX36" fmla="*/ 1918706 w 1918706"/>
                  <a:gd name="connsiteY36" fmla="*/ 5073791 h 5633118"/>
                  <a:gd name="connsiteX37" fmla="*/ 959355 w 1918706"/>
                  <a:gd name="connsiteY37" fmla="*/ 5633118 h 5633118"/>
                  <a:gd name="connsiteX38" fmla="*/ 0 w 1918706"/>
                  <a:gd name="connsiteY38" fmla="*/ 5073791 h 5633118"/>
                  <a:gd name="connsiteX39" fmla="*/ 0 w 1918706"/>
                  <a:gd name="connsiteY39" fmla="*/ 4592438 h 5633118"/>
                  <a:gd name="connsiteX40" fmla="*/ 0 w 1918706"/>
                  <a:gd name="connsiteY40" fmla="*/ 4579284 h 5633118"/>
                  <a:gd name="connsiteX41" fmla="*/ 0 w 1918706"/>
                  <a:gd name="connsiteY41" fmla="*/ 4491829 h 5633118"/>
                  <a:gd name="connsiteX42" fmla="*/ 0 w 1918706"/>
                  <a:gd name="connsiteY42" fmla="*/ 4097931 h 5633118"/>
                  <a:gd name="connsiteX43" fmla="*/ 0 w 1918706"/>
                  <a:gd name="connsiteY43" fmla="*/ 4090156 h 5633118"/>
                  <a:gd name="connsiteX44" fmla="*/ 0 w 1918706"/>
                  <a:gd name="connsiteY44" fmla="*/ 4069228 h 5633118"/>
                  <a:gd name="connsiteX45" fmla="*/ 0 w 1918706"/>
                  <a:gd name="connsiteY45" fmla="*/ 4010476 h 5633118"/>
                  <a:gd name="connsiteX46" fmla="*/ 0 w 1918706"/>
                  <a:gd name="connsiteY46" fmla="*/ 3997322 h 5633118"/>
                  <a:gd name="connsiteX47" fmla="*/ 0 w 1918706"/>
                  <a:gd name="connsiteY47" fmla="*/ 3595649 h 5633118"/>
                  <a:gd name="connsiteX48" fmla="*/ 0 w 1918706"/>
                  <a:gd name="connsiteY48" fmla="*/ 3587875 h 5633118"/>
                  <a:gd name="connsiteX49" fmla="*/ 0 w 1918706"/>
                  <a:gd name="connsiteY49" fmla="*/ 3574721 h 5633118"/>
                  <a:gd name="connsiteX50" fmla="*/ 0 w 1918706"/>
                  <a:gd name="connsiteY50" fmla="*/ 3515969 h 5633118"/>
                  <a:gd name="connsiteX51" fmla="*/ 0 w 1918706"/>
                  <a:gd name="connsiteY51" fmla="*/ 3508195 h 5633118"/>
                  <a:gd name="connsiteX52" fmla="*/ 0 w 1918706"/>
                  <a:gd name="connsiteY52" fmla="*/ 3487266 h 5633118"/>
                  <a:gd name="connsiteX53" fmla="*/ 0 w 1918706"/>
                  <a:gd name="connsiteY5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586524 h 5633118"/>
                  <a:gd name="connsiteX5" fmla="*/ 1918706 w 1918706"/>
                  <a:gd name="connsiteY5" fmla="*/ 1985655 h 5633118"/>
                  <a:gd name="connsiteX6" fmla="*/ 1918706 w 1918706"/>
                  <a:gd name="connsiteY6" fmla="*/ 2001351 h 5633118"/>
                  <a:gd name="connsiteX7" fmla="*/ 1918706 w 1918706"/>
                  <a:gd name="connsiteY7" fmla="*/ 2009125 h 5633118"/>
                  <a:gd name="connsiteX8" fmla="*/ 1918706 w 1918706"/>
                  <a:gd name="connsiteY8" fmla="*/ 2073109 h 5633118"/>
                  <a:gd name="connsiteX9" fmla="*/ 1918706 w 1918706"/>
                  <a:gd name="connsiteY9" fmla="*/ 2081031 h 5633118"/>
                  <a:gd name="connsiteX10" fmla="*/ 1918706 w 1918706"/>
                  <a:gd name="connsiteY10" fmla="*/ 2088805 h 5633118"/>
                  <a:gd name="connsiteX11" fmla="*/ 1918706 w 1918706"/>
                  <a:gd name="connsiteY11" fmla="*/ 2503632 h 5633118"/>
                  <a:gd name="connsiteX12" fmla="*/ 1918706 w 1918706"/>
                  <a:gd name="connsiteY12" fmla="*/ 2511407 h 5633118"/>
                  <a:gd name="connsiteX13" fmla="*/ 1918706 w 1918706"/>
                  <a:gd name="connsiteY13" fmla="*/ 2567616 h 5633118"/>
                  <a:gd name="connsiteX14" fmla="*/ 1918706 w 1918706"/>
                  <a:gd name="connsiteY14" fmla="*/ 2583313 h 5633118"/>
                  <a:gd name="connsiteX15" fmla="*/ 1918706 w 1918706"/>
                  <a:gd name="connsiteY15" fmla="*/ 2591087 h 5633118"/>
                  <a:gd name="connsiteX16" fmla="*/ 1918706 w 1918706"/>
                  <a:gd name="connsiteY16" fmla="*/ 2992759 h 5633118"/>
                  <a:gd name="connsiteX17" fmla="*/ 1918706 w 1918706"/>
                  <a:gd name="connsiteY17" fmla="*/ 3005914 h 5633118"/>
                  <a:gd name="connsiteX18" fmla="*/ 1918706 w 1918706"/>
                  <a:gd name="connsiteY18" fmla="*/ 3013688 h 5633118"/>
                  <a:gd name="connsiteX19" fmla="*/ 1918706 w 1918706"/>
                  <a:gd name="connsiteY19" fmla="*/ 3085594 h 5633118"/>
                  <a:gd name="connsiteX20" fmla="*/ 1918706 w 1918706"/>
                  <a:gd name="connsiteY20" fmla="*/ 3093368 h 5633118"/>
                  <a:gd name="connsiteX21" fmla="*/ 1918706 w 1918706"/>
                  <a:gd name="connsiteY21" fmla="*/ 3487266 h 5633118"/>
                  <a:gd name="connsiteX22" fmla="*/ 1918706 w 1918706"/>
                  <a:gd name="connsiteY22" fmla="*/ 3508195 h 5633118"/>
                  <a:gd name="connsiteX23" fmla="*/ 1918706 w 1918706"/>
                  <a:gd name="connsiteY23" fmla="*/ 3515969 h 5633118"/>
                  <a:gd name="connsiteX24" fmla="*/ 1918706 w 1918706"/>
                  <a:gd name="connsiteY24" fmla="*/ 3574721 h 5633118"/>
                  <a:gd name="connsiteX25" fmla="*/ 1918706 w 1918706"/>
                  <a:gd name="connsiteY25" fmla="*/ 3587875 h 5633118"/>
                  <a:gd name="connsiteX26" fmla="*/ 1918706 w 1918706"/>
                  <a:gd name="connsiteY26" fmla="*/ 3595649 h 5633118"/>
                  <a:gd name="connsiteX27" fmla="*/ 1918706 w 1918706"/>
                  <a:gd name="connsiteY27" fmla="*/ 3997322 h 5633118"/>
                  <a:gd name="connsiteX28" fmla="*/ 1918706 w 1918706"/>
                  <a:gd name="connsiteY28" fmla="*/ 4010476 h 5633118"/>
                  <a:gd name="connsiteX29" fmla="*/ 1918706 w 1918706"/>
                  <a:gd name="connsiteY29" fmla="*/ 4069228 h 5633118"/>
                  <a:gd name="connsiteX30" fmla="*/ 1918706 w 1918706"/>
                  <a:gd name="connsiteY30" fmla="*/ 4090156 h 5633118"/>
                  <a:gd name="connsiteX31" fmla="*/ 1918706 w 1918706"/>
                  <a:gd name="connsiteY31" fmla="*/ 4097931 h 5633118"/>
                  <a:gd name="connsiteX32" fmla="*/ 1918706 w 1918706"/>
                  <a:gd name="connsiteY32" fmla="*/ 4491829 h 5633118"/>
                  <a:gd name="connsiteX33" fmla="*/ 1918706 w 1918706"/>
                  <a:gd name="connsiteY33" fmla="*/ 4579284 h 5633118"/>
                  <a:gd name="connsiteX34" fmla="*/ 1918706 w 1918706"/>
                  <a:gd name="connsiteY34" fmla="*/ 4592438 h 5633118"/>
                  <a:gd name="connsiteX35" fmla="*/ 1918706 w 1918706"/>
                  <a:gd name="connsiteY35" fmla="*/ 5073791 h 5633118"/>
                  <a:gd name="connsiteX36" fmla="*/ 959355 w 1918706"/>
                  <a:gd name="connsiteY36" fmla="*/ 5633118 h 5633118"/>
                  <a:gd name="connsiteX37" fmla="*/ 0 w 1918706"/>
                  <a:gd name="connsiteY37" fmla="*/ 5073791 h 5633118"/>
                  <a:gd name="connsiteX38" fmla="*/ 0 w 1918706"/>
                  <a:gd name="connsiteY38" fmla="*/ 4592438 h 5633118"/>
                  <a:gd name="connsiteX39" fmla="*/ 0 w 1918706"/>
                  <a:gd name="connsiteY39" fmla="*/ 4579284 h 5633118"/>
                  <a:gd name="connsiteX40" fmla="*/ 0 w 1918706"/>
                  <a:gd name="connsiteY40" fmla="*/ 4491829 h 5633118"/>
                  <a:gd name="connsiteX41" fmla="*/ 0 w 1918706"/>
                  <a:gd name="connsiteY41" fmla="*/ 4097931 h 5633118"/>
                  <a:gd name="connsiteX42" fmla="*/ 0 w 1918706"/>
                  <a:gd name="connsiteY42" fmla="*/ 4090156 h 5633118"/>
                  <a:gd name="connsiteX43" fmla="*/ 0 w 1918706"/>
                  <a:gd name="connsiteY43" fmla="*/ 4069228 h 5633118"/>
                  <a:gd name="connsiteX44" fmla="*/ 0 w 1918706"/>
                  <a:gd name="connsiteY44" fmla="*/ 4010476 h 5633118"/>
                  <a:gd name="connsiteX45" fmla="*/ 0 w 1918706"/>
                  <a:gd name="connsiteY45" fmla="*/ 3997322 h 5633118"/>
                  <a:gd name="connsiteX46" fmla="*/ 0 w 1918706"/>
                  <a:gd name="connsiteY46" fmla="*/ 3595649 h 5633118"/>
                  <a:gd name="connsiteX47" fmla="*/ 0 w 1918706"/>
                  <a:gd name="connsiteY47" fmla="*/ 3587875 h 5633118"/>
                  <a:gd name="connsiteX48" fmla="*/ 0 w 1918706"/>
                  <a:gd name="connsiteY48" fmla="*/ 3574721 h 5633118"/>
                  <a:gd name="connsiteX49" fmla="*/ 0 w 1918706"/>
                  <a:gd name="connsiteY49" fmla="*/ 3515969 h 5633118"/>
                  <a:gd name="connsiteX50" fmla="*/ 0 w 1918706"/>
                  <a:gd name="connsiteY50" fmla="*/ 3508195 h 5633118"/>
                  <a:gd name="connsiteX51" fmla="*/ 0 w 1918706"/>
                  <a:gd name="connsiteY51" fmla="*/ 3487266 h 5633118"/>
                  <a:gd name="connsiteX52" fmla="*/ 0 w 1918706"/>
                  <a:gd name="connsiteY5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985655 h 5633118"/>
                  <a:gd name="connsiteX5" fmla="*/ 1918706 w 1918706"/>
                  <a:gd name="connsiteY5" fmla="*/ 2001351 h 5633118"/>
                  <a:gd name="connsiteX6" fmla="*/ 1918706 w 1918706"/>
                  <a:gd name="connsiteY6" fmla="*/ 2009125 h 5633118"/>
                  <a:gd name="connsiteX7" fmla="*/ 1918706 w 1918706"/>
                  <a:gd name="connsiteY7" fmla="*/ 2073109 h 5633118"/>
                  <a:gd name="connsiteX8" fmla="*/ 1918706 w 1918706"/>
                  <a:gd name="connsiteY8" fmla="*/ 2081031 h 5633118"/>
                  <a:gd name="connsiteX9" fmla="*/ 1918706 w 1918706"/>
                  <a:gd name="connsiteY9" fmla="*/ 2088805 h 5633118"/>
                  <a:gd name="connsiteX10" fmla="*/ 1918706 w 1918706"/>
                  <a:gd name="connsiteY10" fmla="*/ 2503632 h 5633118"/>
                  <a:gd name="connsiteX11" fmla="*/ 1918706 w 1918706"/>
                  <a:gd name="connsiteY11" fmla="*/ 2511407 h 5633118"/>
                  <a:gd name="connsiteX12" fmla="*/ 1918706 w 1918706"/>
                  <a:gd name="connsiteY12" fmla="*/ 2567616 h 5633118"/>
                  <a:gd name="connsiteX13" fmla="*/ 1918706 w 1918706"/>
                  <a:gd name="connsiteY13" fmla="*/ 2583313 h 5633118"/>
                  <a:gd name="connsiteX14" fmla="*/ 1918706 w 1918706"/>
                  <a:gd name="connsiteY14" fmla="*/ 2591087 h 5633118"/>
                  <a:gd name="connsiteX15" fmla="*/ 1918706 w 1918706"/>
                  <a:gd name="connsiteY15" fmla="*/ 2992759 h 5633118"/>
                  <a:gd name="connsiteX16" fmla="*/ 1918706 w 1918706"/>
                  <a:gd name="connsiteY16" fmla="*/ 3005914 h 5633118"/>
                  <a:gd name="connsiteX17" fmla="*/ 1918706 w 1918706"/>
                  <a:gd name="connsiteY17" fmla="*/ 3013688 h 5633118"/>
                  <a:gd name="connsiteX18" fmla="*/ 1918706 w 1918706"/>
                  <a:gd name="connsiteY18" fmla="*/ 3085594 h 5633118"/>
                  <a:gd name="connsiteX19" fmla="*/ 1918706 w 1918706"/>
                  <a:gd name="connsiteY19" fmla="*/ 3093368 h 5633118"/>
                  <a:gd name="connsiteX20" fmla="*/ 1918706 w 1918706"/>
                  <a:gd name="connsiteY20" fmla="*/ 3487266 h 5633118"/>
                  <a:gd name="connsiteX21" fmla="*/ 1918706 w 1918706"/>
                  <a:gd name="connsiteY21" fmla="*/ 3508195 h 5633118"/>
                  <a:gd name="connsiteX22" fmla="*/ 1918706 w 1918706"/>
                  <a:gd name="connsiteY22" fmla="*/ 3515969 h 5633118"/>
                  <a:gd name="connsiteX23" fmla="*/ 1918706 w 1918706"/>
                  <a:gd name="connsiteY23" fmla="*/ 3574721 h 5633118"/>
                  <a:gd name="connsiteX24" fmla="*/ 1918706 w 1918706"/>
                  <a:gd name="connsiteY24" fmla="*/ 3587875 h 5633118"/>
                  <a:gd name="connsiteX25" fmla="*/ 1918706 w 1918706"/>
                  <a:gd name="connsiteY25" fmla="*/ 3595649 h 5633118"/>
                  <a:gd name="connsiteX26" fmla="*/ 1918706 w 1918706"/>
                  <a:gd name="connsiteY26" fmla="*/ 3997322 h 5633118"/>
                  <a:gd name="connsiteX27" fmla="*/ 1918706 w 1918706"/>
                  <a:gd name="connsiteY27" fmla="*/ 4010476 h 5633118"/>
                  <a:gd name="connsiteX28" fmla="*/ 1918706 w 1918706"/>
                  <a:gd name="connsiteY28" fmla="*/ 4069228 h 5633118"/>
                  <a:gd name="connsiteX29" fmla="*/ 1918706 w 1918706"/>
                  <a:gd name="connsiteY29" fmla="*/ 4090156 h 5633118"/>
                  <a:gd name="connsiteX30" fmla="*/ 1918706 w 1918706"/>
                  <a:gd name="connsiteY30" fmla="*/ 4097931 h 5633118"/>
                  <a:gd name="connsiteX31" fmla="*/ 1918706 w 1918706"/>
                  <a:gd name="connsiteY31" fmla="*/ 4491829 h 5633118"/>
                  <a:gd name="connsiteX32" fmla="*/ 1918706 w 1918706"/>
                  <a:gd name="connsiteY32" fmla="*/ 4579284 h 5633118"/>
                  <a:gd name="connsiteX33" fmla="*/ 1918706 w 1918706"/>
                  <a:gd name="connsiteY33" fmla="*/ 4592438 h 5633118"/>
                  <a:gd name="connsiteX34" fmla="*/ 1918706 w 1918706"/>
                  <a:gd name="connsiteY34" fmla="*/ 5073791 h 5633118"/>
                  <a:gd name="connsiteX35" fmla="*/ 959355 w 1918706"/>
                  <a:gd name="connsiteY35" fmla="*/ 5633118 h 5633118"/>
                  <a:gd name="connsiteX36" fmla="*/ 0 w 1918706"/>
                  <a:gd name="connsiteY36" fmla="*/ 5073791 h 5633118"/>
                  <a:gd name="connsiteX37" fmla="*/ 0 w 1918706"/>
                  <a:gd name="connsiteY37" fmla="*/ 4592438 h 5633118"/>
                  <a:gd name="connsiteX38" fmla="*/ 0 w 1918706"/>
                  <a:gd name="connsiteY38" fmla="*/ 4579284 h 5633118"/>
                  <a:gd name="connsiteX39" fmla="*/ 0 w 1918706"/>
                  <a:gd name="connsiteY39" fmla="*/ 4491829 h 5633118"/>
                  <a:gd name="connsiteX40" fmla="*/ 0 w 1918706"/>
                  <a:gd name="connsiteY40" fmla="*/ 4097931 h 5633118"/>
                  <a:gd name="connsiteX41" fmla="*/ 0 w 1918706"/>
                  <a:gd name="connsiteY41" fmla="*/ 4090156 h 5633118"/>
                  <a:gd name="connsiteX42" fmla="*/ 0 w 1918706"/>
                  <a:gd name="connsiteY42" fmla="*/ 4069228 h 5633118"/>
                  <a:gd name="connsiteX43" fmla="*/ 0 w 1918706"/>
                  <a:gd name="connsiteY43" fmla="*/ 4010476 h 5633118"/>
                  <a:gd name="connsiteX44" fmla="*/ 0 w 1918706"/>
                  <a:gd name="connsiteY44" fmla="*/ 3997322 h 5633118"/>
                  <a:gd name="connsiteX45" fmla="*/ 0 w 1918706"/>
                  <a:gd name="connsiteY45" fmla="*/ 3595649 h 5633118"/>
                  <a:gd name="connsiteX46" fmla="*/ 0 w 1918706"/>
                  <a:gd name="connsiteY46" fmla="*/ 3587875 h 5633118"/>
                  <a:gd name="connsiteX47" fmla="*/ 0 w 1918706"/>
                  <a:gd name="connsiteY47" fmla="*/ 3574721 h 5633118"/>
                  <a:gd name="connsiteX48" fmla="*/ 0 w 1918706"/>
                  <a:gd name="connsiteY48" fmla="*/ 3515969 h 5633118"/>
                  <a:gd name="connsiteX49" fmla="*/ 0 w 1918706"/>
                  <a:gd name="connsiteY49" fmla="*/ 3508195 h 5633118"/>
                  <a:gd name="connsiteX50" fmla="*/ 0 w 1918706"/>
                  <a:gd name="connsiteY50" fmla="*/ 3487266 h 5633118"/>
                  <a:gd name="connsiteX51" fmla="*/ 0 w 1918706"/>
                  <a:gd name="connsiteY5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09125 h 5633118"/>
                  <a:gd name="connsiteX6" fmla="*/ 1918706 w 1918706"/>
                  <a:gd name="connsiteY6" fmla="*/ 2073109 h 5633118"/>
                  <a:gd name="connsiteX7" fmla="*/ 1918706 w 1918706"/>
                  <a:gd name="connsiteY7" fmla="*/ 2081031 h 5633118"/>
                  <a:gd name="connsiteX8" fmla="*/ 1918706 w 1918706"/>
                  <a:gd name="connsiteY8" fmla="*/ 2088805 h 5633118"/>
                  <a:gd name="connsiteX9" fmla="*/ 1918706 w 1918706"/>
                  <a:gd name="connsiteY9" fmla="*/ 2503632 h 5633118"/>
                  <a:gd name="connsiteX10" fmla="*/ 1918706 w 1918706"/>
                  <a:gd name="connsiteY10" fmla="*/ 2511407 h 5633118"/>
                  <a:gd name="connsiteX11" fmla="*/ 1918706 w 1918706"/>
                  <a:gd name="connsiteY11" fmla="*/ 2567616 h 5633118"/>
                  <a:gd name="connsiteX12" fmla="*/ 1918706 w 1918706"/>
                  <a:gd name="connsiteY12" fmla="*/ 2583313 h 5633118"/>
                  <a:gd name="connsiteX13" fmla="*/ 1918706 w 1918706"/>
                  <a:gd name="connsiteY13" fmla="*/ 2591087 h 5633118"/>
                  <a:gd name="connsiteX14" fmla="*/ 1918706 w 1918706"/>
                  <a:gd name="connsiteY14" fmla="*/ 2992759 h 5633118"/>
                  <a:gd name="connsiteX15" fmla="*/ 1918706 w 1918706"/>
                  <a:gd name="connsiteY15" fmla="*/ 3005914 h 5633118"/>
                  <a:gd name="connsiteX16" fmla="*/ 1918706 w 1918706"/>
                  <a:gd name="connsiteY16" fmla="*/ 3013688 h 5633118"/>
                  <a:gd name="connsiteX17" fmla="*/ 1918706 w 1918706"/>
                  <a:gd name="connsiteY17" fmla="*/ 3085594 h 5633118"/>
                  <a:gd name="connsiteX18" fmla="*/ 1918706 w 1918706"/>
                  <a:gd name="connsiteY18" fmla="*/ 3093368 h 5633118"/>
                  <a:gd name="connsiteX19" fmla="*/ 1918706 w 1918706"/>
                  <a:gd name="connsiteY19" fmla="*/ 3487266 h 5633118"/>
                  <a:gd name="connsiteX20" fmla="*/ 1918706 w 1918706"/>
                  <a:gd name="connsiteY20" fmla="*/ 3508195 h 5633118"/>
                  <a:gd name="connsiteX21" fmla="*/ 1918706 w 1918706"/>
                  <a:gd name="connsiteY21" fmla="*/ 3515969 h 5633118"/>
                  <a:gd name="connsiteX22" fmla="*/ 1918706 w 1918706"/>
                  <a:gd name="connsiteY22" fmla="*/ 3574721 h 5633118"/>
                  <a:gd name="connsiteX23" fmla="*/ 1918706 w 1918706"/>
                  <a:gd name="connsiteY23" fmla="*/ 3587875 h 5633118"/>
                  <a:gd name="connsiteX24" fmla="*/ 1918706 w 1918706"/>
                  <a:gd name="connsiteY24" fmla="*/ 3595649 h 5633118"/>
                  <a:gd name="connsiteX25" fmla="*/ 1918706 w 1918706"/>
                  <a:gd name="connsiteY25" fmla="*/ 3997322 h 5633118"/>
                  <a:gd name="connsiteX26" fmla="*/ 1918706 w 1918706"/>
                  <a:gd name="connsiteY26" fmla="*/ 4010476 h 5633118"/>
                  <a:gd name="connsiteX27" fmla="*/ 1918706 w 1918706"/>
                  <a:gd name="connsiteY27" fmla="*/ 4069228 h 5633118"/>
                  <a:gd name="connsiteX28" fmla="*/ 1918706 w 1918706"/>
                  <a:gd name="connsiteY28" fmla="*/ 4090156 h 5633118"/>
                  <a:gd name="connsiteX29" fmla="*/ 1918706 w 1918706"/>
                  <a:gd name="connsiteY29" fmla="*/ 4097931 h 5633118"/>
                  <a:gd name="connsiteX30" fmla="*/ 1918706 w 1918706"/>
                  <a:gd name="connsiteY30" fmla="*/ 4491829 h 5633118"/>
                  <a:gd name="connsiteX31" fmla="*/ 1918706 w 1918706"/>
                  <a:gd name="connsiteY31" fmla="*/ 4579284 h 5633118"/>
                  <a:gd name="connsiteX32" fmla="*/ 1918706 w 1918706"/>
                  <a:gd name="connsiteY32" fmla="*/ 4592438 h 5633118"/>
                  <a:gd name="connsiteX33" fmla="*/ 1918706 w 1918706"/>
                  <a:gd name="connsiteY33" fmla="*/ 5073791 h 5633118"/>
                  <a:gd name="connsiteX34" fmla="*/ 959355 w 1918706"/>
                  <a:gd name="connsiteY34" fmla="*/ 5633118 h 5633118"/>
                  <a:gd name="connsiteX35" fmla="*/ 0 w 1918706"/>
                  <a:gd name="connsiteY35" fmla="*/ 5073791 h 5633118"/>
                  <a:gd name="connsiteX36" fmla="*/ 0 w 1918706"/>
                  <a:gd name="connsiteY36" fmla="*/ 4592438 h 5633118"/>
                  <a:gd name="connsiteX37" fmla="*/ 0 w 1918706"/>
                  <a:gd name="connsiteY37" fmla="*/ 4579284 h 5633118"/>
                  <a:gd name="connsiteX38" fmla="*/ 0 w 1918706"/>
                  <a:gd name="connsiteY38" fmla="*/ 4491829 h 5633118"/>
                  <a:gd name="connsiteX39" fmla="*/ 0 w 1918706"/>
                  <a:gd name="connsiteY39" fmla="*/ 4097931 h 5633118"/>
                  <a:gd name="connsiteX40" fmla="*/ 0 w 1918706"/>
                  <a:gd name="connsiteY40" fmla="*/ 4090156 h 5633118"/>
                  <a:gd name="connsiteX41" fmla="*/ 0 w 1918706"/>
                  <a:gd name="connsiteY41" fmla="*/ 4069228 h 5633118"/>
                  <a:gd name="connsiteX42" fmla="*/ 0 w 1918706"/>
                  <a:gd name="connsiteY42" fmla="*/ 4010476 h 5633118"/>
                  <a:gd name="connsiteX43" fmla="*/ 0 w 1918706"/>
                  <a:gd name="connsiteY43" fmla="*/ 3997322 h 5633118"/>
                  <a:gd name="connsiteX44" fmla="*/ 0 w 1918706"/>
                  <a:gd name="connsiteY44" fmla="*/ 3595649 h 5633118"/>
                  <a:gd name="connsiteX45" fmla="*/ 0 w 1918706"/>
                  <a:gd name="connsiteY45" fmla="*/ 3587875 h 5633118"/>
                  <a:gd name="connsiteX46" fmla="*/ 0 w 1918706"/>
                  <a:gd name="connsiteY46" fmla="*/ 3574721 h 5633118"/>
                  <a:gd name="connsiteX47" fmla="*/ 0 w 1918706"/>
                  <a:gd name="connsiteY47" fmla="*/ 3515969 h 5633118"/>
                  <a:gd name="connsiteX48" fmla="*/ 0 w 1918706"/>
                  <a:gd name="connsiteY48" fmla="*/ 3508195 h 5633118"/>
                  <a:gd name="connsiteX49" fmla="*/ 0 w 1918706"/>
                  <a:gd name="connsiteY49" fmla="*/ 3487266 h 5633118"/>
                  <a:gd name="connsiteX50" fmla="*/ 0 w 1918706"/>
                  <a:gd name="connsiteY5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73109 h 5633118"/>
                  <a:gd name="connsiteX6" fmla="*/ 1918706 w 1918706"/>
                  <a:gd name="connsiteY6" fmla="*/ 2081031 h 5633118"/>
                  <a:gd name="connsiteX7" fmla="*/ 1918706 w 1918706"/>
                  <a:gd name="connsiteY7" fmla="*/ 2088805 h 5633118"/>
                  <a:gd name="connsiteX8" fmla="*/ 1918706 w 1918706"/>
                  <a:gd name="connsiteY8" fmla="*/ 2503632 h 5633118"/>
                  <a:gd name="connsiteX9" fmla="*/ 1918706 w 1918706"/>
                  <a:gd name="connsiteY9" fmla="*/ 2511407 h 5633118"/>
                  <a:gd name="connsiteX10" fmla="*/ 1918706 w 1918706"/>
                  <a:gd name="connsiteY10" fmla="*/ 2567616 h 5633118"/>
                  <a:gd name="connsiteX11" fmla="*/ 1918706 w 1918706"/>
                  <a:gd name="connsiteY11" fmla="*/ 2583313 h 5633118"/>
                  <a:gd name="connsiteX12" fmla="*/ 1918706 w 1918706"/>
                  <a:gd name="connsiteY12" fmla="*/ 2591087 h 5633118"/>
                  <a:gd name="connsiteX13" fmla="*/ 1918706 w 1918706"/>
                  <a:gd name="connsiteY13" fmla="*/ 2992759 h 5633118"/>
                  <a:gd name="connsiteX14" fmla="*/ 1918706 w 1918706"/>
                  <a:gd name="connsiteY14" fmla="*/ 3005914 h 5633118"/>
                  <a:gd name="connsiteX15" fmla="*/ 1918706 w 1918706"/>
                  <a:gd name="connsiteY15" fmla="*/ 3013688 h 5633118"/>
                  <a:gd name="connsiteX16" fmla="*/ 1918706 w 1918706"/>
                  <a:gd name="connsiteY16" fmla="*/ 3085594 h 5633118"/>
                  <a:gd name="connsiteX17" fmla="*/ 1918706 w 1918706"/>
                  <a:gd name="connsiteY17" fmla="*/ 3093368 h 5633118"/>
                  <a:gd name="connsiteX18" fmla="*/ 1918706 w 1918706"/>
                  <a:gd name="connsiteY18" fmla="*/ 3487266 h 5633118"/>
                  <a:gd name="connsiteX19" fmla="*/ 1918706 w 1918706"/>
                  <a:gd name="connsiteY19" fmla="*/ 3508195 h 5633118"/>
                  <a:gd name="connsiteX20" fmla="*/ 1918706 w 1918706"/>
                  <a:gd name="connsiteY20" fmla="*/ 3515969 h 5633118"/>
                  <a:gd name="connsiteX21" fmla="*/ 1918706 w 1918706"/>
                  <a:gd name="connsiteY21" fmla="*/ 3574721 h 5633118"/>
                  <a:gd name="connsiteX22" fmla="*/ 1918706 w 1918706"/>
                  <a:gd name="connsiteY22" fmla="*/ 3587875 h 5633118"/>
                  <a:gd name="connsiteX23" fmla="*/ 1918706 w 1918706"/>
                  <a:gd name="connsiteY23" fmla="*/ 3595649 h 5633118"/>
                  <a:gd name="connsiteX24" fmla="*/ 1918706 w 1918706"/>
                  <a:gd name="connsiteY24" fmla="*/ 3997322 h 5633118"/>
                  <a:gd name="connsiteX25" fmla="*/ 1918706 w 1918706"/>
                  <a:gd name="connsiteY25" fmla="*/ 4010476 h 5633118"/>
                  <a:gd name="connsiteX26" fmla="*/ 1918706 w 1918706"/>
                  <a:gd name="connsiteY26" fmla="*/ 4069228 h 5633118"/>
                  <a:gd name="connsiteX27" fmla="*/ 1918706 w 1918706"/>
                  <a:gd name="connsiteY27" fmla="*/ 4090156 h 5633118"/>
                  <a:gd name="connsiteX28" fmla="*/ 1918706 w 1918706"/>
                  <a:gd name="connsiteY28" fmla="*/ 4097931 h 5633118"/>
                  <a:gd name="connsiteX29" fmla="*/ 1918706 w 1918706"/>
                  <a:gd name="connsiteY29" fmla="*/ 4491829 h 5633118"/>
                  <a:gd name="connsiteX30" fmla="*/ 1918706 w 1918706"/>
                  <a:gd name="connsiteY30" fmla="*/ 4579284 h 5633118"/>
                  <a:gd name="connsiteX31" fmla="*/ 1918706 w 1918706"/>
                  <a:gd name="connsiteY31" fmla="*/ 4592438 h 5633118"/>
                  <a:gd name="connsiteX32" fmla="*/ 1918706 w 1918706"/>
                  <a:gd name="connsiteY32" fmla="*/ 5073791 h 5633118"/>
                  <a:gd name="connsiteX33" fmla="*/ 959355 w 1918706"/>
                  <a:gd name="connsiteY33" fmla="*/ 5633118 h 5633118"/>
                  <a:gd name="connsiteX34" fmla="*/ 0 w 1918706"/>
                  <a:gd name="connsiteY34" fmla="*/ 5073791 h 5633118"/>
                  <a:gd name="connsiteX35" fmla="*/ 0 w 1918706"/>
                  <a:gd name="connsiteY35" fmla="*/ 4592438 h 5633118"/>
                  <a:gd name="connsiteX36" fmla="*/ 0 w 1918706"/>
                  <a:gd name="connsiteY36" fmla="*/ 4579284 h 5633118"/>
                  <a:gd name="connsiteX37" fmla="*/ 0 w 1918706"/>
                  <a:gd name="connsiteY37" fmla="*/ 4491829 h 5633118"/>
                  <a:gd name="connsiteX38" fmla="*/ 0 w 1918706"/>
                  <a:gd name="connsiteY38" fmla="*/ 4097931 h 5633118"/>
                  <a:gd name="connsiteX39" fmla="*/ 0 w 1918706"/>
                  <a:gd name="connsiteY39" fmla="*/ 4090156 h 5633118"/>
                  <a:gd name="connsiteX40" fmla="*/ 0 w 1918706"/>
                  <a:gd name="connsiteY40" fmla="*/ 4069228 h 5633118"/>
                  <a:gd name="connsiteX41" fmla="*/ 0 w 1918706"/>
                  <a:gd name="connsiteY41" fmla="*/ 4010476 h 5633118"/>
                  <a:gd name="connsiteX42" fmla="*/ 0 w 1918706"/>
                  <a:gd name="connsiteY42" fmla="*/ 3997322 h 5633118"/>
                  <a:gd name="connsiteX43" fmla="*/ 0 w 1918706"/>
                  <a:gd name="connsiteY43" fmla="*/ 3595649 h 5633118"/>
                  <a:gd name="connsiteX44" fmla="*/ 0 w 1918706"/>
                  <a:gd name="connsiteY44" fmla="*/ 3587875 h 5633118"/>
                  <a:gd name="connsiteX45" fmla="*/ 0 w 1918706"/>
                  <a:gd name="connsiteY45" fmla="*/ 3574721 h 5633118"/>
                  <a:gd name="connsiteX46" fmla="*/ 0 w 1918706"/>
                  <a:gd name="connsiteY46" fmla="*/ 3515969 h 5633118"/>
                  <a:gd name="connsiteX47" fmla="*/ 0 w 1918706"/>
                  <a:gd name="connsiteY47" fmla="*/ 3508195 h 5633118"/>
                  <a:gd name="connsiteX48" fmla="*/ 0 w 1918706"/>
                  <a:gd name="connsiteY48" fmla="*/ 3487266 h 5633118"/>
                  <a:gd name="connsiteX49" fmla="*/ 0 w 1918706"/>
                  <a:gd name="connsiteY4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73109 h 5633118"/>
                  <a:gd name="connsiteX5" fmla="*/ 1918706 w 1918706"/>
                  <a:gd name="connsiteY5" fmla="*/ 2081031 h 5633118"/>
                  <a:gd name="connsiteX6" fmla="*/ 1918706 w 1918706"/>
                  <a:gd name="connsiteY6" fmla="*/ 2088805 h 5633118"/>
                  <a:gd name="connsiteX7" fmla="*/ 1918706 w 1918706"/>
                  <a:gd name="connsiteY7" fmla="*/ 2503632 h 5633118"/>
                  <a:gd name="connsiteX8" fmla="*/ 1918706 w 1918706"/>
                  <a:gd name="connsiteY8" fmla="*/ 2511407 h 5633118"/>
                  <a:gd name="connsiteX9" fmla="*/ 1918706 w 1918706"/>
                  <a:gd name="connsiteY9" fmla="*/ 2567616 h 5633118"/>
                  <a:gd name="connsiteX10" fmla="*/ 1918706 w 1918706"/>
                  <a:gd name="connsiteY10" fmla="*/ 2583313 h 5633118"/>
                  <a:gd name="connsiteX11" fmla="*/ 1918706 w 1918706"/>
                  <a:gd name="connsiteY11" fmla="*/ 2591087 h 5633118"/>
                  <a:gd name="connsiteX12" fmla="*/ 1918706 w 1918706"/>
                  <a:gd name="connsiteY12" fmla="*/ 2992759 h 5633118"/>
                  <a:gd name="connsiteX13" fmla="*/ 1918706 w 1918706"/>
                  <a:gd name="connsiteY13" fmla="*/ 3005914 h 5633118"/>
                  <a:gd name="connsiteX14" fmla="*/ 1918706 w 1918706"/>
                  <a:gd name="connsiteY14" fmla="*/ 3013688 h 5633118"/>
                  <a:gd name="connsiteX15" fmla="*/ 1918706 w 1918706"/>
                  <a:gd name="connsiteY15" fmla="*/ 3085594 h 5633118"/>
                  <a:gd name="connsiteX16" fmla="*/ 1918706 w 1918706"/>
                  <a:gd name="connsiteY16" fmla="*/ 3093368 h 5633118"/>
                  <a:gd name="connsiteX17" fmla="*/ 1918706 w 1918706"/>
                  <a:gd name="connsiteY17" fmla="*/ 3487266 h 5633118"/>
                  <a:gd name="connsiteX18" fmla="*/ 1918706 w 1918706"/>
                  <a:gd name="connsiteY18" fmla="*/ 3508195 h 5633118"/>
                  <a:gd name="connsiteX19" fmla="*/ 1918706 w 1918706"/>
                  <a:gd name="connsiteY19" fmla="*/ 3515969 h 5633118"/>
                  <a:gd name="connsiteX20" fmla="*/ 1918706 w 1918706"/>
                  <a:gd name="connsiteY20" fmla="*/ 3574721 h 5633118"/>
                  <a:gd name="connsiteX21" fmla="*/ 1918706 w 1918706"/>
                  <a:gd name="connsiteY21" fmla="*/ 3587875 h 5633118"/>
                  <a:gd name="connsiteX22" fmla="*/ 1918706 w 1918706"/>
                  <a:gd name="connsiteY22" fmla="*/ 3595649 h 5633118"/>
                  <a:gd name="connsiteX23" fmla="*/ 1918706 w 1918706"/>
                  <a:gd name="connsiteY23" fmla="*/ 3997322 h 5633118"/>
                  <a:gd name="connsiteX24" fmla="*/ 1918706 w 1918706"/>
                  <a:gd name="connsiteY24" fmla="*/ 4010476 h 5633118"/>
                  <a:gd name="connsiteX25" fmla="*/ 1918706 w 1918706"/>
                  <a:gd name="connsiteY25" fmla="*/ 4069228 h 5633118"/>
                  <a:gd name="connsiteX26" fmla="*/ 1918706 w 1918706"/>
                  <a:gd name="connsiteY26" fmla="*/ 4090156 h 5633118"/>
                  <a:gd name="connsiteX27" fmla="*/ 1918706 w 1918706"/>
                  <a:gd name="connsiteY27" fmla="*/ 4097931 h 5633118"/>
                  <a:gd name="connsiteX28" fmla="*/ 1918706 w 1918706"/>
                  <a:gd name="connsiteY28" fmla="*/ 4491829 h 5633118"/>
                  <a:gd name="connsiteX29" fmla="*/ 1918706 w 1918706"/>
                  <a:gd name="connsiteY29" fmla="*/ 4579284 h 5633118"/>
                  <a:gd name="connsiteX30" fmla="*/ 1918706 w 1918706"/>
                  <a:gd name="connsiteY30" fmla="*/ 4592438 h 5633118"/>
                  <a:gd name="connsiteX31" fmla="*/ 1918706 w 1918706"/>
                  <a:gd name="connsiteY31" fmla="*/ 5073791 h 5633118"/>
                  <a:gd name="connsiteX32" fmla="*/ 959355 w 1918706"/>
                  <a:gd name="connsiteY32" fmla="*/ 5633118 h 5633118"/>
                  <a:gd name="connsiteX33" fmla="*/ 0 w 1918706"/>
                  <a:gd name="connsiteY33" fmla="*/ 5073791 h 5633118"/>
                  <a:gd name="connsiteX34" fmla="*/ 0 w 1918706"/>
                  <a:gd name="connsiteY34" fmla="*/ 4592438 h 5633118"/>
                  <a:gd name="connsiteX35" fmla="*/ 0 w 1918706"/>
                  <a:gd name="connsiteY35" fmla="*/ 4579284 h 5633118"/>
                  <a:gd name="connsiteX36" fmla="*/ 0 w 1918706"/>
                  <a:gd name="connsiteY36" fmla="*/ 4491829 h 5633118"/>
                  <a:gd name="connsiteX37" fmla="*/ 0 w 1918706"/>
                  <a:gd name="connsiteY37" fmla="*/ 4097931 h 5633118"/>
                  <a:gd name="connsiteX38" fmla="*/ 0 w 1918706"/>
                  <a:gd name="connsiteY38" fmla="*/ 4090156 h 5633118"/>
                  <a:gd name="connsiteX39" fmla="*/ 0 w 1918706"/>
                  <a:gd name="connsiteY39" fmla="*/ 4069228 h 5633118"/>
                  <a:gd name="connsiteX40" fmla="*/ 0 w 1918706"/>
                  <a:gd name="connsiteY40" fmla="*/ 4010476 h 5633118"/>
                  <a:gd name="connsiteX41" fmla="*/ 0 w 1918706"/>
                  <a:gd name="connsiteY41" fmla="*/ 3997322 h 5633118"/>
                  <a:gd name="connsiteX42" fmla="*/ 0 w 1918706"/>
                  <a:gd name="connsiteY42" fmla="*/ 3595649 h 5633118"/>
                  <a:gd name="connsiteX43" fmla="*/ 0 w 1918706"/>
                  <a:gd name="connsiteY43" fmla="*/ 3587875 h 5633118"/>
                  <a:gd name="connsiteX44" fmla="*/ 0 w 1918706"/>
                  <a:gd name="connsiteY44" fmla="*/ 3574721 h 5633118"/>
                  <a:gd name="connsiteX45" fmla="*/ 0 w 1918706"/>
                  <a:gd name="connsiteY45" fmla="*/ 3515969 h 5633118"/>
                  <a:gd name="connsiteX46" fmla="*/ 0 w 1918706"/>
                  <a:gd name="connsiteY46" fmla="*/ 3508195 h 5633118"/>
                  <a:gd name="connsiteX47" fmla="*/ 0 w 1918706"/>
                  <a:gd name="connsiteY47" fmla="*/ 3487266 h 5633118"/>
                  <a:gd name="connsiteX48" fmla="*/ 0 w 1918706"/>
                  <a:gd name="connsiteY4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088805 h 5633118"/>
                  <a:gd name="connsiteX6" fmla="*/ 1918706 w 1918706"/>
                  <a:gd name="connsiteY6" fmla="*/ 2503632 h 5633118"/>
                  <a:gd name="connsiteX7" fmla="*/ 1918706 w 1918706"/>
                  <a:gd name="connsiteY7" fmla="*/ 2511407 h 5633118"/>
                  <a:gd name="connsiteX8" fmla="*/ 1918706 w 1918706"/>
                  <a:gd name="connsiteY8" fmla="*/ 2567616 h 5633118"/>
                  <a:gd name="connsiteX9" fmla="*/ 1918706 w 1918706"/>
                  <a:gd name="connsiteY9" fmla="*/ 2583313 h 5633118"/>
                  <a:gd name="connsiteX10" fmla="*/ 1918706 w 1918706"/>
                  <a:gd name="connsiteY10" fmla="*/ 2591087 h 5633118"/>
                  <a:gd name="connsiteX11" fmla="*/ 1918706 w 1918706"/>
                  <a:gd name="connsiteY11" fmla="*/ 2992759 h 5633118"/>
                  <a:gd name="connsiteX12" fmla="*/ 1918706 w 1918706"/>
                  <a:gd name="connsiteY12" fmla="*/ 3005914 h 5633118"/>
                  <a:gd name="connsiteX13" fmla="*/ 1918706 w 1918706"/>
                  <a:gd name="connsiteY13" fmla="*/ 3013688 h 5633118"/>
                  <a:gd name="connsiteX14" fmla="*/ 1918706 w 1918706"/>
                  <a:gd name="connsiteY14" fmla="*/ 3085594 h 5633118"/>
                  <a:gd name="connsiteX15" fmla="*/ 1918706 w 1918706"/>
                  <a:gd name="connsiteY15" fmla="*/ 3093368 h 5633118"/>
                  <a:gd name="connsiteX16" fmla="*/ 1918706 w 1918706"/>
                  <a:gd name="connsiteY16" fmla="*/ 3487266 h 5633118"/>
                  <a:gd name="connsiteX17" fmla="*/ 1918706 w 1918706"/>
                  <a:gd name="connsiteY17" fmla="*/ 3508195 h 5633118"/>
                  <a:gd name="connsiteX18" fmla="*/ 1918706 w 1918706"/>
                  <a:gd name="connsiteY18" fmla="*/ 3515969 h 5633118"/>
                  <a:gd name="connsiteX19" fmla="*/ 1918706 w 1918706"/>
                  <a:gd name="connsiteY19" fmla="*/ 3574721 h 5633118"/>
                  <a:gd name="connsiteX20" fmla="*/ 1918706 w 1918706"/>
                  <a:gd name="connsiteY20" fmla="*/ 3587875 h 5633118"/>
                  <a:gd name="connsiteX21" fmla="*/ 1918706 w 1918706"/>
                  <a:gd name="connsiteY21" fmla="*/ 3595649 h 5633118"/>
                  <a:gd name="connsiteX22" fmla="*/ 1918706 w 1918706"/>
                  <a:gd name="connsiteY22" fmla="*/ 3997322 h 5633118"/>
                  <a:gd name="connsiteX23" fmla="*/ 1918706 w 1918706"/>
                  <a:gd name="connsiteY23" fmla="*/ 4010476 h 5633118"/>
                  <a:gd name="connsiteX24" fmla="*/ 1918706 w 1918706"/>
                  <a:gd name="connsiteY24" fmla="*/ 4069228 h 5633118"/>
                  <a:gd name="connsiteX25" fmla="*/ 1918706 w 1918706"/>
                  <a:gd name="connsiteY25" fmla="*/ 4090156 h 5633118"/>
                  <a:gd name="connsiteX26" fmla="*/ 1918706 w 1918706"/>
                  <a:gd name="connsiteY26" fmla="*/ 4097931 h 5633118"/>
                  <a:gd name="connsiteX27" fmla="*/ 1918706 w 1918706"/>
                  <a:gd name="connsiteY27" fmla="*/ 4491829 h 5633118"/>
                  <a:gd name="connsiteX28" fmla="*/ 1918706 w 1918706"/>
                  <a:gd name="connsiteY28" fmla="*/ 4579284 h 5633118"/>
                  <a:gd name="connsiteX29" fmla="*/ 1918706 w 1918706"/>
                  <a:gd name="connsiteY29" fmla="*/ 4592438 h 5633118"/>
                  <a:gd name="connsiteX30" fmla="*/ 1918706 w 1918706"/>
                  <a:gd name="connsiteY30" fmla="*/ 5073791 h 5633118"/>
                  <a:gd name="connsiteX31" fmla="*/ 959355 w 1918706"/>
                  <a:gd name="connsiteY31" fmla="*/ 5633118 h 5633118"/>
                  <a:gd name="connsiteX32" fmla="*/ 0 w 1918706"/>
                  <a:gd name="connsiteY32" fmla="*/ 5073791 h 5633118"/>
                  <a:gd name="connsiteX33" fmla="*/ 0 w 1918706"/>
                  <a:gd name="connsiteY33" fmla="*/ 4592438 h 5633118"/>
                  <a:gd name="connsiteX34" fmla="*/ 0 w 1918706"/>
                  <a:gd name="connsiteY34" fmla="*/ 4579284 h 5633118"/>
                  <a:gd name="connsiteX35" fmla="*/ 0 w 1918706"/>
                  <a:gd name="connsiteY35" fmla="*/ 4491829 h 5633118"/>
                  <a:gd name="connsiteX36" fmla="*/ 0 w 1918706"/>
                  <a:gd name="connsiteY36" fmla="*/ 4097931 h 5633118"/>
                  <a:gd name="connsiteX37" fmla="*/ 0 w 1918706"/>
                  <a:gd name="connsiteY37" fmla="*/ 4090156 h 5633118"/>
                  <a:gd name="connsiteX38" fmla="*/ 0 w 1918706"/>
                  <a:gd name="connsiteY38" fmla="*/ 4069228 h 5633118"/>
                  <a:gd name="connsiteX39" fmla="*/ 0 w 1918706"/>
                  <a:gd name="connsiteY39" fmla="*/ 4010476 h 5633118"/>
                  <a:gd name="connsiteX40" fmla="*/ 0 w 1918706"/>
                  <a:gd name="connsiteY40" fmla="*/ 3997322 h 5633118"/>
                  <a:gd name="connsiteX41" fmla="*/ 0 w 1918706"/>
                  <a:gd name="connsiteY41" fmla="*/ 3595649 h 5633118"/>
                  <a:gd name="connsiteX42" fmla="*/ 0 w 1918706"/>
                  <a:gd name="connsiteY42" fmla="*/ 3587875 h 5633118"/>
                  <a:gd name="connsiteX43" fmla="*/ 0 w 1918706"/>
                  <a:gd name="connsiteY43" fmla="*/ 3574721 h 5633118"/>
                  <a:gd name="connsiteX44" fmla="*/ 0 w 1918706"/>
                  <a:gd name="connsiteY44" fmla="*/ 3515969 h 5633118"/>
                  <a:gd name="connsiteX45" fmla="*/ 0 w 1918706"/>
                  <a:gd name="connsiteY45" fmla="*/ 3508195 h 5633118"/>
                  <a:gd name="connsiteX46" fmla="*/ 0 w 1918706"/>
                  <a:gd name="connsiteY46" fmla="*/ 3487266 h 5633118"/>
                  <a:gd name="connsiteX47" fmla="*/ 0 w 1918706"/>
                  <a:gd name="connsiteY4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503632 h 5633118"/>
                  <a:gd name="connsiteX6" fmla="*/ 1918706 w 1918706"/>
                  <a:gd name="connsiteY6" fmla="*/ 2511407 h 5633118"/>
                  <a:gd name="connsiteX7" fmla="*/ 1918706 w 1918706"/>
                  <a:gd name="connsiteY7" fmla="*/ 2567616 h 5633118"/>
                  <a:gd name="connsiteX8" fmla="*/ 1918706 w 1918706"/>
                  <a:gd name="connsiteY8" fmla="*/ 2583313 h 5633118"/>
                  <a:gd name="connsiteX9" fmla="*/ 1918706 w 1918706"/>
                  <a:gd name="connsiteY9" fmla="*/ 2591087 h 5633118"/>
                  <a:gd name="connsiteX10" fmla="*/ 1918706 w 1918706"/>
                  <a:gd name="connsiteY10" fmla="*/ 2992759 h 5633118"/>
                  <a:gd name="connsiteX11" fmla="*/ 1918706 w 1918706"/>
                  <a:gd name="connsiteY11" fmla="*/ 3005914 h 5633118"/>
                  <a:gd name="connsiteX12" fmla="*/ 1918706 w 1918706"/>
                  <a:gd name="connsiteY12" fmla="*/ 3013688 h 5633118"/>
                  <a:gd name="connsiteX13" fmla="*/ 1918706 w 1918706"/>
                  <a:gd name="connsiteY13" fmla="*/ 3085594 h 5633118"/>
                  <a:gd name="connsiteX14" fmla="*/ 1918706 w 1918706"/>
                  <a:gd name="connsiteY14" fmla="*/ 3093368 h 5633118"/>
                  <a:gd name="connsiteX15" fmla="*/ 1918706 w 1918706"/>
                  <a:gd name="connsiteY15" fmla="*/ 3487266 h 5633118"/>
                  <a:gd name="connsiteX16" fmla="*/ 1918706 w 1918706"/>
                  <a:gd name="connsiteY16" fmla="*/ 3508195 h 5633118"/>
                  <a:gd name="connsiteX17" fmla="*/ 1918706 w 1918706"/>
                  <a:gd name="connsiteY17" fmla="*/ 3515969 h 5633118"/>
                  <a:gd name="connsiteX18" fmla="*/ 1918706 w 1918706"/>
                  <a:gd name="connsiteY18" fmla="*/ 3574721 h 5633118"/>
                  <a:gd name="connsiteX19" fmla="*/ 1918706 w 1918706"/>
                  <a:gd name="connsiteY19" fmla="*/ 3587875 h 5633118"/>
                  <a:gd name="connsiteX20" fmla="*/ 1918706 w 1918706"/>
                  <a:gd name="connsiteY20" fmla="*/ 3595649 h 5633118"/>
                  <a:gd name="connsiteX21" fmla="*/ 1918706 w 1918706"/>
                  <a:gd name="connsiteY21" fmla="*/ 3997322 h 5633118"/>
                  <a:gd name="connsiteX22" fmla="*/ 1918706 w 1918706"/>
                  <a:gd name="connsiteY22" fmla="*/ 4010476 h 5633118"/>
                  <a:gd name="connsiteX23" fmla="*/ 1918706 w 1918706"/>
                  <a:gd name="connsiteY23" fmla="*/ 4069228 h 5633118"/>
                  <a:gd name="connsiteX24" fmla="*/ 1918706 w 1918706"/>
                  <a:gd name="connsiteY24" fmla="*/ 4090156 h 5633118"/>
                  <a:gd name="connsiteX25" fmla="*/ 1918706 w 1918706"/>
                  <a:gd name="connsiteY25" fmla="*/ 4097931 h 5633118"/>
                  <a:gd name="connsiteX26" fmla="*/ 1918706 w 1918706"/>
                  <a:gd name="connsiteY26" fmla="*/ 4491829 h 5633118"/>
                  <a:gd name="connsiteX27" fmla="*/ 1918706 w 1918706"/>
                  <a:gd name="connsiteY27" fmla="*/ 4579284 h 5633118"/>
                  <a:gd name="connsiteX28" fmla="*/ 1918706 w 1918706"/>
                  <a:gd name="connsiteY28" fmla="*/ 4592438 h 5633118"/>
                  <a:gd name="connsiteX29" fmla="*/ 1918706 w 1918706"/>
                  <a:gd name="connsiteY29" fmla="*/ 5073791 h 5633118"/>
                  <a:gd name="connsiteX30" fmla="*/ 959355 w 1918706"/>
                  <a:gd name="connsiteY30" fmla="*/ 5633118 h 5633118"/>
                  <a:gd name="connsiteX31" fmla="*/ 0 w 1918706"/>
                  <a:gd name="connsiteY31" fmla="*/ 5073791 h 5633118"/>
                  <a:gd name="connsiteX32" fmla="*/ 0 w 1918706"/>
                  <a:gd name="connsiteY32" fmla="*/ 4592438 h 5633118"/>
                  <a:gd name="connsiteX33" fmla="*/ 0 w 1918706"/>
                  <a:gd name="connsiteY33" fmla="*/ 4579284 h 5633118"/>
                  <a:gd name="connsiteX34" fmla="*/ 0 w 1918706"/>
                  <a:gd name="connsiteY34" fmla="*/ 4491829 h 5633118"/>
                  <a:gd name="connsiteX35" fmla="*/ 0 w 1918706"/>
                  <a:gd name="connsiteY35" fmla="*/ 4097931 h 5633118"/>
                  <a:gd name="connsiteX36" fmla="*/ 0 w 1918706"/>
                  <a:gd name="connsiteY36" fmla="*/ 4090156 h 5633118"/>
                  <a:gd name="connsiteX37" fmla="*/ 0 w 1918706"/>
                  <a:gd name="connsiteY37" fmla="*/ 4069228 h 5633118"/>
                  <a:gd name="connsiteX38" fmla="*/ 0 w 1918706"/>
                  <a:gd name="connsiteY38" fmla="*/ 4010476 h 5633118"/>
                  <a:gd name="connsiteX39" fmla="*/ 0 w 1918706"/>
                  <a:gd name="connsiteY39" fmla="*/ 3997322 h 5633118"/>
                  <a:gd name="connsiteX40" fmla="*/ 0 w 1918706"/>
                  <a:gd name="connsiteY40" fmla="*/ 3595649 h 5633118"/>
                  <a:gd name="connsiteX41" fmla="*/ 0 w 1918706"/>
                  <a:gd name="connsiteY41" fmla="*/ 3587875 h 5633118"/>
                  <a:gd name="connsiteX42" fmla="*/ 0 w 1918706"/>
                  <a:gd name="connsiteY42" fmla="*/ 3574721 h 5633118"/>
                  <a:gd name="connsiteX43" fmla="*/ 0 w 1918706"/>
                  <a:gd name="connsiteY43" fmla="*/ 3515969 h 5633118"/>
                  <a:gd name="connsiteX44" fmla="*/ 0 w 1918706"/>
                  <a:gd name="connsiteY44" fmla="*/ 3508195 h 5633118"/>
                  <a:gd name="connsiteX45" fmla="*/ 0 w 1918706"/>
                  <a:gd name="connsiteY45" fmla="*/ 3487266 h 5633118"/>
                  <a:gd name="connsiteX46" fmla="*/ 0 w 1918706"/>
                  <a:gd name="connsiteY4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503632 h 5633118"/>
                  <a:gd name="connsiteX5" fmla="*/ 1918706 w 1918706"/>
                  <a:gd name="connsiteY5" fmla="*/ 2511407 h 5633118"/>
                  <a:gd name="connsiteX6" fmla="*/ 1918706 w 1918706"/>
                  <a:gd name="connsiteY6" fmla="*/ 2567616 h 5633118"/>
                  <a:gd name="connsiteX7" fmla="*/ 1918706 w 1918706"/>
                  <a:gd name="connsiteY7" fmla="*/ 2583313 h 5633118"/>
                  <a:gd name="connsiteX8" fmla="*/ 1918706 w 1918706"/>
                  <a:gd name="connsiteY8" fmla="*/ 2591087 h 5633118"/>
                  <a:gd name="connsiteX9" fmla="*/ 1918706 w 1918706"/>
                  <a:gd name="connsiteY9" fmla="*/ 2992759 h 5633118"/>
                  <a:gd name="connsiteX10" fmla="*/ 1918706 w 1918706"/>
                  <a:gd name="connsiteY10" fmla="*/ 3005914 h 5633118"/>
                  <a:gd name="connsiteX11" fmla="*/ 1918706 w 1918706"/>
                  <a:gd name="connsiteY11" fmla="*/ 3013688 h 5633118"/>
                  <a:gd name="connsiteX12" fmla="*/ 1918706 w 1918706"/>
                  <a:gd name="connsiteY12" fmla="*/ 3085594 h 5633118"/>
                  <a:gd name="connsiteX13" fmla="*/ 1918706 w 1918706"/>
                  <a:gd name="connsiteY13" fmla="*/ 3093368 h 5633118"/>
                  <a:gd name="connsiteX14" fmla="*/ 1918706 w 1918706"/>
                  <a:gd name="connsiteY14" fmla="*/ 3487266 h 5633118"/>
                  <a:gd name="connsiteX15" fmla="*/ 1918706 w 1918706"/>
                  <a:gd name="connsiteY15" fmla="*/ 3508195 h 5633118"/>
                  <a:gd name="connsiteX16" fmla="*/ 1918706 w 1918706"/>
                  <a:gd name="connsiteY16" fmla="*/ 3515969 h 5633118"/>
                  <a:gd name="connsiteX17" fmla="*/ 1918706 w 1918706"/>
                  <a:gd name="connsiteY17" fmla="*/ 3574721 h 5633118"/>
                  <a:gd name="connsiteX18" fmla="*/ 1918706 w 1918706"/>
                  <a:gd name="connsiteY18" fmla="*/ 3587875 h 5633118"/>
                  <a:gd name="connsiteX19" fmla="*/ 1918706 w 1918706"/>
                  <a:gd name="connsiteY19" fmla="*/ 3595649 h 5633118"/>
                  <a:gd name="connsiteX20" fmla="*/ 1918706 w 1918706"/>
                  <a:gd name="connsiteY20" fmla="*/ 3997322 h 5633118"/>
                  <a:gd name="connsiteX21" fmla="*/ 1918706 w 1918706"/>
                  <a:gd name="connsiteY21" fmla="*/ 4010476 h 5633118"/>
                  <a:gd name="connsiteX22" fmla="*/ 1918706 w 1918706"/>
                  <a:gd name="connsiteY22" fmla="*/ 4069228 h 5633118"/>
                  <a:gd name="connsiteX23" fmla="*/ 1918706 w 1918706"/>
                  <a:gd name="connsiteY23" fmla="*/ 4090156 h 5633118"/>
                  <a:gd name="connsiteX24" fmla="*/ 1918706 w 1918706"/>
                  <a:gd name="connsiteY24" fmla="*/ 4097931 h 5633118"/>
                  <a:gd name="connsiteX25" fmla="*/ 1918706 w 1918706"/>
                  <a:gd name="connsiteY25" fmla="*/ 4491829 h 5633118"/>
                  <a:gd name="connsiteX26" fmla="*/ 1918706 w 1918706"/>
                  <a:gd name="connsiteY26" fmla="*/ 4579284 h 5633118"/>
                  <a:gd name="connsiteX27" fmla="*/ 1918706 w 1918706"/>
                  <a:gd name="connsiteY27" fmla="*/ 4592438 h 5633118"/>
                  <a:gd name="connsiteX28" fmla="*/ 1918706 w 1918706"/>
                  <a:gd name="connsiteY28" fmla="*/ 5073791 h 5633118"/>
                  <a:gd name="connsiteX29" fmla="*/ 959355 w 1918706"/>
                  <a:gd name="connsiteY29" fmla="*/ 5633118 h 5633118"/>
                  <a:gd name="connsiteX30" fmla="*/ 0 w 1918706"/>
                  <a:gd name="connsiteY30" fmla="*/ 5073791 h 5633118"/>
                  <a:gd name="connsiteX31" fmla="*/ 0 w 1918706"/>
                  <a:gd name="connsiteY31" fmla="*/ 4592438 h 5633118"/>
                  <a:gd name="connsiteX32" fmla="*/ 0 w 1918706"/>
                  <a:gd name="connsiteY32" fmla="*/ 4579284 h 5633118"/>
                  <a:gd name="connsiteX33" fmla="*/ 0 w 1918706"/>
                  <a:gd name="connsiteY33" fmla="*/ 4491829 h 5633118"/>
                  <a:gd name="connsiteX34" fmla="*/ 0 w 1918706"/>
                  <a:gd name="connsiteY34" fmla="*/ 4097931 h 5633118"/>
                  <a:gd name="connsiteX35" fmla="*/ 0 w 1918706"/>
                  <a:gd name="connsiteY35" fmla="*/ 4090156 h 5633118"/>
                  <a:gd name="connsiteX36" fmla="*/ 0 w 1918706"/>
                  <a:gd name="connsiteY36" fmla="*/ 4069228 h 5633118"/>
                  <a:gd name="connsiteX37" fmla="*/ 0 w 1918706"/>
                  <a:gd name="connsiteY37" fmla="*/ 4010476 h 5633118"/>
                  <a:gd name="connsiteX38" fmla="*/ 0 w 1918706"/>
                  <a:gd name="connsiteY38" fmla="*/ 3997322 h 5633118"/>
                  <a:gd name="connsiteX39" fmla="*/ 0 w 1918706"/>
                  <a:gd name="connsiteY39" fmla="*/ 3595649 h 5633118"/>
                  <a:gd name="connsiteX40" fmla="*/ 0 w 1918706"/>
                  <a:gd name="connsiteY40" fmla="*/ 3587875 h 5633118"/>
                  <a:gd name="connsiteX41" fmla="*/ 0 w 1918706"/>
                  <a:gd name="connsiteY41" fmla="*/ 3574721 h 5633118"/>
                  <a:gd name="connsiteX42" fmla="*/ 0 w 1918706"/>
                  <a:gd name="connsiteY42" fmla="*/ 3515969 h 5633118"/>
                  <a:gd name="connsiteX43" fmla="*/ 0 w 1918706"/>
                  <a:gd name="connsiteY43" fmla="*/ 3508195 h 5633118"/>
                  <a:gd name="connsiteX44" fmla="*/ 0 w 1918706"/>
                  <a:gd name="connsiteY44" fmla="*/ 3487266 h 5633118"/>
                  <a:gd name="connsiteX45" fmla="*/ 0 w 1918706"/>
                  <a:gd name="connsiteY4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11407 h 5633118"/>
                  <a:gd name="connsiteX5" fmla="*/ 1918706 w 1918706"/>
                  <a:gd name="connsiteY5" fmla="*/ 2567616 h 5633118"/>
                  <a:gd name="connsiteX6" fmla="*/ 1918706 w 1918706"/>
                  <a:gd name="connsiteY6" fmla="*/ 2583313 h 5633118"/>
                  <a:gd name="connsiteX7" fmla="*/ 1918706 w 1918706"/>
                  <a:gd name="connsiteY7" fmla="*/ 2591087 h 5633118"/>
                  <a:gd name="connsiteX8" fmla="*/ 1918706 w 1918706"/>
                  <a:gd name="connsiteY8" fmla="*/ 2992759 h 5633118"/>
                  <a:gd name="connsiteX9" fmla="*/ 1918706 w 1918706"/>
                  <a:gd name="connsiteY9" fmla="*/ 3005914 h 5633118"/>
                  <a:gd name="connsiteX10" fmla="*/ 1918706 w 1918706"/>
                  <a:gd name="connsiteY10" fmla="*/ 3013688 h 5633118"/>
                  <a:gd name="connsiteX11" fmla="*/ 1918706 w 1918706"/>
                  <a:gd name="connsiteY11" fmla="*/ 3085594 h 5633118"/>
                  <a:gd name="connsiteX12" fmla="*/ 1918706 w 1918706"/>
                  <a:gd name="connsiteY12" fmla="*/ 3093368 h 5633118"/>
                  <a:gd name="connsiteX13" fmla="*/ 1918706 w 1918706"/>
                  <a:gd name="connsiteY13" fmla="*/ 3487266 h 5633118"/>
                  <a:gd name="connsiteX14" fmla="*/ 1918706 w 1918706"/>
                  <a:gd name="connsiteY14" fmla="*/ 3508195 h 5633118"/>
                  <a:gd name="connsiteX15" fmla="*/ 1918706 w 1918706"/>
                  <a:gd name="connsiteY15" fmla="*/ 3515969 h 5633118"/>
                  <a:gd name="connsiteX16" fmla="*/ 1918706 w 1918706"/>
                  <a:gd name="connsiteY16" fmla="*/ 3574721 h 5633118"/>
                  <a:gd name="connsiteX17" fmla="*/ 1918706 w 1918706"/>
                  <a:gd name="connsiteY17" fmla="*/ 3587875 h 5633118"/>
                  <a:gd name="connsiteX18" fmla="*/ 1918706 w 1918706"/>
                  <a:gd name="connsiteY18" fmla="*/ 3595649 h 5633118"/>
                  <a:gd name="connsiteX19" fmla="*/ 1918706 w 1918706"/>
                  <a:gd name="connsiteY19" fmla="*/ 3997322 h 5633118"/>
                  <a:gd name="connsiteX20" fmla="*/ 1918706 w 1918706"/>
                  <a:gd name="connsiteY20" fmla="*/ 4010476 h 5633118"/>
                  <a:gd name="connsiteX21" fmla="*/ 1918706 w 1918706"/>
                  <a:gd name="connsiteY21" fmla="*/ 4069228 h 5633118"/>
                  <a:gd name="connsiteX22" fmla="*/ 1918706 w 1918706"/>
                  <a:gd name="connsiteY22" fmla="*/ 4090156 h 5633118"/>
                  <a:gd name="connsiteX23" fmla="*/ 1918706 w 1918706"/>
                  <a:gd name="connsiteY23" fmla="*/ 4097931 h 5633118"/>
                  <a:gd name="connsiteX24" fmla="*/ 1918706 w 1918706"/>
                  <a:gd name="connsiteY24" fmla="*/ 4491829 h 5633118"/>
                  <a:gd name="connsiteX25" fmla="*/ 1918706 w 1918706"/>
                  <a:gd name="connsiteY25" fmla="*/ 4579284 h 5633118"/>
                  <a:gd name="connsiteX26" fmla="*/ 1918706 w 1918706"/>
                  <a:gd name="connsiteY26" fmla="*/ 4592438 h 5633118"/>
                  <a:gd name="connsiteX27" fmla="*/ 1918706 w 1918706"/>
                  <a:gd name="connsiteY27" fmla="*/ 5073791 h 5633118"/>
                  <a:gd name="connsiteX28" fmla="*/ 959355 w 1918706"/>
                  <a:gd name="connsiteY28" fmla="*/ 5633118 h 5633118"/>
                  <a:gd name="connsiteX29" fmla="*/ 0 w 1918706"/>
                  <a:gd name="connsiteY29" fmla="*/ 5073791 h 5633118"/>
                  <a:gd name="connsiteX30" fmla="*/ 0 w 1918706"/>
                  <a:gd name="connsiteY30" fmla="*/ 4592438 h 5633118"/>
                  <a:gd name="connsiteX31" fmla="*/ 0 w 1918706"/>
                  <a:gd name="connsiteY31" fmla="*/ 4579284 h 5633118"/>
                  <a:gd name="connsiteX32" fmla="*/ 0 w 1918706"/>
                  <a:gd name="connsiteY32" fmla="*/ 4491829 h 5633118"/>
                  <a:gd name="connsiteX33" fmla="*/ 0 w 1918706"/>
                  <a:gd name="connsiteY33" fmla="*/ 4097931 h 5633118"/>
                  <a:gd name="connsiteX34" fmla="*/ 0 w 1918706"/>
                  <a:gd name="connsiteY34" fmla="*/ 4090156 h 5633118"/>
                  <a:gd name="connsiteX35" fmla="*/ 0 w 1918706"/>
                  <a:gd name="connsiteY35" fmla="*/ 4069228 h 5633118"/>
                  <a:gd name="connsiteX36" fmla="*/ 0 w 1918706"/>
                  <a:gd name="connsiteY36" fmla="*/ 4010476 h 5633118"/>
                  <a:gd name="connsiteX37" fmla="*/ 0 w 1918706"/>
                  <a:gd name="connsiteY37" fmla="*/ 3997322 h 5633118"/>
                  <a:gd name="connsiteX38" fmla="*/ 0 w 1918706"/>
                  <a:gd name="connsiteY38" fmla="*/ 3595649 h 5633118"/>
                  <a:gd name="connsiteX39" fmla="*/ 0 w 1918706"/>
                  <a:gd name="connsiteY39" fmla="*/ 3587875 h 5633118"/>
                  <a:gd name="connsiteX40" fmla="*/ 0 w 1918706"/>
                  <a:gd name="connsiteY40" fmla="*/ 3574721 h 5633118"/>
                  <a:gd name="connsiteX41" fmla="*/ 0 w 1918706"/>
                  <a:gd name="connsiteY41" fmla="*/ 3515969 h 5633118"/>
                  <a:gd name="connsiteX42" fmla="*/ 0 w 1918706"/>
                  <a:gd name="connsiteY42" fmla="*/ 3508195 h 5633118"/>
                  <a:gd name="connsiteX43" fmla="*/ 0 w 1918706"/>
                  <a:gd name="connsiteY43" fmla="*/ 3487266 h 5633118"/>
                  <a:gd name="connsiteX44" fmla="*/ 0 w 1918706"/>
                  <a:gd name="connsiteY4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67616 h 5633118"/>
                  <a:gd name="connsiteX5" fmla="*/ 1918706 w 1918706"/>
                  <a:gd name="connsiteY5" fmla="*/ 2583313 h 5633118"/>
                  <a:gd name="connsiteX6" fmla="*/ 1918706 w 1918706"/>
                  <a:gd name="connsiteY6" fmla="*/ 2591087 h 5633118"/>
                  <a:gd name="connsiteX7" fmla="*/ 1918706 w 1918706"/>
                  <a:gd name="connsiteY7" fmla="*/ 2992759 h 5633118"/>
                  <a:gd name="connsiteX8" fmla="*/ 1918706 w 1918706"/>
                  <a:gd name="connsiteY8" fmla="*/ 3005914 h 5633118"/>
                  <a:gd name="connsiteX9" fmla="*/ 1918706 w 1918706"/>
                  <a:gd name="connsiteY9" fmla="*/ 3013688 h 5633118"/>
                  <a:gd name="connsiteX10" fmla="*/ 1918706 w 1918706"/>
                  <a:gd name="connsiteY10" fmla="*/ 3085594 h 5633118"/>
                  <a:gd name="connsiteX11" fmla="*/ 1918706 w 1918706"/>
                  <a:gd name="connsiteY11" fmla="*/ 3093368 h 5633118"/>
                  <a:gd name="connsiteX12" fmla="*/ 1918706 w 1918706"/>
                  <a:gd name="connsiteY12" fmla="*/ 3487266 h 5633118"/>
                  <a:gd name="connsiteX13" fmla="*/ 1918706 w 1918706"/>
                  <a:gd name="connsiteY13" fmla="*/ 3508195 h 5633118"/>
                  <a:gd name="connsiteX14" fmla="*/ 1918706 w 1918706"/>
                  <a:gd name="connsiteY14" fmla="*/ 3515969 h 5633118"/>
                  <a:gd name="connsiteX15" fmla="*/ 1918706 w 1918706"/>
                  <a:gd name="connsiteY15" fmla="*/ 3574721 h 5633118"/>
                  <a:gd name="connsiteX16" fmla="*/ 1918706 w 1918706"/>
                  <a:gd name="connsiteY16" fmla="*/ 3587875 h 5633118"/>
                  <a:gd name="connsiteX17" fmla="*/ 1918706 w 1918706"/>
                  <a:gd name="connsiteY17" fmla="*/ 3595649 h 5633118"/>
                  <a:gd name="connsiteX18" fmla="*/ 1918706 w 1918706"/>
                  <a:gd name="connsiteY18" fmla="*/ 3997322 h 5633118"/>
                  <a:gd name="connsiteX19" fmla="*/ 1918706 w 1918706"/>
                  <a:gd name="connsiteY19" fmla="*/ 4010476 h 5633118"/>
                  <a:gd name="connsiteX20" fmla="*/ 1918706 w 1918706"/>
                  <a:gd name="connsiteY20" fmla="*/ 4069228 h 5633118"/>
                  <a:gd name="connsiteX21" fmla="*/ 1918706 w 1918706"/>
                  <a:gd name="connsiteY21" fmla="*/ 4090156 h 5633118"/>
                  <a:gd name="connsiteX22" fmla="*/ 1918706 w 1918706"/>
                  <a:gd name="connsiteY22" fmla="*/ 4097931 h 5633118"/>
                  <a:gd name="connsiteX23" fmla="*/ 1918706 w 1918706"/>
                  <a:gd name="connsiteY23" fmla="*/ 4491829 h 5633118"/>
                  <a:gd name="connsiteX24" fmla="*/ 1918706 w 1918706"/>
                  <a:gd name="connsiteY24" fmla="*/ 4579284 h 5633118"/>
                  <a:gd name="connsiteX25" fmla="*/ 1918706 w 1918706"/>
                  <a:gd name="connsiteY25" fmla="*/ 4592438 h 5633118"/>
                  <a:gd name="connsiteX26" fmla="*/ 1918706 w 1918706"/>
                  <a:gd name="connsiteY26" fmla="*/ 5073791 h 5633118"/>
                  <a:gd name="connsiteX27" fmla="*/ 959355 w 1918706"/>
                  <a:gd name="connsiteY27" fmla="*/ 5633118 h 5633118"/>
                  <a:gd name="connsiteX28" fmla="*/ 0 w 1918706"/>
                  <a:gd name="connsiteY28" fmla="*/ 5073791 h 5633118"/>
                  <a:gd name="connsiteX29" fmla="*/ 0 w 1918706"/>
                  <a:gd name="connsiteY29" fmla="*/ 4592438 h 5633118"/>
                  <a:gd name="connsiteX30" fmla="*/ 0 w 1918706"/>
                  <a:gd name="connsiteY30" fmla="*/ 4579284 h 5633118"/>
                  <a:gd name="connsiteX31" fmla="*/ 0 w 1918706"/>
                  <a:gd name="connsiteY31" fmla="*/ 4491829 h 5633118"/>
                  <a:gd name="connsiteX32" fmla="*/ 0 w 1918706"/>
                  <a:gd name="connsiteY32" fmla="*/ 4097931 h 5633118"/>
                  <a:gd name="connsiteX33" fmla="*/ 0 w 1918706"/>
                  <a:gd name="connsiteY33" fmla="*/ 4090156 h 5633118"/>
                  <a:gd name="connsiteX34" fmla="*/ 0 w 1918706"/>
                  <a:gd name="connsiteY34" fmla="*/ 4069228 h 5633118"/>
                  <a:gd name="connsiteX35" fmla="*/ 0 w 1918706"/>
                  <a:gd name="connsiteY35" fmla="*/ 4010476 h 5633118"/>
                  <a:gd name="connsiteX36" fmla="*/ 0 w 1918706"/>
                  <a:gd name="connsiteY36" fmla="*/ 3997322 h 5633118"/>
                  <a:gd name="connsiteX37" fmla="*/ 0 w 1918706"/>
                  <a:gd name="connsiteY37" fmla="*/ 3595649 h 5633118"/>
                  <a:gd name="connsiteX38" fmla="*/ 0 w 1918706"/>
                  <a:gd name="connsiteY38" fmla="*/ 3587875 h 5633118"/>
                  <a:gd name="connsiteX39" fmla="*/ 0 w 1918706"/>
                  <a:gd name="connsiteY39" fmla="*/ 3574721 h 5633118"/>
                  <a:gd name="connsiteX40" fmla="*/ 0 w 1918706"/>
                  <a:gd name="connsiteY40" fmla="*/ 3515969 h 5633118"/>
                  <a:gd name="connsiteX41" fmla="*/ 0 w 1918706"/>
                  <a:gd name="connsiteY41" fmla="*/ 3508195 h 5633118"/>
                  <a:gd name="connsiteX42" fmla="*/ 0 w 1918706"/>
                  <a:gd name="connsiteY42" fmla="*/ 3487266 h 5633118"/>
                  <a:gd name="connsiteX43" fmla="*/ 0 w 1918706"/>
                  <a:gd name="connsiteY4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591087 h 5633118"/>
                  <a:gd name="connsiteX6" fmla="*/ 1918706 w 1918706"/>
                  <a:gd name="connsiteY6" fmla="*/ 2992759 h 5633118"/>
                  <a:gd name="connsiteX7" fmla="*/ 1918706 w 1918706"/>
                  <a:gd name="connsiteY7" fmla="*/ 3005914 h 5633118"/>
                  <a:gd name="connsiteX8" fmla="*/ 1918706 w 1918706"/>
                  <a:gd name="connsiteY8" fmla="*/ 3013688 h 5633118"/>
                  <a:gd name="connsiteX9" fmla="*/ 1918706 w 1918706"/>
                  <a:gd name="connsiteY9" fmla="*/ 3085594 h 5633118"/>
                  <a:gd name="connsiteX10" fmla="*/ 1918706 w 1918706"/>
                  <a:gd name="connsiteY10" fmla="*/ 3093368 h 5633118"/>
                  <a:gd name="connsiteX11" fmla="*/ 1918706 w 1918706"/>
                  <a:gd name="connsiteY11" fmla="*/ 3487266 h 5633118"/>
                  <a:gd name="connsiteX12" fmla="*/ 1918706 w 1918706"/>
                  <a:gd name="connsiteY12" fmla="*/ 3508195 h 5633118"/>
                  <a:gd name="connsiteX13" fmla="*/ 1918706 w 1918706"/>
                  <a:gd name="connsiteY13" fmla="*/ 3515969 h 5633118"/>
                  <a:gd name="connsiteX14" fmla="*/ 1918706 w 1918706"/>
                  <a:gd name="connsiteY14" fmla="*/ 3574721 h 5633118"/>
                  <a:gd name="connsiteX15" fmla="*/ 1918706 w 1918706"/>
                  <a:gd name="connsiteY15" fmla="*/ 3587875 h 5633118"/>
                  <a:gd name="connsiteX16" fmla="*/ 1918706 w 1918706"/>
                  <a:gd name="connsiteY16" fmla="*/ 3595649 h 5633118"/>
                  <a:gd name="connsiteX17" fmla="*/ 1918706 w 1918706"/>
                  <a:gd name="connsiteY17" fmla="*/ 3997322 h 5633118"/>
                  <a:gd name="connsiteX18" fmla="*/ 1918706 w 1918706"/>
                  <a:gd name="connsiteY18" fmla="*/ 4010476 h 5633118"/>
                  <a:gd name="connsiteX19" fmla="*/ 1918706 w 1918706"/>
                  <a:gd name="connsiteY19" fmla="*/ 4069228 h 5633118"/>
                  <a:gd name="connsiteX20" fmla="*/ 1918706 w 1918706"/>
                  <a:gd name="connsiteY20" fmla="*/ 4090156 h 5633118"/>
                  <a:gd name="connsiteX21" fmla="*/ 1918706 w 1918706"/>
                  <a:gd name="connsiteY21" fmla="*/ 4097931 h 5633118"/>
                  <a:gd name="connsiteX22" fmla="*/ 1918706 w 1918706"/>
                  <a:gd name="connsiteY22" fmla="*/ 4491829 h 5633118"/>
                  <a:gd name="connsiteX23" fmla="*/ 1918706 w 1918706"/>
                  <a:gd name="connsiteY23" fmla="*/ 4579284 h 5633118"/>
                  <a:gd name="connsiteX24" fmla="*/ 1918706 w 1918706"/>
                  <a:gd name="connsiteY24" fmla="*/ 4592438 h 5633118"/>
                  <a:gd name="connsiteX25" fmla="*/ 1918706 w 1918706"/>
                  <a:gd name="connsiteY25" fmla="*/ 5073791 h 5633118"/>
                  <a:gd name="connsiteX26" fmla="*/ 959355 w 1918706"/>
                  <a:gd name="connsiteY26" fmla="*/ 5633118 h 5633118"/>
                  <a:gd name="connsiteX27" fmla="*/ 0 w 1918706"/>
                  <a:gd name="connsiteY27" fmla="*/ 5073791 h 5633118"/>
                  <a:gd name="connsiteX28" fmla="*/ 0 w 1918706"/>
                  <a:gd name="connsiteY28" fmla="*/ 4592438 h 5633118"/>
                  <a:gd name="connsiteX29" fmla="*/ 0 w 1918706"/>
                  <a:gd name="connsiteY29" fmla="*/ 4579284 h 5633118"/>
                  <a:gd name="connsiteX30" fmla="*/ 0 w 1918706"/>
                  <a:gd name="connsiteY30" fmla="*/ 4491829 h 5633118"/>
                  <a:gd name="connsiteX31" fmla="*/ 0 w 1918706"/>
                  <a:gd name="connsiteY31" fmla="*/ 4097931 h 5633118"/>
                  <a:gd name="connsiteX32" fmla="*/ 0 w 1918706"/>
                  <a:gd name="connsiteY32" fmla="*/ 4090156 h 5633118"/>
                  <a:gd name="connsiteX33" fmla="*/ 0 w 1918706"/>
                  <a:gd name="connsiteY33" fmla="*/ 4069228 h 5633118"/>
                  <a:gd name="connsiteX34" fmla="*/ 0 w 1918706"/>
                  <a:gd name="connsiteY34" fmla="*/ 4010476 h 5633118"/>
                  <a:gd name="connsiteX35" fmla="*/ 0 w 1918706"/>
                  <a:gd name="connsiteY35" fmla="*/ 3997322 h 5633118"/>
                  <a:gd name="connsiteX36" fmla="*/ 0 w 1918706"/>
                  <a:gd name="connsiteY36" fmla="*/ 3595649 h 5633118"/>
                  <a:gd name="connsiteX37" fmla="*/ 0 w 1918706"/>
                  <a:gd name="connsiteY37" fmla="*/ 3587875 h 5633118"/>
                  <a:gd name="connsiteX38" fmla="*/ 0 w 1918706"/>
                  <a:gd name="connsiteY38" fmla="*/ 3574721 h 5633118"/>
                  <a:gd name="connsiteX39" fmla="*/ 0 w 1918706"/>
                  <a:gd name="connsiteY39" fmla="*/ 3515969 h 5633118"/>
                  <a:gd name="connsiteX40" fmla="*/ 0 w 1918706"/>
                  <a:gd name="connsiteY40" fmla="*/ 3508195 h 5633118"/>
                  <a:gd name="connsiteX41" fmla="*/ 0 w 1918706"/>
                  <a:gd name="connsiteY41" fmla="*/ 3487266 h 5633118"/>
                  <a:gd name="connsiteX42" fmla="*/ 0 w 1918706"/>
                  <a:gd name="connsiteY4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992759 h 5633118"/>
                  <a:gd name="connsiteX6" fmla="*/ 1918706 w 1918706"/>
                  <a:gd name="connsiteY6" fmla="*/ 3005914 h 5633118"/>
                  <a:gd name="connsiteX7" fmla="*/ 1918706 w 1918706"/>
                  <a:gd name="connsiteY7" fmla="*/ 3013688 h 5633118"/>
                  <a:gd name="connsiteX8" fmla="*/ 1918706 w 1918706"/>
                  <a:gd name="connsiteY8" fmla="*/ 3085594 h 5633118"/>
                  <a:gd name="connsiteX9" fmla="*/ 1918706 w 1918706"/>
                  <a:gd name="connsiteY9" fmla="*/ 3093368 h 5633118"/>
                  <a:gd name="connsiteX10" fmla="*/ 1918706 w 1918706"/>
                  <a:gd name="connsiteY10" fmla="*/ 3487266 h 5633118"/>
                  <a:gd name="connsiteX11" fmla="*/ 1918706 w 1918706"/>
                  <a:gd name="connsiteY11" fmla="*/ 3508195 h 5633118"/>
                  <a:gd name="connsiteX12" fmla="*/ 1918706 w 1918706"/>
                  <a:gd name="connsiteY12" fmla="*/ 3515969 h 5633118"/>
                  <a:gd name="connsiteX13" fmla="*/ 1918706 w 1918706"/>
                  <a:gd name="connsiteY13" fmla="*/ 3574721 h 5633118"/>
                  <a:gd name="connsiteX14" fmla="*/ 1918706 w 1918706"/>
                  <a:gd name="connsiteY14" fmla="*/ 3587875 h 5633118"/>
                  <a:gd name="connsiteX15" fmla="*/ 1918706 w 1918706"/>
                  <a:gd name="connsiteY15" fmla="*/ 3595649 h 5633118"/>
                  <a:gd name="connsiteX16" fmla="*/ 1918706 w 1918706"/>
                  <a:gd name="connsiteY16" fmla="*/ 3997322 h 5633118"/>
                  <a:gd name="connsiteX17" fmla="*/ 1918706 w 1918706"/>
                  <a:gd name="connsiteY17" fmla="*/ 4010476 h 5633118"/>
                  <a:gd name="connsiteX18" fmla="*/ 1918706 w 1918706"/>
                  <a:gd name="connsiteY18" fmla="*/ 4069228 h 5633118"/>
                  <a:gd name="connsiteX19" fmla="*/ 1918706 w 1918706"/>
                  <a:gd name="connsiteY19" fmla="*/ 4090156 h 5633118"/>
                  <a:gd name="connsiteX20" fmla="*/ 1918706 w 1918706"/>
                  <a:gd name="connsiteY20" fmla="*/ 4097931 h 5633118"/>
                  <a:gd name="connsiteX21" fmla="*/ 1918706 w 1918706"/>
                  <a:gd name="connsiteY21" fmla="*/ 4491829 h 5633118"/>
                  <a:gd name="connsiteX22" fmla="*/ 1918706 w 1918706"/>
                  <a:gd name="connsiteY22" fmla="*/ 4579284 h 5633118"/>
                  <a:gd name="connsiteX23" fmla="*/ 1918706 w 1918706"/>
                  <a:gd name="connsiteY23" fmla="*/ 4592438 h 5633118"/>
                  <a:gd name="connsiteX24" fmla="*/ 1918706 w 1918706"/>
                  <a:gd name="connsiteY24" fmla="*/ 5073791 h 5633118"/>
                  <a:gd name="connsiteX25" fmla="*/ 959355 w 1918706"/>
                  <a:gd name="connsiteY25" fmla="*/ 5633118 h 5633118"/>
                  <a:gd name="connsiteX26" fmla="*/ 0 w 1918706"/>
                  <a:gd name="connsiteY26" fmla="*/ 5073791 h 5633118"/>
                  <a:gd name="connsiteX27" fmla="*/ 0 w 1918706"/>
                  <a:gd name="connsiteY27" fmla="*/ 4592438 h 5633118"/>
                  <a:gd name="connsiteX28" fmla="*/ 0 w 1918706"/>
                  <a:gd name="connsiteY28" fmla="*/ 4579284 h 5633118"/>
                  <a:gd name="connsiteX29" fmla="*/ 0 w 1918706"/>
                  <a:gd name="connsiteY29" fmla="*/ 4491829 h 5633118"/>
                  <a:gd name="connsiteX30" fmla="*/ 0 w 1918706"/>
                  <a:gd name="connsiteY30" fmla="*/ 4097931 h 5633118"/>
                  <a:gd name="connsiteX31" fmla="*/ 0 w 1918706"/>
                  <a:gd name="connsiteY31" fmla="*/ 4090156 h 5633118"/>
                  <a:gd name="connsiteX32" fmla="*/ 0 w 1918706"/>
                  <a:gd name="connsiteY32" fmla="*/ 4069228 h 5633118"/>
                  <a:gd name="connsiteX33" fmla="*/ 0 w 1918706"/>
                  <a:gd name="connsiteY33" fmla="*/ 4010476 h 5633118"/>
                  <a:gd name="connsiteX34" fmla="*/ 0 w 1918706"/>
                  <a:gd name="connsiteY34" fmla="*/ 3997322 h 5633118"/>
                  <a:gd name="connsiteX35" fmla="*/ 0 w 1918706"/>
                  <a:gd name="connsiteY35" fmla="*/ 3595649 h 5633118"/>
                  <a:gd name="connsiteX36" fmla="*/ 0 w 1918706"/>
                  <a:gd name="connsiteY36" fmla="*/ 3587875 h 5633118"/>
                  <a:gd name="connsiteX37" fmla="*/ 0 w 1918706"/>
                  <a:gd name="connsiteY37" fmla="*/ 3574721 h 5633118"/>
                  <a:gd name="connsiteX38" fmla="*/ 0 w 1918706"/>
                  <a:gd name="connsiteY38" fmla="*/ 3515969 h 5633118"/>
                  <a:gd name="connsiteX39" fmla="*/ 0 w 1918706"/>
                  <a:gd name="connsiteY39" fmla="*/ 3508195 h 5633118"/>
                  <a:gd name="connsiteX40" fmla="*/ 0 w 1918706"/>
                  <a:gd name="connsiteY40" fmla="*/ 3487266 h 5633118"/>
                  <a:gd name="connsiteX41" fmla="*/ 0 w 1918706"/>
                  <a:gd name="connsiteY4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992759 h 5633118"/>
                  <a:gd name="connsiteX5" fmla="*/ 1918706 w 1918706"/>
                  <a:gd name="connsiteY5" fmla="*/ 3005914 h 5633118"/>
                  <a:gd name="connsiteX6" fmla="*/ 1918706 w 1918706"/>
                  <a:gd name="connsiteY6" fmla="*/ 3013688 h 5633118"/>
                  <a:gd name="connsiteX7" fmla="*/ 1918706 w 1918706"/>
                  <a:gd name="connsiteY7" fmla="*/ 3085594 h 5633118"/>
                  <a:gd name="connsiteX8" fmla="*/ 1918706 w 1918706"/>
                  <a:gd name="connsiteY8" fmla="*/ 3093368 h 5633118"/>
                  <a:gd name="connsiteX9" fmla="*/ 1918706 w 1918706"/>
                  <a:gd name="connsiteY9" fmla="*/ 3487266 h 5633118"/>
                  <a:gd name="connsiteX10" fmla="*/ 1918706 w 1918706"/>
                  <a:gd name="connsiteY10" fmla="*/ 3508195 h 5633118"/>
                  <a:gd name="connsiteX11" fmla="*/ 1918706 w 1918706"/>
                  <a:gd name="connsiteY11" fmla="*/ 3515969 h 5633118"/>
                  <a:gd name="connsiteX12" fmla="*/ 1918706 w 1918706"/>
                  <a:gd name="connsiteY12" fmla="*/ 3574721 h 5633118"/>
                  <a:gd name="connsiteX13" fmla="*/ 1918706 w 1918706"/>
                  <a:gd name="connsiteY13" fmla="*/ 3587875 h 5633118"/>
                  <a:gd name="connsiteX14" fmla="*/ 1918706 w 1918706"/>
                  <a:gd name="connsiteY14" fmla="*/ 3595649 h 5633118"/>
                  <a:gd name="connsiteX15" fmla="*/ 1918706 w 1918706"/>
                  <a:gd name="connsiteY15" fmla="*/ 3997322 h 5633118"/>
                  <a:gd name="connsiteX16" fmla="*/ 1918706 w 1918706"/>
                  <a:gd name="connsiteY16" fmla="*/ 4010476 h 5633118"/>
                  <a:gd name="connsiteX17" fmla="*/ 1918706 w 1918706"/>
                  <a:gd name="connsiteY17" fmla="*/ 4069228 h 5633118"/>
                  <a:gd name="connsiteX18" fmla="*/ 1918706 w 1918706"/>
                  <a:gd name="connsiteY18" fmla="*/ 4090156 h 5633118"/>
                  <a:gd name="connsiteX19" fmla="*/ 1918706 w 1918706"/>
                  <a:gd name="connsiteY19" fmla="*/ 4097931 h 5633118"/>
                  <a:gd name="connsiteX20" fmla="*/ 1918706 w 1918706"/>
                  <a:gd name="connsiteY20" fmla="*/ 4491829 h 5633118"/>
                  <a:gd name="connsiteX21" fmla="*/ 1918706 w 1918706"/>
                  <a:gd name="connsiteY21" fmla="*/ 4579284 h 5633118"/>
                  <a:gd name="connsiteX22" fmla="*/ 1918706 w 1918706"/>
                  <a:gd name="connsiteY22" fmla="*/ 4592438 h 5633118"/>
                  <a:gd name="connsiteX23" fmla="*/ 1918706 w 1918706"/>
                  <a:gd name="connsiteY23" fmla="*/ 5073791 h 5633118"/>
                  <a:gd name="connsiteX24" fmla="*/ 959355 w 1918706"/>
                  <a:gd name="connsiteY24" fmla="*/ 5633118 h 5633118"/>
                  <a:gd name="connsiteX25" fmla="*/ 0 w 1918706"/>
                  <a:gd name="connsiteY25" fmla="*/ 5073791 h 5633118"/>
                  <a:gd name="connsiteX26" fmla="*/ 0 w 1918706"/>
                  <a:gd name="connsiteY26" fmla="*/ 4592438 h 5633118"/>
                  <a:gd name="connsiteX27" fmla="*/ 0 w 1918706"/>
                  <a:gd name="connsiteY27" fmla="*/ 4579284 h 5633118"/>
                  <a:gd name="connsiteX28" fmla="*/ 0 w 1918706"/>
                  <a:gd name="connsiteY28" fmla="*/ 4491829 h 5633118"/>
                  <a:gd name="connsiteX29" fmla="*/ 0 w 1918706"/>
                  <a:gd name="connsiteY29" fmla="*/ 4097931 h 5633118"/>
                  <a:gd name="connsiteX30" fmla="*/ 0 w 1918706"/>
                  <a:gd name="connsiteY30" fmla="*/ 4090156 h 5633118"/>
                  <a:gd name="connsiteX31" fmla="*/ 0 w 1918706"/>
                  <a:gd name="connsiteY31" fmla="*/ 4069228 h 5633118"/>
                  <a:gd name="connsiteX32" fmla="*/ 0 w 1918706"/>
                  <a:gd name="connsiteY32" fmla="*/ 4010476 h 5633118"/>
                  <a:gd name="connsiteX33" fmla="*/ 0 w 1918706"/>
                  <a:gd name="connsiteY33" fmla="*/ 3997322 h 5633118"/>
                  <a:gd name="connsiteX34" fmla="*/ 0 w 1918706"/>
                  <a:gd name="connsiteY34" fmla="*/ 3595649 h 5633118"/>
                  <a:gd name="connsiteX35" fmla="*/ 0 w 1918706"/>
                  <a:gd name="connsiteY35" fmla="*/ 3587875 h 5633118"/>
                  <a:gd name="connsiteX36" fmla="*/ 0 w 1918706"/>
                  <a:gd name="connsiteY36" fmla="*/ 3574721 h 5633118"/>
                  <a:gd name="connsiteX37" fmla="*/ 0 w 1918706"/>
                  <a:gd name="connsiteY37" fmla="*/ 3515969 h 5633118"/>
                  <a:gd name="connsiteX38" fmla="*/ 0 w 1918706"/>
                  <a:gd name="connsiteY38" fmla="*/ 3508195 h 5633118"/>
                  <a:gd name="connsiteX39" fmla="*/ 0 w 1918706"/>
                  <a:gd name="connsiteY39" fmla="*/ 3487266 h 5633118"/>
                  <a:gd name="connsiteX40" fmla="*/ 0 w 1918706"/>
                  <a:gd name="connsiteY4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13688 h 5633118"/>
                  <a:gd name="connsiteX6" fmla="*/ 1918706 w 1918706"/>
                  <a:gd name="connsiteY6" fmla="*/ 3085594 h 5633118"/>
                  <a:gd name="connsiteX7" fmla="*/ 1918706 w 1918706"/>
                  <a:gd name="connsiteY7" fmla="*/ 3093368 h 5633118"/>
                  <a:gd name="connsiteX8" fmla="*/ 1918706 w 1918706"/>
                  <a:gd name="connsiteY8" fmla="*/ 3487266 h 5633118"/>
                  <a:gd name="connsiteX9" fmla="*/ 1918706 w 1918706"/>
                  <a:gd name="connsiteY9" fmla="*/ 3508195 h 5633118"/>
                  <a:gd name="connsiteX10" fmla="*/ 1918706 w 1918706"/>
                  <a:gd name="connsiteY10" fmla="*/ 3515969 h 5633118"/>
                  <a:gd name="connsiteX11" fmla="*/ 1918706 w 1918706"/>
                  <a:gd name="connsiteY11" fmla="*/ 3574721 h 5633118"/>
                  <a:gd name="connsiteX12" fmla="*/ 1918706 w 1918706"/>
                  <a:gd name="connsiteY12" fmla="*/ 3587875 h 5633118"/>
                  <a:gd name="connsiteX13" fmla="*/ 1918706 w 1918706"/>
                  <a:gd name="connsiteY13" fmla="*/ 3595649 h 5633118"/>
                  <a:gd name="connsiteX14" fmla="*/ 1918706 w 1918706"/>
                  <a:gd name="connsiteY14" fmla="*/ 3997322 h 5633118"/>
                  <a:gd name="connsiteX15" fmla="*/ 1918706 w 1918706"/>
                  <a:gd name="connsiteY15" fmla="*/ 4010476 h 5633118"/>
                  <a:gd name="connsiteX16" fmla="*/ 1918706 w 1918706"/>
                  <a:gd name="connsiteY16" fmla="*/ 4069228 h 5633118"/>
                  <a:gd name="connsiteX17" fmla="*/ 1918706 w 1918706"/>
                  <a:gd name="connsiteY17" fmla="*/ 4090156 h 5633118"/>
                  <a:gd name="connsiteX18" fmla="*/ 1918706 w 1918706"/>
                  <a:gd name="connsiteY18" fmla="*/ 4097931 h 5633118"/>
                  <a:gd name="connsiteX19" fmla="*/ 1918706 w 1918706"/>
                  <a:gd name="connsiteY19" fmla="*/ 4491829 h 5633118"/>
                  <a:gd name="connsiteX20" fmla="*/ 1918706 w 1918706"/>
                  <a:gd name="connsiteY20" fmla="*/ 4579284 h 5633118"/>
                  <a:gd name="connsiteX21" fmla="*/ 1918706 w 1918706"/>
                  <a:gd name="connsiteY21" fmla="*/ 4592438 h 5633118"/>
                  <a:gd name="connsiteX22" fmla="*/ 1918706 w 1918706"/>
                  <a:gd name="connsiteY22" fmla="*/ 5073791 h 5633118"/>
                  <a:gd name="connsiteX23" fmla="*/ 959355 w 1918706"/>
                  <a:gd name="connsiteY23" fmla="*/ 5633118 h 5633118"/>
                  <a:gd name="connsiteX24" fmla="*/ 0 w 1918706"/>
                  <a:gd name="connsiteY24" fmla="*/ 5073791 h 5633118"/>
                  <a:gd name="connsiteX25" fmla="*/ 0 w 1918706"/>
                  <a:gd name="connsiteY25" fmla="*/ 4592438 h 5633118"/>
                  <a:gd name="connsiteX26" fmla="*/ 0 w 1918706"/>
                  <a:gd name="connsiteY26" fmla="*/ 4579284 h 5633118"/>
                  <a:gd name="connsiteX27" fmla="*/ 0 w 1918706"/>
                  <a:gd name="connsiteY27" fmla="*/ 4491829 h 5633118"/>
                  <a:gd name="connsiteX28" fmla="*/ 0 w 1918706"/>
                  <a:gd name="connsiteY28" fmla="*/ 4097931 h 5633118"/>
                  <a:gd name="connsiteX29" fmla="*/ 0 w 1918706"/>
                  <a:gd name="connsiteY29" fmla="*/ 4090156 h 5633118"/>
                  <a:gd name="connsiteX30" fmla="*/ 0 w 1918706"/>
                  <a:gd name="connsiteY30" fmla="*/ 4069228 h 5633118"/>
                  <a:gd name="connsiteX31" fmla="*/ 0 w 1918706"/>
                  <a:gd name="connsiteY31" fmla="*/ 4010476 h 5633118"/>
                  <a:gd name="connsiteX32" fmla="*/ 0 w 1918706"/>
                  <a:gd name="connsiteY32" fmla="*/ 3997322 h 5633118"/>
                  <a:gd name="connsiteX33" fmla="*/ 0 w 1918706"/>
                  <a:gd name="connsiteY33" fmla="*/ 3595649 h 5633118"/>
                  <a:gd name="connsiteX34" fmla="*/ 0 w 1918706"/>
                  <a:gd name="connsiteY34" fmla="*/ 3587875 h 5633118"/>
                  <a:gd name="connsiteX35" fmla="*/ 0 w 1918706"/>
                  <a:gd name="connsiteY35" fmla="*/ 3574721 h 5633118"/>
                  <a:gd name="connsiteX36" fmla="*/ 0 w 1918706"/>
                  <a:gd name="connsiteY36" fmla="*/ 3515969 h 5633118"/>
                  <a:gd name="connsiteX37" fmla="*/ 0 w 1918706"/>
                  <a:gd name="connsiteY37" fmla="*/ 3508195 h 5633118"/>
                  <a:gd name="connsiteX38" fmla="*/ 0 w 1918706"/>
                  <a:gd name="connsiteY38" fmla="*/ 3487266 h 5633118"/>
                  <a:gd name="connsiteX39" fmla="*/ 0 w 1918706"/>
                  <a:gd name="connsiteY3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85594 h 5633118"/>
                  <a:gd name="connsiteX6" fmla="*/ 1918706 w 1918706"/>
                  <a:gd name="connsiteY6" fmla="*/ 3093368 h 5633118"/>
                  <a:gd name="connsiteX7" fmla="*/ 1918706 w 1918706"/>
                  <a:gd name="connsiteY7" fmla="*/ 3487266 h 5633118"/>
                  <a:gd name="connsiteX8" fmla="*/ 1918706 w 1918706"/>
                  <a:gd name="connsiteY8" fmla="*/ 3508195 h 5633118"/>
                  <a:gd name="connsiteX9" fmla="*/ 1918706 w 1918706"/>
                  <a:gd name="connsiteY9" fmla="*/ 3515969 h 5633118"/>
                  <a:gd name="connsiteX10" fmla="*/ 1918706 w 1918706"/>
                  <a:gd name="connsiteY10" fmla="*/ 3574721 h 5633118"/>
                  <a:gd name="connsiteX11" fmla="*/ 1918706 w 1918706"/>
                  <a:gd name="connsiteY11" fmla="*/ 3587875 h 5633118"/>
                  <a:gd name="connsiteX12" fmla="*/ 1918706 w 1918706"/>
                  <a:gd name="connsiteY12" fmla="*/ 3595649 h 5633118"/>
                  <a:gd name="connsiteX13" fmla="*/ 1918706 w 1918706"/>
                  <a:gd name="connsiteY13" fmla="*/ 3997322 h 5633118"/>
                  <a:gd name="connsiteX14" fmla="*/ 1918706 w 1918706"/>
                  <a:gd name="connsiteY14" fmla="*/ 4010476 h 5633118"/>
                  <a:gd name="connsiteX15" fmla="*/ 1918706 w 1918706"/>
                  <a:gd name="connsiteY15" fmla="*/ 4069228 h 5633118"/>
                  <a:gd name="connsiteX16" fmla="*/ 1918706 w 1918706"/>
                  <a:gd name="connsiteY16" fmla="*/ 4090156 h 5633118"/>
                  <a:gd name="connsiteX17" fmla="*/ 1918706 w 1918706"/>
                  <a:gd name="connsiteY17" fmla="*/ 4097931 h 5633118"/>
                  <a:gd name="connsiteX18" fmla="*/ 1918706 w 1918706"/>
                  <a:gd name="connsiteY18" fmla="*/ 4491829 h 5633118"/>
                  <a:gd name="connsiteX19" fmla="*/ 1918706 w 1918706"/>
                  <a:gd name="connsiteY19" fmla="*/ 4579284 h 5633118"/>
                  <a:gd name="connsiteX20" fmla="*/ 1918706 w 1918706"/>
                  <a:gd name="connsiteY20" fmla="*/ 4592438 h 5633118"/>
                  <a:gd name="connsiteX21" fmla="*/ 1918706 w 1918706"/>
                  <a:gd name="connsiteY21" fmla="*/ 5073791 h 5633118"/>
                  <a:gd name="connsiteX22" fmla="*/ 959355 w 1918706"/>
                  <a:gd name="connsiteY22" fmla="*/ 5633118 h 5633118"/>
                  <a:gd name="connsiteX23" fmla="*/ 0 w 1918706"/>
                  <a:gd name="connsiteY23" fmla="*/ 5073791 h 5633118"/>
                  <a:gd name="connsiteX24" fmla="*/ 0 w 1918706"/>
                  <a:gd name="connsiteY24" fmla="*/ 4592438 h 5633118"/>
                  <a:gd name="connsiteX25" fmla="*/ 0 w 1918706"/>
                  <a:gd name="connsiteY25" fmla="*/ 4579284 h 5633118"/>
                  <a:gd name="connsiteX26" fmla="*/ 0 w 1918706"/>
                  <a:gd name="connsiteY26" fmla="*/ 4491829 h 5633118"/>
                  <a:gd name="connsiteX27" fmla="*/ 0 w 1918706"/>
                  <a:gd name="connsiteY27" fmla="*/ 4097931 h 5633118"/>
                  <a:gd name="connsiteX28" fmla="*/ 0 w 1918706"/>
                  <a:gd name="connsiteY28" fmla="*/ 4090156 h 5633118"/>
                  <a:gd name="connsiteX29" fmla="*/ 0 w 1918706"/>
                  <a:gd name="connsiteY29" fmla="*/ 4069228 h 5633118"/>
                  <a:gd name="connsiteX30" fmla="*/ 0 w 1918706"/>
                  <a:gd name="connsiteY30" fmla="*/ 4010476 h 5633118"/>
                  <a:gd name="connsiteX31" fmla="*/ 0 w 1918706"/>
                  <a:gd name="connsiteY31" fmla="*/ 3997322 h 5633118"/>
                  <a:gd name="connsiteX32" fmla="*/ 0 w 1918706"/>
                  <a:gd name="connsiteY32" fmla="*/ 3595649 h 5633118"/>
                  <a:gd name="connsiteX33" fmla="*/ 0 w 1918706"/>
                  <a:gd name="connsiteY33" fmla="*/ 3587875 h 5633118"/>
                  <a:gd name="connsiteX34" fmla="*/ 0 w 1918706"/>
                  <a:gd name="connsiteY34" fmla="*/ 3574721 h 5633118"/>
                  <a:gd name="connsiteX35" fmla="*/ 0 w 1918706"/>
                  <a:gd name="connsiteY35" fmla="*/ 3515969 h 5633118"/>
                  <a:gd name="connsiteX36" fmla="*/ 0 w 1918706"/>
                  <a:gd name="connsiteY36" fmla="*/ 3508195 h 5633118"/>
                  <a:gd name="connsiteX37" fmla="*/ 0 w 1918706"/>
                  <a:gd name="connsiteY37" fmla="*/ 3487266 h 5633118"/>
                  <a:gd name="connsiteX38" fmla="*/ 0 w 1918706"/>
                  <a:gd name="connsiteY3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85594 h 5633118"/>
                  <a:gd name="connsiteX5" fmla="*/ 1918706 w 1918706"/>
                  <a:gd name="connsiteY5" fmla="*/ 3093368 h 5633118"/>
                  <a:gd name="connsiteX6" fmla="*/ 1918706 w 1918706"/>
                  <a:gd name="connsiteY6" fmla="*/ 3487266 h 5633118"/>
                  <a:gd name="connsiteX7" fmla="*/ 1918706 w 1918706"/>
                  <a:gd name="connsiteY7" fmla="*/ 3508195 h 5633118"/>
                  <a:gd name="connsiteX8" fmla="*/ 1918706 w 1918706"/>
                  <a:gd name="connsiteY8" fmla="*/ 3515969 h 5633118"/>
                  <a:gd name="connsiteX9" fmla="*/ 1918706 w 1918706"/>
                  <a:gd name="connsiteY9" fmla="*/ 3574721 h 5633118"/>
                  <a:gd name="connsiteX10" fmla="*/ 1918706 w 1918706"/>
                  <a:gd name="connsiteY10" fmla="*/ 3587875 h 5633118"/>
                  <a:gd name="connsiteX11" fmla="*/ 1918706 w 1918706"/>
                  <a:gd name="connsiteY11" fmla="*/ 3595649 h 5633118"/>
                  <a:gd name="connsiteX12" fmla="*/ 1918706 w 1918706"/>
                  <a:gd name="connsiteY12" fmla="*/ 3997322 h 5633118"/>
                  <a:gd name="connsiteX13" fmla="*/ 1918706 w 1918706"/>
                  <a:gd name="connsiteY13" fmla="*/ 4010476 h 5633118"/>
                  <a:gd name="connsiteX14" fmla="*/ 1918706 w 1918706"/>
                  <a:gd name="connsiteY14" fmla="*/ 4069228 h 5633118"/>
                  <a:gd name="connsiteX15" fmla="*/ 1918706 w 1918706"/>
                  <a:gd name="connsiteY15" fmla="*/ 4090156 h 5633118"/>
                  <a:gd name="connsiteX16" fmla="*/ 1918706 w 1918706"/>
                  <a:gd name="connsiteY16" fmla="*/ 4097931 h 5633118"/>
                  <a:gd name="connsiteX17" fmla="*/ 1918706 w 1918706"/>
                  <a:gd name="connsiteY17" fmla="*/ 4491829 h 5633118"/>
                  <a:gd name="connsiteX18" fmla="*/ 1918706 w 1918706"/>
                  <a:gd name="connsiteY18" fmla="*/ 4579284 h 5633118"/>
                  <a:gd name="connsiteX19" fmla="*/ 1918706 w 1918706"/>
                  <a:gd name="connsiteY19" fmla="*/ 4592438 h 5633118"/>
                  <a:gd name="connsiteX20" fmla="*/ 1918706 w 1918706"/>
                  <a:gd name="connsiteY20" fmla="*/ 5073791 h 5633118"/>
                  <a:gd name="connsiteX21" fmla="*/ 959355 w 1918706"/>
                  <a:gd name="connsiteY21" fmla="*/ 5633118 h 5633118"/>
                  <a:gd name="connsiteX22" fmla="*/ 0 w 1918706"/>
                  <a:gd name="connsiteY22" fmla="*/ 5073791 h 5633118"/>
                  <a:gd name="connsiteX23" fmla="*/ 0 w 1918706"/>
                  <a:gd name="connsiteY23" fmla="*/ 4592438 h 5633118"/>
                  <a:gd name="connsiteX24" fmla="*/ 0 w 1918706"/>
                  <a:gd name="connsiteY24" fmla="*/ 4579284 h 5633118"/>
                  <a:gd name="connsiteX25" fmla="*/ 0 w 1918706"/>
                  <a:gd name="connsiteY25" fmla="*/ 4491829 h 5633118"/>
                  <a:gd name="connsiteX26" fmla="*/ 0 w 1918706"/>
                  <a:gd name="connsiteY26" fmla="*/ 4097931 h 5633118"/>
                  <a:gd name="connsiteX27" fmla="*/ 0 w 1918706"/>
                  <a:gd name="connsiteY27" fmla="*/ 4090156 h 5633118"/>
                  <a:gd name="connsiteX28" fmla="*/ 0 w 1918706"/>
                  <a:gd name="connsiteY28" fmla="*/ 4069228 h 5633118"/>
                  <a:gd name="connsiteX29" fmla="*/ 0 w 1918706"/>
                  <a:gd name="connsiteY29" fmla="*/ 4010476 h 5633118"/>
                  <a:gd name="connsiteX30" fmla="*/ 0 w 1918706"/>
                  <a:gd name="connsiteY30" fmla="*/ 3997322 h 5633118"/>
                  <a:gd name="connsiteX31" fmla="*/ 0 w 1918706"/>
                  <a:gd name="connsiteY31" fmla="*/ 3595649 h 5633118"/>
                  <a:gd name="connsiteX32" fmla="*/ 0 w 1918706"/>
                  <a:gd name="connsiteY32" fmla="*/ 3587875 h 5633118"/>
                  <a:gd name="connsiteX33" fmla="*/ 0 w 1918706"/>
                  <a:gd name="connsiteY33" fmla="*/ 3574721 h 5633118"/>
                  <a:gd name="connsiteX34" fmla="*/ 0 w 1918706"/>
                  <a:gd name="connsiteY34" fmla="*/ 3515969 h 5633118"/>
                  <a:gd name="connsiteX35" fmla="*/ 0 w 1918706"/>
                  <a:gd name="connsiteY35" fmla="*/ 3508195 h 5633118"/>
                  <a:gd name="connsiteX36" fmla="*/ 0 w 1918706"/>
                  <a:gd name="connsiteY36" fmla="*/ 3487266 h 5633118"/>
                  <a:gd name="connsiteX37" fmla="*/ 0 w 1918706"/>
                  <a:gd name="connsiteY3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093368 h 5633118"/>
                  <a:gd name="connsiteX5" fmla="*/ 1918706 w 1918706"/>
                  <a:gd name="connsiteY5" fmla="*/ 3487266 h 5633118"/>
                  <a:gd name="connsiteX6" fmla="*/ 1918706 w 1918706"/>
                  <a:gd name="connsiteY6" fmla="*/ 3508195 h 5633118"/>
                  <a:gd name="connsiteX7" fmla="*/ 1918706 w 1918706"/>
                  <a:gd name="connsiteY7" fmla="*/ 3515969 h 5633118"/>
                  <a:gd name="connsiteX8" fmla="*/ 1918706 w 1918706"/>
                  <a:gd name="connsiteY8" fmla="*/ 3574721 h 5633118"/>
                  <a:gd name="connsiteX9" fmla="*/ 1918706 w 1918706"/>
                  <a:gd name="connsiteY9" fmla="*/ 3587875 h 5633118"/>
                  <a:gd name="connsiteX10" fmla="*/ 1918706 w 1918706"/>
                  <a:gd name="connsiteY10" fmla="*/ 3595649 h 5633118"/>
                  <a:gd name="connsiteX11" fmla="*/ 1918706 w 1918706"/>
                  <a:gd name="connsiteY11" fmla="*/ 3997322 h 5633118"/>
                  <a:gd name="connsiteX12" fmla="*/ 1918706 w 1918706"/>
                  <a:gd name="connsiteY12" fmla="*/ 4010476 h 5633118"/>
                  <a:gd name="connsiteX13" fmla="*/ 1918706 w 1918706"/>
                  <a:gd name="connsiteY13" fmla="*/ 4069228 h 5633118"/>
                  <a:gd name="connsiteX14" fmla="*/ 1918706 w 1918706"/>
                  <a:gd name="connsiteY14" fmla="*/ 4090156 h 5633118"/>
                  <a:gd name="connsiteX15" fmla="*/ 1918706 w 1918706"/>
                  <a:gd name="connsiteY15" fmla="*/ 4097931 h 5633118"/>
                  <a:gd name="connsiteX16" fmla="*/ 1918706 w 1918706"/>
                  <a:gd name="connsiteY16" fmla="*/ 4491829 h 5633118"/>
                  <a:gd name="connsiteX17" fmla="*/ 1918706 w 1918706"/>
                  <a:gd name="connsiteY17" fmla="*/ 4579284 h 5633118"/>
                  <a:gd name="connsiteX18" fmla="*/ 1918706 w 1918706"/>
                  <a:gd name="connsiteY18" fmla="*/ 4592438 h 5633118"/>
                  <a:gd name="connsiteX19" fmla="*/ 1918706 w 1918706"/>
                  <a:gd name="connsiteY19" fmla="*/ 5073791 h 5633118"/>
                  <a:gd name="connsiteX20" fmla="*/ 959355 w 1918706"/>
                  <a:gd name="connsiteY20" fmla="*/ 5633118 h 5633118"/>
                  <a:gd name="connsiteX21" fmla="*/ 0 w 1918706"/>
                  <a:gd name="connsiteY21" fmla="*/ 5073791 h 5633118"/>
                  <a:gd name="connsiteX22" fmla="*/ 0 w 1918706"/>
                  <a:gd name="connsiteY22" fmla="*/ 4592438 h 5633118"/>
                  <a:gd name="connsiteX23" fmla="*/ 0 w 1918706"/>
                  <a:gd name="connsiteY23" fmla="*/ 4579284 h 5633118"/>
                  <a:gd name="connsiteX24" fmla="*/ 0 w 1918706"/>
                  <a:gd name="connsiteY24" fmla="*/ 4491829 h 5633118"/>
                  <a:gd name="connsiteX25" fmla="*/ 0 w 1918706"/>
                  <a:gd name="connsiteY25" fmla="*/ 4097931 h 5633118"/>
                  <a:gd name="connsiteX26" fmla="*/ 0 w 1918706"/>
                  <a:gd name="connsiteY26" fmla="*/ 4090156 h 5633118"/>
                  <a:gd name="connsiteX27" fmla="*/ 0 w 1918706"/>
                  <a:gd name="connsiteY27" fmla="*/ 4069228 h 5633118"/>
                  <a:gd name="connsiteX28" fmla="*/ 0 w 1918706"/>
                  <a:gd name="connsiteY28" fmla="*/ 4010476 h 5633118"/>
                  <a:gd name="connsiteX29" fmla="*/ 0 w 1918706"/>
                  <a:gd name="connsiteY29" fmla="*/ 3997322 h 5633118"/>
                  <a:gd name="connsiteX30" fmla="*/ 0 w 1918706"/>
                  <a:gd name="connsiteY30" fmla="*/ 3595649 h 5633118"/>
                  <a:gd name="connsiteX31" fmla="*/ 0 w 1918706"/>
                  <a:gd name="connsiteY31" fmla="*/ 3587875 h 5633118"/>
                  <a:gd name="connsiteX32" fmla="*/ 0 w 1918706"/>
                  <a:gd name="connsiteY32" fmla="*/ 3574721 h 5633118"/>
                  <a:gd name="connsiteX33" fmla="*/ 0 w 1918706"/>
                  <a:gd name="connsiteY33" fmla="*/ 3515969 h 5633118"/>
                  <a:gd name="connsiteX34" fmla="*/ 0 w 1918706"/>
                  <a:gd name="connsiteY34" fmla="*/ 3508195 h 5633118"/>
                  <a:gd name="connsiteX35" fmla="*/ 0 w 1918706"/>
                  <a:gd name="connsiteY35" fmla="*/ 3487266 h 5633118"/>
                  <a:gd name="connsiteX36" fmla="*/ 0 w 1918706"/>
                  <a:gd name="connsiteY3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487266 h 5633118"/>
                  <a:gd name="connsiteX5" fmla="*/ 1918706 w 1918706"/>
                  <a:gd name="connsiteY5" fmla="*/ 3508195 h 5633118"/>
                  <a:gd name="connsiteX6" fmla="*/ 1918706 w 1918706"/>
                  <a:gd name="connsiteY6" fmla="*/ 3515969 h 5633118"/>
                  <a:gd name="connsiteX7" fmla="*/ 1918706 w 1918706"/>
                  <a:gd name="connsiteY7" fmla="*/ 3574721 h 5633118"/>
                  <a:gd name="connsiteX8" fmla="*/ 1918706 w 1918706"/>
                  <a:gd name="connsiteY8" fmla="*/ 3587875 h 5633118"/>
                  <a:gd name="connsiteX9" fmla="*/ 1918706 w 1918706"/>
                  <a:gd name="connsiteY9" fmla="*/ 3595649 h 5633118"/>
                  <a:gd name="connsiteX10" fmla="*/ 1918706 w 1918706"/>
                  <a:gd name="connsiteY10" fmla="*/ 3997322 h 5633118"/>
                  <a:gd name="connsiteX11" fmla="*/ 1918706 w 1918706"/>
                  <a:gd name="connsiteY11" fmla="*/ 4010476 h 5633118"/>
                  <a:gd name="connsiteX12" fmla="*/ 1918706 w 1918706"/>
                  <a:gd name="connsiteY12" fmla="*/ 4069228 h 5633118"/>
                  <a:gd name="connsiteX13" fmla="*/ 1918706 w 1918706"/>
                  <a:gd name="connsiteY13" fmla="*/ 4090156 h 5633118"/>
                  <a:gd name="connsiteX14" fmla="*/ 1918706 w 1918706"/>
                  <a:gd name="connsiteY14" fmla="*/ 4097931 h 5633118"/>
                  <a:gd name="connsiteX15" fmla="*/ 1918706 w 1918706"/>
                  <a:gd name="connsiteY15" fmla="*/ 4491829 h 5633118"/>
                  <a:gd name="connsiteX16" fmla="*/ 1918706 w 1918706"/>
                  <a:gd name="connsiteY16" fmla="*/ 4579284 h 5633118"/>
                  <a:gd name="connsiteX17" fmla="*/ 1918706 w 1918706"/>
                  <a:gd name="connsiteY17" fmla="*/ 4592438 h 5633118"/>
                  <a:gd name="connsiteX18" fmla="*/ 1918706 w 1918706"/>
                  <a:gd name="connsiteY18" fmla="*/ 5073791 h 5633118"/>
                  <a:gd name="connsiteX19" fmla="*/ 959355 w 1918706"/>
                  <a:gd name="connsiteY19" fmla="*/ 5633118 h 5633118"/>
                  <a:gd name="connsiteX20" fmla="*/ 0 w 1918706"/>
                  <a:gd name="connsiteY20" fmla="*/ 5073791 h 5633118"/>
                  <a:gd name="connsiteX21" fmla="*/ 0 w 1918706"/>
                  <a:gd name="connsiteY21" fmla="*/ 4592438 h 5633118"/>
                  <a:gd name="connsiteX22" fmla="*/ 0 w 1918706"/>
                  <a:gd name="connsiteY22" fmla="*/ 4579284 h 5633118"/>
                  <a:gd name="connsiteX23" fmla="*/ 0 w 1918706"/>
                  <a:gd name="connsiteY23" fmla="*/ 4491829 h 5633118"/>
                  <a:gd name="connsiteX24" fmla="*/ 0 w 1918706"/>
                  <a:gd name="connsiteY24" fmla="*/ 4097931 h 5633118"/>
                  <a:gd name="connsiteX25" fmla="*/ 0 w 1918706"/>
                  <a:gd name="connsiteY25" fmla="*/ 4090156 h 5633118"/>
                  <a:gd name="connsiteX26" fmla="*/ 0 w 1918706"/>
                  <a:gd name="connsiteY26" fmla="*/ 4069228 h 5633118"/>
                  <a:gd name="connsiteX27" fmla="*/ 0 w 1918706"/>
                  <a:gd name="connsiteY27" fmla="*/ 4010476 h 5633118"/>
                  <a:gd name="connsiteX28" fmla="*/ 0 w 1918706"/>
                  <a:gd name="connsiteY28" fmla="*/ 3997322 h 5633118"/>
                  <a:gd name="connsiteX29" fmla="*/ 0 w 1918706"/>
                  <a:gd name="connsiteY29" fmla="*/ 3595649 h 5633118"/>
                  <a:gd name="connsiteX30" fmla="*/ 0 w 1918706"/>
                  <a:gd name="connsiteY30" fmla="*/ 3587875 h 5633118"/>
                  <a:gd name="connsiteX31" fmla="*/ 0 w 1918706"/>
                  <a:gd name="connsiteY31" fmla="*/ 3574721 h 5633118"/>
                  <a:gd name="connsiteX32" fmla="*/ 0 w 1918706"/>
                  <a:gd name="connsiteY32" fmla="*/ 3515969 h 5633118"/>
                  <a:gd name="connsiteX33" fmla="*/ 0 w 1918706"/>
                  <a:gd name="connsiteY33" fmla="*/ 3508195 h 5633118"/>
                  <a:gd name="connsiteX34" fmla="*/ 0 w 1918706"/>
                  <a:gd name="connsiteY34" fmla="*/ 3487266 h 5633118"/>
                  <a:gd name="connsiteX35" fmla="*/ 0 w 1918706"/>
                  <a:gd name="connsiteY3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74721 h 5633118"/>
                  <a:gd name="connsiteX7" fmla="*/ 1918706 w 1918706"/>
                  <a:gd name="connsiteY7" fmla="*/ 3587875 h 5633118"/>
                  <a:gd name="connsiteX8" fmla="*/ 1918706 w 1918706"/>
                  <a:gd name="connsiteY8" fmla="*/ 3595649 h 5633118"/>
                  <a:gd name="connsiteX9" fmla="*/ 1918706 w 1918706"/>
                  <a:gd name="connsiteY9" fmla="*/ 3997322 h 5633118"/>
                  <a:gd name="connsiteX10" fmla="*/ 1918706 w 1918706"/>
                  <a:gd name="connsiteY10" fmla="*/ 4010476 h 5633118"/>
                  <a:gd name="connsiteX11" fmla="*/ 1918706 w 1918706"/>
                  <a:gd name="connsiteY11" fmla="*/ 4069228 h 5633118"/>
                  <a:gd name="connsiteX12" fmla="*/ 1918706 w 1918706"/>
                  <a:gd name="connsiteY12" fmla="*/ 4090156 h 5633118"/>
                  <a:gd name="connsiteX13" fmla="*/ 1918706 w 1918706"/>
                  <a:gd name="connsiteY13" fmla="*/ 4097931 h 5633118"/>
                  <a:gd name="connsiteX14" fmla="*/ 1918706 w 1918706"/>
                  <a:gd name="connsiteY14" fmla="*/ 4491829 h 5633118"/>
                  <a:gd name="connsiteX15" fmla="*/ 1918706 w 1918706"/>
                  <a:gd name="connsiteY15" fmla="*/ 4579284 h 5633118"/>
                  <a:gd name="connsiteX16" fmla="*/ 1918706 w 1918706"/>
                  <a:gd name="connsiteY16" fmla="*/ 4592438 h 5633118"/>
                  <a:gd name="connsiteX17" fmla="*/ 1918706 w 1918706"/>
                  <a:gd name="connsiteY17" fmla="*/ 5073791 h 5633118"/>
                  <a:gd name="connsiteX18" fmla="*/ 959355 w 1918706"/>
                  <a:gd name="connsiteY18" fmla="*/ 5633118 h 5633118"/>
                  <a:gd name="connsiteX19" fmla="*/ 0 w 1918706"/>
                  <a:gd name="connsiteY19" fmla="*/ 5073791 h 5633118"/>
                  <a:gd name="connsiteX20" fmla="*/ 0 w 1918706"/>
                  <a:gd name="connsiteY20" fmla="*/ 4592438 h 5633118"/>
                  <a:gd name="connsiteX21" fmla="*/ 0 w 1918706"/>
                  <a:gd name="connsiteY21" fmla="*/ 4579284 h 5633118"/>
                  <a:gd name="connsiteX22" fmla="*/ 0 w 1918706"/>
                  <a:gd name="connsiteY22" fmla="*/ 4491829 h 5633118"/>
                  <a:gd name="connsiteX23" fmla="*/ 0 w 1918706"/>
                  <a:gd name="connsiteY23" fmla="*/ 4097931 h 5633118"/>
                  <a:gd name="connsiteX24" fmla="*/ 0 w 1918706"/>
                  <a:gd name="connsiteY24" fmla="*/ 4090156 h 5633118"/>
                  <a:gd name="connsiteX25" fmla="*/ 0 w 1918706"/>
                  <a:gd name="connsiteY25" fmla="*/ 4069228 h 5633118"/>
                  <a:gd name="connsiteX26" fmla="*/ 0 w 1918706"/>
                  <a:gd name="connsiteY26" fmla="*/ 4010476 h 5633118"/>
                  <a:gd name="connsiteX27" fmla="*/ 0 w 1918706"/>
                  <a:gd name="connsiteY27" fmla="*/ 3997322 h 5633118"/>
                  <a:gd name="connsiteX28" fmla="*/ 0 w 1918706"/>
                  <a:gd name="connsiteY28" fmla="*/ 3595649 h 5633118"/>
                  <a:gd name="connsiteX29" fmla="*/ 0 w 1918706"/>
                  <a:gd name="connsiteY29" fmla="*/ 3587875 h 5633118"/>
                  <a:gd name="connsiteX30" fmla="*/ 0 w 1918706"/>
                  <a:gd name="connsiteY30" fmla="*/ 3574721 h 5633118"/>
                  <a:gd name="connsiteX31" fmla="*/ 0 w 1918706"/>
                  <a:gd name="connsiteY31" fmla="*/ 3515969 h 5633118"/>
                  <a:gd name="connsiteX32" fmla="*/ 0 w 1918706"/>
                  <a:gd name="connsiteY32" fmla="*/ 3508195 h 5633118"/>
                  <a:gd name="connsiteX33" fmla="*/ 0 w 1918706"/>
                  <a:gd name="connsiteY33" fmla="*/ 3487266 h 5633118"/>
                  <a:gd name="connsiteX34" fmla="*/ 0 w 1918706"/>
                  <a:gd name="connsiteY3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87875 h 5633118"/>
                  <a:gd name="connsiteX7" fmla="*/ 1918706 w 1918706"/>
                  <a:gd name="connsiteY7" fmla="*/ 3595649 h 5633118"/>
                  <a:gd name="connsiteX8" fmla="*/ 1918706 w 1918706"/>
                  <a:gd name="connsiteY8" fmla="*/ 3997322 h 5633118"/>
                  <a:gd name="connsiteX9" fmla="*/ 1918706 w 1918706"/>
                  <a:gd name="connsiteY9" fmla="*/ 4010476 h 5633118"/>
                  <a:gd name="connsiteX10" fmla="*/ 1918706 w 1918706"/>
                  <a:gd name="connsiteY10" fmla="*/ 4069228 h 5633118"/>
                  <a:gd name="connsiteX11" fmla="*/ 1918706 w 1918706"/>
                  <a:gd name="connsiteY11" fmla="*/ 4090156 h 5633118"/>
                  <a:gd name="connsiteX12" fmla="*/ 1918706 w 1918706"/>
                  <a:gd name="connsiteY12" fmla="*/ 4097931 h 5633118"/>
                  <a:gd name="connsiteX13" fmla="*/ 1918706 w 1918706"/>
                  <a:gd name="connsiteY13" fmla="*/ 4491829 h 5633118"/>
                  <a:gd name="connsiteX14" fmla="*/ 1918706 w 1918706"/>
                  <a:gd name="connsiteY14" fmla="*/ 4579284 h 5633118"/>
                  <a:gd name="connsiteX15" fmla="*/ 1918706 w 1918706"/>
                  <a:gd name="connsiteY15" fmla="*/ 4592438 h 5633118"/>
                  <a:gd name="connsiteX16" fmla="*/ 1918706 w 1918706"/>
                  <a:gd name="connsiteY16" fmla="*/ 5073791 h 5633118"/>
                  <a:gd name="connsiteX17" fmla="*/ 959355 w 1918706"/>
                  <a:gd name="connsiteY17" fmla="*/ 5633118 h 5633118"/>
                  <a:gd name="connsiteX18" fmla="*/ 0 w 1918706"/>
                  <a:gd name="connsiteY18" fmla="*/ 5073791 h 5633118"/>
                  <a:gd name="connsiteX19" fmla="*/ 0 w 1918706"/>
                  <a:gd name="connsiteY19" fmla="*/ 4592438 h 5633118"/>
                  <a:gd name="connsiteX20" fmla="*/ 0 w 1918706"/>
                  <a:gd name="connsiteY20" fmla="*/ 4579284 h 5633118"/>
                  <a:gd name="connsiteX21" fmla="*/ 0 w 1918706"/>
                  <a:gd name="connsiteY21" fmla="*/ 4491829 h 5633118"/>
                  <a:gd name="connsiteX22" fmla="*/ 0 w 1918706"/>
                  <a:gd name="connsiteY22" fmla="*/ 4097931 h 5633118"/>
                  <a:gd name="connsiteX23" fmla="*/ 0 w 1918706"/>
                  <a:gd name="connsiteY23" fmla="*/ 4090156 h 5633118"/>
                  <a:gd name="connsiteX24" fmla="*/ 0 w 1918706"/>
                  <a:gd name="connsiteY24" fmla="*/ 4069228 h 5633118"/>
                  <a:gd name="connsiteX25" fmla="*/ 0 w 1918706"/>
                  <a:gd name="connsiteY25" fmla="*/ 4010476 h 5633118"/>
                  <a:gd name="connsiteX26" fmla="*/ 0 w 1918706"/>
                  <a:gd name="connsiteY26" fmla="*/ 3997322 h 5633118"/>
                  <a:gd name="connsiteX27" fmla="*/ 0 w 1918706"/>
                  <a:gd name="connsiteY27" fmla="*/ 3595649 h 5633118"/>
                  <a:gd name="connsiteX28" fmla="*/ 0 w 1918706"/>
                  <a:gd name="connsiteY28" fmla="*/ 3587875 h 5633118"/>
                  <a:gd name="connsiteX29" fmla="*/ 0 w 1918706"/>
                  <a:gd name="connsiteY29" fmla="*/ 3574721 h 5633118"/>
                  <a:gd name="connsiteX30" fmla="*/ 0 w 1918706"/>
                  <a:gd name="connsiteY30" fmla="*/ 3515969 h 5633118"/>
                  <a:gd name="connsiteX31" fmla="*/ 0 w 1918706"/>
                  <a:gd name="connsiteY31" fmla="*/ 3508195 h 5633118"/>
                  <a:gd name="connsiteX32" fmla="*/ 0 w 1918706"/>
                  <a:gd name="connsiteY32" fmla="*/ 3487266 h 5633118"/>
                  <a:gd name="connsiteX33" fmla="*/ 0 w 1918706"/>
                  <a:gd name="connsiteY3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87875 h 5633118"/>
                  <a:gd name="connsiteX6" fmla="*/ 1918706 w 1918706"/>
                  <a:gd name="connsiteY6" fmla="*/ 3595649 h 5633118"/>
                  <a:gd name="connsiteX7" fmla="*/ 1918706 w 1918706"/>
                  <a:gd name="connsiteY7" fmla="*/ 3997322 h 5633118"/>
                  <a:gd name="connsiteX8" fmla="*/ 1918706 w 1918706"/>
                  <a:gd name="connsiteY8" fmla="*/ 4010476 h 5633118"/>
                  <a:gd name="connsiteX9" fmla="*/ 1918706 w 1918706"/>
                  <a:gd name="connsiteY9" fmla="*/ 4069228 h 5633118"/>
                  <a:gd name="connsiteX10" fmla="*/ 1918706 w 1918706"/>
                  <a:gd name="connsiteY10" fmla="*/ 4090156 h 5633118"/>
                  <a:gd name="connsiteX11" fmla="*/ 1918706 w 1918706"/>
                  <a:gd name="connsiteY11" fmla="*/ 4097931 h 5633118"/>
                  <a:gd name="connsiteX12" fmla="*/ 1918706 w 1918706"/>
                  <a:gd name="connsiteY12" fmla="*/ 4491829 h 5633118"/>
                  <a:gd name="connsiteX13" fmla="*/ 1918706 w 1918706"/>
                  <a:gd name="connsiteY13" fmla="*/ 4579284 h 5633118"/>
                  <a:gd name="connsiteX14" fmla="*/ 1918706 w 1918706"/>
                  <a:gd name="connsiteY14" fmla="*/ 4592438 h 5633118"/>
                  <a:gd name="connsiteX15" fmla="*/ 1918706 w 1918706"/>
                  <a:gd name="connsiteY15" fmla="*/ 5073791 h 5633118"/>
                  <a:gd name="connsiteX16" fmla="*/ 959355 w 1918706"/>
                  <a:gd name="connsiteY16" fmla="*/ 5633118 h 5633118"/>
                  <a:gd name="connsiteX17" fmla="*/ 0 w 1918706"/>
                  <a:gd name="connsiteY17" fmla="*/ 5073791 h 5633118"/>
                  <a:gd name="connsiteX18" fmla="*/ 0 w 1918706"/>
                  <a:gd name="connsiteY18" fmla="*/ 4592438 h 5633118"/>
                  <a:gd name="connsiteX19" fmla="*/ 0 w 1918706"/>
                  <a:gd name="connsiteY19" fmla="*/ 4579284 h 5633118"/>
                  <a:gd name="connsiteX20" fmla="*/ 0 w 1918706"/>
                  <a:gd name="connsiteY20" fmla="*/ 4491829 h 5633118"/>
                  <a:gd name="connsiteX21" fmla="*/ 0 w 1918706"/>
                  <a:gd name="connsiteY21" fmla="*/ 4097931 h 5633118"/>
                  <a:gd name="connsiteX22" fmla="*/ 0 w 1918706"/>
                  <a:gd name="connsiteY22" fmla="*/ 4090156 h 5633118"/>
                  <a:gd name="connsiteX23" fmla="*/ 0 w 1918706"/>
                  <a:gd name="connsiteY23" fmla="*/ 4069228 h 5633118"/>
                  <a:gd name="connsiteX24" fmla="*/ 0 w 1918706"/>
                  <a:gd name="connsiteY24" fmla="*/ 4010476 h 5633118"/>
                  <a:gd name="connsiteX25" fmla="*/ 0 w 1918706"/>
                  <a:gd name="connsiteY25" fmla="*/ 3997322 h 5633118"/>
                  <a:gd name="connsiteX26" fmla="*/ 0 w 1918706"/>
                  <a:gd name="connsiteY26" fmla="*/ 3595649 h 5633118"/>
                  <a:gd name="connsiteX27" fmla="*/ 0 w 1918706"/>
                  <a:gd name="connsiteY27" fmla="*/ 3587875 h 5633118"/>
                  <a:gd name="connsiteX28" fmla="*/ 0 w 1918706"/>
                  <a:gd name="connsiteY28" fmla="*/ 3574721 h 5633118"/>
                  <a:gd name="connsiteX29" fmla="*/ 0 w 1918706"/>
                  <a:gd name="connsiteY29" fmla="*/ 3515969 h 5633118"/>
                  <a:gd name="connsiteX30" fmla="*/ 0 w 1918706"/>
                  <a:gd name="connsiteY30" fmla="*/ 3508195 h 5633118"/>
                  <a:gd name="connsiteX31" fmla="*/ 0 w 1918706"/>
                  <a:gd name="connsiteY31" fmla="*/ 3487266 h 5633118"/>
                  <a:gd name="connsiteX32" fmla="*/ 0 w 1918706"/>
                  <a:gd name="connsiteY3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595649 h 5633118"/>
                  <a:gd name="connsiteX6" fmla="*/ 1918706 w 1918706"/>
                  <a:gd name="connsiteY6" fmla="*/ 3997322 h 5633118"/>
                  <a:gd name="connsiteX7" fmla="*/ 1918706 w 1918706"/>
                  <a:gd name="connsiteY7" fmla="*/ 4010476 h 5633118"/>
                  <a:gd name="connsiteX8" fmla="*/ 1918706 w 1918706"/>
                  <a:gd name="connsiteY8" fmla="*/ 4069228 h 5633118"/>
                  <a:gd name="connsiteX9" fmla="*/ 1918706 w 1918706"/>
                  <a:gd name="connsiteY9" fmla="*/ 4090156 h 5633118"/>
                  <a:gd name="connsiteX10" fmla="*/ 1918706 w 1918706"/>
                  <a:gd name="connsiteY10" fmla="*/ 4097931 h 5633118"/>
                  <a:gd name="connsiteX11" fmla="*/ 1918706 w 1918706"/>
                  <a:gd name="connsiteY11" fmla="*/ 4491829 h 5633118"/>
                  <a:gd name="connsiteX12" fmla="*/ 1918706 w 1918706"/>
                  <a:gd name="connsiteY12" fmla="*/ 4579284 h 5633118"/>
                  <a:gd name="connsiteX13" fmla="*/ 1918706 w 1918706"/>
                  <a:gd name="connsiteY13" fmla="*/ 4592438 h 5633118"/>
                  <a:gd name="connsiteX14" fmla="*/ 1918706 w 1918706"/>
                  <a:gd name="connsiteY14" fmla="*/ 5073791 h 5633118"/>
                  <a:gd name="connsiteX15" fmla="*/ 959355 w 1918706"/>
                  <a:gd name="connsiteY15" fmla="*/ 5633118 h 5633118"/>
                  <a:gd name="connsiteX16" fmla="*/ 0 w 1918706"/>
                  <a:gd name="connsiteY16" fmla="*/ 5073791 h 5633118"/>
                  <a:gd name="connsiteX17" fmla="*/ 0 w 1918706"/>
                  <a:gd name="connsiteY17" fmla="*/ 4592438 h 5633118"/>
                  <a:gd name="connsiteX18" fmla="*/ 0 w 1918706"/>
                  <a:gd name="connsiteY18" fmla="*/ 4579284 h 5633118"/>
                  <a:gd name="connsiteX19" fmla="*/ 0 w 1918706"/>
                  <a:gd name="connsiteY19" fmla="*/ 4491829 h 5633118"/>
                  <a:gd name="connsiteX20" fmla="*/ 0 w 1918706"/>
                  <a:gd name="connsiteY20" fmla="*/ 4097931 h 5633118"/>
                  <a:gd name="connsiteX21" fmla="*/ 0 w 1918706"/>
                  <a:gd name="connsiteY21" fmla="*/ 4090156 h 5633118"/>
                  <a:gd name="connsiteX22" fmla="*/ 0 w 1918706"/>
                  <a:gd name="connsiteY22" fmla="*/ 4069228 h 5633118"/>
                  <a:gd name="connsiteX23" fmla="*/ 0 w 1918706"/>
                  <a:gd name="connsiteY23" fmla="*/ 4010476 h 5633118"/>
                  <a:gd name="connsiteX24" fmla="*/ 0 w 1918706"/>
                  <a:gd name="connsiteY24" fmla="*/ 3997322 h 5633118"/>
                  <a:gd name="connsiteX25" fmla="*/ 0 w 1918706"/>
                  <a:gd name="connsiteY25" fmla="*/ 3595649 h 5633118"/>
                  <a:gd name="connsiteX26" fmla="*/ 0 w 1918706"/>
                  <a:gd name="connsiteY26" fmla="*/ 3587875 h 5633118"/>
                  <a:gd name="connsiteX27" fmla="*/ 0 w 1918706"/>
                  <a:gd name="connsiteY27" fmla="*/ 3574721 h 5633118"/>
                  <a:gd name="connsiteX28" fmla="*/ 0 w 1918706"/>
                  <a:gd name="connsiteY28" fmla="*/ 3515969 h 5633118"/>
                  <a:gd name="connsiteX29" fmla="*/ 0 w 1918706"/>
                  <a:gd name="connsiteY29" fmla="*/ 3508195 h 5633118"/>
                  <a:gd name="connsiteX30" fmla="*/ 0 w 1918706"/>
                  <a:gd name="connsiteY30" fmla="*/ 3487266 h 5633118"/>
                  <a:gd name="connsiteX31" fmla="*/ 0 w 1918706"/>
                  <a:gd name="connsiteY3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997322 h 5633118"/>
                  <a:gd name="connsiteX6" fmla="*/ 1918706 w 1918706"/>
                  <a:gd name="connsiteY6" fmla="*/ 4010476 h 5633118"/>
                  <a:gd name="connsiteX7" fmla="*/ 1918706 w 1918706"/>
                  <a:gd name="connsiteY7" fmla="*/ 4069228 h 5633118"/>
                  <a:gd name="connsiteX8" fmla="*/ 1918706 w 1918706"/>
                  <a:gd name="connsiteY8" fmla="*/ 4090156 h 5633118"/>
                  <a:gd name="connsiteX9" fmla="*/ 1918706 w 1918706"/>
                  <a:gd name="connsiteY9" fmla="*/ 4097931 h 5633118"/>
                  <a:gd name="connsiteX10" fmla="*/ 1918706 w 1918706"/>
                  <a:gd name="connsiteY10" fmla="*/ 4491829 h 5633118"/>
                  <a:gd name="connsiteX11" fmla="*/ 1918706 w 1918706"/>
                  <a:gd name="connsiteY11" fmla="*/ 4579284 h 5633118"/>
                  <a:gd name="connsiteX12" fmla="*/ 1918706 w 1918706"/>
                  <a:gd name="connsiteY12" fmla="*/ 4592438 h 5633118"/>
                  <a:gd name="connsiteX13" fmla="*/ 1918706 w 1918706"/>
                  <a:gd name="connsiteY13" fmla="*/ 5073791 h 5633118"/>
                  <a:gd name="connsiteX14" fmla="*/ 959355 w 1918706"/>
                  <a:gd name="connsiteY14" fmla="*/ 5633118 h 5633118"/>
                  <a:gd name="connsiteX15" fmla="*/ 0 w 1918706"/>
                  <a:gd name="connsiteY15" fmla="*/ 5073791 h 5633118"/>
                  <a:gd name="connsiteX16" fmla="*/ 0 w 1918706"/>
                  <a:gd name="connsiteY16" fmla="*/ 4592438 h 5633118"/>
                  <a:gd name="connsiteX17" fmla="*/ 0 w 1918706"/>
                  <a:gd name="connsiteY17" fmla="*/ 4579284 h 5633118"/>
                  <a:gd name="connsiteX18" fmla="*/ 0 w 1918706"/>
                  <a:gd name="connsiteY18" fmla="*/ 4491829 h 5633118"/>
                  <a:gd name="connsiteX19" fmla="*/ 0 w 1918706"/>
                  <a:gd name="connsiteY19" fmla="*/ 4097931 h 5633118"/>
                  <a:gd name="connsiteX20" fmla="*/ 0 w 1918706"/>
                  <a:gd name="connsiteY20" fmla="*/ 4090156 h 5633118"/>
                  <a:gd name="connsiteX21" fmla="*/ 0 w 1918706"/>
                  <a:gd name="connsiteY21" fmla="*/ 4069228 h 5633118"/>
                  <a:gd name="connsiteX22" fmla="*/ 0 w 1918706"/>
                  <a:gd name="connsiteY22" fmla="*/ 4010476 h 5633118"/>
                  <a:gd name="connsiteX23" fmla="*/ 0 w 1918706"/>
                  <a:gd name="connsiteY23" fmla="*/ 3997322 h 5633118"/>
                  <a:gd name="connsiteX24" fmla="*/ 0 w 1918706"/>
                  <a:gd name="connsiteY24" fmla="*/ 3595649 h 5633118"/>
                  <a:gd name="connsiteX25" fmla="*/ 0 w 1918706"/>
                  <a:gd name="connsiteY25" fmla="*/ 3587875 h 5633118"/>
                  <a:gd name="connsiteX26" fmla="*/ 0 w 1918706"/>
                  <a:gd name="connsiteY26" fmla="*/ 3574721 h 5633118"/>
                  <a:gd name="connsiteX27" fmla="*/ 0 w 1918706"/>
                  <a:gd name="connsiteY27" fmla="*/ 3515969 h 5633118"/>
                  <a:gd name="connsiteX28" fmla="*/ 0 w 1918706"/>
                  <a:gd name="connsiteY28" fmla="*/ 3508195 h 5633118"/>
                  <a:gd name="connsiteX29" fmla="*/ 0 w 1918706"/>
                  <a:gd name="connsiteY29" fmla="*/ 3487266 h 5633118"/>
                  <a:gd name="connsiteX30" fmla="*/ 0 w 1918706"/>
                  <a:gd name="connsiteY3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997322 h 5633118"/>
                  <a:gd name="connsiteX5" fmla="*/ 1918706 w 1918706"/>
                  <a:gd name="connsiteY5" fmla="*/ 4010476 h 5633118"/>
                  <a:gd name="connsiteX6" fmla="*/ 1918706 w 1918706"/>
                  <a:gd name="connsiteY6" fmla="*/ 4069228 h 5633118"/>
                  <a:gd name="connsiteX7" fmla="*/ 1918706 w 1918706"/>
                  <a:gd name="connsiteY7" fmla="*/ 4090156 h 5633118"/>
                  <a:gd name="connsiteX8" fmla="*/ 1918706 w 1918706"/>
                  <a:gd name="connsiteY8" fmla="*/ 4097931 h 5633118"/>
                  <a:gd name="connsiteX9" fmla="*/ 1918706 w 1918706"/>
                  <a:gd name="connsiteY9" fmla="*/ 4491829 h 5633118"/>
                  <a:gd name="connsiteX10" fmla="*/ 1918706 w 1918706"/>
                  <a:gd name="connsiteY10" fmla="*/ 4579284 h 5633118"/>
                  <a:gd name="connsiteX11" fmla="*/ 1918706 w 1918706"/>
                  <a:gd name="connsiteY11" fmla="*/ 4592438 h 5633118"/>
                  <a:gd name="connsiteX12" fmla="*/ 1918706 w 1918706"/>
                  <a:gd name="connsiteY12" fmla="*/ 5073791 h 5633118"/>
                  <a:gd name="connsiteX13" fmla="*/ 959355 w 1918706"/>
                  <a:gd name="connsiteY13" fmla="*/ 5633118 h 5633118"/>
                  <a:gd name="connsiteX14" fmla="*/ 0 w 1918706"/>
                  <a:gd name="connsiteY14" fmla="*/ 5073791 h 5633118"/>
                  <a:gd name="connsiteX15" fmla="*/ 0 w 1918706"/>
                  <a:gd name="connsiteY15" fmla="*/ 4592438 h 5633118"/>
                  <a:gd name="connsiteX16" fmla="*/ 0 w 1918706"/>
                  <a:gd name="connsiteY16" fmla="*/ 4579284 h 5633118"/>
                  <a:gd name="connsiteX17" fmla="*/ 0 w 1918706"/>
                  <a:gd name="connsiteY17" fmla="*/ 4491829 h 5633118"/>
                  <a:gd name="connsiteX18" fmla="*/ 0 w 1918706"/>
                  <a:gd name="connsiteY18" fmla="*/ 4097931 h 5633118"/>
                  <a:gd name="connsiteX19" fmla="*/ 0 w 1918706"/>
                  <a:gd name="connsiteY19" fmla="*/ 4090156 h 5633118"/>
                  <a:gd name="connsiteX20" fmla="*/ 0 w 1918706"/>
                  <a:gd name="connsiteY20" fmla="*/ 4069228 h 5633118"/>
                  <a:gd name="connsiteX21" fmla="*/ 0 w 1918706"/>
                  <a:gd name="connsiteY21" fmla="*/ 4010476 h 5633118"/>
                  <a:gd name="connsiteX22" fmla="*/ 0 w 1918706"/>
                  <a:gd name="connsiteY22" fmla="*/ 3997322 h 5633118"/>
                  <a:gd name="connsiteX23" fmla="*/ 0 w 1918706"/>
                  <a:gd name="connsiteY23" fmla="*/ 3595649 h 5633118"/>
                  <a:gd name="connsiteX24" fmla="*/ 0 w 1918706"/>
                  <a:gd name="connsiteY24" fmla="*/ 3587875 h 5633118"/>
                  <a:gd name="connsiteX25" fmla="*/ 0 w 1918706"/>
                  <a:gd name="connsiteY25" fmla="*/ 3574721 h 5633118"/>
                  <a:gd name="connsiteX26" fmla="*/ 0 w 1918706"/>
                  <a:gd name="connsiteY26" fmla="*/ 3515969 h 5633118"/>
                  <a:gd name="connsiteX27" fmla="*/ 0 w 1918706"/>
                  <a:gd name="connsiteY27" fmla="*/ 3508195 h 5633118"/>
                  <a:gd name="connsiteX28" fmla="*/ 0 w 1918706"/>
                  <a:gd name="connsiteY28" fmla="*/ 3487266 h 5633118"/>
                  <a:gd name="connsiteX29" fmla="*/ 0 w 1918706"/>
                  <a:gd name="connsiteY2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10476 h 5633118"/>
                  <a:gd name="connsiteX5" fmla="*/ 1918706 w 1918706"/>
                  <a:gd name="connsiteY5" fmla="*/ 4069228 h 5633118"/>
                  <a:gd name="connsiteX6" fmla="*/ 1918706 w 1918706"/>
                  <a:gd name="connsiteY6" fmla="*/ 4090156 h 5633118"/>
                  <a:gd name="connsiteX7" fmla="*/ 1918706 w 1918706"/>
                  <a:gd name="connsiteY7" fmla="*/ 4097931 h 5633118"/>
                  <a:gd name="connsiteX8" fmla="*/ 1918706 w 1918706"/>
                  <a:gd name="connsiteY8" fmla="*/ 4491829 h 5633118"/>
                  <a:gd name="connsiteX9" fmla="*/ 1918706 w 1918706"/>
                  <a:gd name="connsiteY9" fmla="*/ 4579284 h 5633118"/>
                  <a:gd name="connsiteX10" fmla="*/ 1918706 w 1918706"/>
                  <a:gd name="connsiteY10" fmla="*/ 4592438 h 5633118"/>
                  <a:gd name="connsiteX11" fmla="*/ 1918706 w 1918706"/>
                  <a:gd name="connsiteY11" fmla="*/ 5073791 h 5633118"/>
                  <a:gd name="connsiteX12" fmla="*/ 959355 w 1918706"/>
                  <a:gd name="connsiteY12" fmla="*/ 5633118 h 5633118"/>
                  <a:gd name="connsiteX13" fmla="*/ 0 w 1918706"/>
                  <a:gd name="connsiteY13" fmla="*/ 5073791 h 5633118"/>
                  <a:gd name="connsiteX14" fmla="*/ 0 w 1918706"/>
                  <a:gd name="connsiteY14" fmla="*/ 4592438 h 5633118"/>
                  <a:gd name="connsiteX15" fmla="*/ 0 w 1918706"/>
                  <a:gd name="connsiteY15" fmla="*/ 4579284 h 5633118"/>
                  <a:gd name="connsiteX16" fmla="*/ 0 w 1918706"/>
                  <a:gd name="connsiteY16" fmla="*/ 4491829 h 5633118"/>
                  <a:gd name="connsiteX17" fmla="*/ 0 w 1918706"/>
                  <a:gd name="connsiteY17" fmla="*/ 4097931 h 5633118"/>
                  <a:gd name="connsiteX18" fmla="*/ 0 w 1918706"/>
                  <a:gd name="connsiteY18" fmla="*/ 4090156 h 5633118"/>
                  <a:gd name="connsiteX19" fmla="*/ 0 w 1918706"/>
                  <a:gd name="connsiteY19" fmla="*/ 4069228 h 5633118"/>
                  <a:gd name="connsiteX20" fmla="*/ 0 w 1918706"/>
                  <a:gd name="connsiteY20" fmla="*/ 4010476 h 5633118"/>
                  <a:gd name="connsiteX21" fmla="*/ 0 w 1918706"/>
                  <a:gd name="connsiteY21" fmla="*/ 3997322 h 5633118"/>
                  <a:gd name="connsiteX22" fmla="*/ 0 w 1918706"/>
                  <a:gd name="connsiteY22" fmla="*/ 3595649 h 5633118"/>
                  <a:gd name="connsiteX23" fmla="*/ 0 w 1918706"/>
                  <a:gd name="connsiteY23" fmla="*/ 3587875 h 5633118"/>
                  <a:gd name="connsiteX24" fmla="*/ 0 w 1918706"/>
                  <a:gd name="connsiteY24" fmla="*/ 3574721 h 5633118"/>
                  <a:gd name="connsiteX25" fmla="*/ 0 w 1918706"/>
                  <a:gd name="connsiteY25" fmla="*/ 3515969 h 5633118"/>
                  <a:gd name="connsiteX26" fmla="*/ 0 w 1918706"/>
                  <a:gd name="connsiteY26" fmla="*/ 3508195 h 5633118"/>
                  <a:gd name="connsiteX27" fmla="*/ 0 w 1918706"/>
                  <a:gd name="connsiteY27" fmla="*/ 3487266 h 5633118"/>
                  <a:gd name="connsiteX28" fmla="*/ 0 w 1918706"/>
                  <a:gd name="connsiteY2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69228 h 5633118"/>
                  <a:gd name="connsiteX5" fmla="*/ 1918706 w 1918706"/>
                  <a:gd name="connsiteY5" fmla="*/ 4090156 h 5633118"/>
                  <a:gd name="connsiteX6" fmla="*/ 1918706 w 1918706"/>
                  <a:gd name="connsiteY6" fmla="*/ 4097931 h 5633118"/>
                  <a:gd name="connsiteX7" fmla="*/ 1918706 w 1918706"/>
                  <a:gd name="connsiteY7" fmla="*/ 4491829 h 5633118"/>
                  <a:gd name="connsiteX8" fmla="*/ 1918706 w 1918706"/>
                  <a:gd name="connsiteY8" fmla="*/ 4579284 h 5633118"/>
                  <a:gd name="connsiteX9" fmla="*/ 1918706 w 1918706"/>
                  <a:gd name="connsiteY9" fmla="*/ 4592438 h 5633118"/>
                  <a:gd name="connsiteX10" fmla="*/ 1918706 w 1918706"/>
                  <a:gd name="connsiteY10" fmla="*/ 5073791 h 5633118"/>
                  <a:gd name="connsiteX11" fmla="*/ 959355 w 1918706"/>
                  <a:gd name="connsiteY11" fmla="*/ 5633118 h 5633118"/>
                  <a:gd name="connsiteX12" fmla="*/ 0 w 1918706"/>
                  <a:gd name="connsiteY12" fmla="*/ 5073791 h 5633118"/>
                  <a:gd name="connsiteX13" fmla="*/ 0 w 1918706"/>
                  <a:gd name="connsiteY13" fmla="*/ 4592438 h 5633118"/>
                  <a:gd name="connsiteX14" fmla="*/ 0 w 1918706"/>
                  <a:gd name="connsiteY14" fmla="*/ 4579284 h 5633118"/>
                  <a:gd name="connsiteX15" fmla="*/ 0 w 1918706"/>
                  <a:gd name="connsiteY15" fmla="*/ 4491829 h 5633118"/>
                  <a:gd name="connsiteX16" fmla="*/ 0 w 1918706"/>
                  <a:gd name="connsiteY16" fmla="*/ 4097931 h 5633118"/>
                  <a:gd name="connsiteX17" fmla="*/ 0 w 1918706"/>
                  <a:gd name="connsiteY17" fmla="*/ 4090156 h 5633118"/>
                  <a:gd name="connsiteX18" fmla="*/ 0 w 1918706"/>
                  <a:gd name="connsiteY18" fmla="*/ 4069228 h 5633118"/>
                  <a:gd name="connsiteX19" fmla="*/ 0 w 1918706"/>
                  <a:gd name="connsiteY19" fmla="*/ 4010476 h 5633118"/>
                  <a:gd name="connsiteX20" fmla="*/ 0 w 1918706"/>
                  <a:gd name="connsiteY20" fmla="*/ 3997322 h 5633118"/>
                  <a:gd name="connsiteX21" fmla="*/ 0 w 1918706"/>
                  <a:gd name="connsiteY21" fmla="*/ 3595649 h 5633118"/>
                  <a:gd name="connsiteX22" fmla="*/ 0 w 1918706"/>
                  <a:gd name="connsiteY22" fmla="*/ 3587875 h 5633118"/>
                  <a:gd name="connsiteX23" fmla="*/ 0 w 1918706"/>
                  <a:gd name="connsiteY23" fmla="*/ 3574721 h 5633118"/>
                  <a:gd name="connsiteX24" fmla="*/ 0 w 1918706"/>
                  <a:gd name="connsiteY24" fmla="*/ 3515969 h 5633118"/>
                  <a:gd name="connsiteX25" fmla="*/ 0 w 1918706"/>
                  <a:gd name="connsiteY25" fmla="*/ 3508195 h 5633118"/>
                  <a:gd name="connsiteX26" fmla="*/ 0 w 1918706"/>
                  <a:gd name="connsiteY26" fmla="*/ 3487266 h 5633118"/>
                  <a:gd name="connsiteX27" fmla="*/ 0 w 1918706"/>
                  <a:gd name="connsiteY2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097931 h 5633118"/>
                  <a:gd name="connsiteX6" fmla="*/ 1918706 w 1918706"/>
                  <a:gd name="connsiteY6" fmla="*/ 4491829 h 5633118"/>
                  <a:gd name="connsiteX7" fmla="*/ 1918706 w 1918706"/>
                  <a:gd name="connsiteY7" fmla="*/ 4579284 h 5633118"/>
                  <a:gd name="connsiteX8" fmla="*/ 1918706 w 1918706"/>
                  <a:gd name="connsiteY8" fmla="*/ 4592438 h 5633118"/>
                  <a:gd name="connsiteX9" fmla="*/ 1918706 w 1918706"/>
                  <a:gd name="connsiteY9" fmla="*/ 5073791 h 5633118"/>
                  <a:gd name="connsiteX10" fmla="*/ 959355 w 1918706"/>
                  <a:gd name="connsiteY10" fmla="*/ 5633118 h 5633118"/>
                  <a:gd name="connsiteX11" fmla="*/ 0 w 1918706"/>
                  <a:gd name="connsiteY11" fmla="*/ 5073791 h 5633118"/>
                  <a:gd name="connsiteX12" fmla="*/ 0 w 1918706"/>
                  <a:gd name="connsiteY12" fmla="*/ 4592438 h 5633118"/>
                  <a:gd name="connsiteX13" fmla="*/ 0 w 1918706"/>
                  <a:gd name="connsiteY13" fmla="*/ 4579284 h 5633118"/>
                  <a:gd name="connsiteX14" fmla="*/ 0 w 1918706"/>
                  <a:gd name="connsiteY14" fmla="*/ 4491829 h 5633118"/>
                  <a:gd name="connsiteX15" fmla="*/ 0 w 1918706"/>
                  <a:gd name="connsiteY15" fmla="*/ 4097931 h 5633118"/>
                  <a:gd name="connsiteX16" fmla="*/ 0 w 1918706"/>
                  <a:gd name="connsiteY16" fmla="*/ 4090156 h 5633118"/>
                  <a:gd name="connsiteX17" fmla="*/ 0 w 1918706"/>
                  <a:gd name="connsiteY17" fmla="*/ 4069228 h 5633118"/>
                  <a:gd name="connsiteX18" fmla="*/ 0 w 1918706"/>
                  <a:gd name="connsiteY18" fmla="*/ 4010476 h 5633118"/>
                  <a:gd name="connsiteX19" fmla="*/ 0 w 1918706"/>
                  <a:gd name="connsiteY19" fmla="*/ 3997322 h 5633118"/>
                  <a:gd name="connsiteX20" fmla="*/ 0 w 1918706"/>
                  <a:gd name="connsiteY20" fmla="*/ 3595649 h 5633118"/>
                  <a:gd name="connsiteX21" fmla="*/ 0 w 1918706"/>
                  <a:gd name="connsiteY21" fmla="*/ 3587875 h 5633118"/>
                  <a:gd name="connsiteX22" fmla="*/ 0 w 1918706"/>
                  <a:gd name="connsiteY22" fmla="*/ 3574721 h 5633118"/>
                  <a:gd name="connsiteX23" fmla="*/ 0 w 1918706"/>
                  <a:gd name="connsiteY23" fmla="*/ 3515969 h 5633118"/>
                  <a:gd name="connsiteX24" fmla="*/ 0 w 1918706"/>
                  <a:gd name="connsiteY24" fmla="*/ 3508195 h 5633118"/>
                  <a:gd name="connsiteX25" fmla="*/ 0 w 1918706"/>
                  <a:gd name="connsiteY25" fmla="*/ 3487266 h 5633118"/>
                  <a:gd name="connsiteX26" fmla="*/ 0 w 1918706"/>
                  <a:gd name="connsiteY2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491829 h 5633118"/>
                  <a:gd name="connsiteX6" fmla="*/ 1918706 w 1918706"/>
                  <a:gd name="connsiteY6" fmla="*/ 4579284 h 5633118"/>
                  <a:gd name="connsiteX7" fmla="*/ 1918706 w 1918706"/>
                  <a:gd name="connsiteY7" fmla="*/ 4592438 h 5633118"/>
                  <a:gd name="connsiteX8" fmla="*/ 1918706 w 1918706"/>
                  <a:gd name="connsiteY8" fmla="*/ 5073791 h 5633118"/>
                  <a:gd name="connsiteX9" fmla="*/ 959355 w 1918706"/>
                  <a:gd name="connsiteY9" fmla="*/ 5633118 h 5633118"/>
                  <a:gd name="connsiteX10" fmla="*/ 0 w 1918706"/>
                  <a:gd name="connsiteY10" fmla="*/ 5073791 h 5633118"/>
                  <a:gd name="connsiteX11" fmla="*/ 0 w 1918706"/>
                  <a:gd name="connsiteY11" fmla="*/ 4592438 h 5633118"/>
                  <a:gd name="connsiteX12" fmla="*/ 0 w 1918706"/>
                  <a:gd name="connsiteY12" fmla="*/ 4579284 h 5633118"/>
                  <a:gd name="connsiteX13" fmla="*/ 0 w 1918706"/>
                  <a:gd name="connsiteY13" fmla="*/ 4491829 h 5633118"/>
                  <a:gd name="connsiteX14" fmla="*/ 0 w 1918706"/>
                  <a:gd name="connsiteY14" fmla="*/ 4097931 h 5633118"/>
                  <a:gd name="connsiteX15" fmla="*/ 0 w 1918706"/>
                  <a:gd name="connsiteY15" fmla="*/ 4090156 h 5633118"/>
                  <a:gd name="connsiteX16" fmla="*/ 0 w 1918706"/>
                  <a:gd name="connsiteY16" fmla="*/ 4069228 h 5633118"/>
                  <a:gd name="connsiteX17" fmla="*/ 0 w 1918706"/>
                  <a:gd name="connsiteY17" fmla="*/ 4010476 h 5633118"/>
                  <a:gd name="connsiteX18" fmla="*/ 0 w 1918706"/>
                  <a:gd name="connsiteY18" fmla="*/ 3997322 h 5633118"/>
                  <a:gd name="connsiteX19" fmla="*/ 0 w 1918706"/>
                  <a:gd name="connsiteY19" fmla="*/ 3595649 h 5633118"/>
                  <a:gd name="connsiteX20" fmla="*/ 0 w 1918706"/>
                  <a:gd name="connsiteY20" fmla="*/ 3587875 h 5633118"/>
                  <a:gd name="connsiteX21" fmla="*/ 0 w 1918706"/>
                  <a:gd name="connsiteY21" fmla="*/ 3574721 h 5633118"/>
                  <a:gd name="connsiteX22" fmla="*/ 0 w 1918706"/>
                  <a:gd name="connsiteY22" fmla="*/ 3515969 h 5633118"/>
                  <a:gd name="connsiteX23" fmla="*/ 0 w 1918706"/>
                  <a:gd name="connsiteY23" fmla="*/ 3508195 h 5633118"/>
                  <a:gd name="connsiteX24" fmla="*/ 0 w 1918706"/>
                  <a:gd name="connsiteY24" fmla="*/ 3487266 h 5633118"/>
                  <a:gd name="connsiteX25" fmla="*/ 0 w 1918706"/>
                  <a:gd name="connsiteY2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090156 h 5633118"/>
                  <a:gd name="connsiteX4" fmla="*/ 1918706 w 1918706"/>
                  <a:gd name="connsiteY4" fmla="*/ 4491829 h 5633118"/>
                  <a:gd name="connsiteX5" fmla="*/ 1918706 w 1918706"/>
                  <a:gd name="connsiteY5" fmla="*/ 4579284 h 5633118"/>
                  <a:gd name="connsiteX6" fmla="*/ 1918706 w 1918706"/>
                  <a:gd name="connsiteY6" fmla="*/ 4592438 h 5633118"/>
                  <a:gd name="connsiteX7" fmla="*/ 1918706 w 1918706"/>
                  <a:gd name="connsiteY7" fmla="*/ 5073791 h 5633118"/>
                  <a:gd name="connsiteX8" fmla="*/ 959355 w 1918706"/>
                  <a:gd name="connsiteY8" fmla="*/ 5633118 h 5633118"/>
                  <a:gd name="connsiteX9" fmla="*/ 0 w 1918706"/>
                  <a:gd name="connsiteY9" fmla="*/ 5073791 h 5633118"/>
                  <a:gd name="connsiteX10" fmla="*/ 0 w 1918706"/>
                  <a:gd name="connsiteY10" fmla="*/ 4592438 h 5633118"/>
                  <a:gd name="connsiteX11" fmla="*/ 0 w 1918706"/>
                  <a:gd name="connsiteY11" fmla="*/ 4579284 h 5633118"/>
                  <a:gd name="connsiteX12" fmla="*/ 0 w 1918706"/>
                  <a:gd name="connsiteY12" fmla="*/ 4491829 h 5633118"/>
                  <a:gd name="connsiteX13" fmla="*/ 0 w 1918706"/>
                  <a:gd name="connsiteY13" fmla="*/ 4097931 h 5633118"/>
                  <a:gd name="connsiteX14" fmla="*/ 0 w 1918706"/>
                  <a:gd name="connsiteY14" fmla="*/ 4090156 h 5633118"/>
                  <a:gd name="connsiteX15" fmla="*/ 0 w 1918706"/>
                  <a:gd name="connsiteY15" fmla="*/ 4069228 h 5633118"/>
                  <a:gd name="connsiteX16" fmla="*/ 0 w 1918706"/>
                  <a:gd name="connsiteY16" fmla="*/ 4010476 h 5633118"/>
                  <a:gd name="connsiteX17" fmla="*/ 0 w 1918706"/>
                  <a:gd name="connsiteY17" fmla="*/ 3997322 h 5633118"/>
                  <a:gd name="connsiteX18" fmla="*/ 0 w 1918706"/>
                  <a:gd name="connsiteY18" fmla="*/ 3595649 h 5633118"/>
                  <a:gd name="connsiteX19" fmla="*/ 0 w 1918706"/>
                  <a:gd name="connsiteY19" fmla="*/ 3587875 h 5633118"/>
                  <a:gd name="connsiteX20" fmla="*/ 0 w 1918706"/>
                  <a:gd name="connsiteY20" fmla="*/ 3574721 h 5633118"/>
                  <a:gd name="connsiteX21" fmla="*/ 0 w 1918706"/>
                  <a:gd name="connsiteY21" fmla="*/ 3515969 h 5633118"/>
                  <a:gd name="connsiteX22" fmla="*/ 0 w 1918706"/>
                  <a:gd name="connsiteY22" fmla="*/ 3508195 h 5633118"/>
                  <a:gd name="connsiteX23" fmla="*/ 0 w 1918706"/>
                  <a:gd name="connsiteY23" fmla="*/ 3487266 h 5633118"/>
                  <a:gd name="connsiteX24" fmla="*/ 0 w 1918706"/>
                  <a:gd name="connsiteY2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491829 h 5633118"/>
                  <a:gd name="connsiteX4" fmla="*/ 1918706 w 1918706"/>
                  <a:gd name="connsiteY4" fmla="*/ 4579284 h 5633118"/>
                  <a:gd name="connsiteX5" fmla="*/ 1918706 w 1918706"/>
                  <a:gd name="connsiteY5" fmla="*/ 4592438 h 5633118"/>
                  <a:gd name="connsiteX6" fmla="*/ 1918706 w 1918706"/>
                  <a:gd name="connsiteY6" fmla="*/ 5073791 h 5633118"/>
                  <a:gd name="connsiteX7" fmla="*/ 959355 w 1918706"/>
                  <a:gd name="connsiteY7" fmla="*/ 5633118 h 5633118"/>
                  <a:gd name="connsiteX8" fmla="*/ 0 w 1918706"/>
                  <a:gd name="connsiteY8" fmla="*/ 5073791 h 5633118"/>
                  <a:gd name="connsiteX9" fmla="*/ 0 w 1918706"/>
                  <a:gd name="connsiteY9" fmla="*/ 4592438 h 5633118"/>
                  <a:gd name="connsiteX10" fmla="*/ 0 w 1918706"/>
                  <a:gd name="connsiteY10" fmla="*/ 4579284 h 5633118"/>
                  <a:gd name="connsiteX11" fmla="*/ 0 w 1918706"/>
                  <a:gd name="connsiteY11" fmla="*/ 4491829 h 5633118"/>
                  <a:gd name="connsiteX12" fmla="*/ 0 w 1918706"/>
                  <a:gd name="connsiteY12" fmla="*/ 4097931 h 5633118"/>
                  <a:gd name="connsiteX13" fmla="*/ 0 w 1918706"/>
                  <a:gd name="connsiteY13" fmla="*/ 4090156 h 5633118"/>
                  <a:gd name="connsiteX14" fmla="*/ 0 w 1918706"/>
                  <a:gd name="connsiteY14" fmla="*/ 4069228 h 5633118"/>
                  <a:gd name="connsiteX15" fmla="*/ 0 w 1918706"/>
                  <a:gd name="connsiteY15" fmla="*/ 4010476 h 5633118"/>
                  <a:gd name="connsiteX16" fmla="*/ 0 w 1918706"/>
                  <a:gd name="connsiteY16" fmla="*/ 3997322 h 5633118"/>
                  <a:gd name="connsiteX17" fmla="*/ 0 w 1918706"/>
                  <a:gd name="connsiteY17" fmla="*/ 3595649 h 5633118"/>
                  <a:gd name="connsiteX18" fmla="*/ 0 w 1918706"/>
                  <a:gd name="connsiteY18" fmla="*/ 3587875 h 5633118"/>
                  <a:gd name="connsiteX19" fmla="*/ 0 w 1918706"/>
                  <a:gd name="connsiteY19" fmla="*/ 3574721 h 5633118"/>
                  <a:gd name="connsiteX20" fmla="*/ 0 w 1918706"/>
                  <a:gd name="connsiteY20" fmla="*/ 3515969 h 5633118"/>
                  <a:gd name="connsiteX21" fmla="*/ 0 w 1918706"/>
                  <a:gd name="connsiteY21" fmla="*/ 3508195 h 5633118"/>
                  <a:gd name="connsiteX22" fmla="*/ 0 w 1918706"/>
                  <a:gd name="connsiteY22" fmla="*/ 3487266 h 5633118"/>
                  <a:gd name="connsiteX23" fmla="*/ 0 w 1918706"/>
                  <a:gd name="connsiteY2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4592438 h 5633118"/>
                  <a:gd name="connsiteX5" fmla="*/ 1918706 w 1918706"/>
                  <a:gd name="connsiteY5" fmla="*/ 5073791 h 5633118"/>
                  <a:gd name="connsiteX6" fmla="*/ 959355 w 1918706"/>
                  <a:gd name="connsiteY6" fmla="*/ 5633118 h 5633118"/>
                  <a:gd name="connsiteX7" fmla="*/ 0 w 1918706"/>
                  <a:gd name="connsiteY7" fmla="*/ 5073791 h 5633118"/>
                  <a:gd name="connsiteX8" fmla="*/ 0 w 1918706"/>
                  <a:gd name="connsiteY8" fmla="*/ 4592438 h 5633118"/>
                  <a:gd name="connsiteX9" fmla="*/ 0 w 1918706"/>
                  <a:gd name="connsiteY9" fmla="*/ 4579284 h 5633118"/>
                  <a:gd name="connsiteX10" fmla="*/ 0 w 1918706"/>
                  <a:gd name="connsiteY10" fmla="*/ 4491829 h 5633118"/>
                  <a:gd name="connsiteX11" fmla="*/ 0 w 1918706"/>
                  <a:gd name="connsiteY11" fmla="*/ 4097931 h 5633118"/>
                  <a:gd name="connsiteX12" fmla="*/ 0 w 1918706"/>
                  <a:gd name="connsiteY12" fmla="*/ 4090156 h 5633118"/>
                  <a:gd name="connsiteX13" fmla="*/ 0 w 1918706"/>
                  <a:gd name="connsiteY13" fmla="*/ 4069228 h 5633118"/>
                  <a:gd name="connsiteX14" fmla="*/ 0 w 1918706"/>
                  <a:gd name="connsiteY14" fmla="*/ 4010476 h 5633118"/>
                  <a:gd name="connsiteX15" fmla="*/ 0 w 1918706"/>
                  <a:gd name="connsiteY15" fmla="*/ 3997322 h 5633118"/>
                  <a:gd name="connsiteX16" fmla="*/ 0 w 1918706"/>
                  <a:gd name="connsiteY16" fmla="*/ 3595649 h 5633118"/>
                  <a:gd name="connsiteX17" fmla="*/ 0 w 1918706"/>
                  <a:gd name="connsiteY17" fmla="*/ 3587875 h 5633118"/>
                  <a:gd name="connsiteX18" fmla="*/ 0 w 1918706"/>
                  <a:gd name="connsiteY18" fmla="*/ 3574721 h 5633118"/>
                  <a:gd name="connsiteX19" fmla="*/ 0 w 1918706"/>
                  <a:gd name="connsiteY19" fmla="*/ 3515969 h 5633118"/>
                  <a:gd name="connsiteX20" fmla="*/ 0 w 1918706"/>
                  <a:gd name="connsiteY20" fmla="*/ 3508195 h 5633118"/>
                  <a:gd name="connsiteX21" fmla="*/ 0 w 1918706"/>
                  <a:gd name="connsiteY21" fmla="*/ 3487266 h 5633118"/>
                  <a:gd name="connsiteX22" fmla="*/ 0 w 1918706"/>
                  <a:gd name="connsiteY2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5073791 h 5633118"/>
                  <a:gd name="connsiteX5" fmla="*/ 959355 w 1918706"/>
                  <a:gd name="connsiteY5" fmla="*/ 5633118 h 5633118"/>
                  <a:gd name="connsiteX6" fmla="*/ 0 w 1918706"/>
                  <a:gd name="connsiteY6" fmla="*/ 5073791 h 5633118"/>
                  <a:gd name="connsiteX7" fmla="*/ 0 w 1918706"/>
                  <a:gd name="connsiteY7" fmla="*/ 4592438 h 5633118"/>
                  <a:gd name="connsiteX8" fmla="*/ 0 w 1918706"/>
                  <a:gd name="connsiteY8" fmla="*/ 4579284 h 5633118"/>
                  <a:gd name="connsiteX9" fmla="*/ 0 w 1918706"/>
                  <a:gd name="connsiteY9" fmla="*/ 4491829 h 5633118"/>
                  <a:gd name="connsiteX10" fmla="*/ 0 w 1918706"/>
                  <a:gd name="connsiteY10" fmla="*/ 4097931 h 5633118"/>
                  <a:gd name="connsiteX11" fmla="*/ 0 w 1918706"/>
                  <a:gd name="connsiteY11" fmla="*/ 4090156 h 5633118"/>
                  <a:gd name="connsiteX12" fmla="*/ 0 w 1918706"/>
                  <a:gd name="connsiteY12" fmla="*/ 4069228 h 5633118"/>
                  <a:gd name="connsiteX13" fmla="*/ 0 w 1918706"/>
                  <a:gd name="connsiteY13" fmla="*/ 4010476 h 5633118"/>
                  <a:gd name="connsiteX14" fmla="*/ 0 w 1918706"/>
                  <a:gd name="connsiteY14" fmla="*/ 3997322 h 5633118"/>
                  <a:gd name="connsiteX15" fmla="*/ 0 w 1918706"/>
                  <a:gd name="connsiteY15" fmla="*/ 3595649 h 5633118"/>
                  <a:gd name="connsiteX16" fmla="*/ 0 w 1918706"/>
                  <a:gd name="connsiteY16" fmla="*/ 3587875 h 5633118"/>
                  <a:gd name="connsiteX17" fmla="*/ 0 w 1918706"/>
                  <a:gd name="connsiteY17" fmla="*/ 3574721 h 5633118"/>
                  <a:gd name="connsiteX18" fmla="*/ 0 w 1918706"/>
                  <a:gd name="connsiteY18" fmla="*/ 3515969 h 5633118"/>
                  <a:gd name="connsiteX19" fmla="*/ 0 w 1918706"/>
                  <a:gd name="connsiteY19" fmla="*/ 3508195 h 5633118"/>
                  <a:gd name="connsiteX20" fmla="*/ 0 w 1918706"/>
                  <a:gd name="connsiteY20" fmla="*/ 3487266 h 5633118"/>
                  <a:gd name="connsiteX21" fmla="*/ 0 w 1918706"/>
                  <a:gd name="connsiteY2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3487266 h 5633118"/>
                  <a:gd name="connsiteX20" fmla="*/ 0 w 1918706"/>
                  <a:gd name="connsiteY2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10064 w 1928770"/>
                  <a:gd name="connsiteY7" fmla="*/ 4579284 h 5633118"/>
                  <a:gd name="connsiteX8" fmla="*/ 0 w 1928770"/>
                  <a:gd name="connsiteY8" fmla="*/ 4484457 h 5633118"/>
                  <a:gd name="connsiteX9" fmla="*/ 10064 w 1928770"/>
                  <a:gd name="connsiteY9"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0 w 1928770"/>
                  <a:gd name="connsiteY7" fmla="*/ 4484457 h 5633118"/>
                  <a:gd name="connsiteX8" fmla="*/ 10064 w 1928770"/>
                  <a:gd name="connsiteY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0 h 563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8706" h="5633118">
                    <a:moveTo>
                      <a:pt x="0" y="0"/>
                    </a:moveTo>
                    <a:cubicBezTo>
                      <a:pt x="0" y="308912"/>
                      <a:pt x="429517" y="559332"/>
                      <a:pt x="959355" y="559332"/>
                    </a:cubicBezTo>
                    <a:cubicBezTo>
                      <a:pt x="1489193" y="559332"/>
                      <a:pt x="1918706" y="308912"/>
                      <a:pt x="1918706" y="0"/>
                    </a:cubicBezTo>
                    <a:lnTo>
                      <a:pt x="1918706" y="5073791"/>
                    </a:lnTo>
                    <a:cubicBezTo>
                      <a:pt x="1918706" y="5382699"/>
                      <a:pt x="1489193" y="5633118"/>
                      <a:pt x="959355" y="5633118"/>
                    </a:cubicBezTo>
                    <a:cubicBezTo>
                      <a:pt x="429517" y="5633118"/>
                      <a:pt x="0" y="5382699"/>
                      <a:pt x="0" y="5073791"/>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864" name="Oval 386">
                <a:extLst>
                  <a:ext uri="{FF2B5EF4-FFF2-40B4-BE49-F238E27FC236}">
                    <a16:creationId xmlns:a16="http://schemas.microsoft.com/office/drawing/2014/main" id="{F74B031E-C3E0-4DE5-A744-93D87AC569F4}"/>
                  </a:ext>
                </a:extLst>
              </p:cNvPr>
              <p:cNvSpPr/>
              <p:nvPr/>
            </p:nvSpPr>
            <p:spPr bwMode="gray">
              <a:xfrm>
                <a:off x="12676185" y="-2160831"/>
                <a:ext cx="1918706" cy="1340175"/>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866" name="Group 865">
              <a:extLst>
                <a:ext uri="{FF2B5EF4-FFF2-40B4-BE49-F238E27FC236}">
                  <a16:creationId xmlns:a16="http://schemas.microsoft.com/office/drawing/2014/main" id="{EDA501C4-D5EE-40E4-8CC6-CF126BDA8025}"/>
                </a:ext>
              </a:extLst>
            </p:cNvPr>
            <p:cNvGrpSpPr>
              <a:grpSpLocks noChangeAspect="1"/>
            </p:cNvGrpSpPr>
            <p:nvPr/>
          </p:nvGrpSpPr>
          <p:grpSpPr bwMode="gray">
            <a:xfrm>
              <a:off x="8662706" y="4223186"/>
              <a:ext cx="260073" cy="869376"/>
              <a:chOff x="12676185" y="-2160831"/>
              <a:chExt cx="1918718" cy="6413936"/>
            </a:xfrm>
          </p:grpSpPr>
          <p:sp>
            <p:nvSpPr>
              <p:cNvPr id="871" name="Freeform: Shape 870">
                <a:extLst>
                  <a:ext uri="{FF2B5EF4-FFF2-40B4-BE49-F238E27FC236}">
                    <a16:creationId xmlns:a16="http://schemas.microsoft.com/office/drawing/2014/main" id="{BB21FB32-09AD-484B-9B3A-FD4B4FAF1A30}"/>
                  </a:ext>
                </a:extLst>
              </p:cNvPr>
              <p:cNvSpPr/>
              <p:nvPr/>
            </p:nvSpPr>
            <p:spPr bwMode="gray">
              <a:xfrm>
                <a:off x="12676197" y="-1380013"/>
                <a:ext cx="1918706" cy="5633118"/>
              </a:xfrm>
              <a:custGeom>
                <a:avLst/>
                <a:gdLst>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581962 h 5633118"/>
                  <a:gd name="connsiteX6" fmla="*/ 1918706 w 1918706"/>
                  <a:gd name="connsiteY6" fmla="*/ 981092 h 5633118"/>
                  <a:gd name="connsiteX7" fmla="*/ 1918706 w 1918706"/>
                  <a:gd name="connsiteY7" fmla="*/ 1004563 h 5633118"/>
                  <a:gd name="connsiteX8" fmla="*/ 1918706 w 1918706"/>
                  <a:gd name="connsiteY8" fmla="*/ 1068547 h 5633118"/>
                  <a:gd name="connsiteX9" fmla="*/ 1918706 w 1918706"/>
                  <a:gd name="connsiteY9" fmla="*/ 1076469 h 5633118"/>
                  <a:gd name="connsiteX10" fmla="*/ 1918706 w 1918706"/>
                  <a:gd name="connsiteY10" fmla="*/ 1491148 h 5633118"/>
                  <a:gd name="connsiteX11" fmla="*/ 1918706 w 1918706"/>
                  <a:gd name="connsiteY11" fmla="*/ 1499070 h 5633118"/>
                  <a:gd name="connsiteX12" fmla="*/ 1918706 w 1918706"/>
                  <a:gd name="connsiteY12" fmla="*/ 1506844 h 5633118"/>
                  <a:gd name="connsiteX13" fmla="*/ 1918706 w 1918706"/>
                  <a:gd name="connsiteY13" fmla="*/ 1563054 h 5633118"/>
                  <a:gd name="connsiteX14" fmla="*/ 1918706 w 1918706"/>
                  <a:gd name="connsiteY14" fmla="*/ 1586524 h 5633118"/>
                  <a:gd name="connsiteX15" fmla="*/ 1918706 w 1918706"/>
                  <a:gd name="connsiteY15" fmla="*/ 1985655 h 5633118"/>
                  <a:gd name="connsiteX16" fmla="*/ 1918706 w 1918706"/>
                  <a:gd name="connsiteY16" fmla="*/ 2001351 h 5633118"/>
                  <a:gd name="connsiteX17" fmla="*/ 1918706 w 1918706"/>
                  <a:gd name="connsiteY17" fmla="*/ 2009125 h 5633118"/>
                  <a:gd name="connsiteX18" fmla="*/ 1918706 w 1918706"/>
                  <a:gd name="connsiteY18" fmla="*/ 2073109 h 5633118"/>
                  <a:gd name="connsiteX19" fmla="*/ 1918706 w 1918706"/>
                  <a:gd name="connsiteY19" fmla="*/ 2081031 h 5633118"/>
                  <a:gd name="connsiteX20" fmla="*/ 1918706 w 1918706"/>
                  <a:gd name="connsiteY20" fmla="*/ 2088805 h 5633118"/>
                  <a:gd name="connsiteX21" fmla="*/ 1918706 w 1918706"/>
                  <a:gd name="connsiteY21" fmla="*/ 2503632 h 5633118"/>
                  <a:gd name="connsiteX22" fmla="*/ 1918706 w 1918706"/>
                  <a:gd name="connsiteY22" fmla="*/ 2511407 h 5633118"/>
                  <a:gd name="connsiteX23" fmla="*/ 1918706 w 1918706"/>
                  <a:gd name="connsiteY23" fmla="*/ 2567616 h 5633118"/>
                  <a:gd name="connsiteX24" fmla="*/ 1918706 w 1918706"/>
                  <a:gd name="connsiteY24" fmla="*/ 2583313 h 5633118"/>
                  <a:gd name="connsiteX25" fmla="*/ 1918706 w 1918706"/>
                  <a:gd name="connsiteY25" fmla="*/ 2591087 h 5633118"/>
                  <a:gd name="connsiteX26" fmla="*/ 1918706 w 1918706"/>
                  <a:gd name="connsiteY26" fmla="*/ 2992759 h 5633118"/>
                  <a:gd name="connsiteX27" fmla="*/ 1918706 w 1918706"/>
                  <a:gd name="connsiteY27" fmla="*/ 3005914 h 5633118"/>
                  <a:gd name="connsiteX28" fmla="*/ 1918706 w 1918706"/>
                  <a:gd name="connsiteY28" fmla="*/ 3013688 h 5633118"/>
                  <a:gd name="connsiteX29" fmla="*/ 1918706 w 1918706"/>
                  <a:gd name="connsiteY29" fmla="*/ 3085594 h 5633118"/>
                  <a:gd name="connsiteX30" fmla="*/ 1918706 w 1918706"/>
                  <a:gd name="connsiteY30" fmla="*/ 3093368 h 5633118"/>
                  <a:gd name="connsiteX31" fmla="*/ 1918706 w 1918706"/>
                  <a:gd name="connsiteY31" fmla="*/ 3487266 h 5633118"/>
                  <a:gd name="connsiteX32" fmla="*/ 1918706 w 1918706"/>
                  <a:gd name="connsiteY32" fmla="*/ 3508195 h 5633118"/>
                  <a:gd name="connsiteX33" fmla="*/ 1918706 w 1918706"/>
                  <a:gd name="connsiteY33" fmla="*/ 3515969 h 5633118"/>
                  <a:gd name="connsiteX34" fmla="*/ 1918706 w 1918706"/>
                  <a:gd name="connsiteY34" fmla="*/ 3574721 h 5633118"/>
                  <a:gd name="connsiteX35" fmla="*/ 1918706 w 1918706"/>
                  <a:gd name="connsiteY35" fmla="*/ 3587875 h 5633118"/>
                  <a:gd name="connsiteX36" fmla="*/ 1918706 w 1918706"/>
                  <a:gd name="connsiteY36" fmla="*/ 3595649 h 5633118"/>
                  <a:gd name="connsiteX37" fmla="*/ 1918706 w 1918706"/>
                  <a:gd name="connsiteY37" fmla="*/ 3997322 h 5633118"/>
                  <a:gd name="connsiteX38" fmla="*/ 1918706 w 1918706"/>
                  <a:gd name="connsiteY38" fmla="*/ 4010476 h 5633118"/>
                  <a:gd name="connsiteX39" fmla="*/ 1918706 w 1918706"/>
                  <a:gd name="connsiteY39" fmla="*/ 4069228 h 5633118"/>
                  <a:gd name="connsiteX40" fmla="*/ 1918706 w 1918706"/>
                  <a:gd name="connsiteY40" fmla="*/ 4090156 h 5633118"/>
                  <a:gd name="connsiteX41" fmla="*/ 1918706 w 1918706"/>
                  <a:gd name="connsiteY41" fmla="*/ 4097931 h 5633118"/>
                  <a:gd name="connsiteX42" fmla="*/ 1918706 w 1918706"/>
                  <a:gd name="connsiteY42" fmla="*/ 4491829 h 5633118"/>
                  <a:gd name="connsiteX43" fmla="*/ 1918706 w 1918706"/>
                  <a:gd name="connsiteY43" fmla="*/ 4579284 h 5633118"/>
                  <a:gd name="connsiteX44" fmla="*/ 1918706 w 1918706"/>
                  <a:gd name="connsiteY44" fmla="*/ 4592438 h 5633118"/>
                  <a:gd name="connsiteX45" fmla="*/ 1918706 w 1918706"/>
                  <a:gd name="connsiteY45" fmla="*/ 5073791 h 5633118"/>
                  <a:gd name="connsiteX46" fmla="*/ 959355 w 1918706"/>
                  <a:gd name="connsiteY46" fmla="*/ 5633118 h 5633118"/>
                  <a:gd name="connsiteX47" fmla="*/ 0 w 1918706"/>
                  <a:gd name="connsiteY47" fmla="*/ 5073791 h 5633118"/>
                  <a:gd name="connsiteX48" fmla="*/ 0 w 1918706"/>
                  <a:gd name="connsiteY48" fmla="*/ 4592438 h 5633118"/>
                  <a:gd name="connsiteX49" fmla="*/ 0 w 1918706"/>
                  <a:gd name="connsiteY49" fmla="*/ 4579284 h 5633118"/>
                  <a:gd name="connsiteX50" fmla="*/ 0 w 1918706"/>
                  <a:gd name="connsiteY50" fmla="*/ 4491829 h 5633118"/>
                  <a:gd name="connsiteX51" fmla="*/ 0 w 1918706"/>
                  <a:gd name="connsiteY51" fmla="*/ 4097931 h 5633118"/>
                  <a:gd name="connsiteX52" fmla="*/ 0 w 1918706"/>
                  <a:gd name="connsiteY52" fmla="*/ 4090156 h 5633118"/>
                  <a:gd name="connsiteX53" fmla="*/ 0 w 1918706"/>
                  <a:gd name="connsiteY53" fmla="*/ 4069228 h 5633118"/>
                  <a:gd name="connsiteX54" fmla="*/ 0 w 1918706"/>
                  <a:gd name="connsiteY54" fmla="*/ 4010476 h 5633118"/>
                  <a:gd name="connsiteX55" fmla="*/ 0 w 1918706"/>
                  <a:gd name="connsiteY55" fmla="*/ 3997322 h 5633118"/>
                  <a:gd name="connsiteX56" fmla="*/ 0 w 1918706"/>
                  <a:gd name="connsiteY56" fmla="*/ 3595649 h 5633118"/>
                  <a:gd name="connsiteX57" fmla="*/ 0 w 1918706"/>
                  <a:gd name="connsiteY57" fmla="*/ 3587875 h 5633118"/>
                  <a:gd name="connsiteX58" fmla="*/ 0 w 1918706"/>
                  <a:gd name="connsiteY58" fmla="*/ 3574721 h 5633118"/>
                  <a:gd name="connsiteX59" fmla="*/ 0 w 1918706"/>
                  <a:gd name="connsiteY59" fmla="*/ 3515969 h 5633118"/>
                  <a:gd name="connsiteX60" fmla="*/ 0 w 1918706"/>
                  <a:gd name="connsiteY60" fmla="*/ 3508195 h 5633118"/>
                  <a:gd name="connsiteX61" fmla="*/ 0 w 1918706"/>
                  <a:gd name="connsiteY61" fmla="*/ 3487266 h 5633118"/>
                  <a:gd name="connsiteX62" fmla="*/ 0 w 1918706"/>
                  <a:gd name="connsiteY62" fmla="*/ 3093368 h 5633118"/>
                  <a:gd name="connsiteX63" fmla="*/ 0 w 1918706"/>
                  <a:gd name="connsiteY63" fmla="*/ 3085594 h 5633118"/>
                  <a:gd name="connsiteX64" fmla="*/ 0 w 1918706"/>
                  <a:gd name="connsiteY64" fmla="*/ 3013688 h 5633118"/>
                  <a:gd name="connsiteX65" fmla="*/ 0 w 1918706"/>
                  <a:gd name="connsiteY65" fmla="*/ 3005914 h 5633118"/>
                  <a:gd name="connsiteX66" fmla="*/ 0 w 1918706"/>
                  <a:gd name="connsiteY66" fmla="*/ 2992759 h 5633118"/>
                  <a:gd name="connsiteX67" fmla="*/ 0 w 1918706"/>
                  <a:gd name="connsiteY67" fmla="*/ 2591087 h 5633118"/>
                  <a:gd name="connsiteX68" fmla="*/ 0 w 1918706"/>
                  <a:gd name="connsiteY68" fmla="*/ 2583313 h 5633118"/>
                  <a:gd name="connsiteX69" fmla="*/ 0 w 1918706"/>
                  <a:gd name="connsiteY69" fmla="*/ 2567616 h 5633118"/>
                  <a:gd name="connsiteX70" fmla="*/ 0 w 1918706"/>
                  <a:gd name="connsiteY70" fmla="*/ 2511407 h 5633118"/>
                  <a:gd name="connsiteX71" fmla="*/ 0 w 1918706"/>
                  <a:gd name="connsiteY71" fmla="*/ 2503632 h 5633118"/>
                  <a:gd name="connsiteX72" fmla="*/ 0 w 1918706"/>
                  <a:gd name="connsiteY72" fmla="*/ 2088805 h 5633118"/>
                  <a:gd name="connsiteX73" fmla="*/ 0 w 1918706"/>
                  <a:gd name="connsiteY73" fmla="*/ 2081031 h 5633118"/>
                  <a:gd name="connsiteX74" fmla="*/ 0 w 1918706"/>
                  <a:gd name="connsiteY74" fmla="*/ 2073109 h 5633118"/>
                  <a:gd name="connsiteX75" fmla="*/ 0 w 1918706"/>
                  <a:gd name="connsiteY75" fmla="*/ 2009125 h 5633118"/>
                  <a:gd name="connsiteX76" fmla="*/ 0 w 1918706"/>
                  <a:gd name="connsiteY76" fmla="*/ 2001351 h 5633118"/>
                  <a:gd name="connsiteX77" fmla="*/ 0 w 1918706"/>
                  <a:gd name="connsiteY77" fmla="*/ 1985655 h 5633118"/>
                  <a:gd name="connsiteX78" fmla="*/ 0 w 1918706"/>
                  <a:gd name="connsiteY78" fmla="*/ 1586524 h 5633118"/>
                  <a:gd name="connsiteX79" fmla="*/ 0 w 1918706"/>
                  <a:gd name="connsiteY79" fmla="*/ 1563054 h 5633118"/>
                  <a:gd name="connsiteX80" fmla="*/ 0 w 1918706"/>
                  <a:gd name="connsiteY80" fmla="*/ 1506844 h 5633118"/>
                  <a:gd name="connsiteX81" fmla="*/ 0 w 1918706"/>
                  <a:gd name="connsiteY81" fmla="*/ 1499070 h 5633118"/>
                  <a:gd name="connsiteX82" fmla="*/ 0 w 1918706"/>
                  <a:gd name="connsiteY82" fmla="*/ 1491148 h 5633118"/>
                  <a:gd name="connsiteX83" fmla="*/ 0 w 1918706"/>
                  <a:gd name="connsiteY83" fmla="*/ 1076469 h 5633118"/>
                  <a:gd name="connsiteX84" fmla="*/ 0 w 1918706"/>
                  <a:gd name="connsiteY84" fmla="*/ 1068547 h 5633118"/>
                  <a:gd name="connsiteX85" fmla="*/ 0 w 1918706"/>
                  <a:gd name="connsiteY85" fmla="*/ 1004563 h 5633118"/>
                  <a:gd name="connsiteX86" fmla="*/ 0 w 1918706"/>
                  <a:gd name="connsiteY86" fmla="*/ 981092 h 5633118"/>
                  <a:gd name="connsiteX87" fmla="*/ 0 w 1918706"/>
                  <a:gd name="connsiteY87" fmla="*/ 581962 h 5633118"/>
                  <a:gd name="connsiteX88" fmla="*/ 0 w 1918706"/>
                  <a:gd name="connsiteY88" fmla="*/ 494507 h 5633118"/>
                  <a:gd name="connsiteX89" fmla="*/ 0 w 1918706"/>
                  <a:gd name="connsiteY89" fmla="*/ 486585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494507 h 5633118"/>
                  <a:gd name="connsiteX5" fmla="*/ 1918706 w 1918706"/>
                  <a:gd name="connsiteY5" fmla="*/ 981092 h 5633118"/>
                  <a:gd name="connsiteX6" fmla="*/ 1918706 w 1918706"/>
                  <a:gd name="connsiteY6" fmla="*/ 1004563 h 5633118"/>
                  <a:gd name="connsiteX7" fmla="*/ 1918706 w 1918706"/>
                  <a:gd name="connsiteY7" fmla="*/ 1068547 h 5633118"/>
                  <a:gd name="connsiteX8" fmla="*/ 1918706 w 1918706"/>
                  <a:gd name="connsiteY8" fmla="*/ 1076469 h 5633118"/>
                  <a:gd name="connsiteX9" fmla="*/ 1918706 w 1918706"/>
                  <a:gd name="connsiteY9" fmla="*/ 1491148 h 5633118"/>
                  <a:gd name="connsiteX10" fmla="*/ 1918706 w 1918706"/>
                  <a:gd name="connsiteY10" fmla="*/ 1499070 h 5633118"/>
                  <a:gd name="connsiteX11" fmla="*/ 1918706 w 1918706"/>
                  <a:gd name="connsiteY11" fmla="*/ 1506844 h 5633118"/>
                  <a:gd name="connsiteX12" fmla="*/ 1918706 w 1918706"/>
                  <a:gd name="connsiteY12" fmla="*/ 1563054 h 5633118"/>
                  <a:gd name="connsiteX13" fmla="*/ 1918706 w 1918706"/>
                  <a:gd name="connsiteY13" fmla="*/ 1586524 h 5633118"/>
                  <a:gd name="connsiteX14" fmla="*/ 1918706 w 1918706"/>
                  <a:gd name="connsiteY14" fmla="*/ 1985655 h 5633118"/>
                  <a:gd name="connsiteX15" fmla="*/ 1918706 w 1918706"/>
                  <a:gd name="connsiteY15" fmla="*/ 2001351 h 5633118"/>
                  <a:gd name="connsiteX16" fmla="*/ 1918706 w 1918706"/>
                  <a:gd name="connsiteY16" fmla="*/ 2009125 h 5633118"/>
                  <a:gd name="connsiteX17" fmla="*/ 1918706 w 1918706"/>
                  <a:gd name="connsiteY17" fmla="*/ 2073109 h 5633118"/>
                  <a:gd name="connsiteX18" fmla="*/ 1918706 w 1918706"/>
                  <a:gd name="connsiteY18" fmla="*/ 2081031 h 5633118"/>
                  <a:gd name="connsiteX19" fmla="*/ 1918706 w 1918706"/>
                  <a:gd name="connsiteY19" fmla="*/ 2088805 h 5633118"/>
                  <a:gd name="connsiteX20" fmla="*/ 1918706 w 1918706"/>
                  <a:gd name="connsiteY20" fmla="*/ 2503632 h 5633118"/>
                  <a:gd name="connsiteX21" fmla="*/ 1918706 w 1918706"/>
                  <a:gd name="connsiteY21" fmla="*/ 2511407 h 5633118"/>
                  <a:gd name="connsiteX22" fmla="*/ 1918706 w 1918706"/>
                  <a:gd name="connsiteY22" fmla="*/ 2567616 h 5633118"/>
                  <a:gd name="connsiteX23" fmla="*/ 1918706 w 1918706"/>
                  <a:gd name="connsiteY23" fmla="*/ 2583313 h 5633118"/>
                  <a:gd name="connsiteX24" fmla="*/ 1918706 w 1918706"/>
                  <a:gd name="connsiteY24" fmla="*/ 2591087 h 5633118"/>
                  <a:gd name="connsiteX25" fmla="*/ 1918706 w 1918706"/>
                  <a:gd name="connsiteY25" fmla="*/ 2992759 h 5633118"/>
                  <a:gd name="connsiteX26" fmla="*/ 1918706 w 1918706"/>
                  <a:gd name="connsiteY26" fmla="*/ 3005914 h 5633118"/>
                  <a:gd name="connsiteX27" fmla="*/ 1918706 w 1918706"/>
                  <a:gd name="connsiteY27" fmla="*/ 3013688 h 5633118"/>
                  <a:gd name="connsiteX28" fmla="*/ 1918706 w 1918706"/>
                  <a:gd name="connsiteY28" fmla="*/ 3085594 h 5633118"/>
                  <a:gd name="connsiteX29" fmla="*/ 1918706 w 1918706"/>
                  <a:gd name="connsiteY29" fmla="*/ 3093368 h 5633118"/>
                  <a:gd name="connsiteX30" fmla="*/ 1918706 w 1918706"/>
                  <a:gd name="connsiteY30" fmla="*/ 3487266 h 5633118"/>
                  <a:gd name="connsiteX31" fmla="*/ 1918706 w 1918706"/>
                  <a:gd name="connsiteY31" fmla="*/ 3508195 h 5633118"/>
                  <a:gd name="connsiteX32" fmla="*/ 1918706 w 1918706"/>
                  <a:gd name="connsiteY32" fmla="*/ 3515969 h 5633118"/>
                  <a:gd name="connsiteX33" fmla="*/ 1918706 w 1918706"/>
                  <a:gd name="connsiteY33" fmla="*/ 3574721 h 5633118"/>
                  <a:gd name="connsiteX34" fmla="*/ 1918706 w 1918706"/>
                  <a:gd name="connsiteY34" fmla="*/ 3587875 h 5633118"/>
                  <a:gd name="connsiteX35" fmla="*/ 1918706 w 1918706"/>
                  <a:gd name="connsiteY35" fmla="*/ 3595649 h 5633118"/>
                  <a:gd name="connsiteX36" fmla="*/ 1918706 w 1918706"/>
                  <a:gd name="connsiteY36" fmla="*/ 3997322 h 5633118"/>
                  <a:gd name="connsiteX37" fmla="*/ 1918706 w 1918706"/>
                  <a:gd name="connsiteY37" fmla="*/ 4010476 h 5633118"/>
                  <a:gd name="connsiteX38" fmla="*/ 1918706 w 1918706"/>
                  <a:gd name="connsiteY38" fmla="*/ 4069228 h 5633118"/>
                  <a:gd name="connsiteX39" fmla="*/ 1918706 w 1918706"/>
                  <a:gd name="connsiteY39" fmla="*/ 4090156 h 5633118"/>
                  <a:gd name="connsiteX40" fmla="*/ 1918706 w 1918706"/>
                  <a:gd name="connsiteY40" fmla="*/ 4097931 h 5633118"/>
                  <a:gd name="connsiteX41" fmla="*/ 1918706 w 1918706"/>
                  <a:gd name="connsiteY41" fmla="*/ 4491829 h 5633118"/>
                  <a:gd name="connsiteX42" fmla="*/ 1918706 w 1918706"/>
                  <a:gd name="connsiteY42" fmla="*/ 4579284 h 5633118"/>
                  <a:gd name="connsiteX43" fmla="*/ 1918706 w 1918706"/>
                  <a:gd name="connsiteY43" fmla="*/ 4592438 h 5633118"/>
                  <a:gd name="connsiteX44" fmla="*/ 1918706 w 1918706"/>
                  <a:gd name="connsiteY44" fmla="*/ 5073791 h 5633118"/>
                  <a:gd name="connsiteX45" fmla="*/ 959355 w 1918706"/>
                  <a:gd name="connsiteY45" fmla="*/ 5633118 h 5633118"/>
                  <a:gd name="connsiteX46" fmla="*/ 0 w 1918706"/>
                  <a:gd name="connsiteY46" fmla="*/ 5073791 h 5633118"/>
                  <a:gd name="connsiteX47" fmla="*/ 0 w 1918706"/>
                  <a:gd name="connsiteY47" fmla="*/ 4592438 h 5633118"/>
                  <a:gd name="connsiteX48" fmla="*/ 0 w 1918706"/>
                  <a:gd name="connsiteY48" fmla="*/ 4579284 h 5633118"/>
                  <a:gd name="connsiteX49" fmla="*/ 0 w 1918706"/>
                  <a:gd name="connsiteY49" fmla="*/ 4491829 h 5633118"/>
                  <a:gd name="connsiteX50" fmla="*/ 0 w 1918706"/>
                  <a:gd name="connsiteY50" fmla="*/ 4097931 h 5633118"/>
                  <a:gd name="connsiteX51" fmla="*/ 0 w 1918706"/>
                  <a:gd name="connsiteY51" fmla="*/ 4090156 h 5633118"/>
                  <a:gd name="connsiteX52" fmla="*/ 0 w 1918706"/>
                  <a:gd name="connsiteY52" fmla="*/ 4069228 h 5633118"/>
                  <a:gd name="connsiteX53" fmla="*/ 0 w 1918706"/>
                  <a:gd name="connsiteY53" fmla="*/ 4010476 h 5633118"/>
                  <a:gd name="connsiteX54" fmla="*/ 0 w 1918706"/>
                  <a:gd name="connsiteY54" fmla="*/ 3997322 h 5633118"/>
                  <a:gd name="connsiteX55" fmla="*/ 0 w 1918706"/>
                  <a:gd name="connsiteY55" fmla="*/ 3595649 h 5633118"/>
                  <a:gd name="connsiteX56" fmla="*/ 0 w 1918706"/>
                  <a:gd name="connsiteY56" fmla="*/ 3587875 h 5633118"/>
                  <a:gd name="connsiteX57" fmla="*/ 0 w 1918706"/>
                  <a:gd name="connsiteY57" fmla="*/ 3574721 h 5633118"/>
                  <a:gd name="connsiteX58" fmla="*/ 0 w 1918706"/>
                  <a:gd name="connsiteY58" fmla="*/ 3515969 h 5633118"/>
                  <a:gd name="connsiteX59" fmla="*/ 0 w 1918706"/>
                  <a:gd name="connsiteY59" fmla="*/ 3508195 h 5633118"/>
                  <a:gd name="connsiteX60" fmla="*/ 0 w 1918706"/>
                  <a:gd name="connsiteY60" fmla="*/ 3487266 h 5633118"/>
                  <a:gd name="connsiteX61" fmla="*/ 0 w 1918706"/>
                  <a:gd name="connsiteY61" fmla="*/ 3093368 h 5633118"/>
                  <a:gd name="connsiteX62" fmla="*/ 0 w 1918706"/>
                  <a:gd name="connsiteY62" fmla="*/ 3085594 h 5633118"/>
                  <a:gd name="connsiteX63" fmla="*/ 0 w 1918706"/>
                  <a:gd name="connsiteY63" fmla="*/ 3013688 h 5633118"/>
                  <a:gd name="connsiteX64" fmla="*/ 0 w 1918706"/>
                  <a:gd name="connsiteY64" fmla="*/ 3005914 h 5633118"/>
                  <a:gd name="connsiteX65" fmla="*/ 0 w 1918706"/>
                  <a:gd name="connsiteY65" fmla="*/ 2992759 h 5633118"/>
                  <a:gd name="connsiteX66" fmla="*/ 0 w 1918706"/>
                  <a:gd name="connsiteY66" fmla="*/ 2591087 h 5633118"/>
                  <a:gd name="connsiteX67" fmla="*/ 0 w 1918706"/>
                  <a:gd name="connsiteY67" fmla="*/ 2583313 h 5633118"/>
                  <a:gd name="connsiteX68" fmla="*/ 0 w 1918706"/>
                  <a:gd name="connsiteY68" fmla="*/ 2567616 h 5633118"/>
                  <a:gd name="connsiteX69" fmla="*/ 0 w 1918706"/>
                  <a:gd name="connsiteY69" fmla="*/ 2511407 h 5633118"/>
                  <a:gd name="connsiteX70" fmla="*/ 0 w 1918706"/>
                  <a:gd name="connsiteY70" fmla="*/ 2503632 h 5633118"/>
                  <a:gd name="connsiteX71" fmla="*/ 0 w 1918706"/>
                  <a:gd name="connsiteY71" fmla="*/ 2088805 h 5633118"/>
                  <a:gd name="connsiteX72" fmla="*/ 0 w 1918706"/>
                  <a:gd name="connsiteY72" fmla="*/ 2081031 h 5633118"/>
                  <a:gd name="connsiteX73" fmla="*/ 0 w 1918706"/>
                  <a:gd name="connsiteY73" fmla="*/ 2073109 h 5633118"/>
                  <a:gd name="connsiteX74" fmla="*/ 0 w 1918706"/>
                  <a:gd name="connsiteY74" fmla="*/ 2009125 h 5633118"/>
                  <a:gd name="connsiteX75" fmla="*/ 0 w 1918706"/>
                  <a:gd name="connsiteY75" fmla="*/ 2001351 h 5633118"/>
                  <a:gd name="connsiteX76" fmla="*/ 0 w 1918706"/>
                  <a:gd name="connsiteY76" fmla="*/ 1985655 h 5633118"/>
                  <a:gd name="connsiteX77" fmla="*/ 0 w 1918706"/>
                  <a:gd name="connsiteY77" fmla="*/ 1586524 h 5633118"/>
                  <a:gd name="connsiteX78" fmla="*/ 0 w 1918706"/>
                  <a:gd name="connsiteY78" fmla="*/ 1563054 h 5633118"/>
                  <a:gd name="connsiteX79" fmla="*/ 0 w 1918706"/>
                  <a:gd name="connsiteY79" fmla="*/ 1506844 h 5633118"/>
                  <a:gd name="connsiteX80" fmla="*/ 0 w 1918706"/>
                  <a:gd name="connsiteY80" fmla="*/ 1499070 h 5633118"/>
                  <a:gd name="connsiteX81" fmla="*/ 0 w 1918706"/>
                  <a:gd name="connsiteY81" fmla="*/ 1491148 h 5633118"/>
                  <a:gd name="connsiteX82" fmla="*/ 0 w 1918706"/>
                  <a:gd name="connsiteY82" fmla="*/ 1076469 h 5633118"/>
                  <a:gd name="connsiteX83" fmla="*/ 0 w 1918706"/>
                  <a:gd name="connsiteY83" fmla="*/ 1068547 h 5633118"/>
                  <a:gd name="connsiteX84" fmla="*/ 0 w 1918706"/>
                  <a:gd name="connsiteY84" fmla="*/ 1004563 h 5633118"/>
                  <a:gd name="connsiteX85" fmla="*/ 0 w 1918706"/>
                  <a:gd name="connsiteY85" fmla="*/ 981092 h 5633118"/>
                  <a:gd name="connsiteX86" fmla="*/ 0 w 1918706"/>
                  <a:gd name="connsiteY86" fmla="*/ 581962 h 5633118"/>
                  <a:gd name="connsiteX87" fmla="*/ 0 w 1918706"/>
                  <a:gd name="connsiteY87" fmla="*/ 494507 h 5633118"/>
                  <a:gd name="connsiteX88" fmla="*/ 0 w 1918706"/>
                  <a:gd name="connsiteY88" fmla="*/ 486585 h 5633118"/>
                  <a:gd name="connsiteX89" fmla="*/ 0 w 1918706"/>
                  <a:gd name="connsiteY8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86585 h 5633118"/>
                  <a:gd name="connsiteX4" fmla="*/ 1918706 w 1918706"/>
                  <a:gd name="connsiteY4" fmla="*/ 981092 h 5633118"/>
                  <a:gd name="connsiteX5" fmla="*/ 1918706 w 1918706"/>
                  <a:gd name="connsiteY5" fmla="*/ 1004563 h 5633118"/>
                  <a:gd name="connsiteX6" fmla="*/ 1918706 w 1918706"/>
                  <a:gd name="connsiteY6" fmla="*/ 1068547 h 5633118"/>
                  <a:gd name="connsiteX7" fmla="*/ 1918706 w 1918706"/>
                  <a:gd name="connsiteY7" fmla="*/ 1076469 h 5633118"/>
                  <a:gd name="connsiteX8" fmla="*/ 1918706 w 1918706"/>
                  <a:gd name="connsiteY8" fmla="*/ 1491148 h 5633118"/>
                  <a:gd name="connsiteX9" fmla="*/ 1918706 w 1918706"/>
                  <a:gd name="connsiteY9" fmla="*/ 1499070 h 5633118"/>
                  <a:gd name="connsiteX10" fmla="*/ 1918706 w 1918706"/>
                  <a:gd name="connsiteY10" fmla="*/ 1506844 h 5633118"/>
                  <a:gd name="connsiteX11" fmla="*/ 1918706 w 1918706"/>
                  <a:gd name="connsiteY11" fmla="*/ 1563054 h 5633118"/>
                  <a:gd name="connsiteX12" fmla="*/ 1918706 w 1918706"/>
                  <a:gd name="connsiteY12" fmla="*/ 1586524 h 5633118"/>
                  <a:gd name="connsiteX13" fmla="*/ 1918706 w 1918706"/>
                  <a:gd name="connsiteY13" fmla="*/ 1985655 h 5633118"/>
                  <a:gd name="connsiteX14" fmla="*/ 1918706 w 1918706"/>
                  <a:gd name="connsiteY14" fmla="*/ 2001351 h 5633118"/>
                  <a:gd name="connsiteX15" fmla="*/ 1918706 w 1918706"/>
                  <a:gd name="connsiteY15" fmla="*/ 2009125 h 5633118"/>
                  <a:gd name="connsiteX16" fmla="*/ 1918706 w 1918706"/>
                  <a:gd name="connsiteY16" fmla="*/ 2073109 h 5633118"/>
                  <a:gd name="connsiteX17" fmla="*/ 1918706 w 1918706"/>
                  <a:gd name="connsiteY17" fmla="*/ 2081031 h 5633118"/>
                  <a:gd name="connsiteX18" fmla="*/ 1918706 w 1918706"/>
                  <a:gd name="connsiteY18" fmla="*/ 2088805 h 5633118"/>
                  <a:gd name="connsiteX19" fmla="*/ 1918706 w 1918706"/>
                  <a:gd name="connsiteY19" fmla="*/ 2503632 h 5633118"/>
                  <a:gd name="connsiteX20" fmla="*/ 1918706 w 1918706"/>
                  <a:gd name="connsiteY20" fmla="*/ 2511407 h 5633118"/>
                  <a:gd name="connsiteX21" fmla="*/ 1918706 w 1918706"/>
                  <a:gd name="connsiteY21" fmla="*/ 2567616 h 5633118"/>
                  <a:gd name="connsiteX22" fmla="*/ 1918706 w 1918706"/>
                  <a:gd name="connsiteY22" fmla="*/ 2583313 h 5633118"/>
                  <a:gd name="connsiteX23" fmla="*/ 1918706 w 1918706"/>
                  <a:gd name="connsiteY23" fmla="*/ 2591087 h 5633118"/>
                  <a:gd name="connsiteX24" fmla="*/ 1918706 w 1918706"/>
                  <a:gd name="connsiteY24" fmla="*/ 2992759 h 5633118"/>
                  <a:gd name="connsiteX25" fmla="*/ 1918706 w 1918706"/>
                  <a:gd name="connsiteY25" fmla="*/ 3005914 h 5633118"/>
                  <a:gd name="connsiteX26" fmla="*/ 1918706 w 1918706"/>
                  <a:gd name="connsiteY26" fmla="*/ 3013688 h 5633118"/>
                  <a:gd name="connsiteX27" fmla="*/ 1918706 w 1918706"/>
                  <a:gd name="connsiteY27" fmla="*/ 3085594 h 5633118"/>
                  <a:gd name="connsiteX28" fmla="*/ 1918706 w 1918706"/>
                  <a:gd name="connsiteY28" fmla="*/ 3093368 h 5633118"/>
                  <a:gd name="connsiteX29" fmla="*/ 1918706 w 1918706"/>
                  <a:gd name="connsiteY29" fmla="*/ 3487266 h 5633118"/>
                  <a:gd name="connsiteX30" fmla="*/ 1918706 w 1918706"/>
                  <a:gd name="connsiteY30" fmla="*/ 3508195 h 5633118"/>
                  <a:gd name="connsiteX31" fmla="*/ 1918706 w 1918706"/>
                  <a:gd name="connsiteY31" fmla="*/ 3515969 h 5633118"/>
                  <a:gd name="connsiteX32" fmla="*/ 1918706 w 1918706"/>
                  <a:gd name="connsiteY32" fmla="*/ 3574721 h 5633118"/>
                  <a:gd name="connsiteX33" fmla="*/ 1918706 w 1918706"/>
                  <a:gd name="connsiteY33" fmla="*/ 3587875 h 5633118"/>
                  <a:gd name="connsiteX34" fmla="*/ 1918706 w 1918706"/>
                  <a:gd name="connsiteY34" fmla="*/ 3595649 h 5633118"/>
                  <a:gd name="connsiteX35" fmla="*/ 1918706 w 1918706"/>
                  <a:gd name="connsiteY35" fmla="*/ 3997322 h 5633118"/>
                  <a:gd name="connsiteX36" fmla="*/ 1918706 w 1918706"/>
                  <a:gd name="connsiteY36" fmla="*/ 4010476 h 5633118"/>
                  <a:gd name="connsiteX37" fmla="*/ 1918706 w 1918706"/>
                  <a:gd name="connsiteY37" fmla="*/ 4069228 h 5633118"/>
                  <a:gd name="connsiteX38" fmla="*/ 1918706 w 1918706"/>
                  <a:gd name="connsiteY38" fmla="*/ 4090156 h 5633118"/>
                  <a:gd name="connsiteX39" fmla="*/ 1918706 w 1918706"/>
                  <a:gd name="connsiteY39" fmla="*/ 4097931 h 5633118"/>
                  <a:gd name="connsiteX40" fmla="*/ 1918706 w 1918706"/>
                  <a:gd name="connsiteY40" fmla="*/ 4491829 h 5633118"/>
                  <a:gd name="connsiteX41" fmla="*/ 1918706 w 1918706"/>
                  <a:gd name="connsiteY41" fmla="*/ 4579284 h 5633118"/>
                  <a:gd name="connsiteX42" fmla="*/ 1918706 w 1918706"/>
                  <a:gd name="connsiteY42" fmla="*/ 4592438 h 5633118"/>
                  <a:gd name="connsiteX43" fmla="*/ 1918706 w 1918706"/>
                  <a:gd name="connsiteY43" fmla="*/ 5073791 h 5633118"/>
                  <a:gd name="connsiteX44" fmla="*/ 959355 w 1918706"/>
                  <a:gd name="connsiteY44" fmla="*/ 5633118 h 5633118"/>
                  <a:gd name="connsiteX45" fmla="*/ 0 w 1918706"/>
                  <a:gd name="connsiteY45" fmla="*/ 5073791 h 5633118"/>
                  <a:gd name="connsiteX46" fmla="*/ 0 w 1918706"/>
                  <a:gd name="connsiteY46" fmla="*/ 4592438 h 5633118"/>
                  <a:gd name="connsiteX47" fmla="*/ 0 w 1918706"/>
                  <a:gd name="connsiteY47" fmla="*/ 4579284 h 5633118"/>
                  <a:gd name="connsiteX48" fmla="*/ 0 w 1918706"/>
                  <a:gd name="connsiteY48" fmla="*/ 4491829 h 5633118"/>
                  <a:gd name="connsiteX49" fmla="*/ 0 w 1918706"/>
                  <a:gd name="connsiteY49" fmla="*/ 4097931 h 5633118"/>
                  <a:gd name="connsiteX50" fmla="*/ 0 w 1918706"/>
                  <a:gd name="connsiteY50" fmla="*/ 4090156 h 5633118"/>
                  <a:gd name="connsiteX51" fmla="*/ 0 w 1918706"/>
                  <a:gd name="connsiteY51" fmla="*/ 4069228 h 5633118"/>
                  <a:gd name="connsiteX52" fmla="*/ 0 w 1918706"/>
                  <a:gd name="connsiteY52" fmla="*/ 4010476 h 5633118"/>
                  <a:gd name="connsiteX53" fmla="*/ 0 w 1918706"/>
                  <a:gd name="connsiteY53" fmla="*/ 3997322 h 5633118"/>
                  <a:gd name="connsiteX54" fmla="*/ 0 w 1918706"/>
                  <a:gd name="connsiteY54" fmla="*/ 3595649 h 5633118"/>
                  <a:gd name="connsiteX55" fmla="*/ 0 w 1918706"/>
                  <a:gd name="connsiteY55" fmla="*/ 3587875 h 5633118"/>
                  <a:gd name="connsiteX56" fmla="*/ 0 w 1918706"/>
                  <a:gd name="connsiteY56" fmla="*/ 3574721 h 5633118"/>
                  <a:gd name="connsiteX57" fmla="*/ 0 w 1918706"/>
                  <a:gd name="connsiteY57" fmla="*/ 3515969 h 5633118"/>
                  <a:gd name="connsiteX58" fmla="*/ 0 w 1918706"/>
                  <a:gd name="connsiteY58" fmla="*/ 3508195 h 5633118"/>
                  <a:gd name="connsiteX59" fmla="*/ 0 w 1918706"/>
                  <a:gd name="connsiteY59" fmla="*/ 3487266 h 5633118"/>
                  <a:gd name="connsiteX60" fmla="*/ 0 w 1918706"/>
                  <a:gd name="connsiteY60" fmla="*/ 3093368 h 5633118"/>
                  <a:gd name="connsiteX61" fmla="*/ 0 w 1918706"/>
                  <a:gd name="connsiteY61" fmla="*/ 3085594 h 5633118"/>
                  <a:gd name="connsiteX62" fmla="*/ 0 w 1918706"/>
                  <a:gd name="connsiteY62" fmla="*/ 3013688 h 5633118"/>
                  <a:gd name="connsiteX63" fmla="*/ 0 w 1918706"/>
                  <a:gd name="connsiteY63" fmla="*/ 3005914 h 5633118"/>
                  <a:gd name="connsiteX64" fmla="*/ 0 w 1918706"/>
                  <a:gd name="connsiteY64" fmla="*/ 2992759 h 5633118"/>
                  <a:gd name="connsiteX65" fmla="*/ 0 w 1918706"/>
                  <a:gd name="connsiteY65" fmla="*/ 2591087 h 5633118"/>
                  <a:gd name="connsiteX66" fmla="*/ 0 w 1918706"/>
                  <a:gd name="connsiteY66" fmla="*/ 2583313 h 5633118"/>
                  <a:gd name="connsiteX67" fmla="*/ 0 w 1918706"/>
                  <a:gd name="connsiteY67" fmla="*/ 2567616 h 5633118"/>
                  <a:gd name="connsiteX68" fmla="*/ 0 w 1918706"/>
                  <a:gd name="connsiteY68" fmla="*/ 2511407 h 5633118"/>
                  <a:gd name="connsiteX69" fmla="*/ 0 w 1918706"/>
                  <a:gd name="connsiteY69" fmla="*/ 2503632 h 5633118"/>
                  <a:gd name="connsiteX70" fmla="*/ 0 w 1918706"/>
                  <a:gd name="connsiteY70" fmla="*/ 2088805 h 5633118"/>
                  <a:gd name="connsiteX71" fmla="*/ 0 w 1918706"/>
                  <a:gd name="connsiteY71" fmla="*/ 2081031 h 5633118"/>
                  <a:gd name="connsiteX72" fmla="*/ 0 w 1918706"/>
                  <a:gd name="connsiteY72" fmla="*/ 2073109 h 5633118"/>
                  <a:gd name="connsiteX73" fmla="*/ 0 w 1918706"/>
                  <a:gd name="connsiteY73" fmla="*/ 2009125 h 5633118"/>
                  <a:gd name="connsiteX74" fmla="*/ 0 w 1918706"/>
                  <a:gd name="connsiteY74" fmla="*/ 2001351 h 5633118"/>
                  <a:gd name="connsiteX75" fmla="*/ 0 w 1918706"/>
                  <a:gd name="connsiteY75" fmla="*/ 1985655 h 5633118"/>
                  <a:gd name="connsiteX76" fmla="*/ 0 w 1918706"/>
                  <a:gd name="connsiteY76" fmla="*/ 1586524 h 5633118"/>
                  <a:gd name="connsiteX77" fmla="*/ 0 w 1918706"/>
                  <a:gd name="connsiteY77" fmla="*/ 1563054 h 5633118"/>
                  <a:gd name="connsiteX78" fmla="*/ 0 w 1918706"/>
                  <a:gd name="connsiteY78" fmla="*/ 1506844 h 5633118"/>
                  <a:gd name="connsiteX79" fmla="*/ 0 w 1918706"/>
                  <a:gd name="connsiteY79" fmla="*/ 1499070 h 5633118"/>
                  <a:gd name="connsiteX80" fmla="*/ 0 w 1918706"/>
                  <a:gd name="connsiteY80" fmla="*/ 1491148 h 5633118"/>
                  <a:gd name="connsiteX81" fmla="*/ 0 w 1918706"/>
                  <a:gd name="connsiteY81" fmla="*/ 1076469 h 5633118"/>
                  <a:gd name="connsiteX82" fmla="*/ 0 w 1918706"/>
                  <a:gd name="connsiteY82" fmla="*/ 1068547 h 5633118"/>
                  <a:gd name="connsiteX83" fmla="*/ 0 w 1918706"/>
                  <a:gd name="connsiteY83" fmla="*/ 1004563 h 5633118"/>
                  <a:gd name="connsiteX84" fmla="*/ 0 w 1918706"/>
                  <a:gd name="connsiteY84" fmla="*/ 981092 h 5633118"/>
                  <a:gd name="connsiteX85" fmla="*/ 0 w 1918706"/>
                  <a:gd name="connsiteY85" fmla="*/ 581962 h 5633118"/>
                  <a:gd name="connsiteX86" fmla="*/ 0 w 1918706"/>
                  <a:gd name="connsiteY86" fmla="*/ 494507 h 5633118"/>
                  <a:gd name="connsiteX87" fmla="*/ 0 w 1918706"/>
                  <a:gd name="connsiteY87" fmla="*/ 486585 h 5633118"/>
                  <a:gd name="connsiteX88" fmla="*/ 0 w 1918706"/>
                  <a:gd name="connsiteY8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486585 h 5633118"/>
                  <a:gd name="connsiteX87" fmla="*/ 0 w 1918706"/>
                  <a:gd name="connsiteY8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494507 h 5633118"/>
                  <a:gd name="connsiteX86" fmla="*/ 0 w 1918706"/>
                  <a:gd name="connsiteY8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581962 h 5633118"/>
                  <a:gd name="connsiteX85" fmla="*/ 0 w 1918706"/>
                  <a:gd name="connsiteY8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981092 h 5633118"/>
                  <a:gd name="connsiteX84" fmla="*/ 0 w 1918706"/>
                  <a:gd name="connsiteY8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1004563 h 5633118"/>
                  <a:gd name="connsiteX83" fmla="*/ 0 w 1918706"/>
                  <a:gd name="connsiteY8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1068547 h 5633118"/>
                  <a:gd name="connsiteX82" fmla="*/ 0 w 1918706"/>
                  <a:gd name="connsiteY8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491148 h 5633118"/>
                  <a:gd name="connsiteX80" fmla="*/ 0 w 1918706"/>
                  <a:gd name="connsiteY80" fmla="*/ 1076469 h 5633118"/>
                  <a:gd name="connsiteX81" fmla="*/ 0 w 1918706"/>
                  <a:gd name="connsiteY8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1076469 h 5633118"/>
                  <a:gd name="connsiteX80" fmla="*/ 0 w 1918706"/>
                  <a:gd name="connsiteY8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1499070 h 5633118"/>
                  <a:gd name="connsiteX79" fmla="*/ 0 w 1918706"/>
                  <a:gd name="connsiteY7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1506844 h 5633118"/>
                  <a:gd name="connsiteX78" fmla="*/ 0 w 1918706"/>
                  <a:gd name="connsiteY7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1563054 h 5633118"/>
                  <a:gd name="connsiteX77" fmla="*/ 0 w 1918706"/>
                  <a:gd name="connsiteY7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1586524 h 5633118"/>
                  <a:gd name="connsiteX76" fmla="*/ 0 w 1918706"/>
                  <a:gd name="connsiteY7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1985655 h 5633118"/>
                  <a:gd name="connsiteX75" fmla="*/ 0 w 1918706"/>
                  <a:gd name="connsiteY7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2001351 h 5633118"/>
                  <a:gd name="connsiteX74" fmla="*/ 0 w 1918706"/>
                  <a:gd name="connsiteY7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2009125 h 5633118"/>
                  <a:gd name="connsiteX73" fmla="*/ 0 w 1918706"/>
                  <a:gd name="connsiteY7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2073109 h 5633118"/>
                  <a:gd name="connsiteX72" fmla="*/ 0 w 1918706"/>
                  <a:gd name="connsiteY7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2081031 h 5633118"/>
                  <a:gd name="connsiteX71" fmla="*/ 0 w 1918706"/>
                  <a:gd name="connsiteY7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2088805 h 5633118"/>
                  <a:gd name="connsiteX70" fmla="*/ 0 w 1918706"/>
                  <a:gd name="connsiteY7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2503632 h 5633118"/>
                  <a:gd name="connsiteX69" fmla="*/ 0 w 1918706"/>
                  <a:gd name="connsiteY6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2511407 h 5633118"/>
                  <a:gd name="connsiteX68" fmla="*/ 0 w 1918706"/>
                  <a:gd name="connsiteY6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2567616 h 5633118"/>
                  <a:gd name="connsiteX67" fmla="*/ 0 w 1918706"/>
                  <a:gd name="connsiteY6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2583313 h 5633118"/>
                  <a:gd name="connsiteX66" fmla="*/ 0 w 1918706"/>
                  <a:gd name="connsiteY6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992759 h 5633118"/>
                  <a:gd name="connsiteX64" fmla="*/ 0 w 1918706"/>
                  <a:gd name="connsiteY64" fmla="*/ 2591087 h 5633118"/>
                  <a:gd name="connsiteX65" fmla="*/ 0 w 1918706"/>
                  <a:gd name="connsiteY6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3005914 h 5633118"/>
                  <a:gd name="connsiteX63" fmla="*/ 0 w 1918706"/>
                  <a:gd name="connsiteY63" fmla="*/ 2591087 h 5633118"/>
                  <a:gd name="connsiteX64" fmla="*/ 0 w 1918706"/>
                  <a:gd name="connsiteY6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3013688 h 5633118"/>
                  <a:gd name="connsiteX62" fmla="*/ 0 w 1918706"/>
                  <a:gd name="connsiteY62" fmla="*/ 2591087 h 5633118"/>
                  <a:gd name="connsiteX63" fmla="*/ 0 w 1918706"/>
                  <a:gd name="connsiteY6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3085594 h 5633118"/>
                  <a:gd name="connsiteX61" fmla="*/ 0 w 1918706"/>
                  <a:gd name="connsiteY61" fmla="*/ 2591087 h 5633118"/>
                  <a:gd name="connsiteX62" fmla="*/ 0 w 1918706"/>
                  <a:gd name="connsiteY6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2591087 h 5633118"/>
                  <a:gd name="connsiteX61" fmla="*/ 0 w 1918706"/>
                  <a:gd name="connsiteY6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3093368 h 5633118"/>
                  <a:gd name="connsiteX60" fmla="*/ 0 w 1918706"/>
                  <a:gd name="connsiteY6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04563 h 5633118"/>
                  <a:gd name="connsiteX5" fmla="*/ 1918706 w 1918706"/>
                  <a:gd name="connsiteY5" fmla="*/ 1068547 h 5633118"/>
                  <a:gd name="connsiteX6" fmla="*/ 1918706 w 1918706"/>
                  <a:gd name="connsiteY6" fmla="*/ 1076469 h 5633118"/>
                  <a:gd name="connsiteX7" fmla="*/ 1918706 w 1918706"/>
                  <a:gd name="connsiteY7" fmla="*/ 1491148 h 5633118"/>
                  <a:gd name="connsiteX8" fmla="*/ 1918706 w 1918706"/>
                  <a:gd name="connsiteY8" fmla="*/ 1499070 h 5633118"/>
                  <a:gd name="connsiteX9" fmla="*/ 1918706 w 1918706"/>
                  <a:gd name="connsiteY9" fmla="*/ 1506844 h 5633118"/>
                  <a:gd name="connsiteX10" fmla="*/ 1918706 w 1918706"/>
                  <a:gd name="connsiteY10" fmla="*/ 1563054 h 5633118"/>
                  <a:gd name="connsiteX11" fmla="*/ 1918706 w 1918706"/>
                  <a:gd name="connsiteY11" fmla="*/ 1586524 h 5633118"/>
                  <a:gd name="connsiteX12" fmla="*/ 1918706 w 1918706"/>
                  <a:gd name="connsiteY12" fmla="*/ 1985655 h 5633118"/>
                  <a:gd name="connsiteX13" fmla="*/ 1918706 w 1918706"/>
                  <a:gd name="connsiteY13" fmla="*/ 2001351 h 5633118"/>
                  <a:gd name="connsiteX14" fmla="*/ 1918706 w 1918706"/>
                  <a:gd name="connsiteY14" fmla="*/ 2009125 h 5633118"/>
                  <a:gd name="connsiteX15" fmla="*/ 1918706 w 1918706"/>
                  <a:gd name="connsiteY15" fmla="*/ 2073109 h 5633118"/>
                  <a:gd name="connsiteX16" fmla="*/ 1918706 w 1918706"/>
                  <a:gd name="connsiteY16" fmla="*/ 2081031 h 5633118"/>
                  <a:gd name="connsiteX17" fmla="*/ 1918706 w 1918706"/>
                  <a:gd name="connsiteY17" fmla="*/ 2088805 h 5633118"/>
                  <a:gd name="connsiteX18" fmla="*/ 1918706 w 1918706"/>
                  <a:gd name="connsiteY18" fmla="*/ 2503632 h 5633118"/>
                  <a:gd name="connsiteX19" fmla="*/ 1918706 w 1918706"/>
                  <a:gd name="connsiteY19" fmla="*/ 2511407 h 5633118"/>
                  <a:gd name="connsiteX20" fmla="*/ 1918706 w 1918706"/>
                  <a:gd name="connsiteY20" fmla="*/ 2567616 h 5633118"/>
                  <a:gd name="connsiteX21" fmla="*/ 1918706 w 1918706"/>
                  <a:gd name="connsiteY21" fmla="*/ 2583313 h 5633118"/>
                  <a:gd name="connsiteX22" fmla="*/ 1918706 w 1918706"/>
                  <a:gd name="connsiteY22" fmla="*/ 2591087 h 5633118"/>
                  <a:gd name="connsiteX23" fmla="*/ 1918706 w 1918706"/>
                  <a:gd name="connsiteY23" fmla="*/ 2992759 h 5633118"/>
                  <a:gd name="connsiteX24" fmla="*/ 1918706 w 1918706"/>
                  <a:gd name="connsiteY24" fmla="*/ 3005914 h 5633118"/>
                  <a:gd name="connsiteX25" fmla="*/ 1918706 w 1918706"/>
                  <a:gd name="connsiteY25" fmla="*/ 3013688 h 5633118"/>
                  <a:gd name="connsiteX26" fmla="*/ 1918706 w 1918706"/>
                  <a:gd name="connsiteY26" fmla="*/ 3085594 h 5633118"/>
                  <a:gd name="connsiteX27" fmla="*/ 1918706 w 1918706"/>
                  <a:gd name="connsiteY27" fmla="*/ 3093368 h 5633118"/>
                  <a:gd name="connsiteX28" fmla="*/ 1918706 w 1918706"/>
                  <a:gd name="connsiteY28" fmla="*/ 3487266 h 5633118"/>
                  <a:gd name="connsiteX29" fmla="*/ 1918706 w 1918706"/>
                  <a:gd name="connsiteY29" fmla="*/ 3508195 h 5633118"/>
                  <a:gd name="connsiteX30" fmla="*/ 1918706 w 1918706"/>
                  <a:gd name="connsiteY30" fmla="*/ 3515969 h 5633118"/>
                  <a:gd name="connsiteX31" fmla="*/ 1918706 w 1918706"/>
                  <a:gd name="connsiteY31" fmla="*/ 3574721 h 5633118"/>
                  <a:gd name="connsiteX32" fmla="*/ 1918706 w 1918706"/>
                  <a:gd name="connsiteY32" fmla="*/ 3587875 h 5633118"/>
                  <a:gd name="connsiteX33" fmla="*/ 1918706 w 1918706"/>
                  <a:gd name="connsiteY33" fmla="*/ 3595649 h 5633118"/>
                  <a:gd name="connsiteX34" fmla="*/ 1918706 w 1918706"/>
                  <a:gd name="connsiteY34" fmla="*/ 3997322 h 5633118"/>
                  <a:gd name="connsiteX35" fmla="*/ 1918706 w 1918706"/>
                  <a:gd name="connsiteY35" fmla="*/ 4010476 h 5633118"/>
                  <a:gd name="connsiteX36" fmla="*/ 1918706 w 1918706"/>
                  <a:gd name="connsiteY36" fmla="*/ 4069228 h 5633118"/>
                  <a:gd name="connsiteX37" fmla="*/ 1918706 w 1918706"/>
                  <a:gd name="connsiteY37" fmla="*/ 4090156 h 5633118"/>
                  <a:gd name="connsiteX38" fmla="*/ 1918706 w 1918706"/>
                  <a:gd name="connsiteY38" fmla="*/ 4097931 h 5633118"/>
                  <a:gd name="connsiteX39" fmla="*/ 1918706 w 1918706"/>
                  <a:gd name="connsiteY39" fmla="*/ 4491829 h 5633118"/>
                  <a:gd name="connsiteX40" fmla="*/ 1918706 w 1918706"/>
                  <a:gd name="connsiteY40" fmla="*/ 4579284 h 5633118"/>
                  <a:gd name="connsiteX41" fmla="*/ 1918706 w 1918706"/>
                  <a:gd name="connsiteY41" fmla="*/ 4592438 h 5633118"/>
                  <a:gd name="connsiteX42" fmla="*/ 1918706 w 1918706"/>
                  <a:gd name="connsiteY42" fmla="*/ 5073791 h 5633118"/>
                  <a:gd name="connsiteX43" fmla="*/ 959355 w 1918706"/>
                  <a:gd name="connsiteY43" fmla="*/ 5633118 h 5633118"/>
                  <a:gd name="connsiteX44" fmla="*/ 0 w 1918706"/>
                  <a:gd name="connsiteY44" fmla="*/ 5073791 h 5633118"/>
                  <a:gd name="connsiteX45" fmla="*/ 0 w 1918706"/>
                  <a:gd name="connsiteY45" fmla="*/ 4592438 h 5633118"/>
                  <a:gd name="connsiteX46" fmla="*/ 0 w 1918706"/>
                  <a:gd name="connsiteY46" fmla="*/ 4579284 h 5633118"/>
                  <a:gd name="connsiteX47" fmla="*/ 0 w 1918706"/>
                  <a:gd name="connsiteY47" fmla="*/ 4491829 h 5633118"/>
                  <a:gd name="connsiteX48" fmla="*/ 0 w 1918706"/>
                  <a:gd name="connsiteY48" fmla="*/ 4097931 h 5633118"/>
                  <a:gd name="connsiteX49" fmla="*/ 0 w 1918706"/>
                  <a:gd name="connsiteY49" fmla="*/ 4090156 h 5633118"/>
                  <a:gd name="connsiteX50" fmla="*/ 0 w 1918706"/>
                  <a:gd name="connsiteY50" fmla="*/ 4069228 h 5633118"/>
                  <a:gd name="connsiteX51" fmla="*/ 0 w 1918706"/>
                  <a:gd name="connsiteY51" fmla="*/ 4010476 h 5633118"/>
                  <a:gd name="connsiteX52" fmla="*/ 0 w 1918706"/>
                  <a:gd name="connsiteY52" fmla="*/ 3997322 h 5633118"/>
                  <a:gd name="connsiteX53" fmla="*/ 0 w 1918706"/>
                  <a:gd name="connsiteY53" fmla="*/ 3595649 h 5633118"/>
                  <a:gd name="connsiteX54" fmla="*/ 0 w 1918706"/>
                  <a:gd name="connsiteY54" fmla="*/ 3587875 h 5633118"/>
                  <a:gd name="connsiteX55" fmla="*/ 0 w 1918706"/>
                  <a:gd name="connsiteY55" fmla="*/ 3574721 h 5633118"/>
                  <a:gd name="connsiteX56" fmla="*/ 0 w 1918706"/>
                  <a:gd name="connsiteY56" fmla="*/ 3515969 h 5633118"/>
                  <a:gd name="connsiteX57" fmla="*/ 0 w 1918706"/>
                  <a:gd name="connsiteY57" fmla="*/ 3508195 h 5633118"/>
                  <a:gd name="connsiteX58" fmla="*/ 0 w 1918706"/>
                  <a:gd name="connsiteY58" fmla="*/ 3487266 h 5633118"/>
                  <a:gd name="connsiteX59" fmla="*/ 0 w 1918706"/>
                  <a:gd name="connsiteY5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981092 h 5633118"/>
                  <a:gd name="connsiteX4" fmla="*/ 1918706 w 1918706"/>
                  <a:gd name="connsiteY4" fmla="*/ 1068547 h 5633118"/>
                  <a:gd name="connsiteX5" fmla="*/ 1918706 w 1918706"/>
                  <a:gd name="connsiteY5" fmla="*/ 1076469 h 5633118"/>
                  <a:gd name="connsiteX6" fmla="*/ 1918706 w 1918706"/>
                  <a:gd name="connsiteY6" fmla="*/ 1491148 h 5633118"/>
                  <a:gd name="connsiteX7" fmla="*/ 1918706 w 1918706"/>
                  <a:gd name="connsiteY7" fmla="*/ 1499070 h 5633118"/>
                  <a:gd name="connsiteX8" fmla="*/ 1918706 w 1918706"/>
                  <a:gd name="connsiteY8" fmla="*/ 1506844 h 5633118"/>
                  <a:gd name="connsiteX9" fmla="*/ 1918706 w 1918706"/>
                  <a:gd name="connsiteY9" fmla="*/ 1563054 h 5633118"/>
                  <a:gd name="connsiteX10" fmla="*/ 1918706 w 1918706"/>
                  <a:gd name="connsiteY10" fmla="*/ 1586524 h 5633118"/>
                  <a:gd name="connsiteX11" fmla="*/ 1918706 w 1918706"/>
                  <a:gd name="connsiteY11" fmla="*/ 1985655 h 5633118"/>
                  <a:gd name="connsiteX12" fmla="*/ 1918706 w 1918706"/>
                  <a:gd name="connsiteY12" fmla="*/ 2001351 h 5633118"/>
                  <a:gd name="connsiteX13" fmla="*/ 1918706 w 1918706"/>
                  <a:gd name="connsiteY13" fmla="*/ 2009125 h 5633118"/>
                  <a:gd name="connsiteX14" fmla="*/ 1918706 w 1918706"/>
                  <a:gd name="connsiteY14" fmla="*/ 2073109 h 5633118"/>
                  <a:gd name="connsiteX15" fmla="*/ 1918706 w 1918706"/>
                  <a:gd name="connsiteY15" fmla="*/ 2081031 h 5633118"/>
                  <a:gd name="connsiteX16" fmla="*/ 1918706 w 1918706"/>
                  <a:gd name="connsiteY16" fmla="*/ 2088805 h 5633118"/>
                  <a:gd name="connsiteX17" fmla="*/ 1918706 w 1918706"/>
                  <a:gd name="connsiteY17" fmla="*/ 2503632 h 5633118"/>
                  <a:gd name="connsiteX18" fmla="*/ 1918706 w 1918706"/>
                  <a:gd name="connsiteY18" fmla="*/ 2511407 h 5633118"/>
                  <a:gd name="connsiteX19" fmla="*/ 1918706 w 1918706"/>
                  <a:gd name="connsiteY19" fmla="*/ 2567616 h 5633118"/>
                  <a:gd name="connsiteX20" fmla="*/ 1918706 w 1918706"/>
                  <a:gd name="connsiteY20" fmla="*/ 2583313 h 5633118"/>
                  <a:gd name="connsiteX21" fmla="*/ 1918706 w 1918706"/>
                  <a:gd name="connsiteY21" fmla="*/ 2591087 h 5633118"/>
                  <a:gd name="connsiteX22" fmla="*/ 1918706 w 1918706"/>
                  <a:gd name="connsiteY22" fmla="*/ 2992759 h 5633118"/>
                  <a:gd name="connsiteX23" fmla="*/ 1918706 w 1918706"/>
                  <a:gd name="connsiteY23" fmla="*/ 3005914 h 5633118"/>
                  <a:gd name="connsiteX24" fmla="*/ 1918706 w 1918706"/>
                  <a:gd name="connsiteY24" fmla="*/ 3013688 h 5633118"/>
                  <a:gd name="connsiteX25" fmla="*/ 1918706 w 1918706"/>
                  <a:gd name="connsiteY25" fmla="*/ 3085594 h 5633118"/>
                  <a:gd name="connsiteX26" fmla="*/ 1918706 w 1918706"/>
                  <a:gd name="connsiteY26" fmla="*/ 3093368 h 5633118"/>
                  <a:gd name="connsiteX27" fmla="*/ 1918706 w 1918706"/>
                  <a:gd name="connsiteY27" fmla="*/ 3487266 h 5633118"/>
                  <a:gd name="connsiteX28" fmla="*/ 1918706 w 1918706"/>
                  <a:gd name="connsiteY28" fmla="*/ 3508195 h 5633118"/>
                  <a:gd name="connsiteX29" fmla="*/ 1918706 w 1918706"/>
                  <a:gd name="connsiteY29" fmla="*/ 3515969 h 5633118"/>
                  <a:gd name="connsiteX30" fmla="*/ 1918706 w 1918706"/>
                  <a:gd name="connsiteY30" fmla="*/ 3574721 h 5633118"/>
                  <a:gd name="connsiteX31" fmla="*/ 1918706 w 1918706"/>
                  <a:gd name="connsiteY31" fmla="*/ 3587875 h 5633118"/>
                  <a:gd name="connsiteX32" fmla="*/ 1918706 w 1918706"/>
                  <a:gd name="connsiteY32" fmla="*/ 3595649 h 5633118"/>
                  <a:gd name="connsiteX33" fmla="*/ 1918706 w 1918706"/>
                  <a:gd name="connsiteY33" fmla="*/ 3997322 h 5633118"/>
                  <a:gd name="connsiteX34" fmla="*/ 1918706 w 1918706"/>
                  <a:gd name="connsiteY34" fmla="*/ 4010476 h 5633118"/>
                  <a:gd name="connsiteX35" fmla="*/ 1918706 w 1918706"/>
                  <a:gd name="connsiteY35" fmla="*/ 4069228 h 5633118"/>
                  <a:gd name="connsiteX36" fmla="*/ 1918706 w 1918706"/>
                  <a:gd name="connsiteY36" fmla="*/ 4090156 h 5633118"/>
                  <a:gd name="connsiteX37" fmla="*/ 1918706 w 1918706"/>
                  <a:gd name="connsiteY37" fmla="*/ 4097931 h 5633118"/>
                  <a:gd name="connsiteX38" fmla="*/ 1918706 w 1918706"/>
                  <a:gd name="connsiteY38" fmla="*/ 4491829 h 5633118"/>
                  <a:gd name="connsiteX39" fmla="*/ 1918706 w 1918706"/>
                  <a:gd name="connsiteY39" fmla="*/ 4579284 h 5633118"/>
                  <a:gd name="connsiteX40" fmla="*/ 1918706 w 1918706"/>
                  <a:gd name="connsiteY40" fmla="*/ 4592438 h 5633118"/>
                  <a:gd name="connsiteX41" fmla="*/ 1918706 w 1918706"/>
                  <a:gd name="connsiteY41" fmla="*/ 5073791 h 5633118"/>
                  <a:gd name="connsiteX42" fmla="*/ 959355 w 1918706"/>
                  <a:gd name="connsiteY42" fmla="*/ 5633118 h 5633118"/>
                  <a:gd name="connsiteX43" fmla="*/ 0 w 1918706"/>
                  <a:gd name="connsiteY43" fmla="*/ 5073791 h 5633118"/>
                  <a:gd name="connsiteX44" fmla="*/ 0 w 1918706"/>
                  <a:gd name="connsiteY44" fmla="*/ 4592438 h 5633118"/>
                  <a:gd name="connsiteX45" fmla="*/ 0 w 1918706"/>
                  <a:gd name="connsiteY45" fmla="*/ 4579284 h 5633118"/>
                  <a:gd name="connsiteX46" fmla="*/ 0 w 1918706"/>
                  <a:gd name="connsiteY46" fmla="*/ 4491829 h 5633118"/>
                  <a:gd name="connsiteX47" fmla="*/ 0 w 1918706"/>
                  <a:gd name="connsiteY47" fmla="*/ 4097931 h 5633118"/>
                  <a:gd name="connsiteX48" fmla="*/ 0 w 1918706"/>
                  <a:gd name="connsiteY48" fmla="*/ 4090156 h 5633118"/>
                  <a:gd name="connsiteX49" fmla="*/ 0 w 1918706"/>
                  <a:gd name="connsiteY49" fmla="*/ 4069228 h 5633118"/>
                  <a:gd name="connsiteX50" fmla="*/ 0 w 1918706"/>
                  <a:gd name="connsiteY50" fmla="*/ 4010476 h 5633118"/>
                  <a:gd name="connsiteX51" fmla="*/ 0 w 1918706"/>
                  <a:gd name="connsiteY51" fmla="*/ 3997322 h 5633118"/>
                  <a:gd name="connsiteX52" fmla="*/ 0 w 1918706"/>
                  <a:gd name="connsiteY52" fmla="*/ 3595649 h 5633118"/>
                  <a:gd name="connsiteX53" fmla="*/ 0 w 1918706"/>
                  <a:gd name="connsiteY53" fmla="*/ 3587875 h 5633118"/>
                  <a:gd name="connsiteX54" fmla="*/ 0 w 1918706"/>
                  <a:gd name="connsiteY54" fmla="*/ 3574721 h 5633118"/>
                  <a:gd name="connsiteX55" fmla="*/ 0 w 1918706"/>
                  <a:gd name="connsiteY55" fmla="*/ 3515969 h 5633118"/>
                  <a:gd name="connsiteX56" fmla="*/ 0 w 1918706"/>
                  <a:gd name="connsiteY56" fmla="*/ 3508195 h 5633118"/>
                  <a:gd name="connsiteX57" fmla="*/ 0 w 1918706"/>
                  <a:gd name="connsiteY57" fmla="*/ 3487266 h 5633118"/>
                  <a:gd name="connsiteX58" fmla="*/ 0 w 1918706"/>
                  <a:gd name="connsiteY5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076469 h 5633118"/>
                  <a:gd name="connsiteX5" fmla="*/ 1918706 w 1918706"/>
                  <a:gd name="connsiteY5" fmla="*/ 1491148 h 5633118"/>
                  <a:gd name="connsiteX6" fmla="*/ 1918706 w 1918706"/>
                  <a:gd name="connsiteY6" fmla="*/ 1499070 h 5633118"/>
                  <a:gd name="connsiteX7" fmla="*/ 1918706 w 1918706"/>
                  <a:gd name="connsiteY7" fmla="*/ 1506844 h 5633118"/>
                  <a:gd name="connsiteX8" fmla="*/ 1918706 w 1918706"/>
                  <a:gd name="connsiteY8" fmla="*/ 1563054 h 5633118"/>
                  <a:gd name="connsiteX9" fmla="*/ 1918706 w 1918706"/>
                  <a:gd name="connsiteY9" fmla="*/ 1586524 h 5633118"/>
                  <a:gd name="connsiteX10" fmla="*/ 1918706 w 1918706"/>
                  <a:gd name="connsiteY10" fmla="*/ 1985655 h 5633118"/>
                  <a:gd name="connsiteX11" fmla="*/ 1918706 w 1918706"/>
                  <a:gd name="connsiteY11" fmla="*/ 2001351 h 5633118"/>
                  <a:gd name="connsiteX12" fmla="*/ 1918706 w 1918706"/>
                  <a:gd name="connsiteY12" fmla="*/ 2009125 h 5633118"/>
                  <a:gd name="connsiteX13" fmla="*/ 1918706 w 1918706"/>
                  <a:gd name="connsiteY13" fmla="*/ 2073109 h 5633118"/>
                  <a:gd name="connsiteX14" fmla="*/ 1918706 w 1918706"/>
                  <a:gd name="connsiteY14" fmla="*/ 2081031 h 5633118"/>
                  <a:gd name="connsiteX15" fmla="*/ 1918706 w 1918706"/>
                  <a:gd name="connsiteY15" fmla="*/ 2088805 h 5633118"/>
                  <a:gd name="connsiteX16" fmla="*/ 1918706 w 1918706"/>
                  <a:gd name="connsiteY16" fmla="*/ 2503632 h 5633118"/>
                  <a:gd name="connsiteX17" fmla="*/ 1918706 w 1918706"/>
                  <a:gd name="connsiteY17" fmla="*/ 2511407 h 5633118"/>
                  <a:gd name="connsiteX18" fmla="*/ 1918706 w 1918706"/>
                  <a:gd name="connsiteY18" fmla="*/ 2567616 h 5633118"/>
                  <a:gd name="connsiteX19" fmla="*/ 1918706 w 1918706"/>
                  <a:gd name="connsiteY19" fmla="*/ 2583313 h 5633118"/>
                  <a:gd name="connsiteX20" fmla="*/ 1918706 w 1918706"/>
                  <a:gd name="connsiteY20" fmla="*/ 2591087 h 5633118"/>
                  <a:gd name="connsiteX21" fmla="*/ 1918706 w 1918706"/>
                  <a:gd name="connsiteY21" fmla="*/ 2992759 h 5633118"/>
                  <a:gd name="connsiteX22" fmla="*/ 1918706 w 1918706"/>
                  <a:gd name="connsiteY22" fmla="*/ 3005914 h 5633118"/>
                  <a:gd name="connsiteX23" fmla="*/ 1918706 w 1918706"/>
                  <a:gd name="connsiteY23" fmla="*/ 3013688 h 5633118"/>
                  <a:gd name="connsiteX24" fmla="*/ 1918706 w 1918706"/>
                  <a:gd name="connsiteY24" fmla="*/ 3085594 h 5633118"/>
                  <a:gd name="connsiteX25" fmla="*/ 1918706 w 1918706"/>
                  <a:gd name="connsiteY25" fmla="*/ 3093368 h 5633118"/>
                  <a:gd name="connsiteX26" fmla="*/ 1918706 w 1918706"/>
                  <a:gd name="connsiteY26" fmla="*/ 3487266 h 5633118"/>
                  <a:gd name="connsiteX27" fmla="*/ 1918706 w 1918706"/>
                  <a:gd name="connsiteY27" fmla="*/ 3508195 h 5633118"/>
                  <a:gd name="connsiteX28" fmla="*/ 1918706 w 1918706"/>
                  <a:gd name="connsiteY28" fmla="*/ 3515969 h 5633118"/>
                  <a:gd name="connsiteX29" fmla="*/ 1918706 w 1918706"/>
                  <a:gd name="connsiteY29" fmla="*/ 3574721 h 5633118"/>
                  <a:gd name="connsiteX30" fmla="*/ 1918706 w 1918706"/>
                  <a:gd name="connsiteY30" fmla="*/ 3587875 h 5633118"/>
                  <a:gd name="connsiteX31" fmla="*/ 1918706 w 1918706"/>
                  <a:gd name="connsiteY31" fmla="*/ 3595649 h 5633118"/>
                  <a:gd name="connsiteX32" fmla="*/ 1918706 w 1918706"/>
                  <a:gd name="connsiteY32" fmla="*/ 3997322 h 5633118"/>
                  <a:gd name="connsiteX33" fmla="*/ 1918706 w 1918706"/>
                  <a:gd name="connsiteY33" fmla="*/ 4010476 h 5633118"/>
                  <a:gd name="connsiteX34" fmla="*/ 1918706 w 1918706"/>
                  <a:gd name="connsiteY34" fmla="*/ 4069228 h 5633118"/>
                  <a:gd name="connsiteX35" fmla="*/ 1918706 w 1918706"/>
                  <a:gd name="connsiteY35" fmla="*/ 4090156 h 5633118"/>
                  <a:gd name="connsiteX36" fmla="*/ 1918706 w 1918706"/>
                  <a:gd name="connsiteY36" fmla="*/ 4097931 h 5633118"/>
                  <a:gd name="connsiteX37" fmla="*/ 1918706 w 1918706"/>
                  <a:gd name="connsiteY37" fmla="*/ 4491829 h 5633118"/>
                  <a:gd name="connsiteX38" fmla="*/ 1918706 w 1918706"/>
                  <a:gd name="connsiteY38" fmla="*/ 4579284 h 5633118"/>
                  <a:gd name="connsiteX39" fmla="*/ 1918706 w 1918706"/>
                  <a:gd name="connsiteY39" fmla="*/ 4592438 h 5633118"/>
                  <a:gd name="connsiteX40" fmla="*/ 1918706 w 1918706"/>
                  <a:gd name="connsiteY40" fmla="*/ 5073791 h 5633118"/>
                  <a:gd name="connsiteX41" fmla="*/ 959355 w 1918706"/>
                  <a:gd name="connsiteY41" fmla="*/ 5633118 h 5633118"/>
                  <a:gd name="connsiteX42" fmla="*/ 0 w 1918706"/>
                  <a:gd name="connsiteY42" fmla="*/ 5073791 h 5633118"/>
                  <a:gd name="connsiteX43" fmla="*/ 0 w 1918706"/>
                  <a:gd name="connsiteY43" fmla="*/ 4592438 h 5633118"/>
                  <a:gd name="connsiteX44" fmla="*/ 0 w 1918706"/>
                  <a:gd name="connsiteY44" fmla="*/ 4579284 h 5633118"/>
                  <a:gd name="connsiteX45" fmla="*/ 0 w 1918706"/>
                  <a:gd name="connsiteY45" fmla="*/ 4491829 h 5633118"/>
                  <a:gd name="connsiteX46" fmla="*/ 0 w 1918706"/>
                  <a:gd name="connsiteY46" fmla="*/ 4097931 h 5633118"/>
                  <a:gd name="connsiteX47" fmla="*/ 0 w 1918706"/>
                  <a:gd name="connsiteY47" fmla="*/ 4090156 h 5633118"/>
                  <a:gd name="connsiteX48" fmla="*/ 0 w 1918706"/>
                  <a:gd name="connsiteY48" fmla="*/ 4069228 h 5633118"/>
                  <a:gd name="connsiteX49" fmla="*/ 0 w 1918706"/>
                  <a:gd name="connsiteY49" fmla="*/ 4010476 h 5633118"/>
                  <a:gd name="connsiteX50" fmla="*/ 0 w 1918706"/>
                  <a:gd name="connsiteY50" fmla="*/ 3997322 h 5633118"/>
                  <a:gd name="connsiteX51" fmla="*/ 0 w 1918706"/>
                  <a:gd name="connsiteY51" fmla="*/ 3595649 h 5633118"/>
                  <a:gd name="connsiteX52" fmla="*/ 0 w 1918706"/>
                  <a:gd name="connsiteY52" fmla="*/ 3587875 h 5633118"/>
                  <a:gd name="connsiteX53" fmla="*/ 0 w 1918706"/>
                  <a:gd name="connsiteY53" fmla="*/ 3574721 h 5633118"/>
                  <a:gd name="connsiteX54" fmla="*/ 0 w 1918706"/>
                  <a:gd name="connsiteY54" fmla="*/ 3515969 h 5633118"/>
                  <a:gd name="connsiteX55" fmla="*/ 0 w 1918706"/>
                  <a:gd name="connsiteY55" fmla="*/ 3508195 h 5633118"/>
                  <a:gd name="connsiteX56" fmla="*/ 0 w 1918706"/>
                  <a:gd name="connsiteY56" fmla="*/ 3487266 h 5633118"/>
                  <a:gd name="connsiteX57" fmla="*/ 0 w 1918706"/>
                  <a:gd name="connsiteY5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068547 h 5633118"/>
                  <a:gd name="connsiteX4" fmla="*/ 1918706 w 1918706"/>
                  <a:gd name="connsiteY4" fmla="*/ 1491148 h 5633118"/>
                  <a:gd name="connsiteX5" fmla="*/ 1918706 w 1918706"/>
                  <a:gd name="connsiteY5" fmla="*/ 1499070 h 5633118"/>
                  <a:gd name="connsiteX6" fmla="*/ 1918706 w 1918706"/>
                  <a:gd name="connsiteY6" fmla="*/ 1506844 h 5633118"/>
                  <a:gd name="connsiteX7" fmla="*/ 1918706 w 1918706"/>
                  <a:gd name="connsiteY7" fmla="*/ 1563054 h 5633118"/>
                  <a:gd name="connsiteX8" fmla="*/ 1918706 w 1918706"/>
                  <a:gd name="connsiteY8" fmla="*/ 1586524 h 5633118"/>
                  <a:gd name="connsiteX9" fmla="*/ 1918706 w 1918706"/>
                  <a:gd name="connsiteY9" fmla="*/ 1985655 h 5633118"/>
                  <a:gd name="connsiteX10" fmla="*/ 1918706 w 1918706"/>
                  <a:gd name="connsiteY10" fmla="*/ 2001351 h 5633118"/>
                  <a:gd name="connsiteX11" fmla="*/ 1918706 w 1918706"/>
                  <a:gd name="connsiteY11" fmla="*/ 2009125 h 5633118"/>
                  <a:gd name="connsiteX12" fmla="*/ 1918706 w 1918706"/>
                  <a:gd name="connsiteY12" fmla="*/ 2073109 h 5633118"/>
                  <a:gd name="connsiteX13" fmla="*/ 1918706 w 1918706"/>
                  <a:gd name="connsiteY13" fmla="*/ 2081031 h 5633118"/>
                  <a:gd name="connsiteX14" fmla="*/ 1918706 w 1918706"/>
                  <a:gd name="connsiteY14" fmla="*/ 2088805 h 5633118"/>
                  <a:gd name="connsiteX15" fmla="*/ 1918706 w 1918706"/>
                  <a:gd name="connsiteY15" fmla="*/ 2503632 h 5633118"/>
                  <a:gd name="connsiteX16" fmla="*/ 1918706 w 1918706"/>
                  <a:gd name="connsiteY16" fmla="*/ 2511407 h 5633118"/>
                  <a:gd name="connsiteX17" fmla="*/ 1918706 w 1918706"/>
                  <a:gd name="connsiteY17" fmla="*/ 2567616 h 5633118"/>
                  <a:gd name="connsiteX18" fmla="*/ 1918706 w 1918706"/>
                  <a:gd name="connsiteY18" fmla="*/ 2583313 h 5633118"/>
                  <a:gd name="connsiteX19" fmla="*/ 1918706 w 1918706"/>
                  <a:gd name="connsiteY19" fmla="*/ 2591087 h 5633118"/>
                  <a:gd name="connsiteX20" fmla="*/ 1918706 w 1918706"/>
                  <a:gd name="connsiteY20" fmla="*/ 2992759 h 5633118"/>
                  <a:gd name="connsiteX21" fmla="*/ 1918706 w 1918706"/>
                  <a:gd name="connsiteY21" fmla="*/ 3005914 h 5633118"/>
                  <a:gd name="connsiteX22" fmla="*/ 1918706 w 1918706"/>
                  <a:gd name="connsiteY22" fmla="*/ 3013688 h 5633118"/>
                  <a:gd name="connsiteX23" fmla="*/ 1918706 w 1918706"/>
                  <a:gd name="connsiteY23" fmla="*/ 3085594 h 5633118"/>
                  <a:gd name="connsiteX24" fmla="*/ 1918706 w 1918706"/>
                  <a:gd name="connsiteY24" fmla="*/ 3093368 h 5633118"/>
                  <a:gd name="connsiteX25" fmla="*/ 1918706 w 1918706"/>
                  <a:gd name="connsiteY25" fmla="*/ 3487266 h 5633118"/>
                  <a:gd name="connsiteX26" fmla="*/ 1918706 w 1918706"/>
                  <a:gd name="connsiteY26" fmla="*/ 3508195 h 5633118"/>
                  <a:gd name="connsiteX27" fmla="*/ 1918706 w 1918706"/>
                  <a:gd name="connsiteY27" fmla="*/ 3515969 h 5633118"/>
                  <a:gd name="connsiteX28" fmla="*/ 1918706 w 1918706"/>
                  <a:gd name="connsiteY28" fmla="*/ 3574721 h 5633118"/>
                  <a:gd name="connsiteX29" fmla="*/ 1918706 w 1918706"/>
                  <a:gd name="connsiteY29" fmla="*/ 3587875 h 5633118"/>
                  <a:gd name="connsiteX30" fmla="*/ 1918706 w 1918706"/>
                  <a:gd name="connsiteY30" fmla="*/ 3595649 h 5633118"/>
                  <a:gd name="connsiteX31" fmla="*/ 1918706 w 1918706"/>
                  <a:gd name="connsiteY31" fmla="*/ 3997322 h 5633118"/>
                  <a:gd name="connsiteX32" fmla="*/ 1918706 w 1918706"/>
                  <a:gd name="connsiteY32" fmla="*/ 4010476 h 5633118"/>
                  <a:gd name="connsiteX33" fmla="*/ 1918706 w 1918706"/>
                  <a:gd name="connsiteY33" fmla="*/ 4069228 h 5633118"/>
                  <a:gd name="connsiteX34" fmla="*/ 1918706 w 1918706"/>
                  <a:gd name="connsiteY34" fmla="*/ 4090156 h 5633118"/>
                  <a:gd name="connsiteX35" fmla="*/ 1918706 w 1918706"/>
                  <a:gd name="connsiteY35" fmla="*/ 4097931 h 5633118"/>
                  <a:gd name="connsiteX36" fmla="*/ 1918706 w 1918706"/>
                  <a:gd name="connsiteY36" fmla="*/ 4491829 h 5633118"/>
                  <a:gd name="connsiteX37" fmla="*/ 1918706 w 1918706"/>
                  <a:gd name="connsiteY37" fmla="*/ 4579284 h 5633118"/>
                  <a:gd name="connsiteX38" fmla="*/ 1918706 w 1918706"/>
                  <a:gd name="connsiteY38" fmla="*/ 4592438 h 5633118"/>
                  <a:gd name="connsiteX39" fmla="*/ 1918706 w 1918706"/>
                  <a:gd name="connsiteY39" fmla="*/ 5073791 h 5633118"/>
                  <a:gd name="connsiteX40" fmla="*/ 959355 w 1918706"/>
                  <a:gd name="connsiteY40" fmla="*/ 5633118 h 5633118"/>
                  <a:gd name="connsiteX41" fmla="*/ 0 w 1918706"/>
                  <a:gd name="connsiteY41" fmla="*/ 5073791 h 5633118"/>
                  <a:gd name="connsiteX42" fmla="*/ 0 w 1918706"/>
                  <a:gd name="connsiteY42" fmla="*/ 4592438 h 5633118"/>
                  <a:gd name="connsiteX43" fmla="*/ 0 w 1918706"/>
                  <a:gd name="connsiteY43" fmla="*/ 4579284 h 5633118"/>
                  <a:gd name="connsiteX44" fmla="*/ 0 w 1918706"/>
                  <a:gd name="connsiteY44" fmla="*/ 4491829 h 5633118"/>
                  <a:gd name="connsiteX45" fmla="*/ 0 w 1918706"/>
                  <a:gd name="connsiteY45" fmla="*/ 4097931 h 5633118"/>
                  <a:gd name="connsiteX46" fmla="*/ 0 w 1918706"/>
                  <a:gd name="connsiteY46" fmla="*/ 4090156 h 5633118"/>
                  <a:gd name="connsiteX47" fmla="*/ 0 w 1918706"/>
                  <a:gd name="connsiteY47" fmla="*/ 4069228 h 5633118"/>
                  <a:gd name="connsiteX48" fmla="*/ 0 w 1918706"/>
                  <a:gd name="connsiteY48" fmla="*/ 4010476 h 5633118"/>
                  <a:gd name="connsiteX49" fmla="*/ 0 w 1918706"/>
                  <a:gd name="connsiteY49" fmla="*/ 3997322 h 5633118"/>
                  <a:gd name="connsiteX50" fmla="*/ 0 w 1918706"/>
                  <a:gd name="connsiteY50" fmla="*/ 3595649 h 5633118"/>
                  <a:gd name="connsiteX51" fmla="*/ 0 w 1918706"/>
                  <a:gd name="connsiteY51" fmla="*/ 3587875 h 5633118"/>
                  <a:gd name="connsiteX52" fmla="*/ 0 w 1918706"/>
                  <a:gd name="connsiteY52" fmla="*/ 3574721 h 5633118"/>
                  <a:gd name="connsiteX53" fmla="*/ 0 w 1918706"/>
                  <a:gd name="connsiteY53" fmla="*/ 3515969 h 5633118"/>
                  <a:gd name="connsiteX54" fmla="*/ 0 w 1918706"/>
                  <a:gd name="connsiteY54" fmla="*/ 3508195 h 5633118"/>
                  <a:gd name="connsiteX55" fmla="*/ 0 w 1918706"/>
                  <a:gd name="connsiteY55" fmla="*/ 3487266 h 5633118"/>
                  <a:gd name="connsiteX56" fmla="*/ 0 w 1918706"/>
                  <a:gd name="connsiteY5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06844 h 5633118"/>
                  <a:gd name="connsiteX6" fmla="*/ 1918706 w 1918706"/>
                  <a:gd name="connsiteY6" fmla="*/ 1563054 h 5633118"/>
                  <a:gd name="connsiteX7" fmla="*/ 1918706 w 1918706"/>
                  <a:gd name="connsiteY7" fmla="*/ 1586524 h 5633118"/>
                  <a:gd name="connsiteX8" fmla="*/ 1918706 w 1918706"/>
                  <a:gd name="connsiteY8" fmla="*/ 1985655 h 5633118"/>
                  <a:gd name="connsiteX9" fmla="*/ 1918706 w 1918706"/>
                  <a:gd name="connsiteY9" fmla="*/ 2001351 h 5633118"/>
                  <a:gd name="connsiteX10" fmla="*/ 1918706 w 1918706"/>
                  <a:gd name="connsiteY10" fmla="*/ 2009125 h 5633118"/>
                  <a:gd name="connsiteX11" fmla="*/ 1918706 w 1918706"/>
                  <a:gd name="connsiteY11" fmla="*/ 2073109 h 5633118"/>
                  <a:gd name="connsiteX12" fmla="*/ 1918706 w 1918706"/>
                  <a:gd name="connsiteY12" fmla="*/ 2081031 h 5633118"/>
                  <a:gd name="connsiteX13" fmla="*/ 1918706 w 1918706"/>
                  <a:gd name="connsiteY13" fmla="*/ 2088805 h 5633118"/>
                  <a:gd name="connsiteX14" fmla="*/ 1918706 w 1918706"/>
                  <a:gd name="connsiteY14" fmla="*/ 2503632 h 5633118"/>
                  <a:gd name="connsiteX15" fmla="*/ 1918706 w 1918706"/>
                  <a:gd name="connsiteY15" fmla="*/ 2511407 h 5633118"/>
                  <a:gd name="connsiteX16" fmla="*/ 1918706 w 1918706"/>
                  <a:gd name="connsiteY16" fmla="*/ 2567616 h 5633118"/>
                  <a:gd name="connsiteX17" fmla="*/ 1918706 w 1918706"/>
                  <a:gd name="connsiteY17" fmla="*/ 2583313 h 5633118"/>
                  <a:gd name="connsiteX18" fmla="*/ 1918706 w 1918706"/>
                  <a:gd name="connsiteY18" fmla="*/ 2591087 h 5633118"/>
                  <a:gd name="connsiteX19" fmla="*/ 1918706 w 1918706"/>
                  <a:gd name="connsiteY19" fmla="*/ 2992759 h 5633118"/>
                  <a:gd name="connsiteX20" fmla="*/ 1918706 w 1918706"/>
                  <a:gd name="connsiteY20" fmla="*/ 3005914 h 5633118"/>
                  <a:gd name="connsiteX21" fmla="*/ 1918706 w 1918706"/>
                  <a:gd name="connsiteY21" fmla="*/ 3013688 h 5633118"/>
                  <a:gd name="connsiteX22" fmla="*/ 1918706 w 1918706"/>
                  <a:gd name="connsiteY22" fmla="*/ 3085594 h 5633118"/>
                  <a:gd name="connsiteX23" fmla="*/ 1918706 w 1918706"/>
                  <a:gd name="connsiteY23" fmla="*/ 3093368 h 5633118"/>
                  <a:gd name="connsiteX24" fmla="*/ 1918706 w 1918706"/>
                  <a:gd name="connsiteY24" fmla="*/ 3487266 h 5633118"/>
                  <a:gd name="connsiteX25" fmla="*/ 1918706 w 1918706"/>
                  <a:gd name="connsiteY25" fmla="*/ 3508195 h 5633118"/>
                  <a:gd name="connsiteX26" fmla="*/ 1918706 w 1918706"/>
                  <a:gd name="connsiteY26" fmla="*/ 3515969 h 5633118"/>
                  <a:gd name="connsiteX27" fmla="*/ 1918706 w 1918706"/>
                  <a:gd name="connsiteY27" fmla="*/ 3574721 h 5633118"/>
                  <a:gd name="connsiteX28" fmla="*/ 1918706 w 1918706"/>
                  <a:gd name="connsiteY28" fmla="*/ 3587875 h 5633118"/>
                  <a:gd name="connsiteX29" fmla="*/ 1918706 w 1918706"/>
                  <a:gd name="connsiteY29" fmla="*/ 3595649 h 5633118"/>
                  <a:gd name="connsiteX30" fmla="*/ 1918706 w 1918706"/>
                  <a:gd name="connsiteY30" fmla="*/ 3997322 h 5633118"/>
                  <a:gd name="connsiteX31" fmla="*/ 1918706 w 1918706"/>
                  <a:gd name="connsiteY31" fmla="*/ 4010476 h 5633118"/>
                  <a:gd name="connsiteX32" fmla="*/ 1918706 w 1918706"/>
                  <a:gd name="connsiteY32" fmla="*/ 4069228 h 5633118"/>
                  <a:gd name="connsiteX33" fmla="*/ 1918706 w 1918706"/>
                  <a:gd name="connsiteY33" fmla="*/ 4090156 h 5633118"/>
                  <a:gd name="connsiteX34" fmla="*/ 1918706 w 1918706"/>
                  <a:gd name="connsiteY34" fmla="*/ 4097931 h 5633118"/>
                  <a:gd name="connsiteX35" fmla="*/ 1918706 w 1918706"/>
                  <a:gd name="connsiteY35" fmla="*/ 4491829 h 5633118"/>
                  <a:gd name="connsiteX36" fmla="*/ 1918706 w 1918706"/>
                  <a:gd name="connsiteY36" fmla="*/ 4579284 h 5633118"/>
                  <a:gd name="connsiteX37" fmla="*/ 1918706 w 1918706"/>
                  <a:gd name="connsiteY37" fmla="*/ 4592438 h 5633118"/>
                  <a:gd name="connsiteX38" fmla="*/ 1918706 w 1918706"/>
                  <a:gd name="connsiteY38" fmla="*/ 5073791 h 5633118"/>
                  <a:gd name="connsiteX39" fmla="*/ 959355 w 1918706"/>
                  <a:gd name="connsiteY39" fmla="*/ 5633118 h 5633118"/>
                  <a:gd name="connsiteX40" fmla="*/ 0 w 1918706"/>
                  <a:gd name="connsiteY40" fmla="*/ 5073791 h 5633118"/>
                  <a:gd name="connsiteX41" fmla="*/ 0 w 1918706"/>
                  <a:gd name="connsiteY41" fmla="*/ 4592438 h 5633118"/>
                  <a:gd name="connsiteX42" fmla="*/ 0 w 1918706"/>
                  <a:gd name="connsiteY42" fmla="*/ 4579284 h 5633118"/>
                  <a:gd name="connsiteX43" fmla="*/ 0 w 1918706"/>
                  <a:gd name="connsiteY43" fmla="*/ 4491829 h 5633118"/>
                  <a:gd name="connsiteX44" fmla="*/ 0 w 1918706"/>
                  <a:gd name="connsiteY44" fmla="*/ 4097931 h 5633118"/>
                  <a:gd name="connsiteX45" fmla="*/ 0 w 1918706"/>
                  <a:gd name="connsiteY45" fmla="*/ 4090156 h 5633118"/>
                  <a:gd name="connsiteX46" fmla="*/ 0 w 1918706"/>
                  <a:gd name="connsiteY46" fmla="*/ 4069228 h 5633118"/>
                  <a:gd name="connsiteX47" fmla="*/ 0 w 1918706"/>
                  <a:gd name="connsiteY47" fmla="*/ 4010476 h 5633118"/>
                  <a:gd name="connsiteX48" fmla="*/ 0 w 1918706"/>
                  <a:gd name="connsiteY48" fmla="*/ 3997322 h 5633118"/>
                  <a:gd name="connsiteX49" fmla="*/ 0 w 1918706"/>
                  <a:gd name="connsiteY49" fmla="*/ 3595649 h 5633118"/>
                  <a:gd name="connsiteX50" fmla="*/ 0 w 1918706"/>
                  <a:gd name="connsiteY50" fmla="*/ 3587875 h 5633118"/>
                  <a:gd name="connsiteX51" fmla="*/ 0 w 1918706"/>
                  <a:gd name="connsiteY51" fmla="*/ 3574721 h 5633118"/>
                  <a:gd name="connsiteX52" fmla="*/ 0 w 1918706"/>
                  <a:gd name="connsiteY52" fmla="*/ 3515969 h 5633118"/>
                  <a:gd name="connsiteX53" fmla="*/ 0 w 1918706"/>
                  <a:gd name="connsiteY53" fmla="*/ 3508195 h 5633118"/>
                  <a:gd name="connsiteX54" fmla="*/ 0 w 1918706"/>
                  <a:gd name="connsiteY54" fmla="*/ 3487266 h 5633118"/>
                  <a:gd name="connsiteX55" fmla="*/ 0 w 1918706"/>
                  <a:gd name="connsiteY5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499070 h 5633118"/>
                  <a:gd name="connsiteX5" fmla="*/ 1918706 w 1918706"/>
                  <a:gd name="connsiteY5" fmla="*/ 1563054 h 5633118"/>
                  <a:gd name="connsiteX6" fmla="*/ 1918706 w 1918706"/>
                  <a:gd name="connsiteY6" fmla="*/ 1586524 h 5633118"/>
                  <a:gd name="connsiteX7" fmla="*/ 1918706 w 1918706"/>
                  <a:gd name="connsiteY7" fmla="*/ 1985655 h 5633118"/>
                  <a:gd name="connsiteX8" fmla="*/ 1918706 w 1918706"/>
                  <a:gd name="connsiteY8" fmla="*/ 2001351 h 5633118"/>
                  <a:gd name="connsiteX9" fmla="*/ 1918706 w 1918706"/>
                  <a:gd name="connsiteY9" fmla="*/ 2009125 h 5633118"/>
                  <a:gd name="connsiteX10" fmla="*/ 1918706 w 1918706"/>
                  <a:gd name="connsiteY10" fmla="*/ 2073109 h 5633118"/>
                  <a:gd name="connsiteX11" fmla="*/ 1918706 w 1918706"/>
                  <a:gd name="connsiteY11" fmla="*/ 2081031 h 5633118"/>
                  <a:gd name="connsiteX12" fmla="*/ 1918706 w 1918706"/>
                  <a:gd name="connsiteY12" fmla="*/ 2088805 h 5633118"/>
                  <a:gd name="connsiteX13" fmla="*/ 1918706 w 1918706"/>
                  <a:gd name="connsiteY13" fmla="*/ 2503632 h 5633118"/>
                  <a:gd name="connsiteX14" fmla="*/ 1918706 w 1918706"/>
                  <a:gd name="connsiteY14" fmla="*/ 2511407 h 5633118"/>
                  <a:gd name="connsiteX15" fmla="*/ 1918706 w 1918706"/>
                  <a:gd name="connsiteY15" fmla="*/ 2567616 h 5633118"/>
                  <a:gd name="connsiteX16" fmla="*/ 1918706 w 1918706"/>
                  <a:gd name="connsiteY16" fmla="*/ 2583313 h 5633118"/>
                  <a:gd name="connsiteX17" fmla="*/ 1918706 w 1918706"/>
                  <a:gd name="connsiteY17" fmla="*/ 2591087 h 5633118"/>
                  <a:gd name="connsiteX18" fmla="*/ 1918706 w 1918706"/>
                  <a:gd name="connsiteY18" fmla="*/ 2992759 h 5633118"/>
                  <a:gd name="connsiteX19" fmla="*/ 1918706 w 1918706"/>
                  <a:gd name="connsiteY19" fmla="*/ 3005914 h 5633118"/>
                  <a:gd name="connsiteX20" fmla="*/ 1918706 w 1918706"/>
                  <a:gd name="connsiteY20" fmla="*/ 3013688 h 5633118"/>
                  <a:gd name="connsiteX21" fmla="*/ 1918706 w 1918706"/>
                  <a:gd name="connsiteY21" fmla="*/ 3085594 h 5633118"/>
                  <a:gd name="connsiteX22" fmla="*/ 1918706 w 1918706"/>
                  <a:gd name="connsiteY22" fmla="*/ 3093368 h 5633118"/>
                  <a:gd name="connsiteX23" fmla="*/ 1918706 w 1918706"/>
                  <a:gd name="connsiteY23" fmla="*/ 3487266 h 5633118"/>
                  <a:gd name="connsiteX24" fmla="*/ 1918706 w 1918706"/>
                  <a:gd name="connsiteY24" fmla="*/ 3508195 h 5633118"/>
                  <a:gd name="connsiteX25" fmla="*/ 1918706 w 1918706"/>
                  <a:gd name="connsiteY25" fmla="*/ 3515969 h 5633118"/>
                  <a:gd name="connsiteX26" fmla="*/ 1918706 w 1918706"/>
                  <a:gd name="connsiteY26" fmla="*/ 3574721 h 5633118"/>
                  <a:gd name="connsiteX27" fmla="*/ 1918706 w 1918706"/>
                  <a:gd name="connsiteY27" fmla="*/ 3587875 h 5633118"/>
                  <a:gd name="connsiteX28" fmla="*/ 1918706 w 1918706"/>
                  <a:gd name="connsiteY28" fmla="*/ 3595649 h 5633118"/>
                  <a:gd name="connsiteX29" fmla="*/ 1918706 w 1918706"/>
                  <a:gd name="connsiteY29" fmla="*/ 3997322 h 5633118"/>
                  <a:gd name="connsiteX30" fmla="*/ 1918706 w 1918706"/>
                  <a:gd name="connsiteY30" fmla="*/ 4010476 h 5633118"/>
                  <a:gd name="connsiteX31" fmla="*/ 1918706 w 1918706"/>
                  <a:gd name="connsiteY31" fmla="*/ 4069228 h 5633118"/>
                  <a:gd name="connsiteX32" fmla="*/ 1918706 w 1918706"/>
                  <a:gd name="connsiteY32" fmla="*/ 4090156 h 5633118"/>
                  <a:gd name="connsiteX33" fmla="*/ 1918706 w 1918706"/>
                  <a:gd name="connsiteY33" fmla="*/ 4097931 h 5633118"/>
                  <a:gd name="connsiteX34" fmla="*/ 1918706 w 1918706"/>
                  <a:gd name="connsiteY34" fmla="*/ 4491829 h 5633118"/>
                  <a:gd name="connsiteX35" fmla="*/ 1918706 w 1918706"/>
                  <a:gd name="connsiteY35" fmla="*/ 4579284 h 5633118"/>
                  <a:gd name="connsiteX36" fmla="*/ 1918706 w 1918706"/>
                  <a:gd name="connsiteY36" fmla="*/ 4592438 h 5633118"/>
                  <a:gd name="connsiteX37" fmla="*/ 1918706 w 1918706"/>
                  <a:gd name="connsiteY37" fmla="*/ 5073791 h 5633118"/>
                  <a:gd name="connsiteX38" fmla="*/ 959355 w 1918706"/>
                  <a:gd name="connsiteY38" fmla="*/ 5633118 h 5633118"/>
                  <a:gd name="connsiteX39" fmla="*/ 0 w 1918706"/>
                  <a:gd name="connsiteY39" fmla="*/ 5073791 h 5633118"/>
                  <a:gd name="connsiteX40" fmla="*/ 0 w 1918706"/>
                  <a:gd name="connsiteY40" fmla="*/ 4592438 h 5633118"/>
                  <a:gd name="connsiteX41" fmla="*/ 0 w 1918706"/>
                  <a:gd name="connsiteY41" fmla="*/ 4579284 h 5633118"/>
                  <a:gd name="connsiteX42" fmla="*/ 0 w 1918706"/>
                  <a:gd name="connsiteY42" fmla="*/ 4491829 h 5633118"/>
                  <a:gd name="connsiteX43" fmla="*/ 0 w 1918706"/>
                  <a:gd name="connsiteY43" fmla="*/ 4097931 h 5633118"/>
                  <a:gd name="connsiteX44" fmla="*/ 0 w 1918706"/>
                  <a:gd name="connsiteY44" fmla="*/ 4090156 h 5633118"/>
                  <a:gd name="connsiteX45" fmla="*/ 0 w 1918706"/>
                  <a:gd name="connsiteY45" fmla="*/ 4069228 h 5633118"/>
                  <a:gd name="connsiteX46" fmla="*/ 0 w 1918706"/>
                  <a:gd name="connsiteY46" fmla="*/ 4010476 h 5633118"/>
                  <a:gd name="connsiteX47" fmla="*/ 0 w 1918706"/>
                  <a:gd name="connsiteY47" fmla="*/ 3997322 h 5633118"/>
                  <a:gd name="connsiteX48" fmla="*/ 0 w 1918706"/>
                  <a:gd name="connsiteY48" fmla="*/ 3595649 h 5633118"/>
                  <a:gd name="connsiteX49" fmla="*/ 0 w 1918706"/>
                  <a:gd name="connsiteY49" fmla="*/ 3587875 h 5633118"/>
                  <a:gd name="connsiteX50" fmla="*/ 0 w 1918706"/>
                  <a:gd name="connsiteY50" fmla="*/ 3574721 h 5633118"/>
                  <a:gd name="connsiteX51" fmla="*/ 0 w 1918706"/>
                  <a:gd name="connsiteY51" fmla="*/ 3515969 h 5633118"/>
                  <a:gd name="connsiteX52" fmla="*/ 0 w 1918706"/>
                  <a:gd name="connsiteY52" fmla="*/ 3508195 h 5633118"/>
                  <a:gd name="connsiteX53" fmla="*/ 0 w 1918706"/>
                  <a:gd name="connsiteY53" fmla="*/ 3487266 h 5633118"/>
                  <a:gd name="connsiteX54" fmla="*/ 0 w 1918706"/>
                  <a:gd name="connsiteY5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491148 h 5633118"/>
                  <a:gd name="connsiteX4" fmla="*/ 1918706 w 1918706"/>
                  <a:gd name="connsiteY4" fmla="*/ 1563054 h 5633118"/>
                  <a:gd name="connsiteX5" fmla="*/ 1918706 w 1918706"/>
                  <a:gd name="connsiteY5" fmla="*/ 1586524 h 5633118"/>
                  <a:gd name="connsiteX6" fmla="*/ 1918706 w 1918706"/>
                  <a:gd name="connsiteY6" fmla="*/ 1985655 h 5633118"/>
                  <a:gd name="connsiteX7" fmla="*/ 1918706 w 1918706"/>
                  <a:gd name="connsiteY7" fmla="*/ 2001351 h 5633118"/>
                  <a:gd name="connsiteX8" fmla="*/ 1918706 w 1918706"/>
                  <a:gd name="connsiteY8" fmla="*/ 2009125 h 5633118"/>
                  <a:gd name="connsiteX9" fmla="*/ 1918706 w 1918706"/>
                  <a:gd name="connsiteY9" fmla="*/ 2073109 h 5633118"/>
                  <a:gd name="connsiteX10" fmla="*/ 1918706 w 1918706"/>
                  <a:gd name="connsiteY10" fmla="*/ 2081031 h 5633118"/>
                  <a:gd name="connsiteX11" fmla="*/ 1918706 w 1918706"/>
                  <a:gd name="connsiteY11" fmla="*/ 2088805 h 5633118"/>
                  <a:gd name="connsiteX12" fmla="*/ 1918706 w 1918706"/>
                  <a:gd name="connsiteY12" fmla="*/ 2503632 h 5633118"/>
                  <a:gd name="connsiteX13" fmla="*/ 1918706 w 1918706"/>
                  <a:gd name="connsiteY13" fmla="*/ 2511407 h 5633118"/>
                  <a:gd name="connsiteX14" fmla="*/ 1918706 w 1918706"/>
                  <a:gd name="connsiteY14" fmla="*/ 2567616 h 5633118"/>
                  <a:gd name="connsiteX15" fmla="*/ 1918706 w 1918706"/>
                  <a:gd name="connsiteY15" fmla="*/ 2583313 h 5633118"/>
                  <a:gd name="connsiteX16" fmla="*/ 1918706 w 1918706"/>
                  <a:gd name="connsiteY16" fmla="*/ 2591087 h 5633118"/>
                  <a:gd name="connsiteX17" fmla="*/ 1918706 w 1918706"/>
                  <a:gd name="connsiteY17" fmla="*/ 2992759 h 5633118"/>
                  <a:gd name="connsiteX18" fmla="*/ 1918706 w 1918706"/>
                  <a:gd name="connsiteY18" fmla="*/ 3005914 h 5633118"/>
                  <a:gd name="connsiteX19" fmla="*/ 1918706 w 1918706"/>
                  <a:gd name="connsiteY19" fmla="*/ 3013688 h 5633118"/>
                  <a:gd name="connsiteX20" fmla="*/ 1918706 w 1918706"/>
                  <a:gd name="connsiteY20" fmla="*/ 3085594 h 5633118"/>
                  <a:gd name="connsiteX21" fmla="*/ 1918706 w 1918706"/>
                  <a:gd name="connsiteY21" fmla="*/ 3093368 h 5633118"/>
                  <a:gd name="connsiteX22" fmla="*/ 1918706 w 1918706"/>
                  <a:gd name="connsiteY22" fmla="*/ 3487266 h 5633118"/>
                  <a:gd name="connsiteX23" fmla="*/ 1918706 w 1918706"/>
                  <a:gd name="connsiteY23" fmla="*/ 3508195 h 5633118"/>
                  <a:gd name="connsiteX24" fmla="*/ 1918706 w 1918706"/>
                  <a:gd name="connsiteY24" fmla="*/ 3515969 h 5633118"/>
                  <a:gd name="connsiteX25" fmla="*/ 1918706 w 1918706"/>
                  <a:gd name="connsiteY25" fmla="*/ 3574721 h 5633118"/>
                  <a:gd name="connsiteX26" fmla="*/ 1918706 w 1918706"/>
                  <a:gd name="connsiteY26" fmla="*/ 3587875 h 5633118"/>
                  <a:gd name="connsiteX27" fmla="*/ 1918706 w 1918706"/>
                  <a:gd name="connsiteY27" fmla="*/ 3595649 h 5633118"/>
                  <a:gd name="connsiteX28" fmla="*/ 1918706 w 1918706"/>
                  <a:gd name="connsiteY28" fmla="*/ 3997322 h 5633118"/>
                  <a:gd name="connsiteX29" fmla="*/ 1918706 w 1918706"/>
                  <a:gd name="connsiteY29" fmla="*/ 4010476 h 5633118"/>
                  <a:gd name="connsiteX30" fmla="*/ 1918706 w 1918706"/>
                  <a:gd name="connsiteY30" fmla="*/ 4069228 h 5633118"/>
                  <a:gd name="connsiteX31" fmla="*/ 1918706 w 1918706"/>
                  <a:gd name="connsiteY31" fmla="*/ 4090156 h 5633118"/>
                  <a:gd name="connsiteX32" fmla="*/ 1918706 w 1918706"/>
                  <a:gd name="connsiteY32" fmla="*/ 4097931 h 5633118"/>
                  <a:gd name="connsiteX33" fmla="*/ 1918706 w 1918706"/>
                  <a:gd name="connsiteY33" fmla="*/ 4491829 h 5633118"/>
                  <a:gd name="connsiteX34" fmla="*/ 1918706 w 1918706"/>
                  <a:gd name="connsiteY34" fmla="*/ 4579284 h 5633118"/>
                  <a:gd name="connsiteX35" fmla="*/ 1918706 w 1918706"/>
                  <a:gd name="connsiteY35" fmla="*/ 4592438 h 5633118"/>
                  <a:gd name="connsiteX36" fmla="*/ 1918706 w 1918706"/>
                  <a:gd name="connsiteY36" fmla="*/ 5073791 h 5633118"/>
                  <a:gd name="connsiteX37" fmla="*/ 959355 w 1918706"/>
                  <a:gd name="connsiteY37" fmla="*/ 5633118 h 5633118"/>
                  <a:gd name="connsiteX38" fmla="*/ 0 w 1918706"/>
                  <a:gd name="connsiteY38" fmla="*/ 5073791 h 5633118"/>
                  <a:gd name="connsiteX39" fmla="*/ 0 w 1918706"/>
                  <a:gd name="connsiteY39" fmla="*/ 4592438 h 5633118"/>
                  <a:gd name="connsiteX40" fmla="*/ 0 w 1918706"/>
                  <a:gd name="connsiteY40" fmla="*/ 4579284 h 5633118"/>
                  <a:gd name="connsiteX41" fmla="*/ 0 w 1918706"/>
                  <a:gd name="connsiteY41" fmla="*/ 4491829 h 5633118"/>
                  <a:gd name="connsiteX42" fmla="*/ 0 w 1918706"/>
                  <a:gd name="connsiteY42" fmla="*/ 4097931 h 5633118"/>
                  <a:gd name="connsiteX43" fmla="*/ 0 w 1918706"/>
                  <a:gd name="connsiteY43" fmla="*/ 4090156 h 5633118"/>
                  <a:gd name="connsiteX44" fmla="*/ 0 w 1918706"/>
                  <a:gd name="connsiteY44" fmla="*/ 4069228 h 5633118"/>
                  <a:gd name="connsiteX45" fmla="*/ 0 w 1918706"/>
                  <a:gd name="connsiteY45" fmla="*/ 4010476 h 5633118"/>
                  <a:gd name="connsiteX46" fmla="*/ 0 w 1918706"/>
                  <a:gd name="connsiteY46" fmla="*/ 3997322 h 5633118"/>
                  <a:gd name="connsiteX47" fmla="*/ 0 w 1918706"/>
                  <a:gd name="connsiteY47" fmla="*/ 3595649 h 5633118"/>
                  <a:gd name="connsiteX48" fmla="*/ 0 w 1918706"/>
                  <a:gd name="connsiteY48" fmla="*/ 3587875 h 5633118"/>
                  <a:gd name="connsiteX49" fmla="*/ 0 w 1918706"/>
                  <a:gd name="connsiteY49" fmla="*/ 3574721 h 5633118"/>
                  <a:gd name="connsiteX50" fmla="*/ 0 w 1918706"/>
                  <a:gd name="connsiteY50" fmla="*/ 3515969 h 5633118"/>
                  <a:gd name="connsiteX51" fmla="*/ 0 w 1918706"/>
                  <a:gd name="connsiteY51" fmla="*/ 3508195 h 5633118"/>
                  <a:gd name="connsiteX52" fmla="*/ 0 w 1918706"/>
                  <a:gd name="connsiteY52" fmla="*/ 3487266 h 5633118"/>
                  <a:gd name="connsiteX53" fmla="*/ 0 w 1918706"/>
                  <a:gd name="connsiteY5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586524 h 5633118"/>
                  <a:gd name="connsiteX5" fmla="*/ 1918706 w 1918706"/>
                  <a:gd name="connsiteY5" fmla="*/ 1985655 h 5633118"/>
                  <a:gd name="connsiteX6" fmla="*/ 1918706 w 1918706"/>
                  <a:gd name="connsiteY6" fmla="*/ 2001351 h 5633118"/>
                  <a:gd name="connsiteX7" fmla="*/ 1918706 w 1918706"/>
                  <a:gd name="connsiteY7" fmla="*/ 2009125 h 5633118"/>
                  <a:gd name="connsiteX8" fmla="*/ 1918706 w 1918706"/>
                  <a:gd name="connsiteY8" fmla="*/ 2073109 h 5633118"/>
                  <a:gd name="connsiteX9" fmla="*/ 1918706 w 1918706"/>
                  <a:gd name="connsiteY9" fmla="*/ 2081031 h 5633118"/>
                  <a:gd name="connsiteX10" fmla="*/ 1918706 w 1918706"/>
                  <a:gd name="connsiteY10" fmla="*/ 2088805 h 5633118"/>
                  <a:gd name="connsiteX11" fmla="*/ 1918706 w 1918706"/>
                  <a:gd name="connsiteY11" fmla="*/ 2503632 h 5633118"/>
                  <a:gd name="connsiteX12" fmla="*/ 1918706 w 1918706"/>
                  <a:gd name="connsiteY12" fmla="*/ 2511407 h 5633118"/>
                  <a:gd name="connsiteX13" fmla="*/ 1918706 w 1918706"/>
                  <a:gd name="connsiteY13" fmla="*/ 2567616 h 5633118"/>
                  <a:gd name="connsiteX14" fmla="*/ 1918706 w 1918706"/>
                  <a:gd name="connsiteY14" fmla="*/ 2583313 h 5633118"/>
                  <a:gd name="connsiteX15" fmla="*/ 1918706 w 1918706"/>
                  <a:gd name="connsiteY15" fmla="*/ 2591087 h 5633118"/>
                  <a:gd name="connsiteX16" fmla="*/ 1918706 w 1918706"/>
                  <a:gd name="connsiteY16" fmla="*/ 2992759 h 5633118"/>
                  <a:gd name="connsiteX17" fmla="*/ 1918706 w 1918706"/>
                  <a:gd name="connsiteY17" fmla="*/ 3005914 h 5633118"/>
                  <a:gd name="connsiteX18" fmla="*/ 1918706 w 1918706"/>
                  <a:gd name="connsiteY18" fmla="*/ 3013688 h 5633118"/>
                  <a:gd name="connsiteX19" fmla="*/ 1918706 w 1918706"/>
                  <a:gd name="connsiteY19" fmla="*/ 3085594 h 5633118"/>
                  <a:gd name="connsiteX20" fmla="*/ 1918706 w 1918706"/>
                  <a:gd name="connsiteY20" fmla="*/ 3093368 h 5633118"/>
                  <a:gd name="connsiteX21" fmla="*/ 1918706 w 1918706"/>
                  <a:gd name="connsiteY21" fmla="*/ 3487266 h 5633118"/>
                  <a:gd name="connsiteX22" fmla="*/ 1918706 w 1918706"/>
                  <a:gd name="connsiteY22" fmla="*/ 3508195 h 5633118"/>
                  <a:gd name="connsiteX23" fmla="*/ 1918706 w 1918706"/>
                  <a:gd name="connsiteY23" fmla="*/ 3515969 h 5633118"/>
                  <a:gd name="connsiteX24" fmla="*/ 1918706 w 1918706"/>
                  <a:gd name="connsiteY24" fmla="*/ 3574721 h 5633118"/>
                  <a:gd name="connsiteX25" fmla="*/ 1918706 w 1918706"/>
                  <a:gd name="connsiteY25" fmla="*/ 3587875 h 5633118"/>
                  <a:gd name="connsiteX26" fmla="*/ 1918706 w 1918706"/>
                  <a:gd name="connsiteY26" fmla="*/ 3595649 h 5633118"/>
                  <a:gd name="connsiteX27" fmla="*/ 1918706 w 1918706"/>
                  <a:gd name="connsiteY27" fmla="*/ 3997322 h 5633118"/>
                  <a:gd name="connsiteX28" fmla="*/ 1918706 w 1918706"/>
                  <a:gd name="connsiteY28" fmla="*/ 4010476 h 5633118"/>
                  <a:gd name="connsiteX29" fmla="*/ 1918706 w 1918706"/>
                  <a:gd name="connsiteY29" fmla="*/ 4069228 h 5633118"/>
                  <a:gd name="connsiteX30" fmla="*/ 1918706 w 1918706"/>
                  <a:gd name="connsiteY30" fmla="*/ 4090156 h 5633118"/>
                  <a:gd name="connsiteX31" fmla="*/ 1918706 w 1918706"/>
                  <a:gd name="connsiteY31" fmla="*/ 4097931 h 5633118"/>
                  <a:gd name="connsiteX32" fmla="*/ 1918706 w 1918706"/>
                  <a:gd name="connsiteY32" fmla="*/ 4491829 h 5633118"/>
                  <a:gd name="connsiteX33" fmla="*/ 1918706 w 1918706"/>
                  <a:gd name="connsiteY33" fmla="*/ 4579284 h 5633118"/>
                  <a:gd name="connsiteX34" fmla="*/ 1918706 w 1918706"/>
                  <a:gd name="connsiteY34" fmla="*/ 4592438 h 5633118"/>
                  <a:gd name="connsiteX35" fmla="*/ 1918706 w 1918706"/>
                  <a:gd name="connsiteY35" fmla="*/ 5073791 h 5633118"/>
                  <a:gd name="connsiteX36" fmla="*/ 959355 w 1918706"/>
                  <a:gd name="connsiteY36" fmla="*/ 5633118 h 5633118"/>
                  <a:gd name="connsiteX37" fmla="*/ 0 w 1918706"/>
                  <a:gd name="connsiteY37" fmla="*/ 5073791 h 5633118"/>
                  <a:gd name="connsiteX38" fmla="*/ 0 w 1918706"/>
                  <a:gd name="connsiteY38" fmla="*/ 4592438 h 5633118"/>
                  <a:gd name="connsiteX39" fmla="*/ 0 w 1918706"/>
                  <a:gd name="connsiteY39" fmla="*/ 4579284 h 5633118"/>
                  <a:gd name="connsiteX40" fmla="*/ 0 w 1918706"/>
                  <a:gd name="connsiteY40" fmla="*/ 4491829 h 5633118"/>
                  <a:gd name="connsiteX41" fmla="*/ 0 w 1918706"/>
                  <a:gd name="connsiteY41" fmla="*/ 4097931 h 5633118"/>
                  <a:gd name="connsiteX42" fmla="*/ 0 w 1918706"/>
                  <a:gd name="connsiteY42" fmla="*/ 4090156 h 5633118"/>
                  <a:gd name="connsiteX43" fmla="*/ 0 w 1918706"/>
                  <a:gd name="connsiteY43" fmla="*/ 4069228 h 5633118"/>
                  <a:gd name="connsiteX44" fmla="*/ 0 w 1918706"/>
                  <a:gd name="connsiteY44" fmla="*/ 4010476 h 5633118"/>
                  <a:gd name="connsiteX45" fmla="*/ 0 w 1918706"/>
                  <a:gd name="connsiteY45" fmla="*/ 3997322 h 5633118"/>
                  <a:gd name="connsiteX46" fmla="*/ 0 w 1918706"/>
                  <a:gd name="connsiteY46" fmla="*/ 3595649 h 5633118"/>
                  <a:gd name="connsiteX47" fmla="*/ 0 w 1918706"/>
                  <a:gd name="connsiteY47" fmla="*/ 3587875 h 5633118"/>
                  <a:gd name="connsiteX48" fmla="*/ 0 w 1918706"/>
                  <a:gd name="connsiteY48" fmla="*/ 3574721 h 5633118"/>
                  <a:gd name="connsiteX49" fmla="*/ 0 w 1918706"/>
                  <a:gd name="connsiteY49" fmla="*/ 3515969 h 5633118"/>
                  <a:gd name="connsiteX50" fmla="*/ 0 w 1918706"/>
                  <a:gd name="connsiteY50" fmla="*/ 3508195 h 5633118"/>
                  <a:gd name="connsiteX51" fmla="*/ 0 w 1918706"/>
                  <a:gd name="connsiteY51" fmla="*/ 3487266 h 5633118"/>
                  <a:gd name="connsiteX52" fmla="*/ 0 w 1918706"/>
                  <a:gd name="connsiteY5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563054 h 5633118"/>
                  <a:gd name="connsiteX4" fmla="*/ 1918706 w 1918706"/>
                  <a:gd name="connsiteY4" fmla="*/ 1985655 h 5633118"/>
                  <a:gd name="connsiteX5" fmla="*/ 1918706 w 1918706"/>
                  <a:gd name="connsiteY5" fmla="*/ 2001351 h 5633118"/>
                  <a:gd name="connsiteX6" fmla="*/ 1918706 w 1918706"/>
                  <a:gd name="connsiteY6" fmla="*/ 2009125 h 5633118"/>
                  <a:gd name="connsiteX7" fmla="*/ 1918706 w 1918706"/>
                  <a:gd name="connsiteY7" fmla="*/ 2073109 h 5633118"/>
                  <a:gd name="connsiteX8" fmla="*/ 1918706 w 1918706"/>
                  <a:gd name="connsiteY8" fmla="*/ 2081031 h 5633118"/>
                  <a:gd name="connsiteX9" fmla="*/ 1918706 w 1918706"/>
                  <a:gd name="connsiteY9" fmla="*/ 2088805 h 5633118"/>
                  <a:gd name="connsiteX10" fmla="*/ 1918706 w 1918706"/>
                  <a:gd name="connsiteY10" fmla="*/ 2503632 h 5633118"/>
                  <a:gd name="connsiteX11" fmla="*/ 1918706 w 1918706"/>
                  <a:gd name="connsiteY11" fmla="*/ 2511407 h 5633118"/>
                  <a:gd name="connsiteX12" fmla="*/ 1918706 w 1918706"/>
                  <a:gd name="connsiteY12" fmla="*/ 2567616 h 5633118"/>
                  <a:gd name="connsiteX13" fmla="*/ 1918706 w 1918706"/>
                  <a:gd name="connsiteY13" fmla="*/ 2583313 h 5633118"/>
                  <a:gd name="connsiteX14" fmla="*/ 1918706 w 1918706"/>
                  <a:gd name="connsiteY14" fmla="*/ 2591087 h 5633118"/>
                  <a:gd name="connsiteX15" fmla="*/ 1918706 w 1918706"/>
                  <a:gd name="connsiteY15" fmla="*/ 2992759 h 5633118"/>
                  <a:gd name="connsiteX16" fmla="*/ 1918706 w 1918706"/>
                  <a:gd name="connsiteY16" fmla="*/ 3005914 h 5633118"/>
                  <a:gd name="connsiteX17" fmla="*/ 1918706 w 1918706"/>
                  <a:gd name="connsiteY17" fmla="*/ 3013688 h 5633118"/>
                  <a:gd name="connsiteX18" fmla="*/ 1918706 w 1918706"/>
                  <a:gd name="connsiteY18" fmla="*/ 3085594 h 5633118"/>
                  <a:gd name="connsiteX19" fmla="*/ 1918706 w 1918706"/>
                  <a:gd name="connsiteY19" fmla="*/ 3093368 h 5633118"/>
                  <a:gd name="connsiteX20" fmla="*/ 1918706 w 1918706"/>
                  <a:gd name="connsiteY20" fmla="*/ 3487266 h 5633118"/>
                  <a:gd name="connsiteX21" fmla="*/ 1918706 w 1918706"/>
                  <a:gd name="connsiteY21" fmla="*/ 3508195 h 5633118"/>
                  <a:gd name="connsiteX22" fmla="*/ 1918706 w 1918706"/>
                  <a:gd name="connsiteY22" fmla="*/ 3515969 h 5633118"/>
                  <a:gd name="connsiteX23" fmla="*/ 1918706 w 1918706"/>
                  <a:gd name="connsiteY23" fmla="*/ 3574721 h 5633118"/>
                  <a:gd name="connsiteX24" fmla="*/ 1918706 w 1918706"/>
                  <a:gd name="connsiteY24" fmla="*/ 3587875 h 5633118"/>
                  <a:gd name="connsiteX25" fmla="*/ 1918706 w 1918706"/>
                  <a:gd name="connsiteY25" fmla="*/ 3595649 h 5633118"/>
                  <a:gd name="connsiteX26" fmla="*/ 1918706 w 1918706"/>
                  <a:gd name="connsiteY26" fmla="*/ 3997322 h 5633118"/>
                  <a:gd name="connsiteX27" fmla="*/ 1918706 w 1918706"/>
                  <a:gd name="connsiteY27" fmla="*/ 4010476 h 5633118"/>
                  <a:gd name="connsiteX28" fmla="*/ 1918706 w 1918706"/>
                  <a:gd name="connsiteY28" fmla="*/ 4069228 h 5633118"/>
                  <a:gd name="connsiteX29" fmla="*/ 1918706 w 1918706"/>
                  <a:gd name="connsiteY29" fmla="*/ 4090156 h 5633118"/>
                  <a:gd name="connsiteX30" fmla="*/ 1918706 w 1918706"/>
                  <a:gd name="connsiteY30" fmla="*/ 4097931 h 5633118"/>
                  <a:gd name="connsiteX31" fmla="*/ 1918706 w 1918706"/>
                  <a:gd name="connsiteY31" fmla="*/ 4491829 h 5633118"/>
                  <a:gd name="connsiteX32" fmla="*/ 1918706 w 1918706"/>
                  <a:gd name="connsiteY32" fmla="*/ 4579284 h 5633118"/>
                  <a:gd name="connsiteX33" fmla="*/ 1918706 w 1918706"/>
                  <a:gd name="connsiteY33" fmla="*/ 4592438 h 5633118"/>
                  <a:gd name="connsiteX34" fmla="*/ 1918706 w 1918706"/>
                  <a:gd name="connsiteY34" fmla="*/ 5073791 h 5633118"/>
                  <a:gd name="connsiteX35" fmla="*/ 959355 w 1918706"/>
                  <a:gd name="connsiteY35" fmla="*/ 5633118 h 5633118"/>
                  <a:gd name="connsiteX36" fmla="*/ 0 w 1918706"/>
                  <a:gd name="connsiteY36" fmla="*/ 5073791 h 5633118"/>
                  <a:gd name="connsiteX37" fmla="*/ 0 w 1918706"/>
                  <a:gd name="connsiteY37" fmla="*/ 4592438 h 5633118"/>
                  <a:gd name="connsiteX38" fmla="*/ 0 w 1918706"/>
                  <a:gd name="connsiteY38" fmla="*/ 4579284 h 5633118"/>
                  <a:gd name="connsiteX39" fmla="*/ 0 w 1918706"/>
                  <a:gd name="connsiteY39" fmla="*/ 4491829 h 5633118"/>
                  <a:gd name="connsiteX40" fmla="*/ 0 w 1918706"/>
                  <a:gd name="connsiteY40" fmla="*/ 4097931 h 5633118"/>
                  <a:gd name="connsiteX41" fmla="*/ 0 w 1918706"/>
                  <a:gd name="connsiteY41" fmla="*/ 4090156 h 5633118"/>
                  <a:gd name="connsiteX42" fmla="*/ 0 w 1918706"/>
                  <a:gd name="connsiteY42" fmla="*/ 4069228 h 5633118"/>
                  <a:gd name="connsiteX43" fmla="*/ 0 w 1918706"/>
                  <a:gd name="connsiteY43" fmla="*/ 4010476 h 5633118"/>
                  <a:gd name="connsiteX44" fmla="*/ 0 w 1918706"/>
                  <a:gd name="connsiteY44" fmla="*/ 3997322 h 5633118"/>
                  <a:gd name="connsiteX45" fmla="*/ 0 w 1918706"/>
                  <a:gd name="connsiteY45" fmla="*/ 3595649 h 5633118"/>
                  <a:gd name="connsiteX46" fmla="*/ 0 w 1918706"/>
                  <a:gd name="connsiteY46" fmla="*/ 3587875 h 5633118"/>
                  <a:gd name="connsiteX47" fmla="*/ 0 w 1918706"/>
                  <a:gd name="connsiteY47" fmla="*/ 3574721 h 5633118"/>
                  <a:gd name="connsiteX48" fmla="*/ 0 w 1918706"/>
                  <a:gd name="connsiteY48" fmla="*/ 3515969 h 5633118"/>
                  <a:gd name="connsiteX49" fmla="*/ 0 w 1918706"/>
                  <a:gd name="connsiteY49" fmla="*/ 3508195 h 5633118"/>
                  <a:gd name="connsiteX50" fmla="*/ 0 w 1918706"/>
                  <a:gd name="connsiteY50" fmla="*/ 3487266 h 5633118"/>
                  <a:gd name="connsiteX51" fmla="*/ 0 w 1918706"/>
                  <a:gd name="connsiteY5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09125 h 5633118"/>
                  <a:gd name="connsiteX6" fmla="*/ 1918706 w 1918706"/>
                  <a:gd name="connsiteY6" fmla="*/ 2073109 h 5633118"/>
                  <a:gd name="connsiteX7" fmla="*/ 1918706 w 1918706"/>
                  <a:gd name="connsiteY7" fmla="*/ 2081031 h 5633118"/>
                  <a:gd name="connsiteX8" fmla="*/ 1918706 w 1918706"/>
                  <a:gd name="connsiteY8" fmla="*/ 2088805 h 5633118"/>
                  <a:gd name="connsiteX9" fmla="*/ 1918706 w 1918706"/>
                  <a:gd name="connsiteY9" fmla="*/ 2503632 h 5633118"/>
                  <a:gd name="connsiteX10" fmla="*/ 1918706 w 1918706"/>
                  <a:gd name="connsiteY10" fmla="*/ 2511407 h 5633118"/>
                  <a:gd name="connsiteX11" fmla="*/ 1918706 w 1918706"/>
                  <a:gd name="connsiteY11" fmla="*/ 2567616 h 5633118"/>
                  <a:gd name="connsiteX12" fmla="*/ 1918706 w 1918706"/>
                  <a:gd name="connsiteY12" fmla="*/ 2583313 h 5633118"/>
                  <a:gd name="connsiteX13" fmla="*/ 1918706 w 1918706"/>
                  <a:gd name="connsiteY13" fmla="*/ 2591087 h 5633118"/>
                  <a:gd name="connsiteX14" fmla="*/ 1918706 w 1918706"/>
                  <a:gd name="connsiteY14" fmla="*/ 2992759 h 5633118"/>
                  <a:gd name="connsiteX15" fmla="*/ 1918706 w 1918706"/>
                  <a:gd name="connsiteY15" fmla="*/ 3005914 h 5633118"/>
                  <a:gd name="connsiteX16" fmla="*/ 1918706 w 1918706"/>
                  <a:gd name="connsiteY16" fmla="*/ 3013688 h 5633118"/>
                  <a:gd name="connsiteX17" fmla="*/ 1918706 w 1918706"/>
                  <a:gd name="connsiteY17" fmla="*/ 3085594 h 5633118"/>
                  <a:gd name="connsiteX18" fmla="*/ 1918706 w 1918706"/>
                  <a:gd name="connsiteY18" fmla="*/ 3093368 h 5633118"/>
                  <a:gd name="connsiteX19" fmla="*/ 1918706 w 1918706"/>
                  <a:gd name="connsiteY19" fmla="*/ 3487266 h 5633118"/>
                  <a:gd name="connsiteX20" fmla="*/ 1918706 w 1918706"/>
                  <a:gd name="connsiteY20" fmla="*/ 3508195 h 5633118"/>
                  <a:gd name="connsiteX21" fmla="*/ 1918706 w 1918706"/>
                  <a:gd name="connsiteY21" fmla="*/ 3515969 h 5633118"/>
                  <a:gd name="connsiteX22" fmla="*/ 1918706 w 1918706"/>
                  <a:gd name="connsiteY22" fmla="*/ 3574721 h 5633118"/>
                  <a:gd name="connsiteX23" fmla="*/ 1918706 w 1918706"/>
                  <a:gd name="connsiteY23" fmla="*/ 3587875 h 5633118"/>
                  <a:gd name="connsiteX24" fmla="*/ 1918706 w 1918706"/>
                  <a:gd name="connsiteY24" fmla="*/ 3595649 h 5633118"/>
                  <a:gd name="connsiteX25" fmla="*/ 1918706 w 1918706"/>
                  <a:gd name="connsiteY25" fmla="*/ 3997322 h 5633118"/>
                  <a:gd name="connsiteX26" fmla="*/ 1918706 w 1918706"/>
                  <a:gd name="connsiteY26" fmla="*/ 4010476 h 5633118"/>
                  <a:gd name="connsiteX27" fmla="*/ 1918706 w 1918706"/>
                  <a:gd name="connsiteY27" fmla="*/ 4069228 h 5633118"/>
                  <a:gd name="connsiteX28" fmla="*/ 1918706 w 1918706"/>
                  <a:gd name="connsiteY28" fmla="*/ 4090156 h 5633118"/>
                  <a:gd name="connsiteX29" fmla="*/ 1918706 w 1918706"/>
                  <a:gd name="connsiteY29" fmla="*/ 4097931 h 5633118"/>
                  <a:gd name="connsiteX30" fmla="*/ 1918706 w 1918706"/>
                  <a:gd name="connsiteY30" fmla="*/ 4491829 h 5633118"/>
                  <a:gd name="connsiteX31" fmla="*/ 1918706 w 1918706"/>
                  <a:gd name="connsiteY31" fmla="*/ 4579284 h 5633118"/>
                  <a:gd name="connsiteX32" fmla="*/ 1918706 w 1918706"/>
                  <a:gd name="connsiteY32" fmla="*/ 4592438 h 5633118"/>
                  <a:gd name="connsiteX33" fmla="*/ 1918706 w 1918706"/>
                  <a:gd name="connsiteY33" fmla="*/ 5073791 h 5633118"/>
                  <a:gd name="connsiteX34" fmla="*/ 959355 w 1918706"/>
                  <a:gd name="connsiteY34" fmla="*/ 5633118 h 5633118"/>
                  <a:gd name="connsiteX35" fmla="*/ 0 w 1918706"/>
                  <a:gd name="connsiteY35" fmla="*/ 5073791 h 5633118"/>
                  <a:gd name="connsiteX36" fmla="*/ 0 w 1918706"/>
                  <a:gd name="connsiteY36" fmla="*/ 4592438 h 5633118"/>
                  <a:gd name="connsiteX37" fmla="*/ 0 w 1918706"/>
                  <a:gd name="connsiteY37" fmla="*/ 4579284 h 5633118"/>
                  <a:gd name="connsiteX38" fmla="*/ 0 w 1918706"/>
                  <a:gd name="connsiteY38" fmla="*/ 4491829 h 5633118"/>
                  <a:gd name="connsiteX39" fmla="*/ 0 w 1918706"/>
                  <a:gd name="connsiteY39" fmla="*/ 4097931 h 5633118"/>
                  <a:gd name="connsiteX40" fmla="*/ 0 w 1918706"/>
                  <a:gd name="connsiteY40" fmla="*/ 4090156 h 5633118"/>
                  <a:gd name="connsiteX41" fmla="*/ 0 w 1918706"/>
                  <a:gd name="connsiteY41" fmla="*/ 4069228 h 5633118"/>
                  <a:gd name="connsiteX42" fmla="*/ 0 w 1918706"/>
                  <a:gd name="connsiteY42" fmla="*/ 4010476 h 5633118"/>
                  <a:gd name="connsiteX43" fmla="*/ 0 w 1918706"/>
                  <a:gd name="connsiteY43" fmla="*/ 3997322 h 5633118"/>
                  <a:gd name="connsiteX44" fmla="*/ 0 w 1918706"/>
                  <a:gd name="connsiteY44" fmla="*/ 3595649 h 5633118"/>
                  <a:gd name="connsiteX45" fmla="*/ 0 w 1918706"/>
                  <a:gd name="connsiteY45" fmla="*/ 3587875 h 5633118"/>
                  <a:gd name="connsiteX46" fmla="*/ 0 w 1918706"/>
                  <a:gd name="connsiteY46" fmla="*/ 3574721 h 5633118"/>
                  <a:gd name="connsiteX47" fmla="*/ 0 w 1918706"/>
                  <a:gd name="connsiteY47" fmla="*/ 3515969 h 5633118"/>
                  <a:gd name="connsiteX48" fmla="*/ 0 w 1918706"/>
                  <a:gd name="connsiteY48" fmla="*/ 3508195 h 5633118"/>
                  <a:gd name="connsiteX49" fmla="*/ 0 w 1918706"/>
                  <a:gd name="connsiteY49" fmla="*/ 3487266 h 5633118"/>
                  <a:gd name="connsiteX50" fmla="*/ 0 w 1918706"/>
                  <a:gd name="connsiteY5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01351 h 5633118"/>
                  <a:gd name="connsiteX5" fmla="*/ 1918706 w 1918706"/>
                  <a:gd name="connsiteY5" fmla="*/ 2073109 h 5633118"/>
                  <a:gd name="connsiteX6" fmla="*/ 1918706 w 1918706"/>
                  <a:gd name="connsiteY6" fmla="*/ 2081031 h 5633118"/>
                  <a:gd name="connsiteX7" fmla="*/ 1918706 w 1918706"/>
                  <a:gd name="connsiteY7" fmla="*/ 2088805 h 5633118"/>
                  <a:gd name="connsiteX8" fmla="*/ 1918706 w 1918706"/>
                  <a:gd name="connsiteY8" fmla="*/ 2503632 h 5633118"/>
                  <a:gd name="connsiteX9" fmla="*/ 1918706 w 1918706"/>
                  <a:gd name="connsiteY9" fmla="*/ 2511407 h 5633118"/>
                  <a:gd name="connsiteX10" fmla="*/ 1918706 w 1918706"/>
                  <a:gd name="connsiteY10" fmla="*/ 2567616 h 5633118"/>
                  <a:gd name="connsiteX11" fmla="*/ 1918706 w 1918706"/>
                  <a:gd name="connsiteY11" fmla="*/ 2583313 h 5633118"/>
                  <a:gd name="connsiteX12" fmla="*/ 1918706 w 1918706"/>
                  <a:gd name="connsiteY12" fmla="*/ 2591087 h 5633118"/>
                  <a:gd name="connsiteX13" fmla="*/ 1918706 w 1918706"/>
                  <a:gd name="connsiteY13" fmla="*/ 2992759 h 5633118"/>
                  <a:gd name="connsiteX14" fmla="*/ 1918706 w 1918706"/>
                  <a:gd name="connsiteY14" fmla="*/ 3005914 h 5633118"/>
                  <a:gd name="connsiteX15" fmla="*/ 1918706 w 1918706"/>
                  <a:gd name="connsiteY15" fmla="*/ 3013688 h 5633118"/>
                  <a:gd name="connsiteX16" fmla="*/ 1918706 w 1918706"/>
                  <a:gd name="connsiteY16" fmla="*/ 3085594 h 5633118"/>
                  <a:gd name="connsiteX17" fmla="*/ 1918706 w 1918706"/>
                  <a:gd name="connsiteY17" fmla="*/ 3093368 h 5633118"/>
                  <a:gd name="connsiteX18" fmla="*/ 1918706 w 1918706"/>
                  <a:gd name="connsiteY18" fmla="*/ 3487266 h 5633118"/>
                  <a:gd name="connsiteX19" fmla="*/ 1918706 w 1918706"/>
                  <a:gd name="connsiteY19" fmla="*/ 3508195 h 5633118"/>
                  <a:gd name="connsiteX20" fmla="*/ 1918706 w 1918706"/>
                  <a:gd name="connsiteY20" fmla="*/ 3515969 h 5633118"/>
                  <a:gd name="connsiteX21" fmla="*/ 1918706 w 1918706"/>
                  <a:gd name="connsiteY21" fmla="*/ 3574721 h 5633118"/>
                  <a:gd name="connsiteX22" fmla="*/ 1918706 w 1918706"/>
                  <a:gd name="connsiteY22" fmla="*/ 3587875 h 5633118"/>
                  <a:gd name="connsiteX23" fmla="*/ 1918706 w 1918706"/>
                  <a:gd name="connsiteY23" fmla="*/ 3595649 h 5633118"/>
                  <a:gd name="connsiteX24" fmla="*/ 1918706 w 1918706"/>
                  <a:gd name="connsiteY24" fmla="*/ 3997322 h 5633118"/>
                  <a:gd name="connsiteX25" fmla="*/ 1918706 w 1918706"/>
                  <a:gd name="connsiteY25" fmla="*/ 4010476 h 5633118"/>
                  <a:gd name="connsiteX26" fmla="*/ 1918706 w 1918706"/>
                  <a:gd name="connsiteY26" fmla="*/ 4069228 h 5633118"/>
                  <a:gd name="connsiteX27" fmla="*/ 1918706 w 1918706"/>
                  <a:gd name="connsiteY27" fmla="*/ 4090156 h 5633118"/>
                  <a:gd name="connsiteX28" fmla="*/ 1918706 w 1918706"/>
                  <a:gd name="connsiteY28" fmla="*/ 4097931 h 5633118"/>
                  <a:gd name="connsiteX29" fmla="*/ 1918706 w 1918706"/>
                  <a:gd name="connsiteY29" fmla="*/ 4491829 h 5633118"/>
                  <a:gd name="connsiteX30" fmla="*/ 1918706 w 1918706"/>
                  <a:gd name="connsiteY30" fmla="*/ 4579284 h 5633118"/>
                  <a:gd name="connsiteX31" fmla="*/ 1918706 w 1918706"/>
                  <a:gd name="connsiteY31" fmla="*/ 4592438 h 5633118"/>
                  <a:gd name="connsiteX32" fmla="*/ 1918706 w 1918706"/>
                  <a:gd name="connsiteY32" fmla="*/ 5073791 h 5633118"/>
                  <a:gd name="connsiteX33" fmla="*/ 959355 w 1918706"/>
                  <a:gd name="connsiteY33" fmla="*/ 5633118 h 5633118"/>
                  <a:gd name="connsiteX34" fmla="*/ 0 w 1918706"/>
                  <a:gd name="connsiteY34" fmla="*/ 5073791 h 5633118"/>
                  <a:gd name="connsiteX35" fmla="*/ 0 w 1918706"/>
                  <a:gd name="connsiteY35" fmla="*/ 4592438 h 5633118"/>
                  <a:gd name="connsiteX36" fmla="*/ 0 w 1918706"/>
                  <a:gd name="connsiteY36" fmla="*/ 4579284 h 5633118"/>
                  <a:gd name="connsiteX37" fmla="*/ 0 w 1918706"/>
                  <a:gd name="connsiteY37" fmla="*/ 4491829 h 5633118"/>
                  <a:gd name="connsiteX38" fmla="*/ 0 w 1918706"/>
                  <a:gd name="connsiteY38" fmla="*/ 4097931 h 5633118"/>
                  <a:gd name="connsiteX39" fmla="*/ 0 w 1918706"/>
                  <a:gd name="connsiteY39" fmla="*/ 4090156 h 5633118"/>
                  <a:gd name="connsiteX40" fmla="*/ 0 w 1918706"/>
                  <a:gd name="connsiteY40" fmla="*/ 4069228 h 5633118"/>
                  <a:gd name="connsiteX41" fmla="*/ 0 w 1918706"/>
                  <a:gd name="connsiteY41" fmla="*/ 4010476 h 5633118"/>
                  <a:gd name="connsiteX42" fmla="*/ 0 w 1918706"/>
                  <a:gd name="connsiteY42" fmla="*/ 3997322 h 5633118"/>
                  <a:gd name="connsiteX43" fmla="*/ 0 w 1918706"/>
                  <a:gd name="connsiteY43" fmla="*/ 3595649 h 5633118"/>
                  <a:gd name="connsiteX44" fmla="*/ 0 w 1918706"/>
                  <a:gd name="connsiteY44" fmla="*/ 3587875 h 5633118"/>
                  <a:gd name="connsiteX45" fmla="*/ 0 w 1918706"/>
                  <a:gd name="connsiteY45" fmla="*/ 3574721 h 5633118"/>
                  <a:gd name="connsiteX46" fmla="*/ 0 w 1918706"/>
                  <a:gd name="connsiteY46" fmla="*/ 3515969 h 5633118"/>
                  <a:gd name="connsiteX47" fmla="*/ 0 w 1918706"/>
                  <a:gd name="connsiteY47" fmla="*/ 3508195 h 5633118"/>
                  <a:gd name="connsiteX48" fmla="*/ 0 w 1918706"/>
                  <a:gd name="connsiteY48" fmla="*/ 3487266 h 5633118"/>
                  <a:gd name="connsiteX49" fmla="*/ 0 w 1918706"/>
                  <a:gd name="connsiteY4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1985655 h 5633118"/>
                  <a:gd name="connsiteX4" fmla="*/ 1918706 w 1918706"/>
                  <a:gd name="connsiteY4" fmla="*/ 2073109 h 5633118"/>
                  <a:gd name="connsiteX5" fmla="*/ 1918706 w 1918706"/>
                  <a:gd name="connsiteY5" fmla="*/ 2081031 h 5633118"/>
                  <a:gd name="connsiteX6" fmla="*/ 1918706 w 1918706"/>
                  <a:gd name="connsiteY6" fmla="*/ 2088805 h 5633118"/>
                  <a:gd name="connsiteX7" fmla="*/ 1918706 w 1918706"/>
                  <a:gd name="connsiteY7" fmla="*/ 2503632 h 5633118"/>
                  <a:gd name="connsiteX8" fmla="*/ 1918706 w 1918706"/>
                  <a:gd name="connsiteY8" fmla="*/ 2511407 h 5633118"/>
                  <a:gd name="connsiteX9" fmla="*/ 1918706 w 1918706"/>
                  <a:gd name="connsiteY9" fmla="*/ 2567616 h 5633118"/>
                  <a:gd name="connsiteX10" fmla="*/ 1918706 w 1918706"/>
                  <a:gd name="connsiteY10" fmla="*/ 2583313 h 5633118"/>
                  <a:gd name="connsiteX11" fmla="*/ 1918706 w 1918706"/>
                  <a:gd name="connsiteY11" fmla="*/ 2591087 h 5633118"/>
                  <a:gd name="connsiteX12" fmla="*/ 1918706 w 1918706"/>
                  <a:gd name="connsiteY12" fmla="*/ 2992759 h 5633118"/>
                  <a:gd name="connsiteX13" fmla="*/ 1918706 w 1918706"/>
                  <a:gd name="connsiteY13" fmla="*/ 3005914 h 5633118"/>
                  <a:gd name="connsiteX14" fmla="*/ 1918706 w 1918706"/>
                  <a:gd name="connsiteY14" fmla="*/ 3013688 h 5633118"/>
                  <a:gd name="connsiteX15" fmla="*/ 1918706 w 1918706"/>
                  <a:gd name="connsiteY15" fmla="*/ 3085594 h 5633118"/>
                  <a:gd name="connsiteX16" fmla="*/ 1918706 w 1918706"/>
                  <a:gd name="connsiteY16" fmla="*/ 3093368 h 5633118"/>
                  <a:gd name="connsiteX17" fmla="*/ 1918706 w 1918706"/>
                  <a:gd name="connsiteY17" fmla="*/ 3487266 h 5633118"/>
                  <a:gd name="connsiteX18" fmla="*/ 1918706 w 1918706"/>
                  <a:gd name="connsiteY18" fmla="*/ 3508195 h 5633118"/>
                  <a:gd name="connsiteX19" fmla="*/ 1918706 w 1918706"/>
                  <a:gd name="connsiteY19" fmla="*/ 3515969 h 5633118"/>
                  <a:gd name="connsiteX20" fmla="*/ 1918706 w 1918706"/>
                  <a:gd name="connsiteY20" fmla="*/ 3574721 h 5633118"/>
                  <a:gd name="connsiteX21" fmla="*/ 1918706 w 1918706"/>
                  <a:gd name="connsiteY21" fmla="*/ 3587875 h 5633118"/>
                  <a:gd name="connsiteX22" fmla="*/ 1918706 w 1918706"/>
                  <a:gd name="connsiteY22" fmla="*/ 3595649 h 5633118"/>
                  <a:gd name="connsiteX23" fmla="*/ 1918706 w 1918706"/>
                  <a:gd name="connsiteY23" fmla="*/ 3997322 h 5633118"/>
                  <a:gd name="connsiteX24" fmla="*/ 1918706 w 1918706"/>
                  <a:gd name="connsiteY24" fmla="*/ 4010476 h 5633118"/>
                  <a:gd name="connsiteX25" fmla="*/ 1918706 w 1918706"/>
                  <a:gd name="connsiteY25" fmla="*/ 4069228 h 5633118"/>
                  <a:gd name="connsiteX26" fmla="*/ 1918706 w 1918706"/>
                  <a:gd name="connsiteY26" fmla="*/ 4090156 h 5633118"/>
                  <a:gd name="connsiteX27" fmla="*/ 1918706 w 1918706"/>
                  <a:gd name="connsiteY27" fmla="*/ 4097931 h 5633118"/>
                  <a:gd name="connsiteX28" fmla="*/ 1918706 w 1918706"/>
                  <a:gd name="connsiteY28" fmla="*/ 4491829 h 5633118"/>
                  <a:gd name="connsiteX29" fmla="*/ 1918706 w 1918706"/>
                  <a:gd name="connsiteY29" fmla="*/ 4579284 h 5633118"/>
                  <a:gd name="connsiteX30" fmla="*/ 1918706 w 1918706"/>
                  <a:gd name="connsiteY30" fmla="*/ 4592438 h 5633118"/>
                  <a:gd name="connsiteX31" fmla="*/ 1918706 w 1918706"/>
                  <a:gd name="connsiteY31" fmla="*/ 5073791 h 5633118"/>
                  <a:gd name="connsiteX32" fmla="*/ 959355 w 1918706"/>
                  <a:gd name="connsiteY32" fmla="*/ 5633118 h 5633118"/>
                  <a:gd name="connsiteX33" fmla="*/ 0 w 1918706"/>
                  <a:gd name="connsiteY33" fmla="*/ 5073791 h 5633118"/>
                  <a:gd name="connsiteX34" fmla="*/ 0 w 1918706"/>
                  <a:gd name="connsiteY34" fmla="*/ 4592438 h 5633118"/>
                  <a:gd name="connsiteX35" fmla="*/ 0 w 1918706"/>
                  <a:gd name="connsiteY35" fmla="*/ 4579284 h 5633118"/>
                  <a:gd name="connsiteX36" fmla="*/ 0 w 1918706"/>
                  <a:gd name="connsiteY36" fmla="*/ 4491829 h 5633118"/>
                  <a:gd name="connsiteX37" fmla="*/ 0 w 1918706"/>
                  <a:gd name="connsiteY37" fmla="*/ 4097931 h 5633118"/>
                  <a:gd name="connsiteX38" fmla="*/ 0 w 1918706"/>
                  <a:gd name="connsiteY38" fmla="*/ 4090156 h 5633118"/>
                  <a:gd name="connsiteX39" fmla="*/ 0 w 1918706"/>
                  <a:gd name="connsiteY39" fmla="*/ 4069228 h 5633118"/>
                  <a:gd name="connsiteX40" fmla="*/ 0 w 1918706"/>
                  <a:gd name="connsiteY40" fmla="*/ 4010476 h 5633118"/>
                  <a:gd name="connsiteX41" fmla="*/ 0 w 1918706"/>
                  <a:gd name="connsiteY41" fmla="*/ 3997322 h 5633118"/>
                  <a:gd name="connsiteX42" fmla="*/ 0 w 1918706"/>
                  <a:gd name="connsiteY42" fmla="*/ 3595649 h 5633118"/>
                  <a:gd name="connsiteX43" fmla="*/ 0 w 1918706"/>
                  <a:gd name="connsiteY43" fmla="*/ 3587875 h 5633118"/>
                  <a:gd name="connsiteX44" fmla="*/ 0 w 1918706"/>
                  <a:gd name="connsiteY44" fmla="*/ 3574721 h 5633118"/>
                  <a:gd name="connsiteX45" fmla="*/ 0 w 1918706"/>
                  <a:gd name="connsiteY45" fmla="*/ 3515969 h 5633118"/>
                  <a:gd name="connsiteX46" fmla="*/ 0 w 1918706"/>
                  <a:gd name="connsiteY46" fmla="*/ 3508195 h 5633118"/>
                  <a:gd name="connsiteX47" fmla="*/ 0 w 1918706"/>
                  <a:gd name="connsiteY47" fmla="*/ 3487266 h 5633118"/>
                  <a:gd name="connsiteX48" fmla="*/ 0 w 1918706"/>
                  <a:gd name="connsiteY4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088805 h 5633118"/>
                  <a:gd name="connsiteX6" fmla="*/ 1918706 w 1918706"/>
                  <a:gd name="connsiteY6" fmla="*/ 2503632 h 5633118"/>
                  <a:gd name="connsiteX7" fmla="*/ 1918706 w 1918706"/>
                  <a:gd name="connsiteY7" fmla="*/ 2511407 h 5633118"/>
                  <a:gd name="connsiteX8" fmla="*/ 1918706 w 1918706"/>
                  <a:gd name="connsiteY8" fmla="*/ 2567616 h 5633118"/>
                  <a:gd name="connsiteX9" fmla="*/ 1918706 w 1918706"/>
                  <a:gd name="connsiteY9" fmla="*/ 2583313 h 5633118"/>
                  <a:gd name="connsiteX10" fmla="*/ 1918706 w 1918706"/>
                  <a:gd name="connsiteY10" fmla="*/ 2591087 h 5633118"/>
                  <a:gd name="connsiteX11" fmla="*/ 1918706 w 1918706"/>
                  <a:gd name="connsiteY11" fmla="*/ 2992759 h 5633118"/>
                  <a:gd name="connsiteX12" fmla="*/ 1918706 w 1918706"/>
                  <a:gd name="connsiteY12" fmla="*/ 3005914 h 5633118"/>
                  <a:gd name="connsiteX13" fmla="*/ 1918706 w 1918706"/>
                  <a:gd name="connsiteY13" fmla="*/ 3013688 h 5633118"/>
                  <a:gd name="connsiteX14" fmla="*/ 1918706 w 1918706"/>
                  <a:gd name="connsiteY14" fmla="*/ 3085594 h 5633118"/>
                  <a:gd name="connsiteX15" fmla="*/ 1918706 w 1918706"/>
                  <a:gd name="connsiteY15" fmla="*/ 3093368 h 5633118"/>
                  <a:gd name="connsiteX16" fmla="*/ 1918706 w 1918706"/>
                  <a:gd name="connsiteY16" fmla="*/ 3487266 h 5633118"/>
                  <a:gd name="connsiteX17" fmla="*/ 1918706 w 1918706"/>
                  <a:gd name="connsiteY17" fmla="*/ 3508195 h 5633118"/>
                  <a:gd name="connsiteX18" fmla="*/ 1918706 w 1918706"/>
                  <a:gd name="connsiteY18" fmla="*/ 3515969 h 5633118"/>
                  <a:gd name="connsiteX19" fmla="*/ 1918706 w 1918706"/>
                  <a:gd name="connsiteY19" fmla="*/ 3574721 h 5633118"/>
                  <a:gd name="connsiteX20" fmla="*/ 1918706 w 1918706"/>
                  <a:gd name="connsiteY20" fmla="*/ 3587875 h 5633118"/>
                  <a:gd name="connsiteX21" fmla="*/ 1918706 w 1918706"/>
                  <a:gd name="connsiteY21" fmla="*/ 3595649 h 5633118"/>
                  <a:gd name="connsiteX22" fmla="*/ 1918706 w 1918706"/>
                  <a:gd name="connsiteY22" fmla="*/ 3997322 h 5633118"/>
                  <a:gd name="connsiteX23" fmla="*/ 1918706 w 1918706"/>
                  <a:gd name="connsiteY23" fmla="*/ 4010476 h 5633118"/>
                  <a:gd name="connsiteX24" fmla="*/ 1918706 w 1918706"/>
                  <a:gd name="connsiteY24" fmla="*/ 4069228 h 5633118"/>
                  <a:gd name="connsiteX25" fmla="*/ 1918706 w 1918706"/>
                  <a:gd name="connsiteY25" fmla="*/ 4090156 h 5633118"/>
                  <a:gd name="connsiteX26" fmla="*/ 1918706 w 1918706"/>
                  <a:gd name="connsiteY26" fmla="*/ 4097931 h 5633118"/>
                  <a:gd name="connsiteX27" fmla="*/ 1918706 w 1918706"/>
                  <a:gd name="connsiteY27" fmla="*/ 4491829 h 5633118"/>
                  <a:gd name="connsiteX28" fmla="*/ 1918706 w 1918706"/>
                  <a:gd name="connsiteY28" fmla="*/ 4579284 h 5633118"/>
                  <a:gd name="connsiteX29" fmla="*/ 1918706 w 1918706"/>
                  <a:gd name="connsiteY29" fmla="*/ 4592438 h 5633118"/>
                  <a:gd name="connsiteX30" fmla="*/ 1918706 w 1918706"/>
                  <a:gd name="connsiteY30" fmla="*/ 5073791 h 5633118"/>
                  <a:gd name="connsiteX31" fmla="*/ 959355 w 1918706"/>
                  <a:gd name="connsiteY31" fmla="*/ 5633118 h 5633118"/>
                  <a:gd name="connsiteX32" fmla="*/ 0 w 1918706"/>
                  <a:gd name="connsiteY32" fmla="*/ 5073791 h 5633118"/>
                  <a:gd name="connsiteX33" fmla="*/ 0 w 1918706"/>
                  <a:gd name="connsiteY33" fmla="*/ 4592438 h 5633118"/>
                  <a:gd name="connsiteX34" fmla="*/ 0 w 1918706"/>
                  <a:gd name="connsiteY34" fmla="*/ 4579284 h 5633118"/>
                  <a:gd name="connsiteX35" fmla="*/ 0 w 1918706"/>
                  <a:gd name="connsiteY35" fmla="*/ 4491829 h 5633118"/>
                  <a:gd name="connsiteX36" fmla="*/ 0 w 1918706"/>
                  <a:gd name="connsiteY36" fmla="*/ 4097931 h 5633118"/>
                  <a:gd name="connsiteX37" fmla="*/ 0 w 1918706"/>
                  <a:gd name="connsiteY37" fmla="*/ 4090156 h 5633118"/>
                  <a:gd name="connsiteX38" fmla="*/ 0 w 1918706"/>
                  <a:gd name="connsiteY38" fmla="*/ 4069228 h 5633118"/>
                  <a:gd name="connsiteX39" fmla="*/ 0 w 1918706"/>
                  <a:gd name="connsiteY39" fmla="*/ 4010476 h 5633118"/>
                  <a:gd name="connsiteX40" fmla="*/ 0 w 1918706"/>
                  <a:gd name="connsiteY40" fmla="*/ 3997322 h 5633118"/>
                  <a:gd name="connsiteX41" fmla="*/ 0 w 1918706"/>
                  <a:gd name="connsiteY41" fmla="*/ 3595649 h 5633118"/>
                  <a:gd name="connsiteX42" fmla="*/ 0 w 1918706"/>
                  <a:gd name="connsiteY42" fmla="*/ 3587875 h 5633118"/>
                  <a:gd name="connsiteX43" fmla="*/ 0 w 1918706"/>
                  <a:gd name="connsiteY43" fmla="*/ 3574721 h 5633118"/>
                  <a:gd name="connsiteX44" fmla="*/ 0 w 1918706"/>
                  <a:gd name="connsiteY44" fmla="*/ 3515969 h 5633118"/>
                  <a:gd name="connsiteX45" fmla="*/ 0 w 1918706"/>
                  <a:gd name="connsiteY45" fmla="*/ 3508195 h 5633118"/>
                  <a:gd name="connsiteX46" fmla="*/ 0 w 1918706"/>
                  <a:gd name="connsiteY46" fmla="*/ 3487266 h 5633118"/>
                  <a:gd name="connsiteX47" fmla="*/ 0 w 1918706"/>
                  <a:gd name="connsiteY4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081031 h 5633118"/>
                  <a:gd name="connsiteX5" fmla="*/ 1918706 w 1918706"/>
                  <a:gd name="connsiteY5" fmla="*/ 2503632 h 5633118"/>
                  <a:gd name="connsiteX6" fmla="*/ 1918706 w 1918706"/>
                  <a:gd name="connsiteY6" fmla="*/ 2511407 h 5633118"/>
                  <a:gd name="connsiteX7" fmla="*/ 1918706 w 1918706"/>
                  <a:gd name="connsiteY7" fmla="*/ 2567616 h 5633118"/>
                  <a:gd name="connsiteX8" fmla="*/ 1918706 w 1918706"/>
                  <a:gd name="connsiteY8" fmla="*/ 2583313 h 5633118"/>
                  <a:gd name="connsiteX9" fmla="*/ 1918706 w 1918706"/>
                  <a:gd name="connsiteY9" fmla="*/ 2591087 h 5633118"/>
                  <a:gd name="connsiteX10" fmla="*/ 1918706 w 1918706"/>
                  <a:gd name="connsiteY10" fmla="*/ 2992759 h 5633118"/>
                  <a:gd name="connsiteX11" fmla="*/ 1918706 w 1918706"/>
                  <a:gd name="connsiteY11" fmla="*/ 3005914 h 5633118"/>
                  <a:gd name="connsiteX12" fmla="*/ 1918706 w 1918706"/>
                  <a:gd name="connsiteY12" fmla="*/ 3013688 h 5633118"/>
                  <a:gd name="connsiteX13" fmla="*/ 1918706 w 1918706"/>
                  <a:gd name="connsiteY13" fmla="*/ 3085594 h 5633118"/>
                  <a:gd name="connsiteX14" fmla="*/ 1918706 w 1918706"/>
                  <a:gd name="connsiteY14" fmla="*/ 3093368 h 5633118"/>
                  <a:gd name="connsiteX15" fmla="*/ 1918706 w 1918706"/>
                  <a:gd name="connsiteY15" fmla="*/ 3487266 h 5633118"/>
                  <a:gd name="connsiteX16" fmla="*/ 1918706 w 1918706"/>
                  <a:gd name="connsiteY16" fmla="*/ 3508195 h 5633118"/>
                  <a:gd name="connsiteX17" fmla="*/ 1918706 w 1918706"/>
                  <a:gd name="connsiteY17" fmla="*/ 3515969 h 5633118"/>
                  <a:gd name="connsiteX18" fmla="*/ 1918706 w 1918706"/>
                  <a:gd name="connsiteY18" fmla="*/ 3574721 h 5633118"/>
                  <a:gd name="connsiteX19" fmla="*/ 1918706 w 1918706"/>
                  <a:gd name="connsiteY19" fmla="*/ 3587875 h 5633118"/>
                  <a:gd name="connsiteX20" fmla="*/ 1918706 w 1918706"/>
                  <a:gd name="connsiteY20" fmla="*/ 3595649 h 5633118"/>
                  <a:gd name="connsiteX21" fmla="*/ 1918706 w 1918706"/>
                  <a:gd name="connsiteY21" fmla="*/ 3997322 h 5633118"/>
                  <a:gd name="connsiteX22" fmla="*/ 1918706 w 1918706"/>
                  <a:gd name="connsiteY22" fmla="*/ 4010476 h 5633118"/>
                  <a:gd name="connsiteX23" fmla="*/ 1918706 w 1918706"/>
                  <a:gd name="connsiteY23" fmla="*/ 4069228 h 5633118"/>
                  <a:gd name="connsiteX24" fmla="*/ 1918706 w 1918706"/>
                  <a:gd name="connsiteY24" fmla="*/ 4090156 h 5633118"/>
                  <a:gd name="connsiteX25" fmla="*/ 1918706 w 1918706"/>
                  <a:gd name="connsiteY25" fmla="*/ 4097931 h 5633118"/>
                  <a:gd name="connsiteX26" fmla="*/ 1918706 w 1918706"/>
                  <a:gd name="connsiteY26" fmla="*/ 4491829 h 5633118"/>
                  <a:gd name="connsiteX27" fmla="*/ 1918706 w 1918706"/>
                  <a:gd name="connsiteY27" fmla="*/ 4579284 h 5633118"/>
                  <a:gd name="connsiteX28" fmla="*/ 1918706 w 1918706"/>
                  <a:gd name="connsiteY28" fmla="*/ 4592438 h 5633118"/>
                  <a:gd name="connsiteX29" fmla="*/ 1918706 w 1918706"/>
                  <a:gd name="connsiteY29" fmla="*/ 5073791 h 5633118"/>
                  <a:gd name="connsiteX30" fmla="*/ 959355 w 1918706"/>
                  <a:gd name="connsiteY30" fmla="*/ 5633118 h 5633118"/>
                  <a:gd name="connsiteX31" fmla="*/ 0 w 1918706"/>
                  <a:gd name="connsiteY31" fmla="*/ 5073791 h 5633118"/>
                  <a:gd name="connsiteX32" fmla="*/ 0 w 1918706"/>
                  <a:gd name="connsiteY32" fmla="*/ 4592438 h 5633118"/>
                  <a:gd name="connsiteX33" fmla="*/ 0 w 1918706"/>
                  <a:gd name="connsiteY33" fmla="*/ 4579284 h 5633118"/>
                  <a:gd name="connsiteX34" fmla="*/ 0 w 1918706"/>
                  <a:gd name="connsiteY34" fmla="*/ 4491829 h 5633118"/>
                  <a:gd name="connsiteX35" fmla="*/ 0 w 1918706"/>
                  <a:gd name="connsiteY35" fmla="*/ 4097931 h 5633118"/>
                  <a:gd name="connsiteX36" fmla="*/ 0 w 1918706"/>
                  <a:gd name="connsiteY36" fmla="*/ 4090156 h 5633118"/>
                  <a:gd name="connsiteX37" fmla="*/ 0 w 1918706"/>
                  <a:gd name="connsiteY37" fmla="*/ 4069228 h 5633118"/>
                  <a:gd name="connsiteX38" fmla="*/ 0 w 1918706"/>
                  <a:gd name="connsiteY38" fmla="*/ 4010476 h 5633118"/>
                  <a:gd name="connsiteX39" fmla="*/ 0 w 1918706"/>
                  <a:gd name="connsiteY39" fmla="*/ 3997322 h 5633118"/>
                  <a:gd name="connsiteX40" fmla="*/ 0 w 1918706"/>
                  <a:gd name="connsiteY40" fmla="*/ 3595649 h 5633118"/>
                  <a:gd name="connsiteX41" fmla="*/ 0 w 1918706"/>
                  <a:gd name="connsiteY41" fmla="*/ 3587875 h 5633118"/>
                  <a:gd name="connsiteX42" fmla="*/ 0 w 1918706"/>
                  <a:gd name="connsiteY42" fmla="*/ 3574721 h 5633118"/>
                  <a:gd name="connsiteX43" fmla="*/ 0 w 1918706"/>
                  <a:gd name="connsiteY43" fmla="*/ 3515969 h 5633118"/>
                  <a:gd name="connsiteX44" fmla="*/ 0 w 1918706"/>
                  <a:gd name="connsiteY44" fmla="*/ 3508195 h 5633118"/>
                  <a:gd name="connsiteX45" fmla="*/ 0 w 1918706"/>
                  <a:gd name="connsiteY45" fmla="*/ 3487266 h 5633118"/>
                  <a:gd name="connsiteX46" fmla="*/ 0 w 1918706"/>
                  <a:gd name="connsiteY4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073109 h 5633118"/>
                  <a:gd name="connsiteX4" fmla="*/ 1918706 w 1918706"/>
                  <a:gd name="connsiteY4" fmla="*/ 2503632 h 5633118"/>
                  <a:gd name="connsiteX5" fmla="*/ 1918706 w 1918706"/>
                  <a:gd name="connsiteY5" fmla="*/ 2511407 h 5633118"/>
                  <a:gd name="connsiteX6" fmla="*/ 1918706 w 1918706"/>
                  <a:gd name="connsiteY6" fmla="*/ 2567616 h 5633118"/>
                  <a:gd name="connsiteX7" fmla="*/ 1918706 w 1918706"/>
                  <a:gd name="connsiteY7" fmla="*/ 2583313 h 5633118"/>
                  <a:gd name="connsiteX8" fmla="*/ 1918706 w 1918706"/>
                  <a:gd name="connsiteY8" fmla="*/ 2591087 h 5633118"/>
                  <a:gd name="connsiteX9" fmla="*/ 1918706 w 1918706"/>
                  <a:gd name="connsiteY9" fmla="*/ 2992759 h 5633118"/>
                  <a:gd name="connsiteX10" fmla="*/ 1918706 w 1918706"/>
                  <a:gd name="connsiteY10" fmla="*/ 3005914 h 5633118"/>
                  <a:gd name="connsiteX11" fmla="*/ 1918706 w 1918706"/>
                  <a:gd name="connsiteY11" fmla="*/ 3013688 h 5633118"/>
                  <a:gd name="connsiteX12" fmla="*/ 1918706 w 1918706"/>
                  <a:gd name="connsiteY12" fmla="*/ 3085594 h 5633118"/>
                  <a:gd name="connsiteX13" fmla="*/ 1918706 w 1918706"/>
                  <a:gd name="connsiteY13" fmla="*/ 3093368 h 5633118"/>
                  <a:gd name="connsiteX14" fmla="*/ 1918706 w 1918706"/>
                  <a:gd name="connsiteY14" fmla="*/ 3487266 h 5633118"/>
                  <a:gd name="connsiteX15" fmla="*/ 1918706 w 1918706"/>
                  <a:gd name="connsiteY15" fmla="*/ 3508195 h 5633118"/>
                  <a:gd name="connsiteX16" fmla="*/ 1918706 w 1918706"/>
                  <a:gd name="connsiteY16" fmla="*/ 3515969 h 5633118"/>
                  <a:gd name="connsiteX17" fmla="*/ 1918706 w 1918706"/>
                  <a:gd name="connsiteY17" fmla="*/ 3574721 h 5633118"/>
                  <a:gd name="connsiteX18" fmla="*/ 1918706 w 1918706"/>
                  <a:gd name="connsiteY18" fmla="*/ 3587875 h 5633118"/>
                  <a:gd name="connsiteX19" fmla="*/ 1918706 w 1918706"/>
                  <a:gd name="connsiteY19" fmla="*/ 3595649 h 5633118"/>
                  <a:gd name="connsiteX20" fmla="*/ 1918706 w 1918706"/>
                  <a:gd name="connsiteY20" fmla="*/ 3997322 h 5633118"/>
                  <a:gd name="connsiteX21" fmla="*/ 1918706 w 1918706"/>
                  <a:gd name="connsiteY21" fmla="*/ 4010476 h 5633118"/>
                  <a:gd name="connsiteX22" fmla="*/ 1918706 w 1918706"/>
                  <a:gd name="connsiteY22" fmla="*/ 4069228 h 5633118"/>
                  <a:gd name="connsiteX23" fmla="*/ 1918706 w 1918706"/>
                  <a:gd name="connsiteY23" fmla="*/ 4090156 h 5633118"/>
                  <a:gd name="connsiteX24" fmla="*/ 1918706 w 1918706"/>
                  <a:gd name="connsiteY24" fmla="*/ 4097931 h 5633118"/>
                  <a:gd name="connsiteX25" fmla="*/ 1918706 w 1918706"/>
                  <a:gd name="connsiteY25" fmla="*/ 4491829 h 5633118"/>
                  <a:gd name="connsiteX26" fmla="*/ 1918706 w 1918706"/>
                  <a:gd name="connsiteY26" fmla="*/ 4579284 h 5633118"/>
                  <a:gd name="connsiteX27" fmla="*/ 1918706 w 1918706"/>
                  <a:gd name="connsiteY27" fmla="*/ 4592438 h 5633118"/>
                  <a:gd name="connsiteX28" fmla="*/ 1918706 w 1918706"/>
                  <a:gd name="connsiteY28" fmla="*/ 5073791 h 5633118"/>
                  <a:gd name="connsiteX29" fmla="*/ 959355 w 1918706"/>
                  <a:gd name="connsiteY29" fmla="*/ 5633118 h 5633118"/>
                  <a:gd name="connsiteX30" fmla="*/ 0 w 1918706"/>
                  <a:gd name="connsiteY30" fmla="*/ 5073791 h 5633118"/>
                  <a:gd name="connsiteX31" fmla="*/ 0 w 1918706"/>
                  <a:gd name="connsiteY31" fmla="*/ 4592438 h 5633118"/>
                  <a:gd name="connsiteX32" fmla="*/ 0 w 1918706"/>
                  <a:gd name="connsiteY32" fmla="*/ 4579284 h 5633118"/>
                  <a:gd name="connsiteX33" fmla="*/ 0 w 1918706"/>
                  <a:gd name="connsiteY33" fmla="*/ 4491829 h 5633118"/>
                  <a:gd name="connsiteX34" fmla="*/ 0 w 1918706"/>
                  <a:gd name="connsiteY34" fmla="*/ 4097931 h 5633118"/>
                  <a:gd name="connsiteX35" fmla="*/ 0 w 1918706"/>
                  <a:gd name="connsiteY35" fmla="*/ 4090156 h 5633118"/>
                  <a:gd name="connsiteX36" fmla="*/ 0 w 1918706"/>
                  <a:gd name="connsiteY36" fmla="*/ 4069228 h 5633118"/>
                  <a:gd name="connsiteX37" fmla="*/ 0 w 1918706"/>
                  <a:gd name="connsiteY37" fmla="*/ 4010476 h 5633118"/>
                  <a:gd name="connsiteX38" fmla="*/ 0 w 1918706"/>
                  <a:gd name="connsiteY38" fmla="*/ 3997322 h 5633118"/>
                  <a:gd name="connsiteX39" fmla="*/ 0 w 1918706"/>
                  <a:gd name="connsiteY39" fmla="*/ 3595649 h 5633118"/>
                  <a:gd name="connsiteX40" fmla="*/ 0 w 1918706"/>
                  <a:gd name="connsiteY40" fmla="*/ 3587875 h 5633118"/>
                  <a:gd name="connsiteX41" fmla="*/ 0 w 1918706"/>
                  <a:gd name="connsiteY41" fmla="*/ 3574721 h 5633118"/>
                  <a:gd name="connsiteX42" fmla="*/ 0 w 1918706"/>
                  <a:gd name="connsiteY42" fmla="*/ 3515969 h 5633118"/>
                  <a:gd name="connsiteX43" fmla="*/ 0 w 1918706"/>
                  <a:gd name="connsiteY43" fmla="*/ 3508195 h 5633118"/>
                  <a:gd name="connsiteX44" fmla="*/ 0 w 1918706"/>
                  <a:gd name="connsiteY44" fmla="*/ 3487266 h 5633118"/>
                  <a:gd name="connsiteX45" fmla="*/ 0 w 1918706"/>
                  <a:gd name="connsiteY4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11407 h 5633118"/>
                  <a:gd name="connsiteX5" fmla="*/ 1918706 w 1918706"/>
                  <a:gd name="connsiteY5" fmla="*/ 2567616 h 5633118"/>
                  <a:gd name="connsiteX6" fmla="*/ 1918706 w 1918706"/>
                  <a:gd name="connsiteY6" fmla="*/ 2583313 h 5633118"/>
                  <a:gd name="connsiteX7" fmla="*/ 1918706 w 1918706"/>
                  <a:gd name="connsiteY7" fmla="*/ 2591087 h 5633118"/>
                  <a:gd name="connsiteX8" fmla="*/ 1918706 w 1918706"/>
                  <a:gd name="connsiteY8" fmla="*/ 2992759 h 5633118"/>
                  <a:gd name="connsiteX9" fmla="*/ 1918706 w 1918706"/>
                  <a:gd name="connsiteY9" fmla="*/ 3005914 h 5633118"/>
                  <a:gd name="connsiteX10" fmla="*/ 1918706 w 1918706"/>
                  <a:gd name="connsiteY10" fmla="*/ 3013688 h 5633118"/>
                  <a:gd name="connsiteX11" fmla="*/ 1918706 w 1918706"/>
                  <a:gd name="connsiteY11" fmla="*/ 3085594 h 5633118"/>
                  <a:gd name="connsiteX12" fmla="*/ 1918706 w 1918706"/>
                  <a:gd name="connsiteY12" fmla="*/ 3093368 h 5633118"/>
                  <a:gd name="connsiteX13" fmla="*/ 1918706 w 1918706"/>
                  <a:gd name="connsiteY13" fmla="*/ 3487266 h 5633118"/>
                  <a:gd name="connsiteX14" fmla="*/ 1918706 w 1918706"/>
                  <a:gd name="connsiteY14" fmla="*/ 3508195 h 5633118"/>
                  <a:gd name="connsiteX15" fmla="*/ 1918706 w 1918706"/>
                  <a:gd name="connsiteY15" fmla="*/ 3515969 h 5633118"/>
                  <a:gd name="connsiteX16" fmla="*/ 1918706 w 1918706"/>
                  <a:gd name="connsiteY16" fmla="*/ 3574721 h 5633118"/>
                  <a:gd name="connsiteX17" fmla="*/ 1918706 w 1918706"/>
                  <a:gd name="connsiteY17" fmla="*/ 3587875 h 5633118"/>
                  <a:gd name="connsiteX18" fmla="*/ 1918706 w 1918706"/>
                  <a:gd name="connsiteY18" fmla="*/ 3595649 h 5633118"/>
                  <a:gd name="connsiteX19" fmla="*/ 1918706 w 1918706"/>
                  <a:gd name="connsiteY19" fmla="*/ 3997322 h 5633118"/>
                  <a:gd name="connsiteX20" fmla="*/ 1918706 w 1918706"/>
                  <a:gd name="connsiteY20" fmla="*/ 4010476 h 5633118"/>
                  <a:gd name="connsiteX21" fmla="*/ 1918706 w 1918706"/>
                  <a:gd name="connsiteY21" fmla="*/ 4069228 h 5633118"/>
                  <a:gd name="connsiteX22" fmla="*/ 1918706 w 1918706"/>
                  <a:gd name="connsiteY22" fmla="*/ 4090156 h 5633118"/>
                  <a:gd name="connsiteX23" fmla="*/ 1918706 w 1918706"/>
                  <a:gd name="connsiteY23" fmla="*/ 4097931 h 5633118"/>
                  <a:gd name="connsiteX24" fmla="*/ 1918706 w 1918706"/>
                  <a:gd name="connsiteY24" fmla="*/ 4491829 h 5633118"/>
                  <a:gd name="connsiteX25" fmla="*/ 1918706 w 1918706"/>
                  <a:gd name="connsiteY25" fmla="*/ 4579284 h 5633118"/>
                  <a:gd name="connsiteX26" fmla="*/ 1918706 w 1918706"/>
                  <a:gd name="connsiteY26" fmla="*/ 4592438 h 5633118"/>
                  <a:gd name="connsiteX27" fmla="*/ 1918706 w 1918706"/>
                  <a:gd name="connsiteY27" fmla="*/ 5073791 h 5633118"/>
                  <a:gd name="connsiteX28" fmla="*/ 959355 w 1918706"/>
                  <a:gd name="connsiteY28" fmla="*/ 5633118 h 5633118"/>
                  <a:gd name="connsiteX29" fmla="*/ 0 w 1918706"/>
                  <a:gd name="connsiteY29" fmla="*/ 5073791 h 5633118"/>
                  <a:gd name="connsiteX30" fmla="*/ 0 w 1918706"/>
                  <a:gd name="connsiteY30" fmla="*/ 4592438 h 5633118"/>
                  <a:gd name="connsiteX31" fmla="*/ 0 w 1918706"/>
                  <a:gd name="connsiteY31" fmla="*/ 4579284 h 5633118"/>
                  <a:gd name="connsiteX32" fmla="*/ 0 w 1918706"/>
                  <a:gd name="connsiteY32" fmla="*/ 4491829 h 5633118"/>
                  <a:gd name="connsiteX33" fmla="*/ 0 w 1918706"/>
                  <a:gd name="connsiteY33" fmla="*/ 4097931 h 5633118"/>
                  <a:gd name="connsiteX34" fmla="*/ 0 w 1918706"/>
                  <a:gd name="connsiteY34" fmla="*/ 4090156 h 5633118"/>
                  <a:gd name="connsiteX35" fmla="*/ 0 w 1918706"/>
                  <a:gd name="connsiteY35" fmla="*/ 4069228 h 5633118"/>
                  <a:gd name="connsiteX36" fmla="*/ 0 w 1918706"/>
                  <a:gd name="connsiteY36" fmla="*/ 4010476 h 5633118"/>
                  <a:gd name="connsiteX37" fmla="*/ 0 w 1918706"/>
                  <a:gd name="connsiteY37" fmla="*/ 3997322 h 5633118"/>
                  <a:gd name="connsiteX38" fmla="*/ 0 w 1918706"/>
                  <a:gd name="connsiteY38" fmla="*/ 3595649 h 5633118"/>
                  <a:gd name="connsiteX39" fmla="*/ 0 w 1918706"/>
                  <a:gd name="connsiteY39" fmla="*/ 3587875 h 5633118"/>
                  <a:gd name="connsiteX40" fmla="*/ 0 w 1918706"/>
                  <a:gd name="connsiteY40" fmla="*/ 3574721 h 5633118"/>
                  <a:gd name="connsiteX41" fmla="*/ 0 w 1918706"/>
                  <a:gd name="connsiteY41" fmla="*/ 3515969 h 5633118"/>
                  <a:gd name="connsiteX42" fmla="*/ 0 w 1918706"/>
                  <a:gd name="connsiteY42" fmla="*/ 3508195 h 5633118"/>
                  <a:gd name="connsiteX43" fmla="*/ 0 w 1918706"/>
                  <a:gd name="connsiteY43" fmla="*/ 3487266 h 5633118"/>
                  <a:gd name="connsiteX44" fmla="*/ 0 w 1918706"/>
                  <a:gd name="connsiteY4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03632 h 5633118"/>
                  <a:gd name="connsiteX4" fmla="*/ 1918706 w 1918706"/>
                  <a:gd name="connsiteY4" fmla="*/ 2567616 h 5633118"/>
                  <a:gd name="connsiteX5" fmla="*/ 1918706 w 1918706"/>
                  <a:gd name="connsiteY5" fmla="*/ 2583313 h 5633118"/>
                  <a:gd name="connsiteX6" fmla="*/ 1918706 w 1918706"/>
                  <a:gd name="connsiteY6" fmla="*/ 2591087 h 5633118"/>
                  <a:gd name="connsiteX7" fmla="*/ 1918706 w 1918706"/>
                  <a:gd name="connsiteY7" fmla="*/ 2992759 h 5633118"/>
                  <a:gd name="connsiteX8" fmla="*/ 1918706 w 1918706"/>
                  <a:gd name="connsiteY8" fmla="*/ 3005914 h 5633118"/>
                  <a:gd name="connsiteX9" fmla="*/ 1918706 w 1918706"/>
                  <a:gd name="connsiteY9" fmla="*/ 3013688 h 5633118"/>
                  <a:gd name="connsiteX10" fmla="*/ 1918706 w 1918706"/>
                  <a:gd name="connsiteY10" fmla="*/ 3085594 h 5633118"/>
                  <a:gd name="connsiteX11" fmla="*/ 1918706 w 1918706"/>
                  <a:gd name="connsiteY11" fmla="*/ 3093368 h 5633118"/>
                  <a:gd name="connsiteX12" fmla="*/ 1918706 w 1918706"/>
                  <a:gd name="connsiteY12" fmla="*/ 3487266 h 5633118"/>
                  <a:gd name="connsiteX13" fmla="*/ 1918706 w 1918706"/>
                  <a:gd name="connsiteY13" fmla="*/ 3508195 h 5633118"/>
                  <a:gd name="connsiteX14" fmla="*/ 1918706 w 1918706"/>
                  <a:gd name="connsiteY14" fmla="*/ 3515969 h 5633118"/>
                  <a:gd name="connsiteX15" fmla="*/ 1918706 w 1918706"/>
                  <a:gd name="connsiteY15" fmla="*/ 3574721 h 5633118"/>
                  <a:gd name="connsiteX16" fmla="*/ 1918706 w 1918706"/>
                  <a:gd name="connsiteY16" fmla="*/ 3587875 h 5633118"/>
                  <a:gd name="connsiteX17" fmla="*/ 1918706 w 1918706"/>
                  <a:gd name="connsiteY17" fmla="*/ 3595649 h 5633118"/>
                  <a:gd name="connsiteX18" fmla="*/ 1918706 w 1918706"/>
                  <a:gd name="connsiteY18" fmla="*/ 3997322 h 5633118"/>
                  <a:gd name="connsiteX19" fmla="*/ 1918706 w 1918706"/>
                  <a:gd name="connsiteY19" fmla="*/ 4010476 h 5633118"/>
                  <a:gd name="connsiteX20" fmla="*/ 1918706 w 1918706"/>
                  <a:gd name="connsiteY20" fmla="*/ 4069228 h 5633118"/>
                  <a:gd name="connsiteX21" fmla="*/ 1918706 w 1918706"/>
                  <a:gd name="connsiteY21" fmla="*/ 4090156 h 5633118"/>
                  <a:gd name="connsiteX22" fmla="*/ 1918706 w 1918706"/>
                  <a:gd name="connsiteY22" fmla="*/ 4097931 h 5633118"/>
                  <a:gd name="connsiteX23" fmla="*/ 1918706 w 1918706"/>
                  <a:gd name="connsiteY23" fmla="*/ 4491829 h 5633118"/>
                  <a:gd name="connsiteX24" fmla="*/ 1918706 w 1918706"/>
                  <a:gd name="connsiteY24" fmla="*/ 4579284 h 5633118"/>
                  <a:gd name="connsiteX25" fmla="*/ 1918706 w 1918706"/>
                  <a:gd name="connsiteY25" fmla="*/ 4592438 h 5633118"/>
                  <a:gd name="connsiteX26" fmla="*/ 1918706 w 1918706"/>
                  <a:gd name="connsiteY26" fmla="*/ 5073791 h 5633118"/>
                  <a:gd name="connsiteX27" fmla="*/ 959355 w 1918706"/>
                  <a:gd name="connsiteY27" fmla="*/ 5633118 h 5633118"/>
                  <a:gd name="connsiteX28" fmla="*/ 0 w 1918706"/>
                  <a:gd name="connsiteY28" fmla="*/ 5073791 h 5633118"/>
                  <a:gd name="connsiteX29" fmla="*/ 0 w 1918706"/>
                  <a:gd name="connsiteY29" fmla="*/ 4592438 h 5633118"/>
                  <a:gd name="connsiteX30" fmla="*/ 0 w 1918706"/>
                  <a:gd name="connsiteY30" fmla="*/ 4579284 h 5633118"/>
                  <a:gd name="connsiteX31" fmla="*/ 0 w 1918706"/>
                  <a:gd name="connsiteY31" fmla="*/ 4491829 h 5633118"/>
                  <a:gd name="connsiteX32" fmla="*/ 0 w 1918706"/>
                  <a:gd name="connsiteY32" fmla="*/ 4097931 h 5633118"/>
                  <a:gd name="connsiteX33" fmla="*/ 0 w 1918706"/>
                  <a:gd name="connsiteY33" fmla="*/ 4090156 h 5633118"/>
                  <a:gd name="connsiteX34" fmla="*/ 0 w 1918706"/>
                  <a:gd name="connsiteY34" fmla="*/ 4069228 h 5633118"/>
                  <a:gd name="connsiteX35" fmla="*/ 0 w 1918706"/>
                  <a:gd name="connsiteY35" fmla="*/ 4010476 h 5633118"/>
                  <a:gd name="connsiteX36" fmla="*/ 0 w 1918706"/>
                  <a:gd name="connsiteY36" fmla="*/ 3997322 h 5633118"/>
                  <a:gd name="connsiteX37" fmla="*/ 0 w 1918706"/>
                  <a:gd name="connsiteY37" fmla="*/ 3595649 h 5633118"/>
                  <a:gd name="connsiteX38" fmla="*/ 0 w 1918706"/>
                  <a:gd name="connsiteY38" fmla="*/ 3587875 h 5633118"/>
                  <a:gd name="connsiteX39" fmla="*/ 0 w 1918706"/>
                  <a:gd name="connsiteY39" fmla="*/ 3574721 h 5633118"/>
                  <a:gd name="connsiteX40" fmla="*/ 0 w 1918706"/>
                  <a:gd name="connsiteY40" fmla="*/ 3515969 h 5633118"/>
                  <a:gd name="connsiteX41" fmla="*/ 0 w 1918706"/>
                  <a:gd name="connsiteY41" fmla="*/ 3508195 h 5633118"/>
                  <a:gd name="connsiteX42" fmla="*/ 0 w 1918706"/>
                  <a:gd name="connsiteY42" fmla="*/ 3487266 h 5633118"/>
                  <a:gd name="connsiteX43" fmla="*/ 0 w 1918706"/>
                  <a:gd name="connsiteY4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591087 h 5633118"/>
                  <a:gd name="connsiteX6" fmla="*/ 1918706 w 1918706"/>
                  <a:gd name="connsiteY6" fmla="*/ 2992759 h 5633118"/>
                  <a:gd name="connsiteX7" fmla="*/ 1918706 w 1918706"/>
                  <a:gd name="connsiteY7" fmla="*/ 3005914 h 5633118"/>
                  <a:gd name="connsiteX8" fmla="*/ 1918706 w 1918706"/>
                  <a:gd name="connsiteY8" fmla="*/ 3013688 h 5633118"/>
                  <a:gd name="connsiteX9" fmla="*/ 1918706 w 1918706"/>
                  <a:gd name="connsiteY9" fmla="*/ 3085594 h 5633118"/>
                  <a:gd name="connsiteX10" fmla="*/ 1918706 w 1918706"/>
                  <a:gd name="connsiteY10" fmla="*/ 3093368 h 5633118"/>
                  <a:gd name="connsiteX11" fmla="*/ 1918706 w 1918706"/>
                  <a:gd name="connsiteY11" fmla="*/ 3487266 h 5633118"/>
                  <a:gd name="connsiteX12" fmla="*/ 1918706 w 1918706"/>
                  <a:gd name="connsiteY12" fmla="*/ 3508195 h 5633118"/>
                  <a:gd name="connsiteX13" fmla="*/ 1918706 w 1918706"/>
                  <a:gd name="connsiteY13" fmla="*/ 3515969 h 5633118"/>
                  <a:gd name="connsiteX14" fmla="*/ 1918706 w 1918706"/>
                  <a:gd name="connsiteY14" fmla="*/ 3574721 h 5633118"/>
                  <a:gd name="connsiteX15" fmla="*/ 1918706 w 1918706"/>
                  <a:gd name="connsiteY15" fmla="*/ 3587875 h 5633118"/>
                  <a:gd name="connsiteX16" fmla="*/ 1918706 w 1918706"/>
                  <a:gd name="connsiteY16" fmla="*/ 3595649 h 5633118"/>
                  <a:gd name="connsiteX17" fmla="*/ 1918706 w 1918706"/>
                  <a:gd name="connsiteY17" fmla="*/ 3997322 h 5633118"/>
                  <a:gd name="connsiteX18" fmla="*/ 1918706 w 1918706"/>
                  <a:gd name="connsiteY18" fmla="*/ 4010476 h 5633118"/>
                  <a:gd name="connsiteX19" fmla="*/ 1918706 w 1918706"/>
                  <a:gd name="connsiteY19" fmla="*/ 4069228 h 5633118"/>
                  <a:gd name="connsiteX20" fmla="*/ 1918706 w 1918706"/>
                  <a:gd name="connsiteY20" fmla="*/ 4090156 h 5633118"/>
                  <a:gd name="connsiteX21" fmla="*/ 1918706 w 1918706"/>
                  <a:gd name="connsiteY21" fmla="*/ 4097931 h 5633118"/>
                  <a:gd name="connsiteX22" fmla="*/ 1918706 w 1918706"/>
                  <a:gd name="connsiteY22" fmla="*/ 4491829 h 5633118"/>
                  <a:gd name="connsiteX23" fmla="*/ 1918706 w 1918706"/>
                  <a:gd name="connsiteY23" fmla="*/ 4579284 h 5633118"/>
                  <a:gd name="connsiteX24" fmla="*/ 1918706 w 1918706"/>
                  <a:gd name="connsiteY24" fmla="*/ 4592438 h 5633118"/>
                  <a:gd name="connsiteX25" fmla="*/ 1918706 w 1918706"/>
                  <a:gd name="connsiteY25" fmla="*/ 5073791 h 5633118"/>
                  <a:gd name="connsiteX26" fmla="*/ 959355 w 1918706"/>
                  <a:gd name="connsiteY26" fmla="*/ 5633118 h 5633118"/>
                  <a:gd name="connsiteX27" fmla="*/ 0 w 1918706"/>
                  <a:gd name="connsiteY27" fmla="*/ 5073791 h 5633118"/>
                  <a:gd name="connsiteX28" fmla="*/ 0 w 1918706"/>
                  <a:gd name="connsiteY28" fmla="*/ 4592438 h 5633118"/>
                  <a:gd name="connsiteX29" fmla="*/ 0 w 1918706"/>
                  <a:gd name="connsiteY29" fmla="*/ 4579284 h 5633118"/>
                  <a:gd name="connsiteX30" fmla="*/ 0 w 1918706"/>
                  <a:gd name="connsiteY30" fmla="*/ 4491829 h 5633118"/>
                  <a:gd name="connsiteX31" fmla="*/ 0 w 1918706"/>
                  <a:gd name="connsiteY31" fmla="*/ 4097931 h 5633118"/>
                  <a:gd name="connsiteX32" fmla="*/ 0 w 1918706"/>
                  <a:gd name="connsiteY32" fmla="*/ 4090156 h 5633118"/>
                  <a:gd name="connsiteX33" fmla="*/ 0 w 1918706"/>
                  <a:gd name="connsiteY33" fmla="*/ 4069228 h 5633118"/>
                  <a:gd name="connsiteX34" fmla="*/ 0 w 1918706"/>
                  <a:gd name="connsiteY34" fmla="*/ 4010476 h 5633118"/>
                  <a:gd name="connsiteX35" fmla="*/ 0 w 1918706"/>
                  <a:gd name="connsiteY35" fmla="*/ 3997322 h 5633118"/>
                  <a:gd name="connsiteX36" fmla="*/ 0 w 1918706"/>
                  <a:gd name="connsiteY36" fmla="*/ 3595649 h 5633118"/>
                  <a:gd name="connsiteX37" fmla="*/ 0 w 1918706"/>
                  <a:gd name="connsiteY37" fmla="*/ 3587875 h 5633118"/>
                  <a:gd name="connsiteX38" fmla="*/ 0 w 1918706"/>
                  <a:gd name="connsiteY38" fmla="*/ 3574721 h 5633118"/>
                  <a:gd name="connsiteX39" fmla="*/ 0 w 1918706"/>
                  <a:gd name="connsiteY39" fmla="*/ 3515969 h 5633118"/>
                  <a:gd name="connsiteX40" fmla="*/ 0 w 1918706"/>
                  <a:gd name="connsiteY40" fmla="*/ 3508195 h 5633118"/>
                  <a:gd name="connsiteX41" fmla="*/ 0 w 1918706"/>
                  <a:gd name="connsiteY41" fmla="*/ 3487266 h 5633118"/>
                  <a:gd name="connsiteX42" fmla="*/ 0 w 1918706"/>
                  <a:gd name="connsiteY4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583313 h 5633118"/>
                  <a:gd name="connsiteX5" fmla="*/ 1918706 w 1918706"/>
                  <a:gd name="connsiteY5" fmla="*/ 2992759 h 5633118"/>
                  <a:gd name="connsiteX6" fmla="*/ 1918706 w 1918706"/>
                  <a:gd name="connsiteY6" fmla="*/ 3005914 h 5633118"/>
                  <a:gd name="connsiteX7" fmla="*/ 1918706 w 1918706"/>
                  <a:gd name="connsiteY7" fmla="*/ 3013688 h 5633118"/>
                  <a:gd name="connsiteX8" fmla="*/ 1918706 w 1918706"/>
                  <a:gd name="connsiteY8" fmla="*/ 3085594 h 5633118"/>
                  <a:gd name="connsiteX9" fmla="*/ 1918706 w 1918706"/>
                  <a:gd name="connsiteY9" fmla="*/ 3093368 h 5633118"/>
                  <a:gd name="connsiteX10" fmla="*/ 1918706 w 1918706"/>
                  <a:gd name="connsiteY10" fmla="*/ 3487266 h 5633118"/>
                  <a:gd name="connsiteX11" fmla="*/ 1918706 w 1918706"/>
                  <a:gd name="connsiteY11" fmla="*/ 3508195 h 5633118"/>
                  <a:gd name="connsiteX12" fmla="*/ 1918706 w 1918706"/>
                  <a:gd name="connsiteY12" fmla="*/ 3515969 h 5633118"/>
                  <a:gd name="connsiteX13" fmla="*/ 1918706 w 1918706"/>
                  <a:gd name="connsiteY13" fmla="*/ 3574721 h 5633118"/>
                  <a:gd name="connsiteX14" fmla="*/ 1918706 w 1918706"/>
                  <a:gd name="connsiteY14" fmla="*/ 3587875 h 5633118"/>
                  <a:gd name="connsiteX15" fmla="*/ 1918706 w 1918706"/>
                  <a:gd name="connsiteY15" fmla="*/ 3595649 h 5633118"/>
                  <a:gd name="connsiteX16" fmla="*/ 1918706 w 1918706"/>
                  <a:gd name="connsiteY16" fmla="*/ 3997322 h 5633118"/>
                  <a:gd name="connsiteX17" fmla="*/ 1918706 w 1918706"/>
                  <a:gd name="connsiteY17" fmla="*/ 4010476 h 5633118"/>
                  <a:gd name="connsiteX18" fmla="*/ 1918706 w 1918706"/>
                  <a:gd name="connsiteY18" fmla="*/ 4069228 h 5633118"/>
                  <a:gd name="connsiteX19" fmla="*/ 1918706 w 1918706"/>
                  <a:gd name="connsiteY19" fmla="*/ 4090156 h 5633118"/>
                  <a:gd name="connsiteX20" fmla="*/ 1918706 w 1918706"/>
                  <a:gd name="connsiteY20" fmla="*/ 4097931 h 5633118"/>
                  <a:gd name="connsiteX21" fmla="*/ 1918706 w 1918706"/>
                  <a:gd name="connsiteY21" fmla="*/ 4491829 h 5633118"/>
                  <a:gd name="connsiteX22" fmla="*/ 1918706 w 1918706"/>
                  <a:gd name="connsiteY22" fmla="*/ 4579284 h 5633118"/>
                  <a:gd name="connsiteX23" fmla="*/ 1918706 w 1918706"/>
                  <a:gd name="connsiteY23" fmla="*/ 4592438 h 5633118"/>
                  <a:gd name="connsiteX24" fmla="*/ 1918706 w 1918706"/>
                  <a:gd name="connsiteY24" fmla="*/ 5073791 h 5633118"/>
                  <a:gd name="connsiteX25" fmla="*/ 959355 w 1918706"/>
                  <a:gd name="connsiteY25" fmla="*/ 5633118 h 5633118"/>
                  <a:gd name="connsiteX26" fmla="*/ 0 w 1918706"/>
                  <a:gd name="connsiteY26" fmla="*/ 5073791 h 5633118"/>
                  <a:gd name="connsiteX27" fmla="*/ 0 w 1918706"/>
                  <a:gd name="connsiteY27" fmla="*/ 4592438 h 5633118"/>
                  <a:gd name="connsiteX28" fmla="*/ 0 w 1918706"/>
                  <a:gd name="connsiteY28" fmla="*/ 4579284 h 5633118"/>
                  <a:gd name="connsiteX29" fmla="*/ 0 w 1918706"/>
                  <a:gd name="connsiteY29" fmla="*/ 4491829 h 5633118"/>
                  <a:gd name="connsiteX30" fmla="*/ 0 w 1918706"/>
                  <a:gd name="connsiteY30" fmla="*/ 4097931 h 5633118"/>
                  <a:gd name="connsiteX31" fmla="*/ 0 w 1918706"/>
                  <a:gd name="connsiteY31" fmla="*/ 4090156 h 5633118"/>
                  <a:gd name="connsiteX32" fmla="*/ 0 w 1918706"/>
                  <a:gd name="connsiteY32" fmla="*/ 4069228 h 5633118"/>
                  <a:gd name="connsiteX33" fmla="*/ 0 w 1918706"/>
                  <a:gd name="connsiteY33" fmla="*/ 4010476 h 5633118"/>
                  <a:gd name="connsiteX34" fmla="*/ 0 w 1918706"/>
                  <a:gd name="connsiteY34" fmla="*/ 3997322 h 5633118"/>
                  <a:gd name="connsiteX35" fmla="*/ 0 w 1918706"/>
                  <a:gd name="connsiteY35" fmla="*/ 3595649 h 5633118"/>
                  <a:gd name="connsiteX36" fmla="*/ 0 w 1918706"/>
                  <a:gd name="connsiteY36" fmla="*/ 3587875 h 5633118"/>
                  <a:gd name="connsiteX37" fmla="*/ 0 w 1918706"/>
                  <a:gd name="connsiteY37" fmla="*/ 3574721 h 5633118"/>
                  <a:gd name="connsiteX38" fmla="*/ 0 w 1918706"/>
                  <a:gd name="connsiteY38" fmla="*/ 3515969 h 5633118"/>
                  <a:gd name="connsiteX39" fmla="*/ 0 w 1918706"/>
                  <a:gd name="connsiteY39" fmla="*/ 3508195 h 5633118"/>
                  <a:gd name="connsiteX40" fmla="*/ 0 w 1918706"/>
                  <a:gd name="connsiteY40" fmla="*/ 3487266 h 5633118"/>
                  <a:gd name="connsiteX41" fmla="*/ 0 w 1918706"/>
                  <a:gd name="connsiteY4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567616 h 5633118"/>
                  <a:gd name="connsiteX4" fmla="*/ 1918706 w 1918706"/>
                  <a:gd name="connsiteY4" fmla="*/ 2992759 h 5633118"/>
                  <a:gd name="connsiteX5" fmla="*/ 1918706 w 1918706"/>
                  <a:gd name="connsiteY5" fmla="*/ 3005914 h 5633118"/>
                  <a:gd name="connsiteX6" fmla="*/ 1918706 w 1918706"/>
                  <a:gd name="connsiteY6" fmla="*/ 3013688 h 5633118"/>
                  <a:gd name="connsiteX7" fmla="*/ 1918706 w 1918706"/>
                  <a:gd name="connsiteY7" fmla="*/ 3085594 h 5633118"/>
                  <a:gd name="connsiteX8" fmla="*/ 1918706 w 1918706"/>
                  <a:gd name="connsiteY8" fmla="*/ 3093368 h 5633118"/>
                  <a:gd name="connsiteX9" fmla="*/ 1918706 w 1918706"/>
                  <a:gd name="connsiteY9" fmla="*/ 3487266 h 5633118"/>
                  <a:gd name="connsiteX10" fmla="*/ 1918706 w 1918706"/>
                  <a:gd name="connsiteY10" fmla="*/ 3508195 h 5633118"/>
                  <a:gd name="connsiteX11" fmla="*/ 1918706 w 1918706"/>
                  <a:gd name="connsiteY11" fmla="*/ 3515969 h 5633118"/>
                  <a:gd name="connsiteX12" fmla="*/ 1918706 w 1918706"/>
                  <a:gd name="connsiteY12" fmla="*/ 3574721 h 5633118"/>
                  <a:gd name="connsiteX13" fmla="*/ 1918706 w 1918706"/>
                  <a:gd name="connsiteY13" fmla="*/ 3587875 h 5633118"/>
                  <a:gd name="connsiteX14" fmla="*/ 1918706 w 1918706"/>
                  <a:gd name="connsiteY14" fmla="*/ 3595649 h 5633118"/>
                  <a:gd name="connsiteX15" fmla="*/ 1918706 w 1918706"/>
                  <a:gd name="connsiteY15" fmla="*/ 3997322 h 5633118"/>
                  <a:gd name="connsiteX16" fmla="*/ 1918706 w 1918706"/>
                  <a:gd name="connsiteY16" fmla="*/ 4010476 h 5633118"/>
                  <a:gd name="connsiteX17" fmla="*/ 1918706 w 1918706"/>
                  <a:gd name="connsiteY17" fmla="*/ 4069228 h 5633118"/>
                  <a:gd name="connsiteX18" fmla="*/ 1918706 w 1918706"/>
                  <a:gd name="connsiteY18" fmla="*/ 4090156 h 5633118"/>
                  <a:gd name="connsiteX19" fmla="*/ 1918706 w 1918706"/>
                  <a:gd name="connsiteY19" fmla="*/ 4097931 h 5633118"/>
                  <a:gd name="connsiteX20" fmla="*/ 1918706 w 1918706"/>
                  <a:gd name="connsiteY20" fmla="*/ 4491829 h 5633118"/>
                  <a:gd name="connsiteX21" fmla="*/ 1918706 w 1918706"/>
                  <a:gd name="connsiteY21" fmla="*/ 4579284 h 5633118"/>
                  <a:gd name="connsiteX22" fmla="*/ 1918706 w 1918706"/>
                  <a:gd name="connsiteY22" fmla="*/ 4592438 h 5633118"/>
                  <a:gd name="connsiteX23" fmla="*/ 1918706 w 1918706"/>
                  <a:gd name="connsiteY23" fmla="*/ 5073791 h 5633118"/>
                  <a:gd name="connsiteX24" fmla="*/ 959355 w 1918706"/>
                  <a:gd name="connsiteY24" fmla="*/ 5633118 h 5633118"/>
                  <a:gd name="connsiteX25" fmla="*/ 0 w 1918706"/>
                  <a:gd name="connsiteY25" fmla="*/ 5073791 h 5633118"/>
                  <a:gd name="connsiteX26" fmla="*/ 0 w 1918706"/>
                  <a:gd name="connsiteY26" fmla="*/ 4592438 h 5633118"/>
                  <a:gd name="connsiteX27" fmla="*/ 0 w 1918706"/>
                  <a:gd name="connsiteY27" fmla="*/ 4579284 h 5633118"/>
                  <a:gd name="connsiteX28" fmla="*/ 0 w 1918706"/>
                  <a:gd name="connsiteY28" fmla="*/ 4491829 h 5633118"/>
                  <a:gd name="connsiteX29" fmla="*/ 0 w 1918706"/>
                  <a:gd name="connsiteY29" fmla="*/ 4097931 h 5633118"/>
                  <a:gd name="connsiteX30" fmla="*/ 0 w 1918706"/>
                  <a:gd name="connsiteY30" fmla="*/ 4090156 h 5633118"/>
                  <a:gd name="connsiteX31" fmla="*/ 0 w 1918706"/>
                  <a:gd name="connsiteY31" fmla="*/ 4069228 h 5633118"/>
                  <a:gd name="connsiteX32" fmla="*/ 0 w 1918706"/>
                  <a:gd name="connsiteY32" fmla="*/ 4010476 h 5633118"/>
                  <a:gd name="connsiteX33" fmla="*/ 0 w 1918706"/>
                  <a:gd name="connsiteY33" fmla="*/ 3997322 h 5633118"/>
                  <a:gd name="connsiteX34" fmla="*/ 0 w 1918706"/>
                  <a:gd name="connsiteY34" fmla="*/ 3595649 h 5633118"/>
                  <a:gd name="connsiteX35" fmla="*/ 0 w 1918706"/>
                  <a:gd name="connsiteY35" fmla="*/ 3587875 h 5633118"/>
                  <a:gd name="connsiteX36" fmla="*/ 0 w 1918706"/>
                  <a:gd name="connsiteY36" fmla="*/ 3574721 h 5633118"/>
                  <a:gd name="connsiteX37" fmla="*/ 0 w 1918706"/>
                  <a:gd name="connsiteY37" fmla="*/ 3515969 h 5633118"/>
                  <a:gd name="connsiteX38" fmla="*/ 0 w 1918706"/>
                  <a:gd name="connsiteY38" fmla="*/ 3508195 h 5633118"/>
                  <a:gd name="connsiteX39" fmla="*/ 0 w 1918706"/>
                  <a:gd name="connsiteY39" fmla="*/ 3487266 h 5633118"/>
                  <a:gd name="connsiteX40" fmla="*/ 0 w 1918706"/>
                  <a:gd name="connsiteY4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13688 h 5633118"/>
                  <a:gd name="connsiteX6" fmla="*/ 1918706 w 1918706"/>
                  <a:gd name="connsiteY6" fmla="*/ 3085594 h 5633118"/>
                  <a:gd name="connsiteX7" fmla="*/ 1918706 w 1918706"/>
                  <a:gd name="connsiteY7" fmla="*/ 3093368 h 5633118"/>
                  <a:gd name="connsiteX8" fmla="*/ 1918706 w 1918706"/>
                  <a:gd name="connsiteY8" fmla="*/ 3487266 h 5633118"/>
                  <a:gd name="connsiteX9" fmla="*/ 1918706 w 1918706"/>
                  <a:gd name="connsiteY9" fmla="*/ 3508195 h 5633118"/>
                  <a:gd name="connsiteX10" fmla="*/ 1918706 w 1918706"/>
                  <a:gd name="connsiteY10" fmla="*/ 3515969 h 5633118"/>
                  <a:gd name="connsiteX11" fmla="*/ 1918706 w 1918706"/>
                  <a:gd name="connsiteY11" fmla="*/ 3574721 h 5633118"/>
                  <a:gd name="connsiteX12" fmla="*/ 1918706 w 1918706"/>
                  <a:gd name="connsiteY12" fmla="*/ 3587875 h 5633118"/>
                  <a:gd name="connsiteX13" fmla="*/ 1918706 w 1918706"/>
                  <a:gd name="connsiteY13" fmla="*/ 3595649 h 5633118"/>
                  <a:gd name="connsiteX14" fmla="*/ 1918706 w 1918706"/>
                  <a:gd name="connsiteY14" fmla="*/ 3997322 h 5633118"/>
                  <a:gd name="connsiteX15" fmla="*/ 1918706 w 1918706"/>
                  <a:gd name="connsiteY15" fmla="*/ 4010476 h 5633118"/>
                  <a:gd name="connsiteX16" fmla="*/ 1918706 w 1918706"/>
                  <a:gd name="connsiteY16" fmla="*/ 4069228 h 5633118"/>
                  <a:gd name="connsiteX17" fmla="*/ 1918706 w 1918706"/>
                  <a:gd name="connsiteY17" fmla="*/ 4090156 h 5633118"/>
                  <a:gd name="connsiteX18" fmla="*/ 1918706 w 1918706"/>
                  <a:gd name="connsiteY18" fmla="*/ 4097931 h 5633118"/>
                  <a:gd name="connsiteX19" fmla="*/ 1918706 w 1918706"/>
                  <a:gd name="connsiteY19" fmla="*/ 4491829 h 5633118"/>
                  <a:gd name="connsiteX20" fmla="*/ 1918706 w 1918706"/>
                  <a:gd name="connsiteY20" fmla="*/ 4579284 h 5633118"/>
                  <a:gd name="connsiteX21" fmla="*/ 1918706 w 1918706"/>
                  <a:gd name="connsiteY21" fmla="*/ 4592438 h 5633118"/>
                  <a:gd name="connsiteX22" fmla="*/ 1918706 w 1918706"/>
                  <a:gd name="connsiteY22" fmla="*/ 5073791 h 5633118"/>
                  <a:gd name="connsiteX23" fmla="*/ 959355 w 1918706"/>
                  <a:gd name="connsiteY23" fmla="*/ 5633118 h 5633118"/>
                  <a:gd name="connsiteX24" fmla="*/ 0 w 1918706"/>
                  <a:gd name="connsiteY24" fmla="*/ 5073791 h 5633118"/>
                  <a:gd name="connsiteX25" fmla="*/ 0 w 1918706"/>
                  <a:gd name="connsiteY25" fmla="*/ 4592438 h 5633118"/>
                  <a:gd name="connsiteX26" fmla="*/ 0 w 1918706"/>
                  <a:gd name="connsiteY26" fmla="*/ 4579284 h 5633118"/>
                  <a:gd name="connsiteX27" fmla="*/ 0 w 1918706"/>
                  <a:gd name="connsiteY27" fmla="*/ 4491829 h 5633118"/>
                  <a:gd name="connsiteX28" fmla="*/ 0 w 1918706"/>
                  <a:gd name="connsiteY28" fmla="*/ 4097931 h 5633118"/>
                  <a:gd name="connsiteX29" fmla="*/ 0 w 1918706"/>
                  <a:gd name="connsiteY29" fmla="*/ 4090156 h 5633118"/>
                  <a:gd name="connsiteX30" fmla="*/ 0 w 1918706"/>
                  <a:gd name="connsiteY30" fmla="*/ 4069228 h 5633118"/>
                  <a:gd name="connsiteX31" fmla="*/ 0 w 1918706"/>
                  <a:gd name="connsiteY31" fmla="*/ 4010476 h 5633118"/>
                  <a:gd name="connsiteX32" fmla="*/ 0 w 1918706"/>
                  <a:gd name="connsiteY32" fmla="*/ 3997322 h 5633118"/>
                  <a:gd name="connsiteX33" fmla="*/ 0 w 1918706"/>
                  <a:gd name="connsiteY33" fmla="*/ 3595649 h 5633118"/>
                  <a:gd name="connsiteX34" fmla="*/ 0 w 1918706"/>
                  <a:gd name="connsiteY34" fmla="*/ 3587875 h 5633118"/>
                  <a:gd name="connsiteX35" fmla="*/ 0 w 1918706"/>
                  <a:gd name="connsiteY35" fmla="*/ 3574721 h 5633118"/>
                  <a:gd name="connsiteX36" fmla="*/ 0 w 1918706"/>
                  <a:gd name="connsiteY36" fmla="*/ 3515969 h 5633118"/>
                  <a:gd name="connsiteX37" fmla="*/ 0 w 1918706"/>
                  <a:gd name="connsiteY37" fmla="*/ 3508195 h 5633118"/>
                  <a:gd name="connsiteX38" fmla="*/ 0 w 1918706"/>
                  <a:gd name="connsiteY38" fmla="*/ 3487266 h 5633118"/>
                  <a:gd name="connsiteX39" fmla="*/ 0 w 1918706"/>
                  <a:gd name="connsiteY3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05914 h 5633118"/>
                  <a:gd name="connsiteX5" fmla="*/ 1918706 w 1918706"/>
                  <a:gd name="connsiteY5" fmla="*/ 3085594 h 5633118"/>
                  <a:gd name="connsiteX6" fmla="*/ 1918706 w 1918706"/>
                  <a:gd name="connsiteY6" fmla="*/ 3093368 h 5633118"/>
                  <a:gd name="connsiteX7" fmla="*/ 1918706 w 1918706"/>
                  <a:gd name="connsiteY7" fmla="*/ 3487266 h 5633118"/>
                  <a:gd name="connsiteX8" fmla="*/ 1918706 w 1918706"/>
                  <a:gd name="connsiteY8" fmla="*/ 3508195 h 5633118"/>
                  <a:gd name="connsiteX9" fmla="*/ 1918706 w 1918706"/>
                  <a:gd name="connsiteY9" fmla="*/ 3515969 h 5633118"/>
                  <a:gd name="connsiteX10" fmla="*/ 1918706 w 1918706"/>
                  <a:gd name="connsiteY10" fmla="*/ 3574721 h 5633118"/>
                  <a:gd name="connsiteX11" fmla="*/ 1918706 w 1918706"/>
                  <a:gd name="connsiteY11" fmla="*/ 3587875 h 5633118"/>
                  <a:gd name="connsiteX12" fmla="*/ 1918706 w 1918706"/>
                  <a:gd name="connsiteY12" fmla="*/ 3595649 h 5633118"/>
                  <a:gd name="connsiteX13" fmla="*/ 1918706 w 1918706"/>
                  <a:gd name="connsiteY13" fmla="*/ 3997322 h 5633118"/>
                  <a:gd name="connsiteX14" fmla="*/ 1918706 w 1918706"/>
                  <a:gd name="connsiteY14" fmla="*/ 4010476 h 5633118"/>
                  <a:gd name="connsiteX15" fmla="*/ 1918706 w 1918706"/>
                  <a:gd name="connsiteY15" fmla="*/ 4069228 h 5633118"/>
                  <a:gd name="connsiteX16" fmla="*/ 1918706 w 1918706"/>
                  <a:gd name="connsiteY16" fmla="*/ 4090156 h 5633118"/>
                  <a:gd name="connsiteX17" fmla="*/ 1918706 w 1918706"/>
                  <a:gd name="connsiteY17" fmla="*/ 4097931 h 5633118"/>
                  <a:gd name="connsiteX18" fmla="*/ 1918706 w 1918706"/>
                  <a:gd name="connsiteY18" fmla="*/ 4491829 h 5633118"/>
                  <a:gd name="connsiteX19" fmla="*/ 1918706 w 1918706"/>
                  <a:gd name="connsiteY19" fmla="*/ 4579284 h 5633118"/>
                  <a:gd name="connsiteX20" fmla="*/ 1918706 w 1918706"/>
                  <a:gd name="connsiteY20" fmla="*/ 4592438 h 5633118"/>
                  <a:gd name="connsiteX21" fmla="*/ 1918706 w 1918706"/>
                  <a:gd name="connsiteY21" fmla="*/ 5073791 h 5633118"/>
                  <a:gd name="connsiteX22" fmla="*/ 959355 w 1918706"/>
                  <a:gd name="connsiteY22" fmla="*/ 5633118 h 5633118"/>
                  <a:gd name="connsiteX23" fmla="*/ 0 w 1918706"/>
                  <a:gd name="connsiteY23" fmla="*/ 5073791 h 5633118"/>
                  <a:gd name="connsiteX24" fmla="*/ 0 w 1918706"/>
                  <a:gd name="connsiteY24" fmla="*/ 4592438 h 5633118"/>
                  <a:gd name="connsiteX25" fmla="*/ 0 w 1918706"/>
                  <a:gd name="connsiteY25" fmla="*/ 4579284 h 5633118"/>
                  <a:gd name="connsiteX26" fmla="*/ 0 w 1918706"/>
                  <a:gd name="connsiteY26" fmla="*/ 4491829 h 5633118"/>
                  <a:gd name="connsiteX27" fmla="*/ 0 w 1918706"/>
                  <a:gd name="connsiteY27" fmla="*/ 4097931 h 5633118"/>
                  <a:gd name="connsiteX28" fmla="*/ 0 w 1918706"/>
                  <a:gd name="connsiteY28" fmla="*/ 4090156 h 5633118"/>
                  <a:gd name="connsiteX29" fmla="*/ 0 w 1918706"/>
                  <a:gd name="connsiteY29" fmla="*/ 4069228 h 5633118"/>
                  <a:gd name="connsiteX30" fmla="*/ 0 w 1918706"/>
                  <a:gd name="connsiteY30" fmla="*/ 4010476 h 5633118"/>
                  <a:gd name="connsiteX31" fmla="*/ 0 w 1918706"/>
                  <a:gd name="connsiteY31" fmla="*/ 3997322 h 5633118"/>
                  <a:gd name="connsiteX32" fmla="*/ 0 w 1918706"/>
                  <a:gd name="connsiteY32" fmla="*/ 3595649 h 5633118"/>
                  <a:gd name="connsiteX33" fmla="*/ 0 w 1918706"/>
                  <a:gd name="connsiteY33" fmla="*/ 3587875 h 5633118"/>
                  <a:gd name="connsiteX34" fmla="*/ 0 w 1918706"/>
                  <a:gd name="connsiteY34" fmla="*/ 3574721 h 5633118"/>
                  <a:gd name="connsiteX35" fmla="*/ 0 w 1918706"/>
                  <a:gd name="connsiteY35" fmla="*/ 3515969 h 5633118"/>
                  <a:gd name="connsiteX36" fmla="*/ 0 w 1918706"/>
                  <a:gd name="connsiteY36" fmla="*/ 3508195 h 5633118"/>
                  <a:gd name="connsiteX37" fmla="*/ 0 w 1918706"/>
                  <a:gd name="connsiteY37" fmla="*/ 3487266 h 5633118"/>
                  <a:gd name="connsiteX38" fmla="*/ 0 w 1918706"/>
                  <a:gd name="connsiteY3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2992759 h 5633118"/>
                  <a:gd name="connsiteX4" fmla="*/ 1918706 w 1918706"/>
                  <a:gd name="connsiteY4" fmla="*/ 3085594 h 5633118"/>
                  <a:gd name="connsiteX5" fmla="*/ 1918706 w 1918706"/>
                  <a:gd name="connsiteY5" fmla="*/ 3093368 h 5633118"/>
                  <a:gd name="connsiteX6" fmla="*/ 1918706 w 1918706"/>
                  <a:gd name="connsiteY6" fmla="*/ 3487266 h 5633118"/>
                  <a:gd name="connsiteX7" fmla="*/ 1918706 w 1918706"/>
                  <a:gd name="connsiteY7" fmla="*/ 3508195 h 5633118"/>
                  <a:gd name="connsiteX8" fmla="*/ 1918706 w 1918706"/>
                  <a:gd name="connsiteY8" fmla="*/ 3515969 h 5633118"/>
                  <a:gd name="connsiteX9" fmla="*/ 1918706 w 1918706"/>
                  <a:gd name="connsiteY9" fmla="*/ 3574721 h 5633118"/>
                  <a:gd name="connsiteX10" fmla="*/ 1918706 w 1918706"/>
                  <a:gd name="connsiteY10" fmla="*/ 3587875 h 5633118"/>
                  <a:gd name="connsiteX11" fmla="*/ 1918706 w 1918706"/>
                  <a:gd name="connsiteY11" fmla="*/ 3595649 h 5633118"/>
                  <a:gd name="connsiteX12" fmla="*/ 1918706 w 1918706"/>
                  <a:gd name="connsiteY12" fmla="*/ 3997322 h 5633118"/>
                  <a:gd name="connsiteX13" fmla="*/ 1918706 w 1918706"/>
                  <a:gd name="connsiteY13" fmla="*/ 4010476 h 5633118"/>
                  <a:gd name="connsiteX14" fmla="*/ 1918706 w 1918706"/>
                  <a:gd name="connsiteY14" fmla="*/ 4069228 h 5633118"/>
                  <a:gd name="connsiteX15" fmla="*/ 1918706 w 1918706"/>
                  <a:gd name="connsiteY15" fmla="*/ 4090156 h 5633118"/>
                  <a:gd name="connsiteX16" fmla="*/ 1918706 w 1918706"/>
                  <a:gd name="connsiteY16" fmla="*/ 4097931 h 5633118"/>
                  <a:gd name="connsiteX17" fmla="*/ 1918706 w 1918706"/>
                  <a:gd name="connsiteY17" fmla="*/ 4491829 h 5633118"/>
                  <a:gd name="connsiteX18" fmla="*/ 1918706 w 1918706"/>
                  <a:gd name="connsiteY18" fmla="*/ 4579284 h 5633118"/>
                  <a:gd name="connsiteX19" fmla="*/ 1918706 w 1918706"/>
                  <a:gd name="connsiteY19" fmla="*/ 4592438 h 5633118"/>
                  <a:gd name="connsiteX20" fmla="*/ 1918706 w 1918706"/>
                  <a:gd name="connsiteY20" fmla="*/ 5073791 h 5633118"/>
                  <a:gd name="connsiteX21" fmla="*/ 959355 w 1918706"/>
                  <a:gd name="connsiteY21" fmla="*/ 5633118 h 5633118"/>
                  <a:gd name="connsiteX22" fmla="*/ 0 w 1918706"/>
                  <a:gd name="connsiteY22" fmla="*/ 5073791 h 5633118"/>
                  <a:gd name="connsiteX23" fmla="*/ 0 w 1918706"/>
                  <a:gd name="connsiteY23" fmla="*/ 4592438 h 5633118"/>
                  <a:gd name="connsiteX24" fmla="*/ 0 w 1918706"/>
                  <a:gd name="connsiteY24" fmla="*/ 4579284 h 5633118"/>
                  <a:gd name="connsiteX25" fmla="*/ 0 w 1918706"/>
                  <a:gd name="connsiteY25" fmla="*/ 4491829 h 5633118"/>
                  <a:gd name="connsiteX26" fmla="*/ 0 w 1918706"/>
                  <a:gd name="connsiteY26" fmla="*/ 4097931 h 5633118"/>
                  <a:gd name="connsiteX27" fmla="*/ 0 w 1918706"/>
                  <a:gd name="connsiteY27" fmla="*/ 4090156 h 5633118"/>
                  <a:gd name="connsiteX28" fmla="*/ 0 w 1918706"/>
                  <a:gd name="connsiteY28" fmla="*/ 4069228 h 5633118"/>
                  <a:gd name="connsiteX29" fmla="*/ 0 w 1918706"/>
                  <a:gd name="connsiteY29" fmla="*/ 4010476 h 5633118"/>
                  <a:gd name="connsiteX30" fmla="*/ 0 w 1918706"/>
                  <a:gd name="connsiteY30" fmla="*/ 3997322 h 5633118"/>
                  <a:gd name="connsiteX31" fmla="*/ 0 w 1918706"/>
                  <a:gd name="connsiteY31" fmla="*/ 3595649 h 5633118"/>
                  <a:gd name="connsiteX32" fmla="*/ 0 w 1918706"/>
                  <a:gd name="connsiteY32" fmla="*/ 3587875 h 5633118"/>
                  <a:gd name="connsiteX33" fmla="*/ 0 w 1918706"/>
                  <a:gd name="connsiteY33" fmla="*/ 3574721 h 5633118"/>
                  <a:gd name="connsiteX34" fmla="*/ 0 w 1918706"/>
                  <a:gd name="connsiteY34" fmla="*/ 3515969 h 5633118"/>
                  <a:gd name="connsiteX35" fmla="*/ 0 w 1918706"/>
                  <a:gd name="connsiteY35" fmla="*/ 3508195 h 5633118"/>
                  <a:gd name="connsiteX36" fmla="*/ 0 w 1918706"/>
                  <a:gd name="connsiteY36" fmla="*/ 3487266 h 5633118"/>
                  <a:gd name="connsiteX37" fmla="*/ 0 w 1918706"/>
                  <a:gd name="connsiteY3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093368 h 5633118"/>
                  <a:gd name="connsiteX5" fmla="*/ 1918706 w 1918706"/>
                  <a:gd name="connsiteY5" fmla="*/ 3487266 h 5633118"/>
                  <a:gd name="connsiteX6" fmla="*/ 1918706 w 1918706"/>
                  <a:gd name="connsiteY6" fmla="*/ 3508195 h 5633118"/>
                  <a:gd name="connsiteX7" fmla="*/ 1918706 w 1918706"/>
                  <a:gd name="connsiteY7" fmla="*/ 3515969 h 5633118"/>
                  <a:gd name="connsiteX8" fmla="*/ 1918706 w 1918706"/>
                  <a:gd name="connsiteY8" fmla="*/ 3574721 h 5633118"/>
                  <a:gd name="connsiteX9" fmla="*/ 1918706 w 1918706"/>
                  <a:gd name="connsiteY9" fmla="*/ 3587875 h 5633118"/>
                  <a:gd name="connsiteX10" fmla="*/ 1918706 w 1918706"/>
                  <a:gd name="connsiteY10" fmla="*/ 3595649 h 5633118"/>
                  <a:gd name="connsiteX11" fmla="*/ 1918706 w 1918706"/>
                  <a:gd name="connsiteY11" fmla="*/ 3997322 h 5633118"/>
                  <a:gd name="connsiteX12" fmla="*/ 1918706 w 1918706"/>
                  <a:gd name="connsiteY12" fmla="*/ 4010476 h 5633118"/>
                  <a:gd name="connsiteX13" fmla="*/ 1918706 w 1918706"/>
                  <a:gd name="connsiteY13" fmla="*/ 4069228 h 5633118"/>
                  <a:gd name="connsiteX14" fmla="*/ 1918706 w 1918706"/>
                  <a:gd name="connsiteY14" fmla="*/ 4090156 h 5633118"/>
                  <a:gd name="connsiteX15" fmla="*/ 1918706 w 1918706"/>
                  <a:gd name="connsiteY15" fmla="*/ 4097931 h 5633118"/>
                  <a:gd name="connsiteX16" fmla="*/ 1918706 w 1918706"/>
                  <a:gd name="connsiteY16" fmla="*/ 4491829 h 5633118"/>
                  <a:gd name="connsiteX17" fmla="*/ 1918706 w 1918706"/>
                  <a:gd name="connsiteY17" fmla="*/ 4579284 h 5633118"/>
                  <a:gd name="connsiteX18" fmla="*/ 1918706 w 1918706"/>
                  <a:gd name="connsiteY18" fmla="*/ 4592438 h 5633118"/>
                  <a:gd name="connsiteX19" fmla="*/ 1918706 w 1918706"/>
                  <a:gd name="connsiteY19" fmla="*/ 5073791 h 5633118"/>
                  <a:gd name="connsiteX20" fmla="*/ 959355 w 1918706"/>
                  <a:gd name="connsiteY20" fmla="*/ 5633118 h 5633118"/>
                  <a:gd name="connsiteX21" fmla="*/ 0 w 1918706"/>
                  <a:gd name="connsiteY21" fmla="*/ 5073791 h 5633118"/>
                  <a:gd name="connsiteX22" fmla="*/ 0 w 1918706"/>
                  <a:gd name="connsiteY22" fmla="*/ 4592438 h 5633118"/>
                  <a:gd name="connsiteX23" fmla="*/ 0 w 1918706"/>
                  <a:gd name="connsiteY23" fmla="*/ 4579284 h 5633118"/>
                  <a:gd name="connsiteX24" fmla="*/ 0 w 1918706"/>
                  <a:gd name="connsiteY24" fmla="*/ 4491829 h 5633118"/>
                  <a:gd name="connsiteX25" fmla="*/ 0 w 1918706"/>
                  <a:gd name="connsiteY25" fmla="*/ 4097931 h 5633118"/>
                  <a:gd name="connsiteX26" fmla="*/ 0 w 1918706"/>
                  <a:gd name="connsiteY26" fmla="*/ 4090156 h 5633118"/>
                  <a:gd name="connsiteX27" fmla="*/ 0 w 1918706"/>
                  <a:gd name="connsiteY27" fmla="*/ 4069228 h 5633118"/>
                  <a:gd name="connsiteX28" fmla="*/ 0 w 1918706"/>
                  <a:gd name="connsiteY28" fmla="*/ 4010476 h 5633118"/>
                  <a:gd name="connsiteX29" fmla="*/ 0 w 1918706"/>
                  <a:gd name="connsiteY29" fmla="*/ 3997322 h 5633118"/>
                  <a:gd name="connsiteX30" fmla="*/ 0 w 1918706"/>
                  <a:gd name="connsiteY30" fmla="*/ 3595649 h 5633118"/>
                  <a:gd name="connsiteX31" fmla="*/ 0 w 1918706"/>
                  <a:gd name="connsiteY31" fmla="*/ 3587875 h 5633118"/>
                  <a:gd name="connsiteX32" fmla="*/ 0 w 1918706"/>
                  <a:gd name="connsiteY32" fmla="*/ 3574721 h 5633118"/>
                  <a:gd name="connsiteX33" fmla="*/ 0 w 1918706"/>
                  <a:gd name="connsiteY33" fmla="*/ 3515969 h 5633118"/>
                  <a:gd name="connsiteX34" fmla="*/ 0 w 1918706"/>
                  <a:gd name="connsiteY34" fmla="*/ 3508195 h 5633118"/>
                  <a:gd name="connsiteX35" fmla="*/ 0 w 1918706"/>
                  <a:gd name="connsiteY35" fmla="*/ 3487266 h 5633118"/>
                  <a:gd name="connsiteX36" fmla="*/ 0 w 1918706"/>
                  <a:gd name="connsiteY3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085594 h 5633118"/>
                  <a:gd name="connsiteX4" fmla="*/ 1918706 w 1918706"/>
                  <a:gd name="connsiteY4" fmla="*/ 3487266 h 5633118"/>
                  <a:gd name="connsiteX5" fmla="*/ 1918706 w 1918706"/>
                  <a:gd name="connsiteY5" fmla="*/ 3508195 h 5633118"/>
                  <a:gd name="connsiteX6" fmla="*/ 1918706 w 1918706"/>
                  <a:gd name="connsiteY6" fmla="*/ 3515969 h 5633118"/>
                  <a:gd name="connsiteX7" fmla="*/ 1918706 w 1918706"/>
                  <a:gd name="connsiteY7" fmla="*/ 3574721 h 5633118"/>
                  <a:gd name="connsiteX8" fmla="*/ 1918706 w 1918706"/>
                  <a:gd name="connsiteY8" fmla="*/ 3587875 h 5633118"/>
                  <a:gd name="connsiteX9" fmla="*/ 1918706 w 1918706"/>
                  <a:gd name="connsiteY9" fmla="*/ 3595649 h 5633118"/>
                  <a:gd name="connsiteX10" fmla="*/ 1918706 w 1918706"/>
                  <a:gd name="connsiteY10" fmla="*/ 3997322 h 5633118"/>
                  <a:gd name="connsiteX11" fmla="*/ 1918706 w 1918706"/>
                  <a:gd name="connsiteY11" fmla="*/ 4010476 h 5633118"/>
                  <a:gd name="connsiteX12" fmla="*/ 1918706 w 1918706"/>
                  <a:gd name="connsiteY12" fmla="*/ 4069228 h 5633118"/>
                  <a:gd name="connsiteX13" fmla="*/ 1918706 w 1918706"/>
                  <a:gd name="connsiteY13" fmla="*/ 4090156 h 5633118"/>
                  <a:gd name="connsiteX14" fmla="*/ 1918706 w 1918706"/>
                  <a:gd name="connsiteY14" fmla="*/ 4097931 h 5633118"/>
                  <a:gd name="connsiteX15" fmla="*/ 1918706 w 1918706"/>
                  <a:gd name="connsiteY15" fmla="*/ 4491829 h 5633118"/>
                  <a:gd name="connsiteX16" fmla="*/ 1918706 w 1918706"/>
                  <a:gd name="connsiteY16" fmla="*/ 4579284 h 5633118"/>
                  <a:gd name="connsiteX17" fmla="*/ 1918706 w 1918706"/>
                  <a:gd name="connsiteY17" fmla="*/ 4592438 h 5633118"/>
                  <a:gd name="connsiteX18" fmla="*/ 1918706 w 1918706"/>
                  <a:gd name="connsiteY18" fmla="*/ 5073791 h 5633118"/>
                  <a:gd name="connsiteX19" fmla="*/ 959355 w 1918706"/>
                  <a:gd name="connsiteY19" fmla="*/ 5633118 h 5633118"/>
                  <a:gd name="connsiteX20" fmla="*/ 0 w 1918706"/>
                  <a:gd name="connsiteY20" fmla="*/ 5073791 h 5633118"/>
                  <a:gd name="connsiteX21" fmla="*/ 0 w 1918706"/>
                  <a:gd name="connsiteY21" fmla="*/ 4592438 h 5633118"/>
                  <a:gd name="connsiteX22" fmla="*/ 0 w 1918706"/>
                  <a:gd name="connsiteY22" fmla="*/ 4579284 h 5633118"/>
                  <a:gd name="connsiteX23" fmla="*/ 0 w 1918706"/>
                  <a:gd name="connsiteY23" fmla="*/ 4491829 h 5633118"/>
                  <a:gd name="connsiteX24" fmla="*/ 0 w 1918706"/>
                  <a:gd name="connsiteY24" fmla="*/ 4097931 h 5633118"/>
                  <a:gd name="connsiteX25" fmla="*/ 0 w 1918706"/>
                  <a:gd name="connsiteY25" fmla="*/ 4090156 h 5633118"/>
                  <a:gd name="connsiteX26" fmla="*/ 0 w 1918706"/>
                  <a:gd name="connsiteY26" fmla="*/ 4069228 h 5633118"/>
                  <a:gd name="connsiteX27" fmla="*/ 0 w 1918706"/>
                  <a:gd name="connsiteY27" fmla="*/ 4010476 h 5633118"/>
                  <a:gd name="connsiteX28" fmla="*/ 0 w 1918706"/>
                  <a:gd name="connsiteY28" fmla="*/ 3997322 h 5633118"/>
                  <a:gd name="connsiteX29" fmla="*/ 0 w 1918706"/>
                  <a:gd name="connsiteY29" fmla="*/ 3595649 h 5633118"/>
                  <a:gd name="connsiteX30" fmla="*/ 0 w 1918706"/>
                  <a:gd name="connsiteY30" fmla="*/ 3587875 h 5633118"/>
                  <a:gd name="connsiteX31" fmla="*/ 0 w 1918706"/>
                  <a:gd name="connsiteY31" fmla="*/ 3574721 h 5633118"/>
                  <a:gd name="connsiteX32" fmla="*/ 0 w 1918706"/>
                  <a:gd name="connsiteY32" fmla="*/ 3515969 h 5633118"/>
                  <a:gd name="connsiteX33" fmla="*/ 0 w 1918706"/>
                  <a:gd name="connsiteY33" fmla="*/ 3508195 h 5633118"/>
                  <a:gd name="connsiteX34" fmla="*/ 0 w 1918706"/>
                  <a:gd name="connsiteY34" fmla="*/ 3487266 h 5633118"/>
                  <a:gd name="connsiteX35" fmla="*/ 0 w 1918706"/>
                  <a:gd name="connsiteY3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74721 h 5633118"/>
                  <a:gd name="connsiteX7" fmla="*/ 1918706 w 1918706"/>
                  <a:gd name="connsiteY7" fmla="*/ 3587875 h 5633118"/>
                  <a:gd name="connsiteX8" fmla="*/ 1918706 w 1918706"/>
                  <a:gd name="connsiteY8" fmla="*/ 3595649 h 5633118"/>
                  <a:gd name="connsiteX9" fmla="*/ 1918706 w 1918706"/>
                  <a:gd name="connsiteY9" fmla="*/ 3997322 h 5633118"/>
                  <a:gd name="connsiteX10" fmla="*/ 1918706 w 1918706"/>
                  <a:gd name="connsiteY10" fmla="*/ 4010476 h 5633118"/>
                  <a:gd name="connsiteX11" fmla="*/ 1918706 w 1918706"/>
                  <a:gd name="connsiteY11" fmla="*/ 4069228 h 5633118"/>
                  <a:gd name="connsiteX12" fmla="*/ 1918706 w 1918706"/>
                  <a:gd name="connsiteY12" fmla="*/ 4090156 h 5633118"/>
                  <a:gd name="connsiteX13" fmla="*/ 1918706 w 1918706"/>
                  <a:gd name="connsiteY13" fmla="*/ 4097931 h 5633118"/>
                  <a:gd name="connsiteX14" fmla="*/ 1918706 w 1918706"/>
                  <a:gd name="connsiteY14" fmla="*/ 4491829 h 5633118"/>
                  <a:gd name="connsiteX15" fmla="*/ 1918706 w 1918706"/>
                  <a:gd name="connsiteY15" fmla="*/ 4579284 h 5633118"/>
                  <a:gd name="connsiteX16" fmla="*/ 1918706 w 1918706"/>
                  <a:gd name="connsiteY16" fmla="*/ 4592438 h 5633118"/>
                  <a:gd name="connsiteX17" fmla="*/ 1918706 w 1918706"/>
                  <a:gd name="connsiteY17" fmla="*/ 5073791 h 5633118"/>
                  <a:gd name="connsiteX18" fmla="*/ 959355 w 1918706"/>
                  <a:gd name="connsiteY18" fmla="*/ 5633118 h 5633118"/>
                  <a:gd name="connsiteX19" fmla="*/ 0 w 1918706"/>
                  <a:gd name="connsiteY19" fmla="*/ 5073791 h 5633118"/>
                  <a:gd name="connsiteX20" fmla="*/ 0 w 1918706"/>
                  <a:gd name="connsiteY20" fmla="*/ 4592438 h 5633118"/>
                  <a:gd name="connsiteX21" fmla="*/ 0 w 1918706"/>
                  <a:gd name="connsiteY21" fmla="*/ 4579284 h 5633118"/>
                  <a:gd name="connsiteX22" fmla="*/ 0 w 1918706"/>
                  <a:gd name="connsiteY22" fmla="*/ 4491829 h 5633118"/>
                  <a:gd name="connsiteX23" fmla="*/ 0 w 1918706"/>
                  <a:gd name="connsiteY23" fmla="*/ 4097931 h 5633118"/>
                  <a:gd name="connsiteX24" fmla="*/ 0 w 1918706"/>
                  <a:gd name="connsiteY24" fmla="*/ 4090156 h 5633118"/>
                  <a:gd name="connsiteX25" fmla="*/ 0 w 1918706"/>
                  <a:gd name="connsiteY25" fmla="*/ 4069228 h 5633118"/>
                  <a:gd name="connsiteX26" fmla="*/ 0 w 1918706"/>
                  <a:gd name="connsiteY26" fmla="*/ 4010476 h 5633118"/>
                  <a:gd name="connsiteX27" fmla="*/ 0 w 1918706"/>
                  <a:gd name="connsiteY27" fmla="*/ 3997322 h 5633118"/>
                  <a:gd name="connsiteX28" fmla="*/ 0 w 1918706"/>
                  <a:gd name="connsiteY28" fmla="*/ 3595649 h 5633118"/>
                  <a:gd name="connsiteX29" fmla="*/ 0 w 1918706"/>
                  <a:gd name="connsiteY29" fmla="*/ 3587875 h 5633118"/>
                  <a:gd name="connsiteX30" fmla="*/ 0 w 1918706"/>
                  <a:gd name="connsiteY30" fmla="*/ 3574721 h 5633118"/>
                  <a:gd name="connsiteX31" fmla="*/ 0 w 1918706"/>
                  <a:gd name="connsiteY31" fmla="*/ 3515969 h 5633118"/>
                  <a:gd name="connsiteX32" fmla="*/ 0 w 1918706"/>
                  <a:gd name="connsiteY32" fmla="*/ 3508195 h 5633118"/>
                  <a:gd name="connsiteX33" fmla="*/ 0 w 1918706"/>
                  <a:gd name="connsiteY33" fmla="*/ 3487266 h 5633118"/>
                  <a:gd name="connsiteX34" fmla="*/ 0 w 1918706"/>
                  <a:gd name="connsiteY3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15969 h 5633118"/>
                  <a:gd name="connsiteX6" fmla="*/ 1918706 w 1918706"/>
                  <a:gd name="connsiteY6" fmla="*/ 3587875 h 5633118"/>
                  <a:gd name="connsiteX7" fmla="*/ 1918706 w 1918706"/>
                  <a:gd name="connsiteY7" fmla="*/ 3595649 h 5633118"/>
                  <a:gd name="connsiteX8" fmla="*/ 1918706 w 1918706"/>
                  <a:gd name="connsiteY8" fmla="*/ 3997322 h 5633118"/>
                  <a:gd name="connsiteX9" fmla="*/ 1918706 w 1918706"/>
                  <a:gd name="connsiteY9" fmla="*/ 4010476 h 5633118"/>
                  <a:gd name="connsiteX10" fmla="*/ 1918706 w 1918706"/>
                  <a:gd name="connsiteY10" fmla="*/ 4069228 h 5633118"/>
                  <a:gd name="connsiteX11" fmla="*/ 1918706 w 1918706"/>
                  <a:gd name="connsiteY11" fmla="*/ 4090156 h 5633118"/>
                  <a:gd name="connsiteX12" fmla="*/ 1918706 w 1918706"/>
                  <a:gd name="connsiteY12" fmla="*/ 4097931 h 5633118"/>
                  <a:gd name="connsiteX13" fmla="*/ 1918706 w 1918706"/>
                  <a:gd name="connsiteY13" fmla="*/ 4491829 h 5633118"/>
                  <a:gd name="connsiteX14" fmla="*/ 1918706 w 1918706"/>
                  <a:gd name="connsiteY14" fmla="*/ 4579284 h 5633118"/>
                  <a:gd name="connsiteX15" fmla="*/ 1918706 w 1918706"/>
                  <a:gd name="connsiteY15" fmla="*/ 4592438 h 5633118"/>
                  <a:gd name="connsiteX16" fmla="*/ 1918706 w 1918706"/>
                  <a:gd name="connsiteY16" fmla="*/ 5073791 h 5633118"/>
                  <a:gd name="connsiteX17" fmla="*/ 959355 w 1918706"/>
                  <a:gd name="connsiteY17" fmla="*/ 5633118 h 5633118"/>
                  <a:gd name="connsiteX18" fmla="*/ 0 w 1918706"/>
                  <a:gd name="connsiteY18" fmla="*/ 5073791 h 5633118"/>
                  <a:gd name="connsiteX19" fmla="*/ 0 w 1918706"/>
                  <a:gd name="connsiteY19" fmla="*/ 4592438 h 5633118"/>
                  <a:gd name="connsiteX20" fmla="*/ 0 w 1918706"/>
                  <a:gd name="connsiteY20" fmla="*/ 4579284 h 5633118"/>
                  <a:gd name="connsiteX21" fmla="*/ 0 w 1918706"/>
                  <a:gd name="connsiteY21" fmla="*/ 4491829 h 5633118"/>
                  <a:gd name="connsiteX22" fmla="*/ 0 w 1918706"/>
                  <a:gd name="connsiteY22" fmla="*/ 4097931 h 5633118"/>
                  <a:gd name="connsiteX23" fmla="*/ 0 w 1918706"/>
                  <a:gd name="connsiteY23" fmla="*/ 4090156 h 5633118"/>
                  <a:gd name="connsiteX24" fmla="*/ 0 w 1918706"/>
                  <a:gd name="connsiteY24" fmla="*/ 4069228 h 5633118"/>
                  <a:gd name="connsiteX25" fmla="*/ 0 w 1918706"/>
                  <a:gd name="connsiteY25" fmla="*/ 4010476 h 5633118"/>
                  <a:gd name="connsiteX26" fmla="*/ 0 w 1918706"/>
                  <a:gd name="connsiteY26" fmla="*/ 3997322 h 5633118"/>
                  <a:gd name="connsiteX27" fmla="*/ 0 w 1918706"/>
                  <a:gd name="connsiteY27" fmla="*/ 3595649 h 5633118"/>
                  <a:gd name="connsiteX28" fmla="*/ 0 w 1918706"/>
                  <a:gd name="connsiteY28" fmla="*/ 3587875 h 5633118"/>
                  <a:gd name="connsiteX29" fmla="*/ 0 w 1918706"/>
                  <a:gd name="connsiteY29" fmla="*/ 3574721 h 5633118"/>
                  <a:gd name="connsiteX30" fmla="*/ 0 w 1918706"/>
                  <a:gd name="connsiteY30" fmla="*/ 3515969 h 5633118"/>
                  <a:gd name="connsiteX31" fmla="*/ 0 w 1918706"/>
                  <a:gd name="connsiteY31" fmla="*/ 3508195 h 5633118"/>
                  <a:gd name="connsiteX32" fmla="*/ 0 w 1918706"/>
                  <a:gd name="connsiteY32" fmla="*/ 3487266 h 5633118"/>
                  <a:gd name="connsiteX33" fmla="*/ 0 w 1918706"/>
                  <a:gd name="connsiteY3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08195 h 5633118"/>
                  <a:gd name="connsiteX5" fmla="*/ 1918706 w 1918706"/>
                  <a:gd name="connsiteY5" fmla="*/ 3587875 h 5633118"/>
                  <a:gd name="connsiteX6" fmla="*/ 1918706 w 1918706"/>
                  <a:gd name="connsiteY6" fmla="*/ 3595649 h 5633118"/>
                  <a:gd name="connsiteX7" fmla="*/ 1918706 w 1918706"/>
                  <a:gd name="connsiteY7" fmla="*/ 3997322 h 5633118"/>
                  <a:gd name="connsiteX8" fmla="*/ 1918706 w 1918706"/>
                  <a:gd name="connsiteY8" fmla="*/ 4010476 h 5633118"/>
                  <a:gd name="connsiteX9" fmla="*/ 1918706 w 1918706"/>
                  <a:gd name="connsiteY9" fmla="*/ 4069228 h 5633118"/>
                  <a:gd name="connsiteX10" fmla="*/ 1918706 w 1918706"/>
                  <a:gd name="connsiteY10" fmla="*/ 4090156 h 5633118"/>
                  <a:gd name="connsiteX11" fmla="*/ 1918706 w 1918706"/>
                  <a:gd name="connsiteY11" fmla="*/ 4097931 h 5633118"/>
                  <a:gd name="connsiteX12" fmla="*/ 1918706 w 1918706"/>
                  <a:gd name="connsiteY12" fmla="*/ 4491829 h 5633118"/>
                  <a:gd name="connsiteX13" fmla="*/ 1918706 w 1918706"/>
                  <a:gd name="connsiteY13" fmla="*/ 4579284 h 5633118"/>
                  <a:gd name="connsiteX14" fmla="*/ 1918706 w 1918706"/>
                  <a:gd name="connsiteY14" fmla="*/ 4592438 h 5633118"/>
                  <a:gd name="connsiteX15" fmla="*/ 1918706 w 1918706"/>
                  <a:gd name="connsiteY15" fmla="*/ 5073791 h 5633118"/>
                  <a:gd name="connsiteX16" fmla="*/ 959355 w 1918706"/>
                  <a:gd name="connsiteY16" fmla="*/ 5633118 h 5633118"/>
                  <a:gd name="connsiteX17" fmla="*/ 0 w 1918706"/>
                  <a:gd name="connsiteY17" fmla="*/ 5073791 h 5633118"/>
                  <a:gd name="connsiteX18" fmla="*/ 0 w 1918706"/>
                  <a:gd name="connsiteY18" fmla="*/ 4592438 h 5633118"/>
                  <a:gd name="connsiteX19" fmla="*/ 0 w 1918706"/>
                  <a:gd name="connsiteY19" fmla="*/ 4579284 h 5633118"/>
                  <a:gd name="connsiteX20" fmla="*/ 0 w 1918706"/>
                  <a:gd name="connsiteY20" fmla="*/ 4491829 h 5633118"/>
                  <a:gd name="connsiteX21" fmla="*/ 0 w 1918706"/>
                  <a:gd name="connsiteY21" fmla="*/ 4097931 h 5633118"/>
                  <a:gd name="connsiteX22" fmla="*/ 0 w 1918706"/>
                  <a:gd name="connsiteY22" fmla="*/ 4090156 h 5633118"/>
                  <a:gd name="connsiteX23" fmla="*/ 0 w 1918706"/>
                  <a:gd name="connsiteY23" fmla="*/ 4069228 h 5633118"/>
                  <a:gd name="connsiteX24" fmla="*/ 0 w 1918706"/>
                  <a:gd name="connsiteY24" fmla="*/ 4010476 h 5633118"/>
                  <a:gd name="connsiteX25" fmla="*/ 0 w 1918706"/>
                  <a:gd name="connsiteY25" fmla="*/ 3997322 h 5633118"/>
                  <a:gd name="connsiteX26" fmla="*/ 0 w 1918706"/>
                  <a:gd name="connsiteY26" fmla="*/ 3595649 h 5633118"/>
                  <a:gd name="connsiteX27" fmla="*/ 0 w 1918706"/>
                  <a:gd name="connsiteY27" fmla="*/ 3587875 h 5633118"/>
                  <a:gd name="connsiteX28" fmla="*/ 0 w 1918706"/>
                  <a:gd name="connsiteY28" fmla="*/ 3574721 h 5633118"/>
                  <a:gd name="connsiteX29" fmla="*/ 0 w 1918706"/>
                  <a:gd name="connsiteY29" fmla="*/ 3515969 h 5633118"/>
                  <a:gd name="connsiteX30" fmla="*/ 0 w 1918706"/>
                  <a:gd name="connsiteY30" fmla="*/ 3508195 h 5633118"/>
                  <a:gd name="connsiteX31" fmla="*/ 0 w 1918706"/>
                  <a:gd name="connsiteY31" fmla="*/ 3487266 h 5633118"/>
                  <a:gd name="connsiteX32" fmla="*/ 0 w 1918706"/>
                  <a:gd name="connsiteY3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595649 h 5633118"/>
                  <a:gd name="connsiteX6" fmla="*/ 1918706 w 1918706"/>
                  <a:gd name="connsiteY6" fmla="*/ 3997322 h 5633118"/>
                  <a:gd name="connsiteX7" fmla="*/ 1918706 w 1918706"/>
                  <a:gd name="connsiteY7" fmla="*/ 4010476 h 5633118"/>
                  <a:gd name="connsiteX8" fmla="*/ 1918706 w 1918706"/>
                  <a:gd name="connsiteY8" fmla="*/ 4069228 h 5633118"/>
                  <a:gd name="connsiteX9" fmla="*/ 1918706 w 1918706"/>
                  <a:gd name="connsiteY9" fmla="*/ 4090156 h 5633118"/>
                  <a:gd name="connsiteX10" fmla="*/ 1918706 w 1918706"/>
                  <a:gd name="connsiteY10" fmla="*/ 4097931 h 5633118"/>
                  <a:gd name="connsiteX11" fmla="*/ 1918706 w 1918706"/>
                  <a:gd name="connsiteY11" fmla="*/ 4491829 h 5633118"/>
                  <a:gd name="connsiteX12" fmla="*/ 1918706 w 1918706"/>
                  <a:gd name="connsiteY12" fmla="*/ 4579284 h 5633118"/>
                  <a:gd name="connsiteX13" fmla="*/ 1918706 w 1918706"/>
                  <a:gd name="connsiteY13" fmla="*/ 4592438 h 5633118"/>
                  <a:gd name="connsiteX14" fmla="*/ 1918706 w 1918706"/>
                  <a:gd name="connsiteY14" fmla="*/ 5073791 h 5633118"/>
                  <a:gd name="connsiteX15" fmla="*/ 959355 w 1918706"/>
                  <a:gd name="connsiteY15" fmla="*/ 5633118 h 5633118"/>
                  <a:gd name="connsiteX16" fmla="*/ 0 w 1918706"/>
                  <a:gd name="connsiteY16" fmla="*/ 5073791 h 5633118"/>
                  <a:gd name="connsiteX17" fmla="*/ 0 w 1918706"/>
                  <a:gd name="connsiteY17" fmla="*/ 4592438 h 5633118"/>
                  <a:gd name="connsiteX18" fmla="*/ 0 w 1918706"/>
                  <a:gd name="connsiteY18" fmla="*/ 4579284 h 5633118"/>
                  <a:gd name="connsiteX19" fmla="*/ 0 w 1918706"/>
                  <a:gd name="connsiteY19" fmla="*/ 4491829 h 5633118"/>
                  <a:gd name="connsiteX20" fmla="*/ 0 w 1918706"/>
                  <a:gd name="connsiteY20" fmla="*/ 4097931 h 5633118"/>
                  <a:gd name="connsiteX21" fmla="*/ 0 w 1918706"/>
                  <a:gd name="connsiteY21" fmla="*/ 4090156 h 5633118"/>
                  <a:gd name="connsiteX22" fmla="*/ 0 w 1918706"/>
                  <a:gd name="connsiteY22" fmla="*/ 4069228 h 5633118"/>
                  <a:gd name="connsiteX23" fmla="*/ 0 w 1918706"/>
                  <a:gd name="connsiteY23" fmla="*/ 4010476 h 5633118"/>
                  <a:gd name="connsiteX24" fmla="*/ 0 w 1918706"/>
                  <a:gd name="connsiteY24" fmla="*/ 3997322 h 5633118"/>
                  <a:gd name="connsiteX25" fmla="*/ 0 w 1918706"/>
                  <a:gd name="connsiteY25" fmla="*/ 3595649 h 5633118"/>
                  <a:gd name="connsiteX26" fmla="*/ 0 w 1918706"/>
                  <a:gd name="connsiteY26" fmla="*/ 3587875 h 5633118"/>
                  <a:gd name="connsiteX27" fmla="*/ 0 w 1918706"/>
                  <a:gd name="connsiteY27" fmla="*/ 3574721 h 5633118"/>
                  <a:gd name="connsiteX28" fmla="*/ 0 w 1918706"/>
                  <a:gd name="connsiteY28" fmla="*/ 3515969 h 5633118"/>
                  <a:gd name="connsiteX29" fmla="*/ 0 w 1918706"/>
                  <a:gd name="connsiteY29" fmla="*/ 3508195 h 5633118"/>
                  <a:gd name="connsiteX30" fmla="*/ 0 w 1918706"/>
                  <a:gd name="connsiteY30" fmla="*/ 3487266 h 5633118"/>
                  <a:gd name="connsiteX31" fmla="*/ 0 w 1918706"/>
                  <a:gd name="connsiteY3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587875 h 5633118"/>
                  <a:gd name="connsiteX5" fmla="*/ 1918706 w 1918706"/>
                  <a:gd name="connsiteY5" fmla="*/ 3997322 h 5633118"/>
                  <a:gd name="connsiteX6" fmla="*/ 1918706 w 1918706"/>
                  <a:gd name="connsiteY6" fmla="*/ 4010476 h 5633118"/>
                  <a:gd name="connsiteX7" fmla="*/ 1918706 w 1918706"/>
                  <a:gd name="connsiteY7" fmla="*/ 4069228 h 5633118"/>
                  <a:gd name="connsiteX8" fmla="*/ 1918706 w 1918706"/>
                  <a:gd name="connsiteY8" fmla="*/ 4090156 h 5633118"/>
                  <a:gd name="connsiteX9" fmla="*/ 1918706 w 1918706"/>
                  <a:gd name="connsiteY9" fmla="*/ 4097931 h 5633118"/>
                  <a:gd name="connsiteX10" fmla="*/ 1918706 w 1918706"/>
                  <a:gd name="connsiteY10" fmla="*/ 4491829 h 5633118"/>
                  <a:gd name="connsiteX11" fmla="*/ 1918706 w 1918706"/>
                  <a:gd name="connsiteY11" fmla="*/ 4579284 h 5633118"/>
                  <a:gd name="connsiteX12" fmla="*/ 1918706 w 1918706"/>
                  <a:gd name="connsiteY12" fmla="*/ 4592438 h 5633118"/>
                  <a:gd name="connsiteX13" fmla="*/ 1918706 w 1918706"/>
                  <a:gd name="connsiteY13" fmla="*/ 5073791 h 5633118"/>
                  <a:gd name="connsiteX14" fmla="*/ 959355 w 1918706"/>
                  <a:gd name="connsiteY14" fmla="*/ 5633118 h 5633118"/>
                  <a:gd name="connsiteX15" fmla="*/ 0 w 1918706"/>
                  <a:gd name="connsiteY15" fmla="*/ 5073791 h 5633118"/>
                  <a:gd name="connsiteX16" fmla="*/ 0 w 1918706"/>
                  <a:gd name="connsiteY16" fmla="*/ 4592438 h 5633118"/>
                  <a:gd name="connsiteX17" fmla="*/ 0 w 1918706"/>
                  <a:gd name="connsiteY17" fmla="*/ 4579284 h 5633118"/>
                  <a:gd name="connsiteX18" fmla="*/ 0 w 1918706"/>
                  <a:gd name="connsiteY18" fmla="*/ 4491829 h 5633118"/>
                  <a:gd name="connsiteX19" fmla="*/ 0 w 1918706"/>
                  <a:gd name="connsiteY19" fmla="*/ 4097931 h 5633118"/>
                  <a:gd name="connsiteX20" fmla="*/ 0 w 1918706"/>
                  <a:gd name="connsiteY20" fmla="*/ 4090156 h 5633118"/>
                  <a:gd name="connsiteX21" fmla="*/ 0 w 1918706"/>
                  <a:gd name="connsiteY21" fmla="*/ 4069228 h 5633118"/>
                  <a:gd name="connsiteX22" fmla="*/ 0 w 1918706"/>
                  <a:gd name="connsiteY22" fmla="*/ 4010476 h 5633118"/>
                  <a:gd name="connsiteX23" fmla="*/ 0 w 1918706"/>
                  <a:gd name="connsiteY23" fmla="*/ 3997322 h 5633118"/>
                  <a:gd name="connsiteX24" fmla="*/ 0 w 1918706"/>
                  <a:gd name="connsiteY24" fmla="*/ 3595649 h 5633118"/>
                  <a:gd name="connsiteX25" fmla="*/ 0 w 1918706"/>
                  <a:gd name="connsiteY25" fmla="*/ 3587875 h 5633118"/>
                  <a:gd name="connsiteX26" fmla="*/ 0 w 1918706"/>
                  <a:gd name="connsiteY26" fmla="*/ 3574721 h 5633118"/>
                  <a:gd name="connsiteX27" fmla="*/ 0 w 1918706"/>
                  <a:gd name="connsiteY27" fmla="*/ 3515969 h 5633118"/>
                  <a:gd name="connsiteX28" fmla="*/ 0 w 1918706"/>
                  <a:gd name="connsiteY28" fmla="*/ 3508195 h 5633118"/>
                  <a:gd name="connsiteX29" fmla="*/ 0 w 1918706"/>
                  <a:gd name="connsiteY29" fmla="*/ 3487266 h 5633118"/>
                  <a:gd name="connsiteX30" fmla="*/ 0 w 1918706"/>
                  <a:gd name="connsiteY3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487266 h 5633118"/>
                  <a:gd name="connsiteX4" fmla="*/ 1918706 w 1918706"/>
                  <a:gd name="connsiteY4" fmla="*/ 3997322 h 5633118"/>
                  <a:gd name="connsiteX5" fmla="*/ 1918706 w 1918706"/>
                  <a:gd name="connsiteY5" fmla="*/ 4010476 h 5633118"/>
                  <a:gd name="connsiteX6" fmla="*/ 1918706 w 1918706"/>
                  <a:gd name="connsiteY6" fmla="*/ 4069228 h 5633118"/>
                  <a:gd name="connsiteX7" fmla="*/ 1918706 w 1918706"/>
                  <a:gd name="connsiteY7" fmla="*/ 4090156 h 5633118"/>
                  <a:gd name="connsiteX8" fmla="*/ 1918706 w 1918706"/>
                  <a:gd name="connsiteY8" fmla="*/ 4097931 h 5633118"/>
                  <a:gd name="connsiteX9" fmla="*/ 1918706 w 1918706"/>
                  <a:gd name="connsiteY9" fmla="*/ 4491829 h 5633118"/>
                  <a:gd name="connsiteX10" fmla="*/ 1918706 w 1918706"/>
                  <a:gd name="connsiteY10" fmla="*/ 4579284 h 5633118"/>
                  <a:gd name="connsiteX11" fmla="*/ 1918706 w 1918706"/>
                  <a:gd name="connsiteY11" fmla="*/ 4592438 h 5633118"/>
                  <a:gd name="connsiteX12" fmla="*/ 1918706 w 1918706"/>
                  <a:gd name="connsiteY12" fmla="*/ 5073791 h 5633118"/>
                  <a:gd name="connsiteX13" fmla="*/ 959355 w 1918706"/>
                  <a:gd name="connsiteY13" fmla="*/ 5633118 h 5633118"/>
                  <a:gd name="connsiteX14" fmla="*/ 0 w 1918706"/>
                  <a:gd name="connsiteY14" fmla="*/ 5073791 h 5633118"/>
                  <a:gd name="connsiteX15" fmla="*/ 0 w 1918706"/>
                  <a:gd name="connsiteY15" fmla="*/ 4592438 h 5633118"/>
                  <a:gd name="connsiteX16" fmla="*/ 0 w 1918706"/>
                  <a:gd name="connsiteY16" fmla="*/ 4579284 h 5633118"/>
                  <a:gd name="connsiteX17" fmla="*/ 0 w 1918706"/>
                  <a:gd name="connsiteY17" fmla="*/ 4491829 h 5633118"/>
                  <a:gd name="connsiteX18" fmla="*/ 0 w 1918706"/>
                  <a:gd name="connsiteY18" fmla="*/ 4097931 h 5633118"/>
                  <a:gd name="connsiteX19" fmla="*/ 0 w 1918706"/>
                  <a:gd name="connsiteY19" fmla="*/ 4090156 h 5633118"/>
                  <a:gd name="connsiteX20" fmla="*/ 0 w 1918706"/>
                  <a:gd name="connsiteY20" fmla="*/ 4069228 h 5633118"/>
                  <a:gd name="connsiteX21" fmla="*/ 0 w 1918706"/>
                  <a:gd name="connsiteY21" fmla="*/ 4010476 h 5633118"/>
                  <a:gd name="connsiteX22" fmla="*/ 0 w 1918706"/>
                  <a:gd name="connsiteY22" fmla="*/ 3997322 h 5633118"/>
                  <a:gd name="connsiteX23" fmla="*/ 0 w 1918706"/>
                  <a:gd name="connsiteY23" fmla="*/ 3595649 h 5633118"/>
                  <a:gd name="connsiteX24" fmla="*/ 0 w 1918706"/>
                  <a:gd name="connsiteY24" fmla="*/ 3587875 h 5633118"/>
                  <a:gd name="connsiteX25" fmla="*/ 0 w 1918706"/>
                  <a:gd name="connsiteY25" fmla="*/ 3574721 h 5633118"/>
                  <a:gd name="connsiteX26" fmla="*/ 0 w 1918706"/>
                  <a:gd name="connsiteY26" fmla="*/ 3515969 h 5633118"/>
                  <a:gd name="connsiteX27" fmla="*/ 0 w 1918706"/>
                  <a:gd name="connsiteY27" fmla="*/ 3508195 h 5633118"/>
                  <a:gd name="connsiteX28" fmla="*/ 0 w 1918706"/>
                  <a:gd name="connsiteY28" fmla="*/ 3487266 h 5633118"/>
                  <a:gd name="connsiteX29" fmla="*/ 0 w 1918706"/>
                  <a:gd name="connsiteY2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10476 h 5633118"/>
                  <a:gd name="connsiteX5" fmla="*/ 1918706 w 1918706"/>
                  <a:gd name="connsiteY5" fmla="*/ 4069228 h 5633118"/>
                  <a:gd name="connsiteX6" fmla="*/ 1918706 w 1918706"/>
                  <a:gd name="connsiteY6" fmla="*/ 4090156 h 5633118"/>
                  <a:gd name="connsiteX7" fmla="*/ 1918706 w 1918706"/>
                  <a:gd name="connsiteY7" fmla="*/ 4097931 h 5633118"/>
                  <a:gd name="connsiteX8" fmla="*/ 1918706 w 1918706"/>
                  <a:gd name="connsiteY8" fmla="*/ 4491829 h 5633118"/>
                  <a:gd name="connsiteX9" fmla="*/ 1918706 w 1918706"/>
                  <a:gd name="connsiteY9" fmla="*/ 4579284 h 5633118"/>
                  <a:gd name="connsiteX10" fmla="*/ 1918706 w 1918706"/>
                  <a:gd name="connsiteY10" fmla="*/ 4592438 h 5633118"/>
                  <a:gd name="connsiteX11" fmla="*/ 1918706 w 1918706"/>
                  <a:gd name="connsiteY11" fmla="*/ 5073791 h 5633118"/>
                  <a:gd name="connsiteX12" fmla="*/ 959355 w 1918706"/>
                  <a:gd name="connsiteY12" fmla="*/ 5633118 h 5633118"/>
                  <a:gd name="connsiteX13" fmla="*/ 0 w 1918706"/>
                  <a:gd name="connsiteY13" fmla="*/ 5073791 h 5633118"/>
                  <a:gd name="connsiteX14" fmla="*/ 0 w 1918706"/>
                  <a:gd name="connsiteY14" fmla="*/ 4592438 h 5633118"/>
                  <a:gd name="connsiteX15" fmla="*/ 0 w 1918706"/>
                  <a:gd name="connsiteY15" fmla="*/ 4579284 h 5633118"/>
                  <a:gd name="connsiteX16" fmla="*/ 0 w 1918706"/>
                  <a:gd name="connsiteY16" fmla="*/ 4491829 h 5633118"/>
                  <a:gd name="connsiteX17" fmla="*/ 0 w 1918706"/>
                  <a:gd name="connsiteY17" fmla="*/ 4097931 h 5633118"/>
                  <a:gd name="connsiteX18" fmla="*/ 0 w 1918706"/>
                  <a:gd name="connsiteY18" fmla="*/ 4090156 h 5633118"/>
                  <a:gd name="connsiteX19" fmla="*/ 0 w 1918706"/>
                  <a:gd name="connsiteY19" fmla="*/ 4069228 h 5633118"/>
                  <a:gd name="connsiteX20" fmla="*/ 0 w 1918706"/>
                  <a:gd name="connsiteY20" fmla="*/ 4010476 h 5633118"/>
                  <a:gd name="connsiteX21" fmla="*/ 0 w 1918706"/>
                  <a:gd name="connsiteY21" fmla="*/ 3997322 h 5633118"/>
                  <a:gd name="connsiteX22" fmla="*/ 0 w 1918706"/>
                  <a:gd name="connsiteY22" fmla="*/ 3595649 h 5633118"/>
                  <a:gd name="connsiteX23" fmla="*/ 0 w 1918706"/>
                  <a:gd name="connsiteY23" fmla="*/ 3587875 h 5633118"/>
                  <a:gd name="connsiteX24" fmla="*/ 0 w 1918706"/>
                  <a:gd name="connsiteY24" fmla="*/ 3574721 h 5633118"/>
                  <a:gd name="connsiteX25" fmla="*/ 0 w 1918706"/>
                  <a:gd name="connsiteY25" fmla="*/ 3515969 h 5633118"/>
                  <a:gd name="connsiteX26" fmla="*/ 0 w 1918706"/>
                  <a:gd name="connsiteY26" fmla="*/ 3508195 h 5633118"/>
                  <a:gd name="connsiteX27" fmla="*/ 0 w 1918706"/>
                  <a:gd name="connsiteY27" fmla="*/ 3487266 h 5633118"/>
                  <a:gd name="connsiteX28" fmla="*/ 0 w 1918706"/>
                  <a:gd name="connsiteY2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69228 h 5633118"/>
                  <a:gd name="connsiteX5" fmla="*/ 1918706 w 1918706"/>
                  <a:gd name="connsiteY5" fmla="*/ 4090156 h 5633118"/>
                  <a:gd name="connsiteX6" fmla="*/ 1918706 w 1918706"/>
                  <a:gd name="connsiteY6" fmla="*/ 4097931 h 5633118"/>
                  <a:gd name="connsiteX7" fmla="*/ 1918706 w 1918706"/>
                  <a:gd name="connsiteY7" fmla="*/ 4491829 h 5633118"/>
                  <a:gd name="connsiteX8" fmla="*/ 1918706 w 1918706"/>
                  <a:gd name="connsiteY8" fmla="*/ 4579284 h 5633118"/>
                  <a:gd name="connsiteX9" fmla="*/ 1918706 w 1918706"/>
                  <a:gd name="connsiteY9" fmla="*/ 4592438 h 5633118"/>
                  <a:gd name="connsiteX10" fmla="*/ 1918706 w 1918706"/>
                  <a:gd name="connsiteY10" fmla="*/ 5073791 h 5633118"/>
                  <a:gd name="connsiteX11" fmla="*/ 959355 w 1918706"/>
                  <a:gd name="connsiteY11" fmla="*/ 5633118 h 5633118"/>
                  <a:gd name="connsiteX12" fmla="*/ 0 w 1918706"/>
                  <a:gd name="connsiteY12" fmla="*/ 5073791 h 5633118"/>
                  <a:gd name="connsiteX13" fmla="*/ 0 w 1918706"/>
                  <a:gd name="connsiteY13" fmla="*/ 4592438 h 5633118"/>
                  <a:gd name="connsiteX14" fmla="*/ 0 w 1918706"/>
                  <a:gd name="connsiteY14" fmla="*/ 4579284 h 5633118"/>
                  <a:gd name="connsiteX15" fmla="*/ 0 w 1918706"/>
                  <a:gd name="connsiteY15" fmla="*/ 4491829 h 5633118"/>
                  <a:gd name="connsiteX16" fmla="*/ 0 w 1918706"/>
                  <a:gd name="connsiteY16" fmla="*/ 4097931 h 5633118"/>
                  <a:gd name="connsiteX17" fmla="*/ 0 w 1918706"/>
                  <a:gd name="connsiteY17" fmla="*/ 4090156 h 5633118"/>
                  <a:gd name="connsiteX18" fmla="*/ 0 w 1918706"/>
                  <a:gd name="connsiteY18" fmla="*/ 4069228 h 5633118"/>
                  <a:gd name="connsiteX19" fmla="*/ 0 w 1918706"/>
                  <a:gd name="connsiteY19" fmla="*/ 4010476 h 5633118"/>
                  <a:gd name="connsiteX20" fmla="*/ 0 w 1918706"/>
                  <a:gd name="connsiteY20" fmla="*/ 3997322 h 5633118"/>
                  <a:gd name="connsiteX21" fmla="*/ 0 w 1918706"/>
                  <a:gd name="connsiteY21" fmla="*/ 3595649 h 5633118"/>
                  <a:gd name="connsiteX22" fmla="*/ 0 w 1918706"/>
                  <a:gd name="connsiteY22" fmla="*/ 3587875 h 5633118"/>
                  <a:gd name="connsiteX23" fmla="*/ 0 w 1918706"/>
                  <a:gd name="connsiteY23" fmla="*/ 3574721 h 5633118"/>
                  <a:gd name="connsiteX24" fmla="*/ 0 w 1918706"/>
                  <a:gd name="connsiteY24" fmla="*/ 3515969 h 5633118"/>
                  <a:gd name="connsiteX25" fmla="*/ 0 w 1918706"/>
                  <a:gd name="connsiteY25" fmla="*/ 3508195 h 5633118"/>
                  <a:gd name="connsiteX26" fmla="*/ 0 w 1918706"/>
                  <a:gd name="connsiteY26" fmla="*/ 3487266 h 5633118"/>
                  <a:gd name="connsiteX27" fmla="*/ 0 w 1918706"/>
                  <a:gd name="connsiteY2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097931 h 5633118"/>
                  <a:gd name="connsiteX6" fmla="*/ 1918706 w 1918706"/>
                  <a:gd name="connsiteY6" fmla="*/ 4491829 h 5633118"/>
                  <a:gd name="connsiteX7" fmla="*/ 1918706 w 1918706"/>
                  <a:gd name="connsiteY7" fmla="*/ 4579284 h 5633118"/>
                  <a:gd name="connsiteX8" fmla="*/ 1918706 w 1918706"/>
                  <a:gd name="connsiteY8" fmla="*/ 4592438 h 5633118"/>
                  <a:gd name="connsiteX9" fmla="*/ 1918706 w 1918706"/>
                  <a:gd name="connsiteY9" fmla="*/ 5073791 h 5633118"/>
                  <a:gd name="connsiteX10" fmla="*/ 959355 w 1918706"/>
                  <a:gd name="connsiteY10" fmla="*/ 5633118 h 5633118"/>
                  <a:gd name="connsiteX11" fmla="*/ 0 w 1918706"/>
                  <a:gd name="connsiteY11" fmla="*/ 5073791 h 5633118"/>
                  <a:gd name="connsiteX12" fmla="*/ 0 w 1918706"/>
                  <a:gd name="connsiteY12" fmla="*/ 4592438 h 5633118"/>
                  <a:gd name="connsiteX13" fmla="*/ 0 w 1918706"/>
                  <a:gd name="connsiteY13" fmla="*/ 4579284 h 5633118"/>
                  <a:gd name="connsiteX14" fmla="*/ 0 w 1918706"/>
                  <a:gd name="connsiteY14" fmla="*/ 4491829 h 5633118"/>
                  <a:gd name="connsiteX15" fmla="*/ 0 w 1918706"/>
                  <a:gd name="connsiteY15" fmla="*/ 4097931 h 5633118"/>
                  <a:gd name="connsiteX16" fmla="*/ 0 w 1918706"/>
                  <a:gd name="connsiteY16" fmla="*/ 4090156 h 5633118"/>
                  <a:gd name="connsiteX17" fmla="*/ 0 w 1918706"/>
                  <a:gd name="connsiteY17" fmla="*/ 4069228 h 5633118"/>
                  <a:gd name="connsiteX18" fmla="*/ 0 w 1918706"/>
                  <a:gd name="connsiteY18" fmla="*/ 4010476 h 5633118"/>
                  <a:gd name="connsiteX19" fmla="*/ 0 w 1918706"/>
                  <a:gd name="connsiteY19" fmla="*/ 3997322 h 5633118"/>
                  <a:gd name="connsiteX20" fmla="*/ 0 w 1918706"/>
                  <a:gd name="connsiteY20" fmla="*/ 3595649 h 5633118"/>
                  <a:gd name="connsiteX21" fmla="*/ 0 w 1918706"/>
                  <a:gd name="connsiteY21" fmla="*/ 3587875 h 5633118"/>
                  <a:gd name="connsiteX22" fmla="*/ 0 w 1918706"/>
                  <a:gd name="connsiteY22" fmla="*/ 3574721 h 5633118"/>
                  <a:gd name="connsiteX23" fmla="*/ 0 w 1918706"/>
                  <a:gd name="connsiteY23" fmla="*/ 3515969 h 5633118"/>
                  <a:gd name="connsiteX24" fmla="*/ 0 w 1918706"/>
                  <a:gd name="connsiteY24" fmla="*/ 3508195 h 5633118"/>
                  <a:gd name="connsiteX25" fmla="*/ 0 w 1918706"/>
                  <a:gd name="connsiteY25" fmla="*/ 3487266 h 5633118"/>
                  <a:gd name="connsiteX26" fmla="*/ 0 w 1918706"/>
                  <a:gd name="connsiteY2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3997322 h 5633118"/>
                  <a:gd name="connsiteX4" fmla="*/ 1918706 w 1918706"/>
                  <a:gd name="connsiteY4" fmla="*/ 4090156 h 5633118"/>
                  <a:gd name="connsiteX5" fmla="*/ 1918706 w 1918706"/>
                  <a:gd name="connsiteY5" fmla="*/ 4491829 h 5633118"/>
                  <a:gd name="connsiteX6" fmla="*/ 1918706 w 1918706"/>
                  <a:gd name="connsiteY6" fmla="*/ 4579284 h 5633118"/>
                  <a:gd name="connsiteX7" fmla="*/ 1918706 w 1918706"/>
                  <a:gd name="connsiteY7" fmla="*/ 4592438 h 5633118"/>
                  <a:gd name="connsiteX8" fmla="*/ 1918706 w 1918706"/>
                  <a:gd name="connsiteY8" fmla="*/ 5073791 h 5633118"/>
                  <a:gd name="connsiteX9" fmla="*/ 959355 w 1918706"/>
                  <a:gd name="connsiteY9" fmla="*/ 5633118 h 5633118"/>
                  <a:gd name="connsiteX10" fmla="*/ 0 w 1918706"/>
                  <a:gd name="connsiteY10" fmla="*/ 5073791 h 5633118"/>
                  <a:gd name="connsiteX11" fmla="*/ 0 w 1918706"/>
                  <a:gd name="connsiteY11" fmla="*/ 4592438 h 5633118"/>
                  <a:gd name="connsiteX12" fmla="*/ 0 w 1918706"/>
                  <a:gd name="connsiteY12" fmla="*/ 4579284 h 5633118"/>
                  <a:gd name="connsiteX13" fmla="*/ 0 w 1918706"/>
                  <a:gd name="connsiteY13" fmla="*/ 4491829 h 5633118"/>
                  <a:gd name="connsiteX14" fmla="*/ 0 w 1918706"/>
                  <a:gd name="connsiteY14" fmla="*/ 4097931 h 5633118"/>
                  <a:gd name="connsiteX15" fmla="*/ 0 w 1918706"/>
                  <a:gd name="connsiteY15" fmla="*/ 4090156 h 5633118"/>
                  <a:gd name="connsiteX16" fmla="*/ 0 w 1918706"/>
                  <a:gd name="connsiteY16" fmla="*/ 4069228 h 5633118"/>
                  <a:gd name="connsiteX17" fmla="*/ 0 w 1918706"/>
                  <a:gd name="connsiteY17" fmla="*/ 4010476 h 5633118"/>
                  <a:gd name="connsiteX18" fmla="*/ 0 w 1918706"/>
                  <a:gd name="connsiteY18" fmla="*/ 3997322 h 5633118"/>
                  <a:gd name="connsiteX19" fmla="*/ 0 w 1918706"/>
                  <a:gd name="connsiteY19" fmla="*/ 3595649 h 5633118"/>
                  <a:gd name="connsiteX20" fmla="*/ 0 w 1918706"/>
                  <a:gd name="connsiteY20" fmla="*/ 3587875 h 5633118"/>
                  <a:gd name="connsiteX21" fmla="*/ 0 w 1918706"/>
                  <a:gd name="connsiteY21" fmla="*/ 3574721 h 5633118"/>
                  <a:gd name="connsiteX22" fmla="*/ 0 w 1918706"/>
                  <a:gd name="connsiteY22" fmla="*/ 3515969 h 5633118"/>
                  <a:gd name="connsiteX23" fmla="*/ 0 w 1918706"/>
                  <a:gd name="connsiteY23" fmla="*/ 3508195 h 5633118"/>
                  <a:gd name="connsiteX24" fmla="*/ 0 w 1918706"/>
                  <a:gd name="connsiteY24" fmla="*/ 3487266 h 5633118"/>
                  <a:gd name="connsiteX25" fmla="*/ 0 w 1918706"/>
                  <a:gd name="connsiteY2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090156 h 5633118"/>
                  <a:gd name="connsiteX4" fmla="*/ 1918706 w 1918706"/>
                  <a:gd name="connsiteY4" fmla="*/ 4491829 h 5633118"/>
                  <a:gd name="connsiteX5" fmla="*/ 1918706 w 1918706"/>
                  <a:gd name="connsiteY5" fmla="*/ 4579284 h 5633118"/>
                  <a:gd name="connsiteX6" fmla="*/ 1918706 w 1918706"/>
                  <a:gd name="connsiteY6" fmla="*/ 4592438 h 5633118"/>
                  <a:gd name="connsiteX7" fmla="*/ 1918706 w 1918706"/>
                  <a:gd name="connsiteY7" fmla="*/ 5073791 h 5633118"/>
                  <a:gd name="connsiteX8" fmla="*/ 959355 w 1918706"/>
                  <a:gd name="connsiteY8" fmla="*/ 5633118 h 5633118"/>
                  <a:gd name="connsiteX9" fmla="*/ 0 w 1918706"/>
                  <a:gd name="connsiteY9" fmla="*/ 5073791 h 5633118"/>
                  <a:gd name="connsiteX10" fmla="*/ 0 w 1918706"/>
                  <a:gd name="connsiteY10" fmla="*/ 4592438 h 5633118"/>
                  <a:gd name="connsiteX11" fmla="*/ 0 w 1918706"/>
                  <a:gd name="connsiteY11" fmla="*/ 4579284 h 5633118"/>
                  <a:gd name="connsiteX12" fmla="*/ 0 w 1918706"/>
                  <a:gd name="connsiteY12" fmla="*/ 4491829 h 5633118"/>
                  <a:gd name="connsiteX13" fmla="*/ 0 w 1918706"/>
                  <a:gd name="connsiteY13" fmla="*/ 4097931 h 5633118"/>
                  <a:gd name="connsiteX14" fmla="*/ 0 w 1918706"/>
                  <a:gd name="connsiteY14" fmla="*/ 4090156 h 5633118"/>
                  <a:gd name="connsiteX15" fmla="*/ 0 w 1918706"/>
                  <a:gd name="connsiteY15" fmla="*/ 4069228 h 5633118"/>
                  <a:gd name="connsiteX16" fmla="*/ 0 w 1918706"/>
                  <a:gd name="connsiteY16" fmla="*/ 4010476 h 5633118"/>
                  <a:gd name="connsiteX17" fmla="*/ 0 w 1918706"/>
                  <a:gd name="connsiteY17" fmla="*/ 3997322 h 5633118"/>
                  <a:gd name="connsiteX18" fmla="*/ 0 w 1918706"/>
                  <a:gd name="connsiteY18" fmla="*/ 3595649 h 5633118"/>
                  <a:gd name="connsiteX19" fmla="*/ 0 w 1918706"/>
                  <a:gd name="connsiteY19" fmla="*/ 3587875 h 5633118"/>
                  <a:gd name="connsiteX20" fmla="*/ 0 w 1918706"/>
                  <a:gd name="connsiteY20" fmla="*/ 3574721 h 5633118"/>
                  <a:gd name="connsiteX21" fmla="*/ 0 w 1918706"/>
                  <a:gd name="connsiteY21" fmla="*/ 3515969 h 5633118"/>
                  <a:gd name="connsiteX22" fmla="*/ 0 w 1918706"/>
                  <a:gd name="connsiteY22" fmla="*/ 3508195 h 5633118"/>
                  <a:gd name="connsiteX23" fmla="*/ 0 w 1918706"/>
                  <a:gd name="connsiteY23" fmla="*/ 3487266 h 5633118"/>
                  <a:gd name="connsiteX24" fmla="*/ 0 w 1918706"/>
                  <a:gd name="connsiteY2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491829 h 5633118"/>
                  <a:gd name="connsiteX4" fmla="*/ 1918706 w 1918706"/>
                  <a:gd name="connsiteY4" fmla="*/ 4579284 h 5633118"/>
                  <a:gd name="connsiteX5" fmla="*/ 1918706 w 1918706"/>
                  <a:gd name="connsiteY5" fmla="*/ 4592438 h 5633118"/>
                  <a:gd name="connsiteX6" fmla="*/ 1918706 w 1918706"/>
                  <a:gd name="connsiteY6" fmla="*/ 5073791 h 5633118"/>
                  <a:gd name="connsiteX7" fmla="*/ 959355 w 1918706"/>
                  <a:gd name="connsiteY7" fmla="*/ 5633118 h 5633118"/>
                  <a:gd name="connsiteX8" fmla="*/ 0 w 1918706"/>
                  <a:gd name="connsiteY8" fmla="*/ 5073791 h 5633118"/>
                  <a:gd name="connsiteX9" fmla="*/ 0 w 1918706"/>
                  <a:gd name="connsiteY9" fmla="*/ 4592438 h 5633118"/>
                  <a:gd name="connsiteX10" fmla="*/ 0 w 1918706"/>
                  <a:gd name="connsiteY10" fmla="*/ 4579284 h 5633118"/>
                  <a:gd name="connsiteX11" fmla="*/ 0 w 1918706"/>
                  <a:gd name="connsiteY11" fmla="*/ 4491829 h 5633118"/>
                  <a:gd name="connsiteX12" fmla="*/ 0 w 1918706"/>
                  <a:gd name="connsiteY12" fmla="*/ 4097931 h 5633118"/>
                  <a:gd name="connsiteX13" fmla="*/ 0 w 1918706"/>
                  <a:gd name="connsiteY13" fmla="*/ 4090156 h 5633118"/>
                  <a:gd name="connsiteX14" fmla="*/ 0 w 1918706"/>
                  <a:gd name="connsiteY14" fmla="*/ 4069228 h 5633118"/>
                  <a:gd name="connsiteX15" fmla="*/ 0 w 1918706"/>
                  <a:gd name="connsiteY15" fmla="*/ 4010476 h 5633118"/>
                  <a:gd name="connsiteX16" fmla="*/ 0 w 1918706"/>
                  <a:gd name="connsiteY16" fmla="*/ 3997322 h 5633118"/>
                  <a:gd name="connsiteX17" fmla="*/ 0 w 1918706"/>
                  <a:gd name="connsiteY17" fmla="*/ 3595649 h 5633118"/>
                  <a:gd name="connsiteX18" fmla="*/ 0 w 1918706"/>
                  <a:gd name="connsiteY18" fmla="*/ 3587875 h 5633118"/>
                  <a:gd name="connsiteX19" fmla="*/ 0 w 1918706"/>
                  <a:gd name="connsiteY19" fmla="*/ 3574721 h 5633118"/>
                  <a:gd name="connsiteX20" fmla="*/ 0 w 1918706"/>
                  <a:gd name="connsiteY20" fmla="*/ 3515969 h 5633118"/>
                  <a:gd name="connsiteX21" fmla="*/ 0 w 1918706"/>
                  <a:gd name="connsiteY21" fmla="*/ 3508195 h 5633118"/>
                  <a:gd name="connsiteX22" fmla="*/ 0 w 1918706"/>
                  <a:gd name="connsiteY22" fmla="*/ 3487266 h 5633118"/>
                  <a:gd name="connsiteX23" fmla="*/ 0 w 1918706"/>
                  <a:gd name="connsiteY2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4592438 h 5633118"/>
                  <a:gd name="connsiteX5" fmla="*/ 1918706 w 1918706"/>
                  <a:gd name="connsiteY5" fmla="*/ 5073791 h 5633118"/>
                  <a:gd name="connsiteX6" fmla="*/ 959355 w 1918706"/>
                  <a:gd name="connsiteY6" fmla="*/ 5633118 h 5633118"/>
                  <a:gd name="connsiteX7" fmla="*/ 0 w 1918706"/>
                  <a:gd name="connsiteY7" fmla="*/ 5073791 h 5633118"/>
                  <a:gd name="connsiteX8" fmla="*/ 0 w 1918706"/>
                  <a:gd name="connsiteY8" fmla="*/ 4592438 h 5633118"/>
                  <a:gd name="connsiteX9" fmla="*/ 0 w 1918706"/>
                  <a:gd name="connsiteY9" fmla="*/ 4579284 h 5633118"/>
                  <a:gd name="connsiteX10" fmla="*/ 0 w 1918706"/>
                  <a:gd name="connsiteY10" fmla="*/ 4491829 h 5633118"/>
                  <a:gd name="connsiteX11" fmla="*/ 0 w 1918706"/>
                  <a:gd name="connsiteY11" fmla="*/ 4097931 h 5633118"/>
                  <a:gd name="connsiteX12" fmla="*/ 0 w 1918706"/>
                  <a:gd name="connsiteY12" fmla="*/ 4090156 h 5633118"/>
                  <a:gd name="connsiteX13" fmla="*/ 0 w 1918706"/>
                  <a:gd name="connsiteY13" fmla="*/ 4069228 h 5633118"/>
                  <a:gd name="connsiteX14" fmla="*/ 0 w 1918706"/>
                  <a:gd name="connsiteY14" fmla="*/ 4010476 h 5633118"/>
                  <a:gd name="connsiteX15" fmla="*/ 0 w 1918706"/>
                  <a:gd name="connsiteY15" fmla="*/ 3997322 h 5633118"/>
                  <a:gd name="connsiteX16" fmla="*/ 0 w 1918706"/>
                  <a:gd name="connsiteY16" fmla="*/ 3595649 h 5633118"/>
                  <a:gd name="connsiteX17" fmla="*/ 0 w 1918706"/>
                  <a:gd name="connsiteY17" fmla="*/ 3587875 h 5633118"/>
                  <a:gd name="connsiteX18" fmla="*/ 0 w 1918706"/>
                  <a:gd name="connsiteY18" fmla="*/ 3574721 h 5633118"/>
                  <a:gd name="connsiteX19" fmla="*/ 0 w 1918706"/>
                  <a:gd name="connsiteY19" fmla="*/ 3515969 h 5633118"/>
                  <a:gd name="connsiteX20" fmla="*/ 0 w 1918706"/>
                  <a:gd name="connsiteY20" fmla="*/ 3508195 h 5633118"/>
                  <a:gd name="connsiteX21" fmla="*/ 0 w 1918706"/>
                  <a:gd name="connsiteY21" fmla="*/ 3487266 h 5633118"/>
                  <a:gd name="connsiteX22" fmla="*/ 0 w 1918706"/>
                  <a:gd name="connsiteY2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4579284 h 5633118"/>
                  <a:gd name="connsiteX4" fmla="*/ 1918706 w 1918706"/>
                  <a:gd name="connsiteY4" fmla="*/ 5073791 h 5633118"/>
                  <a:gd name="connsiteX5" fmla="*/ 959355 w 1918706"/>
                  <a:gd name="connsiteY5" fmla="*/ 5633118 h 5633118"/>
                  <a:gd name="connsiteX6" fmla="*/ 0 w 1918706"/>
                  <a:gd name="connsiteY6" fmla="*/ 5073791 h 5633118"/>
                  <a:gd name="connsiteX7" fmla="*/ 0 w 1918706"/>
                  <a:gd name="connsiteY7" fmla="*/ 4592438 h 5633118"/>
                  <a:gd name="connsiteX8" fmla="*/ 0 w 1918706"/>
                  <a:gd name="connsiteY8" fmla="*/ 4579284 h 5633118"/>
                  <a:gd name="connsiteX9" fmla="*/ 0 w 1918706"/>
                  <a:gd name="connsiteY9" fmla="*/ 4491829 h 5633118"/>
                  <a:gd name="connsiteX10" fmla="*/ 0 w 1918706"/>
                  <a:gd name="connsiteY10" fmla="*/ 4097931 h 5633118"/>
                  <a:gd name="connsiteX11" fmla="*/ 0 w 1918706"/>
                  <a:gd name="connsiteY11" fmla="*/ 4090156 h 5633118"/>
                  <a:gd name="connsiteX12" fmla="*/ 0 w 1918706"/>
                  <a:gd name="connsiteY12" fmla="*/ 4069228 h 5633118"/>
                  <a:gd name="connsiteX13" fmla="*/ 0 w 1918706"/>
                  <a:gd name="connsiteY13" fmla="*/ 4010476 h 5633118"/>
                  <a:gd name="connsiteX14" fmla="*/ 0 w 1918706"/>
                  <a:gd name="connsiteY14" fmla="*/ 3997322 h 5633118"/>
                  <a:gd name="connsiteX15" fmla="*/ 0 w 1918706"/>
                  <a:gd name="connsiteY15" fmla="*/ 3595649 h 5633118"/>
                  <a:gd name="connsiteX16" fmla="*/ 0 w 1918706"/>
                  <a:gd name="connsiteY16" fmla="*/ 3587875 h 5633118"/>
                  <a:gd name="connsiteX17" fmla="*/ 0 w 1918706"/>
                  <a:gd name="connsiteY17" fmla="*/ 3574721 h 5633118"/>
                  <a:gd name="connsiteX18" fmla="*/ 0 w 1918706"/>
                  <a:gd name="connsiteY18" fmla="*/ 3515969 h 5633118"/>
                  <a:gd name="connsiteX19" fmla="*/ 0 w 1918706"/>
                  <a:gd name="connsiteY19" fmla="*/ 3508195 h 5633118"/>
                  <a:gd name="connsiteX20" fmla="*/ 0 w 1918706"/>
                  <a:gd name="connsiteY20" fmla="*/ 3487266 h 5633118"/>
                  <a:gd name="connsiteX21" fmla="*/ 0 w 1918706"/>
                  <a:gd name="connsiteY2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3487266 h 5633118"/>
                  <a:gd name="connsiteX20" fmla="*/ 0 w 1918706"/>
                  <a:gd name="connsiteY2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3508195 h 5633118"/>
                  <a:gd name="connsiteX19" fmla="*/ 0 w 1918706"/>
                  <a:gd name="connsiteY1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3515969 h 5633118"/>
                  <a:gd name="connsiteX18" fmla="*/ 0 w 1918706"/>
                  <a:gd name="connsiteY1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3574721 h 5633118"/>
                  <a:gd name="connsiteX17" fmla="*/ 0 w 1918706"/>
                  <a:gd name="connsiteY1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3587875 h 5633118"/>
                  <a:gd name="connsiteX16" fmla="*/ 0 w 1918706"/>
                  <a:gd name="connsiteY16"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3595649 h 5633118"/>
                  <a:gd name="connsiteX15" fmla="*/ 0 w 1918706"/>
                  <a:gd name="connsiteY15"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3997322 h 5633118"/>
                  <a:gd name="connsiteX14" fmla="*/ 0 w 1918706"/>
                  <a:gd name="connsiteY14"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4010476 h 5633118"/>
                  <a:gd name="connsiteX13" fmla="*/ 0 w 1918706"/>
                  <a:gd name="connsiteY13"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4069228 h 5633118"/>
                  <a:gd name="connsiteX12" fmla="*/ 0 w 1918706"/>
                  <a:gd name="connsiteY12"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4090156 h 5633118"/>
                  <a:gd name="connsiteX11" fmla="*/ 0 w 1918706"/>
                  <a:gd name="connsiteY11"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4097931 h 5633118"/>
                  <a:gd name="connsiteX10" fmla="*/ 0 w 1918706"/>
                  <a:gd name="connsiteY10"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4491829 h 5633118"/>
                  <a:gd name="connsiteX9" fmla="*/ 0 w 1918706"/>
                  <a:gd name="connsiteY9"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4579284 h 5633118"/>
                  <a:gd name="connsiteX8" fmla="*/ 0 w 1918706"/>
                  <a:gd name="connsiteY8"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10064 w 1928770"/>
                  <a:gd name="connsiteY7" fmla="*/ 4579284 h 5633118"/>
                  <a:gd name="connsiteX8" fmla="*/ 0 w 1928770"/>
                  <a:gd name="connsiteY8" fmla="*/ 4484457 h 5633118"/>
                  <a:gd name="connsiteX9" fmla="*/ 10064 w 1928770"/>
                  <a:gd name="connsiteY9" fmla="*/ 0 h 5633118"/>
                  <a:gd name="connsiteX0" fmla="*/ 10064 w 1928770"/>
                  <a:gd name="connsiteY0" fmla="*/ 0 h 5633118"/>
                  <a:gd name="connsiteX1" fmla="*/ 969419 w 1928770"/>
                  <a:gd name="connsiteY1" fmla="*/ 559332 h 5633118"/>
                  <a:gd name="connsiteX2" fmla="*/ 1928770 w 1928770"/>
                  <a:gd name="connsiteY2" fmla="*/ 0 h 5633118"/>
                  <a:gd name="connsiteX3" fmla="*/ 1928770 w 1928770"/>
                  <a:gd name="connsiteY3" fmla="*/ 5073791 h 5633118"/>
                  <a:gd name="connsiteX4" fmla="*/ 969419 w 1928770"/>
                  <a:gd name="connsiteY4" fmla="*/ 5633118 h 5633118"/>
                  <a:gd name="connsiteX5" fmla="*/ 10064 w 1928770"/>
                  <a:gd name="connsiteY5" fmla="*/ 5073791 h 5633118"/>
                  <a:gd name="connsiteX6" fmla="*/ 10064 w 1928770"/>
                  <a:gd name="connsiteY6" fmla="*/ 4592438 h 5633118"/>
                  <a:gd name="connsiteX7" fmla="*/ 0 w 1928770"/>
                  <a:gd name="connsiteY7" fmla="*/ 4484457 h 5633118"/>
                  <a:gd name="connsiteX8" fmla="*/ 10064 w 1928770"/>
                  <a:gd name="connsiteY8"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4592438 h 5633118"/>
                  <a:gd name="connsiteX7" fmla="*/ 0 w 1918706"/>
                  <a:gd name="connsiteY7" fmla="*/ 0 h 5633118"/>
                  <a:gd name="connsiteX0" fmla="*/ 0 w 1918706"/>
                  <a:gd name="connsiteY0" fmla="*/ 0 h 5633118"/>
                  <a:gd name="connsiteX1" fmla="*/ 959355 w 1918706"/>
                  <a:gd name="connsiteY1" fmla="*/ 559332 h 5633118"/>
                  <a:gd name="connsiteX2" fmla="*/ 1918706 w 1918706"/>
                  <a:gd name="connsiteY2" fmla="*/ 0 h 5633118"/>
                  <a:gd name="connsiteX3" fmla="*/ 1918706 w 1918706"/>
                  <a:gd name="connsiteY3" fmla="*/ 5073791 h 5633118"/>
                  <a:gd name="connsiteX4" fmla="*/ 959355 w 1918706"/>
                  <a:gd name="connsiteY4" fmla="*/ 5633118 h 5633118"/>
                  <a:gd name="connsiteX5" fmla="*/ 0 w 1918706"/>
                  <a:gd name="connsiteY5" fmla="*/ 5073791 h 5633118"/>
                  <a:gd name="connsiteX6" fmla="*/ 0 w 1918706"/>
                  <a:gd name="connsiteY6" fmla="*/ 0 h 563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8706" h="5633118">
                    <a:moveTo>
                      <a:pt x="0" y="0"/>
                    </a:moveTo>
                    <a:cubicBezTo>
                      <a:pt x="0" y="308912"/>
                      <a:pt x="429517" y="559332"/>
                      <a:pt x="959355" y="559332"/>
                    </a:cubicBezTo>
                    <a:cubicBezTo>
                      <a:pt x="1489193" y="559332"/>
                      <a:pt x="1918706" y="308912"/>
                      <a:pt x="1918706" y="0"/>
                    </a:cubicBezTo>
                    <a:lnTo>
                      <a:pt x="1918706" y="5073791"/>
                    </a:lnTo>
                    <a:cubicBezTo>
                      <a:pt x="1918706" y="5382699"/>
                      <a:pt x="1489193" y="5633118"/>
                      <a:pt x="959355" y="5633118"/>
                    </a:cubicBezTo>
                    <a:cubicBezTo>
                      <a:pt x="429517" y="5633118"/>
                      <a:pt x="0" y="5382699"/>
                      <a:pt x="0" y="5073791"/>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872" name="Oval 386">
                <a:extLst>
                  <a:ext uri="{FF2B5EF4-FFF2-40B4-BE49-F238E27FC236}">
                    <a16:creationId xmlns:a16="http://schemas.microsoft.com/office/drawing/2014/main" id="{957D2FE3-2186-4961-B78D-945BDCF1B5A2}"/>
                  </a:ext>
                </a:extLst>
              </p:cNvPr>
              <p:cNvSpPr/>
              <p:nvPr/>
            </p:nvSpPr>
            <p:spPr bwMode="gray">
              <a:xfrm>
                <a:off x="12676185" y="-2160831"/>
                <a:ext cx="1918706" cy="1340175"/>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sp>
        <p:nvSpPr>
          <p:cNvPr id="963" name="Cylinder 962">
            <a:extLst>
              <a:ext uri="{FF2B5EF4-FFF2-40B4-BE49-F238E27FC236}">
                <a16:creationId xmlns:a16="http://schemas.microsoft.com/office/drawing/2014/main" id="{38F6E34F-3285-4C01-B638-853407ADCC8E}"/>
              </a:ext>
            </a:extLst>
          </p:cNvPr>
          <p:cNvSpPr/>
          <p:nvPr/>
        </p:nvSpPr>
        <p:spPr bwMode="gray">
          <a:xfrm rot="10800000" flipV="1">
            <a:off x="10266323" y="3854914"/>
            <a:ext cx="81425" cy="250314"/>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64" name="Cylinder 963">
            <a:extLst>
              <a:ext uri="{FF2B5EF4-FFF2-40B4-BE49-F238E27FC236}">
                <a16:creationId xmlns:a16="http://schemas.microsoft.com/office/drawing/2014/main" id="{6199EA1C-EDB0-4EA4-8C9C-3EF0CC6E898A}"/>
              </a:ext>
            </a:extLst>
          </p:cNvPr>
          <p:cNvSpPr/>
          <p:nvPr/>
        </p:nvSpPr>
        <p:spPr bwMode="gray">
          <a:xfrm rot="10800000" flipV="1">
            <a:off x="10066240" y="3971282"/>
            <a:ext cx="81425" cy="250314"/>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65" name="Cylinder 964">
            <a:extLst>
              <a:ext uri="{FF2B5EF4-FFF2-40B4-BE49-F238E27FC236}">
                <a16:creationId xmlns:a16="http://schemas.microsoft.com/office/drawing/2014/main" id="{43CE82C9-D1E6-4838-8673-8FD028397AC9}"/>
              </a:ext>
            </a:extLst>
          </p:cNvPr>
          <p:cNvSpPr/>
          <p:nvPr/>
        </p:nvSpPr>
        <p:spPr bwMode="gray">
          <a:xfrm rot="10800000" flipV="1">
            <a:off x="9866156" y="4087650"/>
            <a:ext cx="81425" cy="250314"/>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66" name="Cylinder 965">
            <a:extLst>
              <a:ext uri="{FF2B5EF4-FFF2-40B4-BE49-F238E27FC236}">
                <a16:creationId xmlns:a16="http://schemas.microsoft.com/office/drawing/2014/main" id="{A9F0EC9C-B827-49ED-9EEC-90D88350DAD0}"/>
              </a:ext>
            </a:extLst>
          </p:cNvPr>
          <p:cNvSpPr/>
          <p:nvPr/>
        </p:nvSpPr>
        <p:spPr bwMode="gray">
          <a:xfrm rot="10800000" flipV="1">
            <a:off x="9666074" y="4204020"/>
            <a:ext cx="81425" cy="250314"/>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68" name="Freeform: Shape 967">
            <a:extLst>
              <a:ext uri="{FF2B5EF4-FFF2-40B4-BE49-F238E27FC236}">
                <a16:creationId xmlns:a16="http://schemas.microsoft.com/office/drawing/2014/main" id="{6CB774D3-8248-47D3-B526-1228EFD54FBA}"/>
              </a:ext>
            </a:extLst>
          </p:cNvPr>
          <p:cNvSpPr/>
          <p:nvPr/>
        </p:nvSpPr>
        <p:spPr bwMode="gray">
          <a:xfrm flipH="1">
            <a:off x="9387297" y="3754964"/>
            <a:ext cx="1160954" cy="644902"/>
          </a:xfrm>
          <a:custGeom>
            <a:avLst/>
            <a:gdLst>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645961 w 1248882"/>
              <a:gd name="connsiteY28" fmla="*/ 393195 h 912354"/>
              <a:gd name="connsiteX29" fmla="*/ 629636 w 1248882"/>
              <a:gd name="connsiteY29" fmla="*/ 386920 h 912354"/>
              <a:gd name="connsiteX30" fmla="*/ 576468 w 1248882"/>
              <a:gd name="connsiteY30" fmla="*/ 359689 h 912354"/>
              <a:gd name="connsiteX31" fmla="*/ 97170 w 1248882"/>
              <a:gd name="connsiteY31" fmla="*/ 84934 h 912354"/>
              <a:gd name="connsiteX32" fmla="*/ 97100 w 1248882"/>
              <a:gd name="connsiteY32" fmla="*/ 84854 h 912354"/>
              <a:gd name="connsiteX33" fmla="*/ 92641 w 1248882"/>
              <a:gd name="connsiteY33" fmla="*/ 86106 h 912354"/>
              <a:gd name="connsiteX34" fmla="*/ 83322 w 1248882"/>
              <a:gd name="connsiteY34" fmla="*/ 98353 h 912354"/>
              <a:gd name="connsiteX35" fmla="*/ 83306 w 1248882"/>
              <a:gd name="connsiteY35" fmla="*/ 104410 h 912354"/>
              <a:gd name="connsiteX36" fmla="*/ 84058 w 1248882"/>
              <a:gd name="connsiteY36" fmla="*/ 106600 h 912354"/>
              <a:gd name="connsiteX37" fmla="*/ 84057 w 1248882"/>
              <a:gd name="connsiteY37" fmla="*/ 212545 h 912354"/>
              <a:gd name="connsiteX38" fmla="*/ 42843 w 1248882"/>
              <a:gd name="connsiteY38" fmla="*/ 236780 h 912354"/>
              <a:gd name="connsiteX39" fmla="*/ 4867 w 1248882"/>
              <a:gd name="connsiteY39"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645961 w 1248882"/>
              <a:gd name="connsiteY28" fmla="*/ 393195 h 912354"/>
              <a:gd name="connsiteX29" fmla="*/ 576468 w 1248882"/>
              <a:gd name="connsiteY29" fmla="*/ 359689 h 912354"/>
              <a:gd name="connsiteX30" fmla="*/ 97170 w 1248882"/>
              <a:gd name="connsiteY30" fmla="*/ 84934 h 912354"/>
              <a:gd name="connsiteX31" fmla="*/ 97100 w 1248882"/>
              <a:gd name="connsiteY31" fmla="*/ 84854 h 912354"/>
              <a:gd name="connsiteX32" fmla="*/ 92641 w 1248882"/>
              <a:gd name="connsiteY32" fmla="*/ 86106 h 912354"/>
              <a:gd name="connsiteX33" fmla="*/ 83322 w 1248882"/>
              <a:gd name="connsiteY33" fmla="*/ 98353 h 912354"/>
              <a:gd name="connsiteX34" fmla="*/ 83306 w 1248882"/>
              <a:gd name="connsiteY34" fmla="*/ 104410 h 912354"/>
              <a:gd name="connsiteX35" fmla="*/ 84058 w 1248882"/>
              <a:gd name="connsiteY35" fmla="*/ 106600 h 912354"/>
              <a:gd name="connsiteX36" fmla="*/ 84057 w 1248882"/>
              <a:gd name="connsiteY36" fmla="*/ 212545 h 912354"/>
              <a:gd name="connsiteX37" fmla="*/ 42843 w 1248882"/>
              <a:gd name="connsiteY37" fmla="*/ 236780 h 912354"/>
              <a:gd name="connsiteX38" fmla="*/ 4867 w 1248882"/>
              <a:gd name="connsiteY38"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576468 w 1248882"/>
              <a:gd name="connsiteY28" fmla="*/ 359689 h 912354"/>
              <a:gd name="connsiteX29" fmla="*/ 97170 w 1248882"/>
              <a:gd name="connsiteY29" fmla="*/ 84934 h 912354"/>
              <a:gd name="connsiteX30" fmla="*/ 97100 w 1248882"/>
              <a:gd name="connsiteY30" fmla="*/ 84854 h 912354"/>
              <a:gd name="connsiteX31" fmla="*/ 92641 w 1248882"/>
              <a:gd name="connsiteY31" fmla="*/ 86106 h 912354"/>
              <a:gd name="connsiteX32" fmla="*/ 83322 w 1248882"/>
              <a:gd name="connsiteY32" fmla="*/ 98353 h 912354"/>
              <a:gd name="connsiteX33" fmla="*/ 83306 w 1248882"/>
              <a:gd name="connsiteY33" fmla="*/ 104410 h 912354"/>
              <a:gd name="connsiteX34" fmla="*/ 84058 w 1248882"/>
              <a:gd name="connsiteY34" fmla="*/ 106600 h 912354"/>
              <a:gd name="connsiteX35" fmla="*/ 84057 w 1248882"/>
              <a:gd name="connsiteY35" fmla="*/ 212545 h 912354"/>
              <a:gd name="connsiteX36" fmla="*/ 42843 w 1248882"/>
              <a:gd name="connsiteY36" fmla="*/ 236780 h 912354"/>
              <a:gd name="connsiteX37" fmla="*/ 4867 w 1248882"/>
              <a:gd name="connsiteY37"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576468 w 1248882"/>
              <a:gd name="connsiteY27" fmla="*/ 359689 h 912354"/>
              <a:gd name="connsiteX28" fmla="*/ 97170 w 1248882"/>
              <a:gd name="connsiteY28" fmla="*/ 84934 h 912354"/>
              <a:gd name="connsiteX29" fmla="*/ 97100 w 1248882"/>
              <a:gd name="connsiteY29" fmla="*/ 84854 h 912354"/>
              <a:gd name="connsiteX30" fmla="*/ 92641 w 1248882"/>
              <a:gd name="connsiteY30" fmla="*/ 86106 h 912354"/>
              <a:gd name="connsiteX31" fmla="*/ 83322 w 1248882"/>
              <a:gd name="connsiteY31" fmla="*/ 98353 h 912354"/>
              <a:gd name="connsiteX32" fmla="*/ 83306 w 1248882"/>
              <a:gd name="connsiteY32" fmla="*/ 104410 h 912354"/>
              <a:gd name="connsiteX33" fmla="*/ 84058 w 1248882"/>
              <a:gd name="connsiteY33" fmla="*/ 106600 h 912354"/>
              <a:gd name="connsiteX34" fmla="*/ 84057 w 1248882"/>
              <a:gd name="connsiteY34" fmla="*/ 212545 h 912354"/>
              <a:gd name="connsiteX35" fmla="*/ 42843 w 1248882"/>
              <a:gd name="connsiteY35" fmla="*/ 236780 h 912354"/>
              <a:gd name="connsiteX36" fmla="*/ 4867 w 1248882"/>
              <a:gd name="connsiteY36"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576468 w 1248882"/>
              <a:gd name="connsiteY26" fmla="*/ 359689 h 912354"/>
              <a:gd name="connsiteX27" fmla="*/ 97170 w 1248882"/>
              <a:gd name="connsiteY27" fmla="*/ 84934 h 912354"/>
              <a:gd name="connsiteX28" fmla="*/ 97100 w 1248882"/>
              <a:gd name="connsiteY28" fmla="*/ 84854 h 912354"/>
              <a:gd name="connsiteX29" fmla="*/ 92641 w 1248882"/>
              <a:gd name="connsiteY29" fmla="*/ 86106 h 912354"/>
              <a:gd name="connsiteX30" fmla="*/ 83322 w 1248882"/>
              <a:gd name="connsiteY30" fmla="*/ 98353 h 912354"/>
              <a:gd name="connsiteX31" fmla="*/ 83306 w 1248882"/>
              <a:gd name="connsiteY31" fmla="*/ 104410 h 912354"/>
              <a:gd name="connsiteX32" fmla="*/ 84058 w 1248882"/>
              <a:gd name="connsiteY32" fmla="*/ 106600 h 912354"/>
              <a:gd name="connsiteX33" fmla="*/ 84057 w 1248882"/>
              <a:gd name="connsiteY33" fmla="*/ 212545 h 912354"/>
              <a:gd name="connsiteX34" fmla="*/ 42843 w 1248882"/>
              <a:gd name="connsiteY34" fmla="*/ 236780 h 912354"/>
              <a:gd name="connsiteX35" fmla="*/ 4867 w 1248882"/>
              <a:gd name="connsiteY35"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576468 w 1248882"/>
              <a:gd name="connsiteY25" fmla="*/ 359689 h 912354"/>
              <a:gd name="connsiteX26" fmla="*/ 97170 w 1248882"/>
              <a:gd name="connsiteY26" fmla="*/ 84934 h 912354"/>
              <a:gd name="connsiteX27" fmla="*/ 97100 w 1248882"/>
              <a:gd name="connsiteY27" fmla="*/ 84854 h 912354"/>
              <a:gd name="connsiteX28" fmla="*/ 92641 w 1248882"/>
              <a:gd name="connsiteY28" fmla="*/ 86106 h 912354"/>
              <a:gd name="connsiteX29" fmla="*/ 83322 w 1248882"/>
              <a:gd name="connsiteY29" fmla="*/ 98353 h 912354"/>
              <a:gd name="connsiteX30" fmla="*/ 83306 w 1248882"/>
              <a:gd name="connsiteY30" fmla="*/ 104410 h 912354"/>
              <a:gd name="connsiteX31" fmla="*/ 84058 w 1248882"/>
              <a:gd name="connsiteY31" fmla="*/ 106600 h 912354"/>
              <a:gd name="connsiteX32" fmla="*/ 84057 w 1248882"/>
              <a:gd name="connsiteY32" fmla="*/ 212545 h 912354"/>
              <a:gd name="connsiteX33" fmla="*/ 42843 w 1248882"/>
              <a:gd name="connsiteY33" fmla="*/ 236780 h 912354"/>
              <a:gd name="connsiteX34" fmla="*/ 4867 w 1248882"/>
              <a:gd name="connsiteY34"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97170 w 1248882"/>
              <a:gd name="connsiteY25" fmla="*/ 84934 h 912354"/>
              <a:gd name="connsiteX26" fmla="*/ 97100 w 1248882"/>
              <a:gd name="connsiteY26" fmla="*/ 84854 h 912354"/>
              <a:gd name="connsiteX27" fmla="*/ 92641 w 1248882"/>
              <a:gd name="connsiteY27" fmla="*/ 86106 h 912354"/>
              <a:gd name="connsiteX28" fmla="*/ 83322 w 1248882"/>
              <a:gd name="connsiteY28" fmla="*/ 98353 h 912354"/>
              <a:gd name="connsiteX29" fmla="*/ 83306 w 1248882"/>
              <a:gd name="connsiteY29" fmla="*/ 104410 h 912354"/>
              <a:gd name="connsiteX30" fmla="*/ 84058 w 1248882"/>
              <a:gd name="connsiteY30" fmla="*/ 106600 h 912354"/>
              <a:gd name="connsiteX31" fmla="*/ 84057 w 1248882"/>
              <a:gd name="connsiteY31" fmla="*/ 212545 h 912354"/>
              <a:gd name="connsiteX32" fmla="*/ 42843 w 1248882"/>
              <a:gd name="connsiteY32" fmla="*/ 236780 h 912354"/>
              <a:gd name="connsiteX33" fmla="*/ 4867 w 1248882"/>
              <a:gd name="connsiteY33"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95504 w 1248882"/>
              <a:gd name="connsiteY10" fmla="*/ 342628 h 912354"/>
              <a:gd name="connsiteX11" fmla="*/ 1195107 w 1248882"/>
              <a:gd name="connsiteY11" fmla="*/ 625705 h 912354"/>
              <a:gd name="connsiteX12" fmla="*/ 1233715 w 1248882"/>
              <a:gd name="connsiteY12" fmla="*/ 663595 h 912354"/>
              <a:gd name="connsiteX13" fmla="*/ 1246207 w 1248882"/>
              <a:gd name="connsiteY13" fmla="*/ 704430 h 912354"/>
              <a:gd name="connsiteX14" fmla="*/ 1247236 w 1248882"/>
              <a:gd name="connsiteY14" fmla="*/ 715969 h 912354"/>
              <a:gd name="connsiteX15" fmla="*/ 1248882 w 1248882"/>
              <a:gd name="connsiteY15" fmla="*/ 733604 h 912354"/>
              <a:gd name="connsiteX16" fmla="*/ 1248882 w 1248882"/>
              <a:gd name="connsiteY16" fmla="*/ 888119 h 912354"/>
              <a:gd name="connsiteX17" fmla="*/ 1207667 w 1248882"/>
              <a:gd name="connsiteY17" fmla="*/ 912354 h 912354"/>
              <a:gd name="connsiteX18" fmla="*/ 1169691 w 1248882"/>
              <a:gd name="connsiteY18" fmla="*/ 897552 h 912354"/>
              <a:gd name="connsiteX19" fmla="*/ 1166452 w 1248882"/>
              <a:gd name="connsiteY19" fmla="*/ 888119 h 912354"/>
              <a:gd name="connsiteX20" fmla="*/ 1164480 w 1248882"/>
              <a:gd name="connsiteY20" fmla="*/ 718004 h 912354"/>
              <a:gd name="connsiteX21" fmla="*/ 1164797 w 1248882"/>
              <a:gd name="connsiteY21" fmla="*/ 719337 h 912354"/>
              <a:gd name="connsiteX22" fmla="*/ 1164813 w 1248882"/>
              <a:gd name="connsiteY22" fmla="*/ 716747 h 912354"/>
              <a:gd name="connsiteX23" fmla="*/ 1153233 w 1248882"/>
              <a:gd name="connsiteY23" fmla="*/ 696690 h 912354"/>
              <a:gd name="connsiteX24" fmla="*/ 97170 w 1248882"/>
              <a:gd name="connsiteY24" fmla="*/ 84934 h 912354"/>
              <a:gd name="connsiteX25" fmla="*/ 97100 w 1248882"/>
              <a:gd name="connsiteY25" fmla="*/ 84854 h 912354"/>
              <a:gd name="connsiteX26" fmla="*/ 92641 w 1248882"/>
              <a:gd name="connsiteY26" fmla="*/ 86106 h 912354"/>
              <a:gd name="connsiteX27" fmla="*/ 83322 w 1248882"/>
              <a:gd name="connsiteY27" fmla="*/ 98353 h 912354"/>
              <a:gd name="connsiteX28" fmla="*/ 83306 w 1248882"/>
              <a:gd name="connsiteY28" fmla="*/ 104410 h 912354"/>
              <a:gd name="connsiteX29" fmla="*/ 84058 w 1248882"/>
              <a:gd name="connsiteY29" fmla="*/ 106600 h 912354"/>
              <a:gd name="connsiteX30" fmla="*/ 84057 w 1248882"/>
              <a:gd name="connsiteY30" fmla="*/ 212545 h 912354"/>
              <a:gd name="connsiteX31" fmla="*/ 42843 w 1248882"/>
              <a:gd name="connsiteY31" fmla="*/ 236780 h 912354"/>
              <a:gd name="connsiteX32" fmla="*/ 4867 w 1248882"/>
              <a:gd name="connsiteY32"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95504 w 1248882"/>
              <a:gd name="connsiteY9" fmla="*/ 342628 h 912354"/>
              <a:gd name="connsiteX10" fmla="*/ 1195107 w 1248882"/>
              <a:gd name="connsiteY10" fmla="*/ 625705 h 912354"/>
              <a:gd name="connsiteX11" fmla="*/ 1233715 w 1248882"/>
              <a:gd name="connsiteY11" fmla="*/ 663595 h 912354"/>
              <a:gd name="connsiteX12" fmla="*/ 1246207 w 1248882"/>
              <a:gd name="connsiteY12" fmla="*/ 704430 h 912354"/>
              <a:gd name="connsiteX13" fmla="*/ 1247236 w 1248882"/>
              <a:gd name="connsiteY13" fmla="*/ 715969 h 912354"/>
              <a:gd name="connsiteX14" fmla="*/ 1248882 w 1248882"/>
              <a:gd name="connsiteY14" fmla="*/ 733604 h 912354"/>
              <a:gd name="connsiteX15" fmla="*/ 1248882 w 1248882"/>
              <a:gd name="connsiteY15" fmla="*/ 888119 h 912354"/>
              <a:gd name="connsiteX16" fmla="*/ 1207667 w 1248882"/>
              <a:gd name="connsiteY16" fmla="*/ 912354 h 912354"/>
              <a:gd name="connsiteX17" fmla="*/ 1169691 w 1248882"/>
              <a:gd name="connsiteY17" fmla="*/ 897552 h 912354"/>
              <a:gd name="connsiteX18" fmla="*/ 1166452 w 1248882"/>
              <a:gd name="connsiteY18" fmla="*/ 888119 h 912354"/>
              <a:gd name="connsiteX19" fmla="*/ 1164480 w 1248882"/>
              <a:gd name="connsiteY19" fmla="*/ 718004 h 912354"/>
              <a:gd name="connsiteX20" fmla="*/ 1164797 w 1248882"/>
              <a:gd name="connsiteY20" fmla="*/ 719337 h 912354"/>
              <a:gd name="connsiteX21" fmla="*/ 1164813 w 1248882"/>
              <a:gd name="connsiteY21" fmla="*/ 716747 h 912354"/>
              <a:gd name="connsiteX22" fmla="*/ 1153233 w 1248882"/>
              <a:gd name="connsiteY22" fmla="*/ 696690 h 912354"/>
              <a:gd name="connsiteX23" fmla="*/ 97170 w 1248882"/>
              <a:gd name="connsiteY23" fmla="*/ 84934 h 912354"/>
              <a:gd name="connsiteX24" fmla="*/ 97100 w 1248882"/>
              <a:gd name="connsiteY24" fmla="*/ 84854 h 912354"/>
              <a:gd name="connsiteX25" fmla="*/ 92641 w 1248882"/>
              <a:gd name="connsiteY25" fmla="*/ 86106 h 912354"/>
              <a:gd name="connsiteX26" fmla="*/ 83322 w 1248882"/>
              <a:gd name="connsiteY26" fmla="*/ 98353 h 912354"/>
              <a:gd name="connsiteX27" fmla="*/ 83306 w 1248882"/>
              <a:gd name="connsiteY27" fmla="*/ 104410 h 912354"/>
              <a:gd name="connsiteX28" fmla="*/ 84058 w 1248882"/>
              <a:gd name="connsiteY28" fmla="*/ 106600 h 912354"/>
              <a:gd name="connsiteX29" fmla="*/ 84057 w 1248882"/>
              <a:gd name="connsiteY29" fmla="*/ 212545 h 912354"/>
              <a:gd name="connsiteX30" fmla="*/ 42843 w 1248882"/>
              <a:gd name="connsiteY30" fmla="*/ 236780 h 912354"/>
              <a:gd name="connsiteX31" fmla="*/ 4867 w 1248882"/>
              <a:gd name="connsiteY31"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95504 w 1248882"/>
              <a:gd name="connsiteY8" fmla="*/ 342628 h 912354"/>
              <a:gd name="connsiteX9" fmla="*/ 1195107 w 1248882"/>
              <a:gd name="connsiteY9" fmla="*/ 625705 h 912354"/>
              <a:gd name="connsiteX10" fmla="*/ 1233715 w 1248882"/>
              <a:gd name="connsiteY10" fmla="*/ 663595 h 912354"/>
              <a:gd name="connsiteX11" fmla="*/ 1246207 w 1248882"/>
              <a:gd name="connsiteY11" fmla="*/ 704430 h 912354"/>
              <a:gd name="connsiteX12" fmla="*/ 1247236 w 1248882"/>
              <a:gd name="connsiteY12" fmla="*/ 715969 h 912354"/>
              <a:gd name="connsiteX13" fmla="*/ 1248882 w 1248882"/>
              <a:gd name="connsiteY13" fmla="*/ 733604 h 912354"/>
              <a:gd name="connsiteX14" fmla="*/ 1248882 w 1248882"/>
              <a:gd name="connsiteY14" fmla="*/ 888119 h 912354"/>
              <a:gd name="connsiteX15" fmla="*/ 1207667 w 1248882"/>
              <a:gd name="connsiteY15" fmla="*/ 912354 h 912354"/>
              <a:gd name="connsiteX16" fmla="*/ 1169691 w 1248882"/>
              <a:gd name="connsiteY16" fmla="*/ 897552 h 912354"/>
              <a:gd name="connsiteX17" fmla="*/ 1166452 w 1248882"/>
              <a:gd name="connsiteY17" fmla="*/ 888119 h 912354"/>
              <a:gd name="connsiteX18" fmla="*/ 1164480 w 1248882"/>
              <a:gd name="connsiteY18" fmla="*/ 718004 h 912354"/>
              <a:gd name="connsiteX19" fmla="*/ 1164797 w 1248882"/>
              <a:gd name="connsiteY19" fmla="*/ 719337 h 912354"/>
              <a:gd name="connsiteX20" fmla="*/ 1164813 w 1248882"/>
              <a:gd name="connsiteY20" fmla="*/ 716747 h 912354"/>
              <a:gd name="connsiteX21" fmla="*/ 1153233 w 1248882"/>
              <a:gd name="connsiteY21" fmla="*/ 696690 h 912354"/>
              <a:gd name="connsiteX22" fmla="*/ 97170 w 1248882"/>
              <a:gd name="connsiteY22" fmla="*/ 84934 h 912354"/>
              <a:gd name="connsiteX23" fmla="*/ 97100 w 1248882"/>
              <a:gd name="connsiteY23" fmla="*/ 84854 h 912354"/>
              <a:gd name="connsiteX24" fmla="*/ 92641 w 1248882"/>
              <a:gd name="connsiteY24" fmla="*/ 86106 h 912354"/>
              <a:gd name="connsiteX25" fmla="*/ 83322 w 1248882"/>
              <a:gd name="connsiteY25" fmla="*/ 98353 h 912354"/>
              <a:gd name="connsiteX26" fmla="*/ 83306 w 1248882"/>
              <a:gd name="connsiteY26" fmla="*/ 104410 h 912354"/>
              <a:gd name="connsiteX27" fmla="*/ 84058 w 1248882"/>
              <a:gd name="connsiteY27" fmla="*/ 106600 h 912354"/>
              <a:gd name="connsiteX28" fmla="*/ 84057 w 1248882"/>
              <a:gd name="connsiteY28" fmla="*/ 212545 h 912354"/>
              <a:gd name="connsiteX29" fmla="*/ 42843 w 1248882"/>
              <a:gd name="connsiteY29" fmla="*/ 236780 h 912354"/>
              <a:gd name="connsiteX30" fmla="*/ 4867 w 1248882"/>
              <a:gd name="connsiteY30"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95504 w 1248882"/>
              <a:gd name="connsiteY7" fmla="*/ 342628 h 912354"/>
              <a:gd name="connsiteX8" fmla="*/ 1195107 w 1248882"/>
              <a:gd name="connsiteY8" fmla="*/ 625705 h 912354"/>
              <a:gd name="connsiteX9" fmla="*/ 1233715 w 1248882"/>
              <a:gd name="connsiteY9" fmla="*/ 663595 h 912354"/>
              <a:gd name="connsiteX10" fmla="*/ 1246207 w 1248882"/>
              <a:gd name="connsiteY10" fmla="*/ 704430 h 912354"/>
              <a:gd name="connsiteX11" fmla="*/ 1247236 w 1248882"/>
              <a:gd name="connsiteY11" fmla="*/ 715969 h 912354"/>
              <a:gd name="connsiteX12" fmla="*/ 1248882 w 1248882"/>
              <a:gd name="connsiteY12" fmla="*/ 733604 h 912354"/>
              <a:gd name="connsiteX13" fmla="*/ 1248882 w 1248882"/>
              <a:gd name="connsiteY13" fmla="*/ 888119 h 912354"/>
              <a:gd name="connsiteX14" fmla="*/ 1207667 w 1248882"/>
              <a:gd name="connsiteY14" fmla="*/ 912354 h 912354"/>
              <a:gd name="connsiteX15" fmla="*/ 1169691 w 1248882"/>
              <a:gd name="connsiteY15" fmla="*/ 897552 h 912354"/>
              <a:gd name="connsiteX16" fmla="*/ 1166452 w 1248882"/>
              <a:gd name="connsiteY16" fmla="*/ 888119 h 912354"/>
              <a:gd name="connsiteX17" fmla="*/ 1164480 w 1248882"/>
              <a:gd name="connsiteY17" fmla="*/ 718004 h 912354"/>
              <a:gd name="connsiteX18" fmla="*/ 1164797 w 1248882"/>
              <a:gd name="connsiteY18" fmla="*/ 719337 h 912354"/>
              <a:gd name="connsiteX19" fmla="*/ 1164813 w 1248882"/>
              <a:gd name="connsiteY19" fmla="*/ 716747 h 912354"/>
              <a:gd name="connsiteX20" fmla="*/ 1153233 w 1248882"/>
              <a:gd name="connsiteY20" fmla="*/ 696690 h 912354"/>
              <a:gd name="connsiteX21" fmla="*/ 97170 w 1248882"/>
              <a:gd name="connsiteY21" fmla="*/ 84934 h 912354"/>
              <a:gd name="connsiteX22" fmla="*/ 97100 w 1248882"/>
              <a:gd name="connsiteY22" fmla="*/ 84854 h 912354"/>
              <a:gd name="connsiteX23" fmla="*/ 92641 w 1248882"/>
              <a:gd name="connsiteY23" fmla="*/ 86106 h 912354"/>
              <a:gd name="connsiteX24" fmla="*/ 83322 w 1248882"/>
              <a:gd name="connsiteY24" fmla="*/ 98353 h 912354"/>
              <a:gd name="connsiteX25" fmla="*/ 83306 w 1248882"/>
              <a:gd name="connsiteY25" fmla="*/ 104410 h 912354"/>
              <a:gd name="connsiteX26" fmla="*/ 84058 w 1248882"/>
              <a:gd name="connsiteY26" fmla="*/ 106600 h 912354"/>
              <a:gd name="connsiteX27" fmla="*/ 84057 w 1248882"/>
              <a:gd name="connsiteY27" fmla="*/ 212545 h 912354"/>
              <a:gd name="connsiteX28" fmla="*/ 42843 w 1248882"/>
              <a:gd name="connsiteY28" fmla="*/ 236780 h 912354"/>
              <a:gd name="connsiteX29" fmla="*/ 4867 w 1248882"/>
              <a:gd name="connsiteY29"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1195107 w 1248882"/>
              <a:gd name="connsiteY7" fmla="*/ 625705 h 912354"/>
              <a:gd name="connsiteX8" fmla="*/ 1233715 w 1248882"/>
              <a:gd name="connsiteY8" fmla="*/ 663595 h 912354"/>
              <a:gd name="connsiteX9" fmla="*/ 1246207 w 1248882"/>
              <a:gd name="connsiteY9" fmla="*/ 704430 h 912354"/>
              <a:gd name="connsiteX10" fmla="*/ 1247236 w 1248882"/>
              <a:gd name="connsiteY10" fmla="*/ 715969 h 912354"/>
              <a:gd name="connsiteX11" fmla="*/ 1248882 w 1248882"/>
              <a:gd name="connsiteY11" fmla="*/ 733604 h 912354"/>
              <a:gd name="connsiteX12" fmla="*/ 1248882 w 1248882"/>
              <a:gd name="connsiteY12" fmla="*/ 888119 h 912354"/>
              <a:gd name="connsiteX13" fmla="*/ 1207667 w 1248882"/>
              <a:gd name="connsiteY13" fmla="*/ 912354 h 912354"/>
              <a:gd name="connsiteX14" fmla="*/ 1169691 w 1248882"/>
              <a:gd name="connsiteY14" fmla="*/ 897552 h 912354"/>
              <a:gd name="connsiteX15" fmla="*/ 1166452 w 1248882"/>
              <a:gd name="connsiteY15" fmla="*/ 888119 h 912354"/>
              <a:gd name="connsiteX16" fmla="*/ 1164480 w 1248882"/>
              <a:gd name="connsiteY16" fmla="*/ 718004 h 912354"/>
              <a:gd name="connsiteX17" fmla="*/ 1164797 w 1248882"/>
              <a:gd name="connsiteY17" fmla="*/ 719337 h 912354"/>
              <a:gd name="connsiteX18" fmla="*/ 1164813 w 1248882"/>
              <a:gd name="connsiteY18" fmla="*/ 716747 h 912354"/>
              <a:gd name="connsiteX19" fmla="*/ 1153233 w 1248882"/>
              <a:gd name="connsiteY19" fmla="*/ 696690 h 912354"/>
              <a:gd name="connsiteX20" fmla="*/ 97170 w 1248882"/>
              <a:gd name="connsiteY20" fmla="*/ 84934 h 912354"/>
              <a:gd name="connsiteX21" fmla="*/ 97100 w 1248882"/>
              <a:gd name="connsiteY21" fmla="*/ 84854 h 912354"/>
              <a:gd name="connsiteX22" fmla="*/ 92641 w 1248882"/>
              <a:gd name="connsiteY22" fmla="*/ 86106 h 912354"/>
              <a:gd name="connsiteX23" fmla="*/ 83322 w 1248882"/>
              <a:gd name="connsiteY23" fmla="*/ 98353 h 912354"/>
              <a:gd name="connsiteX24" fmla="*/ 83306 w 1248882"/>
              <a:gd name="connsiteY24" fmla="*/ 104410 h 912354"/>
              <a:gd name="connsiteX25" fmla="*/ 84058 w 1248882"/>
              <a:gd name="connsiteY25" fmla="*/ 106600 h 912354"/>
              <a:gd name="connsiteX26" fmla="*/ 84057 w 1248882"/>
              <a:gd name="connsiteY26" fmla="*/ 212545 h 912354"/>
              <a:gd name="connsiteX27" fmla="*/ 42843 w 1248882"/>
              <a:gd name="connsiteY27" fmla="*/ 236780 h 912354"/>
              <a:gd name="connsiteX28" fmla="*/ 4867 w 1248882"/>
              <a:gd name="connsiteY28" fmla="*/ 221977 h 912354"/>
              <a:gd name="connsiteX0" fmla="*/ 4867 w 1248882"/>
              <a:gd name="connsiteY0" fmla="*/ 221977 h 922894"/>
              <a:gd name="connsiteX1" fmla="*/ 1628 w 1248882"/>
              <a:gd name="connsiteY1" fmla="*/ 212544 h 922894"/>
              <a:gd name="connsiteX2" fmla="*/ 911 w 1248882"/>
              <a:gd name="connsiteY2" fmla="*/ 97581 h 922894"/>
              <a:gd name="connsiteX3" fmla="*/ 14421 w 1248882"/>
              <a:gd name="connsiteY3" fmla="*/ 45201 h 922894"/>
              <a:gd name="connsiteX4" fmla="*/ 43539 w 1248882"/>
              <a:gd name="connsiteY4" fmla="*/ 13965 h 922894"/>
              <a:gd name="connsiteX5" fmla="*/ 86141 w 1248882"/>
              <a:gd name="connsiteY5" fmla="*/ 108 h 922894"/>
              <a:gd name="connsiteX6" fmla="*/ 118741 w 1248882"/>
              <a:gd name="connsiteY6" fmla="*/ 5629 h 922894"/>
              <a:gd name="connsiteX7" fmla="*/ 1195107 w 1248882"/>
              <a:gd name="connsiteY7" fmla="*/ 625705 h 922894"/>
              <a:gd name="connsiteX8" fmla="*/ 1233715 w 1248882"/>
              <a:gd name="connsiteY8" fmla="*/ 663595 h 922894"/>
              <a:gd name="connsiteX9" fmla="*/ 1246207 w 1248882"/>
              <a:gd name="connsiteY9" fmla="*/ 704430 h 922894"/>
              <a:gd name="connsiteX10" fmla="*/ 1247236 w 1248882"/>
              <a:gd name="connsiteY10" fmla="*/ 715969 h 922894"/>
              <a:gd name="connsiteX11" fmla="*/ 1248882 w 1248882"/>
              <a:gd name="connsiteY11" fmla="*/ 733604 h 922894"/>
              <a:gd name="connsiteX12" fmla="*/ 1207667 w 1248882"/>
              <a:gd name="connsiteY12" fmla="*/ 912354 h 922894"/>
              <a:gd name="connsiteX13" fmla="*/ 1169691 w 1248882"/>
              <a:gd name="connsiteY13" fmla="*/ 897552 h 922894"/>
              <a:gd name="connsiteX14" fmla="*/ 1166452 w 1248882"/>
              <a:gd name="connsiteY14" fmla="*/ 888119 h 922894"/>
              <a:gd name="connsiteX15" fmla="*/ 1164480 w 1248882"/>
              <a:gd name="connsiteY15" fmla="*/ 718004 h 922894"/>
              <a:gd name="connsiteX16" fmla="*/ 1164797 w 1248882"/>
              <a:gd name="connsiteY16" fmla="*/ 719337 h 922894"/>
              <a:gd name="connsiteX17" fmla="*/ 1164813 w 1248882"/>
              <a:gd name="connsiteY17" fmla="*/ 716747 h 922894"/>
              <a:gd name="connsiteX18" fmla="*/ 1153233 w 1248882"/>
              <a:gd name="connsiteY18" fmla="*/ 696690 h 922894"/>
              <a:gd name="connsiteX19" fmla="*/ 97170 w 1248882"/>
              <a:gd name="connsiteY19" fmla="*/ 84934 h 922894"/>
              <a:gd name="connsiteX20" fmla="*/ 97100 w 1248882"/>
              <a:gd name="connsiteY20" fmla="*/ 84854 h 922894"/>
              <a:gd name="connsiteX21" fmla="*/ 92641 w 1248882"/>
              <a:gd name="connsiteY21" fmla="*/ 86106 h 922894"/>
              <a:gd name="connsiteX22" fmla="*/ 83322 w 1248882"/>
              <a:gd name="connsiteY22" fmla="*/ 98353 h 922894"/>
              <a:gd name="connsiteX23" fmla="*/ 83306 w 1248882"/>
              <a:gd name="connsiteY23" fmla="*/ 104410 h 922894"/>
              <a:gd name="connsiteX24" fmla="*/ 84058 w 1248882"/>
              <a:gd name="connsiteY24" fmla="*/ 106600 h 922894"/>
              <a:gd name="connsiteX25" fmla="*/ 84057 w 1248882"/>
              <a:gd name="connsiteY25" fmla="*/ 212545 h 922894"/>
              <a:gd name="connsiteX26" fmla="*/ 42843 w 1248882"/>
              <a:gd name="connsiteY26" fmla="*/ 236780 h 922894"/>
              <a:gd name="connsiteX27" fmla="*/ 4867 w 1248882"/>
              <a:gd name="connsiteY27" fmla="*/ 221977 h 922894"/>
              <a:gd name="connsiteX0" fmla="*/ 4867 w 1248882"/>
              <a:gd name="connsiteY0" fmla="*/ 221977 h 907529"/>
              <a:gd name="connsiteX1" fmla="*/ 1628 w 1248882"/>
              <a:gd name="connsiteY1" fmla="*/ 212544 h 907529"/>
              <a:gd name="connsiteX2" fmla="*/ 911 w 1248882"/>
              <a:gd name="connsiteY2" fmla="*/ 97581 h 907529"/>
              <a:gd name="connsiteX3" fmla="*/ 14421 w 1248882"/>
              <a:gd name="connsiteY3" fmla="*/ 45201 h 907529"/>
              <a:gd name="connsiteX4" fmla="*/ 43539 w 1248882"/>
              <a:gd name="connsiteY4" fmla="*/ 13965 h 907529"/>
              <a:gd name="connsiteX5" fmla="*/ 86141 w 1248882"/>
              <a:gd name="connsiteY5" fmla="*/ 108 h 907529"/>
              <a:gd name="connsiteX6" fmla="*/ 118741 w 1248882"/>
              <a:gd name="connsiteY6" fmla="*/ 5629 h 907529"/>
              <a:gd name="connsiteX7" fmla="*/ 1195107 w 1248882"/>
              <a:gd name="connsiteY7" fmla="*/ 625705 h 907529"/>
              <a:gd name="connsiteX8" fmla="*/ 1233715 w 1248882"/>
              <a:gd name="connsiteY8" fmla="*/ 663595 h 907529"/>
              <a:gd name="connsiteX9" fmla="*/ 1246207 w 1248882"/>
              <a:gd name="connsiteY9" fmla="*/ 704430 h 907529"/>
              <a:gd name="connsiteX10" fmla="*/ 1247236 w 1248882"/>
              <a:gd name="connsiteY10" fmla="*/ 715969 h 907529"/>
              <a:gd name="connsiteX11" fmla="*/ 1248882 w 1248882"/>
              <a:gd name="connsiteY11" fmla="*/ 733604 h 907529"/>
              <a:gd name="connsiteX12" fmla="*/ 1169691 w 1248882"/>
              <a:gd name="connsiteY12" fmla="*/ 897552 h 907529"/>
              <a:gd name="connsiteX13" fmla="*/ 1166452 w 1248882"/>
              <a:gd name="connsiteY13" fmla="*/ 888119 h 907529"/>
              <a:gd name="connsiteX14" fmla="*/ 1164480 w 1248882"/>
              <a:gd name="connsiteY14" fmla="*/ 718004 h 907529"/>
              <a:gd name="connsiteX15" fmla="*/ 1164797 w 1248882"/>
              <a:gd name="connsiteY15" fmla="*/ 719337 h 907529"/>
              <a:gd name="connsiteX16" fmla="*/ 1164813 w 1248882"/>
              <a:gd name="connsiteY16" fmla="*/ 716747 h 907529"/>
              <a:gd name="connsiteX17" fmla="*/ 1153233 w 1248882"/>
              <a:gd name="connsiteY17" fmla="*/ 696690 h 907529"/>
              <a:gd name="connsiteX18" fmla="*/ 97170 w 1248882"/>
              <a:gd name="connsiteY18" fmla="*/ 84934 h 907529"/>
              <a:gd name="connsiteX19" fmla="*/ 97100 w 1248882"/>
              <a:gd name="connsiteY19" fmla="*/ 84854 h 907529"/>
              <a:gd name="connsiteX20" fmla="*/ 92641 w 1248882"/>
              <a:gd name="connsiteY20" fmla="*/ 86106 h 907529"/>
              <a:gd name="connsiteX21" fmla="*/ 83322 w 1248882"/>
              <a:gd name="connsiteY21" fmla="*/ 98353 h 907529"/>
              <a:gd name="connsiteX22" fmla="*/ 83306 w 1248882"/>
              <a:gd name="connsiteY22" fmla="*/ 104410 h 907529"/>
              <a:gd name="connsiteX23" fmla="*/ 84058 w 1248882"/>
              <a:gd name="connsiteY23" fmla="*/ 106600 h 907529"/>
              <a:gd name="connsiteX24" fmla="*/ 84057 w 1248882"/>
              <a:gd name="connsiteY24" fmla="*/ 212545 h 907529"/>
              <a:gd name="connsiteX25" fmla="*/ 42843 w 1248882"/>
              <a:gd name="connsiteY25" fmla="*/ 236780 h 907529"/>
              <a:gd name="connsiteX26" fmla="*/ 4867 w 1248882"/>
              <a:gd name="connsiteY26" fmla="*/ 221977 h 907529"/>
              <a:gd name="connsiteX0" fmla="*/ 4867 w 1248882"/>
              <a:gd name="connsiteY0" fmla="*/ 221977 h 888157"/>
              <a:gd name="connsiteX1" fmla="*/ 1628 w 1248882"/>
              <a:gd name="connsiteY1" fmla="*/ 212544 h 888157"/>
              <a:gd name="connsiteX2" fmla="*/ 911 w 1248882"/>
              <a:gd name="connsiteY2" fmla="*/ 97581 h 888157"/>
              <a:gd name="connsiteX3" fmla="*/ 14421 w 1248882"/>
              <a:gd name="connsiteY3" fmla="*/ 45201 h 888157"/>
              <a:gd name="connsiteX4" fmla="*/ 43539 w 1248882"/>
              <a:gd name="connsiteY4" fmla="*/ 13965 h 888157"/>
              <a:gd name="connsiteX5" fmla="*/ 86141 w 1248882"/>
              <a:gd name="connsiteY5" fmla="*/ 108 h 888157"/>
              <a:gd name="connsiteX6" fmla="*/ 118741 w 1248882"/>
              <a:gd name="connsiteY6" fmla="*/ 5629 h 888157"/>
              <a:gd name="connsiteX7" fmla="*/ 1195107 w 1248882"/>
              <a:gd name="connsiteY7" fmla="*/ 625705 h 888157"/>
              <a:gd name="connsiteX8" fmla="*/ 1233715 w 1248882"/>
              <a:gd name="connsiteY8" fmla="*/ 663595 h 888157"/>
              <a:gd name="connsiteX9" fmla="*/ 1246207 w 1248882"/>
              <a:gd name="connsiteY9" fmla="*/ 704430 h 888157"/>
              <a:gd name="connsiteX10" fmla="*/ 1247236 w 1248882"/>
              <a:gd name="connsiteY10" fmla="*/ 715969 h 888157"/>
              <a:gd name="connsiteX11" fmla="*/ 1248882 w 1248882"/>
              <a:gd name="connsiteY11" fmla="*/ 733604 h 888157"/>
              <a:gd name="connsiteX12" fmla="*/ 1166452 w 1248882"/>
              <a:gd name="connsiteY12" fmla="*/ 888119 h 888157"/>
              <a:gd name="connsiteX13" fmla="*/ 1164480 w 1248882"/>
              <a:gd name="connsiteY13" fmla="*/ 718004 h 888157"/>
              <a:gd name="connsiteX14" fmla="*/ 1164797 w 1248882"/>
              <a:gd name="connsiteY14" fmla="*/ 719337 h 888157"/>
              <a:gd name="connsiteX15" fmla="*/ 1164813 w 1248882"/>
              <a:gd name="connsiteY15" fmla="*/ 716747 h 888157"/>
              <a:gd name="connsiteX16" fmla="*/ 1153233 w 1248882"/>
              <a:gd name="connsiteY16" fmla="*/ 696690 h 888157"/>
              <a:gd name="connsiteX17" fmla="*/ 97170 w 1248882"/>
              <a:gd name="connsiteY17" fmla="*/ 84934 h 888157"/>
              <a:gd name="connsiteX18" fmla="*/ 97100 w 1248882"/>
              <a:gd name="connsiteY18" fmla="*/ 84854 h 888157"/>
              <a:gd name="connsiteX19" fmla="*/ 92641 w 1248882"/>
              <a:gd name="connsiteY19" fmla="*/ 86106 h 888157"/>
              <a:gd name="connsiteX20" fmla="*/ 83322 w 1248882"/>
              <a:gd name="connsiteY20" fmla="*/ 98353 h 888157"/>
              <a:gd name="connsiteX21" fmla="*/ 83306 w 1248882"/>
              <a:gd name="connsiteY21" fmla="*/ 104410 h 888157"/>
              <a:gd name="connsiteX22" fmla="*/ 84058 w 1248882"/>
              <a:gd name="connsiteY22" fmla="*/ 106600 h 888157"/>
              <a:gd name="connsiteX23" fmla="*/ 84057 w 1248882"/>
              <a:gd name="connsiteY23" fmla="*/ 212545 h 888157"/>
              <a:gd name="connsiteX24" fmla="*/ 42843 w 1248882"/>
              <a:gd name="connsiteY24" fmla="*/ 236780 h 888157"/>
              <a:gd name="connsiteX25" fmla="*/ 4867 w 1248882"/>
              <a:gd name="connsiteY25" fmla="*/ 221977 h 888157"/>
              <a:gd name="connsiteX0" fmla="*/ 4867 w 1248882"/>
              <a:gd name="connsiteY0" fmla="*/ 221977 h 733610"/>
              <a:gd name="connsiteX1" fmla="*/ 1628 w 1248882"/>
              <a:gd name="connsiteY1" fmla="*/ 212544 h 733610"/>
              <a:gd name="connsiteX2" fmla="*/ 911 w 1248882"/>
              <a:gd name="connsiteY2" fmla="*/ 97581 h 733610"/>
              <a:gd name="connsiteX3" fmla="*/ 14421 w 1248882"/>
              <a:gd name="connsiteY3" fmla="*/ 45201 h 733610"/>
              <a:gd name="connsiteX4" fmla="*/ 43539 w 1248882"/>
              <a:gd name="connsiteY4" fmla="*/ 13965 h 733610"/>
              <a:gd name="connsiteX5" fmla="*/ 86141 w 1248882"/>
              <a:gd name="connsiteY5" fmla="*/ 108 h 733610"/>
              <a:gd name="connsiteX6" fmla="*/ 118741 w 1248882"/>
              <a:gd name="connsiteY6" fmla="*/ 5629 h 733610"/>
              <a:gd name="connsiteX7" fmla="*/ 1195107 w 1248882"/>
              <a:gd name="connsiteY7" fmla="*/ 625705 h 733610"/>
              <a:gd name="connsiteX8" fmla="*/ 1233715 w 1248882"/>
              <a:gd name="connsiteY8" fmla="*/ 663595 h 733610"/>
              <a:gd name="connsiteX9" fmla="*/ 1246207 w 1248882"/>
              <a:gd name="connsiteY9" fmla="*/ 704430 h 733610"/>
              <a:gd name="connsiteX10" fmla="*/ 1247236 w 1248882"/>
              <a:gd name="connsiteY10" fmla="*/ 715969 h 733610"/>
              <a:gd name="connsiteX11" fmla="*/ 1248882 w 1248882"/>
              <a:gd name="connsiteY11" fmla="*/ 733604 h 733610"/>
              <a:gd name="connsiteX12" fmla="*/ 1164480 w 1248882"/>
              <a:gd name="connsiteY12" fmla="*/ 718004 h 733610"/>
              <a:gd name="connsiteX13" fmla="*/ 1164797 w 1248882"/>
              <a:gd name="connsiteY13" fmla="*/ 719337 h 733610"/>
              <a:gd name="connsiteX14" fmla="*/ 1164813 w 1248882"/>
              <a:gd name="connsiteY14" fmla="*/ 716747 h 733610"/>
              <a:gd name="connsiteX15" fmla="*/ 1153233 w 1248882"/>
              <a:gd name="connsiteY15" fmla="*/ 696690 h 733610"/>
              <a:gd name="connsiteX16" fmla="*/ 97170 w 1248882"/>
              <a:gd name="connsiteY16" fmla="*/ 84934 h 733610"/>
              <a:gd name="connsiteX17" fmla="*/ 97100 w 1248882"/>
              <a:gd name="connsiteY17" fmla="*/ 84854 h 733610"/>
              <a:gd name="connsiteX18" fmla="*/ 92641 w 1248882"/>
              <a:gd name="connsiteY18" fmla="*/ 86106 h 733610"/>
              <a:gd name="connsiteX19" fmla="*/ 83322 w 1248882"/>
              <a:gd name="connsiteY19" fmla="*/ 98353 h 733610"/>
              <a:gd name="connsiteX20" fmla="*/ 83306 w 1248882"/>
              <a:gd name="connsiteY20" fmla="*/ 104410 h 733610"/>
              <a:gd name="connsiteX21" fmla="*/ 84058 w 1248882"/>
              <a:gd name="connsiteY21" fmla="*/ 106600 h 733610"/>
              <a:gd name="connsiteX22" fmla="*/ 84057 w 1248882"/>
              <a:gd name="connsiteY22" fmla="*/ 212545 h 733610"/>
              <a:gd name="connsiteX23" fmla="*/ 42843 w 1248882"/>
              <a:gd name="connsiteY23" fmla="*/ 236780 h 733610"/>
              <a:gd name="connsiteX24" fmla="*/ 4867 w 1248882"/>
              <a:gd name="connsiteY24" fmla="*/ 221977 h 733610"/>
              <a:gd name="connsiteX0" fmla="*/ 4867 w 1247417"/>
              <a:gd name="connsiteY0" fmla="*/ 221977 h 719337"/>
              <a:gd name="connsiteX1" fmla="*/ 1628 w 1247417"/>
              <a:gd name="connsiteY1" fmla="*/ 212544 h 719337"/>
              <a:gd name="connsiteX2" fmla="*/ 911 w 1247417"/>
              <a:gd name="connsiteY2" fmla="*/ 97581 h 719337"/>
              <a:gd name="connsiteX3" fmla="*/ 14421 w 1247417"/>
              <a:gd name="connsiteY3" fmla="*/ 45201 h 719337"/>
              <a:gd name="connsiteX4" fmla="*/ 43539 w 1247417"/>
              <a:gd name="connsiteY4" fmla="*/ 13965 h 719337"/>
              <a:gd name="connsiteX5" fmla="*/ 86141 w 1247417"/>
              <a:gd name="connsiteY5" fmla="*/ 108 h 719337"/>
              <a:gd name="connsiteX6" fmla="*/ 118741 w 1247417"/>
              <a:gd name="connsiteY6" fmla="*/ 5629 h 719337"/>
              <a:gd name="connsiteX7" fmla="*/ 1195107 w 1247417"/>
              <a:gd name="connsiteY7" fmla="*/ 625705 h 719337"/>
              <a:gd name="connsiteX8" fmla="*/ 1233715 w 1247417"/>
              <a:gd name="connsiteY8" fmla="*/ 663595 h 719337"/>
              <a:gd name="connsiteX9" fmla="*/ 1246207 w 1247417"/>
              <a:gd name="connsiteY9" fmla="*/ 704430 h 719337"/>
              <a:gd name="connsiteX10" fmla="*/ 1247236 w 1247417"/>
              <a:gd name="connsiteY10" fmla="*/ 715969 h 719337"/>
              <a:gd name="connsiteX11" fmla="*/ 1164480 w 1247417"/>
              <a:gd name="connsiteY11" fmla="*/ 718004 h 719337"/>
              <a:gd name="connsiteX12" fmla="*/ 1164797 w 1247417"/>
              <a:gd name="connsiteY12" fmla="*/ 719337 h 719337"/>
              <a:gd name="connsiteX13" fmla="*/ 1164813 w 1247417"/>
              <a:gd name="connsiteY13" fmla="*/ 716747 h 719337"/>
              <a:gd name="connsiteX14" fmla="*/ 1153233 w 1247417"/>
              <a:gd name="connsiteY14" fmla="*/ 696690 h 719337"/>
              <a:gd name="connsiteX15" fmla="*/ 97170 w 1247417"/>
              <a:gd name="connsiteY15" fmla="*/ 84934 h 719337"/>
              <a:gd name="connsiteX16" fmla="*/ 97100 w 1247417"/>
              <a:gd name="connsiteY16" fmla="*/ 84854 h 719337"/>
              <a:gd name="connsiteX17" fmla="*/ 92641 w 1247417"/>
              <a:gd name="connsiteY17" fmla="*/ 86106 h 719337"/>
              <a:gd name="connsiteX18" fmla="*/ 83322 w 1247417"/>
              <a:gd name="connsiteY18" fmla="*/ 98353 h 719337"/>
              <a:gd name="connsiteX19" fmla="*/ 83306 w 1247417"/>
              <a:gd name="connsiteY19" fmla="*/ 104410 h 719337"/>
              <a:gd name="connsiteX20" fmla="*/ 84058 w 1247417"/>
              <a:gd name="connsiteY20" fmla="*/ 106600 h 719337"/>
              <a:gd name="connsiteX21" fmla="*/ 84057 w 1247417"/>
              <a:gd name="connsiteY21" fmla="*/ 212545 h 719337"/>
              <a:gd name="connsiteX22" fmla="*/ 42843 w 1247417"/>
              <a:gd name="connsiteY22" fmla="*/ 236780 h 719337"/>
              <a:gd name="connsiteX23" fmla="*/ 4867 w 1247417"/>
              <a:gd name="connsiteY23" fmla="*/ 221977 h 719337"/>
              <a:gd name="connsiteX0" fmla="*/ 4867 w 1246207"/>
              <a:gd name="connsiteY0" fmla="*/ 221977 h 719337"/>
              <a:gd name="connsiteX1" fmla="*/ 1628 w 1246207"/>
              <a:gd name="connsiteY1" fmla="*/ 212544 h 719337"/>
              <a:gd name="connsiteX2" fmla="*/ 911 w 1246207"/>
              <a:gd name="connsiteY2" fmla="*/ 97581 h 719337"/>
              <a:gd name="connsiteX3" fmla="*/ 14421 w 1246207"/>
              <a:gd name="connsiteY3" fmla="*/ 45201 h 719337"/>
              <a:gd name="connsiteX4" fmla="*/ 43539 w 1246207"/>
              <a:gd name="connsiteY4" fmla="*/ 13965 h 719337"/>
              <a:gd name="connsiteX5" fmla="*/ 86141 w 1246207"/>
              <a:gd name="connsiteY5" fmla="*/ 108 h 719337"/>
              <a:gd name="connsiteX6" fmla="*/ 118741 w 1246207"/>
              <a:gd name="connsiteY6" fmla="*/ 5629 h 719337"/>
              <a:gd name="connsiteX7" fmla="*/ 1195107 w 1246207"/>
              <a:gd name="connsiteY7" fmla="*/ 625705 h 719337"/>
              <a:gd name="connsiteX8" fmla="*/ 1233715 w 1246207"/>
              <a:gd name="connsiteY8" fmla="*/ 663595 h 719337"/>
              <a:gd name="connsiteX9" fmla="*/ 1246207 w 1246207"/>
              <a:gd name="connsiteY9" fmla="*/ 704430 h 719337"/>
              <a:gd name="connsiteX10" fmla="*/ 1164480 w 1246207"/>
              <a:gd name="connsiteY10" fmla="*/ 718004 h 719337"/>
              <a:gd name="connsiteX11" fmla="*/ 1164797 w 1246207"/>
              <a:gd name="connsiteY11" fmla="*/ 719337 h 719337"/>
              <a:gd name="connsiteX12" fmla="*/ 1164813 w 1246207"/>
              <a:gd name="connsiteY12" fmla="*/ 716747 h 719337"/>
              <a:gd name="connsiteX13" fmla="*/ 1153233 w 1246207"/>
              <a:gd name="connsiteY13" fmla="*/ 696690 h 719337"/>
              <a:gd name="connsiteX14" fmla="*/ 97170 w 1246207"/>
              <a:gd name="connsiteY14" fmla="*/ 84934 h 719337"/>
              <a:gd name="connsiteX15" fmla="*/ 97100 w 1246207"/>
              <a:gd name="connsiteY15" fmla="*/ 84854 h 719337"/>
              <a:gd name="connsiteX16" fmla="*/ 92641 w 1246207"/>
              <a:gd name="connsiteY16" fmla="*/ 86106 h 719337"/>
              <a:gd name="connsiteX17" fmla="*/ 83322 w 1246207"/>
              <a:gd name="connsiteY17" fmla="*/ 98353 h 719337"/>
              <a:gd name="connsiteX18" fmla="*/ 83306 w 1246207"/>
              <a:gd name="connsiteY18" fmla="*/ 104410 h 719337"/>
              <a:gd name="connsiteX19" fmla="*/ 84058 w 1246207"/>
              <a:gd name="connsiteY19" fmla="*/ 106600 h 719337"/>
              <a:gd name="connsiteX20" fmla="*/ 84057 w 1246207"/>
              <a:gd name="connsiteY20" fmla="*/ 212545 h 719337"/>
              <a:gd name="connsiteX21" fmla="*/ 42843 w 1246207"/>
              <a:gd name="connsiteY21" fmla="*/ 236780 h 719337"/>
              <a:gd name="connsiteX22" fmla="*/ 4867 w 1246207"/>
              <a:gd name="connsiteY22" fmla="*/ 221977 h 719337"/>
              <a:gd name="connsiteX0" fmla="*/ 4867 w 1234291"/>
              <a:gd name="connsiteY0" fmla="*/ 221977 h 719337"/>
              <a:gd name="connsiteX1" fmla="*/ 1628 w 1234291"/>
              <a:gd name="connsiteY1" fmla="*/ 212544 h 719337"/>
              <a:gd name="connsiteX2" fmla="*/ 911 w 1234291"/>
              <a:gd name="connsiteY2" fmla="*/ 97581 h 719337"/>
              <a:gd name="connsiteX3" fmla="*/ 14421 w 1234291"/>
              <a:gd name="connsiteY3" fmla="*/ 45201 h 719337"/>
              <a:gd name="connsiteX4" fmla="*/ 43539 w 1234291"/>
              <a:gd name="connsiteY4" fmla="*/ 13965 h 719337"/>
              <a:gd name="connsiteX5" fmla="*/ 86141 w 1234291"/>
              <a:gd name="connsiteY5" fmla="*/ 108 h 719337"/>
              <a:gd name="connsiteX6" fmla="*/ 118741 w 1234291"/>
              <a:gd name="connsiteY6" fmla="*/ 5629 h 719337"/>
              <a:gd name="connsiteX7" fmla="*/ 1195107 w 1234291"/>
              <a:gd name="connsiteY7" fmla="*/ 625705 h 719337"/>
              <a:gd name="connsiteX8" fmla="*/ 1233715 w 1234291"/>
              <a:gd name="connsiteY8" fmla="*/ 663595 h 719337"/>
              <a:gd name="connsiteX9" fmla="*/ 1164480 w 1234291"/>
              <a:gd name="connsiteY9" fmla="*/ 718004 h 719337"/>
              <a:gd name="connsiteX10" fmla="*/ 1164797 w 1234291"/>
              <a:gd name="connsiteY10" fmla="*/ 719337 h 719337"/>
              <a:gd name="connsiteX11" fmla="*/ 1164813 w 1234291"/>
              <a:gd name="connsiteY11" fmla="*/ 716747 h 719337"/>
              <a:gd name="connsiteX12" fmla="*/ 1153233 w 1234291"/>
              <a:gd name="connsiteY12" fmla="*/ 696690 h 719337"/>
              <a:gd name="connsiteX13" fmla="*/ 97170 w 1234291"/>
              <a:gd name="connsiteY13" fmla="*/ 84934 h 719337"/>
              <a:gd name="connsiteX14" fmla="*/ 97100 w 1234291"/>
              <a:gd name="connsiteY14" fmla="*/ 84854 h 719337"/>
              <a:gd name="connsiteX15" fmla="*/ 92641 w 1234291"/>
              <a:gd name="connsiteY15" fmla="*/ 86106 h 719337"/>
              <a:gd name="connsiteX16" fmla="*/ 83322 w 1234291"/>
              <a:gd name="connsiteY16" fmla="*/ 98353 h 719337"/>
              <a:gd name="connsiteX17" fmla="*/ 83306 w 1234291"/>
              <a:gd name="connsiteY17" fmla="*/ 104410 h 719337"/>
              <a:gd name="connsiteX18" fmla="*/ 84058 w 1234291"/>
              <a:gd name="connsiteY18" fmla="*/ 106600 h 719337"/>
              <a:gd name="connsiteX19" fmla="*/ 84057 w 1234291"/>
              <a:gd name="connsiteY19" fmla="*/ 212545 h 719337"/>
              <a:gd name="connsiteX20" fmla="*/ 42843 w 1234291"/>
              <a:gd name="connsiteY20" fmla="*/ 236780 h 719337"/>
              <a:gd name="connsiteX21" fmla="*/ 4867 w 1234291"/>
              <a:gd name="connsiteY21" fmla="*/ 221977 h 719337"/>
              <a:gd name="connsiteX0" fmla="*/ 4867 w 1236648"/>
              <a:gd name="connsiteY0" fmla="*/ 221977 h 719337"/>
              <a:gd name="connsiteX1" fmla="*/ 1628 w 1236648"/>
              <a:gd name="connsiteY1" fmla="*/ 212544 h 719337"/>
              <a:gd name="connsiteX2" fmla="*/ 911 w 1236648"/>
              <a:gd name="connsiteY2" fmla="*/ 97581 h 719337"/>
              <a:gd name="connsiteX3" fmla="*/ 14421 w 1236648"/>
              <a:gd name="connsiteY3" fmla="*/ 45201 h 719337"/>
              <a:gd name="connsiteX4" fmla="*/ 43539 w 1236648"/>
              <a:gd name="connsiteY4" fmla="*/ 13965 h 719337"/>
              <a:gd name="connsiteX5" fmla="*/ 86141 w 1236648"/>
              <a:gd name="connsiteY5" fmla="*/ 108 h 719337"/>
              <a:gd name="connsiteX6" fmla="*/ 118741 w 1236648"/>
              <a:gd name="connsiteY6" fmla="*/ 5629 h 719337"/>
              <a:gd name="connsiteX7" fmla="*/ 1195107 w 1236648"/>
              <a:gd name="connsiteY7" fmla="*/ 625705 h 719337"/>
              <a:gd name="connsiteX8" fmla="*/ 1233715 w 1236648"/>
              <a:gd name="connsiteY8" fmla="*/ 663595 h 719337"/>
              <a:gd name="connsiteX9" fmla="*/ 1164480 w 1236648"/>
              <a:gd name="connsiteY9" fmla="*/ 718004 h 719337"/>
              <a:gd name="connsiteX10" fmla="*/ 1164797 w 1236648"/>
              <a:gd name="connsiteY10" fmla="*/ 719337 h 719337"/>
              <a:gd name="connsiteX11" fmla="*/ 1164813 w 1236648"/>
              <a:gd name="connsiteY11" fmla="*/ 716747 h 719337"/>
              <a:gd name="connsiteX12" fmla="*/ 1153233 w 1236648"/>
              <a:gd name="connsiteY12" fmla="*/ 696690 h 719337"/>
              <a:gd name="connsiteX13" fmla="*/ 97170 w 1236648"/>
              <a:gd name="connsiteY13" fmla="*/ 84934 h 719337"/>
              <a:gd name="connsiteX14" fmla="*/ 97100 w 1236648"/>
              <a:gd name="connsiteY14" fmla="*/ 84854 h 719337"/>
              <a:gd name="connsiteX15" fmla="*/ 92641 w 1236648"/>
              <a:gd name="connsiteY15" fmla="*/ 86106 h 719337"/>
              <a:gd name="connsiteX16" fmla="*/ 83322 w 1236648"/>
              <a:gd name="connsiteY16" fmla="*/ 98353 h 719337"/>
              <a:gd name="connsiteX17" fmla="*/ 83306 w 1236648"/>
              <a:gd name="connsiteY17" fmla="*/ 104410 h 719337"/>
              <a:gd name="connsiteX18" fmla="*/ 84058 w 1236648"/>
              <a:gd name="connsiteY18" fmla="*/ 106600 h 719337"/>
              <a:gd name="connsiteX19" fmla="*/ 84057 w 1236648"/>
              <a:gd name="connsiteY19" fmla="*/ 212545 h 719337"/>
              <a:gd name="connsiteX20" fmla="*/ 42843 w 1236648"/>
              <a:gd name="connsiteY20" fmla="*/ 236780 h 719337"/>
              <a:gd name="connsiteX21" fmla="*/ 4867 w 1236648"/>
              <a:gd name="connsiteY21" fmla="*/ 221977 h 719337"/>
              <a:gd name="connsiteX0" fmla="*/ 4867 w 1236648"/>
              <a:gd name="connsiteY0" fmla="*/ 221977 h 749396"/>
              <a:gd name="connsiteX1" fmla="*/ 1628 w 1236648"/>
              <a:gd name="connsiteY1" fmla="*/ 212544 h 749396"/>
              <a:gd name="connsiteX2" fmla="*/ 911 w 1236648"/>
              <a:gd name="connsiteY2" fmla="*/ 97581 h 749396"/>
              <a:gd name="connsiteX3" fmla="*/ 14421 w 1236648"/>
              <a:gd name="connsiteY3" fmla="*/ 45201 h 749396"/>
              <a:gd name="connsiteX4" fmla="*/ 43539 w 1236648"/>
              <a:gd name="connsiteY4" fmla="*/ 13965 h 749396"/>
              <a:gd name="connsiteX5" fmla="*/ 86141 w 1236648"/>
              <a:gd name="connsiteY5" fmla="*/ 108 h 749396"/>
              <a:gd name="connsiteX6" fmla="*/ 118741 w 1236648"/>
              <a:gd name="connsiteY6" fmla="*/ 5629 h 749396"/>
              <a:gd name="connsiteX7" fmla="*/ 1195107 w 1236648"/>
              <a:gd name="connsiteY7" fmla="*/ 625705 h 749396"/>
              <a:gd name="connsiteX8" fmla="*/ 1233715 w 1236648"/>
              <a:gd name="connsiteY8" fmla="*/ 663595 h 749396"/>
              <a:gd name="connsiteX9" fmla="*/ 1164480 w 1236648"/>
              <a:gd name="connsiteY9" fmla="*/ 718004 h 749396"/>
              <a:gd name="connsiteX10" fmla="*/ 1164797 w 1236648"/>
              <a:gd name="connsiteY10" fmla="*/ 719337 h 749396"/>
              <a:gd name="connsiteX11" fmla="*/ 1153233 w 1236648"/>
              <a:gd name="connsiteY11" fmla="*/ 696690 h 749396"/>
              <a:gd name="connsiteX12" fmla="*/ 97170 w 1236648"/>
              <a:gd name="connsiteY12" fmla="*/ 84934 h 749396"/>
              <a:gd name="connsiteX13" fmla="*/ 97100 w 1236648"/>
              <a:gd name="connsiteY13" fmla="*/ 84854 h 749396"/>
              <a:gd name="connsiteX14" fmla="*/ 92641 w 1236648"/>
              <a:gd name="connsiteY14" fmla="*/ 86106 h 749396"/>
              <a:gd name="connsiteX15" fmla="*/ 83322 w 1236648"/>
              <a:gd name="connsiteY15" fmla="*/ 98353 h 749396"/>
              <a:gd name="connsiteX16" fmla="*/ 83306 w 1236648"/>
              <a:gd name="connsiteY16" fmla="*/ 104410 h 749396"/>
              <a:gd name="connsiteX17" fmla="*/ 84058 w 1236648"/>
              <a:gd name="connsiteY17" fmla="*/ 106600 h 749396"/>
              <a:gd name="connsiteX18" fmla="*/ 84057 w 1236648"/>
              <a:gd name="connsiteY18" fmla="*/ 212545 h 749396"/>
              <a:gd name="connsiteX19" fmla="*/ 42843 w 1236648"/>
              <a:gd name="connsiteY19" fmla="*/ 236780 h 749396"/>
              <a:gd name="connsiteX20" fmla="*/ 4867 w 1236648"/>
              <a:gd name="connsiteY20" fmla="*/ 221977 h 749396"/>
              <a:gd name="connsiteX0" fmla="*/ 4867 w 1236648"/>
              <a:gd name="connsiteY0" fmla="*/ 221977 h 751366"/>
              <a:gd name="connsiteX1" fmla="*/ 1628 w 1236648"/>
              <a:gd name="connsiteY1" fmla="*/ 212544 h 751366"/>
              <a:gd name="connsiteX2" fmla="*/ 911 w 1236648"/>
              <a:gd name="connsiteY2" fmla="*/ 97581 h 751366"/>
              <a:gd name="connsiteX3" fmla="*/ 14421 w 1236648"/>
              <a:gd name="connsiteY3" fmla="*/ 45201 h 751366"/>
              <a:gd name="connsiteX4" fmla="*/ 43539 w 1236648"/>
              <a:gd name="connsiteY4" fmla="*/ 13965 h 751366"/>
              <a:gd name="connsiteX5" fmla="*/ 86141 w 1236648"/>
              <a:gd name="connsiteY5" fmla="*/ 108 h 751366"/>
              <a:gd name="connsiteX6" fmla="*/ 118741 w 1236648"/>
              <a:gd name="connsiteY6" fmla="*/ 5629 h 751366"/>
              <a:gd name="connsiteX7" fmla="*/ 1195107 w 1236648"/>
              <a:gd name="connsiteY7" fmla="*/ 625705 h 751366"/>
              <a:gd name="connsiteX8" fmla="*/ 1233715 w 1236648"/>
              <a:gd name="connsiteY8" fmla="*/ 663595 h 751366"/>
              <a:gd name="connsiteX9" fmla="*/ 1164480 w 1236648"/>
              <a:gd name="connsiteY9" fmla="*/ 718004 h 751366"/>
              <a:gd name="connsiteX10" fmla="*/ 1153233 w 1236648"/>
              <a:gd name="connsiteY10" fmla="*/ 696690 h 751366"/>
              <a:gd name="connsiteX11" fmla="*/ 97170 w 1236648"/>
              <a:gd name="connsiteY11" fmla="*/ 84934 h 751366"/>
              <a:gd name="connsiteX12" fmla="*/ 97100 w 1236648"/>
              <a:gd name="connsiteY12" fmla="*/ 84854 h 751366"/>
              <a:gd name="connsiteX13" fmla="*/ 92641 w 1236648"/>
              <a:gd name="connsiteY13" fmla="*/ 86106 h 751366"/>
              <a:gd name="connsiteX14" fmla="*/ 83322 w 1236648"/>
              <a:gd name="connsiteY14" fmla="*/ 98353 h 751366"/>
              <a:gd name="connsiteX15" fmla="*/ 83306 w 1236648"/>
              <a:gd name="connsiteY15" fmla="*/ 104410 h 751366"/>
              <a:gd name="connsiteX16" fmla="*/ 84058 w 1236648"/>
              <a:gd name="connsiteY16" fmla="*/ 106600 h 751366"/>
              <a:gd name="connsiteX17" fmla="*/ 84057 w 1236648"/>
              <a:gd name="connsiteY17" fmla="*/ 212545 h 751366"/>
              <a:gd name="connsiteX18" fmla="*/ 42843 w 1236648"/>
              <a:gd name="connsiteY18" fmla="*/ 236780 h 751366"/>
              <a:gd name="connsiteX19" fmla="*/ 4867 w 1236648"/>
              <a:gd name="connsiteY19" fmla="*/ 221977 h 751366"/>
              <a:gd name="connsiteX0" fmla="*/ 4867 w 1262494"/>
              <a:gd name="connsiteY0" fmla="*/ 221977 h 734374"/>
              <a:gd name="connsiteX1" fmla="*/ 1628 w 1262494"/>
              <a:gd name="connsiteY1" fmla="*/ 212544 h 734374"/>
              <a:gd name="connsiteX2" fmla="*/ 911 w 1262494"/>
              <a:gd name="connsiteY2" fmla="*/ 97581 h 734374"/>
              <a:gd name="connsiteX3" fmla="*/ 14421 w 1262494"/>
              <a:gd name="connsiteY3" fmla="*/ 45201 h 734374"/>
              <a:gd name="connsiteX4" fmla="*/ 43539 w 1262494"/>
              <a:gd name="connsiteY4" fmla="*/ 13965 h 734374"/>
              <a:gd name="connsiteX5" fmla="*/ 86141 w 1262494"/>
              <a:gd name="connsiteY5" fmla="*/ 108 h 734374"/>
              <a:gd name="connsiteX6" fmla="*/ 118741 w 1262494"/>
              <a:gd name="connsiteY6" fmla="*/ 5629 h 734374"/>
              <a:gd name="connsiteX7" fmla="*/ 1195107 w 1262494"/>
              <a:gd name="connsiteY7" fmla="*/ 625705 h 734374"/>
              <a:gd name="connsiteX8" fmla="*/ 1233715 w 1262494"/>
              <a:gd name="connsiteY8" fmla="*/ 663595 h 734374"/>
              <a:gd name="connsiteX9" fmla="*/ 1153233 w 1262494"/>
              <a:gd name="connsiteY9" fmla="*/ 696690 h 734374"/>
              <a:gd name="connsiteX10" fmla="*/ 97170 w 1262494"/>
              <a:gd name="connsiteY10" fmla="*/ 84934 h 734374"/>
              <a:gd name="connsiteX11" fmla="*/ 97100 w 1262494"/>
              <a:gd name="connsiteY11" fmla="*/ 84854 h 734374"/>
              <a:gd name="connsiteX12" fmla="*/ 92641 w 1262494"/>
              <a:gd name="connsiteY12" fmla="*/ 86106 h 734374"/>
              <a:gd name="connsiteX13" fmla="*/ 83322 w 1262494"/>
              <a:gd name="connsiteY13" fmla="*/ 98353 h 734374"/>
              <a:gd name="connsiteX14" fmla="*/ 83306 w 1262494"/>
              <a:gd name="connsiteY14" fmla="*/ 104410 h 734374"/>
              <a:gd name="connsiteX15" fmla="*/ 84058 w 1262494"/>
              <a:gd name="connsiteY15" fmla="*/ 106600 h 734374"/>
              <a:gd name="connsiteX16" fmla="*/ 84057 w 1262494"/>
              <a:gd name="connsiteY16" fmla="*/ 212545 h 734374"/>
              <a:gd name="connsiteX17" fmla="*/ 42843 w 1262494"/>
              <a:gd name="connsiteY17" fmla="*/ 236780 h 734374"/>
              <a:gd name="connsiteX18" fmla="*/ 4867 w 1262494"/>
              <a:gd name="connsiteY18" fmla="*/ 221977 h 734374"/>
              <a:gd name="connsiteX0" fmla="*/ 4867 w 1308852"/>
              <a:gd name="connsiteY0" fmla="*/ 221977 h 744249"/>
              <a:gd name="connsiteX1" fmla="*/ 1628 w 1308852"/>
              <a:gd name="connsiteY1" fmla="*/ 212544 h 744249"/>
              <a:gd name="connsiteX2" fmla="*/ 911 w 1308852"/>
              <a:gd name="connsiteY2" fmla="*/ 97581 h 744249"/>
              <a:gd name="connsiteX3" fmla="*/ 14421 w 1308852"/>
              <a:gd name="connsiteY3" fmla="*/ 45201 h 744249"/>
              <a:gd name="connsiteX4" fmla="*/ 43539 w 1308852"/>
              <a:gd name="connsiteY4" fmla="*/ 13965 h 744249"/>
              <a:gd name="connsiteX5" fmla="*/ 86141 w 1308852"/>
              <a:gd name="connsiteY5" fmla="*/ 108 h 744249"/>
              <a:gd name="connsiteX6" fmla="*/ 118741 w 1308852"/>
              <a:gd name="connsiteY6" fmla="*/ 5629 h 744249"/>
              <a:gd name="connsiteX7" fmla="*/ 1195107 w 1308852"/>
              <a:gd name="connsiteY7" fmla="*/ 625705 h 744249"/>
              <a:gd name="connsiteX8" fmla="*/ 1153233 w 1308852"/>
              <a:gd name="connsiteY8" fmla="*/ 696690 h 744249"/>
              <a:gd name="connsiteX9" fmla="*/ 97170 w 1308852"/>
              <a:gd name="connsiteY9" fmla="*/ 84934 h 744249"/>
              <a:gd name="connsiteX10" fmla="*/ 97100 w 1308852"/>
              <a:gd name="connsiteY10" fmla="*/ 84854 h 744249"/>
              <a:gd name="connsiteX11" fmla="*/ 92641 w 1308852"/>
              <a:gd name="connsiteY11" fmla="*/ 86106 h 744249"/>
              <a:gd name="connsiteX12" fmla="*/ 83322 w 1308852"/>
              <a:gd name="connsiteY12" fmla="*/ 98353 h 744249"/>
              <a:gd name="connsiteX13" fmla="*/ 83306 w 1308852"/>
              <a:gd name="connsiteY13" fmla="*/ 104410 h 744249"/>
              <a:gd name="connsiteX14" fmla="*/ 84058 w 1308852"/>
              <a:gd name="connsiteY14" fmla="*/ 106600 h 744249"/>
              <a:gd name="connsiteX15" fmla="*/ 84057 w 1308852"/>
              <a:gd name="connsiteY15" fmla="*/ 212545 h 744249"/>
              <a:gd name="connsiteX16" fmla="*/ 42843 w 1308852"/>
              <a:gd name="connsiteY16" fmla="*/ 236780 h 744249"/>
              <a:gd name="connsiteX17" fmla="*/ 4867 w 1308852"/>
              <a:gd name="connsiteY17" fmla="*/ 221977 h 744249"/>
              <a:gd name="connsiteX0" fmla="*/ 4867 w 1261213"/>
              <a:gd name="connsiteY0" fmla="*/ 221977 h 726487"/>
              <a:gd name="connsiteX1" fmla="*/ 1628 w 1261213"/>
              <a:gd name="connsiteY1" fmla="*/ 212544 h 726487"/>
              <a:gd name="connsiteX2" fmla="*/ 911 w 1261213"/>
              <a:gd name="connsiteY2" fmla="*/ 97581 h 726487"/>
              <a:gd name="connsiteX3" fmla="*/ 14421 w 1261213"/>
              <a:gd name="connsiteY3" fmla="*/ 45201 h 726487"/>
              <a:gd name="connsiteX4" fmla="*/ 43539 w 1261213"/>
              <a:gd name="connsiteY4" fmla="*/ 13965 h 726487"/>
              <a:gd name="connsiteX5" fmla="*/ 86141 w 1261213"/>
              <a:gd name="connsiteY5" fmla="*/ 108 h 726487"/>
              <a:gd name="connsiteX6" fmla="*/ 118741 w 1261213"/>
              <a:gd name="connsiteY6" fmla="*/ 5629 h 726487"/>
              <a:gd name="connsiteX7" fmla="*/ 1195107 w 1261213"/>
              <a:gd name="connsiteY7" fmla="*/ 625705 h 726487"/>
              <a:gd name="connsiteX8" fmla="*/ 1153233 w 1261213"/>
              <a:gd name="connsiteY8" fmla="*/ 696690 h 726487"/>
              <a:gd name="connsiteX9" fmla="*/ 97170 w 1261213"/>
              <a:gd name="connsiteY9" fmla="*/ 84934 h 726487"/>
              <a:gd name="connsiteX10" fmla="*/ 97100 w 1261213"/>
              <a:gd name="connsiteY10" fmla="*/ 84854 h 726487"/>
              <a:gd name="connsiteX11" fmla="*/ 92641 w 1261213"/>
              <a:gd name="connsiteY11" fmla="*/ 86106 h 726487"/>
              <a:gd name="connsiteX12" fmla="*/ 83322 w 1261213"/>
              <a:gd name="connsiteY12" fmla="*/ 98353 h 726487"/>
              <a:gd name="connsiteX13" fmla="*/ 83306 w 1261213"/>
              <a:gd name="connsiteY13" fmla="*/ 104410 h 726487"/>
              <a:gd name="connsiteX14" fmla="*/ 84058 w 1261213"/>
              <a:gd name="connsiteY14" fmla="*/ 106600 h 726487"/>
              <a:gd name="connsiteX15" fmla="*/ 84057 w 1261213"/>
              <a:gd name="connsiteY15" fmla="*/ 212545 h 726487"/>
              <a:gd name="connsiteX16" fmla="*/ 42843 w 1261213"/>
              <a:gd name="connsiteY16" fmla="*/ 236780 h 726487"/>
              <a:gd name="connsiteX17" fmla="*/ 4867 w 1261213"/>
              <a:gd name="connsiteY17" fmla="*/ 221977 h 726487"/>
              <a:gd name="connsiteX0" fmla="*/ 4867 w 1220904"/>
              <a:gd name="connsiteY0" fmla="*/ 221977 h 708514"/>
              <a:gd name="connsiteX1" fmla="*/ 1628 w 1220904"/>
              <a:gd name="connsiteY1" fmla="*/ 212544 h 708514"/>
              <a:gd name="connsiteX2" fmla="*/ 911 w 1220904"/>
              <a:gd name="connsiteY2" fmla="*/ 97581 h 708514"/>
              <a:gd name="connsiteX3" fmla="*/ 14421 w 1220904"/>
              <a:gd name="connsiteY3" fmla="*/ 45201 h 708514"/>
              <a:gd name="connsiteX4" fmla="*/ 43539 w 1220904"/>
              <a:gd name="connsiteY4" fmla="*/ 13965 h 708514"/>
              <a:gd name="connsiteX5" fmla="*/ 86141 w 1220904"/>
              <a:gd name="connsiteY5" fmla="*/ 108 h 708514"/>
              <a:gd name="connsiteX6" fmla="*/ 118741 w 1220904"/>
              <a:gd name="connsiteY6" fmla="*/ 5629 h 708514"/>
              <a:gd name="connsiteX7" fmla="*/ 1195107 w 1220904"/>
              <a:gd name="connsiteY7" fmla="*/ 625705 h 708514"/>
              <a:gd name="connsiteX8" fmla="*/ 1153233 w 1220904"/>
              <a:gd name="connsiteY8" fmla="*/ 696690 h 708514"/>
              <a:gd name="connsiteX9" fmla="*/ 97170 w 1220904"/>
              <a:gd name="connsiteY9" fmla="*/ 84934 h 708514"/>
              <a:gd name="connsiteX10" fmla="*/ 97100 w 1220904"/>
              <a:gd name="connsiteY10" fmla="*/ 84854 h 708514"/>
              <a:gd name="connsiteX11" fmla="*/ 92641 w 1220904"/>
              <a:gd name="connsiteY11" fmla="*/ 86106 h 708514"/>
              <a:gd name="connsiteX12" fmla="*/ 83322 w 1220904"/>
              <a:gd name="connsiteY12" fmla="*/ 98353 h 708514"/>
              <a:gd name="connsiteX13" fmla="*/ 83306 w 1220904"/>
              <a:gd name="connsiteY13" fmla="*/ 104410 h 708514"/>
              <a:gd name="connsiteX14" fmla="*/ 84058 w 1220904"/>
              <a:gd name="connsiteY14" fmla="*/ 106600 h 708514"/>
              <a:gd name="connsiteX15" fmla="*/ 84057 w 1220904"/>
              <a:gd name="connsiteY15" fmla="*/ 212545 h 708514"/>
              <a:gd name="connsiteX16" fmla="*/ 42843 w 1220904"/>
              <a:gd name="connsiteY16" fmla="*/ 236780 h 708514"/>
              <a:gd name="connsiteX17" fmla="*/ 4867 w 1220904"/>
              <a:gd name="connsiteY17" fmla="*/ 221977 h 708514"/>
              <a:gd name="connsiteX0" fmla="*/ 4867 w 1214473"/>
              <a:gd name="connsiteY0" fmla="*/ 221977 h 702695"/>
              <a:gd name="connsiteX1" fmla="*/ 1628 w 1214473"/>
              <a:gd name="connsiteY1" fmla="*/ 212544 h 702695"/>
              <a:gd name="connsiteX2" fmla="*/ 911 w 1214473"/>
              <a:gd name="connsiteY2" fmla="*/ 97581 h 702695"/>
              <a:gd name="connsiteX3" fmla="*/ 14421 w 1214473"/>
              <a:gd name="connsiteY3" fmla="*/ 45201 h 702695"/>
              <a:gd name="connsiteX4" fmla="*/ 43539 w 1214473"/>
              <a:gd name="connsiteY4" fmla="*/ 13965 h 702695"/>
              <a:gd name="connsiteX5" fmla="*/ 86141 w 1214473"/>
              <a:gd name="connsiteY5" fmla="*/ 108 h 702695"/>
              <a:gd name="connsiteX6" fmla="*/ 118741 w 1214473"/>
              <a:gd name="connsiteY6" fmla="*/ 5629 h 702695"/>
              <a:gd name="connsiteX7" fmla="*/ 1195107 w 1214473"/>
              <a:gd name="connsiteY7" fmla="*/ 625705 h 702695"/>
              <a:gd name="connsiteX8" fmla="*/ 1153233 w 1214473"/>
              <a:gd name="connsiteY8" fmla="*/ 696690 h 702695"/>
              <a:gd name="connsiteX9" fmla="*/ 97170 w 1214473"/>
              <a:gd name="connsiteY9" fmla="*/ 84934 h 702695"/>
              <a:gd name="connsiteX10" fmla="*/ 97100 w 1214473"/>
              <a:gd name="connsiteY10" fmla="*/ 84854 h 702695"/>
              <a:gd name="connsiteX11" fmla="*/ 92641 w 1214473"/>
              <a:gd name="connsiteY11" fmla="*/ 86106 h 702695"/>
              <a:gd name="connsiteX12" fmla="*/ 83322 w 1214473"/>
              <a:gd name="connsiteY12" fmla="*/ 98353 h 702695"/>
              <a:gd name="connsiteX13" fmla="*/ 83306 w 1214473"/>
              <a:gd name="connsiteY13" fmla="*/ 104410 h 702695"/>
              <a:gd name="connsiteX14" fmla="*/ 84058 w 1214473"/>
              <a:gd name="connsiteY14" fmla="*/ 106600 h 702695"/>
              <a:gd name="connsiteX15" fmla="*/ 84057 w 1214473"/>
              <a:gd name="connsiteY15" fmla="*/ 212545 h 702695"/>
              <a:gd name="connsiteX16" fmla="*/ 42843 w 1214473"/>
              <a:gd name="connsiteY16" fmla="*/ 236780 h 702695"/>
              <a:gd name="connsiteX17" fmla="*/ 4867 w 1214473"/>
              <a:gd name="connsiteY17" fmla="*/ 221977 h 702695"/>
              <a:gd name="connsiteX0" fmla="*/ 4867 w 1207158"/>
              <a:gd name="connsiteY0" fmla="*/ 221977 h 702695"/>
              <a:gd name="connsiteX1" fmla="*/ 1628 w 1207158"/>
              <a:gd name="connsiteY1" fmla="*/ 212544 h 702695"/>
              <a:gd name="connsiteX2" fmla="*/ 911 w 1207158"/>
              <a:gd name="connsiteY2" fmla="*/ 97581 h 702695"/>
              <a:gd name="connsiteX3" fmla="*/ 14421 w 1207158"/>
              <a:gd name="connsiteY3" fmla="*/ 45201 h 702695"/>
              <a:gd name="connsiteX4" fmla="*/ 43539 w 1207158"/>
              <a:gd name="connsiteY4" fmla="*/ 13965 h 702695"/>
              <a:gd name="connsiteX5" fmla="*/ 86141 w 1207158"/>
              <a:gd name="connsiteY5" fmla="*/ 108 h 702695"/>
              <a:gd name="connsiteX6" fmla="*/ 118741 w 1207158"/>
              <a:gd name="connsiteY6" fmla="*/ 5629 h 702695"/>
              <a:gd name="connsiteX7" fmla="*/ 1195107 w 1207158"/>
              <a:gd name="connsiteY7" fmla="*/ 625705 h 702695"/>
              <a:gd name="connsiteX8" fmla="*/ 1153233 w 1207158"/>
              <a:gd name="connsiteY8" fmla="*/ 696690 h 702695"/>
              <a:gd name="connsiteX9" fmla="*/ 97170 w 1207158"/>
              <a:gd name="connsiteY9" fmla="*/ 84934 h 702695"/>
              <a:gd name="connsiteX10" fmla="*/ 97100 w 1207158"/>
              <a:gd name="connsiteY10" fmla="*/ 84854 h 702695"/>
              <a:gd name="connsiteX11" fmla="*/ 92641 w 1207158"/>
              <a:gd name="connsiteY11" fmla="*/ 86106 h 702695"/>
              <a:gd name="connsiteX12" fmla="*/ 83322 w 1207158"/>
              <a:gd name="connsiteY12" fmla="*/ 98353 h 702695"/>
              <a:gd name="connsiteX13" fmla="*/ 83306 w 1207158"/>
              <a:gd name="connsiteY13" fmla="*/ 104410 h 702695"/>
              <a:gd name="connsiteX14" fmla="*/ 84058 w 1207158"/>
              <a:gd name="connsiteY14" fmla="*/ 106600 h 702695"/>
              <a:gd name="connsiteX15" fmla="*/ 84057 w 1207158"/>
              <a:gd name="connsiteY15" fmla="*/ 212545 h 702695"/>
              <a:gd name="connsiteX16" fmla="*/ 42843 w 1207158"/>
              <a:gd name="connsiteY16" fmla="*/ 236780 h 702695"/>
              <a:gd name="connsiteX17" fmla="*/ 4867 w 1207158"/>
              <a:gd name="connsiteY17" fmla="*/ 221977 h 702695"/>
              <a:gd name="connsiteX0" fmla="*/ 4867 w 1207158"/>
              <a:gd name="connsiteY0" fmla="*/ 221977 h 702695"/>
              <a:gd name="connsiteX1" fmla="*/ 1628 w 1207158"/>
              <a:gd name="connsiteY1" fmla="*/ 212544 h 702695"/>
              <a:gd name="connsiteX2" fmla="*/ 911 w 1207158"/>
              <a:gd name="connsiteY2" fmla="*/ 97581 h 702695"/>
              <a:gd name="connsiteX3" fmla="*/ 14421 w 1207158"/>
              <a:gd name="connsiteY3" fmla="*/ 45201 h 702695"/>
              <a:gd name="connsiteX4" fmla="*/ 43539 w 1207158"/>
              <a:gd name="connsiteY4" fmla="*/ 13965 h 702695"/>
              <a:gd name="connsiteX5" fmla="*/ 86141 w 1207158"/>
              <a:gd name="connsiteY5" fmla="*/ 108 h 702695"/>
              <a:gd name="connsiteX6" fmla="*/ 118741 w 1207158"/>
              <a:gd name="connsiteY6" fmla="*/ 5629 h 702695"/>
              <a:gd name="connsiteX7" fmla="*/ 1195107 w 1207158"/>
              <a:gd name="connsiteY7" fmla="*/ 625705 h 702695"/>
              <a:gd name="connsiteX8" fmla="*/ 1153233 w 1207158"/>
              <a:gd name="connsiteY8" fmla="*/ 696690 h 702695"/>
              <a:gd name="connsiteX9" fmla="*/ 1060942 w 1207158"/>
              <a:gd name="connsiteY9" fmla="*/ 640934 h 702695"/>
              <a:gd name="connsiteX10" fmla="*/ 97170 w 1207158"/>
              <a:gd name="connsiteY10" fmla="*/ 84934 h 702695"/>
              <a:gd name="connsiteX11" fmla="*/ 97100 w 1207158"/>
              <a:gd name="connsiteY11" fmla="*/ 84854 h 702695"/>
              <a:gd name="connsiteX12" fmla="*/ 92641 w 1207158"/>
              <a:gd name="connsiteY12" fmla="*/ 86106 h 702695"/>
              <a:gd name="connsiteX13" fmla="*/ 83322 w 1207158"/>
              <a:gd name="connsiteY13" fmla="*/ 98353 h 702695"/>
              <a:gd name="connsiteX14" fmla="*/ 83306 w 1207158"/>
              <a:gd name="connsiteY14" fmla="*/ 104410 h 702695"/>
              <a:gd name="connsiteX15" fmla="*/ 84058 w 1207158"/>
              <a:gd name="connsiteY15" fmla="*/ 106600 h 702695"/>
              <a:gd name="connsiteX16" fmla="*/ 84057 w 1207158"/>
              <a:gd name="connsiteY16" fmla="*/ 212545 h 702695"/>
              <a:gd name="connsiteX17" fmla="*/ 42843 w 1207158"/>
              <a:gd name="connsiteY17" fmla="*/ 236780 h 702695"/>
              <a:gd name="connsiteX18" fmla="*/ 4867 w 1207158"/>
              <a:gd name="connsiteY18" fmla="*/ 221977 h 702695"/>
              <a:gd name="connsiteX0" fmla="*/ 4867 w 1207158"/>
              <a:gd name="connsiteY0" fmla="*/ 221977 h 702695"/>
              <a:gd name="connsiteX1" fmla="*/ 1628 w 1207158"/>
              <a:gd name="connsiteY1" fmla="*/ 212544 h 702695"/>
              <a:gd name="connsiteX2" fmla="*/ 911 w 1207158"/>
              <a:gd name="connsiteY2" fmla="*/ 97581 h 702695"/>
              <a:gd name="connsiteX3" fmla="*/ 14421 w 1207158"/>
              <a:gd name="connsiteY3" fmla="*/ 45201 h 702695"/>
              <a:gd name="connsiteX4" fmla="*/ 43539 w 1207158"/>
              <a:gd name="connsiteY4" fmla="*/ 13965 h 702695"/>
              <a:gd name="connsiteX5" fmla="*/ 86141 w 1207158"/>
              <a:gd name="connsiteY5" fmla="*/ 108 h 702695"/>
              <a:gd name="connsiteX6" fmla="*/ 118741 w 1207158"/>
              <a:gd name="connsiteY6" fmla="*/ 5629 h 702695"/>
              <a:gd name="connsiteX7" fmla="*/ 1160954 w 1207158"/>
              <a:gd name="connsiteY7" fmla="*/ 605215 h 702695"/>
              <a:gd name="connsiteX8" fmla="*/ 1195107 w 1207158"/>
              <a:gd name="connsiteY8" fmla="*/ 625705 h 702695"/>
              <a:gd name="connsiteX9" fmla="*/ 1153233 w 1207158"/>
              <a:gd name="connsiteY9" fmla="*/ 696690 h 702695"/>
              <a:gd name="connsiteX10" fmla="*/ 1060942 w 1207158"/>
              <a:gd name="connsiteY10" fmla="*/ 640934 h 702695"/>
              <a:gd name="connsiteX11" fmla="*/ 97170 w 1207158"/>
              <a:gd name="connsiteY11" fmla="*/ 84934 h 702695"/>
              <a:gd name="connsiteX12" fmla="*/ 97100 w 1207158"/>
              <a:gd name="connsiteY12" fmla="*/ 84854 h 702695"/>
              <a:gd name="connsiteX13" fmla="*/ 92641 w 1207158"/>
              <a:gd name="connsiteY13" fmla="*/ 86106 h 702695"/>
              <a:gd name="connsiteX14" fmla="*/ 83322 w 1207158"/>
              <a:gd name="connsiteY14" fmla="*/ 98353 h 702695"/>
              <a:gd name="connsiteX15" fmla="*/ 83306 w 1207158"/>
              <a:gd name="connsiteY15" fmla="*/ 104410 h 702695"/>
              <a:gd name="connsiteX16" fmla="*/ 84058 w 1207158"/>
              <a:gd name="connsiteY16" fmla="*/ 106600 h 702695"/>
              <a:gd name="connsiteX17" fmla="*/ 84057 w 1207158"/>
              <a:gd name="connsiteY17" fmla="*/ 212545 h 702695"/>
              <a:gd name="connsiteX18" fmla="*/ 42843 w 1207158"/>
              <a:gd name="connsiteY18" fmla="*/ 236780 h 702695"/>
              <a:gd name="connsiteX19" fmla="*/ 4867 w 1207158"/>
              <a:gd name="connsiteY19" fmla="*/ 221977 h 702695"/>
              <a:gd name="connsiteX0" fmla="*/ 4867 w 1160954"/>
              <a:gd name="connsiteY0" fmla="*/ 221977 h 696690"/>
              <a:gd name="connsiteX1" fmla="*/ 1628 w 1160954"/>
              <a:gd name="connsiteY1" fmla="*/ 212544 h 696690"/>
              <a:gd name="connsiteX2" fmla="*/ 911 w 1160954"/>
              <a:gd name="connsiteY2" fmla="*/ 97581 h 696690"/>
              <a:gd name="connsiteX3" fmla="*/ 14421 w 1160954"/>
              <a:gd name="connsiteY3" fmla="*/ 45201 h 696690"/>
              <a:gd name="connsiteX4" fmla="*/ 43539 w 1160954"/>
              <a:gd name="connsiteY4" fmla="*/ 13965 h 696690"/>
              <a:gd name="connsiteX5" fmla="*/ 86141 w 1160954"/>
              <a:gd name="connsiteY5" fmla="*/ 108 h 696690"/>
              <a:gd name="connsiteX6" fmla="*/ 118741 w 1160954"/>
              <a:gd name="connsiteY6" fmla="*/ 5629 h 696690"/>
              <a:gd name="connsiteX7" fmla="*/ 1160954 w 1160954"/>
              <a:gd name="connsiteY7" fmla="*/ 605215 h 696690"/>
              <a:gd name="connsiteX8" fmla="*/ 1153233 w 1160954"/>
              <a:gd name="connsiteY8" fmla="*/ 696690 h 696690"/>
              <a:gd name="connsiteX9" fmla="*/ 1060942 w 1160954"/>
              <a:gd name="connsiteY9" fmla="*/ 640934 h 696690"/>
              <a:gd name="connsiteX10" fmla="*/ 97170 w 1160954"/>
              <a:gd name="connsiteY10" fmla="*/ 84934 h 696690"/>
              <a:gd name="connsiteX11" fmla="*/ 97100 w 1160954"/>
              <a:gd name="connsiteY11" fmla="*/ 84854 h 696690"/>
              <a:gd name="connsiteX12" fmla="*/ 92641 w 1160954"/>
              <a:gd name="connsiteY12" fmla="*/ 86106 h 696690"/>
              <a:gd name="connsiteX13" fmla="*/ 83322 w 1160954"/>
              <a:gd name="connsiteY13" fmla="*/ 98353 h 696690"/>
              <a:gd name="connsiteX14" fmla="*/ 83306 w 1160954"/>
              <a:gd name="connsiteY14" fmla="*/ 104410 h 696690"/>
              <a:gd name="connsiteX15" fmla="*/ 84058 w 1160954"/>
              <a:gd name="connsiteY15" fmla="*/ 106600 h 696690"/>
              <a:gd name="connsiteX16" fmla="*/ 84057 w 1160954"/>
              <a:gd name="connsiteY16" fmla="*/ 212545 h 696690"/>
              <a:gd name="connsiteX17" fmla="*/ 42843 w 1160954"/>
              <a:gd name="connsiteY17" fmla="*/ 236780 h 696690"/>
              <a:gd name="connsiteX18" fmla="*/ 4867 w 1160954"/>
              <a:gd name="connsiteY18" fmla="*/ 221977 h 696690"/>
              <a:gd name="connsiteX0" fmla="*/ 4867 w 1160954"/>
              <a:gd name="connsiteY0" fmla="*/ 221977 h 640934"/>
              <a:gd name="connsiteX1" fmla="*/ 1628 w 1160954"/>
              <a:gd name="connsiteY1" fmla="*/ 212544 h 640934"/>
              <a:gd name="connsiteX2" fmla="*/ 911 w 1160954"/>
              <a:gd name="connsiteY2" fmla="*/ 97581 h 640934"/>
              <a:gd name="connsiteX3" fmla="*/ 14421 w 1160954"/>
              <a:gd name="connsiteY3" fmla="*/ 45201 h 640934"/>
              <a:gd name="connsiteX4" fmla="*/ 43539 w 1160954"/>
              <a:gd name="connsiteY4" fmla="*/ 13965 h 640934"/>
              <a:gd name="connsiteX5" fmla="*/ 86141 w 1160954"/>
              <a:gd name="connsiteY5" fmla="*/ 108 h 640934"/>
              <a:gd name="connsiteX6" fmla="*/ 118741 w 1160954"/>
              <a:gd name="connsiteY6" fmla="*/ 5629 h 640934"/>
              <a:gd name="connsiteX7" fmla="*/ 1160954 w 1160954"/>
              <a:gd name="connsiteY7" fmla="*/ 605215 h 640934"/>
              <a:gd name="connsiteX8" fmla="*/ 1060942 w 1160954"/>
              <a:gd name="connsiteY8" fmla="*/ 640934 h 640934"/>
              <a:gd name="connsiteX9" fmla="*/ 97170 w 1160954"/>
              <a:gd name="connsiteY9" fmla="*/ 84934 h 640934"/>
              <a:gd name="connsiteX10" fmla="*/ 97100 w 1160954"/>
              <a:gd name="connsiteY10" fmla="*/ 84854 h 640934"/>
              <a:gd name="connsiteX11" fmla="*/ 92641 w 1160954"/>
              <a:gd name="connsiteY11" fmla="*/ 86106 h 640934"/>
              <a:gd name="connsiteX12" fmla="*/ 83322 w 1160954"/>
              <a:gd name="connsiteY12" fmla="*/ 98353 h 640934"/>
              <a:gd name="connsiteX13" fmla="*/ 83306 w 1160954"/>
              <a:gd name="connsiteY13" fmla="*/ 104410 h 640934"/>
              <a:gd name="connsiteX14" fmla="*/ 84058 w 1160954"/>
              <a:gd name="connsiteY14" fmla="*/ 106600 h 640934"/>
              <a:gd name="connsiteX15" fmla="*/ 84057 w 1160954"/>
              <a:gd name="connsiteY15" fmla="*/ 212545 h 640934"/>
              <a:gd name="connsiteX16" fmla="*/ 42843 w 1160954"/>
              <a:gd name="connsiteY16" fmla="*/ 236780 h 640934"/>
              <a:gd name="connsiteX17" fmla="*/ 4867 w 1160954"/>
              <a:gd name="connsiteY17" fmla="*/ 221977 h 640934"/>
              <a:gd name="connsiteX0" fmla="*/ 4867 w 1160954"/>
              <a:gd name="connsiteY0" fmla="*/ 221977 h 644902"/>
              <a:gd name="connsiteX1" fmla="*/ 1628 w 1160954"/>
              <a:gd name="connsiteY1" fmla="*/ 212544 h 644902"/>
              <a:gd name="connsiteX2" fmla="*/ 911 w 1160954"/>
              <a:gd name="connsiteY2" fmla="*/ 97581 h 644902"/>
              <a:gd name="connsiteX3" fmla="*/ 14421 w 1160954"/>
              <a:gd name="connsiteY3" fmla="*/ 45201 h 644902"/>
              <a:gd name="connsiteX4" fmla="*/ 43539 w 1160954"/>
              <a:gd name="connsiteY4" fmla="*/ 13965 h 644902"/>
              <a:gd name="connsiteX5" fmla="*/ 86141 w 1160954"/>
              <a:gd name="connsiteY5" fmla="*/ 108 h 644902"/>
              <a:gd name="connsiteX6" fmla="*/ 118741 w 1160954"/>
              <a:gd name="connsiteY6" fmla="*/ 5629 h 644902"/>
              <a:gd name="connsiteX7" fmla="*/ 1160954 w 1160954"/>
              <a:gd name="connsiteY7" fmla="*/ 605215 h 644902"/>
              <a:gd name="connsiteX8" fmla="*/ 1060942 w 1160954"/>
              <a:gd name="connsiteY8" fmla="*/ 640934 h 644902"/>
              <a:gd name="connsiteX9" fmla="*/ 97170 w 1160954"/>
              <a:gd name="connsiteY9" fmla="*/ 84934 h 644902"/>
              <a:gd name="connsiteX10" fmla="*/ 97100 w 1160954"/>
              <a:gd name="connsiteY10" fmla="*/ 84854 h 644902"/>
              <a:gd name="connsiteX11" fmla="*/ 92641 w 1160954"/>
              <a:gd name="connsiteY11" fmla="*/ 86106 h 644902"/>
              <a:gd name="connsiteX12" fmla="*/ 83322 w 1160954"/>
              <a:gd name="connsiteY12" fmla="*/ 98353 h 644902"/>
              <a:gd name="connsiteX13" fmla="*/ 83306 w 1160954"/>
              <a:gd name="connsiteY13" fmla="*/ 104410 h 644902"/>
              <a:gd name="connsiteX14" fmla="*/ 84058 w 1160954"/>
              <a:gd name="connsiteY14" fmla="*/ 106600 h 644902"/>
              <a:gd name="connsiteX15" fmla="*/ 84057 w 1160954"/>
              <a:gd name="connsiteY15" fmla="*/ 212545 h 644902"/>
              <a:gd name="connsiteX16" fmla="*/ 42843 w 1160954"/>
              <a:gd name="connsiteY16" fmla="*/ 236780 h 644902"/>
              <a:gd name="connsiteX17" fmla="*/ 4867 w 1160954"/>
              <a:gd name="connsiteY17" fmla="*/ 221977 h 644902"/>
              <a:gd name="connsiteX0" fmla="*/ 4867 w 1160954"/>
              <a:gd name="connsiteY0" fmla="*/ 221977 h 644902"/>
              <a:gd name="connsiteX1" fmla="*/ 1628 w 1160954"/>
              <a:gd name="connsiteY1" fmla="*/ 212544 h 644902"/>
              <a:gd name="connsiteX2" fmla="*/ 911 w 1160954"/>
              <a:gd name="connsiteY2" fmla="*/ 97581 h 644902"/>
              <a:gd name="connsiteX3" fmla="*/ 14421 w 1160954"/>
              <a:gd name="connsiteY3" fmla="*/ 45201 h 644902"/>
              <a:gd name="connsiteX4" fmla="*/ 43539 w 1160954"/>
              <a:gd name="connsiteY4" fmla="*/ 13965 h 644902"/>
              <a:gd name="connsiteX5" fmla="*/ 86141 w 1160954"/>
              <a:gd name="connsiteY5" fmla="*/ 108 h 644902"/>
              <a:gd name="connsiteX6" fmla="*/ 118741 w 1160954"/>
              <a:gd name="connsiteY6" fmla="*/ 5629 h 644902"/>
              <a:gd name="connsiteX7" fmla="*/ 1160954 w 1160954"/>
              <a:gd name="connsiteY7" fmla="*/ 605215 h 644902"/>
              <a:gd name="connsiteX8" fmla="*/ 1060942 w 1160954"/>
              <a:gd name="connsiteY8" fmla="*/ 640934 h 644902"/>
              <a:gd name="connsiteX9" fmla="*/ 97170 w 1160954"/>
              <a:gd name="connsiteY9" fmla="*/ 84934 h 644902"/>
              <a:gd name="connsiteX10" fmla="*/ 97100 w 1160954"/>
              <a:gd name="connsiteY10" fmla="*/ 84854 h 644902"/>
              <a:gd name="connsiteX11" fmla="*/ 92641 w 1160954"/>
              <a:gd name="connsiteY11" fmla="*/ 86106 h 644902"/>
              <a:gd name="connsiteX12" fmla="*/ 83322 w 1160954"/>
              <a:gd name="connsiteY12" fmla="*/ 98353 h 644902"/>
              <a:gd name="connsiteX13" fmla="*/ 83306 w 1160954"/>
              <a:gd name="connsiteY13" fmla="*/ 104410 h 644902"/>
              <a:gd name="connsiteX14" fmla="*/ 84058 w 1160954"/>
              <a:gd name="connsiteY14" fmla="*/ 106600 h 644902"/>
              <a:gd name="connsiteX15" fmla="*/ 84057 w 1160954"/>
              <a:gd name="connsiteY15" fmla="*/ 212545 h 644902"/>
              <a:gd name="connsiteX16" fmla="*/ 42843 w 1160954"/>
              <a:gd name="connsiteY16" fmla="*/ 236780 h 644902"/>
              <a:gd name="connsiteX17" fmla="*/ 4867 w 1160954"/>
              <a:gd name="connsiteY17" fmla="*/ 221977 h 64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60954" h="644902">
                <a:moveTo>
                  <a:pt x="4867" y="221977"/>
                </a:moveTo>
                <a:cubicBezTo>
                  <a:pt x="2782" y="219079"/>
                  <a:pt x="1628" y="215890"/>
                  <a:pt x="1628" y="212544"/>
                </a:cubicBezTo>
                <a:cubicBezTo>
                  <a:pt x="968" y="191811"/>
                  <a:pt x="-1222" y="125471"/>
                  <a:pt x="911" y="97581"/>
                </a:cubicBezTo>
                <a:cubicBezTo>
                  <a:pt x="3498" y="80400"/>
                  <a:pt x="-1751" y="72471"/>
                  <a:pt x="14421" y="45201"/>
                </a:cubicBezTo>
                <a:cubicBezTo>
                  <a:pt x="26551" y="24749"/>
                  <a:pt x="34561" y="19753"/>
                  <a:pt x="43539" y="13965"/>
                </a:cubicBezTo>
                <a:cubicBezTo>
                  <a:pt x="60016" y="6917"/>
                  <a:pt x="69693" y="-450"/>
                  <a:pt x="86141" y="108"/>
                </a:cubicBezTo>
                <a:cubicBezTo>
                  <a:pt x="98478" y="527"/>
                  <a:pt x="101140" y="-2106"/>
                  <a:pt x="118741" y="5629"/>
                </a:cubicBezTo>
                <a:lnTo>
                  <a:pt x="1160954" y="605215"/>
                </a:lnTo>
                <a:cubicBezTo>
                  <a:pt x="1127617" y="617121"/>
                  <a:pt x="1070468" y="657603"/>
                  <a:pt x="1060942" y="640934"/>
                </a:cubicBezTo>
                <a:lnTo>
                  <a:pt x="97170" y="84934"/>
                </a:lnTo>
                <a:cubicBezTo>
                  <a:pt x="97147" y="84907"/>
                  <a:pt x="97123" y="84881"/>
                  <a:pt x="97100" y="84854"/>
                </a:cubicBezTo>
                <a:lnTo>
                  <a:pt x="92641" y="86106"/>
                </a:lnTo>
                <a:cubicBezTo>
                  <a:pt x="87828" y="87456"/>
                  <a:pt x="83868" y="90174"/>
                  <a:pt x="83322" y="98353"/>
                </a:cubicBezTo>
                <a:cubicBezTo>
                  <a:pt x="83316" y="100372"/>
                  <a:pt x="83311" y="102391"/>
                  <a:pt x="83306" y="104410"/>
                </a:cubicBezTo>
                <a:lnTo>
                  <a:pt x="84058" y="106600"/>
                </a:lnTo>
                <a:cubicBezTo>
                  <a:pt x="84058" y="141915"/>
                  <a:pt x="84057" y="177229"/>
                  <a:pt x="84057" y="212545"/>
                </a:cubicBezTo>
                <a:cubicBezTo>
                  <a:pt x="84057" y="225929"/>
                  <a:pt x="65605" y="236780"/>
                  <a:pt x="42843" y="236780"/>
                </a:cubicBezTo>
                <a:cubicBezTo>
                  <a:pt x="25771" y="236779"/>
                  <a:pt x="11124" y="230676"/>
                  <a:pt x="4867" y="221977"/>
                </a:cubicBezTo>
                <a:close/>
              </a:path>
            </a:pathLst>
          </a:custGeom>
          <a:gradFill flip="none" rotWithShape="1">
            <a:gsLst>
              <a:gs pos="46000">
                <a:schemeClr val="accent2">
                  <a:lumMod val="0"/>
                  <a:lumOff val="100000"/>
                </a:schemeClr>
              </a:gs>
              <a:gs pos="55000">
                <a:schemeClr val="accent4"/>
              </a:gs>
            </a:gsLst>
            <a:lin ang="72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969" name="Freeform: Shape 968">
            <a:extLst>
              <a:ext uri="{FF2B5EF4-FFF2-40B4-BE49-F238E27FC236}">
                <a16:creationId xmlns:a16="http://schemas.microsoft.com/office/drawing/2014/main" id="{5C22F234-F648-4C27-B890-6EF915D04D85}"/>
              </a:ext>
            </a:extLst>
          </p:cNvPr>
          <p:cNvSpPr/>
          <p:nvPr/>
        </p:nvSpPr>
        <p:spPr bwMode="gray">
          <a:xfrm rot="10800000" flipV="1">
            <a:off x="10466676" y="3827867"/>
            <a:ext cx="72679" cy="162233"/>
          </a:xfrm>
          <a:custGeom>
            <a:avLst/>
            <a:gdLst>
              <a:gd name="connsiteX0" fmla="*/ 1191 w 76769"/>
              <a:gd name="connsiteY0" fmla="*/ 171392 h 198335"/>
              <a:gd name="connsiteX1" fmla="*/ 1191 w 76769"/>
              <a:gd name="connsiteY1" fmla="*/ 171379 h 198335"/>
              <a:gd name="connsiteX2" fmla="*/ 1 w 76769"/>
              <a:gd name="connsiteY2" fmla="*/ 169330 h 198335"/>
              <a:gd name="connsiteX3" fmla="*/ 0 w 76769"/>
              <a:gd name="connsiteY3" fmla="*/ 26943 h 198335"/>
              <a:gd name="connsiteX4" fmla="*/ 37789 w 76769"/>
              <a:gd name="connsiteY4" fmla="*/ 0 h 198335"/>
              <a:gd name="connsiteX5" fmla="*/ 75578 w 76769"/>
              <a:gd name="connsiteY5" fmla="*/ 26943 h 198335"/>
              <a:gd name="connsiteX6" fmla="*/ 75578 w 76769"/>
              <a:gd name="connsiteY6" fmla="*/ 26956 h 198335"/>
              <a:gd name="connsiteX7" fmla="*/ 76769 w 76769"/>
              <a:gd name="connsiteY7" fmla="*/ 29005 h 198335"/>
              <a:gd name="connsiteX8" fmla="*/ 76769 w 76769"/>
              <a:gd name="connsiteY8" fmla="*/ 171392 h 198335"/>
              <a:gd name="connsiteX9" fmla="*/ 38980 w 76769"/>
              <a:gd name="connsiteY9" fmla="*/ 198335 h 198335"/>
              <a:gd name="connsiteX10" fmla="*/ 1191 w 76769"/>
              <a:gd name="connsiteY10" fmla="*/ 171392 h 198335"/>
              <a:gd name="connsiteX0" fmla="*/ 1191 w 76769"/>
              <a:gd name="connsiteY0" fmla="*/ 154997 h 181940"/>
              <a:gd name="connsiteX1" fmla="*/ 1191 w 76769"/>
              <a:gd name="connsiteY1" fmla="*/ 154984 h 181940"/>
              <a:gd name="connsiteX2" fmla="*/ 1 w 76769"/>
              <a:gd name="connsiteY2" fmla="*/ 152935 h 181940"/>
              <a:gd name="connsiteX3" fmla="*/ 0 w 76769"/>
              <a:gd name="connsiteY3" fmla="*/ 10548 h 181940"/>
              <a:gd name="connsiteX4" fmla="*/ 75578 w 76769"/>
              <a:gd name="connsiteY4" fmla="*/ 10548 h 181940"/>
              <a:gd name="connsiteX5" fmla="*/ 75578 w 76769"/>
              <a:gd name="connsiteY5" fmla="*/ 10561 h 181940"/>
              <a:gd name="connsiteX6" fmla="*/ 76769 w 76769"/>
              <a:gd name="connsiteY6" fmla="*/ 12610 h 181940"/>
              <a:gd name="connsiteX7" fmla="*/ 76769 w 76769"/>
              <a:gd name="connsiteY7" fmla="*/ 154997 h 181940"/>
              <a:gd name="connsiteX8" fmla="*/ 38980 w 76769"/>
              <a:gd name="connsiteY8" fmla="*/ 181940 h 181940"/>
              <a:gd name="connsiteX9" fmla="*/ 1191 w 76769"/>
              <a:gd name="connsiteY9" fmla="*/ 154997 h 181940"/>
              <a:gd name="connsiteX0" fmla="*/ 1191 w 77087"/>
              <a:gd name="connsiteY0" fmla="*/ 154997 h 181940"/>
              <a:gd name="connsiteX1" fmla="*/ 1191 w 77087"/>
              <a:gd name="connsiteY1" fmla="*/ 154984 h 181940"/>
              <a:gd name="connsiteX2" fmla="*/ 1 w 77087"/>
              <a:gd name="connsiteY2" fmla="*/ 152935 h 181940"/>
              <a:gd name="connsiteX3" fmla="*/ 0 w 77087"/>
              <a:gd name="connsiteY3" fmla="*/ 10548 h 181940"/>
              <a:gd name="connsiteX4" fmla="*/ 75578 w 77087"/>
              <a:gd name="connsiteY4" fmla="*/ 10548 h 181940"/>
              <a:gd name="connsiteX5" fmla="*/ 75578 w 77087"/>
              <a:gd name="connsiteY5" fmla="*/ 10561 h 181940"/>
              <a:gd name="connsiteX6" fmla="*/ 77087 w 77087"/>
              <a:gd name="connsiteY6" fmla="*/ 17925 h 181940"/>
              <a:gd name="connsiteX7" fmla="*/ 76769 w 77087"/>
              <a:gd name="connsiteY7" fmla="*/ 154997 h 181940"/>
              <a:gd name="connsiteX8" fmla="*/ 38980 w 77087"/>
              <a:gd name="connsiteY8" fmla="*/ 181940 h 181940"/>
              <a:gd name="connsiteX9" fmla="*/ 1191 w 77087"/>
              <a:gd name="connsiteY9" fmla="*/ 154997 h 181940"/>
              <a:gd name="connsiteX0" fmla="*/ 1191 w 76769"/>
              <a:gd name="connsiteY0" fmla="*/ 154997 h 181940"/>
              <a:gd name="connsiteX1" fmla="*/ 1191 w 76769"/>
              <a:gd name="connsiteY1" fmla="*/ 154984 h 181940"/>
              <a:gd name="connsiteX2" fmla="*/ 1 w 76769"/>
              <a:gd name="connsiteY2" fmla="*/ 152935 h 181940"/>
              <a:gd name="connsiteX3" fmla="*/ 0 w 76769"/>
              <a:gd name="connsiteY3" fmla="*/ 10548 h 181940"/>
              <a:gd name="connsiteX4" fmla="*/ 75578 w 76769"/>
              <a:gd name="connsiteY4" fmla="*/ 10548 h 181940"/>
              <a:gd name="connsiteX5" fmla="*/ 75578 w 76769"/>
              <a:gd name="connsiteY5" fmla="*/ 10561 h 181940"/>
              <a:gd name="connsiteX6" fmla="*/ 76769 w 76769"/>
              <a:gd name="connsiteY6" fmla="*/ 154997 h 181940"/>
              <a:gd name="connsiteX7" fmla="*/ 38980 w 76769"/>
              <a:gd name="connsiteY7" fmla="*/ 181940 h 181940"/>
              <a:gd name="connsiteX8" fmla="*/ 1191 w 76769"/>
              <a:gd name="connsiteY8" fmla="*/ 154997 h 181940"/>
              <a:gd name="connsiteX0" fmla="*/ 1191 w 76769"/>
              <a:gd name="connsiteY0" fmla="*/ 144450 h 171393"/>
              <a:gd name="connsiteX1" fmla="*/ 1191 w 76769"/>
              <a:gd name="connsiteY1" fmla="*/ 144437 h 171393"/>
              <a:gd name="connsiteX2" fmla="*/ 1 w 76769"/>
              <a:gd name="connsiteY2" fmla="*/ 142388 h 171393"/>
              <a:gd name="connsiteX3" fmla="*/ 0 w 76769"/>
              <a:gd name="connsiteY3" fmla="*/ 1 h 171393"/>
              <a:gd name="connsiteX4" fmla="*/ 75578 w 76769"/>
              <a:gd name="connsiteY4" fmla="*/ 1 h 171393"/>
              <a:gd name="connsiteX5" fmla="*/ 75578 w 76769"/>
              <a:gd name="connsiteY5" fmla="*/ 14 h 171393"/>
              <a:gd name="connsiteX6" fmla="*/ 76769 w 76769"/>
              <a:gd name="connsiteY6" fmla="*/ 144450 h 171393"/>
              <a:gd name="connsiteX7" fmla="*/ 38980 w 76769"/>
              <a:gd name="connsiteY7" fmla="*/ 171393 h 171393"/>
              <a:gd name="connsiteX8" fmla="*/ 1191 w 76769"/>
              <a:gd name="connsiteY8" fmla="*/ 144450 h 171393"/>
              <a:gd name="connsiteX0" fmla="*/ 1191 w 76854"/>
              <a:gd name="connsiteY0" fmla="*/ 144450 h 171393"/>
              <a:gd name="connsiteX1" fmla="*/ 1191 w 76854"/>
              <a:gd name="connsiteY1" fmla="*/ 144437 h 171393"/>
              <a:gd name="connsiteX2" fmla="*/ 1 w 76854"/>
              <a:gd name="connsiteY2" fmla="*/ 142388 h 171393"/>
              <a:gd name="connsiteX3" fmla="*/ 0 w 76854"/>
              <a:gd name="connsiteY3" fmla="*/ 1 h 171393"/>
              <a:gd name="connsiteX4" fmla="*/ 75578 w 76854"/>
              <a:gd name="connsiteY4" fmla="*/ 1 h 171393"/>
              <a:gd name="connsiteX5" fmla="*/ 76854 w 76854"/>
              <a:gd name="connsiteY5" fmla="*/ 21274 h 171393"/>
              <a:gd name="connsiteX6" fmla="*/ 76769 w 76854"/>
              <a:gd name="connsiteY6" fmla="*/ 144450 h 171393"/>
              <a:gd name="connsiteX7" fmla="*/ 38980 w 76854"/>
              <a:gd name="connsiteY7" fmla="*/ 171393 h 171393"/>
              <a:gd name="connsiteX8" fmla="*/ 1191 w 76854"/>
              <a:gd name="connsiteY8" fmla="*/ 144450 h 171393"/>
              <a:gd name="connsiteX0" fmla="*/ 1191 w 76769"/>
              <a:gd name="connsiteY0" fmla="*/ 144450 h 171393"/>
              <a:gd name="connsiteX1" fmla="*/ 1191 w 76769"/>
              <a:gd name="connsiteY1" fmla="*/ 144437 h 171393"/>
              <a:gd name="connsiteX2" fmla="*/ 1 w 76769"/>
              <a:gd name="connsiteY2" fmla="*/ 142388 h 171393"/>
              <a:gd name="connsiteX3" fmla="*/ 0 w 76769"/>
              <a:gd name="connsiteY3" fmla="*/ 1 h 171393"/>
              <a:gd name="connsiteX4" fmla="*/ 75578 w 76769"/>
              <a:gd name="connsiteY4" fmla="*/ 1 h 171393"/>
              <a:gd name="connsiteX5" fmla="*/ 46069 w 76769"/>
              <a:gd name="connsiteY5" fmla="*/ 6053 h 171393"/>
              <a:gd name="connsiteX6" fmla="*/ 76769 w 76769"/>
              <a:gd name="connsiteY6" fmla="*/ 144450 h 171393"/>
              <a:gd name="connsiteX7" fmla="*/ 38980 w 76769"/>
              <a:gd name="connsiteY7" fmla="*/ 171393 h 171393"/>
              <a:gd name="connsiteX8" fmla="*/ 1191 w 76769"/>
              <a:gd name="connsiteY8" fmla="*/ 144450 h 171393"/>
              <a:gd name="connsiteX0" fmla="*/ 1191 w 83348"/>
              <a:gd name="connsiteY0" fmla="*/ 144450 h 171409"/>
              <a:gd name="connsiteX1" fmla="*/ 1191 w 83348"/>
              <a:gd name="connsiteY1" fmla="*/ 144437 h 171409"/>
              <a:gd name="connsiteX2" fmla="*/ 1 w 83348"/>
              <a:gd name="connsiteY2" fmla="*/ 142388 h 171409"/>
              <a:gd name="connsiteX3" fmla="*/ 0 w 83348"/>
              <a:gd name="connsiteY3" fmla="*/ 1 h 171409"/>
              <a:gd name="connsiteX4" fmla="*/ 75578 w 83348"/>
              <a:gd name="connsiteY4" fmla="*/ 1 h 171409"/>
              <a:gd name="connsiteX5" fmla="*/ 76769 w 83348"/>
              <a:gd name="connsiteY5" fmla="*/ 144450 h 171409"/>
              <a:gd name="connsiteX6" fmla="*/ 38980 w 83348"/>
              <a:gd name="connsiteY6" fmla="*/ 171393 h 171409"/>
              <a:gd name="connsiteX7" fmla="*/ 1191 w 83348"/>
              <a:gd name="connsiteY7" fmla="*/ 144450 h 171409"/>
              <a:gd name="connsiteX0" fmla="*/ 1191 w 83252"/>
              <a:gd name="connsiteY0" fmla="*/ 144450 h 171393"/>
              <a:gd name="connsiteX1" fmla="*/ 1191 w 83252"/>
              <a:gd name="connsiteY1" fmla="*/ 144437 h 171393"/>
              <a:gd name="connsiteX2" fmla="*/ 1 w 83252"/>
              <a:gd name="connsiteY2" fmla="*/ 142388 h 171393"/>
              <a:gd name="connsiteX3" fmla="*/ 0 w 83252"/>
              <a:gd name="connsiteY3" fmla="*/ 1 h 171393"/>
              <a:gd name="connsiteX4" fmla="*/ 75578 w 83252"/>
              <a:gd name="connsiteY4" fmla="*/ 1 h 171393"/>
              <a:gd name="connsiteX5" fmla="*/ 79875 w 83252"/>
              <a:gd name="connsiteY5" fmla="*/ 35918 h 171393"/>
              <a:gd name="connsiteX6" fmla="*/ 76769 w 83252"/>
              <a:gd name="connsiteY6" fmla="*/ 144450 h 171393"/>
              <a:gd name="connsiteX7" fmla="*/ 38980 w 83252"/>
              <a:gd name="connsiteY7" fmla="*/ 171393 h 171393"/>
              <a:gd name="connsiteX8" fmla="*/ 1191 w 83252"/>
              <a:gd name="connsiteY8" fmla="*/ 144450 h 171393"/>
              <a:gd name="connsiteX0" fmla="*/ 1191 w 83252"/>
              <a:gd name="connsiteY0" fmla="*/ 144450 h 171393"/>
              <a:gd name="connsiteX1" fmla="*/ 1191 w 83252"/>
              <a:gd name="connsiteY1" fmla="*/ 144437 h 171393"/>
              <a:gd name="connsiteX2" fmla="*/ 1 w 83252"/>
              <a:gd name="connsiteY2" fmla="*/ 142388 h 171393"/>
              <a:gd name="connsiteX3" fmla="*/ 0 w 83252"/>
              <a:gd name="connsiteY3" fmla="*/ 1 h 171393"/>
              <a:gd name="connsiteX4" fmla="*/ 75578 w 83252"/>
              <a:gd name="connsiteY4" fmla="*/ 1 h 171393"/>
              <a:gd name="connsiteX5" fmla="*/ 79875 w 83252"/>
              <a:gd name="connsiteY5" fmla="*/ 35918 h 171393"/>
              <a:gd name="connsiteX6" fmla="*/ 76769 w 83252"/>
              <a:gd name="connsiteY6" fmla="*/ 144450 h 171393"/>
              <a:gd name="connsiteX7" fmla="*/ 38980 w 83252"/>
              <a:gd name="connsiteY7" fmla="*/ 171393 h 171393"/>
              <a:gd name="connsiteX8" fmla="*/ 1191 w 83252"/>
              <a:gd name="connsiteY8" fmla="*/ 144450 h 171393"/>
              <a:gd name="connsiteX0" fmla="*/ 1191 w 83252"/>
              <a:gd name="connsiteY0" fmla="*/ 144450 h 171393"/>
              <a:gd name="connsiteX1" fmla="*/ 1191 w 83252"/>
              <a:gd name="connsiteY1" fmla="*/ 144437 h 171393"/>
              <a:gd name="connsiteX2" fmla="*/ 1 w 83252"/>
              <a:gd name="connsiteY2" fmla="*/ 142388 h 171393"/>
              <a:gd name="connsiteX3" fmla="*/ 0 w 83252"/>
              <a:gd name="connsiteY3" fmla="*/ 1 h 171393"/>
              <a:gd name="connsiteX4" fmla="*/ 75578 w 83252"/>
              <a:gd name="connsiteY4" fmla="*/ 1 h 171393"/>
              <a:gd name="connsiteX5" fmla="*/ 79875 w 83252"/>
              <a:gd name="connsiteY5" fmla="*/ 35918 h 171393"/>
              <a:gd name="connsiteX6" fmla="*/ 79260 w 83252"/>
              <a:gd name="connsiteY6" fmla="*/ 96764 h 171393"/>
              <a:gd name="connsiteX7" fmla="*/ 76769 w 83252"/>
              <a:gd name="connsiteY7" fmla="*/ 144450 h 171393"/>
              <a:gd name="connsiteX8" fmla="*/ 38980 w 83252"/>
              <a:gd name="connsiteY8" fmla="*/ 171393 h 171393"/>
              <a:gd name="connsiteX9" fmla="*/ 1191 w 83252"/>
              <a:gd name="connsiteY9" fmla="*/ 144450 h 171393"/>
              <a:gd name="connsiteX0" fmla="*/ 1191 w 80882"/>
              <a:gd name="connsiteY0" fmla="*/ 144450 h 171393"/>
              <a:gd name="connsiteX1" fmla="*/ 1191 w 80882"/>
              <a:gd name="connsiteY1" fmla="*/ 144437 h 171393"/>
              <a:gd name="connsiteX2" fmla="*/ 1 w 80882"/>
              <a:gd name="connsiteY2" fmla="*/ 142388 h 171393"/>
              <a:gd name="connsiteX3" fmla="*/ 0 w 80882"/>
              <a:gd name="connsiteY3" fmla="*/ 1 h 171393"/>
              <a:gd name="connsiteX4" fmla="*/ 75578 w 80882"/>
              <a:gd name="connsiteY4" fmla="*/ 1 h 171393"/>
              <a:gd name="connsiteX5" fmla="*/ 31253 w 80882"/>
              <a:gd name="connsiteY5" fmla="*/ 61241 h 171393"/>
              <a:gd name="connsiteX6" fmla="*/ 79260 w 80882"/>
              <a:gd name="connsiteY6" fmla="*/ 96764 h 171393"/>
              <a:gd name="connsiteX7" fmla="*/ 76769 w 80882"/>
              <a:gd name="connsiteY7" fmla="*/ 144450 h 171393"/>
              <a:gd name="connsiteX8" fmla="*/ 38980 w 80882"/>
              <a:gd name="connsiteY8" fmla="*/ 171393 h 171393"/>
              <a:gd name="connsiteX9" fmla="*/ 1191 w 80882"/>
              <a:gd name="connsiteY9" fmla="*/ 144450 h 171393"/>
              <a:gd name="connsiteX0" fmla="*/ 1191 w 82524"/>
              <a:gd name="connsiteY0" fmla="*/ 144450 h 171393"/>
              <a:gd name="connsiteX1" fmla="*/ 1191 w 82524"/>
              <a:gd name="connsiteY1" fmla="*/ 144437 h 171393"/>
              <a:gd name="connsiteX2" fmla="*/ 1 w 82524"/>
              <a:gd name="connsiteY2" fmla="*/ 142388 h 171393"/>
              <a:gd name="connsiteX3" fmla="*/ 0 w 82524"/>
              <a:gd name="connsiteY3" fmla="*/ 1 h 171393"/>
              <a:gd name="connsiteX4" fmla="*/ 75578 w 82524"/>
              <a:gd name="connsiteY4" fmla="*/ 1 h 171393"/>
              <a:gd name="connsiteX5" fmla="*/ 79260 w 82524"/>
              <a:gd name="connsiteY5" fmla="*/ 96764 h 171393"/>
              <a:gd name="connsiteX6" fmla="*/ 76769 w 82524"/>
              <a:gd name="connsiteY6" fmla="*/ 144450 h 171393"/>
              <a:gd name="connsiteX7" fmla="*/ 38980 w 82524"/>
              <a:gd name="connsiteY7" fmla="*/ 171393 h 171393"/>
              <a:gd name="connsiteX8" fmla="*/ 1191 w 82524"/>
              <a:gd name="connsiteY8" fmla="*/ 144450 h 171393"/>
              <a:gd name="connsiteX0" fmla="*/ 1191 w 81470"/>
              <a:gd name="connsiteY0" fmla="*/ 144449 h 171392"/>
              <a:gd name="connsiteX1" fmla="*/ 1191 w 81470"/>
              <a:gd name="connsiteY1" fmla="*/ 144436 h 171392"/>
              <a:gd name="connsiteX2" fmla="*/ 1 w 81470"/>
              <a:gd name="connsiteY2" fmla="*/ 142387 h 171392"/>
              <a:gd name="connsiteX3" fmla="*/ 0 w 81470"/>
              <a:gd name="connsiteY3" fmla="*/ 0 h 171392"/>
              <a:gd name="connsiteX4" fmla="*/ 73834 w 81470"/>
              <a:gd name="connsiteY4" fmla="*/ 6506 h 171392"/>
              <a:gd name="connsiteX5" fmla="*/ 79260 w 81470"/>
              <a:gd name="connsiteY5" fmla="*/ 96763 h 171392"/>
              <a:gd name="connsiteX6" fmla="*/ 76769 w 81470"/>
              <a:gd name="connsiteY6" fmla="*/ 144449 h 171392"/>
              <a:gd name="connsiteX7" fmla="*/ 38980 w 81470"/>
              <a:gd name="connsiteY7" fmla="*/ 171392 h 171392"/>
              <a:gd name="connsiteX8" fmla="*/ 1191 w 81470"/>
              <a:gd name="connsiteY8" fmla="*/ 144449 h 171392"/>
              <a:gd name="connsiteX0" fmla="*/ 1191 w 81470"/>
              <a:gd name="connsiteY0" fmla="*/ 144449 h 171392"/>
              <a:gd name="connsiteX1" fmla="*/ 1191 w 81470"/>
              <a:gd name="connsiteY1" fmla="*/ 144436 h 171392"/>
              <a:gd name="connsiteX2" fmla="*/ 1 w 81470"/>
              <a:gd name="connsiteY2" fmla="*/ 142387 h 171392"/>
              <a:gd name="connsiteX3" fmla="*/ 0 w 81470"/>
              <a:gd name="connsiteY3" fmla="*/ 0 h 171392"/>
              <a:gd name="connsiteX4" fmla="*/ 73834 w 81470"/>
              <a:gd name="connsiteY4" fmla="*/ 6506 h 171392"/>
              <a:gd name="connsiteX5" fmla="*/ 79260 w 81470"/>
              <a:gd name="connsiteY5" fmla="*/ 96763 h 171392"/>
              <a:gd name="connsiteX6" fmla="*/ 78934 w 81470"/>
              <a:gd name="connsiteY6" fmla="*/ 101687 h 171392"/>
              <a:gd name="connsiteX7" fmla="*/ 76769 w 81470"/>
              <a:gd name="connsiteY7" fmla="*/ 144449 h 171392"/>
              <a:gd name="connsiteX8" fmla="*/ 38980 w 81470"/>
              <a:gd name="connsiteY8" fmla="*/ 171392 h 171392"/>
              <a:gd name="connsiteX9" fmla="*/ 1191 w 81470"/>
              <a:gd name="connsiteY9" fmla="*/ 144449 h 171392"/>
              <a:gd name="connsiteX0" fmla="*/ 1191 w 81470"/>
              <a:gd name="connsiteY0" fmla="*/ 144449 h 171392"/>
              <a:gd name="connsiteX1" fmla="*/ 1191 w 81470"/>
              <a:gd name="connsiteY1" fmla="*/ 144436 h 171392"/>
              <a:gd name="connsiteX2" fmla="*/ 1 w 81470"/>
              <a:gd name="connsiteY2" fmla="*/ 142387 h 171392"/>
              <a:gd name="connsiteX3" fmla="*/ 0 w 81470"/>
              <a:gd name="connsiteY3" fmla="*/ 0 h 171392"/>
              <a:gd name="connsiteX4" fmla="*/ 73834 w 81470"/>
              <a:gd name="connsiteY4" fmla="*/ 6506 h 171392"/>
              <a:gd name="connsiteX5" fmla="*/ 79260 w 81470"/>
              <a:gd name="connsiteY5" fmla="*/ 96763 h 171392"/>
              <a:gd name="connsiteX6" fmla="*/ 76769 w 81470"/>
              <a:gd name="connsiteY6" fmla="*/ 144449 h 171392"/>
              <a:gd name="connsiteX7" fmla="*/ 38980 w 81470"/>
              <a:gd name="connsiteY7" fmla="*/ 171392 h 171392"/>
              <a:gd name="connsiteX8" fmla="*/ 1191 w 81470"/>
              <a:gd name="connsiteY8" fmla="*/ 144449 h 171392"/>
              <a:gd name="connsiteX0" fmla="*/ 1191 w 82284"/>
              <a:gd name="connsiteY0" fmla="*/ 144449 h 171392"/>
              <a:gd name="connsiteX1" fmla="*/ 1191 w 82284"/>
              <a:gd name="connsiteY1" fmla="*/ 144436 h 171392"/>
              <a:gd name="connsiteX2" fmla="*/ 1 w 82284"/>
              <a:gd name="connsiteY2" fmla="*/ 142387 h 171392"/>
              <a:gd name="connsiteX3" fmla="*/ 0 w 82284"/>
              <a:gd name="connsiteY3" fmla="*/ 0 h 171392"/>
              <a:gd name="connsiteX4" fmla="*/ 73834 w 82284"/>
              <a:gd name="connsiteY4" fmla="*/ 6506 h 171392"/>
              <a:gd name="connsiteX5" fmla="*/ 76769 w 82284"/>
              <a:gd name="connsiteY5" fmla="*/ 144449 h 171392"/>
              <a:gd name="connsiteX6" fmla="*/ 38980 w 82284"/>
              <a:gd name="connsiteY6" fmla="*/ 171392 h 171392"/>
              <a:gd name="connsiteX7" fmla="*/ 1191 w 82284"/>
              <a:gd name="connsiteY7" fmla="*/ 144449 h 171392"/>
              <a:gd name="connsiteX0" fmla="*/ 1191 w 82284"/>
              <a:gd name="connsiteY0" fmla="*/ 144449 h 171392"/>
              <a:gd name="connsiteX1" fmla="*/ 1191 w 82284"/>
              <a:gd name="connsiteY1" fmla="*/ 144436 h 171392"/>
              <a:gd name="connsiteX2" fmla="*/ 1 w 82284"/>
              <a:gd name="connsiteY2" fmla="*/ 142387 h 171392"/>
              <a:gd name="connsiteX3" fmla="*/ 0 w 82284"/>
              <a:gd name="connsiteY3" fmla="*/ 0 h 171392"/>
              <a:gd name="connsiteX4" fmla="*/ 73834 w 82284"/>
              <a:gd name="connsiteY4" fmla="*/ 6506 h 171392"/>
              <a:gd name="connsiteX5" fmla="*/ 76769 w 82284"/>
              <a:gd name="connsiteY5" fmla="*/ 144449 h 171392"/>
              <a:gd name="connsiteX6" fmla="*/ 38980 w 82284"/>
              <a:gd name="connsiteY6" fmla="*/ 171392 h 171392"/>
              <a:gd name="connsiteX7" fmla="*/ 1191 w 82284"/>
              <a:gd name="connsiteY7" fmla="*/ 144449 h 171392"/>
              <a:gd name="connsiteX0" fmla="*/ 1191 w 80436"/>
              <a:gd name="connsiteY0" fmla="*/ 144449 h 171392"/>
              <a:gd name="connsiteX1" fmla="*/ 1191 w 80436"/>
              <a:gd name="connsiteY1" fmla="*/ 144436 h 171392"/>
              <a:gd name="connsiteX2" fmla="*/ 1 w 80436"/>
              <a:gd name="connsiteY2" fmla="*/ 142387 h 171392"/>
              <a:gd name="connsiteX3" fmla="*/ 0 w 80436"/>
              <a:gd name="connsiteY3" fmla="*/ 0 h 171392"/>
              <a:gd name="connsiteX4" fmla="*/ 73834 w 80436"/>
              <a:gd name="connsiteY4" fmla="*/ 6506 h 171392"/>
              <a:gd name="connsiteX5" fmla="*/ 76769 w 80436"/>
              <a:gd name="connsiteY5" fmla="*/ 144449 h 171392"/>
              <a:gd name="connsiteX6" fmla="*/ 38980 w 80436"/>
              <a:gd name="connsiteY6" fmla="*/ 171392 h 171392"/>
              <a:gd name="connsiteX7" fmla="*/ 1191 w 80436"/>
              <a:gd name="connsiteY7" fmla="*/ 144449 h 171392"/>
              <a:gd name="connsiteX0" fmla="*/ 1191 w 80436"/>
              <a:gd name="connsiteY0" fmla="*/ 144449 h 171392"/>
              <a:gd name="connsiteX1" fmla="*/ 1191 w 80436"/>
              <a:gd name="connsiteY1" fmla="*/ 144436 h 171392"/>
              <a:gd name="connsiteX2" fmla="*/ 1 w 80436"/>
              <a:gd name="connsiteY2" fmla="*/ 142387 h 171392"/>
              <a:gd name="connsiteX3" fmla="*/ 0 w 80436"/>
              <a:gd name="connsiteY3" fmla="*/ 0 h 171392"/>
              <a:gd name="connsiteX4" fmla="*/ 73834 w 80436"/>
              <a:gd name="connsiteY4" fmla="*/ 6506 h 171392"/>
              <a:gd name="connsiteX5" fmla="*/ 76769 w 80436"/>
              <a:gd name="connsiteY5" fmla="*/ 144449 h 171392"/>
              <a:gd name="connsiteX6" fmla="*/ 38980 w 80436"/>
              <a:gd name="connsiteY6" fmla="*/ 171392 h 171392"/>
              <a:gd name="connsiteX7" fmla="*/ 1191 w 80436"/>
              <a:gd name="connsiteY7" fmla="*/ 144449 h 171392"/>
              <a:gd name="connsiteX0" fmla="*/ 1191 w 76775"/>
              <a:gd name="connsiteY0" fmla="*/ 144449 h 171392"/>
              <a:gd name="connsiteX1" fmla="*/ 1191 w 76775"/>
              <a:gd name="connsiteY1" fmla="*/ 144436 h 171392"/>
              <a:gd name="connsiteX2" fmla="*/ 1 w 76775"/>
              <a:gd name="connsiteY2" fmla="*/ 142387 h 171392"/>
              <a:gd name="connsiteX3" fmla="*/ 0 w 76775"/>
              <a:gd name="connsiteY3" fmla="*/ 0 h 171392"/>
              <a:gd name="connsiteX4" fmla="*/ 73834 w 76775"/>
              <a:gd name="connsiteY4" fmla="*/ 6506 h 171392"/>
              <a:gd name="connsiteX5" fmla="*/ 76769 w 76775"/>
              <a:gd name="connsiteY5" fmla="*/ 144449 h 171392"/>
              <a:gd name="connsiteX6" fmla="*/ 38980 w 76775"/>
              <a:gd name="connsiteY6" fmla="*/ 171392 h 171392"/>
              <a:gd name="connsiteX7" fmla="*/ 1191 w 76775"/>
              <a:gd name="connsiteY7" fmla="*/ 144449 h 171392"/>
              <a:gd name="connsiteX0" fmla="*/ 1191 w 76775"/>
              <a:gd name="connsiteY0" fmla="*/ 144449 h 171392"/>
              <a:gd name="connsiteX1" fmla="*/ 1191 w 76775"/>
              <a:gd name="connsiteY1" fmla="*/ 144436 h 171392"/>
              <a:gd name="connsiteX2" fmla="*/ 1 w 76775"/>
              <a:gd name="connsiteY2" fmla="*/ 142387 h 171392"/>
              <a:gd name="connsiteX3" fmla="*/ 0 w 76775"/>
              <a:gd name="connsiteY3" fmla="*/ 0 h 171392"/>
              <a:gd name="connsiteX4" fmla="*/ 73834 w 76775"/>
              <a:gd name="connsiteY4" fmla="*/ 6506 h 171392"/>
              <a:gd name="connsiteX5" fmla="*/ 76769 w 76775"/>
              <a:gd name="connsiteY5" fmla="*/ 144449 h 171392"/>
              <a:gd name="connsiteX6" fmla="*/ 38980 w 76775"/>
              <a:gd name="connsiteY6" fmla="*/ 171392 h 171392"/>
              <a:gd name="connsiteX7" fmla="*/ 1191 w 76775"/>
              <a:gd name="connsiteY7" fmla="*/ 144449 h 171392"/>
              <a:gd name="connsiteX0" fmla="*/ 1191 w 76775"/>
              <a:gd name="connsiteY0" fmla="*/ 144449 h 171392"/>
              <a:gd name="connsiteX1" fmla="*/ 1191 w 76775"/>
              <a:gd name="connsiteY1" fmla="*/ 144436 h 171392"/>
              <a:gd name="connsiteX2" fmla="*/ 1 w 76775"/>
              <a:gd name="connsiteY2" fmla="*/ 142387 h 171392"/>
              <a:gd name="connsiteX3" fmla="*/ 0 w 76775"/>
              <a:gd name="connsiteY3" fmla="*/ 0 h 171392"/>
              <a:gd name="connsiteX4" fmla="*/ 73834 w 76775"/>
              <a:gd name="connsiteY4" fmla="*/ 6506 h 171392"/>
              <a:gd name="connsiteX5" fmla="*/ 76769 w 76775"/>
              <a:gd name="connsiteY5" fmla="*/ 144449 h 171392"/>
              <a:gd name="connsiteX6" fmla="*/ 38980 w 76775"/>
              <a:gd name="connsiteY6" fmla="*/ 171392 h 171392"/>
              <a:gd name="connsiteX7" fmla="*/ 1191 w 76775"/>
              <a:gd name="connsiteY7" fmla="*/ 144449 h 171392"/>
              <a:gd name="connsiteX0" fmla="*/ 1191 w 76782"/>
              <a:gd name="connsiteY0" fmla="*/ 144449 h 171392"/>
              <a:gd name="connsiteX1" fmla="*/ 1191 w 76782"/>
              <a:gd name="connsiteY1" fmla="*/ 144436 h 171392"/>
              <a:gd name="connsiteX2" fmla="*/ 1 w 76782"/>
              <a:gd name="connsiteY2" fmla="*/ 142387 h 171392"/>
              <a:gd name="connsiteX3" fmla="*/ 0 w 76782"/>
              <a:gd name="connsiteY3" fmla="*/ 0 h 171392"/>
              <a:gd name="connsiteX4" fmla="*/ 75246 w 76782"/>
              <a:gd name="connsiteY4" fmla="*/ 8952 h 171392"/>
              <a:gd name="connsiteX5" fmla="*/ 76769 w 76782"/>
              <a:gd name="connsiteY5" fmla="*/ 144449 h 171392"/>
              <a:gd name="connsiteX6" fmla="*/ 38980 w 76782"/>
              <a:gd name="connsiteY6" fmla="*/ 171392 h 171392"/>
              <a:gd name="connsiteX7" fmla="*/ 1191 w 76782"/>
              <a:gd name="connsiteY7" fmla="*/ 144449 h 171392"/>
              <a:gd name="connsiteX0" fmla="*/ 1191 w 76782"/>
              <a:gd name="connsiteY0" fmla="*/ 144449 h 171392"/>
              <a:gd name="connsiteX1" fmla="*/ 1191 w 76782"/>
              <a:gd name="connsiteY1" fmla="*/ 144436 h 171392"/>
              <a:gd name="connsiteX2" fmla="*/ 1 w 76782"/>
              <a:gd name="connsiteY2" fmla="*/ 142387 h 171392"/>
              <a:gd name="connsiteX3" fmla="*/ 0 w 76782"/>
              <a:gd name="connsiteY3" fmla="*/ 0 h 171392"/>
              <a:gd name="connsiteX4" fmla="*/ 75246 w 76782"/>
              <a:gd name="connsiteY4" fmla="*/ 8952 h 171392"/>
              <a:gd name="connsiteX5" fmla="*/ 76769 w 76782"/>
              <a:gd name="connsiteY5" fmla="*/ 144449 h 171392"/>
              <a:gd name="connsiteX6" fmla="*/ 38980 w 76782"/>
              <a:gd name="connsiteY6" fmla="*/ 171392 h 171392"/>
              <a:gd name="connsiteX7" fmla="*/ 1191 w 76782"/>
              <a:gd name="connsiteY7" fmla="*/ 144449 h 171392"/>
              <a:gd name="connsiteX0" fmla="*/ 1191 w 76782"/>
              <a:gd name="connsiteY0" fmla="*/ 144449 h 171392"/>
              <a:gd name="connsiteX1" fmla="*/ 1191 w 76782"/>
              <a:gd name="connsiteY1" fmla="*/ 144436 h 171392"/>
              <a:gd name="connsiteX2" fmla="*/ 1 w 76782"/>
              <a:gd name="connsiteY2" fmla="*/ 142387 h 171392"/>
              <a:gd name="connsiteX3" fmla="*/ 0 w 76782"/>
              <a:gd name="connsiteY3" fmla="*/ 0 h 171392"/>
              <a:gd name="connsiteX4" fmla="*/ 75246 w 76782"/>
              <a:gd name="connsiteY4" fmla="*/ 8952 h 171392"/>
              <a:gd name="connsiteX5" fmla="*/ 76769 w 76782"/>
              <a:gd name="connsiteY5" fmla="*/ 144449 h 171392"/>
              <a:gd name="connsiteX6" fmla="*/ 38980 w 76782"/>
              <a:gd name="connsiteY6" fmla="*/ 171392 h 171392"/>
              <a:gd name="connsiteX7" fmla="*/ 1191 w 76782"/>
              <a:gd name="connsiteY7" fmla="*/ 144449 h 17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82" h="171392">
                <a:moveTo>
                  <a:pt x="1191" y="144449"/>
                </a:moveTo>
                <a:lnTo>
                  <a:pt x="1191" y="144436"/>
                </a:lnTo>
                <a:lnTo>
                  <a:pt x="1" y="142387"/>
                </a:lnTo>
                <a:cubicBezTo>
                  <a:pt x="1" y="94925"/>
                  <a:pt x="0" y="47462"/>
                  <a:pt x="0" y="0"/>
                </a:cubicBezTo>
                <a:cubicBezTo>
                  <a:pt x="104" y="29475"/>
                  <a:pt x="64000" y="36705"/>
                  <a:pt x="75246" y="8952"/>
                </a:cubicBezTo>
                <a:cubicBezTo>
                  <a:pt x="75863" y="51472"/>
                  <a:pt x="76914" y="113512"/>
                  <a:pt x="76769" y="144449"/>
                </a:cubicBezTo>
                <a:cubicBezTo>
                  <a:pt x="76000" y="153122"/>
                  <a:pt x="59850" y="171392"/>
                  <a:pt x="38980" y="171392"/>
                </a:cubicBezTo>
                <a:cubicBezTo>
                  <a:pt x="18110" y="171392"/>
                  <a:pt x="1191" y="159329"/>
                  <a:pt x="1191" y="144449"/>
                </a:cubicBezTo>
                <a:close/>
              </a:path>
            </a:pathLst>
          </a:custGeom>
          <a:gradFill flip="none" rotWithShape="1">
            <a:gsLst>
              <a:gs pos="21000">
                <a:schemeClr val="accent2">
                  <a:lumMod val="0"/>
                  <a:lumOff val="100000"/>
                </a:schemeClr>
              </a:gs>
              <a:gs pos="74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005" name="Cylinder 1004">
            <a:extLst>
              <a:ext uri="{FF2B5EF4-FFF2-40B4-BE49-F238E27FC236}">
                <a16:creationId xmlns:a16="http://schemas.microsoft.com/office/drawing/2014/main" id="{D2FBCAE0-C355-4295-B449-3C7832994C8F}"/>
              </a:ext>
            </a:extLst>
          </p:cNvPr>
          <p:cNvSpPr/>
          <p:nvPr/>
        </p:nvSpPr>
        <p:spPr bwMode="gray">
          <a:xfrm rot="10800000" flipV="1">
            <a:off x="9866273" y="3512014"/>
            <a:ext cx="81425" cy="250314"/>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006" name="Cylinder 1005">
            <a:extLst>
              <a:ext uri="{FF2B5EF4-FFF2-40B4-BE49-F238E27FC236}">
                <a16:creationId xmlns:a16="http://schemas.microsoft.com/office/drawing/2014/main" id="{E69CF339-DC49-4948-AF8C-570445B67F75}"/>
              </a:ext>
            </a:extLst>
          </p:cNvPr>
          <p:cNvSpPr/>
          <p:nvPr/>
        </p:nvSpPr>
        <p:spPr bwMode="gray">
          <a:xfrm rot="10800000" flipV="1">
            <a:off x="9666190" y="3628382"/>
            <a:ext cx="81425" cy="250314"/>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007" name="Cylinder 1006">
            <a:extLst>
              <a:ext uri="{FF2B5EF4-FFF2-40B4-BE49-F238E27FC236}">
                <a16:creationId xmlns:a16="http://schemas.microsoft.com/office/drawing/2014/main" id="{E68D59A7-A9DC-4BD4-9EBE-384422FC14F1}"/>
              </a:ext>
            </a:extLst>
          </p:cNvPr>
          <p:cNvSpPr/>
          <p:nvPr/>
        </p:nvSpPr>
        <p:spPr bwMode="gray">
          <a:xfrm rot="10800000" flipV="1">
            <a:off x="9466106" y="3744750"/>
            <a:ext cx="81425" cy="250314"/>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008" name="Cylinder 1007">
            <a:extLst>
              <a:ext uri="{FF2B5EF4-FFF2-40B4-BE49-F238E27FC236}">
                <a16:creationId xmlns:a16="http://schemas.microsoft.com/office/drawing/2014/main" id="{D0E20A8C-E54D-4E35-ADED-9D9C3129673D}"/>
              </a:ext>
            </a:extLst>
          </p:cNvPr>
          <p:cNvSpPr/>
          <p:nvPr/>
        </p:nvSpPr>
        <p:spPr bwMode="gray">
          <a:xfrm rot="10800000" flipV="1">
            <a:off x="9266024" y="3861120"/>
            <a:ext cx="81425" cy="250314"/>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010" name="Freeform: Shape 1009">
            <a:extLst>
              <a:ext uri="{FF2B5EF4-FFF2-40B4-BE49-F238E27FC236}">
                <a16:creationId xmlns:a16="http://schemas.microsoft.com/office/drawing/2014/main" id="{98C78F0E-5788-45D7-9EB2-39056C84FFF6}"/>
              </a:ext>
            </a:extLst>
          </p:cNvPr>
          <p:cNvSpPr/>
          <p:nvPr/>
        </p:nvSpPr>
        <p:spPr bwMode="gray">
          <a:xfrm flipH="1">
            <a:off x="8959017" y="3412065"/>
            <a:ext cx="1189186" cy="702974"/>
          </a:xfrm>
          <a:custGeom>
            <a:avLst/>
            <a:gdLst>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645961 w 1248882"/>
              <a:gd name="connsiteY28" fmla="*/ 393195 h 912354"/>
              <a:gd name="connsiteX29" fmla="*/ 629636 w 1248882"/>
              <a:gd name="connsiteY29" fmla="*/ 386920 h 912354"/>
              <a:gd name="connsiteX30" fmla="*/ 576468 w 1248882"/>
              <a:gd name="connsiteY30" fmla="*/ 359689 h 912354"/>
              <a:gd name="connsiteX31" fmla="*/ 97170 w 1248882"/>
              <a:gd name="connsiteY31" fmla="*/ 84934 h 912354"/>
              <a:gd name="connsiteX32" fmla="*/ 97100 w 1248882"/>
              <a:gd name="connsiteY32" fmla="*/ 84854 h 912354"/>
              <a:gd name="connsiteX33" fmla="*/ 92641 w 1248882"/>
              <a:gd name="connsiteY33" fmla="*/ 86106 h 912354"/>
              <a:gd name="connsiteX34" fmla="*/ 83322 w 1248882"/>
              <a:gd name="connsiteY34" fmla="*/ 98353 h 912354"/>
              <a:gd name="connsiteX35" fmla="*/ 83306 w 1248882"/>
              <a:gd name="connsiteY35" fmla="*/ 104410 h 912354"/>
              <a:gd name="connsiteX36" fmla="*/ 84058 w 1248882"/>
              <a:gd name="connsiteY36" fmla="*/ 106600 h 912354"/>
              <a:gd name="connsiteX37" fmla="*/ 84057 w 1248882"/>
              <a:gd name="connsiteY37" fmla="*/ 212545 h 912354"/>
              <a:gd name="connsiteX38" fmla="*/ 42843 w 1248882"/>
              <a:gd name="connsiteY38" fmla="*/ 236780 h 912354"/>
              <a:gd name="connsiteX39" fmla="*/ 4867 w 1248882"/>
              <a:gd name="connsiteY39"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645961 w 1248882"/>
              <a:gd name="connsiteY28" fmla="*/ 393195 h 912354"/>
              <a:gd name="connsiteX29" fmla="*/ 576468 w 1248882"/>
              <a:gd name="connsiteY29" fmla="*/ 359689 h 912354"/>
              <a:gd name="connsiteX30" fmla="*/ 97170 w 1248882"/>
              <a:gd name="connsiteY30" fmla="*/ 84934 h 912354"/>
              <a:gd name="connsiteX31" fmla="*/ 97100 w 1248882"/>
              <a:gd name="connsiteY31" fmla="*/ 84854 h 912354"/>
              <a:gd name="connsiteX32" fmla="*/ 92641 w 1248882"/>
              <a:gd name="connsiteY32" fmla="*/ 86106 h 912354"/>
              <a:gd name="connsiteX33" fmla="*/ 83322 w 1248882"/>
              <a:gd name="connsiteY33" fmla="*/ 98353 h 912354"/>
              <a:gd name="connsiteX34" fmla="*/ 83306 w 1248882"/>
              <a:gd name="connsiteY34" fmla="*/ 104410 h 912354"/>
              <a:gd name="connsiteX35" fmla="*/ 84058 w 1248882"/>
              <a:gd name="connsiteY35" fmla="*/ 106600 h 912354"/>
              <a:gd name="connsiteX36" fmla="*/ 84057 w 1248882"/>
              <a:gd name="connsiteY36" fmla="*/ 212545 h 912354"/>
              <a:gd name="connsiteX37" fmla="*/ 42843 w 1248882"/>
              <a:gd name="connsiteY37" fmla="*/ 236780 h 912354"/>
              <a:gd name="connsiteX38" fmla="*/ 4867 w 1248882"/>
              <a:gd name="connsiteY38"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576468 w 1248882"/>
              <a:gd name="connsiteY28" fmla="*/ 359689 h 912354"/>
              <a:gd name="connsiteX29" fmla="*/ 97170 w 1248882"/>
              <a:gd name="connsiteY29" fmla="*/ 84934 h 912354"/>
              <a:gd name="connsiteX30" fmla="*/ 97100 w 1248882"/>
              <a:gd name="connsiteY30" fmla="*/ 84854 h 912354"/>
              <a:gd name="connsiteX31" fmla="*/ 92641 w 1248882"/>
              <a:gd name="connsiteY31" fmla="*/ 86106 h 912354"/>
              <a:gd name="connsiteX32" fmla="*/ 83322 w 1248882"/>
              <a:gd name="connsiteY32" fmla="*/ 98353 h 912354"/>
              <a:gd name="connsiteX33" fmla="*/ 83306 w 1248882"/>
              <a:gd name="connsiteY33" fmla="*/ 104410 h 912354"/>
              <a:gd name="connsiteX34" fmla="*/ 84058 w 1248882"/>
              <a:gd name="connsiteY34" fmla="*/ 106600 h 912354"/>
              <a:gd name="connsiteX35" fmla="*/ 84057 w 1248882"/>
              <a:gd name="connsiteY35" fmla="*/ 212545 h 912354"/>
              <a:gd name="connsiteX36" fmla="*/ 42843 w 1248882"/>
              <a:gd name="connsiteY36" fmla="*/ 236780 h 912354"/>
              <a:gd name="connsiteX37" fmla="*/ 4867 w 1248882"/>
              <a:gd name="connsiteY37"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576468 w 1248882"/>
              <a:gd name="connsiteY27" fmla="*/ 359689 h 912354"/>
              <a:gd name="connsiteX28" fmla="*/ 97170 w 1248882"/>
              <a:gd name="connsiteY28" fmla="*/ 84934 h 912354"/>
              <a:gd name="connsiteX29" fmla="*/ 97100 w 1248882"/>
              <a:gd name="connsiteY29" fmla="*/ 84854 h 912354"/>
              <a:gd name="connsiteX30" fmla="*/ 92641 w 1248882"/>
              <a:gd name="connsiteY30" fmla="*/ 86106 h 912354"/>
              <a:gd name="connsiteX31" fmla="*/ 83322 w 1248882"/>
              <a:gd name="connsiteY31" fmla="*/ 98353 h 912354"/>
              <a:gd name="connsiteX32" fmla="*/ 83306 w 1248882"/>
              <a:gd name="connsiteY32" fmla="*/ 104410 h 912354"/>
              <a:gd name="connsiteX33" fmla="*/ 84058 w 1248882"/>
              <a:gd name="connsiteY33" fmla="*/ 106600 h 912354"/>
              <a:gd name="connsiteX34" fmla="*/ 84057 w 1248882"/>
              <a:gd name="connsiteY34" fmla="*/ 212545 h 912354"/>
              <a:gd name="connsiteX35" fmla="*/ 42843 w 1248882"/>
              <a:gd name="connsiteY35" fmla="*/ 236780 h 912354"/>
              <a:gd name="connsiteX36" fmla="*/ 4867 w 1248882"/>
              <a:gd name="connsiteY36"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576468 w 1248882"/>
              <a:gd name="connsiteY26" fmla="*/ 359689 h 912354"/>
              <a:gd name="connsiteX27" fmla="*/ 97170 w 1248882"/>
              <a:gd name="connsiteY27" fmla="*/ 84934 h 912354"/>
              <a:gd name="connsiteX28" fmla="*/ 97100 w 1248882"/>
              <a:gd name="connsiteY28" fmla="*/ 84854 h 912354"/>
              <a:gd name="connsiteX29" fmla="*/ 92641 w 1248882"/>
              <a:gd name="connsiteY29" fmla="*/ 86106 h 912354"/>
              <a:gd name="connsiteX30" fmla="*/ 83322 w 1248882"/>
              <a:gd name="connsiteY30" fmla="*/ 98353 h 912354"/>
              <a:gd name="connsiteX31" fmla="*/ 83306 w 1248882"/>
              <a:gd name="connsiteY31" fmla="*/ 104410 h 912354"/>
              <a:gd name="connsiteX32" fmla="*/ 84058 w 1248882"/>
              <a:gd name="connsiteY32" fmla="*/ 106600 h 912354"/>
              <a:gd name="connsiteX33" fmla="*/ 84057 w 1248882"/>
              <a:gd name="connsiteY33" fmla="*/ 212545 h 912354"/>
              <a:gd name="connsiteX34" fmla="*/ 42843 w 1248882"/>
              <a:gd name="connsiteY34" fmla="*/ 236780 h 912354"/>
              <a:gd name="connsiteX35" fmla="*/ 4867 w 1248882"/>
              <a:gd name="connsiteY35"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576468 w 1248882"/>
              <a:gd name="connsiteY25" fmla="*/ 359689 h 912354"/>
              <a:gd name="connsiteX26" fmla="*/ 97170 w 1248882"/>
              <a:gd name="connsiteY26" fmla="*/ 84934 h 912354"/>
              <a:gd name="connsiteX27" fmla="*/ 97100 w 1248882"/>
              <a:gd name="connsiteY27" fmla="*/ 84854 h 912354"/>
              <a:gd name="connsiteX28" fmla="*/ 92641 w 1248882"/>
              <a:gd name="connsiteY28" fmla="*/ 86106 h 912354"/>
              <a:gd name="connsiteX29" fmla="*/ 83322 w 1248882"/>
              <a:gd name="connsiteY29" fmla="*/ 98353 h 912354"/>
              <a:gd name="connsiteX30" fmla="*/ 83306 w 1248882"/>
              <a:gd name="connsiteY30" fmla="*/ 104410 h 912354"/>
              <a:gd name="connsiteX31" fmla="*/ 84058 w 1248882"/>
              <a:gd name="connsiteY31" fmla="*/ 106600 h 912354"/>
              <a:gd name="connsiteX32" fmla="*/ 84057 w 1248882"/>
              <a:gd name="connsiteY32" fmla="*/ 212545 h 912354"/>
              <a:gd name="connsiteX33" fmla="*/ 42843 w 1248882"/>
              <a:gd name="connsiteY33" fmla="*/ 236780 h 912354"/>
              <a:gd name="connsiteX34" fmla="*/ 4867 w 1248882"/>
              <a:gd name="connsiteY34"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97170 w 1248882"/>
              <a:gd name="connsiteY25" fmla="*/ 84934 h 912354"/>
              <a:gd name="connsiteX26" fmla="*/ 97100 w 1248882"/>
              <a:gd name="connsiteY26" fmla="*/ 84854 h 912354"/>
              <a:gd name="connsiteX27" fmla="*/ 92641 w 1248882"/>
              <a:gd name="connsiteY27" fmla="*/ 86106 h 912354"/>
              <a:gd name="connsiteX28" fmla="*/ 83322 w 1248882"/>
              <a:gd name="connsiteY28" fmla="*/ 98353 h 912354"/>
              <a:gd name="connsiteX29" fmla="*/ 83306 w 1248882"/>
              <a:gd name="connsiteY29" fmla="*/ 104410 h 912354"/>
              <a:gd name="connsiteX30" fmla="*/ 84058 w 1248882"/>
              <a:gd name="connsiteY30" fmla="*/ 106600 h 912354"/>
              <a:gd name="connsiteX31" fmla="*/ 84057 w 1248882"/>
              <a:gd name="connsiteY31" fmla="*/ 212545 h 912354"/>
              <a:gd name="connsiteX32" fmla="*/ 42843 w 1248882"/>
              <a:gd name="connsiteY32" fmla="*/ 236780 h 912354"/>
              <a:gd name="connsiteX33" fmla="*/ 4867 w 1248882"/>
              <a:gd name="connsiteY33"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95504 w 1248882"/>
              <a:gd name="connsiteY10" fmla="*/ 342628 h 912354"/>
              <a:gd name="connsiteX11" fmla="*/ 1195107 w 1248882"/>
              <a:gd name="connsiteY11" fmla="*/ 625705 h 912354"/>
              <a:gd name="connsiteX12" fmla="*/ 1233715 w 1248882"/>
              <a:gd name="connsiteY12" fmla="*/ 663595 h 912354"/>
              <a:gd name="connsiteX13" fmla="*/ 1246207 w 1248882"/>
              <a:gd name="connsiteY13" fmla="*/ 704430 h 912354"/>
              <a:gd name="connsiteX14" fmla="*/ 1247236 w 1248882"/>
              <a:gd name="connsiteY14" fmla="*/ 715969 h 912354"/>
              <a:gd name="connsiteX15" fmla="*/ 1248882 w 1248882"/>
              <a:gd name="connsiteY15" fmla="*/ 733604 h 912354"/>
              <a:gd name="connsiteX16" fmla="*/ 1248882 w 1248882"/>
              <a:gd name="connsiteY16" fmla="*/ 888119 h 912354"/>
              <a:gd name="connsiteX17" fmla="*/ 1207667 w 1248882"/>
              <a:gd name="connsiteY17" fmla="*/ 912354 h 912354"/>
              <a:gd name="connsiteX18" fmla="*/ 1169691 w 1248882"/>
              <a:gd name="connsiteY18" fmla="*/ 897552 h 912354"/>
              <a:gd name="connsiteX19" fmla="*/ 1166452 w 1248882"/>
              <a:gd name="connsiteY19" fmla="*/ 888119 h 912354"/>
              <a:gd name="connsiteX20" fmla="*/ 1164480 w 1248882"/>
              <a:gd name="connsiteY20" fmla="*/ 718004 h 912354"/>
              <a:gd name="connsiteX21" fmla="*/ 1164797 w 1248882"/>
              <a:gd name="connsiteY21" fmla="*/ 719337 h 912354"/>
              <a:gd name="connsiteX22" fmla="*/ 1164813 w 1248882"/>
              <a:gd name="connsiteY22" fmla="*/ 716747 h 912354"/>
              <a:gd name="connsiteX23" fmla="*/ 1153233 w 1248882"/>
              <a:gd name="connsiteY23" fmla="*/ 696690 h 912354"/>
              <a:gd name="connsiteX24" fmla="*/ 97170 w 1248882"/>
              <a:gd name="connsiteY24" fmla="*/ 84934 h 912354"/>
              <a:gd name="connsiteX25" fmla="*/ 97100 w 1248882"/>
              <a:gd name="connsiteY25" fmla="*/ 84854 h 912354"/>
              <a:gd name="connsiteX26" fmla="*/ 92641 w 1248882"/>
              <a:gd name="connsiteY26" fmla="*/ 86106 h 912354"/>
              <a:gd name="connsiteX27" fmla="*/ 83322 w 1248882"/>
              <a:gd name="connsiteY27" fmla="*/ 98353 h 912354"/>
              <a:gd name="connsiteX28" fmla="*/ 83306 w 1248882"/>
              <a:gd name="connsiteY28" fmla="*/ 104410 h 912354"/>
              <a:gd name="connsiteX29" fmla="*/ 84058 w 1248882"/>
              <a:gd name="connsiteY29" fmla="*/ 106600 h 912354"/>
              <a:gd name="connsiteX30" fmla="*/ 84057 w 1248882"/>
              <a:gd name="connsiteY30" fmla="*/ 212545 h 912354"/>
              <a:gd name="connsiteX31" fmla="*/ 42843 w 1248882"/>
              <a:gd name="connsiteY31" fmla="*/ 236780 h 912354"/>
              <a:gd name="connsiteX32" fmla="*/ 4867 w 1248882"/>
              <a:gd name="connsiteY32"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95504 w 1248882"/>
              <a:gd name="connsiteY9" fmla="*/ 342628 h 912354"/>
              <a:gd name="connsiteX10" fmla="*/ 1195107 w 1248882"/>
              <a:gd name="connsiteY10" fmla="*/ 625705 h 912354"/>
              <a:gd name="connsiteX11" fmla="*/ 1233715 w 1248882"/>
              <a:gd name="connsiteY11" fmla="*/ 663595 h 912354"/>
              <a:gd name="connsiteX12" fmla="*/ 1246207 w 1248882"/>
              <a:gd name="connsiteY12" fmla="*/ 704430 h 912354"/>
              <a:gd name="connsiteX13" fmla="*/ 1247236 w 1248882"/>
              <a:gd name="connsiteY13" fmla="*/ 715969 h 912354"/>
              <a:gd name="connsiteX14" fmla="*/ 1248882 w 1248882"/>
              <a:gd name="connsiteY14" fmla="*/ 733604 h 912354"/>
              <a:gd name="connsiteX15" fmla="*/ 1248882 w 1248882"/>
              <a:gd name="connsiteY15" fmla="*/ 888119 h 912354"/>
              <a:gd name="connsiteX16" fmla="*/ 1207667 w 1248882"/>
              <a:gd name="connsiteY16" fmla="*/ 912354 h 912354"/>
              <a:gd name="connsiteX17" fmla="*/ 1169691 w 1248882"/>
              <a:gd name="connsiteY17" fmla="*/ 897552 h 912354"/>
              <a:gd name="connsiteX18" fmla="*/ 1166452 w 1248882"/>
              <a:gd name="connsiteY18" fmla="*/ 888119 h 912354"/>
              <a:gd name="connsiteX19" fmla="*/ 1164480 w 1248882"/>
              <a:gd name="connsiteY19" fmla="*/ 718004 h 912354"/>
              <a:gd name="connsiteX20" fmla="*/ 1164797 w 1248882"/>
              <a:gd name="connsiteY20" fmla="*/ 719337 h 912354"/>
              <a:gd name="connsiteX21" fmla="*/ 1164813 w 1248882"/>
              <a:gd name="connsiteY21" fmla="*/ 716747 h 912354"/>
              <a:gd name="connsiteX22" fmla="*/ 1153233 w 1248882"/>
              <a:gd name="connsiteY22" fmla="*/ 696690 h 912354"/>
              <a:gd name="connsiteX23" fmla="*/ 97170 w 1248882"/>
              <a:gd name="connsiteY23" fmla="*/ 84934 h 912354"/>
              <a:gd name="connsiteX24" fmla="*/ 97100 w 1248882"/>
              <a:gd name="connsiteY24" fmla="*/ 84854 h 912354"/>
              <a:gd name="connsiteX25" fmla="*/ 92641 w 1248882"/>
              <a:gd name="connsiteY25" fmla="*/ 86106 h 912354"/>
              <a:gd name="connsiteX26" fmla="*/ 83322 w 1248882"/>
              <a:gd name="connsiteY26" fmla="*/ 98353 h 912354"/>
              <a:gd name="connsiteX27" fmla="*/ 83306 w 1248882"/>
              <a:gd name="connsiteY27" fmla="*/ 104410 h 912354"/>
              <a:gd name="connsiteX28" fmla="*/ 84058 w 1248882"/>
              <a:gd name="connsiteY28" fmla="*/ 106600 h 912354"/>
              <a:gd name="connsiteX29" fmla="*/ 84057 w 1248882"/>
              <a:gd name="connsiteY29" fmla="*/ 212545 h 912354"/>
              <a:gd name="connsiteX30" fmla="*/ 42843 w 1248882"/>
              <a:gd name="connsiteY30" fmla="*/ 236780 h 912354"/>
              <a:gd name="connsiteX31" fmla="*/ 4867 w 1248882"/>
              <a:gd name="connsiteY31"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95504 w 1248882"/>
              <a:gd name="connsiteY8" fmla="*/ 342628 h 912354"/>
              <a:gd name="connsiteX9" fmla="*/ 1195107 w 1248882"/>
              <a:gd name="connsiteY9" fmla="*/ 625705 h 912354"/>
              <a:gd name="connsiteX10" fmla="*/ 1233715 w 1248882"/>
              <a:gd name="connsiteY10" fmla="*/ 663595 h 912354"/>
              <a:gd name="connsiteX11" fmla="*/ 1246207 w 1248882"/>
              <a:gd name="connsiteY11" fmla="*/ 704430 h 912354"/>
              <a:gd name="connsiteX12" fmla="*/ 1247236 w 1248882"/>
              <a:gd name="connsiteY12" fmla="*/ 715969 h 912354"/>
              <a:gd name="connsiteX13" fmla="*/ 1248882 w 1248882"/>
              <a:gd name="connsiteY13" fmla="*/ 733604 h 912354"/>
              <a:gd name="connsiteX14" fmla="*/ 1248882 w 1248882"/>
              <a:gd name="connsiteY14" fmla="*/ 888119 h 912354"/>
              <a:gd name="connsiteX15" fmla="*/ 1207667 w 1248882"/>
              <a:gd name="connsiteY15" fmla="*/ 912354 h 912354"/>
              <a:gd name="connsiteX16" fmla="*/ 1169691 w 1248882"/>
              <a:gd name="connsiteY16" fmla="*/ 897552 h 912354"/>
              <a:gd name="connsiteX17" fmla="*/ 1166452 w 1248882"/>
              <a:gd name="connsiteY17" fmla="*/ 888119 h 912354"/>
              <a:gd name="connsiteX18" fmla="*/ 1164480 w 1248882"/>
              <a:gd name="connsiteY18" fmla="*/ 718004 h 912354"/>
              <a:gd name="connsiteX19" fmla="*/ 1164797 w 1248882"/>
              <a:gd name="connsiteY19" fmla="*/ 719337 h 912354"/>
              <a:gd name="connsiteX20" fmla="*/ 1164813 w 1248882"/>
              <a:gd name="connsiteY20" fmla="*/ 716747 h 912354"/>
              <a:gd name="connsiteX21" fmla="*/ 1153233 w 1248882"/>
              <a:gd name="connsiteY21" fmla="*/ 696690 h 912354"/>
              <a:gd name="connsiteX22" fmla="*/ 97170 w 1248882"/>
              <a:gd name="connsiteY22" fmla="*/ 84934 h 912354"/>
              <a:gd name="connsiteX23" fmla="*/ 97100 w 1248882"/>
              <a:gd name="connsiteY23" fmla="*/ 84854 h 912354"/>
              <a:gd name="connsiteX24" fmla="*/ 92641 w 1248882"/>
              <a:gd name="connsiteY24" fmla="*/ 86106 h 912354"/>
              <a:gd name="connsiteX25" fmla="*/ 83322 w 1248882"/>
              <a:gd name="connsiteY25" fmla="*/ 98353 h 912354"/>
              <a:gd name="connsiteX26" fmla="*/ 83306 w 1248882"/>
              <a:gd name="connsiteY26" fmla="*/ 104410 h 912354"/>
              <a:gd name="connsiteX27" fmla="*/ 84058 w 1248882"/>
              <a:gd name="connsiteY27" fmla="*/ 106600 h 912354"/>
              <a:gd name="connsiteX28" fmla="*/ 84057 w 1248882"/>
              <a:gd name="connsiteY28" fmla="*/ 212545 h 912354"/>
              <a:gd name="connsiteX29" fmla="*/ 42843 w 1248882"/>
              <a:gd name="connsiteY29" fmla="*/ 236780 h 912354"/>
              <a:gd name="connsiteX30" fmla="*/ 4867 w 1248882"/>
              <a:gd name="connsiteY30"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95504 w 1248882"/>
              <a:gd name="connsiteY7" fmla="*/ 342628 h 912354"/>
              <a:gd name="connsiteX8" fmla="*/ 1195107 w 1248882"/>
              <a:gd name="connsiteY8" fmla="*/ 625705 h 912354"/>
              <a:gd name="connsiteX9" fmla="*/ 1233715 w 1248882"/>
              <a:gd name="connsiteY9" fmla="*/ 663595 h 912354"/>
              <a:gd name="connsiteX10" fmla="*/ 1246207 w 1248882"/>
              <a:gd name="connsiteY10" fmla="*/ 704430 h 912354"/>
              <a:gd name="connsiteX11" fmla="*/ 1247236 w 1248882"/>
              <a:gd name="connsiteY11" fmla="*/ 715969 h 912354"/>
              <a:gd name="connsiteX12" fmla="*/ 1248882 w 1248882"/>
              <a:gd name="connsiteY12" fmla="*/ 733604 h 912354"/>
              <a:gd name="connsiteX13" fmla="*/ 1248882 w 1248882"/>
              <a:gd name="connsiteY13" fmla="*/ 888119 h 912354"/>
              <a:gd name="connsiteX14" fmla="*/ 1207667 w 1248882"/>
              <a:gd name="connsiteY14" fmla="*/ 912354 h 912354"/>
              <a:gd name="connsiteX15" fmla="*/ 1169691 w 1248882"/>
              <a:gd name="connsiteY15" fmla="*/ 897552 h 912354"/>
              <a:gd name="connsiteX16" fmla="*/ 1166452 w 1248882"/>
              <a:gd name="connsiteY16" fmla="*/ 888119 h 912354"/>
              <a:gd name="connsiteX17" fmla="*/ 1164480 w 1248882"/>
              <a:gd name="connsiteY17" fmla="*/ 718004 h 912354"/>
              <a:gd name="connsiteX18" fmla="*/ 1164797 w 1248882"/>
              <a:gd name="connsiteY18" fmla="*/ 719337 h 912354"/>
              <a:gd name="connsiteX19" fmla="*/ 1164813 w 1248882"/>
              <a:gd name="connsiteY19" fmla="*/ 716747 h 912354"/>
              <a:gd name="connsiteX20" fmla="*/ 1153233 w 1248882"/>
              <a:gd name="connsiteY20" fmla="*/ 696690 h 912354"/>
              <a:gd name="connsiteX21" fmla="*/ 97170 w 1248882"/>
              <a:gd name="connsiteY21" fmla="*/ 84934 h 912354"/>
              <a:gd name="connsiteX22" fmla="*/ 97100 w 1248882"/>
              <a:gd name="connsiteY22" fmla="*/ 84854 h 912354"/>
              <a:gd name="connsiteX23" fmla="*/ 92641 w 1248882"/>
              <a:gd name="connsiteY23" fmla="*/ 86106 h 912354"/>
              <a:gd name="connsiteX24" fmla="*/ 83322 w 1248882"/>
              <a:gd name="connsiteY24" fmla="*/ 98353 h 912354"/>
              <a:gd name="connsiteX25" fmla="*/ 83306 w 1248882"/>
              <a:gd name="connsiteY25" fmla="*/ 104410 h 912354"/>
              <a:gd name="connsiteX26" fmla="*/ 84058 w 1248882"/>
              <a:gd name="connsiteY26" fmla="*/ 106600 h 912354"/>
              <a:gd name="connsiteX27" fmla="*/ 84057 w 1248882"/>
              <a:gd name="connsiteY27" fmla="*/ 212545 h 912354"/>
              <a:gd name="connsiteX28" fmla="*/ 42843 w 1248882"/>
              <a:gd name="connsiteY28" fmla="*/ 236780 h 912354"/>
              <a:gd name="connsiteX29" fmla="*/ 4867 w 1248882"/>
              <a:gd name="connsiteY29"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1195107 w 1248882"/>
              <a:gd name="connsiteY7" fmla="*/ 625705 h 912354"/>
              <a:gd name="connsiteX8" fmla="*/ 1233715 w 1248882"/>
              <a:gd name="connsiteY8" fmla="*/ 663595 h 912354"/>
              <a:gd name="connsiteX9" fmla="*/ 1246207 w 1248882"/>
              <a:gd name="connsiteY9" fmla="*/ 704430 h 912354"/>
              <a:gd name="connsiteX10" fmla="*/ 1247236 w 1248882"/>
              <a:gd name="connsiteY10" fmla="*/ 715969 h 912354"/>
              <a:gd name="connsiteX11" fmla="*/ 1248882 w 1248882"/>
              <a:gd name="connsiteY11" fmla="*/ 733604 h 912354"/>
              <a:gd name="connsiteX12" fmla="*/ 1248882 w 1248882"/>
              <a:gd name="connsiteY12" fmla="*/ 888119 h 912354"/>
              <a:gd name="connsiteX13" fmla="*/ 1207667 w 1248882"/>
              <a:gd name="connsiteY13" fmla="*/ 912354 h 912354"/>
              <a:gd name="connsiteX14" fmla="*/ 1169691 w 1248882"/>
              <a:gd name="connsiteY14" fmla="*/ 897552 h 912354"/>
              <a:gd name="connsiteX15" fmla="*/ 1166452 w 1248882"/>
              <a:gd name="connsiteY15" fmla="*/ 888119 h 912354"/>
              <a:gd name="connsiteX16" fmla="*/ 1164480 w 1248882"/>
              <a:gd name="connsiteY16" fmla="*/ 718004 h 912354"/>
              <a:gd name="connsiteX17" fmla="*/ 1164797 w 1248882"/>
              <a:gd name="connsiteY17" fmla="*/ 719337 h 912354"/>
              <a:gd name="connsiteX18" fmla="*/ 1164813 w 1248882"/>
              <a:gd name="connsiteY18" fmla="*/ 716747 h 912354"/>
              <a:gd name="connsiteX19" fmla="*/ 1153233 w 1248882"/>
              <a:gd name="connsiteY19" fmla="*/ 696690 h 912354"/>
              <a:gd name="connsiteX20" fmla="*/ 97170 w 1248882"/>
              <a:gd name="connsiteY20" fmla="*/ 84934 h 912354"/>
              <a:gd name="connsiteX21" fmla="*/ 97100 w 1248882"/>
              <a:gd name="connsiteY21" fmla="*/ 84854 h 912354"/>
              <a:gd name="connsiteX22" fmla="*/ 92641 w 1248882"/>
              <a:gd name="connsiteY22" fmla="*/ 86106 h 912354"/>
              <a:gd name="connsiteX23" fmla="*/ 83322 w 1248882"/>
              <a:gd name="connsiteY23" fmla="*/ 98353 h 912354"/>
              <a:gd name="connsiteX24" fmla="*/ 83306 w 1248882"/>
              <a:gd name="connsiteY24" fmla="*/ 104410 h 912354"/>
              <a:gd name="connsiteX25" fmla="*/ 84058 w 1248882"/>
              <a:gd name="connsiteY25" fmla="*/ 106600 h 912354"/>
              <a:gd name="connsiteX26" fmla="*/ 84057 w 1248882"/>
              <a:gd name="connsiteY26" fmla="*/ 212545 h 912354"/>
              <a:gd name="connsiteX27" fmla="*/ 42843 w 1248882"/>
              <a:gd name="connsiteY27" fmla="*/ 236780 h 912354"/>
              <a:gd name="connsiteX28" fmla="*/ 4867 w 1248882"/>
              <a:gd name="connsiteY28" fmla="*/ 221977 h 912354"/>
              <a:gd name="connsiteX0" fmla="*/ 4867 w 1248882"/>
              <a:gd name="connsiteY0" fmla="*/ 221977 h 922894"/>
              <a:gd name="connsiteX1" fmla="*/ 1628 w 1248882"/>
              <a:gd name="connsiteY1" fmla="*/ 212544 h 922894"/>
              <a:gd name="connsiteX2" fmla="*/ 911 w 1248882"/>
              <a:gd name="connsiteY2" fmla="*/ 97581 h 922894"/>
              <a:gd name="connsiteX3" fmla="*/ 14421 w 1248882"/>
              <a:gd name="connsiteY3" fmla="*/ 45201 h 922894"/>
              <a:gd name="connsiteX4" fmla="*/ 43539 w 1248882"/>
              <a:gd name="connsiteY4" fmla="*/ 13965 h 922894"/>
              <a:gd name="connsiteX5" fmla="*/ 86141 w 1248882"/>
              <a:gd name="connsiteY5" fmla="*/ 108 h 922894"/>
              <a:gd name="connsiteX6" fmla="*/ 118741 w 1248882"/>
              <a:gd name="connsiteY6" fmla="*/ 5629 h 922894"/>
              <a:gd name="connsiteX7" fmla="*/ 1195107 w 1248882"/>
              <a:gd name="connsiteY7" fmla="*/ 625705 h 922894"/>
              <a:gd name="connsiteX8" fmla="*/ 1233715 w 1248882"/>
              <a:gd name="connsiteY8" fmla="*/ 663595 h 922894"/>
              <a:gd name="connsiteX9" fmla="*/ 1246207 w 1248882"/>
              <a:gd name="connsiteY9" fmla="*/ 704430 h 922894"/>
              <a:gd name="connsiteX10" fmla="*/ 1247236 w 1248882"/>
              <a:gd name="connsiteY10" fmla="*/ 715969 h 922894"/>
              <a:gd name="connsiteX11" fmla="*/ 1248882 w 1248882"/>
              <a:gd name="connsiteY11" fmla="*/ 733604 h 922894"/>
              <a:gd name="connsiteX12" fmla="*/ 1207667 w 1248882"/>
              <a:gd name="connsiteY12" fmla="*/ 912354 h 922894"/>
              <a:gd name="connsiteX13" fmla="*/ 1169691 w 1248882"/>
              <a:gd name="connsiteY13" fmla="*/ 897552 h 922894"/>
              <a:gd name="connsiteX14" fmla="*/ 1166452 w 1248882"/>
              <a:gd name="connsiteY14" fmla="*/ 888119 h 922894"/>
              <a:gd name="connsiteX15" fmla="*/ 1164480 w 1248882"/>
              <a:gd name="connsiteY15" fmla="*/ 718004 h 922894"/>
              <a:gd name="connsiteX16" fmla="*/ 1164797 w 1248882"/>
              <a:gd name="connsiteY16" fmla="*/ 719337 h 922894"/>
              <a:gd name="connsiteX17" fmla="*/ 1164813 w 1248882"/>
              <a:gd name="connsiteY17" fmla="*/ 716747 h 922894"/>
              <a:gd name="connsiteX18" fmla="*/ 1153233 w 1248882"/>
              <a:gd name="connsiteY18" fmla="*/ 696690 h 922894"/>
              <a:gd name="connsiteX19" fmla="*/ 97170 w 1248882"/>
              <a:gd name="connsiteY19" fmla="*/ 84934 h 922894"/>
              <a:gd name="connsiteX20" fmla="*/ 97100 w 1248882"/>
              <a:gd name="connsiteY20" fmla="*/ 84854 h 922894"/>
              <a:gd name="connsiteX21" fmla="*/ 92641 w 1248882"/>
              <a:gd name="connsiteY21" fmla="*/ 86106 h 922894"/>
              <a:gd name="connsiteX22" fmla="*/ 83322 w 1248882"/>
              <a:gd name="connsiteY22" fmla="*/ 98353 h 922894"/>
              <a:gd name="connsiteX23" fmla="*/ 83306 w 1248882"/>
              <a:gd name="connsiteY23" fmla="*/ 104410 h 922894"/>
              <a:gd name="connsiteX24" fmla="*/ 84058 w 1248882"/>
              <a:gd name="connsiteY24" fmla="*/ 106600 h 922894"/>
              <a:gd name="connsiteX25" fmla="*/ 84057 w 1248882"/>
              <a:gd name="connsiteY25" fmla="*/ 212545 h 922894"/>
              <a:gd name="connsiteX26" fmla="*/ 42843 w 1248882"/>
              <a:gd name="connsiteY26" fmla="*/ 236780 h 922894"/>
              <a:gd name="connsiteX27" fmla="*/ 4867 w 1248882"/>
              <a:gd name="connsiteY27" fmla="*/ 221977 h 922894"/>
              <a:gd name="connsiteX0" fmla="*/ 4867 w 1248882"/>
              <a:gd name="connsiteY0" fmla="*/ 221977 h 907529"/>
              <a:gd name="connsiteX1" fmla="*/ 1628 w 1248882"/>
              <a:gd name="connsiteY1" fmla="*/ 212544 h 907529"/>
              <a:gd name="connsiteX2" fmla="*/ 911 w 1248882"/>
              <a:gd name="connsiteY2" fmla="*/ 97581 h 907529"/>
              <a:gd name="connsiteX3" fmla="*/ 14421 w 1248882"/>
              <a:gd name="connsiteY3" fmla="*/ 45201 h 907529"/>
              <a:gd name="connsiteX4" fmla="*/ 43539 w 1248882"/>
              <a:gd name="connsiteY4" fmla="*/ 13965 h 907529"/>
              <a:gd name="connsiteX5" fmla="*/ 86141 w 1248882"/>
              <a:gd name="connsiteY5" fmla="*/ 108 h 907529"/>
              <a:gd name="connsiteX6" fmla="*/ 118741 w 1248882"/>
              <a:gd name="connsiteY6" fmla="*/ 5629 h 907529"/>
              <a:gd name="connsiteX7" fmla="*/ 1195107 w 1248882"/>
              <a:gd name="connsiteY7" fmla="*/ 625705 h 907529"/>
              <a:gd name="connsiteX8" fmla="*/ 1233715 w 1248882"/>
              <a:gd name="connsiteY8" fmla="*/ 663595 h 907529"/>
              <a:gd name="connsiteX9" fmla="*/ 1246207 w 1248882"/>
              <a:gd name="connsiteY9" fmla="*/ 704430 h 907529"/>
              <a:gd name="connsiteX10" fmla="*/ 1247236 w 1248882"/>
              <a:gd name="connsiteY10" fmla="*/ 715969 h 907529"/>
              <a:gd name="connsiteX11" fmla="*/ 1248882 w 1248882"/>
              <a:gd name="connsiteY11" fmla="*/ 733604 h 907529"/>
              <a:gd name="connsiteX12" fmla="*/ 1169691 w 1248882"/>
              <a:gd name="connsiteY12" fmla="*/ 897552 h 907529"/>
              <a:gd name="connsiteX13" fmla="*/ 1166452 w 1248882"/>
              <a:gd name="connsiteY13" fmla="*/ 888119 h 907529"/>
              <a:gd name="connsiteX14" fmla="*/ 1164480 w 1248882"/>
              <a:gd name="connsiteY14" fmla="*/ 718004 h 907529"/>
              <a:gd name="connsiteX15" fmla="*/ 1164797 w 1248882"/>
              <a:gd name="connsiteY15" fmla="*/ 719337 h 907529"/>
              <a:gd name="connsiteX16" fmla="*/ 1164813 w 1248882"/>
              <a:gd name="connsiteY16" fmla="*/ 716747 h 907529"/>
              <a:gd name="connsiteX17" fmla="*/ 1153233 w 1248882"/>
              <a:gd name="connsiteY17" fmla="*/ 696690 h 907529"/>
              <a:gd name="connsiteX18" fmla="*/ 97170 w 1248882"/>
              <a:gd name="connsiteY18" fmla="*/ 84934 h 907529"/>
              <a:gd name="connsiteX19" fmla="*/ 97100 w 1248882"/>
              <a:gd name="connsiteY19" fmla="*/ 84854 h 907529"/>
              <a:gd name="connsiteX20" fmla="*/ 92641 w 1248882"/>
              <a:gd name="connsiteY20" fmla="*/ 86106 h 907529"/>
              <a:gd name="connsiteX21" fmla="*/ 83322 w 1248882"/>
              <a:gd name="connsiteY21" fmla="*/ 98353 h 907529"/>
              <a:gd name="connsiteX22" fmla="*/ 83306 w 1248882"/>
              <a:gd name="connsiteY22" fmla="*/ 104410 h 907529"/>
              <a:gd name="connsiteX23" fmla="*/ 84058 w 1248882"/>
              <a:gd name="connsiteY23" fmla="*/ 106600 h 907529"/>
              <a:gd name="connsiteX24" fmla="*/ 84057 w 1248882"/>
              <a:gd name="connsiteY24" fmla="*/ 212545 h 907529"/>
              <a:gd name="connsiteX25" fmla="*/ 42843 w 1248882"/>
              <a:gd name="connsiteY25" fmla="*/ 236780 h 907529"/>
              <a:gd name="connsiteX26" fmla="*/ 4867 w 1248882"/>
              <a:gd name="connsiteY26" fmla="*/ 221977 h 907529"/>
              <a:gd name="connsiteX0" fmla="*/ 4867 w 1248882"/>
              <a:gd name="connsiteY0" fmla="*/ 221977 h 888157"/>
              <a:gd name="connsiteX1" fmla="*/ 1628 w 1248882"/>
              <a:gd name="connsiteY1" fmla="*/ 212544 h 888157"/>
              <a:gd name="connsiteX2" fmla="*/ 911 w 1248882"/>
              <a:gd name="connsiteY2" fmla="*/ 97581 h 888157"/>
              <a:gd name="connsiteX3" fmla="*/ 14421 w 1248882"/>
              <a:gd name="connsiteY3" fmla="*/ 45201 h 888157"/>
              <a:gd name="connsiteX4" fmla="*/ 43539 w 1248882"/>
              <a:gd name="connsiteY4" fmla="*/ 13965 h 888157"/>
              <a:gd name="connsiteX5" fmla="*/ 86141 w 1248882"/>
              <a:gd name="connsiteY5" fmla="*/ 108 h 888157"/>
              <a:gd name="connsiteX6" fmla="*/ 118741 w 1248882"/>
              <a:gd name="connsiteY6" fmla="*/ 5629 h 888157"/>
              <a:gd name="connsiteX7" fmla="*/ 1195107 w 1248882"/>
              <a:gd name="connsiteY7" fmla="*/ 625705 h 888157"/>
              <a:gd name="connsiteX8" fmla="*/ 1233715 w 1248882"/>
              <a:gd name="connsiteY8" fmla="*/ 663595 h 888157"/>
              <a:gd name="connsiteX9" fmla="*/ 1246207 w 1248882"/>
              <a:gd name="connsiteY9" fmla="*/ 704430 h 888157"/>
              <a:gd name="connsiteX10" fmla="*/ 1247236 w 1248882"/>
              <a:gd name="connsiteY10" fmla="*/ 715969 h 888157"/>
              <a:gd name="connsiteX11" fmla="*/ 1248882 w 1248882"/>
              <a:gd name="connsiteY11" fmla="*/ 733604 h 888157"/>
              <a:gd name="connsiteX12" fmla="*/ 1166452 w 1248882"/>
              <a:gd name="connsiteY12" fmla="*/ 888119 h 888157"/>
              <a:gd name="connsiteX13" fmla="*/ 1164480 w 1248882"/>
              <a:gd name="connsiteY13" fmla="*/ 718004 h 888157"/>
              <a:gd name="connsiteX14" fmla="*/ 1164797 w 1248882"/>
              <a:gd name="connsiteY14" fmla="*/ 719337 h 888157"/>
              <a:gd name="connsiteX15" fmla="*/ 1164813 w 1248882"/>
              <a:gd name="connsiteY15" fmla="*/ 716747 h 888157"/>
              <a:gd name="connsiteX16" fmla="*/ 1153233 w 1248882"/>
              <a:gd name="connsiteY16" fmla="*/ 696690 h 888157"/>
              <a:gd name="connsiteX17" fmla="*/ 97170 w 1248882"/>
              <a:gd name="connsiteY17" fmla="*/ 84934 h 888157"/>
              <a:gd name="connsiteX18" fmla="*/ 97100 w 1248882"/>
              <a:gd name="connsiteY18" fmla="*/ 84854 h 888157"/>
              <a:gd name="connsiteX19" fmla="*/ 92641 w 1248882"/>
              <a:gd name="connsiteY19" fmla="*/ 86106 h 888157"/>
              <a:gd name="connsiteX20" fmla="*/ 83322 w 1248882"/>
              <a:gd name="connsiteY20" fmla="*/ 98353 h 888157"/>
              <a:gd name="connsiteX21" fmla="*/ 83306 w 1248882"/>
              <a:gd name="connsiteY21" fmla="*/ 104410 h 888157"/>
              <a:gd name="connsiteX22" fmla="*/ 84058 w 1248882"/>
              <a:gd name="connsiteY22" fmla="*/ 106600 h 888157"/>
              <a:gd name="connsiteX23" fmla="*/ 84057 w 1248882"/>
              <a:gd name="connsiteY23" fmla="*/ 212545 h 888157"/>
              <a:gd name="connsiteX24" fmla="*/ 42843 w 1248882"/>
              <a:gd name="connsiteY24" fmla="*/ 236780 h 888157"/>
              <a:gd name="connsiteX25" fmla="*/ 4867 w 1248882"/>
              <a:gd name="connsiteY25" fmla="*/ 221977 h 888157"/>
              <a:gd name="connsiteX0" fmla="*/ 4867 w 1248882"/>
              <a:gd name="connsiteY0" fmla="*/ 221977 h 733610"/>
              <a:gd name="connsiteX1" fmla="*/ 1628 w 1248882"/>
              <a:gd name="connsiteY1" fmla="*/ 212544 h 733610"/>
              <a:gd name="connsiteX2" fmla="*/ 911 w 1248882"/>
              <a:gd name="connsiteY2" fmla="*/ 97581 h 733610"/>
              <a:gd name="connsiteX3" fmla="*/ 14421 w 1248882"/>
              <a:gd name="connsiteY3" fmla="*/ 45201 h 733610"/>
              <a:gd name="connsiteX4" fmla="*/ 43539 w 1248882"/>
              <a:gd name="connsiteY4" fmla="*/ 13965 h 733610"/>
              <a:gd name="connsiteX5" fmla="*/ 86141 w 1248882"/>
              <a:gd name="connsiteY5" fmla="*/ 108 h 733610"/>
              <a:gd name="connsiteX6" fmla="*/ 118741 w 1248882"/>
              <a:gd name="connsiteY6" fmla="*/ 5629 h 733610"/>
              <a:gd name="connsiteX7" fmla="*/ 1195107 w 1248882"/>
              <a:gd name="connsiteY7" fmla="*/ 625705 h 733610"/>
              <a:gd name="connsiteX8" fmla="*/ 1233715 w 1248882"/>
              <a:gd name="connsiteY8" fmla="*/ 663595 h 733610"/>
              <a:gd name="connsiteX9" fmla="*/ 1246207 w 1248882"/>
              <a:gd name="connsiteY9" fmla="*/ 704430 h 733610"/>
              <a:gd name="connsiteX10" fmla="*/ 1247236 w 1248882"/>
              <a:gd name="connsiteY10" fmla="*/ 715969 h 733610"/>
              <a:gd name="connsiteX11" fmla="*/ 1248882 w 1248882"/>
              <a:gd name="connsiteY11" fmla="*/ 733604 h 733610"/>
              <a:gd name="connsiteX12" fmla="*/ 1164480 w 1248882"/>
              <a:gd name="connsiteY12" fmla="*/ 718004 h 733610"/>
              <a:gd name="connsiteX13" fmla="*/ 1164797 w 1248882"/>
              <a:gd name="connsiteY13" fmla="*/ 719337 h 733610"/>
              <a:gd name="connsiteX14" fmla="*/ 1164813 w 1248882"/>
              <a:gd name="connsiteY14" fmla="*/ 716747 h 733610"/>
              <a:gd name="connsiteX15" fmla="*/ 1153233 w 1248882"/>
              <a:gd name="connsiteY15" fmla="*/ 696690 h 733610"/>
              <a:gd name="connsiteX16" fmla="*/ 97170 w 1248882"/>
              <a:gd name="connsiteY16" fmla="*/ 84934 h 733610"/>
              <a:gd name="connsiteX17" fmla="*/ 97100 w 1248882"/>
              <a:gd name="connsiteY17" fmla="*/ 84854 h 733610"/>
              <a:gd name="connsiteX18" fmla="*/ 92641 w 1248882"/>
              <a:gd name="connsiteY18" fmla="*/ 86106 h 733610"/>
              <a:gd name="connsiteX19" fmla="*/ 83322 w 1248882"/>
              <a:gd name="connsiteY19" fmla="*/ 98353 h 733610"/>
              <a:gd name="connsiteX20" fmla="*/ 83306 w 1248882"/>
              <a:gd name="connsiteY20" fmla="*/ 104410 h 733610"/>
              <a:gd name="connsiteX21" fmla="*/ 84058 w 1248882"/>
              <a:gd name="connsiteY21" fmla="*/ 106600 h 733610"/>
              <a:gd name="connsiteX22" fmla="*/ 84057 w 1248882"/>
              <a:gd name="connsiteY22" fmla="*/ 212545 h 733610"/>
              <a:gd name="connsiteX23" fmla="*/ 42843 w 1248882"/>
              <a:gd name="connsiteY23" fmla="*/ 236780 h 733610"/>
              <a:gd name="connsiteX24" fmla="*/ 4867 w 1248882"/>
              <a:gd name="connsiteY24" fmla="*/ 221977 h 733610"/>
              <a:gd name="connsiteX0" fmla="*/ 4867 w 1247417"/>
              <a:gd name="connsiteY0" fmla="*/ 221977 h 719337"/>
              <a:gd name="connsiteX1" fmla="*/ 1628 w 1247417"/>
              <a:gd name="connsiteY1" fmla="*/ 212544 h 719337"/>
              <a:gd name="connsiteX2" fmla="*/ 911 w 1247417"/>
              <a:gd name="connsiteY2" fmla="*/ 97581 h 719337"/>
              <a:gd name="connsiteX3" fmla="*/ 14421 w 1247417"/>
              <a:gd name="connsiteY3" fmla="*/ 45201 h 719337"/>
              <a:gd name="connsiteX4" fmla="*/ 43539 w 1247417"/>
              <a:gd name="connsiteY4" fmla="*/ 13965 h 719337"/>
              <a:gd name="connsiteX5" fmla="*/ 86141 w 1247417"/>
              <a:gd name="connsiteY5" fmla="*/ 108 h 719337"/>
              <a:gd name="connsiteX6" fmla="*/ 118741 w 1247417"/>
              <a:gd name="connsiteY6" fmla="*/ 5629 h 719337"/>
              <a:gd name="connsiteX7" fmla="*/ 1195107 w 1247417"/>
              <a:gd name="connsiteY7" fmla="*/ 625705 h 719337"/>
              <a:gd name="connsiteX8" fmla="*/ 1233715 w 1247417"/>
              <a:gd name="connsiteY8" fmla="*/ 663595 h 719337"/>
              <a:gd name="connsiteX9" fmla="*/ 1246207 w 1247417"/>
              <a:gd name="connsiteY9" fmla="*/ 704430 h 719337"/>
              <a:gd name="connsiteX10" fmla="*/ 1247236 w 1247417"/>
              <a:gd name="connsiteY10" fmla="*/ 715969 h 719337"/>
              <a:gd name="connsiteX11" fmla="*/ 1164480 w 1247417"/>
              <a:gd name="connsiteY11" fmla="*/ 718004 h 719337"/>
              <a:gd name="connsiteX12" fmla="*/ 1164797 w 1247417"/>
              <a:gd name="connsiteY12" fmla="*/ 719337 h 719337"/>
              <a:gd name="connsiteX13" fmla="*/ 1164813 w 1247417"/>
              <a:gd name="connsiteY13" fmla="*/ 716747 h 719337"/>
              <a:gd name="connsiteX14" fmla="*/ 1153233 w 1247417"/>
              <a:gd name="connsiteY14" fmla="*/ 696690 h 719337"/>
              <a:gd name="connsiteX15" fmla="*/ 97170 w 1247417"/>
              <a:gd name="connsiteY15" fmla="*/ 84934 h 719337"/>
              <a:gd name="connsiteX16" fmla="*/ 97100 w 1247417"/>
              <a:gd name="connsiteY16" fmla="*/ 84854 h 719337"/>
              <a:gd name="connsiteX17" fmla="*/ 92641 w 1247417"/>
              <a:gd name="connsiteY17" fmla="*/ 86106 h 719337"/>
              <a:gd name="connsiteX18" fmla="*/ 83322 w 1247417"/>
              <a:gd name="connsiteY18" fmla="*/ 98353 h 719337"/>
              <a:gd name="connsiteX19" fmla="*/ 83306 w 1247417"/>
              <a:gd name="connsiteY19" fmla="*/ 104410 h 719337"/>
              <a:gd name="connsiteX20" fmla="*/ 84058 w 1247417"/>
              <a:gd name="connsiteY20" fmla="*/ 106600 h 719337"/>
              <a:gd name="connsiteX21" fmla="*/ 84057 w 1247417"/>
              <a:gd name="connsiteY21" fmla="*/ 212545 h 719337"/>
              <a:gd name="connsiteX22" fmla="*/ 42843 w 1247417"/>
              <a:gd name="connsiteY22" fmla="*/ 236780 h 719337"/>
              <a:gd name="connsiteX23" fmla="*/ 4867 w 1247417"/>
              <a:gd name="connsiteY23" fmla="*/ 221977 h 719337"/>
              <a:gd name="connsiteX0" fmla="*/ 4867 w 1246207"/>
              <a:gd name="connsiteY0" fmla="*/ 221977 h 719337"/>
              <a:gd name="connsiteX1" fmla="*/ 1628 w 1246207"/>
              <a:gd name="connsiteY1" fmla="*/ 212544 h 719337"/>
              <a:gd name="connsiteX2" fmla="*/ 911 w 1246207"/>
              <a:gd name="connsiteY2" fmla="*/ 97581 h 719337"/>
              <a:gd name="connsiteX3" fmla="*/ 14421 w 1246207"/>
              <a:gd name="connsiteY3" fmla="*/ 45201 h 719337"/>
              <a:gd name="connsiteX4" fmla="*/ 43539 w 1246207"/>
              <a:gd name="connsiteY4" fmla="*/ 13965 h 719337"/>
              <a:gd name="connsiteX5" fmla="*/ 86141 w 1246207"/>
              <a:gd name="connsiteY5" fmla="*/ 108 h 719337"/>
              <a:gd name="connsiteX6" fmla="*/ 118741 w 1246207"/>
              <a:gd name="connsiteY6" fmla="*/ 5629 h 719337"/>
              <a:gd name="connsiteX7" fmla="*/ 1195107 w 1246207"/>
              <a:gd name="connsiteY7" fmla="*/ 625705 h 719337"/>
              <a:gd name="connsiteX8" fmla="*/ 1233715 w 1246207"/>
              <a:gd name="connsiteY8" fmla="*/ 663595 h 719337"/>
              <a:gd name="connsiteX9" fmla="*/ 1246207 w 1246207"/>
              <a:gd name="connsiteY9" fmla="*/ 704430 h 719337"/>
              <a:gd name="connsiteX10" fmla="*/ 1164480 w 1246207"/>
              <a:gd name="connsiteY10" fmla="*/ 718004 h 719337"/>
              <a:gd name="connsiteX11" fmla="*/ 1164797 w 1246207"/>
              <a:gd name="connsiteY11" fmla="*/ 719337 h 719337"/>
              <a:gd name="connsiteX12" fmla="*/ 1164813 w 1246207"/>
              <a:gd name="connsiteY12" fmla="*/ 716747 h 719337"/>
              <a:gd name="connsiteX13" fmla="*/ 1153233 w 1246207"/>
              <a:gd name="connsiteY13" fmla="*/ 696690 h 719337"/>
              <a:gd name="connsiteX14" fmla="*/ 97170 w 1246207"/>
              <a:gd name="connsiteY14" fmla="*/ 84934 h 719337"/>
              <a:gd name="connsiteX15" fmla="*/ 97100 w 1246207"/>
              <a:gd name="connsiteY15" fmla="*/ 84854 h 719337"/>
              <a:gd name="connsiteX16" fmla="*/ 92641 w 1246207"/>
              <a:gd name="connsiteY16" fmla="*/ 86106 h 719337"/>
              <a:gd name="connsiteX17" fmla="*/ 83322 w 1246207"/>
              <a:gd name="connsiteY17" fmla="*/ 98353 h 719337"/>
              <a:gd name="connsiteX18" fmla="*/ 83306 w 1246207"/>
              <a:gd name="connsiteY18" fmla="*/ 104410 h 719337"/>
              <a:gd name="connsiteX19" fmla="*/ 84058 w 1246207"/>
              <a:gd name="connsiteY19" fmla="*/ 106600 h 719337"/>
              <a:gd name="connsiteX20" fmla="*/ 84057 w 1246207"/>
              <a:gd name="connsiteY20" fmla="*/ 212545 h 719337"/>
              <a:gd name="connsiteX21" fmla="*/ 42843 w 1246207"/>
              <a:gd name="connsiteY21" fmla="*/ 236780 h 719337"/>
              <a:gd name="connsiteX22" fmla="*/ 4867 w 1246207"/>
              <a:gd name="connsiteY22" fmla="*/ 221977 h 719337"/>
              <a:gd name="connsiteX0" fmla="*/ 4867 w 1234291"/>
              <a:gd name="connsiteY0" fmla="*/ 221977 h 719337"/>
              <a:gd name="connsiteX1" fmla="*/ 1628 w 1234291"/>
              <a:gd name="connsiteY1" fmla="*/ 212544 h 719337"/>
              <a:gd name="connsiteX2" fmla="*/ 911 w 1234291"/>
              <a:gd name="connsiteY2" fmla="*/ 97581 h 719337"/>
              <a:gd name="connsiteX3" fmla="*/ 14421 w 1234291"/>
              <a:gd name="connsiteY3" fmla="*/ 45201 h 719337"/>
              <a:gd name="connsiteX4" fmla="*/ 43539 w 1234291"/>
              <a:gd name="connsiteY4" fmla="*/ 13965 h 719337"/>
              <a:gd name="connsiteX5" fmla="*/ 86141 w 1234291"/>
              <a:gd name="connsiteY5" fmla="*/ 108 h 719337"/>
              <a:gd name="connsiteX6" fmla="*/ 118741 w 1234291"/>
              <a:gd name="connsiteY6" fmla="*/ 5629 h 719337"/>
              <a:gd name="connsiteX7" fmla="*/ 1195107 w 1234291"/>
              <a:gd name="connsiteY7" fmla="*/ 625705 h 719337"/>
              <a:gd name="connsiteX8" fmla="*/ 1233715 w 1234291"/>
              <a:gd name="connsiteY8" fmla="*/ 663595 h 719337"/>
              <a:gd name="connsiteX9" fmla="*/ 1164480 w 1234291"/>
              <a:gd name="connsiteY9" fmla="*/ 718004 h 719337"/>
              <a:gd name="connsiteX10" fmla="*/ 1164797 w 1234291"/>
              <a:gd name="connsiteY10" fmla="*/ 719337 h 719337"/>
              <a:gd name="connsiteX11" fmla="*/ 1164813 w 1234291"/>
              <a:gd name="connsiteY11" fmla="*/ 716747 h 719337"/>
              <a:gd name="connsiteX12" fmla="*/ 1153233 w 1234291"/>
              <a:gd name="connsiteY12" fmla="*/ 696690 h 719337"/>
              <a:gd name="connsiteX13" fmla="*/ 97170 w 1234291"/>
              <a:gd name="connsiteY13" fmla="*/ 84934 h 719337"/>
              <a:gd name="connsiteX14" fmla="*/ 97100 w 1234291"/>
              <a:gd name="connsiteY14" fmla="*/ 84854 h 719337"/>
              <a:gd name="connsiteX15" fmla="*/ 92641 w 1234291"/>
              <a:gd name="connsiteY15" fmla="*/ 86106 h 719337"/>
              <a:gd name="connsiteX16" fmla="*/ 83322 w 1234291"/>
              <a:gd name="connsiteY16" fmla="*/ 98353 h 719337"/>
              <a:gd name="connsiteX17" fmla="*/ 83306 w 1234291"/>
              <a:gd name="connsiteY17" fmla="*/ 104410 h 719337"/>
              <a:gd name="connsiteX18" fmla="*/ 84058 w 1234291"/>
              <a:gd name="connsiteY18" fmla="*/ 106600 h 719337"/>
              <a:gd name="connsiteX19" fmla="*/ 84057 w 1234291"/>
              <a:gd name="connsiteY19" fmla="*/ 212545 h 719337"/>
              <a:gd name="connsiteX20" fmla="*/ 42843 w 1234291"/>
              <a:gd name="connsiteY20" fmla="*/ 236780 h 719337"/>
              <a:gd name="connsiteX21" fmla="*/ 4867 w 1234291"/>
              <a:gd name="connsiteY21" fmla="*/ 221977 h 719337"/>
              <a:gd name="connsiteX0" fmla="*/ 4867 w 1236648"/>
              <a:gd name="connsiteY0" fmla="*/ 221977 h 719337"/>
              <a:gd name="connsiteX1" fmla="*/ 1628 w 1236648"/>
              <a:gd name="connsiteY1" fmla="*/ 212544 h 719337"/>
              <a:gd name="connsiteX2" fmla="*/ 911 w 1236648"/>
              <a:gd name="connsiteY2" fmla="*/ 97581 h 719337"/>
              <a:gd name="connsiteX3" fmla="*/ 14421 w 1236648"/>
              <a:gd name="connsiteY3" fmla="*/ 45201 h 719337"/>
              <a:gd name="connsiteX4" fmla="*/ 43539 w 1236648"/>
              <a:gd name="connsiteY4" fmla="*/ 13965 h 719337"/>
              <a:gd name="connsiteX5" fmla="*/ 86141 w 1236648"/>
              <a:gd name="connsiteY5" fmla="*/ 108 h 719337"/>
              <a:gd name="connsiteX6" fmla="*/ 118741 w 1236648"/>
              <a:gd name="connsiteY6" fmla="*/ 5629 h 719337"/>
              <a:gd name="connsiteX7" fmla="*/ 1195107 w 1236648"/>
              <a:gd name="connsiteY7" fmla="*/ 625705 h 719337"/>
              <a:gd name="connsiteX8" fmla="*/ 1233715 w 1236648"/>
              <a:gd name="connsiteY8" fmla="*/ 663595 h 719337"/>
              <a:gd name="connsiteX9" fmla="*/ 1164480 w 1236648"/>
              <a:gd name="connsiteY9" fmla="*/ 718004 h 719337"/>
              <a:gd name="connsiteX10" fmla="*/ 1164797 w 1236648"/>
              <a:gd name="connsiteY10" fmla="*/ 719337 h 719337"/>
              <a:gd name="connsiteX11" fmla="*/ 1164813 w 1236648"/>
              <a:gd name="connsiteY11" fmla="*/ 716747 h 719337"/>
              <a:gd name="connsiteX12" fmla="*/ 1153233 w 1236648"/>
              <a:gd name="connsiteY12" fmla="*/ 696690 h 719337"/>
              <a:gd name="connsiteX13" fmla="*/ 97170 w 1236648"/>
              <a:gd name="connsiteY13" fmla="*/ 84934 h 719337"/>
              <a:gd name="connsiteX14" fmla="*/ 97100 w 1236648"/>
              <a:gd name="connsiteY14" fmla="*/ 84854 h 719337"/>
              <a:gd name="connsiteX15" fmla="*/ 92641 w 1236648"/>
              <a:gd name="connsiteY15" fmla="*/ 86106 h 719337"/>
              <a:gd name="connsiteX16" fmla="*/ 83322 w 1236648"/>
              <a:gd name="connsiteY16" fmla="*/ 98353 h 719337"/>
              <a:gd name="connsiteX17" fmla="*/ 83306 w 1236648"/>
              <a:gd name="connsiteY17" fmla="*/ 104410 h 719337"/>
              <a:gd name="connsiteX18" fmla="*/ 84058 w 1236648"/>
              <a:gd name="connsiteY18" fmla="*/ 106600 h 719337"/>
              <a:gd name="connsiteX19" fmla="*/ 84057 w 1236648"/>
              <a:gd name="connsiteY19" fmla="*/ 212545 h 719337"/>
              <a:gd name="connsiteX20" fmla="*/ 42843 w 1236648"/>
              <a:gd name="connsiteY20" fmla="*/ 236780 h 719337"/>
              <a:gd name="connsiteX21" fmla="*/ 4867 w 1236648"/>
              <a:gd name="connsiteY21" fmla="*/ 221977 h 719337"/>
              <a:gd name="connsiteX0" fmla="*/ 4867 w 1236648"/>
              <a:gd name="connsiteY0" fmla="*/ 221977 h 749396"/>
              <a:gd name="connsiteX1" fmla="*/ 1628 w 1236648"/>
              <a:gd name="connsiteY1" fmla="*/ 212544 h 749396"/>
              <a:gd name="connsiteX2" fmla="*/ 911 w 1236648"/>
              <a:gd name="connsiteY2" fmla="*/ 97581 h 749396"/>
              <a:gd name="connsiteX3" fmla="*/ 14421 w 1236648"/>
              <a:gd name="connsiteY3" fmla="*/ 45201 h 749396"/>
              <a:gd name="connsiteX4" fmla="*/ 43539 w 1236648"/>
              <a:gd name="connsiteY4" fmla="*/ 13965 h 749396"/>
              <a:gd name="connsiteX5" fmla="*/ 86141 w 1236648"/>
              <a:gd name="connsiteY5" fmla="*/ 108 h 749396"/>
              <a:gd name="connsiteX6" fmla="*/ 118741 w 1236648"/>
              <a:gd name="connsiteY6" fmla="*/ 5629 h 749396"/>
              <a:gd name="connsiteX7" fmla="*/ 1195107 w 1236648"/>
              <a:gd name="connsiteY7" fmla="*/ 625705 h 749396"/>
              <a:gd name="connsiteX8" fmla="*/ 1233715 w 1236648"/>
              <a:gd name="connsiteY8" fmla="*/ 663595 h 749396"/>
              <a:gd name="connsiteX9" fmla="*/ 1164480 w 1236648"/>
              <a:gd name="connsiteY9" fmla="*/ 718004 h 749396"/>
              <a:gd name="connsiteX10" fmla="*/ 1164797 w 1236648"/>
              <a:gd name="connsiteY10" fmla="*/ 719337 h 749396"/>
              <a:gd name="connsiteX11" fmla="*/ 1153233 w 1236648"/>
              <a:gd name="connsiteY11" fmla="*/ 696690 h 749396"/>
              <a:gd name="connsiteX12" fmla="*/ 97170 w 1236648"/>
              <a:gd name="connsiteY12" fmla="*/ 84934 h 749396"/>
              <a:gd name="connsiteX13" fmla="*/ 97100 w 1236648"/>
              <a:gd name="connsiteY13" fmla="*/ 84854 h 749396"/>
              <a:gd name="connsiteX14" fmla="*/ 92641 w 1236648"/>
              <a:gd name="connsiteY14" fmla="*/ 86106 h 749396"/>
              <a:gd name="connsiteX15" fmla="*/ 83322 w 1236648"/>
              <a:gd name="connsiteY15" fmla="*/ 98353 h 749396"/>
              <a:gd name="connsiteX16" fmla="*/ 83306 w 1236648"/>
              <a:gd name="connsiteY16" fmla="*/ 104410 h 749396"/>
              <a:gd name="connsiteX17" fmla="*/ 84058 w 1236648"/>
              <a:gd name="connsiteY17" fmla="*/ 106600 h 749396"/>
              <a:gd name="connsiteX18" fmla="*/ 84057 w 1236648"/>
              <a:gd name="connsiteY18" fmla="*/ 212545 h 749396"/>
              <a:gd name="connsiteX19" fmla="*/ 42843 w 1236648"/>
              <a:gd name="connsiteY19" fmla="*/ 236780 h 749396"/>
              <a:gd name="connsiteX20" fmla="*/ 4867 w 1236648"/>
              <a:gd name="connsiteY20" fmla="*/ 221977 h 749396"/>
              <a:gd name="connsiteX0" fmla="*/ 4867 w 1236648"/>
              <a:gd name="connsiteY0" fmla="*/ 221977 h 751366"/>
              <a:gd name="connsiteX1" fmla="*/ 1628 w 1236648"/>
              <a:gd name="connsiteY1" fmla="*/ 212544 h 751366"/>
              <a:gd name="connsiteX2" fmla="*/ 911 w 1236648"/>
              <a:gd name="connsiteY2" fmla="*/ 97581 h 751366"/>
              <a:gd name="connsiteX3" fmla="*/ 14421 w 1236648"/>
              <a:gd name="connsiteY3" fmla="*/ 45201 h 751366"/>
              <a:gd name="connsiteX4" fmla="*/ 43539 w 1236648"/>
              <a:gd name="connsiteY4" fmla="*/ 13965 h 751366"/>
              <a:gd name="connsiteX5" fmla="*/ 86141 w 1236648"/>
              <a:gd name="connsiteY5" fmla="*/ 108 h 751366"/>
              <a:gd name="connsiteX6" fmla="*/ 118741 w 1236648"/>
              <a:gd name="connsiteY6" fmla="*/ 5629 h 751366"/>
              <a:gd name="connsiteX7" fmla="*/ 1195107 w 1236648"/>
              <a:gd name="connsiteY7" fmla="*/ 625705 h 751366"/>
              <a:gd name="connsiteX8" fmla="*/ 1233715 w 1236648"/>
              <a:gd name="connsiteY8" fmla="*/ 663595 h 751366"/>
              <a:gd name="connsiteX9" fmla="*/ 1164480 w 1236648"/>
              <a:gd name="connsiteY9" fmla="*/ 718004 h 751366"/>
              <a:gd name="connsiteX10" fmla="*/ 1153233 w 1236648"/>
              <a:gd name="connsiteY10" fmla="*/ 696690 h 751366"/>
              <a:gd name="connsiteX11" fmla="*/ 97170 w 1236648"/>
              <a:gd name="connsiteY11" fmla="*/ 84934 h 751366"/>
              <a:gd name="connsiteX12" fmla="*/ 97100 w 1236648"/>
              <a:gd name="connsiteY12" fmla="*/ 84854 h 751366"/>
              <a:gd name="connsiteX13" fmla="*/ 92641 w 1236648"/>
              <a:gd name="connsiteY13" fmla="*/ 86106 h 751366"/>
              <a:gd name="connsiteX14" fmla="*/ 83322 w 1236648"/>
              <a:gd name="connsiteY14" fmla="*/ 98353 h 751366"/>
              <a:gd name="connsiteX15" fmla="*/ 83306 w 1236648"/>
              <a:gd name="connsiteY15" fmla="*/ 104410 h 751366"/>
              <a:gd name="connsiteX16" fmla="*/ 84058 w 1236648"/>
              <a:gd name="connsiteY16" fmla="*/ 106600 h 751366"/>
              <a:gd name="connsiteX17" fmla="*/ 84057 w 1236648"/>
              <a:gd name="connsiteY17" fmla="*/ 212545 h 751366"/>
              <a:gd name="connsiteX18" fmla="*/ 42843 w 1236648"/>
              <a:gd name="connsiteY18" fmla="*/ 236780 h 751366"/>
              <a:gd name="connsiteX19" fmla="*/ 4867 w 1236648"/>
              <a:gd name="connsiteY19" fmla="*/ 221977 h 751366"/>
              <a:gd name="connsiteX0" fmla="*/ 4867 w 1262494"/>
              <a:gd name="connsiteY0" fmla="*/ 221977 h 734374"/>
              <a:gd name="connsiteX1" fmla="*/ 1628 w 1262494"/>
              <a:gd name="connsiteY1" fmla="*/ 212544 h 734374"/>
              <a:gd name="connsiteX2" fmla="*/ 911 w 1262494"/>
              <a:gd name="connsiteY2" fmla="*/ 97581 h 734374"/>
              <a:gd name="connsiteX3" fmla="*/ 14421 w 1262494"/>
              <a:gd name="connsiteY3" fmla="*/ 45201 h 734374"/>
              <a:gd name="connsiteX4" fmla="*/ 43539 w 1262494"/>
              <a:gd name="connsiteY4" fmla="*/ 13965 h 734374"/>
              <a:gd name="connsiteX5" fmla="*/ 86141 w 1262494"/>
              <a:gd name="connsiteY5" fmla="*/ 108 h 734374"/>
              <a:gd name="connsiteX6" fmla="*/ 118741 w 1262494"/>
              <a:gd name="connsiteY6" fmla="*/ 5629 h 734374"/>
              <a:gd name="connsiteX7" fmla="*/ 1195107 w 1262494"/>
              <a:gd name="connsiteY7" fmla="*/ 625705 h 734374"/>
              <a:gd name="connsiteX8" fmla="*/ 1233715 w 1262494"/>
              <a:gd name="connsiteY8" fmla="*/ 663595 h 734374"/>
              <a:gd name="connsiteX9" fmla="*/ 1153233 w 1262494"/>
              <a:gd name="connsiteY9" fmla="*/ 696690 h 734374"/>
              <a:gd name="connsiteX10" fmla="*/ 97170 w 1262494"/>
              <a:gd name="connsiteY10" fmla="*/ 84934 h 734374"/>
              <a:gd name="connsiteX11" fmla="*/ 97100 w 1262494"/>
              <a:gd name="connsiteY11" fmla="*/ 84854 h 734374"/>
              <a:gd name="connsiteX12" fmla="*/ 92641 w 1262494"/>
              <a:gd name="connsiteY12" fmla="*/ 86106 h 734374"/>
              <a:gd name="connsiteX13" fmla="*/ 83322 w 1262494"/>
              <a:gd name="connsiteY13" fmla="*/ 98353 h 734374"/>
              <a:gd name="connsiteX14" fmla="*/ 83306 w 1262494"/>
              <a:gd name="connsiteY14" fmla="*/ 104410 h 734374"/>
              <a:gd name="connsiteX15" fmla="*/ 84058 w 1262494"/>
              <a:gd name="connsiteY15" fmla="*/ 106600 h 734374"/>
              <a:gd name="connsiteX16" fmla="*/ 84057 w 1262494"/>
              <a:gd name="connsiteY16" fmla="*/ 212545 h 734374"/>
              <a:gd name="connsiteX17" fmla="*/ 42843 w 1262494"/>
              <a:gd name="connsiteY17" fmla="*/ 236780 h 734374"/>
              <a:gd name="connsiteX18" fmla="*/ 4867 w 1262494"/>
              <a:gd name="connsiteY18" fmla="*/ 221977 h 734374"/>
              <a:gd name="connsiteX0" fmla="*/ 4867 w 1308852"/>
              <a:gd name="connsiteY0" fmla="*/ 221977 h 744249"/>
              <a:gd name="connsiteX1" fmla="*/ 1628 w 1308852"/>
              <a:gd name="connsiteY1" fmla="*/ 212544 h 744249"/>
              <a:gd name="connsiteX2" fmla="*/ 911 w 1308852"/>
              <a:gd name="connsiteY2" fmla="*/ 97581 h 744249"/>
              <a:gd name="connsiteX3" fmla="*/ 14421 w 1308852"/>
              <a:gd name="connsiteY3" fmla="*/ 45201 h 744249"/>
              <a:gd name="connsiteX4" fmla="*/ 43539 w 1308852"/>
              <a:gd name="connsiteY4" fmla="*/ 13965 h 744249"/>
              <a:gd name="connsiteX5" fmla="*/ 86141 w 1308852"/>
              <a:gd name="connsiteY5" fmla="*/ 108 h 744249"/>
              <a:gd name="connsiteX6" fmla="*/ 118741 w 1308852"/>
              <a:gd name="connsiteY6" fmla="*/ 5629 h 744249"/>
              <a:gd name="connsiteX7" fmla="*/ 1195107 w 1308852"/>
              <a:gd name="connsiteY7" fmla="*/ 625705 h 744249"/>
              <a:gd name="connsiteX8" fmla="*/ 1153233 w 1308852"/>
              <a:gd name="connsiteY8" fmla="*/ 696690 h 744249"/>
              <a:gd name="connsiteX9" fmla="*/ 97170 w 1308852"/>
              <a:gd name="connsiteY9" fmla="*/ 84934 h 744249"/>
              <a:gd name="connsiteX10" fmla="*/ 97100 w 1308852"/>
              <a:gd name="connsiteY10" fmla="*/ 84854 h 744249"/>
              <a:gd name="connsiteX11" fmla="*/ 92641 w 1308852"/>
              <a:gd name="connsiteY11" fmla="*/ 86106 h 744249"/>
              <a:gd name="connsiteX12" fmla="*/ 83322 w 1308852"/>
              <a:gd name="connsiteY12" fmla="*/ 98353 h 744249"/>
              <a:gd name="connsiteX13" fmla="*/ 83306 w 1308852"/>
              <a:gd name="connsiteY13" fmla="*/ 104410 h 744249"/>
              <a:gd name="connsiteX14" fmla="*/ 84058 w 1308852"/>
              <a:gd name="connsiteY14" fmla="*/ 106600 h 744249"/>
              <a:gd name="connsiteX15" fmla="*/ 84057 w 1308852"/>
              <a:gd name="connsiteY15" fmla="*/ 212545 h 744249"/>
              <a:gd name="connsiteX16" fmla="*/ 42843 w 1308852"/>
              <a:gd name="connsiteY16" fmla="*/ 236780 h 744249"/>
              <a:gd name="connsiteX17" fmla="*/ 4867 w 1308852"/>
              <a:gd name="connsiteY17" fmla="*/ 221977 h 744249"/>
              <a:gd name="connsiteX0" fmla="*/ 4867 w 1261213"/>
              <a:gd name="connsiteY0" fmla="*/ 221977 h 726487"/>
              <a:gd name="connsiteX1" fmla="*/ 1628 w 1261213"/>
              <a:gd name="connsiteY1" fmla="*/ 212544 h 726487"/>
              <a:gd name="connsiteX2" fmla="*/ 911 w 1261213"/>
              <a:gd name="connsiteY2" fmla="*/ 97581 h 726487"/>
              <a:gd name="connsiteX3" fmla="*/ 14421 w 1261213"/>
              <a:gd name="connsiteY3" fmla="*/ 45201 h 726487"/>
              <a:gd name="connsiteX4" fmla="*/ 43539 w 1261213"/>
              <a:gd name="connsiteY4" fmla="*/ 13965 h 726487"/>
              <a:gd name="connsiteX5" fmla="*/ 86141 w 1261213"/>
              <a:gd name="connsiteY5" fmla="*/ 108 h 726487"/>
              <a:gd name="connsiteX6" fmla="*/ 118741 w 1261213"/>
              <a:gd name="connsiteY6" fmla="*/ 5629 h 726487"/>
              <a:gd name="connsiteX7" fmla="*/ 1195107 w 1261213"/>
              <a:gd name="connsiteY7" fmla="*/ 625705 h 726487"/>
              <a:gd name="connsiteX8" fmla="*/ 1153233 w 1261213"/>
              <a:gd name="connsiteY8" fmla="*/ 696690 h 726487"/>
              <a:gd name="connsiteX9" fmla="*/ 97170 w 1261213"/>
              <a:gd name="connsiteY9" fmla="*/ 84934 h 726487"/>
              <a:gd name="connsiteX10" fmla="*/ 97100 w 1261213"/>
              <a:gd name="connsiteY10" fmla="*/ 84854 h 726487"/>
              <a:gd name="connsiteX11" fmla="*/ 92641 w 1261213"/>
              <a:gd name="connsiteY11" fmla="*/ 86106 h 726487"/>
              <a:gd name="connsiteX12" fmla="*/ 83322 w 1261213"/>
              <a:gd name="connsiteY12" fmla="*/ 98353 h 726487"/>
              <a:gd name="connsiteX13" fmla="*/ 83306 w 1261213"/>
              <a:gd name="connsiteY13" fmla="*/ 104410 h 726487"/>
              <a:gd name="connsiteX14" fmla="*/ 84058 w 1261213"/>
              <a:gd name="connsiteY14" fmla="*/ 106600 h 726487"/>
              <a:gd name="connsiteX15" fmla="*/ 84057 w 1261213"/>
              <a:gd name="connsiteY15" fmla="*/ 212545 h 726487"/>
              <a:gd name="connsiteX16" fmla="*/ 42843 w 1261213"/>
              <a:gd name="connsiteY16" fmla="*/ 236780 h 726487"/>
              <a:gd name="connsiteX17" fmla="*/ 4867 w 1261213"/>
              <a:gd name="connsiteY17" fmla="*/ 221977 h 726487"/>
              <a:gd name="connsiteX0" fmla="*/ 4867 w 1220904"/>
              <a:gd name="connsiteY0" fmla="*/ 221977 h 708514"/>
              <a:gd name="connsiteX1" fmla="*/ 1628 w 1220904"/>
              <a:gd name="connsiteY1" fmla="*/ 212544 h 708514"/>
              <a:gd name="connsiteX2" fmla="*/ 911 w 1220904"/>
              <a:gd name="connsiteY2" fmla="*/ 97581 h 708514"/>
              <a:gd name="connsiteX3" fmla="*/ 14421 w 1220904"/>
              <a:gd name="connsiteY3" fmla="*/ 45201 h 708514"/>
              <a:gd name="connsiteX4" fmla="*/ 43539 w 1220904"/>
              <a:gd name="connsiteY4" fmla="*/ 13965 h 708514"/>
              <a:gd name="connsiteX5" fmla="*/ 86141 w 1220904"/>
              <a:gd name="connsiteY5" fmla="*/ 108 h 708514"/>
              <a:gd name="connsiteX6" fmla="*/ 118741 w 1220904"/>
              <a:gd name="connsiteY6" fmla="*/ 5629 h 708514"/>
              <a:gd name="connsiteX7" fmla="*/ 1195107 w 1220904"/>
              <a:gd name="connsiteY7" fmla="*/ 625705 h 708514"/>
              <a:gd name="connsiteX8" fmla="*/ 1153233 w 1220904"/>
              <a:gd name="connsiteY8" fmla="*/ 696690 h 708514"/>
              <a:gd name="connsiteX9" fmla="*/ 97170 w 1220904"/>
              <a:gd name="connsiteY9" fmla="*/ 84934 h 708514"/>
              <a:gd name="connsiteX10" fmla="*/ 97100 w 1220904"/>
              <a:gd name="connsiteY10" fmla="*/ 84854 h 708514"/>
              <a:gd name="connsiteX11" fmla="*/ 92641 w 1220904"/>
              <a:gd name="connsiteY11" fmla="*/ 86106 h 708514"/>
              <a:gd name="connsiteX12" fmla="*/ 83322 w 1220904"/>
              <a:gd name="connsiteY12" fmla="*/ 98353 h 708514"/>
              <a:gd name="connsiteX13" fmla="*/ 83306 w 1220904"/>
              <a:gd name="connsiteY13" fmla="*/ 104410 h 708514"/>
              <a:gd name="connsiteX14" fmla="*/ 84058 w 1220904"/>
              <a:gd name="connsiteY14" fmla="*/ 106600 h 708514"/>
              <a:gd name="connsiteX15" fmla="*/ 84057 w 1220904"/>
              <a:gd name="connsiteY15" fmla="*/ 212545 h 708514"/>
              <a:gd name="connsiteX16" fmla="*/ 42843 w 1220904"/>
              <a:gd name="connsiteY16" fmla="*/ 236780 h 708514"/>
              <a:gd name="connsiteX17" fmla="*/ 4867 w 1220904"/>
              <a:gd name="connsiteY17" fmla="*/ 221977 h 708514"/>
              <a:gd name="connsiteX0" fmla="*/ 4867 w 1214473"/>
              <a:gd name="connsiteY0" fmla="*/ 221977 h 702695"/>
              <a:gd name="connsiteX1" fmla="*/ 1628 w 1214473"/>
              <a:gd name="connsiteY1" fmla="*/ 212544 h 702695"/>
              <a:gd name="connsiteX2" fmla="*/ 911 w 1214473"/>
              <a:gd name="connsiteY2" fmla="*/ 97581 h 702695"/>
              <a:gd name="connsiteX3" fmla="*/ 14421 w 1214473"/>
              <a:gd name="connsiteY3" fmla="*/ 45201 h 702695"/>
              <a:gd name="connsiteX4" fmla="*/ 43539 w 1214473"/>
              <a:gd name="connsiteY4" fmla="*/ 13965 h 702695"/>
              <a:gd name="connsiteX5" fmla="*/ 86141 w 1214473"/>
              <a:gd name="connsiteY5" fmla="*/ 108 h 702695"/>
              <a:gd name="connsiteX6" fmla="*/ 118741 w 1214473"/>
              <a:gd name="connsiteY6" fmla="*/ 5629 h 702695"/>
              <a:gd name="connsiteX7" fmla="*/ 1195107 w 1214473"/>
              <a:gd name="connsiteY7" fmla="*/ 625705 h 702695"/>
              <a:gd name="connsiteX8" fmla="*/ 1153233 w 1214473"/>
              <a:gd name="connsiteY8" fmla="*/ 696690 h 702695"/>
              <a:gd name="connsiteX9" fmla="*/ 97170 w 1214473"/>
              <a:gd name="connsiteY9" fmla="*/ 84934 h 702695"/>
              <a:gd name="connsiteX10" fmla="*/ 97100 w 1214473"/>
              <a:gd name="connsiteY10" fmla="*/ 84854 h 702695"/>
              <a:gd name="connsiteX11" fmla="*/ 92641 w 1214473"/>
              <a:gd name="connsiteY11" fmla="*/ 86106 h 702695"/>
              <a:gd name="connsiteX12" fmla="*/ 83322 w 1214473"/>
              <a:gd name="connsiteY12" fmla="*/ 98353 h 702695"/>
              <a:gd name="connsiteX13" fmla="*/ 83306 w 1214473"/>
              <a:gd name="connsiteY13" fmla="*/ 104410 h 702695"/>
              <a:gd name="connsiteX14" fmla="*/ 84058 w 1214473"/>
              <a:gd name="connsiteY14" fmla="*/ 106600 h 702695"/>
              <a:gd name="connsiteX15" fmla="*/ 84057 w 1214473"/>
              <a:gd name="connsiteY15" fmla="*/ 212545 h 702695"/>
              <a:gd name="connsiteX16" fmla="*/ 42843 w 1214473"/>
              <a:gd name="connsiteY16" fmla="*/ 236780 h 702695"/>
              <a:gd name="connsiteX17" fmla="*/ 4867 w 1214473"/>
              <a:gd name="connsiteY17" fmla="*/ 221977 h 702695"/>
              <a:gd name="connsiteX0" fmla="*/ 4867 w 1207158"/>
              <a:gd name="connsiteY0" fmla="*/ 221977 h 702695"/>
              <a:gd name="connsiteX1" fmla="*/ 1628 w 1207158"/>
              <a:gd name="connsiteY1" fmla="*/ 212544 h 702695"/>
              <a:gd name="connsiteX2" fmla="*/ 911 w 1207158"/>
              <a:gd name="connsiteY2" fmla="*/ 97581 h 702695"/>
              <a:gd name="connsiteX3" fmla="*/ 14421 w 1207158"/>
              <a:gd name="connsiteY3" fmla="*/ 45201 h 702695"/>
              <a:gd name="connsiteX4" fmla="*/ 43539 w 1207158"/>
              <a:gd name="connsiteY4" fmla="*/ 13965 h 702695"/>
              <a:gd name="connsiteX5" fmla="*/ 86141 w 1207158"/>
              <a:gd name="connsiteY5" fmla="*/ 108 h 702695"/>
              <a:gd name="connsiteX6" fmla="*/ 118741 w 1207158"/>
              <a:gd name="connsiteY6" fmla="*/ 5629 h 702695"/>
              <a:gd name="connsiteX7" fmla="*/ 1195107 w 1207158"/>
              <a:gd name="connsiteY7" fmla="*/ 625705 h 702695"/>
              <a:gd name="connsiteX8" fmla="*/ 1153233 w 1207158"/>
              <a:gd name="connsiteY8" fmla="*/ 696690 h 702695"/>
              <a:gd name="connsiteX9" fmla="*/ 97170 w 1207158"/>
              <a:gd name="connsiteY9" fmla="*/ 84934 h 702695"/>
              <a:gd name="connsiteX10" fmla="*/ 97100 w 1207158"/>
              <a:gd name="connsiteY10" fmla="*/ 84854 h 702695"/>
              <a:gd name="connsiteX11" fmla="*/ 92641 w 1207158"/>
              <a:gd name="connsiteY11" fmla="*/ 86106 h 702695"/>
              <a:gd name="connsiteX12" fmla="*/ 83322 w 1207158"/>
              <a:gd name="connsiteY12" fmla="*/ 98353 h 702695"/>
              <a:gd name="connsiteX13" fmla="*/ 83306 w 1207158"/>
              <a:gd name="connsiteY13" fmla="*/ 104410 h 702695"/>
              <a:gd name="connsiteX14" fmla="*/ 84058 w 1207158"/>
              <a:gd name="connsiteY14" fmla="*/ 106600 h 702695"/>
              <a:gd name="connsiteX15" fmla="*/ 84057 w 1207158"/>
              <a:gd name="connsiteY15" fmla="*/ 212545 h 702695"/>
              <a:gd name="connsiteX16" fmla="*/ 42843 w 1207158"/>
              <a:gd name="connsiteY16" fmla="*/ 236780 h 702695"/>
              <a:gd name="connsiteX17" fmla="*/ 4867 w 1207158"/>
              <a:gd name="connsiteY17" fmla="*/ 221977 h 702695"/>
              <a:gd name="connsiteX0" fmla="*/ 4867 w 1207158"/>
              <a:gd name="connsiteY0" fmla="*/ 221977 h 702695"/>
              <a:gd name="connsiteX1" fmla="*/ 1628 w 1207158"/>
              <a:gd name="connsiteY1" fmla="*/ 212544 h 702695"/>
              <a:gd name="connsiteX2" fmla="*/ 911 w 1207158"/>
              <a:gd name="connsiteY2" fmla="*/ 97581 h 702695"/>
              <a:gd name="connsiteX3" fmla="*/ 14421 w 1207158"/>
              <a:gd name="connsiteY3" fmla="*/ 45201 h 702695"/>
              <a:gd name="connsiteX4" fmla="*/ 43539 w 1207158"/>
              <a:gd name="connsiteY4" fmla="*/ 13965 h 702695"/>
              <a:gd name="connsiteX5" fmla="*/ 86141 w 1207158"/>
              <a:gd name="connsiteY5" fmla="*/ 108 h 702695"/>
              <a:gd name="connsiteX6" fmla="*/ 118741 w 1207158"/>
              <a:gd name="connsiteY6" fmla="*/ 5629 h 702695"/>
              <a:gd name="connsiteX7" fmla="*/ 625174 w 1207158"/>
              <a:gd name="connsiteY7" fmla="*/ 307559 h 702695"/>
              <a:gd name="connsiteX8" fmla="*/ 1195107 w 1207158"/>
              <a:gd name="connsiteY8" fmla="*/ 625705 h 702695"/>
              <a:gd name="connsiteX9" fmla="*/ 1153233 w 1207158"/>
              <a:gd name="connsiteY9" fmla="*/ 696690 h 702695"/>
              <a:gd name="connsiteX10" fmla="*/ 97170 w 1207158"/>
              <a:gd name="connsiteY10" fmla="*/ 84934 h 702695"/>
              <a:gd name="connsiteX11" fmla="*/ 97100 w 1207158"/>
              <a:gd name="connsiteY11" fmla="*/ 84854 h 702695"/>
              <a:gd name="connsiteX12" fmla="*/ 92641 w 1207158"/>
              <a:gd name="connsiteY12" fmla="*/ 86106 h 702695"/>
              <a:gd name="connsiteX13" fmla="*/ 83322 w 1207158"/>
              <a:gd name="connsiteY13" fmla="*/ 98353 h 702695"/>
              <a:gd name="connsiteX14" fmla="*/ 83306 w 1207158"/>
              <a:gd name="connsiteY14" fmla="*/ 104410 h 702695"/>
              <a:gd name="connsiteX15" fmla="*/ 84058 w 1207158"/>
              <a:gd name="connsiteY15" fmla="*/ 106600 h 702695"/>
              <a:gd name="connsiteX16" fmla="*/ 84057 w 1207158"/>
              <a:gd name="connsiteY16" fmla="*/ 212545 h 702695"/>
              <a:gd name="connsiteX17" fmla="*/ 42843 w 1207158"/>
              <a:gd name="connsiteY17" fmla="*/ 236780 h 702695"/>
              <a:gd name="connsiteX18" fmla="*/ 4867 w 1207158"/>
              <a:gd name="connsiteY18" fmla="*/ 221977 h 702695"/>
              <a:gd name="connsiteX0" fmla="*/ 4867 w 1207158"/>
              <a:gd name="connsiteY0" fmla="*/ 221977 h 702695"/>
              <a:gd name="connsiteX1" fmla="*/ 1628 w 1207158"/>
              <a:gd name="connsiteY1" fmla="*/ 212544 h 702695"/>
              <a:gd name="connsiteX2" fmla="*/ 911 w 1207158"/>
              <a:gd name="connsiteY2" fmla="*/ 97581 h 702695"/>
              <a:gd name="connsiteX3" fmla="*/ 14421 w 1207158"/>
              <a:gd name="connsiteY3" fmla="*/ 45201 h 702695"/>
              <a:gd name="connsiteX4" fmla="*/ 43539 w 1207158"/>
              <a:gd name="connsiteY4" fmla="*/ 13965 h 702695"/>
              <a:gd name="connsiteX5" fmla="*/ 86141 w 1207158"/>
              <a:gd name="connsiteY5" fmla="*/ 108 h 702695"/>
              <a:gd name="connsiteX6" fmla="*/ 118741 w 1207158"/>
              <a:gd name="connsiteY6" fmla="*/ 5629 h 702695"/>
              <a:gd name="connsiteX7" fmla="*/ 625174 w 1207158"/>
              <a:gd name="connsiteY7" fmla="*/ 307559 h 702695"/>
              <a:gd name="connsiteX8" fmla="*/ 629936 w 1207158"/>
              <a:gd name="connsiteY8" fmla="*/ 314703 h 702695"/>
              <a:gd name="connsiteX9" fmla="*/ 1195107 w 1207158"/>
              <a:gd name="connsiteY9" fmla="*/ 625705 h 702695"/>
              <a:gd name="connsiteX10" fmla="*/ 1153233 w 1207158"/>
              <a:gd name="connsiteY10" fmla="*/ 696690 h 702695"/>
              <a:gd name="connsiteX11" fmla="*/ 97170 w 1207158"/>
              <a:gd name="connsiteY11" fmla="*/ 84934 h 702695"/>
              <a:gd name="connsiteX12" fmla="*/ 97100 w 1207158"/>
              <a:gd name="connsiteY12" fmla="*/ 84854 h 702695"/>
              <a:gd name="connsiteX13" fmla="*/ 92641 w 1207158"/>
              <a:gd name="connsiteY13" fmla="*/ 86106 h 702695"/>
              <a:gd name="connsiteX14" fmla="*/ 83322 w 1207158"/>
              <a:gd name="connsiteY14" fmla="*/ 98353 h 702695"/>
              <a:gd name="connsiteX15" fmla="*/ 83306 w 1207158"/>
              <a:gd name="connsiteY15" fmla="*/ 104410 h 702695"/>
              <a:gd name="connsiteX16" fmla="*/ 84058 w 1207158"/>
              <a:gd name="connsiteY16" fmla="*/ 106600 h 702695"/>
              <a:gd name="connsiteX17" fmla="*/ 84057 w 1207158"/>
              <a:gd name="connsiteY17" fmla="*/ 212545 h 702695"/>
              <a:gd name="connsiteX18" fmla="*/ 42843 w 1207158"/>
              <a:gd name="connsiteY18" fmla="*/ 236780 h 702695"/>
              <a:gd name="connsiteX19" fmla="*/ 4867 w 1207158"/>
              <a:gd name="connsiteY19" fmla="*/ 221977 h 702695"/>
              <a:gd name="connsiteX0" fmla="*/ 4867 w 1207158"/>
              <a:gd name="connsiteY0" fmla="*/ 221977 h 702695"/>
              <a:gd name="connsiteX1" fmla="*/ 1628 w 1207158"/>
              <a:gd name="connsiteY1" fmla="*/ 212544 h 702695"/>
              <a:gd name="connsiteX2" fmla="*/ 911 w 1207158"/>
              <a:gd name="connsiteY2" fmla="*/ 97581 h 702695"/>
              <a:gd name="connsiteX3" fmla="*/ 14421 w 1207158"/>
              <a:gd name="connsiteY3" fmla="*/ 45201 h 702695"/>
              <a:gd name="connsiteX4" fmla="*/ 43539 w 1207158"/>
              <a:gd name="connsiteY4" fmla="*/ 13965 h 702695"/>
              <a:gd name="connsiteX5" fmla="*/ 86141 w 1207158"/>
              <a:gd name="connsiteY5" fmla="*/ 108 h 702695"/>
              <a:gd name="connsiteX6" fmla="*/ 118741 w 1207158"/>
              <a:gd name="connsiteY6" fmla="*/ 5629 h 702695"/>
              <a:gd name="connsiteX7" fmla="*/ 625174 w 1207158"/>
              <a:gd name="connsiteY7" fmla="*/ 307559 h 702695"/>
              <a:gd name="connsiteX8" fmla="*/ 1195107 w 1207158"/>
              <a:gd name="connsiteY8" fmla="*/ 625705 h 702695"/>
              <a:gd name="connsiteX9" fmla="*/ 1153233 w 1207158"/>
              <a:gd name="connsiteY9" fmla="*/ 696690 h 702695"/>
              <a:gd name="connsiteX10" fmla="*/ 97170 w 1207158"/>
              <a:gd name="connsiteY10" fmla="*/ 84934 h 702695"/>
              <a:gd name="connsiteX11" fmla="*/ 97100 w 1207158"/>
              <a:gd name="connsiteY11" fmla="*/ 84854 h 702695"/>
              <a:gd name="connsiteX12" fmla="*/ 92641 w 1207158"/>
              <a:gd name="connsiteY12" fmla="*/ 86106 h 702695"/>
              <a:gd name="connsiteX13" fmla="*/ 83322 w 1207158"/>
              <a:gd name="connsiteY13" fmla="*/ 98353 h 702695"/>
              <a:gd name="connsiteX14" fmla="*/ 83306 w 1207158"/>
              <a:gd name="connsiteY14" fmla="*/ 104410 h 702695"/>
              <a:gd name="connsiteX15" fmla="*/ 84058 w 1207158"/>
              <a:gd name="connsiteY15" fmla="*/ 106600 h 702695"/>
              <a:gd name="connsiteX16" fmla="*/ 84057 w 1207158"/>
              <a:gd name="connsiteY16" fmla="*/ 212545 h 702695"/>
              <a:gd name="connsiteX17" fmla="*/ 42843 w 1207158"/>
              <a:gd name="connsiteY17" fmla="*/ 236780 h 702695"/>
              <a:gd name="connsiteX18" fmla="*/ 4867 w 1207158"/>
              <a:gd name="connsiteY18" fmla="*/ 221977 h 702695"/>
              <a:gd name="connsiteX0" fmla="*/ 4867 w 1207158"/>
              <a:gd name="connsiteY0" fmla="*/ 221977 h 702695"/>
              <a:gd name="connsiteX1" fmla="*/ 1628 w 1207158"/>
              <a:gd name="connsiteY1" fmla="*/ 212544 h 702695"/>
              <a:gd name="connsiteX2" fmla="*/ 911 w 1207158"/>
              <a:gd name="connsiteY2" fmla="*/ 97581 h 702695"/>
              <a:gd name="connsiteX3" fmla="*/ 14421 w 1207158"/>
              <a:gd name="connsiteY3" fmla="*/ 45201 h 702695"/>
              <a:gd name="connsiteX4" fmla="*/ 43539 w 1207158"/>
              <a:gd name="connsiteY4" fmla="*/ 13965 h 702695"/>
              <a:gd name="connsiteX5" fmla="*/ 86141 w 1207158"/>
              <a:gd name="connsiteY5" fmla="*/ 108 h 702695"/>
              <a:gd name="connsiteX6" fmla="*/ 118741 w 1207158"/>
              <a:gd name="connsiteY6" fmla="*/ 5629 h 702695"/>
              <a:gd name="connsiteX7" fmla="*/ 625174 w 1207158"/>
              <a:gd name="connsiteY7" fmla="*/ 307559 h 702695"/>
              <a:gd name="connsiteX8" fmla="*/ 1195107 w 1207158"/>
              <a:gd name="connsiteY8" fmla="*/ 625705 h 702695"/>
              <a:gd name="connsiteX9" fmla="*/ 1153233 w 1207158"/>
              <a:gd name="connsiteY9" fmla="*/ 696690 h 702695"/>
              <a:gd name="connsiteX10" fmla="*/ 97170 w 1207158"/>
              <a:gd name="connsiteY10" fmla="*/ 84934 h 702695"/>
              <a:gd name="connsiteX11" fmla="*/ 97100 w 1207158"/>
              <a:gd name="connsiteY11" fmla="*/ 84854 h 702695"/>
              <a:gd name="connsiteX12" fmla="*/ 92641 w 1207158"/>
              <a:gd name="connsiteY12" fmla="*/ 86106 h 702695"/>
              <a:gd name="connsiteX13" fmla="*/ 83322 w 1207158"/>
              <a:gd name="connsiteY13" fmla="*/ 98353 h 702695"/>
              <a:gd name="connsiteX14" fmla="*/ 83306 w 1207158"/>
              <a:gd name="connsiteY14" fmla="*/ 104410 h 702695"/>
              <a:gd name="connsiteX15" fmla="*/ 84058 w 1207158"/>
              <a:gd name="connsiteY15" fmla="*/ 106600 h 702695"/>
              <a:gd name="connsiteX16" fmla="*/ 84057 w 1207158"/>
              <a:gd name="connsiteY16" fmla="*/ 212545 h 702695"/>
              <a:gd name="connsiteX17" fmla="*/ 42843 w 1207158"/>
              <a:gd name="connsiteY17" fmla="*/ 236780 h 702695"/>
              <a:gd name="connsiteX18" fmla="*/ 4867 w 1207158"/>
              <a:gd name="connsiteY18" fmla="*/ 221977 h 702695"/>
              <a:gd name="connsiteX0" fmla="*/ 4867 w 1199768"/>
              <a:gd name="connsiteY0" fmla="*/ 221977 h 702695"/>
              <a:gd name="connsiteX1" fmla="*/ 1628 w 1199768"/>
              <a:gd name="connsiteY1" fmla="*/ 212544 h 702695"/>
              <a:gd name="connsiteX2" fmla="*/ 911 w 1199768"/>
              <a:gd name="connsiteY2" fmla="*/ 97581 h 702695"/>
              <a:gd name="connsiteX3" fmla="*/ 14421 w 1199768"/>
              <a:gd name="connsiteY3" fmla="*/ 45201 h 702695"/>
              <a:gd name="connsiteX4" fmla="*/ 43539 w 1199768"/>
              <a:gd name="connsiteY4" fmla="*/ 13965 h 702695"/>
              <a:gd name="connsiteX5" fmla="*/ 86141 w 1199768"/>
              <a:gd name="connsiteY5" fmla="*/ 108 h 702695"/>
              <a:gd name="connsiteX6" fmla="*/ 118741 w 1199768"/>
              <a:gd name="connsiteY6" fmla="*/ 5629 h 702695"/>
              <a:gd name="connsiteX7" fmla="*/ 625174 w 1199768"/>
              <a:gd name="connsiteY7" fmla="*/ 307559 h 702695"/>
              <a:gd name="connsiteX8" fmla="*/ 1185582 w 1199768"/>
              <a:gd name="connsiteY8" fmla="*/ 625705 h 702695"/>
              <a:gd name="connsiteX9" fmla="*/ 1153233 w 1199768"/>
              <a:gd name="connsiteY9" fmla="*/ 696690 h 702695"/>
              <a:gd name="connsiteX10" fmla="*/ 97170 w 1199768"/>
              <a:gd name="connsiteY10" fmla="*/ 84934 h 702695"/>
              <a:gd name="connsiteX11" fmla="*/ 97100 w 1199768"/>
              <a:gd name="connsiteY11" fmla="*/ 84854 h 702695"/>
              <a:gd name="connsiteX12" fmla="*/ 92641 w 1199768"/>
              <a:gd name="connsiteY12" fmla="*/ 86106 h 702695"/>
              <a:gd name="connsiteX13" fmla="*/ 83322 w 1199768"/>
              <a:gd name="connsiteY13" fmla="*/ 98353 h 702695"/>
              <a:gd name="connsiteX14" fmla="*/ 83306 w 1199768"/>
              <a:gd name="connsiteY14" fmla="*/ 104410 h 702695"/>
              <a:gd name="connsiteX15" fmla="*/ 84058 w 1199768"/>
              <a:gd name="connsiteY15" fmla="*/ 106600 h 702695"/>
              <a:gd name="connsiteX16" fmla="*/ 84057 w 1199768"/>
              <a:gd name="connsiteY16" fmla="*/ 212545 h 702695"/>
              <a:gd name="connsiteX17" fmla="*/ 42843 w 1199768"/>
              <a:gd name="connsiteY17" fmla="*/ 236780 h 702695"/>
              <a:gd name="connsiteX18" fmla="*/ 4867 w 1199768"/>
              <a:gd name="connsiteY18" fmla="*/ 221977 h 702695"/>
              <a:gd name="connsiteX0" fmla="*/ 4867 w 1199768"/>
              <a:gd name="connsiteY0" fmla="*/ 221977 h 702695"/>
              <a:gd name="connsiteX1" fmla="*/ 1628 w 1199768"/>
              <a:gd name="connsiteY1" fmla="*/ 212544 h 702695"/>
              <a:gd name="connsiteX2" fmla="*/ 911 w 1199768"/>
              <a:gd name="connsiteY2" fmla="*/ 97581 h 702695"/>
              <a:gd name="connsiteX3" fmla="*/ 14421 w 1199768"/>
              <a:gd name="connsiteY3" fmla="*/ 45201 h 702695"/>
              <a:gd name="connsiteX4" fmla="*/ 43539 w 1199768"/>
              <a:gd name="connsiteY4" fmla="*/ 13965 h 702695"/>
              <a:gd name="connsiteX5" fmla="*/ 86141 w 1199768"/>
              <a:gd name="connsiteY5" fmla="*/ 108 h 702695"/>
              <a:gd name="connsiteX6" fmla="*/ 118741 w 1199768"/>
              <a:gd name="connsiteY6" fmla="*/ 5629 h 702695"/>
              <a:gd name="connsiteX7" fmla="*/ 625174 w 1199768"/>
              <a:gd name="connsiteY7" fmla="*/ 307559 h 702695"/>
              <a:gd name="connsiteX8" fmla="*/ 1185582 w 1199768"/>
              <a:gd name="connsiteY8" fmla="*/ 625705 h 702695"/>
              <a:gd name="connsiteX9" fmla="*/ 1153233 w 1199768"/>
              <a:gd name="connsiteY9" fmla="*/ 696690 h 702695"/>
              <a:gd name="connsiteX10" fmla="*/ 97170 w 1199768"/>
              <a:gd name="connsiteY10" fmla="*/ 84934 h 702695"/>
              <a:gd name="connsiteX11" fmla="*/ 97100 w 1199768"/>
              <a:gd name="connsiteY11" fmla="*/ 84854 h 702695"/>
              <a:gd name="connsiteX12" fmla="*/ 92641 w 1199768"/>
              <a:gd name="connsiteY12" fmla="*/ 86106 h 702695"/>
              <a:gd name="connsiteX13" fmla="*/ 83322 w 1199768"/>
              <a:gd name="connsiteY13" fmla="*/ 98353 h 702695"/>
              <a:gd name="connsiteX14" fmla="*/ 83306 w 1199768"/>
              <a:gd name="connsiteY14" fmla="*/ 104410 h 702695"/>
              <a:gd name="connsiteX15" fmla="*/ 84058 w 1199768"/>
              <a:gd name="connsiteY15" fmla="*/ 106600 h 702695"/>
              <a:gd name="connsiteX16" fmla="*/ 84057 w 1199768"/>
              <a:gd name="connsiteY16" fmla="*/ 212545 h 702695"/>
              <a:gd name="connsiteX17" fmla="*/ 42843 w 1199768"/>
              <a:gd name="connsiteY17" fmla="*/ 236780 h 702695"/>
              <a:gd name="connsiteX18" fmla="*/ 4867 w 1199768"/>
              <a:gd name="connsiteY18" fmla="*/ 221977 h 702695"/>
              <a:gd name="connsiteX0" fmla="*/ 4867 w 1189186"/>
              <a:gd name="connsiteY0" fmla="*/ 221977 h 702974"/>
              <a:gd name="connsiteX1" fmla="*/ 1628 w 1189186"/>
              <a:gd name="connsiteY1" fmla="*/ 212544 h 702974"/>
              <a:gd name="connsiteX2" fmla="*/ 911 w 1189186"/>
              <a:gd name="connsiteY2" fmla="*/ 97581 h 702974"/>
              <a:gd name="connsiteX3" fmla="*/ 14421 w 1189186"/>
              <a:gd name="connsiteY3" fmla="*/ 45201 h 702974"/>
              <a:gd name="connsiteX4" fmla="*/ 43539 w 1189186"/>
              <a:gd name="connsiteY4" fmla="*/ 13965 h 702974"/>
              <a:gd name="connsiteX5" fmla="*/ 86141 w 1189186"/>
              <a:gd name="connsiteY5" fmla="*/ 108 h 702974"/>
              <a:gd name="connsiteX6" fmla="*/ 118741 w 1189186"/>
              <a:gd name="connsiteY6" fmla="*/ 5629 h 702974"/>
              <a:gd name="connsiteX7" fmla="*/ 625174 w 1189186"/>
              <a:gd name="connsiteY7" fmla="*/ 307559 h 702974"/>
              <a:gd name="connsiteX8" fmla="*/ 1185582 w 1189186"/>
              <a:gd name="connsiteY8" fmla="*/ 625705 h 702974"/>
              <a:gd name="connsiteX9" fmla="*/ 1153233 w 1189186"/>
              <a:gd name="connsiteY9" fmla="*/ 696690 h 702974"/>
              <a:gd name="connsiteX10" fmla="*/ 97170 w 1189186"/>
              <a:gd name="connsiteY10" fmla="*/ 84934 h 702974"/>
              <a:gd name="connsiteX11" fmla="*/ 97100 w 1189186"/>
              <a:gd name="connsiteY11" fmla="*/ 84854 h 702974"/>
              <a:gd name="connsiteX12" fmla="*/ 92641 w 1189186"/>
              <a:gd name="connsiteY12" fmla="*/ 86106 h 702974"/>
              <a:gd name="connsiteX13" fmla="*/ 83322 w 1189186"/>
              <a:gd name="connsiteY13" fmla="*/ 98353 h 702974"/>
              <a:gd name="connsiteX14" fmla="*/ 83306 w 1189186"/>
              <a:gd name="connsiteY14" fmla="*/ 104410 h 702974"/>
              <a:gd name="connsiteX15" fmla="*/ 84058 w 1189186"/>
              <a:gd name="connsiteY15" fmla="*/ 106600 h 702974"/>
              <a:gd name="connsiteX16" fmla="*/ 84057 w 1189186"/>
              <a:gd name="connsiteY16" fmla="*/ 212545 h 702974"/>
              <a:gd name="connsiteX17" fmla="*/ 42843 w 1189186"/>
              <a:gd name="connsiteY17" fmla="*/ 236780 h 702974"/>
              <a:gd name="connsiteX18" fmla="*/ 4867 w 1189186"/>
              <a:gd name="connsiteY18" fmla="*/ 221977 h 70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9186" h="702974">
                <a:moveTo>
                  <a:pt x="4867" y="221977"/>
                </a:moveTo>
                <a:cubicBezTo>
                  <a:pt x="2782" y="219079"/>
                  <a:pt x="1628" y="215890"/>
                  <a:pt x="1628" y="212544"/>
                </a:cubicBezTo>
                <a:cubicBezTo>
                  <a:pt x="968" y="191811"/>
                  <a:pt x="-1222" y="125471"/>
                  <a:pt x="911" y="97581"/>
                </a:cubicBezTo>
                <a:cubicBezTo>
                  <a:pt x="3498" y="80400"/>
                  <a:pt x="-1751" y="72471"/>
                  <a:pt x="14421" y="45201"/>
                </a:cubicBezTo>
                <a:cubicBezTo>
                  <a:pt x="26551" y="24749"/>
                  <a:pt x="34561" y="19753"/>
                  <a:pt x="43539" y="13965"/>
                </a:cubicBezTo>
                <a:cubicBezTo>
                  <a:pt x="60016" y="6917"/>
                  <a:pt x="69693" y="-450"/>
                  <a:pt x="86141" y="108"/>
                </a:cubicBezTo>
                <a:cubicBezTo>
                  <a:pt x="98478" y="527"/>
                  <a:pt x="101140" y="-2106"/>
                  <a:pt x="118741" y="5629"/>
                </a:cubicBezTo>
                <a:cubicBezTo>
                  <a:pt x="298664" y="110241"/>
                  <a:pt x="445251" y="202947"/>
                  <a:pt x="625174" y="307559"/>
                </a:cubicBezTo>
                <a:cubicBezTo>
                  <a:pt x="804568" y="410905"/>
                  <a:pt x="1059472" y="544975"/>
                  <a:pt x="1185582" y="625705"/>
                </a:cubicBezTo>
                <a:cubicBezTo>
                  <a:pt x="1191310" y="650395"/>
                  <a:pt x="1195729" y="724906"/>
                  <a:pt x="1153233" y="696690"/>
                </a:cubicBezTo>
                <a:lnTo>
                  <a:pt x="97170" y="84934"/>
                </a:lnTo>
                <a:cubicBezTo>
                  <a:pt x="97147" y="84907"/>
                  <a:pt x="97123" y="84881"/>
                  <a:pt x="97100" y="84854"/>
                </a:cubicBezTo>
                <a:lnTo>
                  <a:pt x="92641" y="86106"/>
                </a:lnTo>
                <a:cubicBezTo>
                  <a:pt x="87828" y="87456"/>
                  <a:pt x="83868" y="90174"/>
                  <a:pt x="83322" y="98353"/>
                </a:cubicBezTo>
                <a:cubicBezTo>
                  <a:pt x="83316" y="100372"/>
                  <a:pt x="83311" y="102391"/>
                  <a:pt x="83306" y="104410"/>
                </a:cubicBezTo>
                <a:lnTo>
                  <a:pt x="84058" y="106600"/>
                </a:lnTo>
                <a:cubicBezTo>
                  <a:pt x="84058" y="141915"/>
                  <a:pt x="84057" y="177229"/>
                  <a:pt x="84057" y="212545"/>
                </a:cubicBezTo>
                <a:cubicBezTo>
                  <a:pt x="84057" y="225929"/>
                  <a:pt x="65605" y="236780"/>
                  <a:pt x="42843" y="236780"/>
                </a:cubicBezTo>
                <a:cubicBezTo>
                  <a:pt x="25771" y="236779"/>
                  <a:pt x="11124" y="230676"/>
                  <a:pt x="4867" y="221977"/>
                </a:cubicBezTo>
                <a:close/>
              </a:path>
            </a:pathLst>
          </a:custGeom>
          <a:gradFill flip="none" rotWithShape="1">
            <a:gsLst>
              <a:gs pos="46000">
                <a:schemeClr val="accent2">
                  <a:lumMod val="0"/>
                  <a:lumOff val="100000"/>
                </a:schemeClr>
              </a:gs>
              <a:gs pos="55000">
                <a:schemeClr val="accent4"/>
              </a:gs>
            </a:gsLst>
            <a:lin ang="72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1011" name="Freeform: Shape 1010">
            <a:extLst>
              <a:ext uri="{FF2B5EF4-FFF2-40B4-BE49-F238E27FC236}">
                <a16:creationId xmlns:a16="http://schemas.microsoft.com/office/drawing/2014/main" id="{62D0ECBA-10B5-4307-A3ED-F3473106403F}"/>
              </a:ext>
            </a:extLst>
          </p:cNvPr>
          <p:cNvSpPr/>
          <p:nvPr/>
        </p:nvSpPr>
        <p:spPr bwMode="gray">
          <a:xfrm rot="10800000" flipV="1">
            <a:off x="10066626" y="3484965"/>
            <a:ext cx="72679" cy="162233"/>
          </a:xfrm>
          <a:custGeom>
            <a:avLst/>
            <a:gdLst>
              <a:gd name="connsiteX0" fmla="*/ 1191 w 76769"/>
              <a:gd name="connsiteY0" fmla="*/ 171392 h 198335"/>
              <a:gd name="connsiteX1" fmla="*/ 1191 w 76769"/>
              <a:gd name="connsiteY1" fmla="*/ 171379 h 198335"/>
              <a:gd name="connsiteX2" fmla="*/ 1 w 76769"/>
              <a:gd name="connsiteY2" fmla="*/ 169330 h 198335"/>
              <a:gd name="connsiteX3" fmla="*/ 0 w 76769"/>
              <a:gd name="connsiteY3" fmla="*/ 26943 h 198335"/>
              <a:gd name="connsiteX4" fmla="*/ 37789 w 76769"/>
              <a:gd name="connsiteY4" fmla="*/ 0 h 198335"/>
              <a:gd name="connsiteX5" fmla="*/ 75578 w 76769"/>
              <a:gd name="connsiteY5" fmla="*/ 26943 h 198335"/>
              <a:gd name="connsiteX6" fmla="*/ 75578 w 76769"/>
              <a:gd name="connsiteY6" fmla="*/ 26956 h 198335"/>
              <a:gd name="connsiteX7" fmla="*/ 76769 w 76769"/>
              <a:gd name="connsiteY7" fmla="*/ 29005 h 198335"/>
              <a:gd name="connsiteX8" fmla="*/ 76769 w 76769"/>
              <a:gd name="connsiteY8" fmla="*/ 171392 h 198335"/>
              <a:gd name="connsiteX9" fmla="*/ 38980 w 76769"/>
              <a:gd name="connsiteY9" fmla="*/ 198335 h 198335"/>
              <a:gd name="connsiteX10" fmla="*/ 1191 w 76769"/>
              <a:gd name="connsiteY10" fmla="*/ 171392 h 198335"/>
              <a:gd name="connsiteX0" fmla="*/ 1191 w 76769"/>
              <a:gd name="connsiteY0" fmla="*/ 154997 h 181940"/>
              <a:gd name="connsiteX1" fmla="*/ 1191 w 76769"/>
              <a:gd name="connsiteY1" fmla="*/ 154984 h 181940"/>
              <a:gd name="connsiteX2" fmla="*/ 1 w 76769"/>
              <a:gd name="connsiteY2" fmla="*/ 152935 h 181940"/>
              <a:gd name="connsiteX3" fmla="*/ 0 w 76769"/>
              <a:gd name="connsiteY3" fmla="*/ 10548 h 181940"/>
              <a:gd name="connsiteX4" fmla="*/ 75578 w 76769"/>
              <a:gd name="connsiteY4" fmla="*/ 10548 h 181940"/>
              <a:gd name="connsiteX5" fmla="*/ 75578 w 76769"/>
              <a:gd name="connsiteY5" fmla="*/ 10561 h 181940"/>
              <a:gd name="connsiteX6" fmla="*/ 76769 w 76769"/>
              <a:gd name="connsiteY6" fmla="*/ 12610 h 181940"/>
              <a:gd name="connsiteX7" fmla="*/ 76769 w 76769"/>
              <a:gd name="connsiteY7" fmla="*/ 154997 h 181940"/>
              <a:gd name="connsiteX8" fmla="*/ 38980 w 76769"/>
              <a:gd name="connsiteY8" fmla="*/ 181940 h 181940"/>
              <a:gd name="connsiteX9" fmla="*/ 1191 w 76769"/>
              <a:gd name="connsiteY9" fmla="*/ 154997 h 181940"/>
              <a:gd name="connsiteX0" fmla="*/ 1191 w 77087"/>
              <a:gd name="connsiteY0" fmla="*/ 154997 h 181940"/>
              <a:gd name="connsiteX1" fmla="*/ 1191 w 77087"/>
              <a:gd name="connsiteY1" fmla="*/ 154984 h 181940"/>
              <a:gd name="connsiteX2" fmla="*/ 1 w 77087"/>
              <a:gd name="connsiteY2" fmla="*/ 152935 h 181940"/>
              <a:gd name="connsiteX3" fmla="*/ 0 w 77087"/>
              <a:gd name="connsiteY3" fmla="*/ 10548 h 181940"/>
              <a:gd name="connsiteX4" fmla="*/ 75578 w 77087"/>
              <a:gd name="connsiteY4" fmla="*/ 10548 h 181940"/>
              <a:gd name="connsiteX5" fmla="*/ 75578 w 77087"/>
              <a:gd name="connsiteY5" fmla="*/ 10561 h 181940"/>
              <a:gd name="connsiteX6" fmla="*/ 77087 w 77087"/>
              <a:gd name="connsiteY6" fmla="*/ 17925 h 181940"/>
              <a:gd name="connsiteX7" fmla="*/ 76769 w 77087"/>
              <a:gd name="connsiteY7" fmla="*/ 154997 h 181940"/>
              <a:gd name="connsiteX8" fmla="*/ 38980 w 77087"/>
              <a:gd name="connsiteY8" fmla="*/ 181940 h 181940"/>
              <a:gd name="connsiteX9" fmla="*/ 1191 w 77087"/>
              <a:gd name="connsiteY9" fmla="*/ 154997 h 181940"/>
              <a:gd name="connsiteX0" fmla="*/ 1191 w 76769"/>
              <a:gd name="connsiteY0" fmla="*/ 154997 h 181940"/>
              <a:gd name="connsiteX1" fmla="*/ 1191 w 76769"/>
              <a:gd name="connsiteY1" fmla="*/ 154984 h 181940"/>
              <a:gd name="connsiteX2" fmla="*/ 1 w 76769"/>
              <a:gd name="connsiteY2" fmla="*/ 152935 h 181940"/>
              <a:gd name="connsiteX3" fmla="*/ 0 w 76769"/>
              <a:gd name="connsiteY3" fmla="*/ 10548 h 181940"/>
              <a:gd name="connsiteX4" fmla="*/ 75578 w 76769"/>
              <a:gd name="connsiteY4" fmla="*/ 10548 h 181940"/>
              <a:gd name="connsiteX5" fmla="*/ 75578 w 76769"/>
              <a:gd name="connsiteY5" fmla="*/ 10561 h 181940"/>
              <a:gd name="connsiteX6" fmla="*/ 76769 w 76769"/>
              <a:gd name="connsiteY6" fmla="*/ 154997 h 181940"/>
              <a:gd name="connsiteX7" fmla="*/ 38980 w 76769"/>
              <a:gd name="connsiteY7" fmla="*/ 181940 h 181940"/>
              <a:gd name="connsiteX8" fmla="*/ 1191 w 76769"/>
              <a:gd name="connsiteY8" fmla="*/ 154997 h 181940"/>
              <a:gd name="connsiteX0" fmla="*/ 1191 w 76769"/>
              <a:gd name="connsiteY0" fmla="*/ 144450 h 171393"/>
              <a:gd name="connsiteX1" fmla="*/ 1191 w 76769"/>
              <a:gd name="connsiteY1" fmla="*/ 144437 h 171393"/>
              <a:gd name="connsiteX2" fmla="*/ 1 w 76769"/>
              <a:gd name="connsiteY2" fmla="*/ 142388 h 171393"/>
              <a:gd name="connsiteX3" fmla="*/ 0 w 76769"/>
              <a:gd name="connsiteY3" fmla="*/ 1 h 171393"/>
              <a:gd name="connsiteX4" fmla="*/ 75578 w 76769"/>
              <a:gd name="connsiteY4" fmla="*/ 1 h 171393"/>
              <a:gd name="connsiteX5" fmla="*/ 75578 w 76769"/>
              <a:gd name="connsiteY5" fmla="*/ 14 h 171393"/>
              <a:gd name="connsiteX6" fmla="*/ 76769 w 76769"/>
              <a:gd name="connsiteY6" fmla="*/ 144450 h 171393"/>
              <a:gd name="connsiteX7" fmla="*/ 38980 w 76769"/>
              <a:gd name="connsiteY7" fmla="*/ 171393 h 171393"/>
              <a:gd name="connsiteX8" fmla="*/ 1191 w 76769"/>
              <a:gd name="connsiteY8" fmla="*/ 144450 h 171393"/>
              <a:gd name="connsiteX0" fmla="*/ 1191 w 76854"/>
              <a:gd name="connsiteY0" fmla="*/ 144450 h 171393"/>
              <a:gd name="connsiteX1" fmla="*/ 1191 w 76854"/>
              <a:gd name="connsiteY1" fmla="*/ 144437 h 171393"/>
              <a:gd name="connsiteX2" fmla="*/ 1 w 76854"/>
              <a:gd name="connsiteY2" fmla="*/ 142388 h 171393"/>
              <a:gd name="connsiteX3" fmla="*/ 0 w 76854"/>
              <a:gd name="connsiteY3" fmla="*/ 1 h 171393"/>
              <a:gd name="connsiteX4" fmla="*/ 75578 w 76854"/>
              <a:gd name="connsiteY4" fmla="*/ 1 h 171393"/>
              <a:gd name="connsiteX5" fmla="*/ 76854 w 76854"/>
              <a:gd name="connsiteY5" fmla="*/ 21274 h 171393"/>
              <a:gd name="connsiteX6" fmla="*/ 76769 w 76854"/>
              <a:gd name="connsiteY6" fmla="*/ 144450 h 171393"/>
              <a:gd name="connsiteX7" fmla="*/ 38980 w 76854"/>
              <a:gd name="connsiteY7" fmla="*/ 171393 h 171393"/>
              <a:gd name="connsiteX8" fmla="*/ 1191 w 76854"/>
              <a:gd name="connsiteY8" fmla="*/ 144450 h 171393"/>
              <a:gd name="connsiteX0" fmla="*/ 1191 w 76769"/>
              <a:gd name="connsiteY0" fmla="*/ 144450 h 171393"/>
              <a:gd name="connsiteX1" fmla="*/ 1191 w 76769"/>
              <a:gd name="connsiteY1" fmla="*/ 144437 h 171393"/>
              <a:gd name="connsiteX2" fmla="*/ 1 w 76769"/>
              <a:gd name="connsiteY2" fmla="*/ 142388 h 171393"/>
              <a:gd name="connsiteX3" fmla="*/ 0 w 76769"/>
              <a:gd name="connsiteY3" fmla="*/ 1 h 171393"/>
              <a:gd name="connsiteX4" fmla="*/ 75578 w 76769"/>
              <a:gd name="connsiteY4" fmla="*/ 1 h 171393"/>
              <a:gd name="connsiteX5" fmla="*/ 46069 w 76769"/>
              <a:gd name="connsiteY5" fmla="*/ 6053 h 171393"/>
              <a:gd name="connsiteX6" fmla="*/ 76769 w 76769"/>
              <a:gd name="connsiteY6" fmla="*/ 144450 h 171393"/>
              <a:gd name="connsiteX7" fmla="*/ 38980 w 76769"/>
              <a:gd name="connsiteY7" fmla="*/ 171393 h 171393"/>
              <a:gd name="connsiteX8" fmla="*/ 1191 w 76769"/>
              <a:gd name="connsiteY8" fmla="*/ 144450 h 171393"/>
              <a:gd name="connsiteX0" fmla="*/ 1191 w 83348"/>
              <a:gd name="connsiteY0" fmla="*/ 144450 h 171409"/>
              <a:gd name="connsiteX1" fmla="*/ 1191 w 83348"/>
              <a:gd name="connsiteY1" fmla="*/ 144437 h 171409"/>
              <a:gd name="connsiteX2" fmla="*/ 1 w 83348"/>
              <a:gd name="connsiteY2" fmla="*/ 142388 h 171409"/>
              <a:gd name="connsiteX3" fmla="*/ 0 w 83348"/>
              <a:gd name="connsiteY3" fmla="*/ 1 h 171409"/>
              <a:gd name="connsiteX4" fmla="*/ 75578 w 83348"/>
              <a:gd name="connsiteY4" fmla="*/ 1 h 171409"/>
              <a:gd name="connsiteX5" fmla="*/ 76769 w 83348"/>
              <a:gd name="connsiteY5" fmla="*/ 144450 h 171409"/>
              <a:gd name="connsiteX6" fmla="*/ 38980 w 83348"/>
              <a:gd name="connsiteY6" fmla="*/ 171393 h 171409"/>
              <a:gd name="connsiteX7" fmla="*/ 1191 w 83348"/>
              <a:gd name="connsiteY7" fmla="*/ 144450 h 171409"/>
              <a:gd name="connsiteX0" fmla="*/ 1191 w 83252"/>
              <a:gd name="connsiteY0" fmla="*/ 144450 h 171393"/>
              <a:gd name="connsiteX1" fmla="*/ 1191 w 83252"/>
              <a:gd name="connsiteY1" fmla="*/ 144437 h 171393"/>
              <a:gd name="connsiteX2" fmla="*/ 1 w 83252"/>
              <a:gd name="connsiteY2" fmla="*/ 142388 h 171393"/>
              <a:gd name="connsiteX3" fmla="*/ 0 w 83252"/>
              <a:gd name="connsiteY3" fmla="*/ 1 h 171393"/>
              <a:gd name="connsiteX4" fmla="*/ 75578 w 83252"/>
              <a:gd name="connsiteY4" fmla="*/ 1 h 171393"/>
              <a:gd name="connsiteX5" fmla="*/ 79875 w 83252"/>
              <a:gd name="connsiteY5" fmla="*/ 35918 h 171393"/>
              <a:gd name="connsiteX6" fmla="*/ 76769 w 83252"/>
              <a:gd name="connsiteY6" fmla="*/ 144450 h 171393"/>
              <a:gd name="connsiteX7" fmla="*/ 38980 w 83252"/>
              <a:gd name="connsiteY7" fmla="*/ 171393 h 171393"/>
              <a:gd name="connsiteX8" fmla="*/ 1191 w 83252"/>
              <a:gd name="connsiteY8" fmla="*/ 144450 h 171393"/>
              <a:gd name="connsiteX0" fmla="*/ 1191 w 83252"/>
              <a:gd name="connsiteY0" fmla="*/ 144450 h 171393"/>
              <a:gd name="connsiteX1" fmla="*/ 1191 w 83252"/>
              <a:gd name="connsiteY1" fmla="*/ 144437 h 171393"/>
              <a:gd name="connsiteX2" fmla="*/ 1 w 83252"/>
              <a:gd name="connsiteY2" fmla="*/ 142388 h 171393"/>
              <a:gd name="connsiteX3" fmla="*/ 0 w 83252"/>
              <a:gd name="connsiteY3" fmla="*/ 1 h 171393"/>
              <a:gd name="connsiteX4" fmla="*/ 75578 w 83252"/>
              <a:gd name="connsiteY4" fmla="*/ 1 h 171393"/>
              <a:gd name="connsiteX5" fmla="*/ 79875 w 83252"/>
              <a:gd name="connsiteY5" fmla="*/ 35918 h 171393"/>
              <a:gd name="connsiteX6" fmla="*/ 76769 w 83252"/>
              <a:gd name="connsiteY6" fmla="*/ 144450 h 171393"/>
              <a:gd name="connsiteX7" fmla="*/ 38980 w 83252"/>
              <a:gd name="connsiteY7" fmla="*/ 171393 h 171393"/>
              <a:gd name="connsiteX8" fmla="*/ 1191 w 83252"/>
              <a:gd name="connsiteY8" fmla="*/ 144450 h 171393"/>
              <a:gd name="connsiteX0" fmla="*/ 1191 w 83252"/>
              <a:gd name="connsiteY0" fmla="*/ 144450 h 171393"/>
              <a:gd name="connsiteX1" fmla="*/ 1191 w 83252"/>
              <a:gd name="connsiteY1" fmla="*/ 144437 h 171393"/>
              <a:gd name="connsiteX2" fmla="*/ 1 w 83252"/>
              <a:gd name="connsiteY2" fmla="*/ 142388 h 171393"/>
              <a:gd name="connsiteX3" fmla="*/ 0 w 83252"/>
              <a:gd name="connsiteY3" fmla="*/ 1 h 171393"/>
              <a:gd name="connsiteX4" fmla="*/ 75578 w 83252"/>
              <a:gd name="connsiteY4" fmla="*/ 1 h 171393"/>
              <a:gd name="connsiteX5" fmla="*/ 79875 w 83252"/>
              <a:gd name="connsiteY5" fmla="*/ 35918 h 171393"/>
              <a:gd name="connsiteX6" fmla="*/ 79260 w 83252"/>
              <a:gd name="connsiteY6" fmla="*/ 96764 h 171393"/>
              <a:gd name="connsiteX7" fmla="*/ 76769 w 83252"/>
              <a:gd name="connsiteY7" fmla="*/ 144450 h 171393"/>
              <a:gd name="connsiteX8" fmla="*/ 38980 w 83252"/>
              <a:gd name="connsiteY8" fmla="*/ 171393 h 171393"/>
              <a:gd name="connsiteX9" fmla="*/ 1191 w 83252"/>
              <a:gd name="connsiteY9" fmla="*/ 144450 h 171393"/>
              <a:gd name="connsiteX0" fmla="*/ 1191 w 80882"/>
              <a:gd name="connsiteY0" fmla="*/ 144450 h 171393"/>
              <a:gd name="connsiteX1" fmla="*/ 1191 w 80882"/>
              <a:gd name="connsiteY1" fmla="*/ 144437 h 171393"/>
              <a:gd name="connsiteX2" fmla="*/ 1 w 80882"/>
              <a:gd name="connsiteY2" fmla="*/ 142388 h 171393"/>
              <a:gd name="connsiteX3" fmla="*/ 0 w 80882"/>
              <a:gd name="connsiteY3" fmla="*/ 1 h 171393"/>
              <a:gd name="connsiteX4" fmla="*/ 75578 w 80882"/>
              <a:gd name="connsiteY4" fmla="*/ 1 h 171393"/>
              <a:gd name="connsiteX5" fmla="*/ 31253 w 80882"/>
              <a:gd name="connsiteY5" fmla="*/ 61241 h 171393"/>
              <a:gd name="connsiteX6" fmla="*/ 79260 w 80882"/>
              <a:gd name="connsiteY6" fmla="*/ 96764 h 171393"/>
              <a:gd name="connsiteX7" fmla="*/ 76769 w 80882"/>
              <a:gd name="connsiteY7" fmla="*/ 144450 h 171393"/>
              <a:gd name="connsiteX8" fmla="*/ 38980 w 80882"/>
              <a:gd name="connsiteY8" fmla="*/ 171393 h 171393"/>
              <a:gd name="connsiteX9" fmla="*/ 1191 w 80882"/>
              <a:gd name="connsiteY9" fmla="*/ 144450 h 171393"/>
              <a:gd name="connsiteX0" fmla="*/ 1191 w 82524"/>
              <a:gd name="connsiteY0" fmla="*/ 144450 h 171393"/>
              <a:gd name="connsiteX1" fmla="*/ 1191 w 82524"/>
              <a:gd name="connsiteY1" fmla="*/ 144437 h 171393"/>
              <a:gd name="connsiteX2" fmla="*/ 1 w 82524"/>
              <a:gd name="connsiteY2" fmla="*/ 142388 h 171393"/>
              <a:gd name="connsiteX3" fmla="*/ 0 w 82524"/>
              <a:gd name="connsiteY3" fmla="*/ 1 h 171393"/>
              <a:gd name="connsiteX4" fmla="*/ 75578 w 82524"/>
              <a:gd name="connsiteY4" fmla="*/ 1 h 171393"/>
              <a:gd name="connsiteX5" fmla="*/ 79260 w 82524"/>
              <a:gd name="connsiteY5" fmla="*/ 96764 h 171393"/>
              <a:gd name="connsiteX6" fmla="*/ 76769 w 82524"/>
              <a:gd name="connsiteY6" fmla="*/ 144450 h 171393"/>
              <a:gd name="connsiteX7" fmla="*/ 38980 w 82524"/>
              <a:gd name="connsiteY7" fmla="*/ 171393 h 171393"/>
              <a:gd name="connsiteX8" fmla="*/ 1191 w 82524"/>
              <a:gd name="connsiteY8" fmla="*/ 144450 h 171393"/>
              <a:gd name="connsiteX0" fmla="*/ 1191 w 81470"/>
              <a:gd name="connsiteY0" fmla="*/ 144449 h 171392"/>
              <a:gd name="connsiteX1" fmla="*/ 1191 w 81470"/>
              <a:gd name="connsiteY1" fmla="*/ 144436 h 171392"/>
              <a:gd name="connsiteX2" fmla="*/ 1 w 81470"/>
              <a:gd name="connsiteY2" fmla="*/ 142387 h 171392"/>
              <a:gd name="connsiteX3" fmla="*/ 0 w 81470"/>
              <a:gd name="connsiteY3" fmla="*/ 0 h 171392"/>
              <a:gd name="connsiteX4" fmla="*/ 73834 w 81470"/>
              <a:gd name="connsiteY4" fmla="*/ 6506 h 171392"/>
              <a:gd name="connsiteX5" fmla="*/ 79260 w 81470"/>
              <a:gd name="connsiteY5" fmla="*/ 96763 h 171392"/>
              <a:gd name="connsiteX6" fmla="*/ 76769 w 81470"/>
              <a:gd name="connsiteY6" fmla="*/ 144449 h 171392"/>
              <a:gd name="connsiteX7" fmla="*/ 38980 w 81470"/>
              <a:gd name="connsiteY7" fmla="*/ 171392 h 171392"/>
              <a:gd name="connsiteX8" fmla="*/ 1191 w 81470"/>
              <a:gd name="connsiteY8" fmla="*/ 144449 h 171392"/>
              <a:gd name="connsiteX0" fmla="*/ 1191 w 81470"/>
              <a:gd name="connsiteY0" fmla="*/ 144449 h 171392"/>
              <a:gd name="connsiteX1" fmla="*/ 1191 w 81470"/>
              <a:gd name="connsiteY1" fmla="*/ 144436 h 171392"/>
              <a:gd name="connsiteX2" fmla="*/ 1 w 81470"/>
              <a:gd name="connsiteY2" fmla="*/ 142387 h 171392"/>
              <a:gd name="connsiteX3" fmla="*/ 0 w 81470"/>
              <a:gd name="connsiteY3" fmla="*/ 0 h 171392"/>
              <a:gd name="connsiteX4" fmla="*/ 73834 w 81470"/>
              <a:gd name="connsiteY4" fmla="*/ 6506 h 171392"/>
              <a:gd name="connsiteX5" fmla="*/ 79260 w 81470"/>
              <a:gd name="connsiteY5" fmla="*/ 96763 h 171392"/>
              <a:gd name="connsiteX6" fmla="*/ 78934 w 81470"/>
              <a:gd name="connsiteY6" fmla="*/ 101687 h 171392"/>
              <a:gd name="connsiteX7" fmla="*/ 76769 w 81470"/>
              <a:gd name="connsiteY7" fmla="*/ 144449 h 171392"/>
              <a:gd name="connsiteX8" fmla="*/ 38980 w 81470"/>
              <a:gd name="connsiteY8" fmla="*/ 171392 h 171392"/>
              <a:gd name="connsiteX9" fmla="*/ 1191 w 81470"/>
              <a:gd name="connsiteY9" fmla="*/ 144449 h 171392"/>
              <a:gd name="connsiteX0" fmla="*/ 1191 w 81470"/>
              <a:gd name="connsiteY0" fmla="*/ 144449 h 171392"/>
              <a:gd name="connsiteX1" fmla="*/ 1191 w 81470"/>
              <a:gd name="connsiteY1" fmla="*/ 144436 h 171392"/>
              <a:gd name="connsiteX2" fmla="*/ 1 w 81470"/>
              <a:gd name="connsiteY2" fmla="*/ 142387 h 171392"/>
              <a:gd name="connsiteX3" fmla="*/ 0 w 81470"/>
              <a:gd name="connsiteY3" fmla="*/ 0 h 171392"/>
              <a:gd name="connsiteX4" fmla="*/ 73834 w 81470"/>
              <a:gd name="connsiteY4" fmla="*/ 6506 h 171392"/>
              <a:gd name="connsiteX5" fmla="*/ 79260 w 81470"/>
              <a:gd name="connsiteY5" fmla="*/ 96763 h 171392"/>
              <a:gd name="connsiteX6" fmla="*/ 76769 w 81470"/>
              <a:gd name="connsiteY6" fmla="*/ 144449 h 171392"/>
              <a:gd name="connsiteX7" fmla="*/ 38980 w 81470"/>
              <a:gd name="connsiteY7" fmla="*/ 171392 h 171392"/>
              <a:gd name="connsiteX8" fmla="*/ 1191 w 81470"/>
              <a:gd name="connsiteY8" fmla="*/ 144449 h 171392"/>
              <a:gd name="connsiteX0" fmla="*/ 1191 w 82284"/>
              <a:gd name="connsiteY0" fmla="*/ 144449 h 171392"/>
              <a:gd name="connsiteX1" fmla="*/ 1191 w 82284"/>
              <a:gd name="connsiteY1" fmla="*/ 144436 h 171392"/>
              <a:gd name="connsiteX2" fmla="*/ 1 w 82284"/>
              <a:gd name="connsiteY2" fmla="*/ 142387 h 171392"/>
              <a:gd name="connsiteX3" fmla="*/ 0 w 82284"/>
              <a:gd name="connsiteY3" fmla="*/ 0 h 171392"/>
              <a:gd name="connsiteX4" fmla="*/ 73834 w 82284"/>
              <a:gd name="connsiteY4" fmla="*/ 6506 h 171392"/>
              <a:gd name="connsiteX5" fmla="*/ 76769 w 82284"/>
              <a:gd name="connsiteY5" fmla="*/ 144449 h 171392"/>
              <a:gd name="connsiteX6" fmla="*/ 38980 w 82284"/>
              <a:gd name="connsiteY6" fmla="*/ 171392 h 171392"/>
              <a:gd name="connsiteX7" fmla="*/ 1191 w 82284"/>
              <a:gd name="connsiteY7" fmla="*/ 144449 h 171392"/>
              <a:gd name="connsiteX0" fmla="*/ 1191 w 82284"/>
              <a:gd name="connsiteY0" fmla="*/ 144449 h 171392"/>
              <a:gd name="connsiteX1" fmla="*/ 1191 w 82284"/>
              <a:gd name="connsiteY1" fmla="*/ 144436 h 171392"/>
              <a:gd name="connsiteX2" fmla="*/ 1 w 82284"/>
              <a:gd name="connsiteY2" fmla="*/ 142387 h 171392"/>
              <a:gd name="connsiteX3" fmla="*/ 0 w 82284"/>
              <a:gd name="connsiteY3" fmla="*/ 0 h 171392"/>
              <a:gd name="connsiteX4" fmla="*/ 73834 w 82284"/>
              <a:gd name="connsiteY4" fmla="*/ 6506 h 171392"/>
              <a:gd name="connsiteX5" fmla="*/ 76769 w 82284"/>
              <a:gd name="connsiteY5" fmla="*/ 144449 h 171392"/>
              <a:gd name="connsiteX6" fmla="*/ 38980 w 82284"/>
              <a:gd name="connsiteY6" fmla="*/ 171392 h 171392"/>
              <a:gd name="connsiteX7" fmla="*/ 1191 w 82284"/>
              <a:gd name="connsiteY7" fmla="*/ 144449 h 171392"/>
              <a:gd name="connsiteX0" fmla="*/ 1191 w 80436"/>
              <a:gd name="connsiteY0" fmla="*/ 144449 h 171392"/>
              <a:gd name="connsiteX1" fmla="*/ 1191 w 80436"/>
              <a:gd name="connsiteY1" fmla="*/ 144436 h 171392"/>
              <a:gd name="connsiteX2" fmla="*/ 1 w 80436"/>
              <a:gd name="connsiteY2" fmla="*/ 142387 h 171392"/>
              <a:gd name="connsiteX3" fmla="*/ 0 w 80436"/>
              <a:gd name="connsiteY3" fmla="*/ 0 h 171392"/>
              <a:gd name="connsiteX4" fmla="*/ 73834 w 80436"/>
              <a:gd name="connsiteY4" fmla="*/ 6506 h 171392"/>
              <a:gd name="connsiteX5" fmla="*/ 76769 w 80436"/>
              <a:gd name="connsiteY5" fmla="*/ 144449 h 171392"/>
              <a:gd name="connsiteX6" fmla="*/ 38980 w 80436"/>
              <a:gd name="connsiteY6" fmla="*/ 171392 h 171392"/>
              <a:gd name="connsiteX7" fmla="*/ 1191 w 80436"/>
              <a:gd name="connsiteY7" fmla="*/ 144449 h 171392"/>
              <a:gd name="connsiteX0" fmla="*/ 1191 w 80436"/>
              <a:gd name="connsiteY0" fmla="*/ 144449 h 171392"/>
              <a:gd name="connsiteX1" fmla="*/ 1191 w 80436"/>
              <a:gd name="connsiteY1" fmla="*/ 144436 h 171392"/>
              <a:gd name="connsiteX2" fmla="*/ 1 w 80436"/>
              <a:gd name="connsiteY2" fmla="*/ 142387 h 171392"/>
              <a:gd name="connsiteX3" fmla="*/ 0 w 80436"/>
              <a:gd name="connsiteY3" fmla="*/ 0 h 171392"/>
              <a:gd name="connsiteX4" fmla="*/ 73834 w 80436"/>
              <a:gd name="connsiteY4" fmla="*/ 6506 h 171392"/>
              <a:gd name="connsiteX5" fmla="*/ 76769 w 80436"/>
              <a:gd name="connsiteY5" fmla="*/ 144449 h 171392"/>
              <a:gd name="connsiteX6" fmla="*/ 38980 w 80436"/>
              <a:gd name="connsiteY6" fmla="*/ 171392 h 171392"/>
              <a:gd name="connsiteX7" fmla="*/ 1191 w 80436"/>
              <a:gd name="connsiteY7" fmla="*/ 144449 h 171392"/>
              <a:gd name="connsiteX0" fmla="*/ 1191 w 76775"/>
              <a:gd name="connsiteY0" fmla="*/ 144449 h 171392"/>
              <a:gd name="connsiteX1" fmla="*/ 1191 w 76775"/>
              <a:gd name="connsiteY1" fmla="*/ 144436 h 171392"/>
              <a:gd name="connsiteX2" fmla="*/ 1 w 76775"/>
              <a:gd name="connsiteY2" fmla="*/ 142387 h 171392"/>
              <a:gd name="connsiteX3" fmla="*/ 0 w 76775"/>
              <a:gd name="connsiteY3" fmla="*/ 0 h 171392"/>
              <a:gd name="connsiteX4" fmla="*/ 73834 w 76775"/>
              <a:gd name="connsiteY4" fmla="*/ 6506 h 171392"/>
              <a:gd name="connsiteX5" fmla="*/ 76769 w 76775"/>
              <a:gd name="connsiteY5" fmla="*/ 144449 h 171392"/>
              <a:gd name="connsiteX6" fmla="*/ 38980 w 76775"/>
              <a:gd name="connsiteY6" fmla="*/ 171392 h 171392"/>
              <a:gd name="connsiteX7" fmla="*/ 1191 w 76775"/>
              <a:gd name="connsiteY7" fmla="*/ 144449 h 171392"/>
              <a:gd name="connsiteX0" fmla="*/ 1191 w 76775"/>
              <a:gd name="connsiteY0" fmla="*/ 144449 h 171392"/>
              <a:gd name="connsiteX1" fmla="*/ 1191 w 76775"/>
              <a:gd name="connsiteY1" fmla="*/ 144436 h 171392"/>
              <a:gd name="connsiteX2" fmla="*/ 1 w 76775"/>
              <a:gd name="connsiteY2" fmla="*/ 142387 h 171392"/>
              <a:gd name="connsiteX3" fmla="*/ 0 w 76775"/>
              <a:gd name="connsiteY3" fmla="*/ 0 h 171392"/>
              <a:gd name="connsiteX4" fmla="*/ 73834 w 76775"/>
              <a:gd name="connsiteY4" fmla="*/ 6506 h 171392"/>
              <a:gd name="connsiteX5" fmla="*/ 76769 w 76775"/>
              <a:gd name="connsiteY5" fmla="*/ 144449 h 171392"/>
              <a:gd name="connsiteX6" fmla="*/ 38980 w 76775"/>
              <a:gd name="connsiteY6" fmla="*/ 171392 h 171392"/>
              <a:gd name="connsiteX7" fmla="*/ 1191 w 76775"/>
              <a:gd name="connsiteY7" fmla="*/ 144449 h 171392"/>
              <a:gd name="connsiteX0" fmla="*/ 1191 w 76775"/>
              <a:gd name="connsiteY0" fmla="*/ 144449 h 171392"/>
              <a:gd name="connsiteX1" fmla="*/ 1191 w 76775"/>
              <a:gd name="connsiteY1" fmla="*/ 144436 h 171392"/>
              <a:gd name="connsiteX2" fmla="*/ 1 w 76775"/>
              <a:gd name="connsiteY2" fmla="*/ 142387 h 171392"/>
              <a:gd name="connsiteX3" fmla="*/ 0 w 76775"/>
              <a:gd name="connsiteY3" fmla="*/ 0 h 171392"/>
              <a:gd name="connsiteX4" fmla="*/ 73834 w 76775"/>
              <a:gd name="connsiteY4" fmla="*/ 6506 h 171392"/>
              <a:gd name="connsiteX5" fmla="*/ 76769 w 76775"/>
              <a:gd name="connsiteY5" fmla="*/ 144449 h 171392"/>
              <a:gd name="connsiteX6" fmla="*/ 38980 w 76775"/>
              <a:gd name="connsiteY6" fmla="*/ 171392 h 171392"/>
              <a:gd name="connsiteX7" fmla="*/ 1191 w 76775"/>
              <a:gd name="connsiteY7" fmla="*/ 144449 h 171392"/>
              <a:gd name="connsiteX0" fmla="*/ 1191 w 76782"/>
              <a:gd name="connsiteY0" fmla="*/ 144449 h 171392"/>
              <a:gd name="connsiteX1" fmla="*/ 1191 w 76782"/>
              <a:gd name="connsiteY1" fmla="*/ 144436 h 171392"/>
              <a:gd name="connsiteX2" fmla="*/ 1 w 76782"/>
              <a:gd name="connsiteY2" fmla="*/ 142387 h 171392"/>
              <a:gd name="connsiteX3" fmla="*/ 0 w 76782"/>
              <a:gd name="connsiteY3" fmla="*/ 0 h 171392"/>
              <a:gd name="connsiteX4" fmla="*/ 75246 w 76782"/>
              <a:gd name="connsiteY4" fmla="*/ 8952 h 171392"/>
              <a:gd name="connsiteX5" fmla="*/ 76769 w 76782"/>
              <a:gd name="connsiteY5" fmla="*/ 144449 h 171392"/>
              <a:gd name="connsiteX6" fmla="*/ 38980 w 76782"/>
              <a:gd name="connsiteY6" fmla="*/ 171392 h 171392"/>
              <a:gd name="connsiteX7" fmla="*/ 1191 w 76782"/>
              <a:gd name="connsiteY7" fmla="*/ 144449 h 171392"/>
              <a:gd name="connsiteX0" fmla="*/ 1191 w 76782"/>
              <a:gd name="connsiteY0" fmla="*/ 144449 h 171392"/>
              <a:gd name="connsiteX1" fmla="*/ 1191 w 76782"/>
              <a:gd name="connsiteY1" fmla="*/ 144436 h 171392"/>
              <a:gd name="connsiteX2" fmla="*/ 1 w 76782"/>
              <a:gd name="connsiteY2" fmla="*/ 142387 h 171392"/>
              <a:gd name="connsiteX3" fmla="*/ 0 w 76782"/>
              <a:gd name="connsiteY3" fmla="*/ 0 h 171392"/>
              <a:gd name="connsiteX4" fmla="*/ 75246 w 76782"/>
              <a:gd name="connsiteY4" fmla="*/ 8952 h 171392"/>
              <a:gd name="connsiteX5" fmla="*/ 76769 w 76782"/>
              <a:gd name="connsiteY5" fmla="*/ 144449 h 171392"/>
              <a:gd name="connsiteX6" fmla="*/ 38980 w 76782"/>
              <a:gd name="connsiteY6" fmla="*/ 171392 h 171392"/>
              <a:gd name="connsiteX7" fmla="*/ 1191 w 76782"/>
              <a:gd name="connsiteY7" fmla="*/ 144449 h 171392"/>
              <a:gd name="connsiteX0" fmla="*/ 1191 w 76782"/>
              <a:gd name="connsiteY0" fmla="*/ 144449 h 171392"/>
              <a:gd name="connsiteX1" fmla="*/ 1191 w 76782"/>
              <a:gd name="connsiteY1" fmla="*/ 144436 h 171392"/>
              <a:gd name="connsiteX2" fmla="*/ 1 w 76782"/>
              <a:gd name="connsiteY2" fmla="*/ 142387 h 171392"/>
              <a:gd name="connsiteX3" fmla="*/ 0 w 76782"/>
              <a:gd name="connsiteY3" fmla="*/ 0 h 171392"/>
              <a:gd name="connsiteX4" fmla="*/ 75246 w 76782"/>
              <a:gd name="connsiteY4" fmla="*/ 8952 h 171392"/>
              <a:gd name="connsiteX5" fmla="*/ 76769 w 76782"/>
              <a:gd name="connsiteY5" fmla="*/ 144449 h 171392"/>
              <a:gd name="connsiteX6" fmla="*/ 38980 w 76782"/>
              <a:gd name="connsiteY6" fmla="*/ 171392 h 171392"/>
              <a:gd name="connsiteX7" fmla="*/ 1191 w 76782"/>
              <a:gd name="connsiteY7" fmla="*/ 144449 h 17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82" h="171392">
                <a:moveTo>
                  <a:pt x="1191" y="144449"/>
                </a:moveTo>
                <a:lnTo>
                  <a:pt x="1191" y="144436"/>
                </a:lnTo>
                <a:lnTo>
                  <a:pt x="1" y="142387"/>
                </a:lnTo>
                <a:cubicBezTo>
                  <a:pt x="1" y="94925"/>
                  <a:pt x="0" y="47462"/>
                  <a:pt x="0" y="0"/>
                </a:cubicBezTo>
                <a:cubicBezTo>
                  <a:pt x="104" y="29475"/>
                  <a:pt x="64000" y="36705"/>
                  <a:pt x="75246" y="8952"/>
                </a:cubicBezTo>
                <a:cubicBezTo>
                  <a:pt x="75863" y="51472"/>
                  <a:pt x="76914" y="113512"/>
                  <a:pt x="76769" y="144449"/>
                </a:cubicBezTo>
                <a:cubicBezTo>
                  <a:pt x="76000" y="153122"/>
                  <a:pt x="59850" y="171392"/>
                  <a:pt x="38980" y="171392"/>
                </a:cubicBezTo>
                <a:cubicBezTo>
                  <a:pt x="18110" y="171392"/>
                  <a:pt x="1191" y="159329"/>
                  <a:pt x="1191" y="144449"/>
                </a:cubicBezTo>
                <a:close/>
              </a:path>
            </a:pathLst>
          </a:custGeom>
          <a:gradFill flip="none" rotWithShape="1">
            <a:gsLst>
              <a:gs pos="21000">
                <a:schemeClr val="accent2">
                  <a:lumMod val="0"/>
                  <a:lumOff val="100000"/>
                </a:schemeClr>
              </a:gs>
              <a:gs pos="74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021" name="Freeform: Shape 1020">
            <a:extLst>
              <a:ext uri="{FF2B5EF4-FFF2-40B4-BE49-F238E27FC236}">
                <a16:creationId xmlns:a16="http://schemas.microsoft.com/office/drawing/2014/main" id="{381E5A5E-D68A-4C23-BBF2-B86024E3640A}"/>
              </a:ext>
            </a:extLst>
          </p:cNvPr>
          <p:cNvSpPr/>
          <p:nvPr/>
        </p:nvSpPr>
        <p:spPr bwMode="gray">
          <a:xfrm rot="7200000">
            <a:off x="9169024" y="3907759"/>
            <a:ext cx="93254" cy="608710"/>
          </a:xfrm>
          <a:custGeom>
            <a:avLst/>
            <a:gdLst>
              <a:gd name="connsiteX0" fmla="*/ 0 w 81427"/>
              <a:gd name="connsiteY0" fmla="*/ 624498 h 653526"/>
              <a:gd name="connsiteX1" fmla="*/ 1 w 81427"/>
              <a:gd name="connsiteY1" fmla="*/ 29030 h 653526"/>
              <a:gd name="connsiteX2" fmla="*/ 0 w 81427"/>
              <a:gd name="connsiteY2" fmla="*/ 29028 h 653526"/>
              <a:gd name="connsiteX3" fmla="*/ 40713 w 81427"/>
              <a:gd name="connsiteY3" fmla="*/ 0 h 653526"/>
              <a:gd name="connsiteX4" fmla="*/ 40714 w 81427"/>
              <a:gd name="connsiteY4" fmla="*/ 0 h 653526"/>
              <a:gd name="connsiteX5" fmla="*/ 40714 w 81427"/>
              <a:gd name="connsiteY5" fmla="*/ 0 h 653526"/>
              <a:gd name="connsiteX6" fmla="*/ 81427 w 81427"/>
              <a:gd name="connsiteY6" fmla="*/ 29028 h 653526"/>
              <a:gd name="connsiteX7" fmla="*/ 81426 w 81427"/>
              <a:gd name="connsiteY7" fmla="*/ 624498 h 653526"/>
              <a:gd name="connsiteX8" fmla="*/ 40713 w 81427"/>
              <a:gd name="connsiteY8" fmla="*/ 653526 h 653526"/>
              <a:gd name="connsiteX9" fmla="*/ 0 w 81427"/>
              <a:gd name="connsiteY9" fmla="*/ 624498 h 653526"/>
              <a:gd name="connsiteX0" fmla="*/ 0 w 81427"/>
              <a:gd name="connsiteY0" fmla="*/ 624498 h 653526"/>
              <a:gd name="connsiteX1" fmla="*/ 1 w 81427"/>
              <a:gd name="connsiteY1" fmla="*/ 29030 h 653526"/>
              <a:gd name="connsiteX2" fmla="*/ 0 w 81427"/>
              <a:gd name="connsiteY2" fmla="*/ 29028 h 653526"/>
              <a:gd name="connsiteX3" fmla="*/ 40713 w 81427"/>
              <a:gd name="connsiteY3" fmla="*/ 0 h 653526"/>
              <a:gd name="connsiteX4" fmla="*/ 40714 w 81427"/>
              <a:gd name="connsiteY4" fmla="*/ 0 h 653526"/>
              <a:gd name="connsiteX5" fmla="*/ 81427 w 81427"/>
              <a:gd name="connsiteY5" fmla="*/ 29028 h 653526"/>
              <a:gd name="connsiteX6" fmla="*/ 81426 w 81427"/>
              <a:gd name="connsiteY6" fmla="*/ 624498 h 653526"/>
              <a:gd name="connsiteX7" fmla="*/ 40713 w 81427"/>
              <a:gd name="connsiteY7" fmla="*/ 653526 h 653526"/>
              <a:gd name="connsiteX8" fmla="*/ 0 w 81427"/>
              <a:gd name="connsiteY8" fmla="*/ 624498 h 653526"/>
              <a:gd name="connsiteX0" fmla="*/ 0 w 81427"/>
              <a:gd name="connsiteY0" fmla="*/ 624498 h 653526"/>
              <a:gd name="connsiteX1" fmla="*/ 1 w 81427"/>
              <a:gd name="connsiteY1" fmla="*/ 29030 h 653526"/>
              <a:gd name="connsiteX2" fmla="*/ 0 w 81427"/>
              <a:gd name="connsiteY2" fmla="*/ 29028 h 653526"/>
              <a:gd name="connsiteX3" fmla="*/ 40713 w 81427"/>
              <a:gd name="connsiteY3" fmla="*/ 0 h 653526"/>
              <a:gd name="connsiteX4" fmla="*/ 81427 w 81427"/>
              <a:gd name="connsiteY4" fmla="*/ 29028 h 653526"/>
              <a:gd name="connsiteX5" fmla="*/ 81426 w 81427"/>
              <a:gd name="connsiteY5" fmla="*/ 624498 h 653526"/>
              <a:gd name="connsiteX6" fmla="*/ 40713 w 81427"/>
              <a:gd name="connsiteY6" fmla="*/ 653526 h 653526"/>
              <a:gd name="connsiteX7" fmla="*/ 0 w 81427"/>
              <a:gd name="connsiteY7" fmla="*/ 624498 h 653526"/>
              <a:gd name="connsiteX0" fmla="*/ 0 w 87458"/>
              <a:gd name="connsiteY0" fmla="*/ 639578 h 668606"/>
              <a:gd name="connsiteX1" fmla="*/ 1 w 87458"/>
              <a:gd name="connsiteY1" fmla="*/ 44110 h 668606"/>
              <a:gd name="connsiteX2" fmla="*/ 0 w 87458"/>
              <a:gd name="connsiteY2" fmla="*/ 44108 h 668606"/>
              <a:gd name="connsiteX3" fmla="*/ 81427 w 87458"/>
              <a:gd name="connsiteY3" fmla="*/ 44108 h 668606"/>
              <a:gd name="connsiteX4" fmla="*/ 81426 w 87458"/>
              <a:gd name="connsiteY4" fmla="*/ 639578 h 668606"/>
              <a:gd name="connsiteX5" fmla="*/ 40713 w 87458"/>
              <a:gd name="connsiteY5" fmla="*/ 668606 h 668606"/>
              <a:gd name="connsiteX6" fmla="*/ 0 w 87458"/>
              <a:gd name="connsiteY6" fmla="*/ 639578 h 668606"/>
              <a:gd name="connsiteX0" fmla="*/ 1891 w 89489"/>
              <a:gd name="connsiteY0" fmla="*/ 628406 h 657434"/>
              <a:gd name="connsiteX1" fmla="*/ 1892 w 89489"/>
              <a:gd name="connsiteY1" fmla="*/ 32938 h 657434"/>
              <a:gd name="connsiteX2" fmla="*/ 0 w 89489"/>
              <a:gd name="connsiteY2" fmla="*/ 72522 h 657434"/>
              <a:gd name="connsiteX3" fmla="*/ 83318 w 89489"/>
              <a:gd name="connsiteY3" fmla="*/ 32936 h 657434"/>
              <a:gd name="connsiteX4" fmla="*/ 83317 w 89489"/>
              <a:gd name="connsiteY4" fmla="*/ 628406 h 657434"/>
              <a:gd name="connsiteX5" fmla="*/ 42604 w 89489"/>
              <a:gd name="connsiteY5" fmla="*/ 657434 h 657434"/>
              <a:gd name="connsiteX6" fmla="*/ 1891 w 89489"/>
              <a:gd name="connsiteY6" fmla="*/ 628406 h 657434"/>
              <a:gd name="connsiteX0" fmla="*/ 1891 w 83318"/>
              <a:gd name="connsiteY0" fmla="*/ 604748 h 633776"/>
              <a:gd name="connsiteX1" fmla="*/ 1892 w 83318"/>
              <a:gd name="connsiteY1" fmla="*/ 9280 h 633776"/>
              <a:gd name="connsiteX2" fmla="*/ 0 w 83318"/>
              <a:gd name="connsiteY2" fmla="*/ 48864 h 633776"/>
              <a:gd name="connsiteX3" fmla="*/ 83318 w 83318"/>
              <a:gd name="connsiteY3" fmla="*/ 9278 h 633776"/>
              <a:gd name="connsiteX4" fmla="*/ 83317 w 83318"/>
              <a:gd name="connsiteY4" fmla="*/ 604748 h 633776"/>
              <a:gd name="connsiteX5" fmla="*/ 42604 w 83318"/>
              <a:gd name="connsiteY5" fmla="*/ 633776 h 633776"/>
              <a:gd name="connsiteX6" fmla="*/ 1891 w 83318"/>
              <a:gd name="connsiteY6" fmla="*/ 604748 h 633776"/>
              <a:gd name="connsiteX0" fmla="*/ 1891 w 83318"/>
              <a:gd name="connsiteY0" fmla="*/ 604748 h 633776"/>
              <a:gd name="connsiteX1" fmla="*/ 1892 w 83318"/>
              <a:gd name="connsiteY1" fmla="*/ 9280 h 633776"/>
              <a:gd name="connsiteX2" fmla="*/ 0 w 83318"/>
              <a:gd name="connsiteY2" fmla="*/ 48864 h 633776"/>
              <a:gd name="connsiteX3" fmla="*/ 83318 w 83318"/>
              <a:gd name="connsiteY3" fmla="*/ 9278 h 633776"/>
              <a:gd name="connsiteX4" fmla="*/ 83317 w 83318"/>
              <a:gd name="connsiteY4" fmla="*/ 604748 h 633776"/>
              <a:gd name="connsiteX5" fmla="*/ 42604 w 83318"/>
              <a:gd name="connsiteY5" fmla="*/ 633776 h 633776"/>
              <a:gd name="connsiteX6" fmla="*/ 1891 w 83318"/>
              <a:gd name="connsiteY6" fmla="*/ 604748 h 633776"/>
              <a:gd name="connsiteX0" fmla="*/ 1891 w 83318"/>
              <a:gd name="connsiteY0" fmla="*/ 595470 h 624498"/>
              <a:gd name="connsiteX1" fmla="*/ 1892 w 83318"/>
              <a:gd name="connsiteY1" fmla="*/ 2 h 624498"/>
              <a:gd name="connsiteX2" fmla="*/ 0 w 83318"/>
              <a:gd name="connsiteY2" fmla="*/ 39586 h 624498"/>
              <a:gd name="connsiteX3" fmla="*/ 83318 w 83318"/>
              <a:gd name="connsiteY3" fmla="*/ 0 h 624498"/>
              <a:gd name="connsiteX4" fmla="*/ 83317 w 83318"/>
              <a:gd name="connsiteY4" fmla="*/ 595470 h 624498"/>
              <a:gd name="connsiteX5" fmla="*/ 42604 w 83318"/>
              <a:gd name="connsiteY5" fmla="*/ 624498 h 624498"/>
              <a:gd name="connsiteX6" fmla="*/ 1891 w 83318"/>
              <a:gd name="connsiteY6" fmla="*/ 595470 h 624498"/>
              <a:gd name="connsiteX0" fmla="*/ 9137 w 90564"/>
              <a:gd name="connsiteY0" fmla="*/ 595470 h 624498"/>
              <a:gd name="connsiteX1" fmla="*/ 7246 w 90564"/>
              <a:gd name="connsiteY1" fmla="*/ 39586 h 624498"/>
              <a:gd name="connsiteX2" fmla="*/ 90564 w 90564"/>
              <a:gd name="connsiteY2" fmla="*/ 0 h 624498"/>
              <a:gd name="connsiteX3" fmla="*/ 90563 w 90564"/>
              <a:gd name="connsiteY3" fmla="*/ 595470 h 624498"/>
              <a:gd name="connsiteX4" fmla="*/ 49850 w 90564"/>
              <a:gd name="connsiteY4" fmla="*/ 624498 h 624498"/>
              <a:gd name="connsiteX5" fmla="*/ 9137 w 90564"/>
              <a:gd name="connsiteY5" fmla="*/ 595470 h 624498"/>
              <a:gd name="connsiteX0" fmla="*/ 9137 w 90563"/>
              <a:gd name="connsiteY0" fmla="*/ 610225 h 639253"/>
              <a:gd name="connsiteX1" fmla="*/ 7246 w 90563"/>
              <a:gd name="connsiteY1" fmla="*/ 54341 h 639253"/>
              <a:gd name="connsiteX2" fmla="*/ 87545 w 90563"/>
              <a:gd name="connsiteY2" fmla="*/ 0 h 639253"/>
              <a:gd name="connsiteX3" fmla="*/ 90563 w 90563"/>
              <a:gd name="connsiteY3" fmla="*/ 610225 h 639253"/>
              <a:gd name="connsiteX4" fmla="*/ 49850 w 90563"/>
              <a:gd name="connsiteY4" fmla="*/ 639253 h 639253"/>
              <a:gd name="connsiteX5" fmla="*/ 9137 w 90563"/>
              <a:gd name="connsiteY5" fmla="*/ 610225 h 639253"/>
              <a:gd name="connsiteX0" fmla="*/ 17194 w 98620"/>
              <a:gd name="connsiteY0" fmla="*/ 654798 h 683826"/>
              <a:gd name="connsiteX1" fmla="*/ 15303 w 98620"/>
              <a:gd name="connsiteY1" fmla="*/ 98914 h 683826"/>
              <a:gd name="connsiteX2" fmla="*/ 3601 w 98620"/>
              <a:gd name="connsiteY2" fmla="*/ 41996 h 683826"/>
              <a:gd name="connsiteX3" fmla="*/ 95602 w 98620"/>
              <a:gd name="connsiteY3" fmla="*/ 44573 h 683826"/>
              <a:gd name="connsiteX4" fmla="*/ 98620 w 98620"/>
              <a:gd name="connsiteY4" fmla="*/ 654798 h 683826"/>
              <a:gd name="connsiteX5" fmla="*/ 57907 w 98620"/>
              <a:gd name="connsiteY5" fmla="*/ 683826 h 683826"/>
              <a:gd name="connsiteX6" fmla="*/ 17194 w 98620"/>
              <a:gd name="connsiteY6" fmla="*/ 654798 h 683826"/>
              <a:gd name="connsiteX0" fmla="*/ 9138 w 90564"/>
              <a:gd name="connsiteY0" fmla="*/ 660564 h 689592"/>
              <a:gd name="connsiteX1" fmla="*/ 7247 w 90564"/>
              <a:gd name="connsiteY1" fmla="*/ 104680 h 689592"/>
              <a:gd name="connsiteX2" fmla="*/ 87546 w 90564"/>
              <a:gd name="connsiteY2" fmla="*/ 50339 h 689592"/>
              <a:gd name="connsiteX3" fmla="*/ 90564 w 90564"/>
              <a:gd name="connsiteY3" fmla="*/ 660564 h 689592"/>
              <a:gd name="connsiteX4" fmla="*/ 49851 w 90564"/>
              <a:gd name="connsiteY4" fmla="*/ 689592 h 689592"/>
              <a:gd name="connsiteX5" fmla="*/ 9138 w 90564"/>
              <a:gd name="connsiteY5" fmla="*/ 660564 h 689592"/>
              <a:gd name="connsiteX0" fmla="*/ 9138 w 90564"/>
              <a:gd name="connsiteY0" fmla="*/ 614285 h 643313"/>
              <a:gd name="connsiteX1" fmla="*/ 7247 w 90564"/>
              <a:gd name="connsiteY1" fmla="*/ 58401 h 643313"/>
              <a:gd name="connsiteX2" fmla="*/ 87546 w 90564"/>
              <a:gd name="connsiteY2" fmla="*/ 4060 h 643313"/>
              <a:gd name="connsiteX3" fmla="*/ 90564 w 90564"/>
              <a:gd name="connsiteY3" fmla="*/ 614285 h 643313"/>
              <a:gd name="connsiteX4" fmla="*/ 49851 w 90564"/>
              <a:gd name="connsiteY4" fmla="*/ 643313 h 643313"/>
              <a:gd name="connsiteX5" fmla="*/ 9138 w 90564"/>
              <a:gd name="connsiteY5" fmla="*/ 614285 h 643313"/>
              <a:gd name="connsiteX0" fmla="*/ 9138 w 90564"/>
              <a:gd name="connsiteY0" fmla="*/ 610225 h 639253"/>
              <a:gd name="connsiteX1" fmla="*/ 7247 w 90564"/>
              <a:gd name="connsiteY1" fmla="*/ 54341 h 639253"/>
              <a:gd name="connsiteX2" fmla="*/ 87546 w 90564"/>
              <a:gd name="connsiteY2" fmla="*/ 0 h 639253"/>
              <a:gd name="connsiteX3" fmla="*/ 90564 w 90564"/>
              <a:gd name="connsiteY3" fmla="*/ 610225 h 639253"/>
              <a:gd name="connsiteX4" fmla="*/ 49851 w 90564"/>
              <a:gd name="connsiteY4" fmla="*/ 639253 h 639253"/>
              <a:gd name="connsiteX5" fmla="*/ 9138 w 90564"/>
              <a:gd name="connsiteY5" fmla="*/ 610225 h 639253"/>
              <a:gd name="connsiteX0" fmla="*/ 9138 w 90564"/>
              <a:gd name="connsiteY0" fmla="*/ 610225 h 639253"/>
              <a:gd name="connsiteX1" fmla="*/ 7247 w 90564"/>
              <a:gd name="connsiteY1" fmla="*/ 54341 h 639253"/>
              <a:gd name="connsiteX2" fmla="*/ 87546 w 90564"/>
              <a:gd name="connsiteY2" fmla="*/ 0 h 639253"/>
              <a:gd name="connsiteX3" fmla="*/ 90564 w 90564"/>
              <a:gd name="connsiteY3" fmla="*/ 610225 h 639253"/>
              <a:gd name="connsiteX4" fmla="*/ 49851 w 90564"/>
              <a:gd name="connsiteY4" fmla="*/ 639253 h 639253"/>
              <a:gd name="connsiteX5" fmla="*/ 9138 w 90564"/>
              <a:gd name="connsiteY5" fmla="*/ 610225 h 639253"/>
              <a:gd name="connsiteX0" fmla="*/ 9138 w 90564"/>
              <a:gd name="connsiteY0" fmla="*/ 610225 h 639253"/>
              <a:gd name="connsiteX1" fmla="*/ 7247 w 90564"/>
              <a:gd name="connsiteY1" fmla="*/ 54341 h 639253"/>
              <a:gd name="connsiteX2" fmla="*/ 87546 w 90564"/>
              <a:gd name="connsiteY2" fmla="*/ 0 h 639253"/>
              <a:gd name="connsiteX3" fmla="*/ 90564 w 90564"/>
              <a:gd name="connsiteY3" fmla="*/ 610225 h 639253"/>
              <a:gd name="connsiteX4" fmla="*/ 49851 w 90564"/>
              <a:gd name="connsiteY4" fmla="*/ 639253 h 639253"/>
              <a:gd name="connsiteX5" fmla="*/ 9138 w 90564"/>
              <a:gd name="connsiteY5" fmla="*/ 610225 h 639253"/>
              <a:gd name="connsiteX0" fmla="*/ 9138 w 90564"/>
              <a:gd name="connsiteY0" fmla="*/ 647902 h 676930"/>
              <a:gd name="connsiteX1" fmla="*/ 7247 w 90564"/>
              <a:gd name="connsiteY1" fmla="*/ 92018 h 676930"/>
              <a:gd name="connsiteX2" fmla="*/ 44742 w 90564"/>
              <a:gd name="connsiteY2" fmla="*/ 72688 h 676930"/>
              <a:gd name="connsiteX3" fmla="*/ 87546 w 90564"/>
              <a:gd name="connsiteY3" fmla="*/ 37677 h 676930"/>
              <a:gd name="connsiteX4" fmla="*/ 90564 w 90564"/>
              <a:gd name="connsiteY4" fmla="*/ 647902 h 676930"/>
              <a:gd name="connsiteX5" fmla="*/ 49851 w 90564"/>
              <a:gd name="connsiteY5" fmla="*/ 676930 h 676930"/>
              <a:gd name="connsiteX6" fmla="*/ 9138 w 90564"/>
              <a:gd name="connsiteY6" fmla="*/ 647902 h 676930"/>
              <a:gd name="connsiteX0" fmla="*/ 9138 w 90564"/>
              <a:gd name="connsiteY0" fmla="*/ 660564 h 689592"/>
              <a:gd name="connsiteX1" fmla="*/ 7247 w 90564"/>
              <a:gd name="connsiteY1" fmla="*/ 104680 h 689592"/>
              <a:gd name="connsiteX2" fmla="*/ 87546 w 90564"/>
              <a:gd name="connsiteY2" fmla="*/ 50339 h 689592"/>
              <a:gd name="connsiteX3" fmla="*/ 90564 w 90564"/>
              <a:gd name="connsiteY3" fmla="*/ 660564 h 689592"/>
              <a:gd name="connsiteX4" fmla="*/ 49851 w 90564"/>
              <a:gd name="connsiteY4" fmla="*/ 689592 h 689592"/>
              <a:gd name="connsiteX5" fmla="*/ 9138 w 90564"/>
              <a:gd name="connsiteY5" fmla="*/ 660564 h 689592"/>
              <a:gd name="connsiteX0" fmla="*/ 9138 w 92417"/>
              <a:gd name="connsiteY0" fmla="*/ 660564 h 689592"/>
              <a:gd name="connsiteX1" fmla="*/ 7247 w 92417"/>
              <a:gd name="connsiteY1" fmla="*/ 104680 h 689592"/>
              <a:gd name="connsiteX2" fmla="*/ 87546 w 92417"/>
              <a:gd name="connsiteY2" fmla="*/ 50339 h 689592"/>
              <a:gd name="connsiteX3" fmla="*/ 84244 w 92417"/>
              <a:gd name="connsiteY3" fmla="*/ 68043 h 689592"/>
              <a:gd name="connsiteX4" fmla="*/ 90564 w 92417"/>
              <a:gd name="connsiteY4" fmla="*/ 660564 h 689592"/>
              <a:gd name="connsiteX5" fmla="*/ 49851 w 92417"/>
              <a:gd name="connsiteY5" fmla="*/ 689592 h 689592"/>
              <a:gd name="connsiteX6" fmla="*/ 9138 w 92417"/>
              <a:gd name="connsiteY6" fmla="*/ 660564 h 689592"/>
              <a:gd name="connsiteX0" fmla="*/ 9138 w 96629"/>
              <a:gd name="connsiteY0" fmla="*/ 660564 h 716820"/>
              <a:gd name="connsiteX1" fmla="*/ 7247 w 96629"/>
              <a:gd name="connsiteY1" fmla="*/ 104680 h 716820"/>
              <a:gd name="connsiteX2" fmla="*/ 87546 w 96629"/>
              <a:gd name="connsiteY2" fmla="*/ 50339 h 716820"/>
              <a:gd name="connsiteX3" fmla="*/ 90564 w 96629"/>
              <a:gd name="connsiteY3" fmla="*/ 660564 h 716820"/>
              <a:gd name="connsiteX4" fmla="*/ 49851 w 96629"/>
              <a:gd name="connsiteY4" fmla="*/ 689592 h 716820"/>
              <a:gd name="connsiteX5" fmla="*/ 9138 w 96629"/>
              <a:gd name="connsiteY5" fmla="*/ 660564 h 716820"/>
              <a:gd name="connsiteX0" fmla="*/ 9138 w 95691"/>
              <a:gd name="connsiteY0" fmla="*/ 650261 h 706517"/>
              <a:gd name="connsiteX1" fmla="*/ 7247 w 95691"/>
              <a:gd name="connsiteY1" fmla="*/ 94377 h 706517"/>
              <a:gd name="connsiteX2" fmla="*/ 85647 w 95691"/>
              <a:gd name="connsiteY2" fmla="*/ 55797 h 706517"/>
              <a:gd name="connsiteX3" fmla="*/ 90564 w 95691"/>
              <a:gd name="connsiteY3" fmla="*/ 650261 h 706517"/>
              <a:gd name="connsiteX4" fmla="*/ 49851 w 95691"/>
              <a:gd name="connsiteY4" fmla="*/ 679289 h 706517"/>
              <a:gd name="connsiteX5" fmla="*/ 9138 w 95691"/>
              <a:gd name="connsiteY5" fmla="*/ 650261 h 706517"/>
              <a:gd name="connsiteX0" fmla="*/ 9138 w 92336"/>
              <a:gd name="connsiteY0" fmla="*/ 650261 h 706517"/>
              <a:gd name="connsiteX1" fmla="*/ 7247 w 92336"/>
              <a:gd name="connsiteY1" fmla="*/ 94377 h 706517"/>
              <a:gd name="connsiteX2" fmla="*/ 85647 w 92336"/>
              <a:gd name="connsiteY2" fmla="*/ 55797 h 706517"/>
              <a:gd name="connsiteX3" fmla="*/ 90564 w 92336"/>
              <a:gd name="connsiteY3" fmla="*/ 650261 h 706517"/>
              <a:gd name="connsiteX4" fmla="*/ 49851 w 92336"/>
              <a:gd name="connsiteY4" fmla="*/ 679289 h 706517"/>
              <a:gd name="connsiteX5" fmla="*/ 9138 w 92336"/>
              <a:gd name="connsiteY5" fmla="*/ 650261 h 706517"/>
              <a:gd name="connsiteX0" fmla="*/ 9138 w 92336"/>
              <a:gd name="connsiteY0" fmla="*/ 608999 h 665255"/>
              <a:gd name="connsiteX1" fmla="*/ 7247 w 92336"/>
              <a:gd name="connsiteY1" fmla="*/ 53115 h 665255"/>
              <a:gd name="connsiteX2" fmla="*/ 85647 w 92336"/>
              <a:gd name="connsiteY2" fmla="*/ 14535 h 665255"/>
              <a:gd name="connsiteX3" fmla="*/ 90564 w 92336"/>
              <a:gd name="connsiteY3" fmla="*/ 608999 h 665255"/>
              <a:gd name="connsiteX4" fmla="*/ 49851 w 92336"/>
              <a:gd name="connsiteY4" fmla="*/ 638027 h 665255"/>
              <a:gd name="connsiteX5" fmla="*/ 9138 w 92336"/>
              <a:gd name="connsiteY5" fmla="*/ 608999 h 665255"/>
              <a:gd name="connsiteX0" fmla="*/ 9138 w 92336"/>
              <a:gd name="connsiteY0" fmla="*/ 594464 h 650720"/>
              <a:gd name="connsiteX1" fmla="*/ 7247 w 92336"/>
              <a:gd name="connsiteY1" fmla="*/ 38580 h 650720"/>
              <a:gd name="connsiteX2" fmla="*/ 85647 w 92336"/>
              <a:gd name="connsiteY2" fmla="*/ 0 h 650720"/>
              <a:gd name="connsiteX3" fmla="*/ 90564 w 92336"/>
              <a:gd name="connsiteY3" fmla="*/ 594464 h 650720"/>
              <a:gd name="connsiteX4" fmla="*/ 49851 w 92336"/>
              <a:gd name="connsiteY4" fmla="*/ 623492 h 650720"/>
              <a:gd name="connsiteX5" fmla="*/ 9138 w 92336"/>
              <a:gd name="connsiteY5" fmla="*/ 594464 h 650720"/>
              <a:gd name="connsiteX0" fmla="*/ 9138 w 92336"/>
              <a:gd name="connsiteY0" fmla="*/ 594464 h 623492"/>
              <a:gd name="connsiteX1" fmla="*/ 7247 w 92336"/>
              <a:gd name="connsiteY1" fmla="*/ 38580 h 623492"/>
              <a:gd name="connsiteX2" fmla="*/ 85647 w 92336"/>
              <a:gd name="connsiteY2" fmla="*/ 0 h 623492"/>
              <a:gd name="connsiteX3" fmla="*/ 90564 w 92336"/>
              <a:gd name="connsiteY3" fmla="*/ 594464 h 623492"/>
              <a:gd name="connsiteX4" fmla="*/ 49851 w 92336"/>
              <a:gd name="connsiteY4" fmla="*/ 623492 h 623492"/>
              <a:gd name="connsiteX5" fmla="*/ 9138 w 92336"/>
              <a:gd name="connsiteY5" fmla="*/ 594464 h 623492"/>
              <a:gd name="connsiteX0" fmla="*/ 9138 w 93254"/>
              <a:gd name="connsiteY0" fmla="*/ 594464 h 624642"/>
              <a:gd name="connsiteX1" fmla="*/ 7247 w 93254"/>
              <a:gd name="connsiteY1" fmla="*/ 38580 h 624642"/>
              <a:gd name="connsiteX2" fmla="*/ 85647 w 93254"/>
              <a:gd name="connsiteY2" fmla="*/ 0 h 624642"/>
              <a:gd name="connsiteX3" fmla="*/ 91584 w 93254"/>
              <a:gd name="connsiteY3" fmla="*/ 558131 h 624642"/>
              <a:gd name="connsiteX4" fmla="*/ 49851 w 93254"/>
              <a:gd name="connsiteY4" fmla="*/ 623492 h 624642"/>
              <a:gd name="connsiteX5" fmla="*/ 9138 w 93254"/>
              <a:gd name="connsiteY5" fmla="*/ 594464 h 624642"/>
              <a:gd name="connsiteX0" fmla="*/ 9138 w 93254"/>
              <a:gd name="connsiteY0" fmla="*/ 594464 h 608290"/>
              <a:gd name="connsiteX1" fmla="*/ 7247 w 93254"/>
              <a:gd name="connsiteY1" fmla="*/ 38580 h 608290"/>
              <a:gd name="connsiteX2" fmla="*/ 85647 w 93254"/>
              <a:gd name="connsiteY2" fmla="*/ 0 h 608290"/>
              <a:gd name="connsiteX3" fmla="*/ 91584 w 93254"/>
              <a:gd name="connsiteY3" fmla="*/ 558131 h 608290"/>
              <a:gd name="connsiteX4" fmla="*/ 44450 w 93254"/>
              <a:gd name="connsiteY4" fmla="*/ 604613 h 608290"/>
              <a:gd name="connsiteX5" fmla="*/ 9138 w 93254"/>
              <a:gd name="connsiteY5" fmla="*/ 594464 h 608290"/>
              <a:gd name="connsiteX0" fmla="*/ 9138 w 93254"/>
              <a:gd name="connsiteY0" fmla="*/ 594464 h 608290"/>
              <a:gd name="connsiteX1" fmla="*/ 7247 w 93254"/>
              <a:gd name="connsiteY1" fmla="*/ 38580 h 608290"/>
              <a:gd name="connsiteX2" fmla="*/ 85647 w 93254"/>
              <a:gd name="connsiteY2" fmla="*/ 0 h 608290"/>
              <a:gd name="connsiteX3" fmla="*/ 91584 w 93254"/>
              <a:gd name="connsiteY3" fmla="*/ 558131 h 608290"/>
              <a:gd name="connsiteX4" fmla="*/ 44450 w 93254"/>
              <a:gd name="connsiteY4" fmla="*/ 604613 h 608290"/>
              <a:gd name="connsiteX5" fmla="*/ 9138 w 93254"/>
              <a:gd name="connsiteY5" fmla="*/ 594464 h 608290"/>
              <a:gd name="connsiteX0" fmla="*/ 9138 w 93254"/>
              <a:gd name="connsiteY0" fmla="*/ 594464 h 608836"/>
              <a:gd name="connsiteX1" fmla="*/ 7247 w 93254"/>
              <a:gd name="connsiteY1" fmla="*/ 38580 h 608836"/>
              <a:gd name="connsiteX2" fmla="*/ 85647 w 93254"/>
              <a:gd name="connsiteY2" fmla="*/ 0 h 608836"/>
              <a:gd name="connsiteX3" fmla="*/ 91584 w 93254"/>
              <a:gd name="connsiteY3" fmla="*/ 558131 h 608836"/>
              <a:gd name="connsiteX4" fmla="*/ 66901 w 93254"/>
              <a:gd name="connsiteY4" fmla="*/ 605399 h 608836"/>
              <a:gd name="connsiteX5" fmla="*/ 9138 w 93254"/>
              <a:gd name="connsiteY5" fmla="*/ 594464 h 608836"/>
              <a:gd name="connsiteX0" fmla="*/ 9138 w 93254"/>
              <a:gd name="connsiteY0" fmla="*/ 594464 h 647733"/>
              <a:gd name="connsiteX1" fmla="*/ 7247 w 93254"/>
              <a:gd name="connsiteY1" fmla="*/ 38580 h 647733"/>
              <a:gd name="connsiteX2" fmla="*/ 85647 w 93254"/>
              <a:gd name="connsiteY2" fmla="*/ 0 h 647733"/>
              <a:gd name="connsiteX3" fmla="*/ 91584 w 93254"/>
              <a:gd name="connsiteY3" fmla="*/ 558131 h 647733"/>
              <a:gd name="connsiteX4" fmla="*/ 9138 w 93254"/>
              <a:gd name="connsiteY4" fmla="*/ 594464 h 647733"/>
              <a:gd name="connsiteX0" fmla="*/ 9138 w 93254"/>
              <a:gd name="connsiteY0" fmla="*/ 594464 h 635799"/>
              <a:gd name="connsiteX1" fmla="*/ 7247 w 93254"/>
              <a:gd name="connsiteY1" fmla="*/ 38580 h 635799"/>
              <a:gd name="connsiteX2" fmla="*/ 85647 w 93254"/>
              <a:gd name="connsiteY2" fmla="*/ 0 h 635799"/>
              <a:gd name="connsiteX3" fmla="*/ 91584 w 93254"/>
              <a:gd name="connsiteY3" fmla="*/ 558131 h 635799"/>
              <a:gd name="connsiteX4" fmla="*/ 9138 w 93254"/>
              <a:gd name="connsiteY4" fmla="*/ 594464 h 635799"/>
              <a:gd name="connsiteX0" fmla="*/ 9138 w 93254"/>
              <a:gd name="connsiteY0" fmla="*/ 594464 h 608710"/>
              <a:gd name="connsiteX1" fmla="*/ 7247 w 93254"/>
              <a:gd name="connsiteY1" fmla="*/ 38580 h 608710"/>
              <a:gd name="connsiteX2" fmla="*/ 85647 w 93254"/>
              <a:gd name="connsiteY2" fmla="*/ 0 h 608710"/>
              <a:gd name="connsiteX3" fmla="*/ 91584 w 93254"/>
              <a:gd name="connsiteY3" fmla="*/ 558131 h 608710"/>
              <a:gd name="connsiteX4" fmla="*/ 9138 w 93254"/>
              <a:gd name="connsiteY4" fmla="*/ 594464 h 608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254" h="608710">
                <a:moveTo>
                  <a:pt x="9138" y="594464"/>
                </a:moveTo>
                <a:cubicBezTo>
                  <a:pt x="2037" y="496979"/>
                  <a:pt x="-6324" y="137825"/>
                  <a:pt x="7247" y="38580"/>
                </a:cubicBezTo>
                <a:cubicBezTo>
                  <a:pt x="47841" y="16304"/>
                  <a:pt x="49793" y="15356"/>
                  <a:pt x="85647" y="0"/>
                </a:cubicBezTo>
                <a:cubicBezTo>
                  <a:pt x="84311" y="123432"/>
                  <a:pt x="97866" y="451589"/>
                  <a:pt x="91584" y="558131"/>
                </a:cubicBezTo>
                <a:cubicBezTo>
                  <a:pt x="83659" y="613178"/>
                  <a:pt x="9926" y="619974"/>
                  <a:pt x="9138" y="594464"/>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018" name="Freeform: Shape 1017">
            <a:extLst>
              <a:ext uri="{FF2B5EF4-FFF2-40B4-BE49-F238E27FC236}">
                <a16:creationId xmlns:a16="http://schemas.microsoft.com/office/drawing/2014/main" id="{9C01A394-1889-4000-A46B-A35CFE8ACF61}"/>
              </a:ext>
            </a:extLst>
          </p:cNvPr>
          <p:cNvSpPr/>
          <p:nvPr/>
        </p:nvSpPr>
        <p:spPr bwMode="gray">
          <a:xfrm flipH="1">
            <a:off x="8955782" y="3412940"/>
            <a:ext cx="1592467" cy="988220"/>
          </a:xfrm>
          <a:custGeom>
            <a:avLst/>
            <a:gdLst>
              <a:gd name="connsiteX0" fmla="*/ 486191 w 1614957"/>
              <a:gd name="connsiteY0" fmla="*/ 108 h 992790"/>
              <a:gd name="connsiteX1" fmla="*/ 443589 w 1614957"/>
              <a:gd name="connsiteY1" fmla="*/ 13965 h 992790"/>
              <a:gd name="connsiteX2" fmla="*/ 414471 w 1614957"/>
              <a:gd name="connsiteY2" fmla="*/ 45201 h 992790"/>
              <a:gd name="connsiteX3" fmla="*/ 400961 w 1614957"/>
              <a:gd name="connsiteY3" fmla="*/ 97581 h 992790"/>
              <a:gd name="connsiteX4" fmla="*/ 401678 w 1614957"/>
              <a:gd name="connsiteY4" fmla="*/ 212544 h 992790"/>
              <a:gd name="connsiteX5" fmla="*/ 404917 w 1614957"/>
              <a:gd name="connsiteY5" fmla="*/ 221977 h 992790"/>
              <a:gd name="connsiteX6" fmla="*/ 442893 w 1614957"/>
              <a:gd name="connsiteY6" fmla="*/ 236780 h 992790"/>
              <a:gd name="connsiteX7" fmla="*/ 484107 w 1614957"/>
              <a:gd name="connsiteY7" fmla="*/ 212545 h 992790"/>
              <a:gd name="connsiteX8" fmla="*/ 484108 w 1614957"/>
              <a:gd name="connsiteY8" fmla="*/ 106600 h 992790"/>
              <a:gd name="connsiteX9" fmla="*/ 483356 w 1614957"/>
              <a:gd name="connsiteY9" fmla="*/ 104410 h 992790"/>
              <a:gd name="connsiteX10" fmla="*/ 483372 w 1614957"/>
              <a:gd name="connsiteY10" fmla="*/ 98353 h 992790"/>
              <a:gd name="connsiteX11" fmla="*/ 492691 w 1614957"/>
              <a:gd name="connsiteY11" fmla="*/ 86106 h 992790"/>
              <a:gd name="connsiteX12" fmla="*/ 497150 w 1614957"/>
              <a:gd name="connsiteY12" fmla="*/ 84854 h 992790"/>
              <a:gd name="connsiteX13" fmla="*/ 497220 w 1614957"/>
              <a:gd name="connsiteY13" fmla="*/ 84934 h 992790"/>
              <a:gd name="connsiteX14" fmla="*/ 1492887 w 1614957"/>
              <a:gd name="connsiteY14" fmla="*/ 661704 h 992790"/>
              <a:gd name="connsiteX15" fmla="*/ 1078703 w 1614957"/>
              <a:gd name="connsiteY15" fmla="*/ 900833 h 992790"/>
              <a:gd name="connsiteX16" fmla="*/ 118741 w 1614957"/>
              <a:gd name="connsiteY16" fmla="*/ 348530 h 992790"/>
              <a:gd name="connsiteX17" fmla="*/ 86141 w 1614957"/>
              <a:gd name="connsiteY17" fmla="*/ 343009 h 992790"/>
              <a:gd name="connsiteX18" fmla="*/ 43539 w 1614957"/>
              <a:gd name="connsiteY18" fmla="*/ 356866 h 992790"/>
              <a:gd name="connsiteX19" fmla="*/ 14421 w 1614957"/>
              <a:gd name="connsiteY19" fmla="*/ 388102 h 992790"/>
              <a:gd name="connsiteX20" fmla="*/ 911 w 1614957"/>
              <a:gd name="connsiteY20" fmla="*/ 440482 h 992790"/>
              <a:gd name="connsiteX21" fmla="*/ 1628 w 1614957"/>
              <a:gd name="connsiteY21" fmla="*/ 555445 h 992790"/>
              <a:gd name="connsiteX22" fmla="*/ 4867 w 1614957"/>
              <a:gd name="connsiteY22" fmla="*/ 564878 h 992790"/>
              <a:gd name="connsiteX23" fmla="*/ 42843 w 1614957"/>
              <a:gd name="connsiteY23" fmla="*/ 579681 h 992790"/>
              <a:gd name="connsiteX24" fmla="*/ 84057 w 1614957"/>
              <a:gd name="connsiteY24" fmla="*/ 555446 h 992790"/>
              <a:gd name="connsiteX25" fmla="*/ 84058 w 1614957"/>
              <a:gd name="connsiteY25" fmla="*/ 449501 h 992790"/>
              <a:gd name="connsiteX26" fmla="*/ 83306 w 1614957"/>
              <a:gd name="connsiteY26" fmla="*/ 447311 h 992790"/>
              <a:gd name="connsiteX27" fmla="*/ 83322 w 1614957"/>
              <a:gd name="connsiteY27" fmla="*/ 441254 h 992790"/>
              <a:gd name="connsiteX28" fmla="*/ 92641 w 1614957"/>
              <a:gd name="connsiteY28" fmla="*/ 429007 h 992790"/>
              <a:gd name="connsiteX29" fmla="*/ 97100 w 1614957"/>
              <a:gd name="connsiteY29" fmla="*/ 427755 h 992790"/>
              <a:gd name="connsiteX30" fmla="*/ 97170 w 1614957"/>
              <a:gd name="connsiteY30" fmla="*/ 427835 h 992790"/>
              <a:gd name="connsiteX31" fmla="*/ 1053794 w 1614957"/>
              <a:gd name="connsiteY31" fmla="*/ 982959 h 992790"/>
              <a:gd name="connsiteX32" fmla="*/ 1054782 w 1614957"/>
              <a:gd name="connsiteY32" fmla="*/ 981527 h 992790"/>
              <a:gd name="connsiteX33" fmla="*/ 1063535 w 1614957"/>
              <a:gd name="connsiteY33" fmla="*/ 989846 h 992790"/>
              <a:gd name="connsiteX34" fmla="*/ 1087273 w 1614957"/>
              <a:gd name="connsiteY34" fmla="*/ 989910 h 992790"/>
              <a:gd name="connsiteX35" fmla="*/ 1602965 w 1614957"/>
              <a:gd name="connsiteY35" fmla="*/ 692174 h 992790"/>
              <a:gd name="connsiteX36" fmla="*/ 1614779 w 1614957"/>
              <a:gd name="connsiteY36" fmla="*/ 671584 h 992790"/>
              <a:gd name="connsiteX37" fmla="*/ 1614779 w 1614957"/>
              <a:gd name="connsiteY37" fmla="*/ 671583 h 992790"/>
              <a:gd name="connsiteX38" fmla="*/ 1614779 w 1614957"/>
              <a:gd name="connsiteY38" fmla="*/ 671582 h 992790"/>
              <a:gd name="connsiteX39" fmla="*/ 1607747 w 1614957"/>
              <a:gd name="connsiteY39" fmla="*/ 642400 h 992790"/>
              <a:gd name="connsiteX40" fmla="*/ 1601339 w 1614957"/>
              <a:gd name="connsiteY40" fmla="*/ 636309 h 992790"/>
              <a:gd name="connsiteX41" fmla="*/ 1595157 w 1614957"/>
              <a:gd name="connsiteY41" fmla="*/ 625705 h 992790"/>
              <a:gd name="connsiteX42" fmla="*/ 518791 w 1614957"/>
              <a:gd name="connsiteY42" fmla="*/ 5629 h 992790"/>
              <a:gd name="connsiteX43" fmla="*/ 486191 w 1614957"/>
              <a:gd name="connsiteY43" fmla="*/ 108 h 992790"/>
              <a:gd name="connsiteX0" fmla="*/ 486191 w 1614957"/>
              <a:gd name="connsiteY0" fmla="*/ 108 h 989910"/>
              <a:gd name="connsiteX1" fmla="*/ 443589 w 1614957"/>
              <a:gd name="connsiteY1" fmla="*/ 13965 h 989910"/>
              <a:gd name="connsiteX2" fmla="*/ 414471 w 1614957"/>
              <a:gd name="connsiteY2" fmla="*/ 45201 h 989910"/>
              <a:gd name="connsiteX3" fmla="*/ 400961 w 1614957"/>
              <a:gd name="connsiteY3" fmla="*/ 97581 h 989910"/>
              <a:gd name="connsiteX4" fmla="*/ 401678 w 1614957"/>
              <a:gd name="connsiteY4" fmla="*/ 212544 h 989910"/>
              <a:gd name="connsiteX5" fmla="*/ 404917 w 1614957"/>
              <a:gd name="connsiteY5" fmla="*/ 221977 h 989910"/>
              <a:gd name="connsiteX6" fmla="*/ 442893 w 1614957"/>
              <a:gd name="connsiteY6" fmla="*/ 236780 h 989910"/>
              <a:gd name="connsiteX7" fmla="*/ 484107 w 1614957"/>
              <a:gd name="connsiteY7" fmla="*/ 212545 h 989910"/>
              <a:gd name="connsiteX8" fmla="*/ 484108 w 1614957"/>
              <a:gd name="connsiteY8" fmla="*/ 106600 h 989910"/>
              <a:gd name="connsiteX9" fmla="*/ 483356 w 1614957"/>
              <a:gd name="connsiteY9" fmla="*/ 104410 h 989910"/>
              <a:gd name="connsiteX10" fmla="*/ 483372 w 1614957"/>
              <a:gd name="connsiteY10" fmla="*/ 98353 h 989910"/>
              <a:gd name="connsiteX11" fmla="*/ 492691 w 1614957"/>
              <a:gd name="connsiteY11" fmla="*/ 86106 h 989910"/>
              <a:gd name="connsiteX12" fmla="*/ 497150 w 1614957"/>
              <a:gd name="connsiteY12" fmla="*/ 84854 h 989910"/>
              <a:gd name="connsiteX13" fmla="*/ 497220 w 1614957"/>
              <a:gd name="connsiteY13" fmla="*/ 84934 h 989910"/>
              <a:gd name="connsiteX14" fmla="*/ 1492887 w 1614957"/>
              <a:gd name="connsiteY14" fmla="*/ 661704 h 989910"/>
              <a:gd name="connsiteX15" fmla="*/ 1078703 w 1614957"/>
              <a:gd name="connsiteY15" fmla="*/ 900833 h 989910"/>
              <a:gd name="connsiteX16" fmla="*/ 118741 w 1614957"/>
              <a:gd name="connsiteY16" fmla="*/ 348530 h 989910"/>
              <a:gd name="connsiteX17" fmla="*/ 86141 w 1614957"/>
              <a:gd name="connsiteY17" fmla="*/ 343009 h 989910"/>
              <a:gd name="connsiteX18" fmla="*/ 43539 w 1614957"/>
              <a:gd name="connsiteY18" fmla="*/ 356866 h 989910"/>
              <a:gd name="connsiteX19" fmla="*/ 14421 w 1614957"/>
              <a:gd name="connsiteY19" fmla="*/ 388102 h 989910"/>
              <a:gd name="connsiteX20" fmla="*/ 911 w 1614957"/>
              <a:gd name="connsiteY20" fmla="*/ 440482 h 989910"/>
              <a:gd name="connsiteX21" fmla="*/ 1628 w 1614957"/>
              <a:gd name="connsiteY21" fmla="*/ 555445 h 989910"/>
              <a:gd name="connsiteX22" fmla="*/ 4867 w 1614957"/>
              <a:gd name="connsiteY22" fmla="*/ 564878 h 989910"/>
              <a:gd name="connsiteX23" fmla="*/ 42843 w 1614957"/>
              <a:gd name="connsiteY23" fmla="*/ 579681 h 989910"/>
              <a:gd name="connsiteX24" fmla="*/ 84057 w 1614957"/>
              <a:gd name="connsiteY24" fmla="*/ 555446 h 989910"/>
              <a:gd name="connsiteX25" fmla="*/ 84058 w 1614957"/>
              <a:gd name="connsiteY25" fmla="*/ 449501 h 989910"/>
              <a:gd name="connsiteX26" fmla="*/ 83306 w 1614957"/>
              <a:gd name="connsiteY26" fmla="*/ 447311 h 989910"/>
              <a:gd name="connsiteX27" fmla="*/ 83322 w 1614957"/>
              <a:gd name="connsiteY27" fmla="*/ 441254 h 989910"/>
              <a:gd name="connsiteX28" fmla="*/ 92641 w 1614957"/>
              <a:gd name="connsiteY28" fmla="*/ 429007 h 989910"/>
              <a:gd name="connsiteX29" fmla="*/ 97100 w 1614957"/>
              <a:gd name="connsiteY29" fmla="*/ 427755 h 989910"/>
              <a:gd name="connsiteX30" fmla="*/ 97170 w 1614957"/>
              <a:gd name="connsiteY30" fmla="*/ 427835 h 989910"/>
              <a:gd name="connsiteX31" fmla="*/ 1053794 w 1614957"/>
              <a:gd name="connsiteY31" fmla="*/ 982959 h 989910"/>
              <a:gd name="connsiteX32" fmla="*/ 1054782 w 1614957"/>
              <a:gd name="connsiteY32" fmla="*/ 981527 h 989910"/>
              <a:gd name="connsiteX33" fmla="*/ 1087273 w 1614957"/>
              <a:gd name="connsiteY33" fmla="*/ 989910 h 989910"/>
              <a:gd name="connsiteX34" fmla="*/ 1602965 w 1614957"/>
              <a:gd name="connsiteY34" fmla="*/ 692174 h 989910"/>
              <a:gd name="connsiteX35" fmla="*/ 1614779 w 1614957"/>
              <a:gd name="connsiteY35" fmla="*/ 671584 h 989910"/>
              <a:gd name="connsiteX36" fmla="*/ 1614779 w 1614957"/>
              <a:gd name="connsiteY36" fmla="*/ 671583 h 989910"/>
              <a:gd name="connsiteX37" fmla="*/ 1614779 w 1614957"/>
              <a:gd name="connsiteY37" fmla="*/ 671582 h 989910"/>
              <a:gd name="connsiteX38" fmla="*/ 1607747 w 1614957"/>
              <a:gd name="connsiteY38" fmla="*/ 642400 h 989910"/>
              <a:gd name="connsiteX39" fmla="*/ 1601339 w 1614957"/>
              <a:gd name="connsiteY39" fmla="*/ 636309 h 989910"/>
              <a:gd name="connsiteX40" fmla="*/ 1595157 w 1614957"/>
              <a:gd name="connsiteY40" fmla="*/ 625705 h 989910"/>
              <a:gd name="connsiteX41" fmla="*/ 518791 w 1614957"/>
              <a:gd name="connsiteY41" fmla="*/ 5629 h 989910"/>
              <a:gd name="connsiteX42" fmla="*/ 486191 w 1614957"/>
              <a:gd name="connsiteY42" fmla="*/ 108 h 989910"/>
              <a:gd name="connsiteX0" fmla="*/ 486191 w 1614957"/>
              <a:gd name="connsiteY0" fmla="*/ 108 h 989910"/>
              <a:gd name="connsiteX1" fmla="*/ 443589 w 1614957"/>
              <a:gd name="connsiteY1" fmla="*/ 13965 h 989910"/>
              <a:gd name="connsiteX2" fmla="*/ 414471 w 1614957"/>
              <a:gd name="connsiteY2" fmla="*/ 45201 h 989910"/>
              <a:gd name="connsiteX3" fmla="*/ 400961 w 1614957"/>
              <a:gd name="connsiteY3" fmla="*/ 97581 h 989910"/>
              <a:gd name="connsiteX4" fmla="*/ 401678 w 1614957"/>
              <a:gd name="connsiteY4" fmla="*/ 212544 h 989910"/>
              <a:gd name="connsiteX5" fmla="*/ 404917 w 1614957"/>
              <a:gd name="connsiteY5" fmla="*/ 221977 h 989910"/>
              <a:gd name="connsiteX6" fmla="*/ 442893 w 1614957"/>
              <a:gd name="connsiteY6" fmla="*/ 236780 h 989910"/>
              <a:gd name="connsiteX7" fmla="*/ 484107 w 1614957"/>
              <a:gd name="connsiteY7" fmla="*/ 212545 h 989910"/>
              <a:gd name="connsiteX8" fmla="*/ 484108 w 1614957"/>
              <a:gd name="connsiteY8" fmla="*/ 106600 h 989910"/>
              <a:gd name="connsiteX9" fmla="*/ 483356 w 1614957"/>
              <a:gd name="connsiteY9" fmla="*/ 104410 h 989910"/>
              <a:gd name="connsiteX10" fmla="*/ 483372 w 1614957"/>
              <a:gd name="connsiteY10" fmla="*/ 98353 h 989910"/>
              <a:gd name="connsiteX11" fmla="*/ 492691 w 1614957"/>
              <a:gd name="connsiteY11" fmla="*/ 86106 h 989910"/>
              <a:gd name="connsiteX12" fmla="*/ 497150 w 1614957"/>
              <a:gd name="connsiteY12" fmla="*/ 84854 h 989910"/>
              <a:gd name="connsiteX13" fmla="*/ 497220 w 1614957"/>
              <a:gd name="connsiteY13" fmla="*/ 84934 h 989910"/>
              <a:gd name="connsiteX14" fmla="*/ 1492887 w 1614957"/>
              <a:gd name="connsiteY14" fmla="*/ 661704 h 989910"/>
              <a:gd name="connsiteX15" fmla="*/ 1078703 w 1614957"/>
              <a:gd name="connsiteY15" fmla="*/ 900833 h 989910"/>
              <a:gd name="connsiteX16" fmla="*/ 118741 w 1614957"/>
              <a:gd name="connsiteY16" fmla="*/ 348530 h 989910"/>
              <a:gd name="connsiteX17" fmla="*/ 86141 w 1614957"/>
              <a:gd name="connsiteY17" fmla="*/ 343009 h 989910"/>
              <a:gd name="connsiteX18" fmla="*/ 43539 w 1614957"/>
              <a:gd name="connsiteY18" fmla="*/ 356866 h 989910"/>
              <a:gd name="connsiteX19" fmla="*/ 14421 w 1614957"/>
              <a:gd name="connsiteY19" fmla="*/ 388102 h 989910"/>
              <a:gd name="connsiteX20" fmla="*/ 911 w 1614957"/>
              <a:gd name="connsiteY20" fmla="*/ 440482 h 989910"/>
              <a:gd name="connsiteX21" fmla="*/ 1628 w 1614957"/>
              <a:gd name="connsiteY21" fmla="*/ 555445 h 989910"/>
              <a:gd name="connsiteX22" fmla="*/ 4867 w 1614957"/>
              <a:gd name="connsiteY22" fmla="*/ 564878 h 989910"/>
              <a:gd name="connsiteX23" fmla="*/ 42843 w 1614957"/>
              <a:gd name="connsiteY23" fmla="*/ 579681 h 989910"/>
              <a:gd name="connsiteX24" fmla="*/ 84057 w 1614957"/>
              <a:gd name="connsiteY24" fmla="*/ 555446 h 989910"/>
              <a:gd name="connsiteX25" fmla="*/ 84058 w 1614957"/>
              <a:gd name="connsiteY25" fmla="*/ 449501 h 989910"/>
              <a:gd name="connsiteX26" fmla="*/ 83306 w 1614957"/>
              <a:gd name="connsiteY26" fmla="*/ 447311 h 989910"/>
              <a:gd name="connsiteX27" fmla="*/ 83322 w 1614957"/>
              <a:gd name="connsiteY27" fmla="*/ 441254 h 989910"/>
              <a:gd name="connsiteX28" fmla="*/ 92641 w 1614957"/>
              <a:gd name="connsiteY28" fmla="*/ 429007 h 989910"/>
              <a:gd name="connsiteX29" fmla="*/ 97100 w 1614957"/>
              <a:gd name="connsiteY29" fmla="*/ 427755 h 989910"/>
              <a:gd name="connsiteX30" fmla="*/ 97170 w 1614957"/>
              <a:gd name="connsiteY30" fmla="*/ 427835 h 989910"/>
              <a:gd name="connsiteX31" fmla="*/ 1053794 w 1614957"/>
              <a:gd name="connsiteY31" fmla="*/ 982959 h 989910"/>
              <a:gd name="connsiteX32" fmla="*/ 1087273 w 1614957"/>
              <a:gd name="connsiteY32" fmla="*/ 989910 h 989910"/>
              <a:gd name="connsiteX33" fmla="*/ 1602965 w 1614957"/>
              <a:gd name="connsiteY33" fmla="*/ 692174 h 989910"/>
              <a:gd name="connsiteX34" fmla="*/ 1614779 w 1614957"/>
              <a:gd name="connsiteY34" fmla="*/ 671584 h 989910"/>
              <a:gd name="connsiteX35" fmla="*/ 1614779 w 1614957"/>
              <a:gd name="connsiteY35" fmla="*/ 671583 h 989910"/>
              <a:gd name="connsiteX36" fmla="*/ 1614779 w 1614957"/>
              <a:gd name="connsiteY36" fmla="*/ 671582 h 989910"/>
              <a:gd name="connsiteX37" fmla="*/ 1607747 w 1614957"/>
              <a:gd name="connsiteY37" fmla="*/ 642400 h 989910"/>
              <a:gd name="connsiteX38" fmla="*/ 1601339 w 1614957"/>
              <a:gd name="connsiteY38" fmla="*/ 636309 h 989910"/>
              <a:gd name="connsiteX39" fmla="*/ 1595157 w 1614957"/>
              <a:gd name="connsiteY39" fmla="*/ 625705 h 989910"/>
              <a:gd name="connsiteX40" fmla="*/ 518791 w 1614957"/>
              <a:gd name="connsiteY40" fmla="*/ 5629 h 989910"/>
              <a:gd name="connsiteX41" fmla="*/ 486191 w 1614957"/>
              <a:gd name="connsiteY41" fmla="*/ 108 h 989910"/>
              <a:gd name="connsiteX0" fmla="*/ 486191 w 1643559"/>
              <a:gd name="connsiteY0" fmla="*/ 108 h 982959"/>
              <a:gd name="connsiteX1" fmla="*/ 443589 w 1643559"/>
              <a:gd name="connsiteY1" fmla="*/ 13965 h 982959"/>
              <a:gd name="connsiteX2" fmla="*/ 414471 w 1643559"/>
              <a:gd name="connsiteY2" fmla="*/ 45201 h 982959"/>
              <a:gd name="connsiteX3" fmla="*/ 400961 w 1643559"/>
              <a:gd name="connsiteY3" fmla="*/ 97581 h 982959"/>
              <a:gd name="connsiteX4" fmla="*/ 401678 w 1643559"/>
              <a:gd name="connsiteY4" fmla="*/ 212544 h 982959"/>
              <a:gd name="connsiteX5" fmla="*/ 404917 w 1643559"/>
              <a:gd name="connsiteY5" fmla="*/ 221977 h 982959"/>
              <a:gd name="connsiteX6" fmla="*/ 442893 w 1643559"/>
              <a:gd name="connsiteY6" fmla="*/ 236780 h 982959"/>
              <a:gd name="connsiteX7" fmla="*/ 484107 w 1643559"/>
              <a:gd name="connsiteY7" fmla="*/ 212545 h 982959"/>
              <a:gd name="connsiteX8" fmla="*/ 484108 w 1643559"/>
              <a:gd name="connsiteY8" fmla="*/ 106600 h 982959"/>
              <a:gd name="connsiteX9" fmla="*/ 483356 w 1643559"/>
              <a:gd name="connsiteY9" fmla="*/ 104410 h 982959"/>
              <a:gd name="connsiteX10" fmla="*/ 483372 w 1643559"/>
              <a:gd name="connsiteY10" fmla="*/ 98353 h 982959"/>
              <a:gd name="connsiteX11" fmla="*/ 492691 w 1643559"/>
              <a:gd name="connsiteY11" fmla="*/ 86106 h 982959"/>
              <a:gd name="connsiteX12" fmla="*/ 497150 w 1643559"/>
              <a:gd name="connsiteY12" fmla="*/ 84854 h 982959"/>
              <a:gd name="connsiteX13" fmla="*/ 497220 w 1643559"/>
              <a:gd name="connsiteY13" fmla="*/ 84934 h 982959"/>
              <a:gd name="connsiteX14" fmla="*/ 1492887 w 1643559"/>
              <a:gd name="connsiteY14" fmla="*/ 661704 h 982959"/>
              <a:gd name="connsiteX15" fmla="*/ 1078703 w 1643559"/>
              <a:gd name="connsiteY15" fmla="*/ 900833 h 982959"/>
              <a:gd name="connsiteX16" fmla="*/ 118741 w 1643559"/>
              <a:gd name="connsiteY16" fmla="*/ 348530 h 982959"/>
              <a:gd name="connsiteX17" fmla="*/ 86141 w 1643559"/>
              <a:gd name="connsiteY17" fmla="*/ 343009 h 982959"/>
              <a:gd name="connsiteX18" fmla="*/ 43539 w 1643559"/>
              <a:gd name="connsiteY18" fmla="*/ 356866 h 982959"/>
              <a:gd name="connsiteX19" fmla="*/ 14421 w 1643559"/>
              <a:gd name="connsiteY19" fmla="*/ 388102 h 982959"/>
              <a:gd name="connsiteX20" fmla="*/ 911 w 1643559"/>
              <a:gd name="connsiteY20" fmla="*/ 440482 h 982959"/>
              <a:gd name="connsiteX21" fmla="*/ 1628 w 1643559"/>
              <a:gd name="connsiteY21" fmla="*/ 555445 h 982959"/>
              <a:gd name="connsiteX22" fmla="*/ 4867 w 1643559"/>
              <a:gd name="connsiteY22" fmla="*/ 564878 h 982959"/>
              <a:gd name="connsiteX23" fmla="*/ 42843 w 1643559"/>
              <a:gd name="connsiteY23" fmla="*/ 579681 h 982959"/>
              <a:gd name="connsiteX24" fmla="*/ 84057 w 1643559"/>
              <a:gd name="connsiteY24" fmla="*/ 555446 h 982959"/>
              <a:gd name="connsiteX25" fmla="*/ 84058 w 1643559"/>
              <a:gd name="connsiteY25" fmla="*/ 449501 h 982959"/>
              <a:gd name="connsiteX26" fmla="*/ 83306 w 1643559"/>
              <a:gd name="connsiteY26" fmla="*/ 447311 h 982959"/>
              <a:gd name="connsiteX27" fmla="*/ 83322 w 1643559"/>
              <a:gd name="connsiteY27" fmla="*/ 441254 h 982959"/>
              <a:gd name="connsiteX28" fmla="*/ 92641 w 1643559"/>
              <a:gd name="connsiteY28" fmla="*/ 429007 h 982959"/>
              <a:gd name="connsiteX29" fmla="*/ 97100 w 1643559"/>
              <a:gd name="connsiteY29" fmla="*/ 427755 h 982959"/>
              <a:gd name="connsiteX30" fmla="*/ 97170 w 1643559"/>
              <a:gd name="connsiteY30" fmla="*/ 427835 h 982959"/>
              <a:gd name="connsiteX31" fmla="*/ 1053794 w 1643559"/>
              <a:gd name="connsiteY31" fmla="*/ 982959 h 982959"/>
              <a:gd name="connsiteX32" fmla="*/ 1108704 w 1643559"/>
              <a:gd name="connsiteY32" fmla="*/ 975622 h 982959"/>
              <a:gd name="connsiteX33" fmla="*/ 1602965 w 1643559"/>
              <a:gd name="connsiteY33" fmla="*/ 692174 h 982959"/>
              <a:gd name="connsiteX34" fmla="*/ 1614779 w 1643559"/>
              <a:gd name="connsiteY34" fmla="*/ 671584 h 982959"/>
              <a:gd name="connsiteX35" fmla="*/ 1614779 w 1643559"/>
              <a:gd name="connsiteY35" fmla="*/ 671583 h 982959"/>
              <a:gd name="connsiteX36" fmla="*/ 1614779 w 1643559"/>
              <a:gd name="connsiteY36" fmla="*/ 671582 h 982959"/>
              <a:gd name="connsiteX37" fmla="*/ 1607747 w 1643559"/>
              <a:gd name="connsiteY37" fmla="*/ 642400 h 982959"/>
              <a:gd name="connsiteX38" fmla="*/ 1601339 w 1643559"/>
              <a:gd name="connsiteY38" fmla="*/ 636309 h 982959"/>
              <a:gd name="connsiteX39" fmla="*/ 1595157 w 1643559"/>
              <a:gd name="connsiteY39" fmla="*/ 625705 h 982959"/>
              <a:gd name="connsiteX40" fmla="*/ 518791 w 1643559"/>
              <a:gd name="connsiteY40" fmla="*/ 5629 h 982959"/>
              <a:gd name="connsiteX41" fmla="*/ 486191 w 1643559"/>
              <a:gd name="connsiteY41" fmla="*/ 108 h 982959"/>
              <a:gd name="connsiteX0" fmla="*/ 486191 w 1643559"/>
              <a:gd name="connsiteY0" fmla="*/ 108 h 985769"/>
              <a:gd name="connsiteX1" fmla="*/ 443589 w 1643559"/>
              <a:gd name="connsiteY1" fmla="*/ 13965 h 985769"/>
              <a:gd name="connsiteX2" fmla="*/ 414471 w 1643559"/>
              <a:gd name="connsiteY2" fmla="*/ 45201 h 985769"/>
              <a:gd name="connsiteX3" fmla="*/ 400961 w 1643559"/>
              <a:gd name="connsiteY3" fmla="*/ 97581 h 985769"/>
              <a:gd name="connsiteX4" fmla="*/ 401678 w 1643559"/>
              <a:gd name="connsiteY4" fmla="*/ 212544 h 985769"/>
              <a:gd name="connsiteX5" fmla="*/ 404917 w 1643559"/>
              <a:gd name="connsiteY5" fmla="*/ 221977 h 985769"/>
              <a:gd name="connsiteX6" fmla="*/ 442893 w 1643559"/>
              <a:gd name="connsiteY6" fmla="*/ 236780 h 985769"/>
              <a:gd name="connsiteX7" fmla="*/ 484107 w 1643559"/>
              <a:gd name="connsiteY7" fmla="*/ 212545 h 985769"/>
              <a:gd name="connsiteX8" fmla="*/ 484108 w 1643559"/>
              <a:gd name="connsiteY8" fmla="*/ 106600 h 985769"/>
              <a:gd name="connsiteX9" fmla="*/ 483356 w 1643559"/>
              <a:gd name="connsiteY9" fmla="*/ 104410 h 985769"/>
              <a:gd name="connsiteX10" fmla="*/ 483372 w 1643559"/>
              <a:gd name="connsiteY10" fmla="*/ 98353 h 985769"/>
              <a:gd name="connsiteX11" fmla="*/ 492691 w 1643559"/>
              <a:gd name="connsiteY11" fmla="*/ 86106 h 985769"/>
              <a:gd name="connsiteX12" fmla="*/ 497150 w 1643559"/>
              <a:gd name="connsiteY12" fmla="*/ 84854 h 985769"/>
              <a:gd name="connsiteX13" fmla="*/ 497220 w 1643559"/>
              <a:gd name="connsiteY13" fmla="*/ 84934 h 985769"/>
              <a:gd name="connsiteX14" fmla="*/ 1492887 w 1643559"/>
              <a:gd name="connsiteY14" fmla="*/ 661704 h 985769"/>
              <a:gd name="connsiteX15" fmla="*/ 1078703 w 1643559"/>
              <a:gd name="connsiteY15" fmla="*/ 900833 h 985769"/>
              <a:gd name="connsiteX16" fmla="*/ 118741 w 1643559"/>
              <a:gd name="connsiteY16" fmla="*/ 348530 h 985769"/>
              <a:gd name="connsiteX17" fmla="*/ 86141 w 1643559"/>
              <a:gd name="connsiteY17" fmla="*/ 343009 h 985769"/>
              <a:gd name="connsiteX18" fmla="*/ 43539 w 1643559"/>
              <a:gd name="connsiteY18" fmla="*/ 356866 h 985769"/>
              <a:gd name="connsiteX19" fmla="*/ 14421 w 1643559"/>
              <a:gd name="connsiteY19" fmla="*/ 388102 h 985769"/>
              <a:gd name="connsiteX20" fmla="*/ 911 w 1643559"/>
              <a:gd name="connsiteY20" fmla="*/ 440482 h 985769"/>
              <a:gd name="connsiteX21" fmla="*/ 1628 w 1643559"/>
              <a:gd name="connsiteY21" fmla="*/ 555445 h 985769"/>
              <a:gd name="connsiteX22" fmla="*/ 4867 w 1643559"/>
              <a:gd name="connsiteY22" fmla="*/ 564878 h 985769"/>
              <a:gd name="connsiteX23" fmla="*/ 42843 w 1643559"/>
              <a:gd name="connsiteY23" fmla="*/ 579681 h 985769"/>
              <a:gd name="connsiteX24" fmla="*/ 84057 w 1643559"/>
              <a:gd name="connsiteY24" fmla="*/ 555446 h 985769"/>
              <a:gd name="connsiteX25" fmla="*/ 84058 w 1643559"/>
              <a:gd name="connsiteY25" fmla="*/ 449501 h 985769"/>
              <a:gd name="connsiteX26" fmla="*/ 83306 w 1643559"/>
              <a:gd name="connsiteY26" fmla="*/ 447311 h 985769"/>
              <a:gd name="connsiteX27" fmla="*/ 83322 w 1643559"/>
              <a:gd name="connsiteY27" fmla="*/ 441254 h 985769"/>
              <a:gd name="connsiteX28" fmla="*/ 92641 w 1643559"/>
              <a:gd name="connsiteY28" fmla="*/ 429007 h 985769"/>
              <a:gd name="connsiteX29" fmla="*/ 97100 w 1643559"/>
              <a:gd name="connsiteY29" fmla="*/ 427755 h 985769"/>
              <a:gd name="connsiteX30" fmla="*/ 97170 w 1643559"/>
              <a:gd name="connsiteY30" fmla="*/ 427835 h 985769"/>
              <a:gd name="connsiteX31" fmla="*/ 1053794 w 1643559"/>
              <a:gd name="connsiteY31" fmla="*/ 982959 h 985769"/>
              <a:gd name="connsiteX32" fmla="*/ 1108704 w 1643559"/>
              <a:gd name="connsiteY32" fmla="*/ 975622 h 985769"/>
              <a:gd name="connsiteX33" fmla="*/ 1602965 w 1643559"/>
              <a:gd name="connsiteY33" fmla="*/ 692174 h 985769"/>
              <a:gd name="connsiteX34" fmla="*/ 1614779 w 1643559"/>
              <a:gd name="connsiteY34" fmla="*/ 671584 h 985769"/>
              <a:gd name="connsiteX35" fmla="*/ 1614779 w 1643559"/>
              <a:gd name="connsiteY35" fmla="*/ 671583 h 985769"/>
              <a:gd name="connsiteX36" fmla="*/ 1614779 w 1643559"/>
              <a:gd name="connsiteY36" fmla="*/ 671582 h 985769"/>
              <a:gd name="connsiteX37" fmla="*/ 1607747 w 1643559"/>
              <a:gd name="connsiteY37" fmla="*/ 642400 h 985769"/>
              <a:gd name="connsiteX38" fmla="*/ 1601339 w 1643559"/>
              <a:gd name="connsiteY38" fmla="*/ 636309 h 985769"/>
              <a:gd name="connsiteX39" fmla="*/ 1595157 w 1643559"/>
              <a:gd name="connsiteY39" fmla="*/ 625705 h 985769"/>
              <a:gd name="connsiteX40" fmla="*/ 518791 w 1643559"/>
              <a:gd name="connsiteY40" fmla="*/ 5629 h 985769"/>
              <a:gd name="connsiteX41" fmla="*/ 486191 w 1643559"/>
              <a:gd name="connsiteY41" fmla="*/ 108 h 985769"/>
              <a:gd name="connsiteX0" fmla="*/ 486191 w 1643559"/>
              <a:gd name="connsiteY0" fmla="*/ 108 h 985769"/>
              <a:gd name="connsiteX1" fmla="*/ 443589 w 1643559"/>
              <a:gd name="connsiteY1" fmla="*/ 13965 h 985769"/>
              <a:gd name="connsiteX2" fmla="*/ 414471 w 1643559"/>
              <a:gd name="connsiteY2" fmla="*/ 45201 h 985769"/>
              <a:gd name="connsiteX3" fmla="*/ 400961 w 1643559"/>
              <a:gd name="connsiteY3" fmla="*/ 97581 h 985769"/>
              <a:gd name="connsiteX4" fmla="*/ 401678 w 1643559"/>
              <a:gd name="connsiteY4" fmla="*/ 212544 h 985769"/>
              <a:gd name="connsiteX5" fmla="*/ 404917 w 1643559"/>
              <a:gd name="connsiteY5" fmla="*/ 221977 h 985769"/>
              <a:gd name="connsiteX6" fmla="*/ 442893 w 1643559"/>
              <a:gd name="connsiteY6" fmla="*/ 236780 h 985769"/>
              <a:gd name="connsiteX7" fmla="*/ 484107 w 1643559"/>
              <a:gd name="connsiteY7" fmla="*/ 212545 h 985769"/>
              <a:gd name="connsiteX8" fmla="*/ 484108 w 1643559"/>
              <a:gd name="connsiteY8" fmla="*/ 106600 h 985769"/>
              <a:gd name="connsiteX9" fmla="*/ 483356 w 1643559"/>
              <a:gd name="connsiteY9" fmla="*/ 104410 h 985769"/>
              <a:gd name="connsiteX10" fmla="*/ 483372 w 1643559"/>
              <a:gd name="connsiteY10" fmla="*/ 98353 h 985769"/>
              <a:gd name="connsiteX11" fmla="*/ 492691 w 1643559"/>
              <a:gd name="connsiteY11" fmla="*/ 86106 h 985769"/>
              <a:gd name="connsiteX12" fmla="*/ 497150 w 1643559"/>
              <a:gd name="connsiteY12" fmla="*/ 84854 h 985769"/>
              <a:gd name="connsiteX13" fmla="*/ 497220 w 1643559"/>
              <a:gd name="connsiteY13" fmla="*/ 84934 h 985769"/>
              <a:gd name="connsiteX14" fmla="*/ 1492887 w 1643559"/>
              <a:gd name="connsiteY14" fmla="*/ 661704 h 985769"/>
              <a:gd name="connsiteX15" fmla="*/ 1078703 w 1643559"/>
              <a:gd name="connsiteY15" fmla="*/ 900833 h 985769"/>
              <a:gd name="connsiteX16" fmla="*/ 118741 w 1643559"/>
              <a:gd name="connsiteY16" fmla="*/ 348530 h 985769"/>
              <a:gd name="connsiteX17" fmla="*/ 86141 w 1643559"/>
              <a:gd name="connsiteY17" fmla="*/ 343009 h 985769"/>
              <a:gd name="connsiteX18" fmla="*/ 43539 w 1643559"/>
              <a:gd name="connsiteY18" fmla="*/ 356866 h 985769"/>
              <a:gd name="connsiteX19" fmla="*/ 14421 w 1643559"/>
              <a:gd name="connsiteY19" fmla="*/ 388102 h 985769"/>
              <a:gd name="connsiteX20" fmla="*/ 911 w 1643559"/>
              <a:gd name="connsiteY20" fmla="*/ 440482 h 985769"/>
              <a:gd name="connsiteX21" fmla="*/ 1628 w 1643559"/>
              <a:gd name="connsiteY21" fmla="*/ 555445 h 985769"/>
              <a:gd name="connsiteX22" fmla="*/ 4867 w 1643559"/>
              <a:gd name="connsiteY22" fmla="*/ 564878 h 985769"/>
              <a:gd name="connsiteX23" fmla="*/ 42843 w 1643559"/>
              <a:gd name="connsiteY23" fmla="*/ 579681 h 985769"/>
              <a:gd name="connsiteX24" fmla="*/ 84057 w 1643559"/>
              <a:gd name="connsiteY24" fmla="*/ 555446 h 985769"/>
              <a:gd name="connsiteX25" fmla="*/ 84058 w 1643559"/>
              <a:gd name="connsiteY25" fmla="*/ 449501 h 985769"/>
              <a:gd name="connsiteX26" fmla="*/ 83306 w 1643559"/>
              <a:gd name="connsiteY26" fmla="*/ 447311 h 985769"/>
              <a:gd name="connsiteX27" fmla="*/ 83322 w 1643559"/>
              <a:gd name="connsiteY27" fmla="*/ 441254 h 985769"/>
              <a:gd name="connsiteX28" fmla="*/ 92641 w 1643559"/>
              <a:gd name="connsiteY28" fmla="*/ 429007 h 985769"/>
              <a:gd name="connsiteX29" fmla="*/ 97100 w 1643559"/>
              <a:gd name="connsiteY29" fmla="*/ 427755 h 985769"/>
              <a:gd name="connsiteX30" fmla="*/ 97170 w 1643559"/>
              <a:gd name="connsiteY30" fmla="*/ 427835 h 985769"/>
              <a:gd name="connsiteX31" fmla="*/ 1053794 w 1643559"/>
              <a:gd name="connsiteY31" fmla="*/ 982959 h 985769"/>
              <a:gd name="connsiteX32" fmla="*/ 1108704 w 1643559"/>
              <a:gd name="connsiteY32" fmla="*/ 975622 h 985769"/>
              <a:gd name="connsiteX33" fmla="*/ 1602965 w 1643559"/>
              <a:gd name="connsiteY33" fmla="*/ 692174 h 985769"/>
              <a:gd name="connsiteX34" fmla="*/ 1614779 w 1643559"/>
              <a:gd name="connsiteY34" fmla="*/ 671584 h 985769"/>
              <a:gd name="connsiteX35" fmla="*/ 1614779 w 1643559"/>
              <a:gd name="connsiteY35" fmla="*/ 671583 h 985769"/>
              <a:gd name="connsiteX36" fmla="*/ 1607747 w 1643559"/>
              <a:gd name="connsiteY36" fmla="*/ 642400 h 985769"/>
              <a:gd name="connsiteX37" fmla="*/ 1601339 w 1643559"/>
              <a:gd name="connsiteY37" fmla="*/ 636309 h 985769"/>
              <a:gd name="connsiteX38" fmla="*/ 1595157 w 1643559"/>
              <a:gd name="connsiteY38" fmla="*/ 625705 h 985769"/>
              <a:gd name="connsiteX39" fmla="*/ 518791 w 1643559"/>
              <a:gd name="connsiteY39" fmla="*/ 5629 h 985769"/>
              <a:gd name="connsiteX40" fmla="*/ 486191 w 1643559"/>
              <a:gd name="connsiteY40" fmla="*/ 108 h 985769"/>
              <a:gd name="connsiteX0" fmla="*/ 486191 w 1643559"/>
              <a:gd name="connsiteY0" fmla="*/ 108 h 985769"/>
              <a:gd name="connsiteX1" fmla="*/ 443589 w 1643559"/>
              <a:gd name="connsiteY1" fmla="*/ 13965 h 985769"/>
              <a:gd name="connsiteX2" fmla="*/ 414471 w 1643559"/>
              <a:gd name="connsiteY2" fmla="*/ 45201 h 985769"/>
              <a:gd name="connsiteX3" fmla="*/ 400961 w 1643559"/>
              <a:gd name="connsiteY3" fmla="*/ 97581 h 985769"/>
              <a:gd name="connsiteX4" fmla="*/ 401678 w 1643559"/>
              <a:gd name="connsiteY4" fmla="*/ 212544 h 985769"/>
              <a:gd name="connsiteX5" fmla="*/ 404917 w 1643559"/>
              <a:gd name="connsiteY5" fmla="*/ 221977 h 985769"/>
              <a:gd name="connsiteX6" fmla="*/ 442893 w 1643559"/>
              <a:gd name="connsiteY6" fmla="*/ 236780 h 985769"/>
              <a:gd name="connsiteX7" fmla="*/ 484107 w 1643559"/>
              <a:gd name="connsiteY7" fmla="*/ 212545 h 985769"/>
              <a:gd name="connsiteX8" fmla="*/ 484108 w 1643559"/>
              <a:gd name="connsiteY8" fmla="*/ 106600 h 985769"/>
              <a:gd name="connsiteX9" fmla="*/ 483356 w 1643559"/>
              <a:gd name="connsiteY9" fmla="*/ 104410 h 985769"/>
              <a:gd name="connsiteX10" fmla="*/ 483372 w 1643559"/>
              <a:gd name="connsiteY10" fmla="*/ 98353 h 985769"/>
              <a:gd name="connsiteX11" fmla="*/ 492691 w 1643559"/>
              <a:gd name="connsiteY11" fmla="*/ 86106 h 985769"/>
              <a:gd name="connsiteX12" fmla="*/ 497150 w 1643559"/>
              <a:gd name="connsiteY12" fmla="*/ 84854 h 985769"/>
              <a:gd name="connsiteX13" fmla="*/ 497220 w 1643559"/>
              <a:gd name="connsiteY13" fmla="*/ 84934 h 985769"/>
              <a:gd name="connsiteX14" fmla="*/ 1492887 w 1643559"/>
              <a:gd name="connsiteY14" fmla="*/ 661704 h 985769"/>
              <a:gd name="connsiteX15" fmla="*/ 1078703 w 1643559"/>
              <a:gd name="connsiteY15" fmla="*/ 900833 h 985769"/>
              <a:gd name="connsiteX16" fmla="*/ 118741 w 1643559"/>
              <a:gd name="connsiteY16" fmla="*/ 348530 h 985769"/>
              <a:gd name="connsiteX17" fmla="*/ 86141 w 1643559"/>
              <a:gd name="connsiteY17" fmla="*/ 343009 h 985769"/>
              <a:gd name="connsiteX18" fmla="*/ 43539 w 1643559"/>
              <a:gd name="connsiteY18" fmla="*/ 356866 h 985769"/>
              <a:gd name="connsiteX19" fmla="*/ 14421 w 1643559"/>
              <a:gd name="connsiteY19" fmla="*/ 388102 h 985769"/>
              <a:gd name="connsiteX20" fmla="*/ 911 w 1643559"/>
              <a:gd name="connsiteY20" fmla="*/ 440482 h 985769"/>
              <a:gd name="connsiteX21" fmla="*/ 1628 w 1643559"/>
              <a:gd name="connsiteY21" fmla="*/ 555445 h 985769"/>
              <a:gd name="connsiteX22" fmla="*/ 4867 w 1643559"/>
              <a:gd name="connsiteY22" fmla="*/ 564878 h 985769"/>
              <a:gd name="connsiteX23" fmla="*/ 42843 w 1643559"/>
              <a:gd name="connsiteY23" fmla="*/ 579681 h 985769"/>
              <a:gd name="connsiteX24" fmla="*/ 84057 w 1643559"/>
              <a:gd name="connsiteY24" fmla="*/ 555446 h 985769"/>
              <a:gd name="connsiteX25" fmla="*/ 84058 w 1643559"/>
              <a:gd name="connsiteY25" fmla="*/ 449501 h 985769"/>
              <a:gd name="connsiteX26" fmla="*/ 83306 w 1643559"/>
              <a:gd name="connsiteY26" fmla="*/ 447311 h 985769"/>
              <a:gd name="connsiteX27" fmla="*/ 83322 w 1643559"/>
              <a:gd name="connsiteY27" fmla="*/ 441254 h 985769"/>
              <a:gd name="connsiteX28" fmla="*/ 92641 w 1643559"/>
              <a:gd name="connsiteY28" fmla="*/ 429007 h 985769"/>
              <a:gd name="connsiteX29" fmla="*/ 97100 w 1643559"/>
              <a:gd name="connsiteY29" fmla="*/ 427755 h 985769"/>
              <a:gd name="connsiteX30" fmla="*/ 97170 w 1643559"/>
              <a:gd name="connsiteY30" fmla="*/ 427835 h 985769"/>
              <a:gd name="connsiteX31" fmla="*/ 1053794 w 1643559"/>
              <a:gd name="connsiteY31" fmla="*/ 982959 h 985769"/>
              <a:gd name="connsiteX32" fmla="*/ 1108704 w 1643559"/>
              <a:gd name="connsiteY32" fmla="*/ 975622 h 985769"/>
              <a:gd name="connsiteX33" fmla="*/ 1602965 w 1643559"/>
              <a:gd name="connsiteY33" fmla="*/ 692174 h 985769"/>
              <a:gd name="connsiteX34" fmla="*/ 1614779 w 1643559"/>
              <a:gd name="connsiteY34" fmla="*/ 671584 h 985769"/>
              <a:gd name="connsiteX35" fmla="*/ 1607747 w 1643559"/>
              <a:gd name="connsiteY35" fmla="*/ 642400 h 985769"/>
              <a:gd name="connsiteX36" fmla="*/ 1601339 w 1643559"/>
              <a:gd name="connsiteY36" fmla="*/ 636309 h 985769"/>
              <a:gd name="connsiteX37" fmla="*/ 1595157 w 1643559"/>
              <a:gd name="connsiteY37" fmla="*/ 625705 h 985769"/>
              <a:gd name="connsiteX38" fmla="*/ 518791 w 1643559"/>
              <a:gd name="connsiteY38" fmla="*/ 5629 h 985769"/>
              <a:gd name="connsiteX39" fmla="*/ 486191 w 1643559"/>
              <a:gd name="connsiteY39" fmla="*/ 108 h 985769"/>
              <a:gd name="connsiteX0" fmla="*/ 486191 w 1641276"/>
              <a:gd name="connsiteY0" fmla="*/ 108 h 985769"/>
              <a:gd name="connsiteX1" fmla="*/ 443589 w 1641276"/>
              <a:gd name="connsiteY1" fmla="*/ 13965 h 985769"/>
              <a:gd name="connsiteX2" fmla="*/ 414471 w 1641276"/>
              <a:gd name="connsiteY2" fmla="*/ 45201 h 985769"/>
              <a:gd name="connsiteX3" fmla="*/ 400961 w 1641276"/>
              <a:gd name="connsiteY3" fmla="*/ 97581 h 985769"/>
              <a:gd name="connsiteX4" fmla="*/ 401678 w 1641276"/>
              <a:gd name="connsiteY4" fmla="*/ 212544 h 985769"/>
              <a:gd name="connsiteX5" fmla="*/ 404917 w 1641276"/>
              <a:gd name="connsiteY5" fmla="*/ 221977 h 985769"/>
              <a:gd name="connsiteX6" fmla="*/ 442893 w 1641276"/>
              <a:gd name="connsiteY6" fmla="*/ 236780 h 985769"/>
              <a:gd name="connsiteX7" fmla="*/ 484107 w 1641276"/>
              <a:gd name="connsiteY7" fmla="*/ 212545 h 985769"/>
              <a:gd name="connsiteX8" fmla="*/ 484108 w 1641276"/>
              <a:gd name="connsiteY8" fmla="*/ 106600 h 985769"/>
              <a:gd name="connsiteX9" fmla="*/ 483356 w 1641276"/>
              <a:gd name="connsiteY9" fmla="*/ 104410 h 985769"/>
              <a:gd name="connsiteX10" fmla="*/ 483372 w 1641276"/>
              <a:gd name="connsiteY10" fmla="*/ 98353 h 985769"/>
              <a:gd name="connsiteX11" fmla="*/ 492691 w 1641276"/>
              <a:gd name="connsiteY11" fmla="*/ 86106 h 985769"/>
              <a:gd name="connsiteX12" fmla="*/ 497150 w 1641276"/>
              <a:gd name="connsiteY12" fmla="*/ 84854 h 985769"/>
              <a:gd name="connsiteX13" fmla="*/ 497220 w 1641276"/>
              <a:gd name="connsiteY13" fmla="*/ 84934 h 985769"/>
              <a:gd name="connsiteX14" fmla="*/ 1492887 w 1641276"/>
              <a:gd name="connsiteY14" fmla="*/ 661704 h 985769"/>
              <a:gd name="connsiteX15" fmla="*/ 1078703 w 1641276"/>
              <a:gd name="connsiteY15" fmla="*/ 900833 h 985769"/>
              <a:gd name="connsiteX16" fmla="*/ 118741 w 1641276"/>
              <a:gd name="connsiteY16" fmla="*/ 348530 h 985769"/>
              <a:gd name="connsiteX17" fmla="*/ 86141 w 1641276"/>
              <a:gd name="connsiteY17" fmla="*/ 343009 h 985769"/>
              <a:gd name="connsiteX18" fmla="*/ 43539 w 1641276"/>
              <a:gd name="connsiteY18" fmla="*/ 356866 h 985769"/>
              <a:gd name="connsiteX19" fmla="*/ 14421 w 1641276"/>
              <a:gd name="connsiteY19" fmla="*/ 388102 h 985769"/>
              <a:gd name="connsiteX20" fmla="*/ 911 w 1641276"/>
              <a:gd name="connsiteY20" fmla="*/ 440482 h 985769"/>
              <a:gd name="connsiteX21" fmla="*/ 1628 w 1641276"/>
              <a:gd name="connsiteY21" fmla="*/ 555445 h 985769"/>
              <a:gd name="connsiteX22" fmla="*/ 4867 w 1641276"/>
              <a:gd name="connsiteY22" fmla="*/ 564878 h 985769"/>
              <a:gd name="connsiteX23" fmla="*/ 42843 w 1641276"/>
              <a:gd name="connsiteY23" fmla="*/ 579681 h 985769"/>
              <a:gd name="connsiteX24" fmla="*/ 84057 w 1641276"/>
              <a:gd name="connsiteY24" fmla="*/ 555446 h 985769"/>
              <a:gd name="connsiteX25" fmla="*/ 84058 w 1641276"/>
              <a:gd name="connsiteY25" fmla="*/ 449501 h 985769"/>
              <a:gd name="connsiteX26" fmla="*/ 83306 w 1641276"/>
              <a:gd name="connsiteY26" fmla="*/ 447311 h 985769"/>
              <a:gd name="connsiteX27" fmla="*/ 83322 w 1641276"/>
              <a:gd name="connsiteY27" fmla="*/ 441254 h 985769"/>
              <a:gd name="connsiteX28" fmla="*/ 92641 w 1641276"/>
              <a:gd name="connsiteY28" fmla="*/ 429007 h 985769"/>
              <a:gd name="connsiteX29" fmla="*/ 97100 w 1641276"/>
              <a:gd name="connsiteY29" fmla="*/ 427755 h 985769"/>
              <a:gd name="connsiteX30" fmla="*/ 97170 w 1641276"/>
              <a:gd name="connsiteY30" fmla="*/ 427835 h 985769"/>
              <a:gd name="connsiteX31" fmla="*/ 1053794 w 1641276"/>
              <a:gd name="connsiteY31" fmla="*/ 982959 h 985769"/>
              <a:gd name="connsiteX32" fmla="*/ 1108704 w 1641276"/>
              <a:gd name="connsiteY32" fmla="*/ 975622 h 985769"/>
              <a:gd name="connsiteX33" fmla="*/ 1602965 w 1641276"/>
              <a:gd name="connsiteY33" fmla="*/ 692174 h 985769"/>
              <a:gd name="connsiteX34" fmla="*/ 1607747 w 1641276"/>
              <a:gd name="connsiteY34" fmla="*/ 642400 h 985769"/>
              <a:gd name="connsiteX35" fmla="*/ 1601339 w 1641276"/>
              <a:gd name="connsiteY35" fmla="*/ 636309 h 985769"/>
              <a:gd name="connsiteX36" fmla="*/ 1595157 w 1641276"/>
              <a:gd name="connsiteY36" fmla="*/ 625705 h 985769"/>
              <a:gd name="connsiteX37" fmla="*/ 518791 w 1641276"/>
              <a:gd name="connsiteY37" fmla="*/ 5629 h 985769"/>
              <a:gd name="connsiteX38" fmla="*/ 486191 w 1641276"/>
              <a:gd name="connsiteY38" fmla="*/ 108 h 985769"/>
              <a:gd name="connsiteX0" fmla="*/ 486191 w 1641276"/>
              <a:gd name="connsiteY0" fmla="*/ 108 h 985769"/>
              <a:gd name="connsiteX1" fmla="*/ 443589 w 1641276"/>
              <a:gd name="connsiteY1" fmla="*/ 13965 h 985769"/>
              <a:gd name="connsiteX2" fmla="*/ 414471 w 1641276"/>
              <a:gd name="connsiteY2" fmla="*/ 45201 h 985769"/>
              <a:gd name="connsiteX3" fmla="*/ 400961 w 1641276"/>
              <a:gd name="connsiteY3" fmla="*/ 97581 h 985769"/>
              <a:gd name="connsiteX4" fmla="*/ 401678 w 1641276"/>
              <a:gd name="connsiteY4" fmla="*/ 212544 h 985769"/>
              <a:gd name="connsiteX5" fmla="*/ 404917 w 1641276"/>
              <a:gd name="connsiteY5" fmla="*/ 221977 h 985769"/>
              <a:gd name="connsiteX6" fmla="*/ 442893 w 1641276"/>
              <a:gd name="connsiteY6" fmla="*/ 236780 h 985769"/>
              <a:gd name="connsiteX7" fmla="*/ 484107 w 1641276"/>
              <a:gd name="connsiteY7" fmla="*/ 212545 h 985769"/>
              <a:gd name="connsiteX8" fmla="*/ 484108 w 1641276"/>
              <a:gd name="connsiteY8" fmla="*/ 106600 h 985769"/>
              <a:gd name="connsiteX9" fmla="*/ 483356 w 1641276"/>
              <a:gd name="connsiteY9" fmla="*/ 104410 h 985769"/>
              <a:gd name="connsiteX10" fmla="*/ 483372 w 1641276"/>
              <a:gd name="connsiteY10" fmla="*/ 98353 h 985769"/>
              <a:gd name="connsiteX11" fmla="*/ 492691 w 1641276"/>
              <a:gd name="connsiteY11" fmla="*/ 86106 h 985769"/>
              <a:gd name="connsiteX12" fmla="*/ 497150 w 1641276"/>
              <a:gd name="connsiteY12" fmla="*/ 84854 h 985769"/>
              <a:gd name="connsiteX13" fmla="*/ 497220 w 1641276"/>
              <a:gd name="connsiteY13" fmla="*/ 84934 h 985769"/>
              <a:gd name="connsiteX14" fmla="*/ 1492887 w 1641276"/>
              <a:gd name="connsiteY14" fmla="*/ 661704 h 985769"/>
              <a:gd name="connsiteX15" fmla="*/ 1078703 w 1641276"/>
              <a:gd name="connsiteY15" fmla="*/ 900833 h 985769"/>
              <a:gd name="connsiteX16" fmla="*/ 118741 w 1641276"/>
              <a:gd name="connsiteY16" fmla="*/ 348530 h 985769"/>
              <a:gd name="connsiteX17" fmla="*/ 86141 w 1641276"/>
              <a:gd name="connsiteY17" fmla="*/ 343009 h 985769"/>
              <a:gd name="connsiteX18" fmla="*/ 43539 w 1641276"/>
              <a:gd name="connsiteY18" fmla="*/ 356866 h 985769"/>
              <a:gd name="connsiteX19" fmla="*/ 14421 w 1641276"/>
              <a:gd name="connsiteY19" fmla="*/ 388102 h 985769"/>
              <a:gd name="connsiteX20" fmla="*/ 911 w 1641276"/>
              <a:gd name="connsiteY20" fmla="*/ 440482 h 985769"/>
              <a:gd name="connsiteX21" fmla="*/ 1628 w 1641276"/>
              <a:gd name="connsiteY21" fmla="*/ 555445 h 985769"/>
              <a:gd name="connsiteX22" fmla="*/ 4867 w 1641276"/>
              <a:gd name="connsiteY22" fmla="*/ 564878 h 985769"/>
              <a:gd name="connsiteX23" fmla="*/ 42843 w 1641276"/>
              <a:gd name="connsiteY23" fmla="*/ 579681 h 985769"/>
              <a:gd name="connsiteX24" fmla="*/ 84057 w 1641276"/>
              <a:gd name="connsiteY24" fmla="*/ 555446 h 985769"/>
              <a:gd name="connsiteX25" fmla="*/ 84058 w 1641276"/>
              <a:gd name="connsiteY25" fmla="*/ 449501 h 985769"/>
              <a:gd name="connsiteX26" fmla="*/ 83306 w 1641276"/>
              <a:gd name="connsiteY26" fmla="*/ 447311 h 985769"/>
              <a:gd name="connsiteX27" fmla="*/ 83322 w 1641276"/>
              <a:gd name="connsiteY27" fmla="*/ 441254 h 985769"/>
              <a:gd name="connsiteX28" fmla="*/ 92641 w 1641276"/>
              <a:gd name="connsiteY28" fmla="*/ 429007 h 985769"/>
              <a:gd name="connsiteX29" fmla="*/ 97100 w 1641276"/>
              <a:gd name="connsiteY29" fmla="*/ 427755 h 985769"/>
              <a:gd name="connsiteX30" fmla="*/ 97170 w 1641276"/>
              <a:gd name="connsiteY30" fmla="*/ 427835 h 985769"/>
              <a:gd name="connsiteX31" fmla="*/ 1053794 w 1641276"/>
              <a:gd name="connsiteY31" fmla="*/ 982959 h 985769"/>
              <a:gd name="connsiteX32" fmla="*/ 1108704 w 1641276"/>
              <a:gd name="connsiteY32" fmla="*/ 975622 h 985769"/>
              <a:gd name="connsiteX33" fmla="*/ 1602965 w 1641276"/>
              <a:gd name="connsiteY33" fmla="*/ 692174 h 985769"/>
              <a:gd name="connsiteX34" fmla="*/ 1607747 w 1641276"/>
              <a:gd name="connsiteY34" fmla="*/ 642400 h 985769"/>
              <a:gd name="connsiteX35" fmla="*/ 1595157 w 1641276"/>
              <a:gd name="connsiteY35" fmla="*/ 625705 h 985769"/>
              <a:gd name="connsiteX36" fmla="*/ 518791 w 1641276"/>
              <a:gd name="connsiteY36" fmla="*/ 5629 h 985769"/>
              <a:gd name="connsiteX37" fmla="*/ 486191 w 1641276"/>
              <a:gd name="connsiteY37" fmla="*/ 108 h 985769"/>
              <a:gd name="connsiteX0" fmla="*/ 486191 w 1699622"/>
              <a:gd name="connsiteY0" fmla="*/ 108 h 985769"/>
              <a:gd name="connsiteX1" fmla="*/ 443589 w 1699622"/>
              <a:gd name="connsiteY1" fmla="*/ 13965 h 985769"/>
              <a:gd name="connsiteX2" fmla="*/ 414471 w 1699622"/>
              <a:gd name="connsiteY2" fmla="*/ 45201 h 985769"/>
              <a:gd name="connsiteX3" fmla="*/ 400961 w 1699622"/>
              <a:gd name="connsiteY3" fmla="*/ 97581 h 985769"/>
              <a:gd name="connsiteX4" fmla="*/ 401678 w 1699622"/>
              <a:gd name="connsiteY4" fmla="*/ 212544 h 985769"/>
              <a:gd name="connsiteX5" fmla="*/ 404917 w 1699622"/>
              <a:gd name="connsiteY5" fmla="*/ 221977 h 985769"/>
              <a:gd name="connsiteX6" fmla="*/ 442893 w 1699622"/>
              <a:gd name="connsiteY6" fmla="*/ 236780 h 985769"/>
              <a:gd name="connsiteX7" fmla="*/ 484107 w 1699622"/>
              <a:gd name="connsiteY7" fmla="*/ 212545 h 985769"/>
              <a:gd name="connsiteX8" fmla="*/ 484108 w 1699622"/>
              <a:gd name="connsiteY8" fmla="*/ 106600 h 985769"/>
              <a:gd name="connsiteX9" fmla="*/ 483356 w 1699622"/>
              <a:gd name="connsiteY9" fmla="*/ 104410 h 985769"/>
              <a:gd name="connsiteX10" fmla="*/ 483372 w 1699622"/>
              <a:gd name="connsiteY10" fmla="*/ 98353 h 985769"/>
              <a:gd name="connsiteX11" fmla="*/ 492691 w 1699622"/>
              <a:gd name="connsiteY11" fmla="*/ 86106 h 985769"/>
              <a:gd name="connsiteX12" fmla="*/ 497150 w 1699622"/>
              <a:gd name="connsiteY12" fmla="*/ 84854 h 985769"/>
              <a:gd name="connsiteX13" fmla="*/ 497220 w 1699622"/>
              <a:gd name="connsiteY13" fmla="*/ 84934 h 985769"/>
              <a:gd name="connsiteX14" fmla="*/ 1492887 w 1699622"/>
              <a:gd name="connsiteY14" fmla="*/ 661704 h 985769"/>
              <a:gd name="connsiteX15" fmla="*/ 1078703 w 1699622"/>
              <a:gd name="connsiteY15" fmla="*/ 900833 h 985769"/>
              <a:gd name="connsiteX16" fmla="*/ 118741 w 1699622"/>
              <a:gd name="connsiteY16" fmla="*/ 348530 h 985769"/>
              <a:gd name="connsiteX17" fmla="*/ 86141 w 1699622"/>
              <a:gd name="connsiteY17" fmla="*/ 343009 h 985769"/>
              <a:gd name="connsiteX18" fmla="*/ 43539 w 1699622"/>
              <a:gd name="connsiteY18" fmla="*/ 356866 h 985769"/>
              <a:gd name="connsiteX19" fmla="*/ 14421 w 1699622"/>
              <a:gd name="connsiteY19" fmla="*/ 388102 h 985769"/>
              <a:gd name="connsiteX20" fmla="*/ 911 w 1699622"/>
              <a:gd name="connsiteY20" fmla="*/ 440482 h 985769"/>
              <a:gd name="connsiteX21" fmla="*/ 1628 w 1699622"/>
              <a:gd name="connsiteY21" fmla="*/ 555445 h 985769"/>
              <a:gd name="connsiteX22" fmla="*/ 4867 w 1699622"/>
              <a:gd name="connsiteY22" fmla="*/ 564878 h 985769"/>
              <a:gd name="connsiteX23" fmla="*/ 42843 w 1699622"/>
              <a:gd name="connsiteY23" fmla="*/ 579681 h 985769"/>
              <a:gd name="connsiteX24" fmla="*/ 84057 w 1699622"/>
              <a:gd name="connsiteY24" fmla="*/ 555446 h 985769"/>
              <a:gd name="connsiteX25" fmla="*/ 84058 w 1699622"/>
              <a:gd name="connsiteY25" fmla="*/ 449501 h 985769"/>
              <a:gd name="connsiteX26" fmla="*/ 83306 w 1699622"/>
              <a:gd name="connsiteY26" fmla="*/ 447311 h 985769"/>
              <a:gd name="connsiteX27" fmla="*/ 83322 w 1699622"/>
              <a:gd name="connsiteY27" fmla="*/ 441254 h 985769"/>
              <a:gd name="connsiteX28" fmla="*/ 92641 w 1699622"/>
              <a:gd name="connsiteY28" fmla="*/ 429007 h 985769"/>
              <a:gd name="connsiteX29" fmla="*/ 97100 w 1699622"/>
              <a:gd name="connsiteY29" fmla="*/ 427755 h 985769"/>
              <a:gd name="connsiteX30" fmla="*/ 97170 w 1699622"/>
              <a:gd name="connsiteY30" fmla="*/ 427835 h 985769"/>
              <a:gd name="connsiteX31" fmla="*/ 1053794 w 1699622"/>
              <a:gd name="connsiteY31" fmla="*/ 982959 h 985769"/>
              <a:gd name="connsiteX32" fmla="*/ 1108704 w 1699622"/>
              <a:gd name="connsiteY32" fmla="*/ 975622 h 985769"/>
              <a:gd name="connsiteX33" fmla="*/ 1602965 w 1699622"/>
              <a:gd name="connsiteY33" fmla="*/ 692174 h 985769"/>
              <a:gd name="connsiteX34" fmla="*/ 1595157 w 1699622"/>
              <a:gd name="connsiteY34" fmla="*/ 625705 h 985769"/>
              <a:gd name="connsiteX35" fmla="*/ 518791 w 1699622"/>
              <a:gd name="connsiteY35" fmla="*/ 5629 h 985769"/>
              <a:gd name="connsiteX36" fmla="*/ 486191 w 1699622"/>
              <a:gd name="connsiteY36" fmla="*/ 108 h 985769"/>
              <a:gd name="connsiteX0" fmla="*/ 486191 w 1699622"/>
              <a:gd name="connsiteY0" fmla="*/ 108 h 985769"/>
              <a:gd name="connsiteX1" fmla="*/ 443589 w 1699622"/>
              <a:gd name="connsiteY1" fmla="*/ 13965 h 985769"/>
              <a:gd name="connsiteX2" fmla="*/ 414471 w 1699622"/>
              <a:gd name="connsiteY2" fmla="*/ 45201 h 985769"/>
              <a:gd name="connsiteX3" fmla="*/ 400961 w 1699622"/>
              <a:gd name="connsiteY3" fmla="*/ 97581 h 985769"/>
              <a:gd name="connsiteX4" fmla="*/ 401678 w 1699622"/>
              <a:gd name="connsiteY4" fmla="*/ 212544 h 985769"/>
              <a:gd name="connsiteX5" fmla="*/ 404917 w 1699622"/>
              <a:gd name="connsiteY5" fmla="*/ 221977 h 985769"/>
              <a:gd name="connsiteX6" fmla="*/ 442893 w 1699622"/>
              <a:gd name="connsiteY6" fmla="*/ 236780 h 985769"/>
              <a:gd name="connsiteX7" fmla="*/ 484107 w 1699622"/>
              <a:gd name="connsiteY7" fmla="*/ 212545 h 985769"/>
              <a:gd name="connsiteX8" fmla="*/ 484108 w 1699622"/>
              <a:gd name="connsiteY8" fmla="*/ 106600 h 985769"/>
              <a:gd name="connsiteX9" fmla="*/ 483356 w 1699622"/>
              <a:gd name="connsiteY9" fmla="*/ 104410 h 985769"/>
              <a:gd name="connsiteX10" fmla="*/ 483372 w 1699622"/>
              <a:gd name="connsiteY10" fmla="*/ 98353 h 985769"/>
              <a:gd name="connsiteX11" fmla="*/ 492691 w 1699622"/>
              <a:gd name="connsiteY11" fmla="*/ 86106 h 985769"/>
              <a:gd name="connsiteX12" fmla="*/ 497150 w 1699622"/>
              <a:gd name="connsiteY12" fmla="*/ 84854 h 985769"/>
              <a:gd name="connsiteX13" fmla="*/ 497220 w 1699622"/>
              <a:gd name="connsiteY13" fmla="*/ 84934 h 985769"/>
              <a:gd name="connsiteX14" fmla="*/ 1492887 w 1699622"/>
              <a:gd name="connsiteY14" fmla="*/ 661704 h 985769"/>
              <a:gd name="connsiteX15" fmla="*/ 1078703 w 1699622"/>
              <a:gd name="connsiteY15" fmla="*/ 900833 h 985769"/>
              <a:gd name="connsiteX16" fmla="*/ 118741 w 1699622"/>
              <a:gd name="connsiteY16" fmla="*/ 348530 h 985769"/>
              <a:gd name="connsiteX17" fmla="*/ 86141 w 1699622"/>
              <a:gd name="connsiteY17" fmla="*/ 343009 h 985769"/>
              <a:gd name="connsiteX18" fmla="*/ 43539 w 1699622"/>
              <a:gd name="connsiteY18" fmla="*/ 356866 h 985769"/>
              <a:gd name="connsiteX19" fmla="*/ 14421 w 1699622"/>
              <a:gd name="connsiteY19" fmla="*/ 388102 h 985769"/>
              <a:gd name="connsiteX20" fmla="*/ 911 w 1699622"/>
              <a:gd name="connsiteY20" fmla="*/ 440482 h 985769"/>
              <a:gd name="connsiteX21" fmla="*/ 1628 w 1699622"/>
              <a:gd name="connsiteY21" fmla="*/ 555445 h 985769"/>
              <a:gd name="connsiteX22" fmla="*/ 4867 w 1699622"/>
              <a:gd name="connsiteY22" fmla="*/ 564878 h 985769"/>
              <a:gd name="connsiteX23" fmla="*/ 42843 w 1699622"/>
              <a:gd name="connsiteY23" fmla="*/ 579681 h 985769"/>
              <a:gd name="connsiteX24" fmla="*/ 84057 w 1699622"/>
              <a:gd name="connsiteY24" fmla="*/ 555446 h 985769"/>
              <a:gd name="connsiteX25" fmla="*/ 84058 w 1699622"/>
              <a:gd name="connsiteY25" fmla="*/ 449501 h 985769"/>
              <a:gd name="connsiteX26" fmla="*/ 83306 w 1699622"/>
              <a:gd name="connsiteY26" fmla="*/ 447311 h 985769"/>
              <a:gd name="connsiteX27" fmla="*/ 83322 w 1699622"/>
              <a:gd name="connsiteY27" fmla="*/ 441254 h 985769"/>
              <a:gd name="connsiteX28" fmla="*/ 92641 w 1699622"/>
              <a:gd name="connsiteY28" fmla="*/ 429007 h 985769"/>
              <a:gd name="connsiteX29" fmla="*/ 97100 w 1699622"/>
              <a:gd name="connsiteY29" fmla="*/ 427755 h 985769"/>
              <a:gd name="connsiteX30" fmla="*/ 97170 w 1699622"/>
              <a:gd name="connsiteY30" fmla="*/ 427835 h 985769"/>
              <a:gd name="connsiteX31" fmla="*/ 1053794 w 1699622"/>
              <a:gd name="connsiteY31" fmla="*/ 982959 h 985769"/>
              <a:gd name="connsiteX32" fmla="*/ 1108704 w 1699622"/>
              <a:gd name="connsiteY32" fmla="*/ 975622 h 985769"/>
              <a:gd name="connsiteX33" fmla="*/ 1602965 w 1699622"/>
              <a:gd name="connsiteY33" fmla="*/ 692174 h 985769"/>
              <a:gd name="connsiteX34" fmla="*/ 1595157 w 1699622"/>
              <a:gd name="connsiteY34" fmla="*/ 625705 h 985769"/>
              <a:gd name="connsiteX35" fmla="*/ 518791 w 1699622"/>
              <a:gd name="connsiteY35" fmla="*/ 5629 h 985769"/>
              <a:gd name="connsiteX36" fmla="*/ 486191 w 1699622"/>
              <a:gd name="connsiteY36" fmla="*/ 108 h 985769"/>
              <a:gd name="connsiteX0" fmla="*/ 486191 w 1699622"/>
              <a:gd name="connsiteY0" fmla="*/ 108 h 982959"/>
              <a:gd name="connsiteX1" fmla="*/ 443589 w 1699622"/>
              <a:gd name="connsiteY1" fmla="*/ 13965 h 982959"/>
              <a:gd name="connsiteX2" fmla="*/ 414471 w 1699622"/>
              <a:gd name="connsiteY2" fmla="*/ 45201 h 982959"/>
              <a:gd name="connsiteX3" fmla="*/ 400961 w 1699622"/>
              <a:gd name="connsiteY3" fmla="*/ 97581 h 982959"/>
              <a:gd name="connsiteX4" fmla="*/ 401678 w 1699622"/>
              <a:gd name="connsiteY4" fmla="*/ 212544 h 982959"/>
              <a:gd name="connsiteX5" fmla="*/ 404917 w 1699622"/>
              <a:gd name="connsiteY5" fmla="*/ 221977 h 982959"/>
              <a:gd name="connsiteX6" fmla="*/ 442893 w 1699622"/>
              <a:gd name="connsiteY6" fmla="*/ 236780 h 982959"/>
              <a:gd name="connsiteX7" fmla="*/ 484107 w 1699622"/>
              <a:gd name="connsiteY7" fmla="*/ 212545 h 982959"/>
              <a:gd name="connsiteX8" fmla="*/ 484108 w 1699622"/>
              <a:gd name="connsiteY8" fmla="*/ 106600 h 982959"/>
              <a:gd name="connsiteX9" fmla="*/ 483356 w 1699622"/>
              <a:gd name="connsiteY9" fmla="*/ 104410 h 982959"/>
              <a:gd name="connsiteX10" fmla="*/ 483372 w 1699622"/>
              <a:gd name="connsiteY10" fmla="*/ 98353 h 982959"/>
              <a:gd name="connsiteX11" fmla="*/ 492691 w 1699622"/>
              <a:gd name="connsiteY11" fmla="*/ 86106 h 982959"/>
              <a:gd name="connsiteX12" fmla="*/ 497150 w 1699622"/>
              <a:gd name="connsiteY12" fmla="*/ 84854 h 982959"/>
              <a:gd name="connsiteX13" fmla="*/ 497220 w 1699622"/>
              <a:gd name="connsiteY13" fmla="*/ 84934 h 982959"/>
              <a:gd name="connsiteX14" fmla="*/ 1492887 w 1699622"/>
              <a:gd name="connsiteY14" fmla="*/ 661704 h 982959"/>
              <a:gd name="connsiteX15" fmla="*/ 1078703 w 1699622"/>
              <a:gd name="connsiteY15" fmla="*/ 900833 h 982959"/>
              <a:gd name="connsiteX16" fmla="*/ 118741 w 1699622"/>
              <a:gd name="connsiteY16" fmla="*/ 348530 h 982959"/>
              <a:gd name="connsiteX17" fmla="*/ 86141 w 1699622"/>
              <a:gd name="connsiteY17" fmla="*/ 343009 h 982959"/>
              <a:gd name="connsiteX18" fmla="*/ 43539 w 1699622"/>
              <a:gd name="connsiteY18" fmla="*/ 356866 h 982959"/>
              <a:gd name="connsiteX19" fmla="*/ 14421 w 1699622"/>
              <a:gd name="connsiteY19" fmla="*/ 388102 h 982959"/>
              <a:gd name="connsiteX20" fmla="*/ 911 w 1699622"/>
              <a:gd name="connsiteY20" fmla="*/ 440482 h 982959"/>
              <a:gd name="connsiteX21" fmla="*/ 1628 w 1699622"/>
              <a:gd name="connsiteY21" fmla="*/ 555445 h 982959"/>
              <a:gd name="connsiteX22" fmla="*/ 4867 w 1699622"/>
              <a:gd name="connsiteY22" fmla="*/ 564878 h 982959"/>
              <a:gd name="connsiteX23" fmla="*/ 42843 w 1699622"/>
              <a:gd name="connsiteY23" fmla="*/ 579681 h 982959"/>
              <a:gd name="connsiteX24" fmla="*/ 84057 w 1699622"/>
              <a:gd name="connsiteY24" fmla="*/ 555446 h 982959"/>
              <a:gd name="connsiteX25" fmla="*/ 84058 w 1699622"/>
              <a:gd name="connsiteY25" fmla="*/ 449501 h 982959"/>
              <a:gd name="connsiteX26" fmla="*/ 83306 w 1699622"/>
              <a:gd name="connsiteY26" fmla="*/ 447311 h 982959"/>
              <a:gd name="connsiteX27" fmla="*/ 83322 w 1699622"/>
              <a:gd name="connsiteY27" fmla="*/ 441254 h 982959"/>
              <a:gd name="connsiteX28" fmla="*/ 92641 w 1699622"/>
              <a:gd name="connsiteY28" fmla="*/ 429007 h 982959"/>
              <a:gd name="connsiteX29" fmla="*/ 97100 w 1699622"/>
              <a:gd name="connsiteY29" fmla="*/ 427755 h 982959"/>
              <a:gd name="connsiteX30" fmla="*/ 97170 w 1699622"/>
              <a:gd name="connsiteY30" fmla="*/ 427835 h 982959"/>
              <a:gd name="connsiteX31" fmla="*/ 1053794 w 1699622"/>
              <a:gd name="connsiteY31" fmla="*/ 982959 h 982959"/>
              <a:gd name="connsiteX32" fmla="*/ 1108704 w 1699622"/>
              <a:gd name="connsiteY32" fmla="*/ 975622 h 982959"/>
              <a:gd name="connsiteX33" fmla="*/ 1602965 w 1699622"/>
              <a:gd name="connsiteY33" fmla="*/ 692174 h 982959"/>
              <a:gd name="connsiteX34" fmla="*/ 1595157 w 1699622"/>
              <a:gd name="connsiteY34" fmla="*/ 625705 h 982959"/>
              <a:gd name="connsiteX35" fmla="*/ 518791 w 1699622"/>
              <a:gd name="connsiteY35" fmla="*/ 5629 h 982959"/>
              <a:gd name="connsiteX36" fmla="*/ 486191 w 1699622"/>
              <a:gd name="connsiteY36" fmla="*/ 108 h 982959"/>
              <a:gd name="connsiteX0" fmla="*/ 486191 w 1681574"/>
              <a:gd name="connsiteY0" fmla="*/ 108 h 982959"/>
              <a:gd name="connsiteX1" fmla="*/ 443589 w 1681574"/>
              <a:gd name="connsiteY1" fmla="*/ 13965 h 982959"/>
              <a:gd name="connsiteX2" fmla="*/ 414471 w 1681574"/>
              <a:gd name="connsiteY2" fmla="*/ 45201 h 982959"/>
              <a:gd name="connsiteX3" fmla="*/ 400961 w 1681574"/>
              <a:gd name="connsiteY3" fmla="*/ 97581 h 982959"/>
              <a:gd name="connsiteX4" fmla="*/ 401678 w 1681574"/>
              <a:gd name="connsiteY4" fmla="*/ 212544 h 982959"/>
              <a:gd name="connsiteX5" fmla="*/ 404917 w 1681574"/>
              <a:gd name="connsiteY5" fmla="*/ 221977 h 982959"/>
              <a:gd name="connsiteX6" fmla="*/ 442893 w 1681574"/>
              <a:gd name="connsiteY6" fmla="*/ 236780 h 982959"/>
              <a:gd name="connsiteX7" fmla="*/ 484107 w 1681574"/>
              <a:gd name="connsiteY7" fmla="*/ 212545 h 982959"/>
              <a:gd name="connsiteX8" fmla="*/ 484108 w 1681574"/>
              <a:gd name="connsiteY8" fmla="*/ 106600 h 982959"/>
              <a:gd name="connsiteX9" fmla="*/ 483356 w 1681574"/>
              <a:gd name="connsiteY9" fmla="*/ 104410 h 982959"/>
              <a:gd name="connsiteX10" fmla="*/ 483372 w 1681574"/>
              <a:gd name="connsiteY10" fmla="*/ 98353 h 982959"/>
              <a:gd name="connsiteX11" fmla="*/ 492691 w 1681574"/>
              <a:gd name="connsiteY11" fmla="*/ 86106 h 982959"/>
              <a:gd name="connsiteX12" fmla="*/ 497150 w 1681574"/>
              <a:gd name="connsiteY12" fmla="*/ 84854 h 982959"/>
              <a:gd name="connsiteX13" fmla="*/ 497220 w 1681574"/>
              <a:gd name="connsiteY13" fmla="*/ 84934 h 982959"/>
              <a:gd name="connsiteX14" fmla="*/ 1492887 w 1681574"/>
              <a:gd name="connsiteY14" fmla="*/ 661704 h 982959"/>
              <a:gd name="connsiteX15" fmla="*/ 1078703 w 1681574"/>
              <a:gd name="connsiteY15" fmla="*/ 900833 h 982959"/>
              <a:gd name="connsiteX16" fmla="*/ 118741 w 1681574"/>
              <a:gd name="connsiteY16" fmla="*/ 348530 h 982959"/>
              <a:gd name="connsiteX17" fmla="*/ 86141 w 1681574"/>
              <a:gd name="connsiteY17" fmla="*/ 343009 h 982959"/>
              <a:gd name="connsiteX18" fmla="*/ 43539 w 1681574"/>
              <a:gd name="connsiteY18" fmla="*/ 356866 h 982959"/>
              <a:gd name="connsiteX19" fmla="*/ 14421 w 1681574"/>
              <a:gd name="connsiteY19" fmla="*/ 388102 h 982959"/>
              <a:gd name="connsiteX20" fmla="*/ 911 w 1681574"/>
              <a:gd name="connsiteY20" fmla="*/ 440482 h 982959"/>
              <a:gd name="connsiteX21" fmla="*/ 1628 w 1681574"/>
              <a:gd name="connsiteY21" fmla="*/ 555445 h 982959"/>
              <a:gd name="connsiteX22" fmla="*/ 4867 w 1681574"/>
              <a:gd name="connsiteY22" fmla="*/ 564878 h 982959"/>
              <a:gd name="connsiteX23" fmla="*/ 42843 w 1681574"/>
              <a:gd name="connsiteY23" fmla="*/ 579681 h 982959"/>
              <a:gd name="connsiteX24" fmla="*/ 84057 w 1681574"/>
              <a:gd name="connsiteY24" fmla="*/ 555446 h 982959"/>
              <a:gd name="connsiteX25" fmla="*/ 84058 w 1681574"/>
              <a:gd name="connsiteY25" fmla="*/ 449501 h 982959"/>
              <a:gd name="connsiteX26" fmla="*/ 83306 w 1681574"/>
              <a:gd name="connsiteY26" fmla="*/ 447311 h 982959"/>
              <a:gd name="connsiteX27" fmla="*/ 83322 w 1681574"/>
              <a:gd name="connsiteY27" fmla="*/ 441254 h 982959"/>
              <a:gd name="connsiteX28" fmla="*/ 92641 w 1681574"/>
              <a:gd name="connsiteY28" fmla="*/ 429007 h 982959"/>
              <a:gd name="connsiteX29" fmla="*/ 97100 w 1681574"/>
              <a:gd name="connsiteY29" fmla="*/ 427755 h 982959"/>
              <a:gd name="connsiteX30" fmla="*/ 97170 w 1681574"/>
              <a:gd name="connsiteY30" fmla="*/ 427835 h 982959"/>
              <a:gd name="connsiteX31" fmla="*/ 1053794 w 1681574"/>
              <a:gd name="connsiteY31" fmla="*/ 982959 h 982959"/>
              <a:gd name="connsiteX32" fmla="*/ 1108704 w 1681574"/>
              <a:gd name="connsiteY32" fmla="*/ 975622 h 982959"/>
              <a:gd name="connsiteX33" fmla="*/ 1602965 w 1681574"/>
              <a:gd name="connsiteY33" fmla="*/ 692174 h 982959"/>
              <a:gd name="connsiteX34" fmla="*/ 1595157 w 1681574"/>
              <a:gd name="connsiteY34" fmla="*/ 625705 h 982959"/>
              <a:gd name="connsiteX35" fmla="*/ 518791 w 1681574"/>
              <a:gd name="connsiteY35" fmla="*/ 5629 h 982959"/>
              <a:gd name="connsiteX36" fmla="*/ 486191 w 1681574"/>
              <a:gd name="connsiteY36" fmla="*/ 108 h 982959"/>
              <a:gd name="connsiteX0" fmla="*/ 486191 w 1618660"/>
              <a:gd name="connsiteY0" fmla="*/ 108 h 982959"/>
              <a:gd name="connsiteX1" fmla="*/ 443589 w 1618660"/>
              <a:gd name="connsiteY1" fmla="*/ 13965 h 982959"/>
              <a:gd name="connsiteX2" fmla="*/ 414471 w 1618660"/>
              <a:gd name="connsiteY2" fmla="*/ 45201 h 982959"/>
              <a:gd name="connsiteX3" fmla="*/ 400961 w 1618660"/>
              <a:gd name="connsiteY3" fmla="*/ 97581 h 982959"/>
              <a:gd name="connsiteX4" fmla="*/ 401678 w 1618660"/>
              <a:gd name="connsiteY4" fmla="*/ 212544 h 982959"/>
              <a:gd name="connsiteX5" fmla="*/ 404917 w 1618660"/>
              <a:gd name="connsiteY5" fmla="*/ 221977 h 982959"/>
              <a:gd name="connsiteX6" fmla="*/ 442893 w 1618660"/>
              <a:gd name="connsiteY6" fmla="*/ 236780 h 982959"/>
              <a:gd name="connsiteX7" fmla="*/ 484107 w 1618660"/>
              <a:gd name="connsiteY7" fmla="*/ 212545 h 982959"/>
              <a:gd name="connsiteX8" fmla="*/ 484108 w 1618660"/>
              <a:gd name="connsiteY8" fmla="*/ 106600 h 982959"/>
              <a:gd name="connsiteX9" fmla="*/ 483356 w 1618660"/>
              <a:gd name="connsiteY9" fmla="*/ 104410 h 982959"/>
              <a:gd name="connsiteX10" fmla="*/ 483372 w 1618660"/>
              <a:gd name="connsiteY10" fmla="*/ 98353 h 982959"/>
              <a:gd name="connsiteX11" fmla="*/ 492691 w 1618660"/>
              <a:gd name="connsiteY11" fmla="*/ 86106 h 982959"/>
              <a:gd name="connsiteX12" fmla="*/ 497150 w 1618660"/>
              <a:gd name="connsiteY12" fmla="*/ 84854 h 982959"/>
              <a:gd name="connsiteX13" fmla="*/ 497220 w 1618660"/>
              <a:gd name="connsiteY13" fmla="*/ 84934 h 982959"/>
              <a:gd name="connsiteX14" fmla="*/ 1492887 w 1618660"/>
              <a:gd name="connsiteY14" fmla="*/ 661704 h 982959"/>
              <a:gd name="connsiteX15" fmla="*/ 1078703 w 1618660"/>
              <a:gd name="connsiteY15" fmla="*/ 900833 h 982959"/>
              <a:gd name="connsiteX16" fmla="*/ 118741 w 1618660"/>
              <a:gd name="connsiteY16" fmla="*/ 348530 h 982959"/>
              <a:gd name="connsiteX17" fmla="*/ 86141 w 1618660"/>
              <a:gd name="connsiteY17" fmla="*/ 343009 h 982959"/>
              <a:gd name="connsiteX18" fmla="*/ 43539 w 1618660"/>
              <a:gd name="connsiteY18" fmla="*/ 356866 h 982959"/>
              <a:gd name="connsiteX19" fmla="*/ 14421 w 1618660"/>
              <a:gd name="connsiteY19" fmla="*/ 388102 h 982959"/>
              <a:gd name="connsiteX20" fmla="*/ 911 w 1618660"/>
              <a:gd name="connsiteY20" fmla="*/ 440482 h 982959"/>
              <a:gd name="connsiteX21" fmla="*/ 1628 w 1618660"/>
              <a:gd name="connsiteY21" fmla="*/ 555445 h 982959"/>
              <a:gd name="connsiteX22" fmla="*/ 4867 w 1618660"/>
              <a:gd name="connsiteY22" fmla="*/ 564878 h 982959"/>
              <a:gd name="connsiteX23" fmla="*/ 42843 w 1618660"/>
              <a:gd name="connsiteY23" fmla="*/ 579681 h 982959"/>
              <a:gd name="connsiteX24" fmla="*/ 84057 w 1618660"/>
              <a:gd name="connsiteY24" fmla="*/ 555446 h 982959"/>
              <a:gd name="connsiteX25" fmla="*/ 84058 w 1618660"/>
              <a:gd name="connsiteY25" fmla="*/ 449501 h 982959"/>
              <a:gd name="connsiteX26" fmla="*/ 83306 w 1618660"/>
              <a:gd name="connsiteY26" fmla="*/ 447311 h 982959"/>
              <a:gd name="connsiteX27" fmla="*/ 83322 w 1618660"/>
              <a:gd name="connsiteY27" fmla="*/ 441254 h 982959"/>
              <a:gd name="connsiteX28" fmla="*/ 92641 w 1618660"/>
              <a:gd name="connsiteY28" fmla="*/ 429007 h 982959"/>
              <a:gd name="connsiteX29" fmla="*/ 97100 w 1618660"/>
              <a:gd name="connsiteY29" fmla="*/ 427755 h 982959"/>
              <a:gd name="connsiteX30" fmla="*/ 97170 w 1618660"/>
              <a:gd name="connsiteY30" fmla="*/ 427835 h 982959"/>
              <a:gd name="connsiteX31" fmla="*/ 1053794 w 1618660"/>
              <a:gd name="connsiteY31" fmla="*/ 982959 h 982959"/>
              <a:gd name="connsiteX32" fmla="*/ 1108704 w 1618660"/>
              <a:gd name="connsiteY32" fmla="*/ 975622 h 982959"/>
              <a:gd name="connsiteX33" fmla="*/ 1602965 w 1618660"/>
              <a:gd name="connsiteY33" fmla="*/ 692174 h 982959"/>
              <a:gd name="connsiteX34" fmla="*/ 1595157 w 1618660"/>
              <a:gd name="connsiteY34" fmla="*/ 625705 h 982959"/>
              <a:gd name="connsiteX35" fmla="*/ 518791 w 1618660"/>
              <a:gd name="connsiteY35" fmla="*/ 5629 h 982959"/>
              <a:gd name="connsiteX36" fmla="*/ 486191 w 1618660"/>
              <a:gd name="connsiteY36" fmla="*/ 108 h 982959"/>
              <a:gd name="connsiteX0" fmla="*/ 486191 w 1618660"/>
              <a:gd name="connsiteY0" fmla="*/ 108 h 985768"/>
              <a:gd name="connsiteX1" fmla="*/ 443589 w 1618660"/>
              <a:gd name="connsiteY1" fmla="*/ 13965 h 985768"/>
              <a:gd name="connsiteX2" fmla="*/ 414471 w 1618660"/>
              <a:gd name="connsiteY2" fmla="*/ 45201 h 985768"/>
              <a:gd name="connsiteX3" fmla="*/ 400961 w 1618660"/>
              <a:gd name="connsiteY3" fmla="*/ 97581 h 985768"/>
              <a:gd name="connsiteX4" fmla="*/ 401678 w 1618660"/>
              <a:gd name="connsiteY4" fmla="*/ 212544 h 985768"/>
              <a:gd name="connsiteX5" fmla="*/ 404917 w 1618660"/>
              <a:gd name="connsiteY5" fmla="*/ 221977 h 985768"/>
              <a:gd name="connsiteX6" fmla="*/ 442893 w 1618660"/>
              <a:gd name="connsiteY6" fmla="*/ 236780 h 985768"/>
              <a:gd name="connsiteX7" fmla="*/ 484107 w 1618660"/>
              <a:gd name="connsiteY7" fmla="*/ 212545 h 985768"/>
              <a:gd name="connsiteX8" fmla="*/ 484108 w 1618660"/>
              <a:gd name="connsiteY8" fmla="*/ 106600 h 985768"/>
              <a:gd name="connsiteX9" fmla="*/ 483356 w 1618660"/>
              <a:gd name="connsiteY9" fmla="*/ 104410 h 985768"/>
              <a:gd name="connsiteX10" fmla="*/ 483372 w 1618660"/>
              <a:gd name="connsiteY10" fmla="*/ 98353 h 985768"/>
              <a:gd name="connsiteX11" fmla="*/ 492691 w 1618660"/>
              <a:gd name="connsiteY11" fmla="*/ 86106 h 985768"/>
              <a:gd name="connsiteX12" fmla="*/ 497150 w 1618660"/>
              <a:gd name="connsiteY12" fmla="*/ 84854 h 985768"/>
              <a:gd name="connsiteX13" fmla="*/ 497220 w 1618660"/>
              <a:gd name="connsiteY13" fmla="*/ 84934 h 985768"/>
              <a:gd name="connsiteX14" fmla="*/ 1492887 w 1618660"/>
              <a:gd name="connsiteY14" fmla="*/ 661704 h 985768"/>
              <a:gd name="connsiteX15" fmla="*/ 1078703 w 1618660"/>
              <a:gd name="connsiteY15" fmla="*/ 900833 h 985768"/>
              <a:gd name="connsiteX16" fmla="*/ 118741 w 1618660"/>
              <a:gd name="connsiteY16" fmla="*/ 348530 h 985768"/>
              <a:gd name="connsiteX17" fmla="*/ 86141 w 1618660"/>
              <a:gd name="connsiteY17" fmla="*/ 343009 h 985768"/>
              <a:gd name="connsiteX18" fmla="*/ 43539 w 1618660"/>
              <a:gd name="connsiteY18" fmla="*/ 356866 h 985768"/>
              <a:gd name="connsiteX19" fmla="*/ 14421 w 1618660"/>
              <a:gd name="connsiteY19" fmla="*/ 388102 h 985768"/>
              <a:gd name="connsiteX20" fmla="*/ 911 w 1618660"/>
              <a:gd name="connsiteY20" fmla="*/ 440482 h 985768"/>
              <a:gd name="connsiteX21" fmla="*/ 1628 w 1618660"/>
              <a:gd name="connsiteY21" fmla="*/ 555445 h 985768"/>
              <a:gd name="connsiteX22" fmla="*/ 4867 w 1618660"/>
              <a:gd name="connsiteY22" fmla="*/ 564878 h 985768"/>
              <a:gd name="connsiteX23" fmla="*/ 42843 w 1618660"/>
              <a:gd name="connsiteY23" fmla="*/ 579681 h 985768"/>
              <a:gd name="connsiteX24" fmla="*/ 84057 w 1618660"/>
              <a:gd name="connsiteY24" fmla="*/ 555446 h 985768"/>
              <a:gd name="connsiteX25" fmla="*/ 84058 w 1618660"/>
              <a:gd name="connsiteY25" fmla="*/ 449501 h 985768"/>
              <a:gd name="connsiteX26" fmla="*/ 83306 w 1618660"/>
              <a:gd name="connsiteY26" fmla="*/ 447311 h 985768"/>
              <a:gd name="connsiteX27" fmla="*/ 83322 w 1618660"/>
              <a:gd name="connsiteY27" fmla="*/ 441254 h 985768"/>
              <a:gd name="connsiteX28" fmla="*/ 92641 w 1618660"/>
              <a:gd name="connsiteY28" fmla="*/ 429007 h 985768"/>
              <a:gd name="connsiteX29" fmla="*/ 97100 w 1618660"/>
              <a:gd name="connsiteY29" fmla="*/ 427755 h 985768"/>
              <a:gd name="connsiteX30" fmla="*/ 97170 w 1618660"/>
              <a:gd name="connsiteY30" fmla="*/ 427835 h 985768"/>
              <a:gd name="connsiteX31" fmla="*/ 1053794 w 1618660"/>
              <a:gd name="connsiteY31" fmla="*/ 982959 h 985768"/>
              <a:gd name="connsiteX32" fmla="*/ 1108704 w 1618660"/>
              <a:gd name="connsiteY32" fmla="*/ 975622 h 985768"/>
              <a:gd name="connsiteX33" fmla="*/ 1602965 w 1618660"/>
              <a:gd name="connsiteY33" fmla="*/ 692174 h 985768"/>
              <a:gd name="connsiteX34" fmla="*/ 1595157 w 1618660"/>
              <a:gd name="connsiteY34" fmla="*/ 625705 h 985768"/>
              <a:gd name="connsiteX35" fmla="*/ 518791 w 1618660"/>
              <a:gd name="connsiteY35" fmla="*/ 5629 h 985768"/>
              <a:gd name="connsiteX36" fmla="*/ 486191 w 1618660"/>
              <a:gd name="connsiteY36" fmla="*/ 108 h 985768"/>
              <a:gd name="connsiteX0" fmla="*/ 486191 w 1618660"/>
              <a:gd name="connsiteY0" fmla="*/ 108 h 988220"/>
              <a:gd name="connsiteX1" fmla="*/ 443589 w 1618660"/>
              <a:gd name="connsiteY1" fmla="*/ 13965 h 988220"/>
              <a:gd name="connsiteX2" fmla="*/ 414471 w 1618660"/>
              <a:gd name="connsiteY2" fmla="*/ 45201 h 988220"/>
              <a:gd name="connsiteX3" fmla="*/ 400961 w 1618660"/>
              <a:gd name="connsiteY3" fmla="*/ 97581 h 988220"/>
              <a:gd name="connsiteX4" fmla="*/ 401678 w 1618660"/>
              <a:gd name="connsiteY4" fmla="*/ 212544 h 988220"/>
              <a:gd name="connsiteX5" fmla="*/ 404917 w 1618660"/>
              <a:gd name="connsiteY5" fmla="*/ 221977 h 988220"/>
              <a:gd name="connsiteX6" fmla="*/ 442893 w 1618660"/>
              <a:gd name="connsiteY6" fmla="*/ 236780 h 988220"/>
              <a:gd name="connsiteX7" fmla="*/ 484107 w 1618660"/>
              <a:gd name="connsiteY7" fmla="*/ 212545 h 988220"/>
              <a:gd name="connsiteX8" fmla="*/ 484108 w 1618660"/>
              <a:gd name="connsiteY8" fmla="*/ 106600 h 988220"/>
              <a:gd name="connsiteX9" fmla="*/ 483356 w 1618660"/>
              <a:gd name="connsiteY9" fmla="*/ 104410 h 988220"/>
              <a:gd name="connsiteX10" fmla="*/ 483372 w 1618660"/>
              <a:gd name="connsiteY10" fmla="*/ 98353 h 988220"/>
              <a:gd name="connsiteX11" fmla="*/ 492691 w 1618660"/>
              <a:gd name="connsiteY11" fmla="*/ 86106 h 988220"/>
              <a:gd name="connsiteX12" fmla="*/ 497150 w 1618660"/>
              <a:gd name="connsiteY12" fmla="*/ 84854 h 988220"/>
              <a:gd name="connsiteX13" fmla="*/ 497220 w 1618660"/>
              <a:gd name="connsiteY13" fmla="*/ 84934 h 988220"/>
              <a:gd name="connsiteX14" fmla="*/ 1492887 w 1618660"/>
              <a:gd name="connsiteY14" fmla="*/ 661704 h 988220"/>
              <a:gd name="connsiteX15" fmla="*/ 1078703 w 1618660"/>
              <a:gd name="connsiteY15" fmla="*/ 900833 h 988220"/>
              <a:gd name="connsiteX16" fmla="*/ 118741 w 1618660"/>
              <a:gd name="connsiteY16" fmla="*/ 348530 h 988220"/>
              <a:gd name="connsiteX17" fmla="*/ 86141 w 1618660"/>
              <a:gd name="connsiteY17" fmla="*/ 343009 h 988220"/>
              <a:gd name="connsiteX18" fmla="*/ 43539 w 1618660"/>
              <a:gd name="connsiteY18" fmla="*/ 356866 h 988220"/>
              <a:gd name="connsiteX19" fmla="*/ 14421 w 1618660"/>
              <a:gd name="connsiteY19" fmla="*/ 388102 h 988220"/>
              <a:gd name="connsiteX20" fmla="*/ 911 w 1618660"/>
              <a:gd name="connsiteY20" fmla="*/ 440482 h 988220"/>
              <a:gd name="connsiteX21" fmla="*/ 1628 w 1618660"/>
              <a:gd name="connsiteY21" fmla="*/ 555445 h 988220"/>
              <a:gd name="connsiteX22" fmla="*/ 4867 w 1618660"/>
              <a:gd name="connsiteY22" fmla="*/ 564878 h 988220"/>
              <a:gd name="connsiteX23" fmla="*/ 42843 w 1618660"/>
              <a:gd name="connsiteY23" fmla="*/ 579681 h 988220"/>
              <a:gd name="connsiteX24" fmla="*/ 84057 w 1618660"/>
              <a:gd name="connsiteY24" fmla="*/ 555446 h 988220"/>
              <a:gd name="connsiteX25" fmla="*/ 84058 w 1618660"/>
              <a:gd name="connsiteY25" fmla="*/ 449501 h 988220"/>
              <a:gd name="connsiteX26" fmla="*/ 83306 w 1618660"/>
              <a:gd name="connsiteY26" fmla="*/ 447311 h 988220"/>
              <a:gd name="connsiteX27" fmla="*/ 83322 w 1618660"/>
              <a:gd name="connsiteY27" fmla="*/ 441254 h 988220"/>
              <a:gd name="connsiteX28" fmla="*/ 92641 w 1618660"/>
              <a:gd name="connsiteY28" fmla="*/ 429007 h 988220"/>
              <a:gd name="connsiteX29" fmla="*/ 97100 w 1618660"/>
              <a:gd name="connsiteY29" fmla="*/ 427755 h 988220"/>
              <a:gd name="connsiteX30" fmla="*/ 97170 w 1618660"/>
              <a:gd name="connsiteY30" fmla="*/ 427835 h 988220"/>
              <a:gd name="connsiteX31" fmla="*/ 1053794 w 1618660"/>
              <a:gd name="connsiteY31" fmla="*/ 982959 h 988220"/>
              <a:gd name="connsiteX32" fmla="*/ 1108704 w 1618660"/>
              <a:gd name="connsiteY32" fmla="*/ 975622 h 988220"/>
              <a:gd name="connsiteX33" fmla="*/ 1602965 w 1618660"/>
              <a:gd name="connsiteY33" fmla="*/ 692174 h 988220"/>
              <a:gd name="connsiteX34" fmla="*/ 1595157 w 1618660"/>
              <a:gd name="connsiteY34" fmla="*/ 625705 h 988220"/>
              <a:gd name="connsiteX35" fmla="*/ 518791 w 1618660"/>
              <a:gd name="connsiteY35" fmla="*/ 5629 h 988220"/>
              <a:gd name="connsiteX36" fmla="*/ 486191 w 1618660"/>
              <a:gd name="connsiteY36" fmla="*/ 108 h 988220"/>
              <a:gd name="connsiteX0" fmla="*/ 486191 w 1618660"/>
              <a:gd name="connsiteY0" fmla="*/ 108 h 988220"/>
              <a:gd name="connsiteX1" fmla="*/ 443589 w 1618660"/>
              <a:gd name="connsiteY1" fmla="*/ 13965 h 988220"/>
              <a:gd name="connsiteX2" fmla="*/ 414471 w 1618660"/>
              <a:gd name="connsiteY2" fmla="*/ 45201 h 988220"/>
              <a:gd name="connsiteX3" fmla="*/ 400961 w 1618660"/>
              <a:gd name="connsiteY3" fmla="*/ 97581 h 988220"/>
              <a:gd name="connsiteX4" fmla="*/ 401678 w 1618660"/>
              <a:gd name="connsiteY4" fmla="*/ 212544 h 988220"/>
              <a:gd name="connsiteX5" fmla="*/ 404917 w 1618660"/>
              <a:gd name="connsiteY5" fmla="*/ 221977 h 988220"/>
              <a:gd name="connsiteX6" fmla="*/ 442893 w 1618660"/>
              <a:gd name="connsiteY6" fmla="*/ 236780 h 988220"/>
              <a:gd name="connsiteX7" fmla="*/ 484107 w 1618660"/>
              <a:gd name="connsiteY7" fmla="*/ 212545 h 988220"/>
              <a:gd name="connsiteX8" fmla="*/ 484108 w 1618660"/>
              <a:gd name="connsiteY8" fmla="*/ 106600 h 988220"/>
              <a:gd name="connsiteX9" fmla="*/ 483356 w 1618660"/>
              <a:gd name="connsiteY9" fmla="*/ 104410 h 988220"/>
              <a:gd name="connsiteX10" fmla="*/ 483372 w 1618660"/>
              <a:gd name="connsiteY10" fmla="*/ 98353 h 988220"/>
              <a:gd name="connsiteX11" fmla="*/ 492691 w 1618660"/>
              <a:gd name="connsiteY11" fmla="*/ 86106 h 988220"/>
              <a:gd name="connsiteX12" fmla="*/ 497150 w 1618660"/>
              <a:gd name="connsiteY12" fmla="*/ 84854 h 988220"/>
              <a:gd name="connsiteX13" fmla="*/ 497220 w 1618660"/>
              <a:gd name="connsiteY13" fmla="*/ 84934 h 988220"/>
              <a:gd name="connsiteX14" fmla="*/ 1492887 w 1618660"/>
              <a:gd name="connsiteY14" fmla="*/ 661704 h 988220"/>
              <a:gd name="connsiteX15" fmla="*/ 1071560 w 1618660"/>
              <a:gd name="connsiteY15" fmla="*/ 898452 h 988220"/>
              <a:gd name="connsiteX16" fmla="*/ 118741 w 1618660"/>
              <a:gd name="connsiteY16" fmla="*/ 348530 h 988220"/>
              <a:gd name="connsiteX17" fmla="*/ 86141 w 1618660"/>
              <a:gd name="connsiteY17" fmla="*/ 343009 h 988220"/>
              <a:gd name="connsiteX18" fmla="*/ 43539 w 1618660"/>
              <a:gd name="connsiteY18" fmla="*/ 356866 h 988220"/>
              <a:gd name="connsiteX19" fmla="*/ 14421 w 1618660"/>
              <a:gd name="connsiteY19" fmla="*/ 388102 h 988220"/>
              <a:gd name="connsiteX20" fmla="*/ 911 w 1618660"/>
              <a:gd name="connsiteY20" fmla="*/ 440482 h 988220"/>
              <a:gd name="connsiteX21" fmla="*/ 1628 w 1618660"/>
              <a:gd name="connsiteY21" fmla="*/ 555445 h 988220"/>
              <a:gd name="connsiteX22" fmla="*/ 4867 w 1618660"/>
              <a:gd name="connsiteY22" fmla="*/ 564878 h 988220"/>
              <a:gd name="connsiteX23" fmla="*/ 42843 w 1618660"/>
              <a:gd name="connsiteY23" fmla="*/ 579681 h 988220"/>
              <a:gd name="connsiteX24" fmla="*/ 84057 w 1618660"/>
              <a:gd name="connsiteY24" fmla="*/ 555446 h 988220"/>
              <a:gd name="connsiteX25" fmla="*/ 84058 w 1618660"/>
              <a:gd name="connsiteY25" fmla="*/ 449501 h 988220"/>
              <a:gd name="connsiteX26" fmla="*/ 83306 w 1618660"/>
              <a:gd name="connsiteY26" fmla="*/ 447311 h 988220"/>
              <a:gd name="connsiteX27" fmla="*/ 83322 w 1618660"/>
              <a:gd name="connsiteY27" fmla="*/ 441254 h 988220"/>
              <a:gd name="connsiteX28" fmla="*/ 92641 w 1618660"/>
              <a:gd name="connsiteY28" fmla="*/ 429007 h 988220"/>
              <a:gd name="connsiteX29" fmla="*/ 97100 w 1618660"/>
              <a:gd name="connsiteY29" fmla="*/ 427755 h 988220"/>
              <a:gd name="connsiteX30" fmla="*/ 97170 w 1618660"/>
              <a:gd name="connsiteY30" fmla="*/ 427835 h 988220"/>
              <a:gd name="connsiteX31" fmla="*/ 1053794 w 1618660"/>
              <a:gd name="connsiteY31" fmla="*/ 982959 h 988220"/>
              <a:gd name="connsiteX32" fmla="*/ 1108704 w 1618660"/>
              <a:gd name="connsiteY32" fmla="*/ 975622 h 988220"/>
              <a:gd name="connsiteX33" fmla="*/ 1602965 w 1618660"/>
              <a:gd name="connsiteY33" fmla="*/ 692174 h 988220"/>
              <a:gd name="connsiteX34" fmla="*/ 1595157 w 1618660"/>
              <a:gd name="connsiteY34" fmla="*/ 625705 h 988220"/>
              <a:gd name="connsiteX35" fmla="*/ 518791 w 1618660"/>
              <a:gd name="connsiteY35" fmla="*/ 5629 h 988220"/>
              <a:gd name="connsiteX36" fmla="*/ 486191 w 1618660"/>
              <a:gd name="connsiteY36" fmla="*/ 108 h 988220"/>
              <a:gd name="connsiteX0" fmla="*/ 486191 w 1609988"/>
              <a:gd name="connsiteY0" fmla="*/ 108 h 988220"/>
              <a:gd name="connsiteX1" fmla="*/ 443589 w 1609988"/>
              <a:gd name="connsiteY1" fmla="*/ 13965 h 988220"/>
              <a:gd name="connsiteX2" fmla="*/ 414471 w 1609988"/>
              <a:gd name="connsiteY2" fmla="*/ 45201 h 988220"/>
              <a:gd name="connsiteX3" fmla="*/ 400961 w 1609988"/>
              <a:gd name="connsiteY3" fmla="*/ 97581 h 988220"/>
              <a:gd name="connsiteX4" fmla="*/ 401678 w 1609988"/>
              <a:gd name="connsiteY4" fmla="*/ 212544 h 988220"/>
              <a:gd name="connsiteX5" fmla="*/ 404917 w 1609988"/>
              <a:gd name="connsiteY5" fmla="*/ 221977 h 988220"/>
              <a:gd name="connsiteX6" fmla="*/ 442893 w 1609988"/>
              <a:gd name="connsiteY6" fmla="*/ 236780 h 988220"/>
              <a:gd name="connsiteX7" fmla="*/ 484107 w 1609988"/>
              <a:gd name="connsiteY7" fmla="*/ 212545 h 988220"/>
              <a:gd name="connsiteX8" fmla="*/ 484108 w 1609988"/>
              <a:gd name="connsiteY8" fmla="*/ 106600 h 988220"/>
              <a:gd name="connsiteX9" fmla="*/ 483356 w 1609988"/>
              <a:gd name="connsiteY9" fmla="*/ 104410 h 988220"/>
              <a:gd name="connsiteX10" fmla="*/ 483372 w 1609988"/>
              <a:gd name="connsiteY10" fmla="*/ 98353 h 988220"/>
              <a:gd name="connsiteX11" fmla="*/ 492691 w 1609988"/>
              <a:gd name="connsiteY11" fmla="*/ 86106 h 988220"/>
              <a:gd name="connsiteX12" fmla="*/ 497150 w 1609988"/>
              <a:gd name="connsiteY12" fmla="*/ 84854 h 988220"/>
              <a:gd name="connsiteX13" fmla="*/ 497220 w 1609988"/>
              <a:gd name="connsiteY13" fmla="*/ 84934 h 988220"/>
              <a:gd name="connsiteX14" fmla="*/ 1492887 w 1609988"/>
              <a:gd name="connsiteY14" fmla="*/ 661704 h 988220"/>
              <a:gd name="connsiteX15" fmla="*/ 1071560 w 1609988"/>
              <a:gd name="connsiteY15" fmla="*/ 898452 h 988220"/>
              <a:gd name="connsiteX16" fmla="*/ 118741 w 1609988"/>
              <a:gd name="connsiteY16" fmla="*/ 348530 h 988220"/>
              <a:gd name="connsiteX17" fmla="*/ 86141 w 1609988"/>
              <a:gd name="connsiteY17" fmla="*/ 343009 h 988220"/>
              <a:gd name="connsiteX18" fmla="*/ 43539 w 1609988"/>
              <a:gd name="connsiteY18" fmla="*/ 356866 h 988220"/>
              <a:gd name="connsiteX19" fmla="*/ 14421 w 1609988"/>
              <a:gd name="connsiteY19" fmla="*/ 388102 h 988220"/>
              <a:gd name="connsiteX20" fmla="*/ 911 w 1609988"/>
              <a:gd name="connsiteY20" fmla="*/ 440482 h 988220"/>
              <a:gd name="connsiteX21" fmla="*/ 1628 w 1609988"/>
              <a:gd name="connsiteY21" fmla="*/ 555445 h 988220"/>
              <a:gd name="connsiteX22" fmla="*/ 4867 w 1609988"/>
              <a:gd name="connsiteY22" fmla="*/ 564878 h 988220"/>
              <a:gd name="connsiteX23" fmla="*/ 42843 w 1609988"/>
              <a:gd name="connsiteY23" fmla="*/ 579681 h 988220"/>
              <a:gd name="connsiteX24" fmla="*/ 84057 w 1609988"/>
              <a:gd name="connsiteY24" fmla="*/ 555446 h 988220"/>
              <a:gd name="connsiteX25" fmla="*/ 84058 w 1609988"/>
              <a:gd name="connsiteY25" fmla="*/ 449501 h 988220"/>
              <a:gd name="connsiteX26" fmla="*/ 83306 w 1609988"/>
              <a:gd name="connsiteY26" fmla="*/ 447311 h 988220"/>
              <a:gd name="connsiteX27" fmla="*/ 83322 w 1609988"/>
              <a:gd name="connsiteY27" fmla="*/ 441254 h 988220"/>
              <a:gd name="connsiteX28" fmla="*/ 92641 w 1609988"/>
              <a:gd name="connsiteY28" fmla="*/ 429007 h 988220"/>
              <a:gd name="connsiteX29" fmla="*/ 97100 w 1609988"/>
              <a:gd name="connsiteY29" fmla="*/ 427755 h 988220"/>
              <a:gd name="connsiteX30" fmla="*/ 97170 w 1609988"/>
              <a:gd name="connsiteY30" fmla="*/ 427835 h 988220"/>
              <a:gd name="connsiteX31" fmla="*/ 1053794 w 1609988"/>
              <a:gd name="connsiteY31" fmla="*/ 982959 h 988220"/>
              <a:gd name="connsiteX32" fmla="*/ 1108704 w 1609988"/>
              <a:gd name="connsiteY32" fmla="*/ 975622 h 988220"/>
              <a:gd name="connsiteX33" fmla="*/ 1576772 w 1609988"/>
              <a:gd name="connsiteY33" fmla="*/ 711224 h 988220"/>
              <a:gd name="connsiteX34" fmla="*/ 1595157 w 1609988"/>
              <a:gd name="connsiteY34" fmla="*/ 625705 h 988220"/>
              <a:gd name="connsiteX35" fmla="*/ 518791 w 1609988"/>
              <a:gd name="connsiteY35" fmla="*/ 5629 h 988220"/>
              <a:gd name="connsiteX36" fmla="*/ 486191 w 1609988"/>
              <a:gd name="connsiteY36" fmla="*/ 108 h 988220"/>
              <a:gd name="connsiteX0" fmla="*/ 486191 w 1609988"/>
              <a:gd name="connsiteY0" fmla="*/ 108 h 988220"/>
              <a:gd name="connsiteX1" fmla="*/ 443589 w 1609988"/>
              <a:gd name="connsiteY1" fmla="*/ 13965 h 988220"/>
              <a:gd name="connsiteX2" fmla="*/ 414471 w 1609988"/>
              <a:gd name="connsiteY2" fmla="*/ 45201 h 988220"/>
              <a:gd name="connsiteX3" fmla="*/ 400961 w 1609988"/>
              <a:gd name="connsiteY3" fmla="*/ 97581 h 988220"/>
              <a:gd name="connsiteX4" fmla="*/ 401678 w 1609988"/>
              <a:gd name="connsiteY4" fmla="*/ 212544 h 988220"/>
              <a:gd name="connsiteX5" fmla="*/ 404917 w 1609988"/>
              <a:gd name="connsiteY5" fmla="*/ 221977 h 988220"/>
              <a:gd name="connsiteX6" fmla="*/ 442893 w 1609988"/>
              <a:gd name="connsiteY6" fmla="*/ 236780 h 988220"/>
              <a:gd name="connsiteX7" fmla="*/ 484107 w 1609988"/>
              <a:gd name="connsiteY7" fmla="*/ 212545 h 988220"/>
              <a:gd name="connsiteX8" fmla="*/ 484108 w 1609988"/>
              <a:gd name="connsiteY8" fmla="*/ 106600 h 988220"/>
              <a:gd name="connsiteX9" fmla="*/ 483356 w 1609988"/>
              <a:gd name="connsiteY9" fmla="*/ 104410 h 988220"/>
              <a:gd name="connsiteX10" fmla="*/ 483372 w 1609988"/>
              <a:gd name="connsiteY10" fmla="*/ 98353 h 988220"/>
              <a:gd name="connsiteX11" fmla="*/ 492691 w 1609988"/>
              <a:gd name="connsiteY11" fmla="*/ 86106 h 988220"/>
              <a:gd name="connsiteX12" fmla="*/ 497150 w 1609988"/>
              <a:gd name="connsiteY12" fmla="*/ 84854 h 988220"/>
              <a:gd name="connsiteX13" fmla="*/ 497220 w 1609988"/>
              <a:gd name="connsiteY13" fmla="*/ 84934 h 988220"/>
              <a:gd name="connsiteX14" fmla="*/ 1492887 w 1609988"/>
              <a:gd name="connsiteY14" fmla="*/ 661704 h 988220"/>
              <a:gd name="connsiteX15" fmla="*/ 1071560 w 1609988"/>
              <a:gd name="connsiteY15" fmla="*/ 898452 h 988220"/>
              <a:gd name="connsiteX16" fmla="*/ 118741 w 1609988"/>
              <a:gd name="connsiteY16" fmla="*/ 348530 h 988220"/>
              <a:gd name="connsiteX17" fmla="*/ 86141 w 1609988"/>
              <a:gd name="connsiteY17" fmla="*/ 343009 h 988220"/>
              <a:gd name="connsiteX18" fmla="*/ 43539 w 1609988"/>
              <a:gd name="connsiteY18" fmla="*/ 356866 h 988220"/>
              <a:gd name="connsiteX19" fmla="*/ 14421 w 1609988"/>
              <a:gd name="connsiteY19" fmla="*/ 388102 h 988220"/>
              <a:gd name="connsiteX20" fmla="*/ 911 w 1609988"/>
              <a:gd name="connsiteY20" fmla="*/ 440482 h 988220"/>
              <a:gd name="connsiteX21" fmla="*/ 1628 w 1609988"/>
              <a:gd name="connsiteY21" fmla="*/ 555445 h 988220"/>
              <a:gd name="connsiteX22" fmla="*/ 4867 w 1609988"/>
              <a:gd name="connsiteY22" fmla="*/ 564878 h 988220"/>
              <a:gd name="connsiteX23" fmla="*/ 42843 w 1609988"/>
              <a:gd name="connsiteY23" fmla="*/ 579681 h 988220"/>
              <a:gd name="connsiteX24" fmla="*/ 84057 w 1609988"/>
              <a:gd name="connsiteY24" fmla="*/ 555446 h 988220"/>
              <a:gd name="connsiteX25" fmla="*/ 84058 w 1609988"/>
              <a:gd name="connsiteY25" fmla="*/ 449501 h 988220"/>
              <a:gd name="connsiteX26" fmla="*/ 83306 w 1609988"/>
              <a:gd name="connsiteY26" fmla="*/ 447311 h 988220"/>
              <a:gd name="connsiteX27" fmla="*/ 83322 w 1609988"/>
              <a:gd name="connsiteY27" fmla="*/ 441254 h 988220"/>
              <a:gd name="connsiteX28" fmla="*/ 92641 w 1609988"/>
              <a:gd name="connsiteY28" fmla="*/ 429007 h 988220"/>
              <a:gd name="connsiteX29" fmla="*/ 97100 w 1609988"/>
              <a:gd name="connsiteY29" fmla="*/ 427755 h 988220"/>
              <a:gd name="connsiteX30" fmla="*/ 97170 w 1609988"/>
              <a:gd name="connsiteY30" fmla="*/ 427835 h 988220"/>
              <a:gd name="connsiteX31" fmla="*/ 1053794 w 1609988"/>
              <a:gd name="connsiteY31" fmla="*/ 982959 h 988220"/>
              <a:gd name="connsiteX32" fmla="*/ 1108704 w 1609988"/>
              <a:gd name="connsiteY32" fmla="*/ 975622 h 988220"/>
              <a:gd name="connsiteX33" fmla="*/ 1576772 w 1609988"/>
              <a:gd name="connsiteY33" fmla="*/ 711224 h 988220"/>
              <a:gd name="connsiteX34" fmla="*/ 1595157 w 1609988"/>
              <a:gd name="connsiteY34" fmla="*/ 625705 h 988220"/>
              <a:gd name="connsiteX35" fmla="*/ 518791 w 1609988"/>
              <a:gd name="connsiteY35" fmla="*/ 5629 h 988220"/>
              <a:gd name="connsiteX36" fmla="*/ 486191 w 1609988"/>
              <a:gd name="connsiteY36" fmla="*/ 108 h 988220"/>
              <a:gd name="connsiteX0" fmla="*/ 486191 w 1609988"/>
              <a:gd name="connsiteY0" fmla="*/ 108 h 988220"/>
              <a:gd name="connsiteX1" fmla="*/ 443589 w 1609988"/>
              <a:gd name="connsiteY1" fmla="*/ 13965 h 988220"/>
              <a:gd name="connsiteX2" fmla="*/ 414471 w 1609988"/>
              <a:gd name="connsiteY2" fmla="*/ 45201 h 988220"/>
              <a:gd name="connsiteX3" fmla="*/ 400961 w 1609988"/>
              <a:gd name="connsiteY3" fmla="*/ 97581 h 988220"/>
              <a:gd name="connsiteX4" fmla="*/ 401678 w 1609988"/>
              <a:gd name="connsiteY4" fmla="*/ 212544 h 988220"/>
              <a:gd name="connsiteX5" fmla="*/ 404917 w 1609988"/>
              <a:gd name="connsiteY5" fmla="*/ 221977 h 988220"/>
              <a:gd name="connsiteX6" fmla="*/ 442893 w 1609988"/>
              <a:gd name="connsiteY6" fmla="*/ 236780 h 988220"/>
              <a:gd name="connsiteX7" fmla="*/ 484107 w 1609988"/>
              <a:gd name="connsiteY7" fmla="*/ 212545 h 988220"/>
              <a:gd name="connsiteX8" fmla="*/ 484108 w 1609988"/>
              <a:gd name="connsiteY8" fmla="*/ 106600 h 988220"/>
              <a:gd name="connsiteX9" fmla="*/ 483356 w 1609988"/>
              <a:gd name="connsiteY9" fmla="*/ 104410 h 988220"/>
              <a:gd name="connsiteX10" fmla="*/ 483372 w 1609988"/>
              <a:gd name="connsiteY10" fmla="*/ 98353 h 988220"/>
              <a:gd name="connsiteX11" fmla="*/ 492691 w 1609988"/>
              <a:gd name="connsiteY11" fmla="*/ 86106 h 988220"/>
              <a:gd name="connsiteX12" fmla="*/ 497150 w 1609988"/>
              <a:gd name="connsiteY12" fmla="*/ 84854 h 988220"/>
              <a:gd name="connsiteX13" fmla="*/ 497220 w 1609988"/>
              <a:gd name="connsiteY13" fmla="*/ 84934 h 988220"/>
              <a:gd name="connsiteX14" fmla="*/ 1492887 w 1609988"/>
              <a:gd name="connsiteY14" fmla="*/ 661704 h 988220"/>
              <a:gd name="connsiteX15" fmla="*/ 1071560 w 1609988"/>
              <a:gd name="connsiteY15" fmla="*/ 898452 h 988220"/>
              <a:gd name="connsiteX16" fmla="*/ 118741 w 1609988"/>
              <a:gd name="connsiteY16" fmla="*/ 348530 h 988220"/>
              <a:gd name="connsiteX17" fmla="*/ 86141 w 1609988"/>
              <a:gd name="connsiteY17" fmla="*/ 343009 h 988220"/>
              <a:gd name="connsiteX18" fmla="*/ 43539 w 1609988"/>
              <a:gd name="connsiteY18" fmla="*/ 356866 h 988220"/>
              <a:gd name="connsiteX19" fmla="*/ 14421 w 1609988"/>
              <a:gd name="connsiteY19" fmla="*/ 388102 h 988220"/>
              <a:gd name="connsiteX20" fmla="*/ 911 w 1609988"/>
              <a:gd name="connsiteY20" fmla="*/ 440482 h 988220"/>
              <a:gd name="connsiteX21" fmla="*/ 1628 w 1609988"/>
              <a:gd name="connsiteY21" fmla="*/ 555445 h 988220"/>
              <a:gd name="connsiteX22" fmla="*/ 4867 w 1609988"/>
              <a:gd name="connsiteY22" fmla="*/ 564878 h 988220"/>
              <a:gd name="connsiteX23" fmla="*/ 42843 w 1609988"/>
              <a:gd name="connsiteY23" fmla="*/ 579681 h 988220"/>
              <a:gd name="connsiteX24" fmla="*/ 84057 w 1609988"/>
              <a:gd name="connsiteY24" fmla="*/ 555446 h 988220"/>
              <a:gd name="connsiteX25" fmla="*/ 84058 w 1609988"/>
              <a:gd name="connsiteY25" fmla="*/ 449501 h 988220"/>
              <a:gd name="connsiteX26" fmla="*/ 83306 w 1609988"/>
              <a:gd name="connsiteY26" fmla="*/ 447311 h 988220"/>
              <a:gd name="connsiteX27" fmla="*/ 83322 w 1609988"/>
              <a:gd name="connsiteY27" fmla="*/ 441254 h 988220"/>
              <a:gd name="connsiteX28" fmla="*/ 92641 w 1609988"/>
              <a:gd name="connsiteY28" fmla="*/ 429007 h 988220"/>
              <a:gd name="connsiteX29" fmla="*/ 97100 w 1609988"/>
              <a:gd name="connsiteY29" fmla="*/ 427755 h 988220"/>
              <a:gd name="connsiteX30" fmla="*/ 97170 w 1609988"/>
              <a:gd name="connsiteY30" fmla="*/ 427835 h 988220"/>
              <a:gd name="connsiteX31" fmla="*/ 1053794 w 1609988"/>
              <a:gd name="connsiteY31" fmla="*/ 982959 h 988220"/>
              <a:gd name="connsiteX32" fmla="*/ 1108704 w 1609988"/>
              <a:gd name="connsiteY32" fmla="*/ 975622 h 988220"/>
              <a:gd name="connsiteX33" fmla="*/ 1576772 w 1609988"/>
              <a:gd name="connsiteY33" fmla="*/ 706461 h 988220"/>
              <a:gd name="connsiteX34" fmla="*/ 1595157 w 1609988"/>
              <a:gd name="connsiteY34" fmla="*/ 625705 h 988220"/>
              <a:gd name="connsiteX35" fmla="*/ 518791 w 1609988"/>
              <a:gd name="connsiteY35" fmla="*/ 5629 h 988220"/>
              <a:gd name="connsiteX36" fmla="*/ 486191 w 1609988"/>
              <a:gd name="connsiteY36" fmla="*/ 108 h 988220"/>
              <a:gd name="connsiteX0" fmla="*/ 486191 w 1592467"/>
              <a:gd name="connsiteY0" fmla="*/ 108 h 988220"/>
              <a:gd name="connsiteX1" fmla="*/ 443589 w 1592467"/>
              <a:gd name="connsiteY1" fmla="*/ 13965 h 988220"/>
              <a:gd name="connsiteX2" fmla="*/ 414471 w 1592467"/>
              <a:gd name="connsiteY2" fmla="*/ 45201 h 988220"/>
              <a:gd name="connsiteX3" fmla="*/ 400961 w 1592467"/>
              <a:gd name="connsiteY3" fmla="*/ 97581 h 988220"/>
              <a:gd name="connsiteX4" fmla="*/ 401678 w 1592467"/>
              <a:gd name="connsiteY4" fmla="*/ 212544 h 988220"/>
              <a:gd name="connsiteX5" fmla="*/ 404917 w 1592467"/>
              <a:gd name="connsiteY5" fmla="*/ 221977 h 988220"/>
              <a:gd name="connsiteX6" fmla="*/ 442893 w 1592467"/>
              <a:gd name="connsiteY6" fmla="*/ 236780 h 988220"/>
              <a:gd name="connsiteX7" fmla="*/ 484107 w 1592467"/>
              <a:gd name="connsiteY7" fmla="*/ 212545 h 988220"/>
              <a:gd name="connsiteX8" fmla="*/ 484108 w 1592467"/>
              <a:gd name="connsiteY8" fmla="*/ 106600 h 988220"/>
              <a:gd name="connsiteX9" fmla="*/ 483356 w 1592467"/>
              <a:gd name="connsiteY9" fmla="*/ 104410 h 988220"/>
              <a:gd name="connsiteX10" fmla="*/ 483372 w 1592467"/>
              <a:gd name="connsiteY10" fmla="*/ 98353 h 988220"/>
              <a:gd name="connsiteX11" fmla="*/ 492691 w 1592467"/>
              <a:gd name="connsiteY11" fmla="*/ 86106 h 988220"/>
              <a:gd name="connsiteX12" fmla="*/ 497150 w 1592467"/>
              <a:gd name="connsiteY12" fmla="*/ 84854 h 988220"/>
              <a:gd name="connsiteX13" fmla="*/ 497220 w 1592467"/>
              <a:gd name="connsiteY13" fmla="*/ 84934 h 988220"/>
              <a:gd name="connsiteX14" fmla="*/ 1492887 w 1592467"/>
              <a:gd name="connsiteY14" fmla="*/ 661704 h 988220"/>
              <a:gd name="connsiteX15" fmla="*/ 1071560 w 1592467"/>
              <a:gd name="connsiteY15" fmla="*/ 898452 h 988220"/>
              <a:gd name="connsiteX16" fmla="*/ 118741 w 1592467"/>
              <a:gd name="connsiteY16" fmla="*/ 348530 h 988220"/>
              <a:gd name="connsiteX17" fmla="*/ 86141 w 1592467"/>
              <a:gd name="connsiteY17" fmla="*/ 343009 h 988220"/>
              <a:gd name="connsiteX18" fmla="*/ 43539 w 1592467"/>
              <a:gd name="connsiteY18" fmla="*/ 356866 h 988220"/>
              <a:gd name="connsiteX19" fmla="*/ 14421 w 1592467"/>
              <a:gd name="connsiteY19" fmla="*/ 388102 h 988220"/>
              <a:gd name="connsiteX20" fmla="*/ 911 w 1592467"/>
              <a:gd name="connsiteY20" fmla="*/ 440482 h 988220"/>
              <a:gd name="connsiteX21" fmla="*/ 1628 w 1592467"/>
              <a:gd name="connsiteY21" fmla="*/ 555445 h 988220"/>
              <a:gd name="connsiteX22" fmla="*/ 4867 w 1592467"/>
              <a:gd name="connsiteY22" fmla="*/ 564878 h 988220"/>
              <a:gd name="connsiteX23" fmla="*/ 42843 w 1592467"/>
              <a:gd name="connsiteY23" fmla="*/ 579681 h 988220"/>
              <a:gd name="connsiteX24" fmla="*/ 84057 w 1592467"/>
              <a:gd name="connsiteY24" fmla="*/ 555446 h 988220"/>
              <a:gd name="connsiteX25" fmla="*/ 84058 w 1592467"/>
              <a:gd name="connsiteY25" fmla="*/ 449501 h 988220"/>
              <a:gd name="connsiteX26" fmla="*/ 83306 w 1592467"/>
              <a:gd name="connsiteY26" fmla="*/ 447311 h 988220"/>
              <a:gd name="connsiteX27" fmla="*/ 83322 w 1592467"/>
              <a:gd name="connsiteY27" fmla="*/ 441254 h 988220"/>
              <a:gd name="connsiteX28" fmla="*/ 92641 w 1592467"/>
              <a:gd name="connsiteY28" fmla="*/ 429007 h 988220"/>
              <a:gd name="connsiteX29" fmla="*/ 97100 w 1592467"/>
              <a:gd name="connsiteY29" fmla="*/ 427755 h 988220"/>
              <a:gd name="connsiteX30" fmla="*/ 97170 w 1592467"/>
              <a:gd name="connsiteY30" fmla="*/ 427835 h 988220"/>
              <a:gd name="connsiteX31" fmla="*/ 1053794 w 1592467"/>
              <a:gd name="connsiteY31" fmla="*/ 982959 h 988220"/>
              <a:gd name="connsiteX32" fmla="*/ 1108704 w 1592467"/>
              <a:gd name="connsiteY32" fmla="*/ 975622 h 988220"/>
              <a:gd name="connsiteX33" fmla="*/ 1576772 w 1592467"/>
              <a:gd name="connsiteY33" fmla="*/ 706461 h 988220"/>
              <a:gd name="connsiteX34" fmla="*/ 1568963 w 1592467"/>
              <a:gd name="connsiteY34" fmla="*/ 613799 h 988220"/>
              <a:gd name="connsiteX35" fmla="*/ 518791 w 1592467"/>
              <a:gd name="connsiteY35" fmla="*/ 5629 h 988220"/>
              <a:gd name="connsiteX36" fmla="*/ 486191 w 1592467"/>
              <a:gd name="connsiteY36" fmla="*/ 108 h 988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92467" h="988220">
                <a:moveTo>
                  <a:pt x="486191" y="108"/>
                </a:moveTo>
                <a:cubicBezTo>
                  <a:pt x="469743" y="-450"/>
                  <a:pt x="460066" y="6917"/>
                  <a:pt x="443589" y="13965"/>
                </a:cubicBezTo>
                <a:cubicBezTo>
                  <a:pt x="434611" y="19753"/>
                  <a:pt x="426601" y="24749"/>
                  <a:pt x="414471" y="45201"/>
                </a:cubicBezTo>
                <a:cubicBezTo>
                  <a:pt x="398299" y="72471"/>
                  <a:pt x="403548" y="80400"/>
                  <a:pt x="400961" y="97581"/>
                </a:cubicBezTo>
                <a:cubicBezTo>
                  <a:pt x="398828" y="125471"/>
                  <a:pt x="401018" y="191811"/>
                  <a:pt x="401678" y="212544"/>
                </a:cubicBezTo>
                <a:cubicBezTo>
                  <a:pt x="401678" y="215890"/>
                  <a:pt x="402832" y="219079"/>
                  <a:pt x="404917" y="221977"/>
                </a:cubicBezTo>
                <a:cubicBezTo>
                  <a:pt x="411174" y="230676"/>
                  <a:pt x="425821" y="236779"/>
                  <a:pt x="442893" y="236780"/>
                </a:cubicBezTo>
                <a:cubicBezTo>
                  <a:pt x="465655" y="236780"/>
                  <a:pt x="484107" y="225929"/>
                  <a:pt x="484107" y="212545"/>
                </a:cubicBezTo>
                <a:cubicBezTo>
                  <a:pt x="484107" y="177229"/>
                  <a:pt x="484108" y="141915"/>
                  <a:pt x="484108" y="106600"/>
                </a:cubicBezTo>
                <a:lnTo>
                  <a:pt x="483356" y="104410"/>
                </a:lnTo>
                <a:cubicBezTo>
                  <a:pt x="483361" y="102391"/>
                  <a:pt x="483366" y="100372"/>
                  <a:pt x="483372" y="98353"/>
                </a:cubicBezTo>
                <a:cubicBezTo>
                  <a:pt x="483918" y="90174"/>
                  <a:pt x="487878" y="87456"/>
                  <a:pt x="492691" y="86106"/>
                </a:cubicBezTo>
                <a:lnTo>
                  <a:pt x="497150" y="84854"/>
                </a:lnTo>
                <a:cubicBezTo>
                  <a:pt x="497173" y="84881"/>
                  <a:pt x="497197" y="84907"/>
                  <a:pt x="497220" y="84934"/>
                </a:cubicBezTo>
                <a:lnTo>
                  <a:pt x="1492887" y="661704"/>
                </a:lnTo>
                <a:lnTo>
                  <a:pt x="1071560" y="898452"/>
                </a:lnTo>
                <a:lnTo>
                  <a:pt x="118741" y="348530"/>
                </a:lnTo>
                <a:cubicBezTo>
                  <a:pt x="101140" y="340795"/>
                  <a:pt x="98478" y="343428"/>
                  <a:pt x="86141" y="343009"/>
                </a:cubicBezTo>
                <a:cubicBezTo>
                  <a:pt x="69693" y="342451"/>
                  <a:pt x="60016" y="349818"/>
                  <a:pt x="43539" y="356866"/>
                </a:cubicBezTo>
                <a:cubicBezTo>
                  <a:pt x="34561" y="362654"/>
                  <a:pt x="26551" y="367650"/>
                  <a:pt x="14421" y="388102"/>
                </a:cubicBezTo>
                <a:cubicBezTo>
                  <a:pt x="-1751" y="415372"/>
                  <a:pt x="3498" y="423301"/>
                  <a:pt x="911" y="440482"/>
                </a:cubicBezTo>
                <a:cubicBezTo>
                  <a:pt x="-1222" y="468372"/>
                  <a:pt x="968" y="534712"/>
                  <a:pt x="1628" y="555445"/>
                </a:cubicBezTo>
                <a:cubicBezTo>
                  <a:pt x="1628" y="558791"/>
                  <a:pt x="2782" y="561980"/>
                  <a:pt x="4867" y="564878"/>
                </a:cubicBezTo>
                <a:cubicBezTo>
                  <a:pt x="11124" y="573577"/>
                  <a:pt x="25771" y="579680"/>
                  <a:pt x="42843" y="579681"/>
                </a:cubicBezTo>
                <a:cubicBezTo>
                  <a:pt x="65605" y="579681"/>
                  <a:pt x="84057" y="568830"/>
                  <a:pt x="84057" y="555446"/>
                </a:cubicBezTo>
                <a:cubicBezTo>
                  <a:pt x="84057" y="520130"/>
                  <a:pt x="84058" y="484816"/>
                  <a:pt x="84058" y="449501"/>
                </a:cubicBezTo>
                <a:lnTo>
                  <a:pt x="83306" y="447311"/>
                </a:lnTo>
                <a:cubicBezTo>
                  <a:pt x="83311" y="445292"/>
                  <a:pt x="83316" y="443273"/>
                  <a:pt x="83322" y="441254"/>
                </a:cubicBezTo>
                <a:cubicBezTo>
                  <a:pt x="83868" y="433075"/>
                  <a:pt x="87828" y="430357"/>
                  <a:pt x="92641" y="429007"/>
                </a:cubicBezTo>
                <a:lnTo>
                  <a:pt x="97100" y="427755"/>
                </a:lnTo>
                <a:cubicBezTo>
                  <a:pt x="97123" y="427782"/>
                  <a:pt x="97147" y="427808"/>
                  <a:pt x="97170" y="427835"/>
                </a:cubicBezTo>
                <a:lnTo>
                  <a:pt x="1053794" y="982959"/>
                </a:lnTo>
                <a:cubicBezTo>
                  <a:pt x="1069716" y="987657"/>
                  <a:pt x="1083258" y="994736"/>
                  <a:pt x="1108704" y="975622"/>
                </a:cubicBezTo>
                <a:cubicBezTo>
                  <a:pt x="1275357" y="884530"/>
                  <a:pt x="1495697" y="764780"/>
                  <a:pt x="1576772" y="706461"/>
                </a:cubicBezTo>
                <a:cubicBezTo>
                  <a:pt x="1593554" y="693386"/>
                  <a:pt x="1604403" y="637735"/>
                  <a:pt x="1568963" y="613799"/>
                </a:cubicBezTo>
                <a:lnTo>
                  <a:pt x="518791" y="5629"/>
                </a:lnTo>
                <a:cubicBezTo>
                  <a:pt x="501190" y="-2106"/>
                  <a:pt x="498528" y="527"/>
                  <a:pt x="486191" y="108"/>
                </a:cubicBezTo>
                <a:close/>
              </a:path>
            </a:pathLst>
          </a:cu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nvGrpSpPr>
          <p:cNvPr id="1088" name="Group 1087">
            <a:extLst>
              <a:ext uri="{FF2B5EF4-FFF2-40B4-BE49-F238E27FC236}">
                <a16:creationId xmlns:a16="http://schemas.microsoft.com/office/drawing/2014/main" id="{60EAD8A5-F174-4899-92D4-3D9018B90765}"/>
              </a:ext>
            </a:extLst>
          </p:cNvPr>
          <p:cNvGrpSpPr/>
          <p:nvPr/>
        </p:nvGrpSpPr>
        <p:grpSpPr bwMode="gray">
          <a:xfrm>
            <a:off x="9569238" y="4472064"/>
            <a:ext cx="1164950" cy="1248882"/>
            <a:chOff x="8659190" y="4312410"/>
            <a:chExt cx="1164950" cy="1248882"/>
          </a:xfrm>
        </p:grpSpPr>
        <p:grpSp>
          <p:nvGrpSpPr>
            <p:cNvPr id="973" name="Group 972">
              <a:extLst>
                <a:ext uri="{FF2B5EF4-FFF2-40B4-BE49-F238E27FC236}">
                  <a16:creationId xmlns:a16="http://schemas.microsoft.com/office/drawing/2014/main" id="{32BBF4FC-B4C4-4726-A51B-BBDDC191D1B9}"/>
                </a:ext>
              </a:extLst>
            </p:cNvPr>
            <p:cNvGrpSpPr/>
            <p:nvPr/>
          </p:nvGrpSpPr>
          <p:grpSpPr bwMode="gray">
            <a:xfrm>
              <a:off x="8855853" y="4312410"/>
              <a:ext cx="968287" cy="1248882"/>
              <a:chOff x="8855853" y="4312410"/>
              <a:chExt cx="968287" cy="1248882"/>
            </a:xfrm>
          </p:grpSpPr>
          <p:sp>
            <p:nvSpPr>
              <p:cNvPr id="953" name="Cylinder 952">
                <a:extLst>
                  <a:ext uri="{FF2B5EF4-FFF2-40B4-BE49-F238E27FC236}">
                    <a16:creationId xmlns:a16="http://schemas.microsoft.com/office/drawing/2014/main" id="{287A2568-DF90-40D1-B232-885F7B641F89}"/>
                  </a:ext>
                </a:extLst>
              </p:cNvPr>
              <p:cNvSpPr/>
              <p:nvPr/>
            </p:nvSpPr>
            <p:spPr bwMode="gray">
              <a:xfrm rot="7200000">
                <a:off x="9542756" y="4550659"/>
                <a:ext cx="81425" cy="250314"/>
              </a:xfrm>
              <a:prstGeom prst="can">
                <a:avLst>
                  <a:gd name="adj" fmla="val 71299"/>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54" name="Cylinder 953">
                <a:extLst>
                  <a:ext uri="{FF2B5EF4-FFF2-40B4-BE49-F238E27FC236}">
                    <a16:creationId xmlns:a16="http://schemas.microsoft.com/office/drawing/2014/main" id="{38899E25-C11E-4336-BEF6-967E9BB929EC}"/>
                  </a:ext>
                </a:extLst>
              </p:cNvPr>
              <p:cNvSpPr/>
              <p:nvPr/>
            </p:nvSpPr>
            <p:spPr bwMode="gray">
              <a:xfrm rot="7200000">
                <a:off x="9341937" y="4665752"/>
                <a:ext cx="81425" cy="250314"/>
              </a:xfrm>
              <a:prstGeom prst="can">
                <a:avLst>
                  <a:gd name="adj" fmla="val 71299"/>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55" name="Cylinder 954">
                <a:extLst>
                  <a:ext uri="{FF2B5EF4-FFF2-40B4-BE49-F238E27FC236}">
                    <a16:creationId xmlns:a16="http://schemas.microsoft.com/office/drawing/2014/main" id="{A4BC79E1-C77B-45D7-A999-CC794302472F}"/>
                  </a:ext>
                </a:extLst>
              </p:cNvPr>
              <p:cNvSpPr/>
              <p:nvPr/>
            </p:nvSpPr>
            <p:spPr bwMode="gray">
              <a:xfrm rot="7200000">
                <a:off x="9141117" y="4780845"/>
                <a:ext cx="81425" cy="250314"/>
              </a:xfrm>
              <a:prstGeom prst="can">
                <a:avLst>
                  <a:gd name="adj" fmla="val 71299"/>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56" name="Cylinder 955">
                <a:extLst>
                  <a:ext uri="{FF2B5EF4-FFF2-40B4-BE49-F238E27FC236}">
                    <a16:creationId xmlns:a16="http://schemas.microsoft.com/office/drawing/2014/main" id="{4225CB32-A389-421B-B479-FE8137FE9B5F}"/>
                  </a:ext>
                </a:extLst>
              </p:cNvPr>
              <p:cNvSpPr/>
              <p:nvPr/>
            </p:nvSpPr>
            <p:spPr bwMode="gray">
              <a:xfrm rot="7200000">
                <a:off x="8940297" y="4895937"/>
                <a:ext cx="81425" cy="250314"/>
              </a:xfrm>
              <a:prstGeom prst="can">
                <a:avLst>
                  <a:gd name="adj" fmla="val 71299"/>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nvGrpSpPr>
              <p:cNvPr id="944" name="Group 943">
                <a:extLst>
                  <a:ext uri="{FF2B5EF4-FFF2-40B4-BE49-F238E27FC236}">
                    <a16:creationId xmlns:a16="http://schemas.microsoft.com/office/drawing/2014/main" id="{D5BD6A61-6F8C-4A5A-BB1E-C4349BF575CB}"/>
                  </a:ext>
                </a:extLst>
              </p:cNvPr>
              <p:cNvGrpSpPr/>
              <p:nvPr/>
            </p:nvGrpSpPr>
            <p:grpSpPr bwMode="gray">
              <a:xfrm>
                <a:off x="8902340" y="4312410"/>
                <a:ext cx="921800" cy="1248882"/>
                <a:chOff x="8902340" y="4312410"/>
                <a:chExt cx="921800" cy="1248882"/>
              </a:xfrm>
            </p:grpSpPr>
            <p:sp>
              <p:nvSpPr>
                <p:cNvPr id="949" name="Freeform: Shape 948">
                  <a:extLst>
                    <a:ext uri="{FF2B5EF4-FFF2-40B4-BE49-F238E27FC236}">
                      <a16:creationId xmlns:a16="http://schemas.microsoft.com/office/drawing/2014/main" id="{178845C5-EF9E-4A32-AC5B-CD3CCF4CBFA0}"/>
                    </a:ext>
                  </a:extLst>
                </p:cNvPr>
                <p:cNvSpPr/>
                <p:nvPr/>
              </p:nvSpPr>
              <p:spPr bwMode="gray">
                <a:xfrm rot="18000000" flipH="1" flipV="1">
                  <a:off x="8676556" y="4588571"/>
                  <a:ext cx="1227722" cy="696690"/>
                </a:xfrm>
                <a:custGeom>
                  <a:avLst/>
                  <a:gdLst>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645961 w 1248882"/>
                    <a:gd name="connsiteY28" fmla="*/ 393195 h 912354"/>
                    <a:gd name="connsiteX29" fmla="*/ 629636 w 1248882"/>
                    <a:gd name="connsiteY29" fmla="*/ 386920 h 912354"/>
                    <a:gd name="connsiteX30" fmla="*/ 576468 w 1248882"/>
                    <a:gd name="connsiteY30" fmla="*/ 359689 h 912354"/>
                    <a:gd name="connsiteX31" fmla="*/ 97170 w 1248882"/>
                    <a:gd name="connsiteY31" fmla="*/ 84934 h 912354"/>
                    <a:gd name="connsiteX32" fmla="*/ 97100 w 1248882"/>
                    <a:gd name="connsiteY32" fmla="*/ 84854 h 912354"/>
                    <a:gd name="connsiteX33" fmla="*/ 92641 w 1248882"/>
                    <a:gd name="connsiteY33" fmla="*/ 86106 h 912354"/>
                    <a:gd name="connsiteX34" fmla="*/ 83322 w 1248882"/>
                    <a:gd name="connsiteY34" fmla="*/ 98353 h 912354"/>
                    <a:gd name="connsiteX35" fmla="*/ 83306 w 1248882"/>
                    <a:gd name="connsiteY35" fmla="*/ 104410 h 912354"/>
                    <a:gd name="connsiteX36" fmla="*/ 84058 w 1248882"/>
                    <a:gd name="connsiteY36" fmla="*/ 106600 h 912354"/>
                    <a:gd name="connsiteX37" fmla="*/ 84057 w 1248882"/>
                    <a:gd name="connsiteY37" fmla="*/ 212545 h 912354"/>
                    <a:gd name="connsiteX38" fmla="*/ 42843 w 1248882"/>
                    <a:gd name="connsiteY38" fmla="*/ 236780 h 912354"/>
                    <a:gd name="connsiteX39" fmla="*/ 4867 w 1248882"/>
                    <a:gd name="connsiteY39"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645961 w 1248882"/>
                    <a:gd name="connsiteY28" fmla="*/ 393195 h 912354"/>
                    <a:gd name="connsiteX29" fmla="*/ 576468 w 1248882"/>
                    <a:gd name="connsiteY29" fmla="*/ 359689 h 912354"/>
                    <a:gd name="connsiteX30" fmla="*/ 97170 w 1248882"/>
                    <a:gd name="connsiteY30" fmla="*/ 84934 h 912354"/>
                    <a:gd name="connsiteX31" fmla="*/ 97100 w 1248882"/>
                    <a:gd name="connsiteY31" fmla="*/ 84854 h 912354"/>
                    <a:gd name="connsiteX32" fmla="*/ 92641 w 1248882"/>
                    <a:gd name="connsiteY32" fmla="*/ 86106 h 912354"/>
                    <a:gd name="connsiteX33" fmla="*/ 83322 w 1248882"/>
                    <a:gd name="connsiteY33" fmla="*/ 98353 h 912354"/>
                    <a:gd name="connsiteX34" fmla="*/ 83306 w 1248882"/>
                    <a:gd name="connsiteY34" fmla="*/ 104410 h 912354"/>
                    <a:gd name="connsiteX35" fmla="*/ 84058 w 1248882"/>
                    <a:gd name="connsiteY35" fmla="*/ 106600 h 912354"/>
                    <a:gd name="connsiteX36" fmla="*/ 84057 w 1248882"/>
                    <a:gd name="connsiteY36" fmla="*/ 212545 h 912354"/>
                    <a:gd name="connsiteX37" fmla="*/ 42843 w 1248882"/>
                    <a:gd name="connsiteY37" fmla="*/ 236780 h 912354"/>
                    <a:gd name="connsiteX38" fmla="*/ 4867 w 1248882"/>
                    <a:gd name="connsiteY38"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576468 w 1248882"/>
                    <a:gd name="connsiteY28" fmla="*/ 359689 h 912354"/>
                    <a:gd name="connsiteX29" fmla="*/ 97170 w 1248882"/>
                    <a:gd name="connsiteY29" fmla="*/ 84934 h 912354"/>
                    <a:gd name="connsiteX30" fmla="*/ 97100 w 1248882"/>
                    <a:gd name="connsiteY30" fmla="*/ 84854 h 912354"/>
                    <a:gd name="connsiteX31" fmla="*/ 92641 w 1248882"/>
                    <a:gd name="connsiteY31" fmla="*/ 86106 h 912354"/>
                    <a:gd name="connsiteX32" fmla="*/ 83322 w 1248882"/>
                    <a:gd name="connsiteY32" fmla="*/ 98353 h 912354"/>
                    <a:gd name="connsiteX33" fmla="*/ 83306 w 1248882"/>
                    <a:gd name="connsiteY33" fmla="*/ 104410 h 912354"/>
                    <a:gd name="connsiteX34" fmla="*/ 84058 w 1248882"/>
                    <a:gd name="connsiteY34" fmla="*/ 106600 h 912354"/>
                    <a:gd name="connsiteX35" fmla="*/ 84057 w 1248882"/>
                    <a:gd name="connsiteY35" fmla="*/ 212545 h 912354"/>
                    <a:gd name="connsiteX36" fmla="*/ 42843 w 1248882"/>
                    <a:gd name="connsiteY36" fmla="*/ 236780 h 912354"/>
                    <a:gd name="connsiteX37" fmla="*/ 4867 w 1248882"/>
                    <a:gd name="connsiteY37"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576468 w 1248882"/>
                    <a:gd name="connsiteY27" fmla="*/ 359689 h 912354"/>
                    <a:gd name="connsiteX28" fmla="*/ 97170 w 1248882"/>
                    <a:gd name="connsiteY28" fmla="*/ 84934 h 912354"/>
                    <a:gd name="connsiteX29" fmla="*/ 97100 w 1248882"/>
                    <a:gd name="connsiteY29" fmla="*/ 84854 h 912354"/>
                    <a:gd name="connsiteX30" fmla="*/ 92641 w 1248882"/>
                    <a:gd name="connsiteY30" fmla="*/ 86106 h 912354"/>
                    <a:gd name="connsiteX31" fmla="*/ 83322 w 1248882"/>
                    <a:gd name="connsiteY31" fmla="*/ 98353 h 912354"/>
                    <a:gd name="connsiteX32" fmla="*/ 83306 w 1248882"/>
                    <a:gd name="connsiteY32" fmla="*/ 104410 h 912354"/>
                    <a:gd name="connsiteX33" fmla="*/ 84058 w 1248882"/>
                    <a:gd name="connsiteY33" fmla="*/ 106600 h 912354"/>
                    <a:gd name="connsiteX34" fmla="*/ 84057 w 1248882"/>
                    <a:gd name="connsiteY34" fmla="*/ 212545 h 912354"/>
                    <a:gd name="connsiteX35" fmla="*/ 42843 w 1248882"/>
                    <a:gd name="connsiteY35" fmla="*/ 236780 h 912354"/>
                    <a:gd name="connsiteX36" fmla="*/ 4867 w 1248882"/>
                    <a:gd name="connsiteY36"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576468 w 1248882"/>
                    <a:gd name="connsiteY26" fmla="*/ 359689 h 912354"/>
                    <a:gd name="connsiteX27" fmla="*/ 97170 w 1248882"/>
                    <a:gd name="connsiteY27" fmla="*/ 84934 h 912354"/>
                    <a:gd name="connsiteX28" fmla="*/ 97100 w 1248882"/>
                    <a:gd name="connsiteY28" fmla="*/ 84854 h 912354"/>
                    <a:gd name="connsiteX29" fmla="*/ 92641 w 1248882"/>
                    <a:gd name="connsiteY29" fmla="*/ 86106 h 912354"/>
                    <a:gd name="connsiteX30" fmla="*/ 83322 w 1248882"/>
                    <a:gd name="connsiteY30" fmla="*/ 98353 h 912354"/>
                    <a:gd name="connsiteX31" fmla="*/ 83306 w 1248882"/>
                    <a:gd name="connsiteY31" fmla="*/ 104410 h 912354"/>
                    <a:gd name="connsiteX32" fmla="*/ 84058 w 1248882"/>
                    <a:gd name="connsiteY32" fmla="*/ 106600 h 912354"/>
                    <a:gd name="connsiteX33" fmla="*/ 84057 w 1248882"/>
                    <a:gd name="connsiteY33" fmla="*/ 212545 h 912354"/>
                    <a:gd name="connsiteX34" fmla="*/ 42843 w 1248882"/>
                    <a:gd name="connsiteY34" fmla="*/ 236780 h 912354"/>
                    <a:gd name="connsiteX35" fmla="*/ 4867 w 1248882"/>
                    <a:gd name="connsiteY35"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576468 w 1248882"/>
                    <a:gd name="connsiteY25" fmla="*/ 359689 h 912354"/>
                    <a:gd name="connsiteX26" fmla="*/ 97170 w 1248882"/>
                    <a:gd name="connsiteY26" fmla="*/ 84934 h 912354"/>
                    <a:gd name="connsiteX27" fmla="*/ 97100 w 1248882"/>
                    <a:gd name="connsiteY27" fmla="*/ 84854 h 912354"/>
                    <a:gd name="connsiteX28" fmla="*/ 92641 w 1248882"/>
                    <a:gd name="connsiteY28" fmla="*/ 86106 h 912354"/>
                    <a:gd name="connsiteX29" fmla="*/ 83322 w 1248882"/>
                    <a:gd name="connsiteY29" fmla="*/ 98353 h 912354"/>
                    <a:gd name="connsiteX30" fmla="*/ 83306 w 1248882"/>
                    <a:gd name="connsiteY30" fmla="*/ 104410 h 912354"/>
                    <a:gd name="connsiteX31" fmla="*/ 84058 w 1248882"/>
                    <a:gd name="connsiteY31" fmla="*/ 106600 h 912354"/>
                    <a:gd name="connsiteX32" fmla="*/ 84057 w 1248882"/>
                    <a:gd name="connsiteY32" fmla="*/ 212545 h 912354"/>
                    <a:gd name="connsiteX33" fmla="*/ 42843 w 1248882"/>
                    <a:gd name="connsiteY33" fmla="*/ 236780 h 912354"/>
                    <a:gd name="connsiteX34" fmla="*/ 4867 w 1248882"/>
                    <a:gd name="connsiteY34"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97170 w 1248882"/>
                    <a:gd name="connsiteY25" fmla="*/ 84934 h 912354"/>
                    <a:gd name="connsiteX26" fmla="*/ 97100 w 1248882"/>
                    <a:gd name="connsiteY26" fmla="*/ 84854 h 912354"/>
                    <a:gd name="connsiteX27" fmla="*/ 92641 w 1248882"/>
                    <a:gd name="connsiteY27" fmla="*/ 86106 h 912354"/>
                    <a:gd name="connsiteX28" fmla="*/ 83322 w 1248882"/>
                    <a:gd name="connsiteY28" fmla="*/ 98353 h 912354"/>
                    <a:gd name="connsiteX29" fmla="*/ 83306 w 1248882"/>
                    <a:gd name="connsiteY29" fmla="*/ 104410 h 912354"/>
                    <a:gd name="connsiteX30" fmla="*/ 84058 w 1248882"/>
                    <a:gd name="connsiteY30" fmla="*/ 106600 h 912354"/>
                    <a:gd name="connsiteX31" fmla="*/ 84057 w 1248882"/>
                    <a:gd name="connsiteY31" fmla="*/ 212545 h 912354"/>
                    <a:gd name="connsiteX32" fmla="*/ 42843 w 1248882"/>
                    <a:gd name="connsiteY32" fmla="*/ 236780 h 912354"/>
                    <a:gd name="connsiteX33" fmla="*/ 4867 w 1248882"/>
                    <a:gd name="connsiteY33"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95504 w 1248882"/>
                    <a:gd name="connsiteY10" fmla="*/ 342628 h 912354"/>
                    <a:gd name="connsiteX11" fmla="*/ 1195107 w 1248882"/>
                    <a:gd name="connsiteY11" fmla="*/ 625705 h 912354"/>
                    <a:gd name="connsiteX12" fmla="*/ 1233715 w 1248882"/>
                    <a:gd name="connsiteY12" fmla="*/ 663595 h 912354"/>
                    <a:gd name="connsiteX13" fmla="*/ 1246207 w 1248882"/>
                    <a:gd name="connsiteY13" fmla="*/ 704430 h 912354"/>
                    <a:gd name="connsiteX14" fmla="*/ 1247236 w 1248882"/>
                    <a:gd name="connsiteY14" fmla="*/ 715969 h 912354"/>
                    <a:gd name="connsiteX15" fmla="*/ 1248882 w 1248882"/>
                    <a:gd name="connsiteY15" fmla="*/ 733604 h 912354"/>
                    <a:gd name="connsiteX16" fmla="*/ 1248882 w 1248882"/>
                    <a:gd name="connsiteY16" fmla="*/ 888119 h 912354"/>
                    <a:gd name="connsiteX17" fmla="*/ 1207667 w 1248882"/>
                    <a:gd name="connsiteY17" fmla="*/ 912354 h 912354"/>
                    <a:gd name="connsiteX18" fmla="*/ 1169691 w 1248882"/>
                    <a:gd name="connsiteY18" fmla="*/ 897552 h 912354"/>
                    <a:gd name="connsiteX19" fmla="*/ 1166452 w 1248882"/>
                    <a:gd name="connsiteY19" fmla="*/ 888119 h 912354"/>
                    <a:gd name="connsiteX20" fmla="*/ 1164480 w 1248882"/>
                    <a:gd name="connsiteY20" fmla="*/ 718004 h 912354"/>
                    <a:gd name="connsiteX21" fmla="*/ 1164797 w 1248882"/>
                    <a:gd name="connsiteY21" fmla="*/ 719337 h 912354"/>
                    <a:gd name="connsiteX22" fmla="*/ 1164813 w 1248882"/>
                    <a:gd name="connsiteY22" fmla="*/ 716747 h 912354"/>
                    <a:gd name="connsiteX23" fmla="*/ 1153233 w 1248882"/>
                    <a:gd name="connsiteY23" fmla="*/ 696690 h 912354"/>
                    <a:gd name="connsiteX24" fmla="*/ 97170 w 1248882"/>
                    <a:gd name="connsiteY24" fmla="*/ 84934 h 912354"/>
                    <a:gd name="connsiteX25" fmla="*/ 97100 w 1248882"/>
                    <a:gd name="connsiteY25" fmla="*/ 84854 h 912354"/>
                    <a:gd name="connsiteX26" fmla="*/ 92641 w 1248882"/>
                    <a:gd name="connsiteY26" fmla="*/ 86106 h 912354"/>
                    <a:gd name="connsiteX27" fmla="*/ 83322 w 1248882"/>
                    <a:gd name="connsiteY27" fmla="*/ 98353 h 912354"/>
                    <a:gd name="connsiteX28" fmla="*/ 83306 w 1248882"/>
                    <a:gd name="connsiteY28" fmla="*/ 104410 h 912354"/>
                    <a:gd name="connsiteX29" fmla="*/ 84058 w 1248882"/>
                    <a:gd name="connsiteY29" fmla="*/ 106600 h 912354"/>
                    <a:gd name="connsiteX30" fmla="*/ 84057 w 1248882"/>
                    <a:gd name="connsiteY30" fmla="*/ 212545 h 912354"/>
                    <a:gd name="connsiteX31" fmla="*/ 42843 w 1248882"/>
                    <a:gd name="connsiteY31" fmla="*/ 236780 h 912354"/>
                    <a:gd name="connsiteX32" fmla="*/ 4867 w 1248882"/>
                    <a:gd name="connsiteY32"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95504 w 1248882"/>
                    <a:gd name="connsiteY9" fmla="*/ 342628 h 912354"/>
                    <a:gd name="connsiteX10" fmla="*/ 1195107 w 1248882"/>
                    <a:gd name="connsiteY10" fmla="*/ 625705 h 912354"/>
                    <a:gd name="connsiteX11" fmla="*/ 1233715 w 1248882"/>
                    <a:gd name="connsiteY11" fmla="*/ 663595 h 912354"/>
                    <a:gd name="connsiteX12" fmla="*/ 1246207 w 1248882"/>
                    <a:gd name="connsiteY12" fmla="*/ 704430 h 912354"/>
                    <a:gd name="connsiteX13" fmla="*/ 1247236 w 1248882"/>
                    <a:gd name="connsiteY13" fmla="*/ 715969 h 912354"/>
                    <a:gd name="connsiteX14" fmla="*/ 1248882 w 1248882"/>
                    <a:gd name="connsiteY14" fmla="*/ 733604 h 912354"/>
                    <a:gd name="connsiteX15" fmla="*/ 1248882 w 1248882"/>
                    <a:gd name="connsiteY15" fmla="*/ 888119 h 912354"/>
                    <a:gd name="connsiteX16" fmla="*/ 1207667 w 1248882"/>
                    <a:gd name="connsiteY16" fmla="*/ 912354 h 912354"/>
                    <a:gd name="connsiteX17" fmla="*/ 1169691 w 1248882"/>
                    <a:gd name="connsiteY17" fmla="*/ 897552 h 912354"/>
                    <a:gd name="connsiteX18" fmla="*/ 1166452 w 1248882"/>
                    <a:gd name="connsiteY18" fmla="*/ 888119 h 912354"/>
                    <a:gd name="connsiteX19" fmla="*/ 1164480 w 1248882"/>
                    <a:gd name="connsiteY19" fmla="*/ 718004 h 912354"/>
                    <a:gd name="connsiteX20" fmla="*/ 1164797 w 1248882"/>
                    <a:gd name="connsiteY20" fmla="*/ 719337 h 912354"/>
                    <a:gd name="connsiteX21" fmla="*/ 1164813 w 1248882"/>
                    <a:gd name="connsiteY21" fmla="*/ 716747 h 912354"/>
                    <a:gd name="connsiteX22" fmla="*/ 1153233 w 1248882"/>
                    <a:gd name="connsiteY22" fmla="*/ 696690 h 912354"/>
                    <a:gd name="connsiteX23" fmla="*/ 97170 w 1248882"/>
                    <a:gd name="connsiteY23" fmla="*/ 84934 h 912354"/>
                    <a:gd name="connsiteX24" fmla="*/ 97100 w 1248882"/>
                    <a:gd name="connsiteY24" fmla="*/ 84854 h 912354"/>
                    <a:gd name="connsiteX25" fmla="*/ 92641 w 1248882"/>
                    <a:gd name="connsiteY25" fmla="*/ 86106 h 912354"/>
                    <a:gd name="connsiteX26" fmla="*/ 83322 w 1248882"/>
                    <a:gd name="connsiteY26" fmla="*/ 98353 h 912354"/>
                    <a:gd name="connsiteX27" fmla="*/ 83306 w 1248882"/>
                    <a:gd name="connsiteY27" fmla="*/ 104410 h 912354"/>
                    <a:gd name="connsiteX28" fmla="*/ 84058 w 1248882"/>
                    <a:gd name="connsiteY28" fmla="*/ 106600 h 912354"/>
                    <a:gd name="connsiteX29" fmla="*/ 84057 w 1248882"/>
                    <a:gd name="connsiteY29" fmla="*/ 212545 h 912354"/>
                    <a:gd name="connsiteX30" fmla="*/ 42843 w 1248882"/>
                    <a:gd name="connsiteY30" fmla="*/ 236780 h 912354"/>
                    <a:gd name="connsiteX31" fmla="*/ 4867 w 1248882"/>
                    <a:gd name="connsiteY31"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95504 w 1248882"/>
                    <a:gd name="connsiteY8" fmla="*/ 342628 h 912354"/>
                    <a:gd name="connsiteX9" fmla="*/ 1195107 w 1248882"/>
                    <a:gd name="connsiteY9" fmla="*/ 625705 h 912354"/>
                    <a:gd name="connsiteX10" fmla="*/ 1233715 w 1248882"/>
                    <a:gd name="connsiteY10" fmla="*/ 663595 h 912354"/>
                    <a:gd name="connsiteX11" fmla="*/ 1246207 w 1248882"/>
                    <a:gd name="connsiteY11" fmla="*/ 704430 h 912354"/>
                    <a:gd name="connsiteX12" fmla="*/ 1247236 w 1248882"/>
                    <a:gd name="connsiteY12" fmla="*/ 715969 h 912354"/>
                    <a:gd name="connsiteX13" fmla="*/ 1248882 w 1248882"/>
                    <a:gd name="connsiteY13" fmla="*/ 733604 h 912354"/>
                    <a:gd name="connsiteX14" fmla="*/ 1248882 w 1248882"/>
                    <a:gd name="connsiteY14" fmla="*/ 888119 h 912354"/>
                    <a:gd name="connsiteX15" fmla="*/ 1207667 w 1248882"/>
                    <a:gd name="connsiteY15" fmla="*/ 912354 h 912354"/>
                    <a:gd name="connsiteX16" fmla="*/ 1169691 w 1248882"/>
                    <a:gd name="connsiteY16" fmla="*/ 897552 h 912354"/>
                    <a:gd name="connsiteX17" fmla="*/ 1166452 w 1248882"/>
                    <a:gd name="connsiteY17" fmla="*/ 888119 h 912354"/>
                    <a:gd name="connsiteX18" fmla="*/ 1164480 w 1248882"/>
                    <a:gd name="connsiteY18" fmla="*/ 718004 h 912354"/>
                    <a:gd name="connsiteX19" fmla="*/ 1164797 w 1248882"/>
                    <a:gd name="connsiteY19" fmla="*/ 719337 h 912354"/>
                    <a:gd name="connsiteX20" fmla="*/ 1164813 w 1248882"/>
                    <a:gd name="connsiteY20" fmla="*/ 716747 h 912354"/>
                    <a:gd name="connsiteX21" fmla="*/ 1153233 w 1248882"/>
                    <a:gd name="connsiteY21" fmla="*/ 696690 h 912354"/>
                    <a:gd name="connsiteX22" fmla="*/ 97170 w 1248882"/>
                    <a:gd name="connsiteY22" fmla="*/ 84934 h 912354"/>
                    <a:gd name="connsiteX23" fmla="*/ 97100 w 1248882"/>
                    <a:gd name="connsiteY23" fmla="*/ 84854 h 912354"/>
                    <a:gd name="connsiteX24" fmla="*/ 92641 w 1248882"/>
                    <a:gd name="connsiteY24" fmla="*/ 86106 h 912354"/>
                    <a:gd name="connsiteX25" fmla="*/ 83322 w 1248882"/>
                    <a:gd name="connsiteY25" fmla="*/ 98353 h 912354"/>
                    <a:gd name="connsiteX26" fmla="*/ 83306 w 1248882"/>
                    <a:gd name="connsiteY26" fmla="*/ 104410 h 912354"/>
                    <a:gd name="connsiteX27" fmla="*/ 84058 w 1248882"/>
                    <a:gd name="connsiteY27" fmla="*/ 106600 h 912354"/>
                    <a:gd name="connsiteX28" fmla="*/ 84057 w 1248882"/>
                    <a:gd name="connsiteY28" fmla="*/ 212545 h 912354"/>
                    <a:gd name="connsiteX29" fmla="*/ 42843 w 1248882"/>
                    <a:gd name="connsiteY29" fmla="*/ 236780 h 912354"/>
                    <a:gd name="connsiteX30" fmla="*/ 4867 w 1248882"/>
                    <a:gd name="connsiteY30"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95504 w 1248882"/>
                    <a:gd name="connsiteY7" fmla="*/ 342628 h 912354"/>
                    <a:gd name="connsiteX8" fmla="*/ 1195107 w 1248882"/>
                    <a:gd name="connsiteY8" fmla="*/ 625705 h 912354"/>
                    <a:gd name="connsiteX9" fmla="*/ 1233715 w 1248882"/>
                    <a:gd name="connsiteY9" fmla="*/ 663595 h 912354"/>
                    <a:gd name="connsiteX10" fmla="*/ 1246207 w 1248882"/>
                    <a:gd name="connsiteY10" fmla="*/ 704430 h 912354"/>
                    <a:gd name="connsiteX11" fmla="*/ 1247236 w 1248882"/>
                    <a:gd name="connsiteY11" fmla="*/ 715969 h 912354"/>
                    <a:gd name="connsiteX12" fmla="*/ 1248882 w 1248882"/>
                    <a:gd name="connsiteY12" fmla="*/ 733604 h 912354"/>
                    <a:gd name="connsiteX13" fmla="*/ 1248882 w 1248882"/>
                    <a:gd name="connsiteY13" fmla="*/ 888119 h 912354"/>
                    <a:gd name="connsiteX14" fmla="*/ 1207667 w 1248882"/>
                    <a:gd name="connsiteY14" fmla="*/ 912354 h 912354"/>
                    <a:gd name="connsiteX15" fmla="*/ 1169691 w 1248882"/>
                    <a:gd name="connsiteY15" fmla="*/ 897552 h 912354"/>
                    <a:gd name="connsiteX16" fmla="*/ 1166452 w 1248882"/>
                    <a:gd name="connsiteY16" fmla="*/ 888119 h 912354"/>
                    <a:gd name="connsiteX17" fmla="*/ 1164480 w 1248882"/>
                    <a:gd name="connsiteY17" fmla="*/ 718004 h 912354"/>
                    <a:gd name="connsiteX18" fmla="*/ 1164797 w 1248882"/>
                    <a:gd name="connsiteY18" fmla="*/ 719337 h 912354"/>
                    <a:gd name="connsiteX19" fmla="*/ 1164813 w 1248882"/>
                    <a:gd name="connsiteY19" fmla="*/ 716747 h 912354"/>
                    <a:gd name="connsiteX20" fmla="*/ 1153233 w 1248882"/>
                    <a:gd name="connsiteY20" fmla="*/ 696690 h 912354"/>
                    <a:gd name="connsiteX21" fmla="*/ 97170 w 1248882"/>
                    <a:gd name="connsiteY21" fmla="*/ 84934 h 912354"/>
                    <a:gd name="connsiteX22" fmla="*/ 97100 w 1248882"/>
                    <a:gd name="connsiteY22" fmla="*/ 84854 h 912354"/>
                    <a:gd name="connsiteX23" fmla="*/ 92641 w 1248882"/>
                    <a:gd name="connsiteY23" fmla="*/ 86106 h 912354"/>
                    <a:gd name="connsiteX24" fmla="*/ 83322 w 1248882"/>
                    <a:gd name="connsiteY24" fmla="*/ 98353 h 912354"/>
                    <a:gd name="connsiteX25" fmla="*/ 83306 w 1248882"/>
                    <a:gd name="connsiteY25" fmla="*/ 104410 h 912354"/>
                    <a:gd name="connsiteX26" fmla="*/ 84058 w 1248882"/>
                    <a:gd name="connsiteY26" fmla="*/ 106600 h 912354"/>
                    <a:gd name="connsiteX27" fmla="*/ 84057 w 1248882"/>
                    <a:gd name="connsiteY27" fmla="*/ 212545 h 912354"/>
                    <a:gd name="connsiteX28" fmla="*/ 42843 w 1248882"/>
                    <a:gd name="connsiteY28" fmla="*/ 236780 h 912354"/>
                    <a:gd name="connsiteX29" fmla="*/ 4867 w 1248882"/>
                    <a:gd name="connsiteY29"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1195107 w 1248882"/>
                    <a:gd name="connsiteY7" fmla="*/ 625705 h 912354"/>
                    <a:gd name="connsiteX8" fmla="*/ 1233715 w 1248882"/>
                    <a:gd name="connsiteY8" fmla="*/ 663595 h 912354"/>
                    <a:gd name="connsiteX9" fmla="*/ 1246207 w 1248882"/>
                    <a:gd name="connsiteY9" fmla="*/ 704430 h 912354"/>
                    <a:gd name="connsiteX10" fmla="*/ 1247236 w 1248882"/>
                    <a:gd name="connsiteY10" fmla="*/ 715969 h 912354"/>
                    <a:gd name="connsiteX11" fmla="*/ 1248882 w 1248882"/>
                    <a:gd name="connsiteY11" fmla="*/ 733604 h 912354"/>
                    <a:gd name="connsiteX12" fmla="*/ 1248882 w 1248882"/>
                    <a:gd name="connsiteY12" fmla="*/ 888119 h 912354"/>
                    <a:gd name="connsiteX13" fmla="*/ 1207667 w 1248882"/>
                    <a:gd name="connsiteY13" fmla="*/ 912354 h 912354"/>
                    <a:gd name="connsiteX14" fmla="*/ 1169691 w 1248882"/>
                    <a:gd name="connsiteY14" fmla="*/ 897552 h 912354"/>
                    <a:gd name="connsiteX15" fmla="*/ 1166452 w 1248882"/>
                    <a:gd name="connsiteY15" fmla="*/ 888119 h 912354"/>
                    <a:gd name="connsiteX16" fmla="*/ 1164480 w 1248882"/>
                    <a:gd name="connsiteY16" fmla="*/ 718004 h 912354"/>
                    <a:gd name="connsiteX17" fmla="*/ 1164797 w 1248882"/>
                    <a:gd name="connsiteY17" fmla="*/ 719337 h 912354"/>
                    <a:gd name="connsiteX18" fmla="*/ 1164813 w 1248882"/>
                    <a:gd name="connsiteY18" fmla="*/ 716747 h 912354"/>
                    <a:gd name="connsiteX19" fmla="*/ 1153233 w 1248882"/>
                    <a:gd name="connsiteY19" fmla="*/ 696690 h 912354"/>
                    <a:gd name="connsiteX20" fmla="*/ 97170 w 1248882"/>
                    <a:gd name="connsiteY20" fmla="*/ 84934 h 912354"/>
                    <a:gd name="connsiteX21" fmla="*/ 97100 w 1248882"/>
                    <a:gd name="connsiteY21" fmla="*/ 84854 h 912354"/>
                    <a:gd name="connsiteX22" fmla="*/ 92641 w 1248882"/>
                    <a:gd name="connsiteY22" fmla="*/ 86106 h 912354"/>
                    <a:gd name="connsiteX23" fmla="*/ 83322 w 1248882"/>
                    <a:gd name="connsiteY23" fmla="*/ 98353 h 912354"/>
                    <a:gd name="connsiteX24" fmla="*/ 83306 w 1248882"/>
                    <a:gd name="connsiteY24" fmla="*/ 104410 h 912354"/>
                    <a:gd name="connsiteX25" fmla="*/ 84058 w 1248882"/>
                    <a:gd name="connsiteY25" fmla="*/ 106600 h 912354"/>
                    <a:gd name="connsiteX26" fmla="*/ 84057 w 1248882"/>
                    <a:gd name="connsiteY26" fmla="*/ 212545 h 912354"/>
                    <a:gd name="connsiteX27" fmla="*/ 42843 w 1248882"/>
                    <a:gd name="connsiteY27" fmla="*/ 236780 h 912354"/>
                    <a:gd name="connsiteX28" fmla="*/ 4867 w 1248882"/>
                    <a:gd name="connsiteY28" fmla="*/ 221977 h 912354"/>
                    <a:gd name="connsiteX0" fmla="*/ 1207667 w 1299107"/>
                    <a:gd name="connsiteY0" fmla="*/ 912354 h 1003794"/>
                    <a:gd name="connsiteX1" fmla="*/ 1169691 w 1299107"/>
                    <a:gd name="connsiteY1" fmla="*/ 897552 h 1003794"/>
                    <a:gd name="connsiteX2" fmla="*/ 1166452 w 1299107"/>
                    <a:gd name="connsiteY2" fmla="*/ 888119 h 1003794"/>
                    <a:gd name="connsiteX3" fmla="*/ 1164480 w 1299107"/>
                    <a:gd name="connsiteY3" fmla="*/ 718004 h 1003794"/>
                    <a:gd name="connsiteX4" fmla="*/ 1164797 w 1299107"/>
                    <a:gd name="connsiteY4" fmla="*/ 719337 h 1003794"/>
                    <a:gd name="connsiteX5" fmla="*/ 1164813 w 1299107"/>
                    <a:gd name="connsiteY5" fmla="*/ 716747 h 1003794"/>
                    <a:gd name="connsiteX6" fmla="*/ 1153233 w 1299107"/>
                    <a:gd name="connsiteY6" fmla="*/ 696690 h 1003794"/>
                    <a:gd name="connsiteX7" fmla="*/ 97170 w 1299107"/>
                    <a:gd name="connsiteY7" fmla="*/ 84934 h 1003794"/>
                    <a:gd name="connsiteX8" fmla="*/ 97100 w 1299107"/>
                    <a:gd name="connsiteY8" fmla="*/ 84854 h 1003794"/>
                    <a:gd name="connsiteX9" fmla="*/ 92641 w 1299107"/>
                    <a:gd name="connsiteY9" fmla="*/ 86106 h 1003794"/>
                    <a:gd name="connsiteX10" fmla="*/ 83322 w 1299107"/>
                    <a:gd name="connsiteY10" fmla="*/ 98353 h 1003794"/>
                    <a:gd name="connsiteX11" fmla="*/ 83306 w 1299107"/>
                    <a:gd name="connsiteY11" fmla="*/ 104410 h 1003794"/>
                    <a:gd name="connsiteX12" fmla="*/ 84058 w 1299107"/>
                    <a:gd name="connsiteY12" fmla="*/ 106600 h 1003794"/>
                    <a:gd name="connsiteX13" fmla="*/ 84057 w 1299107"/>
                    <a:gd name="connsiteY13" fmla="*/ 212545 h 1003794"/>
                    <a:gd name="connsiteX14" fmla="*/ 42843 w 1299107"/>
                    <a:gd name="connsiteY14" fmla="*/ 236780 h 1003794"/>
                    <a:gd name="connsiteX15" fmla="*/ 4867 w 1299107"/>
                    <a:gd name="connsiteY15" fmla="*/ 221977 h 1003794"/>
                    <a:gd name="connsiteX16" fmla="*/ 1628 w 1299107"/>
                    <a:gd name="connsiteY16" fmla="*/ 212544 h 1003794"/>
                    <a:gd name="connsiteX17" fmla="*/ 911 w 1299107"/>
                    <a:gd name="connsiteY17" fmla="*/ 97581 h 1003794"/>
                    <a:gd name="connsiteX18" fmla="*/ 14421 w 1299107"/>
                    <a:gd name="connsiteY18" fmla="*/ 45201 h 1003794"/>
                    <a:gd name="connsiteX19" fmla="*/ 43539 w 1299107"/>
                    <a:gd name="connsiteY19" fmla="*/ 13965 h 1003794"/>
                    <a:gd name="connsiteX20" fmla="*/ 86141 w 1299107"/>
                    <a:gd name="connsiteY20" fmla="*/ 108 h 1003794"/>
                    <a:gd name="connsiteX21" fmla="*/ 118741 w 1299107"/>
                    <a:gd name="connsiteY21" fmla="*/ 5629 h 1003794"/>
                    <a:gd name="connsiteX22" fmla="*/ 1195107 w 1299107"/>
                    <a:gd name="connsiteY22" fmla="*/ 625705 h 1003794"/>
                    <a:gd name="connsiteX23" fmla="*/ 1233715 w 1299107"/>
                    <a:gd name="connsiteY23" fmla="*/ 663595 h 1003794"/>
                    <a:gd name="connsiteX24" fmla="*/ 1246207 w 1299107"/>
                    <a:gd name="connsiteY24" fmla="*/ 704430 h 1003794"/>
                    <a:gd name="connsiteX25" fmla="*/ 1247236 w 1299107"/>
                    <a:gd name="connsiteY25" fmla="*/ 715969 h 1003794"/>
                    <a:gd name="connsiteX26" fmla="*/ 1248882 w 1299107"/>
                    <a:gd name="connsiteY26" fmla="*/ 733604 h 1003794"/>
                    <a:gd name="connsiteX27" fmla="*/ 1248882 w 1299107"/>
                    <a:gd name="connsiteY27" fmla="*/ 888119 h 1003794"/>
                    <a:gd name="connsiteX28" fmla="*/ 1299107 w 1299107"/>
                    <a:gd name="connsiteY28" fmla="*/ 1003794 h 1003794"/>
                    <a:gd name="connsiteX0" fmla="*/ 1169691 w 1299107"/>
                    <a:gd name="connsiteY0" fmla="*/ 897552 h 1003794"/>
                    <a:gd name="connsiteX1" fmla="*/ 1166452 w 1299107"/>
                    <a:gd name="connsiteY1" fmla="*/ 888119 h 1003794"/>
                    <a:gd name="connsiteX2" fmla="*/ 1164480 w 1299107"/>
                    <a:gd name="connsiteY2" fmla="*/ 718004 h 1003794"/>
                    <a:gd name="connsiteX3" fmla="*/ 1164797 w 1299107"/>
                    <a:gd name="connsiteY3" fmla="*/ 719337 h 1003794"/>
                    <a:gd name="connsiteX4" fmla="*/ 1164813 w 1299107"/>
                    <a:gd name="connsiteY4" fmla="*/ 716747 h 1003794"/>
                    <a:gd name="connsiteX5" fmla="*/ 1153233 w 1299107"/>
                    <a:gd name="connsiteY5" fmla="*/ 696690 h 1003794"/>
                    <a:gd name="connsiteX6" fmla="*/ 97170 w 1299107"/>
                    <a:gd name="connsiteY6" fmla="*/ 84934 h 1003794"/>
                    <a:gd name="connsiteX7" fmla="*/ 97100 w 1299107"/>
                    <a:gd name="connsiteY7" fmla="*/ 84854 h 1003794"/>
                    <a:gd name="connsiteX8" fmla="*/ 92641 w 1299107"/>
                    <a:gd name="connsiteY8" fmla="*/ 86106 h 1003794"/>
                    <a:gd name="connsiteX9" fmla="*/ 83322 w 1299107"/>
                    <a:gd name="connsiteY9" fmla="*/ 98353 h 1003794"/>
                    <a:gd name="connsiteX10" fmla="*/ 83306 w 1299107"/>
                    <a:gd name="connsiteY10" fmla="*/ 104410 h 1003794"/>
                    <a:gd name="connsiteX11" fmla="*/ 84058 w 1299107"/>
                    <a:gd name="connsiteY11" fmla="*/ 106600 h 1003794"/>
                    <a:gd name="connsiteX12" fmla="*/ 84057 w 1299107"/>
                    <a:gd name="connsiteY12" fmla="*/ 212545 h 1003794"/>
                    <a:gd name="connsiteX13" fmla="*/ 42843 w 1299107"/>
                    <a:gd name="connsiteY13" fmla="*/ 236780 h 1003794"/>
                    <a:gd name="connsiteX14" fmla="*/ 4867 w 1299107"/>
                    <a:gd name="connsiteY14" fmla="*/ 221977 h 1003794"/>
                    <a:gd name="connsiteX15" fmla="*/ 1628 w 1299107"/>
                    <a:gd name="connsiteY15" fmla="*/ 212544 h 1003794"/>
                    <a:gd name="connsiteX16" fmla="*/ 911 w 1299107"/>
                    <a:gd name="connsiteY16" fmla="*/ 97581 h 1003794"/>
                    <a:gd name="connsiteX17" fmla="*/ 14421 w 1299107"/>
                    <a:gd name="connsiteY17" fmla="*/ 45201 h 1003794"/>
                    <a:gd name="connsiteX18" fmla="*/ 43539 w 1299107"/>
                    <a:gd name="connsiteY18" fmla="*/ 13965 h 1003794"/>
                    <a:gd name="connsiteX19" fmla="*/ 86141 w 1299107"/>
                    <a:gd name="connsiteY19" fmla="*/ 108 h 1003794"/>
                    <a:gd name="connsiteX20" fmla="*/ 118741 w 1299107"/>
                    <a:gd name="connsiteY20" fmla="*/ 5629 h 1003794"/>
                    <a:gd name="connsiteX21" fmla="*/ 1195107 w 1299107"/>
                    <a:gd name="connsiteY21" fmla="*/ 625705 h 1003794"/>
                    <a:gd name="connsiteX22" fmla="*/ 1233715 w 1299107"/>
                    <a:gd name="connsiteY22" fmla="*/ 663595 h 1003794"/>
                    <a:gd name="connsiteX23" fmla="*/ 1246207 w 1299107"/>
                    <a:gd name="connsiteY23" fmla="*/ 704430 h 1003794"/>
                    <a:gd name="connsiteX24" fmla="*/ 1247236 w 1299107"/>
                    <a:gd name="connsiteY24" fmla="*/ 715969 h 1003794"/>
                    <a:gd name="connsiteX25" fmla="*/ 1248882 w 1299107"/>
                    <a:gd name="connsiteY25" fmla="*/ 733604 h 1003794"/>
                    <a:gd name="connsiteX26" fmla="*/ 1248882 w 1299107"/>
                    <a:gd name="connsiteY26" fmla="*/ 888119 h 1003794"/>
                    <a:gd name="connsiteX27" fmla="*/ 1299107 w 1299107"/>
                    <a:gd name="connsiteY27" fmla="*/ 1003794 h 1003794"/>
                    <a:gd name="connsiteX0" fmla="*/ 1169691 w 1248882"/>
                    <a:gd name="connsiteY0" fmla="*/ 897552 h 897552"/>
                    <a:gd name="connsiteX1" fmla="*/ 1166452 w 1248882"/>
                    <a:gd name="connsiteY1" fmla="*/ 888119 h 897552"/>
                    <a:gd name="connsiteX2" fmla="*/ 1164480 w 1248882"/>
                    <a:gd name="connsiteY2" fmla="*/ 718004 h 897552"/>
                    <a:gd name="connsiteX3" fmla="*/ 1164797 w 1248882"/>
                    <a:gd name="connsiteY3" fmla="*/ 719337 h 897552"/>
                    <a:gd name="connsiteX4" fmla="*/ 1164813 w 1248882"/>
                    <a:gd name="connsiteY4" fmla="*/ 716747 h 897552"/>
                    <a:gd name="connsiteX5" fmla="*/ 1153233 w 1248882"/>
                    <a:gd name="connsiteY5" fmla="*/ 696690 h 897552"/>
                    <a:gd name="connsiteX6" fmla="*/ 97170 w 1248882"/>
                    <a:gd name="connsiteY6" fmla="*/ 84934 h 897552"/>
                    <a:gd name="connsiteX7" fmla="*/ 97100 w 1248882"/>
                    <a:gd name="connsiteY7" fmla="*/ 84854 h 897552"/>
                    <a:gd name="connsiteX8" fmla="*/ 92641 w 1248882"/>
                    <a:gd name="connsiteY8" fmla="*/ 86106 h 897552"/>
                    <a:gd name="connsiteX9" fmla="*/ 83322 w 1248882"/>
                    <a:gd name="connsiteY9" fmla="*/ 98353 h 897552"/>
                    <a:gd name="connsiteX10" fmla="*/ 83306 w 1248882"/>
                    <a:gd name="connsiteY10" fmla="*/ 104410 h 897552"/>
                    <a:gd name="connsiteX11" fmla="*/ 84058 w 1248882"/>
                    <a:gd name="connsiteY11" fmla="*/ 106600 h 897552"/>
                    <a:gd name="connsiteX12" fmla="*/ 84057 w 1248882"/>
                    <a:gd name="connsiteY12" fmla="*/ 212545 h 897552"/>
                    <a:gd name="connsiteX13" fmla="*/ 42843 w 1248882"/>
                    <a:gd name="connsiteY13" fmla="*/ 236780 h 897552"/>
                    <a:gd name="connsiteX14" fmla="*/ 4867 w 1248882"/>
                    <a:gd name="connsiteY14" fmla="*/ 221977 h 897552"/>
                    <a:gd name="connsiteX15" fmla="*/ 1628 w 1248882"/>
                    <a:gd name="connsiteY15" fmla="*/ 212544 h 897552"/>
                    <a:gd name="connsiteX16" fmla="*/ 911 w 1248882"/>
                    <a:gd name="connsiteY16" fmla="*/ 97581 h 897552"/>
                    <a:gd name="connsiteX17" fmla="*/ 14421 w 1248882"/>
                    <a:gd name="connsiteY17" fmla="*/ 45201 h 897552"/>
                    <a:gd name="connsiteX18" fmla="*/ 43539 w 1248882"/>
                    <a:gd name="connsiteY18" fmla="*/ 13965 h 897552"/>
                    <a:gd name="connsiteX19" fmla="*/ 86141 w 1248882"/>
                    <a:gd name="connsiteY19" fmla="*/ 108 h 897552"/>
                    <a:gd name="connsiteX20" fmla="*/ 118741 w 1248882"/>
                    <a:gd name="connsiteY20" fmla="*/ 5629 h 897552"/>
                    <a:gd name="connsiteX21" fmla="*/ 1195107 w 1248882"/>
                    <a:gd name="connsiteY21" fmla="*/ 625705 h 897552"/>
                    <a:gd name="connsiteX22" fmla="*/ 1233715 w 1248882"/>
                    <a:gd name="connsiteY22" fmla="*/ 663595 h 897552"/>
                    <a:gd name="connsiteX23" fmla="*/ 1246207 w 1248882"/>
                    <a:gd name="connsiteY23" fmla="*/ 704430 h 897552"/>
                    <a:gd name="connsiteX24" fmla="*/ 1247236 w 1248882"/>
                    <a:gd name="connsiteY24" fmla="*/ 715969 h 897552"/>
                    <a:gd name="connsiteX25" fmla="*/ 1248882 w 1248882"/>
                    <a:gd name="connsiteY25" fmla="*/ 733604 h 897552"/>
                    <a:gd name="connsiteX26" fmla="*/ 1248882 w 1248882"/>
                    <a:gd name="connsiteY26" fmla="*/ 888119 h 897552"/>
                    <a:gd name="connsiteX0" fmla="*/ 1169691 w 1248882"/>
                    <a:gd name="connsiteY0" fmla="*/ 897552 h 897552"/>
                    <a:gd name="connsiteX1" fmla="*/ 1164480 w 1248882"/>
                    <a:gd name="connsiteY1" fmla="*/ 718004 h 897552"/>
                    <a:gd name="connsiteX2" fmla="*/ 1164797 w 1248882"/>
                    <a:gd name="connsiteY2" fmla="*/ 719337 h 897552"/>
                    <a:gd name="connsiteX3" fmla="*/ 1164813 w 1248882"/>
                    <a:gd name="connsiteY3" fmla="*/ 716747 h 897552"/>
                    <a:gd name="connsiteX4" fmla="*/ 1153233 w 1248882"/>
                    <a:gd name="connsiteY4" fmla="*/ 696690 h 897552"/>
                    <a:gd name="connsiteX5" fmla="*/ 97170 w 1248882"/>
                    <a:gd name="connsiteY5" fmla="*/ 84934 h 897552"/>
                    <a:gd name="connsiteX6" fmla="*/ 97100 w 1248882"/>
                    <a:gd name="connsiteY6" fmla="*/ 84854 h 897552"/>
                    <a:gd name="connsiteX7" fmla="*/ 92641 w 1248882"/>
                    <a:gd name="connsiteY7" fmla="*/ 86106 h 897552"/>
                    <a:gd name="connsiteX8" fmla="*/ 83322 w 1248882"/>
                    <a:gd name="connsiteY8" fmla="*/ 98353 h 897552"/>
                    <a:gd name="connsiteX9" fmla="*/ 83306 w 1248882"/>
                    <a:gd name="connsiteY9" fmla="*/ 104410 h 897552"/>
                    <a:gd name="connsiteX10" fmla="*/ 84058 w 1248882"/>
                    <a:gd name="connsiteY10" fmla="*/ 106600 h 897552"/>
                    <a:gd name="connsiteX11" fmla="*/ 84057 w 1248882"/>
                    <a:gd name="connsiteY11" fmla="*/ 212545 h 897552"/>
                    <a:gd name="connsiteX12" fmla="*/ 42843 w 1248882"/>
                    <a:gd name="connsiteY12" fmla="*/ 236780 h 897552"/>
                    <a:gd name="connsiteX13" fmla="*/ 4867 w 1248882"/>
                    <a:gd name="connsiteY13" fmla="*/ 221977 h 897552"/>
                    <a:gd name="connsiteX14" fmla="*/ 1628 w 1248882"/>
                    <a:gd name="connsiteY14" fmla="*/ 212544 h 897552"/>
                    <a:gd name="connsiteX15" fmla="*/ 911 w 1248882"/>
                    <a:gd name="connsiteY15" fmla="*/ 97581 h 897552"/>
                    <a:gd name="connsiteX16" fmla="*/ 14421 w 1248882"/>
                    <a:gd name="connsiteY16" fmla="*/ 45201 h 897552"/>
                    <a:gd name="connsiteX17" fmla="*/ 43539 w 1248882"/>
                    <a:gd name="connsiteY17" fmla="*/ 13965 h 897552"/>
                    <a:gd name="connsiteX18" fmla="*/ 86141 w 1248882"/>
                    <a:gd name="connsiteY18" fmla="*/ 108 h 897552"/>
                    <a:gd name="connsiteX19" fmla="*/ 118741 w 1248882"/>
                    <a:gd name="connsiteY19" fmla="*/ 5629 h 897552"/>
                    <a:gd name="connsiteX20" fmla="*/ 1195107 w 1248882"/>
                    <a:gd name="connsiteY20" fmla="*/ 625705 h 897552"/>
                    <a:gd name="connsiteX21" fmla="*/ 1233715 w 1248882"/>
                    <a:gd name="connsiteY21" fmla="*/ 663595 h 897552"/>
                    <a:gd name="connsiteX22" fmla="*/ 1246207 w 1248882"/>
                    <a:gd name="connsiteY22" fmla="*/ 704430 h 897552"/>
                    <a:gd name="connsiteX23" fmla="*/ 1247236 w 1248882"/>
                    <a:gd name="connsiteY23" fmla="*/ 715969 h 897552"/>
                    <a:gd name="connsiteX24" fmla="*/ 1248882 w 1248882"/>
                    <a:gd name="connsiteY24" fmla="*/ 733604 h 897552"/>
                    <a:gd name="connsiteX25" fmla="*/ 1248882 w 1248882"/>
                    <a:gd name="connsiteY25" fmla="*/ 888119 h 897552"/>
                    <a:gd name="connsiteX0" fmla="*/ 1164480 w 1248882"/>
                    <a:gd name="connsiteY0" fmla="*/ 718004 h 888119"/>
                    <a:gd name="connsiteX1" fmla="*/ 1164797 w 1248882"/>
                    <a:gd name="connsiteY1" fmla="*/ 719337 h 888119"/>
                    <a:gd name="connsiteX2" fmla="*/ 1164813 w 1248882"/>
                    <a:gd name="connsiteY2" fmla="*/ 716747 h 888119"/>
                    <a:gd name="connsiteX3" fmla="*/ 1153233 w 1248882"/>
                    <a:gd name="connsiteY3" fmla="*/ 696690 h 888119"/>
                    <a:gd name="connsiteX4" fmla="*/ 97170 w 1248882"/>
                    <a:gd name="connsiteY4" fmla="*/ 84934 h 888119"/>
                    <a:gd name="connsiteX5" fmla="*/ 97100 w 1248882"/>
                    <a:gd name="connsiteY5" fmla="*/ 84854 h 888119"/>
                    <a:gd name="connsiteX6" fmla="*/ 92641 w 1248882"/>
                    <a:gd name="connsiteY6" fmla="*/ 86106 h 888119"/>
                    <a:gd name="connsiteX7" fmla="*/ 83322 w 1248882"/>
                    <a:gd name="connsiteY7" fmla="*/ 98353 h 888119"/>
                    <a:gd name="connsiteX8" fmla="*/ 83306 w 1248882"/>
                    <a:gd name="connsiteY8" fmla="*/ 104410 h 888119"/>
                    <a:gd name="connsiteX9" fmla="*/ 84058 w 1248882"/>
                    <a:gd name="connsiteY9" fmla="*/ 106600 h 888119"/>
                    <a:gd name="connsiteX10" fmla="*/ 84057 w 1248882"/>
                    <a:gd name="connsiteY10" fmla="*/ 212545 h 888119"/>
                    <a:gd name="connsiteX11" fmla="*/ 42843 w 1248882"/>
                    <a:gd name="connsiteY11" fmla="*/ 236780 h 888119"/>
                    <a:gd name="connsiteX12" fmla="*/ 4867 w 1248882"/>
                    <a:gd name="connsiteY12" fmla="*/ 221977 h 888119"/>
                    <a:gd name="connsiteX13" fmla="*/ 1628 w 1248882"/>
                    <a:gd name="connsiteY13" fmla="*/ 212544 h 888119"/>
                    <a:gd name="connsiteX14" fmla="*/ 911 w 1248882"/>
                    <a:gd name="connsiteY14" fmla="*/ 97581 h 888119"/>
                    <a:gd name="connsiteX15" fmla="*/ 14421 w 1248882"/>
                    <a:gd name="connsiteY15" fmla="*/ 45201 h 888119"/>
                    <a:gd name="connsiteX16" fmla="*/ 43539 w 1248882"/>
                    <a:gd name="connsiteY16" fmla="*/ 13965 h 888119"/>
                    <a:gd name="connsiteX17" fmla="*/ 86141 w 1248882"/>
                    <a:gd name="connsiteY17" fmla="*/ 108 h 888119"/>
                    <a:gd name="connsiteX18" fmla="*/ 118741 w 1248882"/>
                    <a:gd name="connsiteY18" fmla="*/ 5629 h 888119"/>
                    <a:gd name="connsiteX19" fmla="*/ 1195107 w 1248882"/>
                    <a:gd name="connsiteY19" fmla="*/ 625705 h 888119"/>
                    <a:gd name="connsiteX20" fmla="*/ 1233715 w 1248882"/>
                    <a:gd name="connsiteY20" fmla="*/ 663595 h 888119"/>
                    <a:gd name="connsiteX21" fmla="*/ 1246207 w 1248882"/>
                    <a:gd name="connsiteY21" fmla="*/ 704430 h 888119"/>
                    <a:gd name="connsiteX22" fmla="*/ 1247236 w 1248882"/>
                    <a:gd name="connsiteY22" fmla="*/ 715969 h 888119"/>
                    <a:gd name="connsiteX23" fmla="*/ 1248882 w 1248882"/>
                    <a:gd name="connsiteY23" fmla="*/ 733604 h 888119"/>
                    <a:gd name="connsiteX24" fmla="*/ 1248882 w 1248882"/>
                    <a:gd name="connsiteY24" fmla="*/ 888119 h 888119"/>
                    <a:gd name="connsiteX0" fmla="*/ 1164480 w 1248882"/>
                    <a:gd name="connsiteY0" fmla="*/ 718004 h 733604"/>
                    <a:gd name="connsiteX1" fmla="*/ 1164797 w 1248882"/>
                    <a:gd name="connsiteY1" fmla="*/ 719337 h 733604"/>
                    <a:gd name="connsiteX2" fmla="*/ 1164813 w 1248882"/>
                    <a:gd name="connsiteY2" fmla="*/ 716747 h 733604"/>
                    <a:gd name="connsiteX3" fmla="*/ 1153233 w 1248882"/>
                    <a:gd name="connsiteY3" fmla="*/ 696690 h 733604"/>
                    <a:gd name="connsiteX4" fmla="*/ 97170 w 1248882"/>
                    <a:gd name="connsiteY4" fmla="*/ 84934 h 733604"/>
                    <a:gd name="connsiteX5" fmla="*/ 97100 w 1248882"/>
                    <a:gd name="connsiteY5" fmla="*/ 84854 h 733604"/>
                    <a:gd name="connsiteX6" fmla="*/ 92641 w 1248882"/>
                    <a:gd name="connsiteY6" fmla="*/ 86106 h 733604"/>
                    <a:gd name="connsiteX7" fmla="*/ 83322 w 1248882"/>
                    <a:gd name="connsiteY7" fmla="*/ 98353 h 733604"/>
                    <a:gd name="connsiteX8" fmla="*/ 83306 w 1248882"/>
                    <a:gd name="connsiteY8" fmla="*/ 104410 h 733604"/>
                    <a:gd name="connsiteX9" fmla="*/ 84058 w 1248882"/>
                    <a:gd name="connsiteY9" fmla="*/ 106600 h 733604"/>
                    <a:gd name="connsiteX10" fmla="*/ 84057 w 1248882"/>
                    <a:gd name="connsiteY10" fmla="*/ 212545 h 733604"/>
                    <a:gd name="connsiteX11" fmla="*/ 42843 w 1248882"/>
                    <a:gd name="connsiteY11" fmla="*/ 236780 h 733604"/>
                    <a:gd name="connsiteX12" fmla="*/ 4867 w 1248882"/>
                    <a:gd name="connsiteY12" fmla="*/ 221977 h 733604"/>
                    <a:gd name="connsiteX13" fmla="*/ 1628 w 1248882"/>
                    <a:gd name="connsiteY13" fmla="*/ 212544 h 733604"/>
                    <a:gd name="connsiteX14" fmla="*/ 911 w 1248882"/>
                    <a:gd name="connsiteY14" fmla="*/ 97581 h 733604"/>
                    <a:gd name="connsiteX15" fmla="*/ 14421 w 1248882"/>
                    <a:gd name="connsiteY15" fmla="*/ 45201 h 733604"/>
                    <a:gd name="connsiteX16" fmla="*/ 43539 w 1248882"/>
                    <a:gd name="connsiteY16" fmla="*/ 13965 h 733604"/>
                    <a:gd name="connsiteX17" fmla="*/ 86141 w 1248882"/>
                    <a:gd name="connsiteY17" fmla="*/ 108 h 733604"/>
                    <a:gd name="connsiteX18" fmla="*/ 118741 w 1248882"/>
                    <a:gd name="connsiteY18" fmla="*/ 5629 h 733604"/>
                    <a:gd name="connsiteX19" fmla="*/ 1195107 w 1248882"/>
                    <a:gd name="connsiteY19" fmla="*/ 625705 h 733604"/>
                    <a:gd name="connsiteX20" fmla="*/ 1233715 w 1248882"/>
                    <a:gd name="connsiteY20" fmla="*/ 663595 h 733604"/>
                    <a:gd name="connsiteX21" fmla="*/ 1246207 w 1248882"/>
                    <a:gd name="connsiteY21" fmla="*/ 704430 h 733604"/>
                    <a:gd name="connsiteX22" fmla="*/ 1247236 w 1248882"/>
                    <a:gd name="connsiteY22" fmla="*/ 715969 h 733604"/>
                    <a:gd name="connsiteX23" fmla="*/ 1248882 w 1248882"/>
                    <a:gd name="connsiteY23" fmla="*/ 733604 h 733604"/>
                    <a:gd name="connsiteX0" fmla="*/ 1164480 w 1247417"/>
                    <a:gd name="connsiteY0" fmla="*/ 718004 h 719337"/>
                    <a:gd name="connsiteX1" fmla="*/ 1164797 w 1247417"/>
                    <a:gd name="connsiteY1" fmla="*/ 719337 h 719337"/>
                    <a:gd name="connsiteX2" fmla="*/ 1164813 w 1247417"/>
                    <a:gd name="connsiteY2" fmla="*/ 716747 h 719337"/>
                    <a:gd name="connsiteX3" fmla="*/ 1153233 w 1247417"/>
                    <a:gd name="connsiteY3" fmla="*/ 696690 h 719337"/>
                    <a:gd name="connsiteX4" fmla="*/ 97170 w 1247417"/>
                    <a:gd name="connsiteY4" fmla="*/ 84934 h 719337"/>
                    <a:gd name="connsiteX5" fmla="*/ 97100 w 1247417"/>
                    <a:gd name="connsiteY5" fmla="*/ 84854 h 719337"/>
                    <a:gd name="connsiteX6" fmla="*/ 92641 w 1247417"/>
                    <a:gd name="connsiteY6" fmla="*/ 86106 h 719337"/>
                    <a:gd name="connsiteX7" fmla="*/ 83322 w 1247417"/>
                    <a:gd name="connsiteY7" fmla="*/ 98353 h 719337"/>
                    <a:gd name="connsiteX8" fmla="*/ 83306 w 1247417"/>
                    <a:gd name="connsiteY8" fmla="*/ 104410 h 719337"/>
                    <a:gd name="connsiteX9" fmla="*/ 84058 w 1247417"/>
                    <a:gd name="connsiteY9" fmla="*/ 106600 h 719337"/>
                    <a:gd name="connsiteX10" fmla="*/ 84057 w 1247417"/>
                    <a:gd name="connsiteY10" fmla="*/ 212545 h 719337"/>
                    <a:gd name="connsiteX11" fmla="*/ 42843 w 1247417"/>
                    <a:gd name="connsiteY11" fmla="*/ 236780 h 719337"/>
                    <a:gd name="connsiteX12" fmla="*/ 4867 w 1247417"/>
                    <a:gd name="connsiteY12" fmla="*/ 221977 h 719337"/>
                    <a:gd name="connsiteX13" fmla="*/ 1628 w 1247417"/>
                    <a:gd name="connsiteY13" fmla="*/ 212544 h 719337"/>
                    <a:gd name="connsiteX14" fmla="*/ 911 w 1247417"/>
                    <a:gd name="connsiteY14" fmla="*/ 97581 h 719337"/>
                    <a:gd name="connsiteX15" fmla="*/ 14421 w 1247417"/>
                    <a:gd name="connsiteY15" fmla="*/ 45201 h 719337"/>
                    <a:gd name="connsiteX16" fmla="*/ 43539 w 1247417"/>
                    <a:gd name="connsiteY16" fmla="*/ 13965 h 719337"/>
                    <a:gd name="connsiteX17" fmla="*/ 86141 w 1247417"/>
                    <a:gd name="connsiteY17" fmla="*/ 108 h 719337"/>
                    <a:gd name="connsiteX18" fmla="*/ 118741 w 1247417"/>
                    <a:gd name="connsiteY18" fmla="*/ 5629 h 719337"/>
                    <a:gd name="connsiteX19" fmla="*/ 1195107 w 1247417"/>
                    <a:gd name="connsiteY19" fmla="*/ 625705 h 719337"/>
                    <a:gd name="connsiteX20" fmla="*/ 1233715 w 1247417"/>
                    <a:gd name="connsiteY20" fmla="*/ 663595 h 719337"/>
                    <a:gd name="connsiteX21" fmla="*/ 1246207 w 1247417"/>
                    <a:gd name="connsiteY21" fmla="*/ 704430 h 719337"/>
                    <a:gd name="connsiteX22" fmla="*/ 1247236 w 1247417"/>
                    <a:gd name="connsiteY22" fmla="*/ 715969 h 719337"/>
                    <a:gd name="connsiteX0" fmla="*/ 1164480 w 1246207"/>
                    <a:gd name="connsiteY0" fmla="*/ 718004 h 719337"/>
                    <a:gd name="connsiteX1" fmla="*/ 1164797 w 1246207"/>
                    <a:gd name="connsiteY1" fmla="*/ 719337 h 719337"/>
                    <a:gd name="connsiteX2" fmla="*/ 1164813 w 1246207"/>
                    <a:gd name="connsiteY2" fmla="*/ 716747 h 719337"/>
                    <a:gd name="connsiteX3" fmla="*/ 1153233 w 1246207"/>
                    <a:gd name="connsiteY3" fmla="*/ 696690 h 719337"/>
                    <a:gd name="connsiteX4" fmla="*/ 97170 w 1246207"/>
                    <a:gd name="connsiteY4" fmla="*/ 84934 h 719337"/>
                    <a:gd name="connsiteX5" fmla="*/ 97100 w 1246207"/>
                    <a:gd name="connsiteY5" fmla="*/ 84854 h 719337"/>
                    <a:gd name="connsiteX6" fmla="*/ 92641 w 1246207"/>
                    <a:gd name="connsiteY6" fmla="*/ 86106 h 719337"/>
                    <a:gd name="connsiteX7" fmla="*/ 83322 w 1246207"/>
                    <a:gd name="connsiteY7" fmla="*/ 98353 h 719337"/>
                    <a:gd name="connsiteX8" fmla="*/ 83306 w 1246207"/>
                    <a:gd name="connsiteY8" fmla="*/ 104410 h 719337"/>
                    <a:gd name="connsiteX9" fmla="*/ 84058 w 1246207"/>
                    <a:gd name="connsiteY9" fmla="*/ 106600 h 719337"/>
                    <a:gd name="connsiteX10" fmla="*/ 84057 w 1246207"/>
                    <a:gd name="connsiteY10" fmla="*/ 212545 h 719337"/>
                    <a:gd name="connsiteX11" fmla="*/ 42843 w 1246207"/>
                    <a:gd name="connsiteY11" fmla="*/ 236780 h 719337"/>
                    <a:gd name="connsiteX12" fmla="*/ 4867 w 1246207"/>
                    <a:gd name="connsiteY12" fmla="*/ 221977 h 719337"/>
                    <a:gd name="connsiteX13" fmla="*/ 1628 w 1246207"/>
                    <a:gd name="connsiteY13" fmla="*/ 212544 h 719337"/>
                    <a:gd name="connsiteX14" fmla="*/ 911 w 1246207"/>
                    <a:gd name="connsiteY14" fmla="*/ 97581 h 719337"/>
                    <a:gd name="connsiteX15" fmla="*/ 14421 w 1246207"/>
                    <a:gd name="connsiteY15" fmla="*/ 45201 h 719337"/>
                    <a:gd name="connsiteX16" fmla="*/ 43539 w 1246207"/>
                    <a:gd name="connsiteY16" fmla="*/ 13965 h 719337"/>
                    <a:gd name="connsiteX17" fmla="*/ 86141 w 1246207"/>
                    <a:gd name="connsiteY17" fmla="*/ 108 h 719337"/>
                    <a:gd name="connsiteX18" fmla="*/ 118741 w 1246207"/>
                    <a:gd name="connsiteY18" fmla="*/ 5629 h 719337"/>
                    <a:gd name="connsiteX19" fmla="*/ 1195107 w 1246207"/>
                    <a:gd name="connsiteY19" fmla="*/ 625705 h 719337"/>
                    <a:gd name="connsiteX20" fmla="*/ 1233715 w 1246207"/>
                    <a:gd name="connsiteY20" fmla="*/ 663595 h 719337"/>
                    <a:gd name="connsiteX21" fmla="*/ 1246207 w 1246207"/>
                    <a:gd name="connsiteY21" fmla="*/ 704430 h 719337"/>
                    <a:gd name="connsiteX0" fmla="*/ 1164480 w 1233715"/>
                    <a:gd name="connsiteY0" fmla="*/ 718004 h 719337"/>
                    <a:gd name="connsiteX1" fmla="*/ 1164797 w 1233715"/>
                    <a:gd name="connsiteY1" fmla="*/ 719337 h 719337"/>
                    <a:gd name="connsiteX2" fmla="*/ 1164813 w 1233715"/>
                    <a:gd name="connsiteY2" fmla="*/ 716747 h 719337"/>
                    <a:gd name="connsiteX3" fmla="*/ 1153233 w 1233715"/>
                    <a:gd name="connsiteY3" fmla="*/ 696690 h 719337"/>
                    <a:gd name="connsiteX4" fmla="*/ 97170 w 1233715"/>
                    <a:gd name="connsiteY4" fmla="*/ 84934 h 719337"/>
                    <a:gd name="connsiteX5" fmla="*/ 97100 w 1233715"/>
                    <a:gd name="connsiteY5" fmla="*/ 84854 h 719337"/>
                    <a:gd name="connsiteX6" fmla="*/ 92641 w 1233715"/>
                    <a:gd name="connsiteY6" fmla="*/ 86106 h 719337"/>
                    <a:gd name="connsiteX7" fmla="*/ 83322 w 1233715"/>
                    <a:gd name="connsiteY7" fmla="*/ 98353 h 719337"/>
                    <a:gd name="connsiteX8" fmla="*/ 83306 w 1233715"/>
                    <a:gd name="connsiteY8" fmla="*/ 104410 h 719337"/>
                    <a:gd name="connsiteX9" fmla="*/ 84058 w 1233715"/>
                    <a:gd name="connsiteY9" fmla="*/ 106600 h 719337"/>
                    <a:gd name="connsiteX10" fmla="*/ 84057 w 1233715"/>
                    <a:gd name="connsiteY10" fmla="*/ 212545 h 719337"/>
                    <a:gd name="connsiteX11" fmla="*/ 42843 w 1233715"/>
                    <a:gd name="connsiteY11" fmla="*/ 236780 h 719337"/>
                    <a:gd name="connsiteX12" fmla="*/ 4867 w 1233715"/>
                    <a:gd name="connsiteY12" fmla="*/ 221977 h 719337"/>
                    <a:gd name="connsiteX13" fmla="*/ 1628 w 1233715"/>
                    <a:gd name="connsiteY13" fmla="*/ 212544 h 719337"/>
                    <a:gd name="connsiteX14" fmla="*/ 911 w 1233715"/>
                    <a:gd name="connsiteY14" fmla="*/ 97581 h 719337"/>
                    <a:gd name="connsiteX15" fmla="*/ 14421 w 1233715"/>
                    <a:gd name="connsiteY15" fmla="*/ 45201 h 719337"/>
                    <a:gd name="connsiteX16" fmla="*/ 43539 w 1233715"/>
                    <a:gd name="connsiteY16" fmla="*/ 13965 h 719337"/>
                    <a:gd name="connsiteX17" fmla="*/ 86141 w 1233715"/>
                    <a:gd name="connsiteY17" fmla="*/ 108 h 719337"/>
                    <a:gd name="connsiteX18" fmla="*/ 118741 w 1233715"/>
                    <a:gd name="connsiteY18" fmla="*/ 5629 h 719337"/>
                    <a:gd name="connsiteX19" fmla="*/ 1195107 w 1233715"/>
                    <a:gd name="connsiteY19" fmla="*/ 625705 h 719337"/>
                    <a:gd name="connsiteX20" fmla="*/ 1233715 w 1233715"/>
                    <a:gd name="connsiteY20" fmla="*/ 663595 h 719337"/>
                    <a:gd name="connsiteX0" fmla="*/ 1164480 w 1234986"/>
                    <a:gd name="connsiteY0" fmla="*/ 718004 h 749396"/>
                    <a:gd name="connsiteX1" fmla="*/ 1164797 w 1234986"/>
                    <a:gd name="connsiteY1" fmla="*/ 719337 h 749396"/>
                    <a:gd name="connsiteX2" fmla="*/ 1153233 w 1234986"/>
                    <a:gd name="connsiteY2" fmla="*/ 696690 h 749396"/>
                    <a:gd name="connsiteX3" fmla="*/ 97170 w 1234986"/>
                    <a:gd name="connsiteY3" fmla="*/ 84934 h 749396"/>
                    <a:gd name="connsiteX4" fmla="*/ 97100 w 1234986"/>
                    <a:gd name="connsiteY4" fmla="*/ 84854 h 749396"/>
                    <a:gd name="connsiteX5" fmla="*/ 92641 w 1234986"/>
                    <a:gd name="connsiteY5" fmla="*/ 86106 h 749396"/>
                    <a:gd name="connsiteX6" fmla="*/ 83322 w 1234986"/>
                    <a:gd name="connsiteY6" fmla="*/ 98353 h 749396"/>
                    <a:gd name="connsiteX7" fmla="*/ 83306 w 1234986"/>
                    <a:gd name="connsiteY7" fmla="*/ 104410 h 749396"/>
                    <a:gd name="connsiteX8" fmla="*/ 84058 w 1234986"/>
                    <a:gd name="connsiteY8" fmla="*/ 106600 h 749396"/>
                    <a:gd name="connsiteX9" fmla="*/ 84057 w 1234986"/>
                    <a:gd name="connsiteY9" fmla="*/ 212545 h 749396"/>
                    <a:gd name="connsiteX10" fmla="*/ 42843 w 1234986"/>
                    <a:gd name="connsiteY10" fmla="*/ 236780 h 749396"/>
                    <a:gd name="connsiteX11" fmla="*/ 4867 w 1234986"/>
                    <a:gd name="connsiteY11" fmla="*/ 221977 h 749396"/>
                    <a:gd name="connsiteX12" fmla="*/ 1628 w 1234986"/>
                    <a:gd name="connsiteY12" fmla="*/ 212544 h 749396"/>
                    <a:gd name="connsiteX13" fmla="*/ 911 w 1234986"/>
                    <a:gd name="connsiteY13" fmla="*/ 97581 h 749396"/>
                    <a:gd name="connsiteX14" fmla="*/ 14421 w 1234986"/>
                    <a:gd name="connsiteY14" fmla="*/ 45201 h 749396"/>
                    <a:gd name="connsiteX15" fmla="*/ 43539 w 1234986"/>
                    <a:gd name="connsiteY15" fmla="*/ 13965 h 749396"/>
                    <a:gd name="connsiteX16" fmla="*/ 86141 w 1234986"/>
                    <a:gd name="connsiteY16" fmla="*/ 108 h 749396"/>
                    <a:gd name="connsiteX17" fmla="*/ 118741 w 1234986"/>
                    <a:gd name="connsiteY17" fmla="*/ 5629 h 749396"/>
                    <a:gd name="connsiteX18" fmla="*/ 1195107 w 1234986"/>
                    <a:gd name="connsiteY18" fmla="*/ 625705 h 749396"/>
                    <a:gd name="connsiteX19" fmla="*/ 1233715 w 1234986"/>
                    <a:gd name="connsiteY19" fmla="*/ 663595 h 749396"/>
                    <a:gd name="connsiteX0" fmla="*/ 1164480 w 1234765"/>
                    <a:gd name="connsiteY0" fmla="*/ 718004 h 748631"/>
                    <a:gd name="connsiteX1" fmla="*/ 1153233 w 1234765"/>
                    <a:gd name="connsiteY1" fmla="*/ 696690 h 748631"/>
                    <a:gd name="connsiteX2" fmla="*/ 97170 w 1234765"/>
                    <a:gd name="connsiteY2" fmla="*/ 84934 h 748631"/>
                    <a:gd name="connsiteX3" fmla="*/ 97100 w 1234765"/>
                    <a:gd name="connsiteY3" fmla="*/ 84854 h 748631"/>
                    <a:gd name="connsiteX4" fmla="*/ 92641 w 1234765"/>
                    <a:gd name="connsiteY4" fmla="*/ 86106 h 748631"/>
                    <a:gd name="connsiteX5" fmla="*/ 83322 w 1234765"/>
                    <a:gd name="connsiteY5" fmla="*/ 98353 h 748631"/>
                    <a:gd name="connsiteX6" fmla="*/ 83306 w 1234765"/>
                    <a:gd name="connsiteY6" fmla="*/ 104410 h 748631"/>
                    <a:gd name="connsiteX7" fmla="*/ 84058 w 1234765"/>
                    <a:gd name="connsiteY7" fmla="*/ 106600 h 748631"/>
                    <a:gd name="connsiteX8" fmla="*/ 84057 w 1234765"/>
                    <a:gd name="connsiteY8" fmla="*/ 212545 h 748631"/>
                    <a:gd name="connsiteX9" fmla="*/ 42843 w 1234765"/>
                    <a:gd name="connsiteY9" fmla="*/ 236780 h 748631"/>
                    <a:gd name="connsiteX10" fmla="*/ 4867 w 1234765"/>
                    <a:gd name="connsiteY10" fmla="*/ 221977 h 748631"/>
                    <a:gd name="connsiteX11" fmla="*/ 1628 w 1234765"/>
                    <a:gd name="connsiteY11" fmla="*/ 212544 h 748631"/>
                    <a:gd name="connsiteX12" fmla="*/ 911 w 1234765"/>
                    <a:gd name="connsiteY12" fmla="*/ 97581 h 748631"/>
                    <a:gd name="connsiteX13" fmla="*/ 14421 w 1234765"/>
                    <a:gd name="connsiteY13" fmla="*/ 45201 h 748631"/>
                    <a:gd name="connsiteX14" fmla="*/ 43539 w 1234765"/>
                    <a:gd name="connsiteY14" fmla="*/ 13965 h 748631"/>
                    <a:gd name="connsiteX15" fmla="*/ 86141 w 1234765"/>
                    <a:gd name="connsiteY15" fmla="*/ 108 h 748631"/>
                    <a:gd name="connsiteX16" fmla="*/ 118741 w 1234765"/>
                    <a:gd name="connsiteY16" fmla="*/ 5629 h 748631"/>
                    <a:gd name="connsiteX17" fmla="*/ 1195107 w 1234765"/>
                    <a:gd name="connsiteY17" fmla="*/ 625705 h 748631"/>
                    <a:gd name="connsiteX18" fmla="*/ 1233715 w 1234765"/>
                    <a:gd name="connsiteY18" fmla="*/ 663595 h 748631"/>
                    <a:gd name="connsiteX0" fmla="*/ 1153233 w 1233715"/>
                    <a:gd name="connsiteY0" fmla="*/ 696690 h 696690"/>
                    <a:gd name="connsiteX1" fmla="*/ 97170 w 1233715"/>
                    <a:gd name="connsiteY1" fmla="*/ 84934 h 696690"/>
                    <a:gd name="connsiteX2" fmla="*/ 97100 w 1233715"/>
                    <a:gd name="connsiteY2" fmla="*/ 84854 h 696690"/>
                    <a:gd name="connsiteX3" fmla="*/ 92641 w 1233715"/>
                    <a:gd name="connsiteY3" fmla="*/ 86106 h 696690"/>
                    <a:gd name="connsiteX4" fmla="*/ 83322 w 1233715"/>
                    <a:gd name="connsiteY4" fmla="*/ 98353 h 696690"/>
                    <a:gd name="connsiteX5" fmla="*/ 83306 w 1233715"/>
                    <a:gd name="connsiteY5" fmla="*/ 104410 h 696690"/>
                    <a:gd name="connsiteX6" fmla="*/ 84058 w 1233715"/>
                    <a:gd name="connsiteY6" fmla="*/ 106600 h 696690"/>
                    <a:gd name="connsiteX7" fmla="*/ 84057 w 1233715"/>
                    <a:gd name="connsiteY7" fmla="*/ 212545 h 696690"/>
                    <a:gd name="connsiteX8" fmla="*/ 42843 w 1233715"/>
                    <a:gd name="connsiteY8" fmla="*/ 236780 h 696690"/>
                    <a:gd name="connsiteX9" fmla="*/ 4867 w 1233715"/>
                    <a:gd name="connsiteY9" fmla="*/ 221977 h 696690"/>
                    <a:gd name="connsiteX10" fmla="*/ 1628 w 1233715"/>
                    <a:gd name="connsiteY10" fmla="*/ 212544 h 696690"/>
                    <a:gd name="connsiteX11" fmla="*/ 911 w 1233715"/>
                    <a:gd name="connsiteY11" fmla="*/ 97581 h 696690"/>
                    <a:gd name="connsiteX12" fmla="*/ 14421 w 1233715"/>
                    <a:gd name="connsiteY12" fmla="*/ 45201 h 696690"/>
                    <a:gd name="connsiteX13" fmla="*/ 43539 w 1233715"/>
                    <a:gd name="connsiteY13" fmla="*/ 13965 h 696690"/>
                    <a:gd name="connsiteX14" fmla="*/ 86141 w 1233715"/>
                    <a:gd name="connsiteY14" fmla="*/ 108 h 696690"/>
                    <a:gd name="connsiteX15" fmla="*/ 118741 w 1233715"/>
                    <a:gd name="connsiteY15" fmla="*/ 5629 h 696690"/>
                    <a:gd name="connsiteX16" fmla="*/ 1195107 w 1233715"/>
                    <a:gd name="connsiteY16" fmla="*/ 625705 h 696690"/>
                    <a:gd name="connsiteX17" fmla="*/ 1233715 w 1233715"/>
                    <a:gd name="connsiteY17" fmla="*/ 663595 h 696690"/>
                    <a:gd name="connsiteX0" fmla="*/ 1153233 w 1195107"/>
                    <a:gd name="connsiteY0" fmla="*/ 696690 h 696690"/>
                    <a:gd name="connsiteX1" fmla="*/ 97170 w 1195107"/>
                    <a:gd name="connsiteY1" fmla="*/ 84934 h 696690"/>
                    <a:gd name="connsiteX2" fmla="*/ 97100 w 1195107"/>
                    <a:gd name="connsiteY2" fmla="*/ 84854 h 696690"/>
                    <a:gd name="connsiteX3" fmla="*/ 92641 w 1195107"/>
                    <a:gd name="connsiteY3" fmla="*/ 86106 h 696690"/>
                    <a:gd name="connsiteX4" fmla="*/ 83322 w 1195107"/>
                    <a:gd name="connsiteY4" fmla="*/ 98353 h 696690"/>
                    <a:gd name="connsiteX5" fmla="*/ 83306 w 1195107"/>
                    <a:gd name="connsiteY5" fmla="*/ 104410 h 696690"/>
                    <a:gd name="connsiteX6" fmla="*/ 84058 w 1195107"/>
                    <a:gd name="connsiteY6" fmla="*/ 106600 h 696690"/>
                    <a:gd name="connsiteX7" fmla="*/ 84057 w 1195107"/>
                    <a:gd name="connsiteY7" fmla="*/ 212545 h 696690"/>
                    <a:gd name="connsiteX8" fmla="*/ 42843 w 1195107"/>
                    <a:gd name="connsiteY8" fmla="*/ 236780 h 696690"/>
                    <a:gd name="connsiteX9" fmla="*/ 4867 w 1195107"/>
                    <a:gd name="connsiteY9" fmla="*/ 221977 h 696690"/>
                    <a:gd name="connsiteX10" fmla="*/ 1628 w 1195107"/>
                    <a:gd name="connsiteY10" fmla="*/ 212544 h 696690"/>
                    <a:gd name="connsiteX11" fmla="*/ 911 w 1195107"/>
                    <a:gd name="connsiteY11" fmla="*/ 97581 h 696690"/>
                    <a:gd name="connsiteX12" fmla="*/ 14421 w 1195107"/>
                    <a:gd name="connsiteY12" fmla="*/ 45201 h 696690"/>
                    <a:gd name="connsiteX13" fmla="*/ 43539 w 1195107"/>
                    <a:gd name="connsiteY13" fmla="*/ 13965 h 696690"/>
                    <a:gd name="connsiteX14" fmla="*/ 86141 w 1195107"/>
                    <a:gd name="connsiteY14" fmla="*/ 108 h 696690"/>
                    <a:gd name="connsiteX15" fmla="*/ 118741 w 1195107"/>
                    <a:gd name="connsiteY15" fmla="*/ 5629 h 696690"/>
                    <a:gd name="connsiteX16" fmla="*/ 1195107 w 1195107"/>
                    <a:gd name="connsiteY16" fmla="*/ 625705 h 696690"/>
                    <a:gd name="connsiteX0" fmla="*/ 1153233 w 1210819"/>
                    <a:gd name="connsiteY0" fmla="*/ 696690 h 696690"/>
                    <a:gd name="connsiteX1" fmla="*/ 97170 w 1210819"/>
                    <a:gd name="connsiteY1" fmla="*/ 84934 h 696690"/>
                    <a:gd name="connsiteX2" fmla="*/ 97100 w 1210819"/>
                    <a:gd name="connsiteY2" fmla="*/ 84854 h 696690"/>
                    <a:gd name="connsiteX3" fmla="*/ 92641 w 1210819"/>
                    <a:gd name="connsiteY3" fmla="*/ 86106 h 696690"/>
                    <a:gd name="connsiteX4" fmla="*/ 83322 w 1210819"/>
                    <a:gd name="connsiteY4" fmla="*/ 98353 h 696690"/>
                    <a:gd name="connsiteX5" fmla="*/ 83306 w 1210819"/>
                    <a:gd name="connsiteY5" fmla="*/ 104410 h 696690"/>
                    <a:gd name="connsiteX6" fmla="*/ 84058 w 1210819"/>
                    <a:gd name="connsiteY6" fmla="*/ 106600 h 696690"/>
                    <a:gd name="connsiteX7" fmla="*/ 84057 w 1210819"/>
                    <a:gd name="connsiteY7" fmla="*/ 212545 h 696690"/>
                    <a:gd name="connsiteX8" fmla="*/ 42843 w 1210819"/>
                    <a:gd name="connsiteY8" fmla="*/ 236780 h 696690"/>
                    <a:gd name="connsiteX9" fmla="*/ 4867 w 1210819"/>
                    <a:gd name="connsiteY9" fmla="*/ 221977 h 696690"/>
                    <a:gd name="connsiteX10" fmla="*/ 1628 w 1210819"/>
                    <a:gd name="connsiteY10" fmla="*/ 212544 h 696690"/>
                    <a:gd name="connsiteX11" fmla="*/ 911 w 1210819"/>
                    <a:gd name="connsiteY11" fmla="*/ 97581 h 696690"/>
                    <a:gd name="connsiteX12" fmla="*/ 14421 w 1210819"/>
                    <a:gd name="connsiteY12" fmla="*/ 45201 h 696690"/>
                    <a:gd name="connsiteX13" fmla="*/ 43539 w 1210819"/>
                    <a:gd name="connsiteY13" fmla="*/ 13965 h 696690"/>
                    <a:gd name="connsiteX14" fmla="*/ 86141 w 1210819"/>
                    <a:gd name="connsiteY14" fmla="*/ 108 h 696690"/>
                    <a:gd name="connsiteX15" fmla="*/ 118741 w 1210819"/>
                    <a:gd name="connsiteY15" fmla="*/ 5629 h 696690"/>
                    <a:gd name="connsiteX16" fmla="*/ 1210819 w 1210819"/>
                    <a:gd name="connsiteY16" fmla="*/ 638630 h 696690"/>
                    <a:gd name="connsiteX0" fmla="*/ 1153233 w 1208438"/>
                    <a:gd name="connsiteY0" fmla="*/ 696690 h 696690"/>
                    <a:gd name="connsiteX1" fmla="*/ 97170 w 1208438"/>
                    <a:gd name="connsiteY1" fmla="*/ 84934 h 696690"/>
                    <a:gd name="connsiteX2" fmla="*/ 97100 w 1208438"/>
                    <a:gd name="connsiteY2" fmla="*/ 84854 h 696690"/>
                    <a:gd name="connsiteX3" fmla="*/ 92641 w 1208438"/>
                    <a:gd name="connsiteY3" fmla="*/ 86106 h 696690"/>
                    <a:gd name="connsiteX4" fmla="*/ 83322 w 1208438"/>
                    <a:gd name="connsiteY4" fmla="*/ 98353 h 696690"/>
                    <a:gd name="connsiteX5" fmla="*/ 83306 w 1208438"/>
                    <a:gd name="connsiteY5" fmla="*/ 104410 h 696690"/>
                    <a:gd name="connsiteX6" fmla="*/ 84058 w 1208438"/>
                    <a:gd name="connsiteY6" fmla="*/ 106600 h 696690"/>
                    <a:gd name="connsiteX7" fmla="*/ 84057 w 1208438"/>
                    <a:gd name="connsiteY7" fmla="*/ 212545 h 696690"/>
                    <a:gd name="connsiteX8" fmla="*/ 42843 w 1208438"/>
                    <a:gd name="connsiteY8" fmla="*/ 236780 h 696690"/>
                    <a:gd name="connsiteX9" fmla="*/ 4867 w 1208438"/>
                    <a:gd name="connsiteY9" fmla="*/ 221977 h 696690"/>
                    <a:gd name="connsiteX10" fmla="*/ 1628 w 1208438"/>
                    <a:gd name="connsiteY10" fmla="*/ 212544 h 696690"/>
                    <a:gd name="connsiteX11" fmla="*/ 911 w 1208438"/>
                    <a:gd name="connsiteY11" fmla="*/ 97581 h 696690"/>
                    <a:gd name="connsiteX12" fmla="*/ 14421 w 1208438"/>
                    <a:gd name="connsiteY12" fmla="*/ 45201 h 696690"/>
                    <a:gd name="connsiteX13" fmla="*/ 43539 w 1208438"/>
                    <a:gd name="connsiteY13" fmla="*/ 13965 h 696690"/>
                    <a:gd name="connsiteX14" fmla="*/ 86141 w 1208438"/>
                    <a:gd name="connsiteY14" fmla="*/ 108 h 696690"/>
                    <a:gd name="connsiteX15" fmla="*/ 118741 w 1208438"/>
                    <a:gd name="connsiteY15" fmla="*/ 5629 h 696690"/>
                    <a:gd name="connsiteX16" fmla="*/ 1208438 w 1208438"/>
                    <a:gd name="connsiteY16" fmla="*/ 634505 h 696690"/>
                    <a:gd name="connsiteX0" fmla="*/ 1153234 w 1208438"/>
                    <a:gd name="connsiteY0" fmla="*/ 696690 h 696690"/>
                    <a:gd name="connsiteX1" fmla="*/ 97170 w 1208438"/>
                    <a:gd name="connsiteY1" fmla="*/ 84934 h 696690"/>
                    <a:gd name="connsiteX2" fmla="*/ 97100 w 1208438"/>
                    <a:gd name="connsiteY2" fmla="*/ 84854 h 696690"/>
                    <a:gd name="connsiteX3" fmla="*/ 92641 w 1208438"/>
                    <a:gd name="connsiteY3" fmla="*/ 86106 h 696690"/>
                    <a:gd name="connsiteX4" fmla="*/ 83322 w 1208438"/>
                    <a:gd name="connsiteY4" fmla="*/ 98353 h 696690"/>
                    <a:gd name="connsiteX5" fmla="*/ 83306 w 1208438"/>
                    <a:gd name="connsiteY5" fmla="*/ 104410 h 696690"/>
                    <a:gd name="connsiteX6" fmla="*/ 84058 w 1208438"/>
                    <a:gd name="connsiteY6" fmla="*/ 106600 h 696690"/>
                    <a:gd name="connsiteX7" fmla="*/ 84057 w 1208438"/>
                    <a:gd name="connsiteY7" fmla="*/ 212545 h 696690"/>
                    <a:gd name="connsiteX8" fmla="*/ 42843 w 1208438"/>
                    <a:gd name="connsiteY8" fmla="*/ 236780 h 696690"/>
                    <a:gd name="connsiteX9" fmla="*/ 4867 w 1208438"/>
                    <a:gd name="connsiteY9" fmla="*/ 221977 h 696690"/>
                    <a:gd name="connsiteX10" fmla="*/ 1628 w 1208438"/>
                    <a:gd name="connsiteY10" fmla="*/ 212544 h 696690"/>
                    <a:gd name="connsiteX11" fmla="*/ 911 w 1208438"/>
                    <a:gd name="connsiteY11" fmla="*/ 97581 h 696690"/>
                    <a:gd name="connsiteX12" fmla="*/ 14421 w 1208438"/>
                    <a:gd name="connsiteY12" fmla="*/ 45201 h 696690"/>
                    <a:gd name="connsiteX13" fmla="*/ 43539 w 1208438"/>
                    <a:gd name="connsiteY13" fmla="*/ 13965 h 696690"/>
                    <a:gd name="connsiteX14" fmla="*/ 86141 w 1208438"/>
                    <a:gd name="connsiteY14" fmla="*/ 108 h 696690"/>
                    <a:gd name="connsiteX15" fmla="*/ 118741 w 1208438"/>
                    <a:gd name="connsiteY15" fmla="*/ 5629 h 696690"/>
                    <a:gd name="connsiteX16" fmla="*/ 1208438 w 1208438"/>
                    <a:gd name="connsiteY16" fmla="*/ 634505 h 696690"/>
                    <a:gd name="connsiteX0" fmla="*/ 1153234 w 1227722"/>
                    <a:gd name="connsiteY0" fmla="*/ 696690 h 696690"/>
                    <a:gd name="connsiteX1" fmla="*/ 97170 w 1227722"/>
                    <a:gd name="connsiteY1" fmla="*/ 84934 h 696690"/>
                    <a:gd name="connsiteX2" fmla="*/ 97100 w 1227722"/>
                    <a:gd name="connsiteY2" fmla="*/ 84854 h 696690"/>
                    <a:gd name="connsiteX3" fmla="*/ 92641 w 1227722"/>
                    <a:gd name="connsiteY3" fmla="*/ 86106 h 696690"/>
                    <a:gd name="connsiteX4" fmla="*/ 83322 w 1227722"/>
                    <a:gd name="connsiteY4" fmla="*/ 98353 h 696690"/>
                    <a:gd name="connsiteX5" fmla="*/ 83306 w 1227722"/>
                    <a:gd name="connsiteY5" fmla="*/ 104410 h 696690"/>
                    <a:gd name="connsiteX6" fmla="*/ 84058 w 1227722"/>
                    <a:gd name="connsiteY6" fmla="*/ 106600 h 696690"/>
                    <a:gd name="connsiteX7" fmla="*/ 84057 w 1227722"/>
                    <a:gd name="connsiteY7" fmla="*/ 212545 h 696690"/>
                    <a:gd name="connsiteX8" fmla="*/ 42843 w 1227722"/>
                    <a:gd name="connsiteY8" fmla="*/ 236780 h 696690"/>
                    <a:gd name="connsiteX9" fmla="*/ 4867 w 1227722"/>
                    <a:gd name="connsiteY9" fmla="*/ 221977 h 696690"/>
                    <a:gd name="connsiteX10" fmla="*/ 1628 w 1227722"/>
                    <a:gd name="connsiteY10" fmla="*/ 212544 h 696690"/>
                    <a:gd name="connsiteX11" fmla="*/ 911 w 1227722"/>
                    <a:gd name="connsiteY11" fmla="*/ 97581 h 696690"/>
                    <a:gd name="connsiteX12" fmla="*/ 14421 w 1227722"/>
                    <a:gd name="connsiteY12" fmla="*/ 45201 h 696690"/>
                    <a:gd name="connsiteX13" fmla="*/ 43539 w 1227722"/>
                    <a:gd name="connsiteY13" fmla="*/ 13965 h 696690"/>
                    <a:gd name="connsiteX14" fmla="*/ 86141 w 1227722"/>
                    <a:gd name="connsiteY14" fmla="*/ 108 h 696690"/>
                    <a:gd name="connsiteX15" fmla="*/ 118741 w 1227722"/>
                    <a:gd name="connsiteY15" fmla="*/ 5629 h 696690"/>
                    <a:gd name="connsiteX16" fmla="*/ 1227722 w 1227722"/>
                    <a:gd name="connsiteY16" fmla="*/ 653618 h 696690"/>
                    <a:gd name="connsiteX0" fmla="*/ 1153234 w 1227722"/>
                    <a:gd name="connsiteY0" fmla="*/ 696690 h 696690"/>
                    <a:gd name="connsiteX1" fmla="*/ 97170 w 1227722"/>
                    <a:gd name="connsiteY1" fmla="*/ 84934 h 696690"/>
                    <a:gd name="connsiteX2" fmla="*/ 97100 w 1227722"/>
                    <a:gd name="connsiteY2" fmla="*/ 84854 h 696690"/>
                    <a:gd name="connsiteX3" fmla="*/ 92641 w 1227722"/>
                    <a:gd name="connsiteY3" fmla="*/ 86106 h 696690"/>
                    <a:gd name="connsiteX4" fmla="*/ 83322 w 1227722"/>
                    <a:gd name="connsiteY4" fmla="*/ 98353 h 696690"/>
                    <a:gd name="connsiteX5" fmla="*/ 83306 w 1227722"/>
                    <a:gd name="connsiteY5" fmla="*/ 104410 h 696690"/>
                    <a:gd name="connsiteX6" fmla="*/ 84058 w 1227722"/>
                    <a:gd name="connsiteY6" fmla="*/ 106600 h 696690"/>
                    <a:gd name="connsiteX7" fmla="*/ 84057 w 1227722"/>
                    <a:gd name="connsiteY7" fmla="*/ 212545 h 696690"/>
                    <a:gd name="connsiteX8" fmla="*/ 42843 w 1227722"/>
                    <a:gd name="connsiteY8" fmla="*/ 236780 h 696690"/>
                    <a:gd name="connsiteX9" fmla="*/ 4867 w 1227722"/>
                    <a:gd name="connsiteY9" fmla="*/ 221977 h 696690"/>
                    <a:gd name="connsiteX10" fmla="*/ 1628 w 1227722"/>
                    <a:gd name="connsiteY10" fmla="*/ 212544 h 696690"/>
                    <a:gd name="connsiteX11" fmla="*/ 911 w 1227722"/>
                    <a:gd name="connsiteY11" fmla="*/ 97581 h 696690"/>
                    <a:gd name="connsiteX12" fmla="*/ 14421 w 1227722"/>
                    <a:gd name="connsiteY12" fmla="*/ 45201 h 696690"/>
                    <a:gd name="connsiteX13" fmla="*/ 43539 w 1227722"/>
                    <a:gd name="connsiteY13" fmla="*/ 13965 h 696690"/>
                    <a:gd name="connsiteX14" fmla="*/ 86141 w 1227722"/>
                    <a:gd name="connsiteY14" fmla="*/ 108 h 696690"/>
                    <a:gd name="connsiteX15" fmla="*/ 118741 w 1227722"/>
                    <a:gd name="connsiteY15" fmla="*/ 5629 h 696690"/>
                    <a:gd name="connsiteX16" fmla="*/ 1195602 w 1227722"/>
                    <a:gd name="connsiteY16" fmla="*/ 637982 h 696690"/>
                    <a:gd name="connsiteX17" fmla="*/ 1227722 w 1227722"/>
                    <a:gd name="connsiteY17" fmla="*/ 653618 h 696690"/>
                    <a:gd name="connsiteX0" fmla="*/ 1153234 w 1227722"/>
                    <a:gd name="connsiteY0" fmla="*/ 696690 h 696690"/>
                    <a:gd name="connsiteX1" fmla="*/ 97170 w 1227722"/>
                    <a:gd name="connsiteY1" fmla="*/ 84934 h 696690"/>
                    <a:gd name="connsiteX2" fmla="*/ 97100 w 1227722"/>
                    <a:gd name="connsiteY2" fmla="*/ 84854 h 696690"/>
                    <a:gd name="connsiteX3" fmla="*/ 92641 w 1227722"/>
                    <a:gd name="connsiteY3" fmla="*/ 86106 h 696690"/>
                    <a:gd name="connsiteX4" fmla="*/ 83322 w 1227722"/>
                    <a:gd name="connsiteY4" fmla="*/ 98353 h 696690"/>
                    <a:gd name="connsiteX5" fmla="*/ 83306 w 1227722"/>
                    <a:gd name="connsiteY5" fmla="*/ 104410 h 696690"/>
                    <a:gd name="connsiteX6" fmla="*/ 84058 w 1227722"/>
                    <a:gd name="connsiteY6" fmla="*/ 106600 h 696690"/>
                    <a:gd name="connsiteX7" fmla="*/ 84057 w 1227722"/>
                    <a:gd name="connsiteY7" fmla="*/ 212545 h 696690"/>
                    <a:gd name="connsiteX8" fmla="*/ 42843 w 1227722"/>
                    <a:gd name="connsiteY8" fmla="*/ 236780 h 696690"/>
                    <a:gd name="connsiteX9" fmla="*/ 4867 w 1227722"/>
                    <a:gd name="connsiteY9" fmla="*/ 221977 h 696690"/>
                    <a:gd name="connsiteX10" fmla="*/ 1628 w 1227722"/>
                    <a:gd name="connsiteY10" fmla="*/ 212544 h 696690"/>
                    <a:gd name="connsiteX11" fmla="*/ 911 w 1227722"/>
                    <a:gd name="connsiteY11" fmla="*/ 97581 h 696690"/>
                    <a:gd name="connsiteX12" fmla="*/ 14421 w 1227722"/>
                    <a:gd name="connsiteY12" fmla="*/ 45201 h 696690"/>
                    <a:gd name="connsiteX13" fmla="*/ 43539 w 1227722"/>
                    <a:gd name="connsiteY13" fmla="*/ 13965 h 696690"/>
                    <a:gd name="connsiteX14" fmla="*/ 86141 w 1227722"/>
                    <a:gd name="connsiteY14" fmla="*/ 108 h 696690"/>
                    <a:gd name="connsiteX15" fmla="*/ 118741 w 1227722"/>
                    <a:gd name="connsiteY15" fmla="*/ 5629 h 696690"/>
                    <a:gd name="connsiteX16" fmla="*/ 1198219 w 1227722"/>
                    <a:gd name="connsiteY16" fmla="*/ 628224 h 696690"/>
                    <a:gd name="connsiteX17" fmla="*/ 1227722 w 1227722"/>
                    <a:gd name="connsiteY17" fmla="*/ 653618 h 69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7722" h="696690">
                      <a:moveTo>
                        <a:pt x="1153234" y="696690"/>
                      </a:moveTo>
                      <a:lnTo>
                        <a:pt x="97170" y="84934"/>
                      </a:lnTo>
                      <a:cubicBezTo>
                        <a:pt x="97147" y="84907"/>
                        <a:pt x="97123" y="84881"/>
                        <a:pt x="97100" y="84854"/>
                      </a:cubicBezTo>
                      <a:lnTo>
                        <a:pt x="92641" y="86106"/>
                      </a:lnTo>
                      <a:cubicBezTo>
                        <a:pt x="87828" y="87456"/>
                        <a:pt x="83868" y="90174"/>
                        <a:pt x="83322" y="98353"/>
                      </a:cubicBezTo>
                      <a:cubicBezTo>
                        <a:pt x="83316" y="100372"/>
                        <a:pt x="83311" y="102391"/>
                        <a:pt x="83306" y="104410"/>
                      </a:cubicBezTo>
                      <a:lnTo>
                        <a:pt x="84058" y="106600"/>
                      </a:lnTo>
                      <a:cubicBezTo>
                        <a:pt x="84058" y="141915"/>
                        <a:pt x="84057" y="177229"/>
                        <a:pt x="84057" y="212545"/>
                      </a:cubicBezTo>
                      <a:cubicBezTo>
                        <a:pt x="84057" y="225929"/>
                        <a:pt x="65605" y="236780"/>
                        <a:pt x="42843" y="236780"/>
                      </a:cubicBezTo>
                      <a:cubicBezTo>
                        <a:pt x="25771" y="236779"/>
                        <a:pt x="11124" y="230676"/>
                        <a:pt x="4867" y="221977"/>
                      </a:cubicBezTo>
                      <a:cubicBezTo>
                        <a:pt x="2782" y="219079"/>
                        <a:pt x="1628" y="215890"/>
                        <a:pt x="1628" y="212544"/>
                      </a:cubicBezTo>
                      <a:cubicBezTo>
                        <a:pt x="968" y="191811"/>
                        <a:pt x="-1222" y="125471"/>
                        <a:pt x="911" y="97581"/>
                      </a:cubicBezTo>
                      <a:cubicBezTo>
                        <a:pt x="3498" y="80400"/>
                        <a:pt x="-1751" y="72471"/>
                        <a:pt x="14421" y="45201"/>
                      </a:cubicBezTo>
                      <a:cubicBezTo>
                        <a:pt x="26551" y="24749"/>
                        <a:pt x="34561" y="19753"/>
                        <a:pt x="43539" y="13965"/>
                      </a:cubicBezTo>
                      <a:cubicBezTo>
                        <a:pt x="60016" y="6917"/>
                        <a:pt x="69693" y="-450"/>
                        <a:pt x="86141" y="108"/>
                      </a:cubicBezTo>
                      <a:cubicBezTo>
                        <a:pt x="98478" y="527"/>
                        <a:pt x="101140" y="-2106"/>
                        <a:pt x="118741" y="5629"/>
                      </a:cubicBezTo>
                      <a:lnTo>
                        <a:pt x="1198219" y="628224"/>
                      </a:lnTo>
                      <a:lnTo>
                        <a:pt x="1227722" y="653618"/>
                      </a:lnTo>
                    </a:path>
                  </a:pathLst>
                </a:custGeom>
                <a:gradFill flip="none" rotWithShape="1">
                  <a:gsLst>
                    <a:gs pos="51000">
                      <a:schemeClr val="accent2">
                        <a:lumMod val="0"/>
                        <a:lumOff val="100000"/>
                      </a:schemeClr>
                    </a:gs>
                    <a:gs pos="45000">
                      <a:schemeClr val="accent4"/>
                    </a:gs>
                  </a:gsLst>
                  <a:lin ang="72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951" name="Freeform: Shape 950">
                  <a:extLst>
                    <a:ext uri="{FF2B5EF4-FFF2-40B4-BE49-F238E27FC236}">
                      <a16:creationId xmlns:a16="http://schemas.microsoft.com/office/drawing/2014/main" id="{8AE8685B-7739-4D24-A3DA-FF621654D8FB}"/>
                    </a:ext>
                  </a:extLst>
                </p:cNvPr>
                <p:cNvSpPr/>
                <p:nvPr/>
              </p:nvSpPr>
              <p:spPr bwMode="gray">
                <a:xfrm rot="7200000">
                  <a:off x="9706684" y="4460520"/>
                  <a:ext cx="72679" cy="162233"/>
                </a:xfrm>
                <a:custGeom>
                  <a:avLst/>
                  <a:gdLst>
                    <a:gd name="connsiteX0" fmla="*/ 1191 w 76769"/>
                    <a:gd name="connsiteY0" fmla="*/ 171392 h 198335"/>
                    <a:gd name="connsiteX1" fmla="*/ 1191 w 76769"/>
                    <a:gd name="connsiteY1" fmla="*/ 171379 h 198335"/>
                    <a:gd name="connsiteX2" fmla="*/ 1 w 76769"/>
                    <a:gd name="connsiteY2" fmla="*/ 169330 h 198335"/>
                    <a:gd name="connsiteX3" fmla="*/ 0 w 76769"/>
                    <a:gd name="connsiteY3" fmla="*/ 26943 h 198335"/>
                    <a:gd name="connsiteX4" fmla="*/ 37789 w 76769"/>
                    <a:gd name="connsiteY4" fmla="*/ 0 h 198335"/>
                    <a:gd name="connsiteX5" fmla="*/ 75578 w 76769"/>
                    <a:gd name="connsiteY5" fmla="*/ 26943 h 198335"/>
                    <a:gd name="connsiteX6" fmla="*/ 75578 w 76769"/>
                    <a:gd name="connsiteY6" fmla="*/ 26956 h 198335"/>
                    <a:gd name="connsiteX7" fmla="*/ 76769 w 76769"/>
                    <a:gd name="connsiteY7" fmla="*/ 29005 h 198335"/>
                    <a:gd name="connsiteX8" fmla="*/ 76769 w 76769"/>
                    <a:gd name="connsiteY8" fmla="*/ 171392 h 198335"/>
                    <a:gd name="connsiteX9" fmla="*/ 38980 w 76769"/>
                    <a:gd name="connsiteY9" fmla="*/ 198335 h 198335"/>
                    <a:gd name="connsiteX10" fmla="*/ 1191 w 76769"/>
                    <a:gd name="connsiteY10" fmla="*/ 171392 h 198335"/>
                    <a:gd name="connsiteX0" fmla="*/ 1191 w 76769"/>
                    <a:gd name="connsiteY0" fmla="*/ 154997 h 181940"/>
                    <a:gd name="connsiteX1" fmla="*/ 1191 w 76769"/>
                    <a:gd name="connsiteY1" fmla="*/ 154984 h 181940"/>
                    <a:gd name="connsiteX2" fmla="*/ 1 w 76769"/>
                    <a:gd name="connsiteY2" fmla="*/ 152935 h 181940"/>
                    <a:gd name="connsiteX3" fmla="*/ 0 w 76769"/>
                    <a:gd name="connsiteY3" fmla="*/ 10548 h 181940"/>
                    <a:gd name="connsiteX4" fmla="*/ 75578 w 76769"/>
                    <a:gd name="connsiteY4" fmla="*/ 10548 h 181940"/>
                    <a:gd name="connsiteX5" fmla="*/ 75578 w 76769"/>
                    <a:gd name="connsiteY5" fmla="*/ 10561 h 181940"/>
                    <a:gd name="connsiteX6" fmla="*/ 76769 w 76769"/>
                    <a:gd name="connsiteY6" fmla="*/ 12610 h 181940"/>
                    <a:gd name="connsiteX7" fmla="*/ 76769 w 76769"/>
                    <a:gd name="connsiteY7" fmla="*/ 154997 h 181940"/>
                    <a:gd name="connsiteX8" fmla="*/ 38980 w 76769"/>
                    <a:gd name="connsiteY8" fmla="*/ 181940 h 181940"/>
                    <a:gd name="connsiteX9" fmla="*/ 1191 w 76769"/>
                    <a:gd name="connsiteY9" fmla="*/ 154997 h 181940"/>
                    <a:gd name="connsiteX0" fmla="*/ 1191 w 77087"/>
                    <a:gd name="connsiteY0" fmla="*/ 154997 h 181940"/>
                    <a:gd name="connsiteX1" fmla="*/ 1191 w 77087"/>
                    <a:gd name="connsiteY1" fmla="*/ 154984 h 181940"/>
                    <a:gd name="connsiteX2" fmla="*/ 1 w 77087"/>
                    <a:gd name="connsiteY2" fmla="*/ 152935 h 181940"/>
                    <a:gd name="connsiteX3" fmla="*/ 0 w 77087"/>
                    <a:gd name="connsiteY3" fmla="*/ 10548 h 181940"/>
                    <a:gd name="connsiteX4" fmla="*/ 75578 w 77087"/>
                    <a:gd name="connsiteY4" fmla="*/ 10548 h 181940"/>
                    <a:gd name="connsiteX5" fmla="*/ 75578 w 77087"/>
                    <a:gd name="connsiteY5" fmla="*/ 10561 h 181940"/>
                    <a:gd name="connsiteX6" fmla="*/ 77087 w 77087"/>
                    <a:gd name="connsiteY6" fmla="*/ 17925 h 181940"/>
                    <a:gd name="connsiteX7" fmla="*/ 76769 w 77087"/>
                    <a:gd name="connsiteY7" fmla="*/ 154997 h 181940"/>
                    <a:gd name="connsiteX8" fmla="*/ 38980 w 77087"/>
                    <a:gd name="connsiteY8" fmla="*/ 181940 h 181940"/>
                    <a:gd name="connsiteX9" fmla="*/ 1191 w 77087"/>
                    <a:gd name="connsiteY9" fmla="*/ 154997 h 181940"/>
                    <a:gd name="connsiteX0" fmla="*/ 1191 w 76769"/>
                    <a:gd name="connsiteY0" fmla="*/ 154997 h 181940"/>
                    <a:gd name="connsiteX1" fmla="*/ 1191 w 76769"/>
                    <a:gd name="connsiteY1" fmla="*/ 154984 h 181940"/>
                    <a:gd name="connsiteX2" fmla="*/ 1 w 76769"/>
                    <a:gd name="connsiteY2" fmla="*/ 152935 h 181940"/>
                    <a:gd name="connsiteX3" fmla="*/ 0 w 76769"/>
                    <a:gd name="connsiteY3" fmla="*/ 10548 h 181940"/>
                    <a:gd name="connsiteX4" fmla="*/ 75578 w 76769"/>
                    <a:gd name="connsiteY4" fmla="*/ 10548 h 181940"/>
                    <a:gd name="connsiteX5" fmla="*/ 75578 w 76769"/>
                    <a:gd name="connsiteY5" fmla="*/ 10561 h 181940"/>
                    <a:gd name="connsiteX6" fmla="*/ 76769 w 76769"/>
                    <a:gd name="connsiteY6" fmla="*/ 154997 h 181940"/>
                    <a:gd name="connsiteX7" fmla="*/ 38980 w 76769"/>
                    <a:gd name="connsiteY7" fmla="*/ 181940 h 181940"/>
                    <a:gd name="connsiteX8" fmla="*/ 1191 w 76769"/>
                    <a:gd name="connsiteY8" fmla="*/ 154997 h 181940"/>
                    <a:gd name="connsiteX0" fmla="*/ 1191 w 76769"/>
                    <a:gd name="connsiteY0" fmla="*/ 144450 h 171393"/>
                    <a:gd name="connsiteX1" fmla="*/ 1191 w 76769"/>
                    <a:gd name="connsiteY1" fmla="*/ 144437 h 171393"/>
                    <a:gd name="connsiteX2" fmla="*/ 1 w 76769"/>
                    <a:gd name="connsiteY2" fmla="*/ 142388 h 171393"/>
                    <a:gd name="connsiteX3" fmla="*/ 0 w 76769"/>
                    <a:gd name="connsiteY3" fmla="*/ 1 h 171393"/>
                    <a:gd name="connsiteX4" fmla="*/ 75578 w 76769"/>
                    <a:gd name="connsiteY4" fmla="*/ 1 h 171393"/>
                    <a:gd name="connsiteX5" fmla="*/ 75578 w 76769"/>
                    <a:gd name="connsiteY5" fmla="*/ 14 h 171393"/>
                    <a:gd name="connsiteX6" fmla="*/ 76769 w 76769"/>
                    <a:gd name="connsiteY6" fmla="*/ 144450 h 171393"/>
                    <a:gd name="connsiteX7" fmla="*/ 38980 w 76769"/>
                    <a:gd name="connsiteY7" fmla="*/ 171393 h 171393"/>
                    <a:gd name="connsiteX8" fmla="*/ 1191 w 76769"/>
                    <a:gd name="connsiteY8" fmla="*/ 144450 h 171393"/>
                    <a:gd name="connsiteX0" fmla="*/ 1191 w 76854"/>
                    <a:gd name="connsiteY0" fmla="*/ 144450 h 171393"/>
                    <a:gd name="connsiteX1" fmla="*/ 1191 w 76854"/>
                    <a:gd name="connsiteY1" fmla="*/ 144437 h 171393"/>
                    <a:gd name="connsiteX2" fmla="*/ 1 w 76854"/>
                    <a:gd name="connsiteY2" fmla="*/ 142388 h 171393"/>
                    <a:gd name="connsiteX3" fmla="*/ 0 w 76854"/>
                    <a:gd name="connsiteY3" fmla="*/ 1 h 171393"/>
                    <a:gd name="connsiteX4" fmla="*/ 75578 w 76854"/>
                    <a:gd name="connsiteY4" fmla="*/ 1 h 171393"/>
                    <a:gd name="connsiteX5" fmla="*/ 76854 w 76854"/>
                    <a:gd name="connsiteY5" fmla="*/ 21274 h 171393"/>
                    <a:gd name="connsiteX6" fmla="*/ 76769 w 76854"/>
                    <a:gd name="connsiteY6" fmla="*/ 144450 h 171393"/>
                    <a:gd name="connsiteX7" fmla="*/ 38980 w 76854"/>
                    <a:gd name="connsiteY7" fmla="*/ 171393 h 171393"/>
                    <a:gd name="connsiteX8" fmla="*/ 1191 w 76854"/>
                    <a:gd name="connsiteY8" fmla="*/ 144450 h 171393"/>
                    <a:gd name="connsiteX0" fmla="*/ 1191 w 76769"/>
                    <a:gd name="connsiteY0" fmla="*/ 144450 h 171393"/>
                    <a:gd name="connsiteX1" fmla="*/ 1191 w 76769"/>
                    <a:gd name="connsiteY1" fmla="*/ 144437 h 171393"/>
                    <a:gd name="connsiteX2" fmla="*/ 1 w 76769"/>
                    <a:gd name="connsiteY2" fmla="*/ 142388 h 171393"/>
                    <a:gd name="connsiteX3" fmla="*/ 0 w 76769"/>
                    <a:gd name="connsiteY3" fmla="*/ 1 h 171393"/>
                    <a:gd name="connsiteX4" fmla="*/ 75578 w 76769"/>
                    <a:gd name="connsiteY4" fmla="*/ 1 h 171393"/>
                    <a:gd name="connsiteX5" fmla="*/ 46069 w 76769"/>
                    <a:gd name="connsiteY5" fmla="*/ 6053 h 171393"/>
                    <a:gd name="connsiteX6" fmla="*/ 76769 w 76769"/>
                    <a:gd name="connsiteY6" fmla="*/ 144450 h 171393"/>
                    <a:gd name="connsiteX7" fmla="*/ 38980 w 76769"/>
                    <a:gd name="connsiteY7" fmla="*/ 171393 h 171393"/>
                    <a:gd name="connsiteX8" fmla="*/ 1191 w 76769"/>
                    <a:gd name="connsiteY8" fmla="*/ 144450 h 171393"/>
                    <a:gd name="connsiteX0" fmla="*/ 1191 w 83348"/>
                    <a:gd name="connsiteY0" fmla="*/ 144450 h 171409"/>
                    <a:gd name="connsiteX1" fmla="*/ 1191 w 83348"/>
                    <a:gd name="connsiteY1" fmla="*/ 144437 h 171409"/>
                    <a:gd name="connsiteX2" fmla="*/ 1 w 83348"/>
                    <a:gd name="connsiteY2" fmla="*/ 142388 h 171409"/>
                    <a:gd name="connsiteX3" fmla="*/ 0 w 83348"/>
                    <a:gd name="connsiteY3" fmla="*/ 1 h 171409"/>
                    <a:gd name="connsiteX4" fmla="*/ 75578 w 83348"/>
                    <a:gd name="connsiteY4" fmla="*/ 1 h 171409"/>
                    <a:gd name="connsiteX5" fmla="*/ 76769 w 83348"/>
                    <a:gd name="connsiteY5" fmla="*/ 144450 h 171409"/>
                    <a:gd name="connsiteX6" fmla="*/ 38980 w 83348"/>
                    <a:gd name="connsiteY6" fmla="*/ 171393 h 171409"/>
                    <a:gd name="connsiteX7" fmla="*/ 1191 w 83348"/>
                    <a:gd name="connsiteY7" fmla="*/ 144450 h 171409"/>
                    <a:gd name="connsiteX0" fmla="*/ 1191 w 83252"/>
                    <a:gd name="connsiteY0" fmla="*/ 144450 h 171393"/>
                    <a:gd name="connsiteX1" fmla="*/ 1191 w 83252"/>
                    <a:gd name="connsiteY1" fmla="*/ 144437 h 171393"/>
                    <a:gd name="connsiteX2" fmla="*/ 1 w 83252"/>
                    <a:gd name="connsiteY2" fmla="*/ 142388 h 171393"/>
                    <a:gd name="connsiteX3" fmla="*/ 0 w 83252"/>
                    <a:gd name="connsiteY3" fmla="*/ 1 h 171393"/>
                    <a:gd name="connsiteX4" fmla="*/ 75578 w 83252"/>
                    <a:gd name="connsiteY4" fmla="*/ 1 h 171393"/>
                    <a:gd name="connsiteX5" fmla="*/ 79875 w 83252"/>
                    <a:gd name="connsiteY5" fmla="*/ 35918 h 171393"/>
                    <a:gd name="connsiteX6" fmla="*/ 76769 w 83252"/>
                    <a:gd name="connsiteY6" fmla="*/ 144450 h 171393"/>
                    <a:gd name="connsiteX7" fmla="*/ 38980 w 83252"/>
                    <a:gd name="connsiteY7" fmla="*/ 171393 h 171393"/>
                    <a:gd name="connsiteX8" fmla="*/ 1191 w 83252"/>
                    <a:gd name="connsiteY8" fmla="*/ 144450 h 171393"/>
                    <a:gd name="connsiteX0" fmla="*/ 1191 w 83252"/>
                    <a:gd name="connsiteY0" fmla="*/ 144450 h 171393"/>
                    <a:gd name="connsiteX1" fmla="*/ 1191 w 83252"/>
                    <a:gd name="connsiteY1" fmla="*/ 144437 h 171393"/>
                    <a:gd name="connsiteX2" fmla="*/ 1 w 83252"/>
                    <a:gd name="connsiteY2" fmla="*/ 142388 h 171393"/>
                    <a:gd name="connsiteX3" fmla="*/ 0 w 83252"/>
                    <a:gd name="connsiteY3" fmla="*/ 1 h 171393"/>
                    <a:gd name="connsiteX4" fmla="*/ 75578 w 83252"/>
                    <a:gd name="connsiteY4" fmla="*/ 1 h 171393"/>
                    <a:gd name="connsiteX5" fmla="*/ 79875 w 83252"/>
                    <a:gd name="connsiteY5" fmla="*/ 35918 h 171393"/>
                    <a:gd name="connsiteX6" fmla="*/ 76769 w 83252"/>
                    <a:gd name="connsiteY6" fmla="*/ 144450 h 171393"/>
                    <a:gd name="connsiteX7" fmla="*/ 38980 w 83252"/>
                    <a:gd name="connsiteY7" fmla="*/ 171393 h 171393"/>
                    <a:gd name="connsiteX8" fmla="*/ 1191 w 83252"/>
                    <a:gd name="connsiteY8" fmla="*/ 144450 h 171393"/>
                    <a:gd name="connsiteX0" fmla="*/ 1191 w 83252"/>
                    <a:gd name="connsiteY0" fmla="*/ 144450 h 171393"/>
                    <a:gd name="connsiteX1" fmla="*/ 1191 w 83252"/>
                    <a:gd name="connsiteY1" fmla="*/ 144437 h 171393"/>
                    <a:gd name="connsiteX2" fmla="*/ 1 w 83252"/>
                    <a:gd name="connsiteY2" fmla="*/ 142388 h 171393"/>
                    <a:gd name="connsiteX3" fmla="*/ 0 w 83252"/>
                    <a:gd name="connsiteY3" fmla="*/ 1 h 171393"/>
                    <a:gd name="connsiteX4" fmla="*/ 75578 w 83252"/>
                    <a:gd name="connsiteY4" fmla="*/ 1 h 171393"/>
                    <a:gd name="connsiteX5" fmla="*/ 79875 w 83252"/>
                    <a:gd name="connsiteY5" fmla="*/ 35918 h 171393"/>
                    <a:gd name="connsiteX6" fmla="*/ 79260 w 83252"/>
                    <a:gd name="connsiteY6" fmla="*/ 96764 h 171393"/>
                    <a:gd name="connsiteX7" fmla="*/ 76769 w 83252"/>
                    <a:gd name="connsiteY7" fmla="*/ 144450 h 171393"/>
                    <a:gd name="connsiteX8" fmla="*/ 38980 w 83252"/>
                    <a:gd name="connsiteY8" fmla="*/ 171393 h 171393"/>
                    <a:gd name="connsiteX9" fmla="*/ 1191 w 83252"/>
                    <a:gd name="connsiteY9" fmla="*/ 144450 h 171393"/>
                    <a:gd name="connsiteX0" fmla="*/ 1191 w 80882"/>
                    <a:gd name="connsiteY0" fmla="*/ 144450 h 171393"/>
                    <a:gd name="connsiteX1" fmla="*/ 1191 w 80882"/>
                    <a:gd name="connsiteY1" fmla="*/ 144437 h 171393"/>
                    <a:gd name="connsiteX2" fmla="*/ 1 w 80882"/>
                    <a:gd name="connsiteY2" fmla="*/ 142388 h 171393"/>
                    <a:gd name="connsiteX3" fmla="*/ 0 w 80882"/>
                    <a:gd name="connsiteY3" fmla="*/ 1 h 171393"/>
                    <a:gd name="connsiteX4" fmla="*/ 75578 w 80882"/>
                    <a:gd name="connsiteY4" fmla="*/ 1 h 171393"/>
                    <a:gd name="connsiteX5" fmla="*/ 31253 w 80882"/>
                    <a:gd name="connsiteY5" fmla="*/ 61241 h 171393"/>
                    <a:gd name="connsiteX6" fmla="*/ 79260 w 80882"/>
                    <a:gd name="connsiteY6" fmla="*/ 96764 h 171393"/>
                    <a:gd name="connsiteX7" fmla="*/ 76769 w 80882"/>
                    <a:gd name="connsiteY7" fmla="*/ 144450 h 171393"/>
                    <a:gd name="connsiteX8" fmla="*/ 38980 w 80882"/>
                    <a:gd name="connsiteY8" fmla="*/ 171393 h 171393"/>
                    <a:gd name="connsiteX9" fmla="*/ 1191 w 80882"/>
                    <a:gd name="connsiteY9" fmla="*/ 144450 h 171393"/>
                    <a:gd name="connsiteX0" fmla="*/ 1191 w 82524"/>
                    <a:gd name="connsiteY0" fmla="*/ 144450 h 171393"/>
                    <a:gd name="connsiteX1" fmla="*/ 1191 w 82524"/>
                    <a:gd name="connsiteY1" fmla="*/ 144437 h 171393"/>
                    <a:gd name="connsiteX2" fmla="*/ 1 w 82524"/>
                    <a:gd name="connsiteY2" fmla="*/ 142388 h 171393"/>
                    <a:gd name="connsiteX3" fmla="*/ 0 w 82524"/>
                    <a:gd name="connsiteY3" fmla="*/ 1 h 171393"/>
                    <a:gd name="connsiteX4" fmla="*/ 75578 w 82524"/>
                    <a:gd name="connsiteY4" fmla="*/ 1 h 171393"/>
                    <a:gd name="connsiteX5" fmla="*/ 79260 w 82524"/>
                    <a:gd name="connsiteY5" fmla="*/ 96764 h 171393"/>
                    <a:gd name="connsiteX6" fmla="*/ 76769 w 82524"/>
                    <a:gd name="connsiteY6" fmla="*/ 144450 h 171393"/>
                    <a:gd name="connsiteX7" fmla="*/ 38980 w 82524"/>
                    <a:gd name="connsiteY7" fmla="*/ 171393 h 171393"/>
                    <a:gd name="connsiteX8" fmla="*/ 1191 w 82524"/>
                    <a:gd name="connsiteY8" fmla="*/ 144450 h 171393"/>
                    <a:gd name="connsiteX0" fmla="*/ 1191 w 81470"/>
                    <a:gd name="connsiteY0" fmla="*/ 144449 h 171392"/>
                    <a:gd name="connsiteX1" fmla="*/ 1191 w 81470"/>
                    <a:gd name="connsiteY1" fmla="*/ 144436 h 171392"/>
                    <a:gd name="connsiteX2" fmla="*/ 1 w 81470"/>
                    <a:gd name="connsiteY2" fmla="*/ 142387 h 171392"/>
                    <a:gd name="connsiteX3" fmla="*/ 0 w 81470"/>
                    <a:gd name="connsiteY3" fmla="*/ 0 h 171392"/>
                    <a:gd name="connsiteX4" fmla="*/ 73834 w 81470"/>
                    <a:gd name="connsiteY4" fmla="*/ 6506 h 171392"/>
                    <a:gd name="connsiteX5" fmla="*/ 79260 w 81470"/>
                    <a:gd name="connsiteY5" fmla="*/ 96763 h 171392"/>
                    <a:gd name="connsiteX6" fmla="*/ 76769 w 81470"/>
                    <a:gd name="connsiteY6" fmla="*/ 144449 h 171392"/>
                    <a:gd name="connsiteX7" fmla="*/ 38980 w 81470"/>
                    <a:gd name="connsiteY7" fmla="*/ 171392 h 171392"/>
                    <a:gd name="connsiteX8" fmla="*/ 1191 w 81470"/>
                    <a:gd name="connsiteY8" fmla="*/ 144449 h 171392"/>
                    <a:gd name="connsiteX0" fmla="*/ 1191 w 81470"/>
                    <a:gd name="connsiteY0" fmla="*/ 144449 h 171392"/>
                    <a:gd name="connsiteX1" fmla="*/ 1191 w 81470"/>
                    <a:gd name="connsiteY1" fmla="*/ 144436 h 171392"/>
                    <a:gd name="connsiteX2" fmla="*/ 1 w 81470"/>
                    <a:gd name="connsiteY2" fmla="*/ 142387 h 171392"/>
                    <a:gd name="connsiteX3" fmla="*/ 0 w 81470"/>
                    <a:gd name="connsiteY3" fmla="*/ 0 h 171392"/>
                    <a:gd name="connsiteX4" fmla="*/ 73834 w 81470"/>
                    <a:gd name="connsiteY4" fmla="*/ 6506 h 171392"/>
                    <a:gd name="connsiteX5" fmla="*/ 79260 w 81470"/>
                    <a:gd name="connsiteY5" fmla="*/ 96763 h 171392"/>
                    <a:gd name="connsiteX6" fmla="*/ 78934 w 81470"/>
                    <a:gd name="connsiteY6" fmla="*/ 101687 h 171392"/>
                    <a:gd name="connsiteX7" fmla="*/ 76769 w 81470"/>
                    <a:gd name="connsiteY7" fmla="*/ 144449 h 171392"/>
                    <a:gd name="connsiteX8" fmla="*/ 38980 w 81470"/>
                    <a:gd name="connsiteY8" fmla="*/ 171392 h 171392"/>
                    <a:gd name="connsiteX9" fmla="*/ 1191 w 81470"/>
                    <a:gd name="connsiteY9" fmla="*/ 144449 h 171392"/>
                    <a:gd name="connsiteX0" fmla="*/ 1191 w 81470"/>
                    <a:gd name="connsiteY0" fmla="*/ 144449 h 171392"/>
                    <a:gd name="connsiteX1" fmla="*/ 1191 w 81470"/>
                    <a:gd name="connsiteY1" fmla="*/ 144436 h 171392"/>
                    <a:gd name="connsiteX2" fmla="*/ 1 w 81470"/>
                    <a:gd name="connsiteY2" fmla="*/ 142387 h 171392"/>
                    <a:gd name="connsiteX3" fmla="*/ 0 w 81470"/>
                    <a:gd name="connsiteY3" fmla="*/ 0 h 171392"/>
                    <a:gd name="connsiteX4" fmla="*/ 73834 w 81470"/>
                    <a:gd name="connsiteY4" fmla="*/ 6506 h 171392"/>
                    <a:gd name="connsiteX5" fmla="*/ 79260 w 81470"/>
                    <a:gd name="connsiteY5" fmla="*/ 96763 h 171392"/>
                    <a:gd name="connsiteX6" fmla="*/ 76769 w 81470"/>
                    <a:gd name="connsiteY6" fmla="*/ 144449 h 171392"/>
                    <a:gd name="connsiteX7" fmla="*/ 38980 w 81470"/>
                    <a:gd name="connsiteY7" fmla="*/ 171392 h 171392"/>
                    <a:gd name="connsiteX8" fmla="*/ 1191 w 81470"/>
                    <a:gd name="connsiteY8" fmla="*/ 144449 h 171392"/>
                    <a:gd name="connsiteX0" fmla="*/ 1191 w 82284"/>
                    <a:gd name="connsiteY0" fmla="*/ 144449 h 171392"/>
                    <a:gd name="connsiteX1" fmla="*/ 1191 w 82284"/>
                    <a:gd name="connsiteY1" fmla="*/ 144436 h 171392"/>
                    <a:gd name="connsiteX2" fmla="*/ 1 w 82284"/>
                    <a:gd name="connsiteY2" fmla="*/ 142387 h 171392"/>
                    <a:gd name="connsiteX3" fmla="*/ 0 w 82284"/>
                    <a:gd name="connsiteY3" fmla="*/ 0 h 171392"/>
                    <a:gd name="connsiteX4" fmla="*/ 73834 w 82284"/>
                    <a:gd name="connsiteY4" fmla="*/ 6506 h 171392"/>
                    <a:gd name="connsiteX5" fmla="*/ 76769 w 82284"/>
                    <a:gd name="connsiteY5" fmla="*/ 144449 h 171392"/>
                    <a:gd name="connsiteX6" fmla="*/ 38980 w 82284"/>
                    <a:gd name="connsiteY6" fmla="*/ 171392 h 171392"/>
                    <a:gd name="connsiteX7" fmla="*/ 1191 w 82284"/>
                    <a:gd name="connsiteY7" fmla="*/ 144449 h 171392"/>
                    <a:gd name="connsiteX0" fmla="*/ 1191 w 82284"/>
                    <a:gd name="connsiteY0" fmla="*/ 144449 h 171392"/>
                    <a:gd name="connsiteX1" fmla="*/ 1191 w 82284"/>
                    <a:gd name="connsiteY1" fmla="*/ 144436 h 171392"/>
                    <a:gd name="connsiteX2" fmla="*/ 1 w 82284"/>
                    <a:gd name="connsiteY2" fmla="*/ 142387 h 171392"/>
                    <a:gd name="connsiteX3" fmla="*/ 0 w 82284"/>
                    <a:gd name="connsiteY3" fmla="*/ 0 h 171392"/>
                    <a:gd name="connsiteX4" fmla="*/ 73834 w 82284"/>
                    <a:gd name="connsiteY4" fmla="*/ 6506 h 171392"/>
                    <a:gd name="connsiteX5" fmla="*/ 76769 w 82284"/>
                    <a:gd name="connsiteY5" fmla="*/ 144449 h 171392"/>
                    <a:gd name="connsiteX6" fmla="*/ 38980 w 82284"/>
                    <a:gd name="connsiteY6" fmla="*/ 171392 h 171392"/>
                    <a:gd name="connsiteX7" fmla="*/ 1191 w 82284"/>
                    <a:gd name="connsiteY7" fmla="*/ 144449 h 171392"/>
                    <a:gd name="connsiteX0" fmla="*/ 1191 w 80436"/>
                    <a:gd name="connsiteY0" fmla="*/ 144449 h 171392"/>
                    <a:gd name="connsiteX1" fmla="*/ 1191 w 80436"/>
                    <a:gd name="connsiteY1" fmla="*/ 144436 h 171392"/>
                    <a:gd name="connsiteX2" fmla="*/ 1 w 80436"/>
                    <a:gd name="connsiteY2" fmla="*/ 142387 h 171392"/>
                    <a:gd name="connsiteX3" fmla="*/ 0 w 80436"/>
                    <a:gd name="connsiteY3" fmla="*/ 0 h 171392"/>
                    <a:gd name="connsiteX4" fmla="*/ 73834 w 80436"/>
                    <a:gd name="connsiteY4" fmla="*/ 6506 h 171392"/>
                    <a:gd name="connsiteX5" fmla="*/ 76769 w 80436"/>
                    <a:gd name="connsiteY5" fmla="*/ 144449 h 171392"/>
                    <a:gd name="connsiteX6" fmla="*/ 38980 w 80436"/>
                    <a:gd name="connsiteY6" fmla="*/ 171392 h 171392"/>
                    <a:gd name="connsiteX7" fmla="*/ 1191 w 80436"/>
                    <a:gd name="connsiteY7" fmla="*/ 144449 h 171392"/>
                    <a:gd name="connsiteX0" fmla="*/ 1191 w 80436"/>
                    <a:gd name="connsiteY0" fmla="*/ 144449 h 171392"/>
                    <a:gd name="connsiteX1" fmla="*/ 1191 w 80436"/>
                    <a:gd name="connsiteY1" fmla="*/ 144436 h 171392"/>
                    <a:gd name="connsiteX2" fmla="*/ 1 w 80436"/>
                    <a:gd name="connsiteY2" fmla="*/ 142387 h 171392"/>
                    <a:gd name="connsiteX3" fmla="*/ 0 w 80436"/>
                    <a:gd name="connsiteY3" fmla="*/ 0 h 171392"/>
                    <a:gd name="connsiteX4" fmla="*/ 73834 w 80436"/>
                    <a:gd name="connsiteY4" fmla="*/ 6506 h 171392"/>
                    <a:gd name="connsiteX5" fmla="*/ 76769 w 80436"/>
                    <a:gd name="connsiteY5" fmla="*/ 144449 h 171392"/>
                    <a:gd name="connsiteX6" fmla="*/ 38980 w 80436"/>
                    <a:gd name="connsiteY6" fmla="*/ 171392 h 171392"/>
                    <a:gd name="connsiteX7" fmla="*/ 1191 w 80436"/>
                    <a:gd name="connsiteY7" fmla="*/ 144449 h 171392"/>
                    <a:gd name="connsiteX0" fmla="*/ 1191 w 76775"/>
                    <a:gd name="connsiteY0" fmla="*/ 144449 h 171392"/>
                    <a:gd name="connsiteX1" fmla="*/ 1191 w 76775"/>
                    <a:gd name="connsiteY1" fmla="*/ 144436 h 171392"/>
                    <a:gd name="connsiteX2" fmla="*/ 1 w 76775"/>
                    <a:gd name="connsiteY2" fmla="*/ 142387 h 171392"/>
                    <a:gd name="connsiteX3" fmla="*/ 0 w 76775"/>
                    <a:gd name="connsiteY3" fmla="*/ 0 h 171392"/>
                    <a:gd name="connsiteX4" fmla="*/ 73834 w 76775"/>
                    <a:gd name="connsiteY4" fmla="*/ 6506 h 171392"/>
                    <a:gd name="connsiteX5" fmla="*/ 76769 w 76775"/>
                    <a:gd name="connsiteY5" fmla="*/ 144449 h 171392"/>
                    <a:gd name="connsiteX6" fmla="*/ 38980 w 76775"/>
                    <a:gd name="connsiteY6" fmla="*/ 171392 h 171392"/>
                    <a:gd name="connsiteX7" fmla="*/ 1191 w 76775"/>
                    <a:gd name="connsiteY7" fmla="*/ 144449 h 171392"/>
                    <a:gd name="connsiteX0" fmla="*/ 1191 w 76775"/>
                    <a:gd name="connsiteY0" fmla="*/ 144449 h 171392"/>
                    <a:gd name="connsiteX1" fmla="*/ 1191 w 76775"/>
                    <a:gd name="connsiteY1" fmla="*/ 144436 h 171392"/>
                    <a:gd name="connsiteX2" fmla="*/ 1 w 76775"/>
                    <a:gd name="connsiteY2" fmla="*/ 142387 h 171392"/>
                    <a:gd name="connsiteX3" fmla="*/ 0 w 76775"/>
                    <a:gd name="connsiteY3" fmla="*/ 0 h 171392"/>
                    <a:gd name="connsiteX4" fmla="*/ 73834 w 76775"/>
                    <a:gd name="connsiteY4" fmla="*/ 6506 h 171392"/>
                    <a:gd name="connsiteX5" fmla="*/ 76769 w 76775"/>
                    <a:gd name="connsiteY5" fmla="*/ 144449 h 171392"/>
                    <a:gd name="connsiteX6" fmla="*/ 38980 w 76775"/>
                    <a:gd name="connsiteY6" fmla="*/ 171392 h 171392"/>
                    <a:gd name="connsiteX7" fmla="*/ 1191 w 76775"/>
                    <a:gd name="connsiteY7" fmla="*/ 144449 h 171392"/>
                    <a:gd name="connsiteX0" fmla="*/ 1191 w 76775"/>
                    <a:gd name="connsiteY0" fmla="*/ 144449 h 171392"/>
                    <a:gd name="connsiteX1" fmla="*/ 1191 w 76775"/>
                    <a:gd name="connsiteY1" fmla="*/ 144436 h 171392"/>
                    <a:gd name="connsiteX2" fmla="*/ 1 w 76775"/>
                    <a:gd name="connsiteY2" fmla="*/ 142387 h 171392"/>
                    <a:gd name="connsiteX3" fmla="*/ 0 w 76775"/>
                    <a:gd name="connsiteY3" fmla="*/ 0 h 171392"/>
                    <a:gd name="connsiteX4" fmla="*/ 73834 w 76775"/>
                    <a:gd name="connsiteY4" fmla="*/ 6506 h 171392"/>
                    <a:gd name="connsiteX5" fmla="*/ 76769 w 76775"/>
                    <a:gd name="connsiteY5" fmla="*/ 144449 h 171392"/>
                    <a:gd name="connsiteX6" fmla="*/ 38980 w 76775"/>
                    <a:gd name="connsiteY6" fmla="*/ 171392 h 171392"/>
                    <a:gd name="connsiteX7" fmla="*/ 1191 w 76775"/>
                    <a:gd name="connsiteY7" fmla="*/ 144449 h 171392"/>
                    <a:gd name="connsiteX0" fmla="*/ 1191 w 76782"/>
                    <a:gd name="connsiteY0" fmla="*/ 144449 h 171392"/>
                    <a:gd name="connsiteX1" fmla="*/ 1191 w 76782"/>
                    <a:gd name="connsiteY1" fmla="*/ 144436 h 171392"/>
                    <a:gd name="connsiteX2" fmla="*/ 1 w 76782"/>
                    <a:gd name="connsiteY2" fmla="*/ 142387 h 171392"/>
                    <a:gd name="connsiteX3" fmla="*/ 0 w 76782"/>
                    <a:gd name="connsiteY3" fmla="*/ 0 h 171392"/>
                    <a:gd name="connsiteX4" fmla="*/ 75246 w 76782"/>
                    <a:gd name="connsiteY4" fmla="*/ 8952 h 171392"/>
                    <a:gd name="connsiteX5" fmla="*/ 76769 w 76782"/>
                    <a:gd name="connsiteY5" fmla="*/ 144449 h 171392"/>
                    <a:gd name="connsiteX6" fmla="*/ 38980 w 76782"/>
                    <a:gd name="connsiteY6" fmla="*/ 171392 h 171392"/>
                    <a:gd name="connsiteX7" fmla="*/ 1191 w 76782"/>
                    <a:gd name="connsiteY7" fmla="*/ 144449 h 171392"/>
                    <a:gd name="connsiteX0" fmla="*/ 1191 w 76782"/>
                    <a:gd name="connsiteY0" fmla="*/ 144449 h 171392"/>
                    <a:gd name="connsiteX1" fmla="*/ 1191 w 76782"/>
                    <a:gd name="connsiteY1" fmla="*/ 144436 h 171392"/>
                    <a:gd name="connsiteX2" fmla="*/ 1 w 76782"/>
                    <a:gd name="connsiteY2" fmla="*/ 142387 h 171392"/>
                    <a:gd name="connsiteX3" fmla="*/ 0 w 76782"/>
                    <a:gd name="connsiteY3" fmla="*/ 0 h 171392"/>
                    <a:gd name="connsiteX4" fmla="*/ 75246 w 76782"/>
                    <a:gd name="connsiteY4" fmla="*/ 8952 h 171392"/>
                    <a:gd name="connsiteX5" fmla="*/ 76769 w 76782"/>
                    <a:gd name="connsiteY5" fmla="*/ 144449 h 171392"/>
                    <a:gd name="connsiteX6" fmla="*/ 38980 w 76782"/>
                    <a:gd name="connsiteY6" fmla="*/ 171392 h 171392"/>
                    <a:gd name="connsiteX7" fmla="*/ 1191 w 76782"/>
                    <a:gd name="connsiteY7" fmla="*/ 144449 h 171392"/>
                    <a:gd name="connsiteX0" fmla="*/ 1191 w 76782"/>
                    <a:gd name="connsiteY0" fmla="*/ 144449 h 171392"/>
                    <a:gd name="connsiteX1" fmla="*/ 1191 w 76782"/>
                    <a:gd name="connsiteY1" fmla="*/ 144436 h 171392"/>
                    <a:gd name="connsiteX2" fmla="*/ 1 w 76782"/>
                    <a:gd name="connsiteY2" fmla="*/ 142387 h 171392"/>
                    <a:gd name="connsiteX3" fmla="*/ 0 w 76782"/>
                    <a:gd name="connsiteY3" fmla="*/ 0 h 171392"/>
                    <a:gd name="connsiteX4" fmla="*/ 75246 w 76782"/>
                    <a:gd name="connsiteY4" fmla="*/ 8952 h 171392"/>
                    <a:gd name="connsiteX5" fmla="*/ 76769 w 76782"/>
                    <a:gd name="connsiteY5" fmla="*/ 144449 h 171392"/>
                    <a:gd name="connsiteX6" fmla="*/ 38980 w 76782"/>
                    <a:gd name="connsiteY6" fmla="*/ 171392 h 171392"/>
                    <a:gd name="connsiteX7" fmla="*/ 1191 w 76782"/>
                    <a:gd name="connsiteY7" fmla="*/ 144449 h 17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82" h="171392">
                      <a:moveTo>
                        <a:pt x="1191" y="144449"/>
                      </a:moveTo>
                      <a:lnTo>
                        <a:pt x="1191" y="144436"/>
                      </a:lnTo>
                      <a:lnTo>
                        <a:pt x="1" y="142387"/>
                      </a:lnTo>
                      <a:cubicBezTo>
                        <a:pt x="1" y="94925"/>
                        <a:pt x="0" y="47462"/>
                        <a:pt x="0" y="0"/>
                      </a:cubicBezTo>
                      <a:cubicBezTo>
                        <a:pt x="104" y="29475"/>
                        <a:pt x="64000" y="36705"/>
                        <a:pt x="75246" y="8952"/>
                      </a:cubicBezTo>
                      <a:cubicBezTo>
                        <a:pt x="75863" y="51472"/>
                        <a:pt x="76914" y="113512"/>
                        <a:pt x="76769" y="144449"/>
                      </a:cubicBezTo>
                      <a:cubicBezTo>
                        <a:pt x="76000" y="153122"/>
                        <a:pt x="59850" y="171392"/>
                        <a:pt x="38980" y="171392"/>
                      </a:cubicBezTo>
                      <a:cubicBezTo>
                        <a:pt x="18110" y="171392"/>
                        <a:pt x="1191" y="159329"/>
                        <a:pt x="1191" y="144449"/>
                      </a:cubicBezTo>
                      <a:close/>
                    </a:path>
                  </a:pathLst>
                </a:custGeom>
                <a:gradFill flip="none" rotWithShape="1">
                  <a:gsLst>
                    <a:gs pos="45000">
                      <a:schemeClr val="accent2">
                        <a:lumMod val="0"/>
                        <a:lumOff val="100000"/>
                        <a:alpha val="0"/>
                      </a:schemeClr>
                    </a:gs>
                    <a:gs pos="12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950" name="Freeform: Shape 949">
                  <a:extLst>
                    <a:ext uri="{FF2B5EF4-FFF2-40B4-BE49-F238E27FC236}">
                      <a16:creationId xmlns:a16="http://schemas.microsoft.com/office/drawing/2014/main" id="{C07E9A13-AF61-492A-8182-666A2F502DC0}"/>
                    </a:ext>
                  </a:extLst>
                </p:cNvPr>
                <p:cNvSpPr/>
                <p:nvPr/>
              </p:nvSpPr>
              <p:spPr bwMode="gray">
                <a:xfrm rot="18000000" flipH="1" flipV="1">
                  <a:off x="8644701" y="4570049"/>
                  <a:ext cx="1248882" cy="733604"/>
                </a:xfrm>
                <a:custGeom>
                  <a:avLst/>
                  <a:gdLst>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645961 w 1248882"/>
                    <a:gd name="connsiteY28" fmla="*/ 393195 h 912354"/>
                    <a:gd name="connsiteX29" fmla="*/ 629636 w 1248882"/>
                    <a:gd name="connsiteY29" fmla="*/ 386920 h 912354"/>
                    <a:gd name="connsiteX30" fmla="*/ 576468 w 1248882"/>
                    <a:gd name="connsiteY30" fmla="*/ 359689 h 912354"/>
                    <a:gd name="connsiteX31" fmla="*/ 97170 w 1248882"/>
                    <a:gd name="connsiteY31" fmla="*/ 84934 h 912354"/>
                    <a:gd name="connsiteX32" fmla="*/ 97100 w 1248882"/>
                    <a:gd name="connsiteY32" fmla="*/ 84854 h 912354"/>
                    <a:gd name="connsiteX33" fmla="*/ 92641 w 1248882"/>
                    <a:gd name="connsiteY33" fmla="*/ 86106 h 912354"/>
                    <a:gd name="connsiteX34" fmla="*/ 83322 w 1248882"/>
                    <a:gd name="connsiteY34" fmla="*/ 98353 h 912354"/>
                    <a:gd name="connsiteX35" fmla="*/ 83306 w 1248882"/>
                    <a:gd name="connsiteY35" fmla="*/ 104410 h 912354"/>
                    <a:gd name="connsiteX36" fmla="*/ 84058 w 1248882"/>
                    <a:gd name="connsiteY36" fmla="*/ 106600 h 912354"/>
                    <a:gd name="connsiteX37" fmla="*/ 84057 w 1248882"/>
                    <a:gd name="connsiteY37" fmla="*/ 212545 h 912354"/>
                    <a:gd name="connsiteX38" fmla="*/ 42843 w 1248882"/>
                    <a:gd name="connsiteY38" fmla="*/ 236780 h 912354"/>
                    <a:gd name="connsiteX39" fmla="*/ 4867 w 1248882"/>
                    <a:gd name="connsiteY39"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645961 w 1248882"/>
                    <a:gd name="connsiteY28" fmla="*/ 393195 h 912354"/>
                    <a:gd name="connsiteX29" fmla="*/ 576468 w 1248882"/>
                    <a:gd name="connsiteY29" fmla="*/ 359689 h 912354"/>
                    <a:gd name="connsiteX30" fmla="*/ 97170 w 1248882"/>
                    <a:gd name="connsiteY30" fmla="*/ 84934 h 912354"/>
                    <a:gd name="connsiteX31" fmla="*/ 97100 w 1248882"/>
                    <a:gd name="connsiteY31" fmla="*/ 84854 h 912354"/>
                    <a:gd name="connsiteX32" fmla="*/ 92641 w 1248882"/>
                    <a:gd name="connsiteY32" fmla="*/ 86106 h 912354"/>
                    <a:gd name="connsiteX33" fmla="*/ 83322 w 1248882"/>
                    <a:gd name="connsiteY33" fmla="*/ 98353 h 912354"/>
                    <a:gd name="connsiteX34" fmla="*/ 83306 w 1248882"/>
                    <a:gd name="connsiteY34" fmla="*/ 104410 h 912354"/>
                    <a:gd name="connsiteX35" fmla="*/ 84058 w 1248882"/>
                    <a:gd name="connsiteY35" fmla="*/ 106600 h 912354"/>
                    <a:gd name="connsiteX36" fmla="*/ 84057 w 1248882"/>
                    <a:gd name="connsiteY36" fmla="*/ 212545 h 912354"/>
                    <a:gd name="connsiteX37" fmla="*/ 42843 w 1248882"/>
                    <a:gd name="connsiteY37" fmla="*/ 236780 h 912354"/>
                    <a:gd name="connsiteX38" fmla="*/ 4867 w 1248882"/>
                    <a:gd name="connsiteY38"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658119 w 1248882"/>
                    <a:gd name="connsiteY27" fmla="*/ 408864 h 912354"/>
                    <a:gd name="connsiteX28" fmla="*/ 576468 w 1248882"/>
                    <a:gd name="connsiteY28" fmla="*/ 359689 h 912354"/>
                    <a:gd name="connsiteX29" fmla="*/ 97170 w 1248882"/>
                    <a:gd name="connsiteY29" fmla="*/ 84934 h 912354"/>
                    <a:gd name="connsiteX30" fmla="*/ 97100 w 1248882"/>
                    <a:gd name="connsiteY30" fmla="*/ 84854 h 912354"/>
                    <a:gd name="connsiteX31" fmla="*/ 92641 w 1248882"/>
                    <a:gd name="connsiteY31" fmla="*/ 86106 h 912354"/>
                    <a:gd name="connsiteX32" fmla="*/ 83322 w 1248882"/>
                    <a:gd name="connsiteY32" fmla="*/ 98353 h 912354"/>
                    <a:gd name="connsiteX33" fmla="*/ 83306 w 1248882"/>
                    <a:gd name="connsiteY33" fmla="*/ 104410 h 912354"/>
                    <a:gd name="connsiteX34" fmla="*/ 84058 w 1248882"/>
                    <a:gd name="connsiteY34" fmla="*/ 106600 h 912354"/>
                    <a:gd name="connsiteX35" fmla="*/ 84057 w 1248882"/>
                    <a:gd name="connsiteY35" fmla="*/ 212545 h 912354"/>
                    <a:gd name="connsiteX36" fmla="*/ 42843 w 1248882"/>
                    <a:gd name="connsiteY36" fmla="*/ 236780 h 912354"/>
                    <a:gd name="connsiteX37" fmla="*/ 4867 w 1248882"/>
                    <a:gd name="connsiteY37"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669405 w 1248882"/>
                    <a:gd name="connsiteY26" fmla="*/ 423105 h 912354"/>
                    <a:gd name="connsiteX27" fmla="*/ 576468 w 1248882"/>
                    <a:gd name="connsiteY27" fmla="*/ 359689 h 912354"/>
                    <a:gd name="connsiteX28" fmla="*/ 97170 w 1248882"/>
                    <a:gd name="connsiteY28" fmla="*/ 84934 h 912354"/>
                    <a:gd name="connsiteX29" fmla="*/ 97100 w 1248882"/>
                    <a:gd name="connsiteY29" fmla="*/ 84854 h 912354"/>
                    <a:gd name="connsiteX30" fmla="*/ 92641 w 1248882"/>
                    <a:gd name="connsiteY30" fmla="*/ 86106 h 912354"/>
                    <a:gd name="connsiteX31" fmla="*/ 83322 w 1248882"/>
                    <a:gd name="connsiteY31" fmla="*/ 98353 h 912354"/>
                    <a:gd name="connsiteX32" fmla="*/ 83306 w 1248882"/>
                    <a:gd name="connsiteY32" fmla="*/ 104410 h 912354"/>
                    <a:gd name="connsiteX33" fmla="*/ 84058 w 1248882"/>
                    <a:gd name="connsiteY33" fmla="*/ 106600 h 912354"/>
                    <a:gd name="connsiteX34" fmla="*/ 84057 w 1248882"/>
                    <a:gd name="connsiteY34" fmla="*/ 212545 h 912354"/>
                    <a:gd name="connsiteX35" fmla="*/ 42843 w 1248882"/>
                    <a:gd name="connsiteY35" fmla="*/ 236780 h 912354"/>
                    <a:gd name="connsiteX36" fmla="*/ 4867 w 1248882"/>
                    <a:gd name="connsiteY36"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673865 w 1248882"/>
                    <a:gd name="connsiteY25" fmla="*/ 421853 h 912354"/>
                    <a:gd name="connsiteX26" fmla="*/ 576468 w 1248882"/>
                    <a:gd name="connsiteY26" fmla="*/ 359689 h 912354"/>
                    <a:gd name="connsiteX27" fmla="*/ 97170 w 1248882"/>
                    <a:gd name="connsiteY27" fmla="*/ 84934 h 912354"/>
                    <a:gd name="connsiteX28" fmla="*/ 97100 w 1248882"/>
                    <a:gd name="connsiteY28" fmla="*/ 84854 h 912354"/>
                    <a:gd name="connsiteX29" fmla="*/ 92641 w 1248882"/>
                    <a:gd name="connsiteY29" fmla="*/ 86106 h 912354"/>
                    <a:gd name="connsiteX30" fmla="*/ 83322 w 1248882"/>
                    <a:gd name="connsiteY30" fmla="*/ 98353 h 912354"/>
                    <a:gd name="connsiteX31" fmla="*/ 83306 w 1248882"/>
                    <a:gd name="connsiteY31" fmla="*/ 104410 h 912354"/>
                    <a:gd name="connsiteX32" fmla="*/ 84058 w 1248882"/>
                    <a:gd name="connsiteY32" fmla="*/ 106600 h 912354"/>
                    <a:gd name="connsiteX33" fmla="*/ 84057 w 1248882"/>
                    <a:gd name="connsiteY33" fmla="*/ 212545 h 912354"/>
                    <a:gd name="connsiteX34" fmla="*/ 42843 w 1248882"/>
                    <a:gd name="connsiteY34" fmla="*/ 236780 h 912354"/>
                    <a:gd name="connsiteX35" fmla="*/ 4867 w 1248882"/>
                    <a:gd name="connsiteY35"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576468 w 1248882"/>
                    <a:gd name="connsiteY25" fmla="*/ 359689 h 912354"/>
                    <a:gd name="connsiteX26" fmla="*/ 97170 w 1248882"/>
                    <a:gd name="connsiteY26" fmla="*/ 84934 h 912354"/>
                    <a:gd name="connsiteX27" fmla="*/ 97100 w 1248882"/>
                    <a:gd name="connsiteY27" fmla="*/ 84854 h 912354"/>
                    <a:gd name="connsiteX28" fmla="*/ 92641 w 1248882"/>
                    <a:gd name="connsiteY28" fmla="*/ 86106 h 912354"/>
                    <a:gd name="connsiteX29" fmla="*/ 83322 w 1248882"/>
                    <a:gd name="connsiteY29" fmla="*/ 98353 h 912354"/>
                    <a:gd name="connsiteX30" fmla="*/ 83306 w 1248882"/>
                    <a:gd name="connsiteY30" fmla="*/ 104410 h 912354"/>
                    <a:gd name="connsiteX31" fmla="*/ 84058 w 1248882"/>
                    <a:gd name="connsiteY31" fmla="*/ 106600 h 912354"/>
                    <a:gd name="connsiteX32" fmla="*/ 84057 w 1248882"/>
                    <a:gd name="connsiteY32" fmla="*/ 212545 h 912354"/>
                    <a:gd name="connsiteX33" fmla="*/ 42843 w 1248882"/>
                    <a:gd name="connsiteY33" fmla="*/ 236780 h 912354"/>
                    <a:gd name="connsiteX34" fmla="*/ 4867 w 1248882"/>
                    <a:gd name="connsiteY34"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62905 w 1248882"/>
                    <a:gd name="connsiteY10" fmla="*/ 337108 h 912354"/>
                    <a:gd name="connsiteX11" fmla="*/ 695504 w 1248882"/>
                    <a:gd name="connsiteY11" fmla="*/ 342628 h 912354"/>
                    <a:gd name="connsiteX12" fmla="*/ 1195107 w 1248882"/>
                    <a:gd name="connsiteY12" fmla="*/ 625705 h 912354"/>
                    <a:gd name="connsiteX13" fmla="*/ 1233715 w 1248882"/>
                    <a:gd name="connsiteY13" fmla="*/ 663595 h 912354"/>
                    <a:gd name="connsiteX14" fmla="*/ 1246207 w 1248882"/>
                    <a:gd name="connsiteY14" fmla="*/ 704430 h 912354"/>
                    <a:gd name="connsiteX15" fmla="*/ 1247236 w 1248882"/>
                    <a:gd name="connsiteY15" fmla="*/ 715969 h 912354"/>
                    <a:gd name="connsiteX16" fmla="*/ 1248882 w 1248882"/>
                    <a:gd name="connsiteY16" fmla="*/ 733604 h 912354"/>
                    <a:gd name="connsiteX17" fmla="*/ 1248882 w 1248882"/>
                    <a:gd name="connsiteY17" fmla="*/ 888119 h 912354"/>
                    <a:gd name="connsiteX18" fmla="*/ 1207667 w 1248882"/>
                    <a:gd name="connsiteY18" fmla="*/ 912354 h 912354"/>
                    <a:gd name="connsiteX19" fmla="*/ 1169691 w 1248882"/>
                    <a:gd name="connsiteY19" fmla="*/ 897552 h 912354"/>
                    <a:gd name="connsiteX20" fmla="*/ 1166452 w 1248882"/>
                    <a:gd name="connsiteY20" fmla="*/ 888119 h 912354"/>
                    <a:gd name="connsiteX21" fmla="*/ 1164480 w 1248882"/>
                    <a:gd name="connsiteY21" fmla="*/ 718004 h 912354"/>
                    <a:gd name="connsiteX22" fmla="*/ 1164797 w 1248882"/>
                    <a:gd name="connsiteY22" fmla="*/ 719337 h 912354"/>
                    <a:gd name="connsiteX23" fmla="*/ 1164813 w 1248882"/>
                    <a:gd name="connsiteY23" fmla="*/ 716747 h 912354"/>
                    <a:gd name="connsiteX24" fmla="*/ 1153233 w 1248882"/>
                    <a:gd name="connsiteY24" fmla="*/ 696690 h 912354"/>
                    <a:gd name="connsiteX25" fmla="*/ 97170 w 1248882"/>
                    <a:gd name="connsiteY25" fmla="*/ 84934 h 912354"/>
                    <a:gd name="connsiteX26" fmla="*/ 97100 w 1248882"/>
                    <a:gd name="connsiteY26" fmla="*/ 84854 h 912354"/>
                    <a:gd name="connsiteX27" fmla="*/ 92641 w 1248882"/>
                    <a:gd name="connsiteY27" fmla="*/ 86106 h 912354"/>
                    <a:gd name="connsiteX28" fmla="*/ 83322 w 1248882"/>
                    <a:gd name="connsiteY28" fmla="*/ 98353 h 912354"/>
                    <a:gd name="connsiteX29" fmla="*/ 83306 w 1248882"/>
                    <a:gd name="connsiteY29" fmla="*/ 104410 h 912354"/>
                    <a:gd name="connsiteX30" fmla="*/ 84058 w 1248882"/>
                    <a:gd name="connsiteY30" fmla="*/ 106600 h 912354"/>
                    <a:gd name="connsiteX31" fmla="*/ 84057 w 1248882"/>
                    <a:gd name="connsiteY31" fmla="*/ 212545 h 912354"/>
                    <a:gd name="connsiteX32" fmla="*/ 42843 w 1248882"/>
                    <a:gd name="connsiteY32" fmla="*/ 236780 h 912354"/>
                    <a:gd name="connsiteX33" fmla="*/ 4867 w 1248882"/>
                    <a:gd name="connsiteY33"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61585 w 1248882"/>
                    <a:gd name="connsiteY9" fmla="*/ 337360 h 912354"/>
                    <a:gd name="connsiteX10" fmla="*/ 695504 w 1248882"/>
                    <a:gd name="connsiteY10" fmla="*/ 342628 h 912354"/>
                    <a:gd name="connsiteX11" fmla="*/ 1195107 w 1248882"/>
                    <a:gd name="connsiteY11" fmla="*/ 625705 h 912354"/>
                    <a:gd name="connsiteX12" fmla="*/ 1233715 w 1248882"/>
                    <a:gd name="connsiteY12" fmla="*/ 663595 h 912354"/>
                    <a:gd name="connsiteX13" fmla="*/ 1246207 w 1248882"/>
                    <a:gd name="connsiteY13" fmla="*/ 704430 h 912354"/>
                    <a:gd name="connsiteX14" fmla="*/ 1247236 w 1248882"/>
                    <a:gd name="connsiteY14" fmla="*/ 715969 h 912354"/>
                    <a:gd name="connsiteX15" fmla="*/ 1248882 w 1248882"/>
                    <a:gd name="connsiteY15" fmla="*/ 733604 h 912354"/>
                    <a:gd name="connsiteX16" fmla="*/ 1248882 w 1248882"/>
                    <a:gd name="connsiteY16" fmla="*/ 888119 h 912354"/>
                    <a:gd name="connsiteX17" fmla="*/ 1207667 w 1248882"/>
                    <a:gd name="connsiteY17" fmla="*/ 912354 h 912354"/>
                    <a:gd name="connsiteX18" fmla="*/ 1169691 w 1248882"/>
                    <a:gd name="connsiteY18" fmla="*/ 897552 h 912354"/>
                    <a:gd name="connsiteX19" fmla="*/ 1166452 w 1248882"/>
                    <a:gd name="connsiteY19" fmla="*/ 888119 h 912354"/>
                    <a:gd name="connsiteX20" fmla="*/ 1164480 w 1248882"/>
                    <a:gd name="connsiteY20" fmla="*/ 718004 h 912354"/>
                    <a:gd name="connsiteX21" fmla="*/ 1164797 w 1248882"/>
                    <a:gd name="connsiteY21" fmla="*/ 719337 h 912354"/>
                    <a:gd name="connsiteX22" fmla="*/ 1164813 w 1248882"/>
                    <a:gd name="connsiteY22" fmla="*/ 716747 h 912354"/>
                    <a:gd name="connsiteX23" fmla="*/ 1153233 w 1248882"/>
                    <a:gd name="connsiteY23" fmla="*/ 696690 h 912354"/>
                    <a:gd name="connsiteX24" fmla="*/ 97170 w 1248882"/>
                    <a:gd name="connsiteY24" fmla="*/ 84934 h 912354"/>
                    <a:gd name="connsiteX25" fmla="*/ 97100 w 1248882"/>
                    <a:gd name="connsiteY25" fmla="*/ 84854 h 912354"/>
                    <a:gd name="connsiteX26" fmla="*/ 92641 w 1248882"/>
                    <a:gd name="connsiteY26" fmla="*/ 86106 h 912354"/>
                    <a:gd name="connsiteX27" fmla="*/ 83322 w 1248882"/>
                    <a:gd name="connsiteY27" fmla="*/ 98353 h 912354"/>
                    <a:gd name="connsiteX28" fmla="*/ 83306 w 1248882"/>
                    <a:gd name="connsiteY28" fmla="*/ 104410 h 912354"/>
                    <a:gd name="connsiteX29" fmla="*/ 84058 w 1248882"/>
                    <a:gd name="connsiteY29" fmla="*/ 106600 h 912354"/>
                    <a:gd name="connsiteX30" fmla="*/ 84057 w 1248882"/>
                    <a:gd name="connsiteY30" fmla="*/ 212545 h 912354"/>
                    <a:gd name="connsiteX31" fmla="*/ 42843 w 1248882"/>
                    <a:gd name="connsiteY31" fmla="*/ 236780 h 912354"/>
                    <a:gd name="connsiteX32" fmla="*/ 4867 w 1248882"/>
                    <a:gd name="connsiteY32"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56950 w 1248882"/>
                    <a:gd name="connsiteY8" fmla="*/ 326595 h 912354"/>
                    <a:gd name="connsiteX9" fmla="*/ 695504 w 1248882"/>
                    <a:gd name="connsiteY9" fmla="*/ 342628 h 912354"/>
                    <a:gd name="connsiteX10" fmla="*/ 1195107 w 1248882"/>
                    <a:gd name="connsiteY10" fmla="*/ 625705 h 912354"/>
                    <a:gd name="connsiteX11" fmla="*/ 1233715 w 1248882"/>
                    <a:gd name="connsiteY11" fmla="*/ 663595 h 912354"/>
                    <a:gd name="connsiteX12" fmla="*/ 1246207 w 1248882"/>
                    <a:gd name="connsiteY12" fmla="*/ 704430 h 912354"/>
                    <a:gd name="connsiteX13" fmla="*/ 1247236 w 1248882"/>
                    <a:gd name="connsiteY13" fmla="*/ 715969 h 912354"/>
                    <a:gd name="connsiteX14" fmla="*/ 1248882 w 1248882"/>
                    <a:gd name="connsiteY14" fmla="*/ 733604 h 912354"/>
                    <a:gd name="connsiteX15" fmla="*/ 1248882 w 1248882"/>
                    <a:gd name="connsiteY15" fmla="*/ 888119 h 912354"/>
                    <a:gd name="connsiteX16" fmla="*/ 1207667 w 1248882"/>
                    <a:gd name="connsiteY16" fmla="*/ 912354 h 912354"/>
                    <a:gd name="connsiteX17" fmla="*/ 1169691 w 1248882"/>
                    <a:gd name="connsiteY17" fmla="*/ 897552 h 912354"/>
                    <a:gd name="connsiteX18" fmla="*/ 1166452 w 1248882"/>
                    <a:gd name="connsiteY18" fmla="*/ 888119 h 912354"/>
                    <a:gd name="connsiteX19" fmla="*/ 1164480 w 1248882"/>
                    <a:gd name="connsiteY19" fmla="*/ 718004 h 912354"/>
                    <a:gd name="connsiteX20" fmla="*/ 1164797 w 1248882"/>
                    <a:gd name="connsiteY20" fmla="*/ 719337 h 912354"/>
                    <a:gd name="connsiteX21" fmla="*/ 1164813 w 1248882"/>
                    <a:gd name="connsiteY21" fmla="*/ 716747 h 912354"/>
                    <a:gd name="connsiteX22" fmla="*/ 1153233 w 1248882"/>
                    <a:gd name="connsiteY22" fmla="*/ 696690 h 912354"/>
                    <a:gd name="connsiteX23" fmla="*/ 97170 w 1248882"/>
                    <a:gd name="connsiteY23" fmla="*/ 84934 h 912354"/>
                    <a:gd name="connsiteX24" fmla="*/ 97100 w 1248882"/>
                    <a:gd name="connsiteY24" fmla="*/ 84854 h 912354"/>
                    <a:gd name="connsiteX25" fmla="*/ 92641 w 1248882"/>
                    <a:gd name="connsiteY25" fmla="*/ 86106 h 912354"/>
                    <a:gd name="connsiteX26" fmla="*/ 83322 w 1248882"/>
                    <a:gd name="connsiteY26" fmla="*/ 98353 h 912354"/>
                    <a:gd name="connsiteX27" fmla="*/ 83306 w 1248882"/>
                    <a:gd name="connsiteY27" fmla="*/ 104410 h 912354"/>
                    <a:gd name="connsiteX28" fmla="*/ 84058 w 1248882"/>
                    <a:gd name="connsiteY28" fmla="*/ 106600 h 912354"/>
                    <a:gd name="connsiteX29" fmla="*/ 84057 w 1248882"/>
                    <a:gd name="connsiteY29" fmla="*/ 212545 h 912354"/>
                    <a:gd name="connsiteX30" fmla="*/ 42843 w 1248882"/>
                    <a:gd name="connsiteY30" fmla="*/ 236780 h 912354"/>
                    <a:gd name="connsiteX31" fmla="*/ 4867 w 1248882"/>
                    <a:gd name="connsiteY31"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18342 w 1248882"/>
                    <a:gd name="connsiteY7" fmla="*/ 288705 h 912354"/>
                    <a:gd name="connsiteX8" fmla="*/ 695504 w 1248882"/>
                    <a:gd name="connsiteY8" fmla="*/ 342628 h 912354"/>
                    <a:gd name="connsiteX9" fmla="*/ 1195107 w 1248882"/>
                    <a:gd name="connsiteY9" fmla="*/ 625705 h 912354"/>
                    <a:gd name="connsiteX10" fmla="*/ 1233715 w 1248882"/>
                    <a:gd name="connsiteY10" fmla="*/ 663595 h 912354"/>
                    <a:gd name="connsiteX11" fmla="*/ 1246207 w 1248882"/>
                    <a:gd name="connsiteY11" fmla="*/ 704430 h 912354"/>
                    <a:gd name="connsiteX12" fmla="*/ 1247236 w 1248882"/>
                    <a:gd name="connsiteY12" fmla="*/ 715969 h 912354"/>
                    <a:gd name="connsiteX13" fmla="*/ 1248882 w 1248882"/>
                    <a:gd name="connsiteY13" fmla="*/ 733604 h 912354"/>
                    <a:gd name="connsiteX14" fmla="*/ 1248882 w 1248882"/>
                    <a:gd name="connsiteY14" fmla="*/ 888119 h 912354"/>
                    <a:gd name="connsiteX15" fmla="*/ 1207667 w 1248882"/>
                    <a:gd name="connsiteY15" fmla="*/ 912354 h 912354"/>
                    <a:gd name="connsiteX16" fmla="*/ 1169691 w 1248882"/>
                    <a:gd name="connsiteY16" fmla="*/ 897552 h 912354"/>
                    <a:gd name="connsiteX17" fmla="*/ 1166452 w 1248882"/>
                    <a:gd name="connsiteY17" fmla="*/ 888119 h 912354"/>
                    <a:gd name="connsiteX18" fmla="*/ 1164480 w 1248882"/>
                    <a:gd name="connsiteY18" fmla="*/ 718004 h 912354"/>
                    <a:gd name="connsiteX19" fmla="*/ 1164797 w 1248882"/>
                    <a:gd name="connsiteY19" fmla="*/ 719337 h 912354"/>
                    <a:gd name="connsiteX20" fmla="*/ 1164813 w 1248882"/>
                    <a:gd name="connsiteY20" fmla="*/ 716747 h 912354"/>
                    <a:gd name="connsiteX21" fmla="*/ 1153233 w 1248882"/>
                    <a:gd name="connsiteY21" fmla="*/ 696690 h 912354"/>
                    <a:gd name="connsiteX22" fmla="*/ 97170 w 1248882"/>
                    <a:gd name="connsiteY22" fmla="*/ 84934 h 912354"/>
                    <a:gd name="connsiteX23" fmla="*/ 97100 w 1248882"/>
                    <a:gd name="connsiteY23" fmla="*/ 84854 h 912354"/>
                    <a:gd name="connsiteX24" fmla="*/ 92641 w 1248882"/>
                    <a:gd name="connsiteY24" fmla="*/ 86106 h 912354"/>
                    <a:gd name="connsiteX25" fmla="*/ 83322 w 1248882"/>
                    <a:gd name="connsiteY25" fmla="*/ 98353 h 912354"/>
                    <a:gd name="connsiteX26" fmla="*/ 83306 w 1248882"/>
                    <a:gd name="connsiteY26" fmla="*/ 104410 h 912354"/>
                    <a:gd name="connsiteX27" fmla="*/ 84058 w 1248882"/>
                    <a:gd name="connsiteY27" fmla="*/ 106600 h 912354"/>
                    <a:gd name="connsiteX28" fmla="*/ 84057 w 1248882"/>
                    <a:gd name="connsiteY28" fmla="*/ 212545 h 912354"/>
                    <a:gd name="connsiteX29" fmla="*/ 42843 w 1248882"/>
                    <a:gd name="connsiteY29" fmla="*/ 236780 h 912354"/>
                    <a:gd name="connsiteX30" fmla="*/ 4867 w 1248882"/>
                    <a:gd name="connsiteY30"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695504 w 1248882"/>
                    <a:gd name="connsiteY7" fmla="*/ 342628 h 912354"/>
                    <a:gd name="connsiteX8" fmla="*/ 1195107 w 1248882"/>
                    <a:gd name="connsiteY8" fmla="*/ 625705 h 912354"/>
                    <a:gd name="connsiteX9" fmla="*/ 1233715 w 1248882"/>
                    <a:gd name="connsiteY9" fmla="*/ 663595 h 912354"/>
                    <a:gd name="connsiteX10" fmla="*/ 1246207 w 1248882"/>
                    <a:gd name="connsiteY10" fmla="*/ 704430 h 912354"/>
                    <a:gd name="connsiteX11" fmla="*/ 1247236 w 1248882"/>
                    <a:gd name="connsiteY11" fmla="*/ 715969 h 912354"/>
                    <a:gd name="connsiteX12" fmla="*/ 1248882 w 1248882"/>
                    <a:gd name="connsiteY12" fmla="*/ 733604 h 912354"/>
                    <a:gd name="connsiteX13" fmla="*/ 1248882 w 1248882"/>
                    <a:gd name="connsiteY13" fmla="*/ 888119 h 912354"/>
                    <a:gd name="connsiteX14" fmla="*/ 1207667 w 1248882"/>
                    <a:gd name="connsiteY14" fmla="*/ 912354 h 912354"/>
                    <a:gd name="connsiteX15" fmla="*/ 1169691 w 1248882"/>
                    <a:gd name="connsiteY15" fmla="*/ 897552 h 912354"/>
                    <a:gd name="connsiteX16" fmla="*/ 1166452 w 1248882"/>
                    <a:gd name="connsiteY16" fmla="*/ 888119 h 912354"/>
                    <a:gd name="connsiteX17" fmla="*/ 1164480 w 1248882"/>
                    <a:gd name="connsiteY17" fmla="*/ 718004 h 912354"/>
                    <a:gd name="connsiteX18" fmla="*/ 1164797 w 1248882"/>
                    <a:gd name="connsiteY18" fmla="*/ 719337 h 912354"/>
                    <a:gd name="connsiteX19" fmla="*/ 1164813 w 1248882"/>
                    <a:gd name="connsiteY19" fmla="*/ 716747 h 912354"/>
                    <a:gd name="connsiteX20" fmla="*/ 1153233 w 1248882"/>
                    <a:gd name="connsiteY20" fmla="*/ 696690 h 912354"/>
                    <a:gd name="connsiteX21" fmla="*/ 97170 w 1248882"/>
                    <a:gd name="connsiteY21" fmla="*/ 84934 h 912354"/>
                    <a:gd name="connsiteX22" fmla="*/ 97100 w 1248882"/>
                    <a:gd name="connsiteY22" fmla="*/ 84854 h 912354"/>
                    <a:gd name="connsiteX23" fmla="*/ 92641 w 1248882"/>
                    <a:gd name="connsiteY23" fmla="*/ 86106 h 912354"/>
                    <a:gd name="connsiteX24" fmla="*/ 83322 w 1248882"/>
                    <a:gd name="connsiteY24" fmla="*/ 98353 h 912354"/>
                    <a:gd name="connsiteX25" fmla="*/ 83306 w 1248882"/>
                    <a:gd name="connsiteY25" fmla="*/ 104410 h 912354"/>
                    <a:gd name="connsiteX26" fmla="*/ 84058 w 1248882"/>
                    <a:gd name="connsiteY26" fmla="*/ 106600 h 912354"/>
                    <a:gd name="connsiteX27" fmla="*/ 84057 w 1248882"/>
                    <a:gd name="connsiteY27" fmla="*/ 212545 h 912354"/>
                    <a:gd name="connsiteX28" fmla="*/ 42843 w 1248882"/>
                    <a:gd name="connsiteY28" fmla="*/ 236780 h 912354"/>
                    <a:gd name="connsiteX29" fmla="*/ 4867 w 1248882"/>
                    <a:gd name="connsiteY29" fmla="*/ 221977 h 912354"/>
                    <a:gd name="connsiteX0" fmla="*/ 4867 w 1248882"/>
                    <a:gd name="connsiteY0" fmla="*/ 221977 h 912354"/>
                    <a:gd name="connsiteX1" fmla="*/ 1628 w 1248882"/>
                    <a:gd name="connsiteY1" fmla="*/ 212544 h 912354"/>
                    <a:gd name="connsiteX2" fmla="*/ 911 w 1248882"/>
                    <a:gd name="connsiteY2" fmla="*/ 97581 h 912354"/>
                    <a:gd name="connsiteX3" fmla="*/ 14421 w 1248882"/>
                    <a:gd name="connsiteY3" fmla="*/ 45201 h 912354"/>
                    <a:gd name="connsiteX4" fmla="*/ 43539 w 1248882"/>
                    <a:gd name="connsiteY4" fmla="*/ 13965 h 912354"/>
                    <a:gd name="connsiteX5" fmla="*/ 86141 w 1248882"/>
                    <a:gd name="connsiteY5" fmla="*/ 108 h 912354"/>
                    <a:gd name="connsiteX6" fmla="*/ 118741 w 1248882"/>
                    <a:gd name="connsiteY6" fmla="*/ 5629 h 912354"/>
                    <a:gd name="connsiteX7" fmla="*/ 1195107 w 1248882"/>
                    <a:gd name="connsiteY7" fmla="*/ 625705 h 912354"/>
                    <a:gd name="connsiteX8" fmla="*/ 1233715 w 1248882"/>
                    <a:gd name="connsiteY8" fmla="*/ 663595 h 912354"/>
                    <a:gd name="connsiteX9" fmla="*/ 1246207 w 1248882"/>
                    <a:gd name="connsiteY9" fmla="*/ 704430 h 912354"/>
                    <a:gd name="connsiteX10" fmla="*/ 1247236 w 1248882"/>
                    <a:gd name="connsiteY10" fmla="*/ 715969 h 912354"/>
                    <a:gd name="connsiteX11" fmla="*/ 1248882 w 1248882"/>
                    <a:gd name="connsiteY11" fmla="*/ 733604 h 912354"/>
                    <a:gd name="connsiteX12" fmla="*/ 1248882 w 1248882"/>
                    <a:gd name="connsiteY12" fmla="*/ 888119 h 912354"/>
                    <a:gd name="connsiteX13" fmla="*/ 1207667 w 1248882"/>
                    <a:gd name="connsiteY13" fmla="*/ 912354 h 912354"/>
                    <a:gd name="connsiteX14" fmla="*/ 1169691 w 1248882"/>
                    <a:gd name="connsiteY14" fmla="*/ 897552 h 912354"/>
                    <a:gd name="connsiteX15" fmla="*/ 1166452 w 1248882"/>
                    <a:gd name="connsiteY15" fmla="*/ 888119 h 912354"/>
                    <a:gd name="connsiteX16" fmla="*/ 1164480 w 1248882"/>
                    <a:gd name="connsiteY16" fmla="*/ 718004 h 912354"/>
                    <a:gd name="connsiteX17" fmla="*/ 1164797 w 1248882"/>
                    <a:gd name="connsiteY17" fmla="*/ 719337 h 912354"/>
                    <a:gd name="connsiteX18" fmla="*/ 1164813 w 1248882"/>
                    <a:gd name="connsiteY18" fmla="*/ 716747 h 912354"/>
                    <a:gd name="connsiteX19" fmla="*/ 1153233 w 1248882"/>
                    <a:gd name="connsiteY19" fmla="*/ 696690 h 912354"/>
                    <a:gd name="connsiteX20" fmla="*/ 97170 w 1248882"/>
                    <a:gd name="connsiteY20" fmla="*/ 84934 h 912354"/>
                    <a:gd name="connsiteX21" fmla="*/ 97100 w 1248882"/>
                    <a:gd name="connsiteY21" fmla="*/ 84854 h 912354"/>
                    <a:gd name="connsiteX22" fmla="*/ 92641 w 1248882"/>
                    <a:gd name="connsiteY22" fmla="*/ 86106 h 912354"/>
                    <a:gd name="connsiteX23" fmla="*/ 83322 w 1248882"/>
                    <a:gd name="connsiteY23" fmla="*/ 98353 h 912354"/>
                    <a:gd name="connsiteX24" fmla="*/ 83306 w 1248882"/>
                    <a:gd name="connsiteY24" fmla="*/ 104410 h 912354"/>
                    <a:gd name="connsiteX25" fmla="*/ 84058 w 1248882"/>
                    <a:gd name="connsiteY25" fmla="*/ 106600 h 912354"/>
                    <a:gd name="connsiteX26" fmla="*/ 84057 w 1248882"/>
                    <a:gd name="connsiteY26" fmla="*/ 212545 h 912354"/>
                    <a:gd name="connsiteX27" fmla="*/ 42843 w 1248882"/>
                    <a:gd name="connsiteY27" fmla="*/ 236780 h 912354"/>
                    <a:gd name="connsiteX28" fmla="*/ 4867 w 1248882"/>
                    <a:gd name="connsiteY28" fmla="*/ 221977 h 912354"/>
                    <a:gd name="connsiteX0" fmla="*/ 4867 w 1248882"/>
                    <a:gd name="connsiteY0" fmla="*/ 221977 h 903304"/>
                    <a:gd name="connsiteX1" fmla="*/ 1628 w 1248882"/>
                    <a:gd name="connsiteY1" fmla="*/ 212544 h 903304"/>
                    <a:gd name="connsiteX2" fmla="*/ 911 w 1248882"/>
                    <a:gd name="connsiteY2" fmla="*/ 97581 h 903304"/>
                    <a:gd name="connsiteX3" fmla="*/ 14421 w 1248882"/>
                    <a:gd name="connsiteY3" fmla="*/ 45201 h 903304"/>
                    <a:gd name="connsiteX4" fmla="*/ 43539 w 1248882"/>
                    <a:gd name="connsiteY4" fmla="*/ 13965 h 903304"/>
                    <a:gd name="connsiteX5" fmla="*/ 86141 w 1248882"/>
                    <a:gd name="connsiteY5" fmla="*/ 108 h 903304"/>
                    <a:gd name="connsiteX6" fmla="*/ 118741 w 1248882"/>
                    <a:gd name="connsiteY6" fmla="*/ 5629 h 903304"/>
                    <a:gd name="connsiteX7" fmla="*/ 1195107 w 1248882"/>
                    <a:gd name="connsiteY7" fmla="*/ 625705 h 903304"/>
                    <a:gd name="connsiteX8" fmla="*/ 1233715 w 1248882"/>
                    <a:gd name="connsiteY8" fmla="*/ 663595 h 903304"/>
                    <a:gd name="connsiteX9" fmla="*/ 1246207 w 1248882"/>
                    <a:gd name="connsiteY9" fmla="*/ 704430 h 903304"/>
                    <a:gd name="connsiteX10" fmla="*/ 1247236 w 1248882"/>
                    <a:gd name="connsiteY10" fmla="*/ 715969 h 903304"/>
                    <a:gd name="connsiteX11" fmla="*/ 1248882 w 1248882"/>
                    <a:gd name="connsiteY11" fmla="*/ 733604 h 903304"/>
                    <a:gd name="connsiteX12" fmla="*/ 1248882 w 1248882"/>
                    <a:gd name="connsiteY12" fmla="*/ 888119 h 903304"/>
                    <a:gd name="connsiteX13" fmla="*/ 1169691 w 1248882"/>
                    <a:gd name="connsiteY13" fmla="*/ 897552 h 903304"/>
                    <a:gd name="connsiteX14" fmla="*/ 1166452 w 1248882"/>
                    <a:gd name="connsiteY14" fmla="*/ 888119 h 903304"/>
                    <a:gd name="connsiteX15" fmla="*/ 1164480 w 1248882"/>
                    <a:gd name="connsiteY15" fmla="*/ 718004 h 903304"/>
                    <a:gd name="connsiteX16" fmla="*/ 1164797 w 1248882"/>
                    <a:gd name="connsiteY16" fmla="*/ 719337 h 903304"/>
                    <a:gd name="connsiteX17" fmla="*/ 1164813 w 1248882"/>
                    <a:gd name="connsiteY17" fmla="*/ 716747 h 903304"/>
                    <a:gd name="connsiteX18" fmla="*/ 1153233 w 1248882"/>
                    <a:gd name="connsiteY18" fmla="*/ 696690 h 903304"/>
                    <a:gd name="connsiteX19" fmla="*/ 97170 w 1248882"/>
                    <a:gd name="connsiteY19" fmla="*/ 84934 h 903304"/>
                    <a:gd name="connsiteX20" fmla="*/ 97100 w 1248882"/>
                    <a:gd name="connsiteY20" fmla="*/ 84854 h 903304"/>
                    <a:gd name="connsiteX21" fmla="*/ 92641 w 1248882"/>
                    <a:gd name="connsiteY21" fmla="*/ 86106 h 903304"/>
                    <a:gd name="connsiteX22" fmla="*/ 83322 w 1248882"/>
                    <a:gd name="connsiteY22" fmla="*/ 98353 h 903304"/>
                    <a:gd name="connsiteX23" fmla="*/ 83306 w 1248882"/>
                    <a:gd name="connsiteY23" fmla="*/ 104410 h 903304"/>
                    <a:gd name="connsiteX24" fmla="*/ 84058 w 1248882"/>
                    <a:gd name="connsiteY24" fmla="*/ 106600 h 903304"/>
                    <a:gd name="connsiteX25" fmla="*/ 84057 w 1248882"/>
                    <a:gd name="connsiteY25" fmla="*/ 212545 h 903304"/>
                    <a:gd name="connsiteX26" fmla="*/ 42843 w 1248882"/>
                    <a:gd name="connsiteY26" fmla="*/ 236780 h 903304"/>
                    <a:gd name="connsiteX27" fmla="*/ 4867 w 1248882"/>
                    <a:gd name="connsiteY27" fmla="*/ 221977 h 903304"/>
                    <a:gd name="connsiteX0" fmla="*/ 4867 w 1248882"/>
                    <a:gd name="connsiteY0" fmla="*/ 221977 h 932928"/>
                    <a:gd name="connsiteX1" fmla="*/ 1628 w 1248882"/>
                    <a:gd name="connsiteY1" fmla="*/ 212544 h 932928"/>
                    <a:gd name="connsiteX2" fmla="*/ 911 w 1248882"/>
                    <a:gd name="connsiteY2" fmla="*/ 97581 h 932928"/>
                    <a:gd name="connsiteX3" fmla="*/ 14421 w 1248882"/>
                    <a:gd name="connsiteY3" fmla="*/ 45201 h 932928"/>
                    <a:gd name="connsiteX4" fmla="*/ 43539 w 1248882"/>
                    <a:gd name="connsiteY4" fmla="*/ 13965 h 932928"/>
                    <a:gd name="connsiteX5" fmla="*/ 86141 w 1248882"/>
                    <a:gd name="connsiteY5" fmla="*/ 108 h 932928"/>
                    <a:gd name="connsiteX6" fmla="*/ 118741 w 1248882"/>
                    <a:gd name="connsiteY6" fmla="*/ 5629 h 932928"/>
                    <a:gd name="connsiteX7" fmla="*/ 1195107 w 1248882"/>
                    <a:gd name="connsiteY7" fmla="*/ 625705 h 932928"/>
                    <a:gd name="connsiteX8" fmla="*/ 1233715 w 1248882"/>
                    <a:gd name="connsiteY8" fmla="*/ 663595 h 932928"/>
                    <a:gd name="connsiteX9" fmla="*/ 1246207 w 1248882"/>
                    <a:gd name="connsiteY9" fmla="*/ 704430 h 932928"/>
                    <a:gd name="connsiteX10" fmla="*/ 1247236 w 1248882"/>
                    <a:gd name="connsiteY10" fmla="*/ 715969 h 932928"/>
                    <a:gd name="connsiteX11" fmla="*/ 1248882 w 1248882"/>
                    <a:gd name="connsiteY11" fmla="*/ 733604 h 932928"/>
                    <a:gd name="connsiteX12" fmla="*/ 1248882 w 1248882"/>
                    <a:gd name="connsiteY12" fmla="*/ 888119 h 932928"/>
                    <a:gd name="connsiteX13" fmla="*/ 1184617 w 1248882"/>
                    <a:gd name="connsiteY13" fmla="*/ 932928 h 932928"/>
                    <a:gd name="connsiteX14" fmla="*/ 1166452 w 1248882"/>
                    <a:gd name="connsiteY14" fmla="*/ 888119 h 932928"/>
                    <a:gd name="connsiteX15" fmla="*/ 1164480 w 1248882"/>
                    <a:gd name="connsiteY15" fmla="*/ 718004 h 932928"/>
                    <a:gd name="connsiteX16" fmla="*/ 1164797 w 1248882"/>
                    <a:gd name="connsiteY16" fmla="*/ 719337 h 932928"/>
                    <a:gd name="connsiteX17" fmla="*/ 1164813 w 1248882"/>
                    <a:gd name="connsiteY17" fmla="*/ 716747 h 932928"/>
                    <a:gd name="connsiteX18" fmla="*/ 1153233 w 1248882"/>
                    <a:gd name="connsiteY18" fmla="*/ 696690 h 932928"/>
                    <a:gd name="connsiteX19" fmla="*/ 97170 w 1248882"/>
                    <a:gd name="connsiteY19" fmla="*/ 84934 h 932928"/>
                    <a:gd name="connsiteX20" fmla="*/ 97100 w 1248882"/>
                    <a:gd name="connsiteY20" fmla="*/ 84854 h 932928"/>
                    <a:gd name="connsiteX21" fmla="*/ 92641 w 1248882"/>
                    <a:gd name="connsiteY21" fmla="*/ 86106 h 932928"/>
                    <a:gd name="connsiteX22" fmla="*/ 83322 w 1248882"/>
                    <a:gd name="connsiteY22" fmla="*/ 98353 h 932928"/>
                    <a:gd name="connsiteX23" fmla="*/ 83306 w 1248882"/>
                    <a:gd name="connsiteY23" fmla="*/ 104410 h 932928"/>
                    <a:gd name="connsiteX24" fmla="*/ 84058 w 1248882"/>
                    <a:gd name="connsiteY24" fmla="*/ 106600 h 932928"/>
                    <a:gd name="connsiteX25" fmla="*/ 84057 w 1248882"/>
                    <a:gd name="connsiteY25" fmla="*/ 212545 h 932928"/>
                    <a:gd name="connsiteX26" fmla="*/ 42843 w 1248882"/>
                    <a:gd name="connsiteY26" fmla="*/ 236780 h 932928"/>
                    <a:gd name="connsiteX27" fmla="*/ 4867 w 1248882"/>
                    <a:gd name="connsiteY27" fmla="*/ 221977 h 932928"/>
                    <a:gd name="connsiteX0" fmla="*/ 1184617 w 1276057"/>
                    <a:gd name="connsiteY0" fmla="*/ 932928 h 1024368"/>
                    <a:gd name="connsiteX1" fmla="*/ 1166452 w 1276057"/>
                    <a:gd name="connsiteY1" fmla="*/ 888119 h 1024368"/>
                    <a:gd name="connsiteX2" fmla="*/ 1164480 w 1276057"/>
                    <a:gd name="connsiteY2" fmla="*/ 718004 h 1024368"/>
                    <a:gd name="connsiteX3" fmla="*/ 1164797 w 1276057"/>
                    <a:gd name="connsiteY3" fmla="*/ 719337 h 1024368"/>
                    <a:gd name="connsiteX4" fmla="*/ 1164813 w 1276057"/>
                    <a:gd name="connsiteY4" fmla="*/ 716747 h 1024368"/>
                    <a:gd name="connsiteX5" fmla="*/ 1153233 w 1276057"/>
                    <a:gd name="connsiteY5" fmla="*/ 696690 h 1024368"/>
                    <a:gd name="connsiteX6" fmla="*/ 97170 w 1276057"/>
                    <a:gd name="connsiteY6" fmla="*/ 84934 h 1024368"/>
                    <a:gd name="connsiteX7" fmla="*/ 97100 w 1276057"/>
                    <a:gd name="connsiteY7" fmla="*/ 84854 h 1024368"/>
                    <a:gd name="connsiteX8" fmla="*/ 92641 w 1276057"/>
                    <a:gd name="connsiteY8" fmla="*/ 86106 h 1024368"/>
                    <a:gd name="connsiteX9" fmla="*/ 83322 w 1276057"/>
                    <a:gd name="connsiteY9" fmla="*/ 98353 h 1024368"/>
                    <a:gd name="connsiteX10" fmla="*/ 83306 w 1276057"/>
                    <a:gd name="connsiteY10" fmla="*/ 104410 h 1024368"/>
                    <a:gd name="connsiteX11" fmla="*/ 84058 w 1276057"/>
                    <a:gd name="connsiteY11" fmla="*/ 106600 h 1024368"/>
                    <a:gd name="connsiteX12" fmla="*/ 84057 w 1276057"/>
                    <a:gd name="connsiteY12" fmla="*/ 212545 h 1024368"/>
                    <a:gd name="connsiteX13" fmla="*/ 42843 w 1276057"/>
                    <a:gd name="connsiteY13" fmla="*/ 236780 h 1024368"/>
                    <a:gd name="connsiteX14" fmla="*/ 4867 w 1276057"/>
                    <a:gd name="connsiteY14" fmla="*/ 221977 h 1024368"/>
                    <a:gd name="connsiteX15" fmla="*/ 1628 w 1276057"/>
                    <a:gd name="connsiteY15" fmla="*/ 212544 h 1024368"/>
                    <a:gd name="connsiteX16" fmla="*/ 911 w 1276057"/>
                    <a:gd name="connsiteY16" fmla="*/ 97581 h 1024368"/>
                    <a:gd name="connsiteX17" fmla="*/ 14421 w 1276057"/>
                    <a:gd name="connsiteY17" fmla="*/ 45201 h 1024368"/>
                    <a:gd name="connsiteX18" fmla="*/ 43539 w 1276057"/>
                    <a:gd name="connsiteY18" fmla="*/ 13965 h 1024368"/>
                    <a:gd name="connsiteX19" fmla="*/ 86141 w 1276057"/>
                    <a:gd name="connsiteY19" fmla="*/ 108 h 1024368"/>
                    <a:gd name="connsiteX20" fmla="*/ 118741 w 1276057"/>
                    <a:gd name="connsiteY20" fmla="*/ 5629 h 1024368"/>
                    <a:gd name="connsiteX21" fmla="*/ 1195107 w 1276057"/>
                    <a:gd name="connsiteY21" fmla="*/ 625705 h 1024368"/>
                    <a:gd name="connsiteX22" fmla="*/ 1233715 w 1276057"/>
                    <a:gd name="connsiteY22" fmla="*/ 663595 h 1024368"/>
                    <a:gd name="connsiteX23" fmla="*/ 1246207 w 1276057"/>
                    <a:gd name="connsiteY23" fmla="*/ 704430 h 1024368"/>
                    <a:gd name="connsiteX24" fmla="*/ 1247236 w 1276057"/>
                    <a:gd name="connsiteY24" fmla="*/ 715969 h 1024368"/>
                    <a:gd name="connsiteX25" fmla="*/ 1248882 w 1276057"/>
                    <a:gd name="connsiteY25" fmla="*/ 733604 h 1024368"/>
                    <a:gd name="connsiteX26" fmla="*/ 1248882 w 1276057"/>
                    <a:gd name="connsiteY26" fmla="*/ 888119 h 1024368"/>
                    <a:gd name="connsiteX27" fmla="*/ 1276057 w 1276057"/>
                    <a:gd name="connsiteY27" fmla="*/ 1024368 h 1024368"/>
                    <a:gd name="connsiteX0" fmla="*/ 1184617 w 1248882"/>
                    <a:gd name="connsiteY0" fmla="*/ 932928 h 932928"/>
                    <a:gd name="connsiteX1" fmla="*/ 1166452 w 1248882"/>
                    <a:gd name="connsiteY1" fmla="*/ 888119 h 932928"/>
                    <a:gd name="connsiteX2" fmla="*/ 1164480 w 1248882"/>
                    <a:gd name="connsiteY2" fmla="*/ 718004 h 932928"/>
                    <a:gd name="connsiteX3" fmla="*/ 1164797 w 1248882"/>
                    <a:gd name="connsiteY3" fmla="*/ 719337 h 932928"/>
                    <a:gd name="connsiteX4" fmla="*/ 1164813 w 1248882"/>
                    <a:gd name="connsiteY4" fmla="*/ 716747 h 932928"/>
                    <a:gd name="connsiteX5" fmla="*/ 1153233 w 1248882"/>
                    <a:gd name="connsiteY5" fmla="*/ 696690 h 932928"/>
                    <a:gd name="connsiteX6" fmla="*/ 97170 w 1248882"/>
                    <a:gd name="connsiteY6" fmla="*/ 84934 h 932928"/>
                    <a:gd name="connsiteX7" fmla="*/ 97100 w 1248882"/>
                    <a:gd name="connsiteY7" fmla="*/ 84854 h 932928"/>
                    <a:gd name="connsiteX8" fmla="*/ 92641 w 1248882"/>
                    <a:gd name="connsiteY8" fmla="*/ 86106 h 932928"/>
                    <a:gd name="connsiteX9" fmla="*/ 83322 w 1248882"/>
                    <a:gd name="connsiteY9" fmla="*/ 98353 h 932928"/>
                    <a:gd name="connsiteX10" fmla="*/ 83306 w 1248882"/>
                    <a:gd name="connsiteY10" fmla="*/ 104410 h 932928"/>
                    <a:gd name="connsiteX11" fmla="*/ 84058 w 1248882"/>
                    <a:gd name="connsiteY11" fmla="*/ 106600 h 932928"/>
                    <a:gd name="connsiteX12" fmla="*/ 84057 w 1248882"/>
                    <a:gd name="connsiteY12" fmla="*/ 212545 h 932928"/>
                    <a:gd name="connsiteX13" fmla="*/ 42843 w 1248882"/>
                    <a:gd name="connsiteY13" fmla="*/ 236780 h 932928"/>
                    <a:gd name="connsiteX14" fmla="*/ 4867 w 1248882"/>
                    <a:gd name="connsiteY14" fmla="*/ 221977 h 932928"/>
                    <a:gd name="connsiteX15" fmla="*/ 1628 w 1248882"/>
                    <a:gd name="connsiteY15" fmla="*/ 212544 h 932928"/>
                    <a:gd name="connsiteX16" fmla="*/ 911 w 1248882"/>
                    <a:gd name="connsiteY16" fmla="*/ 97581 h 932928"/>
                    <a:gd name="connsiteX17" fmla="*/ 14421 w 1248882"/>
                    <a:gd name="connsiteY17" fmla="*/ 45201 h 932928"/>
                    <a:gd name="connsiteX18" fmla="*/ 43539 w 1248882"/>
                    <a:gd name="connsiteY18" fmla="*/ 13965 h 932928"/>
                    <a:gd name="connsiteX19" fmla="*/ 86141 w 1248882"/>
                    <a:gd name="connsiteY19" fmla="*/ 108 h 932928"/>
                    <a:gd name="connsiteX20" fmla="*/ 118741 w 1248882"/>
                    <a:gd name="connsiteY20" fmla="*/ 5629 h 932928"/>
                    <a:gd name="connsiteX21" fmla="*/ 1195107 w 1248882"/>
                    <a:gd name="connsiteY21" fmla="*/ 625705 h 932928"/>
                    <a:gd name="connsiteX22" fmla="*/ 1233715 w 1248882"/>
                    <a:gd name="connsiteY22" fmla="*/ 663595 h 932928"/>
                    <a:gd name="connsiteX23" fmla="*/ 1246207 w 1248882"/>
                    <a:gd name="connsiteY23" fmla="*/ 704430 h 932928"/>
                    <a:gd name="connsiteX24" fmla="*/ 1247236 w 1248882"/>
                    <a:gd name="connsiteY24" fmla="*/ 715969 h 932928"/>
                    <a:gd name="connsiteX25" fmla="*/ 1248882 w 1248882"/>
                    <a:gd name="connsiteY25" fmla="*/ 733604 h 932928"/>
                    <a:gd name="connsiteX26" fmla="*/ 1248882 w 1248882"/>
                    <a:gd name="connsiteY26" fmla="*/ 888119 h 932928"/>
                    <a:gd name="connsiteX0" fmla="*/ 1166452 w 1248882"/>
                    <a:gd name="connsiteY0" fmla="*/ 888119 h 888119"/>
                    <a:gd name="connsiteX1" fmla="*/ 1164480 w 1248882"/>
                    <a:gd name="connsiteY1" fmla="*/ 718004 h 888119"/>
                    <a:gd name="connsiteX2" fmla="*/ 1164797 w 1248882"/>
                    <a:gd name="connsiteY2" fmla="*/ 719337 h 888119"/>
                    <a:gd name="connsiteX3" fmla="*/ 1164813 w 1248882"/>
                    <a:gd name="connsiteY3" fmla="*/ 716747 h 888119"/>
                    <a:gd name="connsiteX4" fmla="*/ 1153233 w 1248882"/>
                    <a:gd name="connsiteY4" fmla="*/ 696690 h 888119"/>
                    <a:gd name="connsiteX5" fmla="*/ 97170 w 1248882"/>
                    <a:gd name="connsiteY5" fmla="*/ 84934 h 888119"/>
                    <a:gd name="connsiteX6" fmla="*/ 97100 w 1248882"/>
                    <a:gd name="connsiteY6" fmla="*/ 84854 h 888119"/>
                    <a:gd name="connsiteX7" fmla="*/ 92641 w 1248882"/>
                    <a:gd name="connsiteY7" fmla="*/ 86106 h 888119"/>
                    <a:gd name="connsiteX8" fmla="*/ 83322 w 1248882"/>
                    <a:gd name="connsiteY8" fmla="*/ 98353 h 888119"/>
                    <a:gd name="connsiteX9" fmla="*/ 83306 w 1248882"/>
                    <a:gd name="connsiteY9" fmla="*/ 104410 h 888119"/>
                    <a:gd name="connsiteX10" fmla="*/ 84058 w 1248882"/>
                    <a:gd name="connsiteY10" fmla="*/ 106600 h 888119"/>
                    <a:gd name="connsiteX11" fmla="*/ 84057 w 1248882"/>
                    <a:gd name="connsiteY11" fmla="*/ 212545 h 888119"/>
                    <a:gd name="connsiteX12" fmla="*/ 42843 w 1248882"/>
                    <a:gd name="connsiteY12" fmla="*/ 236780 h 888119"/>
                    <a:gd name="connsiteX13" fmla="*/ 4867 w 1248882"/>
                    <a:gd name="connsiteY13" fmla="*/ 221977 h 888119"/>
                    <a:gd name="connsiteX14" fmla="*/ 1628 w 1248882"/>
                    <a:gd name="connsiteY14" fmla="*/ 212544 h 888119"/>
                    <a:gd name="connsiteX15" fmla="*/ 911 w 1248882"/>
                    <a:gd name="connsiteY15" fmla="*/ 97581 h 888119"/>
                    <a:gd name="connsiteX16" fmla="*/ 14421 w 1248882"/>
                    <a:gd name="connsiteY16" fmla="*/ 45201 h 888119"/>
                    <a:gd name="connsiteX17" fmla="*/ 43539 w 1248882"/>
                    <a:gd name="connsiteY17" fmla="*/ 13965 h 888119"/>
                    <a:gd name="connsiteX18" fmla="*/ 86141 w 1248882"/>
                    <a:gd name="connsiteY18" fmla="*/ 108 h 888119"/>
                    <a:gd name="connsiteX19" fmla="*/ 118741 w 1248882"/>
                    <a:gd name="connsiteY19" fmla="*/ 5629 h 888119"/>
                    <a:gd name="connsiteX20" fmla="*/ 1195107 w 1248882"/>
                    <a:gd name="connsiteY20" fmla="*/ 625705 h 888119"/>
                    <a:gd name="connsiteX21" fmla="*/ 1233715 w 1248882"/>
                    <a:gd name="connsiteY21" fmla="*/ 663595 h 888119"/>
                    <a:gd name="connsiteX22" fmla="*/ 1246207 w 1248882"/>
                    <a:gd name="connsiteY22" fmla="*/ 704430 h 888119"/>
                    <a:gd name="connsiteX23" fmla="*/ 1247236 w 1248882"/>
                    <a:gd name="connsiteY23" fmla="*/ 715969 h 888119"/>
                    <a:gd name="connsiteX24" fmla="*/ 1248882 w 1248882"/>
                    <a:gd name="connsiteY24" fmla="*/ 733604 h 888119"/>
                    <a:gd name="connsiteX25" fmla="*/ 1248882 w 1248882"/>
                    <a:gd name="connsiteY25" fmla="*/ 888119 h 888119"/>
                    <a:gd name="connsiteX0" fmla="*/ 1164480 w 1248882"/>
                    <a:gd name="connsiteY0" fmla="*/ 718004 h 888119"/>
                    <a:gd name="connsiteX1" fmla="*/ 1164797 w 1248882"/>
                    <a:gd name="connsiteY1" fmla="*/ 719337 h 888119"/>
                    <a:gd name="connsiteX2" fmla="*/ 1164813 w 1248882"/>
                    <a:gd name="connsiteY2" fmla="*/ 716747 h 888119"/>
                    <a:gd name="connsiteX3" fmla="*/ 1153233 w 1248882"/>
                    <a:gd name="connsiteY3" fmla="*/ 696690 h 888119"/>
                    <a:gd name="connsiteX4" fmla="*/ 97170 w 1248882"/>
                    <a:gd name="connsiteY4" fmla="*/ 84934 h 888119"/>
                    <a:gd name="connsiteX5" fmla="*/ 97100 w 1248882"/>
                    <a:gd name="connsiteY5" fmla="*/ 84854 h 888119"/>
                    <a:gd name="connsiteX6" fmla="*/ 92641 w 1248882"/>
                    <a:gd name="connsiteY6" fmla="*/ 86106 h 888119"/>
                    <a:gd name="connsiteX7" fmla="*/ 83322 w 1248882"/>
                    <a:gd name="connsiteY7" fmla="*/ 98353 h 888119"/>
                    <a:gd name="connsiteX8" fmla="*/ 83306 w 1248882"/>
                    <a:gd name="connsiteY8" fmla="*/ 104410 h 888119"/>
                    <a:gd name="connsiteX9" fmla="*/ 84058 w 1248882"/>
                    <a:gd name="connsiteY9" fmla="*/ 106600 h 888119"/>
                    <a:gd name="connsiteX10" fmla="*/ 84057 w 1248882"/>
                    <a:gd name="connsiteY10" fmla="*/ 212545 h 888119"/>
                    <a:gd name="connsiteX11" fmla="*/ 42843 w 1248882"/>
                    <a:gd name="connsiteY11" fmla="*/ 236780 h 888119"/>
                    <a:gd name="connsiteX12" fmla="*/ 4867 w 1248882"/>
                    <a:gd name="connsiteY12" fmla="*/ 221977 h 888119"/>
                    <a:gd name="connsiteX13" fmla="*/ 1628 w 1248882"/>
                    <a:gd name="connsiteY13" fmla="*/ 212544 h 888119"/>
                    <a:gd name="connsiteX14" fmla="*/ 911 w 1248882"/>
                    <a:gd name="connsiteY14" fmla="*/ 97581 h 888119"/>
                    <a:gd name="connsiteX15" fmla="*/ 14421 w 1248882"/>
                    <a:gd name="connsiteY15" fmla="*/ 45201 h 888119"/>
                    <a:gd name="connsiteX16" fmla="*/ 43539 w 1248882"/>
                    <a:gd name="connsiteY16" fmla="*/ 13965 h 888119"/>
                    <a:gd name="connsiteX17" fmla="*/ 86141 w 1248882"/>
                    <a:gd name="connsiteY17" fmla="*/ 108 h 888119"/>
                    <a:gd name="connsiteX18" fmla="*/ 118741 w 1248882"/>
                    <a:gd name="connsiteY18" fmla="*/ 5629 h 888119"/>
                    <a:gd name="connsiteX19" fmla="*/ 1195107 w 1248882"/>
                    <a:gd name="connsiteY19" fmla="*/ 625705 h 888119"/>
                    <a:gd name="connsiteX20" fmla="*/ 1233715 w 1248882"/>
                    <a:gd name="connsiteY20" fmla="*/ 663595 h 888119"/>
                    <a:gd name="connsiteX21" fmla="*/ 1246207 w 1248882"/>
                    <a:gd name="connsiteY21" fmla="*/ 704430 h 888119"/>
                    <a:gd name="connsiteX22" fmla="*/ 1247236 w 1248882"/>
                    <a:gd name="connsiteY22" fmla="*/ 715969 h 888119"/>
                    <a:gd name="connsiteX23" fmla="*/ 1248882 w 1248882"/>
                    <a:gd name="connsiteY23" fmla="*/ 733604 h 888119"/>
                    <a:gd name="connsiteX24" fmla="*/ 1248882 w 1248882"/>
                    <a:gd name="connsiteY24" fmla="*/ 888119 h 888119"/>
                    <a:gd name="connsiteX0" fmla="*/ 1164480 w 1248882"/>
                    <a:gd name="connsiteY0" fmla="*/ 718004 h 733604"/>
                    <a:gd name="connsiteX1" fmla="*/ 1164797 w 1248882"/>
                    <a:gd name="connsiteY1" fmla="*/ 719337 h 733604"/>
                    <a:gd name="connsiteX2" fmla="*/ 1164813 w 1248882"/>
                    <a:gd name="connsiteY2" fmla="*/ 716747 h 733604"/>
                    <a:gd name="connsiteX3" fmla="*/ 1153233 w 1248882"/>
                    <a:gd name="connsiteY3" fmla="*/ 696690 h 733604"/>
                    <a:gd name="connsiteX4" fmla="*/ 97170 w 1248882"/>
                    <a:gd name="connsiteY4" fmla="*/ 84934 h 733604"/>
                    <a:gd name="connsiteX5" fmla="*/ 97100 w 1248882"/>
                    <a:gd name="connsiteY5" fmla="*/ 84854 h 733604"/>
                    <a:gd name="connsiteX6" fmla="*/ 92641 w 1248882"/>
                    <a:gd name="connsiteY6" fmla="*/ 86106 h 733604"/>
                    <a:gd name="connsiteX7" fmla="*/ 83322 w 1248882"/>
                    <a:gd name="connsiteY7" fmla="*/ 98353 h 733604"/>
                    <a:gd name="connsiteX8" fmla="*/ 83306 w 1248882"/>
                    <a:gd name="connsiteY8" fmla="*/ 104410 h 733604"/>
                    <a:gd name="connsiteX9" fmla="*/ 84058 w 1248882"/>
                    <a:gd name="connsiteY9" fmla="*/ 106600 h 733604"/>
                    <a:gd name="connsiteX10" fmla="*/ 84057 w 1248882"/>
                    <a:gd name="connsiteY10" fmla="*/ 212545 h 733604"/>
                    <a:gd name="connsiteX11" fmla="*/ 42843 w 1248882"/>
                    <a:gd name="connsiteY11" fmla="*/ 236780 h 733604"/>
                    <a:gd name="connsiteX12" fmla="*/ 4867 w 1248882"/>
                    <a:gd name="connsiteY12" fmla="*/ 221977 h 733604"/>
                    <a:gd name="connsiteX13" fmla="*/ 1628 w 1248882"/>
                    <a:gd name="connsiteY13" fmla="*/ 212544 h 733604"/>
                    <a:gd name="connsiteX14" fmla="*/ 911 w 1248882"/>
                    <a:gd name="connsiteY14" fmla="*/ 97581 h 733604"/>
                    <a:gd name="connsiteX15" fmla="*/ 14421 w 1248882"/>
                    <a:gd name="connsiteY15" fmla="*/ 45201 h 733604"/>
                    <a:gd name="connsiteX16" fmla="*/ 43539 w 1248882"/>
                    <a:gd name="connsiteY16" fmla="*/ 13965 h 733604"/>
                    <a:gd name="connsiteX17" fmla="*/ 86141 w 1248882"/>
                    <a:gd name="connsiteY17" fmla="*/ 108 h 733604"/>
                    <a:gd name="connsiteX18" fmla="*/ 118741 w 1248882"/>
                    <a:gd name="connsiteY18" fmla="*/ 5629 h 733604"/>
                    <a:gd name="connsiteX19" fmla="*/ 1195107 w 1248882"/>
                    <a:gd name="connsiteY19" fmla="*/ 625705 h 733604"/>
                    <a:gd name="connsiteX20" fmla="*/ 1233715 w 1248882"/>
                    <a:gd name="connsiteY20" fmla="*/ 663595 h 733604"/>
                    <a:gd name="connsiteX21" fmla="*/ 1246207 w 1248882"/>
                    <a:gd name="connsiteY21" fmla="*/ 704430 h 733604"/>
                    <a:gd name="connsiteX22" fmla="*/ 1247236 w 1248882"/>
                    <a:gd name="connsiteY22" fmla="*/ 715969 h 733604"/>
                    <a:gd name="connsiteX23" fmla="*/ 1248882 w 1248882"/>
                    <a:gd name="connsiteY23" fmla="*/ 733604 h 733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48882" h="733604">
                      <a:moveTo>
                        <a:pt x="1164480" y="718004"/>
                      </a:moveTo>
                      <a:cubicBezTo>
                        <a:pt x="1164586" y="718448"/>
                        <a:pt x="1164691" y="718893"/>
                        <a:pt x="1164797" y="719337"/>
                      </a:cubicBezTo>
                      <a:cubicBezTo>
                        <a:pt x="1164802" y="718474"/>
                        <a:pt x="1164807" y="717610"/>
                        <a:pt x="1164813" y="716747"/>
                      </a:cubicBezTo>
                      <a:cubicBezTo>
                        <a:pt x="1162941" y="704889"/>
                        <a:pt x="1162567" y="704239"/>
                        <a:pt x="1153233" y="696690"/>
                      </a:cubicBezTo>
                      <a:lnTo>
                        <a:pt x="97170" y="84934"/>
                      </a:lnTo>
                      <a:cubicBezTo>
                        <a:pt x="97147" y="84907"/>
                        <a:pt x="97123" y="84881"/>
                        <a:pt x="97100" y="84854"/>
                      </a:cubicBezTo>
                      <a:lnTo>
                        <a:pt x="92641" y="86106"/>
                      </a:lnTo>
                      <a:cubicBezTo>
                        <a:pt x="87828" y="87456"/>
                        <a:pt x="83868" y="90174"/>
                        <a:pt x="83322" y="98353"/>
                      </a:cubicBezTo>
                      <a:cubicBezTo>
                        <a:pt x="83316" y="100372"/>
                        <a:pt x="83311" y="102391"/>
                        <a:pt x="83306" y="104410"/>
                      </a:cubicBezTo>
                      <a:lnTo>
                        <a:pt x="84058" y="106600"/>
                      </a:lnTo>
                      <a:cubicBezTo>
                        <a:pt x="84058" y="141915"/>
                        <a:pt x="84057" y="177229"/>
                        <a:pt x="84057" y="212545"/>
                      </a:cubicBezTo>
                      <a:cubicBezTo>
                        <a:pt x="84057" y="225929"/>
                        <a:pt x="65605" y="236780"/>
                        <a:pt x="42843" y="236780"/>
                      </a:cubicBezTo>
                      <a:cubicBezTo>
                        <a:pt x="25771" y="236779"/>
                        <a:pt x="11124" y="230676"/>
                        <a:pt x="4867" y="221977"/>
                      </a:cubicBezTo>
                      <a:cubicBezTo>
                        <a:pt x="2782" y="219079"/>
                        <a:pt x="1628" y="215890"/>
                        <a:pt x="1628" y="212544"/>
                      </a:cubicBezTo>
                      <a:cubicBezTo>
                        <a:pt x="968" y="191811"/>
                        <a:pt x="-1222" y="125471"/>
                        <a:pt x="911" y="97581"/>
                      </a:cubicBezTo>
                      <a:cubicBezTo>
                        <a:pt x="3498" y="80400"/>
                        <a:pt x="-1751" y="72471"/>
                        <a:pt x="14421" y="45201"/>
                      </a:cubicBezTo>
                      <a:cubicBezTo>
                        <a:pt x="26551" y="24749"/>
                        <a:pt x="34561" y="19753"/>
                        <a:pt x="43539" y="13965"/>
                      </a:cubicBezTo>
                      <a:cubicBezTo>
                        <a:pt x="60016" y="6917"/>
                        <a:pt x="69693" y="-450"/>
                        <a:pt x="86141" y="108"/>
                      </a:cubicBezTo>
                      <a:cubicBezTo>
                        <a:pt x="98478" y="527"/>
                        <a:pt x="101140" y="-2106"/>
                        <a:pt x="118741" y="5629"/>
                      </a:cubicBezTo>
                      <a:lnTo>
                        <a:pt x="1195107" y="625705"/>
                      </a:lnTo>
                      <a:cubicBezTo>
                        <a:pt x="1208692" y="636535"/>
                        <a:pt x="1218183" y="635954"/>
                        <a:pt x="1233715" y="663595"/>
                      </a:cubicBezTo>
                      <a:cubicBezTo>
                        <a:pt x="1245362" y="684326"/>
                        <a:pt x="1245683" y="693760"/>
                        <a:pt x="1246207" y="704430"/>
                      </a:cubicBezTo>
                      <a:cubicBezTo>
                        <a:pt x="1248460" y="713160"/>
                        <a:pt x="1246790" y="711107"/>
                        <a:pt x="1247236" y="715969"/>
                      </a:cubicBezTo>
                      <a:lnTo>
                        <a:pt x="1248882" y="733604"/>
                      </a:lnTo>
                    </a:path>
                  </a:pathLst>
                </a:cu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sp>
          <p:nvSpPr>
            <p:cNvPr id="1087" name="Oval 1086">
              <a:extLst>
                <a:ext uri="{FF2B5EF4-FFF2-40B4-BE49-F238E27FC236}">
                  <a16:creationId xmlns:a16="http://schemas.microsoft.com/office/drawing/2014/main" id="{50357DD7-75CC-48EA-9FF7-B8414EE4D97F}"/>
                </a:ext>
              </a:extLst>
            </p:cNvPr>
            <p:cNvSpPr/>
            <p:nvPr/>
          </p:nvSpPr>
          <p:spPr bwMode="gray">
            <a:xfrm rot="5245531">
              <a:off x="8667893" y="5217054"/>
              <a:ext cx="84100" cy="101506"/>
            </a:xfrm>
            <a:prstGeom prst="ellipse">
              <a:avLst/>
            </a:prstGeom>
            <a:gradFill flip="none" rotWithShape="1">
              <a:gsLst>
                <a:gs pos="49000">
                  <a:schemeClr val="accent2">
                    <a:lumMod val="0"/>
                    <a:lumOff val="100000"/>
                    <a:alpha val="0"/>
                  </a:schemeClr>
                </a:gs>
                <a:gs pos="16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sp>
        <p:nvSpPr>
          <p:cNvPr id="1102" name="Freeform: Shape 1101">
            <a:extLst>
              <a:ext uri="{FF2B5EF4-FFF2-40B4-BE49-F238E27FC236}">
                <a16:creationId xmlns:a16="http://schemas.microsoft.com/office/drawing/2014/main" id="{A4E53ABF-9DB7-4675-B998-B4815A81972F}"/>
              </a:ext>
            </a:extLst>
          </p:cNvPr>
          <p:cNvSpPr/>
          <p:nvPr/>
        </p:nvSpPr>
        <p:spPr bwMode="gray">
          <a:xfrm flipV="1">
            <a:off x="7815320" y="4201385"/>
            <a:ext cx="1418074" cy="1151155"/>
          </a:xfrm>
          <a:custGeom>
            <a:avLst/>
            <a:gdLst>
              <a:gd name="connsiteX0" fmla="*/ 1365369 w 1418074"/>
              <a:gd name="connsiteY0" fmla="*/ 1150020 h 1152900"/>
              <a:gd name="connsiteX1" fmla="*/ 1410865 w 1418074"/>
              <a:gd name="connsiteY1" fmla="*/ 1129276 h 1152900"/>
              <a:gd name="connsiteX2" fmla="*/ 1406082 w 1418074"/>
              <a:gd name="connsiteY2" fmla="*/ 1079503 h 1152900"/>
              <a:gd name="connsiteX3" fmla="*/ 401462 w 1418074"/>
              <a:gd name="connsiteY3" fmla="*/ 499485 h 1152900"/>
              <a:gd name="connsiteX4" fmla="*/ 401311 w 1418074"/>
              <a:gd name="connsiteY4" fmla="*/ 498079 h 1152900"/>
              <a:gd name="connsiteX5" fmla="*/ 399775 w 1418074"/>
              <a:gd name="connsiteY5" fmla="*/ 498510 h 1152900"/>
              <a:gd name="connsiteX6" fmla="*/ 308386 w 1418074"/>
              <a:gd name="connsiteY6" fmla="*/ 445747 h 1152900"/>
              <a:gd name="connsiteX7" fmla="*/ 304708 w 1418074"/>
              <a:gd name="connsiteY7" fmla="*/ 445757 h 1152900"/>
              <a:gd name="connsiteX8" fmla="*/ 93816 w 1418074"/>
              <a:gd name="connsiteY8" fmla="*/ 323250 h 1152900"/>
              <a:gd name="connsiteX9" fmla="*/ 82259 w 1418074"/>
              <a:gd name="connsiteY9" fmla="*/ 303232 h 1152900"/>
              <a:gd name="connsiteX10" fmla="*/ 82275 w 1418074"/>
              <a:gd name="connsiteY10" fmla="*/ 300647 h 1152900"/>
              <a:gd name="connsiteX11" fmla="*/ 82592 w 1418074"/>
              <a:gd name="connsiteY11" fmla="*/ 301977 h 1152900"/>
              <a:gd name="connsiteX12" fmla="*/ 81973 w 1418074"/>
              <a:gd name="connsiteY12" fmla="*/ 36462 h 1152900"/>
              <a:gd name="connsiteX13" fmla="*/ 82234 w 1418074"/>
              <a:gd name="connsiteY13" fmla="*/ 23446 h 1152900"/>
              <a:gd name="connsiteX14" fmla="*/ 41618 w 1418074"/>
              <a:gd name="connsiteY14" fmla="*/ 0 h 1152900"/>
              <a:gd name="connsiteX15" fmla="*/ 1828 w 1418074"/>
              <a:gd name="connsiteY15" fmla="*/ 18721 h 1152900"/>
              <a:gd name="connsiteX16" fmla="*/ 1195 w 1418074"/>
              <a:gd name="connsiteY16" fmla="*/ 24546 h 1152900"/>
              <a:gd name="connsiteX17" fmla="*/ 0 w 1418074"/>
              <a:gd name="connsiteY17" fmla="*/ 304008 h 1152900"/>
              <a:gd name="connsiteX18" fmla="*/ 24 w 1418074"/>
              <a:gd name="connsiteY18" fmla="*/ 304141 h 1152900"/>
              <a:gd name="connsiteX19" fmla="*/ 1027 w 1418074"/>
              <a:gd name="connsiteY19" fmla="*/ 315524 h 1152900"/>
              <a:gd name="connsiteX20" fmla="*/ 13495 w 1418074"/>
              <a:gd name="connsiteY20" fmla="*/ 356279 h 1152900"/>
              <a:gd name="connsiteX21" fmla="*/ 52026 w 1418074"/>
              <a:gd name="connsiteY21" fmla="*/ 394094 h 1152900"/>
              <a:gd name="connsiteX22" fmla="*/ 363152 w 1418074"/>
              <a:gd name="connsiteY22" fmla="*/ 572370 h 1152900"/>
              <a:gd name="connsiteX23" fmla="*/ 375264 w 1418074"/>
              <a:gd name="connsiteY23" fmla="*/ 578395 h 1152900"/>
              <a:gd name="connsiteX24" fmla="*/ 375325 w 1418074"/>
              <a:gd name="connsiteY24" fmla="*/ 578417 h 1152900"/>
              <a:gd name="connsiteX0" fmla="*/ 1365369 w 1418074"/>
              <a:gd name="connsiteY0" fmla="*/ 1150020 h 1152900"/>
              <a:gd name="connsiteX1" fmla="*/ 1410865 w 1418074"/>
              <a:gd name="connsiteY1" fmla="*/ 1129276 h 1152900"/>
              <a:gd name="connsiteX2" fmla="*/ 1406082 w 1418074"/>
              <a:gd name="connsiteY2" fmla="*/ 1079503 h 1152900"/>
              <a:gd name="connsiteX3" fmla="*/ 401462 w 1418074"/>
              <a:gd name="connsiteY3" fmla="*/ 499485 h 1152900"/>
              <a:gd name="connsiteX4" fmla="*/ 401311 w 1418074"/>
              <a:gd name="connsiteY4" fmla="*/ 498079 h 1152900"/>
              <a:gd name="connsiteX5" fmla="*/ 399775 w 1418074"/>
              <a:gd name="connsiteY5" fmla="*/ 498510 h 1152900"/>
              <a:gd name="connsiteX6" fmla="*/ 308386 w 1418074"/>
              <a:gd name="connsiteY6" fmla="*/ 445747 h 1152900"/>
              <a:gd name="connsiteX7" fmla="*/ 93816 w 1418074"/>
              <a:gd name="connsiteY7" fmla="*/ 323250 h 1152900"/>
              <a:gd name="connsiteX8" fmla="*/ 82259 w 1418074"/>
              <a:gd name="connsiteY8" fmla="*/ 303232 h 1152900"/>
              <a:gd name="connsiteX9" fmla="*/ 82275 w 1418074"/>
              <a:gd name="connsiteY9" fmla="*/ 300647 h 1152900"/>
              <a:gd name="connsiteX10" fmla="*/ 82592 w 1418074"/>
              <a:gd name="connsiteY10" fmla="*/ 301977 h 1152900"/>
              <a:gd name="connsiteX11" fmla="*/ 81973 w 1418074"/>
              <a:gd name="connsiteY11" fmla="*/ 36462 h 1152900"/>
              <a:gd name="connsiteX12" fmla="*/ 82234 w 1418074"/>
              <a:gd name="connsiteY12" fmla="*/ 23446 h 1152900"/>
              <a:gd name="connsiteX13" fmla="*/ 41618 w 1418074"/>
              <a:gd name="connsiteY13" fmla="*/ 0 h 1152900"/>
              <a:gd name="connsiteX14" fmla="*/ 1828 w 1418074"/>
              <a:gd name="connsiteY14" fmla="*/ 18721 h 1152900"/>
              <a:gd name="connsiteX15" fmla="*/ 1195 w 1418074"/>
              <a:gd name="connsiteY15" fmla="*/ 24546 h 1152900"/>
              <a:gd name="connsiteX16" fmla="*/ 0 w 1418074"/>
              <a:gd name="connsiteY16" fmla="*/ 304008 h 1152900"/>
              <a:gd name="connsiteX17" fmla="*/ 24 w 1418074"/>
              <a:gd name="connsiteY17" fmla="*/ 304141 h 1152900"/>
              <a:gd name="connsiteX18" fmla="*/ 1027 w 1418074"/>
              <a:gd name="connsiteY18" fmla="*/ 315524 h 1152900"/>
              <a:gd name="connsiteX19" fmla="*/ 13495 w 1418074"/>
              <a:gd name="connsiteY19" fmla="*/ 356279 h 1152900"/>
              <a:gd name="connsiteX20" fmla="*/ 52026 w 1418074"/>
              <a:gd name="connsiteY20" fmla="*/ 394094 h 1152900"/>
              <a:gd name="connsiteX21" fmla="*/ 363152 w 1418074"/>
              <a:gd name="connsiteY21" fmla="*/ 572370 h 1152900"/>
              <a:gd name="connsiteX22" fmla="*/ 375264 w 1418074"/>
              <a:gd name="connsiteY22" fmla="*/ 578395 h 1152900"/>
              <a:gd name="connsiteX23" fmla="*/ 375325 w 1418074"/>
              <a:gd name="connsiteY23" fmla="*/ 578417 h 1152900"/>
              <a:gd name="connsiteX24" fmla="*/ 1365369 w 1418074"/>
              <a:gd name="connsiteY24" fmla="*/ 1150020 h 1152900"/>
              <a:gd name="connsiteX0" fmla="*/ 1365369 w 1418074"/>
              <a:gd name="connsiteY0" fmla="*/ 1150020 h 1152900"/>
              <a:gd name="connsiteX1" fmla="*/ 1410865 w 1418074"/>
              <a:gd name="connsiteY1" fmla="*/ 1129276 h 1152900"/>
              <a:gd name="connsiteX2" fmla="*/ 1406082 w 1418074"/>
              <a:gd name="connsiteY2" fmla="*/ 1079503 h 1152900"/>
              <a:gd name="connsiteX3" fmla="*/ 401462 w 1418074"/>
              <a:gd name="connsiteY3" fmla="*/ 499485 h 1152900"/>
              <a:gd name="connsiteX4" fmla="*/ 401311 w 1418074"/>
              <a:gd name="connsiteY4" fmla="*/ 498079 h 1152900"/>
              <a:gd name="connsiteX5" fmla="*/ 399775 w 1418074"/>
              <a:gd name="connsiteY5" fmla="*/ 498510 h 1152900"/>
              <a:gd name="connsiteX6" fmla="*/ 93816 w 1418074"/>
              <a:gd name="connsiteY6" fmla="*/ 323250 h 1152900"/>
              <a:gd name="connsiteX7" fmla="*/ 82259 w 1418074"/>
              <a:gd name="connsiteY7" fmla="*/ 303232 h 1152900"/>
              <a:gd name="connsiteX8" fmla="*/ 82275 w 1418074"/>
              <a:gd name="connsiteY8" fmla="*/ 300647 h 1152900"/>
              <a:gd name="connsiteX9" fmla="*/ 82592 w 1418074"/>
              <a:gd name="connsiteY9" fmla="*/ 301977 h 1152900"/>
              <a:gd name="connsiteX10" fmla="*/ 81973 w 1418074"/>
              <a:gd name="connsiteY10" fmla="*/ 36462 h 1152900"/>
              <a:gd name="connsiteX11" fmla="*/ 82234 w 1418074"/>
              <a:gd name="connsiteY11" fmla="*/ 23446 h 1152900"/>
              <a:gd name="connsiteX12" fmla="*/ 41618 w 1418074"/>
              <a:gd name="connsiteY12" fmla="*/ 0 h 1152900"/>
              <a:gd name="connsiteX13" fmla="*/ 1828 w 1418074"/>
              <a:gd name="connsiteY13" fmla="*/ 18721 h 1152900"/>
              <a:gd name="connsiteX14" fmla="*/ 1195 w 1418074"/>
              <a:gd name="connsiteY14" fmla="*/ 24546 h 1152900"/>
              <a:gd name="connsiteX15" fmla="*/ 0 w 1418074"/>
              <a:gd name="connsiteY15" fmla="*/ 304008 h 1152900"/>
              <a:gd name="connsiteX16" fmla="*/ 24 w 1418074"/>
              <a:gd name="connsiteY16" fmla="*/ 304141 h 1152900"/>
              <a:gd name="connsiteX17" fmla="*/ 1027 w 1418074"/>
              <a:gd name="connsiteY17" fmla="*/ 315524 h 1152900"/>
              <a:gd name="connsiteX18" fmla="*/ 13495 w 1418074"/>
              <a:gd name="connsiteY18" fmla="*/ 356279 h 1152900"/>
              <a:gd name="connsiteX19" fmla="*/ 52026 w 1418074"/>
              <a:gd name="connsiteY19" fmla="*/ 394094 h 1152900"/>
              <a:gd name="connsiteX20" fmla="*/ 363152 w 1418074"/>
              <a:gd name="connsiteY20" fmla="*/ 572370 h 1152900"/>
              <a:gd name="connsiteX21" fmla="*/ 375264 w 1418074"/>
              <a:gd name="connsiteY21" fmla="*/ 578395 h 1152900"/>
              <a:gd name="connsiteX22" fmla="*/ 375325 w 1418074"/>
              <a:gd name="connsiteY22" fmla="*/ 578417 h 1152900"/>
              <a:gd name="connsiteX23" fmla="*/ 1365369 w 1418074"/>
              <a:gd name="connsiteY23" fmla="*/ 1150020 h 1152900"/>
              <a:gd name="connsiteX0" fmla="*/ 1365369 w 1418074"/>
              <a:gd name="connsiteY0" fmla="*/ 1150020 h 1152900"/>
              <a:gd name="connsiteX1" fmla="*/ 1410865 w 1418074"/>
              <a:gd name="connsiteY1" fmla="*/ 1129276 h 1152900"/>
              <a:gd name="connsiteX2" fmla="*/ 1406082 w 1418074"/>
              <a:gd name="connsiteY2" fmla="*/ 1079503 h 1152900"/>
              <a:gd name="connsiteX3" fmla="*/ 401462 w 1418074"/>
              <a:gd name="connsiteY3" fmla="*/ 499485 h 1152900"/>
              <a:gd name="connsiteX4" fmla="*/ 401311 w 1418074"/>
              <a:gd name="connsiteY4" fmla="*/ 498079 h 1152900"/>
              <a:gd name="connsiteX5" fmla="*/ 93816 w 1418074"/>
              <a:gd name="connsiteY5" fmla="*/ 323250 h 1152900"/>
              <a:gd name="connsiteX6" fmla="*/ 82259 w 1418074"/>
              <a:gd name="connsiteY6" fmla="*/ 303232 h 1152900"/>
              <a:gd name="connsiteX7" fmla="*/ 82275 w 1418074"/>
              <a:gd name="connsiteY7" fmla="*/ 300647 h 1152900"/>
              <a:gd name="connsiteX8" fmla="*/ 82592 w 1418074"/>
              <a:gd name="connsiteY8" fmla="*/ 301977 h 1152900"/>
              <a:gd name="connsiteX9" fmla="*/ 81973 w 1418074"/>
              <a:gd name="connsiteY9" fmla="*/ 36462 h 1152900"/>
              <a:gd name="connsiteX10" fmla="*/ 82234 w 1418074"/>
              <a:gd name="connsiteY10" fmla="*/ 23446 h 1152900"/>
              <a:gd name="connsiteX11" fmla="*/ 41618 w 1418074"/>
              <a:gd name="connsiteY11" fmla="*/ 0 h 1152900"/>
              <a:gd name="connsiteX12" fmla="*/ 1828 w 1418074"/>
              <a:gd name="connsiteY12" fmla="*/ 18721 h 1152900"/>
              <a:gd name="connsiteX13" fmla="*/ 1195 w 1418074"/>
              <a:gd name="connsiteY13" fmla="*/ 24546 h 1152900"/>
              <a:gd name="connsiteX14" fmla="*/ 0 w 1418074"/>
              <a:gd name="connsiteY14" fmla="*/ 304008 h 1152900"/>
              <a:gd name="connsiteX15" fmla="*/ 24 w 1418074"/>
              <a:gd name="connsiteY15" fmla="*/ 304141 h 1152900"/>
              <a:gd name="connsiteX16" fmla="*/ 1027 w 1418074"/>
              <a:gd name="connsiteY16" fmla="*/ 315524 h 1152900"/>
              <a:gd name="connsiteX17" fmla="*/ 13495 w 1418074"/>
              <a:gd name="connsiteY17" fmla="*/ 356279 h 1152900"/>
              <a:gd name="connsiteX18" fmla="*/ 52026 w 1418074"/>
              <a:gd name="connsiteY18" fmla="*/ 394094 h 1152900"/>
              <a:gd name="connsiteX19" fmla="*/ 363152 w 1418074"/>
              <a:gd name="connsiteY19" fmla="*/ 572370 h 1152900"/>
              <a:gd name="connsiteX20" fmla="*/ 375264 w 1418074"/>
              <a:gd name="connsiteY20" fmla="*/ 578395 h 1152900"/>
              <a:gd name="connsiteX21" fmla="*/ 375325 w 1418074"/>
              <a:gd name="connsiteY21" fmla="*/ 578417 h 1152900"/>
              <a:gd name="connsiteX22" fmla="*/ 1365369 w 1418074"/>
              <a:gd name="connsiteY22" fmla="*/ 1150020 h 1152900"/>
              <a:gd name="connsiteX0" fmla="*/ 1365369 w 1418074"/>
              <a:gd name="connsiteY0" fmla="*/ 1150020 h 1152900"/>
              <a:gd name="connsiteX1" fmla="*/ 1410865 w 1418074"/>
              <a:gd name="connsiteY1" fmla="*/ 1129276 h 1152900"/>
              <a:gd name="connsiteX2" fmla="*/ 1406082 w 1418074"/>
              <a:gd name="connsiteY2" fmla="*/ 1079503 h 1152900"/>
              <a:gd name="connsiteX3" fmla="*/ 401462 w 1418074"/>
              <a:gd name="connsiteY3" fmla="*/ 499485 h 1152900"/>
              <a:gd name="connsiteX4" fmla="*/ 93816 w 1418074"/>
              <a:gd name="connsiteY4" fmla="*/ 323250 h 1152900"/>
              <a:gd name="connsiteX5" fmla="*/ 82259 w 1418074"/>
              <a:gd name="connsiteY5" fmla="*/ 303232 h 1152900"/>
              <a:gd name="connsiteX6" fmla="*/ 82275 w 1418074"/>
              <a:gd name="connsiteY6" fmla="*/ 300647 h 1152900"/>
              <a:gd name="connsiteX7" fmla="*/ 82592 w 1418074"/>
              <a:gd name="connsiteY7" fmla="*/ 301977 h 1152900"/>
              <a:gd name="connsiteX8" fmla="*/ 81973 w 1418074"/>
              <a:gd name="connsiteY8" fmla="*/ 36462 h 1152900"/>
              <a:gd name="connsiteX9" fmla="*/ 82234 w 1418074"/>
              <a:gd name="connsiteY9" fmla="*/ 23446 h 1152900"/>
              <a:gd name="connsiteX10" fmla="*/ 41618 w 1418074"/>
              <a:gd name="connsiteY10" fmla="*/ 0 h 1152900"/>
              <a:gd name="connsiteX11" fmla="*/ 1828 w 1418074"/>
              <a:gd name="connsiteY11" fmla="*/ 18721 h 1152900"/>
              <a:gd name="connsiteX12" fmla="*/ 1195 w 1418074"/>
              <a:gd name="connsiteY12" fmla="*/ 24546 h 1152900"/>
              <a:gd name="connsiteX13" fmla="*/ 0 w 1418074"/>
              <a:gd name="connsiteY13" fmla="*/ 304008 h 1152900"/>
              <a:gd name="connsiteX14" fmla="*/ 24 w 1418074"/>
              <a:gd name="connsiteY14" fmla="*/ 304141 h 1152900"/>
              <a:gd name="connsiteX15" fmla="*/ 1027 w 1418074"/>
              <a:gd name="connsiteY15" fmla="*/ 315524 h 1152900"/>
              <a:gd name="connsiteX16" fmla="*/ 13495 w 1418074"/>
              <a:gd name="connsiteY16" fmla="*/ 356279 h 1152900"/>
              <a:gd name="connsiteX17" fmla="*/ 52026 w 1418074"/>
              <a:gd name="connsiteY17" fmla="*/ 394094 h 1152900"/>
              <a:gd name="connsiteX18" fmla="*/ 363152 w 1418074"/>
              <a:gd name="connsiteY18" fmla="*/ 572370 h 1152900"/>
              <a:gd name="connsiteX19" fmla="*/ 375264 w 1418074"/>
              <a:gd name="connsiteY19" fmla="*/ 578395 h 1152900"/>
              <a:gd name="connsiteX20" fmla="*/ 375325 w 1418074"/>
              <a:gd name="connsiteY20" fmla="*/ 578417 h 1152900"/>
              <a:gd name="connsiteX21" fmla="*/ 1365369 w 1418074"/>
              <a:gd name="connsiteY21" fmla="*/ 1150020 h 1152900"/>
              <a:gd name="connsiteX0" fmla="*/ 1365369 w 1418074"/>
              <a:gd name="connsiteY0" fmla="*/ 1150020 h 1152900"/>
              <a:gd name="connsiteX1" fmla="*/ 1410865 w 1418074"/>
              <a:gd name="connsiteY1" fmla="*/ 1129276 h 1152900"/>
              <a:gd name="connsiteX2" fmla="*/ 1406082 w 1418074"/>
              <a:gd name="connsiteY2" fmla="*/ 1079503 h 1152900"/>
              <a:gd name="connsiteX3" fmla="*/ 93816 w 1418074"/>
              <a:gd name="connsiteY3" fmla="*/ 323250 h 1152900"/>
              <a:gd name="connsiteX4" fmla="*/ 82259 w 1418074"/>
              <a:gd name="connsiteY4" fmla="*/ 303232 h 1152900"/>
              <a:gd name="connsiteX5" fmla="*/ 82275 w 1418074"/>
              <a:gd name="connsiteY5" fmla="*/ 300647 h 1152900"/>
              <a:gd name="connsiteX6" fmla="*/ 82592 w 1418074"/>
              <a:gd name="connsiteY6" fmla="*/ 301977 h 1152900"/>
              <a:gd name="connsiteX7" fmla="*/ 81973 w 1418074"/>
              <a:gd name="connsiteY7" fmla="*/ 36462 h 1152900"/>
              <a:gd name="connsiteX8" fmla="*/ 82234 w 1418074"/>
              <a:gd name="connsiteY8" fmla="*/ 23446 h 1152900"/>
              <a:gd name="connsiteX9" fmla="*/ 41618 w 1418074"/>
              <a:gd name="connsiteY9" fmla="*/ 0 h 1152900"/>
              <a:gd name="connsiteX10" fmla="*/ 1828 w 1418074"/>
              <a:gd name="connsiteY10" fmla="*/ 18721 h 1152900"/>
              <a:gd name="connsiteX11" fmla="*/ 1195 w 1418074"/>
              <a:gd name="connsiteY11" fmla="*/ 24546 h 1152900"/>
              <a:gd name="connsiteX12" fmla="*/ 0 w 1418074"/>
              <a:gd name="connsiteY12" fmla="*/ 304008 h 1152900"/>
              <a:gd name="connsiteX13" fmla="*/ 24 w 1418074"/>
              <a:gd name="connsiteY13" fmla="*/ 304141 h 1152900"/>
              <a:gd name="connsiteX14" fmla="*/ 1027 w 1418074"/>
              <a:gd name="connsiteY14" fmla="*/ 315524 h 1152900"/>
              <a:gd name="connsiteX15" fmla="*/ 13495 w 1418074"/>
              <a:gd name="connsiteY15" fmla="*/ 356279 h 1152900"/>
              <a:gd name="connsiteX16" fmla="*/ 52026 w 1418074"/>
              <a:gd name="connsiteY16" fmla="*/ 394094 h 1152900"/>
              <a:gd name="connsiteX17" fmla="*/ 363152 w 1418074"/>
              <a:gd name="connsiteY17" fmla="*/ 572370 h 1152900"/>
              <a:gd name="connsiteX18" fmla="*/ 375264 w 1418074"/>
              <a:gd name="connsiteY18" fmla="*/ 578395 h 1152900"/>
              <a:gd name="connsiteX19" fmla="*/ 375325 w 1418074"/>
              <a:gd name="connsiteY19" fmla="*/ 578417 h 1152900"/>
              <a:gd name="connsiteX20" fmla="*/ 1365369 w 1418074"/>
              <a:gd name="connsiteY20" fmla="*/ 1150020 h 1152900"/>
              <a:gd name="connsiteX0" fmla="*/ 1365369 w 1452744"/>
              <a:gd name="connsiteY0" fmla="*/ 1150020 h 1189830"/>
              <a:gd name="connsiteX1" fmla="*/ 1410865 w 1452744"/>
              <a:gd name="connsiteY1" fmla="*/ 1129276 h 1189830"/>
              <a:gd name="connsiteX2" fmla="*/ 1406082 w 1452744"/>
              <a:gd name="connsiteY2" fmla="*/ 1079503 h 1189830"/>
              <a:gd name="connsiteX3" fmla="*/ 93816 w 1452744"/>
              <a:gd name="connsiteY3" fmla="*/ 323250 h 1189830"/>
              <a:gd name="connsiteX4" fmla="*/ 82259 w 1452744"/>
              <a:gd name="connsiteY4" fmla="*/ 303232 h 1189830"/>
              <a:gd name="connsiteX5" fmla="*/ 82275 w 1452744"/>
              <a:gd name="connsiteY5" fmla="*/ 300647 h 1189830"/>
              <a:gd name="connsiteX6" fmla="*/ 82592 w 1452744"/>
              <a:gd name="connsiteY6" fmla="*/ 301977 h 1189830"/>
              <a:gd name="connsiteX7" fmla="*/ 81973 w 1452744"/>
              <a:gd name="connsiteY7" fmla="*/ 36462 h 1189830"/>
              <a:gd name="connsiteX8" fmla="*/ 82234 w 1452744"/>
              <a:gd name="connsiteY8" fmla="*/ 23446 h 1189830"/>
              <a:gd name="connsiteX9" fmla="*/ 41618 w 1452744"/>
              <a:gd name="connsiteY9" fmla="*/ 0 h 1189830"/>
              <a:gd name="connsiteX10" fmla="*/ 1828 w 1452744"/>
              <a:gd name="connsiteY10" fmla="*/ 18721 h 1189830"/>
              <a:gd name="connsiteX11" fmla="*/ 1195 w 1452744"/>
              <a:gd name="connsiteY11" fmla="*/ 24546 h 1189830"/>
              <a:gd name="connsiteX12" fmla="*/ 0 w 1452744"/>
              <a:gd name="connsiteY12" fmla="*/ 304008 h 1189830"/>
              <a:gd name="connsiteX13" fmla="*/ 24 w 1452744"/>
              <a:gd name="connsiteY13" fmla="*/ 304141 h 1189830"/>
              <a:gd name="connsiteX14" fmla="*/ 1027 w 1452744"/>
              <a:gd name="connsiteY14" fmla="*/ 315524 h 1189830"/>
              <a:gd name="connsiteX15" fmla="*/ 13495 w 1452744"/>
              <a:gd name="connsiteY15" fmla="*/ 356279 h 1189830"/>
              <a:gd name="connsiteX16" fmla="*/ 52026 w 1452744"/>
              <a:gd name="connsiteY16" fmla="*/ 394094 h 1189830"/>
              <a:gd name="connsiteX17" fmla="*/ 363152 w 1452744"/>
              <a:gd name="connsiteY17" fmla="*/ 572370 h 1189830"/>
              <a:gd name="connsiteX18" fmla="*/ 375264 w 1452744"/>
              <a:gd name="connsiteY18" fmla="*/ 578395 h 1189830"/>
              <a:gd name="connsiteX19" fmla="*/ 1365369 w 1452744"/>
              <a:gd name="connsiteY19" fmla="*/ 1150020 h 1189830"/>
              <a:gd name="connsiteX0" fmla="*/ 1365369 w 1452744"/>
              <a:gd name="connsiteY0" fmla="*/ 1150020 h 1189830"/>
              <a:gd name="connsiteX1" fmla="*/ 1410865 w 1452744"/>
              <a:gd name="connsiteY1" fmla="*/ 1129276 h 1189830"/>
              <a:gd name="connsiteX2" fmla="*/ 1406082 w 1452744"/>
              <a:gd name="connsiteY2" fmla="*/ 1079503 h 1189830"/>
              <a:gd name="connsiteX3" fmla="*/ 93816 w 1452744"/>
              <a:gd name="connsiteY3" fmla="*/ 323250 h 1189830"/>
              <a:gd name="connsiteX4" fmla="*/ 82259 w 1452744"/>
              <a:gd name="connsiteY4" fmla="*/ 303232 h 1189830"/>
              <a:gd name="connsiteX5" fmla="*/ 82275 w 1452744"/>
              <a:gd name="connsiteY5" fmla="*/ 300647 h 1189830"/>
              <a:gd name="connsiteX6" fmla="*/ 82592 w 1452744"/>
              <a:gd name="connsiteY6" fmla="*/ 301977 h 1189830"/>
              <a:gd name="connsiteX7" fmla="*/ 81973 w 1452744"/>
              <a:gd name="connsiteY7" fmla="*/ 36462 h 1189830"/>
              <a:gd name="connsiteX8" fmla="*/ 82234 w 1452744"/>
              <a:gd name="connsiteY8" fmla="*/ 23446 h 1189830"/>
              <a:gd name="connsiteX9" fmla="*/ 41618 w 1452744"/>
              <a:gd name="connsiteY9" fmla="*/ 0 h 1189830"/>
              <a:gd name="connsiteX10" fmla="*/ 1828 w 1452744"/>
              <a:gd name="connsiteY10" fmla="*/ 18721 h 1189830"/>
              <a:gd name="connsiteX11" fmla="*/ 1195 w 1452744"/>
              <a:gd name="connsiteY11" fmla="*/ 24546 h 1189830"/>
              <a:gd name="connsiteX12" fmla="*/ 0 w 1452744"/>
              <a:gd name="connsiteY12" fmla="*/ 304008 h 1189830"/>
              <a:gd name="connsiteX13" fmla="*/ 24 w 1452744"/>
              <a:gd name="connsiteY13" fmla="*/ 304141 h 1189830"/>
              <a:gd name="connsiteX14" fmla="*/ 1027 w 1452744"/>
              <a:gd name="connsiteY14" fmla="*/ 315524 h 1189830"/>
              <a:gd name="connsiteX15" fmla="*/ 13495 w 1452744"/>
              <a:gd name="connsiteY15" fmla="*/ 356279 h 1189830"/>
              <a:gd name="connsiteX16" fmla="*/ 52026 w 1452744"/>
              <a:gd name="connsiteY16" fmla="*/ 394094 h 1189830"/>
              <a:gd name="connsiteX17" fmla="*/ 363152 w 1452744"/>
              <a:gd name="connsiteY17" fmla="*/ 572370 h 1189830"/>
              <a:gd name="connsiteX18" fmla="*/ 1365369 w 1452744"/>
              <a:gd name="connsiteY18" fmla="*/ 1150020 h 1189830"/>
              <a:gd name="connsiteX0" fmla="*/ 1365369 w 1452744"/>
              <a:gd name="connsiteY0" fmla="*/ 1150020 h 1189830"/>
              <a:gd name="connsiteX1" fmla="*/ 1410865 w 1452744"/>
              <a:gd name="connsiteY1" fmla="*/ 1129276 h 1189830"/>
              <a:gd name="connsiteX2" fmla="*/ 1406082 w 1452744"/>
              <a:gd name="connsiteY2" fmla="*/ 1079503 h 1189830"/>
              <a:gd name="connsiteX3" fmla="*/ 93816 w 1452744"/>
              <a:gd name="connsiteY3" fmla="*/ 323250 h 1189830"/>
              <a:gd name="connsiteX4" fmla="*/ 82259 w 1452744"/>
              <a:gd name="connsiteY4" fmla="*/ 303232 h 1189830"/>
              <a:gd name="connsiteX5" fmla="*/ 82275 w 1452744"/>
              <a:gd name="connsiteY5" fmla="*/ 300647 h 1189830"/>
              <a:gd name="connsiteX6" fmla="*/ 82592 w 1452744"/>
              <a:gd name="connsiteY6" fmla="*/ 301977 h 1189830"/>
              <a:gd name="connsiteX7" fmla="*/ 81973 w 1452744"/>
              <a:gd name="connsiteY7" fmla="*/ 36462 h 1189830"/>
              <a:gd name="connsiteX8" fmla="*/ 82234 w 1452744"/>
              <a:gd name="connsiteY8" fmla="*/ 23446 h 1189830"/>
              <a:gd name="connsiteX9" fmla="*/ 41618 w 1452744"/>
              <a:gd name="connsiteY9" fmla="*/ 0 h 1189830"/>
              <a:gd name="connsiteX10" fmla="*/ 1828 w 1452744"/>
              <a:gd name="connsiteY10" fmla="*/ 18721 h 1189830"/>
              <a:gd name="connsiteX11" fmla="*/ 1195 w 1452744"/>
              <a:gd name="connsiteY11" fmla="*/ 24546 h 1189830"/>
              <a:gd name="connsiteX12" fmla="*/ 0 w 1452744"/>
              <a:gd name="connsiteY12" fmla="*/ 304008 h 1189830"/>
              <a:gd name="connsiteX13" fmla="*/ 24 w 1452744"/>
              <a:gd name="connsiteY13" fmla="*/ 304141 h 1189830"/>
              <a:gd name="connsiteX14" fmla="*/ 1027 w 1452744"/>
              <a:gd name="connsiteY14" fmla="*/ 315524 h 1189830"/>
              <a:gd name="connsiteX15" fmla="*/ 13495 w 1452744"/>
              <a:gd name="connsiteY15" fmla="*/ 356279 h 1189830"/>
              <a:gd name="connsiteX16" fmla="*/ 52026 w 1452744"/>
              <a:gd name="connsiteY16" fmla="*/ 394094 h 1189830"/>
              <a:gd name="connsiteX17" fmla="*/ 1365369 w 1452744"/>
              <a:gd name="connsiteY17" fmla="*/ 1150020 h 1189830"/>
              <a:gd name="connsiteX0" fmla="*/ 1365369 w 1418074"/>
              <a:gd name="connsiteY0" fmla="*/ 1150020 h 1151155"/>
              <a:gd name="connsiteX1" fmla="*/ 1410865 w 1418074"/>
              <a:gd name="connsiteY1" fmla="*/ 1129276 h 1151155"/>
              <a:gd name="connsiteX2" fmla="*/ 1406082 w 1418074"/>
              <a:gd name="connsiteY2" fmla="*/ 1079503 h 1151155"/>
              <a:gd name="connsiteX3" fmla="*/ 93816 w 1418074"/>
              <a:gd name="connsiteY3" fmla="*/ 323250 h 1151155"/>
              <a:gd name="connsiteX4" fmla="*/ 82259 w 1418074"/>
              <a:gd name="connsiteY4" fmla="*/ 303232 h 1151155"/>
              <a:gd name="connsiteX5" fmla="*/ 82275 w 1418074"/>
              <a:gd name="connsiteY5" fmla="*/ 300647 h 1151155"/>
              <a:gd name="connsiteX6" fmla="*/ 82592 w 1418074"/>
              <a:gd name="connsiteY6" fmla="*/ 301977 h 1151155"/>
              <a:gd name="connsiteX7" fmla="*/ 81973 w 1418074"/>
              <a:gd name="connsiteY7" fmla="*/ 36462 h 1151155"/>
              <a:gd name="connsiteX8" fmla="*/ 82234 w 1418074"/>
              <a:gd name="connsiteY8" fmla="*/ 23446 h 1151155"/>
              <a:gd name="connsiteX9" fmla="*/ 41618 w 1418074"/>
              <a:gd name="connsiteY9" fmla="*/ 0 h 1151155"/>
              <a:gd name="connsiteX10" fmla="*/ 1828 w 1418074"/>
              <a:gd name="connsiteY10" fmla="*/ 18721 h 1151155"/>
              <a:gd name="connsiteX11" fmla="*/ 1195 w 1418074"/>
              <a:gd name="connsiteY11" fmla="*/ 24546 h 1151155"/>
              <a:gd name="connsiteX12" fmla="*/ 0 w 1418074"/>
              <a:gd name="connsiteY12" fmla="*/ 304008 h 1151155"/>
              <a:gd name="connsiteX13" fmla="*/ 24 w 1418074"/>
              <a:gd name="connsiteY13" fmla="*/ 304141 h 1151155"/>
              <a:gd name="connsiteX14" fmla="*/ 1027 w 1418074"/>
              <a:gd name="connsiteY14" fmla="*/ 315524 h 1151155"/>
              <a:gd name="connsiteX15" fmla="*/ 13495 w 1418074"/>
              <a:gd name="connsiteY15" fmla="*/ 356279 h 1151155"/>
              <a:gd name="connsiteX16" fmla="*/ 52026 w 1418074"/>
              <a:gd name="connsiteY16" fmla="*/ 394094 h 1151155"/>
              <a:gd name="connsiteX17" fmla="*/ 1365369 w 1418074"/>
              <a:gd name="connsiteY17" fmla="*/ 1150020 h 115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18074" h="1151155">
                <a:moveTo>
                  <a:pt x="1365369" y="1150020"/>
                </a:moveTo>
                <a:cubicBezTo>
                  <a:pt x="1371282" y="1153727"/>
                  <a:pt x="1399622" y="1148748"/>
                  <a:pt x="1410865" y="1129276"/>
                </a:cubicBezTo>
                <a:cubicBezTo>
                  <a:pt x="1422107" y="1109803"/>
                  <a:pt x="1419966" y="1087519"/>
                  <a:pt x="1406082" y="1079503"/>
                </a:cubicBezTo>
                <a:lnTo>
                  <a:pt x="93816" y="323250"/>
                </a:lnTo>
                <a:cubicBezTo>
                  <a:pt x="84501" y="315714"/>
                  <a:pt x="84128" y="315067"/>
                  <a:pt x="82259" y="303232"/>
                </a:cubicBezTo>
                <a:cubicBezTo>
                  <a:pt x="82265" y="302370"/>
                  <a:pt x="82270" y="301509"/>
                  <a:pt x="82275" y="300647"/>
                </a:cubicBezTo>
                <a:cubicBezTo>
                  <a:pt x="82381" y="301090"/>
                  <a:pt x="82486" y="301534"/>
                  <a:pt x="82592" y="301977"/>
                </a:cubicBezTo>
                <a:cubicBezTo>
                  <a:pt x="82550" y="258826"/>
                  <a:pt x="81858" y="102691"/>
                  <a:pt x="81973" y="36462"/>
                </a:cubicBezTo>
                <a:lnTo>
                  <a:pt x="82234" y="23446"/>
                </a:lnTo>
                <a:cubicBezTo>
                  <a:pt x="82234" y="10497"/>
                  <a:pt x="64050" y="0"/>
                  <a:pt x="41618" y="0"/>
                </a:cubicBezTo>
                <a:cubicBezTo>
                  <a:pt x="21991" y="0"/>
                  <a:pt x="5615" y="8037"/>
                  <a:pt x="1828" y="18721"/>
                </a:cubicBezTo>
                <a:lnTo>
                  <a:pt x="1195" y="24546"/>
                </a:lnTo>
                <a:cubicBezTo>
                  <a:pt x="797" y="117700"/>
                  <a:pt x="399" y="210854"/>
                  <a:pt x="0" y="304008"/>
                </a:cubicBezTo>
                <a:cubicBezTo>
                  <a:pt x="8" y="304052"/>
                  <a:pt x="16" y="304097"/>
                  <a:pt x="24" y="304141"/>
                </a:cubicBezTo>
                <a:cubicBezTo>
                  <a:pt x="358" y="307935"/>
                  <a:pt x="693" y="311730"/>
                  <a:pt x="1027" y="315524"/>
                </a:cubicBezTo>
                <a:cubicBezTo>
                  <a:pt x="1550" y="326172"/>
                  <a:pt x="1870" y="335589"/>
                  <a:pt x="13495" y="356279"/>
                </a:cubicBezTo>
                <a:cubicBezTo>
                  <a:pt x="28995" y="383864"/>
                  <a:pt x="38468" y="383284"/>
                  <a:pt x="52026" y="394094"/>
                </a:cubicBezTo>
                <a:lnTo>
                  <a:pt x="1365369" y="1150020"/>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1095" name="Freeform: Shape 1094">
            <a:extLst>
              <a:ext uri="{FF2B5EF4-FFF2-40B4-BE49-F238E27FC236}">
                <a16:creationId xmlns:a16="http://schemas.microsoft.com/office/drawing/2014/main" id="{2DB1AF73-6FB6-41C3-9EB6-F2A526AC0892}"/>
              </a:ext>
            </a:extLst>
          </p:cNvPr>
          <p:cNvSpPr/>
          <p:nvPr/>
        </p:nvSpPr>
        <p:spPr bwMode="gray">
          <a:xfrm flipV="1">
            <a:off x="7813462" y="4975766"/>
            <a:ext cx="87636" cy="376774"/>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172662"/>
              <a:gd name="connsiteY0" fmla="*/ 5285252 h 5285288"/>
              <a:gd name="connsiteX1" fmla="*/ 1859089 w 4172662"/>
              <a:gd name="connsiteY1" fmla="*/ 5257452 h 5285288"/>
              <a:gd name="connsiteX2" fmla="*/ 1799088 w 4172662"/>
              <a:gd name="connsiteY2" fmla="*/ 5227600 h 5285288"/>
              <a:gd name="connsiteX3" fmla="*/ 257741 w 4172662"/>
              <a:gd name="connsiteY3" fmla="*/ 4344402 h 5285288"/>
              <a:gd name="connsiteX4" fmla="*/ 66855 w 4172662"/>
              <a:gd name="connsiteY4" fmla="*/ 4157062 h 5285288"/>
              <a:gd name="connsiteX5" fmla="*/ 5085 w 4172662"/>
              <a:gd name="connsiteY5" fmla="*/ 3955159 h 5285288"/>
              <a:gd name="connsiteX6" fmla="*/ 117 w 4172662"/>
              <a:gd name="connsiteY6" fmla="*/ 3898769 h 5285288"/>
              <a:gd name="connsiteX7" fmla="*/ 0 w 4172662"/>
              <a:gd name="connsiteY7" fmla="*/ 3898107 h 5285288"/>
              <a:gd name="connsiteX8" fmla="*/ 5920 w 4172662"/>
              <a:gd name="connsiteY8" fmla="*/ 2513626 h 5285288"/>
              <a:gd name="connsiteX9" fmla="*/ 9056 w 4172662"/>
              <a:gd name="connsiteY9" fmla="*/ 2484766 h 5285288"/>
              <a:gd name="connsiteX10" fmla="*/ 206180 w 4172662"/>
              <a:gd name="connsiteY10" fmla="*/ 2392022 h 5285288"/>
              <a:gd name="connsiteX11" fmla="*/ 407391 w 4172662"/>
              <a:gd name="connsiteY11" fmla="*/ 2508175 h 5285288"/>
              <a:gd name="connsiteX12" fmla="*/ 406100 w 4172662"/>
              <a:gd name="connsiteY12" fmla="*/ 2572658 h 5285288"/>
              <a:gd name="connsiteX13" fmla="*/ 409165 w 4172662"/>
              <a:gd name="connsiteY13" fmla="*/ 3888049 h 5285288"/>
              <a:gd name="connsiteX14" fmla="*/ 407598 w 4172662"/>
              <a:gd name="connsiteY14" fmla="*/ 3881457 h 5285288"/>
              <a:gd name="connsiteX15" fmla="*/ 407517 w 4172662"/>
              <a:gd name="connsiteY15" fmla="*/ 3894265 h 5285288"/>
              <a:gd name="connsiteX16" fmla="*/ 464772 w 4172662"/>
              <a:gd name="connsiteY16" fmla="*/ 3993435 h 5285288"/>
              <a:gd name="connsiteX17" fmla="*/ 1965744 w 4172662"/>
              <a:gd name="connsiteY17" fmla="*/ 4865353 h 5285288"/>
              <a:gd name="connsiteX18" fmla="*/ 1966088 w 4172662"/>
              <a:gd name="connsiteY18" fmla="*/ 4865745 h 5285288"/>
              <a:gd name="connsiteX19" fmla="*/ 1988129 w 4172662"/>
              <a:gd name="connsiteY19" fmla="*/ 4859558 h 5285288"/>
              <a:gd name="connsiteX20" fmla="*/ 2034209 w 4172662"/>
              <a:gd name="connsiteY20" fmla="*/ 4799004 h 5285288"/>
              <a:gd name="connsiteX21" fmla="*/ 2036053 w 4172662"/>
              <a:gd name="connsiteY21" fmla="*/ 4105978 h 5285288"/>
              <a:gd name="connsiteX22" fmla="*/ 2038324 w 4172662"/>
              <a:gd name="connsiteY22" fmla="*/ 1054770 h 5285288"/>
              <a:gd name="connsiteX23" fmla="*/ 2037139 w 4172662"/>
              <a:gd name="connsiteY23" fmla="*/ 1017192 h 5285288"/>
              <a:gd name="connsiteX24" fmla="*/ 2035104 w 4172662"/>
              <a:gd name="connsiteY24" fmla="*/ 494424 h 5285288"/>
              <a:gd name="connsiteX25" fmla="*/ 2080595 w 4172662"/>
              <a:gd name="connsiteY25" fmla="*/ 171698 h 5285288"/>
              <a:gd name="connsiteX26" fmla="*/ 2245202 w 4172662"/>
              <a:gd name="connsiteY26" fmla="*/ 25112 h 5285288"/>
              <a:gd name="connsiteX27" fmla="*/ 2444848 w 4172662"/>
              <a:gd name="connsiteY27" fmla="*/ 3326 h 5285288"/>
              <a:gd name="connsiteX28" fmla="*/ 2620552 w 4172662"/>
              <a:gd name="connsiteY28" fmla="*/ 37548 h 5285288"/>
              <a:gd name="connsiteX29" fmla="*/ 4172662 w 4172662"/>
              <a:gd name="connsiteY29" fmla="*/ 1149844 h 5285288"/>
              <a:gd name="connsiteX30" fmla="*/ 3998697 w 4172662"/>
              <a:gd name="connsiteY30" fmla="*/ 1269783 h 5285288"/>
              <a:gd name="connsiteX31" fmla="*/ 3978850 w 4172662"/>
              <a:gd name="connsiteY31" fmla="*/ 1262485 h 5285288"/>
              <a:gd name="connsiteX32" fmla="*/ 2513375 w 4172662"/>
              <a:gd name="connsiteY32" fmla="*/ 431577 h 5285288"/>
              <a:gd name="connsiteX33" fmla="*/ 2513032 w 4172662"/>
              <a:gd name="connsiteY33" fmla="*/ 431184 h 5285288"/>
              <a:gd name="connsiteX34" fmla="*/ 2490877 w 4172662"/>
              <a:gd name="connsiteY34" fmla="*/ 437405 h 5285288"/>
              <a:gd name="connsiteX35" fmla="*/ 2448227 w 4172662"/>
              <a:gd name="connsiteY35" fmla="*/ 539231 h 5285288"/>
              <a:gd name="connsiteX36" fmla="*/ 2448222 w 4172662"/>
              <a:gd name="connsiteY36" fmla="*/ 1065628 h 5285288"/>
              <a:gd name="connsiteX37" fmla="*/ 2445445 w 4172662"/>
              <a:gd name="connsiteY37" fmla="*/ 1081825 h 5285288"/>
              <a:gd name="connsiteX38" fmla="*/ 2442619 w 4172662"/>
              <a:gd name="connsiteY38" fmla="*/ 1858316 h 5285288"/>
              <a:gd name="connsiteX39" fmla="*/ 2444476 w 4172662"/>
              <a:gd name="connsiteY39" fmla="*/ 1861834 h 5285288"/>
              <a:gd name="connsiteX40" fmla="*/ 2443809 w 4172662"/>
              <a:gd name="connsiteY40" fmla="*/ 3038034 h 5285288"/>
              <a:gd name="connsiteX41" fmla="*/ 2441669 w 4172662"/>
              <a:gd name="connsiteY41" fmla="*/ 4802821 h 5285288"/>
              <a:gd name="connsiteX42" fmla="*/ 2374871 w 4172662"/>
              <a:gd name="connsiteY42" fmla="*/ 5061801 h 5285288"/>
              <a:gd name="connsiteX43" fmla="*/ 2230903 w 4172662"/>
              <a:gd name="connsiteY43" fmla="*/ 5216241 h 5285288"/>
              <a:gd name="connsiteX44" fmla="*/ 2020267 w 4172662"/>
              <a:gd name="connsiteY44" fmla="*/ 5284752 h 5285288"/>
              <a:gd name="connsiteX45" fmla="*/ 1970713 w 4172662"/>
              <a:gd name="connsiteY45"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3978850 w 3998697"/>
              <a:gd name="connsiteY30" fmla="*/ 1262485 h 5285288"/>
              <a:gd name="connsiteX31" fmla="*/ 2513375 w 3998697"/>
              <a:gd name="connsiteY31" fmla="*/ 431577 h 5285288"/>
              <a:gd name="connsiteX32" fmla="*/ 2513032 w 3998697"/>
              <a:gd name="connsiteY32" fmla="*/ 431184 h 5285288"/>
              <a:gd name="connsiteX33" fmla="*/ 2490877 w 3998697"/>
              <a:gd name="connsiteY33" fmla="*/ 437405 h 5285288"/>
              <a:gd name="connsiteX34" fmla="*/ 2448227 w 3998697"/>
              <a:gd name="connsiteY34" fmla="*/ 539231 h 5285288"/>
              <a:gd name="connsiteX35" fmla="*/ 2448222 w 3998697"/>
              <a:gd name="connsiteY35" fmla="*/ 1065628 h 5285288"/>
              <a:gd name="connsiteX36" fmla="*/ 2445445 w 3998697"/>
              <a:gd name="connsiteY36" fmla="*/ 1081825 h 5285288"/>
              <a:gd name="connsiteX37" fmla="*/ 2442619 w 3998697"/>
              <a:gd name="connsiteY37" fmla="*/ 1858316 h 5285288"/>
              <a:gd name="connsiteX38" fmla="*/ 2444476 w 3998697"/>
              <a:gd name="connsiteY38" fmla="*/ 1861834 h 5285288"/>
              <a:gd name="connsiteX39" fmla="*/ 2443809 w 3998697"/>
              <a:gd name="connsiteY39" fmla="*/ 3038034 h 5285288"/>
              <a:gd name="connsiteX40" fmla="*/ 2441669 w 3998697"/>
              <a:gd name="connsiteY40" fmla="*/ 4802821 h 5285288"/>
              <a:gd name="connsiteX41" fmla="*/ 2374871 w 3998697"/>
              <a:gd name="connsiteY41" fmla="*/ 5061801 h 5285288"/>
              <a:gd name="connsiteX42" fmla="*/ 2230903 w 3998697"/>
              <a:gd name="connsiteY42" fmla="*/ 5216241 h 5285288"/>
              <a:gd name="connsiteX43" fmla="*/ 2020267 w 3998697"/>
              <a:gd name="connsiteY43" fmla="*/ 5284752 h 5285288"/>
              <a:gd name="connsiteX44" fmla="*/ 1970713 w 3998697"/>
              <a:gd name="connsiteY44"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2513375 w 3998697"/>
              <a:gd name="connsiteY30" fmla="*/ 431577 h 5285288"/>
              <a:gd name="connsiteX31" fmla="*/ 2513032 w 3998697"/>
              <a:gd name="connsiteY31" fmla="*/ 431184 h 5285288"/>
              <a:gd name="connsiteX32" fmla="*/ 2490877 w 3998697"/>
              <a:gd name="connsiteY32" fmla="*/ 437405 h 5285288"/>
              <a:gd name="connsiteX33" fmla="*/ 2448227 w 3998697"/>
              <a:gd name="connsiteY33" fmla="*/ 539231 h 5285288"/>
              <a:gd name="connsiteX34" fmla="*/ 2448222 w 3998697"/>
              <a:gd name="connsiteY34" fmla="*/ 1065628 h 5285288"/>
              <a:gd name="connsiteX35" fmla="*/ 2445445 w 3998697"/>
              <a:gd name="connsiteY35" fmla="*/ 1081825 h 5285288"/>
              <a:gd name="connsiteX36" fmla="*/ 2442619 w 3998697"/>
              <a:gd name="connsiteY36" fmla="*/ 1858316 h 5285288"/>
              <a:gd name="connsiteX37" fmla="*/ 2444476 w 3998697"/>
              <a:gd name="connsiteY37" fmla="*/ 1861834 h 5285288"/>
              <a:gd name="connsiteX38" fmla="*/ 2443809 w 3998697"/>
              <a:gd name="connsiteY38" fmla="*/ 3038034 h 5285288"/>
              <a:gd name="connsiteX39" fmla="*/ 2441669 w 3998697"/>
              <a:gd name="connsiteY39" fmla="*/ 4802821 h 5285288"/>
              <a:gd name="connsiteX40" fmla="*/ 2374871 w 3998697"/>
              <a:gd name="connsiteY40" fmla="*/ 5061801 h 5285288"/>
              <a:gd name="connsiteX41" fmla="*/ 2230903 w 3998697"/>
              <a:gd name="connsiteY41" fmla="*/ 5216241 h 5285288"/>
              <a:gd name="connsiteX42" fmla="*/ 2020267 w 3998697"/>
              <a:gd name="connsiteY42" fmla="*/ 5284752 h 5285288"/>
              <a:gd name="connsiteX43" fmla="*/ 1970713 w 3998697"/>
              <a:gd name="connsiteY43" fmla="*/ 5285252 h 5285288"/>
              <a:gd name="connsiteX0" fmla="*/ 1970713 w 3998697"/>
              <a:gd name="connsiteY0" fmla="*/ 5376271 h 5376307"/>
              <a:gd name="connsiteX1" fmla="*/ 1859089 w 3998697"/>
              <a:gd name="connsiteY1" fmla="*/ 5348471 h 5376307"/>
              <a:gd name="connsiteX2" fmla="*/ 1799088 w 3998697"/>
              <a:gd name="connsiteY2" fmla="*/ 5318619 h 5376307"/>
              <a:gd name="connsiteX3" fmla="*/ 257741 w 3998697"/>
              <a:gd name="connsiteY3" fmla="*/ 4435421 h 5376307"/>
              <a:gd name="connsiteX4" fmla="*/ 66855 w 3998697"/>
              <a:gd name="connsiteY4" fmla="*/ 4248081 h 5376307"/>
              <a:gd name="connsiteX5" fmla="*/ 5085 w 3998697"/>
              <a:gd name="connsiteY5" fmla="*/ 4046178 h 5376307"/>
              <a:gd name="connsiteX6" fmla="*/ 117 w 3998697"/>
              <a:gd name="connsiteY6" fmla="*/ 3989788 h 5376307"/>
              <a:gd name="connsiteX7" fmla="*/ 0 w 3998697"/>
              <a:gd name="connsiteY7" fmla="*/ 3989126 h 5376307"/>
              <a:gd name="connsiteX8" fmla="*/ 5920 w 3998697"/>
              <a:gd name="connsiteY8" fmla="*/ 2604645 h 5376307"/>
              <a:gd name="connsiteX9" fmla="*/ 9056 w 3998697"/>
              <a:gd name="connsiteY9" fmla="*/ 2575785 h 5376307"/>
              <a:gd name="connsiteX10" fmla="*/ 206180 w 3998697"/>
              <a:gd name="connsiteY10" fmla="*/ 2483041 h 5376307"/>
              <a:gd name="connsiteX11" fmla="*/ 407391 w 3998697"/>
              <a:gd name="connsiteY11" fmla="*/ 2599194 h 5376307"/>
              <a:gd name="connsiteX12" fmla="*/ 406100 w 3998697"/>
              <a:gd name="connsiteY12" fmla="*/ 2663677 h 5376307"/>
              <a:gd name="connsiteX13" fmla="*/ 409165 w 3998697"/>
              <a:gd name="connsiteY13" fmla="*/ 3979068 h 5376307"/>
              <a:gd name="connsiteX14" fmla="*/ 407598 w 3998697"/>
              <a:gd name="connsiteY14" fmla="*/ 3972476 h 5376307"/>
              <a:gd name="connsiteX15" fmla="*/ 407517 w 3998697"/>
              <a:gd name="connsiteY15" fmla="*/ 3985284 h 5376307"/>
              <a:gd name="connsiteX16" fmla="*/ 464772 w 3998697"/>
              <a:gd name="connsiteY16" fmla="*/ 4084454 h 5376307"/>
              <a:gd name="connsiteX17" fmla="*/ 1965744 w 3998697"/>
              <a:gd name="connsiteY17" fmla="*/ 4956372 h 5376307"/>
              <a:gd name="connsiteX18" fmla="*/ 1966088 w 3998697"/>
              <a:gd name="connsiteY18" fmla="*/ 4956764 h 5376307"/>
              <a:gd name="connsiteX19" fmla="*/ 1988129 w 3998697"/>
              <a:gd name="connsiteY19" fmla="*/ 4950577 h 5376307"/>
              <a:gd name="connsiteX20" fmla="*/ 2034209 w 3998697"/>
              <a:gd name="connsiteY20" fmla="*/ 4890023 h 5376307"/>
              <a:gd name="connsiteX21" fmla="*/ 2036053 w 3998697"/>
              <a:gd name="connsiteY21" fmla="*/ 4196997 h 5376307"/>
              <a:gd name="connsiteX22" fmla="*/ 2038324 w 3998697"/>
              <a:gd name="connsiteY22" fmla="*/ 1145789 h 5376307"/>
              <a:gd name="connsiteX23" fmla="*/ 2037139 w 3998697"/>
              <a:gd name="connsiteY23" fmla="*/ 1108211 h 5376307"/>
              <a:gd name="connsiteX24" fmla="*/ 2035104 w 3998697"/>
              <a:gd name="connsiteY24" fmla="*/ 585443 h 5376307"/>
              <a:gd name="connsiteX25" fmla="*/ 2080595 w 3998697"/>
              <a:gd name="connsiteY25" fmla="*/ 262717 h 5376307"/>
              <a:gd name="connsiteX26" fmla="*/ 2245202 w 3998697"/>
              <a:gd name="connsiteY26" fmla="*/ 116131 h 5376307"/>
              <a:gd name="connsiteX27" fmla="*/ 2444848 w 3998697"/>
              <a:gd name="connsiteY27" fmla="*/ 94345 h 5376307"/>
              <a:gd name="connsiteX28" fmla="*/ 3998697 w 3998697"/>
              <a:gd name="connsiteY28" fmla="*/ 1360802 h 5376307"/>
              <a:gd name="connsiteX29" fmla="*/ 2513375 w 3998697"/>
              <a:gd name="connsiteY29" fmla="*/ 522596 h 5376307"/>
              <a:gd name="connsiteX30" fmla="*/ 2513032 w 3998697"/>
              <a:gd name="connsiteY30" fmla="*/ 522203 h 5376307"/>
              <a:gd name="connsiteX31" fmla="*/ 2490877 w 3998697"/>
              <a:gd name="connsiteY31" fmla="*/ 528424 h 5376307"/>
              <a:gd name="connsiteX32" fmla="*/ 2448227 w 3998697"/>
              <a:gd name="connsiteY32" fmla="*/ 630250 h 5376307"/>
              <a:gd name="connsiteX33" fmla="*/ 2448222 w 3998697"/>
              <a:gd name="connsiteY33" fmla="*/ 1156647 h 5376307"/>
              <a:gd name="connsiteX34" fmla="*/ 2445445 w 3998697"/>
              <a:gd name="connsiteY34" fmla="*/ 1172844 h 5376307"/>
              <a:gd name="connsiteX35" fmla="*/ 2442619 w 3998697"/>
              <a:gd name="connsiteY35" fmla="*/ 1949335 h 5376307"/>
              <a:gd name="connsiteX36" fmla="*/ 2444476 w 3998697"/>
              <a:gd name="connsiteY36" fmla="*/ 1952853 h 5376307"/>
              <a:gd name="connsiteX37" fmla="*/ 2443809 w 3998697"/>
              <a:gd name="connsiteY37" fmla="*/ 3129053 h 5376307"/>
              <a:gd name="connsiteX38" fmla="*/ 2441669 w 3998697"/>
              <a:gd name="connsiteY38" fmla="*/ 4893840 h 5376307"/>
              <a:gd name="connsiteX39" fmla="*/ 2374871 w 3998697"/>
              <a:gd name="connsiteY39" fmla="*/ 5152820 h 5376307"/>
              <a:gd name="connsiteX40" fmla="*/ 2230903 w 3998697"/>
              <a:gd name="connsiteY40" fmla="*/ 5307260 h 5376307"/>
              <a:gd name="connsiteX41" fmla="*/ 2020267 w 3998697"/>
              <a:gd name="connsiteY41" fmla="*/ 5375771 h 5376307"/>
              <a:gd name="connsiteX42" fmla="*/ 1970713 w 3998697"/>
              <a:gd name="connsiteY42" fmla="*/ 5376271 h 5376307"/>
              <a:gd name="connsiteX0" fmla="*/ 1970713 w 2513375"/>
              <a:gd name="connsiteY0" fmla="*/ 5314208 h 5314244"/>
              <a:gd name="connsiteX1" fmla="*/ 1859089 w 2513375"/>
              <a:gd name="connsiteY1" fmla="*/ 5286408 h 5314244"/>
              <a:gd name="connsiteX2" fmla="*/ 1799088 w 2513375"/>
              <a:gd name="connsiteY2" fmla="*/ 5256556 h 5314244"/>
              <a:gd name="connsiteX3" fmla="*/ 257741 w 2513375"/>
              <a:gd name="connsiteY3" fmla="*/ 4373358 h 5314244"/>
              <a:gd name="connsiteX4" fmla="*/ 66855 w 2513375"/>
              <a:gd name="connsiteY4" fmla="*/ 4186018 h 5314244"/>
              <a:gd name="connsiteX5" fmla="*/ 5085 w 2513375"/>
              <a:gd name="connsiteY5" fmla="*/ 3984115 h 5314244"/>
              <a:gd name="connsiteX6" fmla="*/ 117 w 2513375"/>
              <a:gd name="connsiteY6" fmla="*/ 3927725 h 5314244"/>
              <a:gd name="connsiteX7" fmla="*/ 0 w 2513375"/>
              <a:gd name="connsiteY7" fmla="*/ 3927063 h 5314244"/>
              <a:gd name="connsiteX8" fmla="*/ 5920 w 2513375"/>
              <a:gd name="connsiteY8" fmla="*/ 2542582 h 5314244"/>
              <a:gd name="connsiteX9" fmla="*/ 9056 w 2513375"/>
              <a:gd name="connsiteY9" fmla="*/ 2513722 h 5314244"/>
              <a:gd name="connsiteX10" fmla="*/ 206180 w 2513375"/>
              <a:gd name="connsiteY10" fmla="*/ 2420978 h 5314244"/>
              <a:gd name="connsiteX11" fmla="*/ 407391 w 2513375"/>
              <a:gd name="connsiteY11" fmla="*/ 2537131 h 5314244"/>
              <a:gd name="connsiteX12" fmla="*/ 406100 w 2513375"/>
              <a:gd name="connsiteY12" fmla="*/ 2601614 h 5314244"/>
              <a:gd name="connsiteX13" fmla="*/ 409165 w 2513375"/>
              <a:gd name="connsiteY13" fmla="*/ 3917005 h 5314244"/>
              <a:gd name="connsiteX14" fmla="*/ 407598 w 2513375"/>
              <a:gd name="connsiteY14" fmla="*/ 3910413 h 5314244"/>
              <a:gd name="connsiteX15" fmla="*/ 407517 w 2513375"/>
              <a:gd name="connsiteY15" fmla="*/ 3923221 h 5314244"/>
              <a:gd name="connsiteX16" fmla="*/ 464772 w 2513375"/>
              <a:gd name="connsiteY16" fmla="*/ 4022391 h 5314244"/>
              <a:gd name="connsiteX17" fmla="*/ 1965744 w 2513375"/>
              <a:gd name="connsiteY17" fmla="*/ 4894309 h 5314244"/>
              <a:gd name="connsiteX18" fmla="*/ 1966088 w 2513375"/>
              <a:gd name="connsiteY18" fmla="*/ 4894701 h 5314244"/>
              <a:gd name="connsiteX19" fmla="*/ 1988129 w 2513375"/>
              <a:gd name="connsiteY19" fmla="*/ 4888514 h 5314244"/>
              <a:gd name="connsiteX20" fmla="*/ 2034209 w 2513375"/>
              <a:gd name="connsiteY20" fmla="*/ 4827960 h 5314244"/>
              <a:gd name="connsiteX21" fmla="*/ 2036053 w 2513375"/>
              <a:gd name="connsiteY21" fmla="*/ 4134934 h 5314244"/>
              <a:gd name="connsiteX22" fmla="*/ 2038324 w 2513375"/>
              <a:gd name="connsiteY22" fmla="*/ 1083726 h 5314244"/>
              <a:gd name="connsiteX23" fmla="*/ 2037139 w 2513375"/>
              <a:gd name="connsiteY23" fmla="*/ 1046148 h 5314244"/>
              <a:gd name="connsiteX24" fmla="*/ 2035104 w 2513375"/>
              <a:gd name="connsiteY24" fmla="*/ 523380 h 5314244"/>
              <a:gd name="connsiteX25" fmla="*/ 2080595 w 2513375"/>
              <a:gd name="connsiteY25" fmla="*/ 200654 h 5314244"/>
              <a:gd name="connsiteX26" fmla="*/ 2245202 w 2513375"/>
              <a:gd name="connsiteY26" fmla="*/ 54068 h 5314244"/>
              <a:gd name="connsiteX27" fmla="*/ 2444848 w 2513375"/>
              <a:gd name="connsiteY27" fmla="*/ 32282 h 5314244"/>
              <a:gd name="connsiteX28" fmla="*/ 2513375 w 2513375"/>
              <a:gd name="connsiteY28" fmla="*/ 460533 h 5314244"/>
              <a:gd name="connsiteX29" fmla="*/ 2513032 w 2513375"/>
              <a:gd name="connsiteY29" fmla="*/ 460140 h 5314244"/>
              <a:gd name="connsiteX30" fmla="*/ 2490877 w 2513375"/>
              <a:gd name="connsiteY30" fmla="*/ 466361 h 5314244"/>
              <a:gd name="connsiteX31" fmla="*/ 2448227 w 2513375"/>
              <a:gd name="connsiteY31" fmla="*/ 568187 h 5314244"/>
              <a:gd name="connsiteX32" fmla="*/ 2448222 w 2513375"/>
              <a:gd name="connsiteY32" fmla="*/ 1094584 h 5314244"/>
              <a:gd name="connsiteX33" fmla="*/ 2445445 w 2513375"/>
              <a:gd name="connsiteY33" fmla="*/ 1110781 h 5314244"/>
              <a:gd name="connsiteX34" fmla="*/ 2442619 w 2513375"/>
              <a:gd name="connsiteY34" fmla="*/ 1887272 h 5314244"/>
              <a:gd name="connsiteX35" fmla="*/ 2444476 w 2513375"/>
              <a:gd name="connsiteY35" fmla="*/ 1890790 h 5314244"/>
              <a:gd name="connsiteX36" fmla="*/ 2443809 w 2513375"/>
              <a:gd name="connsiteY36" fmla="*/ 3066990 h 5314244"/>
              <a:gd name="connsiteX37" fmla="*/ 2441669 w 2513375"/>
              <a:gd name="connsiteY37" fmla="*/ 4831777 h 5314244"/>
              <a:gd name="connsiteX38" fmla="*/ 2374871 w 2513375"/>
              <a:gd name="connsiteY38" fmla="*/ 5090757 h 5314244"/>
              <a:gd name="connsiteX39" fmla="*/ 2230903 w 2513375"/>
              <a:gd name="connsiteY39" fmla="*/ 5245197 h 5314244"/>
              <a:gd name="connsiteX40" fmla="*/ 2020267 w 2513375"/>
              <a:gd name="connsiteY40" fmla="*/ 5313708 h 5314244"/>
              <a:gd name="connsiteX41" fmla="*/ 1970713 w 2513375"/>
              <a:gd name="connsiteY41" fmla="*/ 5314208 h 5314244"/>
              <a:gd name="connsiteX0" fmla="*/ 1970713 w 2513375"/>
              <a:gd name="connsiteY0" fmla="*/ 5314208 h 5314244"/>
              <a:gd name="connsiteX1" fmla="*/ 1859089 w 2513375"/>
              <a:gd name="connsiteY1" fmla="*/ 5286408 h 5314244"/>
              <a:gd name="connsiteX2" fmla="*/ 1799088 w 2513375"/>
              <a:gd name="connsiteY2" fmla="*/ 5256556 h 5314244"/>
              <a:gd name="connsiteX3" fmla="*/ 257741 w 2513375"/>
              <a:gd name="connsiteY3" fmla="*/ 4373358 h 5314244"/>
              <a:gd name="connsiteX4" fmla="*/ 66855 w 2513375"/>
              <a:gd name="connsiteY4" fmla="*/ 4186018 h 5314244"/>
              <a:gd name="connsiteX5" fmla="*/ 5085 w 2513375"/>
              <a:gd name="connsiteY5" fmla="*/ 3984115 h 5314244"/>
              <a:gd name="connsiteX6" fmla="*/ 117 w 2513375"/>
              <a:gd name="connsiteY6" fmla="*/ 3927725 h 5314244"/>
              <a:gd name="connsiteX7" fmla="*/ 0 w 2513375"/>
              <a:gd name="connsiteY7" fmla="*/ 3927063 h 5314244"/>
              <a:gd name="connsiteX8" fmla="*/ 5920 w 2513375"/>
              <a:gd name="connsiteY8" fmla="*/ 2542582 h 5314244"/>
              <a:gd name="connsiteX9" fmla="*/ 9056 w 2513375"/>
              <a:gd name="connsiteY9" fmla="*/ 2513722 h 5314244"/>
              <a:gd name="connsiteX10" fmla="*/ 206180 w 2513375"/>
              <a:gd name="connsiteY10" fmla="*/ 2420978 h 5314244"/>
              <a:gd name="connsiteX11" fmla="*/ 407391 w 2513375"/>
              <a:gd name="connsiteY11" fmla="*/ 2537131 h 5314244"/>
              <a:gd name="connsiteX12" fmla="*/ 406100 w 2513375"/>
              <a:gd name="connsiteY12" fmla="*/ 2601614 h 5314244"/>
              <a:gd name="connsiteX13" fmla="*/ 409165 w 2513375"/>
              <a:gd name="connsiteY13" fmla="*/ 3917005 h 5314244"/>
              <a:gd name="connsiteX14" fmla="*/ 407598 w 2513375"/>
              <a:gd name="connsiteY14" fmla="*/ 3910413 h 5314244"/>
              <a:gd name="connsiteX15" fmla="*/ 407517 w 2513375"/>
              <a:gd name="connsiteY15" fmla="*/ 3923221 h 5314244"/>
              <a:gd name="connsiteX16" fmla="*/ 464772 w 2513375"/>
              <a:gd name="connsiteY16" fmla="*/ 4022391 h 5314244"/>
              <a:gd name="connsiteX17" fmla="*/ 1965744 w 2513375"/>
              <a:gd name="connsiteY17" fmla="*/ 4894309 h 5314244"/>
              <a:gd name="connsiteX18" fmla="*/ 1966088 w 2513375"/>
              <a:gd name="connsiteY18" fmla="*/ 4894701 h 5314244"/>
              <a:gd name="connsiteX19" fmla="*/ 1988129 w 2513375"/>
              <a:gd name="connsiteY19" fmla="*/ 4888514 h 5314244"/>
              <a:gd name="connsiteX20" fmla="*/ 2034209 w 2513375"/>
              <a:gd name="connsiteY20" fmla="*/ 4827960 h 5314244"/>
              <a:gd name="connsiteX21" fmla="*/ 2036053 w 2513375"/>
              <a:gd name="connsiteY21" fmla="*/ 4134934 h 5314244"/>
              <a:gd name="connsiteX22" fmla="*/ 2038324 w 2513375"/>
              <a:gd name="connsiteY22" fmla="*/ 1083726 h 5314244"/>
              <a:gd name="connsiteX23" fmla="*/ 2037139 w 2513375"/>
              <a:gd name="connsiteY23" fmla="*/ 1046148 h 5314244"/>
              <a:gd name="connsiteX24" fmla="*/ 2035104 w 2513375"/>
              <a:gd name="connsiteY24" fmla="*/ 523380 h 5314244"/>
              <a:gd name="connsiteX25" fmla="*/ 2080595 w 2513375"/>
              <a:gd name="connsiteY25" fmla="*/ 200654 h 5314244"/>
              <a:gd name="connsiteX26" fmla="*/ 2245202 w 2513375"/>
              <a:gd name="connsiteY26" fmla="*/ 54068 h 5314244"/>
              <a:gd name="connsiteX27" fmla="*/ 2444848 w 2513375"/>
              <a:gd name="connsiteY27" fmla="*/ 32282 h 5314244"/>
              <a:gd name="connsiteX28" fmla="*/ 2513375 w 2513375"/>
              <a:gd name="connsiteY28" fmla="*/ 460533 h 5314244"/>
              <a:gd name="connsiteX29" fmla="*/ 2513032 w 2513375"/>
              <a:gd name="connsiteY29" fmla="*/ 460140 h 5314244"/>
              <a:gd name="connsiteX30" fmla="*/ 2448227 w 2513375"/>
              <a:gd name="connsiteY30" fmla="*/ 568187 h 5314244"/>
              <a:gd name="connsiteX31" fmla="*/ 2448222 w 2513375"/>
              <a:gd name="connsiteY31" fmla="*/ 1094584 h 5314244"/>
              <a:gd name="connsiteX32" fmla="*/ 2445445 w 2513375"/>
              <a:gd name="connsiteY32" fmla="*/ 1110781 h 5314244"/>
              <a:gd name="connsiteX33" fmla="*/ 2442619 w 2513375"/>
              <a:gd name="connsiteY33" fmla="*/ 1887272 h 5314244"/>
              <a:gd name="connsiteX34" fmla="*/ 2444476 w 2513375"/>
              <a:gd name="connsiteY34" fmla="*/ 1890790 h 5314244"/>
              <a:gd name="connsiteX35" fmla="*/ 2443809 w 2513375"/>
              <a:gd name="connsiteY35" fmla="*/ 3066990 h 5314244"/>
              <a:gd name="connsiteX36" fmla="*/ 2441669 w 2513375"/>
              <a:gd name="connsiteY36" fmla="*/ 4831777 h 5314244"/>
              <a:gd name="connsiteX37" fmla="*/ 2374871 w 2513375"/>
              <a:gd name="connsiteY37" fmla="*/ 5090757 h 5314244"/>
              <a:gd name="connsiteX38" fmla="*/ 2230903 w 2513375"/>
              <a:gd name="connsiteY38" fmla="*/ 5245197 h 5314244"/>
              <a:gd name="connsiteX39" fmla="*/ 2020267 w 2513375"/>
              <a:gd name="connsiteY39" fmla="*/ 5313708 h 5314244"/>
              <a:gd name="connsiteX40" fmla="*/ 1970713 w 2513375"/>
              <a:gd name="connsiteY40" fmla="*/ 5314208 h 5314244"/>
              <a:gd name="connsiteX0" fmla="*/ 1970713 w 2513375"/>
              <a:gd name="connsiteY0" fmla="*/ 5260140 h 5260176"/>
              <a:gd name="connsiteX1" fmla="*/ 1859089 w 2513375"/>
              <a:gd name="connsiteY1" fmla="*/ 5232340 h 5260176"/>
              <a:gd name="connsiteX2" fmla="*/ 1799088 w 2513375"/>
              <a:gd name="connsiteY2" fmla="*/ 5202488 h 5260176"/>
              <a:gd name="connsiteX3" fmla="*/ 257741 w 2513375"/>
              <a:gd name="connsiteY3" fmla="*/ 4319290 h 5260176"/>
              <a:gd name="connsiteX4" fmla="*/ 66855 w 2513375"/>
              <a:gd name="connsiteY4" fmla="*/ 4131950 h 5260176"/>
              <a:gd name="connsiteX5" fmla="*/ 5085 w 2513375"/>
              <a:gd name="connsiteY5" fmla="*/ 3930047 h 5260176"/>
              <a:gd name="connsiteX6" fmla="*/ 117 w 2513375"/>
              <a:gd name="connsiteY6" fmla="*/ 3873657 h 5260176"/>
              <a:gd name="connsiteX7" fmla="*/ 0 w 2513375"/>
              <a:gd name="connsiteY7" fmla="*/ 3872995 h 5260176"/>
              <a:gd name="connsiteX8" fmla="*/ 5920 w 2513375"/>
              <a:gd name="connsiteY8" fmla="*/ 2488514 h 5260176"/>
              <a:gd name="connsiteX9" fmla="*/ 9056 w 2513375"/>
              <a:gd name="connsiteY9" fmla="*/ 2459654 h 5260176"/>
              <a:gd name="connsiteX10" fmla="*/ 206180 w 2513375"/>
              <a:gd name="connsiteY10" fmla="*/ 2366910 h 5260176"/>
              <a:gd name="connsiteX11" fmla="*/ 407391 w 2513375"/>
              <a:gd name="connsiteY11" fmla="*/ 2483063 h 5260176"/>
              <a:gd name="connsiteX12" fmla="*/ 406100 w 2513375"/>
              <a:gd name="connsiteY12" fmla="*/ 2547546 h 5260176"/>
              <a:gd name="connsiteX13" fmla="*/ 409165 w 2513375"/>
              <a:gd name="connsiteY13" fmla="*/ 3862937 h 5260176"/>
              <a:gd name="connsiteX14" fmla="*/ 407598 w 2513375"/>
              <a:gd name="connsiteY14" fmla="*/ 3856345 h 5260176"/>
              <a:gd name="connsiteX15" fmla="*/ 407517 w 2513375"/>
              <a:gd name="connsiteY15" fmla="*/ 3869153 h 5260176"/>
              <a:gd name="connsiteX16" fmla="*/ 464772 w 2513375"/>
              <a:gd name="connsiteY16" fmla="*/ 3968323 h 5260176"/>
              <a:gd name="connsiteX17" fmla="*/ 1965744 w 2513375"/>
              <a:gd name="connsiteY17" fmla="*/ 4840241 h 5260176"/>
              <a:gd name="connsiteX18" fmla="*/ 1966088 w 2513375"/>
              <a:gd name="connsiteY18" fmla="*/ 4840633 h 5260176"/>
              <a:gd name="connsiteX19" fmla="*/ 1988129 w 2513375"/>
              <a:gd name="connsiteY19" fmla="*/ 4834446 h 5260176"/>
              <a:gd name="connsiteX20" fmla="*/ 2034209 w 2513375"/>
              <a:gd name="connsiteY20" fmla="*/ 4773892 h 5260176"/>
              <a:gd name="connsiteX21" fmla="*/ 2036053 w 2513375"/>
              <a:gd name="connsiteY21" fmla="*/ 4080866 h 5260176"/>
              <a:gd name="connsiteX22" fmla="*/ 2038324 w 2513375"/>
              <a:gd name="connsiteY22" fmla="*/ 1029658 h 5260176"/>
              <a:gd name="connsiteX23" fmla="*/ 2037139 w 2513375"/>
              <a:gd name="connsiteY23" fmla="*/ 992080 h 5260176"/>
              <a:gd name="connsiteX24" fmla="*/ 2035104 w 2513375"/>
              <a:gd name="connsiteY24" fmla="*/ 469312 h 5260176"/>
              <a:gd name="connsiteX25" fmla="*/ 2080595 w 2513375"/>
              <a:gd name="connsiteY25" fmla="*/ 146586 h 5260176"/>
              <a:gd name="connsiteX26" fmla="*/ 2245202 w 2513375"/>
              <a:gd name="connsiteY26" fmla="*/ 0 h 5260176"/>
              <a:gd name="connsiteX27" fmla="*/ 2513375 w 2513375"/>
              <a:gd name="connsiteY27" fmla="*/ 406465 h 5260176"/>
              <a:gd name="connsiteX28" fmla="*/ 2513032 w 2513375"/>
              <a:gd name="connsiteY28" fmla="*/ 406072 h 5260176"/>
              <a:gd name="connsiteX29" fmla="*/ 2448227 w 2513375"/>
              <a:gd name="connsiteY29" fmla="*/ 514119 h 5260176"/>
              <a:gd name="connsiteX30" fmla="*/ 2448222 w 2513375"/>
              <a:gd name="connsiteY30" fmla="*/ 1040516 h 5260176"/>
              <a:gd name="connsiteX31" fmla="*/ 2445445 w 2513375"/>
              <a:gd name="connsiteY31" fmla="*/ 1056713 h 5260176"/>
              <a:gd name="connsiteX32" fmla="*/ 2442619 w 2513375"/>
              <a:gd name="connsiteY32" fmla="*/ 1833204 h 5260176"/>
              <a:gd name="connsiteX33" fmla="*/ 2444476 w 2513375"/>
              <a:gd name="connsiteY33" fmla="*/ 1836722 h 5260176"/>
              <a:gd name="connsiteX34" fmla="*/ 2443809 w 2513375"/>
              <a:gd name="connsiteY34" fmla="*/ 3012922 h 5260176"/>
              <a:gd name="connsiteX35" fmla="*/ 2441669 w 2513375"/>
              <a:gd name="connsiteY35" fmla="*/ 4777709 h 5260176"/>
              <a:gd name="connsiteX36" fmla="*/ 2374871 w 2513375"/>
              <a:gd name="connsiteY36" fmla="*/ 5036689 h 5260176"/>
              <a:gd name="connsiteX37" fmla="*/ 2230903 w 2513375"/>
              <a:gd name="connsiteY37" fmla="*/ 5191129 h 5260176"/>
              <a:gd name="connsiteX38" fmla="*/ 2020267 w 2513375"/>
              <a:gd name="connsiteY38" fmla="*/ 5259640 h 5260176"/>
              <a:gd name="connsiteX39" fmla="*/ 1970713 w 2513375"/>
              <a:gd name="connsiteY39" fmla="*/ 5260140 h 5260176"/>
              <a:gd name="connsiteX0" fmla="*/ 1970713 w 2513375"/>
              <a:gd name="connsiteY0" fmla="*/ 5113905 h 5113941"/>
              <a:gd name="connsiteX1" fmla="*/ 1859089 w 2513375"/>
              <a:gd name="connsiteY1" fmla="*/ 5086105 h 5113941"/>
              <a:gd name="connsiteX2" fmla="*/ 1799088 w 2513375"/>
              <a:gd name="connsiteY2" fmla="*/ 5056253 h 5113941"/>
              <a:gd name="connsiteX3" fmla="*/ 257741 w 2513375"/>
              <a:gd name="connsiteY3" fmla="*/ 4173055 h 5113941"/>
              <a:gd name="connsiteX4" fmla="*/ 66855 w 2513375"/>
              <a:gd name="connsiteY4" fmla="*/ 3985715 h 5113941"/>
              <a:gd name="connsiteX5" fmla="*/ 5085 w 2513375"/>
              <a:gd name="connsiteY5" fmla="*/ 3783812 h 5113941"/>
              <a:gd name="connsiteX6" fmla="*/ 117 w 2513375"/>
              <a:gd name="connsiteY6" fmla="*/ 3727422 h 5113941"/>
              <a:gd name="connsiteX7" fmla="*/ 0 w 2513375"/>
              <a:gd name="connsiteY7" fmla="*/ 3726760 h 5113941"/>
              <a:gd name="connsiteX8" fmla="*/ 5920 w 2513375"/>
              <a:gd name="connsiteY8" fmla="*/ 2342279 h 5113941"/>
              <a:gd name="connsiteX9" fmla="*/ 9056 w 2513375"/>
              <a:gd name="connsiteY9" fmla="*/ 2313419 h 5113941"/>
              <a:gd name="connsiteX10" fmla="*/ 206180 w 2513375"/>
              <a:gd name="connsiteY10" fmla="*/ 2220675 h 5113941"/>
              <a:gd name="connsiteX11" fmla="*/ 407391 w 2513375"/>
              <a:gd name="connsiteY11" fmla="*/ 2336828 h 5113941"/>
              <a:gd name="connsiteX12" fmla="*/ 406100 w 2513375"/>
              <a:gd name="connsiteY12" fmla="*/ 2401311 h 5113941"/>
              <a:gd name="connsiteX13" fmla="*/ 409165 w 2513375"/>
              <a:gd name="connsiteY13" fmla="*/ 3716702 h 5113941"/>
              <a:gd name="connsiteX14" fmla="*/ 407598 w 2513375"/>
              <a:gd name="connsiteY14" fmla="*/ 3710110 h 5113941"/>
              <a:gd name="connsiteX15" fmla="*/ 407517 w 2513375"/>
              <a:gd name="connsiteY15" fmla="*/ 3722918 h 5113941"/>
              <a:gd name="connsiteX16" fmla="*/ 464772 w 2513375"/>
              <a:gd name="connsiteY16" fmla="*/ 3822088 h 5113941"/>
              <a:gd name="connsiteX17" fmla="*/ 1965744 w 2513375"/>
              <a:gd name="connsiteY17" fmla="*/ 4694006 h 5113941"/>
              <a:gd name="connsiteX18" fmla="*/ 1966088 w 2513375"/>
              <a:gd name="connsiteY18" fmla="*/ 4694398 h 5113941"/>
              <a:gd name="connsiteX19" fmla="*/ 1988129 w 2513375"/>
              <a:gd name="connsiteY19" fmla="*/ 4688211 h 5113941"/>
              <a:gd name="connsiteX20" fmla="*/ 2034209 w 2513375"/>
              <a:gd name="connsiteY20" fmla="*/ 4627657 h 5113941"/>
              <a:gd name="connsiteX21" fmla="*/ 2036053 w 2513375"/>
              <a:gd name="connsiteY21" fmla="*/ 3934631 h 5113941"/>
              <a:gd name="connsiteX22" fmla="*/ 2038324 w 2513375"/>
              <a:gd name="connsiteY22" fmla="*/ 883423 h 5113941"/>
              <a:gd name="connsiteX23" fmla="*/ 2037139 w 2513375"/>
              <a:gd name="connsiteY23" fmla="*/ 845845 h 5113941"/>
              <a:gd name="connsiteX24" fmla="*/ 2035104 w 2513375"/>
              <a:gd name="connsiteY24" fmla="*/ 323077 h 5113941"/>
              <a:gd name="connsiteX25" fmla="*/ 2080595 w 2513375"/>
              <a:gd name="connsiteY25" fmla="*/ 351 h 5113941"/>
              <a:gd name="connsiteX26" fmla="*/ 2513375 w 2513375"/>
              <a:gd name="connsiteY26" fmla="*/ 260230 h 5113941"/>
              <a:gd name="connsiteX27" fmla="*/ 2513032 w 2513375"/>
              <a:gd name="connsiteY27" fmla="*/ 259837 h 5113941"/>
              <a:gd name="connsiteX28" fmla="*/ 2448227 w 2513375"/>
              <a:gd name="connsiteY28" fmla="*/ 367884 h 5113941"/>
              <a:gd name="connsiteX29" fmla="*/ 2448222 w 2513375"/>
              <a:gd name="connsiteY29" fmla="*/ 894281 h 5113941"/>
              <a:gd name="connsiteX30" fmla="*/ 2445445 w 2513375"/>
              <a:gd name="connsiteY30" fmla="*/ 910478 h 5113941"/>
              <a:gd name="connsiteX31" fmla="*/ 2442619 w 2513375"/>
              <a:gd name="connsiteY31" fmla="*/ 1686969 h 5113941"/>
              <a:gd name="connsiteX32" fmla="*/ 2444476 w 2513375"/>
              <a:gd name="connsiteY32" fmla="*/ 1690487 h 5113941"/>
              <a:gd name="connsiteX33" fmla="*/ 2443809 w 2513375"/>
              <a:gd name="connsiteY33" fmla="*/ 2866687 h 5113941"/>
              <a:gd name="connsiteX34" fmla="*/ 2441669 w 2513375"/>
              <a:gd name="connsiteY34" fmla="*/ 4631474 h 5113941"/>
              <a:gd name="connsiteX35" fmla="*/ 2374871 w 2513375"/>
              <a:gd name="connsiteY35" fmla="*/ 4890454 h 5113941"/>
              <a:gd name="connsiteX36" fmla="*/ 2230903 w 2513375"/>
              <a:gd name="connsiteY36" fmla="*/ 5044894 h 5113941"/>
              <a:gd name="connsiteX37" fmla="*/ 2020267 w 2513375"/>
              <a:gd name="connsiteY37" fmla="*/ 5113405 h 5113941"/>
              <a:gd name="connsiteX38" fmla="*/ 1970713 w 2513375"/>
              <a:gd name="connsiteY38" fmla="*/ 5113905 h 5113941"/>
              <a:gd name="connsiteX0" fmla="*/ 1970713 w 2513375"/>
              <a:gd name="connsiteY0" fmla="*/ 4855263 h 4855299"/>
              <a:gd name="connsiteX1" fmla="*/ 1859089 w 2513375"/>
              <a:gd name="connsiteY1" fmla="*/ 4827463 h 4855299"/>
              <a:gd name="connsiteX2" fmla="*/ 1799088 w 2513375"/>
              <a:gd name="connsiteY2" fmla="*/ 4797611 h 4855299"/>
              <a:gd name="connsiteX3" fmla="*/ 257741 w 2513375"/>
              <a:gd name="connsiteY3" fmla="*/ 3914413 h 4855299"/>
              <a:gd name="connsiteX4" fmla="*/ 66855 w 2513375"/>
              <a:gd name="connsiteY4" fmla="*/ 3727073 h 4855299"/>
              <a:gd name="connsiteX5" fmla="*/ 5085 w 2513375"/>
              <a:gd name="connsiteY5" fmla="*/ 3525170 h 4855299"/>
              <a:gd name="connsiteX6" fmla="*/ 117 w 2513375"/>
              <a:gd name="connsiteY6" fmla="*/ 3468780 h 4855299"/>
              <a:gd name="connsiteX7" fmla="*/ 0 w 2513375"/>
              <a:gd name="connsiteY7" fmla="*/ 3468118 h 4855299"/>
              <a:gd name="connsiteX8" fmla="*/ 5920 w 2513375"/>
              <a:gd name="connsiteY8" fmla="*/ 2083637 h 4855299"/>
              <a:gd name="connsiteX9" fmla="*/ 9056 w 2513375"/>
              <a:gd name="connsiteY9" fmla="*/ 2054777 h 4855299"/>
              <a:gd name="connsiteX10" fmla="*/ 206180 w 2513375"/>
              <a:gd name="connsiteY10" fmla="*/ 1962033 h 4855299"/>
              <a:gd name="connsiteX11" fmla="*/ 407391 w 2513375"/>
              <a:gd name="connsiteY11" fmla="*/ 2078186 h 4855299"/>
              <a:gd name="connsiteX12" fmla="*/ 406100 w 2513375"/>
              <a:gd name="connsiteY12" fmla="*/ 2142669 h 4855299"/>
              <a:gd name="connsiteX13" fmla="*/ 409165 w 2513375"/>
              <a:gd name="connsiteY13" fmla="*/ 3458060 h 4855299"/>
              <a:gd name="connsiteX14" fmla="*/ 407598 w 2513375"/>
              <a:gd name="connsiteY14" fmla="*/ 3451468 h 4855299"/>
              <a:gd name="connsiteX15" fmla="*/ 407517 w 2513375"/>
              <a:gd name="connsiteY15" fmla="*/ 3464276 h 4855299"/>
              <a:gd name="connsiteX16" fmla="*/ 464772 w 2513375"/>
              <a:gd name="connsiteY16" fmla="*/ 3563446 h 4855299"/>
              <a:gd name="connsiteX17" fmla="*/ 1965744 w 2513375"/>
              <a:gd name="connsiteY17" fmla="*/ 4435364 h 4855299"/>
              <a:gd name="connsiteX18" fmla="*/ 1966088 w 2513375"/>
              <a:gd name="connsiteY18" fmla="*/ 4435756 h 4855299"/>
              <a:gd name="connsiteX19" fmla="*/ 1988129 w 2513375"/>
              <a:gd name="connsiteY19" fmla="*/ 4429569 h 4855299"/>
              <a:gd name="connsiteX20" fmla="*/ 2034209 w 2513375"/>
              <a:gd name="connsiteY20" fmla="*/ 4369015 h 4855299"/>
              <a:gd name="connsiteX21" fmla="*/ 2036053 w 2513375"/>
              <a:gd name="connsiteY21" fmla="*/ 3675989 h 4855299"/>
              <a:gd name="connsiteX22" fmla="*/ 2038324 w 2513375"/>
              <a:gd name="connsiteY22" fmla="*/ 624781 h 4855299"/>
              <a:gd name="connsiteX23" fmla="*/ 2037139 w 2513375"/>
              <a:gd name="connsiteY23" fmla="*/ 587203 h 4855299"/>
              <a:gd name="connsiteX24" fmla="*/ 2035104 w 2513375"/>
              <a:gd name="connsiteY24" fmla="*/ 64435 h 4855299"/>
              <a:gd name="connsiteX25" fmla="*/ 2513375 w 2513375"/>
              <a:gd name="connsiteY25" fmla="*/ 1588 h 4855299"/>
              <a:gd name="connsiteX26" fmla="*/ 2513032 w 2513375"/>
              <a:gd name="connsiteY26" fmla="*/ 1195 h 4855299"/>
              <a:gd name="connsiteX27" fmla="*/ 2448227 w 2513375"/>
              <a:gd name="connsiteY27" fmla="*/ 109242 h 4855299"/>
              <a:gd name="connsiteX28" fmla="*/ 2448222 w 2513375"/>
              <a:gd name="connsiteY28" fmla="*/ 635639 h 4855299"/>
              <a:gd name="connsiteX29" fmla="*/ 2445445 w 2513375"/>
              <a:gd name="connsiteY29" fmla="*/ 651836 h 4855299"/>
              <a:gd name="connsiteX30" fmla="*/ 2442619 w 2513375"/>
              <a:gd name="connsiteY30" fmla="*/ 1428327 h 4855299"/>
              <a:gd name="connsiteX31" fmla="*/ 2444476 w 2513375"/>
              <a:gd name="connsiteY31" fmla="*/ 1431845 h 4855299"/>
              <a:gd name="connsiteX32" fmla="*/ 2443809 w 2513375"/>
              <a:gd name="connsiteY32" fmla="*/ 2608045 h 4855299"/>
              <a:gd name="connsiteX33" fmla="*/ 2441669 w 2513375"/>
              <a:gd name="connsiteY33" fmla="*/ 4372832 h 4855299"/>
              <a:gd name="connsiteX34" fmla="*/ 2374871 w 2513375"/>
              <a:gd name="connsiteY34" fmla="*/ 4631812 h 4855299"/>
              <a:gd name="connsiteX35" fmla="*/ 2230903 w 2513375"/>
              <a:gd name="connsiteY35" fmla="*/ 4786252 h 4855299"/>
              <a:gd name="connsiteX36" fmla="*/ 2020267 w 2513375"/>
              <a:gd name="connsiteY36" fmla="*/ 4854763 h 4855299"/>
              <a:gd name="connsiteX37" fmla="*/ 1970713 w 2513375"/>
              <a:gd name="connsiteY37" fmla="*/ 4855263 h 4855299"/>
              <a:gd name="connsiteX0" fmla="*/ 1970713 w 2513375"/>
              <a:gd name="connsiteY0" fmla="*/ 4854068 h 4854104"/>
              <a:gd name="connsiteX1" fmla="*/ 1859089 w 2513375"/>
              <a:gd name="connsiteY1" fmla="*/ 4826268 h 4854104"/>
              <a:gd name="connsiteX2" fmla="*/ 1799088 w 2513375"/>
              <a:gd name="connsiteY2" fmla="*/ 4796416 h 4854104"/>
              <a:gd name="connsiteX3" fmla="*/ 257741 w 2513375"/>
              <a:gd name="connsiteY3" fmla="*/ 3913218 h 4854104"/>
              <a:gd name="connsiteX4" fmla="*/ 66855 w 2513375"/>
              <a:gd name="connsiteY4" fmla="*/ 3725878 h 4854104"/>
              <a:gd name="connsiteX5" fmla="*/ 5085 w 2513375"/>
              <a:gd name="connsiteY5" fmla="*/ 3523975 h 4854104"/>
              <a:gd name="connsiteX6" fmla="*/ 117 w 2513375"/>
              <a:gd name="connsiteY6" fmla="*/ 3467585 h 4854104"/>
              <a:gd name="connsiteX7" fmla="*/ 0 w 2513375"/>
              <a:gd name="connsiteY7" fmla="*/ 3466923 h 4854104"/>
              <a:gd name="connsiteX8" fmla="*/ 5920 w 2513375"/>
              <a:gd name="connsiteY8" fmla="*/ 2082442 h 4854104"/>
              <a:gd name="connsiteX9" fmla="*/ 9056 w 2513375"/>
              <a:gd name="connsiteY9" fmla="*/ 2053582 h 4854104"/>
              <a:gd name="connsiteX10" fmla="*/ 206180 w 2513375"/>
              <a:gd name="connsiteY10" fmla="*/ 1960838 h 4854104"/>
              <a:gd name="connsiteX11" fmla="*/ 407391 w 2513375"/>
              <a:gd name="connsiteY11" fmla="*/ 2076991 h 4854104"/>
              <a:gd name="connsiteX12" fmla="*/ 406100 w 2513375"/>
              <a:gd name="connsiteY12" fmla="*/ 2141474 h 4854104"/>
              <a:gd name="connsiteX13" fmla="*/ 409165 w 2513375"/>
              <a:gd name="connsiteY13" fmla="*/ 3456865 h 4854104"/>
              <a:gd name="connsiteX14" fmla="*/ 407598 w 2513375"/>
              <a:gd name="connsiteY14" fmla="*/ 3450273 h 4854104"/>
              <a:gd name="connsiteX15" fmla="*/ 407517 w 2513375"/>
              <a:gd name="connsiteY15" fmla="*/ 3463081 h 4854104"/>
              <a:gd name="connsiteX16" fmla="*/ 464772 w 2513375"/>
              <a:gd name="connsiteY16" fmla="*/ 3562251 h 4854104"/>
              <a:gd name="connsiteX17" fmla="*/ 1965744 w 2513375"/>
              <a:gd name="connsiteY17" fmla="*/ 4434169 h 4854104"/>
              <a:gd name="connsiteX18" fmla="*/ 1966088 w 2513375"/>
              <a:gd name="connsiteY18" fmla="*/ 4434561 h 4854104"/>
              <a:gd name="connsiteX19" fmla="*/ 1988129 w 2513375"/>
              <a:gd name="connsiteY19" fmla="*/ 4428374 h 4854104"/>
              <a:gd name="connsiteX20" fmla="*/ 2034209 w 2513375"/>
              <a:gd name="connsiteY20" fmla="*/ 4367820 h 4854104"/>
              <a:gd name="connsiteX21" fmla="*/ 2036053 w 2513375"/>
              <a:gd name="connsiteY21" fmla="*/ 3674794 h 4854104"/>
              <a:gd name="connsiteX22" fmla="*/ 2038324 w 2513375"/>
              <a:gd name="connsiteY22" fmla="*/ 623586 h 4854104"/>
              <a:gd name="connsiteX23" fmla="*/ 2037139 w 2513375"/>
              <a:gd name="connsiteY23" fmla="*/ 586008 h 4854104"/>
              <a:gd name="connsiteX24" fmla="*/ 2513375 w 2513375"/>
              <a:gd name="connsiteY24" fmla="*/ 393 h 4854104"/>
              <a:gd name="connsiteX25" fmla="*/ 2513032 w 2513375"/>
              <a:gd name="connsiteY25" fmla="*/ 0 h 4854104"/>
              <a:gd name="connsiteX26" fmla="*/ 2448227 w 2513375"/>
              <a:gd name="connsiteY26" fmla="*/ 108047 h 4854104"/>
              <a:gd name="connsiteX27" fmla="*/ 2448222 w 2513375"/>
              <a:gd name="connsiteY27" fmla="*/ 634444 h 4854104"/>
              <a:gd name="connsiteX28" fmla="*/ 2445445 w 2513375"/>
              <a:gd name="connsiteY28" fmla="*/ 650641 h 4854104"/>
              <a:gd name="connsiteX29" fmla="*/ 2442619 w 2513375"/>
              <a:gd name="connsiteY29" fmla="*/ 1427132 h 4854104"/>
              <a:gd name="connsiteX30" fmla="*/ 2444476 w 2513375"/>
              <a:gd name="connsiteY30" fmla="*/ 1430650 h 4854104"/>
              <a:gd name="connsiteX31" fmla="*/ 2443809 w 2513375"/>
              <a:gd name="connsiteY31" fmla="*/ 2606850 h 4854104"/>
              <a:gd name="connsiteX32" fmla="*/ 2441669 w 2513375"/>
              <a:gd name="connsiteY32" fmla="*/ 4371637 h 4854104"/>
              <a:gd name="connsiteX33" fmla="*/ 2374871 w 2513375"/>
              <a:gd name="connsiteY33" fmla="*/ 4630617 h 4854104"/>
              <a:gd name="connsiteX34" fmla="*/ 2230903 w 2513375"/>
              <a:gd name="connsiteY34" fmla="*/ 4785057 h 4854104"/>
              <a:gd name="connsiteX35" fmla="*/ 2020267 w 2513375"/>
              <a:gd name="connsiteY35" fmla="*/ 4853568 h 4854104"/>
              <a:gd name="connsiteX36" fmla="*/ 1970713 w 2513375"/>
              <a:gd name="connsiteY36" fmla="*/ 4854068 h 4854104"/>
              <a:gd name="connsiteX0" fmla="*/ 1970713 w 2534050"/>
              <a:gd name="connsiteY0" fmla="*/ 4885665 h 4885701"/>
              <a:gd name="connsiteX1" fmla="*/ 1859089 w 2534050"/>
              <a:gd name="connsiteY1" fmla="*/ 4857865 h 4885701"/>
              <a:gd name="connsiteX2" fmla="*/ 1799088 w 2534050"/>
              <a:gd name="connsiteY2" fmla="*/ 4828013 h 4885701"/>
              <a:gd name="connsiteX3" fmla="*/ 257741 w 2534050"/>
              <a:gd name="connsiteY3" fmla="*/ 3944815 h 4885701"/>
              <a:gd name="connsiteX4" fmla="*/ 66855 w 2534050"/>
              <a:gd name="connsiteY4" fmla="*/ 3757475 h 4885701"/>
              <a:gd name="connsiteX5" fmla="*/ 5085 w 2534050"/>
              <a:gd name="connsiteY5" fmla="*/ 3555572 h 4885701"/>
              <a:gd name="connsiteX6" fmla="*/ 117 w 2534050"/>
              <a:gd name="connsiteY6" fmla="*/ 3499182 h 4885701"/>
              <a:gd name="connsiteX7" fmla="*/ 0 w 2534050"/>
              <a:gd name="connsiteY7" fmla="*/ 3498520 h 4885701"/>
              <a:gd name="connsiteX8" fmla="*/ 5920 w 2534050"/>
              <a:gd name="connsiteY8" fmla="*/ 2114039 h 4885701"/>
              <a:gd name="connsiteX9" fmla="*/ 9056 w 2534050"/>
              <a:gd name="connsiteY9" fmla="*/ 2085179 h 4885701"/>
              <a:gd name="connsiteX10" fmla="*/ 206180 w 2534050"/>
              <a:gd name="connsiteY10" fmla="*/ 1992435 h 4885701"/>
              <a:gd name="connsiteX11" fmla="*/ 407391 w 2534050"/>
              <a:gd name="connsiteY11" fmla="*/ 2108588 h 4885701"/>
              <a:gd name="connsiteX12" fmla="*/ 406100 w 2534050"/>
              <a:gd name="connsiteY12" fmla="*/ 2173071 h 4885701"/>
              <a:gd name="connsiteX13" fmla="*/ 409165 w 2534050"/>
              <a:gd name="connsiteY13" fmla="*/ 3488462 h 4885701"/>
              <a:gd name="connsiteX14" fmla="*/ 407598 w 2534050"/>
              <a:gd name="connsiteY14" fmla="*/ 3481870 h 4885701"/>
              <a:gd name="connsiteX15" fmla="*/ 407517 w 2534050"/>
              <a:gd name="connsiteY15" fmla="*/ 3494678 h 4885701"/>
              <a:gd name="connsiteX16" fmla="*/ 464772 w 2534050"/>
              <a:gd name="connsiteY16" fmla="*/ 3593848 h 4885701"/>
              <a:gd name="connsiteX17" fmla="*/ 1965744 w 2534050"/>
              <a:gd name="connsiteY17" fmla="*/ 4465766 h 4885701"/>
              <a:gd name="connsiteX18" fmla="*/ 1966088 w 2534050"/>
              <a:gd name="connsiteY18" fmla="*/ 4466158 h 4885701"/>
              <a:gd name="connsiteX19" fmla="*/ 1988129 w 2534050"/>
              <a:gd name="connsiteY19" fmla="*/ 4459971 h 4885701"/>
              <a:gd name="connsiteX20" fmla="*/ 2034209 w 2534050"/>
              <a:gd name="connsiteY20" fmla="*/ 4399417 h 4885701"/>
              <a:gd name="connsiteX21" fmla="*/ 2036053 w 2534050"/>
              <a:gd name="connsiteY21" fmla="*/ 3706391 h 4885701"/>
              <a:gd name="connsiteX22" fmla="*/ 2038324 w 2534050"/>
              <a:gd name="connsiteY22" fmla="*/ 655183 h 4885701"/>
              <a:gd name="connsiteX23" fmla="*/ 2037139 w 2534050"/>
              <a:gd name="connsiteY23" fmla="*/ 617605 h 4885701"/>
              <a:gd name="connsiteX24" fmla="*/ 2513375 w 2534050"/>
              <a:gd name="connsiteY24" fmla="*/ 31990 h 4885701"/>
              <a:gd name="connsiteX25" fmla="*/ 2448227 w 2534050"/>
              <a:gd name="connsiteY25" fmla="*/ 139644 h 4885701"/>
              <a:gd name="connsiteX26" fmla="*/ 2448222 w 2534050"/>
              <a:gd name="connsiteY26" fmla="*/ 666041 h 4885701"/>
              <a:gd name="connsiteX27" fmla="*/ 2445445 w 2534050"/>
              <a:gd name="connsiteY27" fmla="*/ 682238 h 4885701"/>
              <a:gd name="connsiteX28" fmla="*/ 2442619 w 2534050"/>
              <a:gd name="connsiteY28" fmla="*/ 1458729 h 4885701"/>
              <a:gd name="connsiteX29" fmla="*/ 2444476 w 2534050"/>
              <a:gd name="connsiteY29" fmla="*/ 1462247 h 4885701"/>
              <a:gd name="connsiteX30" fmla="*/ 2443809 w 2534050"/>
              <a:gd name="connsiteY30" fmla="*/ 2638447 h 4885701"/>
              <a:gd name="connsiteX31" fmla="*/ 2441669 w 2534050"/>
              <a:gd name="connsiteY31" fmla="*/ 4403234 h 4885701"/>
              <a:gd name="connsiteX32" fmla="*/ 2374871 w 2534050"/>
              <a:gd name="connsiteY32" fmla="*/ 4662214 h 4885701"/>
              <a:gd name="connsiteX33" fmla="*/ 2230903 w 2534050"/>
              <a:gd name="connsiteY33" fmla="*/ 4816654 h 4885701"/>
              <a:gd name="connsiteX34" fmla="*/ 2020267 w 2534050"/>
              <a:gd name="connsiteY34" fmla="*/ 4885165 h 4885701"/>
              <a:gd name="connsiteX35" fmla="*/ 1970713 w 2534050"/>
              <a:gd name="connsiteY35" fmla="*/ 4885665 h 4885701"/>
              <a:gd name="connsiteX0" fmla="*/ 1970713 w 2534100"/>
              <a:gd name="connsiteY0" fmla="*/ 4853675 h 4853711"/>
              <a:gd name="connsiteX1" fmla="*/ 1859089 w 2534100"/>
              <a:gd name="connsiteY1" fmla="*/ 4825875 h 4853711"/>
              <a:gd name="connsiteX2" fmla="*/ 1799088 w 2534100"/>
              <a:gd name="connsiteY2" fmla="*/ 4796023 h 4853711"/>
              <a:gd name="connsiteX3" fmla="*/ 257741 w 2534100"/>
              <a:gd name="connsiteY3" fmla="*/ 3912825 h 4853711"/>
              <a:gd name="connsiteX4" fmla="*/ 66855 w 2534100"/>
              <a:gd name="connsiteY4" fmla="*/ 3725485 h 4853711"/>
              <a:gd name="connsiteX5" fmla="*/ 5085 w 2534100"/>
              <a:gd name="connsiteY5" fmla="*/ 3523582 h 4853711"/>
              <a:gd name="connsiteX6" fmla="*/ 117 w 2534100"/>
              <a:gd name="connsiteY6" fmla="*/ 3467192 h 4853711"/>
              <a:gd name="connsiteX7" fmla="*/ 0 w 2534100"/>
              <a:gd name="connsiteY7" fmla="*/ 3466530 h 4853711"/>
              <a:gd name="connsiteX8" fmla="*/ 5920 w 2534100"/>
              <a:gd name="connsiteY8" fmla="*/ 2082049 h 4853711"/>
              <a:gd name="connsiteX9" fmla="*/ 9056 w 2534100"/>
              <a:gd name="connsiteY9" fmla="*/ 2053189 h 4853711"/>
              <a:gd name="connsiteX10" fmla="*/ 206180 w 2534100"/>
              <a:gd name="connsiteY10" fmla="*/ 1960445 h 4853711"/>
              <a:gd name="connsiteX11" fmla="*/ 407391 w 2534100"/>
              <a:gd name="connsiteY11" fmla="*/ 2076598 h 4853711"/>
              <a:gd name="connsiteX12" fmla="*/ 406100 w 2534100"/>
              <a:gd name="connsiteY12" fmla="*/ 2141081 h 4853711"/>
              <a:gd name="connsiteX13" fmla="*/ 409165 w 2534100"/>
              <a:gd name="connsiteY13" fmla="*/ 3456472 h 4853711"/>
              <a:gd name="connsiteX14" fmla="*/ 407598 w 2534100"/>
              <a:gd name="connsiteY14" fmla="*/ 3449880 h 4853711"/>
              <a:gd name="connsiteX15" fmla="*/ 407517 w 2534100"/>
              <a:gd name="connsiteY15" fmla="*/ 3462688 h 4853711"/>
              <a:gd name="connsiteX16" fmla="*/ 464772 w 2534100"/>
              <a:gd name="connsiteY16" fmla="*/ 3561858 h 4853711"/>
              <a:gd name="connsiteX17" fmla="*/ 1965744 w 2534100"/>
              <a:gd name="connsiteY17" fmla="*/ 4433776 h 4853711"/>
              <a:gd name="connsiteX18" fmla="*/ 1966088 w 2534100"/>
              <a:gd name="connsiteY18" fmla="*/ 4434168 h 4853711"/>
              <a:gd name="connsiteX19" fmla="*/ 1988129 w 2534100"/>
              <a:gd name="connsiteY19" fmla="*/ 4427981 h 4853711"/>
              <a:gd name="connsiteX20" fmla="*/ 2034209 w 2534100"/>
              <a:gd name="connsiteY20" fmla="*/ 4367427 h 4853711"/>
              <a:gd name="connsiteX21" fmla="*/ 2036053 w 2534100"/>
              <a:gd name="connsiteY21" fmla="*/ 3674401 h 4853711"/>
              <a:gd name="connsiteX22" fmla="*/ 2038324 w 2534100"/>
              <a:gd name="connsiteY22" fmla="*/ 623193 h 4853711"/>
              <a:gd name="connsiteX23" fmla="*/ 2037139 w 2534100"/>
              <a:gd name="connsiteY23" fmla="*/ 585615 h 4853711"/>
              <a:gd name="connsiteX24" fmla="*/ 2513375 w 2534100"/>
              <a:gd name="connsiteY24" fmla="*/ 0 h 4853711"/>
              <a:gd name="connsiteX25" fmla="*/ 2448222 w 2534100"/>
              <a:gd name="connsiteY25" fmla="*/ 634051 h 4853711"/>
              <a:gd name="connsiteX26" fmla="*/ 2445445 w 2534100"/>
              <a:gd name="connsiteY26" fmla="*/ 650248 h 4853711"/>
              <a:gd name="connsiteX27" fmla="*/ 2442619 w 2534100"/>
              <a:gd name="connsiteY27" fmla="*/ 1426739 h 4853711"/>
              <a:gd name="connsiteX28" fmla="*/ 2444476 w 2534100"/>
              <a:gd name="connsiteY28" fmla="*/ 1430257 h 4853711"/>
              <a:gd name="connsiteX29" fmla="*/ 2443809 w 2534100"/>
              <a:gd name="connsiteY29" fmla="*/ 2606457 h 4853711"/>
              <a:gd name="connsiteX30" fmla="*/ 2441669 w 2534100"/>
              <a:gd name="connsiteY30" fmla="*/ 4371244 h 4853711"/>
              <a:gd name="connsiteX31" fmla="*/ 2374871 w 2534100"/>
              <a:gd name="connsiteY31" fmla="*/ 4630224 h 4853711"/>
              <a:gd name="connsiteX32" fmla="*/ 2230903 w 2534100"/>
              <a:gd name="connsiteY32" fmla="*/ 4784664 h 4853711"/>
              <a:gd name="connsiteX33" fmla="*/ 2020267 w 2534100"/>
              <a:gd name="connsiteY33" fmla="*/ 4853175 h 4853711"/>
              <a:gd name="connsiteX34" fmla="*/ 1970713 w 2534100"/>
              <a:gd name="connsiteY34" fmla="*/ 4853675 h 4853711"/>
              <a:gd name="connsiteX0" fmla="*/ 1970713 w 2448222"/>
              <a:gd name="connsiteY0" fmla="*/ 4268060 h 4268096"/>
              <a:gd name="connsiteX1" fmla="*/ 1859089 w 2448222"/>
              <a:gd name="connsiteY1" fmla="*/ 4240260 h 4268096"/>
              <a:gd name="connsiteX2" fmla="*/ 1799088 w 2448222"/>
              <a:gd name="connsiteY2" fmla="*/ 4210408 h 4268096"/>
              <a:gd name="connsiteX3" fmla="*/ 257741 w 2448222"/>
              <a:gd name="connsiteY3" fmla="*/ 3327210 h 4268096"/>
              <a:gd name="connsiteX4" fmla="*/ 66855 w 2448222"/>
              <a:gd name="connsiteY4" fmla="*/ 3139870 h 4268096"/>
              <a:gd name="connsiteX5" fmla="*/ 5085 w 2448222"/>
              <a:gd name="connsiteY5" fmla="*/ 2937967 h 4268096"/>
              <a:gd name="connsiteX6" fmla="*/ 117 w 2448222"/>
              <a:gd name="connsiteY6" fmla="*/ 2881577 h 4268096"/>
              <a:gd name="connsiteX7" fmla="*/ 0 w 2448222"/>
              <a:gd name="connsiteY7" fmla="*/ 2880915 h 4268096"/>
              <a:gd name="connsiteX8" fmla="*/ 5920 w 2448222"/>
              <a:gd name="connsiteY8" fmla="*/ 1496434 h 4268096"/>
              <a:gd name="connsiteX9" fmla="*/ 9056 w 2448222"/>
              <a:gd name="connsiteY9" fmla="*/ 1467574 h 4268096"/>
              <a:gd name="connsiteX10" fmla="*/ 206180 w 2448222"/>
              <a:gd name="connsiteY10" fmla="*/ 1374830 h 4268096"/>
              <a:gd name="connsiteX11" fmla="*/ 407391 w 2448222"/>
              <a:gd name="connsiteY11" fmla="*/ 1490983 h 4268096"/>
              <a:gd name="connsiteX12" fmla="*/ 406100 w 2448222"/>
              <a:gd name="connsiteY12" fmla="*/ 1555466 h 4268096"/>
              <a:gd name="connsiteX13" fmla="*/ 409165 w 2448222"/>
              <a:gd name="connsiteY13" fmla="*/ 2870857 h 4268096"/>
              <a:gd name="connsiteX14" fmla="*/ 407598 w 2448222"/>
              <a:gd name="connsiteY14" fmla="*/ 2864265 h 4268096"/>
              <a:gd name="connsiteX15" fmla="*/ 407517 w 2448222"/>
              <a:gd name="connsiteY15" fmla="*/ 2877073 h 4268096"/>
              <a:gd name="connsiteX16" fmla="*/ 464772 w 2448222"/>
              <a:gd name="connsiteY16" fmla="*/ 2976243 h 4268096"/>
              <a:gd name="connsiteX17" fmla="*/ 1965744 w 2448222"/>
              <a:gd name="connsiteY17" fmla="*/ 3848161 h 4268096"/>
              <a:gd name="connsiteX18" fmla="*/ 1966088 w 2448222"/>
              <a:gd name="connsiteY18" fmla="*/ 3848553 h 4268096"/>
              <a:gd name="connsiteX19" fmla="*/ 1988129 w 2448222"/>
              <a:gd name="connsiteY19" fmla="*/ 3842366 h 4268096"/>
              <a:gd name="connsiteX20" fmla="*/ 2034209 w 2448222"/>
              <a:gd name="connsiteY20" fmla="*/ 3781812 h 4268096"/>
              <a:gd name="connsiteX21" fmla="*/ 2036053 w 2448222"/>
              <a:gd name="connsiteY21" fmla="*/ 3088786 h 4268096"/>
              <a:gd name="connsiteX22" fmla="*/ 2038324 w 2448222"/>
              <a:gd name="connsiteY22" fmla="*/ 37578 h 4268096"/>
              <a:gd name="connsiteX23" fmla="*/ 2037139 w 2448222"/>
              <a:gd name="connsiteY23" fmla="*/ 0 h 4268096"/>
              <a:gd name="connsiteX24" fmla="*/ 2448222 w 2448222"/>
              <a:gd name="connsiteY24" fmla="*/ 48436 h 4268096"/>
              <a:gd name="connsiteX25" fmla="*/ 2445445 w 2448222"/>
              <a:gd name="connsiteY25" fmla="*/ 64633 h 4268096"/>
              <a:gd name="connsiteX26" fmla="*/ 2442619 w 2448222"/>
              <a:gd name="connsiteY26" fmla="*/ 841124 h 4268096"/>
              <a:gd name="connsiteX27" fmla="*/ 2444476 w 2448222"/>
              <a:gd name="connsiteY27" fmla="*/ 844642 h 4268096"/>
              <a:gd name="connsiteX28" fmla="*/ 2443809 w 2448222"/>
              <a:gd name="connsiteY28" fmla="*/ 2020842 h 4268096"/>
              <a:gd name="connsiteX29" fmla="*/ 2441669 w 2448222"/>
              <a:gd name="connsiteY29" fmla="*/ 3785629 h 4268096"/>
              <a:gd name="connsiteX30" fmla="*/ 2374871 w 2448222"/>
              <a:gd name="connsiteY30" fmla="*/ 4044609 h 4268096"/>
              <a:gd name="connsiteX31" fmla="*/ 2230903 w 2448222"/>
              <a:gd name="connsiteY31" fmla="*/ 4199049 h 4268096"/>
              <a:gd name="connsiteX32" fmla="*/ 2020267 w 2448222"/>
              <a:gd name="connsiteY32" fmla="*/ 4267560 h 4268096"/>
              <a:gd name="connsiteX33" fmla="*/ 1970713 w 2448222"/>
              <a:gd name="connsiteY33" fmla="*/ 4268060 h 4268096"/>
              <a:gd name="connsiteX0" fmla="*/ 1970713 w 2448222"/>
              <a:gd name="connsiteY0" fmla="*/ 4268060 h 4268096"/>
              <a:gd name="connsiteX1" fmla="*/ 1859089 w 2448222"/>
              <a:gd name="connsiteY1" fmla="*/ 4240260 h 4268096"/>
              <a:gd name="connsiteX2" fmla="*/ 1799088 w 2448222"/>
              <a:gd name="connsiteY2" fmla="*/ 4210408 h 4268096"/>
              <a:gd name="connsiteX3" fmla="*/ 257741 w 2448222"/>
              <a:gd name="connsiteY3" fmla="*/ 3327210 h 4268096"/>
              <a:gd name="connsiteX4" fmla="*/ 66855 w 2448222"/>
              <a:gd name="connsiteY4" fmla="*/ 3139870 h 4268096"/>
              <a:gd name="connsiteX5" fmla="*/ 5085 w 2448222"/>
              <a:gd name="connsiteY5" fmla="*/ 2937967 h 4268096"/>
              <a:gd name="connsiteX6" fmla="*/ 117 w 2448222"/>
              <a:gd name="connsiteY6" fmla="*/ 2881577 h 4268096"/>
              <a:gd name="connsiteX7" fmla="*/ 0 w 2448222"/>
              <a:gd name="connsiteY7" fmla="*/ 2880915 h 4268096"/>
              <a:gd name="connsiteX8" fmla="*/ 5920 w 2448222"/>
              <a:gd name="connsiteY8" fmla="*/ 1496434 h 4268096"/>
              <a:gd name="connsiteX9" fmla="*/ 9056 w 2448222"/>
              <a:gd name="connsiteY9" fmla="*/ 1467574 h 4268096"/>
              <a:gd name="connsiteX10" fmla="*/ 206180 w 2448222"/>
              <a:gd name="connsiteY10" fmla="*/ 1374830 h 4268096"/>
              <a:gd name="connsiteX11" fmla="*/ 407391 w 2448222"/>
              <a:gd name="connsiteY11" fmla="*/ 1490983 h 4268096"/>
              <a:gd name="connsiteX12" fmla="*/ 406100 w 2448222"/>
              <a:gd name="connsiteY12" fmla="*/ 1555466 h 4268096"/>
              <a:gd name="connsiteX13" fmla="*/ 409165 w 2448222"/>
              <a:gd name="connsiteY13" fmla="*/ 2870857 h 4268096"/>
              <a:gd name="connsiteX14" fmla="*/ 407598 w 2448222"/>
              <a:gd name="connsiteY14" fmla="*/ 2864265 h 4268096"/>
              <a:gd name="connsiteX15" fmla="*/ 407517 w 2448222"/>
              <a:gd name="connsiteY15" fmla="*/ 2877073 h 4268096"/>
              <a:gd name="connsiteX16" fmla="*/ 464772 w 2448222"/>
              <a:gd name="connsiteY16" fmla="*/ 2976243 h 4268096"/>
              <a:gd name="connsiteX17" fmla="*/ 1965744 w 2448222"/>
              <a:gd name="connsiteY17" fmla="*/ 3848161 h 4268096"/>
              <a:gd name="connsiteX18" fmla="*/ 1966088 w 2448222"/>
              <a:gd name="connsiteY18" fmla="*/ 3848553 h 4268096"/>
              <a:gd name="connsiteX19" fmla="*/ 1988129 w 2448222"/>
              <a:gd name="connsiteY19" fmla="*/ 3842366 h 4268096"/>
              <a:gd name="connsiteX20" fmla="*/ 2034209 w 2448222"/>
              <a:gd name="connsiteY20" fmla="*/ 3781812 h 4268096"/>
              <a:gd name="connsiteX21" fmla="*/ 2036053 w 2448222"/>
              <a:gd name="connsiteY21" fmla="*/ 3088786 h 4268096"/>
              <a:gd name="connsiteX22" fmla="*/ 2038324 w 2448222"/>
              <a:gd name="connsiteY22" fmla="*/ 37578 h 4268096"/>
              <a:gd name="connsiteX23" fmla="*/ 2037139 w 2448222"/>
              <a:gd name="connsiteY23" fmla="*/ 0 h 4268096"/>
              <a:gd name="connsiteX24" fmla="*/ 2448222 w 2448222"/>
              <a:gd name="connsiteY24" fmla="*/ 48436 h 4268096"/>
              <a:gd name="connsiteX25" fmla="*/ 2442619 w 2448222"/>
              <a:gd name="connsiteY25" fmla="*/ 841124 h 4268096"/>
              <a:gd name="connsiteX26" fmla="*/ 2444476 w 2448222"/>
              <a:gd name="connsiteY26" fmla="*/ 844642 h 4268096"/>
              <a:gd name="connsiteX27" fmla="*/ 2443809 w 2448222"/>
              <a:gd name="connsiteY27" fmla="*/ 2020842 h 4268096"/>
              <a:gd name="connsiteX28" fmla="*/ 2441669 w 2448222"/>
              <a:gd name="connsiteY28" fmla="*/ 3785629 h 4268096"/>
              <a:gd name="connsiteX29" fmla="*/ 2374871 w 2448222"/>
              <a:gd name="connsiteY29" fmla="*/ 4044609 h 4268096"/>
              <a:gd name="connsiteX30" fmla="*/ 2230903 w 2448222"/>
              <a:gd name="connsiteY30" fmla="*/ 4199049 h 4268096"/>
              <a:gd name="connsiteX31" fmla="*/ 2020267 w 2448222"/>
              <a:gd name="connsiteY31" fmla="*/ 4267560 h 4268096"/>
              <a:gd name="connsiteX32" fmla="*/ 1970713 w 2448222"/>
              <a:gd name="connsiteY32" fmla="*/ 4268060 h 4268096"/>
              <a:gd name="connsiteX0" fmla="*/ 1970713 w 2448222"/>
              <a:gd name="connsiteY0" fmla="*/ 4230482 h 4230518"/>
              <a:gd name="connsiteX1" fmla="*/ 1859089 w 2448222"/>
              <a:gd name="connsiteY1" fmla="*/ 4202682 h 4230518"/>
              <a:gd name="connsiteX2" fmla="*/ 1799088 w 2448222"/>
              <a:gd name="connsiteY2" fmla="*/ 4172830 h 4230518"/>
              <a:gd name="connsiteX3" fmla="*/ 257741 w 2448222"/>
              <a:gd name="connsiteY3" fmla="*/ 3289632 h 4230518"/>
              <a:gd name="connsiteX4" fmla="*/ 66855 w 2448222"/>
              <a:gd name="connsiteY4" fmla="*/ 3102292 h 4230518"/>
              <a:gd name="connsiteX5" fmla="*/ 5085 w 2448222"/>
              <a:gd name="connsiteY5" fmla="*/ 2900389 h 4230518"/>
              <a:gd name="connsiteX6" fmla="*/ 117 w 2448222"/>
              <a:gd name="connsiteY6" fmla="*/ 2843999 h 4230518"/>
              <a:gd name="connsiteX7" fmla="*/ 0 w 2448222"/>
              <a:gd name="connsiteY7" fmla="*/ 2843337 h 4230518"/>
              <a:gd name="connsiteX8" fmla="*/ 5920 w 2448222"/>
              <a:gd name="connsiteY8" fmla="*/ 1458856 h 4230518"/>
              <a:gd name="connsiteX9" fmla="*/ 9056 w 2448222"/>
              <a:gd name="connsiteY9" fmla="*/ 1429996 h 4230518"/>
              <a:gd name="connsiteX10" fmla="*/ 206180 w 2448222"/>
              <a:gd name="connsiteY10" fmla="*/ 1337252 h 4230518"/>
              <a:gd name="connsiteX11" fmla="*/ 407391 w 2448222"/>
              <a:gd name="connsiteY11" fmla="*/ 1453405 h 4230518"/>
              <a:gd name="connsiteX12" fmla="*/ 406100 w 2448222"/>
              <a:gd name="connsiteY12" fmla="*/ 1517888 h 4230518"/>
              <a:gd name="connsiteX13" fmla="*/ 409165 w 2448222"/>
              <a:gd name="connsiteY13" fmla="*/ 2833279 h 4230518"/>
              <a:gd name="connsiteX14" fmla="*/ 407598 w 2448222"/>
              <a:gd name="connsiteY14" fmla="*/ 2826687 h 4230518"/>
              <a:gd name="connsiteX15" fmla="*/ 407517 w 2448222"/>
              <a:gd name="connsiteY15" fmla="*/ 2839495 h 4230518"/>
              <a:gd name="connsiteX16" fmla="*/ 464772 w 2448222"/>
              <a:gd name="connsiteY16" fmla="*/ 2938665 h 4230518"/>
              <a:gd name="connsiteX17" fmla="*/ 1965744 w 2448222"/>
              <a:gd name="connsiteY17" fmla="*/ 3810583 h 4230518"/>
              <a:gd name="connsiteX18" fmla="*/ 1966088 w 2448222"/>
              <a:gd name="connsiteY18" fmla="*/ 3810975 h 4230518"/>
              <a:gd name="connsiteX19" fmla="*/ 1988129 w 2448222"/>
              <a:gd name="connsiteY19" fmla="*/ 3804788 h 4230518"/>
              <a:gd name="connsiteX20" fmla="*/ 2034209 w 2448222"/>
              <a:gd name="connsiteY20" fmla="*/ 3744234 h 4230518"/>
              <a:gd name="connsiteX21" fmla="*/ 2036053 w 2448222"/>
              <a:gd name="connsiteY21" fmla="*/ 3051208 h 4230518"/>
              <a:gd name="connsiteX22" fmla="*/ 2038324 w 2448222"/>
              <a:gd name="connsiteY22" fmla="*/ 0 h 4230518"/>
              <a:gd name="connsiteX23" fmla="*/ 2448222 w 2448222"/>
              <a:gd name="connsiteY23" fmla="*/ 10858 h 4230518"/>
              <a:gd name="connsiteX24" fmla="*/ 2442619 w 2448222"/>
              <a:gd name="connsiteY24" fmla="*/ 803546 h 4230518"/>
              <a:gd name="connsiteX25" fmla="*/ 2444476 w 2448222"/>
              <a:gd name="connsiteY25" fmla="*/ 807064 h 4230518"/>
              <a:gd name="connsiteX26" fmla="*/ 2443809 w 2448222"/>
              <a:gd name="connsiteY26" fmla="*/ 1983264 h 4230518"/>
              <a:gd name="connsiteX27" fmla="*/ 2441669 w 2448222"/>
              <a:gd name="connsiteY27" fmla="*/ 3748051 h 4230518"/>
              <a:gd name="connsiteX28" fmla="*/ 2374871 w 2448222"/>
              <a:gd name="connsiteY28" fmla="*/ 4007031 h 4230518"/>
              <a:gd name="connsiteX29" fmla="*/ 2230903 w 2448222"/>
              <a:gd name="connsiteY29" fmla="*/ 4161471 h 4230518"/>
              <a:gd name="connsiteX30" fmla="*/ 2020267 w 2448222"/>
              <a:gd name="connsiteY30" fmla="*/ 4229982 h 4230518"/>
              <a:gd name="connsiteX31" fmla="*/ 1970713 w 2448222"/>
              <a:gd name="connsiteY31" fmla="*/ 4230482 h 4230518"/>
              <a:gd name="connsiteX0" fmla="*/ 1970713 w 2448222"/>
              <a:gd name="connsiteY0" fmla="*/ 4219624 h 4219660"/>
              <a:gd name="connsiteX1" fmla="*/ 1859089 w 2448222"/>
              <a:gd name="connsiteY1" fmla="*/ 4191824 h 4219660"/>
              <a:gd name="connsiteX2" fmla="*/ 1799088 w 2448222"/>
              <a:gd name="connsiteY2" fmla="*/ 4161972 h 4219660"/>
              <a:gd name="connsiteX3" fmla="*/ 257741 w 2448222"/>
              <a:gd name="connsiteY3" fmla="*/ 3278774 h 4219660"/>
              <a:gd name="connsiteX4" fmla="*/ 66855 w 2448222"/>
              <a:gd name="connsiteY4" fmla="*/ 3091434 h 4219660"/>
              <a:gd name="connsiteX5" fmla="*/ 5085 w 2448222"/>
              <a:gd name="connsiteY5" fmla="*/ 2889531 h 4219660"/>
              <a:gd name="connsiteX6" fmla="*/ 117 w 2448222"/>
              <a:gd name="connsiteY6" fmla="*/ 2833141 h 4219660"/>
              <a:gd name="connsiteX7" fmla="*/ 0 w 2448222"/>
              <a:gd name="connsiteY7" fmla="*/ 2832479 h 4219660"/>
              <a:gd name="connsiteX8" fmla="*/ 5920 w 2448222"/>
              <a:gd name="connsiteY8" fmla="*/ 1447998 h 4219660"/>
              <a:gd name="connsiteX9" fmla="*/ 9056 w 2448222"/>
              <a:gd name="connsiteY9" fmla="*/ 1419138 h 4219660"/>
              <a:gd name="connsiteX10" fmla="*/ 206180 w 2448222"/>
              <a:gd name="connsiteY10" fmla="*/ 1326394 h 4219660"/>
              <a:gd name="connsiteX11" fmla="*/ 407391 w 2448222"/>
              <a:gd name="connsiteY11" fmla="*/ 1442547 h 4219660"/>
              <a:gd name="connsiteX12" fmla="*/ 406100 w 2448222"/>
              <a:gd name="connsiteY12" fmla="*/ 1507030 h 4219660"/>
              <a:gd name="connsiteX13" fmla="*/ 409165 w 2448222"/>
              <a:gd name="connsiteY13" fmla="*/ 2822421 h 4219660"/>
              <a:gd name="connsiteX14" fmla="*/ 407598 w 2448222"/>
              <a:gd name="connsiteY14" fmla="*/ 2815829 h 4219660"/>
              <a:gd name="connsiteX15" fmla="*/ 407517 w 2448222"/>
              <a:gd name="connsiteY15" fmla="*/ 2828637 h 4219660"/>
              <a:gd name="connsiteX16" fmla="*/ 464772 w 2448222"/>
              <a:gd name="connsiteY16" fmla="*/ 2927807 h 4219660"/>
              <a:gd name="connsiteX17" fmla="*/ 1965744 w 2448222"/>
              <a:gd name="connsiteY17" fmla="*/ 3799725 h 4219660"/>
              <a:gd name="connsiteX18" fmla="*/ 1966088 w 2448222"/>
              <a:gd name="connsiteY18" fmla="*/ 3800117 h 4219660"/>
              <a:gd name="connsiteX19" fmla="*/ 1988129 w 2448222"/>
              <a:gd name="connsiteY19" fmla="*/ 3793930 h 4219660"/>
              <a:gd name="connsiteX20" fmla="*/ 2034209 w 2448222"/>
              <a:gd name="connsiteY20" fmla="*/ 3733376 h 4219660"/>
              <a:gd name="connsiteX21" fmla="*/ 2036053 w 2448222"/>
              <a:gd name="connsiteY21" fmla="*/ 3040350 h 4219660"/>
              <a:gd name="connsiteX22" fmla="*/ 2448222 w 2448222"/>
              <a:gd name="connsiteY22" fmla="*/ 0 h 4219660"/>
              <a:gd name="connsiteX23" fmla="*/ 2442619 w 2448222"/>
              <a:gd name="connsiteY23" fmla="*/ 792688 h 4219660"/>
              <a:gd name="connsiteX24" fmla="*/ 2444476 w 2448222"/>
              <a:gd name="connsiteY24" fmla="*/ 796206 h 4219660"/>
              <a:gd name="connsiteX25" fmla="*/ 2443809 w 2448222"/>
              <a:gd name="connsiteY25" fmla="*/ 1972406 h 4219660"/>
              <a:gd name="connsiteX26" fmla="*/ 2441669 w 2448222"/>
              <a:gd name="connsiteY26" fmla="*/ 3737193 h 4219660"/>
              <a:gd name="connsiteX27" fmla="*/ 2374871 w 2448222"/>
              <a:gd name="connsiteY27" fmla="*/ 3996173 h 4219660"/>
              <a:gd name="connsiteX28" fmla="*/ 2230903 w 2448222"/>
              <a:gd name="connsiteY28" fmla="*/ 4150613 h 4219660"/>
              <a:gd name="connsiteX29" fmla="*/ 2020267 w 2448222"/>
              <a:gd name="connsiteY29" fmla="*/ 4219124 h 4219660"/>
              <a:gd name="connsiteX30" fmla="*/ 1970713 w 2448222"/>
              <a:gd name="connsiteY30" fmla="*/ 4219624 h 4219660"/>
              <a:gd name="connsiteX0" fmla="*/ 1970713 w 2444505"/>
              <a:gd name="connsiteY0" fmla="*/ 3426936 h 3426972"/>
              <a:gd name="connsiteX1" fmla="*/ 1859089 w 2444505"/>
              <a:gd name="connsiteY1" fmla="*/ 3399136 h 3426972"/>
              <a:gd name="connsiteX2" fmla="*/ 1799088 w 2444505"/>
              <a:gd name="connsiteY2" fmla="*/ 3369284 h 3426972"/>
              <a:gd name="connsiteX3" fmla="*/ 257741 w 2444505"/>
              <a:gd name="connsiteY3" fmla="*/ 2486086 h 3426972"/>
              <a:gd name="connsiteX4" fmla="*/ 66855 w 2444505"/>
              <a:gd name="connsiteY4" fmla="*/ 2298746 h 3426972"/>
              <a:gd name="connsiteX5" fmla="*/ 5085 w 2444505"/>
              <a:gd name="connsiteY5" fmla="*/ 2096843 h 3426972"/>
              <a:gd name="connsiteX6" fmla="*/ 117 w 2444505"/>
              <a:gd name="connsiteY6" fmla="*/ 2040453 h 3426972"/>
              <a:gd name="connsiteX7" fmla="*/ 0 w 2444505"/>
              <a:gd name="connsiteY7" fmla="*/ 2039791 h 3426972"/>
              <a:gd name="connsiteX8" fmla="*/ 5920 w 2444505"/>
              <a:gd name="connsiteY8" fmla="*/ 655310 h 3426972"/>
              <a:gd name="connsiteX9" fmla="*/ 9056 w 2444505"/>
              <a:gd name="connsiteY9" fmla="*/ 626450 h 3426972"/>
              <a:gd name="connsiteX10" fmla="*/ 206180 w 2444505"/>
              <a:gd name="connsiteY10" fmla="*/ 533706 h 3426972"/>
              <a:gd name="connsiteX11" fmla="*/ 407391 w 2444505"/>
              <a:gd name="connsiteY11" fmla="*/ 649859 h 3426972"/>
              <a:gd name="connsiteX12" fmla="*/ 406100 w 2444505"/>
              <a:gd name="connsiteY12" fmla="*/ 714342 h 3426972"/>
              <a:gd name="connsiteX13" fmla="*/ 409165 w 2444505"/>
              <a:gd name="connsiteY13" fmla="*/ 2029733 h 3426972"/>
              <a:gd name="connsiteX14" fmla="*/ 407598 w 2444505"/>
              <a:gd name="connsiteY14" fmla="*/ 2023141 h 3426972"/>
              <a:gd name="connsiteX15" fmla="*/ 407517 w 2444505"/>
              <a:gd name="connsiteY15" fmla="*/ 2035949 h 3426972"/>
              <a:gd name="connsiteX16" fmla="*/ 464772 w 2444505"/>
              <a:gd name="connsiteY16" fmla="*/ 2135119 h 3426972"/>
              <a:gd name="connsiteX17" fmla="*/ 1965744 w 2444505"/>
              <a:gd name="connsiteY17" fmla="*/ 3007037 h 3426972"/>
              <a:gd name="connsiteX18" fmla="*/ 1966088 w 2444505"/>
              <a:gd name="connsiteY18" fmla="*/ 3007429 h 3426972"/>
              <a:gd name="connsiteX19" fmla="*/ 1988129 w 2444505"/>
              <a:gd name="connsiteY19" fmla="*/ 3001242 h 3426972"/>
              <a:gd name="connsiteX20" fmla="*/ 2034209 w 2444505"/>
              <a:gd name="connsiteY20" fmla="*/ 2940688 h 3426972"/>
              <a:gd name="connsiteX21" fmla="*/ 2036053 w 2444505"/>
              <a:gd name="connsiteY21" fmla="*/ 2247662 h 3426972"/>
              <a:gd name="connsiteX22" fmla="*/ 2442619 w 2444505"/>
              <a:gd name="connsiteY22" fmla="*/ 0 h 3426972"/>
              <a:gd name="connsiteX23" fmla="*/ 2444476 w 2444505"/>
              <a:gd name="connsiteY23" fmla="*/ 3518 h 3426972"/>
              <a:gd name="connsiteX24" fmla="*/ 2443809 w 2444505"/>
              <a:gd name="connsiteY24" fmla="*/ 1179718 h 3426972"/>
              <a:gd name="connsiteX25" fmla="*/ 2441669 w 2444505"/>
              <a:gd name="connsiteY25" fmla="*/ 2944505 h 3426972"/>
              <a:gd name="connsiteX26" fmla="*/ 2374871 w 2444505"/>
              <a:gd name="connsiteY26" fmla="*/ 3203485 h 3426972"/>
              <a:gd name="connsiteX27" fmla="*/ 2230903 w 2444505"/>
              <a:gd name="connsiteY27" fmla="*/ 3357925 h 3426972"/>
              <a:gd name="connsiteX28" fmla="*/ 2020267 w 2444505"/>
              <a:gd name="connsiteY28" fmla="*/ 3426436 h 3426972"/>
              <a:gd name="connsiteX29" fmla="*/ 1970713 w 2444505"/>
              <a:gd name="connsiteY29" fmla="*/ 3426936 h 3426972"/>
              <a:gd name="connsiteX0" fmla="*/ 1970713 w 2443809"/>
              <a:gd name="connsiteY0" fmla="*/ 3426936 h 3426972"/>
              <a:gd name="connsiteX1" fmla="*/ 1859089 w 2443809"/>
              <a:gd name="connsiteY1" fmla="*/ 3399136 h 3426972"/>
              <a:gd name="connsiteX2" fmla="*/ 1799088 w 2443809"/>
              <a:gd name="connsiteY2" fmla="*/ 3369284 h 3426972"/>
              <a:gd name="connsiteX3" fmla="*/ 257741 w 2443809"/>
              <a:gd name="connsiteY3" fmla="*/ 2486086 h 3426972"/>
              <a:gd name="connsiteX4" fmla="*/ 66855 w 2443809"/>
              <a:gd name="connsiteY4" fmla="*/ 2298746 h 3426972"/>
              <a:gd name="connsiteX5" fmla="*/ 5085 w 2443809"/>
              <a:gd name="connsiteY5" fmla="*/ 2096843 h 3426972"/>
              <a:gd name="connsiteX6" fmla="*/ 117 w 2443809"/>
              <a:gd name="connsiteY6" fmla="*/ 2040453 h 3426972"/>
              <a:gd name="connsiteX7" fmla="*/ 0 w 2443809"/>
              <a:gd name="connsiteY7" fmla="*/ 2039791 h 3426972"/>
              <a:gd name="connsiteX8" fmla="*/ 5920 w 2443809"/>
              <a:gd name="connsiteY8" fmla="*/ 655310 h 3426972"/>
              <a:gd name="connsiteX9" fmla="*/ 9056 w 2443809"/>
              <a:gd name="connsiteY9" fmla="*/ 626450 h 3426972"/>
              <a:gd name="connsiteX10" fmla="*/ 206180 w 2443809"/>
              <a:gd name="connsiteY10" fmla="*/ 533706 h 3426972"/>
              <a:gd name="connsiteX11" fmla="*/ 407391 w 2443809"/>
              <a:gd name="connsiteY11" fmla="*/ 649859 h 3426972"/>
              <a:gd name="connsiteX12" fmla="*/ 406100 w 2443809"/>
              <a:gd name="connsiteY12" fmla="*/ 714342 h 3426972"/>
              <a:gd name="connsiteX13" fmla="*/ 409165 w 2443809"/>
              <a:gd name="connsiteY13" fmla="*/ 2029733 h 3426972"/>
              <a:gd name="connsiteX14" fmla="*/ 407598 w 2443809"/>
              <a:gd name="connsiteY14" fmla="*/ 2023141 h 3426972"/>
              <a:gd name="connsiteX15" fmla="*/ 407517 w 2443809"/>
              <a:gd name="connsiteY15" fmla="*/ 2035949 h 3426972"/>
              <a:gd name="connsiteX16" fmla="*/ 464772 w 2443809"/>
              <a:gd name="connsiteY16" fmla="*/ 2135119 h 3426972"/>
              <a:gd name="connsiteX17" fmla="*/ 1965744 w 2443809"/>
              <a:gd name="connsiteY17" fmla="*/ 3007037 h 3426972"/>
              <a:gd name="connsiteX18" fmla="*/ 1966088 w 2443809"/>
              <a:gd name="connsiteY18" fmla="*/ 3007429 h 3426972"/>
              <a:gd name="connsiteX19" fmla="*/ 1988129 w 2443809"/>
              <a:gd name="connsiteY19" fmla="*/ 3001242 h 3426972"/>
              <a:gd name="connsiteX20" fmla="*/ 2034209 w 2443809"/>
              <a:gd name="connsiteY20" fmla="*/ 2940688 h 3426972"/>
              <a:gd name="connsiteX21" fmla="*/ 2036053 w 2443809"/>
              <a:gd name="connsiteY21" fmla="*/ 2247662 h 3426972"/>
              <a:gd name="connsiteX22" fmla="*/ 2442619 w 2443809"/>
              <a:gd name="connsiteY22" fmla="*/ 0 h 3426972"/>
              <a:gd name="connsiteX23" fmla="*/ 2443809 w 2443809"/>
              <a:gd name="connsiteY23" fmla="*/ 1179718 h 3426972"/>
              <a:gd name="connsiteX24" fmla="*/ 2441669 w 2443809"/>
              <a:gd name="connsiteY24" fmla="*/ 2944505 h 3426972"/>
              <a:gd name="connsiteX25" fmla="*/ 2374871 w 2443809"/>
              <a:gd name="connsiteY25" fmla="*/ 3203485 h 3426972"/>
              <a:gd name="connsiteX26" fmla="*/ 2230903 w 2443809"/>
              <a:gd name="connsiteY26" fmla="*/ 3357925 h 3426972"/>
              <a:gd name="connsiteX27" fmla="*/ 2020267 w 2443809"/>
              <a:gd name="connsiteY27" fmla="*/ 3426436 h 3426972"/>
              <a:gd name="connsiteX28" fmla="*/ 1970713 w 2443809"/>
              <a:gd name="connsiteY28" fmla="*/ 3426936 h 3426972"/>
              <a:gd name="connsiteX0" fmla="*/ 1970713 w 2475053"/>
              <a:gd name="connsiteY0" fmla="*/ 3426936 h 3426972"/>
              <a:gd name="connsiteX1" fmla="*/ 1859089 w 2475053"/>
              <a:gd name="connsiteY1" fmla="*/ 3399136 h 3426972"/>
              <a:gd name="connsiteX2" fmla="*/ 1799088 w 2475053"/>
              <a:gd name="connsiteY2" fmla="*/ 3369284 h 3426972"/>
              <a:gd name="connsiteX3" fmla="*/ 257741 w 2475053"/>
              <a:gd name="connsiteY3" fmla="*/ 2486086 h 3426972"/>
              <a:gd name="connsiteX4" fmla="*/ 66855 w 2475053"/>
              <a:gd name="connsiteY4" fmla="*/ 2298746 h 3426972"/>
              <a:gd name="connsiteX5" fmla="*/ 5085 w 2475053"/>
              <a:gd name="connsiteY5" fmla="*/ 2096843 h 3426972"/>
              <a:gd name="connsiteX6" fmla="*/ 117 w 2475053"/>
              <a:gd name="connsiteY6" fmla="*/ 2040453 h 3426972"/>
              <a:gd name="connsiteX7" fmla="*/ 0 w 2475053"/>
              <a:gd name="connsiteY7" fmla="*/ 2039791 h 3426972"/>
              <a:gd name="connsiteX8" fmla="*/ 5920 w 2475053"/>
              <a:gd name="connsiteY8" fmla="*/ 655310 h 3426972"/>
              <a:gd name="connsiteX9" fmla="*/ 9056 w 2475053"/>
              <a:gd name="connsiteY9" fmla="*/ 626450 h 3426972"/>
              <a:gd name="connsiteX10" fmla="*/ 206180 w 2475053"/>
              <a:gd name="connsiteY10" fmla="*/ 533706 h 3426972"/>
              <a:gd name="connsiteX11" fmla="*/ 407391 w 2475053"/>
              <a:gd name="connsiteY11" fmla="*/ 649859 h 3426972"/>
              <a:gd name="connsiteX12" fmla="*/ 406100 w 2475053"/>
              <a:gd name="connsiteY12" fmla="*/ 714342 h 3426972"/>
              <a:gd name="connsiteX13" fmla="*/ 409165 w 2475053"/>
              <a:gd name="connsiteY13" fmla="*/ 2029733 h 3426972"/>
              <a:gd name="connsiteX14" fmla="*/ 407598 w 2475053"/>
              <a:gd name="connsiteY14" fmla="*/ 2023141 h 3426972"/>
              <a:gd name="connsiteX15" fmla="*/ 407517 w 2475053"/>
              <a:gd name="connsiteY15" fmla="*/ 2035949 h 3426972"/>
              <a:gd name="connsiteX16" fmla="*/ 464772 w 2475053"/>
              <a:gd name="connsiteY16" fmla="*/ 2135119 h 3426972"/>
              <a:gd name="connsiteX17" fmla="*/ 1965744 w 2475053"/>
              <a:gd name="connsiteY17" fmla="*/ 3007037 h 3426972"/>
              <a:gd name="connsiteX18" fmla="*/ 1966088 w 2475053"/>
              <a:gd name="connsiteY18" fmla="*/ 3007429 h 3426972"/>
              <a:gd name="connsiteX19" fmla="*/ 1988129 w 2475053"/>
              <a:gd name="connsiteY19" fmla="*/ 3001242 h 3426972"/>
              <a:gd name="connsiteX20" fmla="*/ 2034209 w 2475053"/>
              <a:gd name="connsiteY20" fmla="*/ 2940688 h 3426972"/>
              <a:gd name="connsiteX21" fmla="*/ 2036053 w 2475053"/>
              <a:gd name="connsiteY21" fmla="*/ 2247662 h 3426972"/>
              <a:gd name="connsiteX22" fmla="*/ 2442619 w 2475053"/>
              <a:gd name="connsiteY22" fmla="*/ 0 h 3426972"/>
              <a:gd name="connsiteX23" fmla="*/ 2441669 w 2475053"/>
              <a:gd name="connsiteY23" fmla="*/ 2944505 h 3426972"/>
              <a:gd name="connsiteX24" fmla="*/ 2374871 w 2475053"/>
              <a:gd name="connsiteY24" fmla="*/ 3203485 h 3426972"/>
              <a:gd name="connsiteX25" fmla="*/ 2230903 w 2475053"/>
              <a:gd name="connsiteY25" fmla="*/ 3357925 h 3426972"/>
              <a:gd name="connsiteX26" fmla="*/ 2020267 w 2475053"/>
              <a:gd name="connsiteY26" fmla="*/ 3426436 h 3426972"/>
              <a:gd name="connsiteX27" fmla="*/ 1970713 w 2475053"/>
              <a:gd name="connsiteY27" fmla="*/ 3426936 h 3426972"/>
              <a:gd name="connsiteX0" fmla="*/ 1970713 w 2441669"/>
              <a:gd name="connsiteY0" fmla="*/ 2893230 h 2893266"/>
              <a:gd name="connsiteX1" fmla="*/ 1859089 w 2441669"/>
              <a:gd name="connsiteY1" fmla="*/ 2865430 h 2893266"/>
              <a:gd name="connsiteX2" fmla="*/ 1799088 w 2441669"/>
              <a:gd name="connsiteY2" fmla="*/ 2835578 h 2893266"/>
              <a:gd name="connsiteX3" fmla="*/ 257741 w 2441669"/>
              <a:gd name="connsiteY3" fmla="*/ 1952380 h 2893266"/>
              <a:gd name="connsiteX4" fmla="*/ 66855 w 2441669"/>
              <a:gd name="connsiteY4" fmla="*/ 1765040 h 2893266"/>
              <a:gd name="connsiteX5" fmla="*/ 5085 w 2441669"/>
              <a:gd name="connsiteY5" fmla="*/ 1563137 h 2893266"/>
              <a:gd name="connsiteX6" fmla="*/ 117 w 2441669"/>
              <a:gd name="connsiteY6" fmla="*/ 1506747 h 2893266"/>
              <a:gd name="connsiteX7" fmla="*/ 0 w 2441669"/>
              <a:gd name="connsiteY7" fmla="*/ 1506085 h 2893266"/>
              <a:gd name="connsiteX8" fmla="*/ 5920 w 2441669"/>
              <a:gd name="connsiteY8" fmla="*/ 121604 h 2893266"/>
              <a:gd name="connsiteX9" fmla="*/ 9056 w 2441669"/>
              <a:gd name="connsiteY9" fmla="*/ 92744 h 2893266"/>
              <a:gd name="connsiteX10" fmla="*/ 206180 w 2441669"/>
              <a:gd name="connsiteY10" fmla="*/ 0 h 2893266"/>
              <a:gd name="connsiteX11" fmla="*/ 407391 w 2441669"/>
              <a:gd name="connsiteY11" fmla="*/ 116153 h 2893266"/>
              <a:gd name="connsiteX12" fmla="*/ 406100 w 2441669"/>
              <a:gd name="connsiteY12" fmla="*/ 180636 h 2893266"/>
              <a:gd name="connsiteX13" fmla="*/ 409165 w 2441669"/>
              <a:gd name="connsiteY13" fmla="*/ 1496027 h 2893266"/>
              <a:gd name="connsiteX14" fmla="*/ 407598 w 2441669"/>
              <a:gd name="connsiteY14" fmla="*/ 1489435 h 2893266"/>
              <a:gd name="connsiteX15" fmla="*/ 407517 w 2441669"/>
              <a:gd name="connsiteY15" fmla="*/ 1502243 h 2893266"/>
              <a:gd name="connsiteX16" fmla="*/ 464772 w 2441669"/>
              <a:gd name="connsiteY16" fmla="*/ 1601413 h 2893266"/>
              <a:gd name="connsiteX17" fmla="*/ 1965744 w 2441669"/>
              <a:gd name="connsiteY17" fmla="*/ 2473331 h 2893266"/>
              <a:gd name="connsiteX18" fmla="*/ 1966088 w 2441669"/>
              <a:gd name="connsiteY18" fmla="*/ 2473723 h 2893266"/>
              <a:gd name="connsiteX19" fmla="*/ 1988129 w 2441669"/>
              <a:gd name="connsiteY19" fmla="*/ 2467536 h 2893266"/>
              <a:gd name="connsiteX20" fmla="*/ 2034209 w 2441669"/>
              <a:gd name="connsiteY20" fmla="*/ 2406982 h 2893266"/>
              <a:gd name="connsiteX21" fmla="*/ 2036053 w 2441669"/>
              <a:gd name="connsiteY21" fmla="*/ 1713956 h 2893266"/>
              <a:gd name="connsiteX22" fmla="*/ 2441669 w 2441669"/>
              <a:gd name="connsiteY22" fmla="*/ 2410799 h 2893266"/>
              <a:gd name="connsiteX23" fmla="*/ 2374871 w 2441669"/>
              <a:gd name="connsiteY23" fmla="*/ 2669779 h 2893266"/>
              <a:gd name="connsiteX24" fmla="*/ 2230903 w 2441669"/>
              <a:gd name="connsiteY24" fmla="*/ 2824219 h 2893266"/>
              <a:gd name="connsiteX25" fmla="*/ 2020267 w 2441669"/>
              <a:gd name="connsiteY25" fmla="*/ 2892730 h 2893266"/>
              <a:gd name="connsiteX26" fmla="*/ 1970713 w 2441669"/>
              <a:gd name="connsiteY26" fmla="*/ 2893230 h 2893266"/>
              <a:gd name="connsiteX0" fmla="*/ 1970713 w 2441669"/>
              <a:gd name="connsiteY0" fmla="*/ 2893230 h 2893266"/>
              <a:gd name="connsiteX1" fmla="*/ 1859089 w 2441669"/>
              <a:gd name="connsiteY1" fmla="*/ 2865430 h 2893266"/>
              <a:gd name="connsiteX2" fmla="*/ 1799088 w 2441669"/>
              <a:gd name="connsiteY2" fmla="*/ 2835578 h 2893266"/>
              <a:gd name="connsiteX3" fmla="*/ 257741 w 2441669"/>
              <a:gd name="connsiteY3" fmla="*/ 1952380 h 2893266"/>
              <a:gd name="connsiteX4" fmla="*/ 66855 w 2441669"/>
              <a:gd name="connsiteY4" fmla="*/ 1765040 h 2893266"/>
              <a:gd name="connsiteX5" fmla="*/ 5085 w 2441669"/>
              <a:gd name="connsiteY5" fmla="*/ 1563137 h 2893266"/>
              <a:gd name="connsiteX6" fmla="*/ 117 w 2441669"/>
              <a:gd name="connsiteY6" fmla="*/ 1506747 h 2893266"/>
              <a:gd name="connsiteX7" fmla="*/ 0 w 2441669"/>
              <a:gd name="connsiteY7" fmla="*/ 1506085 h 2893266"/>
              <a:gd name="connsiteX8" fmla="*/ 5920 w 2441669"/>
              <a:gd name="connsiteY8" fmla="*/ 121604 h 2893266"/>
              <a:gd name="connsiteX9" fmla="*/ 9056 w 2441669"/>
              <a:gd name="connsiteY9" fmla="*/ 92744 h 2893266"/>
              <a:gd name="connsiteX10" fmla="*/ 206180 w 2441669"/>
              <a:gd name="connsiteY10" fmla="*/ 0 h 2893266"/>
              <a:gd name="connsiteX11" fmla="*/ 407391 w 2441669"/>
              <a:gd name="connsiteY11" fmla="*/ 116153 h 2893266"/>
              <a:gd name="connsiteX12" fmla="*/ 406100 w 2441669"/>
              <a:gd name="connsiteY12" fmla="*/ 180636 h 2893266"/>
              <a:gd name="connsiteX13" fmla="*/ 409165 w 2441669"/>
              <a:gd name="connsiteY13" fmla="*/ 1496027 h 2893266"/>
              <a:gd name="connsiteX14" fmla="*/ 407598 w 2441669"/>
              <a:gd name="connsiteY14" fmla="*/ 1489435 h 2893266"/>
              <a:gd name="connsiteX15" fmla="*/ 407517 w 2441669"/>
              <a:gd name="connsiteY15" fmla="*/ 1502243 h 2893266"/>
              <a:gd name="connsiteX16" fmla="*/ 464772 w 2441669"/>
              <a:gd name="connsiteY16" fmla="*/ 1601413 h 2893266"/>
              <a:gd name="connsiteX17" fmla="*/ 1965744 w 2441669"/>
              <a:gd name="connsiteY17" fmla="*/ 2473331 h 2893266"/>
              <a:gd name="connsiteX18" fmla="*/ 1966088 w 2441669"/>
              <a:gd name="connsiteY18" fmla="*/ 2473723 h 2893266"/>
              <a:gd name="connsiteX19" fmla="*/ 1988129 w 2441669"/>
              <a:gd name="connsiteY19" fmla="*/ 2467536 h 2893266"/>
              <a:gd name="connsiteX20" fmla="*/ 2034209 w 2441669"/>
              <a:gd name="connsiteY20" fmla="*/ 2406982 h 2893266"/>
              <a:gd name="connsiteX21" fmla="*/ 2441669 w 2441669"/>
              <a:gd name="connsiteY21" fmla="*/ 2410799 h 2893266"/>
              <a:gd name="connsiteX22" fmla="*/ 2374871 w 2441669"/>
              <a:gd name="connsiteY22" fmla="*/ 2669779 h 2893266"/>
              <a:gd name="connsiteX23" fmla="*/ 2230903 w 2441669"/>
              <a:gd name="connsiteY23" fmla="*/ 2824219 h 2893266"/>
              <a:gd name="connsiteX24" fmla="*/ 2020267 w 2441669"/>
              <a:gd name="connsiteY24" fmla="*/ 2892730 h 2893266"/>
              <a:gd name="connsiteX25" fmla="*/ 1970713 w 2441669"/>
              <a:gd name="connsiteY25" fmla="*/ 2893230 h 2893266"/>
              <a:gd name="connsiteX0" fmla="*/ 1970713 w 2380032"/>
              <a:gd name="connsiteY0" fmla="*/ 2893230 h 2893266"/>
              <a:gd name="connsiteX1" fmla="*/ 1859089 w 2380032"/>
              <a:gd name="connsiteY1" fmla="*/ 2865430 h 2893266"/>
              <a:gd name="connsiteX2" fmla="*/ 1799088 w 2380032"/>
              <a:gd name="connsiteY2" fmla="*/ 2835578 h 2893266"/>
              <a:gd name="connsiteX3" fmla="*/ 257741 w 2380032"/>
              <a:gd name="connsiteY3" fmla="*/ 1952380 h 2893266"/>
              <a:gd name="connsiteX4" fmla="*/ 66855 w 2380032"/>
              <a:gd name="connsiteY4" fmla="*/ 1765040 h 2893266"/>
              <a:gd name="connsiteX5" fmla="*/ 5085 w 2380032"/>
              <a:gd name="connsiteY5" fmla="*/ 1563137 h 2893266"/>
              <a:gd name="connsiteX6" fmla="*/ 117 w 2380032"/>
              <a:gd name="connsiteY6" fmla="*/ 1506747 h 2893266"/>
              <a:gd name="connsiteX7" fmla="*/ 0 w 2380032"/>
              <a:gd name="connsiteY7" fmla="*/ 1506085 h 2893266"/>
              <a:gd name="connsiteX8" fmla="*/ 5920 w 2380032"/>
              <a:gd name="connsiteY8" fmla="*/ 121604 h 2893266"/>
              <a:gd name="connsiteX9" fmla="*/ 9056 w 2380032"/>
              <a:gd name="connsiteY9" fmla="*/ 92744 h 2893266"/>
              <a:gd name="connsiteX10" fmla="*/ 206180 w 2380032"/>
              <a:gd name="connsiteY10" fmla="*/ 0 h 2893266"/>
              <a:gd name="connsiteX11" fmla="*/ 407391 w 2380032"/>
              <a:gd name="connsiteY11" fmla="*/ 116153 h 2893266"/>
              <a:gd name="connsiteX12" fmla="*/ 406100 w 2380032"/>
              <a:gd name="connsiteY12" fmla="*/ 180636 h 2893266"/>
              <a:gd name="connsiteX13" fmla="*/ 409165 w 2380032"/>
              <a:gd name="connsiteY13" fmla="*/ 1496027 h 2893266"/>
              <a:gd name="connsiteX14" fmla="*/ 407598 w 2380032"/>
              <a:gd name="connsiteY14" fmla="*/ 1489435 h 2893266"/>
              <a:gd name="connsiteX15" fmla="*/ 407517 w 2380032"/>
              <a:gd name="connsiteY15" fmla="*/ 1502243 h 2893266"/>
              <a:gd name="connsiteX16" fmla="*/ 464772 w 2380032"/>
              <a:gd name="connsiteY16" fmla="*/ 1601413 h 2893266"/>
              <a:gd name="connsiteX17" fmla="*/ 1965744 w 2380032"/>
              <a:gd name="connsiteY17" fmla="*/ 2473331 h 2893266"/>
              <a:gd name="connsiteX18" fmla="*/ 1966088 w 2380032"/>
              <a:gd name="connsiteY18" fmla="*/ 2473723 h 2893266"/>
              <a:gd name="connsiteX19" fmla="*/ 1988129 w 2380032"/>
              <a:gd name="connsiteY19" fmla="*/ 2467536 h 2893266"/>
              <a:gd name="connsiteX20" fmla="*/ 2034209 w 2380032"/>
              <a:gd name="connsiteY20" fmla="*/ 2406982 h 2893266"/>
              <a:gd name="connsiteX21" fmla="*/ 2374871 w 2380032"/>
              <a:gd name="connsiteY21" fmla="*/ 2669779 h 2893266"/>
              <a:gd name="connsiteX22" fmla="*/ 2230903 w 2380032"/>
              <a:gd name="connsiteY22" fmla="*/ 2824219 h 2893266"/>
              <a:gd name="connsiteX23" fmla="*/ 2020267 w 2380032"/>
              <a:gd name="connsiteY23" fmla="*/ 2892730 h 2893266"/>
              <a:gd name="connsiteX24" fmla="*/ 1970713 w 2380032"/>
              <a:gd name="connsiteY24"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1965744 w 2382123"/>
              <a:gd name="connsiteY17" fmla="*/ 2473331 h 2893266"/>
              <a:gd name="connsiteX18" fmla="*/ 1966088 w 2382123"/>
              <a:gd name="connsiteY18" fmla="*/ 2473723 h 2893266"/>
              <a:gd name="connsiteX19" fmla="*/ 1988129 w 2382123"/>
              <a:gd name="connsiteY19" fmla="*/ 2467536 h 2893266"/>
              <a:gd name="connsiteX20" fmla="*/ 2374871 w 2382123"/>
              <a:gd name="connsiteY20" fmla="*/ 2669779 h 2893266"/>
              <a:gd name="connsiteX21" fmla="*/ 2230903 w 2382123"/>
              <a:gd name="connsiteY21" fmla="*/ 2824219 h 2893266"/>
              <a:gd name="connsiteX22" fmla="*/ 2020267 w 2382123"/>
              <a:gd name="connsiteY22" fmla="*/ 2892730 h 2893266"/>
              <a:gd name="connsiteX23" fmla="*/ 1970713 w 2382123"/>
              <a:gd name="connsiteY23"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1965744 w 2382123"/>
              <a:gd name="connsiteY17" fmla="*/ 2473331 h 2893266"/>
              <a:gd name="connsiteX18" fmla="*/ 1966088 w 2382123"/>
              <a:gd name="connsiteY18" fmla="*/ 2473723 h 2893266"/>
              <a:gd name="connsiteX19" fmla="*/ 2374871 w 2382123"/>
              <a:gd name="connsiteY19" fmla="*/ 2669779 h 2893266"/>
              <a:gd name="connsiteX20" fmla="*/ 2230903 w 2382123"/>
              <a:gd name="connsiteY20" fmla="*/ 2824219 h 2893266"/>
              <a:gd name="connsiteX21" fmla="*/ 2020267 w 2382123"/>
              <a:gd name="connsiteY21" fmla="*/ 2892730 h 2893266"/>
              <a:gd name="connsiteX22" fmla="*/ 1970713 w 2382123"/>
              <a:gd name="connsiteY22"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1965744 w 2382123"/>
              <a:gd name="connsiteY17" fmla="*/ 2473331 h 2893266"/>
              <a:gd name="connsiteX18" fmla="*/ 2374871 w 2382123"/>
              <a:gd name="connsiteY18" fmla="*/ 2669779 h 2893266"/>
              <a:gd name="connsiteX19" fmla="*/ 2230903 w 2382123"/>
              <a:gd name="connsiteY19" fmla="*/ 2824219 h 2893266"/>
              <a:gd name="connsiteX20" fmla="*/ 2020267 w 2382123"/>
              <a:gd name="connsiteY20" fmla="*/ 2892730 h 2893266"/>
              <a:gd name="connsiteX21" fmla="*/ 1970713 w 2382123"/>
              <a:gd name="connsiteY21"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2374871 w 2382123"/>
              <a:gd name="connsiteY17" fmla="*/ 2669779 h 2893266"/>
              <a:gd name="connsiteX18" fmla="*/ 2230903 w 2382123"/>
              <a:gd name="connsiteY18" fmla="*/ 2824219 h 2893266"/>
              <a:gd name="connsiteX19" fmla="*/ 2020267 w 2382123"/>
              <a:gd name="connsiteY19" fmla="*/ 2892730 h 2893266"/>
              <a:gd name="connsiteX20" fmla="*/ 1970713 w 2382123"/>
              <a:gd name="connsiteY20" fmla="*/ 2893230 h 2893266"/>
              <a:gd name="connsiteX0" fmla="*/ 1970713 w 2230903"/>
              <a:gd name="connsiteY0" fmla="*/ 2893230 h 2893266"/>
              <a:gd name="connsiteX1" fmla="*/ 1859089 w 2230903"/>
              <a:gd name="connsiteY1" fmla="*/ 2865430 h 2893266"/>
              <a:gd name="connsiteX2" fmla="*/ 1799088 w 2230903"/>
              <a:gd name="connsiteY2" fmla="*/ 2835578 h 2893266"/>
              <a:gd name="connsiteX3" fmla="*/ 257741 w 2230903"/>
              <a:gd name="connsiteY3" fmla="*/ 1952380 h 2893266"/>
              <a:gd name="connsiteX4" fmla="*/ 66855 w 2230903"/>
              <a:gd name="connsiteY4" fmla="*/ 1765040 h 2893266"/>
              <a:gd name="connsiteX5" fmla="*/ 5085 w 2230903"/>
              <a:gd name="connsiteY5" fmla="*/ 1563137 h 2893266"/>
              <a:gd name="connsiteX6" fmla="*/ 117 w 2230903"/>
              <a:gd name="connsiteY6" fmla="*/ 1506747 h 2893266"/>
              <a:gd name="connsiteX7" fmla="*/ 0 w 2230903"/>
              <a:gd name="connsiteY7" fmla="*/ 1506085 h 2893266"/>
              <a:gd name="connsiteX8" fmla="*/ 5920 w 2230903"/>
              <a:gd name="connsiteY8" fmla="*/ 121604 h 2893266"/>
              <a:gd name="connsiteX9" fmla="*/ 9056 w 2230903"/>
              <a:gd name="connsiteY9" fmla="*/ 92744 h 2893266"/>
              <a:gd name="connsiteX10" fmla="*/ 206180 w 2230903"/>
              <a:gd name="connsiteY10" fmla="*/ 0 h 2893266"/>
              <a:gd name="connsiteX11" fmla="*/ 407391 w 2230903"/>
              <a:gd name="connsiteY11" fmla="*/ 116153 h 2893266"/>
              <a:gd name="connsiteX12" fmla="*/ 406100 w 2230903"/>
              <a:gd name="connsiteY12" fmla="*/ 180636 h 2893266"/>
              <a:gd name="connsiteX13" fmla="*/ 409165 w 2230903"/>
              <a:gd name="connsiteY13" fmla="*/ 1496027 h 2893266"/>
              <a:gd name="connsiteX14" fmla="*/ 407598 w 2230903"/>
              <a:gd name="connsiteY14" fmla="*/ 1489435 h 2893266"/>
              <a:gd name="connsiteX15" fmla="*/ 407517 w 2230903"/>
              <a:gd name="connsiteY15" fmla="*/ 1502243 h 2893266"/>
              <a:gd name="connsiteX16" fmla="*/ 464772 w 2230903"/>
              <a:gd name="connsiteY16" fmla="*/ 1601413 h 2893266"/>
              <a:gd name="connsiteX17" fmla="*/ 2230903 w 2230903"/>
              <a:gd name="connsiteY17" fmla="*/ 2824219 h 2893266"/>
              <a:gd name="connsiteX18" fmla="*/ 2020267 w 2230903"/>
              <a:gd name="connsiteY18" fmla="*/ 2892730 h 2893266"/>
              <a:gd name="connsiteX19" fmla="*/ 1970713 w 2230903"/>
              <a:gd name="connsiteY19" fmla="*/ 2893230 h 2893266"/>
              <a:gd name="connsiteX0" fmla="*/ 1970713 w 2020267"/>
              <a:gd name="connsiteY0" fmla="*/ 2893230 h 2893266"/>
              <a:gd name="connsiteX1" fmla="*/ 1859089 w 2020267"/>
              <a:gd name="connsiteY1" fmla="*/ 2865430 h 2893266"/>
              <a:gd name="connsiteX2" fmla="*/ 1799088 w 2020267"/>
              <a:gd name="connsiteY2" fmla="*/ 2835578 h 2893266"/>
              <a:gd name="connsiteX3" fmla="*/ 257741 w 2020267"/>
              <a:gd name="connsiteY3" fmla="*/ 1952380 h 2893266"/>
              <a:gd name="connsiteX4" fmla="*/ 66855 w 2020267"/>
              <a:gd name="connsiteY4" fmla="*/ 1765040 h 2893266"/>
              <a:gd name="connsiteX5" fmla="*/ 5085 w 2020267"/>
              <a:gd name="connsiteY5" fmla="*/ 1563137 h 2893266"/>
              <a:gd name="connsiteX6" fmla="*/ 117 w 2020267"/>
              <a:gd name="connsiteY6" fmla="*/ 1506747 h 2893266"/>
              <a:gd name="connsiteX7" fmla="*/ 0 w 2020267"/>
              <a:gd name="connsiteY7" fmla="*/ 1506085 h 2893266"/>
              <a:gd name="connsiteX8" fmla="*/ 5920 w 2020267"/>
              <a:gd name="connsiteY8" fmla="*/ 121604 h 2893266"/>
              <a:gd name="connsiteX9" fmla="*/ 9056 w 2020267"/>
              <a:gd name="connsiteY9" fmla="*/ 92744 h 2893266"/>
              <a:gd name="connsiteX10" fmla="*/ 206180 w 2020267"/>
              <a:gd name="connsiteY10" fmla="*/ 0 h 2893266"/>
              <a:gd name="connsiteX11" fmla="*/ 407391 w 2020267"/>
              <a:gd name="connsiteY11" fmla="*/ 116153 h 2893266"/>
              <a:gd name="connsiteX12" fmla="*/ 406100 w 2020267"/>
              <a:gd name="connsiteY12" fmla="*/ 180636 h 2893266"/>
              <a:gd name="connsiteX13" fmla="*/ 409165 w 2020267"/>
              <a:gd name="connsiteY13" fmla="*/ 1496027 h 2893266"/>
              <a:gd name="connsiteX14" fmla="*/ 407598 w 2020267"/>
              <a:gd name="connsiteY14" fmla="*/ 1489435 h 2893266"/>
              <a:gd name="connsiteX15" fmla="*/ 407517 w 2020267"/>
              <a:gd name="connsiteY15" fmla="*/ 1502243 h 2893266"/>
              <a:gd name="connsiteX16" fmla="*/ 464772 w 2020267"/>
              <a:gd name="connsiteY16" fmla="*/ 1601413 h 2893266"/>
              <a:gd name="connsiteX17" fmla="*/ 2020267 w 2020267"/>
              <a:gd name="connsiteY17" fmla="*/ 2892730 h 2893266"/>
              <a:gd name="connsiteX18" fmla="*/ 1970713 w 2020267"/>
              <a:gd name="connsiteY18" fmla="*/ 2893230 h 2893266"/>
              <a:gd name="connsiteX0" fmla="*/ 2020267 w 2098363"/>
              <a:gd name="connsiteY0" fmla="*/ 2892730 h 2981668"/>
              <a:gd name="connsiteX1" fmla="*/ 1859089 w 2098363"/>
              <a:gd name="connsiteY1" fmla="*/ 2865430 h 2981668"/>
              <a:gd name="connsiteX2" fmla="*/ 1799088 w 2098363"/>
              <a:gd name="connsiteY2" fmla="*/ 2835578 h 2981668"/>
              <a:gd name="connsiteX3" fmla="*/ 257741 w 2098363"/>
              <a:gd name="connsiteY3" fmla="*/ 1952380 h 2981668"/>
              <a:gd name="connsiteX4" fmla="*/ 66855 w 2098363"/>
              <a:gd name="connsiteY4" fmla="*/ 1765040 h 2981668"/>
              <a:gd name="connsiteX5" fmla="*/ 5085 w 2098363"/>
              <a:gd name="connsiteY5" fmla="*/ 1563137 h 2981668"/>
              <a:gd name="connsiteX6" fmla="*/ 117 w 2098363"/>
              <a:gd name="connsiteY6" fmla="*/ 1506747 h 2981668"/>
              <a:gd name="connsiteX7" fmla="*/ 0 w 2098363"/>
              <a:gd name="connsiteY7" fmla="*/ 1506085 h 2981668"/>
              <a:gd name="connsiteX8" fmla="*/ 5920 w 2098363"/>
              <a:gd name="connsiteY8" fmla="*/ 121604 h 2981668"/>
              <a:gd name="connsiteX9" fmla="*/ 9056 w 2098363"/>
              <a:gd name="connsiteY9" fmla="*/ 92744 h 2981668"/>
              <a:gd name="connsiteX10" fmla="*/ 206180 w 2098363"/>
              <a:gd name="connsiteY10" fmla="*/ 0 h 2981668"/>
              <a:gd name="connsiteX11" fmla="*/ 407391 w 2098363"/>
              <a:gd name="connsiteY11" fmla="*/ 116153 h 2981668"/>
              <a:gd name="connsiteX12" fmla="*/ 406100 w 2098363"/>
              <a:gd name="connsiteY12" fmla="*/ 180636 h 2981668"/>
              <a:gd name="connsiteX13" fmla="*/ 409165 w 2098363"/>
              <a:gd name="connsiteY13" fmla="*/ 1496027 h 2981668"/>
              <a:gd name="connsiteX14" fmla="*/ 407598 w 2098363"/>
              <a:gd name="connsiteY14" fmla="*/ 1489435 h 2981668"/>
              <a:gd name="connsiteX15" fmla="*/ 407517 w 2098363"/>
              <a:gd name="connsiteY15" fmla="*/ 1502243 h 2981668"/>
              <a:gd name="connsiteX16" fmla="*/ 464772 w 2098363"/>
              <a:gd name="connsiteY16" fmla="*/ 1601413 h 2981668"/>
              <a:gd name="connsiteX17" fmla="*/ 2020267 w 2098363"/>
              <a:gd name="connsiteY17" fmla="*/ 2892730 h 2981668"/>
              <a:gd name="connsiteX0" fmla="*/ 464772 w 1859089"/>
              <a:gd name="connsiteY0" fmla="*/ 1601413 h 2865430"/>
              <a:gd name="connsiteX1" fmla="*/ 1859089 w 1859089"/>
              <a:gd name="connsiteY1" fmla="*/ 2865430 h 2865430"/>
              <a:gd name="connsiteX2" fmla="*/ 1799088 w 1859089"/>
              <a:gd name="connsiteY2" fmla="*/ 2835578 h 2865430"/>
              <a:gd name="connsiteX3" fmla="*/ 257741 w 1859089"/>
              <a:gd name="connsiteY3" fmla="*/ 1952380 h 2865430"/>
              <a:gd name="connsiteX4" fmla="*/ 66855 w 1859089"/>
              <a:gd name="connsiteY4" fmla="*/ 1765040 h 2865430"/>
              <a:gd name="connsiteX5" fmla="*/ 5085 w 1859089"/>
              <a:gd name="connsiteY5" fmla="*/ 1563137 h 2865430"/>
              <a:gd name="connsiteX6" fmla="*/ 117 w 1859089"/>
              <a:gd name="connsiteY6" fmla="*/ 1506747 h 2865430"/>
              <a:gd name="connsiteX7" fmla="*/ 0 w 1859089"/>
              <a:gd name="connsiteY7" fmla="*/ 1506085 h 2865430"/>
              <a:gd name="connsiteX8" fmla="*/ 5920 w 1859089"/>
              <a:gd name="connsiteY8" fmla="*/ 121604 h 2865430"/>
              <a:gd name="connsiteX9" fmla="*/ 9056 w 1859089"/>
              <a:gd name="connsiteY9" fmla="*/ 92744 h 2865430"/>
              <a:gd name="connsiteX10" fmla="*/ 206180 w 1859089"/>
              <a:gd name="connsiteY10" fmla="*/ 0 h 2865430"/>
              <a:gd name="connsiteX11" fmla="*/ 407391 w 1859089"/>
              <a:gd name="connsiteY11" fmla="*/ 116153 h 2865430"/>
              <a:gd name="connsiteX12" fmla="*/ 406100 w 1859089"/>
              <a:gd name="connsiteY12" fmla="*/ 180636 h 2865430"/>
              <a:gd name="connsiteX13" fmla="*/ 409165 w 1859089"/>
              <a:gd name="connsiteY13" fmla="*/ 1496027 h 2865430"/>
              <a:gd name="connsiteX14" fmla="*/ 407598 w 1859089"/>
              <a:gd name="connsiteY14" fmla="*/ 1489435 h 2865430"/>
              <a:gd name="connsiteX15" fmla="*/ 407517 w 1859089"/>
              <a:gd name="connsiteY15" fmla="*/ 1502243 h 2865430"/>
              <a:gd name="connsiteX16" fmla="*/ 464772 w 1859089"/>
              <a:gd name="connsiteY16" fmla="*/ 1601413 h 2865430"/>
              <a:gd name="connsiteX0" fmla="*/ 464772 w 1859089"/>
              <a:gd name="connsiteY0" fmla="*/ 1601413 h 2865430"/>
              <a:gd name="connsiteX1" fmla="*/ 1859089 w 1859089"/>
              <a:gd name="connsiteY1" fmla="*/ 2865430 h 2865430"/>
              <a:gd name="connsiteX2" fmla="*/ 257741 w 1859089"/>
              <a:gd name="connsiteY2" fmla="*/ 1952380 h 2865430"/>
              <a:gd name="connsiteX3" fmla="*/ 66855 w 1859089"/>
              <a:gd name="connsiteY3" fmla="*/ 1765040 h 2865430"/>
              <a:gd name="connsiteX4" fmla="*/ 5085 w 1859089"/>
              <a:gd name="connsiteY4" fmla="*/ 1563137 h 2865430"/>
              <a:gd name="connsiteX5" fmla="*/ 117 w 1859089"/>
              <a:gd name="connsiteY5" fmla="*/ 1506747 h 2865430"/>
              <a:gd name="connsiteX6" fmla="*/ 0 w 1859089"/>
              <a:gd name="connsiteY6" fmla="*/ 1506085 h 2865430"/>
              <a:gd name="connsiteX7" fmla="*/ 5920 w 1859089"/>
              <a:gd name="connsiteY7" fmla="*/ 121604 h 2865430"/>
              <a:gd name="connsiteX8" fmla="*/ 9056 w 1859089"/>
              <a:gd name="connsiteY8" fmla="*/ 92744 h 2865430"/>
              <a:gd name="connsiteX9" fmla="*/ 206180 w 1859089"/>
              <a:gd name="connsiteY9" fmla="*/ 0 h 2865430"/>
              <a:gd name="connsiteX10" fmla="*/ 407391 w 1859089"/>
              <a:gd name="connsiteY10" fmla="*/ 116153 h 2865430"/>
              <a:gd name="connsiteX11" fmla="*/ 406100 w 1859089"/>
              <a:gd name="connsiteY11" fmla="*/ 180636 h 2865430"/>
              <a:gd name="connsiteX12" fmla="*/ 409165 w 1859089"/>
              <a:gd name="connsiteY12" fmla="*/ 1496027 h 2865430"/>
              <a:gd name="connsiteX13" fmla="*/ 407598 w 1859089"/>
              <a:gd name="connsiteY13" fmla="*/ 1489435 h 2865430"/>
              <a:gd name="connsiteX14" fmla="*/ 407517 w 1859089"/>
              <a:gd name="connsiteY14" fmla="*/ 1502243 h 2865430"/>
              <a:gd name="connsiteX15" fmla="*/ 464772 w 1859089"/>
              <a:gd name="connsiteY15" fmla="*/ 1601413 h 2865430"/>
              <a:gd name="connsiteX0" fmla="*/ 464772 w 464772"/>
              <a:gd name="connsiteY0" fmla="*/ 1601413 h 1952380"/>
              <a:gd name="connsiteX1" fmla="*/ 257741 w 464772"/>
              <a:gd name="connsiteY1" fmla="*/ 1952380 h 1952380"/>
              <a:gd name="connsiteX2" fmla="*/ 66855 w 464772"/>
              <a:gd name="connsiteY2" fmla="*/ 1765040 h 1952380"/>
              <a:gd name="connsiteX3" fmla="*/ 5085 w 464772"/>
              <a:gd name="connsiteY3" fmla="*/ 1563137 h 1952380"/>
              <a:gd name="connsiteX4" fmla="*/ 117 w 464772"/>
              <a:gd name="connsiteY4" fmla="*/ 1506747 h 1952380"/>
              <a:gd name="connsiteX5" fmla="*/ 0 w 464772"/>
              <a:gd name="connsiteY5" fmla="*/ 1506085 h 1952380"/>
              <a:gd name="connsiteX6" fmla="*/ 5920 w 464772"/>
              <a:gd name="connsiteY6" fmla="*/ 121604 h 1952380"/>
              <a:gd name="connsiteX7" fmla="*/ 9056 w 464772"/>
              <a:gd name="connsiteY7" fmla="*/ 92744 h 1952380"/>
              <a:gd name="connsiteX8" fmla="*/ 206180 w 464772"/>
              <a:gd name="connsiteY8" fmla="*/ 0 h 1952380"/>
              <a:gd name="connsiteX9" fmla="*/ 407391 w 464772"/>
              <a:gd name="connsiteY9" fmla="*/ 116153 h 1952380"/>
              <a:gd name="connsiteX10" fmla="*/ 406100 w 464772"/>
              <a:gd name="connsiteY10" fmla="*/ 180636 h 1952380"/>
              <a:gd name="connsiteX11" fmla="*/ 409165 w 464772"/>
              <a:gd name="connsiteY11" fmla="*/ 1496027 h 1952380"/>
              <a:gd name="connsiteX12" fmla="*/ 407598 w 464772"/>
              <a:gd name="connsiteY12" fmla="*/ 1489435 h 1952380"/>
              <a:gd name="connsiteX13" fmla="*/ 407517 w 464772"/>
              <a:gd name="connsiteY13" fmla="*/ 1502243 h 1952380"/>
              <a:gd name="connsiteX14" fmla="*/ 464772 w 464772"/>
              <a:gd name="connsiteY14" fmla="*/ 1601413 h 1952380"/>
              <a:gd name="connsiteX0" fmla="*/ 464772 w 464772"/>
              <a:gd name="connsiteY0" fmla="*/ 1601413 h 1765040"/>
              <a:gd name="connsiteX1" fmla="*/ 66855 w 464772"/>
              <a:gd name="connsiteY1" fmla="*/ 1765040 h 1765040"/>
              <a:gd name="connsiteX2" fmla="*/ 5085 w 464772"/>
              <a:gd name="connsiteY2" fmla="*/ 1563137 h 1765040"/>
              <a:gd name="connsiteX3" fmla="*/ 117 w 464772"/>
              <a:gd name="connsiteY3" fmla="*/ 1506747 h 1765040"/>
              <a:gd name="connsiteX4" fmla="*/ 0 w 464772"/>
              <a:gd name="connsiteY4" fmla="*/ 1506085 h 1765040"/>
              <a:gd name="connsiteX5" fmla="*/ 5920 w 464772"/>
              <a:gd name="connsiteY5" fmla="*/ 121604 h 1765040"/>
              <a:gd name="connsiteX6" fmla="*/ 9056 w 464772"/>
              <a:gd name="connsiteY6" fmla="*/ 92744 h 1765040"/>
              <a:gd name="connsiteX7" fmla="*/ 206180 w 464772"/>
              <a:gd name="connsiteY7" fmla="*/ 0 h 1765040"/>
              <a:gd name="connsiteX8" fmla="*/ 407391 w 464772"/>
              <a:gd name="connsiteY8" fmla="*/ 116153 h 1765040"/>
              <a:gd name="connsiteX9" fmla="*/ 406100 w 464772"/>
              <a:gd name="connsiteY9" fmla="*/ 180636 h 1765040"/>
              <a:gd name="connsiteX10" fmla="*/ 409165 w 464772"/>
              <a:gd name="connsiteY10" fmla="*/ 1496027 h 1765040"/>
              <a:gd name="connsiteX11" fmla="*/ 407598 w 464772"/>
              <a:gd name="connsiteY11" fmla="*/ 1489435 h 1765040"/>
              <a:gd name="connsiteX12" fmla="*/ 407517 w 464772"/>
              <a:gd name="connsiteY12" fmla="*/ 1502243 h 1765040"/>
              <a:gd name="connsiteX13" fmla="*/ 464772 w 464772"/>
              <a:gd name="connsiteY13" fmla="*/ 1601413 h 1765040"/>
              <a:gd name="connsiteX0" fmla="*/ 407517 w 409165"/>
              <a:gd name="connsiteY0" fmla="*/ 1502243 h 1765503"/>
              <a:gd name="connsiteX1" fmla="*/ 66855 w 409165"/>
              <a:gd name="connsiteY1" fmla="*/ 1765040 h 1765503"/>
              <a:gd name="connsiteX2" fmla="*/ 5085 w 409165"/>
              <a:gd name="connsiteY2" fmla="*/ 1563137 h 1765503"/>
              <a:gd name="connsiteX3" fmla="*/ 117 w 409165"/>
              <a:gd name="connsiteY3" fmla="*/ 1506747 h 1765503"/>
              <a:gd name="connsiteX4" fmla="*/ 0 w 409165"/>
              <a:gd name="connsiteY4" fmla="*/ 1506085 h 1765503"/>
              <a:gd name="connsiteX5" fmla="*/ 5920 w 409165"/>
              <a:gd name="connsiteY5" fmla="*/ 121604 h 1765503"/>
              <a:gd name="connsiteX6" fmla="*/ 9056 w 409165"/>
              <a:gd name="connsiteY6" fmla="*/ 92744 h 1765503"/>
              <a:gd name="connsiteX7" fmla="*/ 206180 w 409165"/>
              <a:gd name="connsiteY7" fmla="*/ 0 h 1765503"/>
              <a:gd name="connsiteX8" fmla="*/ 407391 w 409165"/>
              <a:gd name="connsiteY8" fmla="*/ 116153 h 1765503"/>
              <a:gd name="connsiteX9" fmla="*/ 406100 w 409165"/>
              <a:gd name="connsiteY9" fmla="*/ 180636 h 1765503"/>
              <a:gd name="connsiteX10" fmla="*/ 409165 w 409165"/>
              <a:gd name="connsiteY10" fmla="*/ 1496027 h 1765503"/>
              <a:gd name="connsiteX11" fmla="*/ 407598 w 409165"/>
              <a:gd name="connsiteY11" fmla="*/ 1489435 h 1765503"/>
              <a:gd name="connsiteX12" fmla="*/ 407517 w 409165"/>
              <a:gd name="connsiteY12" fmla="*/ 1502243 h 1765503"/>
              <a:gd name="connsiteX0" fmla="*/ 344017 w 409165"/>
              <a:gd name="connsiteY0" fmla="*/ 1692743 h 1770376"/>
              <a:gd name="connsiteX1" fmla="*/ 66855 w 409165"/>
              <a:gd name="connsiteY1" fmla="*/ 1765040 h 1770376"/>
              <a:gd name="connsiteX2" fmla="*/ 5085 w 409165"/>
              <a:gd name="connsiteY2" fmla="*/ 1563137 h 1770376"/>
              <a:gd name="connsiteX3" fmla="*/ 117 w 409165"/>
              <a:gd name="connsiteY3" fmla="*/ 1506747 h 1770376"/>
              <a:gd name="connsiteX4" fmla="*/ 0 w 409165"/>
              <a:gd name="connsiteY4" fmla="*/ 1506085 h 1770376"/>
              <a:gd name="connsiteX5" fmla="*/ 5920 w 409165"/>
              <a:gd name="connsiteY5" fmla="*/ 121604 h 1770376"/>
              <a:gd name="connsiteX6" fmla="*/ 9056 w 409165"/>
              <a:gd name="connsiteY6" fmla="*/ 92744 h 1770376"/>
              <a:gd name="connsiteX7" fmla="*/ 206180 w 409165"/>
              <a:gd name="connsiteY7" fmla="*/ 0 h 1770376"/>
              <a:gd name="connsiteX8" fmla="*/ 407391 w 409165"/>
              <a:gd name="connsiteY8" fmla="*/ 116153 h 1770376"/>
              <a:gd name="connsiteX9" fmla="*/ 406100 w 409165"/>
              <a:gd name="connsiteY9" fmla="*/ 180636 h 1770376"/>
              <a:gd name="connsiteX10" fmla="*/ 409165 w 409165"/>
              <a:gd name="connsiteY10" fmla="*/ 1496027 h 1770376"/>
              <a:gd name="connsiteX11" fmla="*/ 407598 w 409165"/>
              <a:gd name="connsiteY11" fmla="*/ 1489435 h 1770376"/>
              <a:gd name="connsiteX12" fmla="*/ 344017 w 409165"/>
              <a:gd name="connsiteY12" fmla="*/ 1692743 h 1770376"/>
              <a:gd name="connsiteX0" fmla="*/ 344017 w 409165"/>
              <a:gd name="connsiteY0" fmla="*/ 1692743 h 1861630"/>
              <a:gd name="connsiteX1" fmla="*/ 173032 w 409165"/>
              <a:gd name="connsiteY1" fmla="*/ 1859416 h 1861630"/>
              <a:gd name="connsiteX2" fmla="*/ 5085 w 409165"/>
              <a:gd name="connsiteY2" fmla="*/ 1563137 h 1861630"/>
              <a:gd name="connsiteX3" fmla="*/ 117 w 409165"/>
              <a:gd name="connsiteY3" fmla="*/ 1506747 h 1861630"/>
              <a:gd name="connsiteX4" fmla="*/ 0 w 409165"/>
              <a:gd name="connsiteY4" fmla="*/ 1506085 h 1861630"/>
              <a:gd name="connsiteX5" fmla="*/ 5920 w 409165"/>
              <a:gd name="connsiteY5" fmla="*/ 121604 h 1861630"/>
              <a:gd name="connsiteX6" fmla="*/ 9056 w 409165"/>
              <a:gd name="connsiteY6" fmla="*/ 92744 h 1861630"/>
              <a:gd name="connsiteX7" fmla="*/ 206180 w 409165"/>
              <a:gd name="connsiteY7" fmla="*/ 0 h 1861630"/>
              <a:gd name="connsiteX8" fmla="*/ 407391 w 409165"/>
              <a:gd name="connsiteY8" fmla="*/ 116153 h 1861630"/>
              <a:gd name="connsiteX9" fmla="*/ 406100 w 409165"/>
              <a:gd name="connsiteY9" fmla="*/ 180636 h 1861630"/>
              <a:gd name="connsiteX10" fmla="*/ 409165 w 409165"/>
              <a:gd name="connsiteY10" fmla="*/ 1496027 h 1861630"/>
              <a:gd name="connsiteX11" fmla="*/ 407598 w 409165"/>
              <a:gd name="connsiteY11" fmla="*/ 1489435 h 1861630"/>
              <a:gd name="connsiteX12" fmla="*/ 344017 w 409165"/>
              <a:gd name="connsiteY12" fmla="*/ 1692743 h 1861630"/>
              <a:gd name="connsiteX0" fmla="*/ 344017 w 409165"/>
              <a:gd name="connsiteY0" fmla="*/ 1692743 h 1863557"/>
              <a:gd name="connsiteX1" fmla="*/ 173032 w 409165"/>
              <a:gd name="connsiteY1" fmla="*/ 1859416 h 1863557"/>
              <a:gd name="connsiteX2" fmla="*/ 117 w 409165"/>
              <a:gd name="connsiteY2" fmla="*/ 1506747 h 1863557"/>
              <a:gd name="connsiteX3" fmla="*/ 0 w 409165"/>
              <a:gd name="connsiteY3" fmla="*/ 1506085 h 1863557"/>
              <a:gd name="connsiteX4" fmla="*/ 5920 w 409165"/>
              <a:gd name="connsiteY4" fmla="*/ 121604 h 1863557"/>
              <a:gd name="connsiteX5" fmla="*/ 9056 w 409165"/>
              <a:gd name="connsiteY5" fmla="*/ 92744 h 1863557"/>
              <a:gd name="connsiteX6" fmla="*/ 206180 w 409165"/>
              <a:gd name="connsiteY6" fmla="*/ 0 h 1863557"/>
              <a:gd name="connsiteX7" fmla="*/ 407391 w 409165"/>
              <a:gd name="connsiteY7" fmla="*/ 116153 h 1863557"/>
              <a:gd name="connsiteX8" fmla="*/ 406100 w 409165"/>
              <a:gd name="connsiteY8" fmla="*/ 180636 h 1863557"/>
              <a:gd name="connsiteX9" fmla="*/ 409165 w 409165"/>
              <a:gd name="connsiteY9" fmla="*/ 1496027 h 1863557"/>
              <a:gd name="connsiteX10" fmla="*/ 407598 w 409165"/>
              <a:gd name="connsiteY10" fmla="*/ 1489435 h 1863557"/>
              <a:gd name="connsiteX11" fmla="*/ 344017 w 409165"/>
              <a:gd name="connsiteY11" fmla="*/ 1692743 h 1863557"/>
              <a:gd name="connsiteX0" fmla="*/ 355208 w 420356"/>
              <a:gd name="connsiteY0" fmla="*/ 1692743 h 1863557"/>
              <a:gd name="connsiteX1" fmla="*/ 184223 w 420356"/>
              <a:gd name="connsiteY1" fmla="*/ 1859416 h 1863557"/>
              <a:gd name="connsiteX2" fmla="*/ 11308 w 420356"/>
              <a:gd name="connsiteY2" fmla="*/ 1506747 h 1863557"/>
              <a:gd name="connsiteX3" fmla="*/ 17111 w 420356"/>
              <a:gd name="connsiteY3" fmla="*/ 121604 h 1863557"/>
              <a:gd name="connsiteX4" fmla="*/ 20247 w 420356"/>
              <a:gd name="connsiteY4" fmla="*/ 92744 h 1863557"/>
              <a:gd name="connsiteX5" fmla="*/ 217371 w 420356"/>
              <a:gd name="connsiteY5" fmla="*/ 0 h 1863557"/>
              <a:gd name="connsiteX6" fmla="*/ 418582 w 420356"/>
              <a:gd name="connsiteY6" fmla="*/ 116153 h 1863557"/>
              <a:gd name="connsiteX7" fmla="*/ 417291 w 420356"/>
              <a:gd name="connsiteY7" fmla="*/ 180636 h 1863557"/>
              <a:gd name="connsiteX8" fmla="*/ 420356 w 420356"/>
              <a:gd name="connsiteY8" fmla="*/ 1496027 h 1863557"/>
              <a:gd name="connsiteX9" fmla="*/ 418789 w 420356"/>
              <a:gd name="connsiteY9" fmla="*/ 1489435 h 1863557"/>
              <a:gd name="connsiteX10" fmla="*/ 355208 w 420356"/>
              <a:gd name="connsiteY10" fmla="*/ 1692743 h 1863557"/>
              <a:gd name="connsiteX0" fmla="*/ 355208 w 420356"/>
              <a:gd name="connsiteY0" fmla="*/ 1692743 h 1863557"/>
              <a:gd name="connsiteX1" fmla="*/ 184223 w 420356"/>
              <a:gd name="connsiteY1" fmla="*/ 1859416 h 1863557"/>
              <a:gd name="connsiteX2" fmla="*/ 11308 w 420356"/>
              <a:gd name="connsiteY2" fmla="*/ 1506747 h 1863557"/>
              <a:gd name="connsiteX3" fmla="*/ 17111 w 420356"/>
              <a:gd name="connsiteY3" fmla="*/ 121604 h 1863557"/>
              <a:gd name="connsiteX4" fmla="*/ 20247 w 420356"/>
              <a:gd name="connsiteY4" fmla="*/ 92744 h 1863557"/>
              <a:gd name="connsiteX5" fmla="*/ 217371 w 420356"/>
              <a:gd name="connsiteY5" fmla="*/ 0 h 1863557"/>
              <a:gd name="connsiteX6" fmla="*/ 418582 w 420356"/>
              <a:gd name="connsiteY6" fmla="*/ 116153 h 1863557"/>
              <a:gd name="connsiteX7" fmla="*/ 417291 w 420356"/>
              <a:gd name="connsiteY7" fmla="*/ 180636 h 1863557"/>
              <a:gd name="connsiteX8" fmla="*/ 420356 w 420356"/>
              <a:gd name="connsiteY8" fmla="*/ 1496027 h 1863557"/>
              <a:gd name="connsiteX9" fmla="*/ 418789 w 420356"/>
              <a:gd name="connsiteY9" fmla="*/ 1489435 h 1863557"/>
              <a:gd name="connsiteX10" fmla="*/ 355208 w 420356"/>
              <a:gd name="connsiteY10" fmla="*/ 1692743 h 1863557"/>
              <a:gd name="connsiteX0" fmla="*/ 355208 w 434084"/>
              <a:gd name="connsiteY0" fmla="*/ 1692743 h 1863557"/>
              <a:gd name="connsiteX1" fmla="*/ 184223 w 434084"/>
              <a:gd name="connsiteY1" fmla="*/ 1859416 h 1863557"/>
              <a:gd name="connsiteX2" fmla="*/ 11308 w 434084"/>
              <a:gd name="connsiteY2" fmla="*/ 1506747 h 1863557"/>
              <a:gd name="connsiteX3" fmla="*/ 17111 w 434084"/>
              <a:gd name="connsiteY3" fmla="*/ 121604 h 1863557"/>
              <a:gd name="connsiteX4" fmla="*/ 20247 w 434084"/>
              <a:gd name="connsiteY4" fmla="*/ 92744 h 1863557"/>
              <a:gd name="connsiteX5" fmla="*/ 217371 w 434084"/>
              <a:gd name="connsiteY5" fmla="*/ 0 h 1863557"/>
              <a:gd name="connsiteX6" fmla="*/ 418582 w 434084"/>
              <a:gd name="connsiteY6" fmla="*/ 116153 h 1863557"/>
              <a:gd name="connsiteX7" fmla="*/ 420356 w 434084"/>
              <a:gd name="connsiteY7" fmla="*/ 1496027 h 1863557"/>
              <a:gd name="connsiteX8" fmla="*/ 418789 w 434084"/>
              <a:gd name="connsiteY8" fmla="*/ 1489435 h 1863557"/>
              <a:gd name="connsiteX9" fmla="*/ 355208 w 434084"/>
              <a:gd name="connsiteY9" fmla="*/ 1692743 h 1863557"/>
              <a:gd name="connsiteX0" fmla="*/ 355208 w 434084"/>
              <a:gd name="connsiteY0" fmla="*/ 1692743 h 1863557"/>
              <a:gd name="connsiteX1" fmla="*/ 184223 w 434084"/>
              <a:gd name="connsiteY1" fmla="*/ 1859416 h 1863557"/>
              <a:gd name="connsiteX2" fmla="*/ 11308 w 434084"/>
              <a:gd name="connsiteY2" fmla="*/ 1506747 h 1863557"/>
              <a:gd name="connsiteX3" fmla="*/ 17111 w 434084"/>
              <a:gd name="connsiteY3" fmla="*/ 121604 h 1863557"/>
              <a:gd name="connsiteX4" fmla="*/ 20247 w 434084"/>
              <a:gd name="connsiteY4" fmla="*/ 92744 h 1863557"/>
              <a:gd name="connsiteX5" fmla="*/ 217371 w 434084"/>
              <a:gd name="connsiteY5" fmla="*/ 0 h 1863557"/>
              <a:gd name="connsiteX6" fmla="*/ 418582 w 434084"/>
              <a:gd name="connsiteY6" fmla="*/ 116153 h 1863557"/>
              <a:gd name="connsiteX7" fmla="*/ 420356 w 434084"/>
              <a:gd name="connsiteY7" fmla="*/ 1496027 h 1863557"/>
              <a:gd name="connsiteX8" fmla="*/ 355208 w 434084"/>
              <a:gd name="connsiteY8" fmla="*/ 1692743 h 1863557"/>
              <a:gd name="connsiteX0" fmla="*/ 355208 w 424617"/>
              <a:gd name="connsiteY0" fmla="*/ 1692743 h 1898340"/>
              <a:gd name="connsiteX1" fmla="*/ 184223 w 424617"/>
              <a:gd name="connsiteY1" fmla="*/ 1859416 h 1898340"/>
              <a:gd name="connsiteX2" fmla="*/ 11308 w 424617"/>
              <a:gd name="connsiteY2" fmla="*/ 1506747 h 1898340"/>
              <a:gd name="connsiteX3" fmla="*/ 17111 w 424617"/>
              <a:gd name="connsiteY3" fmla="*/ 121604 h 1898340"/>
              <a:gd name="connsiteX4" fmla="*/ 20247 w 424617"/>
              <a:gd name="connsiteY4" fmla="*/ 92744 h 1898340"/>
              <a:gd name="connsiteX5" fmla="*/ 217371 w 424617"/>
              <a:gd name="connsiteY5" fmla="*/ 0 h 1898340"/>
              <a:gd name="connsiteX6" fmla="*/ 418582 w 424617"/>
              <a:gd name="connsiteY6" fmla="*/ 116153 h 1898340"/>
              <a:gd name="connsiteX7" fmla="*/ 355208 w 424617"/>
              <a:gd name="connsiteY7" fmla="*/ 1692743 h 1898340"/>
              <a:gd name="connsiteX0" fmla="*/ 402398 w 434159"/>
              <a:gd name="connsiteY0" fmla="*/ 1692745 h 1898345"/>
              <a:gd name="connsiteX1" fmla="*/ 184223 w 434159"/>
              <a:gd name="connsiteY1" fmla="*/ 1859416 h 1898345"/>
              <a:gd name="connsiteX2" fmla="*/ 11308 w 434159"/>
              <a:gd name="connsiteY2" fmla="*/ 1506747 h 1898345"/>
              <a:gd name="connsiteX3" fmla="*/ 17111 w 434159"/>
              <a:gd name="connsiteY3" fmla="*/ 121604 h 1898345"/>
              <a:gd name="connsiteX4" fmla="*/ 20247 w 434159"/>
              <a:gd name="connsiteY4" fmla="*/ 92744 h 1898345"/>
              <a:gd name="connsiteX5" fmla="*/ 217371 w 434159"/>
              <a:gd name="connsiteY5" fmla="*/ 0 h 1898345"/>
              <a:gd name="connsiteX6" fmla="*/ 418582 w 434159"/>
              <a:gd name="connsiteY6" fmla="*/ 116153 h 1898345"/>
              <a:gd name="connsiteX7" fmla="*/ 402398 w 434159"/>
              <a:gd name="connsiteY7" fmla="*/ 1692745 h 1898345"/>
              <a:gd name="connsiteX0" fmla="*/ 402398 w 434159"/>
              <a:gd name="connsiteY0" fmla="*/ 1692745 h 1866574"/>
              <a:gd name="connsiteX1" fmla="*/ 184223 w 434159"/>
              <a:gd name="connsiteY1" fmla="*/ 1859416 h 1866574"/>
              <a:gd name="connsiteX2" fmla="*/ 11308 w 434159"/>
              <a:gd name="connsiteY2" fmla="*/ 1506747 h 1866574"/>
              <a:gd name="connsiteX3" fmla="*/ 17111 w 434159"/>
              <a:gd name="connsiteY3" fmla="*/ 121604 h 1866574"/>
              <a:gd name="connsiteX4" fmla="*/ 20247 w 434159"/>
              <a:gd name="connsiteY4" fmla="*/ 92744 h 1866574"/>
              <a:gd name="connsiteX5" fmla="*/ 217371 w 434159"/>
              <a:gd name="connsiteY5" fmla="*/ 0 h 1866574"/>
              <a:gd name="connsiteX6" fmla="*/ 418582 w 434159"/>
              <a:gd name="connsiteY6" fmla="*/ 116153 h 1866574"/>
              <a:gd name="connsiteX7" fmla="*/ 402398 w 434159"/>
              <a:gd name="connsiteY7" fmla="*/ 1692745 h 1866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159" h="1866574">
                <a:moveTo>
                  <a:pt x="402398" y="1692745"/>
                </a:moveTo>
                <a:cubicBezTo>
                  <a:pt x="375141" y="1818133"/>
                  <a:pt x="249405" y="1890416"/>
                  <a:pt x="184223" y="1859416"/>
                </a:cubicBezTo>
                <a:cubicBezTo>
                  <a:pt x="119041" y="1828416"/>
                  <a:pt x="28352" y="1825168"/>
                  <a:pt x="11308" y="1506747"/>
                </a:cubicBezTo>
                <a:cubicBezTo>
                  <a:pt x="-16544" y="1217112"/>
                  <a:pt x="15621" y="357271"/>
                  <a:pt x="17111" y="121604"/>
                </a:cubicBezTo>
                <a:lnTo>
                  <a:pt x="20247" y="92744"/>
                </a:lnTo>
                <a:cubicBezTo>
                  <a:pt x="39009" y="39815"/>
                  <a:pt x="120136" y="0"/>
                  <a:pt x="217371" y="0"/>
                </a:cubicBezTo>
                <a:cubicBezTo>
                  <a:pt x="328497" y="0"/>
                  <a:pt x="418582" y="52003"/>
                  <a:pt x="418582" y="116153"/>
                </a:cubicBezTo>
                <a:cubicBezTo>
                  <a:pt x="441555" y="398277"/>
                  <a:pt x="441458" y="1402201"/>
                  <a:pt x="402398" y="1692745"/>
                </a:cubicBezTo>
                <a:close/>
              </a:path>
            </a:pathLst>
          </a:custGeom>
          <a:gradFill flip="none" rotWithShape="1">
            <a:gsLst>
              <a:gs pos="29000">
                <a:schemeClr val="accent2">
                  <a:lumMod val="0"/>
                  <a:lumOff val="100000"/>
                </a:schemeClr>
              </a:gs>
              <a:gs pos="81000">
                <a:schemeClr val="accent4"/>
              </a:gs>
            </a:gsLst>
            <a:lin ang="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1105" name="Freeform: Shape 1104">
            <a:extLst>
              <a:ext uri="{FF2B5EF4-FFF2-40B4-BE49-F238E27FC236}">
                <a16:creationId xmlns:a16="http://schemas.microsoft.com/office/drawing/2014/main" id="{A5886646-F355-4725-A4C2-1F98F26DC5DB}"/>
              </a:ext>
            </a:extLst>
          </p:cNvPr>
          <p:cNvSpPr/>
          <p:nvPr/>
        </p:nvSpPr>
        <p:spPr bwMode="gray">
          <a:xfrm rot="3600000" flipV="1">
            <a:off x="8490356" y="3827462"/>
            <a:ext cx="91018" cy="1596308"/>
          </a:xfrm>
          <a:custGeom>
            <a:avLst/>
            <a:gdLst>
              <a:gd name="connsiteX0" fmla="*/ 0 w 81427"/>
              <a:gd name="connsiteY0" fmla="*/ 1566775 h 1595803"/>
              <a:gd name="connsiteX1" fmla="*/ 40713 w 81427"/>
              <a:gd name="connsiteY1" fmla="*/ 1595803 h 1595803"/>
              <a:gd name="connsiteX2" fmla="*/ 81426 w 81427"/>
              <a:gd name="connsiteY2" fmla="*/ 1566775 h 1595803"/>
              <a:gd name="connsiteX3" fmla="*/ 81427 w 81427"/>
              <a:gd name="connsiteY3" fmla="*/ 29028 h 1595803"/>
              <a:gd name="connsiteX4" fmla="*/ 40714 w 81427"/>
              <a:gd name="connsiteY4" fmla="*/ 0 h 1595803"/>
              <a:gd name="connsiteX5" fmla="*/ 40713 w 81427"/>
              <a:gd name="connsiteY5" fmla="*/ 0 h 1595803"/>
              <a:gd name="connsiteX6" fmla="*/ 0 w 81427"/>
              <a:gd name="connsiteY6" fmla="*/ 29028 h 1595803"/>
              <a:gd name="connsiteX7" fmla="*/ 1 w 81427"/>
              <a:gd name="connsiteY7" fmla="*/ 29030 h 1595803"/>
              <a:gd name="connsiteX0" fmla="*/ 0 w 81427"/>
              <a:gd name="connsiteY0" fmla="*/ 1566775 h 1595803"/>
              <a:gd name="connsiteX1" fmla="*/ 40713 w 81427"/>
              <a:gd name="connsiteY1" fmla="*/ 1595803 h 1595803"/>
              <a:gd name="connsiteX2" fmla="*/ 81426 w 81427"/>
              <a:gd name="connsiteY2" fmla="*/ 1566775 h 1595803"/>
              <a:gd name="connsiteX3" fmla="*/ 81427 w 81427"/>
              <a:gd name="connsiteY3" fmla="*/ 29028 h 1595803"/>
              <a:gd name="connsiteX4" fmla="*/ 40714 w 81427"/>
              <a:gd name="connsiteY4" fmla="*/ 0 h 1595803"/>
              <a:gd name="connsiteX5" fmla="*/ 44138 w 81427"/>
              <a:gd name="connsiteY5" fmla="*/ 39267 h 1595803"/>
              <a:gd name="connsiteX6" fmla="*/ 0 w 81427"/>
              <a:gd name="connsiteY6" fmla="*/ 29028 h 1595803"/>
              <a:gd name="connsiteX7" fmla="*/ 1 w 81427"/>
              <a:gd name="connsiteY7" fmla="*/ 29030 h 1595803"/>
              <a:gd name="connsiteX8" fmla="*/ 0 w 81427"/>
              <a:gd name="connsiteY8" fmla="*/ 1566775 h 1595803"/>
              <a:gd name="connsiteX0" fmla="*/ 0 w 84188"/>
              <a:gd name="connsiteY0" fmla="*/ 1648301 h 1677329"/>
              <a:gd name="connsiteX1" fmla="*/ 40713 w 84188"/>
              <a:gd name="connsiteY1" fmla="*/ 1677329 h 1677329"/>
              <a:gd name="connsiteX2" fmla="*/ 81426 w 84188"/>
              <a:gd name="connsiteY2" fmla="*/ 1648301 h 1677329"/>
              <a:gd name="connsiteX3" fmla="*/ 81427 w 84188"/>
              <a:gd name="connsiteY3" fmla="*/ 110554 h 1677329"/>
              <a:gd name="connsiteX4" fmla="*/ 44138 w 84188"/>
              <a:gd name="connsiteY4" fmla="*/ 120793 h 1677329"/>
              <a:gd name="connsiteX5" fmla="*/ 0 w 84188"/>
              <a:gd name="connsiteY5" fmla="*/ 110554 h 1677329"/>
              <a:gd name="connsiteX6" fmla="*/ 1 w 84188"/>
              <a:gd name="connsiteY6" fmla="*/ 110556 h 1677329"/>
              <a:gd name="connsiteX7" fmla="*/ 0 w 84188"/>
              <a:gd name="connsiteY7" fmla="*/ 1648301 h 1677329"/>
              <a:gd name="connsiteX0" fmla="*/ 0 w 84188"/>
              <a:gd name="connsiteY0" fmla="*/ 1648301 h 1677329"/>
              <a:gd name="connsiteX1" fmla="*/ 40713 w 84188"/>
              <a:gd name="connsiteY1" fmla="*/ 1677329 h 1677329"/>
              <a:gd name="connsiteX2" fmla="*/ 81426 w 84188"/>
              <a:gd name="connsiteY2" fmla="*/ 1648301 h 1677329"/>
              <a:gd name="connsiteX3" fmla="*/ 81427 w 84188"/>
              <a:gd name="connsiteY3" fmla="*/ 110554 h 1677329"/>
              <a:gd name="connsiteX4" fmla="*/ 44138 w 84188"/>
              <a:gd name="connsiteY4" fmla="*/ 120793 h 1677329"/>
              <a:gd name="connsiteX5" fmla="*/ 0 w 84188"/>
              <a:gd name="connsiteY5" fmla="*/ 110554 h 1677329"/>
              <a:gd name="connsiteX6" fmla="*/ 1 w 84188"/>
              <a:gd name="connsiteY6" fmla="*/ 110556 h 1677329"/>
              <a:gd name="connsiteX7" fmla="*/ 0 w 84188"/>
              <a:gd name="connsiteY7" fmla="*/ 1648301 h 1677329"/>
              <a:gd name="connsiteX0" fmla="*/ 0 w 84188"/>
              <a:gd name="connsiteY0" fmla="*/ 1542932 h 1571960"/>
              <a:gd name="connsiteX1" fmla="*/ 40713 w 84188"/>
              <a:gd name="connsiteY1" fmla="*/ 1571960 h 1571960"/>
              <a:gd name="connsiteX2" fmla="*/ 81426 w 84188"/>
              <a:gd name="connsiteY2" fmla="*/ 1542932 h 1571960"/>
              <a:gd name="connsiteX3" fmla="*/ 81427 w 84188"/>
              <a:gd name="connsiteY3" fmla="*/ 5185 h 1571960"/>
              <a:gd name="connsiteX4" fmla="*/ 44138 w 84188"/>
              <a:gd name="connsiteY4" fmla="*/ 15424 h 1571960"/>
              <a:gd name="connsiteX5" fmla="*/ 0 w 84188"/>
              <a:gd name="connsiteY5" fmla="*/ 5185 h 1571960"/>
              <a:gd name="connsiteX6" fmla="*/ 1 w 84188"/>
              <a:gd name="connsiteY6" fmla="*/ 5187 h 1571960"/>
              <a:gd name="connsiteX7" fmla="*/ 0 w 84188"/>
              <a:gd name="connsiteY7" fmla="*/ 1542932 h 1571960"/>
              <a:gd name="connsiteX0" fmla="*/ 0 w 84188"/>
              <a:gd name="connsiteY0" fmla="*/ 1651654 h 1680682"/>
              <a:gd name="connsiteX1" fmla="*/ 40713 w 84188"/>
              <a:gd name="connsiteY1" fmla="*/ 1680682 h 1680682"/>
              <a:gd name="connsiteX2" fmla="*/ 81426 w 84188"/>
              <a:gd name="connsiteY2" fmla="*/ 1651654 h 1680682"/>
              <a:gd name="connsiteX3" fmla="*/ 81427 w 84188"/>
              <a:gd name="connsiteY3" fmla="*/ 113907 h 1680682"/>
              <a:gd name="connsiteX4" fmla="*/ 0 w 84188"/>
              <a:gd name="connsiteY4" fmla="*/ 113907 h 1680682"/>
              <a:gd name="connsiteX5" fmla="*/ 1 w 84188"/>
              <a:gd name="connsiteY5" fmla="*/ 113909 h 1680682"/>
              <a:gd name="connsiteX6" fmla="*/ 0 w 84188"/>
              <a:gd name="connsiteY6" fmla="*/ 1651654 h 1680682"/>
              <a:gd name="connsiteX0" fmla="*/ 0 w 84188"/>
              <a:gd name="connsiteY0" fmla="*/ 1537747 h 1566775"/>
              <a:gd name="connsiteX1" fmla="*/ 40713 w 84188"/>
              <a:gd name="connsiteY1" fmla="*/ 1566775 h 1566775"/>
              <a:gd name="connsiteX2" fmla="*/ 81426 w 84188"/>
              <a:gd name="connsiteY2" fmla="*/ 1537747 h 1566775"/>
              <a:gd name="connsiteX3" fmla="*/ 81427 w 84188"/>
              <a:gd name="connsiteY3" fmla="*/ 0 h 1566775"/>
              <a:gd name="connsiteX4" fmla="*/ 0 w 84188"/>
              <a:gd name="connsiteY4" fmla="*/ 0 h 1566775"/>
              <a:gd name="connsiteX5" fmla="*/ 1 w 84188"/>
              <a:gd name="connsiteY5" fmla="*/ 2 h 1566775"/>
              <a:gd name="connsiteX6" fmla="*/ 0 w 84188"/>
              <a:gd name="connsiteY6" fmla="*/ 1537747 h 1566775"/>
              <a:gd name="connsiteX0" fmla="*/ 4210 w 88398"/>
              <a:gd name="connsiteY0" fmla="*/ 1554562 h 1583590"/>
              <a:gd name="connsiteX1" fmla="*/ 44923 w 88398"/>
              <a:gd name="connsiteY1" fmla="*/ 1583590 h 1583590"/>
              <a:gd name="connsiteX2" fmla="*/ 85636 w 88398"/>
              <a:gd name="connsiteY2" fmla="*/ 1554562 h 1583590"/>
              <a:gd name="connsiteX3" fmla="*/ 85637 w 88398"/>
              <a:gd name="connsiteY3" fmla="*/ 16815 h 1583590"/>
              <a:gd name="connsiteX4" fmla="*/ 4210 w 88398"/>
              <a:gd name="connsiteY4" fmla="*/ 16815 h 1583590"/>
              <a:gd name="connsiteX5" fmla="*/ 0 w 88398"/>
              <a:gd name="connsiteY5" fmla="*/ 0 h 1583590"/>
              <a:gd name="connsiteX6" fmla="*/ 4210 w 88398"/>
              <a:gd name="connsiteY6" fmla="*/ 1554562 h 1583590"/>
              <a:gd name="connsiteX0" fmla="*/ 7835 w 92023"/>
              <a:gd name="connsiteY0" fmla="*/ 1537747 h 1661839"/>
              <a:gd name="connsiteX1" fmla="*/ 48548 w 92023"/>
              <a:gd name="connsiteY1" fmla="*/ 1566775 h 1661839"/>
              <a:gd name="connsiteX2" fmla="*/ 89261 w 92023"/>
              <a:gd name="connsiteY2" fmla="*/ 1537747 h 1661839"/>
              <a:gd name="connsiteX3" fmla="*/ 89262 w 92023"/>
              <a:gd name="connsiteY3" fmla="*/ 0 h 1661839"/>
              <a:gd name="connsiteX4" fmla="*/ 7835 w 92023"/>
              <a:gd name="connsiteY4" fmla="*/ 0 h 1661839"/>
              <a:gd name="connsiteX5" fmla="*/ 7835 w 92023"/>
              <a:gd name="connsiteY5" fmla="*/ 1537747 h 1661839"/>
              <a:gd name="connsiteX0" fmla="*/ 3755 w 87943"/>
              <a:gd name="connsiteY0" fmla="*/ 1537747 h 1661839"/>
              <a:gd name="connsiteX1" fmla="*/ 44468 w 87943"/>
              <a:gd name="connsiteY1" fmla="*/ 1566775 h 1661839"/>
              <a:gd name="connsiteX2" fmla="*/ 85181 w 87943"/>
              <a:gd name="connsiteY2" fmla="*/ 1537747 h 1661839"/>
              <a:gd name="connsiteX3" fmla="*/ 85182 w 87943"/>
              <a:gd name="connsiteY3" fmla="*/ 0 h 1661839"/>
              <a:gd name="connsiteX4" fmla="*/ 3755 w 87943"/>
              <a:gd name="connsiteY4" fmla="*/ 0 h 1661839"/>
              <a:gd name="connsiteX5" fmla="*/ 3755 w 87943"/>
              <a:gd name="connsiteY5" fmla="*/ 1537747 h 1661839"/>
              <a:gd name="connsiteX0" fmla="*/ 3755 w 87943"/>
              <a:gd name="connsiteY0" fmla="*/ 1565415 h 1689507"/>
              <a:gd name="connsiteX1" fmla="*/ 44468 w 87943"/>
              <a:gd name="connsiteY1" fmla="*/ 1594443 h 1689507"/>
              <a:gd name="connsiteX2" fmla="*/ 85181 w 87943"/>
              <a:gd name="connsiteY2" fmla="*/ 1565415 h 1689507"/>
              <a:gd name="connsiteX3" fmla="*/ 85182 w 87943"/>
              <a:gd name="connsiteY3" fmla="*/ 27668 h 1689507"/>
              <a:gd name="connsiteX4" fmla="*/ 3755 w 87943"/>
              <a:gd name="connsiteY4" fmla="*/ 27668 h 1689507"/>
              <a:gd name="connsiteX5" fmla="*/ 3755 w 87943"/>
              <a:gd name="connsiteY5" fmla="*/ 1565415 h 1689507"/>
              <a:gd name="connsiteX0" fmla="*/ 3755 w 87943"/>
              <a:gd name="connsiteY0" fmla="*/ 1579541 h 1703633"/>
              <a:gd name="connsiteX1" fmla="*/ 44468 w 87943"/>
              <a:gd name="connsiteY1" fmla="*/ 1608569 h 1703633"/>
              <a:gd name="connsiteX2" fmla="*/ 85181 w 87943"/>
              <a:gd name="connsiteY2" fmla="*/ 1579541 h 1703633"/>
              <a:gd name="connsiteX3" fmla="*/ 85182 w 87943"/>
              <a:gd name="connsiteY3" fmla="*/ 41794 h 1703633"/>
              <a:gd name="connsiteX4" fmla="*/ 3755 w 87943"/>
              <a:gd name="connsiteY4" fmla="*/ 41794 h 1703633"/>
              <a:gd name="connsiteX5" fmla="*/ 3755 w 87943"/>
              <a:gd name="connsiteY5" fmla="*/ 1579541 h 1703633"/>
              <a:gd name="connsiteX0" fmla="*/ 3755 w 91924"/>
              <a:gd name="connsiteY0" fmla="*/ 1574567 h 1698659"/>
              <a:gd name="connsiteX1" fmla="*/ 44468 w 91924"/>
              <a:gd name="connsiteY1" fmla="*/ 1603595 h 1698659"/>
              <a:gd name="connsiteX2" fmla="*/ 85181 w 91924"/>
              <a:gd name="connsiteY2" fmla="*/ 1574567 h 1698659"/>
              <a:gd name="connsiteX3" fmla="*/ 88202 w 91924"/>
              <a:gd name="connsiteY3" fmla="*/ 51574 h 1698659"/>
              <a:gd name="connsiteX4" fmla="*/ 3755 w 91924"/>
              <a:gd name="connsiteY4" fmla="*/ 36820 h 1698659"/>
              <a:gd name="connsiteX5" fmla="*/ 3755 w 91924"/>
              <a:gd name="connsiteY5" fmla="*/ 1574567 h 1698659"/>
              <a:gd name="connsiteX0" fmla="*/ 3755 w 91924"/>
              <a:gd name="connsiteY0" fmla="*/ 1569694 h 1693786"/>
              <a:gd name="connsiteX1" fmla="*/ 44468 w 91924"/>
              <a:gd name="connsiteY1" fmla="*/ 1598722 h 1693786"/>
              <a:gd name="connsiteX2" fmla="*/ 85181 w 91924"/>
              <a:gd name="connsiteY2" fmla="*/ 1569694 h 1693786"/>
              <a:gd name="connsiteX3" fmla="*/ 88202 w 91924"/>
              <a:gd name="connsiteY3" fmla="*/ 46701 h 1693786"/>
              <a:gd name="connsiteX4" fmla="*/ 3755 w 91924"/>
              <a:gd name="connsiteY4" fmla="*/ 31947 h 1693786"/>
              <a:gd name="connsiteX5" fmla="*/ 3755 w 91924"/>
              <a:gd name="connsiteY5" fmla="*/ 1569694 h 1693786"/>
              <a:gd name="connsiteX0" fmla="*/ 2849 w 91018"/>
              <a:gd name="connsiteY0" fmla="*/ 1584119 h 1708211"/>
              <a:gd name="connsiteX1" fmla="*/ 43562 w 91018"/>
              <a:gd name="connsiteY1" fmla="*/ 1613147 h 1708211"/>
              <a:gd name="connsiteX2" fmla="*/ 84275 w 91018"/>
              <a:gd name="connsiteY2" fmla="*/ 1584119 h 1708211"/>
              <a:gd name="connsiteX3" fmla="*/ 87296 w 91018"/>
              <a:gd name="connsiteY3" fmla="*/ 61126 h 1708211"/>
              <a:gd name="connsiteX4" fmla="*/ 6016 w 91018"/>
              <a:gd name="connsiteY4" fmla="*/ 28046 h 1708211"/>
              <a:gd name="connsiteX5" fmla="*/ 2849 w 91018"/>
              <a:gd name="connsiteY5" fmla="*/ 1584119 h 1708211"/>
              <a:gd name="connsiteX0" fmla="*/ 2849 w 91018"/>
              <a:gd name="connsiteY0" fmla="*/ 1557228 h 1681320"/>
              <a:gd name="connsiteX1" fmla="*/ 43562 w 91018"/>
              <a:gd name="connsiteY1" fmla="*/ 1586256 h 1681320"/>
              <a:gd name="connsiteX2" fmla="*/ 84275 w 91018"/>
              <a:gd name="connsiteY2" fmla="*/ 1557228 h 1681320"/>
              <a:gd name="connsiteX3" fmla="*/ 87296 w 91018"/>
              <a:gd name="connsiteY3" fmla="*/ 34235 h 1681320"/>
              <a:gd name="connsiteX4" fmla="*/ 6016 w 91018"/>
              <a:gd name="connsiteY4" fmla="*/ 1155 h 1681320"/>
              <a:gd name="connsiteX5" fmla="*/ 2849 w 91018"/>
              <a:gd name="connsiteY5" fmla="*/ 1557228 h 1681320"/>
              <a:gd name="connsiteX0" fmla="*/ 2849 w 91018"/>
              <a:gd name="connsiteY0" fmla="*/ 1556073 h 1680165"/>
              <a:gd name="connsiteX1" fmla="*/ 43562 w 91018"/>
              <a:gd name="connsiteY1" fmla="*/ 1585101 h 1680165"/>
              <a:gd name="connsiteX2" fmla="*/ 84275 w 91018"/>
              <a:gd name="connsiteY2" fmla="*/ 1556073 h 1680165"/>
              <a:gd name="connsiteX3" fmla="*/ 87296 w 91018"/>
              <a:gd name="connsiteY3" fmla="*/ 33080 h 1680165"/>
              <a:gd name="connsiteX4" fmla="*/ 6016 w 91018"/>
              <a:gd name="connsiteY4" fmla="*/ 0 h 1680165"/>
              <a:gd name="connsiteX5" fmla="*/ 2849 w 91018"/>
              <a:gd name="connsiteY5" fmla="*/ 1556073 h 1680165"/>
              <a:gd name="connsiteX0" fmla="*/ 2849 w 91018"/>
              <a:gd name="connsiteY0" fmla="*/ 1567280 h 1691372"/>
              <a:gd name="connsiteX1" fmla="*/ 43562 w 91018"/>
              <a:gd name="connsiteY1" fmla="*/ 1596308 h 1691372"/>
              <a:gd name="connsiteX2" fmla="*/ 84275 w 91018"/>
              <a:gd name="connsiteY2" fmla="*/ 1567280 h 1691372"/>
              <a:gd name="connsiteX3" fmla="*/ 87296 w 91018"/>
              <a:gd name="connsiteY3" fmla="*/ 44287 h 1691372"/>
              <a:gd name="connsiteX4" fmla="*/ 6016 w 91018"/>
              <a:gd name="connsiteY4" fmla="*/ 11207 h 1691372"/>
              <a:gd name="connsiteX5" fmla="*/ 2849 w 91018"/>
              <a:gd name="connsiteY5" fmla="*/ 1567280 h 1691372"/>
              <a:gd name="connsiteX0" fmla="*/ 2849 w 91018"/>
              <a:gd name="connsiteY0" fmla="*/ 1567280 h 1691372"/>
              <a:gd name="connsiteX1" fmla="*/ 43562 w 91018"/>
              <a:gd name="connsiteY1" fmla="*/ 1596308 h 1691372"/>
              <a:gd name="connsiteX2" fmla="*/ 84275 w 91018"/>
              <a:gd name="connsiteY2" fmla="*/ 1567280 h 1691372"/>
              <a:gd name="connsiteX3" fmla="*/ 87296 w 91018"/>
              <a:gd name="connsiteY3" fmla="*/ 44287 h 1691372"/>
              <a:gd name="connsiteX4" fmla="*/ 6016 w 91018"/>
              <a:gd name="connsiteY4" fmla="*/ 11207 h 1691372"/>
              <a:gd name="connsiteX5" fmla="*/ 2849 w 91018"/>
              <a:gd name="connsiteY5" fmla="*/ 1567280 h 1691372"/>
              <a:gd name="connsiteX0" fmla="*/ 2849 w 91018"/>
              <a:gd name="connsiteY0" fmla="*/ 1567280 h 1691372"/>
              <a:gd name="connsiteX1" fmla="*/ 43562 w 91018"/>
              <a:gd name="connsiteY1" fmla="*/ 1596308 h 1691372"/>
              <a:gd name="connsiteX2" fmla="*/ 84275 w 91018"/>
              <a:gd name="connsiteY2" fmla="*/ 1567280 h 1691372"/>
              <a:gd name="connsiteX3" fmla="*/ 87296 w 91018"/>
              <a:gd name="connsiteY3" fmla="*/ 44287 h 1691372"/>
              <a:gd name="connsiteX4" fmla="*/ 6016 w 91018"/>
              <a:gd name="connsiteY4" fmla="*/ 11207 h 1691372"/>
              <a:gd name="connsiteX5" fmla="*/ 2849 w 91018"/>
              <a:gd name="connsiteY5" fmla="*/ 1567280 h 1691372"/>
              <a:gd name="connsiteX0" fmla="*/ 2849 w 91018"/>
              <a:gd name="connsiteY0" fmla="*/ 1567280 h 1691372"/>
              <a:gd name="connsiteX1" fmla="*/ 43562 w 91018"/>
              <a:gd name="connsiteY1" fmla="*/ 1596308 h 1691372"/>
              <a:gd name="connsiteX2" fmla="*/ 84275 w 91018"/>
              <a:gd name="connsiteY2" fmla="*/ 1567280 h 1691372"/>
              <a:gd name="connsiteX3" fmla="*/ 87296 w 91018"/>
              <a:gd name="connsiteY3" fmla="*/ 44287 h 1691372"/>
              <a:gd name="connsiteX4" fmla="*/ 6016 w 91018"/>
              <a:gd name="connsiteY4" fmla="*/ 11207 h 1691372"/>
              <a:gd name="connsiteX5" fmla="*/ 2849 w 91018"/>
              <a:gd name="connsiteY5" fmla="*/ 1567280 h 1691372"/>
              <a:gd name="connsiteX0" fmla="*/ 2849 w 91018"/>
              <a:gd name="connsiteY0" fmla="*/ 1567280 h 1596308"/>
              <a:gd name="connsiteX1" fmla="*/ 43562 w 91018"/>
              <a:gd name="connsiteY1" fmla="*/ 1596308 h 1596308"/>
              <a:gd name="connsiteX2" fmla="*/ 84275 w 91018"/>
              <a:gd name="connsiteY2" fmla="*/ 1567280 h 1596308"/>
              <a:gd name="connsiteX3" fmla="*/ 87296 w 91018"/>
              <a:gd name="connsiteY3" fmla="*/ 44287 h 1596308"/>
              <a:gd name="connsiteX4" fmla="*/ 6016 w 91018"/>
              <a:gd name="connsiteY4" fmla="*/ 11207 h 1596308"/>
              <a:gd name="connsiteX5" fmla="*/ 2849 w 91018"/>
              <a:gd name="connsiteY5" fmla="*/ 1567280 h 159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018" h="1596308">
                <a:moveTo>
                  <a:pt x="2849" y="1567280"/>
                </a:moveTo>
                <a:cubicBezTo>
                  <a:pt x="4079" y="1575900"/>
                  <a:pt x="21077" y="1596308"/>
                  <a:pt x="43562" y="1596308"/>
                </a:cubicBezTo>
                <a:cubicBezTo>
                  <a:pt x="66047" y="1596308"/>
                  <a:pt x="82061" y="1572803"/>
                  <a:pt x="84275" y="1567280"/>
                </a:cubicBezTo>
                <a:cubicBezTo>
                  <a:pt x="91564" y="1308610"/>
                  <a:pt x="93511" y="298872"/>
                  <a:pt x="87296" y="44287"/>
                </a:cubicBezTo>
                <a:cubicBezTo>
                  <a:pt x="38184" y="31236"/>
                  <a:pt x="40995" y="-23149"/>
                  <a:pt x="6016" y="11207"/>
                </a:cubicBezTo>
                <a:cubicBezTo>
                  <a:pt x="3160" y="286058"/>
                  <a:pt x="-3936" y="1306151"/>
                  <a:pt x="2849" y="1567280"/>
                </a:cubicBezTo>
                <a:close/>
              </a:path>
            </a:pathLst>
          </a:custGeom>
          <a:gradFill flip="none" rotWithShape="1">
            <a:gsLst>
              <a:gs pos="71000">
                <a:schemeClr val="accent2">
                  <a:lumMod val="0"/>
                  <a:lumOff val="100000"/>
                </a:schemeClr>
              </a:gs>
              <a:gs pos="33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106" name="Freeform: Shape 1105">
            <a:extLst>
              <a:ext uri="{FF2B5EF4-FFF2-40B4-BE49-F238E27FC236}">
                <a16:creationId xmlns:a16="http://schemas.microsoft.com/office/drawing/2014/main" id="{A4480952-1930-46CE-A186-4B184D2FC5A6}"/>
              </a:ext>
            </a:extLst>
          </p:cNvPr>
          <p:cNvSpPr/>
          <p:nvPr/>
        </p:nvSpPr>
        <p:spPr bwMode="gray">
          <a:xfrm flipV="1">
            <a:off x="7815320" y="4201385"/>
            <a:ext cx="1418074" cy="1151155"/>
          </a:xfrm>
          <a:custGeom>
            <a:avLst/>
            <a:gdLst>
              <a:gd name="connsiteX0" fmla="*/ 1365369 w 1418074"/>
              <a:gd name="connsiteY0" fmla="*/ 1150020 h 1152900"/>
              <a:gd name="connsiteX1" fmla="*/ 1410865 w 1418074"/>
              <a:gd name="connsiteY1" fmla="*/ 1129276 h 1152900"/>
              <a:gd name="connsiteX2" fmla="*/ 1406082 w 1418074"/>
              <a:gd name="connsiteY2" fmla="*/ 1079503 h 1152900"/>
              <a:gd name="connsiteX3" fmla="*/ 401462 w 1418074"/>
              <a:gd name="connsiteY3" fmla="*/ 499485 h 1152900"/>
              <a:gd name="connsiteX4" fmla="*/ 401311 w 1418074"/>
              <a:gd name="connsiteY4" fmla="*/ 498079 h 1152900"/>
              <a:gd name="connsiteX5" fmla="*/ 399775 w 1418074"/>
              <a:gd name="connsiteY5" fmla="*/ 498510 h 1152900"/>
              <a:gd name="connsiteX6" fmla="*/ 308386 w 1418074"/>
              <a:gd name="connsiteY6" fmla="*/ 445747 h 1152900"/>
              <a:gd name="connsiteX7" fmla="*/ 304708 w 1418074"/>
              <a:gd name="connsiteY7" fmla="*/ 445757 h 1152900"/>
              <a:gd name="connsiteX8" fmla="*/ 93816 w 1418074"/>
              <a:gd name="connsiteY8" fmla="*/ 323250 h 1152900"/>
              <a:gd name="connsiteX9" fmla="*/ 82259 w 1418074"/>
              <a:gd name="connsiteY9" fmla="*/ 303232 h 1152900"/>
              <a:gd name="connsiteX10" fmla="*/ 82275 w 1418074"/>
              <a:gd name="connsiteY10" fmla="*/ 300647 h 1152900"/>
              <a:gd name="connsiteX11" fmla="*/ 82592 w 1418074"/>
              <a:gd name="connsiteY11" fmla="*/ 301977 h 1152900"/>
              <a:gd name="connsiteX12" fmla="*/ 81973 w 1418074"/>
              <a:gd name="connsiteY12" fmla="*/ 36462 h 1152900"/>
              <a:gd name="connsiteX13" fmla="*/ 82234 w 1418074"/>
              <a:gd name="connsiteY13" fmla="*/ 23446 h 1152900"/>
              <a:gd name="connsiteX14" fmla="*/ 41618 w 1418074"/>
              <a:gd name="connsiteY14" fmla="*/ 0 h 1152900"/>
              <a:gd name="connsiteX15" fmla="*/ 1828 w 1418074"/>
              <a:gd name="connsiteY15" fmla="*/ 18721 h 1152900"/>
              <a:gd name="connsiteX16" fmla="*/ 1195 w 1418074"/>
              <a:gd name="connsiteY16" fmla="*/ 24546 h 1152900"/>
              <a:gd name="connsiteX17" fmla="*/ 0 w 1418074"/>
              <a:gd name="connsiteY17" fmla="*/ 304008 h 1152900"/>
              <a:gd name="connsiteX18" fmla="*/ 24 w 1418074"/>
              <a:gd name="connsiteY18" fmla="*/ 304141 h 1152900"/>
              <a:gd name="connsiteX19" fmla="*/ 1027 w 1418074"/>
              <a:gd name="connsiteY19" fmla="*/ 315524 h 1152900"/>
              <a:gd name="connsiteX20" fmla="*/ 13495 w 1418074"/>
              <a:gd name="connsiteY20" fmla="*/ 356279 h 1152900"/>
              <a:gd name="connsiteX21" fmla="*/ 52026 w 1418074"/>
              <a:gd name="connsiteY21" fmla="*/ 394094 h 1152900"/>
              <a:gd name="connsiteX22" fmla="*/ 363152 w 1418074"/>
              <a:gd name="connsiteY22" fmla="*/ 572370 h 1152900"/>
              <a:gd name="connsiteX23" fmla="*/ 375264 w 1418074"/>
              <a:gd name="connsiteY23" fmla="*/ 578395 h 1152900"/>
              <a:gd name="connsiteX24" fmla="*/ 375325 w 1418074"/>
              <a:gd name="connsiteY24" fmla="*/ 578417 h 1152900"/>
              <a:gd name="connsiteX0" fmla="*/ 1365369 w 1418074"/>
              <a:gd name="connsiteY0" fmla="*/ 1150020 h 1152900"/>
              <a:gd name="connsiteX1" fmla="*/ 1410865 w 1418074"/>
              <a:gd name="connsiteY1" fmla="*/ 1129276 h 1152900"/>
              <a:gd name="connsiteX2" fmla="*/ 1406082 w 1418074"/>
              <a:gd name="connsiteY2" fmla="*/ 1079503 h 1152900"/>
              <a:gd name="connsiteX3" fmla="*/ 401462 w 1418074"/>
              <a:gd name="connsiteY3" fmla="*/ 499485 h 1152900"/>
              <a:gd name="connsiteX4" fmla="*/ 401311 w 1418074"/>
              <a:gd name="connsiteY4" fmla="*/ 498079 h 1152900"/>
              <a:gd name="connsiteX5" fmla="*/ 399775 w 1418074"/>
              <a:gd name="connsiteY5" fmla="*/ 498510 h 1152900"/>
              <a:gd name="connsiteX6" fmla="*/ 308386 w 1418074"/>
              <a:gd name="connsiteY6" fmla="*/ 445747 h 1152900"/>
              <a:gd name="connsiteX7" fmla="*/ 93816 w 1418074"/>
              <a:gd name="connsiteY7" fmla="*/ 323250 h 1152900"/>
              <a:gd name="connsiteX8" fmla="*/ 82259 w 1418074"/>
              <a:gd name="connsiteY8" fmla="*/ 303232 h 1152900"/>
              <a:gd name="connsiteX9" fmla="*/ 82275 w 1418074"/>
              <a:gd name="connsiteY9" fmla="*/ 300647 h 1152900"/>
              <a:gd name="connsiteX10" fmla="*/ 82592 w 1418074"/>
              <a:gd name="connsiteY10" fmla="*/ 301977 h 1152900"/>
              <a:gd name="connsiteX11" fmla="*/ 81973 w 1418074"/>
              <a:gd name="connsiteY11" fmla="*/ 36462 h 1152900"/>
              <a:gd name="connsiteX12" fmla="*/ 82234 w 1418074"/>
              <a:gd name="connsiteY12" fmla="*/ 23446 h 1152900"/>
              <a:gd name="connsiteX13" fmla="*/ 41618 w 1418074"/>
              <a:gd name="connsiteY13" fmla="*/ 0 h 1152900"/>
              <a:gd name="connsiteX14" fmla="*/ 1828 w 1418074"/>
              <a:gd name="connsiteY14" fmla="*/ 18721 h 1152900"/>
              <a:gd name="connsiteX15" fmla="*/ 1195 w 1418074"/>
              <a:gd name="connsiteY15" fmla="*/ 24546 h 1152900"/>
              <a:gd name="connsiteX16" fmla="*/ 0 w 1418074"/>
              <a:gd name="connsiteY16" fmla="*/ 304008 h 1152900"/>
              <a:gd name="connsiteX17" fmla="*/ 24 w 1418074"/>
              <a:gd name="connsiteY17" fmla="*/ 304141 h 1152900"/>
              <a:gd name="connsiteX18" fmla="*/ 1027 w 1418074"/>
              <a:gd name="connsiteY18" fmla="*/ 315524 h 1152900"/>
              <a:gd name="connsiteX19" fmla="*/ 13495 w 1418074"/>
              <a:gd name="connsiteY19" fmla="*/ 356279 h 1152900"/>
              <a:gd name="connsiteX20" fmla="*/ 52026 w 1418074"/>
              <a:gd name="connsiteY20" fmla="*/ 394094 h 1152900"/>
              <a:gd name="connsiteX21" fmla="*/ 363152 w 1418074"/>
              <a:gd name="connsiteY21" fmla="*/ 572370 h 1152900"/>
              <a:gd name="connsiteX22" fmla="*/ 375264 w 1418074"/>
              <a:gd name="connsiteY22" fmla="*/ 578395 h 1152900"/>
              <a:gd name="connsiteX23" fmla="*/ 375325 w 1418074"/>
              <a:gd name="connsiteY23" fmla="*/ 578417 h 1152900"/>
              <a:gd name="connsiteX24" fmla="*/ 1365369 w 1418074"/>
              <a:gd name="connsiteY24" fmla="*/ 1150020 h 1152900"/>
              <a:gd name="connsiteX0" fmla="*/ 1365369 w 1418074"/>
              <a:gd name="connsiteY0" fmla="*/ 1150020 h 1152900"/>
              <a:gd name="connsiteX1" fmla="*/ 1410865 w 1418074"/>
              <a:gd name="connsiteY1" fmla="*/ 1129276 h 1152900"/>
              <a:gd name="connsiteX2" fmla="*/ 1406082 w 1418074"/>
              <a:gd name="connsiteY2" fmla="*/ 1079503 h 1152900"/>
              <a:gd name="connsiteX3" fmla="*/ 401462 w 1418074"/>
              <a:gd name="connsiteY3" fmla="*/ 499485 h 1152900"/>
              <a:gd name="connsiteX4" fmla="*/ 401311 w 1418074"/>
              <a:gd name="connsiteY4" fmla="*/ 498079 h 1152900"/>
              <a:gd name="connsiteX5" fmla="*/ 399775 w 1418074"/>
              <a:gd name="connsiteY5" fmla="*/ 498510 h 1152900"/>
              <a:gd name="connsiteX6" fmla="*/ 93816 w 1418074"/>
              <a:gd name="connsiteY6" fmla="*/ 323250 h 1152900"/>
              <a:gd name="connsiteX7" fmla="*/ 82259 w 1418074"/>
              <a:gd name="connsiteY7" fmla="*/ 303232 h 1152900"/>
              <a:gd name="connsiteX8" fmla="*/ 82275 w 1418074"/>
              <a:gd name="connsiteY8" fmla="*/ 300647 h 1152900"/>
              <a:gd name="connsiteX9" fmla="*/ 82592 w 1418074"/>
              <a:gd name="connsiteY9" fmla="*/ 301977 h 1152900"/>
              <a:gd name="connsiteX10" fmla="*/ 81973 w 1418074"/>
              <a:gd name="connsiteY10" fmla="*/ 36462 h 1152900"/>
              <a:gd name="connsiteX11" fmla="*/ 82234 w 1418074"/>
              <a:gd name="connsiteY11" fmla="*/ 23446 h 1152900"/>
              <a:gd name="connsiteX12" fmla="*/ 41618 w 1418074"/>
              <a:gd name="connsiteY12" fmla="*/ 0 h 1152900"/>
              <a:gd name="connsiteX13" fmla="*/ 1828 w 1418074"/>
              <a:gd name="connsiteY13" fmla="*/ 18721 h 1152900"/>
              <a:gd name="connsiteX14" fmla="*/ 1195 w 1418074"/>
              <a:gd name="connsiteY14" fmla="*/ 24546 h 1152900"/>
              <a:gd name="connsiteX15" fmla="*/ 0 w 1418074"/>
              <a:gd name="connsiteY15" fmla="*/ 304008 h 1152900"/>
              <a:gd name="connsiteX16" fmla="*/ 24 w 1418074"/>
              <a:gd name="connsiteY16" fmla="*/ 304141 h 1152900"/>
              <a:gd name="connsiteX17" fmla="*/ 1027 w 1418074"/>
              <a:gd name="connsiteY17" fmla="*/ 315524 h 1152900"/>
              <a:gd name="connsiteX18" fmla="*/ 13495 w 1418074"/>
              <a:gd name="connsiteY18" fmla="*/ 356279 h 1152900"/>
              <a:gd name="connsiteX19" fmla="*/ 52026 w 1418074"/>
              <a:gd name="connsiteY19" fmla="*/ 394094 h 1152900"/>
              <a:gd name="connsiteX20" fmla="*/ 363152 w 1418074"/>
              <a:gd name="connsiteY20" fmla="*/ 572370 h 1152900"/>
              <a:gd name="connsiteX21" fmla="*/ 375264 w 1418074"/>
              <a:gd name="connsiteY21" fmla="*/ 578395 h 1152900"/>
              <a:gd name="connsiteX22" fmla="*/ 375325 w 1418074"/>
              <a:gd name="connsiteY22" fmla="*/ 578417 h 1152900"/>
              <a:gd name="connsiteX23" fmla="*/ 1365369 w 1418074"/>
              <a:gd name="connsiteY23" fmla="*/ 1150020 h 1152900"/>
              <a:gd name="connsiteX0" fmla="*/ 1365369 w 1418074"/>
              <a:gd name="connsiteY0" fmla="*/ 1150020 h 1152900"/>
              <a:gd name="connsiteX1" fmla="*/ 1410865 w 1418074"/>
              <a:gd name="connsiteY1" fmla="*/ 1129276 h 1152900"/>
              <a:gd name="connsiteX2" fmla="*/ 1406082 w 1418074"/>
              <a:gd name="connsiteY2" fmla="*/ 1079503 h 1152900"/>
              <a:gd name="connsiteX3" fmla="*/ 401462 w 1418074"/>
              <a:gd name="connsiteY3" fmla="*/ 499485 h 1152900"/>
              <a:gd name="connsiteX4" fmla="*/ 401311 w 1418074"/>
              <a:gd name="connsiteY4" fmla="*/ 498079 h 1152900"/>
              <a:gd name="connsiteX5" fmla="*/ 93816 w 1418074"/>
              <a:gd name="connsiteY5" fmla="*/ 323250 h 1152900"/>
              <a:gd name="connsiteX6" fmla="*/ 82259 w 1418074"/>
              <a:gd name="connsiteY6" fmla="*/ 303232 h 1152900"/>
              <a:gd name="connsiteX7" fmla="*/ 82275 w 1418074"/>
              <a:gd name="connsiteY7" fmla="*/ 300647 h 1152900"/>
              <a:gd name="connsiteX8" fmla="*/ 82592 w 1418074"/>
              <a:gd name="connsiteY8" fmla="*/ 301977 h 1152900"/>
              <a:gd name="connsiteX9" fmla="*/ 81973 w 1418074"/>
              <a:gd name="connsiteY9" fmla="*/ 36462 h 1152900"/>
              <a:gd name="connsiteX10" fmla="*/ 82234 w 1418074"/>
              <a:gd name="connsiteY10" fmla="*/ 23446 h 1152900"/>
              <a:gd name="connsiteX11" fmla="*/ 41618 w 1418074"/>
              <a:gd name="connsiteY11" fmla="*/ 0 h 1152900"/>
              <a:gd name="connsiteX12" fmla="*/ 1828 w 1418074"/>
              <a:gd name="connsiteY12" fmla="*/ 18721 h 1152900"/>
              <a:gd name="connsiteX13" fmla="*/ 1195 w 1418074"/>
              <a:gd name="connsiteY13" fmla="*/ 24546 h 1152900"/>
              <a:gd name="connsiteX14" fmla="*/ 0 w 1418074"/>
              <a:gd name="connsiteY14" fmla="*/ 304008 h 1152900"/>
              <a:gd name="connsiteX15" fmla="*/ 24 w 1418074"/>
              <a:gd name="connsiteY15" fmla="*/ 304141 h 1152900"/>
              <a:gd name="connsiteX16" fmla="*/ 1027 w 1418074"/>
              <a:gd name="connsiteY16" fmla="*/ 315524 h 1152900"/>
              <a:gd name="connsiteX17" fmla="*/ 13495 w 1418074"/>
              <a:gd name="connsiteY17" fmla="*/ 356279 h 1152900"/>
              <a:gd name="connsiteX18" fmla="*/ 52026 w 1418074"/>
              <a:gd name="connsiteY18" fmla="*/ 394094 h 1152900"/>
              <a:gd name="connsiteX19" fmla="*/ 363152 w 1418074"/>
              <a:gd name="connsiteY19" fmla="*/ 572370 h 1152900"/>
              <a:gd name="connsiteX20" fmla="*/ 375264 w 1418074"/>
              <a:gd name="connsiteY20" fmla="*/ 578395 h 1152900"/>
              <a:gd name="connsiteX21" fmla="*/ 375325 w 1418074"/>
              <a:gd name="connsiteY21" fmla="*/ 578417 h 1152900"/>
              <a:gd name="connsiteX22" fmla="*/ 1365369 w 1418074"/>
              <a:gd name="connsiteY22" fmla="*/ 1150020 h 1152900"/>
              <a:gd name="connsiteX0" fmla="*/ 1365369 w 1418074"/>
              <a:gd name="connsiteY0" fmla="*/ 1150020 h 1152900"/>
              <a:gd name="connsiteX1" fmla="*/ 1410865 w 1418074"/>
              <a:gd name="connsiteY1" fmla="*/ 1129276 h 1152900"/>
              <a:gd name="connsiteX2" fmla="*/ 1406082 w 1418074"/>
              <a:gd name="connsiteY2" fmla="*/ 1079503 h 1152900"/>
              <a:gd name="connsiteX3" fmla="*/ 401462 w 1418074"/>
              <a:gd name="connsiteY3" fmla="*/ 499485 h 1152900"/>
              <a:gd name="connsiteX4" fmla="*/ 93816 w 1418074"/>
              <a:gd name="connsiteY4" fmla="*/ 323250 h 1152900"/>
              <a:gd name="connsiteX5" fmla="*/ 82259 w 1418074"/>
              <a:gd name="connsiteY5" fmla="*/ 303232 h 1152900"/>
              <a:gd name="connsiteX6" fmla="*/ 82275 w 1418074"/>
              <a:gd name="connsiteY6" fmla="*/ 300647 h 1152900"/>
              <a:gd name="connsiteX7" fmla="*/ 82592 w 1418074"/>
              <a:gd name="connsiteY7" fmla="*/ 301977 h 1152900"/>
              <a:gd name="connsiteX8" fmla="*/ 81973 w 1418074"/>
              <a:gd name="connsiteY8" fmla="*/ 36462 h 1152900"/>
              <a:gd name="connsiteX9" fmla="*/ 82234 w 1418074"/>
              <a:gd name="connsiteY9" fmla="*/ 23446 h 1152900"/>
              <a:gd name="connsiteX10" fmla="*/ 41618 w 1418074"/>
              <a:gd name="connsiteY10" fmla="*/ 0 h 1152900"/>
              <a:gd name="connsiteX11" fmla="*/ 1828 w 1418074"/>
              <a:gd name="connsiteY11" fmla="*/ 18721 h 1152900"/>
              <a:gd name="connsiteX12" fmla="*/ 1195 w 1418074"/>
              <a:gd name="connsiteY12" fmla="*/ 24546 h 1152900"/>
              <a:gd name="connsiteX13" fmla="*/ 0 w 1418074"/>
              <a:gd name="connsiteY13" fmla="*/ 304008 h 1152900"/>
              <a:gd name="connsiteX14" fmla="*/ 24 w 1418074"/>
              <a:gd name="connsiteY14" fmla="*/ 304141 h 1152900"/>
              <a:gd name="connsiteX15" fmla="*/ 1027 w 1418074"/>
              <a:gd name="connsiteY15" fmla="*/ 315524 h 1152900"/>
              <a:gd name="connsiteX16" fmla="*/ 13495 w 1418074"/>
              <a:gd name="connsiteY16" fmla="*/ 356279 h 1152900"/>
              <a:gd name="connsiteX17" fmla="*/ 52026 w 1418074"/>
              <a:gd name="connsiteY17" fmla="*/ 394094 h 1152900"/>
              <a:gd name="connsiteX18" fmla="*/ 363152 w 1418074"/>
              <a:gd name="connsiteY18" fmla="*/ 572370 h 1152900"/>
              <a:gd name="connsiteX19" fmla="*/ 375264 w 1418074"/>
              <a:gd name="connsiteY19" fmla="*/ 578395 h 1152900"/>
              <a:gd name="connsiteX20" fmla="*/ 375325 w 1418074"/>
              <a:gd name="connsiteY20" fmla="*/ 578417 h 1152900"/>
              <a:gd name="connsiteX21" fmla="*/ 1365369 w 1418074"/>
              <a:gd name="connsiteY21" fmla="*/ 1150020 h 1152900"/>
              <a:gd name="connsiteX0" fmla="*/ 1365369 w 1418074"/>
              <a:gd name="connsiteY0" fmla="*/ 1150020 h 1152900"/>
              <a:gd name="connsiteX1" fmla="*/ 1410865 w 1418074"/>
              <a:gd name="connsiteY1" fmla="*/ 1129276 h 1152900"/>
              <a:gd name="connsiteX2" fmla="*/ 1406082 w 1418074"/>
              <a:gd name="connsiteY2" fmla="*/ 1079503 h 1152900"/>
              <a:gd name="connsiteX3" fmla="*/ 93816 w 1418074"/>
              <a:gd name="connsiteY3" fmla="*/ 323250 h 1152900"/>
              <a:gd name="connsiteX4" fmla="*/ 82259 w 1418074"/>
              <a:gd name="connsiteY4" fmla="*/ 303232 h 1152900"/>
              <a:gd name="connsiteX5" fmla="*/ 82275 w 1418074"/>
              <a:gd name="connsiteY5" fmla="*/ 300647 h 1152900"/>
              <a:gd name="connsiteX6" fmla="*/ 82592 w 1418074"/>
              <a:gd name="connsiteY6" fmla="*/ 301977 h 1152900"/>
              <a:gd name="connsiteX7" fmla="*/ 81973 w 1418074"/>
              <a:gd name="connsiteY7" fmla="*/ 36462 h 1152900"/>
              <a:gd name="connsiteX8" fmla="*/ 82234 w 1418074"/>
              <a:gd name="connsiteY8" fmla="*/ 23446 h 1152900"/>
              <a:gd name="connsiteX9" fmla="*/ 41618 w 1418074"/>
              <a:gd name="connsiteY9" fmla="*/ 0 h 1152900"/>
              <a:gd name="connsiteX10" fmla="*/ 1828 w 1418074"/>
              <a:gd name="connsiteY10" fmla="*/ 18721 h 1152900"/>
              <a:gd name="connsiteX11" fmla="*/ 1195 w 1418074"/>
              <a:gd name="connsiteY11" fmla="*/ 24546 h 1152900"/>
              <a:gd name="connsiteX12" fmla="*/ 0 w 1418074"/>
              <a:gd name="connsiteY12" fmla="*/ 304008 h 1152900"/>
              <a:gd name="connsiteX13" fmla="*/ 24 w 1418074"/>
              <a:gd name="connsiteY13" fmla="*/ 304141 h 1152900"/>
              <a:gd name="connsiteX14" fmla="*/ 1027 w 1418074"/>
              <a:gd name="connsiteY14" fmla="*/ 315524 h 1152900"/>
              <a:gd name="connsiteX15" fmla="*/ 13495 w 1418074"/>
              <a:gd name="connsiteY15" fmla="*/ 356279 h 1152900"/>
              <a:gd name="connsiteX16" fmla="*/ 52026 w 1418074"/>
              <a:gd name="connsiteY16" fmla="*/ 394094 h 1152900"/>
              <a:gd name="connsiteX17" fmla="*/ 363152 w 1418074"/>
              <a:gd name="connsiteY17" fmla="*/ 572370 h 1152900"/>
              <a:gd name="connsiteX18" fmla="*/ 375264 w 1418074"/>
              <a:gd name="connsiteY18" fmla="*/ 578395 h 1152900"/>
              <a:gd name="connsiteX19" fmla="*/ 375325 w 1418074"/>
              <a:gd name="connsiteY19" fmla="*/ 578417 h 1152900"/>
              <a:gd name="connsiteX20" fmla="*/ 1365369 w 1418074"/>
              <a:gd name="connsiteY20" fmla="*/ 1150020 h 1152900"/>
              <a:gd name="connsiteX0" fmla="*/ 1365369 w 1452744"/>
              <a:gd name="connsiteY0" fmla="*/ 1150020 h 1189830"/>
              <a:gd name="connsiteX1" fmla="*/ 1410865 w 1452744"/>
              <a:gd name="connsiteY1" fmla="*/ 1129276 h 1189830"/>
              <a:gd name="connsiteX2" fmla="*/ 1406082 w 1452744"/>
              <a:gd name="connsiteY2" fmla="*/ 1079503 h 1189830"/>
              <a:gd name="connsiteX3" fmla="*/ 93816 w 1452744"/>
              <a:gd name="connsiteY3" fmla="*/ 323250 h 1189830"/>
              <a:gd name="connsiteX4" fmla="*/ 82259 w 1452744"/>
              <a:gd name="connsiteY4" fmla="*/ 303232 h 1189830"/>
              <a:gd name="connsiteX5" fmla="*/ 82275 w 1452744"/>
              <a:gd name="connsiteY5" fmla="*/ 300647 h 1189830"/>
              <a:gd name="connsiteX6" fmla="*/ 82592 w 1452744"/>
              <a:gd name="connsiteY6" fmla="*/ 301977 h 1189830"/>
              <a:gd name="connsiteX7" fmla="*/ 81973 w 1452744"/>
              <a:gd name="connsiteY7" fmla="*/ 36462 h 1189830"/>
              <a:gd name="connsiteX8" fmla="*/ 82234 w 1452744"/>
              <a:gd name="connsiteY8" fmla="*/ 23446 h 1189830"/>
              <a:gd name="connsiteX9" fmla="*/ 41618 w 1452744"/>
              <a:gd name="connsiteY9" fmla="*/ 0 h 1189830"/>
              <a:gd name="connsiteX10" fmla="*/ 1828 w 1452744"/>
              <a:gd name="connsiteY10" fmla="*/ 18721 h 1189830"/>
              <a:gd name="connsiteX11" fmla="*/ 1195 w 1452744"/>
              <a:gd name="connsiteY11" fmla="*/ 24546 h 1189830"/>
              <a:gd name="connsiteX12" fmla="*/ 0 w 1452744"/>
              <a:gd name="connsiteY12" fmla="*/ 304008 h 1189830"/>
              <a:gd name="connsiteX13" fmla="*/ 24 w 1452744"/>
              <a:gd name="connsiteY13" fmla="*/ 304141 h 1189830"/>
              <a:gd name="connsiteX14" fmla="*/ 1027 w 1452744"/>
              <a:gd name="connsiteY14" fmla="*/ 315524 h 1189830"/>
              <a:gd name="connsiteX15" fmla="*/ 13495 w 1452744"/>
              <a:gd name="connsiteY15" fmla="*/ 356279 h 1189830"/>
              <a:gd name="connsiteX16" fmla="*/ 52026 w 1452744"/>
              <a:gd name="connsiteY16" fmla="*/ 394094 h 1189830"/>
              <a:gd name="connsiteX17" fmla="*/ 363152 w 1452744"/>
              <a:gd name="connsiteY17" fmla="*/ 572370 h 1189830"/>
              <a:gd name="connsiteX18" fmla="*/ 375264 w 1452744"/>
              <a:gd name="connsiteY18" fmla="*/ 578395 h 1189830"/>
              <a:gd name="connsiteX19" fmla="*/ 1365369 w 1452744"/>
              <a:gd name="connsiteY19" fmla="*/ 1150020 h 1189830"/>
              <a:gd name="connsiteX0" fmla="*/ 1365369 w 1452744"/>
              <a:gd name="connsiteY0" fmla="*/ 1150020 h 1189830"/>
              <a:gd name="connsiteX1" fmla="*/ 1410865 w 1452744"/>
              <a:gd name="connsiteY1" fmla="*/ 1129276 h 1189830"/>
              <a:gd name="connsiteX2" fmla="*/ 1406082 w 1452744"/>
              <a:gd name="connsiteY2" fmla="*/ 1079503 h 1189830"/>
              <a:gd name="connsiteX3" fmla="*/ 93816 w 1452744"/>
              <a:gd name="connsiteY3" fmla="*/ 323250 h 1189830"/>
              <a:gd name="connsiteX4" fmla="*/ 82259 w 1452744"/>
              <a:gd name="connsiteY4" fmla="*/ 303232 h 1189830"/>
              <a:gd name="connsiteX5" fmla="*/ 82275 w 1452744"/>
              <a:gd name="connsiteY5" fmla="*/ 300647 h 1189830"/>
              <a:gd name="connsiteX6" fmla="*/ 82592 w 1452744"/>
              <a:gd name="connsiteY6" fmla="*/ 301977 h 1189830"/>
              <a:gd name="connsiteX7" fmla="*/ 81973 w 1452744"/>
              <a:gd name="connsiteY7" fmla="*/ 36462 h 1189830"/>
              <a:gd name="connsiteX8" fmla="*/ 82234 w 1452744"/>
              <a:gd name="connsiteY8" fmla="*/ 23446 h 1189830"/>
              <a:gd name="connsiteX9" fmla="*/ 41618 w 1452744"/>
              <a:gd name="connsiteY9" fmla="*/ 0 h 1189830"/>
              <a:gd name="connsiteX10" fmla="*/ 1828 w 1452744"/>
              <a:gd name="connsiteY10" fmla="*/ 18721 h 1189830"/>
              <a:gd name="connsiteX11" fmla="*/ 1195 w 1452744"/>
              <a:gd name="connsiteY11" fmla="*/ 24546 h 1189830"/>
              <a:gd name="connsiteX12" fmla="*/ 0 w 1452744"/>
              <a:gd name="connsiteY12" fmla="*/ 304008 h 1189830"/>
              <a:gd name="connsiteX13" fmla="*/ 24 w 1452744"/>
              <a:gd name="connsiteY13" fmla="*/ 304141 h 1189830"/>
              <a:gd name="connsiteX14" fmla="*/ 1027 w 1452744"/>
              <a:gd name="connsiteY14" fmla="*/ 315524 h 1189830"/>
              <a:gd name="connsiteX15" fmla="*/ 13495 w 1452744"/>
              <a:gd name="connsiteY15" fmla="*/ 356279 h 1189830"/>
              <a:gd name="connsiteX16" fmla="*/ 52026 w 1452744"/>
              <a:gd name="connsiteY16" fmla="*/ 394094 h 1189830"/>
              <a:gd name="connsiteX17" fmla="*/ 363152 w 1452744"/>
              <a:gd name="connsiteY17" fmla="*/ 572370 h 1189830"/>
              <a:gd name="connsiteX18" fmla="*/ 1365369 w 1452744"/>
              <a:gd name="connsiteY18" fmla="*/ 1150020 h 1189830"/>
              <a:gd name="connsiteX0" fmla="*/ 1365369 w 1452744"/>
              <a:gd name="connsiteY0" fmla="*/ 1150020 h 1189830"/>
              <a:gd name="connsiteX1" fmla="*/ 1410865 w 1452744"/>
              <a:gd name="connsiteY1" fmla="*/ 1129276 h 1189830"/>
              <a:gd name="connsiteX2" fmla="*/ 1406082 w 1452744"/>
              <a:gd name="connsiteY2" fmla="*/ 1079503 h 1189830"/>
              <a:gd name="connsiteX3" fmla="*/ 93816 w 1452744"/>
              <a:gd name="connsiteY3" fmla="*/ 323250 h 1189830"/>
              <a:gd name="connsiteX4" fmla="*/ 82259 w 1452744"/>
              <a:gd name="connsiteY4" fmla="*/ 303232 h 1189830"/>
              <a:gd name="connsiteX5" fmla="*/ 82275 w 1452744"/>
              <a:gd name="connsiteY5" fmla="*/ 300647 h 1189830"/>
              <a:gd name="connsiteX6" fmla="*/ 82592 w 1452744"/>
              <a:gd name="connsiteY6" fmla="*/ 301977 h 1189830"/>
              <a:gd name="connsiteX7" fmla="*/ 81973 w 1452744"/>
              <a:gd name="connsiteY7" fmla="*/ 36462 h 1189830"/>
              <a:gd name="connsiteX8" fmla="*/ 82234 w 1452744"/>
              <a:gd name="connsiteY8" fmla="*/ 23446 h 1189830"/>
              <a:gd name="connsiteX9" fmla="*/ 41618 w 1452744"/>
              <a:gd name="connsiteY9" fmla="*/ 0 h 1189830"/>
              <a:gd name="connsiteX10" fmla="*/ 1828 w 1452744"/>
              <a:gd name="connsiteY10" fmla="*/ 18721 h 1189830"/>
              <a:gd name="connsiteX11" fmla="*/ 1195 w 1452744"/>
              <a:gd name="connsiteY11" fmla="*/ 24546 h 1189830"/>
              <a:gd name="connsiteX12" fmla="*/ 0 w 1452744"/>
              <a:gd name="connsiteY12" fmla="*/ 304008 h 1189830"/>
              <a:gd name="connsiteX13" fmla="*/ 24 w 1452744"/>
              <a:gd name="connsiteY13" fmla="*/ 304141 h 1189830"/>
              <a:gd name="connsiteX14" fmla="*/ 1027 w 1452744"/>
              <a:gd name="connsiteY14" fmla="*/ 315524 h 1189830"/>
              <a:gd name="connsiteX15" fmla="*/ 13495 w 1452744"/>
              <a:gd name="connsiteY15" fmla="*/ 356279 h 1189830"/>
              <a:gd name="connsiteX16" fmla="*/ 52026 w 1452744"/>
              <a:gd name="connsiteY16" fmla="*/ 394094 h 1189830"/>
              <a:gd name="connsiteX17" fmla="*/ 1365369 w 1452744"/>
              <a:gd name="connsiteY17" fmla="*/ 1150020 h 1189830"/>
              <a:gd name="connsiteX0" fmla="*/ 1365369 w 1418074"/>
              <a:gd name="connsiteY0" fmla="*/ 1150020 h 1151155"/>
              <a:gd name="connsiteX1" fmla="*/ 1410865 w 1418074"/>
              <a:gd name="connsiteY1" fmla="*/ 1129276 h 1151155"/>
              <a:gd name="connsiteX2" fmla="*/ 1406082 w 1418074"/>
              <a:gd name="connsiteY2" fmla="*/ 1079503 h 1151155"/>
              <a:gd name="connsiteX3" fmla="*/ 93816 w 1418074"/>
              <a:gd name="connsiteY3" fmla="*/ 323250 h 1151155"/>
              <a:gd name="connsiteX4" fmla="*/ 82259 w 1418074"/>
              <a:gd name="connsiteY4" fmla="*/ 303232 h 1151155"/>
              <a:gd name="connsiteX5" fmla="*/ 82275 w 1418074"/>
              <a:gd name="connsiteY5" fmla="*/ 300647 h 1151155"/>
              <a:gd name="connsiteX6" fmla="*/ 82592 w 1418074"/>
              <a:gd name="connsiteY6" fmla="*/ 301977 h 1151155"/>
              <a:gd name="connsiteX7" fmla="*/ 81973 w 1418074"/>
              <a:gd name="connsiteY7" fmla="*/ 36462 h 1151155"/>
              <a:gd name="connsiteX8" fmla="*/ 82234 w 1418074"/>
              <a:gd name="connsiteY8" fmla="*/ 23446 h 1151155"/>
              <a:gd name="connsiteX9" fmla="*/ 41618 w 1418074"/>
              <a:gd name="connsiteY9" fmla="*/ 0 h 1151155"/>
              <a:gd name="connsiteX10" fmla="*/ 1828 w 1418074"/>
              <a:gd name="connsiteY10" fmla="*/ 18721 h 1151155"/>
              <a:gd name="connsiteX11" fmla="*/ 1195 w 1418074"/>
              <a:gd name="connsiteY11" fmla="*/ 24546 h 1151155"/>
              <a:gd name="connsiteX12" fmla="*/ 0 w 1418074"/>
              <a:gd name="connsiteY12" fmla="*/ 304008 h 1151155"/>
              <a:gd name="connsiteX13" fmla="*/ 24 w 1418074"/>
              <a:gd name="connsiteY13" fmla="*/ 304141 h 1151155"/>
              <a:gd name="connsiteX14" fmla="*/ 1027 w 1418074"/>
              <a:gd name="connsiteY14" fmla="*/ 315524 h 1151155"/>
              <a:gd name="connsiteX15" fmla="*/ 13495 w 1418074"/>
              <a:gd name="connsiteY15" fmla="*/ 356279 h 1151155"/>
              <a:gd name="connsiteX16" fmla="*/ 52026 w 1418074"/>
              <a:gd name="connsiteY16" fmla="*/ 394094 h 1151155"/>
              <a:gd name="connsiteX17" fmla="*/ 1365369 w 1418074"/>
              <a:gd name="connsiteY17" fmla="*/ 1150020 h 115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18074" h="1151155">
                <a:moveTo>
                  <a:pt x="1365369" y="1150020"/>
                </a:moveTo>
                <a:cubicBezTo>
                  <a:pt x="1371282" y="1153727"/>
                  <a:pt x="1399622" y="1148748"/>
                  <a:pt x="1410865" y="1129276"/>
                </a:cubicBezTo>
                <a:cubicBezTo>
                  <a:pt x="1422107" y="1109803"/>
                  <a:pt x="1419966" y="1087519"/>
                  <a:pt x="1406082" y="1079503"/>
                </a:cubicBezTo>
                <a:lnTo>
                  <a:pt x="93816" y="323250"/>
                </a:lnTo>
                <a:cubicBezTo>
                  <a:pt x="84501" y="315714"/>
                  <a:pt x="84128" y="315067"/>
                  <a:pt x="82259" y="303232"/>
                </a:cubicBezTo>
                <a:cubicBezTo>
                  <a:pt x="82265" y="302370"/>
                  <a:pt x="82270" y="301509"/>
                  <a:pt x="82275" y="300647"/>
                </a:cubicBezTo>
                <a:cubicBezTo>
                  <a:pt x="82381" y="301090"/>
                  <a:pt x="82486" y="301534"/>
                  <a:pt x="82592" y="301977"/>
                </a:cubicBezTo>
                <a:cubicBezTo>
                  <a:pt x="82550" y="258826"/>
                  <a:pt x="81858" y="102691"/>
                  <a:pt x="81973" y="36462"/>
                </a:cubicBezTo>
                <a:lnTo>
                  <a:pt x="82234" y="23446"/>
                </a:lnTo>
                <a:cubicBezTo>
                  <a:pt x="82234" y="10497"/>
                  <a:pt x="64050" y="0"/>
                  <a:pt x="41618" y="0"/>
                </a:cubicBezTo>
                <a:cubicBezTo>
                  <a:pt x="21991" y="0"/>
                  <a:pt x="5615" y="8037"/>
                  <a:pt x="1828" y="18721"/>
                </a:cubicBezTo>
                <a:lnTo>
                  <a:pt x="1195" y="24546"/>
                </a:lnTo>
                <a:cubicBezTo>
                  <a:pt x="797" y="117700"/>
                  <a:pt x="399" y="210854"/>
                  <a:pt x="0" y="304008"/>
                </a:cubicBezTo>
                <a:cubicBezTo>
                  <a:pt x="8" y="304052"/>
                  <a:pt x="16" y="304097"/>
                  <a:pt x="24" y="304141"/>
                </a:cubicBezTo>
                <a:cubicBezTo>
                  <a:pt x="358" y="307935"/>
                  <a:pt x="693" y="311730"/>
                  <a:pt x="1027" y="315524"/>
                </a:cubicBezTo>
                <a:cubicBezTo>
                  <a:pt x="1550" y="326172"/>
                  <a:pt x="1870" y="335589"/>
                  <a:pt x="13495" y="356279"/>
                </a:cubicBezTo>
                <a:cubicBezTo>
                  <a:pt x="28995" y="383864"/>
                  <a:pt x="38468" y="383284"/>
                  <a:pt x="52026" y="394094"/>
                </a:cubicBezTo>
                <a:lnTo>
                  <a:pt x="1365369" y="1150020"/>
                </a:lnTo>
                <a:close/>
              </a:path>
            </a:pathLst>
          </a:cu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1664" name="Freeform: Shape 1663">
            <a:extLst>
              <a:ext uri="{FF2B5EF4-FFF2-40B4-BE49-F238E27FC236}">
                <a16:creationId xmlns:a16="http://schemas.microsoft.com/office/drawing/2014/main" id="{8E1405ED-495C-49F5-B8FD-865B250016B2}"/>
              </a:ext>
            </a:extLst>
          </p:cNvPr>
          <p:cNvSpPr/>
          <p:nvPr/>
        </p:nvSpPr>
        <p:spPr bwMode="gray">
          <a:xfrm>
            <a:off x="5520146" y="3244960"/>
            <a:ext cx="1305721" cy="880269"/>
          </a:xfrm>
          <a:custGeom>
            <a:avLst/>
            <a:gdLst>
              <a:gd name="connsiteX0" fmla="*/ 0 w 1346200"/>
              <a:gd name="connsiteY0" fmla="*/ 654050 h 939800"/>
              <a:gd name="connsiteX1" fmla="*/ 0 w 1346200"/>
              <a:gd name="connsiteY1" fmla="*/ 431800 h 939800"/>
              <a:gd name="connsiteX2" fmla="*/ 749300 w 1346200"/>
              <a:gd name="connsiteY2" fmla="*/ 0 h 939800"/>
              <a:gd name="connsiteX3" fmla="*/ 1346200 w 1346200"/>
              <a:gd name="connsiteY3" fmla="*/ 355600 h 939800"/>
              <a:gd name="connsiteX4" fmla="*/ 1346200 w 1346200"/>
              <a:gd name="connsiteY4" fmla="*/ 552450 h 939800"/>
              <a:gd name="connsiteX5" fmla="*/ 590550 w 1346200"/>
              <a:gd name="connsiteY5" fmla="*/ 939800 h 939800"/>
              <a:gd name="connsiteX6" fmla="*/ 0 w 1346200"/>
              <a:gd name="connsiteY6" fmla="*/ 654050 h 939800"/>
              <a:gd name="connsiteX0" fmla="*/ 0 w 1346200"/>
              <a:gd name="connsiteY0" fmla="*/ 596900 h 939800"/>
              <a:gd name="connsiteX1" fmla="*/ 0 w 1346200"/>
              <a:gd name="connsiteY1" fmla="*/ 431800 h 939800"/>
              <a:gd name="connsiteX2" fmla="*/ 749300 w 1346200"/>
              <a:gd name="connsiteY2" fmla="*/ 0 h 939800"/>
              <a:gd name="connsiteX3" fmla="*/ 1346200 w 1346200"/>
              <a:gd name="connsiteY3" fmla="*/ 355600 h 939800"/>
              <a:gd name="connsiteX4" fmla="*/ 1346200 w 1346200"/>
              <a:gd name="connsiteY4" fmla="*/ 552450 h 939800"/>
              <a:gd name="connsiteX5" fmla="*/ 590550 w 1346200"/>
              <a:gd name="connsiteY5" fmla="*/ 939800 h 939800"/>
              <a:gd name="connsiteX6" fmla="*/ 0 w 1346200"/>
              <a:gd name="connsiteY6" fmla="*/ 596900 h 939800"/>
              <a:gd name="connsiteX0" fmla="*/ 0 w 1346200"/>
              <a:gd name="connsiteY0" fmla="*/ 596900 h 895350"/>
              <a:gd name="connsiteX1" fmla="*/ 0 w 1346200"/>
              <a:gd name="connsiteY1" fmla="*/ 431800 h 895350"/>
              <a:gd name="connsiteX2" fmla="*/ 749300 w 1346200"/>
              <a:gd name="connsiteY2" fmla="*/ 0 h 895350"/>
              <a:gd name="connsiteX3" fmla="*/ 1346200 w 1346200"/>
              <a:gd name="connsiteY3" fmla="*/ 355600 h 895350"/>
              <a:gd name="connsiteX4" fmla="*/ 1346200 w 1346200"/>
              <a:gd name="connsiteY4" fmla="*/ 552450 h 895350"/>
              <a:gd name="connsiteX5" fmla="*/ 590550 w 1346200"/>
              <a:gd name="connsiteY5" fmla="*/ 895350 h 895350"/>
              <a:gd name="connsiteX6" fmla="*/ 0 w 1346200"/>
              <a:gd name="connsiteY6" fmla="*/ 596900 h 895350"/>
              <a:gd name="connsiteX0" fmla="*/ 0 w 1346200"/>
              <a:gd name="connsiteY0" fmla="*/ 596900 h 895350"/>
              <a:gd name="connsiteX1" fmla="*/ 0 w 1346200"/>
              <a:gd name="connsiteY1" fmla="*/ 431800 h 895350"/>
              <a:gd name="connsiteX2" fmla="*/ 749300 w 1346200"/>
              <a:gd name="connsiteY2" fmla="*/ 0 h 895350"/>
              <a:gd name="connsiteX3" fmla="*/ 1346200 w 1346200"/>
              <a:gd name="connsiteY3" fmla="*/ 355600 h 895350"/>
              <a:gd name="connsiteX4" fmla="*/ 1333500 w 1346200"/>
              <a:gd name="connsiteY4" fmla="*/ 501650 h 895350"/>
              <a:gd name="connsiteX5" fmla="*/ 590550 w 1346200"/>
              <a:gd name="connsiteY5" fmla="*/ 895350 h 895350"/>
              <a:gd name="connsiteX6" fmla="*/ 0 w 1346200"/>
              <a:gd name="connsiteY6" fmla="*/ 596900 h 895350"/>
              <a:gd name="connsiteX0" fmla="*/ 0 w 1346200"/>
              <a:gd name="connsiteY0" fmla="*/ 596900 h 895350"/>
              <a:gd name="connsiteX1" fmla="*/ 0 w 1346200"/>
              <a:gd name="connsiteY1" fmla="*/ 431800 h 895350"/>
              <a:gd name="connsiteX2" fmla="*/ 749300 w 1346200"/>
              <a:gd name="connsiteY2" fmla="*/ 0 h 895350"/>
              <a:gd name="connsiteX3" fmla="*/ 1346200 w 1346200"/>
              <a:gd name="connsiteY3" fmla="*/ 355600 h 895350"/>
              <a:gd name="connsiteX4" fmla="*/ 1333500 w 1346200"/>
              <a:gd name="connsiteY4" fmla="*/ 482600 h 895350"/>
              <a:gd name="connsiteX5" fmla="*/ 590550 w 1346200"/>
              <a:gd name="connsiteY5" fmla="*/ 895350 h 895350"/>
              <a:gd name="connsiteX6" fmla="*/ 0 w 1346200"/>
              <a:gd name="connsiteY6" fmla="*/ 596900 h 895350"/>
              <a:gd name="connsiteX0" fmla="*/ 6350 w 1346200"/>
              <a:gd name="connsiteY0" fmla="*/ 574675 h 895350"/>
              <a:gd name="connsiteX1" fmla="*/ 0 w 1346200"/>
              <a:gd name="connsiteY1" fmla="*/ 431800 h 895350"/>
              <a:gd name="connsiteX2" fmla="*/ 749300 w 1346200"/>
              <a:gd name="connsiteY2" fmla="*/ 0 h 895350"/>
              <a:gd name="connsiteX3" fmla="*/ 1346200 w 1346200"/>
              <a:gd name="connsiteY3" fmla="*/ 355600 h 895350"/>
              <a:gd name="connsiteX4" fmla="*/ 1333500 w 1346200"/>
              <a:gd name="connsiteY4" fmla="*/ 482600 h 895350"/>
              <a:gd name="connsiteX5" fmla="*/ 590550 w 1346200"/>
              <a:gd name="connsiteY5" fmla="*/ 895350 h 895350"/>
              <a:gd name="connsiteX6" fmla="*/ 6350 w 1346200"/>
              <a:gd name="connsiteY6" fmla="*/ 574675 h 895350"/>
              <a:gd name="connsiteX0" fmla="*/ 6350 w 1346200"/>
              <a:gd name="connsiteY0" fmla="*/ 574675 h 911225"/>
              <a:gd name="connsiteX1" fmla="*/ 0 w 1346200"/>
              <a:gd name="connsiteY1" fmla="*/ 431800 h 911225"/>
              <a:gd name="connsiteX2" fmla="*/ 749300 w 1346200"/>
              <a:gd name="connsiteY2" fmla="*/ 0 h 911225"/>
              <a:gd name="connsiteX3" fmla="*/ 1346200 w 1346200"/>
              <a:gd name="connsiteY3" fmla="*/ 355600 h 911225"/>
              <a:gd name="connsiteX4" fmla="*/ 1333500 w 1346200"/>
              <a:gd name="connsiteY4" fmla="*/ 482600 h 911225"/>
              <a:gd name="connsiteX5" fmla="*/ 587375 w 1346200"/>
              <a:gd name="connsiteY5" fmla="*/ 911225 h 911225"/>
              <a:gd name="connsiteX6" fmla="*/ 6350 w 1346200"/>
              <a:gd name="connsiteY6" fmla="*/ 574675 h 911225"/>
              <a:gd name="connsiteX0" fmla="*/ 6350 w 1346200"/>
              <a:gd name="connsiteY0" fmla="*/ 574675 h 911225"/>
              <a:gd name="connsiteX1" fmla="*/ 0 w 1346200"/>
              <a:gd name="connsiteY1" fmla="*/ 431800 h 911225"/>
              <a:gd name="connsiteX2" fmla="*/ 749300 w 1346200"/>
              <a:gd name="connsiteY2" fmla="*/ 0 h 911225"/>
              <a:gd name="connsiteX3" fmla="*/ 1346200 w 1346200"/>
              <a:gd name="connsiteY3" fmla="*/ 355600 h 911225"/>
              <a:gd name="connsiteX4" fmla="*/ 1343025 w 1346200"/>
              <a:gd name="connsiteY4" fmla="*/ 482600 h 911225"/>
              <a:gd name="connsiteX5" fmla="*/ 587375 w 1346200"/>
              <a:gd name="connsiteY5" fmla="*/ 911225 h 911225"/>
              <a:gd name="connsiteX6" fmla="*/ 6350 w 1346200"/>
              <a:gd name="connsiteY6" fmla="*/ 574675 h 911225"/>
              <a:gd name="connsiteX0" fmla="*/ 6350 w 1385906"/>
              <a:gd name="connsiteY0" fmla="*/ 574675 h 911225"/>
              <a:gd name="connsiteX1" fmla="*/ 0 w 1385906"/>
              <a:gd name="connsiteY1" fmla="*/ 431800 h 911225"/>
              <a:gd name="connsiteX2" fmla="*/ 749300 w 1385906"/>
              <a:gd name="connsiteY2" fmla="*/ 0 h 911225"/>
              <a:gd name="connsiteX3" fmla="*/ 1346200 w 1385906"/>
              <a:gd name="connsiteY3" fmla="*/ 355600 h 911225"/>
              <a:gd name="connsiteX4" fmla="*/ 1385887 w 1385906"/>
              <a:gd name="connsiteY4" fmla="*/ 468312 h 911225"/>
              <a:gd name="connsiteX5" fmla="*/ 587375 w 1385906"/>
              <a:gd name="connsiteY5" fmla="*/ 911225 h 911225"/>
              <a:gd name="connsiteX6" fmla="*/ 6350 w 1385906"/>
              <a:gd name="connsiteY6" fmla="*/ 574675 h 911225"/>
              <a:gd name="connsiteX0" fmla="*/ 6350 w 1391444"/>
              <a:gd name="connsiteY0" fmla="*/ 574675 h 911225"/>
              <a:gd name="connsiteX1" fmla="*/ 0 w 1391444"/>
              <a:gd name="connsiteY1" fmla="*/ 431800 h 911225"/>
              <a:gd name="connsiteX2" fmla="*/ 749300 w 1391444"/>
              <a:gd name="connsiteY2" fmla="*/ 0 h 911225"/>
              <a:gd name="connsiteX3" fmla="*/ 1391444 w 1391444"/>
              <a:gd name="connsiteY3" fmla="*/ 341313 h 911225"/>
              <a:gd name="connsiteX4" fmla="*/ 1385887 w 1391444"/>
              <a:gd name="connsiteY4" fmla="*/ 468312 h 911225"/>
              <a:gd name="connsiteX5" fmla="*/ 587375 w 1391444"/>
              <a:gd name="connsiteY5" fmla="*/ 911225 h 911225"/>
              <a:gd name="connsiteX6" fmla="*/ 6350 w 1391444"/>
              <a:gd name="connsiteY6" fmla="*/ 574675 h 911225"/>
              <a:gd name="connsiteX0" fmla="*/ 6350 w 1389063"/>
              <a:gd name="connsiteY0" fmla="*/ 574675 h 911225"/>
              <a:gd name="connsiteX1" fmla="*/ 0 w 1389063"/>
              <a:gd name="connsiteY1" fmla="*/ 431800 h 911225"/>
              <a:gd name="connsiteX2" fmla="*/ 749300 w 1389063"/>
              <a:gd name="connsiteY2" fmla="*/ 0 h 911225"/>
              <a:gd name="connsiteX3" fmla="*/ 1389063 w 1389063"/>
              <a:gd name="connsiteY3" fmla="*/ 343694 h 911225"/>
              <a:gd name="connsiteX4" fmla="*/ 1385887 w 1389063"/>
              <a:gd name="connsiteY4" fmla="*/ 468312 h 911225"/>
              <a:gd name="connsiteX5" fmla="*/ 587375 w 1389063"/>
              <a:gd name="connsiteY5" fmla="*/ 911225 h 911225"/>
              <a:gd name="connsiteX6" fmla="*/ 6350 w 1389063"/>
              <a:gd name="connsiteY6" fmla="*/ 574675 h 911225"/>
              <a:gd name="connsiteX0" fmla="*/ 6350 w 1389063"/>
              <a:gd name="connsiteY0" fmla="*/ 574675 h 911225"/>
              <a:gd name="connsiteX1" fmla="*/ 0 w 1389063"/>
              <a:gd name="connsiteY1" fmla="*/ 431800 h 911225"/>
              <a:gd name="connsiteX2" fmla="*/ 749300 w 1389063"/>
              <a:gd name="connsiteY2" fmla="*/ 0 h 911225"/>
              <a:gd name="connsiteX3" fmla="*/ 1389063 w 1389063"/>
              <a:gd name="connsiteY3" fmla="*/ 334169 h 911225"/>
              <a:gd name="connsiteX4" fmla="*/ 1385887 w 1389063"/>
              <a:gd name="connsiteY4" fmla="*/ 468312 h 911225"/>
              <a:gd name="connsiteX5" fmla="*/ 587375 w 1389063"/>
              <a:gd name="connsiteY5" fmla="*/ 911225 h 911225"/>
              <a:gd name="connsiteX6" fmla="*/ 6350 w 1389063"/>
              <a:gd name="connsiteY6" fmla="*/ 574675 h 911225"/>
              <a:gd name="connsiteX0" fmla="*/ 6350 w 1389063"/>
              <a:gd name="connsiteY0" fmla="*/ 586582 h 923132"/>
              <a:gd name="connsiteX1" fmla="*/ 0 w 1389063"/>
              <a:gd name="connsiteY1" fmla="*/ 443707 h 923132"/>
              <a:gd name="connsiteX2" fmla="*/ 782637 w 1389063"/>
              <a:gd name="connsiteY2" fmla="*/ 0 h 923132"/>
              <a:gd name="connsiteX3" fmla="*/ 1389063 w 1389063"/>
              <a:gd name="connsiteY3" fmla="*/ 346076 h 923132"/>
              <a:gd name="connsiteX4" fmla="*/ 1385887 w 1389063"/>
              <a:gd name="connsiteY4" fmla="*/ 480219 h 923132"/>
              <a:gd name="connsiteX5" fmla="*/ 587375 w 1389063"/>
              <a:gd name="connsiteY5" fmla="*/ 923132 h 923132"/>
              <a:gd name="connsiteX6" fmla="*/ 6350 w 1389063"/>
              <a:gd name="connsiteY6" fmla="*/ 586582 h 923132"/>
              <a:gd name="connsiteX0" fmla="*/ 6350 w 1389063"/>
              <a:gd name="connsiteY0" fmla="*/ 588963 h 925513"/>
              <a:gd name="connsiteX1" fmla="*/ 0 w 1389063"/>
              <a:gd name="connsiteY1" fmla="*/ 446088 h 925513"/>
              <a:gd name="connsiteX2" fmla="*/ 792162 w 1389063"/>
              <a:gd name="connsiteY2" fmla="*/ 0 h 925513"/>
              <a:gd name="connsiteX3" fmla="*/ 1389063 w 1389063"/>
              <a:gd name="connsiteY3" fmla="*/ 348457 h 925513"/>
              <a:gd name="connsiteX4" fmla="*/ 1385887 w 1389063"/>
              <a:gd name="connsiteY4" fmla="*/ 482600 h 925513"/>
              <a:gd name="connsiteX5" fmla="*/ 587375 w 1389063"/>
              <a:gd name="connsiteY5" fmla="*/ 925513 h 925513"/>
              <a:gd name="connsiteX6" fmla="*/ 6350 w 1389063"/>
              <a:gd name="connsiteY6" fmla="*/ 588963 h 925513"/>
              <a:gd name="connsiteX0" fmla="*/ 6350 w 1389063"/>
              <a:gd name="connsiteY0" fmla="*/ 600869 h 937419"/>
              <a:gd name="connsiteX1" fmla="*/ 0 w 1389063"/>
              <a:gd name="connsiteY1" fmla="*/ 457994 h 937419"/>
              <a:gd name="connsiteX2" fmla="*/ 794543 w 1389063"/>
              <a:gd name="connsiteY2" fmla="*/ 0 h 937419"/>
              <a:gd name="connsiteX3" fmla="*/ 1389063 w 1389063"/>
              <a:gd name="connsiteY3" fmla="*/ 360363 h 937419"/>
              <a:gd name="connsiteX4" fmla="*/ 1385887 w 1389063"/>
              <a:gd name="connsiteY4" fmla="*/ 494506 h 937419"/>
              <a:gd name="connsiteX5" fmla="*/ 587375 w 1389063"/>
              <a:gd name="connsiteY5" fmla="*/ 937419 h 937419"/>
              <a:gd name="connsiteX6" fmla="*/ 6350 w 1389063"/>
              <a:gd name="connsiteY6" fmla="*/ 600869 h 937419"/>
              <a:gd name="connsiteX0" fmla="*/ 6350 w 1389063"/>
              <a:gd name="connsiteY0" fmla="*/ 591344 h 927894"/>
              <a:gd name="connsiteX1" fmla="*/ 0 w 1389063"/>
              <a:gd name="connsiteY1" fmla="*/ 448469 h 927894"/>
              <a:gd name="connsiteX2" fmla="*/ 796925 w 1389063"/>
              <a:gd name="connsiteY2" fmla="*/ 0 h 927894"/>
              <a:gd name="connsiteX3" fmla="*/ 1389063 w 1389063"/>
              <a:gd name="connsiteY3" fmla="*/ 350838 h 927894"/>
              <a:gd name="connsiteX4" fmla="*/ 1385887 w 1389063"/>
              <a:gd name="connsiteY4" fmla="*/ 484981 h 927894"/>
              <a:gd name="connsiteX5" fmla="*/ 587375 w 1389063"/>
              <a:gd name="connsiteY5" fmla="*/ 927894 h 927894"/>
              <a:gd name="connsiteX6" fmla="*/ 6350 w 1389063"/>
              <a:gd name="connsiteY6" fmla="*/ 591344 h 927894"/>
              <a:gd name="connsiteX0" fmla="*/ 6350 w 1409735"/>
              <a:gd name="connsiteY0" fmla="*/ 591344 h 927894"/>
              <a:gd name="connsiteX1" fmla="*/ 0 w 1409735"/>
              <a:gd name="connsiteY1" fmla="*/ 448469 h 927894"/>
              <a:gd name="connsiteX2" fmla="*/ 796925 w 1409735"/>
              <a:gd name="connsiteY2" fmla="*/ 0 h 927894"/>
              <a:gd name="connsiteX3" fmla="*/ 1389063 w 1409735"/>
              <a:gd name="connsiteY3" fmla="*/ 350838 h 927894"/>
              <a:gd name="connsiteX4" fmla="*/ 1409700 w 1409735"/>
              <a:gd name="connsiteY4" fmla="*/ 470693 h 927894"/>
              <a:gd name="connsiteX5" fmla="*/ 587375 w 1409735"/>
              <a:gd name="connsiteY5" fmla="*/ 927894 h 927894"/>
              <a:gd name="connsiteX6" fmla="*/ 6350 w 1409735"/>
              <a:gd name="connsiteY6" fmla="*/ 591344 h 927894"/>
              <a:gd name="connsiteX0" fmla="*/ 6350 w 1417638"/>
              <a:gd name="connsiteY0" fmla="*/ 591344 h 927894"/>
              <a:gd name="connsiteX1" fmla="*/ 0 w 1417638"/>
              <a:gd name="connsiteY1" fmla="*/ 448469 h 927894"/>
              <a:gd name="connsiteX2" fmla="*/ 796925 w 1417638"/>
              <a:gd name="connsiteY2" fmla="*/ 0 h 927894"/>
              <a:gd name="connsiteX3" fmla="*/ 1417638 w 1417638"/>
              <a:gd name="connsiteY3" fmla="*/ 346076 h 927894"/>
              <a:gd name="connsiteX4" fmla="*/ 1409700 w 1417638"/>
              <a:gd name="connsiteY4" fmla="*/ 470693 h 927894"/>
              <a:gd name="connsiteX5" fmla="*/ 587375 w 1417638"/>
              <a:gd name="connsiteY5" fmla="*/ 927894 h 927894"/>
              <a:gd name="connsiteX6" fmla="*/ 6350 w 1417638"/>
              <a:gd name="connsiteY6" fmla="*/ 591344 h 927894"/>
              <a:gd name="connsiteX0" fmla="*/ 6350 w 1417638"/>
              <a:gd name="connsiteY0" fmla="*/ 591344 h 927894"/>
              <a:gd name="connsiteX1" fmla="*/ 0 w 1417638"/>
              <a:gd name="connsiteY1" fmla="*/ 448469 h 927894"/>
              <a:gd name="connsiteX2" fmla="*/ 796925 w 1417638"/>
              <a:gd name="connsiteY2" fmla="*/ 0 h 927894"/>
              <a:gd name="connsiteX3" fmla="*/ 1417638 w 1417638"/>
              <a:gd name="connsiteY3" fmla="*/ 357982 h 927894"/>
              <a:gd name="connsiteX4" fmla="*/ 1409700 w 1417638"/>
              <a:gd name="connsiteY4" fmla="*/ 470693 h 927894"/>
              <a:gd name="connsiteX5" fmla="*/ 587375 w 1417638"/>
              <a:gd name="connsiteY5" fmla="*/ 927894 h 927894"/>
              <a:gd name="connsiteX6" fmla="*/ 6350 w 1417638"/>
              <a:gd name="connsiteY6" fmla="*/ 591344 h 927894"/>
              <a:gd name="connsiteX0" fmla="*/ 6350 w 1410495"/>
              <a:gd name="connsiteY0" fmla="*/ 591344 h 927894"/>
              <a:gd name="connsiteX1" fmla="*/ 0 w 1410495"/>
              <a:gd name="connsiteY1" fmla="*/ 448469 h 927894"/>
              <a:gd name="connsiteX2" fmla="*/ 796925 w 1410495"/>
              <a:gd name="connsiteY2" fmla="*/ 0 h 927894"/>
              <a:gd name="connsiteX3" fmla="*/ 1410495 w 1410495"/>
              <a:gd name="connsiteY3" fmla="*/ 350838 h 927894"/>
              <a:gd name="connsiteX4" fmla="*/ 1409700 w 1410495"/>
              <a:gd name="connsiteY4" fmla="*/ 470693 h 927894"/>
              <a:gd name="connsiteX5" fmla="*/ 587375 w 1410495"/>
              <a:gd name="connsiteY5" fmla="*/ 927894 h 927894"/>
              <a:gd name="connsiteX6" fmla="*/ 6350 w 1410495"/>
              <a:gd name="connsiteY6" fmla="*/ 591344 h 927894"/>
              <a:gd name="connsiteX0" fmla="*/ 6350 w 1410495"/>
              <a:gd name="connsiteY0" fmla="*/ 591344 h 927894"/>
              <a:gd name="connsiteX1" fmla="*/ 0 w 1410495"/>
              <a:gd name="connsiteY1" fmla="*/ 448469 h 927894"/>
              <a:gd name="connsiteX2" fmla="*/ 796925 w 1410495"/>
              <a:gd name="connsiteY2" fmla="*/ 0 h 927894"/>
              <a:gd name="connsiteX3" fmla="*/ 1410495 w 1410495"/>
              <a:gd name="connsiteY3" fmla="*/ 350838 h 927894"/>
              <a:gd name="connsiteX4" fmla="*/ 1366838 w 1410495"/>
              <a:gd name="connsiteY4" fmla="*/ 496887 h 927894"/>
              <a:gd name="connsiteX5" fmla="*/ 587375 w 1410495"/>
              <a:gd name="connsiteY5" fmla="*/ 927894 h 927894"/>
              <a:gd name="connsiteX6" fmla="*/ 6350 w 1410495"/>
              <a:gd name="connsiteY6" fmla="*/ 591344 h 927894"/>
              <a:gd name="connsiteX0" fmla="*/ 6350 w 1367030"/>
              <a:gd name="connsiteY0" fmla="*/ 591344 h 927894"/>
              <a:gd name="connsiteX1" fmla="*/ 0 w 1367030"/>
              <a:gd name="connsiteY1" fmla="*/ 448469 h 927894"/>
              <a:gd name="connsiteX2" fmla="*/ 796925 w 1367030"/>
              <a:gd name="connsiteY2" fmla="*/ 0 h 927894"/>
              <a:gd name="connsiteX3" fmla="*/ 1365252 w 1367030"/>
              <a:gd name="connsiteY3" fmla="*/ 367506 h 927894"/>
              <a:gd name="connsiteX4" fmla="*/ 1366838 w 1367030"/>
              <a:gd name="connsiteY4" fmla="*/ 496887 h 927894"/>
              <a:gd name="connsiteX5" fmla="*/ 587375 w 1367030"/>
              <a:gd name="connsiteY5" fmla="*/ 927894 h 927894"/>
              <a:gd name="connsiteX6" fmla="*/ 6350 w 1367030"/>
              <a:gd name="connsiteY6" fmla="*/ 591344 h 927894"/>
              <a:gd name="connsiteX0" fmla="*/ 6350 w 1374777"/>
              <a:gd name="connsiteY0" fmla="*/ 591344 h 927894"/>
              <a:gd name="connsiteX1" fmla="*/ 0 w 1374777"/>
              <a:gd name="connsiteY1" fmla="*/ 448469 h 927894"/>
              <a:gd name="connsiteX2" fmla="*/ 796925 w 1374777"/>
              <a:gd name="connsiteY2" fmla="*/ 0 h 927894"/>
              <a:gd name="connsiteX3" fmla="*/ 1374777 w 1374777"/>
              <a:gd name="connsiteY3" fmla="*/ 360363 h 927894"/>
              <a:gd name="connsiteX4" fmla="*/ 1366838 w 1374777"/>
              <a:gd name="connsiteY4" fmla="*/ 496887 h 927894"/>
              <a:gd name="connsiteX5" fmla="*/ 587375 w 1374777"/>
              <a:gd name="connsiteY5" fmla="*/ 927894 h 927894"/>
              <a:gd name="connsiteX6" fmla="*/ 6350 w 1374777"/>
              <a:gd name="connsiteY6" fmla="*/ 591344 h 927894"/>
              <a:gd name="connsiteX0" fmla="*/ 6350 w 1378868"/>
              <a:gd name="connsiteY0" fmla="*/ 591344 h 927894"/>
              <a:gd name="connsiteX1" fmla="*/ 0 w 1378868"/>
              <a:gd name="connsiteY1" fmla="*/ 448469 h 927894"/>
              <a:gd name="connsiteX2" fmla="*/ 796925 w 1378868"/>
              <a:gd name="connsiteY2" fmla="*/ 0 h 927894"/>
              <a:gd name="connsiteX3" fmla="*/ 1374777 w 1378868"/>
              <a:gd name="connsiteY3" fmla="*/ 360363 h 927894"/>
              <a:gd name="connsiteX4" fmla="*/ 1378744 w 1378868"/>
              <a:gd name="connsiteY4" fmla="*/ 492124 h 927894"/>
              <a:gd name="connsiteX5" fmla="*/ 587375 w 1378868"/>
              <a:gd name="connsiteY5" fmla="*/ 927894 h 927894"/>
              <a:gd name="connsiteX6" fmla="*/ 6350 w 1378868"/>
              <a:gd name="connsiteY6" fmla="*/ 591344 h 927894"/>
              <a:gd name="connsiteX0" fmla="*/ 6350 w 1378804"/>
              <a:gd name="connsiteY0" fmla="*/ 591344 h 927894"/>
              <a:gd name="connsiteX1" fmla="*/ 0 w 1378804"/>
              <a:gd name="connsiteY1" fmla="*/ 448469 h 927894"/>
              <a:gd name="connsiteX2" fmla="*/ 796925 w 1378804"/>
              <a:gd name="connsiteY2" fmla="*/ 0 h 927894"/>
              <a:gd name="connsiteX3" fmla="*/ 1367633 w 1378804"/>
              <a:gd name="connsiteY3" fmla="*/ 362744 h 927894"/>
              <a:gd name="connsiteX4" fmla="*/ 1378744 w 1378804"/>
              <a:gd name="connsiteY4" fmla="*/ 492124 h 927894"/>
              <a:gd name="connsiteX5" fmla="*/ 587375 w 1378804"/>
              <a:gd name="connsiteY5" fmla="*/ 927894 h 927894"/>
              <a:gd name="connsiteX6" fmla="*/ 6350 w 1378804"/>
              <a:gd name="connsiteY6" fmla="*/ 591344 h 927894"/>
              <a:gd name="connsiteX0" fmla="*/ 6350 w 1378936"/>
              <a:gd name="connsiteY0" fmla="*/ 591344 h 927894"/>
              <a:gd name="connsiteX1" fmla="*/ 0 w 1378936"/>
              <a:gd name="connsiteY1" fmla="*/ 448469 h 927894"/>
              <a:gd name="connsiteX2" fmla="*/ 796925 w 1378936"/>
              <a:gd name="connsiteY2" fmla="*/ 0 h 927894"/>
              <a:gd name="connsiteX3" fmla="*/ 1377158 w 1378936"/>
              <a:gd name="connsiteY3" fmla="*/ 360363 h 927894"/>
              <a:gd name="connsiteX4" fmla="*/ 1378744 w 1378936"/>
              <a:gd name="connsiteY4" fmla="*/ 492124 h 927894"/>
              <a:gd name="connsiteX5" fmla="*/ 587375 w 1378936"/>
              <a:gd name="connsiteY5" fmla="*/ 927894 h 927894"/>
              <a:gd name="connsiteX6" fmla="*/ 6350 w 1378936"/>
              <a:gd name="connsiteY6" fmla="*/ 591344 h 927894"/>
              <a:gd name="connsiteX0" fmla="*/ 6350 w 1377158"/>
              <a:gd name="connsiteY0" fmla="*/ 591344 h 927894"/>
              <a:gd name="connsiteX1" fmla="*/ 0 w 1377158"/>
              <a:gd name="connsiteY1" fmla="*/ 448469 h 927894"/>
              <a:gd name="connsiteX2" fmla="*/ 796925 w 1377158"/>
              <a:gd name="connsiteY2" fmla="*/ 0 h 927894"/>
              <a:gd name="connsiteX3" fmla="*/ 1377158 w 1377158"/>
              <a:gd name="connsiteY3" fmla="*/ 360363 h 927894"/>
              <a:gd name="connsiteX4" fmla="*/ 1366838 w 1377158"/>
              <a:gd name="connsiteY4" fmla="*/ 496887 h 927894"/>
              <a:gd name="connsiteX5" fmla="*/ 587375 w 1377158"/>
              <a:gd name="connsiteY5" fmla="*/ 927894 h 927894"/>
              <a:gd name="connsiteX6" fmla="*/ 6350 w 1377158"/>
              <a:gd name="connsiteY6" fmla="*/ 591344 h 927894"/>
              <a:gd name="connsiteX0" fmla="*/ 6350 w 1367030"/>
              <a:gd name="connsiteY0" fmla="*/ 591344 h 927894"/>
              <a:gd name="connsiteX1" fmla="*/ 0 w 1367030"/>
              <a:gd name="connsiteY1" fmla="*/ 448469 h 927894"/>
              <a:gd name="connsiteX2" fmla="*/ 796925 w 1367030"/>
              <a:gd name="connsiteY2" fmla="*/ 0 h 927894"/>
              <a:gd name="connsiteX3" fmla="*/ 1365252 w 1367030"/>
              <a:gd name="connsiteY3" fmla="*/ 367507 h 927894"/>
              <a:gd name="connsiteX4" fmla="*/ 1366838 w 1367030"/>
              <a:gd name="connsiteY4" fmla="*/ 496887 h 927894"/>
              <a:gd name="connsiteX5" fmla="*/ 587375 w 1367030"/>
              <a:gd name="connsiteY5" fmla="*/ 927894 h 927894"/>
              <a:gd name="connsiteX6" fmla="*/ 6350 w 1367030"/>
              <a:gd name="connsiteY6" fmla="*/ 591344 h 927894"/>
              <a:gd name="connsiteX0" fmla="*/ 6350 w 1365252"/>
              <a:gd name="connsiteY0" fmla="*/ 591344 h 927894"/>
              <a:gd name="connsiteX1" fmla="*/ 0 w 1365252"/>
              <a:gd name="connsiteY1" fmla="*/ 448469 h 927894"/>
              <a:gd name="connsiteX2" fmla="*/ 796925 w 1365252"/>
              <a:gd name="connsiteY2" fmla="*/ 0 h 927894"/>
              <a:gd name="connsiteX3" fmla="*/ 1365252 w 1365252"/>
              <a:gd name="connsiteY3" fmla="*/ 367507 h 927894"/>
              <a:gd name="connsiteX4" fmla="*/ 1364457 w 1365252"/>
              <a:gd name="connsiteY4" fmla="*/ 496887 h 927894"/>
              <a:gd name="connsiteX5" fmla="*/ 587375 w 1365252"/>
              <a:gd name="connsiteY5" fmla="*/ 927894 h 927894"/>
              <a:gd name="connsiteX6" fmla="*/ 6350 w 1365252"/>
              <a:gd name="connsiteY6" fmla="*/ 591344 h 927894"/>
              <a:gd name="connsiteX0" fmla="*/ 6350 w 1364581"/>
              <a:gd name="connsiteY0" fmla="*/ 591344 h 927894"/>
              <a:gd name="connsiteX1" fmla="*/ 0 w 1364581"/>
              <a:gd name="connsiteY1" fmla="*/ 448469 h 927894"/>
              <a:gd name="connsiteX2" fmla="*/ 796925 w 1364581"/>
              <a:gd name="connsiteY2" fmla="*/ 0 h 927894"/>
              <a:gd name="connsiteX3" fmla="*/ 1360490 w 1364581"/>
              <a:gd name="connsiteY3" fmla="*/ 367507 h 927894"/>
              <a:gd name="connsiteX4" fmla="*/ 1364457 w 1364581"/>
              <a:gd name="connsiteY4" fmla="*/ 496887 h 927894"/>
              <a:gd name="connsiteX5" fmla="*/ 587375 w 1364581"/>
              <a:gd name="connsiteY5" fmla="*/ 927894 h 927894"/>
              <a:gd name="connsiteX6" fmla="*/ 6350 w 1364581"/>
              <a:gd name="connsiteY6" fmla="*/ 591344 h 927894"/>
              <a:gd name="connsiteX0" fmla="*/ 6350 w 1364581"/>
              <a:gd name="connsiteY0" fmla="*/ 560388 h 896938"/>
              <a:gd name="connsiteX1" fmla="*/ 0 w 1364581"/>
              <a:gd name="connsiteY1" fmla="*/ 417513 h 896938"/>
              <a:gd name="connsiteX2" fmla="*/ 749300 w 1364581"/>
              <a:gd name="connsiteY2" fmla="*/ 0 h 896938"/>
              <a:gd name="connsiteX3" fmla="*/ 1360490 w 1364581"/>
              <a:gd name="connsiteY3" fmla="*/ 336551 h 896938"/>
              <a:gd name="connsiteX4" fmla="*/ 1364457 w 1364581"/>
              <a:gd name="connsiteY4" fmla="*/ 465931 h 896938"/>
              <a:gd name="connsiteX5" fmla="*/ 587375 w 1364581"/>
              <a:gd name="connsiteY5" fmla="*/ 896938 h 896938"/>
              <a:gd name="connsiteX6" fmla="*/ 6350 w 1364581"/>
              <a:gd name="connsiteY6" fmla="*/ 560388 h 896938"/>
              <a:gd name="connsiteX0" fmla="*/ 6350 w 1364581"/>
              <a:gd name="connsiteY0" fmla="*/ 531813 h 868363"/>
              <a:gd name="connsiteX1" fmla="*/ 0 w 1364581"/>
              <a:gd name="connsiteY1" fmla="*/ 388938 h 868363"/>
              <a:gd name="connsiteX2" fmla="*/ 668338 w 1364581"/>
              <a:gd name="connsiteY2" fmla="*/ 0 h 868363"/>
              <a:gd name="connsiteX3" fmla="*/ 1360490 w 1364581"/>
              <a:gd name="connsiteY3" fmla="*/ 307976 h 868363"/>
              <a:gd name="connsiteX4" fmla="*/ 1364457 w 1364581"/>
              <a:gd name="connsiteY4" fmla="*/ 437356 h 868363"/>
              <a:gd name="connsiteX5" fmla="*/ 587375 w 1364581"/>
              <a:gd name="connsiteY5" fmla="*/ 868363 h 868363"/>
              <a:gd name="connsiteX6" fmla="*/ 6350 w 1364581"/>
              <a:gd name="connsiteY6" fmla="*/ 531813 h 868363"/>
              <a:gd name="connsiteX0" fmla="*/ 6350 w 1364473"/>
              <a:gd name="connsiteY0" fmla="*/ 531813 h 868363"/>
              <a:gd name="connsiteX1" fmla="*/ 0 w 1364473"/>
              <a:gd name="connsiteY1" fmla="*/ 388938 h 868363"/>
              <a:gd name="connsiteX2" fmla="*/ 668338 w 1364473"/>
              <a:gd name="connsiteY2" fmla="*/ 0 h 868363"/>
              <a:gd name="connsiteX3" fmla="*/ 1317627 w 1364473"/>
              <a:gd name="connsiteY3" fmla="*/ 327026 h 868363"/>
              <a:gd name="connsiteX4" fmla="*/ 1364457 w 1364473"/>
              <a:gd name="connsiteY4" fmla="*/ 437356 h 868363"/>
              <a:gd name="connsiteX5" fmla="*/ 587375 w 1364473"/>
              <a:gd name="connsiteY5" fmla="*/ 868363 h 868363"/>
              <a:gd name="connsiteX6" fmla="*/ 6350 w 1364473"/>
              <a:gd name="connsiteY6" fmla="*/ 531813 h 868363"/>
              <a:gd name="connsiteX0" fmla="*/ 6350 w 1364473"/>
              <a:gd name="connsiteY0" fmla="*/ 543719 h 880269"/>
              <a:gd name="connsiteX1" fmla="*/ 0 w 1364473"/>
              <a:gd name="connsiteY1" fmla="*/ 400844 h 880269"/>
              <a:gd name="connsiteX2" fmla="*/ 689769 w 1364473"/>
              <a:gd name="connsiteY2" fmla="*/ 0 h 880269"/>
              <a:gd name="connsiteX3" fmla="*/ 1317627 w 1364473"/>
              <a:gd name="connsiteY3" fmla="*/ 338932 h 880269"/>
              <a:gd name="connsiteX4" fmla="*/ 1364457 w 1364473"/>
              <a:gd name="connsiteY4" fmla="*/ 449262 h 880269"/>
              <a:gd name="connsiteX5" fmla="*/ 587375 w 1364473"/>
              <a:gd name="connsiteY5" fmla="*/ 880269 h 880269"/>
              <a:gd name="connsiteX6" fmla="*/ 6350 w 1364473"/>
              <a:gd name="connsiteY6" fmla="*/ 543719 h 880269"/>
              <a:gd name="connsiteX0" fmla="*/ 6350 w 1364470"/>
              <a:gd name="connsiteY0" fmla="*/ 543719 h 880269"/>
              <a:gd name="connsiteX1" fmla="*/ 0 w 1364470"/>
              <a:gd name="connsiteY1" fmla="*/ 400844 h 880269"/>
              <a:gd name="connsiteX2" fmla="*/ 689769 w 1364470"/>
              <a:gd name="connsiteY2" fmla="*/ 0 h 880269"/>
              <a:gd name="connsiteX3" fmla="*/ 1305721 w 1364470"/>
              <a:gd name="connsiteY3" fmla="*/ 348457 h 880269"/>
              <a:gd name="connsiteX4" fmla="*/ 1364457 w 1364470"/>
              <a:gd name="connsiteY4" fmla="*/ 449262 h 880269"/>
              <a:gd name="connsiteX5" fmla="*/ 587375 w 1364470"/>
              <a:gd name="connsiteY5" fmla="*/ 880269 h 880269"/>
              <a:gd name="connsiteX6" fmla="*/ 6350 w 1364470"/>
              <a:gd name="connsiteY6" fmla="*/ 543719 h 880269"/>
              <a:gd name="connsiteX0" fmla="*/ 6350 w 1305721"/>
              <a:gd name="connsiteY0" fmla="*/ 543719 h 880269"/>
              <a:gd name="connsiteX1" fmla="*/ 0 w 1305721"/>
              <a:gd name="connsiteY1" fmla="*/ 400844 h 880269"/>
              <a:gd name="connsiteX2" fmla="*/ 689769 w 1305721"/>
              <a:gd name="connsiteY2" fmla="*/ 0 h 880269"/>
              <a:gd name="connsiteX3" fmla="*/ 1305721 w 1305721"/>
              <a:gd name="connsiteY3" fmla="*/ 348457 h 880269"/>
              <a:gd name="connsiteX4" fmla="*/ 1302544 w 1305721"/>
              <a:gd name="connsiteY4" fmla="*/ 477837 h 880269"/>
              <a:gd name="connsiteX5" fmla="*/ 587375 w 1305721"/>
              <a:gd name="connsiteY5" fmla="*/ 880269 h 880269"/>
              <a:gd name="connsiteX6" fmla="*/ 6350 w 1305721"/>
              <a:gd name="connsiteY6" fmla="*/ 543719 h 88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21" h="880269">
                <a:moveTo>
                  <a:pt x="6350" y="543719"/>
                </a:moveTo>
                <a:lnTo>
                  <a:pt x="0" y="400844"/>
                </a:lnTo>
                <a:lnTo>
                  <a:pt x="689769" y="0"/>
                </a:lnTo>
                <a:lnTo>
                  <a:pt x="1305721" y="348457"/>
                </a:lnTo>
                <a:cubicBezTo>
                  <a:pt x="1304663" y="390790"/>
                  <a:pt x="1303602" y="435504"/>
                  <a:pt x="1302544" y="477837"/>
                </a:cubicBezTo>
                <a:lnTo>
                  <a:pt x="587375" y="880269"/>
                </a:lnTo>
                <a:lnTo>
                  <a:pt x="6350" y="543719"/>
                </a:lnTo>
                <a:close/>
              </a:path>
            </a:pathLst>
          </a:custGeom>
          <a:solidFill>
            <a:schemeClr val="accent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nvGrpSpPr>
          <p:cNvPr id="1723" name="Group 1722">
            <a:extLst>
              <a:ext uri="{FF2B5EF4-FFF2-40B4-BE49-F238E27FC236}">
                <a16:creationId xmlns:a16="http://schemas.microsoft.com/office/drawing/2014/main" id="{FE742D0E-655F-4AD9-83DD-9626C6443414}"/>
              </a:ext>
            </a:extLst>
          </p:cNvPr>
          <p:cNvGrpSpPr/>
          <p:nvPr/>
        </p:nvGrpSpPr>
        <p:grpSpPr bwMode="gray">
          <a:xfrm>
            <a:off x="6139184" y="4110690"/>
            <a:ext cx="419744" cy="351183"/>
            <a:chOff x="6063404" y="3948655"/>
            <a:chExt cx="419744" cy="351183"/>
          </a:xfrm>
        </p:grpSpPr>
        <p:sp>
          <p:nvSpPr>
            <p:cNvPr id="1717" name="Freeform: Shape 1716">
              <a:extLst>
                <a:ext uri="{FF2B5EF4-FFF2-40B4-BE49-F238E27FC236}">
                  <a16:creationId xmlns:a16="http://schemas.microsoft.com/office/drawing/2014/main" id="{4DCCC2FF-222B-44B3-AC79-A39D07B6C9A3}"/>
                </a:ext>
              </a:extLst>
            </p:cNvPr>
            <p:cNvSpPr/>
            <p:nvPr/>
          </p:nvSpPr>
          <p:spPr bwMode="gray">
            <a:xfrm rot="7200000" flipH="1">
              <a:off x="6147867" y="3930692"/>
              <a:ext cx="301667" cy="368894"/>
            </a:xfrm>
            <a:custGeom>
              <a:avLst/>
              <a:gdLst>
                <a:gd name="connsiteX0" fmla="*/ 301667 w 301667"/>
                <a:gd name="connsiteY0" fmla="*/ 340986 h 368894"/>
                <a:gd name="connsiteX1" fmla="*/ 300021 w 301667"/>
                <a:gd name="connsiteY1" fmla="*/ 168838 h 368894"/>
                <a:gd name="connsiteX2" fmla="*/ 298992 w 301667"/>
                <a:gd name="connsiteY2" fmla="*/ 157298 h 368894"/>
                <a:gd name="connsiteX3" fmla="*/ 286500 w 301667"/>
                <a:gd name="connsiteY3" fmla="*/ 116462 h 368894"/>
                <a:gd name="connsiteX4" fmla="*/ 247892 w 301667"/>
                <a:gd name="connsiteY4" fmla="*/ 78572 h 368894"/>
                <a:gd name="connsiteX5" fmla="*/ 139798 w 301667"/>
                <a:gd name="connsiteY5" fmla="*/ 15324 h 368894"/>
                <a:gd name="connsiteX6" fmla="*/ 138938 w 301667"/>
                <a:gd name="connsiteY6" fmla="*/ 16813 h 368894"/>
                <a:gd name="connsiteX7" fmla="*/ 118602 w 301667"/>
                <a:gd name="connsiteY7" fmla="*/ 5629 h 368894"/>
                <a:gd name="connsiteX8" fmla="*/ 86003 w 301667"/>
                <a:gd name="connsiteY8" fmla="*/ 108 h 368894"/>
                <a:gd name="connsiteX9" fmla="*/ 43401 w 301667"/>
                <a:gd name="connsiteY9" fmla="*/ 13965 h 368894"/>
                <a:gd name="connsiteX10" fmla="*/ 14283 w 301667"/>
                <a:gd name="connsiteY10" fmla="*/ 45201 h 368894"/>
                <a:gd name="connsiteX11" fmla="*/ 2433 w 301667"/>
                <a:gd name="connsiteY11" fmla="*/ 75175 h 368894"/>
                <a:gd name="connsiteX12" fmla="*/ 2058 w 301667"/>
                <a:gd name="connsiteY12" fmla="*/ 80233 h 368894"/>
                <a:gd name="connsiteX13" fmla="*/ 25 w 301667"/>
                <a:gd name="connsiteY13" fmla="*/ 82042 h 368894"/>
                <a:gd name="connsiteX14" fmla="*/ 542 w 301667"/>
                <a:gd name="connsiteY14" fmla="*/ 287625 h 368894"/>
                <a:gd name="connsiteX15" fmla="*/ 778 w 301667"/>
                <a:gd name="connsiteY15" fmla="*/ 352001 h 368894"/>
                <a:gd name="connsiteX16" fmla="*/ 30287 w 301667"/>
                <a:gd name="connsiteY16" fmla="*/ 368894 h 368894"/>
                <a:gd name="connsiteX17" fmla="*/ 87334 w 301667"/>
                <a:gd name="connsiteY17" fmla="*/ 335722 h 368894"/>
                <a:gd name="connsiteX18" fmla="*/ 87007 w 301667"/>
                <a:gd name="connsiteY18" fmla="*/ 312304 h 368894"/>
                <a:gd name="connsiteX19" fmla="*/ 83919 w 301667"/>
                <a:gd name="connsiteY19" fmla="*/ 106601 h 368894"/>
                <a:gd name="connsiteX20" fmla="*/ 83171 w 301667"/>
                <a:gd name="connsiteY20" fmla="*/ 104423 h 368894"/>
                <a:gd name="connsiteX21" fmla="*/ 83171 w 301667"/>
                <a:gd name="connsiteY21" fmla="*/ 102875 h 368894"/>
                <a:gd name="connsiteX22" fmla="*/ 83184 w 301667"/>
                <a:gd name="connsiteY22" fmla="*/ 98354 h 368894"/>
                <a:gd name="connsiteX23" fmla="*/ 92503 w 301667"/>
                <a:gd name="connsiteY23" fmla="*/ 86106 h 368894"/>
                <a:gd name="connsiteX24" fmla="*/ 96962 w 301667"/>
                <a:gd name="connsiteY24" fmla="*/ 84855 h 368894"/>
                <a:gd name="connsiteX25" fmla="*/ 97031 w 301667"/>
                <a:gd name="connsiteY25" fmla="*/ 84933 h 368894"/>
                <a:gd name="connsiteX26" fmla="*/ 98953 w 301667"/>
                <a:gd name="connsiteY26" fmla="*/ 86069 h 368894"/>
                <a:gd name="connsiteX27" fmla="*/ 98523 w 301667"/>
                <a:gd name="connsiteY27" fmla="*/ 86814 h 368894"/>
                <a:gd name="connsiteX28" fmla="*/ 206018 w 301667"/>
                <a:gd name="connsiteY28" fmla="*/ 149556 h 368894"/>
                <a:gd name="connsiteX29" fmla="*/ 217598 w 301667"/>
                <a:gd name="connsiteY29" fmla="*/ 169614 h 368894"/>
                <a:gd name="connsiteX30" fmla="*/ 217582 w 301667"/>
                <a:gd name="connsiteY30" fmla="*/ 172204 h 368894"/>
                <a:gd name="connsiteX31" fmla="*/ 217265 w 301667"/>
                <a:gd name="connsiteY31" fmla="*/ 170872 h 368894"/>
                <a:gd name="connsiteX32" fmla="*/ 219238 w 301667"/>
                <a:gd name="connsiteY32" fmla="*/ 340986 h 368894"/>
                <a:gd name="connsiteX33" fmla="*/ 222476 w 301667"/>
                <a:gd name="connsiteY33" fmla="*/ 350419 h 368894"/>
                <a:gd name="connsiteX34" fmla="*/ 260452 w 301667"/>
                <a:gd name="connsiteY34" fmla="*/ 365221 h 368894"/>
                <a:gd name="connsiteX35" fmla="*/ 301667 w 301667"/>
                <a:gd name="connsiteY35" fmla="*/ 340986 h 36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01667" h="368894">
                  <a:moveTo>
                    <a:pt x="301667" y="340986"/>
                  </a:moveTo>
                  <a:cubicBezTo>
                    <a:pt x="301118" y="283603"/>
                    <a:pt x="300570" y="226221"/>
                    <a:pt x="300021" y="168838"/>
                  </a:cubicBezTo>
                  <a:cubicBezTo>
                    <a:pt x="299575" y="163974"/>
                    <a:pt x="301246" y="166028"/>
                    <a:pt x="298992" y="157298"/>
                  </a:cubicBezTo>
                  <a:cubicBezTo>
                    <a:pt x="298468" y="146628"/>
                    <a:pt x="298147" y="137194"/>
                    <a:pt x="286500" y="116462"/>
                  </a:cubicBezTo>
                  <a:cubicBezTo>
                    <a:pt x="270968" y="88821"/>
                    <a:pt x="261477" y="89402"/>
                    <a:pt x="247892" y="78572"/>
                  </a:cubicBezTo>
                  <a:lnTo>
                    <a:pt x="139798" y="15324"/>
                  </a:lnTo>
                  <a:lnTo>
                    <a:pt x="138938" y="16813"/>
                  </a:lnTo>
                  <a:lnTo>
                    <a:pt x="118602" y="5629"/>
                  </a:lnTo>
                  <a:cubicBezTo>
                    <a:pt x="101001" y="-2106"/>
                    <a:pt x="98339" y="527"/>
                    <a:pt x="86003" y="108"/>
                  </a:cubicBezTo>
                  <a:cubicBezTo>
                    <a:pt x="69554" y="-451"/>
                    <a:pt x="59878" y="6917"/>
                    <a:pt x="43401" y="13965"/>
                  </a:cubicBezTo>
                  <a:cubicBezTo>
                    <a:pt x="34423" y="19754"/>
                    <a:pt x="26413" y="24748"/>
                    <a:pt x="14283" y="45201"/>
                  </a:cubicBezTo>
                  <a:cubicBezTo>
                    <a:pt x="6197" y="58837"/>
                    <a:pt x="3466" y="67637"/>
                    <a:pt x="2433" y="75175"/>
                  </a:cubicBezTo>
                  <a:lnTo>
                    <a:pt x="2058" y="80233"/>
                  </a:lnTo>
                  <a:lnTo>
                    <a:pt x="25" y="82042"/>
                  </a:lnTo>
                  <a:cubicBezTo>
                    <a:pt x="-84" y="123650"/>
                    <a:pt x="165" y="188146"/>
                    <a:pt x="542" y="287625"/>
                  </a:cubicBezTo>
                  <a:lnTo>
                    <a:pt x="778" y="352001"/>
                  </a:lnTo>
                  <a:lnTo>
                    <a:pt x="30287" y="368894"/>
                  </a:lnTo>
                  <a:lnTo>
                    <a:pt x="87334" y="335722"/>
                  </a:lnTo>
                  <a:lnTo>
                    <a:pt x="87007" y="312304"/>
                  </a:lnTo>
                  <a:cubicBezTo>
                    <a:pt x="85804" y="238372"/>
                    <a:pt x="83975" y="145185"/>
                    <a:pt x="83919" y="106601"/>
                  </a:cubicBezTo>
                  <a:lnTo>
                    <a:pt x="83171" y="104423"/>
                  </a:lnTo>
                  <a:lnTo>
                    <a:pt x="83171" y="102875"/>
                  </a:lnTo>
                  <a:cubicBezTo>
                    <a:pt x="83175" y="101368"/>
                    <a:pt x="83180" y="99861"/>
                    <a:pt x="83184" y="98354"/>
                  </a:cubicBezTo>
                  <a:cubicBezTo>
                    <a:pt x="83729" y="90174"/>
                    <a:pt x="87690" y="87457"/>
                    <a:pt x="92503" y="86106"/>
                  </a:cubicBezTo>
                  <a:lnTo>
                    <a:pt x="96962" y="84855"/>
                  </a:lnTo>
                  <a:lnTo>
                    <a:pt x="97031" y="84933"/>
                  </a:lnTo>
                  <a:lnTo>
                    <a:pt x="98953" y="86069"/>
                  </a:lnTo>
                  <a:lnTo>
                    <a:pt x="98523" y="86814"/>
                  </a:lnTo>
                  <a:lnTo>
                    <a:pt x="206018" y="149556"/>
                  </a:lnTo>
                  <a:cubicBezTo>
                    <a:pt x="215352" y="157107"/>
                    <a:pt x="215726" y="157756"/>
                    <a:pt x="217598" y="169614"/>
                  </a:cubicBezTo>
                  <a:cubicBezTo>
                    <a:pt x="217592" y="170477"/>
                    <a:pt x="217588" y="171342"/>
                    <a:pt x="217582" y="172204"/>
                  </a:cubicBezTo>
                  <a:cubicBezTo>
                    <a:pt x="217476" y="171760"/>
                    <a:pt x="217371" y="171316"/>
                    <a:pt x="217265" y="170872"/>
                  </a:cubicBezTo>
                  <a:cubicBezTo>
                    <a:pt x="217922" y="227577"/>
                    <a:pt x="218581" y="284281"/>
                    <a:pt x="219238" y="340986"/>
                  </a:cubicBezTo>
                  <a:cubicBezTo>
                    <a:pt x="219238" y="344332"/>
                    <a:pt x="220391" y="347521"/>
                    <a:pt x="222476" y="350419"/>
                  </a:cubicBezTo>
                  <a:cubicBezTo>
                    <a:pt x="228733" y="359118"/>
                    <a:pt x="243381" y="365222"/>
                    <a:pt x="260452" y="365221"/>
                  </a:cubicBezTo>
                  <a:cubicBezTo>
                    <a:pt x="283214" y="365221"/>
                    <a:pt x="301667" y="354371"/>
                    <a:pt x="301667" y="340986"/>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nvGrpSpPr>
            <p:cNvPr id="1718" name="Group 1717">
              <a:extLst>
                <a:ext uri="{FF2B5EF4-FFF2-40B4-BE49-F238E27FC236}">
                  <a16:creationId xmlns:a16="http://schemas.microsoft.com/office/drawing/2014/main" id="{0A932123-1427-4FDC-923C-0A65BB7CBED9}"/>
                </a:ext>
              </a:extLst>
            </p:cNvPr>
            <p:cNvGrpSpPr/>
            <p:nvPr/>
          </p:nvGrpSpPr>
          <p:grpSpPr bwMode="gray">
            <a:xfrm>
              <a:off x="6063404" y="3948655"/>
              <a:ext cx="373495" cy="351183"/>
              <a:chOff x="6063404" y="3948655"/>
              <a:chExt cx="373495" cy="351183"/>
            </a:xfrm>
          </p:grpSpPr>
          <p:sp>
            <p:nvSpPr>
              <p:cNvPr id="1715" name="Freeform: Shape 1714">
                <a:extLst>
                  <a:ext uri="{FF2B5EF4-FFF2-40B4-BE49-F238E27FC236}">
                    <a16:creationId xmlns:a16="http://schemas.microsoft.com/office/drawing/2014/main" id="{9BC322DB-7484-490C-8B99-8748DABF4C7E}"/>
                  </a:ext>
                </a:extLst>
              </p:cNvPr>
              <p:cNvSpPr/>
              <p:nvPr/>
            </p:nvSpPr>
            <p:spPr bwMode="gray">
              <a:xfrm rot="7200000">
                <a:off x="6197551" y="4026407"/>
                <a:ext cx="89376" cy="357670"/>
              </a:xfrm>
              <a:custGeom>
                <a:avLst/>
                <a:gdLst>
                  <a:gd name="connsiteX0" fmla="*/ 0 w 89376"/>
                  <a:gd name="connsiteY0" fmla="*/ 325146 h 357670"/>
                  <a:gd name="connsiteX1" fmla="*/ 11716 w 89376"/>
                  <a:gd name="connsiteY1" fmla="*/ 12004 h 357670"/>
                  <a:gd name="connsiteX2" fmla="*/ 49631 w 89376"/>
                  <a:gd name="connsiteY2" fmla="*/ 5147 h 357670"/>
                  <a:gd name="connsiteX3" fmla="*/ 89376 w 89376"/>
                  <a:gd name="connsiteY3" fmla="*/ 61350 h 357670"/>
                  <a:gd name="connsiteX4" fmla="*/ 86505 w 89376"/>
                  <a:gd name="connsiteY4" fmla="*/ 208602 h 357670"/>
                  <a:gd name="connsiteX5" fmla="*/ 89042 w 89376"/>
                  <a:gd name="connsiteY5" fmla="*/ 251269 h 357670"/>
                  <a:gd name="connsiteX6" fmla="*/ 87021 w 89376"/>
                  <a:gd name="connsiteY6" fmla="*/ 342557 h 357670"/>
                  <a:gd name="connsiteX7" fmla="*/ 69739 w 89376"/>
                  <a:gd name="connsiteY7" fmla="*/ 353273 h 357670"/>
                  <a:gd name="connsiteX8" fmla="*/ 68743 w 89376"/>
                  <a:gd name="connsiteY8" fmla="*/ 353844 h 357670"/>
                  <a:gd name="connsiteX9" fmla="*/ 55931 w 89376"/>
                  <a:gd name="connsiteY9" fmla="*/ 357670 h 35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376" h="357670">
                    <a:moveTo>
                      <a:pt x="0" y="325146"/>
                    </a:moveTo>
                    <a:lnTo>
                      <a:pt x="11716" y="12004"/>
                    </a:lnTo>
                    <a:cubicBezTo>
                      <a:pt x="11716" y="-1905"/>
                      <a:pt x="36688" y="-3077"/>
                      <a:pt x="49631" y="5147"/>
                    </a:cubicBezTo>
                    <a:cubicBezTo>
                      <a:pt x="62574" y="13371"/>
                      <a:pt x="89376" y="47441"/>
                      <a:pt x="89376" y="61350"/>
                    </a:cubicBezTo>
                    <a:cubicBezTo>
                      <a:pt x="89376" y="126379"/>
                      <a:pt x="86505" y="143573"/>
                      <a:pt x="86505" y="208602"/>
                    </a:cubicBezTo>
                    <a:lnTo>
                      <a:pt x="89042" y="251269"/>
                    </a:lnTo>
                    <a:cubicBezTo>
                      <a:pt x="89128" y="273595"/>
                      <a:pt x="87500" y="318015"/>
                      <a:pt x="87021" y="342557"/>
                    </a:cubicBezTo>
                    <a:lnTo>
                      <a:pt x="69739" y="353273"/>
                    </a:lnTo>
                    <a:lnTo>
                      <a:pt x="68743" y="353844"/>
                    </a:lnTo>
                    <a:lnTo>
                      <a:pt x="55931" y="357670"/>
                    </a:lnTo>
                    <a:close/>
                  </a:path>
                </a:pathLst>
              </a:custGeom>
              <a:gradFill flip="none" rotWithShape="1">
                <a:gsLst>
                  <a:gs pos="67000">
                    <a:schemeClr val="accent2">
                      <a:lumMod val="0"/>
                      <a:lumOff val="100000"/>
                    </a:schemeClr>
                  </a:gs>
                  <a:gs pos="9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84" name="Freeform: Shape 1683">
                <a:extLst>
                  <a:ext uri="{FF2B5EF4-FFF2-40B4-BE49-F238E27FC236}">
                    <a16:creationId xmlns:a16="http://schemas.microsoft.com/office/drawing/2014/main" id="{4FF928C0-335B-43E3-875E-376C4AE31E09}"/>
                  </a:ext>
                </a:extLst>
              </p:cNvPr>
              <p:cNvSpPr/>
              <p:nvPr/>
            </p:nvSpPr>
            <p:spPr bwMode="gray">
              <a:xfrm>
                <a:off x="6331442" y="4014763"/>
                <a:ext cx="105457" cy="285075"/>
              </a:xfrm>
              <a:custGeom>
                <a:avLst/>
                <a:gdLst>
                  <a:gd name="connsiteX0" fmla="*/ 41083 w 82166"/>
                  <a:gd name="connsiteY0" fmla="*/ 0 h 214359"/>
                  <a:gd name="connsiteX1" fmla="*/ 82166 w 82166"/>
                  <a:gd name="connsiteY1" fmla="*/ 25185 h 214359"/>
                  <a:gd name="connsiteX2" fmla="*/ 82166 w 82166"/>
                  <a:gd name="connsiteY2" fmla="*/ 189174 h 214359"/>
                  <a:gd name="connsiteX3" fmla="*/ 41083 w 82166"/>
                  <a:gd name="connsiteY3" fmla="*/ 214359 h 214359"/>
                  <a:gd name="connsiteX4" fmla="*/ 12033 w 82166"/>
                  <a:gd name="connsiteY4" fmla="*/ 206983 h 214359"/>
                  <a:gd name="connsiteX5" fmla="*/ 0 w 82166"/>
                  <a:gd name="connsiteY5" fmla="*/ 189174 h 214359"/>
                  <a:gd name="connsiteX6" fmla="*/ 0 w 82166"/>
                  <a:gd name="connsiteY6" fmla="*/ 25185 h 214359"/>
                  <a:gd name="connsiteX7" fmla="*/ 41083 w 82166"/>
                  <a:gd name="connsiteY7" fmla="*/ 0 h 214359"/>
                  <a:gd name="connsiteX0" fmla="*/ 41083 w 82166"/>
                  <a:gd name="connsiteY0" fmla="*/ 0 h 214359"/>
                  <a:gd name="connsiteX1" fmla="*/ 82166 w 82166"/>
                  <a:gd name="connsiteY1" fmla="*/ 25185 h 214359"/>
                  <a:gd name="connsiteX2" fmla="*/ 82166 w 82166"/>
                  <a:gd name="connsiteY2" fmla="*/ 189174 h 214359"/>
                  <a:gd name="connsiteX3" fmla="*/ 41083 w 82166"/>
                  <a:gd name="connsiteY3" fmla="*/ 214359 h 214359"/>
                  <a:gd name="connsiteX4" fmla="*/ 12033 w 82166"/>
                  <a:gd name="connsiteY4" fmla="*/ 206983 h 214359"/>
                  <a:gd name="connsiteX5" fmla="*/ 0 w 82166"/>
                  <a:gd name="connsiteY5" fmla="*/ 189174 h 214359"/>
                  <a:gd name="connsiteX6" fmla="*/ 0 w 82166"/>
                  <a:gd name="connsiteY6" fmla="*/ 25185 h 214359"/>
                  <a:gd name="connsiteX7" fmla="*/ 41083 w 82166"/>
                  <a:gd name="connsiteY7" fmla="*/ 0 h 214359"/>
                  <a:gd name="connsiteX0" fmla="*/ 50608 w 82166"/>
                  <a:gd name="connsiteY0" fmla="*/ 0 h 242934"/>
                  <a:gd name="connsiteX1" fmla="*/ 82166 w 82166"/>
                  <a:gd name="connsiteY1" fmla="*/ 53760 h 242934"/>
                  <a:gd name="connsiteX2" fmla="*/ 82166 w 82166"/>
                  <a:gd name="connsiteY2" fmla="*/ 217749 h 242934"/>
                  <a:gd name="connsiteX3" fmla="*/ 41083 w 82166"/>
                  <a:gd name="connsiteY3" fmla="*/ 242934 h 242934"/>
                  <a:gd name="connsiteX4" fmla="*/ 12033 w 82166"/>
                  <a:gd name="connsiteY4" fmla="*/ 235558 h 242934"/>
                  <a:gd name="connsiteX5" fmla="*/ 0 w 82166"/>
                  <a:gd name="connsiteY5" fmla="*/ 217749 h 242934"/>
                  <a:gd name="connsiteX6" fmla="*/ 0 w 82166"/>
                  <a:gd name="connsiteY6" fmla="*/ 53760 h 242934"/>
                  <a:gd name="connsiteX7" fmla="*/ 50608 w 82166"/>
                  <a:gd name="connsiteY7" fmla="*/ 0 h 242934"/>
                  <a:gd name="connsiteX0" fmla="*/ 50608 w 82166"/>
                  <a:gd name="connsiteY0" fmla="*/ 2 h 242936"/>
                  <a:gd name="connsiteX1" fmla="*/ 82166 w 82166"/>
                  <a:gd name="connsiteY1" fmla="*/ 53762 h 242936"/>
                  <a:gd name="connsiteX2" fmla="*/ 82166 w 82166"/>
                  <a:gd name="connsiteY2" fmla="*/ 217751 h 242936"/>
                  <a:gd name="connsiteX3" fmla="*/ 41083 w 82166"/>
                  <a:gd name="connsiteY3" fmla="*/ 242936 h 242936"/>
                  <a:gd name="connsiteX4" fmla="*/ 12033 w 82166"/>
                  <a:gd name="connsiteY4" fmla="*/ 235560 h 242936"/>
                  <a:gd name="connsiteX5" fmla="*/ 0 w 82166"/>
                  <a:gd name="connsiteY5" fmla="*/ 217751 h 242936"/>
                  <a:gd name="connsiteX6" fmla="*/ 0 w 82166"/>
                  <a:gd name="connsiteY6" fmla="*/ 56143 h 242936"/>
                  <a:gd name="connsiteX7" fmla="*/ 50608 w 82166"/>
                  <a:gd name="connsiteY7" fmla="*/ 2 h 242936"/>
                  <a:gd name="connsiteX0" fmla="*/ 52989 w 84547"/>
                  <a:gd name="connsiteY0" fmla="*/ 2 h 264006"/>
                  <a:gd name="connsiteX1" fmla="*/ 84547 w 84547"/>
                  <a:gd name="connsiteY1" fmla="*/ 53762 h 264006"/>
                  <a:gd name="connsiteX2" fmla="*/ 84547 w 84547"/>
                  <a:gd name="connsiteY2" fmla="*/ 217751 h 264006"/>
                  <a:gd name="connsiteX3" fmla="*/ 43464 w 84547"/>
                  <a:gd name="connsiteY3" fmla="*/ 242936 h 264006"/>
                  <a:gd name="connsiteX4" fmla="*/ 14414 w 84547"/>
                  <a:gd name="connsiteY4" fmla="*/ 235560 h 264006"/>
                  <a:gd name="connsiteX5" fmla="*/ 0 w 84547"/>
                  <a:gd name="connsiteY5" fmla="*/ 262994 h 264006"/>
                  <a:gd name="connsiteX6" fmla="*/ 2381 w 84547"/>
                  <a:gd name="connsiteY6" fmla="*/ 56143 h 264006"/>
                  <a:gd name="connsiteX7" fmla="*/ 52989 w 84547"/>
                  <a:gd name="connsiteY7" fmla="*/ 2 h 264006"/>
                  <a:gd name="connsiteX0" fmla="*/ 52989 w 84547"/>
                  <a:gd name="connsiteY0" fmla="*/ 2 h 266749"/>
                  <a:gd name="connsiteX1" fmla="*/ 84547 w 84547"/>
                  <a:gd name="connsiteY1" fmla="*/ 53762 h 266749"/>
                  <a:gd name="connsiteX2" fmla="*/ 84547 w 84547"/>
                  <a:gd name="connsiteY2" fmla="*/ 217751 h 266749"/>
                  <a:gd name="connsiteX3" fmla="*/ 45845 w 84547"/>
                  <a:gd name="connsiteY3" fmla="*/ 266749 h 266749"/>
                  <a:gd name="connsiteX4" fmla="*/ 14414 w 84547"/>
                  <a:gd name="connsiteY4" fmla="*/ 235560 h 266749"/>
                  <a:gd name="connsiteX5" fmla="*/ 0 w 84547"/>
                  <a:gd name="connsiteY5" fmla="*/ 262994 h 266749"/>
                  <a:gd name="connsiteX6" fmla="*/ 2381 w 84547"/>
                  <a:gd name="connsiteY6" fmla="*/ 56143 h 266749"/>
                  <a:gd name="connsiteX7" fmla="*/ 52989 w 84547"/>
                  <a:gd name="connsiteY7" fmla="*/ 2 h 266749"/>
                  <a:gd name="connsiteX0" fmla="*/ 52989 w 84547"/>
                  <a:gd name="connsiteY0" fmla="*/ 2 h 281650"/>
                  <a:gd name="connsiteX1" fmla="*/ 84547 w 84547"/>
                  <a:gd name="connsiteY1" fmla="*/ 53762 h 281650"/>
                  <a:gd name="connsiteX2" fmla="*/ 84547 w 84547"/>
                  <a:gd name="connsiteY2" fmla="*/ 217751 h 281650"/>
                  <a:gd name="connsiteX3" fmla="*/ 45845 w 84547"/>
                  <a:gd name="connsiteY3" fmla="*/ 266749 h 281650"/>
                  <a:gd name="connsiteX4" fmla="*/ 0 w 84547"/>
                  <a:gd name="connsiteY4" fmla="*/ 262994 h 281650"/>
                  <a:gd name="connsiteX5" fmla="*/ 2381 w 84547"/>
                  <a:gd name="connsiteY5" fmla="*/ 56143 h 281650"/>
                  <a:gd name="connsiteX6" fmla="*/ 52989 w 84547"/>
                  <a:gd name="connsiteY6" fmla="*/ 2 h 281650"/>
                  <a:gd name="connsiteX0" fmla="*/ 52989 w 84547"/>
                  <a:gd name="connsiteY0" fmla="*/ 2 h 282524"/>
                  <a:gd name="connsiteX1" fmla="*/ 84547 w 84547"/>
                  <a:gd name="connsiteY1" fmla="*/ 53762 h 282524"/>
                  <a:gd name="connsiteX2" fmla="*/ 84547 w 84547"/>
                  <a:gd name="connsiteY2" fmla="*/ 217751 h 282524"/>
                  <a:gd name="connsiteX3" fmla="*/ 50608 w 84547"/>
                  <a:gd name="connsiteY3" fmla="*/ 269131 h 282524"/>
                  <a:gd name="connsiteX4" fmla="*/ 0 w 84547"/>
                  <a:gd name="connsiteY4" fmla="*/ 262994 h 282524"/>
                  <a:gd name="connsiteX5" fmla="*/ 2381 w 84547"/>
                  <a:gd name="connsiteY5" fmla="*/ 56143 h 282524"/>
                  <a:gd name="connsiteX6" fmla="*/ 52989 w 84547"/>
                  <a:gd name="connsiteY6" fmla="*/ 2 h 282524"/>
                  <a:gd name="connsiteX0" fmla="*/ 57429 w 88987"/>
                  <a:gd name="connsiteY0" fmla="*/ 2 h 272745"/>
                  <a:gd name="connsiteX1" fmla="*/ 88987 w 88987"/>
                  <a:gd name="connsiteY1" fmla="*/ 53762 h 272745"/>
                  <a:gd name="connsiteX2" fmla="*/ 88987 w 88987"/>
                  <a:gd name="connsiteY2" fmla="*/ 217751 h 272745"/>
                  <a:gd name="connsiteX3" fmla="*/ 55048 w 88987"/>
                  <a:gd name="connsiteY3" fmla="*/ 269131 h 272745"/>
                  <a:gd name="connsiteX4" fmla="*/ 4440 w 88987"/>
                  <a:gd name="connsiteY4" fmla="*/ 262994 h 272745"/>
                  <a:gd name="connsiteX5" fmla="*/ 2836 w 88987"/>
                  <a:gd name="connsiteY5" fmla="*/ 219076 h 272745"/>
                  <a:gd name="connsiteX6" fmla="*/ 6821 w 88987"/>
                  <a:gd name="connsiteY6" fmla="*/ 56143 h 272745"/>
                  <a:gd name="connsiteX7" fmla="*/ 57429 w 88987"/>
                  <a:gd name="connsiteY7" fmla="*/ 2 h 272745"/>
                  <a:gd name="connsiteX0" fmla="*/ 63000 w 94558"/>
                  <a:gd name="connsiteY0" fmla="*/ 2 h 283028"/>
                  <a:gd name="connsiteX1" fmla="*/ 94558 w 94558"/>
                  <a:gd name="connsiteY1" fmla="*/ 53762 h 283028"/>
                  <a:gd name="connsiteX2" fmla="*/ 94558 w 94558"/>
                  <a:gd name="connsiteY2" fmla="*/ 217751 h 283028"/>
                  <a:gd name="connsiteX3" fmla="*/ 60619 w 94558"/>
                  <a:gd name="connsiteY3" fmla="*/ 269131 h 283028"/>
                  <a:gd name="connsiteX4" fmla="*/ 2867 w 94558"/>
                  <a:gd name="connsiteY4" fmla="*/ 279663 h 283028"/>
                  <a:gd name="connsiteX5" fmla="*/ 8407 w 94558"/>
                  <a:gd name="connsiteY5" fmla="*/ 219076 h 283028"/>
                  <a:gd name="connsiteX6" fmla="*/ 12392 w 94558"/>
                  <a:gd name="connsiteY6" fmla="*/ 56143 h 283028"/>
                  <a:gd name="connsiteX7" fmla="*/ 63000 w 94558"/>
                  <a:gd name="connsiteY7" fmla="*/ 2 h 283028"/>
                  <a:gd name="connsiteX0" fmla="*/ 77738 w 109296"/>
                  <a:gd name="connsiteY0" fmla="*/ 2 h 283028"/>
                  <a:gd name="connsiteX1" fmla="*/ 109296 w 109296"/>
                  <a:gd name="connsiteY1" fmla="*/ 53762 h 283028"/>
                  <a:gd name="connsiteX2" fmla="*/ 109296 w 109296"/>
                  <a:gd name="connsiteY2" fmla="*/ 217751 h 283028"/>
                  <a:gd name="connsiteX3" fmla="*/ 75357 w 109296"/>
                  <a:gd name="connsiteY3" fmla="*/ 269131 h 283028"/>
                  <a:gd name="connsiteX4" fmla="*/ 17605 w 109296"/>
                  <a:gd name="connsiteY4" fmla="*/ 279663 h 283028"/>
                  <a:gd name="connsiteX5" fmla="*/ 23145 w 109296"/>
                  <a:gd name="connsiteY5" fmla="*/ 219076 h 283028"/>
                  <a:gd name="connsiteX6" fmla="*/ 27130 w 109296"/>
                  <a:gd name="connsiteY6" fmla="*/ 56143 h 283028"/>
                  <a:gd name="connsiteX7" fmla="*/ 77738 w 109296"/>
                  <a:gd name="connsiteY7" fmla="*/ 2 h 283028"/>
                  <a:gd name="connsiteX0" fmla="*/ 73424 w 104982"/>
                  <a:gd name="connsiteY0" fmla="*/ 2 h 283028"/>
                  <a:gd name="connsiteX1" fmla="*/ 104982 w 104982"/>
                  <a:gd name="connsiteY1" fmla="*/ 53762 h 283028"/>
                  <a:gd name="connsiteX2" fmla="*/ 104982 w 104982"/>
                  <a:gd name="connsiteY2" fmla="*/ 217751 h 283028"/>
                  <a:gd name="connsiteX3" fmla="*/ 71043 w 104982"/>
                  <a:gd name="connsiteY3" fmla="*/ 269131 h 283028"/>
                  <a:gd name="connsiteX4" fmla="*/ 13291 w 104982"/>
                  <a:gd name="connsiteY4" fmla="*/ 279663 h 283028"/>
                  <a:gd name="connsiteX5" fmla="*/ 25974 w 104982"/>
                  <a:gd name="connsiteY5" fmla="*/ 197645 h 283028"/>
                  <a:gd name="connsiteX6" fmla="*/ 22816 w 104982"/>
                  <a:gd name="connsiteY6" fmla="*/ 56143 h 283028"/>
                  <a:gd name="connsiteX7" fmla="*/ 73424 w 104982"/>
                  <a:gd name="connsiteY7" fmla="*/ 2 h 283028"/>
                  <a:gd name="connsiteX0" fmla="*/ 73424 w 104982"/>
                  <a:gd name="connsiteY0" fmla="*/ 25 h 283051"/>
                  <a:gd name="connsiteX1" fmla="*/ 104982 w 104982"/>
                  <a:gd name="connsiteY1" fmla="*/ 53785 h 283051"/>
                  <a:gd name="connsiteX2" fmla="*/ 104982 w 104982"/>
                  <a:gd name="connsiteY2" fmla="*/ 217774 h 283051"/>
                  <a:gd name="connsiteX3" fmla="*/ 71043 w 104982"/>
                  <a:gd name="connsiteY3" fmla="*/ 269154 h 283051"/>
                  <a:gd name="connsiteX4" fmla="*/ 13291 w 104982"/>
                  <a:gd name="connsiteY4" fmla="*/ 279686 h 283051"/>
                  <a:gd name="connsiteX5" fmla="*/ 25974 w 104982"/>
                  <a:gd name="connsiteY5" fmla="*/ 197668 h 283051"/>
                  <a:gd name="connsiteX6" fmla="*/ 29960 w 104982"/>
                  <a:gd name="connsiteY6" fmla="*/ 60928 h 283051"/>
                  <a:gd name="connsiteX7" fmla="*/ 73424 w 104982"/>
                  <a:gd name="connsiteY7" fmla="*/ 25 h 283051"/>
                  <a:gd name="connsiteX0" fmla="*/ 65716 w 97274"/>
                  <a:gd name="connsiteY0" fmla="*/ 25 h 283051"/>
                  <a:gd name="connsiteX1" fmla="*/ 97274 w 97274"/>
                  <a:gd name="connsiteY1" fmla="*/ 53785 h 283051"/>
                  <a:gd name="connsiteX2" fmla="*/ 97274 w 97274"/>
                  <a:gd name="connsiteY2" fmla="*/ 217774 h 283051"/>
                  <a:gd name="connsiteX3" fmla="*/ 63335 w 97274"/>
                  <a:gd name="connsiteY3" fmla="*/ 269154 h 283051"/>
                  <a:gd name="connsiteX4" fmla="*/ 5583 w 97274"/>
                  <a:gd name="connsiteY4" fmla="*/ 279686 h 283051"/>
                  <a:gd name="connsiteX5" fmla="*/ 18266 w 97274"/>
                  <a:gd name="connsiteY5" fmla="*/ 197668 h 283051"/>
                  <a:gd name="connsiteX6" fmla="*/ 22252 w 97274"/>
                  <a:gd name="connsiteY6" fmla="*/ 60928 h 283051"/>
                  <a:gd name="connsiteX7" fmla="*/ 65716 w 97274"/>
                  <a:gd name="connsiteY7" fmla="*/ 25 h 283051"/>
                  <a:gd name="connsiteX0" fmla="*/ 62433 w 93991"/>
                  <a:gd name="connsiteY0" fmla="*/ 25 h 283051"/>
                  <a:gd name="connsiteX1" fmla="*/ 93991 w 93991"/>
                  <a:gd name="connsiteY1" fmla="*/ 53785 h 283051"/>
                  <a:gd name="connsiteX2" fmla="*/ 93991 w 93991"/>
                  <a:gd name="connsiteY2" fmla="*/ 217774 h 283051"/>
                  <a:gd name="connsiteX3" fmla="*/ 60052 w 93991"/>
                  <a:gd name="connsiteY3" fmla="*/ 269154 h 283051"/>
                  <a:gd name="connsiteX4" fmla="*/ 2300 w 93991"/>
                  <a:gd name="connsiteY4" fmla="*/ 279686 h 283051"/>
                  <a:gd name="connsiteX5" fmla="*/ 14983 w 93991"/>
                  <a:gd name="connsiteY5" fmla="*/ 197668 h 283051"/>
                  <a:gd name="connsiteX6" fmla="*/ 18969 w 93991"/>
                  <a:gd name="connsiteY6" fmla="*/ 60928 h 283051"/>
                  <a:gd name="connsiteX7" fmla="*/ 62433 w 93991"/>
                  <a:gd name="connsiteY7" fmla="*/ 25 h 283051"/>
                  <a:gd name="connsiteX0" fmla="*/ 54292 w 85850"/>
                  <a:gd name="connsiteY0" fmla="*/ 25 h 285075"/>
                  <a:gd name="connsiteX1" fmla="*/ 85850 w 85850"/>
                  <a:gd name="connsiteY1" fmla="*/ 53785 h 285075"/>
                  <a:gd name="connsiteX2" fmla="*/ 85850 w 85850"/>
                  <a:gd name="connsiteY2" fmla="*/ 217774 h 285075"/>
                  <a:gd name="connsiteX3" fmla="*/ 51911 w 85850"/>
                  <a:gd name="connsiteY3" fmla="*/ 269154 h 285075"/>
                  <a:gd name="connsiteX4" fmla="*/ 3684 w 85850"/>
                  <a:gd name="connsiteY4" fmla="*/ 282067 h 285075"/>
                  <a:gd name="connsiteX5" fmla="*/ 6842 w 85850"/>
                  <a:gd name="connsiteY5" fmla="*/ 197668 h 285075"/>
                  <a:gd name="connsiteX6" fmla="*/ 10828 w 85850"/>
                  <a:gd name="connsiteY6" fmla="*/ 60928 h 285075"/>
                  <a:gd name="connsiteX7" fmla="*/ 54292 w 85850"/>
                  <a:gd name="connsiteY7" fmla="*/ 25 h 285075"/>
                  <a:gd name="connsiteX0" fmla="*/ 56402 w 87960"/>
                  <a:gd name="connsiteY0" fmla="*/ 25 h 285075"/>
                  <a:gd name="connsiteX1" fmla="*/ 87960 w 87960"/>
                  <a:gd name="connsiteY1" fmla="*/ 53785 h 285075"/>
                  <a:gd name="connsiteX2" fmla="*/ 87960 w 87960"/>
                  <a:gd name="connsiteY2" fmla="*/ 217774 h 285075"/>
                  <a:gd name="connsiteX3" fmla="*/ 54021 w 87960"/>
                  <a:gd name="connsiteY3" fmla="*/ 269154 h 285075"/>
                  <a:gd name="connsiteX4" fmla="*/ 5794 w 87960"/>
                  <a:gd name="connsiteY4" fmla="*/ 282067 h 285075"/>
                  <a:gd name="connsiteX5" fmla="*/ 8952 w 87960"/>
                  <a:gd name="connsiteY5" fmla="*/ 197668 h 285075"/>
                  <a:gd name="connsiteX6" fmla="*/ 12938 w 87960"/>
                  <a:gd name="connsiteY6" fmla="*/ 60928 h 285075"/>
                  <a:gd name="connsiteX7" fmla="*/ 56402 w 87960"/>
                  <a:gd name="connsiteY7" fmla="*/ 25 h 285075"/>
                  <a:gd name="connsiteX0" fmla="*/ 64155 w 95713"/>
                  <a:gd name="connsiteY0" fmla="*/ 25 h 285075"/>
                  <a:gd name="connsiteX1" fmla="*/ 95713 w 95713"/>
                  <a:gd name="connsiteY1" fmla="*/ 53785 h 285075"/>
                  <a:gd name="connsiteX2" fmla="*/ 95713 w 95713"/>
                  <a:gd name="connsiteY2" fmla="*/ 217774 h 285075"/>
                  <a:gd name="connsiteX3" fmla="*/ 61774 w 95713"/>
                  <a:gd name="connsiteY3" fmla="*/ 269154 h 285075"/>
                  <a:gd name="connsiteX4" fmla="*/ 13547 w 95713"/>
                  <a:gd name="connsiteY4" fmla="*/ 282067 h 285075"/>
                  <a:gd name="connsiteX5" fmla="*/ 16705 w 95713"/>
                  <a:gd name="connsiteY5" fmla="*/ 197668 h 285075"/>
                  <a:gd name="connsiteX6" fmla="*/ 20691 w 95713"/>
                  <a:gd name="connsiteY6" fmla="*/ 60928 h 285075"/>
                  <a:gd name="connsiteX7" fmla="*/ 64155 w 95713"/>
                  <a:gd name="connsiteY7" fmla="*/ 25 h 285075"/>
                  <a:gd name="connsiteX0" fmla="*/ 58892 w 90450"/>
                  <a:gd name="connsiteY0" fmla="*/ 25 h 285075"/>
                  <a:gd name="connsiteX1" fmla="*/ 90450 w 90450"/>
                  <a:gd name="connsiteY1" fmla="*/ 53785 h 285075"/>
                  <a:gd name="connsiteX2" fmla="*/ 90450 w 90450"/>
                  <a:gd name="connsiteY2" fmla="*/ 217774 h 285075"/>
                  <a:gd name="connsiteX3" fmla="*/ 56511 w 90450"/>
                  <a:gd name="connsiteY3" fmla="*/ 269154 h 285075"/>
                  <a:gd name="connsiteX4" fmla="*/ 8284 w 90450"/>
                  <a:gd name="connsiteY4" fmla="*/ 282067 h 285075"/>
                  <a:gd name="connsiteX5" fmla="*/ 11442 w 90450"/>
                  <a:gd name="connsiteY5" fmla="*/ 197668 h 285075"/>
                  <a:gd name="connsiteX6" fmla="*/ 15428 w 90450"/>
                  <a:gd name="connsiteY6" fmla="*/ 60928 h 285075"/>
                  <a:gd name="connsiteX7" fmla="*/ 58892 w 90450"/>
                  <a:gd name="connsiteY7" fmla="*/ 25 h 285075"/>
                  <a:gd name="connsiteX0" fmla="*/ 69103 w 100661"/>
                  <a:gd name="connsiteY0" fmla="*/ 25 h 285075"/>
                  <a:gd name="connsiteX1" fmla="*/ 100661 w 100661"/>
                  <a:gd name="connsiteY1" fmla="*/ 53785 h 285075"/>
                  <a:gd name="connsiteX2" fmla="*/ 100661 w 100661"/>
                  <a:gd name="connsiteY2" fmla="*/ 217774 h 285075"/>
                  <a:gd name="connsiteX3" fmla="*/ 66722 w 100661"/>
                  <a:gd name="connsiteY3" fmla="*/ 269154 h 285075"/>
                  <a:gd name="connsiteX4" fmla="*/ 18495 w 100661"/>
                  <a:gd name="connsiteY4" fmla="*/ 282067 h 285075"/>
                  <a:gd name="connsiteX5" fmla="*/ 21653 w 100661"/>
                  <a:gd name="connsiteY5" fmla="*/ 197668 h 285075"/>
                  <a:gd name="connsiteX6" fmla="*/ 25639 w 100661"/>
                  <a:gd name="connsiteY6" fmla="*/ 60928 h 285075"/>
                  <a:gd name="connsiteX7" fmla="*/ 69103 w 100661"/>
                  <a:gd name="connsiteY7" fmla="*/ 25 h 285075"/>
                  <a:gd name="connsiteX0" fmla="*/ 73899 w 105457"/>
                  <a:gd name="connsiteY0" fmla="*/ 25 h 285075"/>
                  <a:gd name="connsiteX1" fmla="*/ 105457 w 105457"/>
                  <a:gd name="connsiteY1" fmla="*/ 53785 h 285075"/>
                  <a:gd name="connsiteX2" fmla="*/ 105457 w 105457"/>
                  <a:gd name="connsiteY2" fmla="*/ 217774 h 285075"/>
                  <a:gd name="connsiteX3" fmla="*/ 71518 w 105457"/>
                  <a:gd name="connsiteY3" fmla="*/ 269154 h 285075"/>
                  <a:gd name="connsiteX4" fmla="*/ 23291 w 105457"/>
                  <a:gd name="connsiteY4" fmla="*/ 282067 h 285075"/>
                  <a:gd name="connsiteX5" fmla="*/ 26449 w 105457"/>
                  <a:gd name="connsiteY5" fmla="*/ 197668 h 285075"/>
                  <a:gd name="connsiteX6" fmla="*/ 30435 w 105457"/>
                  <a:gd name="connsiteY6" fmla="*/ 60928 h 285075"/>
                  <a:gd name="connsiteX7" fmla="*/ 73899 w 105457"/>
                  <a:gd name="connsiteY7" fmla="*/ 25 h 28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457" h="285075">
                    <a:moveTo>
                      <a:pt x="73899" y="25"/>
                    </a:moveTo>
                    <a:cubicBezTo>
                      <a:pt x="86403" y="-1166"/>
                      <a:pt x="105457" y="39876"/>
                      <a:pt x="105457" y="53785"/>
                    </a:cubicBezTo>
                    <a:lnTo>
                      <a:pt x="105457" y="217774"/>
                    </a:lnTo>
                    <a:cubicBezTo>
                      <a:pt x="105457" y="231683"/>
                      <a:pt x="85212" y="258438"/>
                      <a:pt x="71518" y="269154"/>
                    </a:cubicBezTo>
                    <a:cubicBezTo>
                      <a:pt x="57824" y="279870"/>
                      <a:pt x="31993" y="290409"/>
                      <a:pt x="23291" y="282067"/>
                    </a:cubicBezTo>
                    <a:cubicBezTo>
                      <a:pt x="-4460" y="288013"/>
                      <a:pt x="-12047" y="244049"/>
                      <a:pt x="26449" y="197668"/>
                    </a:cubicBezTo>
                    <a:cubicBezTo>
                      <a:pt x="26846" y="163193"/>
                      <a:pt x="21336" y="97440"/>
                      <a:pt x="30435" y="60928"/>
                    </a:cubicBezTo>
                    <a:cubicBezTo>
                      <a:pt x="30435" y="47019"/>
                      <a:pt x="61395" y="1216"/>
                      <a:pt x="73899" y="25"/>
                    </a:cubicBezTo>
                    <a:close/>
                  </a:path>
                </a:pathLst>
              </a:custGeom>
              <a:gradFill flip="none" rotWithShape="1">
                <a:gsLst>
                  <a:gs pos="46000">
                    <a:schemeClr val="accent2">
                      <a:lumMod val="0"/>
                      <a:lumOff val="100000"/>
                    </a:schemeClr>
                  </a:gs>
                  <a:gs pos="7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85" name="Freeform: Shape 1684">
                <a:extLst>
                  <a:ext uri="{FF2B5EF4-FFF2-40B4-BE49-F238E27FC236}">
                    <a16:creationId xmlns:a16="http://schemas.microsoft.com/office/drawing/2014/main" id="{7E0499F3-C0BF-4558-B1EB-E0D85DF0ED31}"/>
                  </a:ext>
                </a:extLst>
              </p:cNvPr>
              <p:cNvSpPr/>
              <p:nvPr/>
            </p:nvSpPr>
            <p:spPr bwMode="gray">
              <a:xfrm rot="7200000">
                <a:off x="6259484" y="3867009"/>
                <a:ext cx="82166" cy="245457"/>
              </a:xfrm>
              <a:custGeom>
                <a:avLst/>
                <a:gdLst>
                  <a:gd name="connsiteX0" fmla="*/ 0 w 82166"/>
                  <a:gd name="connsiteY0" fmla="*/ 220272 h 245457"/>
                  <a:gd name="connsiteX1" fmla="*/ 0 w 82166"/>
                  <a:gd name="connsiteY1" fmla="*/ 25185 h 245457"/>
                  <a:gd name="connsiteX2" fmla="*/ 41083 w 82166"/>
                  <a:gd name="connsiteY2" fmla="*/ 0 h 245457"/>
                  <a:gd name="connsiteX3" fmla="*/ 82166 w 82166"/>
                  <a:gd name="connsiteY3" fmla="*/ 25185 h 245457"/>
                  <a:gd name="connsiteX4" fmla="*/ 82166 w 82166"/>
                  <a:gd name="connsiteY4" fmla="*/ 220272 h 245457"/>
                  <a:gd name="connsiteX5" fmla="*/ 41083 w 82166"/>
                  <a:gd name="connsiteY5" fmla="*/ 245457 h 245457"/>
                  <a:gd name="connsiteX6" fmla="*/ 12033 w 82166"/>
                  <a:gd name="connsiteY6" fmla="*/ 238080 h 245457"/>
                  <a:gd name="connsiteX7" fmla="*/ 0 w 82166"/>
                  <a:gd name="connsiteY7" fmla="*/ 220272 h 24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166" h="245457">
                    <a:moveTo>
                      <a:pt x="0" y="220272"/>
                    </a:moveTo>
                    <a:lnTo>
                      <a:pt x="0" y="25185"/>
                    </a:lnTo>
                    <a:cubicBezTo>
                      <a:pt x="0" y="11276"/>
                      <a:pt x="18393" y="0"/>
                      <a:pt x="41083" y="0"/>
                    </a:cubicBezTo>
                    <a:cubicBezTo>
                      <a:pt x="63773" y="0"/>
                      <a:pt x="82166" y="11276"/>
                      <a:pt x="82166" y="25185"/>
                    </a:cubicBezTo>
                    <a:lnTo>
                      <a:pt x="82166" y="220272"/>
                    </a:lnTo>
                    <a:cubicBezTo>
                      <a:pt x="82166" y="234181"/>
                      <a:pt x="63773" y="245457"/>
                      <a:pt x="41083" y="245457"/>
                    </a:cubicBezTo>
                    <a:cubicBezTo>
                      <a:pt x="29738" y="245457"/>
                      <a:pt x="19467" y="242638"/>
                      <a:pt x="12033" y="238080"/>
                    </a:cubicBezTo>
                    <a:cubicBezTo>
                      <a:pt x="4598" y="233523"/>
                      <a:pt x="0" y="227227"/>
                      <a:pt x="0" y="220272"/>
                    </a:cubicBezTo>
                    <a:close/>
                  </a:path>
                </a:pathLst>
              </a:custGeom>
              <a:gradFill flip="none" rotWithShape="1">
                <a:gsLst>
                  <a:gs pos="44000">
                    <a:schemeClr val="accent2">
                      <a:lumMod val="0"/>
                      <a:lumOff val="100000"/>
                    </a:schemeClr>
                  </a:gs>
                  <a:gs pos="9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sp>
          <p:nvSpPr>
            <p:cNvPr id="1716" name="Freeform: Shape 1715">
              <a:extLst>
                <a:ext uri="{FF2B5EF4-FFF2-40B4-BE49-F238E27FC236}">
                  <a16:creationId xmlns:a16="http://schemas.microsoft.com/office/drawing/2014/main" id="{0F597BE5-9327-4CF4-BE6D-E5FC490B9653}"/>
                </a:ext>
              </a:extLst>
            </p:cNvPr>
            <p:cNvSpPr/>
            <p:nvPr/>
          </p:nvSpPr>
          <p:spPr bwMode="gray">
            <a:xfrm rot="7200000" flipH="1">
              <a:off x="6147867" y="3930692"/>
              <a:ext cx="301667" cy="368894"/>
            </a:xfrm>
            <a:custGeom>
              <a:avLst/>
              <a:gdLst>
                <a:gd name="connsiteX0" fmla="*/ 301667 w 301667"/>
                <a:gd name="connsiteY0" fmla="*/ 340986 h 368894"/>
                <a:gd name="connsiteX1" fmla="*/ 300021 w 301667"/>
                <a:gd name="connsiteY1" fmla="*/ 168838 h 368894"/>
                <a:gd name="connsiteX2" fmla="*/ 298992 w 301667"/>
                <a:gd name="connsiteY2" fmla="*/ 157298 h 368894"/>
                <a:gd name="connsiteX3" fmla="*/ 286500 w 301667"/>
                <a:gd name="connsiteY3" fmla="*/ 116462 h 368894"/>
                <a:gd name="connsiteX4" fmla="*/ 247892 w 301667"/>
                <a:gd name="connsiteY4" fmla="*/ 78572 h 368894"/>
                <a:gd name="connsiteX5" fmla="*/ 139798 w 301667"/>
                <a:gd name="connsiteY5" fmla="*/ 15324 h 368894"/>
                <a:gd name="connsiteX6" fmla="*/ 138938 w 301667"/>
                <a:gd name="connsiteY6" fmla="*/ 16813 h 368894"/>
                <a:gd name="connsiteX7" fmla="*/ 118602 w 301667"/>
                <a:gd name="connsiteY7" fmla="*/ 5629 h 368894"/>
                <a:gd name="connsiteX8" fmla="*/ 86003 w 301667"/>
                <a:gd name="connsiteY8" fmla="*/ 108 h 368894"/>
                <a:gd name="connsiteX9" fmla="*/ 43401 w 301667"/>
                <a:gd name="connsiteY9" fmla="*/ 13965 h 368894"/>
                <a:gd name="connsiteX10" fmla="*/ 14283 w 301667"/>
                <a:gd name="connsiteY10" fmla="*/ 45201 h 368894"/>
                <a:gd name="connsiteX11" fmla="*/ 2433 w 301667"/>
                <a:gd name="connsiteY11" fmla="*/ 75175 h 368894"/>
                <a:gd name="connsiteX12" fmla="*/ 2058 w 301667"/>
                <a:gd name="connsiteY12" fmla="*/ 80233 h 368894"/>
                <a:gd name="connsiteX13" fmla="*/ 25 w 301667"/>
                <a:gd name="connsiteY13" fmla="*/ 82042 h 368894"/>
                <a:gd name="connsiteX14" fmla="*/ 542 w 301667"/>
                <a:gd name="connsiteY14" fmla="*/ 287625 h 368894"/>
                <a:gd name="connsiteX15" fmla="*/ 778 w 301667"/>
                <a:gd name="connsiteY15" fmla="*/ 352001 h 368894"/>
                <a:gd name="connsiteX16" fmla="*/ 30287 w 301667"/>
                <a:gd name="connsiteY16" fmla="*/ 368894 h 368894"/>
                <a:gd name="connsiteX17" fmla="*/ 87334 w 301667"/>
                <a:gd name="connsiteY17" fmla="*/ 335722 h 368894"/>
                <a:gd name="connsiteX18" fmla="*/ 87007 w 301667"/>
                <a:gd name="connsiteY18" fmla="*/ 312304 h 368894"/>
                <a:gd name="connsiteX19" fmla="*/ 83919 w 301667"/>
                <a:gd name="connsiteY19" fmla="*/ 106601 h 368894"/>
                <a:gd name="connsiteX20" fmla="*/ 83171 w 301667"/>
                <a:gd name="connsiteY20" fmla="*/ 104423 h 368894"/>
                <a:gd name="connsiteX21" fmla="*/ 83171 w 301667"/>
                <a:gd name="connsiteY21" fmla="*/ 102875 h 368894"/>
                <a:gd name="connsiteX22" fmla="*/ 83184 w 301667"/>
                <a:gd name="connsiteY22" fmla="*/ 98354 h 368894"/>
                <a:gd name="connsiteX23" fmla="*/ 92503 w 301667"/>
                <a:gd name="connsiteY23" fmla="*/ 86106 h 368894"/>
                <a:gd name="connsiteX24" fmla="*/ 96962 w 301667"/>
                <a:gd name="connsiteY24" fmla="*/ 84855 h 368894"/>
                <a:gd name="connsiteX25" fmla="*/ 97031 w 301667"/>
                <a:gd name="connsiteY25" fmla="*/ 84933 h 368894"/>
                <a:gd name="connsiteX26" fmla="*/ 98953 w 301667"/>
                <a:gd name="connsiteY26" fmla="*/ 86069 h 368894"/>
                <a:gd name="connsiteX27" fmla="*/ 98523 w 301667"/>
                <a:gd name="connsiteY27" fmla="*/ 86814 h 368894"/>
                <a:gd name="connsiteX28" fmla="*/ 206018 w 301667"/>
                <a:gd name="connsiteY28" fmla="*/ 149556 h 368894"/>
                <a:gd name="connsiteX29" fmla="*/ 217598 w 301667"/>
                <a:gd name="connsiteY29" fmla="*/ 169614 h 368894"/>
                <a:gd name="connsiteX30" fmla="*/ 217582 w 301667"/>
                <a:gd name="connsiteY30" fmla="*/ 172204 h 368894"/>
                <a:gd name="connsiteX31" fmla="*/ 217265 w 301667"/>
                <a:gd name="connsiteY31" fmla="*/ 170872 h 368894"/>
                <a:gd name="connsiteX32" fmla="*/ 219238 w 301667"/>
                <a:gd name="connsiteY32" fmla="*/ 340986 h 368894"/>
                <a:gd name="connsiteX33" fmla="*/ 222476 w 301667"/>
                <a:gd name="connsiteY33" fmla="*/ 350419 h 368894"/>
                <a:gd name="connsiteX34" fmla="*/ 260452 w 301667"/>
                <a:gd name="connsiteY34" fmla="*/ 365221 h 368894"/>
                <a:gd name="connsiteX35" fmla="*/ 301667 w 301667"/>
                <a:gd name="connsiteY35" fmla="*/ 340986 h 368894"/>
                <a:gd name="connsiteX0" fmla="*/ 301667 w 301667"/>
                <a:gd name="connsiteY0" fmla="*/ 340986 h 368894"/>
                <a:gd name="connsiteX1" fmla="*/ 300021 w 301667"/>
                <a:gd name="connsiteY1" fmla="*/ 168838 h 368894"/>
                <a:gd name="connsiteX2" fmla="*/ 298992 w 301667"/>
                <a:gd name="connsiteY2" fmla="*/ 157298 h 368894"/>
                <a:gd name="connsiteX3" fmla="*/ 286500 w 301667"/>
                <a:gd name="connsiteY3" fmla="*/ 116462 h 368894"/>
                <a:gd name="connsiteX4" fmla="*/ 247892 w 301667"/>
                <a:gd name="connsiteY4" fmla="*/ 78572 h 368894"/>
                <a:gd name="connsiteX5" fmla="*/ 139798 w 301667"/>
                <a:gd name="connsiteY5" fmla="*/ 15324 h 368894"/>
                <a:gd name="connsiteX6" fmla="*/ 118602 w 301667"/>
                <a:gd name="connsiteY6" fmla="*/ 5629 h 368894"/>
                <a:gd name="connsiteX7" fmla="*/ 86003 w 301667"/>
                <a:gd name="connsiteY7" fmla="*/ 108 h 368894"/>
                <a:gd name="connsiteX8" fmla="*/ 43401 w 301667"/>
                <a:gd name="connsiteY8" fmla="*/ 13965 h 368894"/>
                <a:gd name="connsiteX9" fmla="*/ 14283 w 301667"/>
                <a:gd name="connsiteY9" fmla="*/ 45201 h 368894"/>
                <a:gd name="connsiteX10" fmla="*/ 2433 w 301667"/>
                <a:gd name="connsiteY10" fmla="*/ 75175 h 368894"/>
                <a:gd name="connsiteX11" fmla="*/ 2058 w 301667"/>
                <a:gd name="connsiteY11" fmla="*/ 80233 h 368894"/>
                <a:gd name="connsiteX12" fmla="*/ 25 w 301667"/>
                <a:gd name="connsiteY12" fmla="*/ 82042 h 368894"/>
                <a:gd name="connsiteX13" fmla="*/ 542 w 301667"/>
                <a:gd name="connsiteY13" fmla="*/ 287625 h 368894"/>
                <a:gd name="connsiteX14" fmla="*/ 778 w 301667"/>
                <a:gd name="connsiteY14" fmla="*/ 352001 h 368894"/>
                <a:gd name="connsiteX15" fmla="*/ 30287 w 301667"/>
                <a:gd name="connsiteY15" fmla="*/ 368894 h 368894"/>
                <a:gd name="connsiteX16" fmla="*/ 87334 w 301667"/>
                <a:gd name="connsiteY16" fmla="*/ 335722 h 368894"/>
                <a:gd name="connsiteX17" fmla="*/ 87007 w 301667"/>
                <a:gd name="connsiteY17" fmla="*/ 312304 h 368894"/>
                <a:gd name="connsiteX18" fmla="*/ 83919 w 301667"/>
                <a:gd name="connsiteY18" fmla="*/ 106601 h 368894"/>
                <a:gd name="connsiteX19" fmla="*/ 83171 w 301667"/>
                <a:gd name="connsiteY19" fmla="*/ 104423 h 368894"/>
                <a:gd name="connsiteX20" fmla="*/ 83171 w 301667"/>
                <a:gd name="connsiteY20" fmla="*/ 102875 h 368894"/>
                <a:gd name="connsiteX21" fmla="*/ 83184 w 301667"/>
                <a:gd name="connsiteY21" fmla="*/ 98354 h 368894"/>
                <a:gd name="connsiteX22" fmla="*/ 92503 w 301667"/>
                <a:gd name="connsiteY22" fmla="*/ 86106 h 368894"/>
                <a:gd name="connsiteX23" fmla="*/ 96962 w 301667"/>
                <a:gd name="connsiteY23" fmla="*/ 84855 h 368894"/>
                <a:gd name="connsiteX24" fmla="*/ 97031 w 301667"/>
                <a:gd name="connsiteY24" fmla="*/ 84933 h 368894"/>
                <a:gd name="connsiteX25" fmla="*/ 98953 w 301667"/>
                <a:gd name="connsiteY25" fmla="*/ 86069 h 368894"/>
                <a:gd name="connsiteX26" fmla="*/ 98523 w 301667"/>
                <a:gd name="connsiteY26" fmla="*/ 86814 h 368894"/>
                <a:gd name="connsiteX27" fmla="*/ 206018 w 301667"/>
                <a:gd name="connsiteY27" fmla="*/ 149556 h 368894"/>
                <a:gd name="connsiteX28" fmla="*/ 217598 w 301667"/>
                <a:gd name="connsiteY28" fmla="*/ 169614 h 368894"/>
                <a:gd name="connsiteX29" fmla="*/ 217582 w 301667"/>
                <a:gd name="connsiteY29" fmla="*/ 172204 h 368894"/>
                <a:gd name="connsiteX30" fmla="*/ 217265 w 301667"/>
                <a:gd name="connsiteY30" fmla="*/ 170872 h 368894"/>
                <a:gd name="connsiteX31" fmla="*/ 219238 w 301667"/>
                <a:gd name="connsiteY31" fmla="*/ 340986 h 368894"/>
                <a:gd name="connsiteX32" fmla="*/ 222476 w 301667"/>
                <a:gd name="connsiteY32" fmla="*/ 350419 h 368894"/>
                <a:gd name="connsiteX33" fmla="*/ 260452 w 301667"/>
                <a:gd name="connsiteY33" fmla="*/ 365221 h 368894"/>
                <a:gd name="connsiteX34" fmla="*/ 301667 w 301667"/>
                <a:gd name="connsiteY34" fmla="*/ 340986 h 368894"/>
                <a:gd name="connsiteX0" fmla="*/ 301667 w 301667"/>
                <a:gd name="connsiteY0" fmla="*/ 340986 h 368894"/>
                <a:gd name="connsiteX1" fmla="*/ 300021 w 301667"/>
                <a:gd name="connsiteY1" fmla="*/ 168838 h 368894"/>
                <a:gd name="connsiteX2" fmla="*/ 298992 w 301667"/>
                <a:gd name="connsiteY2" fmla="*/ 157298 h 368894"/>
                <a:gd name="connsiteX3" fmla="*/ 286500 w 301667"/>
                <a:gd name="connsiteY3" fmla="*/ 116462 h 368894"/>
                <a:gd name="connsiteX4" fmla="*/ 247892 w 301667"/>
                <a:gd name="connsiteY4" fmla="*/ 78572 h 368894"/>
                <a:gd name="connsiteX5" fmla="*/ 118602 w 301667"/>
                <a:gd name="connsiteY5" fmla="*/ 5629 h 368894"/>
                <a:gd name="connsiteX6" fmla="*/ 86003 w 301667"/>
                <a:gd name="connsiteY6" fmla="*/ 108 h 368894"/>
                <a:gd name="connsiteX7" fmla="*/ 43401 w 301667"/>
                <a:gd name="connsiteY7" fmla="*/ 13965 h 368894"/>
                <a:gd name="connsiteX8" fmla="*/ 14283 w 301667"/>
                <a:gd name="connsiteY8" fmla="*/ 45201 h 368894"/>
                <a:gd name="connsiteX9" fmla="*/ 2433 w 301667"/>
                <a:gd name="connsiteY9" fmla="*/ 75175 h 368894"/>
                <a:gd name="connsiteX10" fmla="*/ 2058 w 301667"/>
                <a:gd name="connsiteY10" fmla="*/ 80233 h 368894"/>
                <a:gd name="connsiteX11" fmla="*/ 25 w 301667"/>
                <a:gd name="connsiteY11" fmla="*/ 82042 h 368894"/>
                <a:gd name="connsiteX12" fmla="*/ 542 w 301667"/>
                <a:gd name="connsiteY12" fmla="*/ 287625 h 368894"/>
                <a:gd name="connsiteX13" fmla="*/ 778 w 301667"/>
                <a:gd name="connsiteY13" fmla="*/ 352001 h 368894"/>
                <a:gd name="connsiteX14" fmla="*/ 30287 w 301667"/>
                <a:gd name="connsiteY14" fmla="*/ 368894 h 368894"/>
                <a:gd name="connsiteX15" fmla="*/ 87334 w 301667"/>
                <a:gd name="connsiteY15" fmla="*/ 335722 h 368894"/>
                <a:gd name="connsiteX16" fmla="*/ 87007 w 301667"/>
                <a:gd name="connsiteY16" fmla="*/ 312304 h 368894"/>
                <a:gd name="connsiteX17" fmla="*/ 83919 w 301667"/>
                <a:gd name="connsiteY17" fmla="*/ 106601 h 368894"/>
                <a:gd name="connsiteX18" fmla="*/ 83171 w 301667"/>
                <a:gd name="connsiteY18" fmla="*/ 104423 h 368894"/>
                <a:gd name="connsiteX19" fmla="*/ 83171 w 301667"/>
                <a:gd name="connsiteY19" fmla="*/ 102875 h 368894"/>
                <a:gd name="connsiteX20" fmla="*/ 83184 w 301667"/>
                <a:gd name="connsiteY20" fmla="*/ 98354 h 368894"/>
                <a:gd name="connsiteX21" fmla="*/ 92503 w 301667"/>
                <a:gd name="connsiteY21" fmla="*/ 86106 h 368894"/>
                <a:gd name="connsiteX22" fmla="*/ 96962 w 301667"/>
                <a:gd name="connsiteY22" fmla="*/ 84855 h 368894"/>
                <a:gd name="connsiteX23" fmla="*/ 97031 w 301667"/>
                <a:gd name="connsiteY23" fmla="*/ 84933 h 368894"/>
                <a:gd name="connsiteX24" fmla="*/ 98953 w 301667"/>
                <a:gd name="connsiteY24" fmla="*/ 86069 h 368894"/>
                <a:gd name="connsiteX25" fmla="*/ 98523 w 301667"/>
                <a:gd name="connsiteY25" fmla="*/ 86814 h 368894"/>
                <a:gd name="connsiteX26" fmla="*/ 206018 w 301667"/>
                <a:gd name="connsiteY26" fmla="*/ 149556 h 368894"/>
                <a:gd name="connsiteX27" fmla="*/ 217598 w 301667"/>
                <a:gd name="connsiteY27" fmla="*/ 169614 h 368894"/>
                <a:gd name="connsiteX28" fmla="*/ 217582 w 301667"/>
                <a:gd name="connsiteY28" fmla="*/ 172204 h 368894"/>
                <a:gd name="connsiteX29" fmla="*/ 217265 w 301667"/>
                <a:gd name="connsiteY29" fmla="*/ 170872 h 368894"/>
                <a:gd name="connsiteX30" fmla="*/ 219238 w 301667"/>
                <a:gd name="connsiteY30" fmla="*/ 340986 h 368894"/>
                <a:gd name="connsiteX31" fmla="*/ 222476 w 301667"/>
                <a:gd name="connsiteY31" fmla="*/ 350419 h 368894"/>
                <a:gd name="connsiteX32" fmla="*/ 260452 w 301667"/>
                <a:gd name="connsiteY32" fmla="*/ 365221 h 368894"/>
                <a:gd name="connsiteX33" fmla="*/ 301667 w 301667"/>
                <a:gd name="connsiteY33" fmla="*/ 340986 h 36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01667" h="368894">
                  <a:moveTo>
                    <a:pt x="301667" y="340986"/>
                  </a:moveTo>
                  <a:cubicBezTo>
                    <a:pt x="301118" y="283603"/>
                    <a:pt x="300570" y="226221"/>
                    <a:pt x="300021" y="168838"/>
                  </a:cubicBezTo>
                  <a:cubicBezTo>
                    <a:pt x="299575" y="163974"/>
                    <a:pt x="301246" y="166028"/>
                    <a:pt x="298992" y="157298"/>
                  </a:cubicBezTo>
                  <a:cubicBezTo>
                    <a:pt x="298468" y="146628"/>
                    <a:pt x="298147" y="137194"/>
                    <a:pt x="286500" y="116462"/>
                  </a:cubicBezTo>
                  <a:cubicBezTo>
                    <a:pt x="270968" y="88821"/>
                    <a:pt x="261477" y="89402"/>
                    <a:pt x="247892" y="78572"/>
                  </a:cubicBezTo>
                  <a:lnTo>
                    <a:pt x="118602" y="5629"/>
                  </a:lnTo>
                  <a:cubicBezTo>
                    <a:pt x="101001" y="-2106"/>
                    <a:pt x="98339" y="527"/>
                    <a:pt x="86003" y="108"/>
                  </a:cubicBezTo>
                  <a:cubicBezTo>
                    <a:pt x="69554" y="-451"/>
                    <a:pt x="59878" y="6917"/>
                    <a:pt x="43401" y="13965"/>
                  </a:cubicBezTo>
                  <a:cubicBezTo>
                    <a:pt x="34423" y="19754"/>
                    <a:pt x="26413" y="24748"/>
                    <a:pt x="14283" y="45201"/>
                  </a:cubicBezTo>
                  <a:cubicBezTo>
                    <a:pt x="6197" y="58837"/>
                    <a:pt x="3466" y="67637"/>
                    <a:pt x="2433" y="75175"/>
                  </a:cubicBezTo>
                  <a:lnTo>
                    <a:pt x="2058" y="80233"/>
                  </a:lnTo>
                  <a:lnTo>
                    <a:pt x="25" y="82042"/>
                  </a:lnTo>
                  <a:cubicBezTo>
                    <a:pt x="-84" y="123650"/>
                    <a:pt x="165" y="188146"/>
                    <a:pt x="542" y="287625"/>
                  </a:cubicBezTo>
                  <a:cubicBezTo>
                    <a:pt x="621" y="309084"/>
                    <a:pt x="699" y="330542"/>
                    <a:pt x="778" y="352001"/>
                  </a:cubicBezTo>
                  <a:lnTo>
                    <a:pt x="30287" y="368894"/>
                  </a:lnTo>
                  <a:lnTo>
                    <a:pt x="87334" y="335722"/>
                  </a:lnTo>
                  <a:lnTo>
                    <a:pt x="87007" y="312304"/>
                  </a:lnTo>
                  <a:cubicBezTo>
                    <a:pt x="85804" y="238372"/>
                    <a:pt x="83975" y="145185"/>
                    <a:pt x="83919" y="106601"/>
                  </a:cubicBezTo>
                  <a:lnTo>
                    <a:pt x="83171" y="104423"/>
                  </a:lnTo>
                  <a:lnTo>
                    <a:pt x="83171" y="102875"/>
                  </a:lnTo>
                  <a:cubicBezTo>
                    <a:pt x="83175" y="101368"/>
                    <a:pt x="83180" y="99861"/>
                    <a:pt x="83184" y="98354"/>
                  </a:cubicBezTo>
                  <a:cubicBezTo>
                    <a:pt x="83729" y="90174"/>
                    <a:pt x="87690" y="87457"/>
                    <a:pt x="92503" y="86106"/>
                  </a:cubicBezTo>
                  <a:lnTo>
                    <a:pt x="96962" y="84855"/>
                  </a:lnTo>
                  <a:lnTo>
                    <a:pt x="97031" y="84933"/>
                  </a:lnTo>
                  <a:lnTo>
                    <a:pt x="98953" y="86069"/>
                  </a:lnTo>
                  <a:lnTo>
                    <a:pt x="98523" y="86814"/>
                  </a:lnTo>
                  <a:lnTo>
                    <a:pt x="206018" y="149556"/>
                  </a:lnTo>
                  <a:cubicBezTo>
                    <a:pt x="215352" y="157107"/>
                    <a:pt x="215726" y="157756"/>
                    <a:pt x="217598" y="169614"/>
                  </a:cubicBezTo>
                  <a:cubicBezTo>
                    <a:pt x="217592" y="170477"/>
                    <a:pt x="217588" y="171342"/>
                    <a:pt x="217582" y="172204"/>
                  </a:cubicBezTo>
                  <a:cubicBezTo>
                    <a:pt x="217476" y="171760"/>
                    <a:pt x="217371" y="171316"/>
                    <a:pt x="217265" y="170872"/>
                  </a:cubicBezTo>
                  <a:cubicBezTo>
                    <a:pt x="217922" y="227577"/>
                    <a:pt x="218581" y="284281"/>
                    <a:pt x="219238" y="340986"/>
                  </a:cubicBezTo>
                  <a:cubicBezTo>
                    <a:pt x="219238" y="344332"/>
                    <a:pt x="220391" y="347521"/>
                    <a:pt x="222476" y="350419"/>
                  </a:cubicBezTo>
                  <a:cubicBezTo>
                    <a:pt x="228733" y="359118"/>
                    <a:pt x="243381" y="365222"/>
                    <a:pt x="260452" y="365221"/>
                  </a:cubicBezTo>
                  <a:cubicBezTo>
                    <a:pt x="283214" y="365221"/>
                    <a:pt x="301667" y="354371"/>
                    <a:pt x="301667" y="340986"/>
                  </a:cubicBezTo>
                  <a:close/>
                </a:path>
              </a:pathLst>
            </a:cu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1663" name="Group 1662">
            <a:extLst>
              <a:ext uri="{FF2B5EF4-FFF2-40B4-BE49-F238E27FC236}">
                <a16:creationId xmlns:a16="http://schemas.microsoft.com/office/drawing/2014/main" id="{86A663E9-27F8-4B73-AFF1-184ED93190B7}"/>
              </a:ext>
            </a:extLst>
          </p:cNvPr>
          <p:cNvGrpSpPr/>
          <p:nvPr/>
        </p:nvGrpSpPr>
        <p:grpSpPr bwMode="gray">
          <a:xfrm>
            <a:off x="5501770" y="3321660"/>
            <a:ext cx="1370904" cy="771867"/>
            <a:chOff x="13306408" y="-1590542"/>
            <a:chExt cx="2812022" cy="1583267"/>
          </a:xfrm>
        </p:grpSpPr>
        <p:sp>
          <p:nvSpPr>
            <p:cNvPr id="1622" name="Freeform: Shape 1621">
              <a:extLst>
                <a:ext uri="{FF2B5EF4-FFF2-40B4-BE49-F238E27FC236}">
                  <a16:creationId xmlns:a16="http://schemas.microsoft.com/office/drawing/2014/main" id="{640472EB-444D-4644-8251-E93A7E034780}"/>
                </a:ext>
              </a:extLst>
            </p:cNvPr>
            <p:cNvSpPr/>
            <p:nvPr/>
          </p:nvSpPr>
          <p:spPr bwMode="gray">
            <a:xfrm rot="18000000" flipH="1">
              <a:off x="13926181" y="-1887966"/>
              <a:ext cx="1579378" cy="2174743"/>
            </a:xfrm>
            <a:custGeom>
              <a:avLst/>
              <a:gdLst>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744312 w 1745156"/>
                <a:gd name="connsiteY85" fmla="*/ 613059 h 2302560"/>
                <a:gd name="connsiteX86" fmla="*/ 742212 w 1745156"/>
                <a:gd name="connsiteY86" fmla="*/ 604834 h 2302560"/>
                <a:gd name="connsiteX87" fmla="*/ 681043 w 1745156"/>
                <a:gd name="connsiteY87" fmla="*/ 586796 h 2302560"/>
                <a:gd name="connsiteX88" fmla="*/ 508600 w 1745156"/>
                <a:gd name="connsiteY88" fmla="*/ 684095 h 2302560"/>
                <a:gd name="connsiteX89" fmla="*/ 498494 w 1745156"/>
                <a:gd name="connsiteY89" fmla="*/ 725103 h 2302560"/>
                <a:gd name="connsiteX90" fmla="*/ 497708 w 1745156"/>
                <a:gd name="connsiteY90" fmla="*/ 1947297 h 2302560"/>
                <a:gd name="connsiteX91" fmla="*/ 414093 w 1745156"/>
                <a:gd name="connsiteY91" fmla="*/ 1995572 h 2302560"/>
                <a:gd name="connsiteX92" fmla="*/ 414093 w 1745156"/>
                <a:gd name="connsiteY92" fmla="*/ 1955655 h 2302560"/>
                <a:gd name="connsiteX93" fmla="*/ 417452 w 1745156"/>
                <a:gd name="connsiteY93" fmla="*/ 826816 h 2302560"/>
                <a:gd name="connsiteX94" fmla="*/ 414094 w 1745156"/>
                <a:gd name="connsiteY94" fmla="*/ 813660 h 2302560"/>
                <a:gd name="connsiteX95" fmla="*/ 414093 w 1745156"/>
                <a:gd name="connsiteY95" fmla="*/ 799296 h 2302560"/>
                <a:gd name="connsiteX96" fmla="*/ 412387 w 1745156"/>
                <a:gd name="connsiteY96" fmla="*/ 806974 h 2302560"/>
                <a:gd name="connsiteX97" fmla="*/ 410286 w 1745156"/>
                <a:gd name="connsiteY97" fmla="*/ 798748 h 2302560"/>
                <a:gd name="connsiteX98" fmla="*/ 349117 w 1745156"/>
                <a:gd name="connsiteY98" fmla="*/ 780711 h 2302560"/>
                <a:gd name="connsiteX99" fmla="*/ 176674 w 1745156"/>
                <a:gd name="connsiteY99" fmla="*/ 878009 h 2302560"/>
                <a:gd name="connsiteX100" fmla="*/ 166568 w 1745156"/>
                <a:gd name="connsiteY100" fmla="*/ 919017 h 2302560"/>
                <a:gd name="connsiteX101" fmla="*/ 165782 w 1745156"/>
                <a:gd name="connsiteY101" fmla="*/ 2141211 h 2302560"/>
                <a:gd name="connsiteX102" fmla="*/ 82167 w 1745156"/>
                <a:gd name="connsiteY102" fmla="*/ 2189487 h 2302560"/>
                <a:gd name="connsiteX103" fmla="*/ 82168 w 1745156"/>
                <a:gd name="connsiteY103" fmla="*/ 993211 h 2302560"/>
                <a:gd name="connsiteX104" fmla="*/ 41084 w 1745156"/>
                <a:gd name="connsiteY104" fmla="*/ 968026 h 2302560"/>
                <a:gd name="connsiteX105" fmla="*/ 1 w 1745156"/>
                <a:gd name="connsiteY105"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744312 w 1745156"/>
                <a:gd name="connsiteY85" fmla="*/ 613059 h 2302560"/>
                <a:gd name="connsiteX86" fmla="*/ 742212 w 1745156"/>
                <a:gd name="connsiteY86" fmla="*/ 604834 h 2302560"/>
                <a:gd name="connsiteX87" fmla="*/ 681043 w 1745156"/>
                <a:gd name="connsiteY87" fmla="*/ 586796 h 2302560"/>
                <a:gd name="connsiteX88" fmla="*/ 508600 w 1745156"/>
                <a:gd name="connsiteY88" fmla="*/ 684095 h 2302560"/>
                <a:gd name="connsiteX89" fmla="*/ 498494 w 1745156"/>
                <a:gd name="connsiteY89" fmla="*/ 725103 h 2302560"/>
                <a:gd name="connsiteX90" fmla="*/ 497708 w 1745156"/>
                <a:gd name="connsiteY90" fmla="*/ 1947297 h 2302560"/>
                <a:gd name="connsiteX91" fmla="*/ 414093 w 1745156"/>
                <a:gd name="connsiteY91" fmla="*/ 1995572 h 2302560"/>
                <a:gd name="connsiteX92" fmla="*/ 414093 w 1745156"/>
                <a:gd name="connsiteY92" fmla="*/ 1955655 h 2302560"/>
                <a:gd name="connsiteX93" fmla="*/ 417452 w 1745156"/>
                <a:gd name="connsiteY93" fmla="*/ 826816 h 2302560"/>
                <a:gd name="connsiteX94" fmla="*/ 414094 w 1745156"/>
                <a:gd name="connsiteY94" fmla="*/ 813660 h 2302560"/>
                <a:gd name="connsiteX95" fmla="*/ 414093 w 1745156"/>
                <a:gd name="connsiteY95" fmla="*/ 799296 h 2302560"/>
                <a:gd name="connsiteX96" fmla="*/ 412387 w 1745156"/>
                <a:gd name="connsiteY96" fmla="*/ 806974 h 2302560"/>
                <a:gd name="connsiteX97" fmla="*/ 349117 w 1745156"/>
                <a:gd name="connsiteY97" fmla="*/ 780711 h 2302560"/>
                <a:gd name="connsiteX98" fmla="*/ 176674 w 1745156"/>
                <a:gd name="connsiteY98" fmla="*/ 878009 h 2302560"/>
                <a:gd name="connsiteX99" fmla="*/ 166568 w 1745156"/>
                <a:gd name="connsiteY99" fmla="*/ 919017 h 2302560"/>
                <a:gd name="connsiteX100" fmla="*/ 165782 w 1745156"/>
                <a:gd name="connsiteY100" fmla="*/ 2141211 h 2302560"/>
                <a:gd name="connsiteX101" fmla="*/ 82167 w 1745156"/>
                <a:gd name="connsiteY101" fmla="*/ 2189487 h 2302560"/>
                <a:gd name="connsiteX102" fmla="*/ 82168 w 1745156"/>
                <a:gd name="connsiteY102" fmla="*/ 993211 h 2302560"/>
                <a:gd name="connsiteX103" fmla="*/ 41084 w 1745156"/>
                <a:gd name="connsiteY103" fmla="*/ 968026 h 2302560"/>
                <a:gd name="connsiteX104" fmla="*/ 1 w 1745156"/>
                <a:gd name="connsiteY104"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744312 w 1745156"/>
                <a:gd name="connsiteY85" fmla="*/ 613059 h 2302560"/>
                <a:gd name="connsiteX86" fmla="*/ 742212 w 1745156"/>
                <a:gd name="connsiteY86" fmla="*/ 604834 h 2302560"/>
                <a:gd name="connsiteX87" fmla="*/ 681043 w 1745156"/>
                <a:gd name="connsiteY87" fmla="*/ 586796 h 2302560"/>
                <a:gd name="connsiteX88" fmla="*/ 508600 w 1745156"/>
                <a:gd name="connsiteY88" fmla="*/ 684095 h 2302560"/>
                <a:gd name="connsiteX89" fmla="*/ 498494 w 1745156"/>
                <a:gd name="connsiteY89" fmla="*/ 725103 h 2302560"/>
                <a:gd name="connsiteX90" fmla="*/ 497708 w 1745156"/>
                <a:gd name="connsiteY90" fmla="*/ 1947297 h 2302560"/>
                <a:gd name="connsiteX91" fmla="*/ 414093 w 1745156"/>
                <a:gd name="connsiteY91" fmla="*/ 1995572 h 2302560"/>
                <a:gd name="connsiteX92" fmla="*/ 414093 w 1745156"/>
                <a:gd name="connsiteY92" fmla="*/ 1955655 h 2302560"/>
                <a:gd name="connsiteX93" fmla="*/ 417452 w 1745156"/>
                <a:gd name="connsiteY93" fmla="*/ 826816 h 2302560"/>
                <a:gd name="connsiteX94" fmla="*/ 414094 w 1745156"/>
                <a:gd name="connsiteY94" fmla="*/ 813660 h 2302560"/>
                <a:gd name="connsiteX95" fmla="*/ 414093 w 1745156"/>
                <a:gd name="connsiteY95" fmla="*/ 799296 h 2302560"/>
                <a:gd name="connsiteX96" fmla="*/ 349117 w 1745156"/>
                <a:gd name="connsiteY96" fmla="*/ 780711 h 2302560"/>
                <a:gd name="connsiteX97" fmla="*/ 176674 w 1745156"/>
                <a:gd name="connsiteY97" fmla="*/ 878009 h 2302560"/>
                <a:gd name="connsiteX98" fmla="*/ 166568 w 1745156"/>
                <a:gd name="connsiteY98" fmla="*/ 919017 h 2302560"/>
                <a:gd name="connsiteX99" fmla="*/ 165782 w 1745156"/>
                <a:gd name="connsiteY99" fmla="*/ 2141211 h 2302560"/>
                <a:gd name="connsiteX100" fmla="*/ 82167 w 1745156"/>
                <a:gd name="connsiteY100" fmla="*/ 2189487 h 2302560"/>
                <a:gd name="connsiteX101" fmla="*/ 82168 w 1745156"/>
                <a:gd name="connsiteY101" fmla="*/ 993211 h 2302560"/>
                <a:gd name="connsiteX102" fmla="*/ 41084 w 1745156"/>
                <a:gd name="connsiteY102" fmla="*/ 968026 h 2302560"/>
                <a:gd name="connsiteX103" fmla="*/ 1 w 1745156"/>
                <a:gd name="connsiteY103"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744312 w 1745156"/>
                <a:gd name="connsiteY85" fmla="*/ 613059 h 2302560"/>
                <a:gd name="connsiteX86" fmla="*/ 742212 w 1745156"/>
                <a:gd name="connsiteY86" fmla="*/ 604834 h 2302560"/>
                <a:gd name="connsiteX87" fmla="*/ 681043 w 1745156"/>
                <a:gd name="connsiteY87" fmla="*/ 586796 h 2302560"/>
                <a:gd name="connsiteX88" fmla="*/ 508600 w 1745156"/>
                <a:gd name="connsiteY88" fmla="*/ 684095 h 2302560"/>
                <a:gd name="connsiteX89" fmla="*/ 498494 w 1745156"/>
                <a:gd name="connsiteY89" fmla="*/ 725103 h 2302560"/>
                <a:gd name="connsiteX90" fmla="*/ 497708 w 1745156"/>
                <a:gd name="connsiteY90" fmla="*/ 1947297 h 2302560"/>
                <a:gd name="connsiteX91" fmla="*/ 414093 w 1745156"/>
                <a:gd name="connsiteY91" fmla="*/ 1995572 h 2302560"/>
                <a:gd name="connsiteX92" fmla="*/ 414093 w 1745156"/>
                <a:gd name="connsiteY92" fmla="*/ 1955655 h 2302560"/>
                <a:gd name="connsiteX93" fmla="*/ 417452 w 1745156"/>
                <a:gd name="connsiteY93" fmla="*/ 826816 h 2302560"/>
                <a:gd name="connsiteX94" fmla="*/ 414094 w 1745156"/>
                <a:gd name="connsiteY94" fmla="*/ 813660 h 2302560"/>
                <a:gd name="connsiteX95" fmla="*/ 349117 w 1745156"/>
                <a:gd name="connsiteY95" fmla="*/ 780711 h 2302560"/>
                <a:gd name="connsiteX96" fmla="*/ 176674 w 1745156"/>
                <a:gd name="connsiteY96" fmla="*/ 878009 h 2302560"/>
                <a:gd name="connsiteX97" fmla="*/ 166568 w 1745156"/>
                <a:gd name="connsiteY97" fmla="*/ 919017 h 2302560"/>
                <a:gd name="connsiteX98" fmla="*/ 165782 w 1745156"/>
                <a:gd name="connsiteY98" fmla="*/ 2141211 h 2302560"/>
                <a:gd name="connsiteX99" fmla="*/ 82167 w 1745156"/>
                <a:gd name="connsiteY99" fmla="*/ 2189487 h 2302560"/>
                <a:gd name="connsiteX100" fmla="*/ 82168 w 1745156"/>
                <a:gd name="connsiteY100" fmla="*/ 993211 h 2302560"/>
                <a:gd name="connsiteX101" fmla="*/ 41084 w 1745156"/>
                <a:gd name="connsiteY101" fmla="*/ 968026 h 2302560"/>
                <a:gd name="connsiteX102" fmla="*/ 1 w 1745156"/>
                <a:gd name="connsiteY102"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744312 w 1745156"/>
                <a:gd name="connsiteY85" fmla="*/ 613059 h 2302560"/>
                <a:gd name="connsiteX86" fmla="*/ 742212 w 1745156"/>
                <a:gd name="connsiteY86" fmla="*/ 604834 h 2302560"/>
                <a:gd name="connsiteX87" fmla="*/ 681043 w 1745156"/>
                <a:gd name="connsiteY87" fmla="*/ 586796 h 2302560"/>
                <a:gd name="connsiteX88" fmla="*/ 508600 w 1745156"/>
                <a:gd name="connsiteY88" fmla="*/ 684095 h 2302560"/>
                <a:gd name="connsiteX89" fmla="*/ 498494 w 1745156"/>
                <a:gd name="connsiteY89" fmla="*/ 725103 h 2302560"/>
                <a:gd name="connsiteX90" fmla="*/ 497708 w 1745156"/>
                <a:gd name="connsiteY90" fmla="*/ 1947297 h 2302560"/>
                <a:gd name="connsiteX91" fmla="*/ 414093 w 1745156"/>
                <a:gd name="connsiteY91" fmla="*/ 1995572 h 2302560"/>
                <a:gd name="connsiteX92" fmla="*/ 414093 w 1745156"/>
                <a:gd name="connsiteY92" fmla="*/ 1955655 h 2302560"/>
                <a:gd name="connsiteX93" fmla="*/ 417452 w 1745156"/>
                <a:gd name="connsiteY93" fmla="*/ 826816 h 2302560"/>
                <a:gd name="connsiteX94" fmla="*/ 349117 w 1745156"/>
                <a:gd name="connsiteY94" fmla="*/ 780711 h 2302560"/>
                <a:gd name="connsiteX95" fmla="*/ 176674 w 1745156"/>
                <a:gd name="connsiteY95" fmla="*/ 878009 h 2302560"/>
                <a:gd name="connsiteX96" fmla="*/ 166568 w 1745156"/>
                <a:gd name="connsiteY96" fmla="*/ 919017 h 2302560"/>
                <a:gd name="connsiteX97" fmla="*/ 165782 w 1745156"/>
                <a:gd name="connsiteY97" fmla="*/ 2141211 h 2302560"/>
                <a:gd name="connsiteX98" fmla="*/ 82167 w 1745156"/>
                <a:gd name="connsiteY98" fmla="*/ 2189487 h 2302560"/>
                <a:gd name="connsiteX99" fmla="*/ 82168 w 1745156"/>
                <a:gd name="connsiteY99" fmla="*/ 993211 h 2302560"/>
                <a:gd name="connsiteX100" fmla="*/ 41084 w 1745156"/>
                <a:gd name="connsiteY100" fmla="*/ 968026 h 2302560"/>
                <a:gd name="connsiteX101" fmla="*/ 1 w 1745156"/>
                <a:gd name="connsiteY101"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744312 w 1745156"/>
                <a:gd name="connsiteY85" fmla="*/ 613059 h 2302560"/>
                <a:gd name="connsiteX86" fmla="*/ 681043 w 1745156"/>
                <a:gd name="connsiteY86" fmla="*/ 586796 h 2302560"/>
                <a:gd name="connsiteX87" fmla="*/ 508600 w 1745156"/>
                <a:gd name="connsiteY87" fmla="*/ 684095 h 2302560"/>
                <a:gd name="connsiteX88" fmla="*/ 498494 w 1745156"/>
                <a:gd name="connsiteY88" fmla="*/ 725103 h 2302560"/>
                <a:gd name="connsiteX89" fmla="*/ 497708 w 1745156"/>
                <a:gd name="connsiteY89" fmla="*/ 1947297 h 2302560"/>
                <a:gd name="connsiteX90" fmla="*/ 414093 w 1745156"/>
                <a:gd name="connsiteY90" fmla="*/ 1995572 h 2302560"/>
                <a:gd name="connsiteX91" fmla="*/ 414093 w 1745156"/>
                <a:gd name="connsiteY91" fmla="*/ 1955655 h 2302560"/>
                <a:gd name="connsiteX92" fmla="*/ 417452 w 1745156"/>
                <a:gd name="connsiteY92" fmla="*/ 826816 h 2302560"/>
                <a:gd name="connsiteX93" fmla="*/ 349117 w 1745156"/>
                <a:gd name="connsiteY93" fmla="*/ 780711 h 2302560"/>
                <a:gd name="connsiteX94" fmla="*/ 176674 w 1745156"/>
                <a:gd name="connsiteY94" fmla="*/ 878009 h 2302560"/>
                <a:gd name="connsiteX95" fmla="*/ 166568 w 1745156"/>
                <a:gd name="connsiteY95" fmla="*/ 919017 h 2302560"/>
                <a:gd name="connsiteX96" fmla="*/ 165782 w 1745156"/>
                <a:gd name="connsiteY96" fmla="*/ 2141211 h 2302560"/>
                <a:gd name="connsiteX97" fmla="*/ 82167 w 1745156"/>
                <a:gd name="connsiteY97" fmla="*/ 2189487 h 2302560"/>
                <a:gd name="connsiteX98" fmla="*/ 82168 w 1745156"/>
                <a:gd name="connsiteY98" fmla="*/ 993211 h 2302560"/>
                <a:gd name="connsiteX99" fmla="*/ 41084 w 1745156"/>
                <a:gd name="connsiteY99" fmla="*/ 968026 h 2302560"/>
                <a:gd name="connsiteX100" fmla="*/ 1 w 1745156"/>
                <a:gd name="connsiteY100"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681043 w 1745156"/>
                <a:gd name="connsiteY85" fmla="*/ 586796 h 2302560"/>
                <a:gd name="connsiteX86" fmla="*/ 508600 w 1745156"/>
                <a:gd name="connsiteY86" fmla="*/ 684095 h 2302560"/>
                <a:gd name="connsiteX87" fmla="*/ 498494 w 1745156"/>
                <a:gd name="connsiteY87" fmla="*/ 725103 h 2302560"/>
                <a:gd name="connsiteX88" fmla="*/ 497708 w 1745156"/>
                <a:gd name="connsiteY88" fmla="*/ 1947297 h 2302560"/>
                <a:gd name="connsiteX89" fmla="*/ 414093 w 1745156"/>
                <a:gd name="connsiteY89" fmla="*/ 1995572 h 2302560"/>
                <a:gd name="connsiteX90" fmla="*/ 414093 w 1745156"/>
                <a:gd name="connsiteY90" fmla="*/ 1955655 h 2302560"/>
                <a:gd name="connsiteX91" fmla="*/ 417452 w 1745156"/>
                <a:gd name="connsiteY91" fmla="*/ 826816 h 2302560"/>
                <a:gd name="connsiteX92" fmla="*/ 349117 w 1745156"/>
                <a:gd name="connsiteY92" fmla="*/ 780711 h 2302560"/>
                <a:gd name="connsiteX93" fmla="*/ 176674 w 1745156"/>
                <a:gd name="connsiteY93" fmla="*/ 878009 h 2302560"/>
                <a:gd name="connsiteX94" fmla="*/ 166568 w 1745156"/>
                <a:gd name="connsiteY94" fmla="*/ 919017 h 2302560"/>
                <a:gd name="connsiteX95" fmla="*/ 165782 w 1745156"/>
                <a:gd name="connsiteY95" fmla="*/ 2141211 h 2302560"/>
                <a:gd name="connsiteX96" fmla="*/ 82167 w 1745156"/>
                <a:gd name="connsiteY96" fmla="*/ 2189487 h 2302560"/>
                <a:gd name="connsiteX97" fmla="*/ 82168 w 1745156"/>
                <a:gd name="connsiteY97" fmla="*/ 993211 h 2302560"/>
                <a:gd name="connsiteX98" fmla="*/ 41084 w 1745156"/>
                <a:gd name="connsiteY98" fmla="*/ 968026 h 2302560"/>
                <a:gd name="connsiteX99" fmla="*/ 1 w 1745156"/>
                <a:gd name="connsiteY9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681043 w 1745156"/>
                <a:gd name="connsiteY84" fmla="*/ 586796 h 2302560"/>
                <a:gd name="connsiteX85" fmla="*/ 508600 w 1745156"/>
                <a:gd name="connsiteY85" fmla="*/ 684095 h 2302560"/>
                <a:gd name="connsiteX86" fmla="*/ 498494 w 1745156"/>
                <a:gd name="connsiteY86" fmla="*/ 725103 h 2302560"/>
                <a:gd name="connsiteX87" fmla="*/ 497708 w 1745156"/>
                <a:gd name="connsiteY87" fmla="*/ 1947297 h 2302560"/>
                <a:gd name="connsiteX88" fmla="*/ 414093 w 1745156"/>
                <a:gd name="connsiteY88" fmla="*/ 1995572 h 2302560"/>
                <a:gd name="connsiteX89" fmla="*/ 414093 w 1745156"/>
                <a:gd name="connsiteY89" fmla="*/ 1955655 h 2302560"/>
                <a:gd name="connsiteX90" fmla="*/ 417452 w 1745156"/>
                <a:gd name="connsiteY90" fmla="*/ 826816 h 2302560"/>
                <a:gd name="connsiteX91" fmla="*/ 349117 w 1745156"/>
                <a:gd name="connsiteY91" fmla="*/ 780711 h 2302560"/>
                <a:gd name="connsiteX92" fmla="*/ 176674 w 1745156"/>
                <a:gd name="connsiteY92" fmla="*/ 878009 h 2302560"/>
                <a:gd name="connsiteX93" fmla="*/ 166568 w 1745156"/>
                <a:gd name="connsiteY93" fmla="*/ 919017 h 2302560"/>
                <a:gd name="connsiteX94" fmla="*/ 165782 w 1745156"/>
                <a:gd name="connsiteY94" fmla="*/ 2141211 h 2302560"/>
                <a:gd name="connsiteX95" fmla="*/ 82167 w 1745156"/>
                <a:gd name="connsiteY95" fmla="*/ 2189487 h 2302560"/>
                <a:gd name="connsiteX96" fmla="*/ 82168 w 1745156"/>
                <a:gd name="connsiteY96" fmla="*/ 993211 h 2302560"/>
                <a:gd name="connsiteX97" fmla="*/ 41084 w 1745156"/>
                <a:gd name="connsiteY97" fmla="*/ 968026 h 2302560"/>
                <a:gd name="connsiteX98" fmla="*/ 1 w 1745156"/>
                <a:gd name="connsiteY98"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681043 w 1745156"/>
                <a:gd name="connsiteY83" fmla="*/ 586796 h 2302560"/>
                <a:gd name="connsiteX84" fmla="*/ 508600 w 1745156"/>
                <a:gd name="connsiteY84" fmla="*/ 684095 h 2302560"/>
                <a:gd name="connsiteX85" fmla="*/ 498494 w 1745156"/>
                <a:gd name="connsiteY85" fmla="*/ 725103 h 2302560"/>
                <a:gd name="connsiteX86" fmla="*/ 497708 w 1745156"/>
                <a:gd name="connsiteY86" fmla="*/ 1947297 h 2302560"/>
                <a:gd name="connsiteX87" fmla="*/ 414093 w 1745156"/>
                <a:gd name="connsiteY87" fmla="*/ 1995572 h 2302560"/>
                <a:gd name="connsiteX88" fmla="*/ 414093 w 1745156"/>
                <a:gd name="connsiteY88" fmla="*/ 1955655 h 2302560"/>
                <a:gd name="connsiteX89" fmla="*/ 417452 w 1745156"/>
                <a:gd name="connsiteY89" fmla="*/ 826816 h 2302560"/>
                <a:gd name="connsiteX90" fmla="*/ 349117 w 1745156"/>
                <a:gd name="connsiteY90" fmla="*/ 780711 h 2302560"/>
                <a:gd name="connsiteX91" fmla="*/ 176674 w 1745156"/>
                <a:gd name="connsiteY91" fmla="*/ 878009 h 2302560"/>
                <a:gd name="connsiteX92" fmla="*/ 166568 w 1745156"/>
                <a:gd name="connsiteY92" fmla="*/ 919017 h 2302560"/>
                <a:gd name="connsiteX93" fmla="*/ 165782 w 1745156"/>
                <a:gd name="connsiteY93" fmla="*/ 2141211 h 2302560"/>
                <a:gd name="connsiteX94" fmla="*/ 82167 w 1745156"/>
                <a:gd name="connsiteY94" fmla="*/ 2189487 h 2302560"/>
                <a:gd name="connsiteX95" fmla="*/ 82168 w 1745156"/>
                <a:gd name="connsiteY95" fmla="*/ 993211 h 2302560"/>
                <a:gd name="connsiteX96" fmla="*/ 41084 w 1745156"/>
                <a:gd name="connsiteY96" fmla="*/ 968026 h 2302560"/>
                <a:gd name="connsiteX97" fmla="*/ 1 w 1745156"/>
                <a:gd name="connsiteY97"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12968 w 1745156"/>
                <a:gd name="connsiteY75" fmla="*/ 392883 h 2302560"/>
                <a:gd name="connsiteX76" fmla="*/ 840525 w 1745156"/>
                <a:gd name="connsiteY76" fmla="*/ 490182 h 2302560"/>
                <a:gd name="connsiteX77" fmla="*/ 830419 w 1745156"/>
                <a:gd name="connsiteY77" fmla="*/ 531190 h 2302560"/>
                <a:gd name="connsiteX78" fmla="*/ 829633 w 1745156"/>
                <a:gd name="connsiteY78" fmla="*/ 1753384 h 2302560"/>
                <a:gd name="connsiteX79" fmla="*/ 746018 w 1745156"/>
                <a:gd name="connsiteY79" fmla="*/ 1801659 h 2302560"/>
                <a:gd name="connsiteX80" fmla="*/ 746018 w 1745156"/>
                <a:gd name="connsiteY80" fmla="*/ 1762076 h 2302560"/>
                <a:gd name="connsiteX81" fmla="*/ 749378 w 1745156"/>
                <a:gd name="connsiteY81" fmla="*/ 632901 h 2302560"/>
                <a:gd name="connsiteX82" fmla="*/ 681043 w 1745156"/>
                <a:gd name="connsiteY82" fmla="*/ 586796 h 2302560"/>
                <a:gd name="connsiteX83" fmla="*/ 508600 w 1745156"/>
                <a:gd name="connsiteY83" fmla="*/ 684095 h 2302560"/>
                <a:gd name="connsiteX84" fmla="*/ 498494 w 1745156"/>
                <a:gd name="connsiteY84" fmla="*/ 725103 h 2302560"/>
                <a:gd name="connsiteX85" fmla="*/ 497708 w 1745156"/>
                <a:gd name="connsiteY85" fmla="*/ 1947297 h 2302560"/>
                <a:gd name="connsiteX86" fmla="*/ 414093 w 1745156"/>
                <a:gd name="connsiteY86" fmla="*/ 1995572 h 2302560"/>
                <a:gd name="connsiteX87" fmla="*/ 414093 w 1745156"/>
                <a:gd name="connsiteY87" fmla="*/ 1955655 h 2302560"/>
                <a:gd name="connsiteX88" fmla="*/ 417452 w 1745156"/>
                <a:gd name="connsiteY88" fmla="*/ 826816 h 2302560"/>
                <a:gd name="connsiteX89" fmla="*/ 349117 w 1745156"/>
                <a:gd name="connsiteY89" fmla="*/ 780711 h 2302560"/>
                <a:gd name="connsiteX90" fmla="*/ 176674 w 1745156"/>
                <a:gd name="connsiteY90" fmla="*/ 878009 h 2302560"/>
                <a:gd name="connsiteX91" fmla="*/ 166568 w 1745156"/>
                <a:gd name="connsiteY91" fmla="*/ 919017 h 2302560"/>
                <a:gd name="connsiteX92" fmla="*/ 165782 w 1745156"/>
                <a:gd name="connsiteY92" fmla="*/ 2141211 h 2302560"/>
                <a:gd name="connsiteX93" fmla="*/ 82167 w 1745156"/>
                <a:gd name="connsiteY93" fmla="*/ 2189487 h 2302560"/>
                <a:gd name="connsiteX94" fmla="*/ 82168 w 1745156"/>
                <a:gd name="connsiteY94" fmla="*/ 993211 h 2302560"/>
                <a:gd name="connsiteX95" fmla="*/ 41084 w 1745156"/>
                <a:gd name="connsiteY95" fmla="*/ 968026 h 2302560"/>
                <a:gd name="connsiteX96" fmla="*/ 1 w 1745156"/>
                <a:gd name="connsiteY96"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12968 w 1745156"/>
                <a:gd name="connsiteY74" fmla="*/ 392883 h 2302560"/>
                <a:gd name="connsiteX75" fmla="*/ 840525 w 1745156"/>
                <a:gd name="connsiteY75" fmla="*/ 490182 h 2302560"/>
                <a:gd name="connsiteX76" fmla="*/ 830419 w 1745156"/>
                <a:gd name="connsiteY76" fmla="*/ 531190 h 2302560"/>
                <a:gd name="connsiteX77" fmla="*/ 829633 w 1745156"/>
                <a:gd name="connsiteY77" fmla="*/ 1753384 h 2302560"/>
                <a:gd name="connsiteX78" fmla="*/ 746018 w 1745156"/>
                <a:gd name="connsiteY78" fmla="*/ 1801659 h 2302560"/>
                <a:gd name="connsiteX79" fmla="*/ 746018 w 1745156"/>
                <a:gd name="connsiteY79" fmla="*/ 1762076 h 2302560"/>
                <a:gd name="connsiteX80" fmla="*/ 749378 w 1745156"/>
                <a:gd name="connsiteY80" fmla="*/ 632901 h 2302560"/>
                <a:gd name="connsiteX81" fmla="*/ 681043 w 1745156"/>
                <a:gd name="connsiteY81" fmla="*/ 586796 h 2302560"/>
                <a:gd name="connsiteX82" fmla="*/ 508600 w 1745156"/>
                <a:gd name="connsiteY82" fmla="*/ 684095 h 2302560"/>
                <a:gd name="connsiteX83" fmla="*/ 498494 w 1745156"/>
                <a:gd name="connsiteY83" fmla="*/ 725103 h 2302560"/>
                <a:gd name="connsiteX84" fmla="*/ 497708 w 1745156"/>
                <a:gd name="connsiteY84" fmla="*/ 1947297 h 2302560"/>
                <a:gd name="connsiteX85" fmla="*/ 414093 w 1745156"/>
                <a:gd name="connsiteY85" fmla="*/ 1995572 h 2302560"/>
                <a:gd name="connsiteX86" fmla="*/ 414093 w 1745156"/>
                <a:gd name="connsiteY86" fmla="*/ 1955655 h 2302560"/>
                <a:gd name="connsiteX87" fmla="*/ 417452 w 1745156"/>
                <a:gd name="connsiteY87" fmla="*/ 826816 h 2302560"/>
                <a:gd name="connsiteX88" fmla="*/ 349117 w 1745156"/>
                <a:gd name="connsiteY88" fmla="*/ 780711 h 2302560"/>
                <a:gd name="connsiteX89" fmla="*/ 176674 w 1745156"/>
                <a:gd name="connsiteY89" fmla="*/ 878009 h 2302560"/>
                <a:gd name="connsiteX90" fmla="*/ 166568 w 1745156"/>
                <a:gd name="connsiteY90" fmla="*/ 919017 h 2302560"/>
                <a:gd name="connsiteX91" fmla="*/ 165782 w 1745156"/>
                <a:gd name="connsiteY91" fmla="*/ 2141211 h 2302560"/>
                <a:gd name="connsiteX92" fmla="*/ 82167 w 1745156"/>
                <a:gd name="connsiteY92" fmla="*/ 2189487 h 2302560"/>
                <a:gd name="connsiteX93" fmla="*/ 82168 w 1745156"/>
                <a:gd name="connsiteY93" fmla="*/ 993211 h 2302560"/>
                <a:gd name="connsiteX94" fmla="*/ 41084 w 1745156"/>
                <a:gd name="connsiteY94" fmla="*/ 968026 h 2302560"/>
                <a:gd name="connsiteX95" fmla="*/ 1 w 1745156"/>
                <a:gd name="connsiteY95"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12968 w 1745156"/>
                <a:gd name="connsiteY73" fmla="*/ 392883 h 2302560"/>
                <a:gd name="connsiteX74" fmla="*/ 840525 w 1745156"/>
                <a:gd name="connsiteY74" fmla="*/ 490182 h 2302560"/>
                <a:gd name="connsiteX75" fmla="*/ 830419 w 1745156"/>
                <a:gd name="connsiteY75" fmla="*/ 531190 h 2302560"/>
                <a:gd name="connsiteX76" fmla="*/ 829633 w 1745156"/>
                <a:gd name="connsiteY76" fmla="*/ 1753384 h 2302560"/>
                <a:gd name="connsiteX77" fmla="*/ 746018 w 1745156"/>
                <a:gd name="connsiteY77" fmla="*/ 1801659 h 2302560"/>
                <a:gd name="connsiteX78" fmla="*/ 746018 w 1745156"/>
                <a:gd name="connsiteY78" fmla="*/ 1762076 h 2302560"/>
                <a:gd name="connsiteX79" fmla="*/ 749378 w 1745156"/>
                <a:gd name="connsiteY79" fmla="*/ 632901 h 2302560"/>
                <a:gd name="connsiteX80" fmla="*/ 681043 w 1745156"/>
                <a:gd name="connsiteY80" fmla="*/ 586796 h 2302560"/>
                <a:gd name="connsiteX81" fmla="*/ 508600 w 1745156"/>
                <a:gd name="connsiteY81" fmla="*/ 684095 h 2302560"/>
                <a:gd name="connsiteX82" fmla="*/ 498494 w 1745156"/>
                <a:gd name="connsiteY82" fmla="*/ 725103 h 2302560"/>
                <a:gd name="connsiteX83" fmla="*/ 497708 w 1745156"/>
                <a:gd name="connsiteY83" fmla="*/ 1947297 h 2302560"/>
                <a:gd name="connsiteX84" fmla="*/ 414093 w 1745156"/>
                <a:gd name="connsiteY84" fmla="*/ 1995572 h 2302560"/>
                <a:gd name="connsiteX85" fmla="*/ 414093 w 1745156"/>
                <a:gd name="connsiteY85" fmla="*/ 1955655 h 2302560"/>
                <a:gd name="connsiteX86" fmla="*/ 417452 w 1745156"/>
                <a:gd name="connsiteY86" fmla="*/ 826816 h 2302560"/>
                <a:gd name="connsiteX87" fmla="*/ 349117 w 1745156"/>
                <a:gd name="connsiteY87" fmla="*/ 780711 h 2302560"/>
                <a:gd name="connsiteX88" fmla="*/ 176674 w 1745156"/>
                <a:gd name="connsiteY88" fmla="*/ 878009 h 2302560"/>
                <a:gd name="connsiteX89" fmla="*/ 166568 w 1745156"/>
                <a:gd name="connsiteY89" fmla="*/ 919017 h 2302560"/>
                <a:gd name="connsiteX90" fmla="*/ 165782 w 1745156"/>
                <a:gd name="connsiteY90" fmla="*/ 2141211 h 2302560"/>
                <a:gd name="connsiteX91" fmla="*/ 82167 w 1745156"/>
                <a:gd name="connsiteY91" fmla="*/ 2189487 h 2302560"/>
                <a:gd name="connsiteX92" fmla="*/ 82168 w 1745156"/>
                <a:gd name="connsiteY92" fmla="*/ 993211 h 2302560"/>
                <a:gd name="connsiteX93" fmla="*/ 41084 w 1745156"/>
                <a:gd name="connsiteY93" fmla="*/ 968026 h 2302560"/>
                <a:gd name="connsiteX94" fmla="*/ 1 w 1745156"/>
                <a:gd name="connsiteY94"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12968 w 1745156"/>
                <a:gd name="connsiteY72" fmla="*/ 392883 h 2302560"/>
                <a:gd name="connsiteX73" fmla="*/ 840525 w 1745156"/>
                <a:gd name="connsiteY73" fmla="*/ 490182 h 2302560"/>
                <a:gd name="connsiteX74" fmla="*/ 830419 w 1745156"/>
                <a:gd name="connsiteY74" fmla="*/ 531190 h 2302560"/>
                <a:gd name="connsiteX75" fmla="*/ 829633 w 1745156"/>
                <a:gd name="connsiteY75" fmla="*/ 1753384 h 2302560"/>
                <a:gd name="connsiteX76" fmla="*/ 746018 w 1745156"/>
                <a:gd name="connsiteY76" fmla="*/ 1801659 h 2302560"/>
                <a:gd name="connsiteX77" fmla="*/ 746018 w 1745156"/>
                <a:gd name="connsiteY77" fmla="*/ 1762076 h 2302560"/>
                <a:gd name="connsiteX78" fmla="*/ 749378 w 1745156"/>
                <a:gd name="connsiteY78" fmla="*/ 632901 h 2302560"/>
                <a:gd name="connsiteX79" fmla="*/ 681043 w 1745156"/>
                <a:gd name="connsiteY79" fmla="*/ 586796 h 2302560"/>
                <a:gd name="connsiteX80" fmla="*/ 508600 w 1745156"/>
                <a:gd name="connsiteY80" fmla="*/ 684095 h 2302560"/>
                <a:gd name="connsiteX81" fmla="*/ 498494 w 1745156"/>
                <a:gd name="connsiteY81" fmla="*/ 725103 h 2302560"/>
                <a:gd name="connsiteX82" fmla="*/ 497708 w 1745156"/>
                <a:gd name="connsiteY82" fmla="*/ 1947297 h 2302560"/>
                <a:gd name="connsiteX83" fmla="*/ 414093 w 1745156"/>
                <a:gd name="connsiteY83" fmla="*/ 1995572 h 2302560"/>
                <a:gd name="connsiteX84" fmla="*/ 414093 w 1745156"/>
                <a:gd name="connsiteY84" fmla="*/ 1955655 h 2302560"/>
                <a:gd name="connsiteX85" fmla="*/ 417452 w 1745156"/>
                <a:gd name="connsiteY85" fmla="*/ 826816 h 2302560"/>
                <a:gd name="connsiteX86" fmla="*/ 349117 w 1745156"/>
                <a:gd name="connsiteY86" fmla="*/ 780711 h 2302560"/>
                <a:gd name="connsiteX87" fmla="*/ 176674 w 1745156"/>
                <a:gd name="connsiteY87" fmla="*/ 878009 h 2302560"/>
                <a:gd name="connsiteX88" fmla="*/ 166568 w 1745156"/>
                <a:gd name="connsiteY88" fmla="*/ 919017 h 2302560"/>
                <a:gd name="connsiteX89" fmla="*/ 165782 w 1745156"/>
                <a:gd name="connsiteY89" fmla="*/ 2141211 h 2302560"/>
                <a:gd name="connsiteX90" fmla="*/ 82167 w 1745156"/>
                <a:gd name="connsiteY90" fmla="*/ 2189487 h 2302560"/>
                <a:gd name="connsiteX91" fmla="*/ 82168 w 1745156"/>
                <a:gd name="connsiteY91" fmla="*/ 993211 h 2302560"/>
                <a:gd name="connsiteX92" fmla="*/ 41084 w 1745156"/>
                <a:gd name="connsiteY92" fmla="*/ 968026 h 2302560"/>
                <a:gd name="connsiteX93" fmla="*/ 1 w 1745156"/>
                <a:gd name="connsiteY93"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344893 w 1745156"/>
                <a:gd name="connsiteY64" fmla="*/ 198971 h 2302560"/>
                <a:gd name="connsiteX65" fmla="*/ 1172450 w 1745156"/>
                <a:gd name="connsiteY65" fmla="*/ 296269 h 2302560"/>
                <a:gd name="connsiteX66" fmla="*/ 1162344 w 1745156"/>
                <a:gd name="connsiteY66" fmla="*/ 337277 h 2302560"/>
                <a:gd name="connsiteX67" fmla="*/ 1161558 w 1745156"/>
                <a:gd name="connsiteY67" fmla="*/ 1559471 h 2302560"/>
                <a:gd name="connsiteX68" fmla="*/ 1077943 w 1745156"/>
                <a:gd name="connsiteY68" fmla="*/ 1607746 h 2302560"/>
                <a:gd name="connsiteX69" fmla="*/ 1077943 w 1745156"/>
                <a:gd name="connsiteY69" fmla="*/ 1568157 h 2302560"/>
                <a:gd name="connsiteX70" fmla="*/ 1081303 w 1745156"/>
                <a:gd name="connsiteY70" fmla="*/ 438988 h 2302560"/>
                <a:gd name="connsiteX71" fmla="*/ 1012968 w 1745156"/>
                <a:gd name="connsiteY71" fmla="*/ 392883 h 2302560"/>
                <a:gd name="connsiteX72" fmla="*/ 840525 w 1745156"/>
                <a:gd name="connsiteY72" fmla="*/ 490182 h 2302560"/>
                <a:gd name="connsiteX73" fmla="*/ 830419 w 1745156"/>
                <a:gd name="connsiteY73" fmla="*/ 531190 h 2302560"/>
                <a:gd name="connsiteX74" fmla="*/ 829633 w 1745156"/>
                <a:gd name="connsiteY74" fmla="*/ 1753384 h 2302560"/>
                <a:gd name="connsiteX75" fmla="*/ 746018 w 1745156"/>
                <a:gd name="connsiteY75" fmla="*/ 1801659 h 2302560"/>
                <a:gd name="connsiteX76" fmla="*/ 746018 w 1745156"/>
                <a:gd name="connsiteY76" fmla="*/ 1762076 h 2302560"/>
                <a:gd name="connsiteX77" fmla="*/ 749378 w 1745156"/>
                <a:gd name="connsiteY77" fmla="*/ 632901 h 2302560"/>
                <a:gd name="connsiteX78" fmla="*/ 681043 w 1745156"/>
                <a:gd name="connsiteY78" fmla="*/ 586796 h 2302560"/>
                <a:gd name="connsiteX79" fmla="*/ 508600 w 1745156"/>
                <a:gd name="connsiteY79" fmla="*/ 684095 h 2302560"/>
                <a:gd name="connsiteX80" fmla="*/ 498494 w 1745156"/>
                <a:gd name="connsiteY80" fmla="*/ 725103 h 2302560"/>
                <a:gd name="connsiteX81" fmla="*/ 497708 w 1745156"/>
                <a:gd name="connsiteY81" fmla="*/ 1947297 h 2302560"/>
                <a:gd name="connsiteX82" fmla="*/ 414093 w 1745156"/>
                <a:gd name="connsiteY82" fmla="*/ 1995572 h 2302560"/>
                <a:gd name="connsiteX83" fmla="*/ 414093 w 1745156"/>
                <a:gd name="connsiteY83" fmla="*/ 1955655 h 2302560"/>
                <a:gd name="connsiteX84" fmla="*/ 417452 w 1745156"/>
                <a:gd name="connsiteY84" fmla="*/ 826816 h 2302560"/>
                <a:gd name="connsiteX85" fmla="*/ 349117 w 1745156"/>
                <a:gd name="connsiteY85" fmla="*/ 780711 h 2302560"/>
                <a:gd name="connsiteX86" fmla="*/ 176674 w 1745156"/>
                <a:gd name="connsiteY86" fmla="*/ 878009 h 2302560"/>
                <a:gd name="connsiteX87" fmla="*/ 166568 w 1745156"/>
                <a:gd name="connsiteY87" fmla="*/ 919017 h 2302560"/>
                <a:gd name="connsiteX88" fmla="*/ 165782 w 1745156"/>
                <a:gd name="connsiteY88" fmla="*/ 2141211 h 2302560"/>
                <a:gd name="connsiteX89" fmla="*/ 82167 w 1745156"/>
                <a:gd name="connsiteY89" fmla="*/ 2189487 h 2302560"/>
                <a:gd name="connsiteX90" fmla="*/ 82168 w 1745156"/>
                <a:gd name="connsiteY90" fmla="*/ 993211 h 2302560"/>
                <a:gd name="connsiteX91" fmla="*/ 41084 w 1745156"/>
                <a:gd name="connsiteY91" fmla="*/ 968026 h 2302560"/>
                <a:gd name="connsiteX92" fmla="*/ 1 w 1745156"/>
                <a:gd name="connsiteY92"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344893 w 1745156"/>
                <a:gd name="connsiteY63" fmla="*/ 198971 h 2302560"/>
                <a:gd name="connsiteX64" fmla="*/ 1172450 w 1745156"/>
                <a:gd name="connsiteY64" fmla="*/ 296269 h 2302560"/>
                <a:gd name="connsiteX65" fmla="*/ 1162344 w 1745156"/>
                <a:gd name="connsiteY65" fmla="*/ 337277 h 2302560"/>
                <a:gd name="connsiteX66" fmla="*/ 1161558 w 1745156"/>
                <a:gd name="connsiteY66" fmla="*/ 1559471 h 2302560"/>
                <a:gd name="connsiteX67" fmla="*/ 1077943 w 1745156"/>
                <a:gd name="connsiteY67" fmla="*/ 1607746 h 2302560"/>
                <a:gd name="connsiteX68" fmla="*/ 1077943 w 1745156"/>
                <a:gd name="connsiteY68" fmla="*/ 1568157 h 2302560"/>
                <a:gd name="connsiteX69" fmla="*/ 1081303 w 1745156"/>
                <a:gd name="connsiteY69" fmla="*/ 438988 h 2302560"/>
                <a:gd name="connsiteX70" fmla="*/ 1012968 w 1745156"/>
                <a:gd name="connsiteY70" fmla="*/ 392883 h 2302560"/>
                <a:gd name="connsiteX71" fmla="*/ 840525 w 1745156"/>
                <a:gd name="connsiteY71" fmla="*/ 490182 h 2302560"/>
                <a:gd name="connsiteX72" fmla="*/ 830419 w 1745156"/>
                <a:gd name="connsiteY72" fmla="*/ 531190 h 2302560"/>
                <a:gd name="connsiteX73" fmla="*/ 829633 w 1745156"/>
                <a:gd name="connsiteY73" fmla="*/ 1753384 h 2302560"/>
                <a:gd name="connsiteX74" fmla="*/ 746018 w 1745156"/>
                <a:gd name="connsiteY74" fmla="*/ 1801659 h 2302560"/>
                <a:gd name="connsiteX75" fmla="*/ 746018 w 1745156"/>
                <a:gd name="connsiteY75" fmla="*/ 1762076 h 2302560"/>
                <a:gd name="connsiteX76" fmla="*/ 749378 w 1745156"/>
                <a:gd name="connsiteY76" fmla="*/ 632901 h 2302560"/>
                <a:gd name="connsiteX77" fmla="*/ 681043 w 1745156"/>
                <a:gd name="connsiteY77" fmla="*/ 586796 h 2302560"/>
                <a:gd name="connsiteX78" fmla="*/ 508600 w 1745156"/>
                <a:gd name="connsiteY78" fmla="*/ 684095 h 2302560"/>
                <a:gd name="connsiteX79" fmla="*/ 498494 w 1745156"/>
                <a:gd name="connsiteY79" fmla="*/ 725103 h 2302560"/>
                <a:gd name="connsiteX80" fmla="*/ 497708 w 1745156"/>
                <a:gd name="connsiteY80" fmla="*/ 1947297 h 2302560"/>
                <a:gd name="connsiteX81" fmla="*/ 414093 w 1745156"/>
                <a:gd name="connsiteY81" fmla="*/ 1995572 h 2302560"/>
                <a:gd name="connsiteX82" fmla="*/ 414093 w 1745156"/>
                <a:gd name="connsiteY82" fmla="*/ 1955655 h 2302560"/>
                <a:gd name="connsiteX83" fmla="*/ 417452 w 1745156"/>
                <a:gd name="connsiteY83" fmla="*/ 826816 h 2302560"/>
                <a:gd name="connsiteX84" fmla="*/ 349117 w 1745156"/>
                <a:gd name="connsiteY84" fmla="*/ 780711 h 2302560"/>
                <a:gd name="connsiteX85" fmla="*/ 176674 w 1745156"/>
                <a:gd name="connsiteY85" fmla="*/ 878009 h 2302560"/>
                <a:gd name="connsiteX86" fmla="*/ 166568 w 1745156"/>
                <a:gd name="connsiteY86" fmla="*/ 919017 h 2302560"/>
                <a:gd name="connsiteX87" fmla="*/ 165782 w 1745156"/>
                <a:gd name="connsiteY87" fmla="*/ 2141211 h 2302560"/>
                <a:gd name="connsiteX88" fmla="*/ 82167 w 1745156"/>
                <a:gd name="connsiteY88" fmla="*/ 2189487 h 2302560"/>
                <a:gd name="connsiteX89" fmla="*/ 82168 w 1745156"/>
                <a:gd name="connsiteY89" fmla="*/ 993211 h 2302560"/>
                <a:gd name="connsiteX90" fmla="*/ 41084 w 1745156"/>
                <a:gd name="connsiteY90" fmla="*/ 968026 h 2302560"/>
                <a:gd name="connsiteX91" fmla="*/ 1 w 1745156"/>
                <a:gd name="connsiteY91"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344893 w 1745156"/>
                <a:gd name="connsiteY62" fmla="*/ 198971 h 2302560"/>
                <a:gd name="connsiteX63" fmla="*/ 1172450 w 1745156"/>
                <a:gd name="connsiteY63" fmla="*/ 296269 h 2302560"/>
                <a:gd name="connsiteX64" fmla="*/ 1162344 w 1745156"/>
                <a:gd name="connsiteY64" fmla="*/ 337277 h 2302560"/>
                <a:gd name="connsiteX65" fmla="*/ 1161558 w 1745156"/>
                <a:gd name="connsiteY65" fmla="*/ 1559471 h 2302560"/>
                <a:gd name="connsiteX66" fmla="*/ 1077943 w 1745156"/>
                <a:gd name="connsiteY66" fmla="*/ 1607746 h 2302560"/>
                <a:gd name="connsiteX67" fmla="*/ 1077943 w 1745156"/>
                <a:gd name="connsiteY67" fmla="*/ 1568157 h 2302560"/>
                <a:gd name="connsiteX68" fmla="*/ 1081303 w 1745156"/>
                <a:gd name="connsiteY68" fmla="*/ 438988 h 2302560"/>
                <a:gd name="connsiteX69" fmla="*/ 1012968 w 1745156"/>
                <a:gd name="connsiteY69" fmla="*/ 392883 h 2302560"/>
                <a:gd name="connsiteX70" fmla="*/ 840525 w 1745156"/>
                <a:gd name="connsiteY70" fmla="*/ 490182 h 2302560"/>
                <a:gd name="connsiteX71" fmla="*/ 830419 w 1745156"/>
                <a:gd name="connsiteY71" fmla="*/ 531190 h 2302560"/>
                <a:gd name="connsiteX72" fmla="*/ 829633 w 1745156"/>
                <a:gd name="connsiteY72" fmla="*/ 1753384 h 2302560"/>
                <a:gd name="connsiteX73" fmla="*/ 746018 w 1745156"/>
                <a:gd name="connsiteY73" fmla="*/ 1801659 h 2302560"/>
                <a:gd name="connsiteX74" fmla="*/ 746018 w 1745156"/>
                <a:gd name="connsiteY74" fmla="*/ 1762076 h 2302560"/>
                <a:gd name="connsiteX75" fmla="*/ 749378 w 1745156"/>
                <a:gd name="connsiteY75" fmla="*/ 632901 h 2302560"/>
                <a:gd name="connsiteX76" fmla="*/ 681043 w 1745156"/>
                <a:gd name="connsiteY76" fmla="*/ 586796 h 2302560"/>
                <a:gd name="connsiteX77" fmla="*/ 508600 w 1745156"/>
                <a:gd name="connsiteY77" fmla="*/ 684095 h 2302560"/>
                <a:gd name="connsiteX78" fmla="*/ 498494 w 1745156"/>
                <a:gd name="connsiteY78" fmla="*/ 725103 h 2302560"/>
                <a:gd name="connsiteX79" fmla="*/ 497708 w 1745156"/>
                <a:gd name="connsiteY79" fmla="*/ 1947297 h 2302560"/>
                <a:gd name="connsiteX80" fmla="*/ 414093 w 1745156"/>
                <a:gd name="connsiteY80" fmla="*/ 1995572 h 2302560"/>
                <a:gd name="connsiteX81" fmla="*/ 414093 w 1745156"/>
                <a:gd name="connsiteY81" fmla="*/ 1955655 h 2302560"/>
                <a:gd name="connsiteX82" fmla="*/ 417452 w 1745156"/>
                <a:gd name="connsiteY82" fmla="*/ 826816 h 2302560"/>
                <a:gd name="connsiteX83" fmla="*/ 349117 w 1745156"/>
                <a:gd name="connsiteY83" fmla="*/ 780711 h 2302560"/>
                <a:gd name="connsiteX84" fmla="*/ 176674 w 1745156"/>
                <a:gd name="connsiteY84" fmla="*/ 878009 h 2302560"/>
                <a:gd name="connsiteX85" fmla="*/ 166568 w 1745156"/>
                <a:gd name="connsiteY85" fmla="*/ 919017 h 2302560"/>
                <a:gd name="connsiteX86" fmla="*/ 165782 w 1745156"/>
                <a:gd name="connsiteY86" fmla="*/ 2141211 h 2302560"/>
                <a:gd name="connsiteX87" fmla="*/ 82167 w 1745156"/>
                <a:gd name="connsiteY87" fmla="*/ 2189487 h 2302560"/>
                <a:gd name="connsiteX88" fmla="*/ 82168 w 1745156"/>
                <a:gd name="connsiteY88" fmla="*/ 993211 h 2302560"/>
                <a:gd name="connsiteX89" fmla="*/ 41084 w 1745156"/>
                <a:gd name="connsiteY89" fmla="*/ 968026 h 2302560"/>
                <a:gd name="connsiteX90" fmla="*/ 1 w 1745156"/>
                <a:gd name="connsiteY90"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41560 w 1745632"/>
                <a:gd name="connsiteY0" fmla="*/ 968026 h 2302560"/>
                <a:gd name="connsiteX1" fmla="*/ 476 w 1745632"/>
                <a:gd name="connsiteY1" fmla="*/ 2270622 h 2302560"/>
                <a:gd name="connsiteX2" fmla="*/ 70088 w 1745632"/>
                <a:gd name="connsiteY2" fmla="*/ 2291612 h 2302560"/>
                <a:gd name="connsiteX3" fmla="*/ 239039 w 1745632"/>
                <a:gd name="connsiteY3" fmla="*/ 2194068 h 2302560"/>
                <a:gd name="connsiteX4" fmla="*/ 248445 w 1745632"/>
                <a:gd name="connsiteY4" fmla="*/ 2174744 h 2302560"/>
                <a:gd name="connsiteX5" fmla="*/ 248286 w 1745632"/>
                <a:gd name="connsiteY5" fmla="*/ 2174180 h 2302560"/>
                <a:gd name="connsiteX6" fmla="*/ 248424 w 1745632"/>
                <a:gd name="connsiteY6" fmla="*/ 2173977 h 2302560"/>
                <a:gd name="connsiteX7" fmla="*/ 248424 w 1745632"/>
                <a:gd name="connsiteY7" fmla="*/ 931735 h 2302560"/>
                <a:gd name="connsiteX8" fmla="*/ 332042 w 1745632"/>
                <a:gd name="connsiteY8" fmla="*/ 883459 h 2302560"/>
                <a:gd name="connsiteX9" fmla="*/ 332041 w 1745632"/>
                <a:gd name="connsiteY9" fmla="*/ 2077333 h 2302560"/>
                <a:gd name="connsiteX10" fmla="*/ 334469 w 1745632"/>
                <a:gd name="connsiteY10" fmla="*/ 2080925 h 2302560"/>
                <a:gd name="connsiteX11" fmla="*/ 339541 w 1745632"/>
                <a:gd name="connsiteY11" fmla="*/ 2091279 h 2302560"/>
                <a:gd name="connsiteX12" fmla="*/ 402014 w 1745632"/>
                <a:gd name="connsiteY12" fmla="*/ 2097698 h 2302560"/>
                <a:gd name="connsiteX13" fmla="*/ 570965 w 1745632"/>
                <a:gd name="connsiteY13" fmla="*/ 2000154 h 2302560"/>
                <a:gd name="connsiteX14" fmla="*/ 580371 w 1745632"/>
                <a:gd name="connsiteY14" fmla="*/ 1980830 h 2302560"/>
                <a:gd name="connsiteX15" fmla="*/ 580212 w 1745632"/>
                <a:gd name="connsiteY15" fmla="*/ 1980266 h 2302560"/>
                <a:gd name="connsiteX16" fmla="*/ 580350 w 1745632"/>
                <a:gd name="connsiteY16" fmla="*/ 1980063 h 2302560"/>
                <a:gd name="connsiteX17" fmla="*/ 580350 w 1745632"/>
                <a:gd name="connsiteY17" fmla="*/ 737821 h 2302560"/>
                <a:gd name="connsiteX18" fmla="*/ 663967 w 1745632"/>
                <a:gd name="connsiteY18" fmla="*/ 689544 h 2302560"/>
                <a:gd name="connsiteX19" fmla="*/ 663967 w 1745632"/>
                <a:gd name="connsiteY19" fmla="*/ 1883418 h 2302560"/>
                <a:gd name="connsiteX20" fmla="*/ 666388 w 1745632"/>
                <a:gd name="connsiteY20" fmla="*/ 1887000 h 2302560"/>
                <a:gd name="connsiteX21" fmla="*/ 671466 w 1745632"/>
                <a:gd name="connsiteY21" fmla="*/ 1897366 h 2302560"/>
                <a:gd name="connsiteX22" fmla="*/ 733939 w 1745632"/>
                <a:gd name="connsiteY22" fmla="*/ 1903785 h 2302560"/>
                <a:gd name="connsiteX23" fmla="*/ 902890 w 1745632"/>
                <a:gd name="connsiteY23" fmla="*/ 1806241 h 2302560"/>
                <a:gd name="connsiteX24" fmla="*/ 912296 w 1745632"/>
                <a:gd name="connsiteY24" fmla="*/ 1786917 h 2302560"/>
                <a:gd name="connsiteX25" fmla="*/ 912137 w 1745632"/>
                <a:gd name="connsiteY25" fmla="*/ 1786353 h 2302560"/>
                <a:gd name="connsiteX26" fmla="*/ 912275 w 1745632"/>
                <a:gd name="connsiteY26" fmla="*/ 1786150 h 2302560"/>
                <a:gd name="connsiteX27" fmla="*/ 912275 w 1745632"/>
                <a:gd name="connsiteY27" fmla="*/ 543908 h 2302560"/>
                <a:gd name="connsiteX28" fmla="*/ 995892 w 1745632"/>
                <a:gd name="connsiteY28" fmla="*/ 495632 h 2302560"/>
                <a:gd name="connsiteX29" fmla="*/ 995892 w 1745632"/>
                <a:gd name="connsiteY29" fmla="*/ 1689505 h 2302560"/>
                <a:gd name="connsiteX30" fmla="*/ 998313 w 1745632"/>
                <a:gd name="connsiteY30" fmla="*/ 1693087 h 2302560"/>
                <a:gd name="connsiteX31" fmla="*/ 1003391 w 1745632"/>
                <a:gd name="connsiteY31" fmla="*/ 1703453 h 2302560"/>
                <a:gd name="connsiteX32" fmla="*/ 1065864 w 1745632"/>
                <a:gd name="connsiteY32" fmla="*/ 1709872 h 2302560"/>
                <a:gd name="connsiteX33" fmla="*/ 1234815 w 1745632"/>
                <a:gd name="connsiteY33" fmla="*/ 1612328 h 2302560"/>
                <a:gd name="connsiteX34" fmla="*/ 1244221 w 1745632"/>
                <a:gd name="connsiteY34" fmla="*/ 1593004 h 2302560"/>
                <a:gd name="connsiteX35" fmla="*/ 1244062 w 1745632"/>
                <a:gd name="connsiteY35" fmla="*/ 1592440 h 2302560"/>
                <a:gd name="connsiteX36" fmla="*/ 1244200 w 1745632"/>
                <a:gd name="connsiteY36" fmla="*/ 1592237 h 2302560"/>
                <a:gd name="connsiteX37" fmla="*/ 1244200 w 1745632"/>
                <a:gd name="connsiteY37" fmla="*/ 349995 h 2302560"/>
                <a:gd name="connsiteX38" fmla="*/ 1327817 w 1745632"/>
                <a:gd name="connsiteY38" fmla="*/ 301719 h 2302560"/>
                <a:gd name="connsiteX39" fmla="*/ 1327817 w 1745632"/>
                <a:gd name="connsiteY39" fmla="*/ 1495592 h 2302560"/>
                <a:gd name="connsiteX40" fmla="*/ 1330242 w 1745632"/>
                <a:gd name="connsiteY40" fmla="*/ 1499182 h 2302560"/>
                <a:gd name="connsiteX41" fmla="*/ 1335317 w 1745632"/>
                <a:gd name="connsiteY41" fmla="*/ 1509541 h 2302560"/>
                <a:gd name="connsiteX42" fmla="*/ 1397791 w 1745632"/>
                <a:gd name="connsiteY42" fmla="*/ 1515960 h 2302560"/>
                <a:gd name="connsiteX43" fmla="*/ 1566742 w 1745632"/>
                <a:gd name="connsiteY43" fmla="*/ 1418416 h 2302560"/>
                <a:gd name="connsiteX44" fmla="*/ 1576148 w 1745632"/>
                <a:gd name="connsiteY44" fmla="*/ 1399092 h 2302560"/>
                <a:gd name="connsiteX45" fmla="*/ 1575989 w 1745632"/>
                <a:gd name="connsiteY45" fmla="*/ 1398528 h 2302560"/>
                <a:gd name="connsiteX46" fmla="*/ 1576127 w 1745632"/>
                <a:gd name="connsiteY46" fmla="*/ 1398325 h 2302560"/>
                <a:gd name="connsiteX47" fmla="*/ 1576127 w 1745632"/>
                <a:gd name="connsiteY47" fmla="*/ 156083 h 2302560"/>
                <a:gd name="connsiteX48" fmla="*/ 1659744 w 1745632"/>
                <a:gd name="connsiteY48" fmla="*/ 107807 h 2302560"/>
                <a:gd name="connsiteX49" fmla="*/ 1659744 w 1745632"/>
                <a:gd name="connsiteY49" fmla="*/ 1301680 h 2302560"/>
                <a:gd name="connsiteX50" fmla="*/ 1671777 w 1745632"/>
                <a:gd name="connsiteY50" fmla="*/ 1319489 h 2302560"/>
                <a:gd name="connsiteX51" fmla="*/ 1700827 w 1745632"/>
                <a:gd name="connsiteY51" fmla="*/ 1326865 h 2302560"/>
                <a:gd name="connsiteX52" fmla="*/ 1741910 w 1745632"/>
                <a:gd name="connsiteY52" fmla="*/ 1301680 h 2302560"/>
                <a:gd name="connsiteX53" fmla="*/ 1745631 w 1745632"/>
                <a:gd name="connsiteY53" fmla="*/ 51163 h 2302560"/>
                <a:gd name="connsiteX54" fmla="*/ 1677295 w 1745632"/>
                <a:gd name="connsiteY54" fmla="*/ 5059 h 2302560"/>
                <a:gd name="connsiteX55" fmla="*/ 1504853 w 1745632"/>
                <a:gd name="connsiteY55" fmla="*/ 102357 h 2302560"/>
                <a:gd name="connsiteX56" fmla="*/ 1494747 w 1745632"/>
                <a:gd name="connsiteY56" fmla="*/ 143365 h 2302560"/>
                <a:gd name="connsiteX57" fmla="*/ 1493961 w 1745632"/>
                <a:gd name="connsiteY57" fmla="*/ 1365559 h 2302560"/>
                <a:gd name="connsiteX58" fmla="*/ 1410346 w 1745632"/>
                <a:gd name="connsiteY58" fmla="*/ 1413834 h 2302560"/>
                <a:gd name="connsiteX59" fmla="*/ 1410346 w 1745632"/>
                <a:gd name="connsiteY59" fmla="*/ 1373656 h 2302560"/>
                <a:gd name="connsiteX60" fmla="*/ 1413704 w 1745632"/>
                <a:gd name="connsiteY60" fmla="*/ 245075 h 2302560"/>
                <a:gd name="connsiteX61" fmla="*/ 1345369 w 1745632"/>
                <a:gd name="connsiteY61" fmla="*/ 198971 h 2302560"/>
                <a:gd name="connsiteX62" fmla="*/ 1172926 w 1745632"/>
                <a:gd name="connsiteY62" fmla="*/ 296269 h 2302560"/>
                <a:gd name="connsiteX63" fmla="*/ 1162820 w 1745632"/>
                <a:gd name="connsiteY63" fmla="*/ 337277 h 2302560"/>
                <a:gd name="connsiteX64" fmla="*/ 1162034 w 1745632"/>
                <a:gd name="connsiteY64" fmla="*/ 1559471 h 2302560"/>
                <a:gd name="connsiteX65" fmla="*/ 1078419 w 1745632"/>
                <a:gd name="connsiteY65" fmla="*/ 1607746 h 2302560"/>
                <a:gd name="connsiteX66" fmla="*/ 1078419 w 1745632"/>
                <a:gd name="connsiteY66" fmla="*/ 1568157 h 2302560"/>
                <a:gd name="connsiteX67" fmla="*/ 1081779 w 1745632"/>
                <a:gd name="connsiteY67" fmla="*/ 438988 h 2302560"/>
                <a:gd name="connsiteX68" fmla="*/ 1013444 w 1745632"/>
                <a:gd name="connsiteY68" fmla="*/ 392883 h 2302560"/>
                <a:gd name="connsiteX69" fmla="*/ 841001 w 1745632"/>
                <a:gd name="connsiteY69" fmla="*/ 490182 h 2302560"/>
                <a:gd name="connsiteX70" fmla="*/ 830895 w 1745632"/>
                <a:gd name="connsiteY70" fmla="*/ 531190 h 2302560"/>
                <a:gd name="connsiteX71" fmla="*/ 830109 w 1745632"/>
                <a:gd name="connsiteY71" fmla="*/ 1753384 h 2302560"/>
                <a:gd name="connsiteX72" fmla="*/ 746494 w 1745632"/>
                <a:gd name="connsiteY72" fmla="*/ 1801659 h 2302560"/>
                <a:gd name="connsiteX73" fmla="*/ 746494 w 1745632"/>
                <a:gd name="connsiteY73" fmla="*/ 1762076 h 2302560"/>
                <a:gd name="connsiteX74" fmla="*/ 749854 w 1745632"/>
                <a:gd name="connsiteY74" fmla="*/ 632901 h 2302560"/>
                <a:gd name="connsiteX75" fmla="*/ 681519 w 1745632"/>
                <a:gd name="connsiteY75" fmla="*/ 586796 h 2302560"/>
                <a:gd name="connsiteX76" fmla="*/ 509076 w 1745632"/>
                <a:gd name="connsiteY76" fmla="*/ 684095 h 2302560"/>
                <a:gd name="connsiteX77" fmla="*/ 498970 w 1745632"/>
                <a:gd name="connsiteY77" fmla="*/ 725103 h 2302560"/>
                <a:gd name="connsiteX78" fmla="*/ 498184 w 1745632"/>
                <a:gd name="connsiteY78" fmla="*/ 1947297 h 2302560"/>
                <a:gd name="connsiteX79" fmla="*/ 414569 w 1745632"/>
                <a:gd name="connsiteY79" fmla="*/ 1995572 h 2302560"/>
                <a:gd name="connsiteX80" fmla="*/ 414569 w 1745632"/>
                <a:gd name="connsiteY80" fmla="*/ 1955655 h 2302560"/>
                <a:gd name="connsiteX81" fmla="*/ 417928 w 1745632"/>
                <a:gd name="connsiteY81" fmla="*/ 826816 h 2302560"/>
                <a:gd name="connsiteX82" fmla="*/ 349593 w 1745632"/>
                <a:gd name="connsiteY82" fmla="*/ 780711 h 2302560"/>
                <a:gd name="connsiteX83" fmla="*/ 177150 w 1745632"/>
                <a:gd name="connsiteY83" fmla="*/ 878009 h 2302560"/>
                <a:gd name="connsiteX84" fmla="*/ 167044 w 1745632"/>
                <a:gd name="connsiteY84" fmla="*/ 919017 h 2302560"/>
                <a:gd name="connsiteX85" fmla="*/ 166258 w 1745632"/>
                <a:gd name="connsiteY85" fmla="*/ 2141211 h 2302560"/>
                <a:gd name="connsiteX86" fmla="*/ 82643 w 1745632"/>
                <a:gd name="connsiteY86" fmla="*/ 2189487 h 2302560"/>
                <a:gd name="connsiteX87" fmla="*/ 82644 w 1745632"/>
                <a:gd name="connsiteY87" fmla="*/ 993211 h 2302560"/>
                <a:gd name="connsiteX88" fmla="*/ 41560 w 1745632"/>
                <a:gd name="connsiteY88" fmla="*/ 968026 h 2302560"/>
                <a:gd name="connsiteX0" fmla="*/ 82168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0" fmla="*/ 82167 w 1745156"/>
                <a:gd name="connsiteY0" fmla="*/ 2189487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0" fmla="*/ 24450 w 1687439"/>
                <a:gd name="connsiteY0" fmla="*/ 2189487 h 2291613"/>
                <a:gd name="connsiteX1" fmla="*/ 11895 w 1687439"/>
                <a:gd name="connsiteY1" fmla="*/ 2291612 h 2291613"/>
                <a:gd name="connsiteX2" fmla="*/ 180846 w 1687439"/>
                <a:gd name="connsiteY2" fmla="*/ 2194068 h 2291613"/>
                <a:gd name="connsiteX3" fmla="*/ 190252 w 1687439"/>
                <a:gd name="connsiteY3" fmla="*/ 2174744 h 2291613"/>
                <a:gd name="connsiteX4" fmla="*/ 190093 w 1687439"/>
                <a:gd name="connsiteY4" fmla="*/ 2174180 h 2291613"/>
                <a:gd name="connsiteX5" fmla="*/ 190231 w 1687439"/>
                <a:gd name="connsiteY5" fmla="*/ 2173977 h 2291613"/>
                <a:gd name="connsiteX6" fmla="*/ 190231 w 1687439"/>
                <a:gd name="connsiteY6" fmla="*/ 931735 h 2291613"/>
                <a:gd name="connsiteX7" fmla="*/ 273849 w 1687439"/>
                <a:gd name="connsiteY7" fmla="*/ 883459 h 2291613"/>
                <a:gd name="connsiteX8" fmla="*/ 273848 w 1687439"/>
                <a:gd name="connsiteY8" fmla="*/ 2077333 h 2291613"/>
                <a:gd name="connsiteX9" fmla="*/ 276276 w 1687439"/>
                <a:gd name="connsiteY9" fmla="*/ 2080925 h 2291613"/>
                <a:gd name="connsiteX10" fmla="*/ 281348 w 1687439"/>
                <a:gd name="connsiteY10" fmla="*/ 2091279 h 2291613"/>
                <a:gd name="connsiteX11" fmla="*/ 343821 w 1687439"/>
                <a:gd name="connsiteY11" fmla="*/ 2097698 h 2291613"/>
                <a:gd name="connsiteX12" fmla="*/ 512772 w 1687439"/>
                <a:gd name="connsiteY12" fmla="*/ 2000154 h 2291613"/>
                <a:gd name="connsiteX13" fmla="*/ 522178 w 1687439"/>
                <a:gd name="connsiteY13" fmla="*/ 1980830 h 2291613"/>
                <a:gd name="connsiteX14" fmla="*/ 522019 w 1687439"/>
                <a:gd name="connsiteY14" fmla="*/ 1980266 h 2291613"/>
                <a:gd name="connsiteX15" fmla="*/ 522157 w 1687439"/>
                <a:gd name="connsiteY15" fmla="*/ 1980063 h 2291613"/>
                <a:gd name="connsiteX16" fmla="*/ 522157 w 1687439"/>
                <a:gd name="connsiteY16" fmla="*/ 737821 h 2291613"/>
                <a:gd name="connsiteX17" fmla="*/ 605774 w 1687439"/>
                <a:gd name="connsiteY17" fmla="*/ 689544 h 2291613"/>
                <a:gd name="connsiteX18" fmla="*/ 605774 w 1687439"/>
                <a:gd name="connsiteY18" fmla="*/ 1883418 h 2291613"/>
                <a:gd name="connsiteX19" fmla="*/ 608195 w 1687439"/>
                <a:gd name="connsiteY19" fmla="*/ 1887000 h 2291613"/>
                <a:gd name="connsiteX20" fmla="*/ 613273 w 1687439"/>
                <a:gd name="connsiteY20" fmla="*/ 1897366 h 2291613"/>
                <a:gd name="connsiteX21" fmla="*/ 675746 w 1687439"/>
                <a:gd name="connsiteY21" fmla="*/ 1903785 h 2291613"/>
                <a:gd name="connsiteX22" fmla="*/ 844697 w 1687439"/>
                <a:gd name="connsiteY22" fmla="*/ 1806241 h 2291613"/>
                <a:gd name="connsiteX23" fmla="*/ 854103 w 1687439"/>
                <a:gd name="connsiteY23" fmla="*/ 1786917 h 2291613"/>
                <a:gd name="connsiteX24" fmla="*/ 853944 w 1687439"/>
                <a:gd name="connsiteY24" fmla="*/ 1786353 h 2291613"/>
                <a:gd name="connsiteX25" fmla="*/ 854082 w 1687439"/>
                <a:gd name="connsiteY25" fmla="*/ 1786150 h 2291613"/>
                <a:gd name="connsiteX26" fmla="*/ 854082 w 1687439"/>
                <a:gd name="connsiteY26" fmla="*/ 543908 h 2291613"/>
                <a:gd name="connsiteX27" fmla="*/ 937699 w 1687439"/>
                <a:gd name="connsiteY27" fmla="*/ 495632 h 2291613"/>
                <a:gd name="connsiteX28" fmla="*/ 937699 w 1687439"/>
                <a:gd name="connsiteY28" fmla="*/ 1689505 h 2291613"/>
                <a:gd name="connsiteX29" fmla="*/ 940120 w 1687439"/>
                <a:gd name="connsiteY29" fmla="*/ 1693087 h 2291613"/>
                <a:gd name="connsiteX30" fmla="*/ 945198 w 1687439"/>
                <a:gd name="connsiteY30" fmla="*/ 1703453 h 2291613"/>
                <a:gd name="connsiteX31" fmla="*/ 1007671 w 1687439"/>
                <a:gd name="connsiteY31" fmla="*/ 1709872 h 2291613"/>
                <a:gd name="connsiteX32" fmla="*/ 1176622 w 1687439"/>
                <a:gd name="connsiteY32" fmla="*/ 1612328 h 2291613"/>
                <a:gd name="connsiteX33" fmla="*/ 1186028 w 1687439"/>
                <a:gd name="connsiteY33" fmla="*/ 1593004 h 2291613"/>
                <a:gd name="connsiteX34" fmla="*/ 1185869 w 1687439"/>
                <a:gd name="connsiteY34" fmla="*/ 1592440 h 2291613"/>
                <a:gd name="connsiteX35" fmla="*/ 1186007 w 1687439"/>
                <a:gd name="connsiteY35" fmla="*/ 1592237 h 2291613"/>
                <a:gd name="connsiteX36" fmla="*/ 1186007 w 1687439"/>
                <a:gd name="connsiteY36" fmla="*/ 349995 h 2291613"/>
                <a:gd name="connsiteX37" fmla="*/ 1269624 w 1687439"/>
                <a:gd name="connsiteY37" fmla="*/ 301719 h 2291613"/>
                <a:gd name="connsiteX38" fmla="*/ 1269624 w 1687439"/>
                <a:gd name="connsiteY38" fmla="*/ 1495592 h 2291613"/>
                <a:gd name="connsiteX39" fmla="*/ 1272049 w 1687439"/>
                <a:gd name="connsiteY39" fmla="*/ 1499182 h 2291613"/>
                <a:gd name="connsiteX40" fmla="*/ 1277124 w 1687439"/>
                <a:gd name="connsiteY40" fmla="*/ 1509541 h 2291613"/>
                <a:gd name="connsiteX41" fmla="*/ 1339598 w 1687439"/>
                <a:gd name="connsiteY41" fmla="*/ 1515960 h 2291613"/>
                <a:gd name="connsiteX42" fmla="*/ 1508549 w 1687439"/>
                <a:gd name="connsiteY42" fmla="*/ 1418416 h 2291613"/>
                <a:gd name="connsiteX43" fmla="*/ 1517955 w 1687439"/>
                <a:gd name="connsiteY43" fmla="*/ 1399092 h 2291613"/>
                <a:gd name="connsiteX44" fmla="*/ 1517796 w 1687439"/>
                <a:gd name="connsiteY44" fmla="*/ 1398528 h 2291613"/>
                <a:gd name="connsiteX45" fmla="*/ 1517934 w 1687439"/>
                <a:gd name="connsiteY45" fmla="*/ 1398325 h 2291613"/>
                <a:gd name="connsiteX46" fmla="*/ 1517934 w 1687439"/>
                <a:gd name="connsiteY46" fmla="*/ 156083 h 2291613"/>
                <a:gd name="connsiteX47" fmla="*/ 1601551 w 1687439"/>
                <a:gd name="connsiteY47" fmla="*/ 107807 h 2291613"/>
                <a:gd name="connsiteX48" fmla="*/ 1601551 w 1687439"/>
                <a:gd name="connsiteY48" fmla="*/ 1301680 h 2291613"/>
                <a:gd name="connsiteX49" fmla="*/ 1613584 w 1687439"/>
                <a:gd name="connsiteY49" fmla="*/ 1319489 h 2291613"/>
                <a:gd name="connsiteX50" fmla="*/ 1642634 w 1687439"/>
                <a:gd name="connsiteY50" fmla="*/ 1326865 h 2291613"/>
                <a:gd name="connsiteX51" fmla="*/ 1683717 w 1687439"/>
                <a:gd name="connsiteY51" fmla="*/ 1301680 h 2291613"/>
                <a:gd name="connsiteX52" fmla="*/ 1687438 w 1687439"/>
                <a:gd name="connsiteY52" fmla="*/ 51163 h 2291613"/>
                <a:gd name="connsiteX53" fmla="*/ 1619102 w 1687439"/>
                <a:gd name="connsiteY53" fmla="*/ 5059 h 2291613"/>
                <a:gd name="connsiteX54" fmla="*/ 1446660 w 1687439"/>
                <a:gd name="connsiteY54" fmla="*/ 102357 h 2291613"/>
                <a:gd name="connsiteX55" fmla="*/ 1436554 w 1687439"/>
                <a:gd name="connsiteY55" fmla="*/ 143365 h 2291613"/>
                <a:gd name="connsiteX56" fmla="*/ 1435768 w 1687439"/>
                <a:gd name="connsiteY56" fmla="*/ 1365559 h 2291613"/>
                <a:gd name="connsiteX57" fmla="*/ 1352153 w 1687439"/>
                <a:gd name="connsiteY57" fmla="*/ 1413834 h 2291613"/>
                <a:gd name="connsiteX58" fmla="*/ 1352153 w 1687439"/>
                <a:gd name="connsiteY58" fmla="*/ 1373656 h 2291613"/>
                <a:gd name="connsiteX59" fmla="*/ 1355511 w 1687439"/>
                <a:gd name="connsiteY59" fmla="*/ 245075 h 2291613"/>
                <a:gd name="connsiteX60" fmla="*/ 1287176 w 1687439"/>
                <a:gd name="connsiteY60" fmla="*/ 198971 h 2291613"/>
                <a:gd name="connsiteX61" fmla="*/ 1114733 w 1687439"/>
                <a:gd name="connsiteY61" fmla="*/ 296269 h 2291613"/>
                <a:gd name="connsiteX62" fmla="*/ 1104627 w 1687439"/>
                <a:gd name="connsiteY62" fmla="*/ 337277 h 2291613"/>
                <a:gd name="connsiteX63" fmla="*/ 1103841 w 1687439"/>
                <a:gd name="connsiteY63" fmla="*/ 1559471 h 2291613"/>
                <a:gd name="connsiteX64" fmla="*/ 1020226 w 1687439"/>
                <a:gd name="connsiteY64" fmla="*/ 1607746 h 2291613"/>
                <a:gd name="connsiteX65" fmla="*/ 1020226 w 1687439"/>
                <a:gd name="connsiteY65" fmla="*/ 1568157 h 2291613"/>
                <a:gd name="connsiteX66" fmla="*/ 1023586 w 1687439"/>
                <a:gd name="connsiteY66" fmla="*/ 438988 h 2291613"/>
                <a:gd name="connsiteX67" fmla="*/ 955251 w 1687439"/>
                <a:gd name="connsiteY67" fmla="*/ 392883 h 2291613"/>
                <a:gd name="connsiteX68" fmla="*/ 782808 w 1687439"/>
                <a:gd name="connsiteY68" fmla="*/ 490182 h 2291613"/>
                <a:gd name="connsiteX69" fmla="*/ 772702 w 1687439"/>
                <a:gd name="connsiteY69" fmla="*/ 531190 h 2291613"/>
                <a:gd name="connsiteX70" fmla="*/ 771916 w 1687439"/>
                <a:gd name="connsiteY70" fmla="*/ 1753384 h 2291613"/>
                <a:gd name="connsiteX71" fmla="*/ 688301 w 1687439"/>
                <a:gd name="connsiteY71" fmla="*/ 1801659 h 2291613"/>
                <a:gd name="connsiteX72" fmla="*/ 688301 w 1687439"/>
                <a:gd name="connsiteY72" fmla="*/ 1762076 h 2291613"/>
                <a:gd name="connsiteX73" fmla="*/ 691661 w 1687439"/>
                <a:gd name="connsiteY73" fmla="*/ 632901 h 2291613"/>
                <a:gd name="connsiteX74" fmla="*/ 623326 w 1687439"/>
                <a:gd name="connsiteY74" fmla="*/ 586796 h 2291613"/>
                <a:gd name="connsiteX75" fmla="*/ 450883 w 1687439"/>
                <a:gd name="connsiteY75" fmla="*/ 684095 h 2291613"/>
                <a:gd name="connsiteX76" fmla="*/ 440777 w 1687439"/>
                <a:gd name="connsiteY76" fmla="*/ 725103 h 2291613"/>
                <a:gd name="connsiteX77" fmla="*/ 439991 w 1687439"/>
                <a:gd name="connsiteY77" fmla="*/ 1947297 h 2291613"/>
                <a:gd name="connsiteX78" fmla="*/ 356376 w 1687439"/>
                <a:gd name="connsiteY78" fmla="*/ 1995572 h 2291613"/>
                <a:gd name="connsiteX79" fmla="*/ 356376 w 1687439"/>
                <a:gd name="connsiteY79" fmla="*/ 1955655 h 2291613"/>
                <a:gd name="connsiteX80" fmla="*/ 359735 w 1687439"/>
                <a:gd name="connsiteY80" fmla="*/ 826816 h 2291613"/>
                <a:gd name="connsiteX81" fmla="*/ 291400 w 1687439"/>
                <a:gd name="connsiteY81" fmla="*/ 780711 h 2291613"/>
                <a:gd name="connsiteX82" fmla="*/ 118957 w 1687439"/>
                <a:gd name="connsiteY82" fmla="*/ 878009 h 2291613"/>
                <a:gd name="connsiteX83" fmla="*/ 108851 w 1687439"/>
                <a:gd name="connsiteY83" fmla="*/ 919017 h 2291613"/>
                <a:gd name="connsiteX84" fmla="*/ 108065 w 1687439"/>
                <a:gd name="connsiteY84" fmla="*/ 2141211 h 2291613"/>
                <a:gd name="connsiteX85" fmla="*/ 24450 w 1687439"/>
                <a:gd name="connsiteY85" fmla="*/ 2189487 h 2291613"/>
                <a:gd name="connsiteX0" fmla="*/ 5396 w 1668385"/>
                <a:gd name="connsiteY0" fmla="*/ 2189487 h 2272424"/>
                <a:gd name="connsiteX1" fmla="*/ 37758 w 1668385"/>
                <a:gd name="connsiteY1" fmla="*/ 2272424 h 2272424"/>
                <a:gd name="connsiteX2" fmla="*/ 161792 w 1668385"/>
                <a:gd name="connsiteY2" fmla="*/ 2194068 h 2272424"/>
                <a:gd name="connsiteX3" fmla="*/ 171198 w 1668385"/>
                <a:gd name="connsiteY3" fmla="*/ 2174744 h 2272424"/>
                <a:gd name="connsiteX4" fmla="*/ 171039 w 1668385"/>
                <a:gd name="connsiteY4" fmla="*/ 2174180 h 2272424"/>
                <a:gd name="connsiteX5" fmla="*/ 171177 w 1668385"/>
                <a:gd name="connsiteY5" fmla="*/ 2173977 h 2272424"/>
                <a:gd name="connsiteX6" fmla="*/ 171177 w 1668385"/>
                <a:gd name="connsiteY6" fmla="*/ 931735 h 2272424"/>
                <a:gd name="connsiteX7" fmla="*/ 254795 w 1668385"/>
                <a:gd name="connsiteY7" fmla="*/ 883459 h 2272424"/>
                <a:gd name="connsiteX8" fmla="*/ 254794 w 1668385"/>
                <a:gd name="connsiteY8" fmla="*/ 2077333 h 2272424"/>
                <a:gd name="connsiteX9" fmla="*/ 257222 w 1668385"/>
                <a:gd name="connsiteY9" fmla="*/ 2080925 h 2272424"/>
                <a:gd name="connsiteX10" fmla="*/ 262294 w 1668385"/>
                <a:gd name="connsiteY10" fmla="*/ 2091279 h 2272424"/>
                <a:gd name="connsiteX11" fmla="*/ 324767 w 1668385"/>
                <a:gd name="connsiteY11" fmla="*/ 2097698 h 2272424"/>
                <a:gd name="connsiteX12" fmla="*/ 493718 w 1668385"/>
                <a:gd name="connsiteY12" fmla="*/ 2000154 h 2272424"/>
                <a:gd name="connsiteX13" fmla="*/ 503124 w 1668385"/>
                <a:gd name="connsiteY13" fmla="*/ 1980830 h 2272424"/>
                <a:gd name="connsiteX14" fmla="*/ 502965 w 1668385"/>
                <a:gd name="connsiteY14" fmla="*/ 1980266 h 2272424"/>
                <a:gd name="connsiteX15" fmla="*/ 503103 w 1668385"/>
                <a:gd name="connsiteY15" fmla="*/ 1980063 h 2272424"/>
                <a:gd name="connsiteX16" fmla="*/ 503103 w 1668385"/>
                <a:gd name="connsiteY16" fmla="*/ 737821 h 2272424"/>
                <a:gd name="connsiteX17" fmla="*/ 586720 w 1668385"/>
                <a:gd name="connsiteY17" fmla="*/ 689544 h 2272424"/>
                <a:gd name="connsiteX18" fmla="*/ 586720 w 1668385"/>
                <a:gd name="connsiteY18" fmla="*/ 1883418 h 2272424"/>
                <a:gd name="connsiteX19" fmla="*/ 589141 w 1668385"/>
                <a:gd name="connsiteY19" fmla="*/ 1887000 h 2272424"/>
                <a:gd name="connsiteX20" fmla="*/ 594219 w 1668385"/>
                <a:gd name="connsiteY20" fmla="*/ 1897366 h 2272424"/>
                <a:gd name="connsiteX21" fmla="*/ 656692 w 1668385"/>
                <a:gd name="connsiteY21" fmla="*/ 1903785 h 2272424"/>
                <a:gd name="connsiteX22" fmla="*/ 825643 w 1668385"/>
                <a:gd name="connsiteY22" fmla="*/ 1806241 h 2272424"/>
                <a:gd name="connsiteX23" fmla="*/ 835049 w 1668385"/>
                <a:gd name="connsiteY23" fmla="*/ 1786917 h 2272424"/>
                <a:gd name="connsiteX24" fmla="*/ 834890 w 1668385"/>
                <a:gd name="connsiteY24" fmla="*/ 1786353 h 2272424"/>
                <a:gd name="connsiteX25" fmla="*/ 835028 w 1668385"/>
                <a:gd name="connsiteY25" fmla="*/ 1786150 h 2272424"/>
                <a:gd name="connsiteX26" fmla="*/ 835028 w 1668385"/>
                <a:gd name="connsiteY26" fmla="*/ 543908 h 2272424"/>
                <a:gd name="connsiteX27" fmla="*/ 918645 w 1668385"/>
                <a:gd name="connsiteY27" fmla="*/ 495632 h 2272424"/>
                <a:gd name="connsiteX28" fmla="*/ 918645 w 1668385"/>
                <a:gd name="connsiteY28" fmla="*/ 1689505 h 2272424"/>
                <a:gd name="connsiteX29" fmla="*/ 921066 w 1668385"/>
                <a:gd name="connsiteY29" fmla="*/ 1693087 h 2272424"/>
                <a:gd name="connsiteX30" fmla="*/ 926144 w 1668385"/>
                <a:gd name="connsiteY30" fmla="*/ 1703453 h 2272424"/>
                <a:gd name="connsiteX31" fmla="*/ 988617 w 1668385"/>
                <a:gd name="connsiteY31" fmla="*/ 1709872 h 2272424"/>
                <a:gd name="connsiteX32" fmla="*/ 1157568 w 1668385"/>
                <a:gd name="connsiteY32" fmla="*/ 1612328 h 2272424"/>
                <a:gd name="connsiteX33" fmla="*/ 1166974 w 1668385"/>
                <a:gd name="connsiteY33" fmla="*/ 1593004 h 2272424"/>
                <a:gd name="connsiteX34" fmla="*/ 1166815 w 1668385"/>
                <a:gd name="connsiteY34" fmla="*/ 1592440 h 2272424"/>
                <a:gd name="connsiteX35" fmla="*/ 1166953 w 1668385"/>
                <a:gd name="connsiteY35" fmla="*/ 1592237 h 2272424"/>
                <a:gd name="connsiteX36" fmla="*/ 1166953 w 1668385"/>
                <a:gd name="connsiteY36" fmla="*/ 349995 h 2272424"/>
                <a:gd name="connsiteX37" fmla="*/ 1250570 w 1668385"/>
                <a:gd name="connsiteY37" fmla="*/ 301719 h 2272424"/>
                <a:gd name="connsiteX38" fmla="*/ 1250570 w 1668385"/>
                <a:gd name="connsiteY38" fmla="*/ 1495592 h 2272424"/>
                <a:gd name="connsiteX39" fmla="*/ 1252995 w 1668385"/>
                <a:gd name="connsiteY39" fmla="*/ 1499182 h 2272424"/>
                <a:gd name="connsiteX40" fmla="*/ 1258070 w 1668385"/>
                <a:gd name="connsiteY40" fmla="*/ 1509541 h 2272424"/>
                <a:gd name="connsiteX41" fmla="*/ 1320544 w 1668385"/>
                <a:gd name="connsiteY41" fmla="*/ 1515960 h 2272424"/>
                <a:gd name="connsiteX42" fmla="*/ 1489495 w 1668385"/>
                <a:gd name="connsiteY42" fmla="*/ 1418416 h 2272424"/>
                <a:gd name="connsiteX43" fmla="*/ 1498901 w 1668385"/>
                <a:gd name="connsiteY43" fmla="*/ 1399092 h 2272424"/>
                <a:gd name="connsiteX44" fmla="*/ 1498742 w 1668385"/>
                <a:gd name="connsiteY44" fmla="*/ 1398528 h 2272424"/>
                <a:gd name="connsiteX45" fmla="*/ 1498880 w 1668385"/>
                <a:gd name="connsiteY45" fmla="*/ 1398325 h 2272424"/>
                <a:gd name="connsiteX46" fmla="*/ 1498880 w 1668385"/>
                <a:gd name="connsiteY46" fmla="*/ 156083 h 2272424"/>
                <a:gd name="connsiteX47" fmla="*/ 1582497 w 1668385"/>
                <a:gd name="connsiteY47" fmla="*/ 107807 h 2272424"/>
                <a:gd name="connsiteX48" fmla="*/ 1582497 w 1668385"/>
                <a:gd name="connsiteY48" fmla="*/ 1301680 h 2272424"/>
                <a:gd name="connsiteX49" fmla="*/ 1594530 w 1668385"/>
                <a:gd name="connsiteY49" fmla="*/ 1319489 h 2272424"/>
                <a:gd name="connsiteX50" fmla="*/ 1623580 w 1668385"/>
                <a:gd name="connsiteY50" fmla="*/ 1326865 h 2272424"/>
                <a:gd name="connsiteX51" fmla="*/ 1664663 w 1668385"/>
                <a:gd name="connsiteY51" fmla="*/ 1301680 h 2272424"/>
                <a:gd name="connsiteX52" fmla="*/ 1668384 w 1668385"/>
                <a:gd name="connsiteY52" fmla="*/ 51163 h 2272424"/>
                <a:gd name="connsiteX53" fmla="*/ 1600048 w 1668385"/>
                <a:gd name="connsiteY53" fmla="*/ 5059 h 2272424"/>
                <a:gd name="connsiteX54" fmla="*/ 1427606 w 1668385"/>
                <a:gd name="connsiteY54" fmla="*/ 102357 h 2272424"/>
                <a:gd name="connsiteX55" fmla="*/ 1417500 w 1668385"/>
                <a:gd name="connsiteY55" fmla="*/ 143365 h 2272424"/>
                <a:gd name="connsiteX56" fmla="*/ 1416714 w 1668385"/>
                <a:gd name="connsiteY56" fmla="*/ 1365559 h 2272424"/>
                <a:gd name="connsiteX57" fmla="*/ 1333099 w 1668385"/>
                <a:gd name="connsiteY57" fmla="*/ 1413834 h 2272424"/>
                <a:gd name="connsiteX58" fmla="*/ 1333099 w 1668385"/>
                <a:gd name="connsiteY58" fmla="*/ 1373656 h 2272424"/>
                <a:gd name="connsiteX59" fmla="*/ 1336457 w 1668385"/>
                <a:gd name="connsiteY59" fmla="*/ 245075 h 2272424"/>
                <a:gd name="connsiteX60" fmla="*/ 1268122 w 1668385"/>
                <a:gd name="connsiteY60" fmla="*/ 198971 h 2272424"/>
                <a:gd name="connsiteX61" fmla="*/ 1095679 w 1668385"/>
                <a:gd name="connsiteY61" fmla="*/ 296269 h 2272424"/>
                <a:gd name="connsiteX62" fmla="*/ 1085573 w 1668385"/>
                <a:gd name="connsiteY62" fmla="*/ 337277 h 2272424"/>
                <a:gd name="connsiteX63" fmla="*/ 1084787 w 1668385"/>
                <a:gd name="connsiteY63" fmla="*/ 1559471 h 2272424"/>
                <a:gd name="connsiteX64" fmla="*/ 1001172 w 1668385"/>
                <a:gd name="connsiteY64" fmla="*/ 1607746 h 2272424"/>
                <a:gd name="connsiteX65" fmla="*/ 1001172 w 1668385"/>
                <a:gd name="connsiteY65" fmla="*/ 1568157 h 2272424"/>
                <a:gd name="connsiteX66" fmla="*/ 1004532 w 1668385"/>
                <a:gd name="connsiteY66" fmla="*/ 438988 h 2272424"/>
                <a:gd name="connsiteX67" fmla="*/ 936197 w 1668385"/>
                <a:gd name="connsiteY67" fmla="*/ 392883 h 2272424"/>
                <a:gd name="connsiteX68" fmla="*/ 763754 w 1668385"/>
                <a:gd name="connsiteY68" fmla="*/ 490182 h 2272424"/>
                <a:gd name="connsiteX69" fmla="*/ 753648 w 1668385"/>
                <a:gd name="connsiteY69" fmla="*/ 531190 h 2272424"/>
                <a:gd name="connsiteX70" fmla="*/ 752862 w 1668385"/>
                <a:gd name="connsiteY70" fmla="*/ 1753384 h 2272424"/>
                <a:gd name="connsiteX71" fmla="*/ 669247 w 1668385"/>
                <a:gd name="connsiteY71" fmla="*/ 1801659 h 2272424"/>
                <a:gd name="connsiteX72" fmla="*/ 669247 w 1668385"/>
                <a:gd name="connsiteY72" fmla="*/ 1762076 h 2272424"/>
                <a:gd name="connsiteX73" fmla="*/ 672607 w 1668385"/>
                <a:gd name="connsiteY73" fmla="*/ 632901 h 2272424"/>
                <a:gd name="connsiteX74" fmla="*/ 604272 w 1668385"/>
                <a:gd name="connsiteY74" fmla="*/ 586796 h 2272424"/>
                <a:gd name="connsiteX75" fmla="*/ 431829 w 1668385"/>
                <a:gd name="connsiteY75" fmla="*/ 684095 h 2272424"/>
                <a:gd name="connsiteX76" fmla="*/ 421723 w 1668385"/>
                <a:gd name="connsiteY76" fmla="*/ 725103 h 2272424"/>
                <a:gd name="connsiteX77" fmla="*/ 420937 w 1668385"/>
                <a:gd name="connsiteY77" fmla="*/ 1947297 h 2272424"/>
                <a:gd name="connsiteX78" fmla="*/ 337322 w 1668385"/>
                <a:gd name="connsiteY78" fmla="*/ 1995572 h 2272424"/>
                <a:gd name="connsiteX79" fmla="*/ 337322 w 1668385"/>
                <a:gd name="connsiteY79" fmla="*/ 1955655 h 2272424"/>
                <a:gd name="connsiteX80" fmla="*/ 340681 w 1668385"/>
                <a:gd name="connsiteY80" fmla="*/ 826816 h 2272424"/>
                <a:gd name="connsiteX81" fmla="*/ 272346 w 1668385"/>
                <a:gd name="connsiteY81" fmla="*/ 780711 h 2272424"/>
                <a:gd name="connsiteX82" fmla="*/ 99903 w 1668385"/>
                <a:gd name="connsiteY82" fmla="*/ 878009 h 2272424"/>
                <a:gd name="connsiteX83" fmla="*/ 89797 w 1668385"/>
                <a:gd name="connsiteY83" fmla="*/ 919017 h 2272424"/>
                <a:gd name="connsiteX84" fmla="*/ 89011 w 1668385"/>
                <a:gd name="connsiteY84" fmla="*/ 2141211 h 2272424"/>
                <a:gd name="connsiteX85" fmla="*/ 5396 w 1668385"/>
                <a:gd name="connsiteY85" fmla="*/ 2189487 h 2272424"/>
                <a:gd name="connsiteX0" fmla="*/ -1 w 1662988"/>
                <a:gd name="connsiteY0" fmla="*/ 2189487 h 2196070"/>
                <a:gd name="connsiteX1" fmla="*/ 156395 w 1662988"/>
                <a:gd name="connsiteY1" fmla="*/ 2194068 h 2196070"/>
                <a:gd name="connsiteX2" fmla="*/ 165801 w 1662988"/>
                <a:gd name="connsiteY2" fmla="*/ 2174744 h 2196070"/>
                <a:gd name="connsiteX3" fmla="*/ 165642 w 1662988"/>
                <a:gd name="connsiteY3" fmla="*/ 2174180 h 2196070"/>
                <a:gd name="connsiteX4" fmla="*/ 165780 w 1662988"/>
                <a:gd name="connsiteY4" fmla="*/ 2173977 h 2196070"/>
                <a:gd name="connsiteX5" fmla="*/ 165780 w 1662988"/>
                <a:gd name="connsiteY5" fmla="*/ 931735 h 2196070"/>
                <a:gd name="connsiteX6" fmla="*/ 249398 w 1662988"/>
                <a:gd name="connsiteY6" fmla="*/ 883459 h 2196070"/>
                <a:gd name="connsiteX7" fmla="*/ 249397 w 1662988"/>
                <a:gd name="connsiteY7" fmla="*/ 2077333 h 2196070"/>
                <a:gd name="connsiteX8" fmla="*/ 251825 w 1662988"/>
                <a:gd name="connsiteY8" fmla="*/ 2080925 h 2196070"/>
                <a:gd name="connsiteX9" fmla="*/ 256897 w 1662988"/>
                <a:gd name="connsiteY9" fmla="*/ 2091279 h 2196070"/>
                <a:gd name="connsiteX10" fmla="*/ 319370 w 1662988"/>
                <a:gd name="connsiteY10" fmla="*/ 2097698 h 2196070"/>
                <a:gd name="connsiteX11" fmla="*/ 488321 w 1662988"/>
                <a:gd name="connsiteY11" fmla="*/ 2000154 h 2196070"/>
                <a:gd name="connsiteX12" fmla="*/ 497727 w 1662988"/>
                <a:gd name="connsiteY12" fmla="*/ 1980830 h 2196070"/>
                <a:gd name="connsiteX13" fmla="*/ 497568 w 1662988"/>
                <a:gd name="connsiteY13" fmla="*/ 1980266 h 2196070"/>
                <a:gd name="connsiteX14" fmla="*/ 497706 w 1662988"/>
                <a:gd name="connsiteY14" fmla="*/ 1980063 h 2196070"/>
                <a:gd name="connsiteX15" fmla="*/ 497706 w 1662988"/>
                <a:gd name="connsiteY15" fmla="*/ 737821 h 2196070"/>
                <a:gd name="connsiteX16" fmla="*/ 581323 w 1662988"/>
                <a:gd name="connsiteY16" fmla="*/ 689544 h 2196070"/>
                <a:gd name="connsiteX17" fmla="*/ 581323 w 1662988"/>
                <a:gd name="connsiteY17" fmla="*/ 1883418 h 2196070"/>
                <a:gd name="connsiteX18" fmla="*/ 583744 w 1662988"/>
                <a:gd name="connsiteY18" fmla="*/ 1887000 h 2196070"/>
                <a:gd name="connsiteX19" fmla="*/ 588822 w 1662988"/>
                <a:gd name="connsiteY19" fmla="*/ 1897366 h 2196070"/>
                <a:gd name="connsiteX20" fmla="*/ 651295 w 1662988"/>
                <a:gd name="connsiteY20" fmla="*/ 1903785 h 2196070"/>
                <a:gd name="connsiteX21" fmla="*/ 820246 w 1662988"/>
                <a:gd name="connsiteY21" fmla="*/ 1806241 h 2196070"/>
                <a:gd name="connsiteX22" fmla="*/ 829652 w 1662988"/>
                <a:gd name="connsiteY22" fmla="*/ 1786917 h 2196070"/>
                <a:gd name="connsiteX23" fmla="*/ 829493 w 1662988"/>
                <a:gd name="connsiteY23" fmla="*/ 1786353 h 2196070"/>
                <a:gd name="connsiteX24" fmla="*/ 829631 w 1662988"/>
                <a:gd name="connsiteY24" fmla="*/ 1786150 h 2196070"/>
                <a:gd name="connsiteX25" fmla="*/ 829631 w 1662988"/>
                <a:gd name="connsiteY25" fmla="*/ 543908 h 2196070"/>
                <a:gd name="connsiteX26" fmla="*/ 913248 w 1662988"/>
                <a:gd name="connsiteY26" fmla="*/ 495632 h 2196070"/>
                <a:gd name="connsiteX27" fmla="*/ 913248 w 1662988"/>
                <a:gd name="connsiteY27" fmla="*/ 1689505 h 2196070"/>
                <a:gd name="connsiteX28" fmla="*/ 915669 w 1662988"/>
                <a:gd name="connsiteY28" fmla="*/ 1693087 h 2196070"/>
                <a:gd name="connsiteX29" fmla="*/ 920747 w 1662988"/>
                <a:gd name="connsiteY29" fmla="*/ 1703453 h 2196070"/>
                <a:gd name="connsiteX30" fmla="*/ 983220 w 1662988"/>
                <a:gd name="connsiteY30" fmla="*/ 1709872 h 2196070"/>
                <a:gd name="connsiteX31" fmla="*/ 1152171 w 1662988"/>
                <a:gd name="connsiteY31" fmla="*/ 1612328 h 2196070"/>
                <a:gd name="connsiteX32" fmla="*/ 1161577 w 1662988"/>
                <a:gd name="connsiteY32" fmla="*/ 1593004 h 2196070"/>
                <a:gd name="connsiteX33" fmla="*/ 1161418 w 1662988"/>
                <a:gd name="connsiteY33" fmla="*/ 1592440 h 2196070"/>
                <a:gd name="connsiteX34" fmla="*/ 1161556 w 1662988"/>
                <a:gd name="connsiteY34" fmla="*/ 1592237 h 2196070"/>
                <a:gd name="connsiteX35" fmla="*/ 1161556 w 1662988"/>
                <a:gd name="connsiteY35" fmla="*/ 349995 h 2196070"/>
                <a:gd name="connsiteX36" fmla="*/ 1245173 w 1662988"/>
                <a:gd name="connsiteY36" fmla="*/ 301719 h 2196070"/>
                <a:gd name="connsiteX37" fmla="*/ 1245173 w 1662988"/>
                <a:gd name="connsiteY37" fmla="*/ 1495592 h 2196070"/>
                <a:gd name="connsiteX38" fmla="*/ 1247598 w 1662988"/>
                <a:gd name="connsiteY38" fmla="*/ 1499182 h 2196070"/>
                <a:gd name="connsiteX39" fmla="*/ 1252673 w 1662988"/>
                <a:gd name="connsiteY39" fmla="*/ 1509541 h 2196070"/>
                <a:gd name="connsiteX40" fmla="*/ 1315147 w 1662988"/>
                <a:gd name="connsiteY40" fmla="*/ 1515960 h 2196070"/>
                <a:gd name="connsiteX41" fmla="*/ 1484098 w 1662988"/>
                <a:gd name="connsiteY41" fmla="*/ 1418416 h 2196070"/>
                <a:gd name="connsiteX42" fmla="*/ 1493504 w 1662988"/>
                <a:gd name="connsiteY42" fmla="*/ 1399092 h 2196070"/>
                <a:gd name="connsiteX43" fmla="*/ 1493345 w 1662988"/>
                <a:gd name="connsiteY43" fmla="*/ 1398528 h 2196070"/>
                <a:gd name="connsiteX44" fmla="*/ 1493483 w 1662988"/>
                <a:gd name="connsiteY44" fmla="*/ 1398325 h 2196070"/>
                <a:gd name="connsiteX45" fmla="*/ 1493483 w 1662988"/>
                <a:gd name="connsiteY45" fmla="*/ 156083 h 2196070"/>
                <a:gd name="connsiteX46" fmla="*/ 1577100 w 1662988"/>
                <a:gd name="connsiteY46" fmla="*/ 107807 h 2196070"/>
                <a:gd name="connsiteX47" fmla="*/ 1577100 w 1662988"/>
                <a:gd name="connsiteY47" fmla="*/ 1301680 h 2196070"/>
                <a:gd name="connsiteX48" fmla="*/ 1589133 w 1662988"/>
                <a:gd name="connsiteY48" fmla="*/ 1319489 h 2196070"/>
                <a:gd name="connsiteX49" fmla="*/ 1618183 w 1662988"/>
                <a:gd name="connsiteY49" fmla="*/ 1326865 h 2196070"/>
                <a:gd name="connsiteX50" fmla="*/ 1659266 w 1662988"/>
                <a:gd name="connsiteY50" fmla="*/ 1301680 h 2196070"/>
                <a:gd name="connsiteX51" fmla="*/ 1662987 w 1662988"/>
                <a:gd name="connsiteY51" fmla="*/ 51163 h 2196070"/>
                <a:gd name="connsiteX52" fmla="*/ 1594651 w 1662988"/>
                <a:gd name="connsiteY52" fmla="*/ 5059 h 2196070"/>
                <a:gd name="connsiteX53" fmla="*/ 1422209 w 1662988"/>
                <a:gd name="connsiteY53" fmla="*/ 102357 h 2196070"/>
                <a:gd name="connsiteX54" fmla="*/ 1412103 w 1662988"/>
                <a:gd name="connsiteY54" fmla="*/ 143365 h 2196070"/>
                <a:gd name="connsiteX55" fmla="*/ 1411317 w 1662988"/>
                <a:gd name="connsiteY55" fmla="*/ 1365559 h 2196070"/>
                <a:gd name="connsiteX56" fmla="*/ 1327702 w 1662988"/>
                <a:gd name="connsiteY56" fmla="*/ 1413834 h 2196070"/>
                <a:gd name="connsiteX57" fmla="*/ 1327702 w 1662988"/>
                <a:gd name="connsiteY57" fmla="*/ 1373656 h 2196070"/>
                <a:gd name="connsiteX58" fmla="*/ 1331060 w 1662988"/>
                <a:gd name="connsiteY58" fmla="*/ 245075 h 2196070"/>
                <a:gd name="connsiteX59" fmla="*/ 1262725 w 1662988"/>
                <a:gd name="connsiteY59" fmla="*/ 198971 h 2196070"/>
                <a:gd name="connsiteX60" fmla="*/ 1090282 w 1662988"/>
                <a:gd name="connsiteY60" fmla="*/ 296269 h 2196070"/>
                <a:gd name="connsiteX61" fmla="*/ 1080176 w 1662988"/>
                <a:gd name="connsiteY61" fmla="*/ 337277 h 2196070"/>
                <a:gd name="connsiteX62" fmla="*/ 1079390 w 1662988"/>
                <a:gd name="connsiteY62" fmla="*/ 1559471 h 2196070"/>
                <a:gd name="connsiteX63" fmla="*/ 995775 w 1662988"/>
                <a:gd name="connsiteY63" fmla="*/ 1607746 h 2196070"/>
                <a:gd name="connsiteX64" fmla="*/ 995775 w 1662988"/>
                <a:gd name="connsiteY64" fmla="*/ 1568157 h 2196070"/>
                <a:gd name="connsiteX65" fmla="*/ 999135 w 1662988"/>
                <a:gd name="connsiteY65" fmla="*/ 438988 h 2196070"/>
                <a:gd name="connsiteX66" fmla="*/ 930800 w 1662988"/>
                <a:gd name="connsiteY66" fmla="*/ 392883 h 2196070"/>
                <a:gd name="connsiteX67" fmla="*/ 758357 w 1662988"/>
                <a:gd name="connsiteY67" fmla="*/ 490182 h 2196070"/>
                <a:gd name="connsiteX68" fmla="*/ 748251 w 1662988"/>
                <a:gd name="connsiteY68" fmla="*/ 531190 h 2196070"/>
                <a:gd name="connsiteX69" fmla="*/ 747465 w 1662988"/>
                <a:gd name="connsiteY69" fmla="*/ 1753384 h 2196070"/>
                <a:gd name="connsiteX70" fmla="*/ 663850 w 1662988"/>
                <a:gd name="connsiteY70" fmla="*/ 1801659 h 2196070"/>
                <a:gd name="connsiteX71" fmla="*/ 663850 w 1662988"/>
                <a:gd name="connsiteY71" fmla="*/ 1762076 h 2196070"/>
                <a:gd name="connsiteX72" fmla="*/ 667210 w 1662988"/>
                <a:gd name="connsiteY72" fmla="*/ 632901 h 2196070"/>
                <a:gd name="connsiteX73" fmla="*/ 598875 w 1662988"/>
                <a:gd name="connsiteY73" fmla="*/ 586796 h 2196070"/>
                <a:gd name="connsiteX74" fmla="*/ 426432 w 1662988"/>
                <a:gd name="connsiteY74" fmla="*/ 684095 h 2196070"/>
                <a:gd name="connsiteX75" fmla="*/ 416326 w 1662988"/>
                <a:gd name="connsiteY75" fmla="*/ 725103 h 2196070"/>
                <a:gd name="connsiteX76" fmla="*/ 415540 w 1662988"/>
                <a:gd name="connsiteY76" fmla="*/ 1947297 h 2196070"/>
                <a:gd name="connsiteX77" fmla="*/ 331925 w 1662988"/>
                <a:gd name="connsiteY77" fmla="*/ 1995572 h 2196070"/>
                <a:gd name="connsiteX78" fmla="*/ 331925 w 1662988"/>
                <a:gd name="connsiteY78" fmla="*/ 1955655 h 2196070"/>
                <a:gd name="connsiteX79" fmla="*/ 335284 w 1662988"/>
                <a:gd name="connsiteY79" fmla="*/ 826816 h 2196070"/>
                <a:gd name="connsiteX80" fmla="*/ 266949 w 1662988"/>
                <a:gd name="connsiteY80" fmla="*/ 780711 h 2196070"/>
                <a:gd name="connsiteX81" fmla="*/ 94506 w 1662988"/>
                <a:gd name="connsiteY81" fmla="*/ 878009 h 2196070"/>
                <a:gd name="connsiteX82" fmla="*/ 84400 w 1662988"/>
                <a:gd name="connsiteY82" fmla="*/ 919017 h 2196070"/>
                <a:gd name="connsiteX83" fmla="*/ 83614 w 1662988"/>
                <a:gd name="connsiteY83" fmla="*/ 2141211 h 2196070"/>
                <a:gd name="connsiteX84" fmla="*/ -1 w 1662988"/>
                <a:gd name="connsiteY84" fmla="*/ 2189487 h 2196070"/>
                <a:gd name="connsiteX0" fmla="*/ 0 w 1579374"/>
                <a:gd name="connsiteY0" fmla="*/ 2141211 h 2194068"/>
                <a:gd name="connsiteX1" fmla="*/ 72781 w 1579374"/>
                <a:gd name="connsiteY1" fmla="*/ 2194068 h 2194068"/>
                <a:gd name="connsiteX2" fmla="*/ 82187 w 1579374"/>
                <a:gd name="connsiteY2" fmla="*/ 2174744 h 2194068"/>
                <a:gd name="connsiteX3" fmla="*/ 82028 w 1579374"/>
                <a:gd name="connsiteY3" fmla="*/ 2174180 h 2194068"/>
                <a:gd name="connsiteX4" fmla="*/ 82166 w 1579374"/>
                <a:gd name="connsiteY4" fmla="*/ 2173977 h 2194068"/>
                <a:gd name="connsiteX5" fmla="*/ 82166 w 1579374"/>
                <a:gd name="connsiteY5" fmla="*/ 931735 h 2194068"/>
                <a:gd name="connsiteX6" fmla="*/ 165784 w 1579374"/>
                <a:gd name="connsiteY6" fmla="*/ 883459 h 2194068"/>
                <a:gd name="connsiteX7" fmla="*/ 165783 w 1579374"/>
                <a:gd name="connsiteY7" fmla="*/ 2077333 h 2194068"/>
                <a:gd name="connsiteX8" fmla="*/ 168211 w 1579374"/>
                <a:gd name="connsiteY8" fmla="*/ 2080925 h 2194068"/>
                <a:gd name="connsiteX9" fmla="*/ 173283 w 1579374"/>
                <a:gd name="connsiteY9" fmla="*/ 2091279 h 2194068"/>
                <a:gd name="connsiteX10" fmla="*/ 235756 w 1579374"/>
                <a:gd name="connsiteY10" fmla="*/ 2097698 h 2194068"/>
                <a:gd name="connsiteX11" fmla="*/ 404707 w 1579374"/>
                <a:gd name="connsiteY11" fmla="*/ 2000154 h 2194068"/>
                <a:gd name="connsiteX12" fmla="*/ 414113 w 1579374"/>
                <a:gd name="connsiteY12" fmla="*/ 1980830 h 2194068"/>
                <a:gd name="connsiteX13" fmla="*/ 413954 w 1579374"/>
                <a:gd name="connsiteY13" fmla="*/ 1980266 h 2194068"/>
                <a:gd name="connsiteX14" fmla="*/ 414092 w 1579374"/>
                <a:gd name="connsiteY14" fmla="*/ 1980063 h 2194068"/>
                <a:gd name="connsiteX15" fmla="*/ 414092 w 1579374"/>
                <a:gd name="connsiteY15" fmla="*/ 737821 h 2194068"/>
                <a:gd name="connsiteX16" fmla="*/ 497709 w 1579374"/>
                <a:gd name="connsiteY16" fmla="*/ 689544 h 2194068"/>
                <a:gd name="connsiteX17" fmla="*/ 497709 w 1579374"/>
                <a:gd name="connsiteY17" fmla="*/ 1883418 h 2194068"/>
                <a:gd name="connsiteX18" fmla="*/ 500130 w 1579374"/>
                <a:gd name="connsiteY18" fmla="*/ 1887000 h 2194068"/>
                <a:gd name="connsiteX19" fmla="*/ 505208 w 1579374"/>
                <a:gd name="connsiteY19" fmla="*/ 1897366 h 2194068"/>
                <a:gd name="connsiteX20" fmla="*/ 567681 w 1579374"/>
                <a:gd name="connsiteY20" fmla="*/ 1903785 h 2194068"/>
                <a:gd name="connsiteX21" fmla="*/ 736632 w 1579374"/>
                <a:gd name="connsiteY21" fmla="*/ 1806241 h 2194068"/>
                <a:gd name="connsiteX22" fmla="*/ 746038 w 1579374"/>
                <a:gd name="connsiteY22" fmla="*/ 1786917 h 2194068"/>
                <a:gd name="connsiteX23" fmla="*/ 745879 w 1579374"/>
                <a:gd name="connsiteY23" fmla="*/ 1786353 h 2194068"/>
                <a:gd name="connsiteX24" fmla="*/ 746017 w 1579374"/>
                <a:gd name="connsiteY24" fmla="*/ 1786150 h 2194068"/>
                <a:gd name="connsiteX25" fmla="*/ 746017 w 1579374"/>
                <a:gd name="connsiteY25" fmla="*/ 543908 h 2194068"/>
                <a:gd name="connsiteX26" fmla="*/ 829634 w 1579374"/>
                <a:gd name="connsiteY26" fmla="*/ 495632 h 2194068"/>
                <a:gd name="connsiteX27" fmla="*/ 829634 w 1579374"/>
                <a:gd name="connsiteY27" fmla="*/ 1689505 h 2194068"/>
                <a:gd name="connsiteX28" fmla="*/ 832055 w 1579374"/>
                <a:gd name="connsiteY28" fmla="*/ 1693087 h 2194068"/>
                <a:gd name="connsiteX29" fmla="*/ 837133 w 1579374"/>
                <a:gd name="connsiteY29" fmla="*/ 1703453 h 2194068"/>
                <a:gd name="connsiteX30" fmla="*/ 899606 w 1579374"/>
                <a:gd name="connsiteY30" fmla="*/ 1709872 h 2194068"/>
                <a:gd name="connsiteX31" fmla="*/ 1068557 w 1579374"/>
                <a:gd name="connsiteY31" fmla="*/ 1612328 h 2194068"/>
                <a:gd name="connsiteX32" fmla="*/ 1077963 w 1579374"/>
                <a:gd name="connsiteY32" fmla="*/ 1593004 h 2194068"/>
                <a:gd name="connsiteX33" fmla="*/ 1077804 w 1579374"/>
                <a:gd name="connsiteY33" fmla="*/ 1592440 h 2194068"/>
                <a:gd name="connsiteX34" fmla="*/ 1077942 w 1579374"/>
                <a:gd name="connsiteY34" fmla="*/ 1592237 h 2194068"/>
                <a:gd name="connsiteX35" fmla="*/ 1077942 w 1579374"/>
                <a:gd name="connsiteY35" fmla="*/ 349995 h 2194068"/>
                <a:gd name="connsiteX36" fmla="*/ 1161559 w 1579374"/>
                <a:gd name="connsiteY36" fmla="*/ 301719 h 2194068"/>
                <a:gd name="connsiteX37" fmla="*/ 1161559 w 1579374"/>
                <a:gd name="connsiteY37" fmla="*/ 1495592 h 2194068"/>
                <a:gd name="connsiteX38" fmla="*/ 1163984 w 1579374"/>
                <a:gd name="connsiteY38" fmla="*/ 1499182 h 2194068"/>
                <a:gd name="connsiteX39" fmla="*/ 1169059 w 1579374"/>
                <a:gd name="connsiteY39" fmla="*/ 1509541 h 2194068"/>
                <a:gd name="connsiteX40" fmla="*/ 1231533 w 1579374"/>
                <a:gd name="connsiteY40" fmla="*/ 1515960 h 2194068"/>
                <a:gd name="connsiteX41" fmla="*/ 1400484 w 1579374"/>
                <a:gd name="connsiteY41" fmla="*/ 1418416 h 2194068"/>
                <a:gd name="connsiteX42" fmla="*/ 1409890 w 1579374"/>
                <a:gd name="connsiteY42" fmla="*/ 1399092 h 2194068"/>
                <a:gd name="connsiteX43" fmla="*/ 1409731 w 1579374"/>
                <a:gd name="connsiteY43" fmla="*/ 1398528 h 2194068"/>
                <a:gd name="connsiteX44" fmla="*/ 1409869 w 1579374"/>
                <a:gd name="connsiteY44" fmla="*/ 1398325 h 2194068"/>
                <a:gd name="connsiteX45" fmla="*/ 1409869 w 1579374"/>
                <a:gd name="connsiteY45" fmla="*/ 156083 h 2194068"/>
                <a:gd name="connsiteX46" fmla="*/ 1493486 w 1579374"/>
                <a:gd name="connsiteY46" fmla="*/ 107807 h 2194068"/>
                <a:gd name="connsiteX47" fmla="*/ 1493486 w 1579374"/>
                <a:gd name="connsiteY47" fmla="*/ 1301680 h 2194068"/>
                <a:gd name="connsiteX48" fmla="*/ 1505519 w 1579374"/>
                <a:gd name="connsiteY48" fmla="*/ 1319489 h 2194068"/>
                <a:gd name="connsiteX49" fmla="*/ 1534569 w 1579374"/>
                <a:gd name="connsiteY49" fmla="*/ 1326865 h 2194068"/>
                <a:gd name="connsiteX50" fmla="*/ 1575652 w 1579374"/>
                <a:gd name="connsiteY50" fmla="*/ 1301680 h 2194068"/>
                <a:gd name="connsiteX51" fmla="*/ 1579373 w 1579374"/>
                <a:gd name="connsiteY51" fmla="*/ 51163 h 2194068"/>
                <a:gd name="connsiteX52" fmla="*/ 1511037 w 1579374"/>
                <a:gd name="connsiteY52" fmla="*/ 5059 h 2194068"/>
                <a:gd name="connsiteX53" fmla="*/ 1338595 w 1579374"/>
                <a:gd name="connsiteY53" fmla="*/ 102357 h 2194068"/>
                <a:gd name="connsiteX54" fmla="*/ 1328489 w 1579374"/>
                <a:gd name="connsiteY54" fmla="*/ 143365 h 2194068"/>
                <a:gd name="connsiteX55" fmla="*/ 1327703 w 1579374"/>
                <a:gd name="connsiteY55" fmla="*/ 1365559 h 2194068"/>
                <a:gd name="connsiteX56" fmla="*/ 1244088 w 1579374"/>
                <a:gd name="connsiteY56" fmla="*/ 1413834 h 2194068"/>
                <a:gd name="connsiteX57" fmla="*/ 1244088 w 1579374"/>
                <a:gd name="connsiteY57" fmla="*/ 1373656 h 2194068"/>
                <a:gd name="connsiteX58" fmla="*/ 1247446 w 1579374"/>
                <a:gd name="connsiteY58" fmla="*/ 245075 h 2194068"/>
                <a:gd name="connsiteX59" fmla="*/ 1179111 w 1579374"/>
                <a:gd name="connsiteY59" fmla="*/ 198971 h 2194068"/>
                <a:gd name="connsiteX60" fmla="*/ 1006668 w 1579374"/>
                <a:gd name="connsiteY60" fmla="*/ 296269 h 2194068"/>
                <a:gd name="connsiteX61" fmla="*/ 996562 w 1579374"/>
                <a:gd name="connsiteY61" fmla="*/ 337277 h 2194068"/>
                <a:gd name="connsiteX62" fmla="*/ 995776 w 1579374"/>
                <a:gd name="connsiteY62" fmla="*/ 1559471 h 2194068"/>
                <a:gd name="connsiteX63" fmla="*/ 912161 w 1579374"/>
                <a:gd name="connsiteY63" fmla="*/ 1607746 h 2194068"/>
                <a:gd name="connsiteX64" fmla="*/ 912161 w 1579374"/>
                <a:gd name="connsiteY64" fmla="*/ 1568157 h 2194068"/>
                <a:gd name="connsiteX65" fmla="*/ 915521 w 1579374"/>
                <a:gd name="connsiteY65" fmla="*/ 438988 h 2194068"/>
                <a:gd name="connsiteX66" fmla="*/ 847186 w 1579374"/>
                <a:gd name="connsiteY66" fmla="*/ 392883 h 2194068"/>
                <a:gd name="connsiteX67" fmla="*/ 674743 w 1579374"/>
                <a:gd name="connsiteY67" fmla="*/ 490182 h 2194068"/>
                <a:gd name="connsiteX68" fmla="*/ 664637 w 1579374"/>
                <a:gd name="connsiteY68" fmla="*/ 531190 h 2194068"/>
                <a:gd name="connsiteX69" fmla="*/ 663851 w 1579374"/>
                <a:gd name="connsiteY69" fmla="*/ 1753384 h 2194068"/>
                <a:gd name="connsiteX70" fmla="*/ 580236 w 1579374"/>
                <a:gd name="connsiteY70" fmla="*/ 1801659 h 2194068"/>
                <a:gd name="connsiteX71" fmla="*/ 580236 w 1579374"/>
                <a:gd name="connsiteY71" fmla="*/ 1762076 h 2194068"/>
                <a:gd name="connsiteX72" fmla="*/ 583596 w 1579374"/>
                <a:gd name="connsiteY72" fmla="*/ 632901 h 2194068"/>
                <a:gd name="connsiteX73" fmla="*/ 515261 w 1579374"/>
                <a:gd name="connsiteY73" fmla="*/ 586796 h 2194068"/>
                <a:gd name="connsiteX74" fmla="*/ 342818 w 1579374"/>
                <a:gd name="connsiteY74" fmla="*/ 684095 h 2194068"/>
                <a:gd name="connsiteX75" fmla="*/ 332712 w 1579374"/>
                <a:gd name="connsiteY75" fmla="*/ 725103 h 2194068"/>
                <a:gd name="connsiteX76" fmla="*/ 331926 w 1579374"/>
                <a:gd name="connsiteY76" fmla="*/ 1947297 h 2194068"/>
                <a:gd name="connsiteX77" fmla="*/ 248311 w 1579374"/>
                <a:gd name="connsiteY77" fmla="*/ 1995572 h 2194068"/>
                <a:gd name="connsiteX78" fmla="*/ 248311 w 1579374"/>
                <a:gd name="connsiteY78" fmla="*/ 1955655 h 2194068"/>
                <a:gd name="connsiteX79" fmla="*/ 251670 w 1579374"/>
                <a:gd name="connsiteY79" fmla="*/ 826816 h 2194068"/>
                <a:gd name="connsiteX80" fmla="*/ 183335 w 1579374"/>
                <a:gd name="connsiteY80" fmla="*/ 780711 h 2194068"/>
                <a:gd name="connsiteX81" fmla="*/ 10892 w 1579374"/>
                <a:gd name="connsiteY81" fmla="*/ 878009 h 2194068"/>
                <a:gd name="connsiteX82" fmla="*/ 786 w 1579374"/>
                <a:gd name="connsiteY82" fmla="*/ 919017 h 2194068"/>
                <a:gd name="connsiteX83" fmla="*/ 0 w 1579374"/>
                <a:gd name="connsiteY83" fmla="*/ 2141211 h 2194068"/>
                <a:gd name="connsiteX0" fmla="*/ 0 w 1579374"/>
                <a:gd name="connsiteY0" fmla="*/ 2141211 h 2174743"/>
                <a:gd name="connsiteX1" fmla="*/ 82187 w 1579374"/>
                <a:gd name="connsiteY1" fmla="*/ 2174744 h 2174743"/>
                <a:gd name="connsiteX2" fmla="*/ 82028 w 1579374"/>
                <a:gd name="connsiteY2" fmla="*/ 2174180 h 2174743"/>
                <a:gd name="connsiteX3" fmla="*/ 82166 w 1579374"/>
                <a:gd name="connsiteY3" fmla="*/ 2173977 h 2174743"/>
                <a:gd name="connsiteX4" fmla="*/ 82166 w 1579374"/>
                <a:gd name="connsiteY4" fmla="*/ 931735 h 2174743"/>
                <a:gd name="connsiteX5" fmla="*/ 165784 w 1579374"/>
                <a:gd name="connsiteY5" fmla="*/ 883459 h 2174743"/>
                <a:gd name="connsiteX6" fmla="*/ 165783 w 1579374"/>
                <a:gd name="connsiteY6" fmla="*/ 2077333 h 2174743"/>
                <a:gd name="connsiteX7" fmla="*/ 168211 w 1579374"/>
                <a:gd name="connsiteY7" fmla="*/ 2080925 h 2174743"/>
                <a:gd name="connsiteX8" fmla="*/ 173283 w 1579374"/>
                <a:gd name="connsiteY8" fmla="*/ 2091279 h 2174743"/>
                <a:gd name="connsiteX9" fmla="*/ 235756 w 1579374"/>
                <a:gd name="connsiteY9" fmla="*/ 2097698 h 2174743"/>
                <a:gd name="connsiteX10" fmla="*/ 404707 w 1579374"/>
                <a:gd name="connsiteY10" fmla="*/ 2000154 h 2174743"/>
                <a:gd name="connsiteX11" fmla="*/ 414113 w 1579374"/>
                <a:gd name="connsiteY11" fmla="*/ 1980830 h 2174743"/>
                <a:gd name="connsiteX12" fmla="*/ 413954 w 1579374"/>
                <a:gd name="connsiteY12" fmla="*/ 1980266 h 2174743"/>
                <a:gd name="connsiteX13" fmla="*/ 414092 w 1579374"/>
                <a:gd name="connsiteY13" fmla="*/ 1980063 h 2174743"/>
                <a:gd name="connsiteX14" fmla="*/ 414092 w 1579374"/>
                <a:gd name="connsiteY14" fmla="*/ 737821 h 2174743"/>
                <a:gd name="connsiteX15" fmla="*/ 497709 w 1579374"/>
                <a:gd name="connsiteY15" fmla="*/ 689544 h 2174743"/>
                <a:gd name="connsiteX16" fmla="*/ 497709 w 1579374"/>
                <a:gd name="connsiteY16" fmla="*/ 1883418 h 2174743"/>
                <a:gd name="connsiteX17" fmla="*/ 500130 w 1579374"/>
                <a:gd name="connsiteY17" fmla="*/ 1887000 h 2174743"/>
                <a:gd name="connsiteX18" fmla="*/ 505208 w 1579374"/>
                <a:gd name="connsiteY18" fmla="*/ 1897366 h 2174743"/>
                <a:gd name="connsiteX19" fmla="*/ 567681 w 1579374"/>
                <a:gd name="connsiteY19" fmla="*/ 1903785 h 2174743"/>
                <a:gd name="connsiteX20" fmla="*/ 736632 w 1579374"/>
                <a:gd name="connsiteY20" fmla="*/ 1806241 h 2174743"/>
                <a:gd name="connsiteX21" fmla="*/ 746038 w 1579374"/>
                <a:gd name="connsiteY21" fmla="*/ 1786917 h 2174743"/>
                <a:gd name="connsiteX22" fmla="*/ 745879 w 1579374"/>
                <a:gd name="connsiteY22" fmla="*/ 1786353 h 2174743"/>
                <a:gd name="connsiteX23" fmla="*/ 746017 w 1579374"/>
                <a:gd name="connsiteY23" fmla="*/ 1786150 h 2174743"/>
                <a:gd name="connsiteX24" fmla="*/ 746017 w 1579374"/>
                <a:gd name="connsiteY24" fmla="*/ 543908 h 2174743"/>
                <a:gd name="connsiteX25" fmla="*/ 829634 w 1579374"/>
                <a:gd name="connsiteY25" fmla="*/ 495632 h 2174743"/>
                <a:gd name="connsiteX26" fmla="*/ 829634 w 1579374"/>
                <a:gd name="connsiteY26" fmla="*/ 1689505 h 2174743"/>
                <a:gd name="connsiteX27" fmla="*/ 832055 w 1579374"/>
                <a:gd name="connsiteY27" fmla="*/ 1693087 h 2174743"/>
                <a:gd name="connsiteX28" fmla="*/ 837133 w 1579374"/>
                <a:gd name="connsiteY28" fmla="*/ 1703453 h 2174743"/>
                <a:gd name="connsiteX29" fmla="*/ 899606 w 1579374"/>
                <a:gd name="connsiteY29" fmla="*/ 1709872 h 2174743"/>
                <a:gd name="connsiteX30" fmla="*/ 1068557 w 1579374"/>
                <a:gd name="connsiteY30" fmla="*/ 1612328 h 2174743"/>
                <a:gd name="connsiteX31" fmla="*/ 1077963 w 1579374"/>
                <a:gd name="connsiteY31" fmla="*/ 1593004 h 2174743"/>
                <a:gd name="connsiteX32" fmla="*/ 1077804 w 1579374"/>
                <a:gd name="connsiteY32" fmla="*/ 1592440 h 2174743"/>
                <a:gd name="connsiteX33" fmla="*/ 1077942 w 1579374"/>
                <a:gd name="connsiteY33" fmla="*/ 1592237 h 2174743"/>
                <a:gd name="connsiteX34" fmla="*/ 1077942 w 1579374"/>
                <a:gd name="connsiteY34" fmla="*/ 349995 h 2174743"/>
                <a:gd name="connsiteX35" fmla="*/ 1161559 w 1579374"/>
                <a:gd name="connsiteY35" fmla="*/ 301719 h 2174743"/>
                <a:gd name="connsiteX36" fmla="*/ 1161559 w 1579374"/>
                <a:gd name="connsiteY36" fmla="*/ 1495592 h 2174743"/>
                <a:gd name="connsiteX37" fmla="*/ 1163984 w 1579374"/>
                <a:gd name="connsiteY37" fmla="*/ 1499182 h 2174743"/>
                <a:gd name="connsiteX38" fmla="*/ 1169059 w 1579374"/>
                <a:gd name="connsiteY38" fmla="*/ 1509541 h 2174743"/>
                <a:gd name="connsiteX39" fmla="*/ 1231533 w 1579374"/>
                <a:gd name="connsiteY39" fmla="*/ 1515960 h 2174743"/>
                <a:gd name="connsiteX40" fmla="*/ 1400484 w 1579374"/>
                <a:gd name="connsiteY40" fmla="*/ 1418416 h 2174743"/>
                <a:gd name="connsiteX41" fmla="*/ 1409890 w 1579374"/>
                <a:gd name="connsiteY41" fmla="*/ 1399092 h 2174743"/>
                <a:gd name="connsiteX42" fmla="*/ 1409731 w 1579374"/>
                <a:gd name="connsiteY42" fmla="*/ 1398528 h 2174743"/>
                <a:gd name="connsiteX43" fmla="*/ 1409869 w 1579374"/>
                <a:gd name="connsiteY43" fmla="*/ 1398325 h 2174743"/>
                <a:gd name="connsiteX44" fmla="*/ 1409869 w 1579374"/>
                <a:gd name="connsiteY44" fmla="*/ 156083 h 2174743"/>
                <a:gd name="connsiteX45" fmla="*/ 1493486 w 1579374"/>
                <a:gd name="connsiteY45" fmla="*/ 107807 h 2174743"/>
                <a:gd name="connsiteX46" fmla="*/ 1493486 w 1579374"/>
                <a:gd name="connsiteY46" fmla="*/ 1301680 h 2174743"/>
                <a:gd name="connsiteX47" fmla="*/ 1505519 w 1579374"/>
                <a:gd name="connsiteY47" fmla="*/ 1319489 h 2174743"/>
                <a:gd name="connsiteX48" fmla="*/ 1534569 w 1579374"/>
                <a:gd name="connsiteY48" fmla="*/ 1326865 h 2174743"/>
                <a:gd name="connsiteX49" fmla="*/ 1575652 w 1579374"/>
                <a:gd name="connsiteY49" fmla="*/ 1301680 h 2174743"/>
                <a:gd name="connsiteX50" fmla="*/ 1579373 w 1579374"/>
                <a:gd name="connsiteY50" fmla="*/ 51163 h 2174743"/>
                <a:gd name="connsiteX51" fmla="*/ 1511037 w 1579374"/>
                <a:gd name="connsiteY51" fmla="*/ 5059 h 2174743"/>
                <a:gd name="connsiteX52" fmla="*/ 1338595 w 1579374"/>
                <a:gd name="connsiteY52" fmla="*/ 102357 h 2174743"/>
                <a:gd name="connsiteX53" fmla="*/ 1328489 w 1579374"/>
                <a:gd name="connsiteY53" fmla="*/ 143365 h 2174743"/>
                <a:gd name="connsiteX54" fmla="*/ 1327703 w 1579374"/>
                <a:gd name="connsiteY54" fmla="*/ 1365559 h 2174743"/>
                <a:gd name="connsiteX55" fmla="*/ 1244088 w 1579374"/>
                <a:gd name="connsiteY55" fmla="*/ 1413834 h 2174743"/>
                <a:gd name="connsiteX56" fmla="*/ 1244088 w 1579374"/>
                <a:gd name="connsiteY56" fmla="*/ 1373656 h 2174743"/>
                <a:gd name="connsiteX57" fmla="*/ 1247446 w 1579374"/>
                <a:gd name="connsiteY57" fmla="*/ 245075 h 2174743"/>
                <a:gd name="connsiteX58" fmla="*/ 1179111 w 1579374"/>
                <a:gd name="connsiteY58" fmla="*/ 198971 h 2174743"/>
                <a:gd name="connsiteX59" fmla="*/ 1006668 w 1579374"/>
                <a:gd name="connsiteY59" fmla="*/ 296269 h 2174743"/>
                <a:gd name="connsiteX60" fmla="*/ 996562 w 1579374"/>
                <a:gd name="connsiteY60" fmla="*/ 337277 h 2174743"/>
                <a:gd name="connsiteX61" fmla="*/ 995776 w 1579374"/>
                <a:gd name="connsiteY61" fmla="*/ 1559471 h 2174743"/>
                <a:gd name="connsiteX62" fmla="*/ 912161 w 1579374"/>
                <a:gd name="connsiteY62" fmla="*/ 1607746 h 2174743"/>
                <a:gd name="connsiteX63" fmla="*/ 912161 w 1579374"/>
                <a:gd name="connsiteY63" fmla="*/ 1568157 h 2174743"/>
                <a:gd name="connsiteX64" fmla="*/ 915521 w 1579374"/>
                <a:gd name="connsiteY64" fmla="*/ 438988 h 2174743"/>
                <a:gd name="connsiteX65" fmla="*/ 847186 w 1579374"/>
                <a:gd name="connsiteY65" fmla="*/ 392883 h 2174743"/>
                <a:gd name="connsiteX66" fmla="*/ 674743 w 1579374"/>
                <a:gd name="connsiteY66" fmla="*/ 490182 h 2174743"/>
                <a:gd name="connsiteX67" fmla="*/ 664637 w 1579374"/>
                <a:gd name="connsiteY67" fmla="*/ 531190 h 2174743"/>
                <a:gd name="connsiteX68" fmla="*/ 663851 w 1579374"/>
                <a:gd name="connsiteY68" fmla="*/ 1753384 h 2174743"/>
                <a:gd name="connsiteX69" fmla="*/ 580236 w 1579374"/>
                <a:gd name="connsiteY69" fmla="*/ 1801659 h 2174743"/>
                <a:gd name="connsiteX70" fmla="*/ 580236 w 1579374"/>
                <a:gd name="connsiteY70" fmla="*/ 1762076 h 2174743"/>
                <a:gd name="connsiteX71" fmla="*/ 583596 w 1579374"/>
                <a:gd name="connsiteY71" fmla="*/ 632901 h 2174743"/>
                <a:gd name="connsiteX72" fmla="*/ 515261 w 1579374"/>
                <a:gd name="connsiteY72" fmla="*/ 586796 h 2174743"/>
                <a:gd name="connsiteX73" fmla="*/ 342818 w 1579374"/>
                <a:gd name="connsiteY73" fmla="*/ 684095 h 2174743"/>
                <a:gd name="connsiteX74" fmla="*/ 332712 w 1579374"/>
                <a:gd name="connsiteY74" fmla="*/ 725103 h 2174743"/>
                <a:gd name="connsiteX75" fmla="*/ 331926 w 1579374"/>
                <a:gd name="connsiteY75" fmla="*/ 1947297 h 2174743"/>
                <a:gd name="connsiteX76" fmla="*/ 248311 w 1579374"/>
                <a:gd name="connsiteY76" fmla="*/ 1995572 h 2174743"/>
                <a:gd name="connsiteX77" fmla="*/ 248311 w 1579374"/>
                <a:gd name="connsiteY77" fmla="*/ 1955655 h 2174743"/>
                <a:gd name="connsiteX78" fmla="*/ 251670 w 1579374"/>
                <a:gd name="connsiteY78" fmla="*/ 826816 h 2174743"/>
                <a:gd name="connsiteX79" fmla="*/ 183335 w 1579374"/>
                <a:gd name="connsiteY79" fmla="*/ 780711 h 2174743"/>
                <a:gd name="connsiteX80" fmla="*/ 10892 w 1579374"/>
                <a:gd name="connsiteY80" fmla="*/ 878009 h 2174743"/>
                <a:gd name="connsiteX81" fmla="*/ 786 w 1579374"/>
                <a:gd name="connsiteY81" fmla="*/ 919017 h 2174743"/>
                <a:gd name="connsiteX82" fmla="*/ 0 w 1579374"/>
                <a:gd name="connsiteY82" fmla="*/ 2141211 h 2174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579374" h="2174743">
                  <a:moveTo>
                    <a:pt x="0" y="2141211"/>
                  </a:moveTo>
                  <a:lnTo>
                    <a:pt x="82187" y="2174744"/>
                  </a:lnTo>
                  <a:lnTo>
                    <a:pt x="82028" y="2174180"/>
                  </a:lnTo>
                  <a:lnTo>
                    <a:pt x="82166" y="2173977"/>
                  </a:lnTo>
                  <a:lnTo>
                    <a:pt x="82166" y="931735"/>
                  </a:lnTo>
                  <a:lnTo>
                    <a:pt x="165784" y="883459"/>
                  </a:lnTo>
                  <a:cubicBezTo>
                    <a:pt x="165784" y="1281417"/>
                    <a:pt x="165783" y="1679375"/>
                    <a:pt x="165783" y="2077333"/>
                  </a:cubicBezTo>
                  <a:lnTo>
                    <a:pt x="168211" y="2080925"/>
                  </a:lnTo>
                  <a:lnTo>
                    <a:pt x="173283" y="2091279"/>
                  </a:lnTo>
                  <a:cubicBezTo>
                    <a:pt x="183594" y="2106105"/>
                    <a:pt x="203672" y="2118333"/>
                    <a:pt x="235756" y="2097698"/>
                  </a:cubicBezTo>
                  <a:lnTo>
                    <a:pt x="404707" y="2000154"/>
                  </a:lnTo>
                  <a:cubicBezTo>
                    <a:pt x="410729" y="1996677"/>
                    <a:pt x="413883" y="1989547"/>
                    <a:pt x="414113" y="1980830"/>
                  </a:cubicBezTo>
                  <a:lnTo>
                    <a:pt x="413954" y="1980266"/>
                  </a:lnTo>
                  <a:lnTo>
                    <a:pt x="414092" y="1980063"/>
                  </a:lnTo>
                  <a:lnTo>
                    <a:pt x="414092" y="737821"/>
                  </a:lnTo>
                  <a:lnTo>
                    <a:pt x="497709" y="689544"/>
                  </a:lnTo>
                  <a:lnTo>
                    <a:pt x="497709" y="1883418"/>
                  </a:lnTo>
                  <a:lnTo>
                    <a:pt x="500130" y="1887000"/>
                  </a:lnTo>
                  <a:lnTo>
                    <a:pt x="505208" y="1897366"/>
                  </a:lnTo>
                  <a:cubicBezTo>
                    <a:pt x="515519" y="1912192"/>
                    <a:pt x="535597" y="1924420"/>
                    <a:pt x="567681" y="1903785"/>
                  </a:cubicBezTo>
                  <a:lnTo>
                    <a:pt x="736632" y="1806241"/>
                  </a:lnTo>
                  <a:cubicBezTo>
                    <a:pt x="742654" y="1802764"/>
                    <a:pt x="745808" y="1795634"/>
                    <a:pt x="746038" y="1786917"/>
                  </a:cubicBezTo>
                  <a:lnTo>
                    <a:pt x="745879" y="1786353"/>
                  </a:lnTo>
                  <a:lnTo>
                    <a:pt x="746017" y="1786150"/>
                  </a:lnTo>
                  <a:lnTo>
                    <a:pt x="746017" y="543908"/>
                  </a:lnTo>
                  <a:lnTo>
                    <a:pt x="829634" y="495632"/>
                  </a:lnTo>
                  <a:lnTo>
                    <a:pt x="829634" y="1689505"/>
                  </a:lnTo>
                  <a:lnTo>
                    <a:pt x="832055" y="1693087"/>
                  </a:lnTo>
                  <a:lnTo>
                    <a:pt x="837133" y="1703453"/>
                  </a:lnTo>
                  <a:cubicBezTo>
                    <a:pt x="847444" y="1718279"/>
                    <a:pt x="867522" y="1730507"/>
                    <a:pt x="899606" y="1709872"/>
                  </a:cubicBezTo>
                  <a:lnTo>
                    <a:pt x="1068557" y="1612328"/>
                  </a:lnTo>
                  <a:cubicBezTo>
                    <a:pt x="1074579" y="1608851"/>
                    <a:pt x="1077733" y="1601721"/>
                    <a:pt x="1077963" y="1593004"/>
                  </a:cubicBezTo>
                  <a:lnTo>
                    <a:pt x="1077804" y="1592440"/>
                  </a:lnTo>
                  <a:lnTo>
                    <a:pt x="1077942" y="1592237"/>
                  </a:lnTo>
                  <a:lnTo>
                    <a:pt x="1077942" y="349995"/>
                  </a:lnTo>
                  <a:lnTo>
                    <a:pt x="1161559" y="301719"/>
                  </a:lnTo>
                  <a:lnTo>
                    <a:pt x="1161559" y="1495592"/>
                  </a:lnTo>
                  <a:lnTo>
                    <a:pt x="1163984" y="1499182"/>
                  </a:lnTo>
                  <a:lnTo>
                    <a:pt x="1169059" y="1509541"/>
                  </a:lnTo>
                  <a:cubicBezTo>
                    <a:pt x="1179371" y="1524367"/>
                    <a:pt x="1199448" y="1536595"/>
                    <a:pt x="1231533" y="1515960"/>
                  </a:cubicBezTo>
                  <a:lnTo>
                    <a:pt x="1400484" y="1418416"/>
                  </a:lnTo>
                  <a:cubicBezTo>
                    <a:pt x="1406506" y="1414939"/>
                    <a:pt x="1409660" y="1407809"/>
                    <a:pt x="1409890" y="1399092"/>
                  </a:cubicBezTo>
                  <a:lnTo>
                    <a:pt x="1409731" y="1398528"/>
                  </a:lnTo>
                  <a:lnTo>
                    <a:pt x="1409869" y="1398325"/>
                  </a:lnTo>
                  <a:lnTo>
                    <a:pt x="1409869" y="156083"/>
                  </a:lnTo>
                  <a:lnTo>
                    <a:pt x="1493486" y="107807"/>
                  </a:lnTo>
                  <a:lnTo>
                    <a:pt x="1493486" y="1301680"/>
                  </a:lnTo>
                  <a:cubicBezTo>
                    <a:pt x="1493486" y="1308634"/>
                    <a:pt x="1498084" y="1314931"/>
                    <a:pt x="1505519" y="1319489"/>
                  </a:cubicBezTo>
                  <a:cubicBezTo>
                    <a:pt x="1512953" y="1324046"/>
                    <a:pt x="1523224" y="1326865"/>
                    <a:pt x="1534569" y="1326865"/>
                  </a:cubicBezTo>
                  <a:cubicBezTo>
                    <a:pt x="1557259" y="1326865"/>
                    <a:pt x="1575652" y="1315589"/>
                    <a:pt x="1575652" y="1301680"/>
                  </a:cubicBezTo>
                  <a:cubicBezTo>
                    <a:pt x="1576892" y="884841"/>
                    <a:pt x="1578133" y="468002"/>
                    <a:pt x="1579373" y="51163"/>
                  </a:cubicBezTo>
                  <a:cubicBezTo>
                    <a:pt x="1579654" y="6417"/>
                    <a:pt x="1535165" y="-9067"/>
                    <a:pt x="1511037" y="5059"/>
                  </a:cubicBezTo>
                  <a:lnTo>
                    <a:pt x="1338595" y="102357"/>
                  </a:lnTo>
                  <a:cubicBezTo>
                    <a:pt x="1329736" y="115165"/>
                    <a:pt x="1327761" y="120917"/>
                    <a:pt x="1328489" y="143365"/>
                  </a:cubicBezTo>
                  <a:lnTo>
                    <a:pt x="1327703" y="1365559"/>
                  </a:lnTo>
                  <a:lnTo>
                    <a:pt x="1244088" y="1413834"/>
                  </a:lnTo>
                  <a:lnTo>
                    <a:pt x="1244088" y="1373656"/>
                  </a:lnTo>
                  <a:cubicBezTo>
                    <a:pt x="1245207" y="997462"/>
                    <a:pt x="1246327" y="621269"/>
                    <a:pt x="1247446" y="245075"/>
                  </a:cubicBezTo>
                  <a:cubicBezTo>
                    <a:pt x="1240542" y="202210"/>
                    <a:pt x="1207502" y="191917"/>
                    <a:pt x="1179111" y="198971"/>
                  </a:cubicBezTo>
                  <a:lnTo>
                    <a:pt x="1006668" y="296269"/>
                  </a:lnTo>
                  <a:cubicBezTo>
                    <a:pt x="997809" y="309077"/>
                    <a:pt x="995834" y="314829"/>
                    <a:pt x="996562" y="337277"/>
                  </a:cubicBezTo>
                  <a:lnTo>
                    <a:pt x="995776" y="1559471"/>
                  </a:lnTo>
                  <a:lnTo>
                    <a:pt x="912161" y="1607746"/>
                  </a:lnTo>
                  <a:lnTo>
                    <a:pt x="912161" y="1568157"/>
                  </a:lnTo>
                  <a:lnTo>
                    <a:pt x="915521" y="438988"/>
                  </a:lnTo>
                  <a:cubicBezTo>
                    <a:pt x="907030" y="398874"/>
                    <a:pt x="883089" y="379167"/>
                    <a:pt x="847186" y="392883"/>
                  </a:cubicBezTo>
                  <a:lnTo>
                    <a:pt x="674743" y="490182"/>
                  </a:lnTo>
                  <a:cubicBezTo>
                    <a:pt x="665884" y="502990"/>
                    <a:pt x="663910" y="508742"/>
                    <a:pt x="664637" y="531190"/>
                  </a:cubicBezTo>
                  <a:lnTo>
                    <a:pt x="663851" y="1753384"/>
                  </a:lnTo>
                  <a:lnTo>
                    <a:pt x="580236" y="1801659"/>
                  </a:lnTo>
                  <a:lnTo>
                    <a:pt x="580236" y="1762076"/>
                  </a:lnTo>
                  <a:lnTo>
                    <a:pt x="583596" y="632901"/>
                  </a:lnTo>
                  <a:cubicBezTo>
                    <a:pt x="581881" y="574701"/>
                    <a:pt x="548416" y="571493"/>
                    <a:pt x="515261" y="586796"/>
                  </a:cubicBezTo>
                  <a:lnTo>
                    <a:pt x="342818" y="684095"/>
                  </a:lnTo>
                  <a:cubicBezTo>
                    <a:pt x="333959" y="696903"/>
                    <a:pt x="331985" y="702654"/>
                    <a:pt x="332712" y="725103"/>
                  </a:cubicBezTo>
                  <a:lnTo>
                    <a:pt x="331926" y="1947297"/>
                  </a:lnTo>
                  <a:lnTo>
                    <a:pt x="248311" y="1995572"/>
                  </a:lnTo>
                  <a:lnTo>
                    <a:pt x="248311" y="1955655"/>
                  </a:lnTo>
                  <a:cubicBezTo>
                    <a:pt x="249431" y="1579375"/>
                    <a:pt x="250550" y="1203096"/>
                    <a:pt x="251670" y="826816"/>
                  </a:cubicBezTo>
                  <a:cubicBezTo>
                    <a:pt x="249529" y="775703"/>
                    <a:pt x="223575" y="765833"/>
                    <a:pt x="183335" y="780711"/>
                  </a:cubicBezTo>
                  <a:lnTo>
                    <a:pt x="10892" y="878009"/>
                  </a:lnTo>
                  <a:cubicBezTo>
                    <a:pt x="2033" y="890818"/>
                    <a:pt x="59" y="896569"/>
                    <a:pt x="786" y="919017"/>
                  </a:cubicBezTo>
                  <a:lnTo>
                    <a:pt x="0" y="2141211"/>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nvGrpSpPr>
            <p:cNvPr id="1637" name="Group 1636">
              <a:extLst>
                <a:ext uri="{FF2B5EF4-FFF2-40B4-BE49-F238E27FC236}">
                  <a16:creationId xmlns:a16="http://schemas.microsoft.com/office/drawing/2014/main" id="{52D4A13D-217F-4AF5-9822-C321732FA856}"/>
                </a:ext>
              </a:extLst>
            </p:cNvPr>
            <p:cNvGrpSpPr/>
            <p:nvPr/>
          </p:nvGrpSpPr>
          <p:grpSpPr bwMode="gray">
            <a:xfrm>
              <a:off x="13306408" y="-966550"/>
              <a:ext cx="1829010" cy="805690"/>
              <a:chOff x="13306408" y="-966550"/>
              <a:chExt cx="1829010" cy="805690"/>
            </a:xfrm>
          </p:grpSpPr>
          <p:sp>
            <p:nvSpPr>
              <p:cNvPr id="1630" name="Freeform: Shape 1629">
                <a:extLst>
                  <a:ext uri="{FF2B5EF4-FFF2-40B4-BE49-F238E27FC236}">
                    <a16:creationId xmlns:a16="http://schemas.microsoft.com/office/drawing/2014/main" id="{BB6C2CC4-3510-4E00-B516-0C890E55E9C2}"/>
                  </a:ext>
                </a:extLst>
              </p:cNvPr>
              <p:cNvSpPr/>
              <p:nvPr/>
            </p:nvSpPr>
            <p:spPr bwMode="gray">
              <a:xfrm rot="3600000">
                <a:off x="13481881" y="-852934"/>
                <a:ext cx="82166" cy="245457"/>
              </a:xfrm>
              <a:custGeom>
                <a:avLst/>
                <a:gdLst>
                  <a:gd name="connsiteX0" fmla="*/ 0 w 82166"/>
                  <a:gd name="connsiteY0" fmla="*/ 25185 h 245457"/>
                  <a:gd name="connsiteX1" fmla="*/ 41083 w 82166"/>
                  <a:gd name="connsiteY1" fmla="*/ 0 h 245457"/>
                  <a:gd name="connsiteX2" fmla="*/ 82166 w 82166"/>
                  <a:gd name="connsiteY2" fmla="*/ 25185 h 245457"/>
                  <a:gd name="connsiteX3" fmla="*/ 82166 w 82166"/>
                  <a:gd name="connsiteY3" fmla="*/ 220272 h 245457"/>
                  <a:gd name="connsiteX4" fmla="*/ 41083 w 82166"/>
                  <a:gd name="connsiteY4" fmla="*/ 245457 h 245457"/>
                  <a:gd name="connsiteX5" fmla="*/ 12033 w 82166"/>
                  <a:gd name="connsiteY5" fmla="*/ 238081 h 245457"/>
                  <a:gd name="connsiteX6" fmla="*/ 0 w 82166"/>
                  <a:gd name="connsiteY6" fmla="*/ 220272 h 24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66" h="245457">
                    <a:moveTo>
                      <a:pt x="0" y="25185"/>
                    </a:moveTo>
                    <a:cubicBezTo>
                      <a:pt x="0" y="11276"/>
                      <a:pt x="18393" y="0"/>
                      <a:pt x="41083" y="0"/>
                    </a:cubicBezTo>
                    <a:cubicBezTo>
                      <a:pt x="63773" y="0"/>
                      <a:pt x="82166" y="11276"/>
                      <a:pt x="82166" y="25185"/>
                    </a:cubicBezTo>
                    <a:lnTo>
                      <a:pt x="82166" y="220272"/>
                    </a:lnTo>
                    <a:cubicBezTo>
                      <a:pt x="82166" y="234181"/>
                      <a:pt x="63773" y="245457"/>
                      <a:pt x="41083" y="245457"/>
                    </a:cubicBezTo>
                    <a:cubicBezTo>
                      <a:pt x="29738" y="245457"/>
                      <a:pt x="19467" y="242638"/>
                      <a:pt x="12033" y="238081"/>
                    </a:cubicBezTo>
                    <a:cubicBezTo>
                      <a:pt x="4598" y="233523"/>
                      <a:pt x="0" y="227226"/>
                      <a:pt x="0" y="220272"/>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31" name="Freeform: Shape 1630">
                <a:extLst>
                  <a:ext uri="{FF2B5EF4-FFF2-40B4-BE49-F238E27FC236}">
                    <a16:creationId xmlns:a16="http://schemas.microsoft.com/office/drawing/2014/main" id="{D6081144-D317-4BE3-9A70-9F8B77F67278}"/>
                  </a:ext>
                </a:extLst>
              </p:cNvPr>
              <p:cNvSpPr/>
              <p:nvPr/>
            </p:nvSpPr>
            <p:spPr bwMode="gray">
              <a:xfrm rot="18000000" flipH="1">
                <a:off x="13977391" y="-1063470"/>
                <a:ext cx="99919" cy="1441885"/>
              </a:xfrm>
              <a:custGeom>
                <a:avLst/>
                <a:gdLst>
                  <a:gd name="connsiteX0" fmla="*/ 0 w 82166"/>
                  <a:gd name="connsiteY0" fmla="*/ 25185 h 1327781"/>
                  <a:gd name="connsiteX1" fmla="*/ 0 w 82166"/>
                  <a:gd name="connsiteY1" fmla="*/ 1302596 h 1327781"/>
                  <a:gd name="connsiteX2" fmla="*/ 12033 w 82166"/>
                  <a:gd name="connsiteY2" fmla="*/ 1320405 h 1327781"/>
                  <a:gd name="connsiteX3" fmla="*/ 41083 w 82166"/>
                  <a:gd name="connsiteY3" fmla="*/ 1327781 h 1327781"/>
                  <a:gd name="connsiteX4" fmla="*/ 82166 w 82166"/>
                  <a:gd name="connsiteY4" fmla="*/ 1302596 h 1327781"/>
                  <a:gd name="connsiteX5" fmla="*/ 82166 w 82166"/>
                  <a:gd name="connsiteY5" fmla="*/ 25185 h 1327781"/>
                  <a:gd name="connsiteX6" fmla="*/ 82166 w 82166"/>
                  <a:gd name="connsiteY6" fmla="*/ 25185 h 1327781"/>
                  <a:gd name="connsiteX7" fmla="*/ 41083 w 82166"/>
                  <a:gd name="connsiteY7" fmla="*/ 0 h 1327781"/>
                  <a:gd name="connsiteX8" fmla="*/ 0 w 82166"/>
                  <a:gd name="connsiteY8" fmla="*/ 25185 h 1327781"/>
                  <a:gd name="connsiteX0" fmla="*/ 64 w 82230"/>
                  <a:gd name="connsiteY0" fmla="*/ 25185 h 1403383"/>
                  <a:gd name="connsiteX1" fmla="*/ 64 w 82230"/>
                  <a:gd name="connsiteY1" fmla="*/ 1302596 h 1403383"/>
                  <a:gd name="connsiteX2" fmla="*/ 12097 w 82230"/>
                  <a:gd name="connsiteY2" fmla="*/ 1320405 h 1403383"/>
                  <a:gd name="connsiteX3" fmla="*/ 82230 w 82230"/>
                  <a:gd name="connsiteY3" fmla="*/ 1302596 h 1403383"/>
                  <a:gd name="connsiteX4" fmla="*/ 82230 w 82230"/>
                  <a:gd name="connsiteY4" fmla="*/ 25185 h 1403383"/>
                  <a:gd name="connsiteX5" fmla="*/ 82230 w 82230"/>
                  <a:gd name="connsiteY5" fmla="*/ 25185 h 1403383"/>
                  <a:gd name="connsiteX6" fmla="*/ 41147 w 82230"/>
                  <a:gd name="connsiteY6" fmla="*/ 0 h 1403383"/>
                  <a:gd name="connsiteX7" fmla="*/ 64 w 82230"/>
                  <a:gd name="connsiteY7" fmla="*/ 25185 h 1403383"/>
                  <a:gd name="connsiteX0" fmla="*/ 0 w 82166"/>
                  <a:gd name="connsiteY0" fmla="*/ 25185 h 1462271"/>
                  <a:gd name="connsiteX1" fmla="*/ 0 w 82166"/>
                  <a:gd name="connsiteY1" fmla="*/ 1302596 h 1462271"/>
                  <a:gd name="connsiteX2" fmla="*/ 82166 w 82166"/>
                  <a:gd name="connsiteY2" fmla="*/ 1302596 h 1462271"/>
                  <a:gd name="connsiteX3" fmla="*/ 82166 w 82166"/>
                  <a:gd name="connsiteY3" fmla="*/ 25185 h 1462271"/>
                  <a:gd name="connsiteX4" fmla="*/ 82166 w 82166"/>
                  <a:gd name="connsiteY4" fmla="*/ 25185 h 1462271"/>
                  <a:gd name="connsiteX5" fmla="*/ 41083 w 82166"/>
                  <a:gd name="connsiteY5" fmla="*/ 0 h 1462271"/>
                  <a:gd name="connsiteX6" fmla="*/ 0 w 82166"/>
                  <a:gd name="connsiteY6" fmla="*/ 25185 h 1462271"/>
                  <a:gd name="connsiteX0" fmla="*/ 12086 w 94252"/>
                  <a:gd name="connsiteY0" fmla="*/ 25185 h 1540203"/>
                  <a:gd name="connsiteX1" fmla="*/ 1 w 94252"/>
                  <a:gd name="connsiteY1" fmla="*/ 1430982 h 1540203"/>
                  <a:gd name="connsiteX2" fmla="*/ 94252 w 94252"/>
                  <a:gd name="connsiteY2" fmla="*/ 1302596 h 1540203"/>
                  <a:gd name="connsiteX3" fmla="*/ 94252 w 94252"/>
                  <a:gd name="connsiteY3" fmla="*/ 25185 h 1540203"/>
                  <a:gd name="connsiteX4" fmla="*/ 94252 w 94252"/>
                  <a:gd name="connsiteY4" fmla="*/ 25185 h 1540203"/>
                  <a:gd name="connsiteX5" fmla="*/ 53169 w 94252"/>
                  <a:gd name="connsiteY5" fmla="*/ 0 h 1540203"/>
                  <a:gd name="connsiteX6" fmla="*/ 12086 w 94252"/>
                  <a:gd name="connsiteY6" fmla="*/ 25185 h 1540203"/>
                  <a:gd name="connsiteX0" fmla="*/ 12086 w 99265"/>
                  <a:gd name="connsiteY0" fmla="*/ 25185 h 1576622"/>
                  <a:gd name="connsiteX1" fmla="*/ 1 w 99265"/>
                  <a:gd name="connsiteY1" fmla="*/ 1430982 h 1576622"/>
                  <a:gd name="connsiteX2" fmla="*/ 99266 w 99265"/>
                  <a:gd name="connsiteY2" fmla="*/ 1401370 h 1576622"/>
                  <a:gd name="connsiteX3" fmla="*/ 94252 w 99265"/>
                  <a:gd name="connsiteY3" fmla="*/ 25185 h 1576622"/>
                  <a:gd name="connsiteX4" fmla="*/ 94252 w 99265"/>
                  <a:gd name="connsiteY4" fmla="*/ 25185 h 1576622"/>
                  <a:gd name="connsiteX5" fmla="*/ 53169 w 99265"/>
                  <a:gd name="connsiteY5" fmla="*/ 0 h 1576622"/>
                  <a:gd name="connsiteX6" fmla="*/ 12086 w 99265"/>
                  <a:gd name="connsiteY6" fmla="*/ 25185 h 1576622"/>
                  <a:gd name="connsiteX0" fmla="*/ 12740 w 99919"/>
                  <a:gd name="connsiteY0" fmla="*/ 25185 h 1582741"/>
                  <a:gd name="connsiteX1" fmla="*/ -1 w 99919"/>
                  <a:gd name="connsiteY1" fmla="*/ 1441886 h 1582741"/>
                  <a:gd name="connsiteX2" fmla="*/ 99920 w 99919"/>
                  <a:gd name="connsiteY2" fmla="*/ 1401370 h 1582741"/>
                  <a:gd name="connsiteX3" fmla="*/ 94906 w 99919"/>
                  <a:gd name="connsiteY3" fmla="*/ 25185 h 1582741"/>
                  <a:gd name="connsiteX4" fmla="*/ 94906 w 99919"/>
                  <a:gd name="connsiteY4" fmla="*/ 25185 h 1582741"/>
                  <a:gd name="connsiteX5" fmla="*/ 53823 w 99919"/>
                  <a:gd name="connsiteY5" fmla="*/ 0 h 1582741"/>
                  <a:gd name="connsiteX6" fmla="*/ 12740 w 99919"/>
                  <a:gd name="connsiteY6" fmla="*/ 25185 h 1582741"/>
                  <a:gd name="connsiteX0" fmla="*/ 12740 w 99919"/>
                  <a:gd name="connsiteY0" fmla="*/ 25185 h 1502034"/>
                  <a:gd name="connsiteX1" fmla="*/ -1 w 99919"/>
                  <a:gd name="connsiteY1" fmla="*/ 1441886 h 1502034"/>
                  <a:gd name="connsiteX2" fmla="*/ 99920 w 99919"/>
                  <a:gd name="connsiteY2" fmla="*/ 1401370 h 1502034"/>
                  <a:gd name="connsiteX3" fmla="*/ 94906 w 99919"/>
                  <a:gd name="connsiteY3" fmla="*/ 25185 h 1502034"/>
                  <a:gd name="connsiteX4" fmla="*/ 94906 w 99919"/>
                  <a:gd name="connsiteY4" fmla="*/ 25185 h 1502034"/>
                  <a:gd name="connsiteX5" fmla="*/ 53823 w 99919"/>
                  <a:gd name="connsiteY5" fmla="*/ 0 h 1502034"/>
                  <a:gd name="connsiteX6" fmla="*/ 12740 w 99919"/>
                  <a:gd name="connsiteY6" fmla="*/ 25185 h 1502034"/>
                  <a:gd name="connsiteX0" fmla="*/ 12740 w 99919"/>
                  <a:gd name="connsiteY0" fmla="*/ 25185 h 1441886"/>
                  <a:gd name="connsiteX1" fmla="*/ -1 w 99919"/>
                  <a:gd name="connsiteY1" fmla="*/ 1441886 h 1441886"/>
                  <a:gd name="connsiteX2" fmla="*/ 99920 w 99919"/>
                  <a:gd name="connsiteY2" fmla="*/ 1401370 h 1441886"/>
                  <a:gd name="connsiteX3" fmla="*/ 94906 w 99919"/>
                  <a:gd name="connsiteY3" fmla="*/ 25185 h 1441886"/>
                  <a:gd name="connsiteX4" fmla="*/ 94906 w 99919"/>
                  <a:gd name="connsiteY4" fmla="*/ 25185 h 1441886"/>
                  <a:gd name="connsiteX5" fmla="*/ 53823 w 99919"/>
                  <a:gd name="connsiteY5" fmla="*/ 0 h 1441886"/>
                  <a:gd name="connsiteX6" fmla="*/ 12740 w 99919"/>
                  <a:gd name="connsiteY6" fmla="*/ 25185 h 1441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19" h="1441886">
                    <a:moveTo>
                      <a:pt x="12740" y="25185"/>
                    </a:moveTo>
                    <a:lnTo>
                      <a:pt x="-1" y="1441886"/>
                    </a:lnTo>
                    <a:cubicBezTo>
                      <a:pt x="36551" y="1419820"/>
                      <a:pt x="56181" y="1422083"/>
                      <a:pt x="99920" y="1401370"/>
                    </a:cubicBezTo>
                    <a:cubicBezTo>
                      <a:pt x="98249" y="942642"/>
                      <a:pt x="96577" y="483913"/>
                      <a:pt x="94906" y="25185"/>
                    </a:cubicBezTo>
                    <a:lnTo>
                      <a:pt x="94906" y="25185"/>
                    </a:lnTo>
                    <a:cubicBezTo>
                      <a:pt x="94906" y="11276"/>
                      <a:pt x="76513" y="0"/>
                      <a:pt x="53823" y="0"/>
                    </a:cubicBezTo>
                    <a:cubicBezTo>
                      <a:pt x="31133" y="0"/>
                      <a:pt x="12740" y="11276"/>
                      <a:pt x="12740" y="25185"/>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34" name="Freeform: Shape 1633">
                <a:extLst>
                  <a:ext uri="{FF2B5EF4-FFF2-40B4-BE49-F238E27FC236}">
                    <a16:creationId xmlns:a16="http://schemas.microsoft.com/office/drawing/2014/main" id="{401DD093-7981-493F-800D-97364234B81C}"/>
                  </a:ext>
                </a:extLst>
              </p:cNvPr>
              <p:cNvSpPr/>
              <p:nvPr/>
            </p:nvSpPr>
            <p:spPr bwMode="gray">
              <a:xfrm rot="3600000">
                <a:off x="13815257" y="-1048196"/>
                <a:ext cx="82166" cy="245457"/>
              </a:xfrm>
              <a:custGeom>
                <a:avLst/>
                <a:gdLst>
                  <a:gd name="connsiteX0" fmla="*/ 0 w 82166"/>
                  <a:gd name="connsiteY0" fmla="*/ 25185 h 245457"/>
                  <a:gd name="connsiteX1" fmla="*/ 41083 w 82166"/>
                  <a:gd name="connsiteY1" fmla="*/ 0 h 245457"/>
                  <a:gd name="connsiteX2" fmla="*/ 82166 w 82166"/>
                  <a:gd name="connsiteY2" fmla="*/ 25185 h 245457"/>
                  <a:gd name="connsiteX3" fmla="*/ 82166 w 82166"/>
                  <a:gd name="connsiteY3" fmla="*/ 220272 h 245457"/>
                  <a:gd name="connsiteX4" fmla="*/ 41083 w 82166"/>
                  <a:gd name="connsiteY4" fmla="*/ 245457 h 245457"/>
                  <a:gd name="connsiteX5" fmla="*/ 12033 w 82166"/>
                  <a:gd name="connsiteY5" fmla="*/ 238081 h 245457"/>
                  <a:gd name="connsiteX6" fmla="*/ 0 w 82166"/>
                  <a:gd name="connsiteY6" fmla="*/ 220272 h 24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66" h="245457">
                    <a:moveTo>
                      <a:pt x="0" y="25185"/>
                    </a:moveTo>
                    <a:cubicBezTo>
                      <a:pt x="0" y="11276"/>
                      <a:pt x="18393" y="0"/>
                      <a:pt x="41083" y="0"/>
                    </a:cubicBezTo>
                    <a:cubicBezTo>
                      <a:pt x="63773" y="0"/>
                      <a:pt x="82166" y="11276"/>
                      <a:pt x="82166" y="25185"/>
                    </a:cubicBezTo>
                    <a:lnTo>
                      <a:pt x="82166" y="220272"/>
                    </a:lnTo>
                    <a:cubicBezTo>
                      <a:pt x="82166" y="234181"/>
                      <a:pt x="63773" y="245457"/>
                      <a:pt x="41083" y="245457"/>
                    </a:cubicBezTo>
                    <a:cubicBezTo>
                      <a:pt x="29738" y="245457"/>
                      <a:pt x="19467" y="242638"/>
                      <a:pt x="12033" y="238081"/>
                    </a:cubicBezTo>
                    <a:cubicBezTo>
                      <a:pt x="4598" y="233523"/>
                      <a:pt x="0" y="227226"/>
                      <a:pt x="0" y="220272"/>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35" name="Freeform: Shape 1634">
                <a:extLst>
                  <a:ext uri="{FF2B5EF4-FFF2-40B4-BE49-F238E27FC236}">
                    <a16:creationId xmlns:a16="http://schemas.microsoft.com/office/drawing/2014/main" id="{A70C968D-45EE-4F57-90BD-674D0D996BDF}"/>
                  </a:ext>
                </a:extLst>
              </p:cNvPr>
              <p:cNvSpPr/>
              <p:nvPr/>
            </p:nvSpPr>
            <p:spPr bwMode="gray">
              <a:xfrm rot="18000000" flipH="1">
                <a:off x="14442092" y="-1302401"/>
                <a:ext cx="84056" cy="1302596"/>
              </a:xfrm>
              <a:custGeom>
                <a:avLst/>
                <a:gdLst>
                  <a:gd name="connsiteX0" fmla="*/ 0 w 82166"/>
                  <a:gd name="connsiteY0" fmla="*/ 25185 h 1327781"/>
                  <a:gd name="connsiteX1" fmla="*/ 0 w 82166"/>
                  <a:gd name="connsiteY1" fmla="*/ 1302596 h 1327781"/>
                  <a:gd name="connsiteX2" fmla="*/ 12033 w 82166"/>
                  <a:gd name="connsiteY2" fmla="*/ 1320405 h 1327781"/>
                  <a:gd name="connsiteX3" fmla="*/ 41083 w 82166"/>
                  <a:gd name="connsiteY3" fmla="*/ 1327781 h 1327781"/>
                  <a:gd name="connsiteX4" fmla="*/ 82166 w 82166"/>
                  <a:gd name="connsiteY4" fmla="*/ 1302596 h 1327781"/>
                  <a:gd name="connsiteX5" fmla="*/ 82166 w 82166"/>
                  <a:gd name="connsiteY5" fmla="*/ 25185 h 1327781"/>
                  <a:gd name="connsiteX6" fmla="*/ 82166 w 82166"/>
                  <a:gd name="connsiteY6" fmla="*/ 25185 h 1327781"/>
                  <a:gd name="connsiteX7" fmla="*/ 41083 w 82166"/>
                  <a:gd name="connsiteY7" fmla="*/ 0 h 1327781"/>
                  <a:gd name="connsiteX8" fmla="*/ 0 w 82166"/>
                  <a:gd name="connsiteY8" fmla="*/ 25185 h 1327781"/>
                  <a:gd name="connsiteX0" fmla="*/ 0 w 84056"/>
                  <a:gd name="connsiteY0" fmla="*/ 26598 h 1329194"/>
                  <a:gd name="connsiteX1" fmla="*/ 0 w 84056"/>
                  <a:gd name="connsiteY1" fmla="*/ 1304009 h 1329194"/>
                  <a:gd name="connsiteX2" fmla="*/ 12033 w 84056"/>
                  <a:gd name="connsiteY2" fmla="*/ 1321818 h 1329194"/>
                  <a:gd name="connsiteX3" fmla="*/ 41083 w 84056"/>
                  <a:gd name="connsiteY3" fmla="*/ 1329194 h 1329194"/>
                  <a:gd name="connsiteX4" fmla="*/ 82166 w 84056"/>
                  <a:gd name="connsiteY4" fmla="*/ 1304009 h 1329194"/>
                  <a:gd name="connsiteX5" fmla="*/ 82166 w 84056"/>
                  <a:gd name="connsiteY5" fmla="*/ 26598 h 1329194"/>
                  <a:gd name="connsiteX6" fmla="*/ 84056 w 84056"/>
                  <a:gd name="connsiteY6" fmla="*/ 66185 h 1329194"/>
                  <a:gd name="connsiteX7" fmla="*/ 41083 w 84056"/>
                  <a:gd name="connsiteY7" fmla="*/ 1413 h 1329194"/>
                  <a:gd name="connsiteX8" fmla="*/ 0 w 84056"/>
                  <a:gd name="connsiteY8" fmla="*/ 26598 h 1329194"/>
                  <a:gd name="connsiteX0" fmla="*/ 0 w 84056"/>
                  <a:gd name="connsiteY0" fmla="*/ 82443 h 1385039"/>
                  <a:gd name="connsiteX1" fmla="*/ 0 w 84056"/>
                  <a:gd name="connsiteY1" fmla="*/ 1359854 h 1385039"/>
                  <a:gd name="connsiteX2" fmla="*/ 12033 w 84056"/>
                  <a:gd name="connsiteY2" fmla="*/ 1377663 h 1385039"/>
                  <a:gd name="connsiteX3" fmla="*/ 41083 w 84056"/>
                  <a:gd name="connsiteY3" fmla="*/ 1385039 h 1385039"/>
                  <a:gd name="connsiteX4" fmla="*/ 82166 w 84056"/>
                  <a:gd name="connsiteY4" fmla="*/ 1359854 h 1385039"/>
                  <a:gd name="connsiteX5" fmla="*/ 82166 w 84056"/>
                  <a:gd name="connsiteY5" fmla="*/ 82443 h 1385039"/>
                  <a:gd name="connsiteX6" fmla="*/ 84056 w 84056"/>
                  <a:gd name="connsiteY6" fmla="*/ 122030 h 1385039"/>
                  <a:gd name="connsiteX7" fmla="*/ 0 w 84056"/>
                  <a:gd name="connsiteY7" fmla="*/ 82443 h 1385039"/>
                  <a:gd name="connsiteX0" fmla="*/ 0 w 84056"/>
                  <a:gd name="connsiteY0" fmla="*/ 82443 h 1385039"/>
                  <a:gd name="connsiteX1" fmla="*/ 0 w 84056"/>
                  <a:gd name="connsiteY1" fmla="*/ 1359854 h 1385039"/>
                  <a:gd name="connsiteX2" fmla="*/ 12033 w 84056"/>
                  <a:gd name="connsiteY2" fmla="*/ 1377663 h 1385039"/>
                  <a:gd name="connsiteX3" fmla="*/ 41083 w 84056"/>
                  <a:gd name="connsiteY3" fmla="*/ 1385039 h 1385039"/>
                  <a:gd name="connsiteX4" fmla="*/ 82166 w 84056"/>
                  <a:gd name="connsiteY4" fmla="*/ 1359854 h 1385039"/>
                  <a:gd name="connsiteX5" fmla="*/ 84056 w 84056"/>
                  <a:gd name="connsiteY5" fmla="*/ 122030 h 1385039"/>
                  <a:gd name="connsiteX6" fmla="*/ 0 w 84056"/>
                  <a:gd name="connsiteY6" fmla="*/ 82443 h 1385039"/>
                  <a:gd name="connsiteX0" fmla="*/ 0 w 84056"/>
                  <a:gd name="connsiteY0" fmla="*/ 0 h 1302596"/>
                  <a:gd name="connsiteX1" fmla="*/ 0 w 84056"/>
                  <a:gd name="connsiteY1" fmla="*/ 1277411 h 1302596"/>
                  <a:gd name="connsiteX2" fmla="*/ 12033 w 84056"/>
                  <a:gd name="connsiteY2" fmla="*/ 1295220 h 1302596"/>
                  <a:gd name="connsiteX3" fmla="*/ 41083 w 84056"/>
                  <a:gd name="connsiteY3" fmla="*/ 1302596 h 1302596"/>
                  <a:gd name="connsiteX4" fmla="*/ 82166 w 84056"/>
                  <a:gd name="connsiteY4" fmla="*/ 1277411 h 1302596"/>
                  <a:gd name="connsiteX5" fmla="*/ 84056 w 84056"/>
                  <a:gd name="connsiteY5" fmla="*/ 39587 h 1302596"/>
                  <a:gd name="connsiteX6" fmla="*/ 0 w 84056"/>
                  <a:gd name="connsiteY6" fmla="*/ 0 h 1302596"/>
                  <a:gd name="connsiteX0" fmla="*/ 0 w 84056"/>
                  <a:gd name="connsiteY0" fmla="*/ 0 h 1302596"/>
                  <a:gd name="connsiteX1" fmla="*/ 0 w 84056"/>
                  <a:gd name="connsiteY1" fmla="*/ 1277411 h 1302596"/>
                  <a:gd name="connsiteX2" fmla="*/ 12033 w 84056"/>
                  <a:gd name="connsiteY2" fmla="*/ 1295220 h 1302596"/>
                  <a:gd name="connsiteX3" fmla="*/ 41083 w 84056"/>
                  <a:gd name="connsiteY3" fmla="*/ 1302596 h 1302596"/>
                  <a:gd name="connsiteX4" fmla="*/ 82166 w 84056"/>
                  <a:gd name="connsiteY4" fmla="*/ 1277411 h 1302596"/>
                  <a:gd name="connsiteX5" fmla="*/ 84056 w 84056"/>
                  <a:gd name="connsiteY5" fmla="*/ 39587 h 1302596"/>
                  <a:gd name="connsiteX6" fmla="*/ 0 w 84056"/>
                  <a:gd name="connsiteY6" fmla="*/ 0 h 130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056" h="1302596">
                    <a:moveTo>
                      <a:pt x="0" y="0"/>
                    </a:moveTo>
                    <a:lnTo>
                      <a:pt x="0" y="1277411"/>
                    </a:lnTo>
                    <a:cubicBezTo>
                      <a:pt x="0" y="1284365"/>
                      <a:pt x="4598" y="1290662"/>
                      <a:pt x="12033" y="1295220"/>
                    </a:cubicBezTo>
                    <a:cubicBezTo>
                      <a:pt x="19467" y="1299777"/>
                      <a:pt x="29738" y="1302596"/>
                      <a:pt x="41083" y="1302596"/>
                    </a:cubicBezTo>
                    <a:cubicBezTo>
                      <a:pt x="63773" y="1302596"/>
                      <a:pt x="82166" y="1291320"/>
                      <a:pt x="82166" y="1277411"/>
                    </a:cubicBezTo>
                    <a:lnTo>
                      <a:pt x="84056" y="39587"/>
                    </a:lnTo>
                    <a:cubicBezTo>
                      <a:pt x="53311" y="21494"/>
                      <a:pt x="42260" y="16229"/>
                      <a:pt x="0" y="0"/>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36" name="Freeform: Shape 1635">
                <a:extLst>
                  <a:ext uri="{FF2B5EF4-FFF2-40B4-BE49-F238E27FC236}">
                    <a16:creationId xmlns:a16="http://schemas.microsoft.com/office/drawing/2014/main" id="{239A15C8-3315-44B1-9A01-4478532CE737}"/>
                  </a:ext>
                </a:extLst>
              </p:cNvPr>
              <p:cNvSpPr/>
              <p:nvPr/>
            </p:nvSpPr>
            <p:spPr bwMode="gray">
              <a:xfrm rot="18000000" flipH="1">
                <a:off x="14270681" y="-1219716"/>
                <a:ext cx="82166" cy="1327781"/>
              </a:xfrm>
              <a:custGeom>
                <a:avLst/>
                <a:gdLst>
                  <a:gd name="connsiteX0" fmla="*/ 0 w 82166"/>
                  <a:gd name="connsiteY0" fmla="*/ 25185 h 1327781"/>
                  <a:gd name="connsiteX1" fmla="*/ 0 w 82166"/>
                  <a:gd name="connsiteY1" fmla="*/ 1302596 h 1327781"/>
                  <a:gd name="connsiteX2" fmla="*/ 12033 w 82166"/>
                  <a:gd name="connsiteY2" fmla="*/ 1320405 h 1327781"/>
                  <a:gd name="connsiteX3" fmla="*/ 41083 w 82166"/>
                  <a:gd name="connsiteY3" fmla="*/ 1327781 h 1327781"/>
                  <a:gd name="connsiteX4" fmla="*/ 82166 w 82166"/>
                  <a:gd name="connsiteY4" fmla="*/ 1302596 h 1327781"/>
                  <a:gd name="connsiteX5" fmla="*/ 82166 w 82166"/>
                  <a:gd name="connsiteY5" fmla="*/ 25185 h 1327781"/>
                  <a:gd name="connsiteX6" fmla="*/ 82166 w 82166"/>
                  <a:gd name="connsiteY6" fmla="*/ 25185 h 1327781"/>
                  <a:gd name="connsiteX7" fmla="*/ 41083 w 82166"/>
                  <a:gd name="connsiteY7" fmla="*/ 0 h 1327781"/>
                  <a:gd name="connsiteX8" fmla="*/ 0 w 82166"/>
                  <a:gd name="connsiteY8" fmla="*/ 25185 h 1327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166" h="1327781">
                    <a:moveTo>
                      <a:pt x="0" y="25185"/>
                    </a:moveTo>
                    <a:lnTo>
                      <a:pt x="0" y="1302596"/>
                    </a:lnTo>
                    <a:cubicBezTo>
                      <a:pt x="0" y="1309550"/>
                      <a:pt x="4598" y="1315847"/>
                      <a:pt x="12033" y="1320405"/>
                    </a:cubicBezTo>
                    <a:cubicBezTo>
                      <a:pt x="19467" y="1324962"/>
                      <a:pt x="29738" y="1327781"/>
                      <a:pt x="41083" y="1327781"/>
                    </a:cubicBezTo>
                    <a:cubicBezTo>
                      <a:pt x="63773" y="1327781"/>
                      <a:pt x="82166" y="1316505"/>
                      <a:pt x="82166" y="1302596"/>
                    </a:cubicBezTo>
                    <a:lnTo>
                      <a:pt x="82166" y="25185"/>
                    </a:lnTo>
                    <a:lnTo>
                      <a:pt x="82166" y="25185"/>
                    </a:lnTo>
                    <a:cubicBezTo>
                      <a:pt x="82166" y="11276"/>
                      <a:pt x="63773" y="0"/>
                      <a:pt x="41083" y="0"/>
                    </a:cubicBezTo>
                    <a:cubicBezTo>
                      <a:pt x="18393" y="0"/>
                      <a:pt x="0" y="11276"/>
                      <a:pt x="0" y="25185"/>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32" name="Freeform: Shape 1631">
                <a:extLst>
                  <a:ext uri="{FF2B5EF4-FFF2-40B4-BE49-F238E27FC236}">
                    <a16:creationId xmlns:a16="http://schemas.microsoft.com/office/drawing/2014/main" id="{F004409C-9A73-45EE-AB3C-7928C64F397A}"/>
                  </a:ext>
                </a:extLst>
              </p:cNvPr>
              <p:cNvSpPr/>
              <p:nvPr/>
            </p:nvSpPr>
            <p:spPr bwMode="gray">
              <a:xfrm rot="18000000" flipH="1">
                <a:off x="14111097" y="-1107139"/>
                <a:ext cx="84056" cy="1302596"/>
              </a:xfrm>
              <a:custGeom>
                <a:avLst/>
                <a:gdLst>
                  <a:gd name="connsiteX0" fmla="*/ 0 w 82166"/>
                  <a:gd name="connsiteY0" fmla="*/ 25185 h 1327781"/>
                  <a:gd name="connsiteX1" fmla="*/ 0 w 82166"/>
                  <a:gd name="connsiteY1" fmla="*/ 1302596 h 1327781"/>
                  <a:gd name="connsiteX2" fmla="*/ 12033 w 82166"/>
                  <a:gd name="connsiteY2" fmla="*/ 1320405 h 1327781"/>
                  <a:gd name="connsiteX3" fmla="*/ 41083 w 82166"/>
                  <a:gd name="connsiteY3" fmla="*/ 1327781 h 1327781"/>
                  <a:gd name="connsiteX4" fmla="*/ 82166 w 82166"/>
                  <a:gd name="connsiteY4" fmla="*/ 1302596 h 1327781"/>
                  <a:gd name="connsiteX5" fmla="*/ 82166 w 82166"/>
                  <a:gd name="connsiteY5" fmla="*/ 25185 h 1327781"/>
                  <a:gd name="connsiteX6" fmla="*/ 82166 w 82166"/>
                  <a:gd name="connsiteY6" fmla="*/ 25185 h 1327781"/>
                  <a:gd name="connsiteX7" fmla="*/ 41083 w 82166"/>
                  <a:gd name="connsiteY7" fmla="*/ 0 h 1327781"/>
                  <a:gd name="connsiteX8" fmla="*/ 0 w 82166"/>
                  <a:gd name="connsiteY8" fmla="*/ 25185 h 1327781"/>
                  <a:gd name="connsiteX0" fmla="*/ 0 w 84056"/>
                  <a:gd name="connsiteY0" fmla="*/ 26598 h 1329194"/>
                  <a:gd name="connsiteX1" fmla="*/ 0 w 84056"/>
                  <a:gd name="connsiteY1" fmla="*/ 1304009 h 1329194"/>
                  <a:gd name="connsiteX2" fmla="*/ 12033 w 84056"/>
                  <a:gd name="connsiteY2" fmla="*/ 1321818 h 1329194"/>
                  <a:gd name="connsiteX3" fmla="*/ 41083 w 84056"/>
                  <a:gd name="connsiteY3" fmla="*/ 1329194 h 1329194"/>
                  <a:gd name="connsiteX4" fmla="*/ 82166 w 84056"/>
                  <a:gd name="connsiteY4" fmla="*/ 1304009 h 1329194"/>
                  <a:gd name="connsiteX5" fmla="*/ 82166 w 84056"/>
                  <a:gd name="connsiteY5" fmla="*/ 26598 h 1329194"/>
                  <a:gd name="connsiteX6" fmla="*/ 84056 w 84056"/>
                  <a:gd name="connsiteY6" fmla="*/ 66185 h 1329194"/>
                  <a:gd name="connsiteX7" fmla="*/ 41083 w 84056"/>
                  <a:gd name="connsiteY7" fmla="*/ 1413 h 1329194"/>
                  <a:gd name="connsiteX8" fmla="*/ 0 w 84056"/>
                  <a:gd name="connsiteY8" fmla="*/ 26598 h 1329194"/>
                  <a:gd name="connsiteX0" fmla="*/ 0 w 84056"/>
                  <a:gd name="connsiteY0" fmla="*/ 82443 h 1385039"/>
                  <a:gd name="connsiteX1" fmla="*/ 0 w 84056"/>
                  <a:gd name="connsiteY1" fmla="*/ 1359854 h 1385039"/>
                  <a:gd name="connsiteX2" fmla="*/ 12033 w 84056"/>
                  <a:gd name="connsiteY2" fmla="*/ 1377663 h 1385039"/>
                  <a:gd name="connsiteX3" fmla="*/ 41083 w 84056"/>
                  <a:gd name="connsiteY3" fmla="*/ 1385039 h 1385039"/>
                  <a:gd name="connsiteX4" fmla="*/ 82166 w 84056"/>
                  <a:gd name="connsiteY4" fmla="*/ 1359854 h 1385039"/>
                  <a:gd name="connsiteX5" fmla="*/ 82166 w 84056"/>
                  <a:gd name="connsiteY5" fmla="*/ 82443 h 1385039"/>
                  <a:gd name="connsiteX6" fmla="*/ 84056 w 84056"/>
                  <a:gd name="connsiteY6" fmla="*/ 122030 h 1385039"/>
                  <a:gd name="connsiteX7" fmla="*/ 0 w 84056"/>
                  <a:gd name="connsiteY7" fmla="*/ 82443 h 1385039"/>
                  <a:gd name="connsiteX0" fmla="*/ 0 w 84056"/>
                  <a:gd name="connsiteY0" fmla="*/ 82443 h 1385039"/>
                  <a:gd name="connsiteX1" fmla="*/ 0 w 84056"/>
                  <a:gd name="connsiteY1" fmla="*/ 1359854 h 1385039"/>
                  <a:gd name="connsiteX2" fmla="*/ 12033 w 84056"/>
                  <a:gd name="connsiteY2" fmla="*/ 1377663 h 1385039"/>
                  <a:gd name="connsiteX3" fmla="*/ 41083 w 84056"/>
                  <a:gd name="connsiteY3" fmla="*/ 1385039 h 1385039"/>
                  <a:gd name="connsiteX4" fmla="*/ 82166 w 84056"/>
                  <a:gd name="connsiteY4" fmla="*/ 1359854 h 1385039"/>
                  <a:gd name="connsiteX5" fmla="*/ 84056 w 84056"/>
                  <a:gd name="connsiteY5" fmla="*/ 122030 h 1385039"/>
                  <a:gd name="connsiteX6" fmla="*/ 0 w 84056"/>
                  <a:gd name="connsiteY6" fmla="*/ 82443 h 1385039"/>
                  <a:gd name="connsiteX0" fmla="*/ 0 w 84056"/>
                  <a:gd name="connsiteY0" fmla="*/ 0 h 1302596"/>
                  <a:gd name="connsiteX1" fmla="*/ 0 w 84056"/>
                  <a:gd name="connsiteY1" fmla="*/ 1277411 h 1302596"/>
                  <a:gd name="connsiteX2" fmla="*/ 12033 w 84056"/>
                  <a:gd name="connsiteY2" fmla="*/ 1295220 h 1302596"/>
                  <a:gd name="connsiteX3" fmla="*/ 41083 w 84056"/>
                  <a:gd name="connsiteY3" fmla="*/ 1302596 h 1302596"/>
                  <a:gd name="connsiteX4" fmla="*/ 82166 w 84056"/>
                  <a:gd name="connsiteY4" fmla="*/ 1277411 h 1302596"/>
                  <a:gd name="connsiteX5" fmla="*/ 84056 w 84056"/>
                  <a:gd name="connsiteY5" fmla="*/ 39587 h 1302596"/>
                  <a:gd name="connsiteX6" fmla="*/ 0 w 84056"/>
                  <a:gd name="connsiteY6" fmla="*/ 0 h 1302596"/>
                  <a:gd name="connsiteX0" fmla="*/ 0 w 84056"/>
                  <a:gd name="connsiteY0" fmla="*/ 0 h 1302596"/>
                  <a:gd name="connsiteX1" fmla="*/ 0 w 84056"/>
                  <a:gd name="connsiteY1" fmla="*/ 1277411 h 1302596"/>
                  <a:gd name="connsiteX2" fmla="*/ 12033 w 84056"/>
                  <a:gd name="connsiteY2" fmla="*/ 1295220 h 1302596"/>
                  <a:gd name="connsiteX3" fmla="*/ 41083 w 84056"/>
                  <a:gd name="connsiteY3" fmla="*/ 1302596 h 1302596"/>
                  <a:gd name="connsiteX4" fmla="*/ 82166 w 84056"/>
                  <a:gd name="connsiteY4" fmla="*/ 1277411 h 1302596"/>
                  <a:gd name="connsiteX5" fmla="*/ 84056 w 84056"/>
                  <a:gd name="connsiteY5" fmla="*/ 39587 h 1302596"/>
                  <a:gd name="connsiteX6" fmla="*/ 0 w 84056"/>
                  <a:gd name="connsiteY6" fmla="*/ 0 h 130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056" h="1302596">
                    <a:moveTo>
                      <a:pt x="0" y="0"/>
                    </a:moveTo>
                    <a:lnTo>
                      <a:pt x="0" y="1277411"/>
                    </a:lnTo>
                    <a:cubicBezTo>
                      <a:pt x="0" y="1284365"/>
                      <a:pt x="4598" y="1290662"/>
                      <a:pt x="12033" y="1295220"/>
                    </a:cubicBezTo>
                    <a:cubicBezTo>
                      <a:pt x="19467" y="1299777"/>
                      <a:pt x="29738" y="1302596"/>
                      <a:pt x="41083" y="1302596"/>
                    </a:cubicBezTo>
                    <a:cubicBezTo>
                      <a:pt x="63773" y="1302596"/>
                      <a:pt x="82166" y="1291320"/>
                      <a:pt x="82166" y="1277411"/>
                    </a:cubicBezTo>
                    <a:lnTo>
                      <a:pt x="84056" y="39587"/>
                    </a:lnTo>
                    <a:cubicBezTo>
                      <a:pt x="53311" y="21494"/>
                      <a:pt x="42260" y="16229"/>
                      <a:pt x="0" y="0"/>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33" name="Freeform: Shape 1632">
                <a:extLst>
                  <a:ext uri="{FF2B5EF4-FFF2-40B4-BE49-F238E27FC236}">
                    <a16:creationId xmlns:a16="http://schemas.microsoft.com/office/drawing/2014/main" id="{0DA0B6DF-4072-4CEE-89E8-C0D1600EF74F}"/>
                  </a:ext>
                </a:extLst>
              </p:cNvPr>
              <p:cNvSpPr/>
              <p:nvPr/>
            </p:nvSpPr>
            <p:spPr bwMode="gray">
              <a:xfrm rot="3600000">
                <a:off x="14734219" y="-324411"/>
                <a:ext cx="83505" cy="243597"/>
              </a:xfrm>
              <a:custGeom>
                <a:avLst/>
                <a:gdLst>
                  <a:gd name="connsiteX0" fmla="*/ 0 w 82166"/>
                  <a:gd name="connsiteY0" fmla="*/ 25185 h 245457"/>
                  <a:gd name="connsiteX1" fmla="*/ 41083 w 82166"/>
                  <a:gd name="connsiteY1" fmla="*/ 0 h 245457"/>
                  <a:gd name="connsiteX2" fmla="*/ 82166 w 82166"/>
                  <a:gd name="connsiteY2" fmla="*/ 25185 h 245457"/>
                  <a:gd name="connsiteX3" fmla="*/ 82166 w 82166"/>
                  <a:gd name="connsiteY3" fmla="*/ 220272 h 245457"/>
                  <a:gd name="connsiteX4" fmla="*/ 41083 w 82166"/>
                  <a:gd name="connsiteY4" fmla="*/ 245457 h 245457"/>
                  <a:gd name="connsiteX5" fmla="*/ 12033 w 82166"/>
                  <a:gd name="connsiteY5" fmla="*/ 238081 h 245457"/>
                  <a:gd name="connsiteX6" fmla="*/ 0 w 82166"/>
                  <a:gd name="connsiteY6" fmla="*/ 220272 h 245457"/>
                  <a:gd name="connsiteX0" fmla="*/ 0 w 82166"/>
                  <a:gd name="connsiteY0" fmla="*/ 25185 h 242482"/>
                  <a:gd name="connsiteX1" fmla="*/ 41083 w 82166"/>
                  <a:gd name="connsiteY1" fmla="*/ 0 h 242482"/>
                  <a:gd name="connsiteX2" fmla="*/ 82166 w 82166"/>
                  <a:gd name="connsiteY2" fmla="*/ 25185 h 242482"/>
                  <a:gd name="connsiteX3" fmla="*/ 82166 w 82166"/>
                  <a:gd name="connsiteY3" fmla="*/ 220272 h 242482"/>
                  <a:gd name="connsiteX4" fmla="*/ 12033 w 82166"/>
                  <a:gd name="connsiteY4" fmla="*/ 238081 h 242482"/>
                  <a:gd name="connsiteX5" fmla="*/ 0 w 82166"/>
                  <a:gd name="connsiteY5" fmla="*/ 220272 h 242482"/>
                  <a:gd name="connsiteX6" fmla="*/ 0 w 82166"/>
                  <a:gd name="connsiteY6" fmla="*/ 25185 h 242482"/>
                  <a:gd name="connsiteX0" fmla="*/ 0 w 82166"/>
                  <a:gd name="connsiteY0" fmla="*/ 25185 h 244657"/>
                  <a:gd name="connsiteX1" fmla="*/ 41083 w 82166"/>
                  <a:gd name="connsiteY1" fmla="*/ 0 h 244657"/>
                  <a:gd name="connsiteX2" fmla="*/ 82166 w 82166"/>
                  <a:gd name="connsiteY2" fmla="*/ 25185 h 244657"/>
                  <a:gd name="connsiteX3" fmla="*/ 82166 w 82166"/>
                  <a:gd name="connsiteY3" fmla="*/ 220272 h 244657"/>
                  <a:gd name="connsiteX4" fmla="*/ 0 w 82166"/>
                  <a:gd name="connsiteY4" fmla="*/ 220272 h 244657"/>
                  <a:gd name="connsiteX5" fmla="*/ 0 w 82166"/>
                  <a:gd name="connsiteY5" fmla="*/ 25185 h 244657"/>
                  <a:gd name="connsiteX0" fmla="*/ 0 w 82166"/>
                  <a:gd name="connsiteY0" fmla="*/ 25185 h 251910"/>
                  <a:gd name="connsiteX1" fmla="*/ 41083 w 82166"/>
                  <a:gd name="connsiteY1" fmla="*/ 0 h 251910"/>
                  <a:gd name="connsiteX2" fmla="*/ 82166 w 82166"/>
                  <a:gd name="connsiteY2" fmla="*/ 25185 h 251910"/>
                  <a:gd name="connsiteX3" fmla="*/ 80337 w 82166"/>
                  <a:gd name="connsiteY3" fmla="*/ 232965 h 251910"/>
                  <a:gd name="connsiteX4" fmla="*/ 0 w 82166"/>
                  <a:gd name="connsiteY4" fmla="*/ 220272 h 251910"/>
                  <a:gd name="connsiteX5" fmla="*/ 0 w 82166"/>
                  <a:gd name="connsiteY5" fmla="*/ 25185 h 251910"/>
                  <a:gd name="connsiteX0" fmla="*/ 0 w 82166"/>
                  <a:gd name="connsiteY0" fmla="*/ 25185 h 232965"/>
                  <a:gd name="connsiteX1" fmla="*/ 41083 w 82166"/>
                  <a:gd name="connsiteY1" fmla="*/ 0 h 232965"/>
                  <a:gd name="connsiteX2" fmla="*/ 82166 w 82166"/>
                  <a:gd name="connsiteY2" fmla="*/ 25185 h 232965"/>
                  <a:gd name="connsiteX3" fmla="*/ 80337 w 82166"/>
                  <a:gd name="connsiteY3" fmla="*/ 232965 h 232965"/>
                  <a:gd name="connsiteX4" fmla="*/ 0 w 82166"/>
                  <a:gd name="connsiteY4" fmla="*/ 220272 h 232965"/>
                  <a:gd name="connsiteX5" fmla="*/ 0 w 82166"/>
                  <a:gd name="connsiteY5" fmla="*/ 25185 h 232965"/>
                  <a:gd name="connsiteX0" fmla="*/ 0 w 82166"/>
                  <a:gd name="connsiteY0" fmla="*/ 25185 h 243597"/>
                  <a:gd name="connsiteX1" fmla="*/ 41083 w 82166"/>
                  <a:gd name="connsiteY1" fmla="*/ 0 h 243597"/>
                  <a:gd name="connsiteX2" fmla="*/ 82166 w 82166"/>
                  <a:gd name="connsiteY2" fmla="*/ 25185 h 243597"/>
                  <a:gd name="connsiteX3" fmla="*/ 79699 w 82166"/>
                  <a:gd name="connsiteY3" fmla="*/ 243597 h 243597"/>
                  <a:gd name="connsiteX4" fmla="*/ 0 w 82166"/>
                  <a:gd name="connsiteY4" fmla="*/ 220272 h 243597"/>
                  <a:gd name="connsiteX5" fmla="*/ 0 w 82166"/>
                  <a:gd name="connsiteY5" fmla="*/ 25185 h 243597"/>
                  <a:gd name="connsiteX0" fmla="*/ 1339 w 83505"/>
                  <a:gd name="connsiteY0" fmla="*/ 25185 h 243597"/>
                  <a:gd name="connsiteX1" fmla="*/ 42422 w 83505"/>
                  <a:gd name="connsiteY1" fmla="*/ 0 h 243597"/>
                  <a:gd name="connsiteX2" fmla="*/ 83505 w 83505"/>
                  <a:gd name="connsiteY2" fmla="*/ 25185 h 243597"/>
                  <a:gd name="connsiteX3" fmla="*/ 81038 w 83505"/>
                  <a:gd name="connsiteY3" fmla="*/ 243597 h 243597"/>
                  <a:gd name="connsiteX4" fmla="*/ 0 w 83505"/>
                  <a:gd name="connsiteY4" fmla="*/ 189254 h 243597"/>
                  <a:gd name="connsiteX5" fmla="*/ 1339 w 83505"/>
                  <a:gd name="connsiteY5" fmla="*/ 25185 h 243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05" h="243597">
                    <a:moveTo>
                      <a:pt x="1339" y="25185"/>
                    </a:moveTo>
                    <a:cubicBezTo>
                      <a:pt x="1339" y="11276"/>
                      <a:pt x="19732" y="0"/>
                      <a:pt x="42422" y="0"/>
                    </a:cubicBezTo>
                    <a:cubicBezTo>
                      <a:pt x="65112" y="0"/>
                      <a:pt x="83505" y="11276"/>
                      <a:pt x="83505" y="25185"/>
                    </a:cubicBezTo>
                    <a:cubicBezTo>
                      <a:pt x="82895" y="94445"/>
                      <a:pt x="81648" y="174337"/>
                      <a:pt x="81038" y="243597"/>
                    </a:cubicBezTo>
                    <a:cubicBezTo>
                      <a:pt x="33967" y="210097"/>
                      <a:pt x="13694" y="221768"/>
                      <a:pt x="0" y="189254"/>
                    </a:cubicBezTo>
                    <a:cubicBezTo>
                      <a:pt x="446" y="134564"/>
                      <a:pt x="893" y="79875"/>
                      <a:pt x="1339" y="25185"/>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638" name="Group 1637">
              <a:extLst>
                <a:ext uri="{FF2B5EF4-FFF2-40B4-BE49-F238E27FC236}">
                  <a16:creationId xmlns:a16="http://schemas.microsoft.com/office/drawing/2014/main" id="{251ABF91-62DB-41C4-A579-57170D211DA8}"/>
                </a:ext>
              </a:extLst>
            </p:cNvPr>
            <p:cNvGrpSpPr/>
            <p:nvPr/>
          </p:nvGrpSpPr>
          <p:grpSpPr bwMode="gray">
            <a:xfrm>
              <a:off x="13982173" y="-1158250"/>
              <a:ext cx="1493001" cy="805690"/>
              <a:chOff x="13644798" y="-966550"/>
              <a:chExt cx="1493001" cy="805690"/>
            </a:xfrm>
          </p:grpSpPr>
          <p:sp>
            <p:nvSpPr>
              <p:cNvPr id="1641" name="Freeform: Shape 1640">
                <a:extLst>
                  <a:ext uri="{FF2B5EF4-FFF2-40B4-BE49-F238E27FC236}">
                    <a16:creationId xmlns:a16="http://schemas.microsoft.com/office/drawing/2014/main" id="{B80B104B-F27D-4B2A-9518-6A7589005A5E}"/>
                  </a:ext>
                </a:extLst>
              </p:cNvPr>
              <p:cNvSpPr/>
              <p:nvPr/>
            </p:nvSpPr>
            <p:spPr bwMode="gray">
              <a:xfrm rot="3600000">
                <a:off x="13815257" y="-1048196"/>
                <a:ext cx="82166" cy="245457"/>
              </a:xfrm>
              <a:custGeom>
                <a:avLst/>
                <a:gdLst>
                  <a:gd name="connsiteX0" fmla="*/ 0 w 82166"/>
                  <a:gd name="connsiteY0" fmla="*/ 25185 h 245457"/>
                  <a:gd name="connsiteX1" fmla="*/ 41083 w 82166"/>
                  <a:gd name="connsiteY1" fmla="*/ 0 h 245457"/>
                  <a:gd name="connsiteX2" fmla="*/ 82166 w 82166"/>
                  <a:gd name="connsiteY2" fmla="*/ 25185 h 245457"/>
                  <a:gd name="connsiteX3" fmla="*/ 82166 w 82166"/>
                  <a:gd name="connsiteY3" fmla="*/ 220272 h 245457"/>
                  <a:gd name="connsiteX4" fmla="*/ 41083 w 82166"/>
                  <a:gd name="connsiteY4" fmla="*/ 245457 h 245457"/>
                  <a:gd name="connsiteX5" fmla="*/ 12033 w 82166"/>
                  <a:gd name="connsiteY5" fmla="*/ 238081 h 245457"/>
                  <a:gd name="connsiteX6" fmla="*/ 0 w 82166"/>
                  <a:gd name="connsiteY6" fmla="*/ 220272 h 24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66" h="245457">
                    <a:moveTo>
                      <a:pt x="0" y="25185"/>
                    </a:moveTo>
                    <a:cubicBezTo>
                      <a:pt x="0" y="11276"/>
                      <a:pt x="18393" y="0"/>
                      <a:pt x="41083" y="0"/>
                    </a:cubicBezTo>
                    <a:cubicBezTo>
                      <a:pt x="63773" y="0"/>
                      <a:pt x="82166" y="11276"/>
                      <a:pt x="82166" y="25185"/>
                    </a:cubicBezTo>
                    <a:lnTo>
                      <a:pt x="82166" y="220272"/>
                    </a:lnTo>
                    <a:cubicBezTo>
                      <a:pt x="82166" y="234181"/>
                      <a:pt x="63773" y="245457"/>
                      <a:pt x="41083" y="245457"/>
                    </a:cubicBezTo>
                    <a:cubicBezTo>
                      <a:pt x="29738" y="245457"/>
                      <a:pt x="19467" y="242638"/>
                      <a:pt x="12033" y="238081"/>
                    </a:cubicBezTo>
                    <a:cubicBezTo>
                      <a:pt x="4598" y="233523"/>
                      <a:pt x="0" y="227226"/>
                      <a:pt x="0" y="220272"/>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42" name="Freeform: Shape 1641">
                <a:extLst>
                  <a:ext uri="{FF2B5EF4-FFF2-40B4-BE49-F238E27FC236}">
                    <a16:creationId xmlns:a16="http://schemas.microsoft.com/office/drawing/2014/main" id="{AEC1A59D-A1FF-4822-A73A-AA0D3E066090}"/>
                  </a:ext>
                </a:extLst>
              </p:cNvPr>
              <p:cNvSpPr/>
              <p:nvPr/>
            </p:nvSpPr>
            <p:spPr bwMode="gray">
              <a:xfrm rot="18000000" flipH="1">
                <a:off x="14444473" y="-1302401"/>
                <a:ext cx="84056" cy="1302596"/>
              </a:xfrm>
              <a:custGeom>
                <a:avLst/>
                <a:gdLst>
                  <a:gd name="connsiteX0" fmla="*/ 0 w 82166"/>
                  <a:gd name="connsiteY0" fmla="*/ 25185 h 1327781"/>
                  <a:gd name="connsiteX1" fmla="*/ 0 w 82166"/>
                  <a:gd name="connsiteY1" fmla="*/ 1302596 h 1327781"/>
                  <a:gd name="connsiteX2" fmla="*/ 12033 w 82166"/>
                  <a:gd name="connsiteY2" fmla="*/ 1320405 h 1327781"/>
                  <a:gd name="connsiteX3" fmla="*/ 41083 w 82166"/>
                  <a:gd name="connsiteY3" fmla="*/ 1327781 h 1327781"/>
                  <a:gd name="connsiteX4" fmla="*/ 82166 w 82166"/>
                  <a:gd name="connsiteY4" fmla="*/ 1302596 h 1327781"/>
                  <a:gd name="connsiteX5" fmla="*/ 82166 w 82166"/>
                  <a:gd name="connsiteY5" fmla="*/ 25185 h 1327781"/>
                  <a:gd name="connsiteX6" fmla="*/ 82166 w 82166"/>
                  <a:gd name="connsiteY6" fmla="*/ 25185 h 1327781"/>
                  <a:gd name="connsiteX7" fmla="*/ 41083 w 82166"/>
                  <a:gd name="connsiteY7" fmla="*/ 0 h 1327781"/>
                  <a:gd name="connsiteX8" fmla="*/ 0 w 82166"/>
                  <a:gd name="connsiteY8" fmla="*/ 25185 h 1327781"/>
                  <a:gd name="connsiteX0" fmla="*/ 0 w 84056"/>
                  <a:gd name="connsiteY0" fmla="*/ 26598 h 1329194"/>
                  <a:gd name="connsiteX1" fmla="*/ 0 w 84056"/>
                  <a:gd name="connsiteY1" fmla="*/ 1304009 h 1329194"/>
                  <a:gd name="connsiteX2" fmla="*/ 12033 w 84056"/>
                  <a:gd name="connsiteY2" fmla="*/ 1321818 h 1329194"/>
                  <a:gd name="connsiteX3" fmla="*/ 41083 w 84056"/>
                  <a:gd name="connsiteY3" fmla="*/ 1329194 h 1329194"/>
                  <a:gd name="connsiteX4" fmla="*/ 82166 w 84056"/>
                  <a:gd name="connsiteY4" fmla="*/ 1304009 h 1329194"/>
                  <a:gd name="connsiteX5" fmla="*/ 82166 w 84056"/>
                  <a:gd name="connsiteY5" fmla="*/ 26598 h 1329194"/>
                  <a:gd name="connsiteX6" fmla="*/ 84056 w 84056"/>
                  <a:gd name="connsiteY6" fmla="*/ 66185 h 1329194"/>
                  <a:gd name="connsiteX7" fmla="*/ 41083 w 84056"/>
                  <a:gd name="connsiteY7" fmla="*/ 1413 h 1329194"/>
                  <a:gd name="connsiteX8" fmla="*/ 0 w 84056"/>
                  <a:gd name="connsiteY8" fmla="*/ 26598 h 1329194"/>
                  <a:gd name="connsiteX0" fmla="*/ 0 w 84056"/>
                  <a:gd name="connsiteY0" fmla="*/ 82443 h 1385039"/>
                  <a:gd name="connsiteX1" fmla="*/ 0 w 84056"/>
                  <a:gd name="connsiteY1" fmla="*/ 1359854 h 1385039"/>
                  <a:gd name="connsiteX2" fmla="*/ 12033 w 84056"/>
                  <a:gd name="connsiteY2" fmla="*/ 1377663 h 1385039"/>
                  <a:gd name="connsiteX3" fmla="*/ 41083 w 84056"/>
                  <a:gd name="connsiteY3" fmla="*/ 1385039 h 1385039"/>
                  <a:gd name="connsiteX4" fmla="*/ 82166 w 84056"/>
                  <a:gd name="connsiteY4" fmla="*/ 1359854 h 1385039"/>
                  <a:gd name="connsiteX5" fmla="*/ 82166 w 84056"/>
                  <a:gd name="connsiteY5" fmla="*/ 82443 h 1385039"/>
                  <a:gd name="connsiteX6" fmla="*/ 84056 w 84056"/>
                  <a:gd name="connsiteY6" fmla="*/ 122030 h 1385039"/>
                  <a:gd name="connsiteX7" fmla="*/ 0 w 84056"/>
                  <a:gd name="connsiteY7" fmla="*/ 82443 h 1385039"/>
                  <a:gd name="connsiteX0" fmla="*/ 0 w 84056"/>
                  <a:gd name="connsiteY0" fmla="*/ 82443 h 1385039"/>
                  <a:gd name="connsiteX1" fmla="*/ 0 w 84056"/>
                  <a:gd name="connsiteY1" fmla="*/ 1359854 h 1385039"/>
                  <a:gd name="connsiteX2" fmla="*/ 12033 w 84056"/>
                  <a:gd name="connsiteY2" fmla="*/ 1377663 h 1385039"/>
                  <a:gd name="connsiteX3" fmla="*/ 41083 w 84056"/>
                  <a:gd name="connsiteY3" fmla="*/ 1385039 h 1385039"/>
                  <a:gd name="connsiteX4" fmla="*/ 82166 w 84056"/>
                  <a:gd name="connsiteY4" fmla="*/ 1359854 h 1385039"/>
                  <a:gd name="connsiteX5" fmla="*/ 84056 w 84056"/>
                  <a:gd name="connsiteY5" fmla="*/ 122030 h 1385039"/>
                  <a:gd name="connsiteX6" fmla="*/ 0 w 84056"/>
                  <a:gd name="connsiteY6" fmla="*/ 82443 h 1385039"/>
                  <a:gd name="connsiteX0" fmla="*/ 0 w 84056"/>
                  <a:gd name="connsiteY0" fmla="*/ 0 h 1302596"/>
                  <a:gd name="connsiteX1" fmla="*/ 0 w 84056"/>
                  <a:gd name="connsiteY1" fmla="*/ 1277411 h 1302596"/>
                  <a:gd name="connsiteX2" fmla="*/ 12033 w 84056"/>
                  <a:gd name="connsiteY2" fmla="*/ 1295220 h 1302596"/>
                  <a:gd name="connsiteX3" fmla="*/ 41083 w 84056"/>
                  <a:gd name="connsiteY3" fmla="*/ 1302596 h 1302596"/>
                  <a:gd name="connsiteX4" fmla="*/ 82166 w 84056"/>
                  <a:gd name="connsiteY4" fmla="*/ 1277411 h 1302596"/>
                  <a:gd name="connsiteX5" fmla="*/ 84056 w 84056"/>
                  <a:gd name="connsiteY5" fmla="*/ 39587 h 1302596"/>
                  <a:gd name="connsiteX6" fmla="*/ 0 w 84056"/>
                  <a:gd name="connsiteY6" fmla="*/ 0 h 1302596"/>
                  <a:gd name="connsiteX0" fmla="*/ 0 w 84056"/>
                  <a:gd name="connsiteY0" fmla="*/ 0 h 1302596"/>
                  <a:gd name="connsiteX1" fmla="*/ 0 w 84056"/>
                  <a:gd name="connsiteY1" fmla="*/ 1277411 h 1302596"/>
                  <a:gd name="connsiteX2" fmla="*/ 12033 w 84056"/>
                  <a:gd name="connsiteY2" fmla="*/ 1295220 h 1302596"/>
                  <a:gd name="connsiteX3" fmla="*/ 41083 w 84056"/>
                  <a:gd name="connsiteY3" fmla="*/ 1302596 h 1302596"/>
                  <a:gd name="connsiteX4" fmla="*/ 82166 w 84056"/>
                  <a:gd name="connsiteY4" fmla="*/ 1277411 h 1302596"/>
                  <a:gd name="connsiteX5" fmla="*/ 84056 w 84056"/>
                  <a:gd name="connsiteY5" fmla="*/ 39587 h 1302596"/>
                  <a:gd name="connsiteX6" fmla="*/ 0 w 84056"/>
                  <a:gd name="connsiteY6" fmla="*/ 0 h 130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056" h="1302596">
                    <a:moveTo>
                      <a:pt x="0" y="0"/>
                    </a:moveTo>
                    <a:lnTo>
                      <a:pt x="0" y="1277411"/>
                    </a:lnTo>
                    <a:cubicBezTo>
                      <a:pt x="0" y="1284365"/>
                      <a:pt x="4598" y="1290662"/>
                      <a:pt x="12033" y="1295220"/>
                    </a:cubicBezTo>
                    <a:cubicBezTo>
                      <a:pt x="19467" y="1299777"/>
                      <a:pt x="29738" y="1302596"/>
                      <a:pt x="41083" y="1302596"/>
                    </a:cubicBezTo>
                    <a:cubicBezTo>
                      <a:pt x="63773" y="1302596"/>
                      <a:pt x="82166" y="1291320"/>
                      <a:pt x="82166" y="1277411"/>
                    </a:cubicBezTo>
                    <a:lnTo>
                      <a:pt x="84056" y="39587"/>
                    </a:lnTo>
                    <a:cubicBezTo>
                      <a:pt x="53311" y="21494"/>
                      <a:pt x="42260" y="16229"/>
                      <a:pt x="0" y="0"/>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43" name="Freeform: Shape 1642">
                <a:extLst>
                  <a:ext uri="{FF2B5EF4-FFF2-40B4-BE49-F238E27FC236}">
                    <a16:creationId xmlns:a16="http://schemas.microsoft.com/office/drawing/2014/main" id="{997E74F4-52AF-4177-8A28-3C16542818BD}"/>
                  </a:ext>
                </a:extLst>
              </p:cNvPr>
              <p:cNvSpPr/>
              <p:nvPr/>
            </p:nvSpPr>
            <p:spPr bwMode="gray">
              <a:xfrm rot="18000000" flipH="1">
                <a:off x="14266702" y="-1218360"/>
                <a:ext cx="82166" cy="1325974"/>
              </a:xfrm>
              <a:custGeom>
                <a:avLst/>
                <a:gdLst>
                  <a:gd name="connsiteX0" fmla="*/ 0 w 82166"/>
                  <a:gd name="connsiteY0" fmla="*/ 25185 h 1327781"/>
                  <a:gd name="connsiteX1" fmla="*/ 0 w 82166"/>
                  <a:gd name="connsiteY1" fmla="*/ 1302596 h 1327781"/>
                  <a:gd name="connsiteX2" fmla="*/ 12033 w 82166"/>
                  <a:gd name="connsiteY2" fmla="*/ 1320405 h 1327781"/>
                  <a:gd name="connsiteX3" fmla="*/ 41083 w 82166"/>
                  <a:gd name="connsiteY3" fmla="*/ 1327781 h 1327781"/>
                  <a:gd name="connsiteX4" fmla="*/ 82166 w 82166"/>
                  <a:gd name="connsiteY4" fmla="*/ 1302596 h 1327781"/>
                  <a:gd name="connsiteX5" fmla="*/ 82166 w 82166"/>
                  <a:gd name="connsiteY5" fmla="*/ 25185 h 1327781"/>
                  <a:gd name="connsiteX6" fmla="*/ 82166 w 82166"/>
                  <a:gd name="connsiteY6" fmla="*/ 25185 h 1327781"/>
                  <a:gd name="connsiteX7" fmla="*/ 41083 w 82166"/>
                  <a:gd name="connsiteY7" fmla="*/ 0 h 1327781"/>
                  <a:gd name="connsiteX8" fmla="*/ 0 w 82166"/>
                  <a:gd name="connsiteY8" fmla="*/ 25185 h 1327781"/>
                  <a:gd name="connsiteX0" fmla="*/ 0 w 82166"/>
                  <a:gd name="connsiteY0" fmla="*/ 36565 h 1339161"/>
                  <a:gd name="connsiteX1" fmla="*/ 0 w 82166"/>
                  <a:gd name="connsiteY1" fmla="*/ 1313976 h 1339161"/>
                  <a:gd name="connsiteX2" fmla="*/ 12033 w 82166"/>
                  <a:gd name="connsiteY2" fmla="*/ 1331785 h 1339161"/>
                  <a:gd name="connsiteX3" fmla="*/ 41083 w 82166"/>
                  <a:gd name="connsiteY3" fmla="*/ 1339161 h 1339161"/>
                  <a:gd name="connsiteX4" fmla="*/ 82166 w 82166"/>
                  <a:gd name="connsiteY4" fmla="*/ 1313976 h 1339161"/>
                  <a:gd name="connsiteX5" fmla="*/ 82166 w 82166"/>
                  <a:gd name="connsiteY5" fmla="*/ 36565 h 1339161"/>
                  <a:gd name="connsiteX6" fmla="*/ 82166 w 82166"/>
                  <a:gd name="connsiteY6" fmla="*/ 36565 h 1339161"/>
                  <a:gd name="connsiteX7" fmla="*/ 31091 w 82166"/>
                  <a:gd name="connsiteY7" fmla="*/ 0 h 1339161"/>
                  <a:gd name="connsiteX8" fmla="*/ 0 w 82166"/>
                  <a:gd name="connsiteY8" fmla="*/ 36565 h 133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166" h="1339161">
                    <a:moveTo>
                      <a:pt x="0" y="36565"/>
                    </a:moveTo>
                    <a:lnTo>
                      <a:pt x="0" y="1313976"/>
                    </a:lnTo>
                    <a:cubicBezTo>
                      <a:pt x="0" y="1320930"/>
                      <a:pt x="4598" y="1327227"/>
                      <a:pt x="12033" y="1331785"/>
                    </a:cubicBezTo>
                    <a:cubicBezTo>
                      <a:pt x="19467" y="1336342"/>
                      <a:pt x="29738" y="1339161"/>
                      <a:pt x="41083" y="1339161"/>
                    </a:cubicBezTo>
                    <a:cubicBezTo>
                      <a:pt x="63773" y="1339161"/>
                      <a:pt x="82166" y="1327885"/>
                      <a:pt x="82166" y="1313976"/>
                    </a:cubicBezTo>
                    <a:lnTo>
                      <a:pt x="82166" y="36565"/>
                    </a:lnTo>
                    <a:lnTo>
                      <a:pt x="82166" y="36565"/>
                    </a:lnTo>
                    <a:cubicBezTo>
                      <a:pt x="82166" y="22656"/>
                      <a:pt x="53781" y="0"/>
                      <a:pt x="31091" y="0"/>
                    </a:cubicBezTo>
                    <a:cubicBezTo>
                      <a:pt x="8401" y="0"/>
                      <a:pt x="0" y="22656"/>
                      <a:pt x="0" y="36565"/>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45" name="Freeform: Shape 1644">
                <a:extLst>
                  <a:ext uri="{FF2B5EF4-FFF2-40B4-BE49-F238E27FC236}">
                    <a16:creationId xmlns:a16="http://schemas.microsoft.com/office/drawing/2014/main" id="{399254FA-21E0-4B5B-873A-BD4840A46E08}"/>
                  </a:ext>
                </a:extLst>
              </p:cNvPr>
              <p:cNvSpPr/>
              <p:nvPr/>
            </p:nvSpPr>
            <p:spPr bwMode="gray">
              <a:xfrm rot="3600000">
                <a:off x="14734219" y="-324411"/>
                <a:ext cx="83505" cy="243597"/>
              </a:xfrm>
              <a:custGeom>
                <a:avLst/>
                <a:gdLst>
                  <a:gd name="connsiteX0" fmla="*/ 0 w 82166"/>
                  <a:gd name="connsiteY0" fmla="*/ 25185 h 245457"/>
                  <a:gd name="connsiteX1" fmla="*/ 41083 w 82166"/>
                  <a:gd name="connsiteY1" fmla="*/ 0 h 245457"/>
                  <a:gd name="connsiteX2" fmla="*/ 82166 w 82166"/>
                  <a:gd name="connsiteY2" fmla="*/ 25185 h 245457"/>
                  <a:gd name="connsiteX3" fmla="*/ 82166 w 82166"/>
                  <a:gd name="connsiteY3" fmla="*/ 220272 h 245457"/>
                  <a:gd name="connsiteX4" fmla="*/ 41083 w 82166"/>
                  <a:gd name="connsiteY4" fmla="*/ 245457 h 245457"/>
                  <a:gd name="connsiteX5" fmla="*/ 12033 w 82166"/>
                  <a:gd name="connsiteY5" fmla="*/ 238081 h 245457"/>
                  <a:gd name="connsiteX6" fmla="*/ 0 w 82166"/>
                  <a:gd name="connsiteY6" fmla="*/ 220272 h 245457"/>
                  <a:gd name="connsiteX0" fmla="*/ 0 w 82166"/>
                  <a:gd name="connsiteY0" fmla="*/ 25185 h 242482"/>
                  <a:gd name="connsiteX1" fmla="*/ 41083 w 82166"/>
                  <a:gd name="connsiteY1" fmla="*/ 0 h 242482"/>
                  <a:gd name="connsiteX2" fmla="*/ 82166 w 82166"/>
                  <a:gd name="connsiteY2" fmla="*/ 25185 h 242482"/>
                  <a:gd name="connsiteX3" fmla="*/ 82166 w 82166"/>
                  <a:gd name="connsiteY3" fmla="*/ 220272 h 242482"/>
                  <a:gd name="connsiteX4" fmla="*/ 12033 w 82166"/>
                  <a:gd name="connsiteY4" fmla="*/ 238081 h 242482"/>
                  <a:gd name="connsiteX5" fmla="*/ 0 w 82166"/>
                  <a:gd name="connsiteY5" fmla="*/ 220272 h 242482"/>
                  <a:gd name="connsiteX6" fmla="*/ 0 w 82166"/>
                  <a:gd name="connsiteY6" fmla="*/ 25185 h 242482"/>
                  <a:gd name="connsiteX0" fmla="*/ 0 w 82166"/>
                  <a:gd name="connsiteY0" fmla="*/ 25185 h 244657"/>
                  <a:gd name="connsiteX1" fmla="*/ 41083 w 82166"/>
                  <a:gd name="connsiteY1" fmla="*/ 0 h 244657"/>
                  <a:gd name="connsiteX2" fmla="*/ 82166 w 82166"/>
                  <a:gd name="connsiteY2" fmla="*/ 25185 h 244657"/>
                  <a:gd name="connsiteX3" fmla="*/ 82166 w 82166"/>
                  <a:gd name="connsiteY3" fmla="*/ 220272 h 244657"/>
                  <a:gd name="connsiteX4" fmla="*/ 0 w 82166"/>
                  <a:gd name="connsiteY4" fmla="*/ 220272 h 244657"/>
                  <a:gd name="connsiteX5" fmla="*/ 0 w 82166"/>
                  <a:gd name="connsiteY5" fmla="*/ 25185 h 244657"/>
                  <a:gd name="connsiteX0" fmla="*/ 0 w 82166"/>
                  <a:gd name="connsiteY0" fmla="*/ 25185 h 251910"/>
                  <a:gd name="connsiteX1" fmla="*/ 41083 w 82166"/>
                  <a:gd name="connsiteY1" fmla="*/ 0 h 251910"/>
                  <a:gd name="connsiteX2" fmla="*/ 82166 w 82166"/>
                  <a:gd name="connsiteY2" fmla="*/ 25185 h 251910"/>
                  <a:gd name="connsiteX3" fmla="*/ 80337 w 82166"/>
                  <a:gd name="connsiteY3" fmla="*/ 232965 h 251910"/>
                  <a:gd name="connsiteX4" fmla="*/ 0 w 82166"/>
                  <a:gd name="connsiteY4" fmla="*/ 220272 h 251910"/>
                  <a:gd name="connsiteX5" fmla="*/ 0 w 82166"/>
                  <a:gd name="connsiteY5" fmla="*/ 25185 h 251910"/>
                  <a:gd name="connsiteX0" fmla="*/ 0 w 82166"/>
                  <a:gd name="connsiteY0" fmla="*/ 25185 h 232965"/>
                  <a:gd name="connsiteX1" fmla="*/ 41083 w 82166"/>
                  <a:gd name="connsiteY1" fmla="*/ 0 h 232965"/>
                  <a:gd name="connsiteX2" fmla="*/ 82166 w 82166"/>
                  <a:gd name="connsiteY2" fmla="*/ 25185 h 232965"/>
                  <a:gd name="connsiteX3" fmla="*/ 80337 w 82166"/>
                  <a:gd name="connsiteY3" fmla="*/ 232965 h 232965"/>
                  <a:gd name="connsiteX4" fmla="*/ 0 w 82166"/>
                  <a:gd name="connsiteY4" fmla="*/ 220272 h 232965"/>
                  <a:gd name="connsiteX5" fmla="*/ 0 w 82166"/>
                  <a:gd name="connsiteY5" fmla="*/ 25185 h 232965"/>
                  <a:gd name="connsiteX0" fmla="*/ 0 w 82166"/>
                  <a:gd name="connsiteY0" fmla="*/ 25185 h 243597"/>
                  <a:gd name="connsiteX1" fmla="*/ 41083 w 82166"/>
                  <a:gd name="connsiteY1" fmla="*/ 0 h 243597"/>
                  <a:gd name="connsiteX2" fmla="*/ 82166 w 82166"/>
                  <a:gd name="connsiteY2" fmla="*/ 25185 h 243597"/>
                  <a:gd name="connsiteX3" fmla="*/ 79699 w 82166"/>
                  <a:gd name="connsiteY3" fmla="*/ 243597 h 243597"/>
                  <a:gd name="connsiteX4" fmla="*/ 0 w 82166"/>
                  <a:gd name="connsiteY4" fmla="*/ 220272 h 243597"/>
                  <a:gd name="connsiteX5" fmla="*/ 0 w 82166"/>
                  <a:gd name="connsiteY5" fmla="*/ 25185 h 243597"/>
                  <a:gd name="connsiteX0" fmla="*/ 1339 w 83505"/>
                  <a:gd name="connsiteY0" fmla="*/ 25185 h 243597"/>
                  <a:gd name="connsiteX1" fmla="*/ 42422 w 83505"/>
                  <a:gd name="connsiteY1" fmla="*/ 0 h 243597"/>
                  <a:gd name="connsiteX2" fmla="*/ 83505 w 83505"/>
                  <a:gd name="connsiteY2" fmla="*/ 25185 h 243597"/>
                  <a:gd name="connsiteX3" fmla="*/ 81038 w 83505"/>
                  <a:gd name="connsiteY3" fmla="*/ 243597 h 243597"/>
                  <a:gd name="connsiteX4" fmla="*/ 0 w 83505"/>
                  <a:gd name="connsiteY4" fmla="*/ 189254 h 243597"/>
                  <a:gd name="connsiteX5" fmla="*/ 1339 w 83505"/>
                  <a:gd name="connsiteY5" fmla="*/ 25185 h 243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05" h="243597">
                    <a:moveTo>
                      <a:pt x="1339" y="25185"/>
                    </a:moveTo>
                    <a:cubicBezTo>
                      <a:pt x="1339" y="11276"/>
                      <a:pt x="19732" y="0"/>
                      <a:pt x="42422" y="0"/>
                    </a:cubicBezTo>
                    <a:cubicBezTo>
                      <a:pt x="65112" y="0"/>
                      <a:pt x="83505" y="11276"/>
                      <a:pt x="83505" y="25185"/>
                    </a:cubicBezTo>
                    <a:cubicBezTo>
                      <a:pt x="82895" y="94445"/>
                      <a:pt x="81648" y="174337"/>
                      <a:pt x="81038" y="243597"/>
                    </a:cubicBezTo>
                    <a:cubicBezTo>
                      <a:pt x="33967" y="210097"/>
                      <a:pt x="13694" y="221768"/>
                      <a:pt x="0" y="189254"/>
                    </a:cubicBezTo>
                    <a:cubicBezTo>
                      <a:pt x="446" y="134564"/>
                      <a:pt x="893" y="79875"/>
                      <a:pt x="1339" y="25185"/>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646" name="Group 1645">
              <a:extLst>
                <a:ext uri="{FF2B5EF4-FFF2-40B4-BE49-F238E27FC236}">
                  <a16:creationId xmlns:a16="http://schemas.microsoft.com/office/drawing/2014/main" id="{DC241763-C67D-41D2-A784-ED941C9DD662}"/>
                </a:ext>
              </a:extLst>
            </p:cNvPr>
            <p:cNvGrpSpPr/>
            <p:nvPr/>
          </p:nvGrpSpPr>
          <p:grpSpPr bwMode="gray">
            <a:xfrm>
              <a:off x="14315548" y="-1348750"/>
              <a:ext cx="1493001" cy="805690"/>
              <a:chOff x="13644798" y="-966550"/>
              <a:chExt cx="1493001" cy="805690"/>
            </a:xfrm>
          </p:grpSpPr>
          <p:sp>
            <p:nvSpPr>
              <p:cNvPr id="1647" name="Freeform: Shape 1646">
                <a:extLst>
                  <a:ext uri="{FF2B5EF4-FFF2-40B4-BE49-F238E27FC236}">
                    <a16:creationId xmlns:a16="http://schemas.microsoft.com/office/drawing/2014/main" id="{A4001CB6-0E93-44E6-A215-B36A48CEFC93}"/>
                  </a:ext>
                </a:extLst>
              </p:cNvPr>
              <p:cNvSpPr/>
              <p:nvPr/>
            </p:nvSpPr>
            <p:spPr bwMode="gray">
              <a:xfrm rot="3600000">
                <a:off x="13815257" y="-1048196"/>
                <a:ext cx="82166" cy="245457"/>
              </a:xfrm>
              <a:custGeom>
                <a:avLst/>
                <a:gdLst>
                  <a:gd name="connsiteX0" fmla="*/ 0 w 82166"/>
                  <a:gd name="connsiteY0" fmla="*/ 25185 h 245457"/>
                  <a:gd name="connsiteX1" fmla="*/ 41083 w 82166"/>
                  <a:gd name="connsiteY1" fmla="*/ 0 h 245457"/>
                  <a:gd name="connsiteX2" fmla="*/ 82166 w 82166"/>
                  <a:gd name="connsiteY2" fmla="*/ 25185 h 245457"/>
                  <a:gd name="connsiteX3" fmla="*/ 82166 w 82166"/>
                  <a:gd name="connsiteY3" fmla="*/ 220272 h 245457"/>
                  <a:gd name="connsiteX4" fmla="*/ 41083 w 82166"/>
                  <a:gd name="connsiteY4" fmla="*/ 245457 h 245457"/>
                  <a:gd name="connsiteX5" fmla="*/ 12033 w 82166"/>
                  <a:gd name="connsiteY5" fmla="*/ 238081 h 245457"/>
                  <a:gd name="connsiteX6" fmla="*/ 0 w 82166"/>
                  <a:gd name="connsiteY6" fmla="*/ 220272 h 24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66" h="245457">
                    <a:moveTo>
                      <a:pt x="0" y="25185"/>
                    </a:moveTo>
                    <a:cubicBezTo>
                      <a:pt x="0" y="11276"/>
                      <a:pt x="18393" y="0"/>
                      <a:pt x="41083" y="0"/>
                    </a:cubicBezTo>
                    <a:cubicBezTo>
                      <a:pt x="63773" y="0"/>
                      <a:pt x="82166" y="11276"/>
                      <a:pt x="82166" y="25185"/>
                    </a:cubicBezTo>
                    <a:lnTo>
                      <a:pt x="82166" y="220272"/>
                    </a:lnTo>
                    <a:cubicBezTo>
                      <a:pt x="82166" y="234181"/>
                      <a:pt x="63773" y="245457"/>
                      <a:pt x="41083" y="245457"/>
                    </a:cubicBezTo>
                    <a:cubicBezTo>
                      <a:pt x="29738" y="245457"/>
                      <a:pt x="19467" y="242638"/>
                      <a:pt x="12033" y="238081"/>
                    </a:cubicBezTo>
                    <a:cubicBezTo>
                      <a:pt x="4598" y="233523"/>
                      <a:pt x="0" y="227226"/>
                      <a:pt x="0" y="220272"/>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48" name="Freeform: Shape 1647">
                <a:extLst>
                  <a:ext uri="{FF2B5EF4-FFF2-40B4-BE49-F238E27FC236}">
                    <a16:creationId xmlns:a16="http://schemas.microsoft.com/office/drawing/2014/main" id="{62774B50-8F24-4884-A0B9-19359A03229A}"/>
                  </a:ext>
                </a:extLst>
              </p:cNvPr>
              <p:cNvSpPr/>
              <p:nvPr/>
            </p:nvSpPr>
            <p:spPr bwMode="gray">
              <a:xfrm rot="18000000" flipH="1">
                <a:off x="14444473" y="-1302401"/>
                <a:ext cx="84056" cy="1302596"/>
              </a:xfrm>
              <a:custGeom>
                <a:avLst/>
                <a:gdLst>
                  <a:gd name="connsiteX0" fmla="*/ 0 w 82166"/>
                  <a:gd name="connsiteY0" fmla="*/ 25185 h 1327781"/>
                  <a:gd name="connsiteX1" fmla="*/ 0 w 82166"/>
                  <a:gd name="connsiteY1" fmla="*/ 1302596 h 1327781"/>
                  <a:gd name="connsiteX2" fmla="*/ 12033 w 82166"/>
                  <a:gd name="connsiteY2" fmla="*/ 1320405 h 1327781"/>
                  <a:gd name="connsiteX3" fmla="*/ 41083 w 82166"/>
                  <a:gd name="connsiteY3" fmla="*/ 1327781 h 1327781"/>
                  <a:gd name="connsiteX4" fmla="*/ 82166 w 82166"/>
                  <a:gd name="connsiteY4" fmla="*/ 1302596 h 1327781"/>
                  <a:gd name="connsiteX5" fmla="*/ 82166 w 82166"/>
                  <a:gd name="connsiteY5" fmla="*/ 25185 h 1327781"/>
                  <a:gd name="connsiteX6" fmla="*/ 82166 w 82166"/>
                  <a:gd name="connsiteY6" fmla="*/ 25185 h 1327781"/>
                  <a:gd name="connsiteX7" fmla="*/ 41083 w 82166"/>
                  <a:gd name="connsiteY7" fmla="*/ 0 h 1327781"/>
                  <a:gd name="connsiteX8" fmla="*/ 0 w 82166"/>
                  <a:gd name="connsiteY8" fmla="*/ 25185 h 1327781"/>
                  <a:gd name="connsiteX0" fmla="*/ 0 w 84056"/>
                  <a:gd name="connsiteY0" fmla="*/ 26598 h 1329194"/>
                  <a:gd name="connsiteX1" fmla="*/ 0 w 84056"/>
                  <a:gd name="connsiteY1" fmla="*/ 1304009 h 1329194"/>
                  <a:gd name="connsiteX2" fmla="*/ 12033 w 84056"/>
                  <a:gd name="connsiteY2" fmla="*/ 1321818 h 1329194"/>
                  <a:gd name="connsiteX3" fmla="*/ 41083 w 84056"/>
                  <a:gd name="connsiteY3" fmla="*/ 1329194 h 1329194"/>
                  <a:gd name="connsiteX4" fmla="*/ 82166 w 84056"/>
                  <a:gd name="connsiteY4" fmla="*/ 1304009 h 1329194"/>
                  <a:gd name="connsiteX5" fmla="*/ 82166 w 84056"/>
                  <a:gd name="connsiteY5" fmla="*/ 26598 h 1329194"/>
                  <a:gd name="connsiteX6" fmla="*/ 84056 w 84056"/>
                  <a:gd name="connsiteY6" fmla="*/ 66185 h 1329194"/>
                  <a:gd name="connsiteX7" fmla="*/ 41083 w 84056"/>
                  <a:gd name="connsiteY7" fmla="*/ 1413 h 1329194"/>
                  <a:gd name="connsiteX8" fmla="*/ 0 w 84056"/>
                  <a:gd name="connsiteY8" fmla="*/ 26598 h 1329194"/>
                  <a:gd name="connsiteX0" fmla="*/ 0 w 84056"/>
                  <a:gd name="connsiteY0" fmla="*/ 82443 h 1385039"/>
                  <a:gd name="connsiteX1" fmla="*/ 0 w 84056"/>
                  <a:gd name="connsiteY1" fmla="*/ 1359854 h 1385039"/>
                  <a:gd name="connsiteX2" fmla="*/ 12033 w 84056"/>
                  <a:gd name="connsiteY2" fmla="*/ 1377663 h 1385039"/>
                  <a:gd name="connsiteX3" fmla="*/ 41083 w 84056"/>
                  <a:gd name="connsiteY3" fmla="*/ 1385039 h 1385039"/>
                  <a:gd name="connsiteX4" fmla="*/ 82166 w 84056"/>
                  <a:gd name="connsiteY4" fmla="*/ 1359854 h 1385039"/>
                  <a:gd name="connsiteX5" fmla="*/ 82166 w 84056"/>
                  <a:gd name="connsiteY5" fmla="*/ 82443 h 1385039"/>
                  <a:gd name="connsiteX6" fmla="*/ 84056 w 84056"/>
                  <a:gd name="connsiteY6" fmla="*/ 122030 h 1385039"/>
                  <a:gd name="connsiteX7" fmla="*/ 0 w 84056"/>
                  <a:gd name="connsiteY7" fmla="*/ 82443 h 1385039"/>
                  <a:gd name="connsiteX0" fmla="*/ 0 w 84056"/>
                  <a:gd name="connsiteY0" fmla="*/ 82443 h 1385039"/>
                  <a:gd name="connsiteX1" fmla="*/ 0 w 84056"/>
                  <a:gd name="connsiteY1" fmla="*/ 1359854 h 1385039"/>
                  <a:gd name="connsiteX2" fmla="*/ 12033 w 84056"/>
                  <a:gd name="connsiteY2" fmla="*/ 1377663 h 1385039"/>
                  <a:gd name="connsiteX3" fmla="*/ 41083 w 84056"/>
                  <a:gd name="connsiteY3" fmla="*/ 1385039 h 1385039"/>
                  <a:gd name="connsiteX4" fmla="*/ 82166 w 84056"/>
                  <a:gd name="connsiteY4" fmla="*/ 1359854 h 1385039"/>
                  <a:gd name="connsiteX5" fmla="*/ 84056 w 84056"/>
                  <a:gd name="connsiteY5" fmla="*/ 122030 h 1385039"/>
                  <a:gd name="connsiteX6" fmla="*/ 0 w 84056"/>
                  <a:gd name="connsiteY6" fmla="*/ 82443 h 1385039"/>
                  <a:gd name="connsiteX0" fmla="*/ 0 w 84056"/>
                  <a:gd name="connsiteY0" fmla="*/ 0 h 1302596"/>
                  <a:gd name="connsiteX1" fmla="*/ 0 w 84056"/>
                  <a:gd name="connsiteY1" fmla="*/ 1277411 h 1302596"/>
                  <a:gd name="connsiteX2" fmla="*/ 12033 w 84056"/>
                  <a:gd name="connsiteY2" fmla="*/ 1295220 h 1302596"/>
                  <a:gd name="connsiteX3" fmla="*/ 41083 w 84056"/>
                  <a:gd name="connsiteY3" fmla="*/ 1302596 h 1302596"/>
                  <a:gd name="connsiteX4" fmla="*/ 82166 w 84056"/>
                  <a:gd name="connsiteY4" fmla="*/ 1277411 h 1302596"/>
                  <a:gd name="connsiteX5" fmla="*/ 84056 w 84056"/>
                  <a:gd name="connsiteY5" fmla="*/ 39587 h 1302596"/>
                  <a:gd name="connsiteX6" fmla="*/ 0 w 84056"/>
                  <a:gd name="connsiteY6" fmla="*/ 0 h 1302596"/>
                  <a:gd name="connsiteX0" fmla="*/ 0 w 84056"/>
                  <a:gd name="connsiteY0" fmla="*/ 0 h 1302596"/>
                  <a:gd name="connsiteX1" fmla="*/ 0 w 84056"/>
                  <a:gd name="connsiteY1" fmla="*/ 1277411 h 1302596"/>
                  <a:gd name="connsiteX2" fmla="*/ 12033 w 84056"/>
                  <a:gd name="connsiteY2" fmla="*/ 1295220 h 1302596"/>
                  <a:gd name="connsiteX3" fmla="*/ 41083 w 84056"/>
                  <a:gd name="connsiteY3" fmla="*/ 1302596 h 1302596"/>
                  <a:gd name="connsiteX4" fmla="*/ 82166 w 84056"/>
                  <a:gd name="connsiteY4" fmla="*/ 1277411 h 1302596"/>
                  <a:gd name="connsiteX5" fmla="*/ 84056 w 84056"/>
                  <a:gd name="connsiteY5" fmla="*/ 39587 h 1302596"/>
                  <a:gd name="connsiteX6" fmla="*/ 0 w 84056"/>
                  <a:gd name="connsiteY6" fmla="*/ 0 h 130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056" h="1302596">
                    <a:moveTo>
                      <a:pt x="0" y="0"/>
                    </a:moveTo>
                    <a:lnTo>
                      <a:pt x="0" y="1277411"/>
                    </a:lnTo>
                    <a:cubicBezTo>
                      <a:pt x="0" y="1284365"/>
                      <a:pt x="4598" y="1290662"/>
                      <a:pt x="12033" y="1295220"/>
                    </a:cubicBezTo>
                    <a:cubicBezTo>
                      <a:pt x="19467" y="1299777"/>
                      <a:pt x="29738" y="1302596"/>
                      <a:pt x="41083" y="1302596"/>
                    </a:cubicBezTo>
                    <a:cubicBezTo>
                      <a:pt x="63773" y="1302596"/>
                      <a:pt x="82166" y="1291320"/>
                      <a:pt x="82166" y="1277411"/>
                    </a:cubicBezTo>
                    <a:lnTo>
                      <a:pt x="84056" y="39587"/>
                    </a:lnTo>
                    <a:cubicBezTo>
                      <a:pt x="53311" y="21494"/>
                      <a:pt x="42260" y="16229"/>
                      <a:pt x="0" y="0"/>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49" name="Freeform: Shape 1648">
                <a:extLst>
                  <a:ext uri="{FF2B5EF4-FFF2-40B4-BE49-F238E27FC236}">
                    <a16:creationId xmlns:a16="http://schemas.microsoft.com/office/drawing/2014/main" id="{07B0EFB2-309C-4DE1-9CE5-6C79E767C070}"/>
                  </a:ext>
                </a:extLst>
              </p:cNvPr>
              <p:cNvSpPr/>
              <p:nvPr/>
            </p:nvSpPr>
            <p:spPr bwMode="gray">
              <a:xfrm rot="18000000" flipH="1">
                <a:off x="14266702" y="-1218360"/>
                <a:ext cx="82166" cy="1325974"/>
              </a:xfrm>
              <a:custGeom>
                <a:avLst/>
                <a:gdLst>
                  <a:gd name="connsiteX0" fmla="*/ 0 w 82166"/>
                  <a:gd name="connsiteY0" fmla="*/ 25185 h 1327781"/>
                  <a:gd name="connsiteX1" fmla="*/ 0 w 82166"/>
                  <a:gd name="connsiteY1" fmla="*/ 1302596 h 1327781"/>
                  <a:gd name="connsiteX2" fmla="*/ 12033 w 82166"/>
                  <a:gd name="connsiteY2" fmla="*/ 1320405 h 1327781"/>
                  <a:gd name="connsiteX3" fmla="*/ 41083 w 82166"/>
                  <a:gd name="connsiteY3" fmla="*/ 1327781 h 1327781"/>
                  <a:gd name="connsiteX4" fmla="*/ 82166 w 82166"/>
                  <a:gd name="connsiteY4" fmla="*/ 1302596 h 1327781"/>
                  <a:gd name="connsiteX5" fmla="*/ 82166 w 82166"/>
                  <a:gd name="connsiteY5" fmla="*/ 25185 h 1327781"/>
                  <a:gd name="connsiteX6" fmla="*/ 82166 w 82166"/>
                  <a:gd name="connsiteY6" fmla="*/ 25185 h 1327781"/>
                  <a:gd name="connsiteX7" fmla="*/ 41083 w 82166"/>
                  <a:gd name="connsiteY7" fmla="*/ 0 h 1327781"/>
                  <a:gd name="connsiteX8" fmla="*/ 0 w 82166"/>
                  <a:gd name="connsiteY8" fmla="*/ 25185 h 1327781"/>
                  <a:gd name="connsiteX0" fmla="*/ 0 w 82166"/>
                  <a:gd name="connsiteY0" fmla="*/ 36565 h 1339161"/>
                  <a:gd name="connsiteX1" fmla="*/ 0 w 82166"/>
                  <a:gd name="connsiteY1" fmla="*/ 1313976 h 1339161"/>
                  <a:gd name="connsiteX2" fmla="*/ 12033 w 82166"/>
                  <a:gd name="connsiteY2" fmla="*/ 1331785 h 1339161"/>
                  <a:gd name="connsiteX3" fmla="*/ 41083 w 82166"/>
                  <a:gd name="connsiteY3" fmla="*/ 1339161 h 1339161"/>
                  <a:gd name="connsiteX4" fmla="*/ 82166 w 82166"/>
                  <a:gd name="connsiteY4" fmla="*/ 1313976 h 1339161"/>
                  <a:gd name="connsiteX5" fmla="*/ 82166 w 82166"/>
                  <a:gd name="connsiteY5" fmla="*/ 36565 h 1339161"/>
                  <a:gd name="connsiteX6" fmla="*/ 82166 w 82166"/>
                  <a:gd name="connsiteY6" fmla="*/ 36565 h 1339161"/>
                  <a:gd name="connsiteX7" fmla="*/ 31091 w 82166"/>
                  <a:gd name="connsiteY7" fmla="*/ 0 h 1339161"/>
                  <a:gd name="connsiteX8" fmla="*/ 0 w 82166"/>
                  <a:gd name="connsiteY8" fmla="*/ 36565 h 133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166" h="1339161">
                    <a:moveTo>
                      <a:pt x="0" y="36565"/>
                    </a:moveTo>
                    <a:lnTo>
                      <a:pt x="0" y="1313976"/>
                    </a:lnTo>
                    <a:cubicBezTo>
                      <a:pt x="0" y="1320930"/>
                      <a:pt x="4598" y="1327227"/>
                      <a:pt x="12033" y="1331785"/>
                    </a:cubicBezTo>
                    <a:cubicBezTo>
                      <a:pt x="19467" y="1336342"/>
                      <a:pt x="29738" y="1339161"/>
                      <a:pt x="41083" y="1339161"/>
                    </a:cubicBezTo>
                    <a:cubicBezTo>
                      <a:pt x="63773" y="1339161"/>
                      <a:pt x="82166" y="1327885"/>
                      <a:pt x="82166" y="1313976"/>
                    </a:cubicBezTo>
                    <a:lnTo>
                      <a:pt x="82166" y="36565"/>
                    </a:lnTo>
                    <a:lnTo>
                      <a:pt x="82166" y="36565"/>
                    </a:lnTo>
                    <a:cubicBezTo>
                      <a:pt x="82166" y="22656"/>
                      <a:pt x="53781" y="0"/>
                      <a:pt x="31091" y="0"/>
                    </a:cubicBezTo>
                    <a:cubicBezTo>
                      <a:pt x="8401" y="0"/>
                      <a:pt x="0" y="22656"/>
                      <a:pt x="0" y="36565"/>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50" name="Freeform: Shape 1649">
                <a:extLst>
                  <a:ext uri="{FF2B5EF4-FFF2-40B4-BE49-F238E27FC236}">
                    <a16:creationId xmlns:a16="http://schemas.microsoft.com/office/drawing/2014/main" id="{EFA79856-DBA7-4AA7-9670-30E01E04965A}"/>
                  </a:ext>
                </a:extLst>
              </p:cNvPr>
              <p:cNvSpPr/>
              <p:nvPr/>
            </p:nvSpPr>
            <p:spPr bwMode="gray">
              <a:xfrm rot="3600000">
                <a:off x="14734219" y="-324411"/>
                <a:ext cx="83505" cy="243597"/>
              </a:xfrm>
              <a:custGeom>
                <a:avLst/>
                <a:gdLst>
                  <a:gd name="connsiteX0" fmla="*/ 0 w 82166"/>
                  <a:gd name="connsiteY0" fmla="*/ 25185 h 245457"/>
                  <a:gd name="connsiteX1" fmla="*/ 41083 w 82166"/>
                  <a:gd name="connsiteY1" fmla="*/ 0 h 245457"/>
                  <a:gd name="connsiteX2" fmla="*/ 82166 w 82166"/>
                  <a:gd name="connsiteY2" fmla="*/ 25185 h 245457"/>
                  <a:gd name="connsiteX3" fmla="*/ 82166 w 82166"/>
                  <a:gd name="connsiteY3" fmla="*/ 220272 h 245457"/>
                  <a:gd name="connsiteX4" fmla="*/ 41083 w 82166"/>
                  <a:gd name="connsiteY4" fmla="*/ 245457 h 245457"/>
                  <a:gd name="connsiteX5" fmla="*/ 12033 w 82166"/>
                  <a:gd name="connsiteY5" fmla="*/ 238081 h 245457"/>
                  <a:gd name="connsiteX6" fmla="*/ 0 w 82166"/>
                  <a:gd name="connsiteY6" fmla="*/ 220272 h 245457"/>
                  <a:gd name="connsiteX0" fmla="*/ 0 w 82166"/>
                  <a:gd name="connsiteY0" fmla="*/ 25185 h 242482"/>
                  <a:gd name="connsiteX1" fmla="*/ 41083 w 82166"/>
                  <a:gd name="connsiteY1" fmla="*/ 0 h 242482"/>
                  <a:gd name="connsiteX2" fmla="*/ 82166 w 82166"/>
                  <a:gd name="connsiteY2" fmla="*/ 25185 h 242482"/>
                  <a:gd name="connsiteX3" fmla="*/ 82166 w 82166"/>
                  <a:gd name="connsiteY3" fmla="*/ 220272 h 242482"/>
                  <a:gd name="connsiteX4" fmla="*/ 12033 w 82166"/>
                  <a:gd name="connsiteY4" fmla="*/ 238081 h 242482"/>
                  <a:gd name="connsiteX5" fmla="*/ 0 w 82166"/>
                  <a:gd name="connsiteY5" fmla="*/ 220272 h 242482"/>
                  <a:gd name="connsiteX6" fmla="*/ 0 w 82166"/>
                  <a:gd name="connsiteY6" fmla="*/ 25185 h 242482"/>
                  <a:gd name="connsiteX0" fmla="*/ 0 w 82166"/>
                  <a:gd name="connsiteY0" fmla="*/ 25185 h 244657"/>
                  <a:gd name="connsiteX1" fmla="*/ 41083 w 82166"/>
                  <a:gd name="connsiteY1" fmla="*/ 0 h 244657"/>
                  <a:gd name="connsiteX2" fmla="*/ 82166 w 82166"/>
                  <a:gd name="connsiteY2" fmla="*/ 25185 h 244657"/>
                  <a:gd name="connsiteX3" fmla="*/ 82166 w 82166"/>
                  <a:gd name="connsiteY3" fmla="*/ 220272 h 244657"/>
                  <a:gd name="connsiteX4" fmla="*/ 0 w 82166"/>
                  <a:gd name="connsiteY4" fmla="*/ 220272 h 244657"/>
                  <a:gd name="connsiteX5" fmla="*/ 0 w 82166"/>
                  <a:gd name="connsiteY5" fmla="*/ 25185 h 244657"/>
                  <a:gd name="connsiteX0" fmla="*/ 0 w 82166"/>
                  <a:gd name="connsiteY0" fmla="*/ 25185 h 251910"/>
                  <a:gd name="connsiteX1" fmla="*/ 41083 w 82166"/>
                  <a:gd name="connsiteY1" fmla="*/ 0 h 251910"/>
                  <a:gd name="connsiteX2" fmla="*/ 82166 w 82166"/>
                  <a:gd name="connsiteY2" fmla="*/ 25185 h 251910"/>
                  <a:gd name="connsiteX3" fmla="*/ 80337 w 82166"/>
                  <a:gd name="connsiteY3" fmla="*/ 232965 h 251910"/>
                  <a:gd name="connsiteX4" fmla="*/ 0 w 82166"/>
                  <a:gd name="connsiteY4" fmla="*/ 220272 h 251910"/>
                  <a:gd name="connsiteX5" fmla="*/ 0 w 82166"/>
                  <a:gd name="connsiteY5" fmla="*/ 25185 h 251910"/>
                  <a:gd name="connsiteX0" fmla="*/ 0 w 82166"/>
                  <a:gd name="connsiteY0" fmla="*/ 25185 h 232965"/>
                  <a:gd name="connsiteX1" fmla="*/ 41083 w 82166"/>
                  <a:gd name="connsiteY1" fmla="*/ 0 h 232965"/>
                  <a:gd name="connsiteX2" fmla="*/ 82166 w 82166"/>
                  <a:gd name="connsiteY2" fmla="*/ 25185 h 232965"/>
                  <a:gd name="connsiteX3" fmla="*/ 80337 w 82166"/>
                  <a:gd name="connsiteY3" fmla="*/ 232965 h 232965"/>
                  <a:gd name="connsiteX4" fmla="*/ 0 w 82166"/>
                  <a:gd name="connsiteY4" fmla="*/ 220272 h 232965"/>
                  <a:gd name="connsiteX5" fmla="*/ 0 w 82166"/>
                  <a:gd name="connsiteY5" fmla="*/ 25185 h 232965"/>
                  <a:gd name="connsiteX0" fmla="*/ 0 w 82166"/>
                  <a:gd name="connsiteY0" fmla="*/ 25185 h 243597"/>
                  <a:gd name="connsiteX1" fmla="*/ 41083 w 82166"/>
                  <a:gd name="connsiteY1" fmla="*/ 0 h 243597"/>
                  <a:gd name="connsiteX2" fmla="*/ 82166 w 82166"/>
                  <a:gd name="connsiteY2" fmla="*/ 25185 h 243597"/>
                  <a:gd name="connsiteX3" fmla="*/ 79699 w 82166"/>
                  <a:gd name="connsiteY3" fmla="*/ 243597 h 243597"/>
                  <a:gd name="connsiteX4" fmla="*/ 0 w 82166"/>
                  <a:gd name="connsiteY4" fmla="*/ 220272 h 243597"/>
                  <a:gd name="connsiteX5" fmla="*/ 0 w 82166"/>
                  <a:gd name="connsiteY5" fmla="*/ 25185 h 243597"/>
                  <a:gd name="connsiteX0" fmla="*/ 1339 w 83505"/>
                  <a:gd name="connsiteY0" fmla="*/ 25185 h 243597"/>
                  <a:gd name="connsiteX1" fmla="*/ 42422 w 83505"/>
                  <a:gd name="connsiteY1" fmla="*/ 0 h 243597"/>
                  <a:gd name="connsiteX2" fmla="*/ 83505 w 83505"/>
                  <a:gd name="connsiteY2" fmla="*/ 25185 h 243597"/>
                  <a:gd name="connsiteX3" fmla="*/ 81038 w 83505"/>
                  <a:gd name="connsiteY3" fmla="*/ 243597 h 243597"/>
                  <a:gd name="connsiteX4" fmla="*/ 0 w 83505"/>
                  <a:gd name="connsiteY4" fmla="*/ 189254 h 243597"/>
                  <a:gd name="connsiteX5" fmla="*/ 1339 w 83505"/>
                  <a:gd name="connsiteY5" fmla="*/ 25185 h 243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05" h="243597">
                    <a:moveTo>
                      <a:pt x="1339" y="25185"/>
                    </a:moveTo>
                    <a:cubicBezTo>
                      <a:pt x="1339" y="11276"/>
                      <a:pt x="19732" y="0"/>
                      <a:pt x="42422" y="0"/>
                    </a:cubicBezTo>
                    <a:cubicBezTo>
                      <a:pt x="65112" y="0"/>
                      <a:pt x="83505" y="11276"/>
                      <a:pt x="83505" y="25185"/>
                    </a:cubicBezTo>
                    <a:cubicBezTo>
                      <a:pt x="82895" y="94445"/>
                      <a:pt x="81648" y="174337"/>
                      <a:pt x="81038" y="243597"/>
                    </a:cubicBezTo>
                    <a:cubicBezTo>
                      <a:pt x="33967" y="210097"/>
                      <a:pt x="13694" y="221768"/>
                      <a:pt x="0" y="189254"/>
                    </a:cubicBezTo>
                    <a:cubicBezTo>
                      <a:pt x="446" y="134564"/>
                      <a:pt x="893" y="79875"/>
                      <a:pt x="1339" y="25185"/>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651" name="Group 1650">
              <a:extLst>
                <a:ext uri="{FF2B5EF4-FFF2-40B4-BE49-F238E27FC236}">
                  <a16:creationId xmlns:a16="http://schemas.microsoft.com/office/drawing/2014/main" id="{2071FB9F-023F-4F14-966B-0946FBDD51EA}"/>
                </a:ext>
              </a:extLst>
            </p:cNvPr>
            <p:cNvGrpSpPr/>
            <p:nvPr/>
          </p:nvGrpSpPr>
          <p:grpSpPr bwMode="gray">
            <a:xfrm>
              <a:off x="14648923" y="-1539250"/>
              <a:ext cx="1469507" cy="805690"/>
              <a:chOff x="13644798" y="-966550"/>
              <a:chExt cx="1469507" cy="805690"/>
            </a:xfrm>
          </p:grpSpPr>
          <p:sp>
            <p:nvSpPr>
              <p:cNvPr id="1652" name="Freeform: Shape 1651">
                <a:extLst>
                  <a:ext uri="{FF2B5EF4-FFF2-40B4-BE49-F238E27FC236}">
                    <a16:creationId xmlns:a16="http://schemas.microsoft.com/office/drawing/2014/main" id="{283AD750-A9D9-49BC-9B8D-2062146DE09A}"/>
                  </a:ext>
                </a:extLst>
              </p:cNvPr>
              <p:cNvSpPr/>
              <p:nvPr/>
            </p:nvSpPr>
            <p:spPr bwMode="gray">
              <a:xfrm rot="3600000">
                <a:off x="13815257" y="-1048196"/>
                <a:ext cx="82166" cy="245457"/>
              </a:xfrm>
              <a:custGeom>
                <a:avLst/>
                <a:gdLst>
                  <a:gd name="connsiteX0" fmla="*/ 0 w 82166"/>
                  <a:gd name="connsiteY0" fmla="*/ 25185 h 245457"/>
                  <a:gd name="connsiteX1" fmla="*/ 41083 w 82166"/>
                  <a:gd name="connsiteY1" fmla="*/ 0 h 245457"/>
                  <a:gd name="connsiteX2" fmla="*/ 82166 w 82166"/>
                  <a:gd name="connsiteY2" fmla="*/ 25185 h 245457"/>
                  <a:gd name="connsiteX3" fmla="*/ 82166 w 82166"/>
                  <a:gd name="connsiteY3" fmla="*/ 220272 h 245457"/>
                  <a:gd name="connsiteX4" fmla="*/ 41083 w 82166"/>
                  <a:gd name="connsiteY4" fmla="*/ 245457 h 245457"/>
                  <a:gd name="connsiteX5" fmla="*/ 12033 w 82166"/>
                  <a:gd name="connsiteY5" fmla="*/ 238081 h 245457"/>
                  <a:gd name="connsiteX6" fmla="*/ 0 w 82166"/>
                  <a:gd name="connsiteY6" fmla="*/ 220272 h 24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66" h="245457">
                    <a:moveTo>
                      <a:pt x="0" y="25185"/>
                    </a:moveTo>
                    <a:cubicBezTo>
                      <a:pt x="0" y="11276"/>
                      <a:pt x="18393" y="0"/>
                      <a:pt x="41083" y="0"/>
                    </a:cubicBezTo>
                    <a:cubicBezTo>
                      <a:pt x="63773" y="0"/>
                      <a:pt x="82166" y="11276"/>
                      <a:pt x="82166" y="25185"/>
                    </a:cubicBezTo>
                    <a:lnTo>
                      <a:pt x="82166" y="220272"/>
                    </a:lnTo>
                    <a:cubicBezTo>
                      <a:pt x="82166" y="234181"/>
                      <a:pt x="63773" y="245457"/>
                      <a:pt x="41083" y="245457"/>
                    </a:cubicBezTo>
                    <a:cubicBezTo>
                      <a:pt x="29738" y="245457"/>
                      <a:pt x="19467" y="242638"/>
                      <a:pt x="12033" y="238081"/>
                    </a:cubicBezTo>
                    <a:cubicBezTo>
                      <a:pt x="4598" y="233523"/>
                      <a:pt x="0" y="227226"/>
                      <a:pt x="0" y="220272"/>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53" name="Freeform: Shape 1652">
                <a:extLst>
                  <a:ext uri="{FF2B5EF4-FFF2-40B4-BE49-F238E27FC236}">
                    <a16:creationId xmlns:a16="http://schemas.microsoft.com/office/drawing/2014/main" id="{E1AD6109-CC23-40BF-817C-133B0F047A1C}"/>
                  </a:ext>
                </a:extLst>
              </p:cNvPr>
              <p:cNvSpPr/>
              <p:nvPr/>
            </p:nvSpPr>
            <p:spPr bwMode="gray">
              <a:xfrm rot="18000000" flipH="1">
                <a:off x="14433569" y="-1296107"/>
                <a:ext cx="84057" cy="1277414"/>
              </a:xfrm>
              <a:custGeom>
                <a:avLst/>
                <a:gdLst>
                  <a:gd name="connsiteX0" fmla="*/ 0 w 82166"/>
                  <a:gd name="connsiteY0" fmla="*/ 25185 h 1327781"/>
                  <a:gd name="connsiteX1" fmla="*/ 0 w 82166"/>
                  <a:gd name="connsiteY1" fmla="*/ 1302596 h 1327781"/>
                  <a:gd name="connsiteX2" fmla="*/ 12033 w 82166"/>
                  <a:gd name="connsiteY2" fmla="*/ 1320405 h 1327781"/>
                  <a:gd name="connsiteX3" fmla="*/ 41083 w 82166"/>
                  <a:gd name="connsiteY3" fmla="*/ 1327781 h 1327781"/>
                  <a:gd name="connsiteX4" fmla="*/ 82166 w 82166"/>
                  <a:gd name="connsiteY4" fmla="*/ 1302596 h 1327781"/>
                  <a:gd name="connsiteX5" fmla="*/ 82166 w 82166"/>
                  <a:gd name="connsiteY5" fmla="*/ 25185 h 1327781"/>
                  <a:gd name="connsiteX6" fmla="*/ 82166 w 82166"/>
                  <a:gd name="connsiteY6" fmla="*/ 25185 h 1327781"/>
                  <a:gd name="connsiteX7" fmla="*/ 41083 w 82166"/>
                  <a:gd name="connsiteY7" fmla="*/ 0 h 1327781"/>
                  <a:gd name="connsiteX8" fmla="*/ 0 w 82166"/>
                  <a:gd name="connsiteY8" fmla="*/ 25185 h 1327781"/>
                  <a:gd name="connsiteX0" fmla="*/ 0 w 84056"/>
                  <a:gd name="connsiteY0" fmla="*/ 26598 h 1329194"/>
                  <a:gd name="connsiteX1" fmla="*/ 0 w 84056"/>
                  <a:gd name="connsiteY1" fmla="*/ 1304009 h 1329194"/>
                  <a:gd name="connsiteX2" fmla="*/ 12033 w 84056"/>
                  <a:gd name="connsiteY2" fmla="*/ 1321818 h 1329194"/>
                  <a:gd name="connsiteX3" fmla="*/ 41083 w 84056"/>
                  <a:gd name="connsiteY3" fmla="*/ 1329194 h 1329194"/>
                  <a:gd name="connsiteX4" fmla="*/ 82166 w 84056"/>
                  <a:gd name="connsiteY4" fmla="*/ 1304009 h 1329194"/>
                  <a:gd name="connsiteX5" fmla="*/ 82166 w 84056"/>
                  <a:gd name="connsiteY5" fmla="*/ 26598 h 1329194"/>
                  <a:gd name="connsiteX6" fmla="*/ 84056 w 84056"/>
                  <a:gd name="connsiteY6" fmla="*/ 66185 h 1329194"/>
                  <a:gd name="connsiteX7" fmla="*/ 41083 w 84056"/>
                  <a:gd name="connsiteY7" fmla="*/ 1413 h 1329194"/>
                  <a:gd name="connsiteX8" fmla="*/ 0 w 84056"/>
                  <a:gd name="connsiteY8" fmla="*/ 26598 h 1329194"/>
                  <a:gd name="connsiteX0" fmla="*/ 0 w 84056"/>
                  <a:gd name="connsiteY0" fmla="*/ 82443 h 1385039"/>
                  <a:gd name="connsiteX1" fmla="*/ 0 w 84056"/>
                  <a:gd name="connsiteY1" fmla="*/ 1359854 h 1385039"/>
                  <a:gd name="connsiteX2" fmla="*/ 12033 w 84056"/>
                  <a:gd name="connsiteY2" fmla="*/ 1377663 h 1385039"/>
                  <a:gd name="connsiteX3" fmla="*/ 41083 w 84056"/>
                  <a:gd name="connsiteY3" fmla="*/ 1385039 h 1385039"/>
                  <a:gd name="connsiteX4" fmla="*/ 82166 w 84056"/>
                  <a:gd name="connsiteY4" fmla="*/ 1359854 h 1385039"/>
                  <a:gd name="connsiteX5" fmla="*/ 82166 w 84056"/>
                  <a:gd name="connsiteY5" fmla="*/ 82443 h 1385039"/>
                  <a:gd name="connsiteX6" fmla="*/ 84056 w 84056"/>
                  <a:gd name="connsiteY6" fmla="*/ 122030 h 1385039"/>
                  <a:gd name="connsiteX7" fmla="*/ 0 w 84056"/>
                  <a:gd name="connsiteY7" fmla="*/ 82443 h 1385039"/>
                  <a:gd name="connsiteX0" fmla="*/ 0 w 84056"/>
                  <a:gd name="connsiteY0" fmla="*/ 82443 h 1385039"/>
                  <a:gd name="connsiteX1" fmla="*/ 0 w 84056"/>
                  <a:gd name="connsiteY1" fmla="*/ 1359854 h 1385039"/>
                  <a:gd name="connsiteX2" fmla="*/ 12033 w 84056"/>
                  <a:gd name="connsiteY2" fmla="*/ 1377663 h 1385039"/>
                  <a:gd name="connsiteX3" fmla="*/ 41083 w 84056"/>
                  <a:gd name="connsiteY3" fmla="*/ 1385039 h 1385039"/>
                  <a:gd name="connsiteX4" fmla="*/ 82166 w 84056"/>
                  <a:gd name="connsiteY4" fmla="*/ 1359854 h 1385039"/>
                  <a:gd name="connsiteX5" fmla="*/ 84056 w 84056"/>
                  <a:gd name="connsiteY5" fmla="*/ 122030 h 1385039"/>
                  <a:gd name="connsiteX6" fmla="*/ 0 w 84056"/>
                  <a:gd name="connsiteY6" fmla="*/ 82443 h 1385039"/>
                  <a:gd name="connsiteX0" fmla="*/ 0 w 84056"/>
                  <a:gd name="connsiteY0" fmla="*/ 0 h 1302596"/>
                  <a:gd name="connsiteX1" fmla="*/ 0 w 84056"/>
                  <a:gd name="connsiteY1" fmla="*/ 1277411 h 1302596"/>
                  <a:gd name="connsiteX2" fmla="*/ 12033 w 84056"/>
                  <a:gd name="connsiteY2" fmla="*/ 1295220 h 1302596"/>
                  <a:gd name="connsiteX3" fmla="*/ 41083 w 84056"/>
                  <a:gd name="connsiteY3" fmla="*/ 1302596 h 1302596"/>
                  <a:gd name="connsiteX4" fmla="*/ 82166 w 84056"/>
                  <a:gd name="connsiteY4" fmla="*/ 1277411 h 1302596"/>
                  <a:gd name="connsiteX5" fmla="*/ 84056 w 84056"/>
                  <a:gd name="connsiteY5" fmla="*/ 39587 h 1302596"/>
                  <a:gd name="connsiteX6" fmla="*/ 0 w 84056"/>
                  <a:gd name="connsiteY6" fmla="*/ 0 h 1302596"/>
                  <a:gd name="connsiteX0" fmla="*/ 0 w 84056"/>
                  <a:gd name="connsiteY0" fmla="*/ 0 h 1302596"/>
                  <a:gd name="connsiteX1" fmla="*/ 0 w 84056"/>
                  <a:gd name="connsiteY1" fmla="*/ 1277411 h 1302596"/>
                  <a:gd name="connsiteX2" fmla="*/ 12033 w 84056"/>
                  <a:gd name="connsiteY2" fmla="*/ 1295220 h 1302596"/>
                  <a:gd name="connsiteX3" fmla="*/ 41083 w 84056"/>
                  <a:gd name="connsiteY3" fmla="*/ 1302596 h 1302596"/>
                  <a:gd name="connsiteX4" fmla="*/ 82166 w 84056"/>
                  <a:gd name="connsiteY4" fmla="*/ 1277411 h 1302596"/>
                  <a:gd name="connsiteX5" fmla="*/ 84056 w 84056"/>
                  <a:gd name="connsiteY5" fmla="*/ 39587 h 1302596"/>
                  <a:gd name="connsiteX6" fmla="*/ 0 w 84056"/>
                  <a:gd name="connsiteY6" fmla="*/ 0 h 1302596"/>
                  <a:gd name="connsiteX0" fmla="*/ 64 w 84120"/>
                  <a:gd name="connsiteY0" fmla="*/ 0 h 1375273"/>
                  <a:gd name="connsiteX1" fmla="*/ 64 w 84120"/>
                  <a:gd name="connsiteY1" fmla="*/ 1277411 h 1375273"/>
                  <a:gd name="connsiteX2" fmla="*/ 12097 w 84120"/>
                  <a:gd name="connsiteY2" fmla="*/ 1295220 h 1375273"/>
                  <a:gd name="connsiteX3" fmla="*/ 82230 w 84120"/>
                  <a:gd name="connsiteY3" fmla="*/ 1277411 h 1375273"/>
                  <a:gd name="connsiteX4" fmla="*/ 84120 w 84120"/>
                  <a:gd name="connsiteY4" fmla="*/ 39587 h 1375273"/>
                  <a:gd name="connsiteX5" fmla="*/ 64 w 84120"/>
                  <a:gd name="connsiteY5" fmla="*/ 0 h 1375273"/>
                  <a:gd name="connsiteX0" fmla="*/ 0 w 84056"/>
                  <a:gd name="connsiteY0" fmla="*/ 0 h 1434623"/>
                  <a:gd name="connsiteX1" fmla="*/ 0 w 84056"/>
                  <a:gd name="connsiteY1" fmla="*/ 1277411 h 1434623"/>
                  <a:gd name="connsiteX2" fmla="*/ 82166 w 84056"/>
                  <a:gd name="connsiteY2" fmla="*/ 1277411 h 1434623"/>
                  <a:gd name="connsiteX3" fmla="*/ 84056 w 84056"/>
                  <a:gd name="connsiteY3" fmla="*/ 39587 h 1434623"/>
                  <a:gd name="connsiteX4" fmla="*/ 0 w 84056"/>
                  <a:gd name="connsiteY4" fmla="*/ 0 h 1434623"/>
                  <a:gd name="connsiteX0" fmla="*/ 0 w 84056"/>
                  <a:gd name="connsiteY0" fmla="*/ 0 h 1416369"/>
                  <a:gd name="connsiteX1" fmla="*/ 11078 w 84056"/>
                  <a:gd name="connsiteY1" fmla="*/ 1238686 h 1416369"/>
                  <a:gd name="connsiteX2" fmla="*/ 82166 w 84056"/>
                  <a:gd name="connsiteY2" fmla="*/ 1277411 h 1416369"/>
                  <a:gd name="connsiteX3" fmla="*/ 84056 w 84056"/>
                  <a:gd name="connsiteY3" fmla="*/ 39587 h 1416369"/>
                  <a:gd name="connsiteX4" fmla="*/ 0 w 84056"/>
                  <a:gd name="connsiteY4" fmla="*/ 0 h 1416369"/>
                  <a:gd name="connsiteX0" fmla="*/ 0 w 84056"/>
                  <a:gd name="connsiteY0" fmla="*/ 0 h 1364186"/>
                  <a:gd name="connsiteX1" fmla="*/ 11078 w 84056"/>
                  <a:gd name="connsiteY1" fmla="*/ 1238686 h 1364186"/>
                  <a:gd name="connsiteX2" fmla="*/ 82166 w 84056"/>
                  <a:gd name="connsiteY2" fmla="*/ 1277411 h 1364186"/>
                  <a:gd name="connsiteX3" fmla="*/ 84056 w 84056"/>
                  <a:gd name="connsiteY3" fmla="*/ 39587 h 1364186"/>
                  <a:gd name="connsiteX4" fmla="*/ 0 w 84056"/>
                  <a:gd name="connsiteY4" fmla="*/ 0 h 1364186"/>
                  <a:gd name="connsiteX0" fmla="*/ 0 w 84056"/>
                  <a:gd name="connsiteY0" fmla="*/ 0 h 1277411"/>
                  <a:gd name="connsiteX1" fmla="*/ 11078 w 84056"/>
                  <a:gd name="connsiteY1" fmla="*/ 1238686 h 1277411"/>
                  <a:gd name="connsiteX2" fmla="*/ 82166 w 84056"/>
                  <a:gd name="connsiteY2" fmla="*/ 1277411 h 1277411"/>
                  <a:gd name="connsiteX3" fmla="*/ 84056 w 84056"/>
                  <a:gd name="connsiteY3" fmla="*/ 39587 h 1277411"/>
                  <a:gd name="connsiteX4" fmla="*/ 0 w 84056"/>
                  <a:gd name="connsiteY4" fmla="*/ 0 h 12774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56" h="1277411">
                    <a:moveTo>
                      <a:pt x="0" y="0"/>
                    </a:moveTo>
                    <a:cubicBezTo>
                      <a:pt x="3693" y="412895"/>
                      <a:pt x="7385" y="825791"/>
                      <a:pt x="11078" y="1238686"/>
                    </a:cubicBezTo>
                    <a:cubicBezTo>
                      <a:pt x="45012" y="1260231"/>
                      <a:pt x="53425" y="1255245"/>
                      <a:pt x="82166" y="1277411"/>
                    </a:cubicBezTo>
                    <a:lnTo>
                      <a:pt x="84056" y="39587"/>
                    </a:lnTo>
                    <a:cubicBezTo>
                      <a:pt x="53311" y="21494"/>
                      <a:pt x="42260" y="16229"/>
                      <a:pt x="0" y="0"/>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54" name="Freeform: Shape 1653">
                <a:extLst>
                  <a:ext uri="{FF2B5EF4-FFF2-40B4-BE49-F238E27FC236}">
                    <a16:creationId xmlns:a16="http://schemas.microsoft.com/office/drawing/2014/main" id="{BA4B931A-35C6-45AF-AC75-3A485144B4FD}"/>
                  </a:ext>
                </a:extLst>
              </p:cNvPr>
              <p:cNvSpPr/>
              <p:nvPr/>
            </p:nvSpPr>
            <p:spPr bwMode="gray">
              <a:xfrm rot="18000000" flipH="1">
                <a:off x="14266702" y="-1218360"/>
                <a:ext cx="82166" cy="1325974"/>
              </a:xfrm>
              <a:custGeom>
                <a:avLst/>
                <a:gdLst>
                  <a:gd name="connsiteX0" fmla="*/ 0 w 82166"/>
                  <a:gd name="connsiteY0" fmla="*/ 25185 h 1327781"/>
                  <a:gd name="connsiteX1" fmla="*/ 0 w 82166"/>
                  <a:gd name="connsiteY1" fmla="*/ 1302596 h 1327781"/>
                  <a:gd name="connsiteX2" fmla="*/ 12033 w 82166"/>
                  <a:gd name="connsiteY2" fmla="*/ 1320405 h 1327781"/>
                  <a:gd name="connsiteX3" fmla="*/ 41083 w 82166"/>
                  <a:gd name="connsiteY3" fmla="*/ 1327781 h 1327781"/>
                  <a:gd name="connsiteX4" fmla="*/ 82166 w 82166"/>
                  <a:gd name="connsiteY4" fmla="*/ 1302596 h 1327781"/>
                  <a:gd name="connsiteX5" fmla="*/ 82166 w 82166"/>
                  <a:gd name="connsiteY5" fmla="*/ 25185 h 1327781"/>
                  <a:gd name="connsiteX6" fmla="*/ 82166 w 82166"/>
                  <a:gd name="connsiteY6" fmla="*/ 25185 h 1327781"/>
                  <a:gd name="connsiteX7" fmla="*/ 41083 w 82166"/>
                  <a:gd name="connsiteY7" fmla="*/ 0 h 1327781"/>
                  <a:gd name="connsiteX8" fmla="*/ 0 w 82166"/>
                  <a:gd name="connsiteY8" fmla="*/ 25185 h 1327781"/>
                  <a:gd name="connsiteX0" fmla="*/ 0 w 82166"/>
                  <a:gd name="connsiteY0" fmla="*/ 36565 h 1339161"/>
                  <a:gd name="connsiteX1" fmla="*/ 0 w 82166"/>
                  <a:gd name="connsiteY1" fmla="*/ 1313976 h 1339161"/>
                  <a:gd name="connsiteX2" fmla="*/ 12033 w 82166"/>
                  <a:gd name="connsiteY2" fmla="*/ 1331785 h 1339161"/>
                  <a:gd name="connsiteX3" fmla="*/ 41083 w 82166"/>
                  <a:gd name="connsiteY3" fmla="*/ 1339161 h 1339161"/>
                  <a:gd name="connsiteX4" fmla="*/ 82166 w 82166"/>
                  <a:gd name="connsiteY4" fmla="*/ 1313976 h 1339161"/>
                  <a:gd name="connsiteX5" fmla="*/ 82166 w 82166"/>
                  <a:gd name="connsiteY5" fmla="*/ 36565 h 1339161"/>
                  <a:gd name="connsiteX6" fmla="*/ 82166 w 82166"/>
                  <a:gd name="connsiteY6" fmla="*/ 36565 h 1339161"/>
                  <a:gd name="connsiteX7" fmla="*/ 31091 w 82166"/>
                  <a:gd name="connsiteY7" fmla="*/ 0 h 1339161"/>
                  <a:gd name="connsiteX8" fmla="*/ 0 w 82166"/>
                  <a:gd name="connsiteY8" fmla="*/ 36565 h 1339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166" h="1339161">
                    <a:moveTo>
                      <a:pt x="0" y="36565"/>
                    </a:moveTo>
                    <a:lnTo>
                      <a:pt x="0" y="1313976"/>
                    </a:lnTo>
                    <a:cubicBezTo>
                      <a:pt x="0" y="1320930"/>
                      <a:pt x="4598" y="1327227"/>
                      <a:pt x="12033" y="1331785"/>
                    </a:cubicBezTo>
                    <a:cubicBezTo>
                      <a:pt x="19467" y="1336342"/>
                      <a:pt x="29738" y="1339161"/>
                      <a:pt x="41083" y="1339161"/>
                    </a:cubicBezTo>
                    <a:cubicBezTo>
                      <a:pt x="63773" y="1339161"/>
                      <a:pt x="82166" y="1327885"/>
                      <a:pt x="82166" y="1313976"/>
                    </a:cubicBezTo>
                    <a:lnTo>
                      <a:pt x="82166" y="36565"/>
                    </a:lnTo>
                    <a:lnTo>
                      <a:pt x="82166" y="36565"/>
                    </a:lnTo>
                    <a:cubicBezTo>
                      <a:pt x="82166" y="22656"/>
                      <a:pt x="53781" y="0"/>
                      <a:pt x="31091" y="0"/>
                    </a:cubicBezTo>
                    <a:cubicBezTo>
                      <a:pt x="8401" y="0"/>
                      <a:pt x="0" y="22656"/>
                      <a:pt x="0" y="36565"/>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655" name="Freeform: Shape 1654">
                <a:extLst>
                  <a:ext uri="{FF2B5EF4-FFF2-40B4-BE49-F238E27FC236}">
                    <a16:creationId xmlns:a16="http://schemas.microsoft.com/office/drawing/2014/main" id="{8790418E-BBE9-4E5F-8C55-5D6AF96BB9D0}"/>
                  </a:ext>
                </a:extLst>
              </p:cNvPr>
              <p:cNvSpPr/>
              <p:nvPr/>
            </p:nvSpPr>
            <p:spPr bwMode="gray">
              <a:xfrm rot="3600000">
                <a:off x="14734219" y="-324411"/>
                <a:ext cx="83505" cy="243597"/>
              </a:xfrm>
              <a:custGeom>
                <a:avLst/>
                <a:gdLst>
                  <a:gd name="connsiteX0" fmla="*/ 0 w 82166"/>
                  <a:gd name="connsiteY0" fmla="*/ 25185 h 245457"/>
                  <a:gd name="connsiteX1" fmla="*/ 41083 w 82166"/>
                  <a:gd name="connsiteY1" fmla="*/ 0 h 245457"/>
                  <a:gd name="connsiteX2" fmla="*/ 82166 w 82166"/>
                  <a:gd name="connsiteY2" fmla="*/ 25185 h 245457"/>
                  <a:gd name="connsiteX3" fmla="*/ 82166 w 82166"/>
                  <a:gd name="connsiteY3" fmla="*/ 220272 h 245457"/>
                  <a:gd name="connsiteX4" fmla="*/ 41083 w 82166"/>
                  <a:gd name="connsiteY4" fmla="*/ 245457 h 245457"/>
                  <a:gd name="connsiteX5" fmla="*/ 12033 w 82166"/>
                  <a:gd name="connsiteY5" fmla="*/ 238081 h 245457"/>
                  <a:gd name="connsiteX6" fmla="*/ 0 w 82166"/>
                  <a:gd name="connsiteY6" fmla="*/ 220272 h 245457"/>
                  <a:gd name="connsiteX0" fmla="*/ 0 w 82166"/>
                  <a:gd name="connsiteY0" fmla="*/ 25185 h 242482"/>
                  <a:gd name="connsiteX1" fmla="*/ 41083 w 82166"/>
                  <a:gd name="connsiteY1" fmla="*/ 0 h 242482"/>
                  <a:gd name="connsiteX2" fmla="*/ 82166 w 82166"/>
                  <a:gd name="connsiteY2" fmla="*/ 25185 h 242482"/>
                  <a:gd name="connsiteX3" fmla="*/ 82166 w 82166"/>
                  <a:gd name="connsiteY3" fmla="*/ 220272 h 242482"/>
                  <a:gd name="connsiteX4" fmla="*/ 12033 w 82166"/>
                  <a:gd name="connsiteY4" fmla="*/ 238081 h 242482"/>
                  <a:gd name="connsiteX5" fmla="*/ 0 w 82166"/>
                  <a:gd name="connsiteY5" fmla="*/ 220272 h 242482"/>
                  <a:gd name="connsiteX6" fmla="*/ 0 w 82166"/>
                  <a:gd name="connsiteY6" fmla="*/ 25185 h 242482"/>
                  <a:gd name="connsiteX0" fmla="*/ 0 w 82166"/>
                  <a:gd name="connsiteY0" fmla="*/ 25185 h 244657"/>
                  <a:gd name="connsiteX1" fmla="*/ 41083 w 82166"/>
                  <a:gd name="connsiteY1" fmla="*/ 0 h 244657"/>
                  <a:gd name="connsiteX2" fmla="*/ 82166 w 82166"/>
                  <a:gd name="connsiteY2" fmla="*/ 25185 h 244657"/>
                  <a:gd name="connsiteX3" fmla="*/ 82166 w 82166"/>
                  <a:gd name="connsiteY3" fmla="*/ 220272 h 244657"/>
                  <a:gd name="connsiteX4" fmla="*/ 0 w 82166"/>
                  <a:gd name="connsiteY4" fmla="*/ 220272 h 244657"/>
                  <a:gd name="connsiteX5" fmla="*/ 0 w 82166"/>
                  <a:gd name="connsiteY5" fmla="*/ 25185 h 244657"/>
                  <a:gd name="connsiteX0" fmla="*/ 0 w 82166"/>
                  <a:gd name="connsiteY0" fmla="*/ 25185 h 251910"/>
                  <a:gd name="connsiteX1" fmla="*/ 41083 w 82166"/>
                  <a:gd name="connsiteY1" fmla="*/ 0 h 251910"/>
                  <a:gd name="connsiteX2" fmla="*/ 82166 w 82166"/>
                  <a:gd name="connsiteY2" fmla="*/ 25185 h 251910"/>
                  <a:gd name="connsiteX3" fmla="*/ 80337 w 82166"/>
                  <a:gd name="connsiteY3" fmla="*/ 232965 h 251910"/>
                  <a:gd name="connsiteX4" fmla="*/ 0 w 82166"/>
                  <a:gd name="connsiteY4" fmla="*/ 220272 h 251910"/>
                  <a:gd name="connsiteX5" fmla="*/ 0 w 82166"/>
                  <a:gd name="connsiteY5" fmla="*/ 25185 h 251910"/>
                  <a:gd name="connsiteX0" fmla="*/ 0 w 82166"/>
                  <a:gd name="connsiteY0" fmla="*/ 25185 h 232965"/>
                  <a:gd name="connsiteX1" fmla="*/ 41083 w 82166"/>
                  <a:gd name="connsiteY1" fmla="*/ 0 h 232965"/>
                  <a:gd name="connsiteX2" fmla="*/ 82166 w 82166"/>
                  <a:gd name="connsiteY2" fmla="*/ 25185 h 232965"/>
                  <a:gd name="connsiteX3" fmla="*/ 80337 w 82166"/>
                  <a:gd name="connsiteY3" fmla="*/ 232965 h 232965"/>
                  <a:gd name="connsiteX4" fmla="*/ 0 w 82166"/>
                  <a:gd name="connsiteY4" fmla="*/ 220272 h 232965"/>
                  <a:gd name="connsiteX5" fmla="*/ 0 w 82166"/>
                  <a:gd name="connsiteY5" fmla="*/ 25185 h 232965"/>
                  <a:gd name="connsiteX0" fmla="*/ 0 w 82166"/>
                  <a:gd name="connsiteY0" fmla="*/ 25185 h 243597"/>
                  <a:gd name="connsiteX1" fmla="*/ 41083 w 82166"/>
                  <a:gd name="connsiteY1" fmla="*/ 0 h 243597"/>
                  <a:gd name="connsiteX2" fmla="*/ 82166 w 82166"/>
                  <a:gd name="connsiteY2" fmla="*/ 25185 h 243597"/>
                  <a:gd name="connsiteX3" fmla="*/ 79699 w 82166"/>
                  <a:gd name="connsiteY3" fmla="*/ 243597 h 243597"/>
                  <a:gd name="connsiteX4" fmla="*/ 0 w 82166"/>
                  <a:gd name="connsiteY4" fmla="*/ 220272 h 243597"/>
                  <a:gd name="connsiteX5" fmla="*/ 0 w 82166"/>
                  <a:gd name="connsiteY5" fmla="*/ 25185 h 243597"/>
                  <a:gd name="connsiteX0" fmla="*/ 1339 w 83505"/>
                  <a:gd name="connsiteY0" fmla="*/ 25185 h 243597"/>
                  <a:gd name="connsiteX1" fmla="*/ 42422 w 83505"/>
                  <a:gd name="connsiteY1" fmla="*/ 0 h 243597"/>
                  <a:gd name="connsiteX2" fmla="*/ 83505 w 83505"/>
                  <a:gd name="connsiteY2" fmla="*/ 25185 h 243597"/>
                  <a:gd name="connsiteX3" fmla="*/ 81038 w 83505"/>
                  <a:gd name="connsiteY3" fmla="*/ 243597 h 243597"/>
                  <a:gd name="connsiteX4" fmla="*/ 0 w 83505"/>
                  <a:gd name="connsiteY4" fmla="*/ 189254 h 243597"/>
                  <a:gd name="connsiteX5" fmla="*/ 1339 w 83505"/>
                  <a:gd name="connsiteY5" fmla="*/ 25185 h 243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505" h="243597">
                    <a:moveTo>
                      <a:pt x="1339" y="25185"/>
                    </a:moveTo>
                    <a:cubicBezTo>
                      <a:pt x="1339" y="11276"/>
                      <a:pt x="19732" y="0"/>
                      <a:pt x="42422" y="0"/>
                    </a:cubicBezTo>
                    <a:cubicBezTo>
                      <a:pt x="65112" y="0"/>
                      <a:pt x="83505" y="11276"/>
                      <a:pt x="83505" y="25185"/>
                    </a:cubicBezTo>
                    <a:cubicBezTo>
                      <a:pt x="82895" y="94445"/>
                      <a:pt x="81648" y="174337"/>
                      <a:pt x="81038" y="243597"/>
                    </a:cubicBezTo>
                    <a:cubicBezTo>
                      <a:pt x="33967" y="210097"/>
                      <a:pt x="13694" y="221768"/>
                      <a:pt x="0" y="189254"/>
                    </a:cubicBezTo>
                    <a:cubicBezTo>
                      <a:pt x="446" y="134564"/>
                      <a:pt x="893" y="79875"/>
                      <a:pt x="1339" y="25185"/>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sp>
          <p:nvSpPr>
            <p:cNvPr id="1661" name="Freeform: Shape 1660">
              <a:extLst>
                <a:ext uri="{FF2B5EF4-FFF2-40B4-BE49-F238E27FC236}">
                  <a16:creationId xmlns:a16="http://schemas.microsoft.com/office/drawing/2014/main" id="{0C4B1EF6-9110-410F-90D5-C79A19EFCFFD}"/>
                </a:ext>
              </a:extLst>
            </p:cNvPr>
            <p:cNvSpPr/>
            <p:nvPr/>
          </p:nvSpPr>
          <p:spPr bwMode="gray">
            <a:xfrm rot="18000000" flipH="1">
              <a:off x="13923260" y="-1886280"/>
              <a:ext cx="1583267" cy="2174744"/>
            </a:xfrm>
            <a:custGeom>
              <a:avLst/>
              <a:gdLst>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744312 w 1745156"/>
                <a:gd name="connsiteY85" fmla="*/ 613059 h 2302560"/>
                <a:gd name="connsiteX86" fmla="*/ 742212 w 1745156"/>
                <a:gd name="connsiteY86" fmla="*/ 604834 h 2302560"/>
                <a:gd name="connsiteX87" fmla="*/ 681043 w 1745156"/>
                <a:gd name="connsiteY87" fmla="*/ 586796 h 2302560"/>
                <a:gd name="connsiteX88" fmla="*/ 508600 w 1745156"/>
                <a:gd name="connsiteY88" fmla="*/ 684095 h 2302560"/>
                <a:gd name="connsiteX89" fmla="*/ 498494 w 1745156"/>
                <a:gd name="connsiteY89" fmla="*/ 725103 h 2302560"/>
                <a:gd name="connsiteX90" fmla="*/ 497708 w 1745156"/>
                <a:gd name="connsiteY90" fmla="*/ 1947297 h 2302560"/>
                <a:gd name="connsiteX91" fmla="*/ 414093 w 1745156"/>
                <a:gd name="connsiteY91" fmla="*/ 1995572 h 2302560"/>
                <a:gd name="connsiteX92" fmla="*/ 414093 w 1745156"/>
                <a:gd name="connsiteY92" fmla="*/ 1955655 h 2302560"/>
                <a:gd name="connsiteX93" fmla="*/ 417452 w 1745156"/>
                <a:gd name="connsiteY93" fmla="*/ 826816 h 2302560"/>
                <a:gd name="connsiteX94" fmla="*/ 414094 w 1745156"/>
                <a:gd name="connsiteY94" fmla="*/ 813660 h 2302560"/>
                <a:gd name="connsiteX95" fmla="*/ 414093 w 1745156"/>
                <a:gd name="connsiteY95" fmla="*/ 799296 h 2302560"/>
                <a:gd name="connsiteX96" fmla="*/ 412387 w 1745156"/>
                <a:gd name="connsiteY96" fmla="*/ 806974 h 2302560"/>
                <a:gd name="connsiteX97" fmla="*/ 410286 w 1745156"/>
                <a:gd name="connsiteY97" fmla="*/ 798748 h 2302560"/>
                <a:gd name="connsiteX98" fmla="*/ 349117 w 1745156"/>
                <a:gd name="connsiteY98" fmla="*/ 780711 h 2302560"/>
                <a:gd name="connsiteX99" fmla="*/ 176674 w 1745156"/>
                <a:gd name="connsiteY99" fmla="*/ 878009 h 2302560"/>
                <a:gd name="connsiteX100" fmla="*/ 166568 w 1745156"/>
                <a:gd name="connsiteY100" fmla="*/ 919017 h 2302560"/>
                <a:gd name="connsiteX101" fmla="*/ 165782 w 1745156"/>
                <a:gd name="connsiteY101" fmla="*/ 2141211 h 2302560"/>
                <a:gd name="connsiteX102" fmla="*/ 82167 w 1745156"/>
                <a:gd name="connsiteY102" fmla="*/ 2189487 h 2302560"/>
                <a:gd name="connsiteX103" fmla="*/ 82168 w 1745156"/>
                <a:gd name="connsiteY103" fmla="*/ 993211 h 2302560"/>
                <a:gd name="connsiteX104" fmla="*/ 41084 w 1745156"/>
                <a:gd name="connsiteY104" fmla="*/ 968026 h 2302560"/>
                <a:gd name="connsiteX105" fmla="*/ 1 w 1745156"/>
                <a:gd name="connsiteY105"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744312 w 1745156"/>
                <a:gd name="connsiteY85" fmla="*/ 613059 h 2302560"/>
                <a:gd name="connsiteX86" fmla="*/ 742212 w 1745156"/>
                <a:gd name="connsiteY86" fmla="*/ 604834 h 2302560"/>
                <a:gd name="connsiteX87" fmla="*/ 681043 w 1745156"/>
                <a:gd name="connsiteY87" fmla="*/ 586796 h 2302560"/>
                <a:gd name="connsiteX88" fmla="*/ 508600 w 1745156"/>
                <a:gd name="connsiteY88" fmla="*/ 684095 h 2302560"/>
                <a:gd name="connsiteX89" fmla="*/ 498494 w 1745156"/>
                <a:gd name="connsiteY89" fmla="*/ 725103 h 2302560"/>
                <a:gd name="connsiteX90" fmla="*/ 497708 w 1745156"/>
                <a:gd name="connsiteY90" fmla="*/ 1947297 h 2302560"/>
                <a:gd name="connsiteX91" fmla="*/ 414093 w 1745156"/>
                <a:gd name="connsiteY91" fmla="*/ 1995572 h 2302560"/>
                <a:gd name="connsiteX92" fmla="*/ 414093 w 1745156"/>
                <a:gd name="connsiteY92" fmla="*/ 1955655 h 2302560"/>
                <a:gd name="connsiteX93" fmla="*/ 417452 w 1745156"/>
                <a:gd name="connsiteY93" fmla="*/ 826816 h 2302560"/>
                <a:gd name="connsiteX94" fmla="*/ 414094 w 1745156"/>
                <a:gd name="connsiteY94" fmla="*/ 813660 h 2302560"/>
                <a:gd name="connsiteX95" fmla="*/ 414093 w 1745156"/>
                <a:gd name="connsiteY95" fmla="*/ 799296 h 2302560"/>
                <a:gd name="connsiteX96" fmla="*/ 412387 w 1745156"/>
                <a:gd name="connsiteY96" fmla="*/ 806974 h 2302560"/>
                <a:gd name="connsiteX97" fmla="*/ 349117 w 1745156"/>
                <a:gd name="connsiteY97" fmla="*/ 780711 h 2302560"/>
                <a:gd name="connsiteX98" fmla="*/ 176674 w 1745156"/>
                <a:gd name="connsiteY98" fmla="*/ 878009 h 2302560"/>
                <a:gd name="connsiteX99" fmla="*/ 166568 w 1745156"/>
                <a:gd name="connsiteY99" fmla="*/ 919017 h 2302560"/>
                <a:gd name="connsiteX100" fmla="*/ 165782 w 1745156"/>
                <a:gd name="connsiteY100" fmla="*/ 2141211 h 2302560"/>
                <a:gd name="connsiteX101" fmla="*/ 82167 w 1745156"/>
                <a:gd name="connsiteY101" fmla="*/ 2189487 h 2302560"/>
                <a:gd name="connsiteX102" fmla="*/ 82168 w 1745156"/>
                <a:gd name="connsiteY102" fmla="*/ 993211 h 2302560"/>
                <a:gd name="connsiteX103" fmla="*/ 41084 w 1745156"/>
                <a:gd name="connsiteY103" fmla="*/ 968026 h 2302560"/>
                <a:gd name="connsiteX104" fmla="*/ 1 w 1745156"/>
                <a:gd name="connsiteY104"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744312 w 1745156"/>
                <a:gd name="connsiteY85" fmla="*/ 613059 h 2302560"/>
                <a:gd name="connsiteX86" fmla="*/ 742212 w 1745156"/>
                <a:gd name="connsiteY86" fmla="*/ 604834 h 2302560"/>
                <a:gd name="connsiteX87" fmla="*/ 681043 w 1745156"/>
                <a:gd name="connsiteY87" fmla="*/ 586796 h 2302560"/>
                <a:gd name="connsiteX88" fmla="*/ 508600 w 1745156"/>
                <a:gd name="connsiteY88" fmla="*/ 684095 h 2302560"/>
                <a:gd name="connsiteX89" fmla="*/ 498494 w 1745156"/>
                <a:gd name="connsiteY89" fmla="*/ 725103 h 2302560"/>
                <a:gd name="connsiteX90" fmla="*/ 497708 w 1745156"/>
                <a:gd name="connsiteY90" fmla="*/ 1947297 h 2302560"/>
                <a:gd name="connsiteX91" fmla="*/ 414093 w 1745156"/>
                <a:gd name="connsiteY91" fmla="*/ 1995572 h 2302560"/>
                <a:gd name="connsiteX92" fmla="*/ 414093 w 1745156"/>
                <a:gd name="connsiteY92" fmla="*/ 1955655 h 2302560"/>
                <a:gd name="connsiteX93" fmla="*/ 417452 w 1745156"/>
                <a:gd name="connsiteY93" fmla="*/ 826816 h 2302560"/>
                <a:gd name="connsiteX94" fmla="*/ 414094 w 1745156"/>
                <a:gd name="connsiteY94" fmla="*/ 813660 h 2302560"/>
                <a:gd name="connsiteX95" fmla="*/ 414093 w 1745156"/>
                <a:gd name="connsiteY95" fmla="*/ 799296 h 2302560"/>
                <a:gd name="connsiteX96" fmla="*/ 349117 w 1745156"/>
                <a:gd name="connsiteY96" fmla="*/ 780711 h 2302560"/>
                <a:gd name="connsiteX97" fmla="*/ 176674 w 1745156"/>
                <a:gd name="connsiteY97" fmla="*/ 878009 h 2302560"/>
                <a:gd name="connsiteX98" fmla="*/ 166568 w 1745156"/>
                <a:gd name="connsiteY98" fmla="*/ 919017 h 2302560"/>
                <a:gd name="connsiteX99" fmla="*/ 165782 w 1745156"/>
                <a:gd name="connsiteY99" fmla="*/ 2141211 h 2302560"/>
                <a:gd name="connsiteX100" fmla="*/ 82167 w 1745156"/>
                <a:gd name="connsiteY100" fmla="*/ 2189487 h 2302560"/>
                <a:gd name="connsiteX101" fmla="*/ 82168 w 1745156"/>
                <a:gd name="connsiteY101" fmla="*/ 993211 h 2302560"/>
                <a:gd name="connsiteX102" fmla="*/ 41084 w 1745156"/>
                <a:gd name="connsiteY102" fmla="*/ 968026 h 2302560"/>
                <a:gd name="connsiteX103" fmla="*/ 1 w 1745156"/>
                <a:gd name="connsiteY103"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744312 w 1745156"/>
                <a:gd name="connsiteY85" fmla="*/ 613059 h 2302560"/>
                <a:gd name="connsiteX86" fmla="*/ 742212 w 1745156"/>
                <a:gd name="connsiteY86" fmla="*/ 604834 h 2302560"/>
                <a:gd name="connsiteX87" fmla="*/ 681043 w 1745156"/>
                <a:gd name="connsiteY87" fmla="*/ 586796 h 2302560"/>
                <a:gd name="connsiteX88" fmla="*/ 508600 w 1745156"/>
                <a:gd name="connsiteY88" fmla="*/ 684095 h 2302560"/>
                <a:gd name="connsiteX89" fmla="*/ 498494 w 1745156"/>
                <a:gd name="connsiteY89" fmla="*/ 725103 h 2302560"/>
                <a:gd name="connsiteX90" fmla="*/ 497708 w 1745156"/>
                <a:gd name="connsiteY90" fmla="*/ 1947297 h 2302560"/>
                <a:gd name="connsiteX91" fmla="*/ 414093 w 1745156"/>
                <a:gd name="connsiteY91" fmla="*/ 1995572 h 2302560"/>
                <a:gd name="connsiteX92" fmla="*/ 414093 w 1745156"/>
                <a:gd name="connsiteY92" fmla="*/ 1955655 h 2302560"/>
                <a:gd name="connsiteX93" fmla="*/ 417452 w 1745156"/>
                <a:gd name="connsiteY93" fmla="*/ 826816 h 2302560"/>
                <a:gd name="connsiteX94" fmla="*/ 414094 w 1745156"/>
                <a:gd name="connsiteY94" fmla="*/ 813660 h 2302560"/>
                <a:gd name="connsiteX95" fmla="*/ 349117 w 1745156"/>
                <a:gd name="connsiteY95" fmla="*/ 780711 h 2302560"/>
                <a:gd name="connsiteX96" fmla="*/ 176674 w 1745156"/>
                <a:gd name="connsiteY96" fmla="*/ 878009 h 2302560"/>
                <a:gd name="connsiteX97" fmla="*/ 166568 w 1745156"/>
                <a:gd name="connsiteY97" fmla="*/ 919017 h 2302560"/>
                <a:gd name="connsiteX98" fmla="*/ 165782 w 1745156"/>
                <a:gd name="connsiteY98" fmla="*/ 2141211 h 2302560"/>
                <a:gd name="connsiteX99" fmla="*/ 82167 w 1745156"/>
                <a:gd name="connsiteY99" fmla="*/ 2189487 h 2302560"/>
                <a:gd name="connsiteX100" fmla="*/ 82168 w 1745156"/>
                <a:gd name="connsiteY100" fmla="*/ 993211 h 2302560"/>
                <a:gd name="connsiteX101" fmla="*/ 41084 w 1745156"/>
                <a:gd name="connsiteY101" fmla="*/ 968026 h 2302560"/>
                <a:gd name="connsiteX102" fmla="*/ 1 w 1745156"/>
                <a:gd name="connsiteY102"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744312 w 1745156"/>
                <a:gd name="connsiteY85" fmla="*/ 613059 h 2302560"/>
                <a:gd name="connsiteX86" fmla="*/ 742212 w 1745156"/>
                <a:gd name="connsiteY86" fmla="*/ 604834 h 2302560"/>
                <a:gd name="connsiteX87" fmla="*/ 681043 w 1745156"/>
                <a:gd name="connsiteY87" fmla="*/ 586796 h 2302560"/>
                <a:gd name="connsiteX88" fmla="*/ 508600 w 1745156"/>
                <a:gd name="connsiteY88" fmla="*/ 684095 h 2302560"/>
                <a:gd name="connsiteX89" fmla="*/ 498494 w 1745156"/>
                <a:gd name="connsiteY89" fmla="*/ 725103 h 2302560"/>
                <a:gd name="connsiteX90" fmla="*/ 497708 w 1745156"/>
                <a:gd name="connsiteY90" fmla="*/ 1947297 h 2302560"/>
                <a:gd name="connsiteX91" fmla="*/ 414093 w 1745156"/>
                <a:gd name="connsiteY91" fmla="*/ 1995572 h 2302560"/>
                <a:gd name="connsiteX92" fmla="*/ 414093 w 1745156"/>
                <a:gd name="connsiteY92" fmla="*/ 1955655 h 2302560"/>
                <a:gd name="connsiteX93" fmla="*/ 417452 w 1745156"/>
                <a:gd name="connsiteY93" fmla="*/ 826816 h 2302560"/>
                <a:gd name="connsiteX94" fmla="*/ 349117 w 1745156"/>
                <a:gd name="connsiteY94" fmla="*/ 780711 h 2302560"/>
                <a:gd name="connsiteX95" fmla="*/ 176674 w 1745156"/>
                <a:gd name="connsiteY95" fmla="*/ 878009 h 2302560"/>
                <a:gd name="connsiteX96" fmla="*/ 166568 w 1745156"/>
                <a:gd name="connsiteY96" fmla="*/ 919017 h 2302560"/>
                <a:gd name="connsiteX97" fmla="*/ 165782 w 1745156"/>
                <a:gd name="connsiteY97" fmla="*/ 2141211 h 2302560"/>
                <a:gd name="connsiteX98" fmla="*/ 82167 w 1745156"/>
                <a:gd name="connsiteY98" fmla="*/ 2189487 h 2302560"/>
                <a:gd name="connsiteX99" fmla="*/ 82168 w 1745156"/>
                <a:gd name="connsiteY99" fmla="*/ 993211 h 2302560"/>
                <a:gd name="connsiteX100" fmla="*/ 41084 w 1745156"/>
                <a:gd name="connsiteY100" fmla="*/ 968026 h 2302560"/>
                <a:gd name="connsiteX101" fmla="*/ 1 w 1745156"/>
                <a:gd name="connsiteY101"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744312 w 1745156"/>
                <a:gd name="connsiteY85" fmla="*/ 613059 h 2302560"/>
                <a:gd name="connsiteX86" fmla="*/ 681043 w 1745156"/>
                <a:gd name="connsiteY86" fmla="*/ 586796 h 2302560"/>
                <a:gd name="connsiteX87" fmla="*/ 508600 w 1745156"/>
                <a:gd name="connsiteY87" fmla="*/ 684095 h 2302560"/>
                <a:gd name="connsiteX88" fmla="*/ 498494 w 1745156"/>
                <a:gd name="connsiteY88" fmla="*/ 725103 h 2302560"/>
                <a:gd name="connsiteX89" fmla="*/ 497708 w 1745156"/>
                <a:gd name="connsiteY89" fmla="*/ 1947297 h 2302560"/>
                <a:gd name="connsiteX90" fmla="*/ 414093 w 1745156"/>
                <a:gd name="connsiteY90" fmla="*/ 1995572 h 2302560"/>
                <a:gd name="connsiteX91" fmla="*/ 414093 w 1745156"/>
                <a:gd name="connsiteY91" fmla="*/ 1955655 h 2302560"/>
                <a:gd name="connsiteX92" fmla="*/ 417452 w 1745156"/>
                <a:gd name="connsiteY92" fmla="*/ 826816 h 2302560"/>
                <a:gd name="connsiteX93" fmla="*/ 349117 w 1745156"/>
                <a:gd name="connsiteY93" fmla="*/ 780711 h 2302560"/>
                <a:gd name="connsiteX94" fmla="*/ 176674 w 1745156"/>
                <a:gd name="connsiteY94" fmla="*/ 878009 h 2302560"/>
                <a:gd name="connsiteX95" fmla="*/ 166568 w 1745156"/>
                <a:gd name="connsiteY95" fmla="*/ 919017 h 2302560"/>
                <a:gd name="connsiteX96" fmla="*/ 165782 w 1745156"/>
                <a:gd name="connsiteY96" fmla="*/ 2141211 h 2302560"/>
                <a:gd name="connsiteX97" fmla="*/ 82167 w 1745156"/>
                <a:gd name="connsiteY97" fmla="*/ 2189487 h 2302560"/>
                <a:gd name="connsiteX98" fmla="*/ 82168 w 1745156"/>
                <a:gd name="connsiteY98" fmla="*/ 993211 h 2302560"/>
                <a:gd name="connsiteX99" fmla="*/ 41084 w 1745156"/>
                <a:gd name="connsiteY99" fmla="*/ 968026 h 2302560"/>
                <a:gd name="connsiteX100" fmla="*/ 1 w 1745156"/>
                <a:gd name="connsiteY100"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746018 w 1745156"/>
                <a:gd name="connsiteY84" fmla="*/ 605384 h 2302560"/>
                <a:gd name="connsiteX85" fmla="*/ 681043 w 1745156"/>
                <a:gd name="connsiteY85" fmla="*/ 586796 h 2302560"/>
                <a:gd name="connsiteX86" fmla="*/ 508600 w 1745156"/>
                <a:gd name="connsiteY86" fmla="*/ 684095 h 2302560"/>
                <a:gd name="connsiteX87" fmla="*/ 498494 w 1745156"/>
                <a:gd name="connsiteY87" fmla="*/ 725103 h 2302560"/>
                <a:gd name="connsiteX88" fmla="*/ 497708 w 1745156"/>
                <a:gd name="connsiteY88" fmla="*/ 1947297 h 2302560"/>
                <a:gd name="connsiteX89" fmla="*/ 414093 w 1745156"/>
                <a:gd name="connsiteY89" fmla="*/ 1995572 h 2302560"/>
                <a:gd name="connsiteX90" fmla="*/ 414093 w 1745156"/>
                <a:gd name="connsiteY90" fmla="*/ 1955655 h 2302560"/>
                <a:gd name="connsiteX91" fmla="*/ 417452 w 1745156"/>
                <a:gd name="connsiteY91" fmla="*/ 826816 h 2302560"/>
                <a:gd name="connsiteX92" fmla="*/ 349117 w 1745156"/>
                <a:gd name="connsiteY92" fmla="*/ 780711 h 2302560"/>
                <a:gd name="connsiteX93" fmla="*/ 176674 w 1745156"/>
                <a:gd name="connsiteY93" fmla="*/ 878009 h 2302560"/>
                <a:gd name="connsiteX94" fmla="*/ 166568 w 1745156"/>
                <a:gd name="connsiteY94" fmla="*/ 919017 h 2302560"/>
                <a:gd name="connsiteX95" fmla="*/ 165782 w 1745156"/>
                <a:gd name="connsiteY95" fmla="*/ 2141211 h 2302560"/>
                <a:gd name="connsiteX96" fmla="*/ 82167 w 1745156"/>
                <a:gd name="connsiteY96" fmla="*/ 2189487 h 2302560"/>
                <a:gd name="connsiteX97" fmla="*/ 82168 w 1745156"/>
                <a:gd name="connsiteY97" fmla="*/ 993211 h 2302560"/>
                <a:gd name="connsiteX98" fmla="*/ 41084 w 1745156"/>
                <a:gd name="connsiteY98" fmla="*/ 968026 h 2302560"/>
                <a:gd name="connsiteX99" fmla="*/ 1 w 1745156"/>
                <a:gd name="connsiteY9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746019 w 1745156"/>
                <a:gd name="connsiteY83" fmla="*/ 619741 h 2302560"/>
                <a:gd name="connsiteX84" fmla="*/ 681043 w 1745156"/>
                <a:gd name="connsiteY84" fmla="*/ 586796 h 2302560"/>
                <a:gd name="connsiteX85" fmla="*/ 508600 w 1745156"/>
                <a:gd name="connsiteY85" fmla="*/ 684095 h 2302560"/>
                <a:gd name="connsiteX86" fmla="*/ 498494 w 1745156"/>
                <a:gd name="connsiteY86" fmla="*/ 725103 h 2302560"/>
                <a:gd name="connsiteX87" fmla="*/ 497708 w 1745156"/>
                <a:gd name="connsiteY87" fmla="*/ 1947297 h 2302560"/>
                <a:gd name="connsiteX88" fmla="*/ 414093 w 1745156"/>
                <a:gd name="connsiteY88" fmla="*/ 1995572 h 2302560"/>
                <a:gd name="connsiteX89" fmla="*/ 414093 w 1745156"/>
                <a:gd name="connsiteY89" fmla="*/ 1955655 h 2302560"/>
                <a:gd name="connsiteX90" fmla="*/ 417452 w 1745156"/>
                <a:gd name="connsiteY90" fmla="*/ 826816 h 2302560"/>
                <a:gd name="connsiteX91" fmla="*/ 349117 w 1745156"/>
                <a:gd name="connsiteY91" fmla="*/ 780711 h 2302560"/>
                <a:gd name="connsiteX92" fmla="*/ 176674 w 1745156"/>
                <a:gd name="connsiteY92" fmla="*/ 878009 h 2302560"/>
                <a:gd name="connsiteX93" fmla="*/ 166568 w 1745156"/>
                <a:gd name="connsiteY93" fmla="*/ 919017 h 2302560"/>
                <a:gd name="connsiteX94" fmla="*/ 165782 w 1745156"/>
                <a:gd name="connsiteY94" fmla="*/ 2141211 h 2302560"/>
                <a:gd name="connsiteX95" fmla="*/ 82167 w 1745156"/>
                <a:gd name="connsiteY95" fmla="*/ 2189487 h 2302560"/>
                <a:gd name="connsiteX96" fmla="*/ 82168 w 1745156"/>
                <a:gd name="connsiteY96" fmla="*/ 993211 h 2302560"/>
                <a:gd name="connsiteX97" fmla="*/ 41084 w 1745156"/>
                <a:gd name="connsiteY97" fmla="*/ 968026 h 2302560"/>
                <a:gd name="connsiteX98" fmla="*/ 1 w 1745156"/>
                <a:gd name="connsiteY98"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74137 w 1745156"/>
                <a:gd name="connsiteY75" fmla="*/ 410921 h 2302560"/>
                <a:gd name="connsiteX76" fmla="*/ 1012968 w 1745156"/>
                <a:gd name="connsiteY76" fmla="*/ 392883 h 2302560"/>
                <a:gd name="connsiteX77" fmla="*/ 840525 w 1745156"/>
                <a:gd name="connsiteY77" fmla="*/ 490182 h 2302560"/>
                <a:gd name="connsiteX78" fmla="*/ 830419 w 1745156"/>
                <a:gd name="connsiteY78" fmla="*/ 531190 h 2302560"/>
                <a:gd name="connsiteX79" fmla="*/ 829633 w 1745156"/>
                <a:gd name="connsiteY79" fmla="*/ 1753384 h 2302560"/>
                <a:gd name="connsiteX80" fmla="*/ 746018 w 1745156"/>
                <a:gd name="connsiteY80" fmla="*/ 1801659 h 2302560"/>
                <a:gd name="connsiteX81" fmla="*/ 746018 w 1745156"/>
                <a:gd name="connsiteY81" fmla="*/ 1762076 h 2302560"/>
                <a:gd name="connsiteX82" fmla="*/ 749378 w 1745156"/>
                <a:gd name="connsiteY82" fmla="*/ 632901 h 2302560"/>
                <a:gd name="connsiteX83" fmla="*/ 681043 w 1745156"/>
                <a:gd name="connsiteY83" fmla="*/ 586796 h 2302560"/>
                <a:gd name="connsiteX84" fmla="*/ 508600 w 1745156"/>
                <a:gd name="connsiteY84" fmla="*/ 684095 h 2302560"/>
                <a:gd name="connsiteX85" fmla="*/ 498494 w 1745156"/>
                <a:gd name="connsiteY85" fmla="*/ 725103 h 2302560"/>
                <a:gd name="connsiteX86" fmla="*/ 497708 w 1745156"/>
                <a:gd name="connsiteY86" fmla="*/ 1947297 h 2302560"/>
                <a:gd name="connsiteX87" fmla="*/ 414093 w 1745156"/>
                <a:gd name="connsiteY87" fmla="*/ 1995572 h 2302560"/>
                <a:gd name="connsiteX88" fmla="*/ 414093 w 1745156"/>
                <a:gd name="connsiteY88" fmla="*/ 1955655 h 2302560"/>
                <a:gd name="connsiteX89" fmla="*/ 417452 w 1745156"/>
                <a:gd name="connsiteY89" fmla="*/ 826816 h 2302560"/>
                <a:gd name="connsiteX90" fmla="*/ 349117 w 1745156"/>
                <a:gd name="connsiteY90" fmla="*/ 780711 h 2302560"/>
                <a:gd name="connsiteX91" fmla="*/ 176674 w 1745156"/>
                <a:gd name="connsiteY91" fmla="*/ 878009 h 2302560"/>
                <a:gd name="connsiteX92" fmla="*/ 166568 w 1745156"/>
                <a:gd name="connsiteY92" fmla="*/ 919017 h 2302560"/>
                <a:gd name="connsiteX93" fmla="*/ 165782 w 1745156"/>
                <a:gd name="connsiteY93" fmla="*/ 2141211 h 2302560"/>
                <a:gd name="connsiteX94" fmla="*/ 82167 w 1745156"/>
                <a:gd name="connsiteY94" fmla="*/ 2189487 h 2302560"/>
                <a:gd name="connsiteX95" fmla="*/ 82168 w 1745156"/>
                <a:gd name="connsiteY95" fmla="*/ 993211 h 2302560"/>
                <a:gd name="connsiteX96" fmla="*/ 41084 w 1745156"/>
                <a:gd name="connsiteY96" fmla="*/ 968026 h 2302560"/>
                <a:gd name="connsiteX97" fmla="*/ 1 w 1745156"/>
                <a:gd name="connsiteY97"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76237 w 1745156"/>
                <a:gd name="connsiteY74" fmla="*/ 419146 h 2302560"/>
                <a:gd name="connsiteX75" fmla="*/ 1012968 w 1745156"/>
                <a:gd name="connsiteY75" fmla="*/ 392883 h 2302560"/>
                <a:gd name="connsiteX76" fmla="*/ 840525 w 1745156"/>
                <a:gd name="connsiteY76" fmla="*/ 490182 h 2302560"/>
                <a:gd name="connsiteX77" fmla="*/ 830419 w 1745156"/>
                <a:gd name="connsiteY77" fmla="*/ 531190 h 2302560"/>
                <a:gd name="connsiteX78" fmla="*/ 829633 w 1745156"/>
                <a:gd name="connsiteY78" fmla="*/ 1753384 h 2302560"/>
                <a:gd name="connsiteX79" fmla="*/ 746018 w 1745156"/>
                <a:gd name="connsiteY79" fmla="*/ 1801659 h 2302560"/>
                <a:gd name="connsiteX80" fmla="*/ 746018 w 1745156"/>
                <a:gd name="connsiteY80" fmla="*/ 1762076 h 2302560"/>
                <a:gd name="connsiteX81" fmla="*/ 749378 w 1745156"/>
                <a:gd name="connsiteY81" fmla="*/ 632901 h 2302560"/>
                <a:gd name="connsiteX82" fmla="*/ 681043 w 1745156"/>
                <a:gd name="connsiteY82" fmla="*/ 586796 h 2302560"/>
                <a:gd name="connsiteX83" fmla="*/ 508600 w 1745156"/>
                <a:gd name="connsiteY83" fmla="*/ 684095 h 2302560"/>
                <a:gd name="connsiteX84" fmla="*/ 498494 w 1745156"/>
                <a:gd name="connsiteY84" fmla="*/ 725103 h 2302560"/>
                <a:gd name="connsiteX85" fmla="*/ 497708 w 1745156"/>
                <a:gd name="connsiteY85" fmla="*/ 1947297 h 2302560"/>
                <a:gd name="connsiteX86" fmla="*/ 414093 w 1745156"/>
                <a:gd name="connsiteY86" fmla="*/ 1995572 h 2302560"/>
                <a:gd name="connsiteX87" fmla="*/ 414093 w 1745156"/>
                <a:gd name="connsiteY87" fmla="*/ 1955655 h 2302560"/>
                <a:gd name="connsiteX88" fmla="*/ 417452 w 1745156"/>
                <a:gd name="connsiteY88" fmla="*/ 826816 h 2302560"/>
                <a:gd name="connsiteX89" fmla="*/ 349117 w 1745156"/>
                <a:gd name="connsiteY89" fmla="*/ 780711 h 2302560"/>
                <a:gd name="connsiteX90" fmla="*/ 176674 w 1745156"/>
                <a:gd name="connsiteY90" fmla="*/ 878009 h 2302560"/>
                <a:gd name="connsiteX91" fmla="*/ 166568 w 1745156"/>
                <a:gd name="connsiteY91" fmla="*/ 919017 h 2302560"/>
                <a:gd name="connsiteX92" fmla="*/ 165782 w 1745156"/>
                <a:gd name="connsiteY92" fmla="*/ 2141211 h 2302560"/>
                <a:gd name="connsiteX93" fmla="*/ 82167 w 1745156"/>
                <a:gd name="connsiteY93" fmla="*/ 2189487 h 2302560"/>
                <a:gd name="connsiteX94" fmla="*/ 82168 w 1745156"/>
                <a:gd name="connsiteY94" fmla="*/ 993211 h 2302560"/>
                <a:gd name="connsiteX95" fmla="*/ 41084 w 1745156"/>
                <a:gd name="connsiteY95" fmla="*/ 968026 h 2302560"/>
                <a:gd name="connsiteX96" fmla="*/ 1 w 1745156"/>
                <a:gd name="connsiteY96"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77943 w 1745156"/>
                <a:gd name="connsiteY73" fmla="*/ 411471 h 2302560"/>
                <a:gd name="connsiteX74" fmla="*/ 1012968 w 1745156"/>
                <a:gd name="connsiteY74" fmla="*/ 392883 h 2302560"/>
                <a:gd name="connsiteX75" fmla="*/ 840525 w 1745156"/>
                <a:gd name="connsiteY75" fmla="*/ 490182 h 2302560"/>
                <a:gd name="connsiteX76" fmla="*/ 830419 w 1745156"/>
                <a:gd name="connsiteY76" fmla="*/ 531190 h 2302560"/>
                <a:gd name="connsiteX77" fmla="*/ 829633 w 1745156"/>
                <a:gd name="connsiteY77" fmla="*/ 1753384 h 2302560"/>
                <a:gd name="connsiteX78" fmla="*/ 746018 w 1745156"/>
                <a:gd name="connsiteY78" fmla="*/ 1801659 h 2302560"/>
                <a:gd name="connsiteX79" fmla="*/ 746018 w 1745156"/>
                <a:gd name="connsiteY79" fmla="*/ 1762076 h 2302560"/>
                <a:gd name="connsiteX80" fmla="*/ 749378 w 1745156"/>
                <a:gd name="connsiteY80" fmla="*/ 632901 h 2302560"/>
                <a:gd name="connsiteX81" fmla="*/ 681043 w 1745156"/>
                <a:gd name="connsiteY81" fmla="*/ 586796 h 2302560"/>
                <a:gd name="connsiteX82" fmla="*/ 508600 w 1745156"/>
                <a:gd name="connsiteY82" fmla="*/ 684095 h 2302560"/>
                <a:gd name="connsiteX83" fmla="*/ 498494 w 1745156"/>
                <a:gd name="connsiteY83" fmla="*/ 725103 h 2302560"/>
                <a:gd name="connsiteX84" fmla="*/ 497708 w 1745156"/>
                <a:gd name="connsiteY84" fmla="*/ 1947297 h 2302560"/>
                <a:gd name="connsiteX85" fmla="*/ 414093 w 1745156"/>
                <a:gd name="connsiteY85" fmla="*/ 1995572 h 2302560"/>
                <a:gd name="connsiteX86" fmla="*/ 414093 w 1745156"/>
                <a:gd name="connsiteY86" fmla="*/ 1955655 h 2302560"/>
                <a:gd name="connsiteX87" fmla="*/ 417452 w 1745156"/>
                <a:gd name="connsiteY87" fmla="*/ 826816 h 2302560"/>
                <a:gd name="connsiteX88" fmla="*/ 349117 w 1745156"/>
                <a:gd name="connsiteY88" fmla="*/ 780711 h 2302560"/>
                <a:gd name="connsiteX89" fmla="*/ 176674 w 1745156"/>
                <a:gd name="connsiteY89" fmla="*/ 878009 h 2302560"/>
                <a:gd name="connsiteX90" fmla="*/ 166568 w 1745156"/>
                <a:gd name="connsiteY90" fmla="*/ 919017 h 2302560"/>
                <a:gd name="connsiteX91" fmla="*/ 165782 w 1745156"/>
                <a:gd name="connsiteY91" fmla="*/ 2141211 h 2302560"/>
                <a:gd name="connsiteX92" fmla="*/ 82167 w 1745156"/>
                <a:gd name="connsiteY92" fmla="*/ 2189487 h 2302560"/>
                <a:gd name="connsiteX93" fmla="*/ 82168 w 1745156"/>
                <a:gd name="connsiteY93" fmla="*/ 993211 h 2302560"/>
                <a:gd name="connsiteX94" fmla="*/ 41084 w 1745156"/>
                <a:gd name="connsiteY94" fmla="*/ 968026 h 2302560"/>
                <a:gd name="connsiteX95" fmla="*/ 1 w 1745156"/>
                <a:gd name="connsiteY95"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77944 w 1745156"/>
                <a:gd name="connsiteY72" fmla="*/ 425828 h 2302560"/>
                <a:gd name="connsiteX73" fmla="*/ 1012968 w 1745156"/>
                <a:gd name="connsiteY73" fmla="*/ 392883 h 2302560"/>
                <a:gd name="connsiteX74" fmla="*/ 840525 w 1745156"/>
                <a:gd name="connsiteY74" fmla="*/ 490182 h 2302560"/>
                <a:gd name="connsiteX75" fmla="*/ 830419 w 1745156"/>
                <a:gd name="connsiteY75" fmla="*/ 531190 h 2302560"/>
                <a:gd name="connsiteX76" fmla="*/ 829633 w 1745156"/>
                <a:gd name="connsiteY76" fmla="*/ 1753384 h 2302560"/>
                <a:gd name="connsiteX77" fmla="*/ 746018 w 1745156"/>
                <a:gd name="connsiteY77" fmla="*/ 1801659 h 2302560"/>
                <a:gd name="connsiteX78" fmla="*/ 746018 w 1745156"/>
                <a:gd name="connsiteY78" fmla="*/ 1762076 h 2302560"/>
                <a:gd name="connsiteX79" fmla="*/ 749378 w 1745156"/>
                <a:gd name="connsiteY79" fmla="*/ 632901 h 2302560"/>
                <a:gd name="connsiteX80" fmla="*/ 681043 w 1745156"/>
                <a:gd name="connsiteY80" fmla="*/ 586796 h 2302560"/>
                <a:gd name="connsiteX81" fmla="*/ 508600 w 1745156"/>
                <a:gd name="connsiteY81" fmla="*/ 684095 h 2302560"/>
                <a:gd name="connsiteX82" fmla="*/ 498494 w 1745156"/>
                <a:gd name="connsiteY82" fmla="*/ 725103 h 2302560"/>
                <a:gd name="connsiteX83" fmla="*/ 497708 w 1745156"/>
                <a:gd name="connsiteY83" fmla="*/ 1947297 h 2302560"/>
                <a:gd name="connsiteX84" fmla="*/ 414093 w 1745156"/>
                <a:gd name="connsiteY84" fmla="*/ 1995572 h 2302560"/>
                <a:gd name="connsiteX85" fmla="*/ 414093 w 1745156"/>
                <a:gd name="connsiteY85" fmla="*/ 1955655 h 2302560"/>
                <a:gd name="connsiteX86" fmla="*/ 417452 w 1745156"/>
                <a:gd name="connsiteY86" fmla="*/ 826816 h 2302560"/>
                <a:gd name="connsiteX87" fmla="*/ 349117 w 1745156"/>
                <a:gd name="connsiteY87" fmla="*/ 780711 h 2302560"/>
                <a:gd name="connsiteX88" fmla="*/ 176674 w 1745156"/>
                <a:gd name="connsiteY88" fmla="*/ 878009 h 2302560"/>
                <a:gd name="connsiteX89" fmla="*/ 166568 w 1745156"/>
                <a:gd name="connsiteY89" fmla="*/ 919017 h 2302560"/>
                <a:gd name="connsiteX90" fmla="*/ 165782 w 1745156"/>
                <a:gd name="connsiteY90" fmla="*/ 2141211 h 2302560"/>
                <a:gd name="connsiteX91" fmla="*/ 82167 w 1745156"/>
                <a:gd name="connsiteY91" fmla="*/ 2189487 h 2302560"/>
                <a:gd name="connsiteX92" fmla="*/ 82168 w 1745156"/>
                <a:gd name="connsiteY92" fmla="*/ 993211 h 2302560"/>
                <a:gd name="connsiteX93" fmla="*/ 41084 w 1745156"/>
                <a:gd name="connsiteY93" fmla="*/ 968026 h 2302560"/>
                <a:gd name="connsiteX94" fmla="*/ 1 w 1745156"/>
                <a:gd name="connsiteY94"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406062 w 1745156"/>
                <a:gd name="connsiteY64" fmla="*/ 217008 h 2302560"/>
                <a:gd name="connsiteX65" fmla="*/ 1344893 w 1745156"/>
                <a:gd name="connsiteY65" fmla="*/ 198971 h 2302560"/>
                <a:gd name="connsiteX66" fmla="*/ 1172450 w 1745156"/>
                <a:gd name="connsiteY66" fmla="*/ 296269 h 2302560"/>
                <a:gd name="connsiteX67" fmla="*/ 1162344 w 1745156"/>
                <a:gd name="connsiteY67" fmla="*/ 337277 h 2302560"/>
                <a:gd name="connsiteX68" fmla="*/ 1161558 w 1745156"/>
                <a:gd name="connsiteY68" fmla="*/ 1559471 h 2302560"/>
                <a:gd name="connsiteX69" fmla="*/ 1077943 w 1745156"/>
                <a:gd name="connsiteY69" fmla="*/ 1607746 h 2302560"/>
                <a:gd name="connsiteX70" fmla="*/ 1077943 w 1745156"/>
                <a:gd name="connsiteY70" fmla="*/ 1568157 h 2302560"/>
                <a:gd name="connsiteX71" fmla="*/ 1081303 w 1745156"/>
                <a:gd name="connsiteY71" fmla="*/ 438988 h 2302560"/>
                <a:gd name="connsiteX72" fmla="*/ 1012968 w 1745156"/>
                <a:gd name="connsiteY72" fmla="*/ 392883 h 2302560"/>
                <a:gd name="connsiteX73" fmla="*/ 840525 w 1745156"/>
                <a:gd name="connsiteY73" fmla="*/ 490182 h 2302560"/>
                <a:gd name="connsiteX74" fmla="*/ 830419 w 1745156"/>
                <a:gd name="connsiteY74" fmla="*/ 531190 h 2302560"/>
                <a:gd name="connsiteX75" fmla="*/ 829633 w 1745156"/>
                <a:gd name="connsiteY75" fmla="*/ 1753384 h 2302560"/>
                <a:gd name="connsiteX76" fmla="*/ 746018 w 1745156"/>
                <a:gd name="connsiteY76" fmla="*/ 1801659 h 2302560"/>
                <a:gd name="connsiteX77" fmla="*/ 746018 w 1745156"/>
                <a:gd name="connsiteY77" fmla="*/ 1762076 h 2302560"/>
                <a:gd name="connsiteX78" fmla="*/ 749378 w 1745156"/>
                <a:gd name="connsiteY78" fmla="*/ 632901 h 2302560"/>
                <a:gd name="connsiteX79" fmla="*/ 681043 w 1745156"/>
                <a:gd name="connsiteY79" fmla="*/ 586796 h 2302560"/>
                <a:gd name="connsiteX80" fmla="*/ 508600 w 1745156"/>
                <a:gd name="connsiteY80" fmla="*/ 684095 h 2302560"/>
                <a:gd name="connsiteX81" fmla="*/ 498494 w 1745156"/>
                <a:gd name="connsiteY81" fmla="*/ 725103 h 2302560"/>
                <a:gd name="connsiteX82" fmla="*/ 497708 w 1745156"/>
                <a:gd name="connsiteY82" fmla="*/ 1947297 h 2302560"/>
                <a:gd name="connsiteX83" fmla="*/ 414093 w 1745156"/>
                <a:gd name="connsiteY83" fmla="*/ 1995572 h 2302560"/>
                <a:gd name="connsiteX84" fmla="*/ 414093 w 1745156"/>
                <a:gd name="connsiteY84" fmla="*/ 1955655 h 2302560"/>
                <a:gd name="connsiteX85" fmla="*/ 417452 w 1745156"/>
                <a:gd name="connsiteY85" fmla="*/ 826816 h 2302560"/>
                <a:gd name="connsiteX86" fmla="*/ 349117 w 1745156"/>
                <a:gd name="connsiteY86" fmla="*/ 780711 h 2302560"/>
                <a:gd name="connsiteX87" fmla="*/ 176674 w 1745156"/>
                <a:gd name="connsiteY87" fmla="*/ 878009 h 2302560"/>
                <a:gd name="connsiteX88" fmla="*/ 166568 w 1745156"/>
                <a:gd name="connsiteY88" fmla="*/ 919017 h 2302560"/>
                <a:gd name="connsiteX89" fmla="*/ 165782 w 1745156"/>
                <a:gd name="connsiteY89" fmla="*/ 2141211 h 2302560"/>
                <a:gd name="connsiteX90" fmla="*/ 82167 w 1745156"/>
                <a:gd name="connsiteY90" fmla="*/ 2189487 h 2302560"/>
                <a:gd name="connsiteX91" fmla="*/ 82168 w 1745156"/>
                <a:gd name="connsiteY91" fmla="*/ 993211 h 2302560"/>
                <a:gd name="connsiteX92" fmla="*/ 41084 w 1745156"/>
                <a:gd name="connsiteY92" fmla="*/ 968026 h 2302560"/>
                <a:gd name="connsiteX93" fmla="*/ 1 w 1745156"/>
                <a:gd name="connsiteY93"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408163 w 1745156"/>
                <a:gd name="connsiteY63" fmla="*/ 225237 h 2302560"/>
                <a:gd name="connsiteX64" fmla="*/ 1344893 w 1745156"/>
                <a:gd name="connsiteY64" fmla="*/ 198971 h 2302560"/>
                <a:gd name="connsiteX65" fmla="*/ 1172450 w 1745156"/>
                <a:gd name="connsiteY65" fmla="*/ 296269 h 2302560"/>
                <a:gd name="connsiteX66" fmla="*/ 1162344 w 1745156"/>
                <a:gd name="connsiteY66" fmla="*/ 337277 h 2302560"/>
                <a:gd name="connsiteX67" fmla="*/ 1161558 w 1745156"/>
                <a:gd name="connsiteY67" fmla="*/ 1559471 h 2302560"/>
                <a:gd name="connsiteX68" fmla="*/ 1077943 w 1745156"/>
                <a:gd name="connsiteY68" fmla="*/ 1607746 h 2302560"/>
                <a:gd name="connsiteX69" fmla="*/ 1077943 w 1745156"/>
                <a:gd name="connsiteY69" fmla="*/ 1568157 h 2302560"/>
                <a:gd name="connsiteX70" fmla="*/ 1081303 w 1745156"/>
                <a:gd name="connsiteY70" fmla="*/ 438988 h 2302560"/>
                <a:gd name="connsiteX71" fmla="*/ 1012968 w 1745156"/>
                <a:gd name="connsiteY71" fmla="*/ 392883 h 2302560"/>
                <a:gd name="connsiteX72" fmla="*/ 840525 w 1745156"/>
                <a:gd name="connsiteY72" fmla="*/ 490182 h 2302560"/>
                <a:gd name="connsiteX73" fmla="*/ 830419 w 1745156"/>
                <a:gd name="connsiteY73" fmla="*/ 531190 h 2302560"/>
                <a:gd name="connsiteX74" fmla="*/ 829633 w 1745156"/>
                <a:gd name="connsiteY74" fmla="*/ 1753384 h 2302560"/>
                <a:gd name="connsiteX75" fmla="*/ 746018 w 1745156"/>
                <a:gd name="connsiteY75" fmla="*/ 1801659 h 2302560"/>
                <a:gd name="connsiteX76" fmla="*/ 746018 w 1745156"/>
                <a:gd name="connsiteY76" fmla="*/ 1762076 h 2302560"/>
                <a:gd name="connsiteX77" fmla="*/ 749378 w 1745156"/>
                <a:gd name="connsiteY77" fmla="*/ 632901 h 2302560"/>
                <a:gd name="connsiteX78" fmla="*/ 681043 w 1745156"/>
                <a:gd name="connsiteY78" fmla="*/ 586796 h 2302560"/>
                <a:gd name="connsiteX79" fmla="*/ 508600 w 1745156"/>
                <a:gd name="connsiteY79" fmla="*/ 684095 h 2302560"/>
                <a:gd name="connsiteX80" fmla="*/ 498494 w 1745156"/>
                <a:gd name="connsiteY80" fmla="*/ 725103 h 2302560"/>
                <a:gd name="connsiteX81" fmla="*/ 497708 w 1745156"/>
                <a:gd name="connsiteY81" fmla="*/ 1947297 h 2302560"/>
                <a:gd name="connsiteX82" fmla="*/ 414093 w 1745156"/>
                <a:gd name="connsiteY82" fmla="*/ 1995572 h 2302560"/>
                <a:gd name="connsiteX83" fmla="*/ 414093 w 1745156"/>
                <a:gd name="connsiteY83" fmla="*/ 1955655 h 2302560"/>
                <a:gd name="connsiteX84" fmla="*/ 417452 w 1745156"/>
                <a:gd name="connsiteY84" fmla="*/ 826816 h 2302560"/>
                <a:gd name="connsiteX85" fmla="*/ 349117 w 1745156"/>
                <a:gd name="connsiteY85" fmla="*/ 780711 h 2302560"/>
                <a:gd name="connsiteX86" fmla="*/ 176674 w 1745156"/>
                <a:gd name="connsiteY86" fmla="*/ 878009 h 2302560"/>
                <a:gd name="connsiteX87" fmla="*/ 166568 w 1745156"/>
                <a:gd name="connsiteY87" fmla="*/ 919017 h 2302560"/>
                <a:gd name="connsiteX88" fmla="*/ 165782 w 1745156"/>
                <a:gd name="connsiteY88" fmla="*/ 2141211 h 2302560"/>
                <a:gd name="connsiteX89" fmla="*/ 82167 w 1745156"/>
                <a:gd name="connsiteY89" fmla="*/ 2189487 h 2302560"/>
                <a:gd name="connsiteX90" fmla="*/ 82168 w 1745156"/>
                <a:gd name="connsiteY90" fmla="*/ 993211 h 2302560"/>
                <a:gd name="connsiteX91" fmla="*/ 41084 w 1745156"/>
                <a:gd name="connsiteY91" fmla="*/ 968026 h 2302560"/>
                <a:gd name="connsiteX92" fmla="*/ 1 w 1745156"/>
                <a:gd name="connsiteY92"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409870 w 1745156"/>
                <a:gd name="connsiteY62" fmla="*/ 217559 h 2302560"/>
                <a:gd name="connsiteX63" fmla="*/ 1344893 w 1745156"/>
                <a:gd name="connsiteY63" fmla="*/ 198971 h 2302560"/>
                <a:gd name="connsiteX64" fmla="*/ 1172450 w 1745156"/>
                <a:gd name="connsiteY64" fmla="*/ 296269 h 2302560"/>
                <a:gd name="connsiteX65" fmla="*/ 1162344 w 1745156"/>
                <a:gd name="connsiteY65" fmla="*/ 337277 h 2302560"/>
                <a:gd name="connsiteX66" fmla="*/ 1161558 w 1745156"/>
                <a:gd name="connsiteY66" fmla="*/ 1559471 h 2302560"/>
                <a:gd name="connsiteX67" fmla="*/ 1077943 w 1745156"/>
                <a:gd name="connsiteY67" fmla="*/ 1607746 h 2302560"/>
                <a:gd name="connsiteX68" fmla="*/ 1077943 w 1745156"/>
                <a:gd name="connsiteY68" fmla="*/ 1568157 h 2302560"/>
                <a:gd name="connsiteX69" fmla="*/ 1081303 w 1745156"/>
                <a:gd name="connsiteY69" fmla="*/ 438988 h 2302560"/>
                <a:gd name="connsiteX70" fmla="*/ 1012968 w 1745156"/>
                <a:gd name="connsiteY70" fmla="*/ 392883 h 2302560"/>
                <a:gd name="connsiteX71" fmla="*/ 840525 w 1745156"/>
                <a:gd name="connsiteY71" fmla="*/ 490182 h 2302560"/>
                <a:gd name="connsiteX72" fmla="*/ 830419 w 1745156"/>
                <a:gd name="connsiteY72" fmla="*/ 531190 h 2302560"/>
                <a:gd name="connsiteX73" fmla="*/ 829633 w 1745156"/>
                <a:gd name="connsiteY73" fmla="*/ 1753384 h 2302560"/>
                <a:gd name="connsiteX74" fmla="*/ 746018 w 1745156"/>
                <a:gd name="connsiteY74" fmla="*/ 1801659 h 2302560"/>
                <a:gd name="connsiteX75" fmla="*/ 746018 w 1745156"/>
                <a:gd name="connsiteY75" fmla="*/ 1762076 h 2302560"/>
                <a:gd name="connsiteX76" fmla="*/ 749378 w 1745156"/>
                <a:gd name="connsiteY76" fmla="*/ 632901 h 2302560"/>
                <a:gd name="connsiteX77" fmla="*/ 681043 w 1745156"/>
                <a:gd name="connsiteY77" fmla="*/ 586796 h 2302560"/>
                <a:gd name="connsiteX78" fmla="*/ 508600 w 1745156"/>
                <a:gd name="connsiteY78" fmla="*/ 684095 h 2302560"/>
                <a:gd name="connsiteX79" fmla="*/ 498494 w 1745156"/>
                <a:gd name="connsiteY79" fmla="*/ 725103 h 2302560"/>
                <a:gd name="connsiteX80" fmla="*/ 497708 w 1745156"/>
                <a:gd name="connsiteY80" fmla="*/ 1947297 h 2302560"/>
                <a:gd name="connsiteX81" fmla="*/ 414093 w 1745156"/>
                <a:gd name="connsiteY81" fmla="*/ 1995572 h 2302560"/>
                <a:gd name="connsiteX82" fmla="*/ 414093 w 1745156"/>
                <a:gd name="connsiteY82" fmla="*/ 1955655 h 2302560"/>
                <a:gd name="connsiteX83" fmla="*/ 417452 w 1745156"/>
                <a:gd name="connsiteY83" fmla="*/ 826816 h 2302560"/>
                <a:gd name="connsiteX84" fmla="*/ 349117 w 1745156"/>
                <a:gd name="connsiteY84" fmla="*/ 780711 h 2302560"/>
                <a:gd name="connsiteX85" fmla="*/ 176674 w 1745156"/>
                <a:gd name="connsiteY85" fmla="*/ 878009 h 2302560"/>
                <a:gd name="connsiteX86" fmla="*/ 166568 w 1745156"/>
                <a:gd name="connsiteY86" fmla="*/ 919017 h 2302560"/>
                <a:gd name="connsiteX87" fmla="*/ 165782 w 1745156"/>
                <a:gd name="connsiteY87" fmla="*/ 2141211 h 2302560"/>
                <a:gd name="connsiteX88" fmla="*/ 82167 w 1745156"/>
                <a:gd name="connsiteY88" fmla="*/ 2189487 h 2302560"/>
                <a:gd name="connsiteX89" fmla="*/ 82168 w 1745156"/>
                <a:gd name="connsiteY89" fmla="*/ 993211 h 2302560"/>
                <a:gd name="connsiteX90" fmla="*/ 41084 w 1745156"/>
                <a:gd name="connsiteY90" fmla="*/ 968026 h 2302560"/>
                <a:gd name="connsiteX91" fmla="*/ 1 w 1745156"/>
                <a:gd name="connsiteY91"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409870 w 1745156"/>
                <a:gd name="connsiteY61" fmla="*/ 231923 h 2302560"/>
                <a:gd name="connsiteX62" fmla="*/ 1344893 w 1745156"/>
                <a:gd name="connsiteY62" fmla="*/ 198971 h 2302560"/>
                <a:gd name="connsiteX63" fmla="*/ 1172450 w 1745156"/>
                <a:gd name="connsiteY63" fmla="*/ 296269 h 2302560"/>
                <a:gd name="connsiteX64" fmla="*/ 1162344 w 1745156"/>
                <a:gd name="connsiteY64" fmla="*/ 337277 h 2302560"/>
                <a:gd name="connsiteX65" fmla="*/ 1161558 w 1745156"/>
                <a:gd name="connsiteY65" fmla="*/ 1559471 h 2302560"/>
                <a:gd name="connsiteX66" fmla="*/ 1077943 w 1745156"/>
                <a:gd name="connsiteY66" fmla="*/ 1607746 h 2302560"/>
                <a:gd name="connsiteX67" fmla="*/ 1077943 w 1745156"/>
                <a:gd name="connsiteY67" fmla="*/ 1568157 h 2302560"/>
                <a:gd name="connsiteX68" fmla="*/ 1081303 w 1745156"/>
                <a:gd name="connsiteY68" fmla="*/ 438988 h 2302560"/>
                <a:gd name="connsiteX69" fmla="*/ 1012968 w 1745156"/>
                <a:gd name="connsiteY69" fmla="*/ 392883 h 2302560"/>
                <a:gd name="connsiteX70" fmla="*/ 840525 w 1745156"/>
                <a:gd name="connsiteY70" fmla="*/ 490182 h 2302560"/>
                <a:gd name="connsiteX71" fmla="*/ 830419 w 1745156"/>
                <a:gd name="connsiteY71" fmla="*/ 531190 h 2302560"/>
                <a:gd name="connsiteX72" fmla="*/ 829633 w 1745156"/>
                <a:gd name="connsiteY72" fmla="*/ 1753384 h 2302560"/>
                <a:gd name="connsiteX73" fmla="*/ 746018 w 1745156"/>
                <a:gd name="connsiteY73" fmla="*/ 1801659 h 2302560"/>
                <a:gd name="connsiteX74" fmla="*/ 746018 w 1745156"/>
                <a:gd name="connsiteY74" fmla="*/ 1762076 h 2302560"/>
                <a:gd name="connsiteX75" fmla="*/ 749378 w 1745156"/>
                <a:gd name="connsiteY75" fmla="*/ 632901 h 2302560"/>
                <a:gd name="connsiteX76" fmla="*/ 681043 w 1745156"/>
                <a:gd name="connsiteY76" fmla="*/ 586796 h 2302560"/>
                <a:gd name="connsiteX77" fmla="*/ 508600 w 1745156"/>
                <a:gd name="connsiteY77" fmla="*/ 684095 h 2302560"/>
                <a:gd name="connsiteX78" fmla="*/ 498494 w 1745156"/>
                <a:gd name="connsiteY78" fmla="*/ 725103 h 2302560"/>
                <a:gd name="connsiteX79" fmla="*/ 497708 w 1745156"/>
                <a:gd name="connsiteY79" fmla="*/ 1947297 h 2302560"/>
                <a:gd name="connsiteX80" fmla="*/ 414093 w 1745156"/>
                <a:gd name="connsiteY80" fmla="*/ 1995572 h 2302560"/>
                <a:gd name="connsiteX81" fmla="*/ 414093 w 1745156"/>
                <a:gd name="connsiteY81" fmla="*/ 1955655 h 2302560"/>
                <a:gd name="connsiteX82" fmla="*/ 417452 w 1745156"/>
                <a:gd name="connsiteY82" fmla="*/ 826816 h 2302560"/>
                <a:gd name="connsiteX83" fmla="*/ 349117 w 1745156"/>
                <a:gd name="connsiteY83" fmla="*/ 780711 h 2302560"/>
                <a:gd name="connsiteX84" fmla="*/ 176674 w 1745156"/>
                <a:gd name="connsiteY84" fmla="*/ 878009 h 2302560"/>
                <a:gd name="connsiteX85" fmla="*/ 166568 w 1745156"/>
                <a:gd name="connsiteY85" fmla="*/ 919017 h 2302560"/>
                <a:gd name="connsiteX86" fmla="*/ 165782 w 1745156"/>
                <a:gd name="connsiteY86" fmla="*/ 2141211 h 2302560"/>
                <a:gd name="connsiteX87" fmla="*/ 82167 w 1745156"/>
                <a:gd name="connsiteY87" fmla="*/ 2189487 h 2302560"/>
                <a:gd name="connsiteX88" fmla="*/ 82168 w 1745156"/>
                <a:gd name="connsiteY88" fmla="*/ 993211 h 2302560"/>
                <a:gd name="connsiteX89" fmla="*/ 41084 w 1745156"/>
                <a:gd name="connsiteY89" fmla="*/ 968026 h 2302560"/>
                <a:gd name="connsiteX90" fmla="*/ 1 w 1745156"/>
                <a:gd name="connsiteY90"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1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88" fmla="*/ 41084 w 1745156"/>
                <a:gd name="connsiteY88" fmla="*/ 968026 h 2302560"/>
                <a:gd name="connsiteX89" fmla="*/ 1 w 1745156"/>
                <a:gd name="connsiteY89" fmla="*/ 993211 h 2302560"/>
                <a:gd name="connsiteX0" fmla="*/ 41560 w 1745632"/>
                <a:gd name="connsiteY0" fmla="*/ 968026 h 2302560"/>
                <a:gd name="connsiteX1" fmla="*/ 476 w 1745632"/>
                <a:gd name="connsiteY1" fmla="*/ 2270622 h 2302560"/>
                <a:gd name="connsiteX2" fmla="*/ 70088 w 1745632"/>
                <a:gd name="connsiteY2" fmla="*/ 2291612 h 2302560"/>
                <a:gd name="connsiteX3" fmla="*/ 239039 w 1745632"/>
                <a:gd name="connsiteY3" fmla="*/ 2194068 h 2302560"/>
                <a:gd name="connsiteX4" fmla="*/ 248445 w 1745632"/>
                <a:gd name="connsiteY4" fmla="*/ 2174744 h 2302560"/>
                <a:gd name="connsiteX5" fmla="*/ 248286 w 1745632"/>
                <a:gd name="connsiteY5" fmla="*/ 2174180 h 2302560"/>
                <a:gd name="connsiteX6" fmla="*/ 248424 w 1745632"/>
                <a:gd name="connsiteY6" fmla="*/ 2173977 h 2302560"/>
                <a:gd name="connsiteX7" fmla="*/ 248424 w 1745632"/>
                <a:gd name="connsiteY7" fmla="*/ 931735 h 2302560"/>
                <a:gd name="connsiteX8" fmla="*/ 332042 w 1745632"/>
                <a:gd name="connsiteY8" fmla="*/ 883459 h 2302560"/>
                <a:gd name="connsiteX9" fmla="*/ 332041 w 1745632"/>
                <a:gd name="connsiteY9" fmla="*/ 2077333 h 2302560"/>
                <a:gd name="connsiteX10" fmla="*/ 334469 w 1745632"/>
                <a:gd name="connsiteY10" fmla="*/ 2080925 h 2302560"/>
                <a:gd name="connsiteX11" fmla="*/ 339541 w 1745632"/>
                <a:gd name="connsiteY11" fmla="*/ 2091279 h 2302560"/>
                <a:gd name="connsiteX12" fmla="*/ 402014 w 1745632"/>
                <a:gd name="connsiteY12" fmla="*/ 2097698 h 2302560"/>
                <a:gd name="connsiteX13" fmla="*/ 570965 w 1745632"/>
                <a:gd name="connsiteY13" fmla="*/ 2000154 h 2302560"/>
                <a:gd name="connsiteX14" fmla="*/ 580371 w 1745632"/>
                <a:gd name="connsiteY14" fmla="*/ 1980830 h 2302560"/>
                <a:gd name="connsiteX15" fmla="*/ 580212 w 1745632"/>
                <a:gd name="connsiteY15" fmla="*/ 1980266 h 2302560"/>
                <a:gd name="connsiteX16" fmla="*/ 580350 w 1745632"/>
                <a:gd name="connsiteY16" fmla="*/ 1980063 h 2302560"/>
                <a:gd name="connsiteX17" fmla="*/ 580350 w 1745632"/>
                <a:gd name="connsiteY17" fmla="*/ 737821 h 2302560"/>
                <a:gd name="connsiteX18" fmla="*/ 663967 w 1745632"/>
                <a:gd name="connsiteY18" fmla="*/ 689544 h 2302560"/>
                <a:gd name="connsiteX19" fmla="*/ 663967 w 1745632"/>
                <a:gd name="connsiteY19" fmla="*/ 1883418 h 2302560"/>
                <a:gd name="connsiteX20" fmla="*/ 666388 w 1745632"/>
                <a:gd name="connsiteY20" fmla="*/ 1887000 h 2302560"/>
                <a:gd name="connsiteX21" fmla="*/ 671466 w 1745632"/>
                <a:gd name="connsiteY21" fmla="*/ 1897366 h 2302560"/>
                <a:gd name="connsiteX22" fmla="*/ 733939 w 1745632"/>
                <a:gd name="connsiteY22" fmla="*/ 1903785 h 2302560"/>
                <a:gd name="connsiteX23" fmla="*/ 902890 w 1745632"/>
                <a:gd name="connsiteY23" fmla="*/ 1806241 h 2302560"/>
                <a:gd name="connsiteX24" fmla="*/ 912296 w 1745632"/>
                <a:gd name="connsiteY24" fmla="*/ 1786917 h 2302560"/>
                <a:gd name="connsiteX25" fmla="*/ 912137 w 1745632"/>
                <a:gd name="connsiteY25" fmla="*/ 1786353 h 2302560"/>
                <a:gd name="connsiteX26" fmla="*/ 912275 w 1745632"/>
                <a:gd name="connsiteY26" fmla="*/ 1786150 h 2302560"/>
                <a:gd name="connsiteX27" fmla="*/ 912275 w 1745632"/>
                <a:gd name="connsiteY27" fmla="*/ 543908 h 2302560"/>
                <a:gd name="connsiteX28" fmla="*/ 995892 w 1745632"/>
                <a:gd name="connsiteY28" fmla="*/ 495632 h 2302560"/>
                <a:gd name="connsiteX29" fmla="*/ 995892 w 1745632"/>
                <a:gd name="connsiteY29" fmla="*/ 1689505 h 2302560"/>
                <a:gd name="connsiteX30" fmla="*/ 998313 w 1745632"/>
                <a:gd name="connsiteY30" fmla="*/ 1693087 h 2302560"/>
                <a:gd name="connsiteX31" fmla="*/ 1003391 w 1745632"/>
                <a:gd name="connsiteY31" fmla="*/ 1703453 h 2302560"/>
                <a:gd name="connsiteX32" fmla="*/ 1065864 w 1745632"/>
                <a:gd name="connsiteY32" fmla="*/ 1709872 h 2302560"/>
                <a:gd name="connsiteX33" fmla="*/ 1234815 w 1745632"/>
                <a:gd name="connsiteY33" fmla="*/ 1612328 h 2302560"/>
                <a:gd name="connsiteX34" fmla="*/ 1244221 w 1745632"/>
                <a:gd name="connsiteY34" fmla="*/ 1593004 h 2302560"/>
                <a:gd name="connsiteX35" fmla="*/ 1244062 w 1745632"/>
                <a:gd name="connsiteY35" fmla="*/ 1592440 h 2302560"/>
                <a:gd name="connsiteX36" fmla="*/ 1244200 w 1745632"/>
                <a:gd name="connsiteY36" fmla="*/ 1592237 h 2302560"/>
                <a:gd name="connsiteX37" fmla="*/ 1244200 w 1745632"/>
                <a:gd name="connsiteY37" fmla="*/ 349995 h 2302560"/>
                <a:gd name="connsiteX38" fmla="*/ 1327817 w 1745632"/>
                <a:gd name="connsiteY38" fmla="*/ 301719 h 2302560"/>
                <a:gd name="connsiteX39" fmla="*/ 1327817 w 1745632"/>
                <a:gd name="connsiteY39" fmla="*/ 1495592 h 2302560"/>
                <a:gd name="connsiteX40" fmla="*/ 1330242 w 1745632"/>
                <a:gd name="connsiteY40" fmla="*/ 1499182 h 2302560"/>
                <a:gd name="connsiteX41" fmla="*/ 1335317 w 1745632"/>
                <a:gd name="connsiteY41" fmla="*/ 1509541 h 2302560"/>
                <a:gd name="connsiteX42" fmla="*/ 1397791 w 1745632"/>
                <a:gd name="connsiteY42" fmla="*/ 1515960 h 2302560"/>
                <a:gd name="connsiteX43" fmla="*/ 1566742 w 1745632"/>
                <a:gd name="connsiteY43" fmla="*/ 1418416 h 2302560"/>
                <a:gd name="connsiteX44" fmla="*/ 1576148 w 1745632"/>
                <a:gd name="connsiteY44" fmla="*/ 1399092 h 2302560"/>
                <a:gd name="connsiteX45" fmla="*/ 1575989 w 1745632"/>
                <a:gd name="connsiteY45" fmla="*/ 1398528 h 2302560"/>
                <a:gd name="connsiteX46" fmla="*/ 1576127 w 1745632"/>
                <a:gd name="connsiteY46" fmla="*/ 1398325 h 2302560"/>
                <a:gd name="connsiteX47" fmla="*/ 1576127 w 1745632"/>
                <a:gd name="connsiteY47" fmla="*/ 156083 h 2302560"/>
                <a:gd name="connsiteX48" fmla="*/ 1659744 w 1745632"/>
                <a:gd name="connsiteY48" fmla="*/ 107807 h 2302560"/>
                <a:gd name="connsiteX49" fmla="*/ 1659744 w 1745632"/>
                <a:gd name="connsiteY49" fmla="*/ 1301680 h 2302560"/>
                <a:gd name="connsiteX50" fmla="*/ 1671777 w 1745632"/>
                <a:gd name="connsiteY50" fmla="*/ 1319489 h 2302560"/>
                <a:gd name="connsiteX51" fmla="*/ 1700827 w 1745632"/>
                <a:gd name="connsiteY51" fmla="*/ 1326865 h 2302560"/>
                <a:gd name="connsiteX52" fmla="*/ 1741910 w 1745632"/>
                <a:gd name="connsiteY52" fmla="*/ 1301680 h 2302560"/>
                <a:gd name="connsiteX53" fmla="*/ 1745631 w 1745632"/>
                <a:gd name="connsiteY53" fmla="*/ 51163 h 2302560"/>
                <a:gd name="connsiteX54" fmla="*/ 1677295 w 1745632"/>
                <a:gd name="connsiteY54" fmla="*/ 5059 h 2302560"/>
                <a:gd name="connsiteX55" fmla="*/ 1504853 w 1745632"/>
                <a:gd name="connsiteY55" fmla="*/ 102357 h 2302560"/>
                <a:gd name="connsiteX56" fmla="*/ 1494747 w 1745632"/>
                <a:gd name="connsiteY56" fmla="*/ 143365 h 2302560"/>
                <a:gd name="connsiteX57" fmla="*/ 1493961 w 1745632"/>
                <a:gd name="connsiteY57" fmla="*/ 1365559 h 2302560"/>
                <a:gd name="connsiteX58" fmla="*/ 1410346 w 1745632"/>
                <a:gd name="connsiteY58" fmla="*/ 1413834 h 2302560"/>
                <a:gd name="connsiteX59" fmla="*/ 1410346 w 1745632"/>
                <a:gd name="connsiteY59" fmla="*/ 1373656 h 2302560"/>
                <a:gd name="connsiteX60" fmla="*/ 1413704 w 1745632"/>
                <a:gd name="connsiteY60" fmla="*/ 245075 h 2302560"/>
                <a:gd name="connsiteX61" fmla="*/ 1345369 w 1745632"/>
                <a:gd name="connsiteY61" fmla="*/ 198971 h 2302560"/>
                <a:gd name="connsiteX62" fmla="*/ 1172926 w 1745632"/>
                <a:gd name="connsiteY62" fmla="*/ 296269 h 2302560"/>
                <a:gd name="connsiteX63" fmla="*/ 1162820 w 1745632"/>
                <a:gd name="connsiteY63" fmla="*/ 337277 h 2302560"/>
                <a:gd name="connsiteX64" fmla="*/ 1162034 w 1745632"/>
                <a:gd name="connsiteY64" fmla="*/ 1559471 h 2302560"/>
                <a:gd name="connsiteX65" fmla="*/ 1078419 w 1745632"/>
                <a:gd name="connsiteY65" fmla="*/ 1607746 h 2302560"/>
                <a:gd name="connsiteX66" fmla="*/ 1078419 w 1745632"/>
                <a:gd name="connsiteY66" fmla="*/ 1568157 h 2302560"/>
                <a:gd name="connsiteX67" fmla="*/ 1081779 w 1745632"/>
                <a:gd name="connsiteY67" fmla="*/ 438988 h 2302560"/>
                <a:gd name="connsiteX68" fmla="*/ 1013444 w 1745632"/>
                <a:gd name="connsiteY68" fmla="*/ 392883 h 2302560"/>
                <a:gd name="connsiteX69" fmla="*/ 841001 w 1745632"/>
                <a:gd name="connsiteY69" fmla="*/ 490182 h 2302560"/>
                <a:gd name="connsiteX70" fmla="*/ 830895 w 1745632"/>
                <a:gd name="connsiteY70" fmla="*/ 531190 h 2302560"/>
                <a:gd name="connsiteX71" fmla="*/ 830109 w 1745632"/>
                <a:gd name="connsiteY71" fmla="*/ 1753384 h 2302560"/>
                <a:gd name="connsiteX72" fmla="*/ 746494 w 1745632"/>
                <a:gd name="connsiteY72" fmla="*/ 1801659 h 2302560"/>
                <a:gd name="connsiteX73" fmla="*/ 746494 w 1745632"/>
                <a:gd name="connsiteY73" fmla="*/ 1762076 h 2302560"/>
                <a:gd name="connsiteX74" fmla="*/ 749854 w 1745632"/>
                <a:gd name="connsiteY74" fmla="*/ 632901 h 2302560"/>
                <a:gd name="connsiteX75" fmla="*/ 681519 w 1745632"/>
                <a:gd name="connsiteY75" fmla="*/ 586796 h 2302560"/>
                <a:gd name="connsiteX76" fmla="*/ 509076 w 1745632"/>
                <a:gd name="connsiteY76" fmla="*/ 684095 h 2302560"/>
                <a:gd name="connsiteX77" fmla="*/ 498970 w 1745632"/>
                <a:gd name="connsiteY77" fmla="*/ 725103 h 2302560"/>
                <a:gd name="connsiteX78" fmla="*/ 498184 w 1745632"/>
                <a:gd name="connsiteY78" fmla="*/ 1947297 h 2302560"/>
                <a:gd name="connsiteX79" fmla="*/ 414569 w 1745632"/>
                <a:gd name="connsiteY79" fmla="*/ 1995572 h 2302560"/>
                <a:gd name="connsiteX80" fmla="*/ 414569 w 1745632"/>
                <a:gd name="connsiteY80" fmla="*/ 1955655 h 2302560"/>
                <a:gd name="connsiteX81" fmla="*/ 417928 w 1745632"/>
                <a:gd name="connsiteY81" fmla="*/ 826816 h 2302560"/>
                <a:gd name="connsiteX82" fmla="*/ 349593 w 1745632"/>
                <a:gd name="connsiteY82" fmla="*/ 780711 h 2302560"/>
                <a:gd name="connsiteX83" fmla="*/ 177150 w 1745632"/>
                <a:gd name="connsiteY83" fmla="*/ 878009 h 2302560"/>
                <a:gd name="connsiteX84" fmla="*/ 167044 w 1745632"/>
                <a:gd name="connsiteY84" fmla="*/ 919017 h 2302560"/>
                <a:gd name="connsiteX85" fmla="*/ 166258 w 1745632"/>
                <a:gd name="connsiteY85" fmla="*/ 2141211 h 2302560"/>
                <a:gd name="connsiteX86" fmla="*/ 82643 w 1745632"/>
                <a:gd name="connsiteY86" fmla="*/ 2189487 h 2302560"/>
                <a:gd name="connsiteX87" fmla="*/ 82644 w 1745632"/>
                <a:gd name="connsiteY87" fmla="*/ 993211 h 2302560"/>
                <a:gd name="connsiteX88" fmla="*/ 41560 w 1745632"/>
                <a:gd name="connsiteY88" fmla="*/ 968026 h 2302560"/>
                <a:gd name="connsiteX0" fmla="*/ 82168 w 1745156"/>
                <a:gd name="connsiteY0" fmla="*/ 993211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87" fmla="*/ 82168 w 1745156"/>
                <a:gd name="connsiteY87" fmla="*/ 993211 h 2302560"/>
                <a:gd name="connsiteX0" fmla="*/ 82167 w 1745156"/>
                <a:gd name="connsiteY0" fmla="*/ 2189487 h 2302560"/>
                <a:gd name="connsiteX1" fmla="*/ 0 w 1745156"/>
                <a:gd name="connsiteY1" fmla="*/ 2270622 h 2302560"/>
                <a:gd name="connsiteX2" fmla="*/ 69612 w 1745156"/>
                <a:gd name="connsiteY2" fmla="*/ 2291612 h 2302560"/>
                <a:gd name="connsiteX3" fmla="*/ 238563 w 1745156"/>
                <a:gd name="connsiteY3" fmla="*/ 2194068 h 2302560"/>
                <a:gd name="connsiteX4" fmla="*/ 247969 w 1745156"/>
                <a:gd name="connsiteY4" fmla="*/ 2174744 h 2302560"/>
                <a:gd name="connsiteX5" fmla="*/ 247810 w 1745156"/>
                <a:gd name="connsiteY5" fmla="*/ 2174180 h 2302560"/>
                <a:gd name="connsiteX6" fmla="*/ 247948 w 1745156"/>
                <a:gd name="connsiteY6" fmla="*/ 2173977 h 2302560"/>
                <a:gd name="connsiteX7" fmla="*/ 247948 w 1745156"/>
                <a:gd name="connsiteY7" fmla="*/ 931735 h 2302560"/>
                <a:gd name="connsiteX8" fmla="*/ 331566 w 1745156"/>
                <a:gd name="connsiteY8" fmla="*/ 883459 h 2302560"/>
                <a:gd name="connsiteX9" fmla="*/ 331565 w 1745156"/>
                <a:gd name="connsiteY9" fmla="*/ 2077333 h 2302560"/>
                <a:gd name="connsiteX10" fmla="*/ 333993 w 1745156"/>
                <a:gd name="connsiteY10" fmla="*/ 2080925 h 2302560"/>
                <a:gd name="connsiteX11" fmla="*/ 339065 w 1745156"/>
                <a:gd name="connsiteY11" fmla="*/ 2091279 h 2302560"/>
                <a:gd name="connsiteX12" fmla="*/ 401538 w 1745156"/>
                <a:gd name="connsiteY12" fmla="*/ 2097698 h 2302560"/>
                <a:gd name="connsiteX13" fmla="*/ 570489 w 1745156"/>
                <a:gd name="connsiteY13" fmla="*/ 2000154 h 2302560"/>
                <a:gd name="connsiteX14" fmla="*/ 579895 w 1745156"/>
                <a:gd name="connsiteY14" fmla="*/ 1980830 h 2302560"/>
                <a:gd name="connsiteX15" fmla="*/ 579736 w 1745156"/>
                <a:gd name="connsiteY15" fmla="*/ 1980266 h 2302560"/>
                <a:gd name="connsiteX16" fmla="*/ 579874 w 1745156"/>
                <a:gd name="connsiteY16" fmla="*/ 1980063 h 2302560"/>
                <a:gd name="connsiteX17" fmla="*/ 579874 w 1745156"/>
                <a:gd name="connsiteY17" fmla="*/ 737821 h 2302560"/>
                <a:gd name="connsiteX18" fmla="*/ 663491 w 1745156"/>
                <a:gd name="connsiteY18" fmla="*/ 689544 h 2302560"/>
                <a:gd name="connsiteX19" fmla="*/ 663491 w 1745156"/>
                <a:gd name="connsiteY19" fmla="*/ 1883418 h 2302560"/>
                <a:gd name="connsiteX20" fmla="*/ 665912 w 1745156"/>
                <a:gd name="connsiteY20" fmla="*/ 1887000 h 2302560"/>
                <a:gd name="connsiteX21" fmla="*/ 670990 w 1745156"/>
                <a:gd name="connsiteY21" fmla="*/ 1897366 h 2302560"/>
                <a:gd name="connsiteX22" fmla="*/ 733463 w 1745156"/>
                <a:gd name="connsiteY22" fmla="*/ 1903785 h 2302560"/>
                <a:gd name="connsiteX23" fmla="*/ 902414 w 1745156"/>
                <a:gd name="connsiteY23" fmla="*/ 1806241 h 2302560"/>
                <a:gd name="connsiteX24" fmla="*/ 911820 w 1745156"/>
                <a:gd name="connsiteY24" fmla="*/ 1786917 h 2302560"/>
                <a:gd name="connsiteX25" fmla="*/ 911661 w 1745156"/>
                <a:gd name="connsiteY25" fmla="*/ 1786353 h 2302560"/>
                <a:gd name="connsiteX26" fmla="*/ 911799 w 1745156"/>
                <a:gd name="connsiteY26" fmla="*/ 1786150 h 2302560"/>
                <a:gd name="connsiteX27" fmla="*/ 911799 w 1745156"/>
                <a:gd name="connsiteY27" fmla="*/ 543908 h 2302560"/>
                <a:gd name="connsiteX28" fmla="*/ 995416 w 1745156"/>
                <a:gd name="connsiteY28" fmla="*/ 495632 h 2302560"/>
                <a:gd name="connsiteX29" fmla="*/ 995416 w 1745156"/>
                <a:gd name="connsiteY29" fmla="*/ 1689505 h 2302560"/>
                <a:gd name="connsiteX30" fmla="*/ 997837 w 1745156"/>
                <a:gd name="connsiteY30" fmla="*/ 1693087 h 2302560"/>
                <a:gd name="connsiteX31" fmla="*/ 1002915 w 1745156"/>
                <a:gd name="connsiteY31" fmla="*/ 1703453 h 2302560"/>
                <a:gd name="connsiteX32" fmla="*/ 1065388 w 1745156"/>
                <a:gd name="connsiteY32" fmla="*/ 1709872 h 2302560"/>
                <a:gd name="connsiteX33" fmla="*/ 1234339 w 1745156"/>
                <a:gd name="connsiteY33" fmla="*/ 1612328 h 2302560"/>
                <a:gd name="connsiteX34" fmla="*/ 1243745 w 1745156"/>
                <a:gd name="connsiteY34" fmla="*/ 1593004 h 2302560"/>
                <a:gd name="connsiteX35" fmla="*/ 1243586 w 1745156"/>
                <a:gd name="connsiteY35" fmla="*/ 1592440 h 2302560"/>
                <a:gd name="connsiteX36" fmla="*/ 1243724 w 1745156"/>
                <a:gd name="connsiteY36" fmla="*/ 1592237 h 2302560"/>
                <a:gd name="connsiteX37" fmla="*/ 1243724 w 1745156"/>
                <a:gd name="connsiteY37" fmla="*/ 349995 h 2302560"/>
                <a:gd name="connsiteX38" fmla="*/ 1327341 w 1745156"/>
                <a:gd name="connsiteY38" fmla="*/ 301719 h 2302560"/>
                <a:gd name="connsiteX39" fmla="*/ 1327341 w 1745156"/>
                <a:gd name="connsiteY39" fmla="*/ 1495592 h 2302560"/>
                <a:gd name="connsiteX40" fmla="*/ 1329766 w 1745156"/>
                <a:gd name="connsiteY40" fmla="*/ 1499182 h 2302560"/>
                <a:gd name="connsiteX41" fmla="*/ 1334841 w 1745156"/>
                <a:gd name="connsiteY41" fmla="*/ 1509541 h 2302560"/>
                <a:gd name="connsiteX42" fmla="*/ 1397315 w 1745156"/>
                <a:gd name="connsiteY42" fmla="*/ 1515960 h 2302560"/>
                <a:gd name="connsiteX43" fmla="*/ 1566266 w 1745156"/>
                <a:gd name="connsiteY43" fmla="*/ 1418416 h 2302560"/>
                <a:gd name="connsiteX44" fmla="*/ 1575672 w 1745156"/>
                <a:gd name="connsiteY44" fmla="*/ 1399092 h 2302560"/>
                <a:gd name="connsiteX45" fmla="*/ 1575513 w 1745156"/>
                <a:gd name="connsiteY45" fmla="*/ 1398528 h 2302560"/>
                <a:gd name="connsiteX46" fmla="*/ 1575651 w 1745156"/>
                <a:gd name="connsiteY46" fmla="*/ 1398325 h 2302560"/>
                <a:gd name="connsiteX47" fmla="*/ 1575651 w 1745156"/>
                <a:gd name="connsiteY47" fmla="*/ 156083 h 2302560"/>
                <a:gd name="connsiteX48" fmla="*/ 1659268 w 1745156"/>
                <a:gd name="connsiteY48" fmla="*/ 107807 h 2302560"/>
                <a:gd name="connsiteX49" fmla="*/ 1659268 w 1745156"/>
                <a:gd name="connsiteY49" fmla="*/ 1301680 h 2302560"/>
                <a:gd name="connsiteX50" fmla="*/ 1671301 w 1745156"/>
                <a:gd name="connsiteY50" fmla="*/ 1319489 h 2302560"/>
                <a:gd name="connsiteX51" fmla="*/ 1700351 w 1745156"/>
                <a:gd name="connsiteY51" fmla="*/ 1326865 h 2302560"/>
                <a:gd name="connsiteX52" fmla="*/ 1741434 w 1745156"/>
                <a:gd name="connsiteY52" fmla="*/ 1301680 h 2302560"/>
                <a:gd name="connsiteX53" fmla="*/ 1745155 w 1745156"/>
                <a:gd name="connsiteY53" fmla="*/ 51163 h 2302560"/>
                <a:gd name="connsiteX54" fmla="*/ 1676819 w 1745156"/>
                <a:gd name="connsiteY54" fmla="*/ 5059 h 2302560"/>
                <a:gd name="connsiteX55" fmla="*/ 1504377 w 1745156"/>
                <a:gd name="connsiteY55" fmla="*/ 102357 h 2302560"/>
                <a:gd name="connsiteX56" fmla="*/ 1494271 w 1745156"/>
                <a:gd name="connsiteY56" fmla="*/ 143365 h 2302560"/>
                <a:gd name="connsiteX57" fmla="*/ 1493485 w 1745156"/>
                <a:gd name="connsiteY57" fmla="*/ 1365559 h 2302560"/>
                <a:gd name="connsiteX58" fmla="*/ 1409870 w 1745156"/>
                <a:gd name="connsiteY58" fmla="*/ 1413834 h 2302560"/>
                <a:gd name="connsiteX59" fmla="*/ 1409870 w 1745156"/>
                <a:gd name="connsiteY59" fmla="*/ 1373656 h 2302560"/>
                <a:gd name="connsiteX60" fmla="*/ 1413228 w 1745156"/>
                <a:gd name="connsiteY60" fmla="*/ 245075 h 2302560"/>
                <a:gd name="connsiteX61" fmla="*/ 1344893 w 1745156"/>
                <a:gd name="connsiteY61" fmla="*/ 198971 h 2302560"/>
                <a:gd name="connsiteX62" fmla="*/ 1172450 w 1745156"/>
                <a:gd name="connsiteY62" fmla="*/ 296269 h 2302560"/>
                <a:gd name="connsiteX63" fmla="*/ 1162344 w 1745156"/>
                <a:gd name="connsiteY63" fmla="*/ 337277 h 2302560"/>
                <a:gd name="connsiteX64" fmla="*/ 1161558 w 1745156"/>
                <a:gd name="connsiteY64" fmla="*/ 1559471 h 2302560"/>
                <a:gd name="connsiteX65" fmla="*/ 1077943 w 1745156"/>
                <a:gd name="connsiteY65" fmla="*/ 1607746 h 2302560"/>
                <a:gd name="connsiteX66" fmla="*/ 1077943 w 1745156"/>
                <a:gd name="connsiteY66" fmla="*/ 1568157 h 2302560"/>
                <a:gd name="connsiteX67" fmla="*/ 1081303 w 1745156"/>
                <a:gd name="connsiteY67" fmla="*/ 438988 h 2302560"/>
                <a:gd name="connsiteX68" fmla="*/ 1012968 w 1745156"/>
                <a:gd name="connsiteY68" fmla="*/ 392883 h 2302560"/>
                <a:gd name="connsiteX69" fmla="*/ 840525 w 1745156"/>
                <a:gd name="connsiteY69" fmla="*/ 490182 h 2302560"/>
                <a:gd name="connsiteX70" fmla="*/ 830419 w 1745156"/>
                <a:gd name="connsiteY70" fmla="*/ 531190 h 2302560"/>
                <a:gd name="connsiteX71" fmla="*/ 829633 w 1745156"/>
                <a:gd name="connsiteY71" fmla="*/ 1753384 h 2302560"/>
                <a:gd name="connsiteX72" fmla="*/ 746018 w 1745156"/>
                <a:gd name="connsiteY72" fmla="*/ 1801659 h 2302560"/>
                <a:gd name="connsiteX73" fmla="*/ 746018 w 1745156"/>
                <a:gd name="connsiteY73" fmla="*/ 1762076 h 2302560"/>
                <a:gd name="connsiteX74" fmla="*/ 749378 w 1745156"/>
                <a:gd name="connsiteY74" fmla="*/ 632901 h 2302560"/>
                <a:gd name="connsiteX75" fmla="*/ 681043 w 1745156"/>
                <a:gd name="connsiteY75" fmla="*/ 586796 h 2302560"/>
                <a:gd name="connsiteX76" fmla="*/ 508600 w 1745156"/>
                <a:gd name="connsiteY76" fmla="*/ 684095 h 2302560"/>
                <a:gd name="connsiteX77" fmla="*/ 498494 w 1745156"/>
                <a:gd name="connsiteY77" fmla="*/ 725103 h 2302560"/>
                <a:gd name="connsiteX78" fmla="*/ 497708 w 1745156"/>
                <a:gd name="connsiteY78" fmla="*/ 1947297 h 2302560"/>
                <a:gd name="connsiteX79" fmla="*/ 414093 w 1745156"/>
                <a:gd name="connsiteY79" fmla="*/ 1995572 h 2302560"/>
                <a:gd name="connsiteX80" fmla="*/ 414093 w 1745156"/>
                <a:gd name="connsiteY80" fmla="*/ 1955655 h 2302560"/>
                <a:gd name="connsiteX81" fmla="*/ 417452 w 1745156"/>
                <a:gd name="connsiteY81" fmla="*/ 826816 h 2302560"/>
                <a:gd name="connsiteX82" fmla="*/ 349117 w 1745156"/>
                <a:gd name="connsiteY82" fmla="*/ 780711 h 2302560"/>
                <a:gd name="connsiteX83" fmla="*/ 176674 w 1745156"/>
                <a:gd name="connsiteY83" fmla="*/ 878009 h 2302560"/>
                <a:gd name="connsiteX84" fmla="*/ 166568 w 1745156"/>
                <a:gd name="connsiteY84" fmla="*/ 919017 h 2302560"/>
                <a:gd name="connsiteX85" fmla="*/ 165782 w 1745156"/>
                <a:gd name="connsiteY85" fmla="*/ 2141211 h 2302560"/>
                <a:gd name="connsiteX86" fmla="*/ 82167 w 1745156"/>
                <a:gd name="connsiteY86" fmla="*/ 2189487 h 2302560"/>
                <a:gd name="connsiteX0" fmla="*/ 24450 w 1687439"/>
                <a:gd name="connsiteY0" fmla="*/ 2189487 h 2291613"/>
                <a:gd name="connsiteX1" fmla="*/ 11895 w 1687439"/>
                <a:gd name="connsiteY1" fmla="*/ 2291612 h 2291613"/>
                <a:gd name="connsiteX2" fmla="*/ 180846 w 1687439"/>
                <a:gd name="connsiteY2" fmla="*/ 2194068 h 2291613"/>
                <a:gd name="connsiteX3" fmla="*/ 190252 w 1687439"/>
                <a:gd name="connsiteY3" fmla="*/ 2174744 h 2291613"/>
                <a:gd name="connsiteX4" fmla="*/ 190093 w 1687439"/>
                <a:gd name="connsiteY4" fmla="*/ 2174180 h 2291613"/>
                <a:gd name="connsiteX5" fmla="*/ 190231 w 1687439"/>
                <a:gd name="connsiteY5" fmla="*/ 2173977 h 2291613"/>
                <a:gd name="connsiteX6" fmla="*/ 190231 w 1687439"/>
                <a:gd name="connsiteY6" fmla="*/ 931735 h 2291613"/>
                <a:gd name="connsiteX7" fmla="*/ 273849 w 1687439"/>
                <a:gd name="connsiteY7" fmla="*/ 883459 h 2291613"/>
                <a:gd name="connsiteX8" fmla="*/ 273848 w 1687439"/>
                <a:gd name="connsiteY8" fmla="*/ 2077333 h 2291613"/>
                <a:gd name="connsiteX9" fmla="*/ 276276 w 1687439"/>
                <a:gd name="connsiteY9" fmla="*/ 2080925 h 2291613"/>
                <a:gd name="connsiteX10" fmla="*/ 281348 w 1687439"/>
                <a:gd name="connsiteY10" fmla="*/ 2091279 h 2291613"/>
                <a:gd name="connsiteX11" fmla="*/ 343821 w 1687439"/>
                <a:gd name="connsiteY11" fmla="*/ 2097698 h 2291613"/>
                <a:gd name="connsiteX12" fmla="*/ 512772 w 1687439"/>
                <a:gd name="connsiteY12" fmla="*/ 2000154 h 2291613"/>
                <a:gd name="connsiteX13" fmla="*/ 522178 w 1687439"/>
                <a:gd name="connsiteY13" fmla="*/ 1980830 h 2291613"/>
                <a:gd name="connsiteX14" fmla="*/ 522019 w 1687439"/>
                <a:gd name="connsiteY14" fmla="*/ 1980266 h 2291613"/>
                <a:gd name="connsiteX15" fmla="*/ 522157 w 1687439"/>
                <a:gd name="connsiteY15" fmla="*/ 1980063 h 2291613"/>
                <a:gd name="connsiteX16" fmla="*/ 522157 w 1687439"/>
                <a:gd name="connsiteY16" fmla="*/ 737821 h 2291613"/>
                <a:gd name="connsiteX17" fmla="*/ 605774 w 1687439"/>
                <a:gd name="connsiteY17" fmla="*/ 689544 h 2291613"/>
                <a:gd name="connsiteX18" fmla="*/ 605774 w 1687439"/>
                <a:gd name="connsiteY18" fmla="*/ 1883418 h 2291613"/>
                <a:gd name="connsiteX19" fmla="*/ 608195 w 1687439"/>
                <a:gd name="connsiteY19" fmla="*/ 1887000 h 2291613"/>
                <a:gd name="connsiteX20" fmla="*/ 613273 w 1687439"/>
                <a:gd name="connsiteY20" fmla="*/ 1897366 h 2291613"/>
                <a:gd name="connsiteX21" fmla="*/ 675746 w 1687439"/>
                <a:gd name="connsiteY21" fmla="*/ 1903785 h 2291613"/>
                <a:gd name="connsiteX22" fmla="*/ 844697 w 1687439"/>
                <a:gd name="connsiteY22" fmla="*/ 1806241 h 2291613"/>
                <a:gd name="connsiteX23" fmla="*/ 854103 w 1687439"/>
                <a:gd name="connsiteY23" fmla="*/ 1786917 h 2291613"/>
                <a:gd name="connsiteX24" fmla="*/ 853944 w 1687439"/>
                <a:gd name="connsiteY24" fmla="*/ 1786353 h 2291613"/>
                <a:gd name="connsiteX25" fmla="*/ 854082 w 1687439"/>
                <a:gd name="connsiteY25" fmla="*/ 1786150 h 2291613"/>
                <a:gd name="connsiteX26" fmla="*/ 854082 w 1687439"/>
                <a:gd name="connsiteY26" fmla="*/ 543908 h 2291613"/>
                <a:gd name="connsiteX27" fmla="*/ 937699 w 1687439"/>
                <a:gd name="connsiteY27" fmla="*/ 495632 h 2291613"/>
                <a:gd name="connsiteX28" fmla="*/ 937699 w 1687439"/>
                <a:gd name="connsiteY28" fmla="*/ 1689505 h 2291613"/>
                <a:gd name="connsiteX29" fmla="*/ 940120 w 1687439"/>
                <a:gd name="connsiteY29" fmla="*/ 1693087 h 2291613"/>
                <a:gd name="connsiteX30" fmla="*/ 945198 w 1687439"/>
                <a:gd name="connsiteY30" fmla="*/ 1703453 h 2291613"/>
                <a:gd name="connsiteX31" fmla="*/ 1007671 w 1687439"/>
                <a:gd name="connsiteY31" fmla="*/ 1709872 h 2291613"/>
                <a:gd name="connsiteX32" fmla="*/ 1176622 w 1687439"/>
                <a:gd name="connsiteY32" fmla="*/ 1612328 h 2291613"/>
                <a:gd name="connsiteX33" fmla="*/ 1186028 w 1687439"/>
                <a:gd name="connsiteY33" fmla="*/ 1593004 h 2291613"/>
                <a:gd name="connsiteX34" fmla="*/ 1185869 w 1687439"/>
                <a:gd name="connsiteY34" fmla="*/ 1592440 h 2291613"/>
                <a:gd name="connsiteX35" fmla="*/ 1186007 w 1687439"/>
                <a:gd name="connsiteY35" fmla="*/ 1592237 h 2291613"/>
                <a:gd name="connsiteX36" fmla="*/ 1186007 w 1687439"/>
                <a:gd name="connsiteY36" fmla="*/ 349995 h 2291613"/>
                <a:gd name="connsiteX37" fmla="*/ 1269624 w 1687439"/>
                <a:gd name="connsiteY37" fmla="*/ 301719 h 2291613"/>
                <a:gd name="connsiteX38" fmla="*/ 1269624 w 1687439"/>
                <a:gd name="connsiteY38" fmla="*/ 1495592 h 2291613"/>
                <a:gd name="connsiteX39" fmla="*/ 1272049 w 1687439"/>
                <a:gd name="connsiteY39" fmla="*/ 1499182 h 2291613"/>
                <a:gd name="connsiteX40" fmla="*/ 1277124 w 1687439"/>
                <a:gd name="connsiteY40" fmla="*/ 1509541 h 2291613"/>
                <a:gd name="connsiteX41" fmla="*/ 1339598 w 1687439"/>
                <a:gd name="connsiteY41" fmla="*/ 1515960 h 2291613"/>
                <a:gd name="connsiteX42" fmla="*/ 1508549 w 1687439"/>
                <a:gd name="connsiteY42" fmla="*/ 1418416 h 2291613"/>
                <a:gd name="connsiteX43" fmla="*/ 1517955 w 1687439"/>
                <a:gd name="connsiteY43" fmla="*/ 1399092 h 2291613"/>
                <a:gd name="connsiteX44" fmla="*/ 1517796 w 1687439"/>
                <a:gd name="connsiteY44" fmla="*/ 1398528 h 2291613"/>
                <a:gd name="connsiteX45" fmla="*/ 1517934 w 1687439"/>
                <a:gd name="connsiteY45" fmla="*/ 1398325 h 2291613"/>
                <a:gd name="connsiteX46" fmla="*/ 1517934 w 1687439"/>
                <a:gd name="connsiteY46" fmla="*/ 156083 h 2291613"/>
                <a:gd name="connsiteX47" fmla="*/ 1601551 w 1687439"/>
                <a:gd name="connsiteY47" fmla="*/ 107807 h 2291613"/>
                <a:gd name="connsiteX48" fmla="*/ 1601551 w 1687439"/>
                <a:gd name="connsiteY48" fmla="*/ 1301680 h 2291613"/>
                <a:gd name="connsiteX49" fmla="*/ 1613584 w 1687439"/>
                <a:gd name="connsiteY49" fmla="*/ 1319489 h 2291613"/>
                <a:gd name="connsiteX50" fmla="*/ 1642634 w 1687439"/>
                <a:gd name="connsiteY50" fmla="*/ 1326865 h 2291613"/>
                <a:gd name="connsiteX51" fmla="*/ 1683717 w 1687439"/>
                <a:gd name="connsiteY51" fmla="*/ 1301680 h 2291613"/>
                <a:gd name="connsiteX52" fmla="*/ 1687438 w 1687439"/>
                <a:gd name="connsiteY52" fmla="*/ 51163 h 2291613"/>
                <a:gd name="connsiteX53" fmla="*/ 1619102 w 1687439"/>
                <a:gd name="connsiteY53" fmla="*/ 5059 h 2291613"/>
                <a:gd name="connsiteX54" fmla="*/ 1446660 w 1687439"/>
                <a:gd name="connsiteY54" fmla="*/ 102357 h 2291613"/>
                <a:gd name="connsiteX55" fmla="*/ 1436554 w 1687439"/>
                <a:gd name="connsiteY55" fmla="*/ 143365 h 2291613"/>
                <a:gd name="connsiteX56" fmla="*/ 1435768 w 1687439"/>
                <a:gd name="connsiteY56" fmla="*/ 1365559 h 2291613"/>
                <a:gd name="connsiteX57" fmla="*/ 1352153 w 1687439"/>
                <a:gd name="connsiteY57" fmla="*/ 1413834 h 2291613"/>
                <a:gd name="connsiteX58" fmla="*/ 1352153 w 1687439"/>
                <a:gd name="connsiteY58" fmla="*/ 1373656 h 2291613"/>
                <a:gd name="connsiteX59" fmla="*/ 1355511 w 1687439"/>
                <a:gd name="connsiteY59" fmla="*/ 245075 h 2291613"/>
                <a:gd name="connsiteX60" fmla="*/ 1287176 w 1687439"/>
                <a:gd name="connsiteY60" fmla="*/ 198971 h 2291613"/>
                <a:gd name="connsiteX61" fmla="*/ 1114733 w 1687439"/>
                <a:gd name="connsiteY61" fmla="*/ 296269 h 2291613"/>
                <a:gd name="connsiteX62" fmla="*/ 1104627 w 1687439"/>
                <a:gd name="connsiteY62" fmla="*/ 337277 h 2291613"/>
                <a:gd name="connsiteX63" fmla="*/ 1103841 w 1687439"/>
                <a:gd name="connsiteY63" fmla="*/ 1559471 h 2291613"/>
                <a:gd name="connsiteX64" fmla="*/ 1020226 w 1687439"/>
                <a:gd name="connsiteY64" fmla="*/ 1607746 h 2291613"/>
                <a:gd name="connsiteX65" fmla="*/ 1020226 w 1687439"/>
                <a:gd name="connsiteY65" fmla="*/ 1568157 h 2291613"/>
                <a:gd name="connsiteX66" fmla="*/ 1023586 w 1687439"/>
                <a:gd name="connsiteY66" fmla="*/ 438988 h 2291613"/>
                <a:gd name="connsiteX67" fmla="*/ 955251 w 1687439"/>
                <a:gd name="connsiteY67" fmla="*/ 392883 h 2291613"/>
                <a:gd name="connsiteX68" fmla="*/ 782808 w 1687439"/>
                <a:gd name="connsiteY68" fmla="*/ 490182 h 2291613"/>
                <a:gd name="connsiteX69" fmla="*/ 772702 w 1687439"/>
                <a:gd name="connsiteY69" fmla="*/ 531190 h 2291613"/>
                <a:gd name="connsiteX70" fmla="*/ 771916 w 1687439"/>
                <a:gd name="connsiteY70" fmla="*/ 1753384 h 2291613"/>
                <a:gd name="connsiteX71" fmla="*/ 688301 w 1687439"/>
                <a:gd name="connsiteY71" fmla="*/ 1801659 h 2291613"/>
                <a:gd name="connsiteX72" fmla="*/ 688301 w 1687439"/>
                <a:gd name="connsiteY72" fmla="*/ 1762076 h 2291613"/>
                <a:gd name="connsiteX73" fmla="*/ 691661 w 1687439"/>
                <a:gd name="connsiteY73" fmla="*/ 632901 h 2291613"/>
                <a:gd name="connsiteX74" fmla="*/ 623326 w 1687439"/>
                <a:gd name="connsiteY74" fmla="*/ 586796 h 2291613"/>
                <a:gd name="connsiteX75" fmla="*/ 450883 w 1687439"/>
                <a:gd name="connsiteY75" fmla="*/ 684095 h 2291613"/>
                <a:gd name="connsiteX76" fmla="*/ 440777 w 1687439"/>
                <a:gd name="connsiteY76" fmla="*/ 725103 h 2291613"/>
                <a:gd name="connsiteX77" fmla="*/ 439991 w 1687439"/>
                <a:gd name="connsiteY77" fmla="*/ 1947297 h 2291613"/>
                <a:gd name="connsiteX78" fmla="*/ 356376 w 1687439"/>
                <a:gd name="connsiteY78" fmla="*/ 1995572 h 2291613"/>
                <a:gd name="connsiteX79" fmla="*/ 356376 w 1687439"/>
                <a:gd name="connsiteY79" fmla="*/ 1955655 h 2291613"/>
                <a:gd name="connsiteX80" fmla="*/ 359735 w 1687439"/>
                <a:gd name="connsiteY80" fmla="*/ 826816 h 2291613"/>
                <a:gd name="connsiteX81" fmla="*/ 291400 w 1687439"/>
                <a:gd name="connsiteY81" fmla="*/ 780711 h 2291613"/>
                <a:gd name="connsiteX82" fmla="*/ 118957 w 1687439"/>
                <a:gd name="connsiteY82" fmla="*/ 878009 h 2291613"/>
                <a:gd name="connsiteX83" fmla="*/ 108851 w 1687439"/>
                <a:gd name="connsiteY83" fmla="*/ 919017 h 2291613"/>
                <a:gd name="connsiteX84" fmla="*/ 108065 w 1687439"/>
                <a:gd name="connsiteY84" fmla="*/ 2141211 h 2291613"/>
                <a:gd name="connsiteX85" fmla="*/ 24450 w 1687439"/>
                <a:gd name="connsiteY85" fmla="*/ 2189487 h 2291613"/>
                <a:gd name="connsiteX0" fmla="*/ 6479 w 1669468"/>
                <a:gd name="connsiteY0" fmla="*/ 2189487 h 2274213"/>
                <a:gd name="connsiteX1" fmla="*/ 32170 w 1669468"/>
                <a:gd name="connsiteY1" fmla="*/ 2274213 h 2274213"/>
                <a:gd name="connsiteX2" fmla="*/ 162875 w 1669468"/>
                <a:gd name="connsiteY2" fmla="*/ 2194068 h 2274213"/>
                <a:gd name="connsiteX3" fmla="*/ 172281 w 1669468"/>
                <a:gd name="connsiteY3" fmla="*/ 2174744 h 2274213"/>
                <a:gd name="connsiteX4" fmla="*/ 172122 w 1669468"/>
                <a:gd name="connsiteY4" fmla="*/ 2174180 h 2274213"/>
                <a:gd name="connsiteX5" fmla="*/ 172260 w 1669468"/>
                <a:gd name="connsiteY5" fmla="*/ 2173977 h 2274213"/>
                <a:gd name="connsiteX6" fmla="*/ 172260 w 1669468"/>
                <a:gd name="connsiteY6" fmla="*/ 931735 h 2274213"/>
                <a:gd name="connsiteX7" fmla="*/ 255878 w 1669468"/>
                <a:gd name="connsiteY7" fmla="*/ 883459 h 2274213"/>
                <a:gd name="connsiteX8" fmla="*/ 255877 w 1669468"/>
                <a:gd name="connsiteY8" fmla="*/ 2077333 h 2274213"/>
                <a:gd name="connsiteX9" fmla="*/ 258305 w 1669468"/>
                <a:gd name="connsiteY9" fmla="*/ 2080925 h 2274213"/>
                <a:gd name="connsiteX10" fmla="*/ 263377 w 1669468"/>
                <a:gd name="connsiteY10" fmla="*/ 2091279 h 2274213"/>
                <a:gd name="connsiteX11" fmla="*/ 325850 w 1669468"/>
                <a:gd name="connsiteY11" fmla="*/ 2097698 h 2274213"/>
                <a:gd name="connsiteX12" fmla="*/ 494801 w 1669468"/>
                <a:gd name="connsiteY12" fmla="*/ 2000154 h 2274213"/>
                <a:gd name="connsiteX13" fmla="*/ 504207 w 1669468"/>
                <a:gd name="connsiteY13" fmla="*/ 1980830 h 2274213"/>
                <a:gd name="connsiteX14" fmla="*/ 504048 w 1669468"/>
                <a:gd name="connsiteY14" fmla="*/ 1980266 h 2274213"/>
                <a:gd name="connsiteX15" fmla="*/ 504186 w 1669468"/>
                <a:gd name="connsiteY15" fmla="*/ 1980063 h 2274213"/>
                <a:gd name="connsiteX16" fmla="*/ 504186 w 1669468"/>
                <a:gd name="connsiteY16" fmla="*/ 737821 h 2274213"/>
                <a:gd name="connsiteX17" fmla="*/ 587803 w 1669468"/>
                <a:gd name="connsiteY17" fmla="*/ 689544 h 2274213"/>
                <a:gd name="connsiteX18" fmla="*/ 587803 w 1669468"/>
                <a:gd name="connsiteY18" fmla="*/ 1883418 h 2274213"/>
                <a:gd name="connsiteX19" fmla="*/ 590224 w 1669468"/>
                <a:gd name="connsiteY19" fmla="*/ 1887000 h 2274213"/>
                <a:gd name="connsiteX20" fmla="*/ 595302 w 1669468"/>
                <a:gd name="connsiteY20" fmla="*/ 1897366 h 2274213"/>
                <a:gd name="connsiteX21" fmla="*/ 657775 w 1669468"/>
                <a:gd name="connsiteY21" fmla="*/ 1903785 h 2274213"/>
                <a:gd name="connsiteX22" fmla="*/ 826726 w 1669468"/>
                <a:gd name="connsiteY22" fmla="*/ 1806241 h 2274213"/>
                <a:gd name="connsiteX23" fmla="*/ 836132 w 1669468"/>
                <a:gd name="connsiteY23" fmla="*/ 1786917 h 2274213"/>
                <a:gd name="connsiteX24" fmla="*/ 835973 w 1669468"/>
                <a:gd name="connsiteY24" fmla="*/ 1786353 h 2274213"/>
                <a:gd name="connsiteX25" fmla="*/ 836111 w 1669468"/>
                <a:gd name="connsiteY25" fmla="*/ 1786150 h 2274213"/>
                <a:gd name="connsiteX26" fmla="*/ 836111 w 1669468"/>
                <a:gd name="connsiteY26" fmla="*/ 543908 h 2274213"/>
                <a:gd name="connsiteX27" fmla="*/ 919728 w 1669468"/>
                <a:gd name="connsiteY27" fmla="*/ 495632 h 2274213"/>
                <a:gd name="connsiteX28" fmla="*/ 919728 w 1669468"/>
                <a:gd name="connsiteY28" fmla="*/ 1689505 h 2274213"/>
                <a:gd name="connsiteX29" fmla="*/ 922149 w 1669468"/>
                <a:gd name="connsiteY29" fmla="*/ 1693087 h 2274213"/>
                <a:gd name="connsiteX30" fmla="*/ 927227 w 1669468"/>
                <a:gd name="connsiteY30" fmla="*/ 1703453 h 2274213"/>
                <a:gd name="connsiteX31" fmla="*/ 989700 w 1669468"/>
                <a:gd name="connsiteY31" fmla="*/ 1709872 h 2274213"/>
                <a:gd name="connsiteX32" fmla="*/ 1158651 w 1669468"/>
                <a:gd name="connsiteY32" fmla="*/ 1612328 h 2274213"/>
                <a:gd name="connsiteX33" fmla="*/ 1168057 w 1669468"/>
                <a:gd name="connsiteY33" fmla="*/ 1593004 h 2274213"/>
                <a:gd name="connsiteX34" fmla="*/ 1167898 w 1669468"/>
                <a:gd name="connsiteY34" fmla="*/ 1592440 h 2274213"/>
                <a:gd name="connsiteX35" fmla="*/ 1168036 w 1669468"/>
                <a:gd name="connsiteY35" fmla="*/ 1592237 h 2274213"/>
                <a:gd name="connsiteX36" fmla="*/ 1168036 w 1669468"/>
                <a:gd name="connsiteY36" fmla="*/ 349995 h 2274213"/>
                <a:gd name="connsiteX37" fmla="*/ 1251653 w 1669468"/>
                <a:gd name="connsiteY37" fmla="*/ 301719 h 2274213"/>
                <a:gd name="connsiteX38" fmla="*/ 1251653 w 1669468"/>
                <a:gd name="connsiteY38" fmla="*/ 1495592 h 2274213"/>
                <a:gd name="connsiteX39" fmla="*/ 1254078 w 1669468"/>
                <a:gd name="connsiteY39" fmla="*/ 1499182 h 2274213"/>
                <a:gd name="connsiteX40" fmla="*/ 1259153 w 1669468"/>
                <a:gd name="connsiteY40" fmla="*/ 1509541 h 2274213"/>
                <a:gd name="connsiteX41" fmla="*/ 1321627 w 1669468"/>
                <a:gd name="connsiteY41" fmla="*/ 1515960 h 2274213"/>
                <a:gd name="connsiteX42" fmla="*/ 1490578 w 1669468"/>
                <a:gd name="connsiteY42" fmla="*/ 1418416 h 2274213"/>
                <a:gd name="connsiteX43" fmla="*/ 1499984 w 1669468"/>
                <a:gd name="connsiteY43" fmla="*/ 1399092 h 2274213"/>
                <a:gd name="connsiteX44" fmla="*/ 1499825 w 1669468"/>
                <a:gd name="connsiteY44" fmla="*/ 1398528 h 2274213"/>
                <a:gd name="connsiteX45" fmla="*/ 1499963 w 1669468"/>
                <a:gd name="connsiteY45" fmla="*/ 1398325 h 2274213"/>
                <a:gd name="connsiteX46" fmla="*/ 1499963 w 1669468"/>
                <a:gd name="connsiteY46" fmla="*/ 156083 h 2274213"/>
                <a:gd name="connsiteX47" fmla="*/ 1583580 w 1669468"/>
                <a:gd name="connsiteY47" fmla="*/ 107807 h 2274213"/>
                <a:gd name="connsiteX48" fmla="*/ 1583580 w 1669468"/>
                <a:gd name="connsiteY48" fmla="*/ 1301680 h 2274213"/>
                <a:gd name="connsiteX49" fmla="*/ 1595613 w 1669468"/>
                <a:gd name="connsiteY49" fmla="*/ 1319489 h 2274213"/>
                <a:gd name="connsiteX50" fmla="*/ 1624663 w 1669468"/>
                <a:gd name="connsiteY50" fmla="*/ 1326865 h 2274213"/>
                <a:gd name="connsiteX51" fmla="*/ 1665746 w 1669468"/>
                <a:gd name="connsiteY51" fmla="*/ 1301680 h 2274213"/>
                <a:gd name="connsiteX52" fmla="*/ 1669467 w 1669468"/>
                <a:gd name="connsiteY52" fmla="*/ 51163 h 2274213"/>
                <a:gd name="connsiteX53" fmla="*/ 1601131 w 1669468"/>
                <a:gd name="connsiteY53" fmla="*/ 5059 h 2274213"/>
                <a:gd name="connsiteX54" fmla="*/ 1428689 w 1669468"/>
                <a:gd name="connsiteY54" fmla="*/ 102357 h 2274213"/>
                <a:gd name="connsiteX55" fmla="*/ 1418583 w 1669468"/>
                <a:gd name="connsiteY55" fmla="*/ 143365 h 2274213"/>
                <a:gd name="connsiteX56" fmla="*/ 1417797 w 1669468"/>
                <a:gd name="connsiteY56" fmla="*/ 1365559 h 2274213"/>
                <a:gd name="connsiteX57" fmla="*/ 1334182 w 1669468"/>
                <a:gd name="connsiteY57" fmla="*/ 1413834 h 2274213"/>
                <a:gd name="connsiteX58" fmla="*/ 1334182 w 1669468"/>
                <a:gd name="connsiteY58" fmla="*/ 1373656 h 2274213"/>
                <a:gd name="connsiteX59" fmla="*/ 1337540 w 1669468"/>
                <a:gd name="connsiteY59" fmla="*/ 245075 h 2274213"/>
                <a:gd name="connsiteX60" fmla="*/ 1269205 w 1669468"/>
                <a:gd name="connsiteY60" fmla="*/ 198971 h 2274213"/>
                <a:gd name="connsiteX61" fmla="*/ 1096762 w 1669468"/>
                <a:gd name="connsiteY61" fmla="*/ 296269 h 2274213"/>
                <a:gd name="connsiteX62" fmla="*/ 1086656 w 1669468"/>
                <a:gd name="connsiteY62" fmla="*/ 337277 h 2274213"/>
                <a:gd name="connsiteX63" fmla="*/ 1085870 w 1669468"/>
                <a:gd name="connsiteY63" fmla="*/ 1559471 h 2274213"/>
                <a:gd name="connsiteX64" fmla="*/ 1002255 w 1669468"/>
                <a:gd name="connsiteY64" fmla="*/ 1607746 h 2274213"/>
                <a:gd name="connsiteX65" fmla="*/ 1002255 w 1669468"/>
                <a:gd name="connsiteY65" fmla="*/ 1568157 h 2274213"/>
                <a:gd name="connsiteX66" fmla="*/ 1005615 w 1669468"/>
                <a:gd name="connsiteY66" fmla="*/ 438988 h 2274213"/>
                <a:gd name="connsiteX67" fmla="*/ 937280 w 1669468"/>
                <a:gd name="connsiteY67" fmla="*/ 392883 h 2274213"/>
                <a:gd name="connsiteX68" fmla="*/ 764837 w 1669468"/>
                <a:gd name="connsiteY68" fmla="*/ 490182 h 2274213"/>
                <a:gd name="connsiteX69" fmla="*/ 754731 w 1669468"/>
                <a:gd name="connsiteY69" fmla="*/ 531190 h 2274213"/>
                <a:gd name="connsiteX70" fmla="*/ 753945 w 1669468"/>
                <a:gd name="connsiteY70" fmla="*/ 1753384 h 2274213"/>
                <a:gd name="connsiteX71" fmla="*/ 670330 w 1669468"/>
                <a:gd name="connsiteY71" fmla="*/ 1801659 h 2274213"/>
                <a:gd name="connsiteX72" fmla="*/ 670330 w 1669468"/>
                <a:gd name="connsiteY72" fmla="*/ 1762076 h 2274213"/>
                <a:gd name="connsiteX73" fmla="*/ 673690 w 1669468"/>
                <a:gd name="connsiteY73" fmla="*/ 632901 h 2274213"/>
                <a:gd name="connsiteX74" fmla="*/ 605355 w 1669468"/>
                <a:gd name="connsiteY74" fmla="*/ 586796 h 2274213"/>
                <a:gd name="connsiteX75" fmla="*/ 432912 w 1669468"/>
                <a:gd name="connsiteY75" fmla="*/ 684095 h 2274213"/>
                <a:gd name="connsiteX76" fmla="*/ 422806 w 1669468"/>
                <a:gd name="connsiteY76" fmla="*/ 725103 h 2274213"/>
                <a:gd name="connsiteX77" fmla="*/ 422020 w 1669468"/>
                <a:gd name="connsiteY77" fmla="*/ 1947297 h 2274213"/>
                <a:gd name="connsiteX78" fmla="*/ 338405 w 1669468"/>
                <a:gd name="connsiteY78" fmla="*/ 1995572 h 2274213"/>
                <a:gd name="connsiteX79" fmla="*/ 338405 w 1669468"/>
                <a:gd name="connsiteY79" fmla="*/ 1955655 h 2274213"/>
                <a:gd name="connsiteX80" fmla="*/ 341764 w 1669468"/>
                <a:gd name="connsiteY80" fmla="*/ 826816 h 2274213"/>
                <a:gd name="connsiteX81" fmla="*/ 273429 w 1669468"/>
                <a:gd name="connsiteY81" fmla="*/ 780711 h 2274213"/>
                <a:gd name="connsiteX82" fmla="*/ 100986 w 1669468"/>
                <a:gd name="connsiteY82" fmla="*/ 878009 h 2274213"/>
                <a:gd name="connsiteX83" fmla="*/ 90880 w 1669468"/>
                <a:gd name="connsiteY83" fmla="*/ 919017 h 2274213"/>
                <a:gd name="connsiteX84" fmla="*/ 90094 w 1669468"/>
                <a:gd name="connsiteY84" fmla="*/ 2141211 h 2274213"/>
                <a:gd name="connsiteX85" fmla="*/ 6479 w 1669468"/>
                <a:gd name="connsiteY85" fmla="*/ 2189487 h 2274213"/>
                <a:gd name="connsiteX0" fmla="*/ -1 w 1662988"/>
                <a:gd name="connsiteY0" fmla="*/ 2189487 h 2196070"/>
                <a:gd name="connsiteX1" fmla="*/ 156395 w 1662988"/>
                <a:gd name="connsiteY1" fmla="*/ 2194068 h 2196070"/>
                <a:gd name="connsiteX2" fmla="*/ 165801 w 1662988"/>
                <a:gd name="connsiteY2" fmla="*/ 2174744 h 2196070"/>
                <a:gd name="connsiteX3" fmla="*/ 165642 w 1662988"/>
                <a:gd name="connsiteY3" fmla="*/ 2174180 h 2196070"/>
                <a:gd name="connsiteX4" fmla="*/ 165780 w 1662988"/>
                <a:gd name="connsiteY4" fmla="*/ 2173977 h 2196070"/>
                <a:gd name="connsiteX5" fmla="*/ 165780 w 1662988"/>
                <a:gd name="connsiteY5" fmla="*/ 931735 h 2196070"/>
                <a:gd name="connsiteX6" fmla="*/ 249398 w 1662988"/>
                <a:gd name="connsiteY6" fmla="*/ 883459 h 2196070"/>
                <a:gd name="connsiteX7" fmla="*/ 249397 w 1662988"/>
                <a:gd name="connsiteY7" fmla="*/ 2077333 h 2196070"/>
                <a:gd name="connsiteX8" fmla="*/ 251825 w 1662988"/>
                <a:gd name="connsiteY8" fmla="*/ 2080925 h 2196070"/>
                <a:gd name="connsiteX9" fmla="*/ 256897 w 1662988"/>
                <a:gd name="connsiteY9" fmla="*/ 2091279 h 2196070"/>
                <a:gd name="connsiteX10" fmla="*/ 319370 w 1662988"/>
                <a:gd name="connsiteY10" fmla="*/ 2097698 h 2196070"/>
                <a:gd name="connsiteX11" fmla="*/ 488321 w 1662988"/>
                <a:gd name="connsiteY11" fmla="*/ 2000154 h 2196070"/>
                <a:gd name="connsiteX12" fmla="*/ 497727 w 1662988"/>
                <a:gd name="connsiteY12" fmla="*/ 1980830 h 2196070"/>
                <a:gd name="connsiteX13" fmla="*/ 497568 w 1662988"/>
                <a:gd name="connsiteY13" fmla="*/ 1980266 h 2196070"/>
                <a:gd name="connsiteX14" fmla="*/ 497706 w 1662988"/>
                <a:gd name="connsiteY14" fmla="*/ 1980063 h 2196070"/>
                <a:gd name="connsiteX15" fmla="*/ 497706 w 1662988"/>
                <a:gd name="connsiteY15" fmla="*/ 737821 h 2196070"/>
                <a:gd name="connsiteX16" fmla="*/ 581323 w 1662988"/>
                <a:gd name="connsiteY16" fmla="*/ 689544 h 2196070"/>
                <a:gd name="connsiteX17" fmla="*/ 581323 w 1662988"/>
                <a:gd name="connsiteY17" fmla="*/ 1883418 h 2196070"/>
                <a:gd name="connsiteX18" fmla="*/ 583744 w 1662988"/>
                <a:gd name="connsiteY18" fmla="*/ 1887000 h 2196070"/>
                <a:gd name="connsiteX19" fmla="*/ 588822 w 1662988"/>
                <a:gd name="connsiteY19" fmla="*/ 1897366 h 2196070"/>
                <a:gd name="connsiteX20" fmla="*/ 651295 w 1662988"/>
                <a:gd name="connsiteY20" fmla="*/ 1903785 h 2196070"/>
                <a:gd name="connsiteX21" fmla="*/ 820246 w 1662988"/>
                <a:gd name="connsiteY21" fmla="*/ 1806241 h 2196070"/>
                <a:gd name="connsiteX22" fmla="*/ 829652 w 1662988"/>
                <a:gd name="connsiteY22" fmla="*/ 1786917 h 2196070"/>
                <a:gd name="connsiteX23" fmla="*/ 829493 w 1662988"/>
                <a:gd name="connsiteY23" fmla="*/ 1786353 h 2196070"/>
                <a:gd name="connsiteX24" fmla="*/ 829631 w 1662988"/>
                <a:gd name="connsiteY24" fmla="*/ 1786150 h 2196070"/>
                <a:gd name="connsiteX25" fmla="*/ 829631 w 1662988"/>
                <a:gd name="connsiteY25" fmla="*/ 543908 h 2196070"/>
                <a:gd name="connsiteX26" fmla="*/ 913248 w 1662988"/>
                <a:gd name="connsiteY26" fmla="*/ 495632 h 2196070"/>
                <a:gd name="connsiteX27" fmla="*/ 913248 w 1662988"/>
                <a:gd name="connsiteY27" fmla="*/ 1689505 h 2196070"/>
                <a:gd name="connsiteX28" fmla="*/ 915669 w 1662988"/>
                <a:gd name="connsiteY28" fmla="*/ 1693087 h 2196070"/>
                <a:gd name="connsiteX29" fmla="*/ 920747 w 1662988"/>
                <a:gd name="connsiteY29" fmla="*/ 1703453 h 2196070"/>
                <a:gd name="connsiteX30" fmla="*/ 983220 w 1662988"/>
                <a:gd name="connsiteY30" fmla="*/ 1709872 h 2196070"/>
                <a:gd name="connsiteX31" fmla="*/ 1152171 w 1662988"/>
                <a:gd name="connsiteY31" fmla="*/ 1612328 h 2196070"/>
                <a:gd name="connsiteX32" fmla="*/ 1161577 w 1662988"/>
                <a:gd name="connsiteY32" fmla="*/ 1593004 h 2196070"/>
                <a:gd name="connsiteX33" fmla="*/ 1161418 w 1662988"/>
                <a:gd name="connsiteY33" fmla="*/ 1592440 h 2196070"/>
                <a:gd name="connsiteX34" fmla="*/ 1161556 w 1662988"/>
                <a:gd name="connsiteY34" fmla="*/ 1592237 h 2196070"/>
                <a:gd name="connsiteX35" fmla="*/ 1161556 w 1662988"/>
                <a:gd name="connsiteY35" fmla="*/ 349995 h 2196070"/>
                <a:gd name="connsiteX36" fmla="*/ 1245173 w 1662988"/>
                <a:gd name="connsiteY36" fmla="*/ 301719 h 2196070"/>
                <a:gd name="connsiteX37" fmla="*/ 1245173 w 1662988"/>
                <a:gd name="connsiteY37" fmla="*/ 1495592 h 2196070"/>
                <a:gd name="connsiteX38" fmla="*/ 1247598 w 1662988"/>
                <a:gd name="connsiteY38" fmla="*/ 1499182 h 2196070"/>
                <a:gd name="connsiteX39" fmla="*/ 1252673 w 1662988"/>
                <a:gd name="connsiteY39" fmla="*/ 1509541 h 2196070"/>
                <a:gd name="connsiteX40" fmla="*/ 1315147 w 1662988"/>
                <a:gd name="connsiteY40" fmla="*/ 1515960 h 2196070"/>
                <a:gd name="connsiteX41" fmla="*/ 1484098 w 1662988"/>
                <a:gd name="connsiteY41" fmla="*/ 1418416 h 2196070"/>
                <a:gd name="connsiteX42" fmla="*/ 1493504 w 1662988"/>
                <a:gd name="connsiteY42" fmla="*/ 1399092 h 2196070"/>
                <a:gd name="connsiteX43" fmla="*/ 1493345 w 1662988"/>
                <a:gd name="connsiteY43" fmla="*/ 1398528 h 2196070"/>
                <a:gd name="connsiteX44" fmla="*/ 1493483 w 1662988"/>
                <a:gd name="connsiteY44" fmla="*/ 1398325 h 2196070"/>
                <a:gd name="connsiteX45" fmla="*/ 1493483 w 1662988"/>
                <a:gd name="connsiteY45" fmla="*/ 156083 h 2196070"/>
                <a:gd name="connsiteX46" fmla="*/ 1577100 w 1662988"/>
                <a:gd name="connsiteY46" fmla="*/ 107807 h 2196070"/>
                <a:gd name="connsiteX47" fmla="*/ 1577100 w 1662988"/>
                <a:gd name="connsiteY47" fmla="*/ 1301680 h 2196070"/>
                <a:gd name="connsiteX48" fmla="*/ 1589133 w 1662988"/>
                <a:gd name="connsiteY48" fmla="*/ 1319489 h 2196070"/>
                <a:gd name="connsiteX49" fmla="*/ 1618183 w 1662988"/>
                <a:gd name="connsiteY49" fmla="*/ 1326865 h 2196070"/>
                <a:gd name="connsiteX50" fmla="*/ 1659266 w 1662988"/>
                <a:gd name="connsiteY50" fmla="*/ 1301680 h 2196070"/>
                <a:gd name="connsiteX51" fmla="*/ 1662987 w 1662988"/>
                <a:gd name="connsiteY51" fmla="*/ 51163 h 2196070"/>
                <a:gd name="connsiteX52" fmla="*/ 1594651 w 1662988"/>
                <a:gd name="connsiteY52" fmla="*/ 5059 h 2196070"/>
                <a:gd name="connsiteX53" fmla="*/ 1422209 w 1662988"/>
                <a:gd name="connsiteY53" fmla="*/ 102357 h 2196070"/>
                <a:gd name="connsiteX54" fmla="*/ 1412103 w 1662988"/>
                <a:gd name="connsiteY54" fmla="*/ 143365 h 2196070"/>
                <a:gd name="connsiteX55" fmla="*/ 1411317 w 1662988"/>
                <a:gd name="connsiteY55" fmla="*/ 1365559 h 2196070"/>
                <a:gd name="connsiteX56" fmla="*/ 1327702 w 1662988"/>
                <a:gd name="connsiteY56" fmla="*/ 1413834 h 2196070"/>
                <a:gd name="connsiteX57" fmla="*/ 1327702 w 1662988"/>
                <a:gd name="connsiteY57" fmla="*/ 1373656 h 2196070"/>
                <a:gd name="connsiteX58" fmla="*/ 1331060 w 1662988"/>
                <a:gd name="connsiteY58" fmla="*/ 245075 h 2196070"/>
                <a:gd name="connsiteX59" fmla="*/ 1262725 w 1662988"/>
                <a:gd name="connsiteY59" fmla="*/ 198971 h 2196070"/>
                <a:gd name="connsiteX60" fmla="*/ 1090282 w 1662988"/>
                <a:gd name="connsiteY60" fmla="*/ 296269 h 2196070"/>
                <a:gd name="connsiteX61" fmla="*/ 1080176 w 1662988"/>
                <a:gd name="connsiteY61" fmla="*/ 337277 h 2196070"/>
                <a:gd name="connsiteX62" fmla="*/ 1079390 w 1662988"/>
                <a:gd name="connsiteY62" fmla="*/ 1559471 h 2196070"/>
                <a:gd name="connsiteX63" fmla="*/ 995775 w 1662988"/>
                <a:gd name="connsiteY63" fmla="*/ 1607746 h 2196070"/>
                <a:gd name="connsiteX64" fmla="*/ 995775 w 1662988"/>
                <a:gd name="connsiteY64" fmla="*/ 1568157 h 2196070"/>
                <a:gd name="connsiteX65" fmla="*/ 999135 w 1662988"/>
                <a:gd name="connsiteY65" fmla="*/ 438988 h 2196070"/>
                <a:gd name="connsiteX66" fmla="*/ 930800 w 1662988"/>
                <a:gd name="connsiteY66" fmla="*/ 392883 h 2196070"/>
                <a:gd name="connsiteX67" fmla="*/ 758357 w 1662988"/>
                <a:gd name="connsiteY67" fmla="*/ 490182 h 2196070"/>
                <a:gd name="connsiteX68" fmla="*/ 748251 w 1662988"/>
                <a:gd name="connsiteY68" fmla="*/ 531190 h 2196070"/>
                <a:gd name="connsiteX69" fmla="*/ 747465 w 1662988"/>
                <a:gd name="connsiteY69" fmla="*/ 1753384 h 2196070"/>
                <a:gd name="connsiteX70" fmla="*/ 663850 w 1662988"/>
                <a:gd name="connsiteY70" fmla="*/ 1801659 h 2196070"/>
                <a:gd name="connsiteX71" fmla="*/ 663850 w 1662988"/>
                <a:gd name="connsiteY71" fmla="*/ 1762076 h 2196070"/>
                <a:gd name="connsiteX72" fmla="*/ 667210 w 1662988"/>
                <a:gd name="connsiteY72" fmla="*/ 632901 h 2196070"/>
                <a:gd name="connsiteX73" fmla="*/ 598875 w 1662988"/>
                <a:gd name="connsiteY73" fmla="*/ 586796 h 2196070"/>
                <a:gd name="connsiteX74" fmla="*/ 426432 w 1662988"/>
                <a:gd name="connsiteY74" fmla="*/ 684095 h 2196070"/>
                <a:gd name="connsiteX75" fmla="*/ 416326 w 1662988"/>
                <a:gd name="connsiteY75" fmla="*/ 725103 h 2196070"/>
                <a:gd name="connsiteX76" fmla="*/ 415540 w 1662988"/>
                <a:gd name="connsiteY76" fmla="*/ 1947297 h 2196070"/>
                <a:gd name="connsiteX77" fmla="*/ 331925 w 1662988"/>
                <a:gd name="connsiteY77" fmla="*/ 1995572 h 2196070"/>
                <a:gd name="connsiteX78" fmla="*/ 331925 w 1662988"/>
                <a:gd name="connsiteY78" fmla="*/ 1955655 h 2196070"/>
                <a:gd name="connsiteX79" fmla="*/ 335284 w 1662988"/>
                <a:gd name="connsiteY79" fmla="*/ 826816 h 2196070"/>
                <a:gd name="connsiteX80" fmla="*/ 266949 w 1662988"/>
                <a:gd name="connsiteY80" fmla="*/ 780711 h 2196070"/>
                <a:gd name="connsiteX81" fmla="*/ 94506 w 1662988"/>
                <a:gd name="connsiteY81" fmla="*/ 878009 h 2196070"/>
                <a:gd name="connsiteX82" fmla="*/ 84400 w 1662988"/>
                <a:gd name="connsiteY82" fmla="*/ 919017 h 2196070"/>
                <a:gd name="connsiteX83" fmla="*/ 83614 w 1662988"/>
                <a:gd name="connsiteY83" fmla="*/ 2141211 h 2196070"/>
                <a:gd name="connsiteX84" fmla="*/ -1 w 1662988"/>
                <a:gd name="connsiteY84" fmla="*/ 2189487 h 2196070"/>
                <a:gd name="connsiteX0" fmla="*/ 0 w 1579374"/>
                <a:gd name="connsiteY0" fmla="*/ 2141211 h 2194068"/>
                <a:gd name="connsiteX1" fmla="*/ 72781 w 1579374"/>
                <a:gd name="connsiteY1" fmla="*/ 2194068 h 2194068"/>
                <a:gd name="connsiteX2" fmla="*/ 82187 w 1579374"/>
                <a:gd name="connsiteY2" fmla="*/ 2174744 h 2194068"/>
                <a:gd name="connsiteX3" fmla="*/ 82028 w 1579374"/>
                <a:gd name="connsiteY3" fmla="*/ 2174180 h 2194068"/>
                <a:gd name="connsiteX4" fmla="*/ 82166 w 1579374"/>
                <a:gd name="connsiteY4" fmla="*/ 2173977 h 2194068"/>
                <a:gd name="connsiteX5" fmla="*/ 82166 w 1579374"/>
                <a:gd name="connsiteY5" fmla="*/ 931735 h 2194068"/>
                <a:gd name="connsiteX6" fmla="*/ 165784 w 1579374"/>
                <a:gd name="connsiteY6" fmla="*/ 883459 h 2194068"/>
                <a:gd name="connsiteX7" fmla="*/ 165783 w 1579374"/>
                <a:gd name="connsiteY7" fmla="*/ 2077333 h 2194068"/>
                <a:gd name="connsiteX8" fmla="*/ 168211 w 1579374"/>
                <a:gd name="connsiteY8" fmla="*/ 2080925 h 2194068"/>
                <a:gd name="connsiteX9" fmla="*/ 173283 w 1579374"/>
                <a:gd name="connsiteY9" fmla="*/ 2091279 h 2194068"/>
                <a:gd name="connsiteX10" fmla="*/ 235756 w 1579374"/>
                <a:gd name="connsiteY10" fmla="*/ 2097698 h 2194068"/>
                <a:gd name="connsiteX11" fmla="*/ 404707 w 1579374"/>
                <a:gd name="connsiteY11" fmla="*/ 2000154 h 2194068"/>
                <a:gd name="connsiteX12" fmla="*/ 414113 w 1579374"/>
                <a:gd name="connsiteY12" fmla="*/ 1980830 h 2194068"/>
                <a:gd name="connsiteX13" fmla="*/ 413954 w 1579374"/>
                <a:gd name="connsiteY13" fmla="*/ 1980266 h 2194068"/>
                <a:gd name="connsiteX14" fmla="*/ 414092 w 1579374"/>
                <a:gd name="connsiteY14" fmla="*/ 1980063 h 2194068"/>
                <a:gd name="connsiteX15" fmla="*/ 414092 w 1579374"/>
                <a:gd name="connsiteY15" fmla="*/ 737821 h 2194068"/>
                <a:gd name="connsiteX16" fmla="*/ 497709 w 1579374"/>
                <a:gd name="connsiteY16" fmla="*/ 689544 h 2194068"/>
                <a:gd name="connsiteX17" fmla="*/ 497709 w 1579374"/>
                <a:gd name="connsiteY17" fmla="*/ 1883418 h 2194068"/>
                <a:gd name="connsiteX18" fmla="*/ 500130 w 1579374"/>
                <a:gd name="connsiteY18" fmla="*/ 1887000 h 2194068"/>
                <a:gd name="connsiteX19" fmla="*/ 505208 w 1579374"/>
                <a:gd name="connsiteY19" fmla="*/ 1897366 h 2194068"/>
                <a:gd name="connsiteX20" fmla="*/ 567681 w 1579374"/>
                <a:gd name="connsiteY20" fmla="*/ 1903785 h 2194068"/>
                <a:gd name="connsiteX21" fmla="*/ 736632 w 1579374"/>
                <a:gd name="connsiteY21" fmla="*/ 1806241 h 2194068"/>
                <a:gd name="connsiteX22" fmla="*/ 746038 w 1579374"/>
                <a:gd name="connsiteY22" fmla="*/ 1786917 h 2194068"/>
                <a:gd name="connsiteX23" fmla="*/ 745879 w 1579374"/>
                <a:gd name="connsiteY23" fmla="*/ 1786353 h 2194068"/>
                <a:gd name="connsiteX24" fmla="*/ 746017 w 1579374"/>
                <a:gd name="connsiteY24" fmla="*/ 1786150 h 2194068"/>
                <a:gd name="connsiteX25" fmla="*/ 746017 w 1579374"/>
                <a:gd name="connsiteY25" fmla="*/ 543908 h 2194068"/>
                <a:gd name="connsiteX26" fmla="*/ 829634 w 1579374"/>
                <a:gd name="connsiteY26" fmla="*/ 495632 h 2194068"/>
                <a:gd name="connsiteX27" fmla="*/ 829634 w 1579374"/>
                <a:gd name="connsiteY27" fmla="*/ 1689505 h 2194068"/>
                <a:gd name="connsiteX28" fmla="*/ 832055 w 1579374"/>
                <a:gd name="connsiteY28" fmla="*/ 1693087 h 2194068"/>
                <a:gd name="connsiteX29" fmla="*/ 837133 w 1579374"/>
                <a:gd name="connsiteY29" fmla="*/ 1703453 h 2194068"/>
                <a:gd name="connsiteX30" fmla="*/ 899606 w 1579374"/>
                <a:gd name="connsiteY30" fmla="*/ 1709872 h 2194068"/>
                <a:gd name="connsiteX31" fmla="*/ 1068557 w 1579374"/>
                <a:gd name="connsiteY31" fmla="*/ 1612328 h 2194068"/>
                <a:gd name="connsiteX32" fmla="*/ 1077963 w 1579374"/>
                <a:gd name="connsiteY32" fmla="*/ 1593004 h 2194068"/>
                <a:gd name="connsiteX33" fmla="*/ 1077804 w 1579374"/>
                <a:gd name="connsiteY33" fmla="*/ 1592440 h 2194068"/>
                <a:gd name="connsiteX34" fmla="*/ 1077942 w 1579374"/>
                <a:gd name="connsiteY34" fmla="*/ 1592237 h 2194068"/>
                <a:gd name="connsiteX35" fmla="*/ 1077942 w 1579374"/>
                <a:gd name="connsiteY35" fmla="*/ 349995 h 2194068"/>
                <a:gd name="connsiteX36" fmla="*/ 1161559 w 1579374"/>
                <a:gd name="connsiteY36" fmla="*/ 301719 h 2194068"/>
                <a:gd name="connsiteX37" fmla="*/ 1161559 w 1579374"/>
                <a:gd name="connsiteY37" fmla="*/ 1495592 h 2194068"/>
                <a:gd name="connsiteX38" fmla="*/ 1163984 w 1579374"/>
                <a:gd name="connsiteY38" fmla="*/ 1499182 h 2194068"/>
                <a:gd name="connsiteX39" fmla="*/ 1169059 w 1579374"/>
                <a:gd name="connsiteY39" fmla="*/ 1509541 h 2194068"/>
                <a:gd name="connsiteX40" fmla="*/ 1231533 w 1579374"/>
                <a:gd name="connsiteY40" fmla="*/ 1515960 h 2194068"/>
                <a:gd name="connsiteX41" fmla="*/ 1400484 w 1579374"/>
                <a:gd name="connsiteY41" fmla="*/ 1418416 h 2194068"/>
                <a:gd name="connsiteX42" fmla="*/ 1409890 w 1579374"/>
                <a:gd name="connsiteY42" fmla="*/ 1399092 h 2194068"/>
                <a:gd name="connsiteX43" fmla="*/ 1409731 w 1579374"/>
                <a:gd name="connsiteY43" fmla="*/ 1398528 h 2194068"/>
                <a:gd name="connsiteX44" fmla="*/ 1409869 w 1579374"/>
                <a:gd name="connsiteY44" fmla="*/ 1398325 h 2194068"/>
                <a:gd name="connsiteX45" fmla="*/ 1409869 w 1579374"/>
                <a:gd name="connsiteY45" fmla="*/ 156083 h 2194068"/>
                <a:gd name="connsiteX46" fmla="*/ 1493486 w 1579374"/>
                <a:gd name="connsiteY46" fmla="*/ 107807 h 2194068"/>
                <a:gd name="connsiteX47" fmla="*/ 1493486 w 1579374"/>
                <a:gd name="connsiteY47" fmla="*/ 1301680 h 2194068"/>
                <a:gd name="connsiteX48" fmla="*/ 1505519 w 1579374"/>
                <a:gd name="connsiteY48" fmla="*/ 1319489 h 2194068"/>
                <a:gd name="connsiteX49" fmla="*/ 1534569 w 1579374"/>
                <a:gd name="connsiteY49" fmla="*/ 1326865 h 2194068"/>
                <a:gd name="connsiteX50" fmla="*/ 1575652 w 1579374"/>
                <a:gd name="connsiteY50" fmla="*/ 1301680 h 2194068"/>
                <a:gd name="connsiteX51" fmla="*/ 1579373 w 1579374"/>
                <a:gd name="connsiteY51" fmla="*/ 51163 h 2194068"/>
                <a:gd name="connsiteX52" fmla="*/ 1511037 w 1579374"/>
                <a:gd name="connsiteY52" fmla="*/ 5059 h 2194068"/>
                <a:gd name="connsiteX53" fmla="*/ 1338595 w 1579374"/>
                <a:gd name="connsiteY53" fmla="*/ 102357 h 2194068"/>
                <a:gd name="connsiteX54" fmla="*/ 1328489 w 1579374"/>
                <a:gd name="connsiteY54" fmla="*/ 143365 h 2194068"/>
                <a:gd name="connsiteX55" fmla="*/ 1327703 w 1579374"/>
                <a:gd name="connsiteY55" fmla="*/ 1365559 h 2194068"/>
                <a:gd name="connsiteX56" fmla="*/ 1244088 w 1579374"/>
                <a:gd name="connsiteY56" fmla="*/ 1413834 h 2194068"/>
                <a:gd name="connsiteX57" fmla="*/ 1244088 w 1579374"/>
                <a:gd name="connsiteY57" fmla="*/ 1373656 h 2194068"/>
                <a:gd name="connsiteX58" fmla="*/ 1247446 w 1579374"/>
                <a:gd name="connsiteY58" fmla="*/ 245075 h 2194068"/>
                <a:gd name="connsiteX59" fmla="*/ 1179111 w 1579374"/>
                <a:gd name="connsiteY59" fmla="*/ 198971 h 2194068"/>
                <a:gd name="connsiteX60" fmla="*/ 1006668 w 1579374"/>
                <a:gd name="connsiteY60" fmla="*/ 296269 h 2194068"/>
                <a:gd name="connsiteX61" fmla="*/ 996562 w 1579374"/>
                <a:gd name="connsiteY61" fmla="*/ 337277 h 2194068"/>
                <a:gd name="connsiteX62" fmla="*/ 995776 w 1579374"/>
                <a:gd name="connsiteY62" fmla="*/ 1559471 h 2194068"/>
                <a:gd name="connsiteX63" fmla="*/ 912161 w 1579374"/>
                <a:gd name="connsiteY63" fmla="*/ 1607746 h 2194068"/>
                <a:gd name="connsiteX64" fmla="*/ 912161 w 1579374"/>
                <a:gd name="connsiteY64" fmla="*/ 1568157 h 2194068"/>
                <a:gd name="connsiteX65" fmla="*/ 915521 w 1579374"/>
                <a:gd name="connsiteY65" fmla="*/ 438988 h 2194068"/>
                <a:gd name="connsiteX66" fmla="*/ 847186 w 1579374"/>
                <a:gd name="connsiteY66" fmla="*/ 392883 h 2194068"/>
                <a:gd name="connsiteX67" fmla="*/ 674743 w 1579374"/>
                <a:gd name="connsiteY67" fmla="*/ 490182 h 2194068"/>
                <a:gd name="connsiteX68" fmla="*/ 664637 w 1579374"/>
                <a:gd name="connsiteY68" fmla="*/ 531190 h 2194068"/>
                <a:gd name="connsiteX69" fmla="*/ 663851 w 1579374"/>
                <a:gd name="connsiteY69" fmla="*/ 1753384 h 2194068"/>
                <a:gd name="connsiteX70" fmla="*/ 580236 w 1579374"/>
                <a:gd name="connsiteY70" fmla="*/ 1801659 h 2194068"/>
                <a:gd name="connsiteX71" fmla="*/ 580236 w 1579374"/>
                <a:gd name="connsiteY71" fmla="*/ 1762076 h 2194068"/>
                <a:gd name="connsiteX72" fmla="*/ 583596 w 1579374"/>
                <a:gd name="connsiteY72" fmla="*/ 632901 h 2194068"/>
                <a:gd name="connsiteX73" fmla="*/ 515261 w 1579374"/>
                <a:gd name="connsiteY73" fmla="*/ 586796 h 2194068"/>
                <a:gd name="connsiteX74" fmla="*/ 342818 w 1579374"/>
                <a:gd name="connsiteY74" fmla="*/ 684095 h 2194068"/>
                <a:gd name="connsiteX75" fmla="*/ 332712 w 1579374"/>
                <a:gd name="connsiteY75" fmla="*/ 725103 h 2194068"/>
                <a:gd name="connsiteX76" fmla="*/ 331926 w 1579374"/>
                <a:gd name="connsiteY76" fmla="*/ 1947297 h 2194068"/>
                <a:gd name="connsiteX77" fmla="*/ 248311 w 1579374"/>
                <a:gd name="connsiteY77" fmla="*/ 1995572 h 2194068"/>
                <a:gd name="connsiteX78" fmla="*/ 248311 w 1579374"/>
                <a:gd name="connsiteY78" fmla="*/ 1955655 h 2194068"/>
                <a:gd name="connsiteX79" fmla="*/ 251670 w 1579374"/>
                <a:gd name="connsiteY79" fmla="*/ 826816 h 2194068"/>
                <a:gd name="connsiteX80" fmla="*/ 183335 w 1579374"/>
                <a:gd name="connsiteY80" fmla="*/ 780711 h 2194068"/>
                <a:gd name="connsiteX81" fmla="*/ 10892 w 1579374"/>
                <a:gd name="connsiteY81" fmla="*/ 878009 h 2194068"/>
                <a:gd name="connsiteX82" fmla="*/ 786 w 1579374"/>
                <a:gd name="connsiteY82" fmla="*/ 919017 h 2194068"/>
                <a:gd name="connsiteX83" fmla="*/ 0 w 1579374"/>
                <a:gd name="connsiteY83" fmla="*/ 2141211 h 2194068"/>
                <a:gd name="connsiteX0" fmla="*/ 0 w 1579374"/>
                <a:gd name="connsiteY0" fmla="*/ 2141211 h 2174743"/>
                <a:gd name="connsiteX1" fmla="*/ 82187 w 1579374"/>
                <a:gd name="connsiteY1" fmla="*/ 2174744 h 2174743"/>
                <a:gd name="connsiteX2" fmla="*/ 82028 w 1579374"/>
                <a:gd name="connsiteY2" fmla="*/ 2174180 h 2174743"/>
                <a:gd name="connsiteX3" fmla="*/ 82166 w 1579374"/>
                <a:gd name="connsiteY3" fmla="*/ 2173977 h 2174743"/>
                <a:gd name="connsiteX4" fmla="*/ 82166 w 1579374"/>
                <a:gd name="connsiteY4" fmla="*/ 931735 h 2174743"/>
                <a:gd name="connsiteX5" fmla="*/ 165784 w 1579374"/>
                <a:gd name="connsiteY5" fmla="*/ 883459 h 2174743"/>
                <a:gd name="connsiteX6" fmla="*/ 165783 w 1579374"/>
                <a:gd name="connsiteY6" fmla="*/ 2077333 h 2174743"/>
                <a:gd name="connsiteX7" fmla="*/ 168211 w 1579374"/>
                <a:gd name="connsiteY7" fmla="*/ 2080925 h 2174743"/>
                <a:gd name="connsiteX8" fmla="*/ 173283 w 1579374"/>
                <a:gd name="connsiteY8" fmla="*/ 2091279 h 2174743"/>
                <a:gd name="connsiteX9" fmla="*/ 235756 w 1579374"/>
                <a:gd name="connsiteY9" fmla="*/ 2097698 h 2174743"/>
                <a:gd name="connsiteX10" fmla="*/ 404707 w 1579374"/>
                <a:gd name="connsiteY10" fmla="*/ 2000154 h 2174743"/>
                <a:gd name="connsiteX11" fmla="*/ 414113 w 1579374"/>
                <a:gd name="connsiteY11" fmla="*/ 1980830 h 2174743"/>
                <a:gd name="connsiteX12" fmla="*/ 413954 w 1579374"/>
                <a:gd name="connsiteY12" fmla="*/ 1980266 h 2174743"/>
                <a:gd name="connsiteX13" fmla="*/ 414092 w 1579374"/>
                <a:gd name="connsiteY13" fmla="*/ 1980063 h 2174743"/>
                <a:gd name="connsiteX14" fmla="*/ 414092 w 1579374"/>
                <a:gd name="connsiteY14" fmla="*/ 737821 h 2174743"/>
                <a:gd name="connsiteX15" fmla="*/ 497709 w 1579374"/>
                <a:gd name="connsiteY15" fmla="*/ 689544 h 2174743"/>
                <a:gd name="connsiteX16" fmla="*/ 497709 w 1579374"/>
                <a:gd name="connsiteY16" fmla="*/ 1883418 h 2174743"/>
                <a:gd name="connsiteX17" fmla="*/ 500130 w 1579374"/>
                <a:gd name="connsiteY17" fmla="*/ 1887000 h 2174743"/>
                <a:gd name="connsiteX18" fmla="*/ 505208 w 1579374"/>
                <a:gd name="connsiteY18" fmla="*/ 1897366 h 2174743"/>
                <a:gd name="connsiteX19" fmla="*/ 567681 w 1579374"/>
                <a:gd name="connsiteY19" fmla="*/ 1903785 h 2174743"/>
                <a:gd name="connsiteX20" fmla="*/ 736632 w 1579374"/>
                <a:gd name="connsiteY20" fmla="*/ 1806241 h 2174743"/>
                <a:gd name="connsiteX21" fmla="*/ 746038 w 1579374"/>
                <a:gd name="connsiteY21" fmla="*/ 1786917 h 2174743"/>
                <a:gd name="connsiteX22" fmla="*/ 745879 w 1579374"/>
                <a:gd name="connsiteY22" fmla="*/ 1786353 h 2174743"/>
                <a:gd name="connsiteX23" fmla="*/ 746017 w 1579374"/>
                <a:gd name="connsiteY23" fmla="*/ 1786150 h 2174743"/>
                <a:gd name="connsiteX24" fmla="*/ 746017 w 1579374"/>
                <a:gd name="connsiteY24" fmla="*/ 543908 h 2174743"/>
                <a:gd name="connsiteX25" fmla="*/ 829634 w 1579374"/>
                <a:gd name="connsiteY25" fmla="*/ 495632 h 2174743"/>
                <a:gd name="connsiteX26" fmla="*/ 829634 w 1579374"/>
                <a:gd name="connsiteY26" fmla="*/ 1689505 h 2174743"/>
                <a:gd name="connsiteX27" fmla="*/ 832055 w 1579374"/>
                <a:gd name="connsiteY27" fmla="*/ 1693087 h 2174743"/>
                <a:gd name="connsiteX28" fmla="*/ 837133 w 1579374"/>
                <a:gd name="connsiteY28" fmla="*/ 1703453 h 2174743"/>
                <a:gd name="connsiteX29" fmla="*/ 899606 w 1579374"/>
                <a:gd name="connsiteY29" fmla="*/ 1709872 h 2174743"/>
                <a:gd name="connsiteX30" fmla="*/ 1068557 w 1579374"/>
                <a:gd name="connsiteY30" fmla="*/ 1612328 h 2174743"/>
                <a:gd name="connsiteX31" fmla="*/ 1077963 w 1579374"/>
                <a:gd name="connsiteY31" fmla="*/ 1593004 h 2174743"/>
                <a:gd name="connsiteX32" fmla="*/ 1077804 w 1579374"/>
                <a:gd name="connsiteY32" fmla="*/ 1592440 h 2174743"/>
                <a:gd name="connsiteX33" fmla="*/ 1077942 w 1579374"/>
                <a:gd name="connsiteY33" fmla="*/ 1592237 h 2174743"/>
                <a:gd name="connsiteX34" fmla="*/ 1077942 w 1579374"/>
                <a:gd name="connsiteY34" fmla="*/ 349995 h 2174743"/>
                <a:gd name="connsiteX35" fmla="*/ 1161559 w 1579374"/>
                <a:gd name="connsiteY35" fmla="*/ 301719 h 2174743"/>
                <a:gd name="connsiteX36" fmla="*/ 1161559 w 1579374"/>
                <a:gd name="connsiteY36" fmla="*/ 1495592 h 2174743"/>
                <a:gd name="connsiteX37" fmla="*/ 1163984 w 1579374"/>
                <a:gd name="connsiteY37" fmla="*/ 1499182 h 2174743"/>
                <a:gd name="connsiteX38" fmla="*/ 1169059 w 1579374"/>
                <a:gd name="connsiteY38" fmla="*/ 1509541 h 2174743"/>
                <a:gd name="connsiteX39" fmla="*/ 1231533 w 1579374"/>
                <a:gd name="connsiteY39" fmla="*/ 1515960 h 2174743"/>
                <a:gd name="connsiteX40" fmla="*/ 1400484 w 1579374"/>
                <a:gd name="connsiteY40" fmla="*/ 1418416 h 2174743"/>
                <a:gd name="connsiteX41" fmla="*/ 1409890 w 1579374"/>
                <a:gd name="connsiteY41" fmla="*/ 1399092 h 2174743"/>
                <a:gd name="connsiteX42" fmla="*/ 1409731 w 1579374"/>
                <a:gd name="connsiteY42" fmla="*/ 1398528 h 2174743"/>
                <a:gd name="connsiteX43" fmla="*/ 1409869 w 1579374"/>
                <a:gd name="connsiteY43" fmla="*/ 1398325 h 2174743"/>
                <a:gd name="connsiteX44" fmla="*/ 1409869 w 1579374"/>
                <a:gd name="connsiteY44" fmla="*/ 156083 h 2174743"/>
                <a:gd name="connsiteX45" fmla="*/ 1493486 w 1579374"/>
                <a:gd name="connsiteY45" fmla="*/ 107807 h 2174743"/>
                <a:gd name="connsiteX46" fmla="*/ 1493486 w 1579374"/>
                <a:gd name="connsiteY46" fmla="*/ 1301680 h 2174743"/>
                <a:gd name="connsiteX47" fmla="*/ 1505519 w 1579374"/>
                <a:gd name="connsiteY47" fmla="*/ 1319489 h 2174743"/>
                <a:gd name="connsiteX48" fmla="*/ 1534569 w 1579374"/>
                <a:gd name="connsiteY48" fmla="*/ 1326865 h 2174743"/>
                <a:gd name="connsiteX49" fmla="*/ 1575652 w 1579374"/>
                <a:gd name="connsiteY49" fmla="*/ 1301680 h 2174743"/>
                <a:gd name="connsiteX50" fmla="*/ 1579373 w 1579374"/>
                <a:gd name="connsiteY50" fmla="*/ 51163 h 2174743"/>
                <a:gd name="connsiteX51" fmla="*/ 1511037 w 1579374"/>
                <a:gd name="connsiteY51" fmla="*/ 5059 h 2174743"/>
                <a:gd name="connsiteX52" fmla="*/ 1338595 w 1579374"/>
                <a:gd name="connsiteY52" fmla="*/ 102357 h 2174743"/>
                <a:gd name="connsiteX53" fmla="*/ 1328489 w 1579374"/>
                <a:gd name="connsiteY53" fmla="*/ 143365 h 2174743"/>
                <a:gd name="connsiteX54" fmla="*/ 1327703 w 1579374"/>
                <a:gd name="connsiteY54" fmla="*/ 1365559 h 2174743"/>
                <a:gd name="connsiteX55" fmla="*/ 1244088 w 1579374"/>
                <a:gd name="connsiteY55" fmla="*/ 1413834 h 2174743"/>
                <a:gd name="connsiteX56" fmla="*/ 1244088 w 1579374"/>
                <a:gd name="connsiteY56" fmla="*/ 1373656 h 2174743"/>
                <a:gd name="connsiteX57" fmla="*/ 1247446 w 1579374"/>
                <a:gd name="connsiteY57" fmla="*/ 245075 h 2174743"/>
                <a:gd name="connsiteX58" fmla="*/ 1179111 w 1579374"/>
                <a:gd name="connsiteY58" fmla="*/ 198971 h 2174743"/>
                <a:gd name="connsiteX59" fmla="*/ 1006668 w 1579374"/>
                <a:gd name="connsiteY59" fmla="*/ 296269 h 2174743"/>
                <a:gd name="connsiteX60" fmla="*/ 996562 w 1579374"/>
                <a:gd name="connsiteY60" fmla="*/ 337277 h 2174743"/>
                <a:gd name="connsiteX61" fmla="*/ 995776 w 1579374"/>
                <a:gd name="connsiteY61" fmla="*/ 1559471 h 2174743"/>
                <a:gd name="connsiteX62" fmla="*/ 912161 w 1579374"/>
                <a:gd name="connsiteY62" fmla="*/ 1607746 h 2174743"/>
                <a:gd name="connsiteX63" fmla="*/ 912161 w 1579374"/>
                <a:gd name="connsiteY63" fmla="*/ 1568157 h 2174743"/>
                <a:gd name="connsiteX64" fmla="*/ 915521 w 1579374"/>
                <a:gd name="connsiteY64" fmla="*/ 438988 h 2174743"/>
                <a:gd name="connsiteX65" fmla="*/ 847186 w 1579374"/>
                <a:gd name="connsiteY65" fmla="*/ 392883 h 2174743"/>
                <a:gd name="connsiteX66" fmla="*/ 674743 w 1579374"/>
                <a:gd name="connsiteY66" fmla="*/ 490182 h 2174743"/>
                <a:gd name="connsiteX67" fmla="*/ 664637 w 1579374"/>
                <a:gd name="connsiteY67" fmla="*/ 531190 h 2174743"/>
                <a:gd name="connsiteX68" fmla="*/ 663851 w 1579374"/>
                <a:gd name="connsiteY68" fmla="*/ 1753384 h 2174743"/>
                <a:gd name="connsiteX69" fmla="*/ 580236 w 1579374"/>
                <a:gd name="connsiteY69" fmla="*/ 1801659 h 2174743"/>
                <a:gd name="connsiteX70" fmla="*/ 580236 w 1579374"/>
                <a:gd name="connsiteY70" fmla="*/ 1762076 h 2174743"/>
                <a:gd name="connsiteX71" fmla="*/ 583596 w 1579374"/>
                <a:gd name="connsiteY71" fmla="*/ 632901 h 2174743"/>
                <a:gd name="connsiteX72" fmla="*/ 515261 w 1579374"/>
                <a:gd name="connsiteY72" fmla="*/ 586796 h 2174743"/>
                <a:gd name="connsiteX73" fmla="*/ 342818 w 1579374"/>
                <a:gd name="connsiteY73" fmla="*/ 684095 h 2174743"/>
                <a:gd name="connsiteX74" fmla="*/ 332712 w 1579374"/>
                <a:gd name="connsiteY74" fmla="*/ 725103 h 2174743"/>
                <a:gd name="connsiteX75" fmla="*/ 331926 w 1579374"/>
                <a:gd name="connsiteY75" fmla="*/ 1947297 h 2174743"/>
                <a:gd name="connsiteX76" fmla="*/ 248311 w 1579374"/>
                <a:gd name="connsiteY76" fmla="*/ 1995572 h 2174743"/>
                <a:gd name="connsiteX77" fmla="*/ 248311 w 1579374"/>
                <a:gd name="connsiteY77" fmla="*/ 1955655 h 2174743"/>
                <a:gd name="connsiteX78" fmla="*/ 251670 w 1579374"/>
                <a:gd name="connsiteY78" fmla="*/ 826816 h 2174743"/>
                <a:gd name="connsiteX79" fmla="*/ 183335 w 1579374"/>
                <a:gd name="connsiteY79" fmla="*/ 780711 h 2174743"/>
                <a:gd name="connsiteX80" fmla="*/ 10892 w 1579374"/>
                <a:gd name="connsiteY80" fmla="*/ 878009 h 2174743"/>
                <a:gd name="connsiteX81" fmla="*/ 786 w 1579374"/>
                <a:gd name="connsiteY81" fmla="*/ 919017 h 2174743"/>
                <a:gd name="connsiteX82" fmla="*/ 0 w 1579374"/>
                <a:gd name="connsiteY82" fmla="*/ 2141211 h 2174743"/>
                <a:gd name="connsiteX0" fmla="*/ 0 w 1579374"/>
                <a:gd name="connsiteY0" fmla="*/ 2141211 h 2174743"/>
                <a:gd name="connsiteX1" fmla="*/ 82187 w 1579374"/>
                <a:gd name="connsiteY1" fmla="*/ 2174744 h 2174743"/>
                <a:gd name="connsiteX2" fmla="*/ 82028 w 1579374"/>
                <a:gd name="connsiteY2" fmla="*/ 2174180 h 2174743"/>
                <a:gd name="connsiteX3" fmla="*/ 82166 w 1579374"/>
                <a:gd name="connsiteY3" fmla="*/ 2173977 h 2174743"/>
                <a:gd name="connsiteX4" fmla="*/ 82166 w 1579374"/>
                <a:gd name="connsiteY4" fmla="*/ 931735 h 2174743"/>
                <a:gd name="connsiteX5" fmla="*/ 165784 w 1579374"/>
                <a:gd name="connsiteY5" fmla="*/ 883459 h 2174743"/>
                <a:gd name="connsiteX6" fmla="*/ 165783 w 1579374"/>
                <a:gd name="connsiteY6" fmla="*/ 2077333 h 2174743"/>
                <a:gd name="connsiteX7" fmla="*/ 168211 w 1579374"/>
                <a:gd name="connsiteY7" fmla="*/ 2080925 h 2174743"/>
                <a:gd name="connsiteX8" fmla="*/ 173283 w 1579374"/>
                <a:gd name="connsiteY8" fmla="*/ 2091279 h 2174743"/>
                <a:gd name="connsiteX9" fmla="*/ 235756 w 1579374"/>
                <a:gd name="connsiteY9" fmla="*/ 2097698 h 2174743"/>
                <a:gd name="connsiteX10" fmla="*/ 404707 w 1579374"/>
                <a:gd name="connsiteY10" fmla="*/ 2000154 h 2174743"/>
                <a:gd name="connsiteX11" fmla="*/ 414113 w 1579374"/>
                <a:gd name="connsiteY11" fmla="*/ 1980830 h 2174743"/>
                <a:gd name="connsiteX12" fmla="*/ 413954 w 1579374"/>
                <a:gd name="connsiteY12" fmla="*/ 1980266 h 2174743"/>
                <a:gd name="connsiteX13" fmla="*/ 414092 w 1579374"/>
                <a:gd name="connsiteY13" fmla="*/ 1980063 h 2174743"/>
                <a:gd name="connsiteX14" fmla="*/ 414092 w 1579374"/>
                <a:gd name="connsiteY14" fmla="*/ 737821 h 2174743"/>
                <a:gd name="connsiteX15" fmla="*/ 497709 w 1579374"/>
                <a:gd name="connsiteY15" fmla="*/ 689544 h 2174743"/>
                <a:gd name="connsiteX16" fmla="*/ 497709 w 1579374"/>
                <a:gd name="connsiteY16" fmla="*/ 1883418 h 2174743"/>
                <a:gd name="connsiteX17" fmla="*/ 500130 w 1579374"/>
                <a:gd name="connsiteY17" fmla="*/ 1887000 h 2174743"/>
                <a:gd name="connsiteX18" fmla="*/ 505208 w 1579374"/>
                <a:gd name="connsiteY18" fmla="*/ 1897366 h 2174743"/>
                <a:gd name="connsiteX19" fmla="*/ 567681 w 1579374"/>
                <a:gd name="connsiteY19" fmla="*/ 1903785 h 2174743"/>
                <a:gd name="connsiteX20" fmla="*/ 736632 w 1579374"/>
                <a:gd name="connsiteY20" fmla="*/ 1806241 h 2174743"/>
                <a:gd name="connsiteX21" fmla="*/ 746038 w 1579374"/>
                <a:gd name="connsiteY21" fmla="*/ 1786917 h 2174743"/>
                <a:gd name="connsiteX22" fmla="*/ 745879 w 1579374"/>
                <a:gd name="connsiteY22" fmla="*/ 1786353 h 2174743"/>
                <a:gd name="connsiteX23" fmla="*/ 746017 w 1579374"/>
                <a:gd name="connsiteY23" fmla="*/ 1786150 h 2174743"/>
                <a:gd name="connsiteX24" fmla="*/ 746017 w 1579374"/>
                <a:gd name="connsiteY24" fmla="*/ 543908 h 2174743"/>
                <a:gd name="connsiteX25" fmla="*/ 829634 w 1579374"/>
                <a:gd name="connsiteY25" fmla="*/ 495632 h 2174743"/>
                <a:gd name="connsiteX26" fmla="*/ 829634 w 1579374"/>
                <a:gd name="connsiteY26" fmla="*/ 1689505 h 2174743"/>
                <a:gd name="connsiteX27" fmla="*/ 832055 w 1579374"/>
                <a:gd name="connsiteY27" fmla="*/ 1693087 h 2174743"/>
                <a:gd name="connsiteX28" fmla="*/ 837133 w 1579374"/>
                <a:gd name="connsiteY28" fmla="*/ 1703453 h 2174743"/>
                <a:gd name="connsiteX29" fmla="*/ 899606 w 1579374"/>
                <a:gd name="connsiteY29" fmla="*/ 1709872 h 2174743"/>
                <a:gd name="connsiteX30" fmla="*/ 1068557 w 1579374"/>
                <a:gd name="connsiteY30" fmla="*/ 1612328 h 2174743"/>
                <a:gd name="connsiteX31" fmla="*/ 1077963 w 1579374"/>
                <a:gd name="connsiteY31" fmla="*/ 1593004 h 2174743"/>
                <a:gd name="connsiteX32" fmla="*/ 1077804 w 1579374"/>
                <a:gd name="connsiteY32" fmla="*/ 1592440 h 2174743"/>
                <a:gd name="connsiteX33" fmla="*/ 1077942 w 1579374"/>
                <a:gd name="connsiteY33" fmla="*/ 1592237 h 2174743"/>
                <a:gd name="connsiteX34" fmla="*/ 1077942 w 1579374"/>
                <a:gd name="connsiteY34" fmla="*/ 349995 h 2174743"/>
                <a:gd name="connsiteX35" fmla="*/ 1161559 w 1579374"/>
                <a:gd name="connsiteY35" fmla="*/ 301719 h 2174743"/>
                <a:gd name="connsiteX36" fmla="*/ 1161559 w 1579374"/>
                <a:gd name="connsiteY36" fmla="*/ 1495592 h 2174743"/>
                <a:gd name="connsiteX37" fmla="*/ 1163984 w 1579374"/>
                <a:gd name="connsiteY37" fmla="*/ 1499182 h 2174743"/>
                <a:gd name="connsiteX38" fmla="*/ 1169059 w 1579374"/>
                <a:gd name="connsiteY38" fmla="*/ 1509541 h 2174743"/>
                <a:gd name="connsiteX39" fmla="*/ 1231533 w 1579374"/>
                <a:gd name="connsiteY39" fmla="*/ 1515960 h 2174743"/>
                <a:gd name="connsiteX40" fmla="*/ 1400484 w 1579374"/>
                <a:gd name="connsiteY40" fmla="*/ 1418416 h 2174743"/>
                <a:gd name="connsiteX41" fmla="*/ 1409890 w 1579374"/>
                <a:gd name="connsiteY41" fmla="*/ 1399092 h 2174743"/>
                <a:gd name="connsiteX42" fmla="*/ 1409731 w 1579374"/>
                <a:gd name="connsiteY42" fmla="*/ 1398528 h 2174743"/>
                <a:gd name="connsiteX43" fmla="*/ 1409869 w 1579374"/>
                <a:gd name="connsiteY43" fmla="*/ 1398325 h 2174743"/>
                <a:gd name="connsiteX44" fmla="*/ 1409869 w 1579374"/>
                <a:gd name="connsiteY44" fmla="*/ 156083 h 2174743"/>
                <a:gd name="connsiteX45" fmla="*/ 1493486 w 1579374"/>
                <a:gd name="connsiteY45" fmla="*/ 107807 h 2174743"/>
                <a:gd name="connsiteX46" fmla="*/ 1493486 w 1579374"/>
                <a:gd name="connsiteY46" fmla="*/ 1301680 h 2174743"/>
                <a:gd name="connsiteX47" fmla="*/ 1505519 w 1579374"/>
                <a:gd name="connsiteY47" fmla="*/ 1319489 h 2174743"/>
                <a:gd name="connsiteX48" fmla="*/ 1575652 w 1579374"/>
                <a:gd name="connsiteY48" fmla="*/ 1301680 h 2174743"/>
                <a:gd name="connsiteX49" fmla="*/ 1579373 w 1579374"/>
                <a:gd name="connsiteY49" fmla="*/ 51163 h 2174743"/>
                <a:gd name="connsiteX50" fmla="*/ 1511037 w 1579374"/>
                <a:gd name="connsiteY50" fmla="*/ 5059 h 2174743"/>
                <a:gd name="connsiteX51" fmla="*/ 1338595 w 1579374"/>
                <a:gd name="connsiteY51" fmla="*/ 102357 h 2174743"/>
                <a:gd name="connsiteX52" fmla="*/ 1328489 w 1579374"/>
                <a:gd name="connsiteY52" fmla="*/ 143365 h 2174743"/>
                <a:gd name="connsiteX53" fmla="*/ 1327703 w 1579374"/>
                <a:gd name="connsiteY53" fmla="*/ 1365559 h 2174743"/>
                <a:gd name="connsiteX54" fmla="*/ 1244088 w 1579374"/>
                <a:gd name="connsiteY54" fmla="*/ 1413834 h 2174743"/>
                <a:gd name="connsiteX55" fmla="*/ 1244088 w 1579374"/>
                <a:gd name="connsiteY55" fmla="*/ 1373656 h 2174743"/>
                <a:gd name="connsiteX56" fmla="*/ 1247446 w 1579374"/>
                <a:gd name="connsiteY56" fmla="*/ 245075 h 2174743"/>
                <a:gd name="connsiteX57" fmla="*/ 1179111 w 1579374"/>
                <a:gd name="connsiteY57" fmla="*/ 198971 h 2174743"/>
                <a:gd name="connsiteX58" fmla="*/ 1006668 w 1579374"/>
                <a:gd name="connsiteY58" fmla="*/ 296269 h 2174743"/>
                <a:gd name="connsiteX59" fmla="*/ 996562 w 1579374"/>
                <a:gd name="connsiteY59" fmla="*/ 337277 h 2174743"/>
                <a:gd name="connsiteX60" fmla="*/ 995776 w 1579374"/>
                <a:gd name="connsiteY60" fmla="*/ 1559471 h 2174743"/>
                <a:gd name="connsiteX61" fmla="*/ 912161 w 1579374"/>
                <a:gd name="connsiteY61" fmla="*/ 1607746 h 2174743"/>
                <a:gd name="connsiteX62" fmla="*/ 912161 w 1579374"/>
                <a:gd name="connsiteY62" fmla="*/ 1568157 h 2174743"/>
                <a:gd name="connsiteX63" fmla="*/ 915521 w 1579374"/>
                <a:gd name="connsiteY63" fmla="*/ 438988 h 2174743"/>
                <a:gd name="connsiteX64" fmla="*/ 847186 w 1579374"/>
                <a:gd name="connsiteY64" fmla="*/ 392883 h 2174743"/>
                <a:gd name="connsiteX65" fmla="*/ 674743 w 1579374"/>
                <a:gd name="connsiteY65" fmla="*/ 490182 h 2174743"/>
                <a:gd name="connsiteX66" fmla="*/ 664637 w 1579374"/>
                <a:gd name="connsiteY66" fmla="*/ 531190 h 2174743"/>
                <a:gd name="connsiteX67" fmla="*/ 663851 w 1579374"/>
                <a:gd name="connsiteY67" fmla="*/ 1753384 h 2174743"/>
                <a:gd name="connsiteX68" fmla="*/ 580236 w 1579374"/>
                <a:gd name="connsiteY68" fmla="*/ 1801659 h 2174743"/>
                <a:gd name="connsiteX69" fmla="*/ 580236 w 1579374"/>
                <a:gd name="connsiteY69" fmla="*/ 1762076 h 2174743"/>
                <a:gd name="connsiteX70" fmla="*/ 583596 w 1579374"/>
                <a:gd name="connsiteY70" fmla="*/ 632901 h 2174743"/>
                <a:gd name="connsiteX71" fmla="*/ 515261 w 1579374"/>
                <a:gd name="connsiteY71" fmla="*/ 586796 h 2174743"/>
                <a:gd name="connsiteX72" fmla="*/ 342818 w 1579374"/>
                <a:gd name="connsiteY72" fmla="*/ 684095 h 2174743"/>
                <a:gd name="connsiteX73" fmla="*/ 332712 w 1579374"/>
                <a:gd name="connsiteY73" fmla="*/ 725103 h 2174743"/>
                <a:gd name="connsiteX74" fmla="*/ 331926 w 1579374"/>
                <a:gd name="connsiteY74" fmla="*/ 1947297 h 2174743"/>
                <a:gd name="connsiteX75" fmla="*/ 248311 w 1579374"/>
                <a:gd name="connsiteY75" fmla="*/ 1995572 h 2174743"/>
                <a:gd name="connsiteX76" fmla="*/ 248311 w 1579374"/>
                <a:gd name="connsiteY76" fmla="*/ 1955655 h 2174743"/>
                <a:gd name="connsiteX77" fmla="*/ 251670 w 1579374"/>
                <a:gd name="connsiteY77" fmla="*/ 826816 h 2174743"/>
                <a:gd name="connsiteX78" fmla="*/ 183335 w 1579374"/>
                <a:gd name="connsiteY78" fmla="*/ 780711 h 2174743"/>
                <a:gd name="connsiteX79" fmla="*/ 10892 w 1579374"/>
                <a:gd name="connsiteY79" fmla="*/ 878009 h 2174743"/>
                <a:gd name="connsiteX80" fmla="*/ 786 w 1579374"/>
                <a:gd name="connsiteY80" fmla="*/ 919017 h 2174743"/>
                <a:gd name="connsiteX81" fmla="*/ 0 w 1579374"/>
                <a:gd name="connsiteY81" fmla="*/ 2141211 h 2174743"/>
                <a:gd name="connsiteX0" fmla="*/ 0 w 1579374"/>
                <a:gd name="connsiteY0" fmla="*/ 2141211 h 2174743"/>
                <a:gd name="connsiteX1" fmla="*/ 82187 w 1579374"/>
                <a:gd name="connsiteY1" fmla="*/ 2174744 h 2174743"/>
                <a:gd name="connsiteX2" fmla="*/ 82028 w 1579374"/>
                <a:gd name="connsiteY2" fmla="*/ 2174180 h 2174743"/>
                <a:gd name="connsiteX3" fmla="*/ 82166 w 1579374"/>
                <a:gd name="connsiteY3" fmla="*/ 2173977 h 2174743"/>
                <a:gd name="connsiteX4" fmla="*/ 82166 w 1579374"/>
                <a:gd name="connsiteY4" fmla="*/ 931735 h 2174743"/>
                <a:gd name="connsiteX5" fmla="*/ 165784 w 1579374"/>
                <a:gd name="connsiteY5" fmla="*/ 883459 h 2174743"/>
                <a:gd name="connsiteX6" fmla="*/ 165783 w 1579374"/>
                <a:gd name="connsiteY6" fmla="*/ 2077333 h 2174743"/>
                <a:gd name="connsiteX7" fmla="*/ 168211 w 1579374"/>
                <a:gd name="connsiteY7" fmla="*/ 2080925 h 2174743"/>
                <a:gd name="connsiteX8" fmla="*/ 173283 w 1579374"/>
                <a:gd name="connsiteY8" fmla="*/ 2091279 h 2174743"/>
                <a:gd name="connsiteX9" fmla="*/ 235756 w 1579374"/>
                <a:gd name="connsiteY9" fmla="*/ 2097698 h 2174743"/>
                <a:gd name="connsiteX10" fmla="*/ 404707 w 1579374"/>
                <a:gd name="connsiteY10" fmla="*/ 2000154 h 2174743"/>
                <a:gd name="connsiteX11" fmla="*/ 414113 w 1579374"/>
                <a:gd name="connsiteY11" fmla="*/ 1980830 h 2174743"/>
                <a:gd name="connsiteX12" fmla="*/ 413954 w 1579374"/>
                <a:gd name="connsiteY12" fmla="*/ 1980266 h 2174743"/>
                <a:gd name="connsiteX13" fmla="*/ 414092 w 1579374"/>
                <a:gd name="connsiteY13" fmla="*/ 1980063 h 2174743"/>
                <a:gd name="connsiteX14" fmla="*/ 414092 w 1579374"/>
                <a:gd name="connsiteY14" fmla="*/ 737821 h 2174743"/>
                <a:gd name="connsiteX15" fmla="*/ 497709 w 1579374"/>
                <a:gd name="connsiteY15" fmla="*/ 689544 h 2174743"/>
                <a:gd name="connsiteX16" fmla="*/ 497709 w 1579374"/>
                <a:gd name="connsiteY16" fmla="*/ 1883418 h 2174743"/>
                <a:gd name="connsiteX17" fmla="*/ 500130 w 1579374"/>
                <a:gd name="connsiteY17" fmla="*/ 1887000 h 2174743"/>
                <a:gd name="connsiteX18" fmla="*/ 505208 w 1579374"/>
                <a:gd name="connsiteY18" fmla="*/ 1897366 h 2174743"/>
                <a:gd name="connsiteX19" fmla="*/ 567681 w 1579374"/>
                <a:gd name="connsiteY19" fmla="*/ 1903785 h 2174743"/>
                <a:gd name="connsiteX20" fmla="*/ 736632 w 1579374"/>
                <a:gd name="connsiteY20" fmla="*/ 1806241 h 2174743"/>
                <a:gd name="connsiteX21" fmla="*/ 746038 w 1579374"/>
                <a:gd name="connsiteY21" fmla="*/ 1786917 h 2174743"/>
                <a:gd name="connsiteX22" fmla="*/ 745879 w 1579374"/>
                <a:gd name="connsiteY22" fmla="*/ 1786353 h 2174743"/>
                <a:gd name="connsiteX23" fmla="*/ 746017 w 1579374"/>
                <a:gd name="connsiteY23" fmla="*/ 1786150 h 2174743"/>
                <a:gd name="connsiteX24" fmla="*/ 746017 w 1579374"/>
                <a:gd name="connsiteY24" fmla="*/ 543908 h 2174743"/>
                <a:gd name="connsiteX25" fmla="*/ 829634 w 1579374"/>
                <a:gd name="connsiteY25" fmla="*/ 495632 h 2174743"/>
                <a:gd name="connsiteX26" fmla="*/ 829634 w 1579374"/>
                <a:gd name="connsiteY26" fmla="*/ 1689505 h 2174743"/>
                <a:gd name="connsiteX27" fmla="*/ 832055 w 1579374"/>
                <a:gd name="connsiteY27" fmla="*/ 1693087 h 2174743"/>
                <a:gd name="connsiteX28" fmla="*/ 837133 w 1579374"/>
                <a:gd name="connsiteY28" fmla="*/ 1703453 h 2174743"/>
                <a:gd name="connsiteX29" fmla="*/ 899606 w 1579374"/>
                <a:gd name="connsiteY29" fmla="*/ 1709872 h 2174743"/>
                <a:gd name="connsiteX30" fmla="*/ 1068557 w 1579374"/>
                <a:gd name="connsiteY30" fmla="*/ 1612328 h 2174743"/>
                <a:gd name="connsiteX31" fmla="*/ 1077963 w 1579374"/>
                <a:gd name="connsiteY31" fmla="*/ 1593004 h 2174743"/>
                <a:gd name="connsiteX32" fmla="*/ 1077804 w 1579374"/>
                <a:gd name="connsiteY32" fmla="*/ 1592440 h 2174743"/>
                <a:gd name="connsiteX33" fmla="*/ 1077942 w 1579374"/>
                <a:gd name="connsiteY33" fmla="*/ 1592237 h 2174743"/>
                <a:gd name="connsiteX34" fmla="*/ 1077942 w 1579374"/>
                <a:gd name="connsiteY34" fmla="*/ 349995 h 2174743"/>
                <a:gd name="connsiteX35" fmla="*/ 1161559 w 1579374"/>
                <a:gd name="connsiteY35" fmla="*/ 301719 h 2174743"/>
                <a:gd name="connsiteX36" fmla="*/ 1161559 w 1579374"/>
                <a:gd name="connsiteY36" fmla="*/ 1495592 h 2174743"/>
                <a:gd name="connsiteX37" fmla="*/ 1163984 w 1579374"/>
                <a:gd name="connsiteY37" fmla="*/ 1499182 h 2174743"/>
                <a:gd name="connsiteX38" fmla="*/ 1169059 w 1579374"/>
                <a:gd name="connsiteY38" fmla="*/ 1509541 h 2174743"/>
                <a:gd name="connsiteX39" fmla="*/ 1231533 w 1579374"/>
                <a:gd name="connsiteY39" fmla="*/ 1515960 h 2174743"/>
                <a:gd name="connsiteX40" fmla="*/ 1400484 w 1579374"/>
                <a:gd name="connsiteY40" fmla="*/ 1418416 h 2174743"/>
                <a:gd name="connsiteX41" fmla="*/ 1409890 w 1579374"/>
                <a:gd name="connsiteY41" fmla="*/ 1399092 h 2174743"/>
                <a:gd name="connsiteX42" fmla="*/ 1409731 w 1579374"/>
                <a:gd name="connsiteY42" fmla="*/ 1398528 h 2174743"/>
                <a:gd name="connsiteX43" fmla="*/ 1409869 w 1579374"/>
                <a:gd name="connsiteY43" fmla="*/ 1398325 h 2174743"/>
                <a:gd name="connsiteX44" fmla="*/ 1409869 w 1579374"/>
                <a:gd name="connsiteY44" fmla="*/ 156083 h 2174743"/>
                <a:gd name="connsiteX45" fmla="*/ 1493486 w 1579374"/>
                <a:gd name="connsiteY45" fmla="*/ 107807 h 2174743"/>
                <a:gd name="connsiteX46" fmla="*/ 1493486 w 1579374"/>
                <a:gd name="connsiteY46" fmla="*/ 1301680 h 2174743"/>
                <a:gd name="connsiteX47" fmla="*/ 1575652 w 1579374"/>
                <a:gd name="connsiteY47" fmla="*/ 1301680 h 2174743"/>
                <a:gd name="connsiteX48" fmla="*/ 1579373 w 1579374"/>
                <a:gd name="connsiteY48" fmla="*/ 51163 h 2174743"/>
                <a:gd name="connsiteX49" fmla="*/ 1511037 w 1579374"/>
                <a:gd name="connsiteY49" fmla="*/ 5059 h 2174743"/>
                <a:gd name="connsiteX50" fmla="*/ 1338595 w 1579374"/>
                <a:gd name="connsiteY50" fmla="*/ 102357 h 2174743"/>
                <a:gd name="connsiteX51" fmla="*/ 1328489 w 1579374"/>
                <a:gd name="connsiteY51" fmla="*/ 143365 h 2174743"/>
                <a:gd name="connsiteX52" fmla="*/ 1327703 w 1579374"/>
                <a:gd name="connsiteY52" fmla="*/ 1365559 h 2174743"/>
                <a:gd name="connsiteX53" fmla="*/ 1244088 w 1579374"/>
                <a:gd name="connsiteY53" fmla="*/ 1413834 h 2174743"/>
                <a:gd name="connsiteX54" fmla="*/ 1244088 w 1579374"/>
                <a:gd name="connsiteY54" fmla="*/ 1373656 h 2174743"/>
                <a:gd name="connsiteX55" fmla="*/ 1247446 w 1579374"/>
                <a:gd name="connsiteY55" fmla="*/ 245075 h 2174743"/>
                <a:gd name="connsiteX56" fmla="*/ 1179111 w 1579374"/>
                <a:gd name="connsiteY56" fmla="*/ 198971 h 2174743"/>
                <a:gd name="connsiteX57" fmla="*/ 1006668 w 1579374"/>
                <a:gd name="connsiteY57" fmla="*/ 296269 h 2174743"/>
                <a:gd name="connsiteX58" fmla="*/ 996562 w 1579374"/>
                <a:gd name="connsiteY58" fmla="*/ 337277 h 2174743"/>
                <a:gd name="connsiteX59" fmla="*/ 995776 w 1579374"/>
                <a:gd name="connsiteY59" fmla="*/ 1559471 h 2174743"/>
                <a:gd name="connsiteX60" fmla="*/ 912161 w 1579374"/>
                <a:gd name="connsiteY60" fmla="*/ 1607746 h 2174743"/>
                <a:gd name="connsiteX61" fmla="*/ 912161 w 1579374"/>
                <a:gd name="connsiteY61" fmla="*/ 1568157 h 2174743"/>
                <a:gd name="connsiteX62" fmla="*/ 915521 w 1579374"/>
                <a:gd name="connsiteY62" fmla="*/ 438988 h 2174743"/>
                <a:gd name="connsiteX63" fmla="*/ 847186 w 1579374"/>
                <a:gd name="connsiteY63" fmla="*/ 392883 h 2174743"/>
                <a:gd name="connsiteX64" fmla="*/ 674743 w 1579374"/>
                <a:gd name="connsiteY64" fmla="*/ 490182 h 2174743"/>
                <a:gd name="connsiteX65" fmla="*/ 664637 w 1579374"/>
                <a:gd name="connsiteY65" fmla="*/ 531190 h 2174743"/>
                <a:gd name="connsiteX66" fmla="*/ 663851 w 1579374"/>
                <a:gd name="connsiteY66" fmla="*/ 1753384 h 2174743"/>
                <a:gd name="connsiteX67" fmla="*/ 580236 w 1579374"/>
                <a:gd name="connsiteY67" fmla="*/ 1801659 h 2174743"/>
                <a:gd name="connsiteX68" fmla="*/ 580236 w 1579374"/>
                <a:gd name="connsiteY68" fmla="*/ 1762076 h 2174743"/>
                <a:gd name="connsiteX69" fmla="*/ 583596 w 1579374"/>
                <a:gd name="connsiteY69" fmla="*/ 632901 h 2174743"/>
                <a:gd name="connsiteX70" fmla="*/ 515261 w 1579374"/>
                <a:gd name="connsiteY70" fmla="*/ 586796 h 2174743"/>
                <a:gd name="connsiteX71" fmla="*/ 342818 w 1579374"/>
                <a:gd name="connsiteY71" fmla="*/ 684095 h 2174743"/>
                <a:gd name="connsiteX72" fmla="*/ 332712 w 1579374"/>
                <a:gd name="connsiteY72" fmla="*/ 725103 h 2174743"/>
                <a:gd name="connsiteX73" fmla="*/ 331926 w 1579374"/>
                <a:gd name="connsiteY73" fmla="*/ 1947297 h 2174743"/>
                <a:gd name="connsiteX74" fmla="*/ 248311 w 1579374"/>
                <a:gd name="connsiteY74" fmla="*/ 1995572 h 2174743"/>
                <a:gd name="connsiteX75" fmla="*/ 248311 w 1579374"/>
                <a:gd name="connsiteY75" fmla="*/ 1955655 h 2174743"/>
                <a:gd name="connsiteX76" fmla="*/ 251670 w 1579374"/>
                <a:gd name="connsiteY76" fmla="*/ 826816 h 2174743"/>
                <a:gd name="connsiteX77" fmla="*/ 183335 w 1579374"/>
                <a:gd name="connsiteY77" fmla="*/ 780711 h 2174743"/>
                <a:gd name="connsiteX78" fmla="*/ 10892 w 1579374"/>
                <a:gd name="connsiteY78" fmla="*/ 878009 h 2174743"/>
                <a:gd name="connsiteX79" fmla="*/ 786 w 1579374"/>
                <a:gd name="connsiteY79" fmla="*/ 919017 h 2174743"/>
                <a:gd name="connsiteX80" fmla="*/ 0 w 1579374"/>
                <a:gd name="connsiteY80" fmla="*/ 2141211 h 2174743"/>
                <a:gd name="connsiteX0" fmla="*/ 0 w 1579374"/>
                <a:gd name="connsiteY0" fmla="*/ 2141211 h 2174743"/>
                <a:gd name="connsiteX1" fmla="*/ 82187 w 1579374"/>
                <a:gd name="connsiteY1" fmla="*/ 2174744 h 2174743"/>
                <a:gd name="connsiteX2" fmla="*/ 82028 w 1579374"/>
                <a:gd name="connsiteY2" fmla="*/ 2174180 h 2174743"/>
                <a:gd name="connsiteX3" fmla="*/ 82166 w 1579374"/>
                <a:gd name="connsiteY3" fmla="*/ 2173977 h 2174743"/>
                <a:gd name="connsiteX4" fmla="*/ 82166 w 1579374"/>
                <a:gd name="connsiteY4" fmla="*/ 931735 h 2174743"/>
                <a:gd name="connsiteX5" fmla="*/ 165784 w 1579374"/>
                <a:gd name="connsiteY5" fmla="*/ 883459 h 2174743"/>
                <a:gd name="connsiteX6" fmla="*/ 165783 w 1579374"/>
                <a:gd name="connsiteY6" fmla="*/ 2077333 h 2174743"/>
                <a:gd name="connsiteX7" fmla="*/ 168211 w 1579374"/>
                <a:gd name="connsiteY7" fmla="*/ 2080925 h 2174743"/>
                <a:gd name="connsiteX8" fmla="*/ 173283 w 1579374"/>
                <a:gd name="connsiteY8" fmla="*/ 2091279 h 2174743"/>
                <a:gd name="connsiteX9" fmla="*/ 235756 w 1579374"/>
                <a:gd name="connsiteY9" fmla="*/ 2097698 h 2174743"/>
                <a:gd name="connsiteX10" fmla="*/ 404707 w 1579374"/>
                <a:gd name="connsiteY10" fmla="*/ 2000154 h 2174743"/>
                <a:gd name="connsiteX11" fmla="*/ 414113 w 1579374"/>
                <a:gd name="connsiteY11" fmla="*/ 1980830 h 2174743"/>
                <a:gd name="connsiteX12" fmla="*/ 413954 w 1579374"/>
                <a:gd name="connsiteY12" fmla="*/ 1980266 h 2174743"/>
                <a:gd name="connsiteX13" fmla="*/ 414092 w 1579374"/>
                <a:gd name="connsiteY13" fmla="*/ 1980063 h 2174743"/>
                <a:gd name="connsiteX14" fmla="*/ 414092 w 1579374"/>
                <a:gd name="connsiteY14" fmla="*/ 737821 h 2174743"/>
                <a:gd name="connsiteX15" fmla="*/ 497709 w 1579374"/>
                <a:gd name="connsiteY15" fmla="*/ 689544 h 2174743"/>
                <a:gd name="connsiteX16" fmla="*/ 497709 w 1579374"/>
                <a:gd name="connsiteY16" fmla="*/ 1883418 h 2174743"/>
                <a:gd name="connsiteX17" fmla="*/ 500130 w 1579374"/>
                <a:gd name="connsiteY17" fmla="*/ 1887000 h 2174743"/>
                <a:gd name="connsiteX18" fmla="*/ 505208 w 1579374"/>
                <a:gd name="connsiteY18" fmla="*/ 1897366 h 2174743"/>
                <a:gd name="connsiteX19" fmla="*/ 567681 w 1579374"/>
                <a:gd name="connsiteY19" fmla="*/ 1903785 h 2174743"/>
                <a:gd name="connsiteX20" fmla="*/ 736632 w 1579374"/>
                <a:gd name="connsiteY20" fmla="*/ 1806241 h 2174743"/>
                <a:gd name="connsiteX21" fmla="*/ 746038 w 1579374"/>
                <a:gd name="connsiteY21" fmla="*/ 1786917 h 2174743"/>
                <a:gd name="connsiteX22" fmla="*/ 745879 w 1579374"/>
                <a:gd name="connsiteY22" fmla="*/ 1786353 h 2174743"/>
                <a:gd name="connsiteX23" fmla="*/ 746017 w 1579374"/>
                <a:gd name="connsiteY23" fmla="*/ 1786150 h 2174743"/>
                <a:gd name="connsiteX24" fmla="*/ 746017 w 1579374"/>
                <a:gd name="connsiteY24" fmla="*/ 543908 h 2174743"/>
                <a:gd name="connsiteX25" fmla="*/ 829634 w 1579374"/>
                <a:gd name="connsiteY25" fmla="*/ 495632 h 2174743"/>
                <a:gd name="connsiteX26" fmla="*/ 829634 w 1579374"/>
                <a:gd name="connsiteY26" fmla="*/ 1689505 h 2174743"/>
                <a:gd name="connsiteX27" fmla="*/ 832055 w 1579374"/>
                <a:gd name="connsiteY27" fmla="*/ 1693087 h 2174743"/>
                <a:gd name="connsiteX28" fmla="*/ 837133 w 1579374"/>
                <a:gd name="connsiteY28" fmla="*/ 1703453 h 2174743"/>
                <a:gd name="connsiteX29" fmla="*/ 899606 w 1579374"/>
                <a:gd name="connsiteY29" fmla="*/ 1709872 h 2174743"/>
                <a:gd name="connsiteX30" fmla="*/ 1068557 w 1579374"/>
                <a:gd name="connsiteY30" fmla="*/ 1612328 h 2174743"/>
                <a:gd name="connsiteX31" fmla="*/ 1077963 w 1579374"/>
                <a:gd name="connsiteY31" fmla="*/ 1593004 h 2174743"/>
                <a:gd name="connsiteX32" fmla="*/ 1077804 w 1579374"/>
                <a:gd name="connsiteY32" fmla="*/ 1592440 h 2174743"/>
                <a:gd name="connsiteX33" fmla="*/ 1077942 w 1579374"/>
                <a:gd name="connsiteY33" fmla="*/ 1592237 h 2174743"/>
                <a:gd name="connsiteX34" fmla="*/ 1077942 w 1579374"/>
                <a:gd name="connsiteY34" fmla="*/ 349995 h 2174743"/>
                <a:gd name="connsiteX35" fmla="*/ 1161559 w 1579374"/>
                <a:gd name="connsiteY35" fmla="*/ 301719 h 2174743"/>
                <a:gd name="connsiteX36" fmla="*/ 1161559 w 1579374"/>
                <a:gd name="connsiteY36" fmla="*/ 1495592 h 2174743"/>
                <a:gd name="connsiteX37" fmla="*/ 1163984 w 1579374"/>
                <a:gd name="connsiteY37" fmla="*/ 1499182 h 2174743"/>
                <a:gd name="connsiteX38" fmla="*/ 1169059 w 1579374"/>
                <a:gd name="connsiteY38" fmla="*/ 1509541 h 2174743"/>
                <a:gd name="connsiteX39" fmla="*/ 1231533 w 1579374"/>
                <a:gd name="connsiteY39" fmla="*/ 1515960 h 2174743"/>
                <a:gd name="connsiteX40" fmla="*/ 1400484 w 1579374"/>
                <a:gd name="connsiteY40" fmla="*/ 1418416 h 2174743"/>
                <a:gd name="connsiteX41" fmla="*/ 1409890 w 1579374"/>
                <a:gd name="connsiteY41" fmla="*/ 1399092 h 2174743"/>
                <a:gd name="connsiteX42" fmla="*/ 1409731 w 1579374"/>
                <a:gd name="connsiteY42" fmla="*/ 1398528 h 2174743"/>
                <a:gd name="connsiteX43" fmla="*/ 1409869 w 1579374"/>
                <a:gd name="connsiteY43" fmla="*/ 1398325 h 2174743"/>
                <a:gd name="connsiteX44" fmla="*/ 1409869 w 1579374"/>
                <a:gd name="connsiteY44" fmla="*/ 156083 h 2174743"/>
                <a:gd name="connsiteX45" fmla="*/ 1493486 w 1579374"/>
                <a:gd name="connsiteY45" fmla="*/ 107807 h 2174743"/>
                <a:gd name="connsiteX46" fmla="*/ 1490996 w 1579374"/>
                <a:gd name="connsiteY46" fmla="*/ 1452527 h 2174743"/>
                <a:gd name="connsiteX47" fmla="*/ 1575652 w 1579374"/>
                <a:gd name="connsiteY47" fmla="*/ 1301680 h 2174743"/>
                <a:gd name="connsiteX48" fmla="*/ 1579373 w 1579374"/>
                <a:gd name="connsiteY48" fmla="*/ 51163 h 2174743"/>
                <a:gd name="connsiteX49" fmla="*/ 1511037 w 1579374"/>
                <a:gd name="connsiteY49" fmla="*/ 5059 h 2174743"/>
                <a:gd name="connsiteX50" fmla="*/ 1338595 w 1579374"/>
                <a:gd name="connsiteY50" fmla="*/ 102357 h 2174743"/>
                <a:gd name="connsiteX51" fmla="*/ 1328489 w 1579374"/>
                <a:gd name="connsiteY51" fmla="*/ 143365 h 2174743"/>
                <a:gd name="connsiteX52" fmla="*/ 1327703 w 1579374"/>
                <a:gd name="connsiteY52" fmla="*/ 1365559 h 2174743"/>
                <a:gd name="connsiteX53" fmla="*/ 1244088 w 1579374"/>
                <a:gd name="connsiteY53" fmla="*/ 1413834 h 2174743"/>
                <a:gd name="connsiteX54" fmla="*/ 1244088 w 1579374"/>
                <a:gd name="connsiteY54" fmla="*/ 1373656 h 2174743"/>
                <a:gd name="connsiteX55" fmla="*/ 1247446 w 1579374"/>
                <a:gd name="connsiteY55" fmla="*/ 245075 h 2174743"/>
                <a:gd name="connsiteX56" fmla="*/ 1179111 w 1579374"/>
                <a:gd name="connsiteY56" fmla="*/ 198971 h 2174743"/>
                <a:gd name="connsiteX57" fmla="*/ 1006668 w 1579374"/>
                <a:gd name="connsiteY57" fmla="*/ 296269 h 2174743"/>
                <a:gd name="connsiteX58" fmla="*/ 996562 w 1579374"/>
                <a:gd name="connsiteY58" fmla="*/ 337277 h 2174743"/>
                <a:gd name="connsiteX59" fmla="*/ 995776 w 1579374"/>
                <a:gd name="connsiteY59" fmla="*/ 1559471 h 2174743"/>
                <a:gd name="connsiteX60" fmla="*/ 912161 w 1579374"/>
                <a:gd name="connsiteY60" fmla="*/ 1607746 h 2174743"/>
                <a:gd name="connsiteX61" fmla="*/ 912161 w 1579374"/>
                <a:gd name="connsiteY61" fmla="*/ 1568157 h 2174743"/>
                <a:gd name="connsiteX62" fmla="*/ 915521 w 1579374"/>
                <a:gd name="connsiteY62" fmla="*/ 438988 h 2174743"/>
                <a:gd name="connsiteX63" fmla="*/ 847186 w 1579374"/>
                <a:gd name="connsiteY63" fmla="*/ 392883 h 2174743"/>
                <a:gd name="connsiteX64" fmla="*/ 674743 w 1579374"/>
                <a:gd name="connsiteY64" fmla="*/ 490182 h 2174743"/>
                <a:gd name="connsiteX65" fmla="*/ 664637 w 1579374"/>
                <a:gd name="connsiteY65" fmla="*/ 531190 h 2174743"/>
                <a:gd name="connsiteX66" fmla="*/ 663851 w 1579374"/>
                <a:gd name="connsiteY66" fmla="*/ 1753384 h 2174743"/>
                <a:gd name="connsiteX67" fmla="*/ 580236 w 1579374"/>
                <a:gd name="connsiteY67" fmla="*/ 1801659 h 2174743"/>
                <a:gd name="connsiteX68" fmla="*/ 580236 w 1579374"/>
                <a:gd name="connsiteY68" fmla="*/ 1762076 h 2174743"/>
                <a:gd name="connsiteX69" fmla="*/ 583596 w 1579374"/>
                <a:gd name="connsiteY69" fmla="*/ 632901 h 2174743"/>
                <a:gd name="connsiteX70" fmla="*/ 515261 w 1579374"/>
                <a:gd name="connsiteY70" fmla="*/ 586796 h 2174743"/>
                <a:gd name="connsiteX71" fmla="*/ 342818 w 1579374"/>
                <a:gd name="connsiteY71" fmla="*/ 684095 h 2174743"/>
                <a:gd name="connsiteX72" fmla="*/ 332712 w 1579374"/>
                <a:gd name="connsiteY72" fmla="*/ 725103 h 2174743"/>
                <a:gd name="connsiteX73" fmla="*/ 331926 w 1579374"/>
                <a:gd name="connsiteY73" fmla="*/ 1947297 h 2174743"/>
                <a:gd name="connsiteX74" fmla="*/ 248311 w 1579374"/>
                <a:gd name="connsiteY74" fmla="*/ 1995572 h 2174743"/>
                <a:gd name="connsiteX75" fmla="*/ 248311 w 1579374"/>
                <a:gd name="connsiteY75" fmla="*/ 1955655 h 2174743"/>
                <a:gd name="connsiteX76" fmla="*/ 251670 w 1579374"/>
                <a:gd name="connsiteY76" fmla="*/ 826816 h 2174743"/>
                <a:gd name="connsiteX77" fmla="*/ 183335 w 1579374"/>
                <a:gd name="connsiteY77" fmla="*/ 780711 h 2174743"/>
                <a:gd name="connsiteX78" fmla="*/ 10892 w 1579374"/>
                <a:gd name="connsiteY78" fmla="*/ 878009 h 2174743"/>
                <a:gd name="connsiteX79" fmla="*/ 786 w 1579374"/>
                <a:gd name="connsiteY79" fmla="*/ 919017 h 2174743"/>
                <a:gd name="connsiteX80" fmla="*/ 0 w 1579374"/>
                <a:gd name="connsiteY80" fmla="*/ 2141211 h 2174743"/>
                <a:gd name="connsiteX0" fmla="*/ 0 w 1579374"/>
                <a:gd name="connsiteY0" fmla="*/ 2141211 h 2174743"/>
                <a:gd name="connsiteX1" fmla="*/ 82187 w 1579374"/>
                <a:gd name="connsiteY1" fmla="*/ 2174744 h 2174743"/>
                <a:gd name="connsiteX2" fmla="*/ 82028 w 1579374"/>
                <a:gd name="connsiteY2" fmla="*/ 2174180 h 2174743"/>
                <a:gd name="connsiteX3" fmla="*/ 82166 w 1579374"/>
                <a:gd name="connsiteY3" fmla="*/ 2173977 h 2174743"/>
                <a:gd name="connsiteX4" fmla="*/ 82166 w 1579374"/>
                <a:gd name="connsiteY4" fmla="*/ 931735 h 2174743"/>
                <a:gd name="connsiteX5" fmla="*/ 165784 w 1579374"/>
                <a:gd name="connsiteY5" fmla="*/ 883459 h 2174743"/>
                <a:gd name="connsiteX6" fmla="*/ 165783 w 1579374"/>
                <a:gd name="connsiteY6" fmla="*/ 2077333 h 2174743"/>
                <a:gd name="connsiteX7" fmla="*/ 168211 w 1579374"/>
                <a:gd name="connsiteY7" fmla="*/ 2080925 h 2174743"/>
                <a:gd name="connsiteX8" fmla="*/ 173283 w 1579374"/>
                <a:gd name="connsiteY8" fmla="*/ 2091279 h 2174743"/>
                <a:gd name="connsiteX9" fmla="*/ 235756 w 1579374"/>
                <a:gd name="connsiteY9" fmla="*/ 2097698 h 2174743"/>
                <a:gd name="connsiteX10" fmla="*/ 404707 w 1579374"/>
                <a:gd name="connsiteY10" fmla="*/ 2000154 h 2174743"/>
                <a:gd name="connsiteX11" fmla="*/ 414113 w 1579374"/>
                <a:gd name="connsiteY11" fmla="*/ 1980830 h 2174743"/>
                <a:gd name="connsiteX12" fmla="*/ 413954 w 1579374"/>
                <a:gd name="connsiteY12" fmla="*/ 1980266 h 2174743"/>
                <a:gd name="connsiteX13" fmla="*/ 414092 w 1579374"/>
                <a:gd name="connsiteY13" fmla="*/ 1980063 h 2174743"/>
                <a:gd name="connsiteX14" fmla="*/ 414092 w 1579374"/>
                <a:gd name="connsiteY14" fmla="*/ 737821 h 2174743"/>
                <a:gd name="connsiteX15" fmla="*/ 497709 w 1579374"/>
                <a:gd name="connsiteY15" fmla="*/ 689544 h 2174743"/>
                <a:gd name="connsiteX16" fmla="*/ 497709 w 1579374"/>
                <a:gd name="connsiteY16" fmla="*/ 1883418 h 2174743"/>
                <a:gd name="connsiteX17" fmla="*/ 500130 w 1579374"/>
                <a:gd name="connsiteY17" fmla="*/ 1887000 h 2174743"/>
                <a:gd name="connsiteX18" fmla="*/ 505208 w 1579374"/>
                <a:gd name="connsiteY18" fmla="*/ 1897366 h 2174743"/>
                <a:gd name="connsiteX19" fmla="*/ 567681 w 1579374"/>
                <a:gd name="connsiteY19" fmla="*/ 1903785 h 2174743"/>
                <a:gd name="connsiteX20" fmla="*/ 736632 w 1579374"/>
                <a:gd name="connsiteY20" fmla="*/ 1806241 h 2174743"/>
                <a:gd name="connsiteX21" fmla="*/ 746038 w 1579374"/>
                <a:gd name="connsiteY21" fmla="*/ 1786917 h 2174743"/>
                <a:gd name="connsiteX22" fmla="*/ 745879 w 1579374"/>
                <a:gd name="connsiteY22" fmla="*/ 1786353 h 2174743"/>
                <a:gd name="connsiteX23" fmla="*/ 746017 w 1579374"/>
                <a:gd name="connsiteY23" fmla="*/ 1786150 h 2174743"/>
                <a:gd name="connsiteX24" fmla="*/ 746017 w 1579374"/>
                <a:gd name="connsiteY24" fmla="*/ 543908 h 2174743"/>
                <a:gd name="connsiteX25" fmla="*/ 829634 w 1579374"/>
                <a:gd name="connsiteY25" fmla="*/ 495632 h 2174743"/>
                <a:gd name="connsiteX26" fmla="*/ 829634 w 1579374"/>
                <a:gd name="connsiteY26" fmla="*/ 1689505 h 2174743"/>
                <a:gd name="connsiteX27" fmla="*/ 832055 w 1579374"/>
                <a:gd name="connsiteY27" fmla="*/ 1693087 h 2174743"/>
                <a:gd name="connsiteX28" fmla="*/ 837133 w 1579374"/>
                <a:gd name="connsiteY28" fmla="*/ 1703453 h 2174743"/>
                <a:gd name="connsiteX29" fmla="*/ 899606 w 1579374"/>
                <a:gd name="connsiteY29" fmla="*/ 1709872 h 2174743"/>
                <a:gd name="connsiteX30" fmla="*/ 1068557 w 1579374"/>
                <a:gd name="connsiteY30" fmla="*/ 1612328 h 2174743"/>
                <a:gd name="connsiteX31" fmla="*/ 1077963 w 1579374"/>
                <a:gd name="connsiteY31" fmla="*/ 1593004 h 2174743"/>
                <a:gd name="connsiteX32" fmla="*/ 1077804 w 1579374"/>
                <a:gd name="connsiteY32" fmla="*/ 1592440 h 2174743"/>
                <a:gd name="connsiteX33" fmla="*/ 1077942 w 1579374"/>
                <a:gd name="connsiteY33" fmla="*/ 1592237 h 2174743"/>
                <a:gd name="connsiteX34" fmla="*/ 1077942 w 1579374"/>
                <a:gd name="connsiteY34" fmla="*/ 349995 h 2174743"/>
                <a:gd name="connsiteX35" fmla="*/ 1161559 w 1579374"/>
                <a:gd name="connsiteY35" fmla="*/ 301719 h 2174743"/>
                <a:gd name="connsiteX36" fmla="*/ 1161559 w 1579374"/>
                <a:gd name="connsiteY36" fmla="*/ 1495592 h 2174743"/>
                <a:gd name="connsiteX37" fmla="*/ 1163984 w 1579374"/>
                <a:gd name="connsiteY37" fmla="*/ 1499182 h 2174743"/>
                <a:gd name="connsiteX38" fmla="*/ 1169059 w 1579374"/>
                <a:gd name="connsiteY38" fmla="*/ 1509541 h 2174743"/>
                <a:gd name="connsiteX39" fmla="*/ 1231533 w 1579374"/>
                <a:gd name="connsiteY39" fmla="*/ 1515960 h 2174743"/>
                <a:gd name="connsiteX40" fmla="*/ 1400484 w 1579374"/>
                <a:gd name="connsiteY40" fmla="*/ 1418416 h 2174743"/>
                <a:gd name="connsiteX41" fmla="*/ 1409890 w 1579374"/>
                <a:gd name="connsiteY41" fmla="*/ 1399092 h 2174743"/>
                <a:gd name="connsiteX42" fmla="*/ 1409731 w 1579374"/>
                <a:gd name="connsiteY42" fmla="*/ 1398528 h 2174743"/>
                <a:gd name="connsiteX43" fmla="*/ 1409869 w 1579374"/>
                <a:gd name="connsiteY43" fmla="*/ 1398325 h 2174743"/>
                <a:gd name="connsiteX44" fmla="*/ 1409869 w 1579374"/>
                <a:gd name="connsiteY44" fmla="*/ 156083 h 2174743"/>
                <a:gd name="connsiteX45" fmla="*/ 1493486 w 1579374"/>
                <a:gd name="connsiteY45" fmla="*/ 107807 h 2174743"/>
                <a:gd name="connsiteX46" fmla="*/ 1490996 w 1579374"/>
                <a:gd name="connsiteY46" fmla="*/ 1452527 h 2174743"/>
                <a:gd name="connsiteX47" fmla="*/ 1569760 w 1579374"/>
                <a:gd name="connsiteY47" fmla="*/ 1399802 h 2174743"/>
                <a:gd name="connsiteX48" fmla="*/ 1579373 w 1579374"/>
                <a:gd name="connsiteY48" fmla="*/ 51163 h 2174743"/>
                <a:gd name="connsiteX49" fmla="*/ 1511037 w 1579374"/>
                <a:gd name="connsiteY49" fmla="*/ 5059 h 2174743"/>
                <a:gd name="connsiteX50" fmla="*/ 1338595 w 1579374"/>
                <a:gd name="connsiteY50" fmla="*/ 102357 h 2174743"/>
                <a:gd name="connsiteX51" fmla="*/ 1328489 w 1579374"/>
                <a:gd name="connsiteY51" fmla="*/ 143365 h 2174743"/>
                <a:gd name="connsiteX52" fmla="*/ 1327703 w 1579374"/>
                <a:gd name="connsiteY52" fmla="*/ 1365559 h 2174743"/>
                <a:gd name="connsiteX53" fmla="*/ 1244088 w 1579374"/>
                <a:gd name="connsiteY53" fmla="*/ 1413834 h 2174743"/>
                <a:gd name="connsiteX54" fmla="*/ 1244088 w 1579374"/>
                <a:gd name="connsiteY54" fmla="*/ 1373656 h 2174743"/>
                <a:gd name="connsiteX55" fmla="*/ 1247446 w 1579374"/>
                <a:gd name="connsiteY55" fmla="*/ 245075 h 2174743"/>
                <a:gd name="connsiteX56" fmla="*/ 1179111 w 1579374"/>
                <a:gd name="connsiteY56" fmla="*/ 198971 h 2174743"/>
                <a:gd name="connsiteX57" fmla="*/ 1006668 w 1579374"/>
                <a:gd name="connsiteY57" fmla="*/ 296269 h 2174743"/>
                <a:gd name="connsiteX58" fmla="*/ 996562 w 1579374"/>
                <a:gd name="connsiteY58" fmla="*/ 337277 h 2174743"/>
                <a:gd name="connsiteX59" fmla="*/ 995776 w 1579374"/>
                <a:gd name="connsiteY59" fmla="*/ 1559471 h 2174743"/>
                <a:gd name="connsiteX60" fmla="*/ 912161 w 1579374"/>
                <a:gd name="connsiteY60" fmla="*/ 1607746 h 2174743"/>
                <a:gd name="connsiteX61" fmla="*/ 912161 w 1579374"/>
                <a:gd name="connsiteY61" fmla="*/ 1568157 h 2174743"/>
                <a:gd name="connsiteX62" fmla="*/ 915521 w 1579374"/>
                <a:gd name="connsiteY62" fmla="*/ 438988 h 2174743"/>
                <a:gd name="connsiteX63" fmla="*/ 847186 w 1579374"/>
                <a:gd name="connsiteY63" fmla="*/ 392883 h 2174743"/>
                <a:gd name="connsiteX64" fmla="*/ 674743 w 1579374"/>
                <a:gd name="connsiteY64" fmla="*/ 490182 h 2174743"/>
                <a:gd name="connsiteX65" fmla="*/ 664637 w 1579374"/>
                <a:gd name="connsiteY65" fmla="*/ 531190 h 2174743"/>
                <a:gd name="connsiteX66" fmla="*/ 663851 w 1579374"/>
                <a:gd name="connsiteY66" fmla="*/ 1753384 h 2174743"/>
                <a:gd name="connsiteX67" fmla="*/ 580236 w 1579374"/>
                <a:gd name="connsiteY67" fmla="*/ 1801659 h 2174743"/>
                <a:gd name="connsiteX68" fmla="*/ 580236 w 1579374"/>
                <a:gd name="connsiteY68" fmla="*/ 1762076 h 2174743"/>
                <a:gd name="connsiteX69" fmla="*/ 583596 w 1579374"/>
                <a:gd name="connsiteY69" fmla="*/ 632901 h 2174743"/>
                <a:gd name="connsiteX70" fmla="*/ 515261 w 1579374"/>
                <a:gd name="connsiteY70" fmla="*/ 586796 h 2174743"/>
                <a:gd name="connsiteX71" fmla="*/ 342818 w 1579374"/>
                <a:gd name="connsiteY71" fmla="*/ 684095 h 2174743"/>
                <a:gd name="connsiteX72" fmla="*/ 332712 w 1579374"/>
                <a:gd name="connsiteY72" fmla="*/ 725103 h 2174743"/>
                <a:gd name="connsiteX73" fmla="*/ 331926 w 1579374"/>
                <a:gd name="connsiteY73" fmla="*/ 1947297 h 2174743"/>
                <a:gd name="connsiteX74" fmla="*/ 248311 w 1579374"/>
                <a:gd name="connsiteY74" fmla="*/ 1995572 h 2174743"/>
                <a:gd name="connsiteX75" fmla="*/ 248311 w 1579374"/>
                <a:gd name="connsiteY75" fmla="*/ 1955655 h 2174743"/>
                <a:gd name="connsiteX76" fmla="*/ 251670 w 1579374"/>
                <a:gd name="connsiteY76" fmla="*/ 826816 h 2174743"/>
                <a:gd name="connsiteX77" fmla="*/ 183335 w 1579374"/>
                <a:gd name="connsiteY77" fmla="*/ 780711 h 2174743"/>
                <a:gd name="connsiteX78" fmla="*/ 10892 w 1579374"/>
                <a:gd name="connsiteY78" fmla="*/ 878009 h 2174743"/>
                <a:gd name="connsiteX79" fmla="*/ 786 w 1579374"/>
                <a:gd name="connsiteY79" fmla="*/ 919017 h 2174743"/>
                <a:gd name="connsiteX80" fmla="*/ 0 w 1579374"/>
                <a:gd name="connsiteY80" fmla="*/ 2141211 h 2174743"/>
                <a:gd name="connsiteX0" fmla="*/ 0 w 1579374"/>
                <a:gd name="connsiteY0" fmla="*/ 2141211 h 2174743"/>
                <a:gd name="connsiteX1" fmla="*/ 82187 w 1579374"/>
                <a:gd name="connsiteY1" fmla="*/ 2174744 h 2174743"/>
                <a:gd name="connsiteX2" fmla="*/ 82028 w 1579374"/>
                <a:gd name="connsiteY2" fmla="*/ 2174180 h 2174743"/>
                <a:gd name="connsiteX3" fmla="*/ 82166 w 1579374"/>
                <a:gd name="connsiteY3" fmla="*/ 2173977 h 2174743"/>
                <a:gd name="connsiteX4" fmla="*/ 82166 w 1579374"/>
                <a:gd name="connsiteY4" fmla="*/ 931735 h 2174743"/>
                <a:gd name="connsiteX5" fmla="*/ 165784 w 1579374"/>
                <a:gd name="connsiteY5" fmla="*/ 883459 h 2174743"/>
                <a:gd name="connsiteX6" fmla="*/ 165783 w 1579374"/>
                <a:gd name="connsiteY6" fmla="*/ 2077333 h 2174743"/>
                <a:gd name="connsiteX7" fmla="*/ 168211 w 1579374"/>
                <a:gd name="connsiteY7" fmla="*/ 2080925 h 2174743"/>
                <a:gd name="connsiteX8" fmla="*/ 173283 w 1579374"/>
                <a:gd name="connsiteY8" fmla="*/ 2091279 h 2174743"/>
                <a:gd name="connsiteX9" fmla="*/ 235756 w 1579374"/>
                <a:gd name="connsiteY9" fmla="*/ 2097698 h 2174743"/>
                <a:gd name="connsiteX10" fmla="*/ 404707 w 1579374"/>
                <a:gd name="connsiteY10" fmla="*/ 2000154 h 2174743"/>
                <a:gd name="connsiteX11" fmla="*/ 414113 w 1579374"/>
                <a:gd name="connsiteY11" fmla="*/ 1980830 h 2174743"/>
                <a:gd name="connsiteX12" fmla="*/ 413954 w 1579374"/>
                <a:gd name="connsiteY12" fmla="*/ 1980266 h 2174743"/>
                <a:gd name="connsiteX13" fmla="*/ 414092 w 1579374"/>
                <a:gd name="connsiteY13" fmla="*/ 1980063 h 2174743"/>
                <a:gd name="connsiteX14" fmla="*/ 414092 w 1579374"/>
                <a:gd name="connsiteY14" fmla="*/ 737821 h 2174743"/>
                <a:gd name="connsiteX15" fmla="*/ 497709 w 1579374"/>
                <a:gd name="connsiteY15" fmla="*/ 689544 h 2174743"/>
                <a:gd name="connsiteX16" fmla="*/ 497709 w 1579374"/>
                <a:gd name="connsiteY16" fmla="*/ 1883418 h 2174743"/>
                <a:gd name="connsiteX17" fmla="*/ 500130 w 1579374"/>
                <a:gd name="connsiteY17" fmla="*/ 1887000 h 2174743"/>
                <a:gd name="connsiteX18" fmla="*/ 505208 w 1579374"/>
                <a:gd name="connsiteY18" fmla="*/ 1897366 h 2174743"/>
                <a:gd name="connsiteX19" fmla="*/ 567681 w 1579374"/>
                <a:gd name="connsiteY19" fmla="*/ 1903785 h 2174743"/>
                <a:gd name="connsiteX20" fmla="*/ 736632 w 1579374"/>
                <a:gd name="connsiteY20" fmla="*/ 1806241 h 2174743"/>
                <a:gd name="connsiteX21" fmla="*/ 746038 w 1579374"/>
                <a:gd name="connsiteY21" fmla="*/ 1786917 h 2174743"/>
                <a:gd name="connsiteX22" fmla="*/ 745879 w 1579374"/>
                <a:gd name="connsiteY22" fmla="*/ 1786353 h 2174743"/>
                <a:gd name="connsiteX23" fmla="*/ 746017 w 1579374"/>
                <a:gd name="connsiteY23" fmla="*/ 1786150 h 2174743"/>
                <a:gd name="connsiteX24" fmla="*/ 746017 w 1579374"/>
                <a:gd name="connsiteY24" fmla="*/ 543908 h 2174743"/>
                <a:gd name="connsiteX25" fmla="*/ 829634 w 1579374"/>
                <a:gd name="connsiteY25" fmla="*/ 495632 h 2174743"/>
                <a:gd name="connsiteX26" fmla="*/ 829634 w 1579374"/>
                <a:gd name="connsiteY26" fmla="*/ 1689505 h 2174743"/>
                <a:gd name="connsiteX27" fmla="*/ 832055 w 1579374"/>
                <a:gd name="connsiteY27" fmla="*/ 1693087 h 2174743"/>
                <a:gd name="connsiteX28" fmla="*/ 837133 w 1579374"/>
                <a:gd name="connsiteY28" fmla="*/ 1703453 h 2174743"/>
                <a:gd name="connsiteX29" fmla="*/ 899606 w 1579374"/>
                <a:gd name="connsiteY29" fmla="*/ 1709872 h 2174743"/>
                <a:gd name="connsiteX30" fmla="*/ 1068557 w 1579374"/>
                <a:gd name="connsiteY30" fmla="*/ 1612328 h 2174743"/>
                <a:gd name="connsiteX31" fmla="*/ 1077963 w 1579374"/>
                <a:gd name="connsiteY31" fmla="*/ 1593004 h 2174743"/>
                <a:gd name="connsiteX32" fmla="*/ 1077804 w 1579374"/>
                <a:gd name="connsiteY32" fmla="*/ 1592440 h 2174743"/>
                <a:gd name="connsiteX33" fmla="*/ 1077942 w 1579374"/>
                <a:gd name="connsiteY33" fmla="*/ 1592237 h 2174743"/>
                <a:gd name="connsiteX34" fmla="*/ 1077942 w 1579374"/>
                <a:gd name="connsiteY34" fmla="*/ 349995 h 2174743"/>
                <a:gd name="connsiteX35" fmla="*/ 1161559 w 1579374"/>
                <a:gd name="connsiteY35" fmla="*/ 301719 h 2174743"/>
                <a:gd name="connsiteX36" fmla="*/ 1161559 w 1579374"/>
                <a:gd name="connsiteY36" fmla="*/ 1495592 h 2174743"/>
                <a:gd name="connsiteX37" fmla="*/ 1163984 w 1579374"/>
                <a:gd name="connsiteY37" fmla="*/ 1499182 h 2174743"/>
                <a:gd name="connsiteX38" fmla="*/ 1169059 w 1579374"/>
                <a:gd name="connsiteY38" fmla="*/ 1509541 h 2174743"/>
                <a:gd name="connsiteX39" fmla="*/ 1231533 w 1579374"/>
                <a:gd name="connsiteY39" fmla="*/ 1515960 h 2174743"/>
                <a:gd name="connsiteX40" fmla="*/ 1400484 w 1579374"/>
                <a:gd name="connsiteY40" fmla="*/ 1418416 h 2174743"/>
                <a:gd name="connsiteX41" fmla="*/ 1409890 w 1579374"/>
                <a:gd name="connsiteY41" fmla="*/ 1399092 h 2174743"/>
                <a:gd name="connsiteX42" fmla="*/ 1409731 w 1579374"/>
                <a:gd name="connsiteY42" fmla="*/ 1398528 h 2174743"/>
                <a:gd name="connsiteX43" fmla="*/ 1409869 w 1579374"/>
                <a:gd name="connsiteY43" fmla="*/ 1398325 h 2174743"/>
                <a:gd name="connsiteX44" fmla="*/ 1409869 w 1579374"/>
                <a:gd name="connsiteY44" fmla="*/ 156083 h 2174743"/>
                <a:gd name="connsiteX45" fmla="*/ 1493486 w 1579374"/>
                <a:gd name="connsiteY45" fmla="*/ 107807 h 2174743"/>
                <a:gd name="connsiteX46" fmla="*/ 1490996 w 1579374"/>
                <a:gd name="connsiteY46" fmla="*/ 1452527 h 2174743"/>
                <a:gd name="connsiteX47" fmla="*/ 1569760 w 1579374"/>
                <a:gd name="connsiteY47" fmla="*/ 1399802 h 2174743"/>
                <a:gd name="connsiteX48" fmla="*/ 1579373 w 1579374"/>
                <a:gd name="connsiteY48" fmla="*/ 51163 h 2174743"/>
                <a:gd name="connsiteX49" fmla="*/ 1511037 w 1579374"/>
                <a:gd name="connsiteY49" fmla="*/ 5059 h 2174743"/>
                <a:gd name="connsiteX50" fmla="*/ 1338595 w 1579374"/>
                <a:gd name="connsiteY50" fmla="*/ 102357 h 2174743"/>
                <a:gd name="connsiteX51" fmla="*/ 1328489 w 1579374"/>
                <a:gd name="connsiteY51" fmla="*/ 143365 h 2174743"/>
                <a:gd name="connsiteX52" fmla="*/ 1327703 w 1579374"/>
                <a:gd name="connsiteY52" fmla="*/ 1365559 h 2174743"/>
                <a:gd name="connsiteX53" fmla="*/ 1244088 w 1579374"/>
                <a:gd name="connsiteY53" fmla="*/ 1413834 h 2174743"/>
                <a:gd name="connsiteX54" fmla="*/ 1244088 w 1579374"/>
                <a:gd name="connsiteY54" fmla="*/ 1373656 h 2174743"/>
                <a:gd name="connsiteX55" fmla="*/ 1247446 w 1579374"/>
                <a:gd name="connsiteY55" fmla="*/ 245075 h 2174743"/>
                <a:gd name="connsiteX56" fmla="*/ 1179111 w 1579374"/>
                <a:gd name="connsiteY56" fmla="*/ 198971 h 2174743"/>
                <a:gd name="connsiteX57" fmla="*/ 1006668 w 1579374"/>
                <a:gd name="connsiteY57" fmla="*/ 296269 h 2174743"/>
                <a:gd name="connsiteX58" fmla="*/ 996562 w 1579374"/>
                <a:gd name="connsiteY58" fmla="*/ 337277 h 2174743"/>
                <a:gd name="connsiteX59" fmla="*/ 995776 w 1579374"/>
                <a:gd name="connsiteY59" fmla="*/ 1559471 h 2174743"/>
                <a:gd name="connsiteX60" fmla="*/ 912161 w 1579374"/>
                <a:gd name="connsiteY60" fmla="*/ 1607746 h 2174743"/>
                <a:gd name="connsiteX61" fmla="*/ 912161 w 1579374"/>
                <a:gd name="connsiteY61" fmla="*/ 1568157 h 2174743"/>
                <a:gd name="connsiteX62" fmla="*/ 915521 w 1579374"/>
                <a:gd name="connsiteY62" fmla="*/ 438988 h 2174743"/>
                <a:gd name="connsiteX63" fmla="*/ 847186 w 1579374"/>
                <a:gd name="connsiteY63" fmla="*/ 392883 h 2174743"/>
                <a:gd name="connsiteX64" fmla="*/ 674743 w 1579374"/>
                <a:gd name="connsiteY64" fmla="*/ 490182 h 2174743"/>
                <a:gd name="connsiteX65" fmla="*/ 664637 w 1579374"/>
                <a:gd name="connsiteY65" fmla="*/ 531190 h 2174743"/>
                <a:gd name="connsiteX66" fmla="*/ 663851 w 1579374"/>
                <a:gd name="connsiteY66" fmla="*/ 1753384 h 2174743"/>
                <a:gd name="connsiteX67" fmla="*/ 580236 w 1579374"/>
                <a:gd name="connsiteY67" fmla="*/ 1801659 h 2174743"/>
                <a:gd name="connsiteX68" fmla="*/ 580236 w 1579374"/>
                <a:gd name="connsiteY68" fmla="*/ 1762076 h 2174743"/>
                <a:gd name="connsiteX69" fmla="*/ 583596 w 1579374"/>
                <a:gd name="connsiteY69" fmla="*/ 632901 h 2174743"/>
                <a:gd name="connsiteX70" fmla="*/ 515261 w 1579374"/>
                <a:gd name="connsiteY70" fmla="*/ 586796 h 2174743"/>
                <a:gd name="connsiteX71" fmla="*/ 342818 w 1579374"/>
                <a:gd name="connsiteY71" fmla="*/ 684095 h 2174743"/>
                <a:gd name="connsiteX72" fmla="*/ 332712 w 1579374"/>
                <a:gd name="connsiteY72" fmla="*/ 725103 h 2174743"/>
                <a:gd name="connsiteX73" fmla="*/ 331926 w 1579374"/>
                <a:gd name="connsiteY73" fmla="*/ 1947297 h 2174743"/>
                <a:gd name="connsiteX74" fmla="*/ 248311 w 1579374"/>
                <a:gd name="connsiteY74" fmla="*/ 1995572 h 2174743"/>
                <a:gd name="connsiteX75" fmla="*/ 248311 w 1579374"/>
                <a:gd name="connsiteY75" fmla="*/ 1955655 h 2174743"/>
                <a:gd name="connsiteX76" fmla="*/ 251670 w 1579374"/>
                <a:gd name="connsiteY76" fmla="*/ 826816 h 2174743"/>
                <a:gd name="connsiteX77" fmla="*/ 183335 w 1579374"/>
                <a:gd name="connsiteY77" fmla="*/ 780711 h 2174743"/>
                <a:gd name="connsiteX78" fmla="*/ 10892 w 1579374"/>
                <a:gd name="connsiteY78" fmla="*/ 878009 h 2174743"/>
                <a:gd name="connsiteX79" fmla="*/ 786 w 1579374"/>
                <a:gd name="connsiteY79" fmla="*/ 919017 h 2174743"/>
                <a:gd name="connsiteX80" fmla="*/ 0 w 1579374"/>
                <a:gd name="connsiteY80" fmla="*/ 2141211 h 2174743"/>
                <a:gd name="connsiteX0" fmla="*/ 0 w 1583267"/>
                <a:gd name="connsiteY0" fmla="*/ 2141211 h 2174743"/>
                <a:gd name="connsiteX1" fmla="*/ 82187 w 1583267"/>
                <a:gd name="connsiteY1" fmla="*/ 2174744 h 2174743"/>
                <a:gd name="connsiteX2" fmla="*/ 82028 w 1583267"/>
                <a:gd name="connsiteY2" fmla="*/ 2174180 h 2174743"/>
                <a:gd name="connsiteX3" fmla="*/ 82166 w 1583267"/>
                <a:gd name="connsiteY3" fmla="*/ 2173977 h 2174743"/>
                <a:gd name="connsiteX4" fmla="*/ 82166 w 1583267"/>
                <a:gd name="connsiteY4" fmla="*/ 931735 h 2174743"/>
                <a:gd name="connsiteX5" fmla="*/ 165784 w 1583267"/>
                <a:gd name="connsiteY5" fmla="*/ 883459 h 2174743"/>
                <a:gd name="connsiteX6" fmla="*/ 165783 w 1583267"/>
                <a:gd name="connsiteY6" fmla="*/ 2077333 h 2174743"/>
                <a:gd name="connsiteX7" fmla="*/ 168211 w 1583267"/>
                <a:gd name="connsiteY7" fmla="*/ 2080925 h 2174743"/>
                <a:gd name="connsiteX8" fmla="*/ 173283 w 1583267"/>
                <a:gd name="connsiteY8" fmla="*/ 2091279 h 2174743"/>
                <a:gd name="connsiteX9" fmla="*/ 235756 w 1583267"/>
                <a:gd name="connsiteY9" fmla="*/ 2097698 h 2174743"/>
                <a:gd name="connsiteX10" fmla="*/ 404707 w 1583267"/>
                <a:gd name="connsiteY10" fmla="*/ 2000154 h 2174743"/>
                <a:gd name="connsiteX11" fmla="*/ 414113 w 1583267"/>
                <a:gd name="connsiteY11" fmla="*/ 1980830 h 2174743"/>
                <a:gd name="connsiteX12" fmla="*/ 413954 w 1583267"/>
                <a:gd name="connsiteY12" fmla="*/ 1980266 h 2174743"/>
                <a:gd name="connsiteX13" fmla="*/ 414092 w 1583267"/>
                <a:gd name="connsiteY13" fmla="*/ 1980063 h 2174743"/>
                <a:gd name="connsiteX14" fmla="*/ 414092 w 1583267"/>
                <a:gd name="connsiteY14" fmla="*/ 737821 h 2174743"/>
                <a:gd name="connsiteX15" fmla="*/ 497709 w 1583267"/>
                <a:gd name="connsiteY15" fmla="*/ 689544 h 2174743"/>
                <a:gd name="connsiteX16" fmla="*/ 497709 w 1583267"/>
                <a:gd name="connsiteY16" fmla="*/ 1883418 h 2174743"/>
                <a:gd name="connsiteX17" fmla="*/ 500130 w 1583267"/>
                <a:gd name="connsiteY17" fmla="*/ 1887000 h 2174743"/>
                <a:gd name="connsiteX18" fmla="*/ 505208 w 1583267"/>
                <a:gd name="connsiteY18" fmla="*/ 1897366 h 2174743"/>
                <a:gd name="connsiteX19" fmla="*/ 567681 w 1583267"/>
                <a:gd name="connsiteY19" fmla="*/ 1903785 h 2174743"/>
                <a:gd name="connsiteX20" fmla="*/ 736632 w 1583267"/>
                <a:gd name="connsiteY20" fmla="*/ 1806241 h 2174743"/>
                <a:gd name="connsiteX21" fmla="*/ 746038 w 1583267"/>
                <a:gd name="connsiteY21" fmla="*/ 1786917 h 2174743"/>
                <a:gd name="connsiteX22" fmla="*/ 745879 w 1583267"/>
                <a:gd name="connsiteY22" fmla="*/ 1786353 h 2174743"/>
                <a:gd name="connsiteX23" fmla="*/ 746017 w 1583267"/>
                <a:gd name="connsiteY23" fmla="*/ 1786150 h 2174743"/>
                <a:gd name="connsiteX24" fmla="*/ 746017 w 1583267"/>
                <a:gd name="connsiteY24" fmla="*/ 543908 h 2174743"/>
                <a:gd name="connsiteX25" fmla="*/ 829634 w 1583267"/>
                <a:gd name="connsiteY25" fmla="*/ 495632 h 2174743"/>
                <a:gd name="connsiteX26" fmla="*/ 829634 w 1583267"/>
                <a:gd name="connsiteY26" fmla="*/ 1689505 h 2174743"/>
                <a:gd name="connsiteX27" fmla="*/ 832055 w 1583267"/>
                <a:gd name="connsiteY27" fmla="*/ 1693087 h 2174743"/>
                <a:gd name="connsiteX28" fmla="*/ 837133 w 1583267"/>
                <a:gd name="connsiteY28" fmla="*/ 1703453 h 2174743"/>
                <a:gd name="connsiteX29" fmla="*/ 899606 w 1583267"/>
                <a:gd name="connsiteY29" fmla="*/ 1709872 h 2174743"/>
                <a:gd name="connsiteX30" fmla="*/ 1068557 w 1583267"/>
                <a:gd name="connsiteY30" fmla="*/ 1612328 h 2174743"/>
                <a:gd name="connsiteX31" fmla="*/ 1077963 w 1583267"/>
                <a:gd name="connsiteY31" fmla="*/ 1593004 h 2174743"/>
                <a:gd name="connsiteX32" fmla="*/ 1077804 w 1583267"/>
                <a:gd name="connsiteY32" fmla="*/ 1592440 h 2174743"/>
                <a:gd name="connsiteX33" fmla="*/ 1077942 w 1583267"/>
                <a:gd name="connsiteY33" fmla="*/ 1592237 h 2174743"/>
                <a:gd name="connsiteX34" fmla="*/ 1077942 w 1583267"/>
                <a:gd name="connsiteY34" fmla="*/ 349995 h 2174743"/>
                <a:gd name="connsiteX35" fmla="*/ 1161559 w 1583267"/>
                <a:gd name="connsiteY35" fmla="*/ 301719 h 2174743"/>
                <a:gd name="connsiteX36" fmla="*/ 1161559 w 1583267"/>
                <a:gd name="connsiteY36" fmla="*/ 1495592 h 2174743"/>
                <a:gd name="connsiteX37" fmla="*/ 1163984 w 1583267"/>
                <a:gd name="connsiteY37" fmla="*/ 1499182 h 2174743"/>
                <a:gd name="connsiteX38" fmla="*/ 1169059 w 1583267"/>
                <a:gd name="connsiteY38" fmla="*/ 1509541 h 2174743"/>
                <a:gd name="connsiteX39" fmla="*/ 1231533 w 1583267"/>
                <a:gd name="connsiteY39" fmla="*/ 1515960 h 2174743"/>
                <a:gd name="connsiteX40" fmla="*/ 1400484 w 1583267"/>
                <a:gd name="connsiteY40" fmla="*/ 1418416 h 2174743"/>
                <a:gd name="connsiteX41" fmla="*/ 1409890 w 1583267"/>
                <a:gd name="connsiteY41" fmla="*/ 1399092 h 2174743"/>
                <a:gd name="connsiteX42" fmla="*/ 1409731 w 1583267"/>
                <a:gd name="connsiteY42" fmla="*/ 1398528 h 2174743"/>
                <a:gd name="connsiteX43" fmla="*/ 1409869 w 1583267"/>
                <a:gd name="connsiteY43" fmla="*/ 1398325 h 2174743"/>
                <a:gd name="connsiteX44" fmla="*/ 1409869 w 1583267"/>
                <a:gd name="connsiteY44" fmla="*/ 156083 h 2174743"/>
                <a:gd name="connsiteX45" fmla="*/ 1493486 w 1583267"/>
                <a:gd name="connsiteY45" fmla="*/ 107807 h 2174743"/>
                <a:gd name="connsiteX46" fmla="*/ 1490996 w 1583267"/>
                <a:gd name="connsiteY46" fmla="*/ 1452527 h 2174743"/>
                <a:gd name="connsiteX47" fmla="*/ 1583103 w 1583267"/>
                <a:gd name="connsiteY47" fmla="*/ 1396226 h 2174743"/>
                <a:gd name="connsiteX48" fmla="*/ 1579373 w 1583267"/>
                <a:gd name="connsiteY48" fmla="*/ 51163 h 2174743"/>
                <a:gd name="connsiteX49" fmla="*/ 1511037 w 1583267"/>
                <a:gd name="connsiteY49" fmla="*/ 5059 h 2174743"/>
                <a:gd name="connsiteX50" fmla="*/ 1338595 w 1583267"/>
                <a:gd name="connsiteY50" fmla="*/ 102357 h 2174743"/>
                <a:gd name="connsiteX51" fmla="*/ 1328489 w 1583267"/>
                <a:gd name="connsiteY51" fmla="*/ 143365 h 2174743"/>
                <a:gd name="connsiteX52" fmla="*/ 1327703 w 1583267"/>
                <a:gd name="connsiteY52" fmla="*/ 1365559 h 2174743"/>
                <a:gd name="connsiteX53" fmla="*/ 1244088 w 1583267"/>
                <a:gd name="connsiteY53" fmla="*/ 1413834 h 2174743"/>
                <a:gd name="connsiteX54" fmla="*/ 1244088 w 1583267"/>
                <a:gd name="connsiteY54" fmla="*/ 1373656 h 2174743"/>
                <a:gd name="connsiteX55" fmla="*/ 1247446 w 1583267"/>
                <a:gd name="connsiteY55" fmla="*/ 245075 h 2174743"/>
                <a:gd name="connsiteX56" fmla="*/ 1179111 w 1583267"/>
                <a:gd name="connsiteY56" fmla="*/ 198971 h 2174743"/>
                <a:gd name="connsiteX57" fmla="*/ 1006668 w 1583267"/>
                <a:gd name="connsiteY57" fmla="*/ 296269 h 2174743"/>
                <a:gd name="connsiteX58" fmla="*/ 996562 w 1583267"/>
                <a:gd name="connsiteY58" fmla="*/ 337277 h 2174743"/>
                <a:gd name="connsiteX59" fmla="*/ 995776 w 1583267"/>
                <a:gd name="connsiteY59" fmla="*/ 1559471 h 2174743"/>
                <a:gd name="connsiteX60" fmla="*/ 912161 w 1583267"/>
                <a:gd name="connsiteY60" fmla="*/ 1607746 h 2174743"/>
                <a:gd name="connsiteX61" fmla="*/ 912161 w 1583267"/>
                <a:gd name="connsiteY61" fmla="*/ 1568157 h 2174743"/>
                <a:gd name="connsiteX62" fmla="*/ 915521 w 1583267"/>
                <a:gd name="connsiteY62" fmla="*/ 438988 h 2174743"/>
                <a:gd name="connsiteX63" fmla="*/ 847186 w 1583267"/>
                <a:gd name="connsiteY63" fmla="*/ 392883 h 2174743"/>
                <a:gd name="connsiteX64" fmla="*/ 674743 w 1583267"/>
                <a:gd name="connsiteY64" fmla="*/ 490182 h 2174743"/>
                <a:gd name="connsiteX65" fmla="*/ 664637 w 1583267"/>
                <a:gd name="connsiteY65" fmla="*/ 531190 h 2174743"/>
                <a:gd name="connsiteX66" fmla="*/ 663851 w 1583267"/>
                <a:gd name="connsiteY66" fmla="*/ 1753384 h 2174743"/>
                <a:gd name="connsiteX67" fmla="*/ 580236 w 1583267"/>
                <a:gd name="connsiteY67" fmla="*/ 1801659 h 2174743"/>
                <a:gd name="connsiteX68" fmla="*/ 580236 w 1583267"/>
                <a:gd name="connsiteY68" fmla="*/ 1762076 h 2174743"/>
                <a:gd name="connsiteX69" fmla="*/ 583596 w 1583267"/>
                <a:gd name="connsiteY69" fmla="*/ 632901 h 2174743"/>
                <a:gd name="connsiteX70" fmla="*/ 515261 w 1583267"/>
                <a:gd name="connsiteY70" fmla="*/ 586796 h 2174743"/>
                <a:gd name="connsiteX71" fmla="*/ 342818 w 1583267"/>
                <a:gd name="connsiteY71" fmla="*/ 684095 h 2174743"/>
                <a:gd name="connsiteX72" fmla="*/ 332712 w 1583267"/>
                <a:gd name="connsiteY72" fmla="*/ 725103 h 2174743"/>
                <a:gd name="connsiteX73" fmla="*/ 331926 w 1583267"/>
                <a:gd name="connsiteY73" fmla="*/ 1947297 h 2174743"/>
                <a:gd name="connsiteX74" fmla="*/ 248311 w 1583267"/>
                <a:gd name="connsiteY74" fmla="*/ 1995572 h 2174743"/>
                <a:gd name="connsiteX75" fmla="*/ 248311 w 1583267"/>
                <a:gd name="connsiteY75" fmla="*/ 1955655 h 2174743"/>
                <a:gd name="connsiteX76" fmla="*/ 251670 w 1583267"/>
                <a:gd name="connsiteY76" fmla="*/ 826816 h 2174743"/>
                <a:gd name="connsiteX77" fmla="*/ 183335 w 1583267"/>
                <a:gd name="connsiteY77" fmla="*/ 780711 h 2174743"/>
                <a:gd name="connsiteX78" fmla="*/ 10892 w 1583267"/>
                <a:gd name="connsiteY78" fmla="*/ 878009 h 2174743"/>
                <a:gd name="connsiteX79" fmla="*/ 786 w 1583267"/>
                <a:gd name="connsiteY79" fmla="*/ 919017 h 2174743"/>
                <a:gd name="connsiteX80" fmla="*/ 0 w 1583267"/>
                <a:gd name="connsiteY80" fmla="*/ 2141211 h 2174743"/>
                <a:gd name="connsiteX0" fmla="*/ 0 w 1583267"/>
                <a:gd name="connsiteY0" fmla="*/ 2141211 h 2174743"/>
                <a:gd name="connsiteX1" fmla="*/ 82187 w 1583267"/>
                <a:gd name="connsiteY1" fmla="*/ 2174744 h 2174743"/>
                <a:gd name="connsiteX2" fmla="*/ 82028 w 1583267"/>
                <a:gd name="connsiteY2" fmla="*/ 2174180 h 2174743"/>
                <a:gd name="connsiteX3" fmla="*/ 82166 w 1583267"/>
                <a:gd name="connsiteY3" fmla="*/ 2173977 h 2174743"/>
                <a:gd name="connsiteX4" fmla="*/ 82166 w 1583267"/>
                <a:gd name="connsiteY4" fmla="*/ 931735 h 2174743"/>
                <a:gd name="connsiteX5" fmla="*/ 165784 w 1583267"/>
                <a:gd name="connsiteY5" fmla="*/ 883459 h 2174743"/>
                <a:gd name="connsiteX6" fmla="*/ 165783 w 1583267"/>
                <a:gd name="connsiteY6" fmla="*/ 2077333 h 2174743"/>
                <a:gd name="connsiteX7" fmla="*/ 168211 w 1583267"/>
                <a:gd name="connsiteY7" fmla="*/ 2080925 h 2174743"/>
                <a:gd name="connsiteX8" fmla="*/ 173283 w 1583267"/>
                <a:gd name="connsiteY8" fmla="*/ 2091279 h 2174743"/>
                <a:gd name="connsiteX9" fmla="*/ 235756 w 1583267"/>
                <a:gd name="connsiteY9" fmla="*/ 2097698 h 2174743"/>
                <a:gd name="connsiteX10" fmla="*/ 404707 w 1583267"/>
                <a:gd name="connsiteY10" fmla="*/ 2000154 h 2174743"/>
                <a:gd name="connsiteX11" fmla="*/ 414113 w 1583267"/>
                <a:gd name="connsiteY11" fmla="*/ 1980830 h 2174743"/>
                <a:gd name="connsiteX12" fmla="*/ 413954 w 1583267"/>
                <a:gd name="connsiteY12" fmla="*/ 1980266 h 2174743"/>
                <a:gd name="connsiteX13" fmla="*/ 414092 w 1583267"/>
                <a:gd name="connsiteY13" fmla="*/ 1980063 h 2174743"/>
                <a:gd name="connsiteX14" fmla="*/ 414092 w 1583267"/>
                <a:gd name="connsiteY14" fmla="*/ 737821 h 2174743"/>
                <a:gd name="connsiteX15" fmla="*/ 497709 w 1583267"/>
                <a:gd name="connsiteY15" fmla="*/ 689544 h 2174743"/>
                <a:gd name="connsiteX16" fmla="*/ 497709 w 1583267"/>
                <a:gd name="connsiteY16" fmla="*/ 1883418 h 2174743"/>
                <a:gd name="connsiteX17" fmla="*/ 500130 w 1583267"/>
                <a:gd name="connsiteY17" fmla="*/ 1887000 h 2174743"/>
                <a:gd name="connsiteX18" fmla="*/ 505208 w 1583267"/>
                <a:gd name="connsiteY18" fmla="*/ 1897366 h 2174743"/>
                <a:gd name="connsiteX19" fmla="*/ 567681 w 1583267"/>
                <a:gd name="connsiteY19" fmla="*/ 1903785 h 2174743"/>
                <a:gd name="connsiteX20" fmla="*/ 736632 w 1583267"/>
                <a:gd name="connsiteY20" fmla="*/ 1806241 h 2174743"/>
                <a:gd name="connsiteX21" fmla="*/ 746038 w 1583267"/>
                <a:gd name="connsiteY21" fmla="*/ 1786917 h 2174743"/>
                <a:gd name="connsiteX22" fmla="*/ 745879 w 1583267"/>
                <a:gd name="connsiteY22" fmla="*/ 1786353 h 2174743"/>
                <a:gd name="connsiteX23" fmla="*/ 746017 w 1583267"/>
                <a:gd name="connsiteY23" fmla="*/ 1786150 h 2174743"/>
                <a:gd name="connsiteX24" fmla="*/ 746017 w 1583267"/>
                <a:gd name="connsiteY24" fmla="*/ 543908 h 2174743"/>
                <a:gd name="connsiteX25" fmla="*/ 829634 w 1583267"/>
                <a:gd name="connsiteY25" fmla="*/ 495632 h 2174743"/>
                <a:gd name="connsiteX26" fmla="*/ 829634 w 1583267"/>
                <a:gd name="connsiteY26" fmla="*/ 1689505 h 2174743"/>
                <a:gd name="connsiteX27" fmla="*/ 832055 w 1583267"/>
                <a:gd name="connsiteY27" fmla="*/ 1693087 h 2174743"/>
                <a:gd name="connsiteX28" fmla="*/ 837133 w 1583267"/>
                <a:gd name="connsiteY28" fmla="*/ 1703453 h 2174743"/>
                <a:gd name="connsiteX29" fmla="*/ 899606 w 1583267"/>
                <a:gd name="connsiteY29" fmla="*/ 1709872 h 2174743"/>
                <a:gd name="connsiteX30" fmla="*/ 1068557 w 1583267"/>
                <a:gd name="connsiteY30" fmla="*/ 1612328 h 2174743"/>
                <a:gd name="connsiteX31" fmla="*/ 1077963 w 1583267"/>
                <a:gd name="connsiteY31" fmla="*/ 1593004 h 2174743"/>
                <a:gd name="connsiteX32" fmla="*/ 1077804 w 1583267"/>
                <a:gd name="connsiteY32" fmla="*/ 1592440 h 2174743"/>
                <a:gd name="connsiteX33" fmla="*/ 1077942 w 1583267"/>
                <a:gd name="connsiteY33" fmla="*/ 1592237 h 2174743"/>
                <a:gd name="connsiteX34" fmla="*/ 1077942 w 1583267"/>
                <a:gd name="connsiteY34" fmla="*/ 349995 h 2174743"/>
                <a:gd name="connsiteX35" fmla="*/ 1161559 w 1583267"/>
                <a:gd name="connsiteY35" fmla="*/ 301719 h 2174743"/>
                <a:gd name="connsiteX36" fmla="*/ 1161559 w 1583267"/>
                <a:gd name="connsiteY36" fmla="*/ 1495592 h 2174743"/>
                <a:gd name="connsiteX37" fmla="*/ 1163984 w 1583267"/>
                <a:gd name="connsiteY37" fmla="*/ 1499182 h 2174743"/>
                <a:gd name="connsiteX38" fmla="*/ 1169059 w 1583267"/>
                <a:gd name="connsiteY38" fmla="*/ 1509541 h 2174743"/>
                <a:gd name="connsiteX39" fmla="*/ 1231533 w 1583267"/>
                <a:gd name="connsiteY39" fmla="*/ 1515960 h 2174743"/>
                <a:gd name="connsiteX40" fmla="*/ 1400484 w 1583267"/>
                <a:gd name="connsiteY40" fmla="*/ 1418416 h 2174743"/>
                <a:gd name="connsiteX41" fmla="*/ 1409890 w 1583267"/>
                <a:gd name="connsiteY41" fmla="*/ 1399092 h 2174743"/>
                <a:gd name="connsiteX42" fmla="*/ 1409731 w 1583267"/>
                <a:gd name="connsiteY42" fmla="*/ 1398528 h 2174743"/>
                <a:gd name="connsiteX43" fmla="*/ 1409869 w 1583267"/>
                <a:gd name="connsiteY43" fmla="*/ 1398325 h 2174743"/>
                <a:gd name="connsiteX44" fmla="*/ 1409869 w 1583267"/>
                <a:gd name="connsiteY44" fmla="*/ 156083 h 2174743"/>
                <a:gd name="connsiteX45" fmla="*/ 1493486 w 1583267"/>
                <a:gd name="connsiteY45" fmla="*/ 107807 h 2174743"/>
                <a:gd name="connsiteX46" fmla="*/ 1490996 w 1583267"/>
                <a:gd name="connsiteY46" fmla="*/ 1452527 h 2174743"/>
                <a:gd name="connsiteX47" fmla="*/ 1583103 w 1583267"/>
                <a:gd name="connsiteY47" fmla="*/ 1396226 h 2174743"/>
                <a:gd name="connsiteX48" fmla="*/ 1579373 w 1583267"/>
                <a:gd name="connsiteY48" fmla="*/ 51163 h 2174743"/>
                <a:gd name="connsiteX49" fmla="*/ 1511037 w 1583267"/>
                <a:gd name="connsiteY49" fmla="*/ 5059 h 2174743"/>
                <a:gd name="connsiteX50" fmla="*/ 1338595 w 1583267"/>
                <a:gd name="connsiteY50" fmla="*/ 102357 h 2174743"/>
                <a:gd name="connsiteX51" fmla="*/ 1328489 w 1583267"/>
                <a:gd name="connsiteY51" fmla="*/ 143365 h 2174743"/>
                <a:gd name="connsiteX52" fmla="*/ 1327703 w 1583267"/>
                <a:gd name="connsiteY52" fmla="*/ 1365559 h 2174743"/>
                <a:gd name="connsiteX53" fmla="*/ 1244088 w 1583267"/>
                <a:gd name="connsiteY53" fmla="*/ 1413834 h 2174743"/>
                <a:gd name="connsiteX54" fmla="*/ 1244088 w 1583267"/>
                <a:gd name="connsiteY54" fmla="*/ 1373656 h 2174743"/>
                <a:gd name="connsiteX55" fmla="*/ 1247446 w 1583267"/>
                <a:gd name="connsiteY55" fmla="*/ 245075 h 2174743"/>
                <a:gd name="connsiteX56" fmla="*/ 1179111 w 1583267"/>
                <a:gd name="connsiteY56" fmla="*/ 198971 h 2174743"/>
                <a:gd name="connsiteX57" fmla="*/ 1006668 w 1583267"/>
                <a:gd name="connsiteY57" fmla="*/ 296269 h 2174743"/>
                <a:gd name="connsiteX58" fmla="*/ 996562 w 1583267"/>
                <a:gd name="connsiteY58" fmla="*/ 337277 h 2174743"/>
                <a:gd name="connsiteX59" fmla="*/ 995776 w 1583267"/>
                <a:gd name="connsiteY59" fmla="*/ 1559471 h 2174743"/>
                <a:gd name="connsiteX60" fmla="*/ 912161 w 1583267"/>
                <a:gd name="connsiteY60" fmla="*/ 1607746 h 2174743"/>
                <a:gd name="connsiteX61" fmla="*/ 912161 w 1583267"/>
                <a:gd name="connsiteY61" fmla="*/ 1568157 h 2174743"/>
                <a:gd name="connsiteX62" fmla="*/ 915521 w 1583267"/>
                <a:gd name="connsiteY62" fmla="*/ 438988 h 2174743"/>
                <a:gd name="connsiteX63" fmla="*/ 847186 w 1583267"/>
                <a:gd name="connsiteY63" fmla="*/ 392883 h 2174743"/>
                <a:gd name="connsiteX64" fmla="*/ 674743 w 1583267"/>
                <a:gd name="connsiteY64" fmla="*/ 490182 h 2174743"/>
                <a:gd name="connsiteX65" fmla="*/ 664637 w 1583267"/>
                <a:gd name="connsiteY65" fmla="*/ 531190 h 2174743"/>
                <a:gd name="connsiteX66" fmla="*/ 663851 w 1583267"/>
                <a:gd name="connsiteY66" fmla="*/ 1753384 h 2174743"/>
                <a:gd name="connsiteX67" fmla="*/ 580236 w 1583267"/>
                <a:gd name="connsiteY67" fmla="*/ 1801659 h 2174743"/>
                <a:gd name="connsiteX68" fmla="*/ 580236 w 1583267"/>
                <a:gd name="connsiteY68" fmla="*/ 1762076 h 2174743"/>
                <a:gd name="connsiteX69" fmla="*/ 583596 w 1583267"/>
                <a:gd name="connsiteY69" fmla="*/ 632901 h 2174743"/>
                <a:gd name="connsiteX70" fmla="*/ 515261 w 1583267"/>
                <a:gd name="connsiteY70" fmla="*/ 586796 h 2174743"/>
                <a:gd name="connsiteX71" fmla="*/ 342818 w 1583267"/>
                <a:gd name="connsiteY71" fmla="*/ 684095 h 2174743"/>
                <a:gd name="connsiteX72" fmla="*/ 332712 w 1583267"/>
                <a:gd name="connsiteY72" fmla="*/ 725103 h 2174743"/>
                <a:gd name="connsiteX73" fmla="*/ 331926 w 1583267"/>
                <a:gd name="connsiteY73" fmla="*/ 1947297 h 2174743"/>
                <a:gd name="connsiteX74" fmla="*/ 248311 w 1583267"/>
                <a:gd name="connsiteY74" fmla="*/ 1995572 h 2174743"/>
                <a:gd name="connsiteX75" fmla="*/ 248311 w 1583267"/>
                <a:gd name="connsiteY75" fmla="*/ 1955655 h 2174743"/>
                <a:gd name="connsiteX76" fmla="*/ 251670 w 1583267"/>
                <a:gd name="connsiteY76" fmla="*/ 826816 h 2174743"/>
                <a:gd name="connsiteX77" fmla="*/ 183335 w 1583267"/>
                <a:gd name="connsiteY77" fmla="*/ 780711 h 2174743"/>
                <a:gd name="connsiteX78" fmla="*/ 10892 w 1583267"/>
                <a:gd name="connsiteY78" fmla="*/ 878009 h 2174743"/>
                <a:gd name="connsiteX79" fmla="*/ 786 w 1583267"/>
                <a:gd name="connsiteY79" fmla="*/ 919017 h 2174743"/>
                <a:gd name="connsiteX80" fmla="*/ 0 w 1583267"/>
                <a:gd name="connsiteY80" fmla="*/ 2141211 h 2174743"/>
                <a:gd name="connsiteX0" fmla="*/ 0 w 1583267"/>
                <a:gd name="connsiteY0" fmla="*/ 2141211 h 2174743"/>
                <a:gd name="connsiteX1" fmla="*/ 82187 w 1583267"/>
                <a:gd name="connsiteY1" fmla="*/ 2174744 h 2174743"/>
                <a:gd name="connsiteX2" fmla="*/ 82028 w 1583267"/>
                <a:gd name="connsiteY2" fmla="*/ 2174180 h 2174743"/>
                <a:gd name="connsiteX3" fmla="*/ 82166 w 1583267"/>
                <a:gd name="connsiteY3" fmla="*/ 2173977 h 2174743"/>
                <a:gd name="connsiteX4" fmla="*/ 82166 w 1583267"/>
                <a:gd name="connsiteY4" fmla="*/ 931735 h 2174743"/>
                <a:gd name="connsiteX5" fmla="*/ 165784 w 1583267"/>
                <a:gd name="connsiteY5" fmla="*/ 883459 h 2174743"/>
                <a:gd name="connsiteX6" fmla="*/ 165783 w 1583267"/>
                <a:gd name="connsiteY6" fmla="*/ 2077333 h 2174743"/>
                <a:gd name="connsiteX7" fmla="*/ 168211 w 1583267"/>
                <a:gd name="connsiteY7" fmla="*/ 2080925 h 2174743"/>
                <a:gd name="connsiteX8" fmla="*/ 173283 w 1583267"/>
                <a:gd name="connsiteY8" fmla="*/ 2091279 h 2174743"/>
                <a:gd name="connsiteX9" fmla="*/ 235756 w 1583267"/>
                <a:gd name="connsiteY9" fmla="*/ 2097698 h 2174743"/>
                <a:gd name="connsiteX10" fmla="*/ 404707 w 1583267"/>
                <a:gd name="connsiteY10" fmla="*/ 2000154 h 2174743"/>
                <a:gd name="connsiteX11" fmla="*/ 414113 w 1583267"/>
                <a:gd name="connsiteY11" fmla="*/ 1980830 h 2174743"/>
                <a:gd name="connsiteX12" fmla="*/ 413954 w 1583267"/>
                <a:gd name="connsiteY12" fmla="*/ 1980266 h 2174743"/>
                <a:gd name="connsiteX13" fmla="*/ 414092 w 1583267"/>
                <a:gd name="connsiteY13" fmla="*/ 1980063 h 2174743"/>
                <a:gd name="connsiteX14" fmla="*/ 414092 w 1583267"/>
                <a:gd name="connsiteY14" fmla="*/ 737821 h 2174743"/>
                <a:gd name="connsiteX15" fmla="*/ 497709 w 1583267"/>
                <a:gd name="connsiteY15" fmla="*/ 689544 h 2174743"/>
                <a:gd name="connsiteX16" fmla="*/ 497709 w 1583267"/>
                <a:gd name="connsiteY16" fmla="*/ 1883418 h 2174743"/>
                <a:gd name="connsiteX17" fmla="*/ 500130 w 1583267"/>
                <a:gd name="connsiteY17" fmla="*/ 1887000 h 2174743"/>
                <a:gd name="connsiteX18" fmla="*/ 505208 w 1583267"/>
                <a:gd name="connsiteY18" fmla="*/ 1897366 h 2174743"/>
                <a:gd name="connsiteX19" fmla="*/ 567681 w 1583267"/>
                <a:gd name="connsiteY19" fmla="*/ 1903785 h 2174743"/>
                <a:gd name="connsiteX20" fmla="*/ 736632 w 1583267"/>
                <a:gd name="connsiteY20" fmla="*/ 1806241 h 2174743"/>
                <a:gd name="connsiteX21" fmla="*/ 746038 w 1583267"/>
                <a:gd name="connsiteY21" fmla="*/ 1786917 h 2174743"/>
                <a:gd name="connsiteX22" fmla="*/ 745879 w 1583267"/>
                <a:gd name="connsiteY22" fmla="*/ 1786353 h 2174743"/>
                <a:gd name="connsiteX23" fmla="*/ 746017 w 1583267"/>
                <a:gd name="connsiteY23" fmla="*/ 1786150 h 2174743"/>
                <a:gd name="connsiteX24" fmla="*/ 746017 w 1583267"/>
                <a:gd name="connsiteY24" fmla="*/ 543908 h 2174743"/>
                <a:gd name="connsiteX25" fmla="*/ 829634 w 1583267"/>
                <a:gd name="connsiteY25" fmla="*/ 495632 h 2174743"/>
                <a:gd name="connsiteX26" fmla="*/ 829634 w 1583267"/>
                <a:gd name="connsiteY26" fmla="*/ 1689505 h 2174743"/>
                <a:gd name="connsiteX27" fmla="*/ 832055 w 1583267"/>
                <a:gd name="connsiteY27" fmla="*/ 1693087 h 2174743"/>
                <a:gd name="connsiteX28" fmla="*/ 837133 w 1583267"/>
                <a:gd name="connsiteY28" fmla="*/ 1703453 h 2174743"/>
                <a:gd name="connsiteX29" fmla="*/ 899606 w 1583267"/>
                <a:gd name="connsiteY29" fmla="*/ 1709872 h 2174743"/>
                <a:gd name="connsiteX30" fmla="*/ 1068557 w 1583267"/>
                <a:gd name="connsiteY30" fmla="*/ 1612328 h 2174743"/>
                <a:gd name="connsiteX31" fmla="*/ 1077963 w 1583267"/>
                <a:gd name="connsiteY31" fmla="*/ 1593004 h 2174743"/>
                <a:gd name="connsiteX32" fmla="*/ 1077804 w 1583267"/>
                <a:gd name="connsiteY32" fmla="*/ 1592440 h 2174743"/>
                <a:gd name="connsiteX33" fmla="*/ 1077942 w 1583267"/>
                <a:gd name="connsiteY33" fmla="*/ 1592237 h 2174743"/>
                <a:gd name="connsiteX34" fmla="*/ 1077942 w 1583267"/>
                <a:gd name="connsiteY34" fmla="*/ 349995 h 2174743"/>
                <a:gd name="connsiteX35" fmla="*/ 1161559 w 1583267"/>
                <a:gd name="connsiteY35" fmla="*/ 301719 h 2174743"/>
                <a:gd name="connsiteX36" fmla="*/ 1161559 w 1583267"/>
                <a:gd name="connsiteY36" fmla="*/ 1495592 h 2174743"/>
                <a:gd name="connsiteX37" fmla="*/ 1163984 w 1583267"/>
                <a:gd name="connsiteY37" fmla="*/ 1499182 h 2174743"/>
                <a:gd name="connsiteX38" fmla="*/ 1169059 w 1583267"/>
                <a:gd name="connsiteY38" fmla="*/ 1509541 h 2174743"/>
                <a:gd name="connsiteX39" fmla="*/ 1231533 w 1583267"/>
                <a:gd name="connsiteY39" fmla="*/ 1515960 h 2174743"/>
                <a:gd name="connsiteX40" fmla="*/ 1400484 w 1583267"/>
                <a:gd name="connsiteY40" fmla="*/ 1418416 h 2174743"/>
                <a:gd name="connsiteX41" fmla="*/ 1409890 w 1583267"/>
                <a:gd name="connsiteY41" fmla="*/ 1399092 h 2174743"/>
                <a:gd name="connsiteX42" fmla="*/ 1409731 w 1583267"/>
                <a:gd name="connsiteY42" fmla="*/ 1398528 h 2174743"/>
                <a:gd name="connsiteX43" fmla="*/ 1409869 w 1583267"/>
                <a:gd name="connsiteY43" fmla="*/ 1398325 h 2174743"/>
                <a:gd name="connsiteX44" fmla="*/ 1409869 w 1583267"/>
                <a:gd name="connsiteY44" fmla="*/ 156083 h 2174743"/>
                <a:gd name="connsiteX45" fmla="*/ 1493486 w 1583267"/>
                <a:gd name="connsiteY45" fmla="*/ 107807 h 2174743"/>
                <a:gd name="connsiteX46" fmla="*/ 1489864 w 1583267"/>
                <a:gd name="connsiteY46" fmla="*/ 1434954 h 2174743"/>
                <a:gd name="connsiteX47" fmla="*/ 1583103 w 1583267"/>
                <a:gd name="connsiteY47" fmla="*/ 1396226 h 2174743"/>
                <a:gd name="connsiteX48" fmla="*/ 1579373 w 1583267"/>
                <a:gd name="connsiteY48" fmla="*/ 51163 h 2174743"/>
                <a:gd name="connsiteX49" fmla="*/ 1511037 w 1583267"/>
                <a:gd name="connsiteY49" fmla="*/ 5059 h 2174743"/>
                <a:gd name="connsiteX50" fmla="*/ 1338595 w 1583267"/>
                <a:gd name="connsiteY50" fmla="*/ 102357 h 2174743"/>
                <a:gd name="connsiteX51" fmla="*/ 1328489 w 1583267"/>
                <a:gd name="connsiteY51" fmla="*/ 143365 h 2174743"/>
                <a:gd name="connsiteX52" fmla="*/ 1327703 w 1583267"/>
                <a:gd name="connsiteY52" fmla="*/ 1365559 h 2174743"/>
                <a:gd name="connsiteX53" fmla="*/ 1244088 w 1583267"/>
                <a:gd name="connsiteY53" fmla="*/ 1413834 h 2174743"/>
                <a:gd name="connsiteX54" fmla="*/ 1244088 w 1583267"/>
                <a:gd name="connsiteY54" fmla="*/ 1373656 h 2174743"/>
                <a:gd name="connsiteX55" fmla="*/ 1247446 w 1583267"/>
                <a:gd name="connsiteY55" fmla="*/ 245075 h 2174743"/>
                <a:gd name="connsiteX56" fmla="*/ 1179111 w 1583267"/>
                <a:gd name="connsiteY56" fmla="*/ 198971 h 2174743"/>
                <a:gd name="connsiteX57" fmla="*/ 1006668 w 1583267"/>
                <a:gd name="connsiteY57" fmla="*/ 296269 h 2174743"/>
                <a:gd name="connsiteX58" fmla="*/ 996562 w 1583267"/>
                <a:gd name="connsiteY58" fmla="*/ 337277 h 2174743"/>
                <a:gd name="connsiteX59" fmla="*/ 995776 w 1583267"/>
                <a:gd name="connsiteY59" fmla="*/ 1559471 h 2174743"/>
                <a:gd name="connsiteX60" fmla="*/ 912161 w 1583267"/>
                <a:gd name="connsiteY60" fmla="*/ 1607746 h 2174743"/>
                <a:gd name="connsiteX61" fmla="*/ 912161 w 1583267"/>
                <a:gd name="connsiteY61" fmla="*/ 1568157 h 2174743"/>
                <a:gd name="connsiteX62" fmla="*/ 915521 w 1583267"/>
                <a:gd name="connsiteY62" fmla="*/ 438988 h 2174743"/>
                <a:gd name="connsiteX63" fmla="*/ 847186 w 1583267"/>
                <a:gd name="connsiteY63" fmla="*/ 392883 h 2174743"/>
                <a:gd name="connsiteX64" fmla="*/ 674743 w 1583267"/>
                <a:gd name="connsiteY64" fmla="*/ 490182 h 2174743"/>
                <a:gd name="connsiteX65" fmla="*/ 664637 w 1583267"/>
                <a:gd name="connsiteY65" fmla="*/ 531190 h 2174743"/>
                <a:gd name="connsiteX66" fmla="*/ 663851 w 1583267"/>
                <a:gd name="connsiteY66" fmla="*/ 1753384 h 2174743"/>
                <a:gd name="connsiteX67" fmla="*/ 580236 w 1583267"/>
                <a:gd name="connsiteY67" fmla="*/ 1801659 h 2174743"/>
                <a:gd name="connsiteX68" fmla="*/ 580236 w 1583267"/>
                <a:gd name="connsiteY68" fmla="*/ 1762076 h 2174743"/>
                <a:gd name="connsiteX69" fmla="*/ 583596 w 1583267"/>
                <a:gd name="connsiteY69" fmla="*/ 632901 h 2174743"/>
                <a:gd name="connsiteX70" fmla="*/ 515261 w 1583267"/>
                <a:gd name="connsiteY70" fmla="*/ 586796 h 2174743"/>
                <a:gd name="connsiteX71" fmla="*/ 342818 w 1583267"/>
                <a:gd name="connsiteY71" fmla="*/ 684095 h 2174743"/>
                <a:gd name="connsiteX72" fmla="*/ 332712 w 1583267"/>
                <a:gd name="connsiteY72" fmla="*/ 725103 h 2174743"/>
                <a:gd name="connsiteX73" fmla="*/ 331926 w 1583267"/>
                <a:gd name="connsiteY73" fmla="*/ 1947297 h 2174743"/>
                <a:gd name="connsiteX74" fmla="*/ 248311 w 1583267"/>
                <a:gd name="connsiteY74" fmla="*/ 1995572 h 2174743"/>
                <a:gd name="connsiteX75" fmla="*/ 248311 w 1583267"/>
                <a:gd name="connsiteY75" fmla="*/ 1955655 h 2174743"/>
                <a:gd name="connsiteX76" fmla="*/ 251670 w 1583267"/>
                <a:gd name="connsiteY76" fmla="*/ 826816 h 2174743"/>
                <a:gd name="connsiteX77" fmla="*/ 183335 w 1583267"/>
                <a:gd name="connsiteY77" fmla="*/ 780711 h 2174743"/>
                <a:gd name="connsiteX78" fmla="*/ 10892 w 1583267"/>
                <a:gd name="connsiteY78" fmla="*/ 878009 h 2174743"/>
                <a:gd name="connsiteX79" fmla="*/ 786 w 1583267"/>
                <a:gd name="connsiteY79" fmla="*/ 919017 h 2174743"/>
                <a:gd name="connsiteX80" fmla="*/ 0 w 1583267"/>
                <a:gd name="connsiteY80" fmla="*/ 2141211 h 2174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583267" h="2174743">
                  <a:moveTo>
                    <a:pt x="0" y="2141211"/>
                  </a:moveTo>
                  <a:lnTo>
                    <a:pt x="82187" y="2174744"/>
                  </a:lnTo>
                  <a:lnTo>
                    <a:pt x="82028" y="2174180"/>
                  </a:lnTo>
                  <a:lnTo>
                    <a:pt x="82166" y="2173977"/>
                  </a:lnTo>
                  <a:lnTo>
                    <a:pt x="82166" y="931735"/>
                  </a:lnTo>
                  <a:lnTo>
                    <a:pt x="165784" y="883459"/>
                  </a:lnTo>
                  <a:cubicBezTo>
                    <a:pt x="165784" y="1281417"/>
                    <a:pt x="165783" y="1679375"/>
                    <a:pt x="165783" y="2077333"/>
                  </a:cubicBezTo>
                  <a:lnTo>
                    <a:pt x="168211" y="2080925"/>
                  </a:lnTo>
                  <a:lnTo>
                    <a:pt x="173283" y="2091279"/>
                  </a:lnTo>
                  <a:cubicBezTo>
                    <a:pt x="183594" y="2106105"/>
                    <a:pt x="203672" y="2118333"/>
                    <a:pt x="235756" y="2097698"/>
                  </a:cubicBezTo>
                  <a:lnTo>
                    <a:pt x="404707" y="2000154"/>
                  </a:lnTo>
                  <a:cubicBezTo>
                    <a:pt x="410729" y="1996677"/>
                    <a:pt x="413883" y="1989547"/>
                    <a:pt x="414113" y="1980830"/>
                  </a:cubicBezTo>
                  <a:lnTo>
                    <a:pt x="413954" y="1980266"/>
                  </a:lnTo>
                  <a:lnTo>
                    <a:pt x="414092" y="1980063"/>
                  </a:lnTo>
                  <a:lnTo>
                    <a:pt x="414092" y="737821"/>
                  </a:lnTo>
                  <a:lnTo>
                    <a:pt x="497709" y="689544"/>
                  </a:lnTo>
                  <a:lnTo>
                    <a:pt x="497709" y="1883418"/>
                  </a:lnTo>
                  <a:lnTo>
                    <a:pt x="500130" y="1887000"/>
                  </a:lnTo>
                  <a:lnTo>
                    <a:pt x="505208" y="1897366"/>
                  </a:lnTo>
                  <a:cubicBezTo>
                    <a:pt x="515519" y="1912192"/>
                    <a:pt x="535597" y="1924420"/>
                    <a:pt x="567681" y="1903785"/>
                  </a:cubicBezTo>
                  <a:lnTo>
                    <a:pt x="736632" y="1806241"/>
                  </a:lnTo>
                  <a:cubicBezTo>
                    <a:pt x="742654" y="1802764"/>
                    <a:pt x="745808" y="1795634"/>
                    <a:pt x="746038" y="1786917"/>
                  </a:cubicBezTo>
                  <a:lnTo>
                    <a:pt x="745879" y="1786353"/>
                  </a:lnTo>
                  <a:lnTo>
                    <a:pt x="746017" y="1786150"/>
                  </a:lnTo>
                  <a:lnTo>
                    <a:pt x="746017" y="543908"/>
                  </a:lnTo>
                  <a:lnTo>
                    <a:pt x="829634" y="495632"/>
                  </a:lnTo>
                  <a:lnTo>
                    <a:pt x="829634" y="1689505"/>
                  </a:lnTo>
                  <a:lnTo>
                    <a:pt x="832055" y="1693087"/>
                  </a:lnTo>
                  <a:lnTo>
                    <a:pt x="837133" y="1703453"/>
                  </a:lnTo>
                  <a:cubicBezTo>
                    <a:pt x="847444" y="1718279"/>
                    <a:pt x="867522" y="1730507"/>
                    <a:pt x="899606" y="1709872"/>
                  </a:cubicBezTo>
                  <a:lnTo>
                    <a:pt x="1068557" y="1612328"/>
                  </a:lnTo>
                  <a:cubicBezTo>
                    <a:pt x="1074579" y="1608851"/>
                    <a:pt x="1077733" y="1601721"/>
                    <a:pt x="1077963" y="1593004"/>
                  </a:cubicBezTo>
                  <a:lnTo>
                    <a:pt x="1077804" y="1592440"/>
                  </a:lnTo>
                  <a:lnTo>
                    <a:pt x="1077942" y="1592237"/>
                  </a:lnTo>
                  <a:lnTo>
                    <a:pt x="1077942" y="349995"/>
                  </a:lnTo>
                  <a:lnTo>
                    <a:pt x="1161559" y="301719"/>
                  </a:lnTo>
                  <a:lnTo>
                    <a:pt x="1161559" y="1495592"/>
                  </a:lnTo>
                  <a:lnTo>
                    <a:pt x="1163984" y="1499182"/>
                  </a:lnTo>
                  <a:lnTo>
                    <a:pt x="1169059" y="1509541"/>
                  </a:lnTo>
                  <a:cubicBezTo>
                    <a:pt x="1179371" y="1524367"/>
                    <a:pt x="1199448" y="1536595"/>
                    <a:pt x="1231533" y="1515960"/>
                  </a:cubicBezTo>
                  <a:lnTo>
                    <a:pt x="1400484" y="1418416"/>
                  </a:lnTo>
                  <a:cubicBezTo>
                    <a:pt x="1406506" y="1414939"/>
                    <a:pt x="1409660" y="1407809"/>
                    <a:pt x="1409890" y="1399092"/>
                  </a:cubicBezTo>
                  <a:lnTo>
                    <a:pt x="1409731" y="1398528"/>
                  </a:lnTo>
                  <a:lnTo>
                    <a:pt x="1409869" y="1398325"/>
                  </a:lnTo>
                  <a:lnTo>
                    <a:pt x="1409869" y="156083"/>
                  </a:lnTo>
                  <a:lnTo>
                    <a:pt x="1493486" y="107807"/>
                  </a:lnTo>
                  <a:cubicBezTo>
                    <a:pt x="1492279" y="550189"/>
                    <a:pt x="1491071" y="992572"/>
                    <a:pt x="1489864" y="1434954"/>
                  </a:cubicBezTo>
                  <a:cubicBezTo>
                    <a:pt x="1536664" y="1410523"/>
                    <a:pt x="1558110" y="1417997"/>
                    <a:pt x="1583103" y="1396226"/>
                  </a:cubicBezTo>
                  <a:cubicBezTo>
                    <a:pt x="1584343" y="979387"/>
                    <a:pt x="1578133" y="468002"/>
                    <a:pt x="1579373" y="51163"/>
                  </a:cubicBezTo>
                  <a:cubicBezTo>
                    <a:pt x="1579654" y="6417"/>
                    <a:pt x="1535165" y="-9067"/>
                    <a:pt x="1511037" y="5059"/>
                  </a:cubicBezTo>
                  <a:lnTo>
                    <a:pt x="1338595" y="102357"/>
                  </a:lnTo>
                  <a:cubicBezTo>
                    <a:pt x="1329736" y="115165"/>
                    <a:pt x="1327761" y="120917"/>
                    <a:pt x="1328489" y="143365"/>
                  </a:cubicBezTo>
                  <a:lnTo>
                    <a:pt x="1327703" y="1365559"/>
                  </a:lnTo>
                  <a:lnTo>
                    <a:pt x="1244088" y="1413834"/>
                  </a:lnTo>
                  <a:lnTo>
                    <a:pt x="1244088" y="1373656"/>
                  </a:lnTo>
                  <a:cubicBezTo>
                    <a:pt x="1245207" y="997462"/>
                    <a:pt x="1246327" y="621269"/>
                    <a:pt x="1247446" y="245075"/>
                  </a:cubicBezTo>
                  <a:cubicBezTo>
                    <a:pt x="1240542" y="202210"/>
                    <a:pt x="1207502" y="191917"/>
                    <a:pt x="1179111" y="198971"/>
                  </a:cubicBezTo>
                  <a:lnTo>
                    <a:pt x="1006668" y="296269"/>
                  </a:lnTo>
                  <a:cubicBezTo>
                    <a:pt x="997809" y="309077"/>
                    <a:pt x="995834" y="314829"/>
                    <a:pt x="996562" y="337277"/>
                  </a:cubicBezTo>
                  <a:lnTo>
                    <a:pt x="995776" y="1559471"/>
                  </a:lnTo>
                  <a:lnTo>
                    <a:pt x="912161" y="1607746"/>
                  </a:lnTo>
                  <a:lnTo>
                    <a:pt x="912161" y="1568157"/>
                  </a:lnTo>
                  <a:lnTo>
                    <a:pt x="915521" y="438988"/>
                  </a:lnTo>
                  <a:cubicBezTo>
                    <a:pt x="907030" y="398874"/>
                    <a:pt x="883089" y="379167"/>
                    <a:pt x="847186" y="392883"/>
                  </a:cubicBezTo>
                  <a:lnTo>
                    <a:pt x="674743" y="490182"/>
                  </a:lnTo>
                  <a:cubicBezTo>
                    <a:pt x="665884" y="502990"/>
                    <a:pt x="663910" y="508742"/>
                    <a:pt x="664637" y="531190"/>
                  </a:cubicBezTo>
                  <a:lnTo>
                    <a:pt x="663851" y="1753384"/>
                  </a:lnTo>
                  <a:lnTo>
                    <a:pt x="580236" y="1801659"/>
                  </a:lnTo>
                  <a:lnTo>
                    <a:pt x="580236" y="1762076"/>
                  </a:lnTo>
                  <a:lnTo>
                    <a:pt x="583596" y="632901"/>
                  </a:lnTo>
                  <a:cubicBezTo>
                    <a:pt x="581881" y="574701"/>
                    <a:pt x="548416" y="571493"/>
                    <a:pt x="515261" y="586796"/>
                  </a:cubicBezTo>
                  <a:lnTo>
                    <a:pt x="342818" y="684095"/>
                  </a:lnTo>
                  <a:cubicBezTo>
                    <a:pt x="333959" y="696903"/>
                    <a:pt x="331985" y="702654"/>
                    <a:pt x="332712" y="725103"/>
                  </a:cubicBezTo>
                  <a:lnTo>
                    <a:pt x="331926" y="1947297"/>
                  </a:lnTo>
                  <a:lnTo>
                    <a:pt x="248311" y="1995572"/>
                  </a:lnTo>
                  <a:lnTo>
                    <a:pt x="248311" y="1955655"/>
                  </a:lnTo>
                  <a:cubicBezTo>
                    <a:pt x="249431" y="1579375"/>
                    <a:pt x="250550" y="1203096"/>
                    <a:pt x="251670" y="826816"/>
                  </a:cubicBezTo>
                  <a:cubicBezTo>
                    <a:pt x="249529" y="775703"/>
                    <a:pt x="223575" y="765833"/>
                    <a:pt x="183335" y="780711"/>
                  </a:cubicBezTo>
                  <a:lnTo>
                    <a:pt x="10892" y="878009"/>
                  </a:lnTo>
                  <a:cubicBezTo>
                    <a:pt x="2033" y="890818"/>
                    <a:pt x="59" y="896569"/>
                    <a:pt x="786" y="919017"/>
                  </a:cubicBezTo>
                  <a:lnTo>
                    <a:pt x="0" y="2141211"/>
                  </a:lnTo>
                  <a:close/>
                </a:path>
              </a:pathLst>
            </a:cu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sp>
        <p:nvSpPr>
          <p:cNvPr id="1665" name="Freeform: Shape 1664">
            <a:extLst>
              <a:ext uri="{FF2B5EF4-FFF2-40B4-BE49-F238E27FC236}">
                <a16:creationId xmlns:a16="http://schemas.microsoft.com/office/drawing/2014/main" id="{3752DAD9-80AB-4C5B-99C9-CC5A5993799A}"/>
              </a:ext>
            </a:extLst>
          </p:cNvPr>
          <p:cNvSpPr/>
          <p:nvPr/>
        </p:nvSpPr>
        <p:spPr bwMode="gray">
          <a:xfrm>
            <a:off x="5520146" y="3244960"/>
            <a:ext cx="1305721" cy="880269"/>
          </a:xfrm>
          <a:custGeom>
            <a:avLst/>
            <a:gdLst>
              <a:gd name="connsiteX0" fmla="*/ 0 w 1346200"/>
              <a:gd name="connsiteY0" fmla="*/ 654050 h 939800"/>
              <a:gd name="connsiteX1" fmla="*/ 0 w 1346200"/>
              <a:gd name="connsiteY1" fmla="*/ 431800 h 939800"/>
              <a:gd name="connsiteX2" fmla="*/ 749300 w 1346200"/>
              <a:gd name="connsiteY2" fmla="*/ 0 h 939800"/>
              <a:gd name="connsiteX3" fmla="*/ 1346200 w 1346200"/>
              <a:gd name="connsiteY3" fmla="*/ 355600 h 939800"/>
              <a:gd name="connsiteX4" fmla="*/ 1346200 w 1346200"/>
              <a:gd name="connsiteY4" fmla="*/ 552450 h 939800"/>
              <a:gd name="connsiteX5" fmla="*/ 590550 w 1346200"/>
              <a:gd name="connsiteY5" fmla="*/ 939800 h 939800"/>
              <a:gd name="connsiteX6" fmla="*/ 0 w 1346200"/>
              <a:gd name="connsiteY6" fmla="*/ 654050 h 939800"/>
              <a:gd name="connsiteX0" fmla="*/ 0 w 1346200"/>
              <a:gd name="connsiteY0" fmla="*/ 596900 h 939800"/>
              <a:gd name="connsiteX1" fmla="*/ 0 w 1346200"/>
              <a:gd name="connsiteY1" fmla="*/ 431800 h 939800"/>
              <a:gd name="connsiteX2" fmla="*/ 749300 w 1346200"/>
              <a:gd name="connsiteY2" fmla="*/ 0 h 939800"/>
              <a:gd name="connsiteX3" fmla="*/ 1346200 w 1346200"/>
              <a:gd name="connsiteY3" fmla="*/ 355600 h 939800"/>
              <a:gd name="connsiteX4" fmla="*/ 1346200 w 1346200"/>
              <a:gd name="connsiteY4" fmla="*/ 552450 h 939800"/>
              <a:gd name="connsiteX5" fmla="*/ 590550 w 1346200"/>
              <a:gd name="connsiteY5" fmla="*/ 939800 h 939800"/>
              <a:gd name="connsiteX6" fmla="*/ 0 w 1346200"/>
              <a:gd name="connsiteY6" fmla="*/ 596900 h 939800"/>
              <a:gd name="connsiteX0" fmla="*/ 0 w 1346200"/>
              <a:gd name="connsiteY0" fmla="*/ 596900 h 895350"/>
              <a:gd name="connsiteX1" fmla="*/ 0 w 1346200"/>
              <a:gd name="connsiteY1" fmla="*/ 431800 h 895350"/>
              <a:gd name="connsiteX2" fmla="*/ 749300 w 1346200"/>
              <a:gd name="connsiteY2" fmla="*/ 0 h 895350"/>
              <a:gd name="connsiteX3" fmla="*/ 1346200 w 1346200"/>
              <a:gd name="connsiteY3" fmla="*/ 355600 h 895350"/>
              <a:gd name="connsiteX4" fmla="*/ 1346200 w 1346200"/>
              <a:gd name="connsiteY4" fmla="*/ 552450 h 895350"/>
              <a:gd name="connsiteX5" fmla="*/ 590550 w 1346200"/>
              <a:gd name="connsiteY5" fmla="*/ 895350 h 895350"/>
              <a:gd name="connsiteX6" fmla="*/ 0 w 1346200"/>
              <a:gd name="connsiteY6" fmla="*/ 596900 h 895350"/>
              <a:gd name="connsiteX0" fmla="*/ 0 w 1346200"/>
              <a:gd name="connsiteY0" fmla="*/ 596900 h 895350"/>
              <a:gd name="connsiteX1" fmla="*/ 0 w 1346200"/>
              <a:gd name="connsiteY1" fmla="*/ 431800 h 895350"/>
              <a:gd name="connsiteX2" fmla="*/ 749300 w 1346200"/>
              <a:gd name="connsiteY2" fmla="*/ 0 h 895350"/>
              <a:gd name="connsiteX3" fmla="*/ 1346200 w 1346200"/>
              <a:gd name="connsiteY3" fmla="*/ 355600 h 895350"/>
              <a:gd name="connsiteX4" fmla="*/ 1333500 w 1346200"/>
              <a:gd name="connsiteY4" fmla="*/ 501650 h 895350"/>
              <a:gd name="connsiteX5" fmla="*/ 590550 w 1346200"/>
              <a:gd name="connsiteY5" fmla="*/ 895350 h 895350"/>
              <a:gd name="connsiteX6" fmla="*/ 0 w 1346200"/>
              <a:gd name="connsiteY6" fmla="*/ 596900 h 895350"/>
              <a:gd name="connsiteX0" fmla="*/ 0 w 1346200"/>
              <a:gd name="connsiteY0" fmla="*/ 596900 h 895350"/>
              <a:gd name="connsiteX1" fmla="*/ 0 w 1346200"/>
              <a:gd name="connsiteY1" fmla="*/ 431800 h 895350"/>
              <a:gd name="connsiteX2" fmla="*/ 749300 w 1346200"/>
              <a:gd name="connsiteY2" fmla="*/ 0 h 895350"/>
              <a:gd name="connsiteX3" fmla="*/ 1346200 w 1346200"/>
              <a:gd name="connsiteY3" fmla="*/ 355600 h 895350"/>
              <a:gd name="connsiteX4" fmla="*/ 1333500 w 1346200"/>
              <a:gd name="connsiteY4" fmla="*/ 482600 h 895350"/>
              <a:gd name="connsiteX5" fmla="*/ 590550 w 1346200"/>
              <a:gd name="connsiteY5" fmla="*/ 895350 h 895350"/>
              <a:gd name="connsiteX6" fmla="*/ 0 w 1346200"/>
              <a:gd name="connsiteY6" fmla="*/ 596900 h 895350"/>
              <a:gd name="connsiteX0" fmla="*/ 6350 w 1346200"/>
              <a:gd name="connsiteY0" fmla="*/ 574675 h 895350"/>
              <a:gd name="connsiteX1" fmla="*/ 0 w 1346200"/>
              <a:gd name="connsiteY1" fmla="*/ 431800 h 895350"/>
              <a:gd name="connsiteX2" fmla="*/ 749300 w 1346200"/>
              <a:gd name="connsiteY2" fmla="*/ 0 h 895350"/>
              <a:gd name="connsiteX3" fmla="*/ 1346200 w 1346200"/>
              <a:gd name="connsiteY3" fmla="*/ 355600 h 895350"/>
              <a:gd name="connsiteX4" fmla="*/ 1333500 w 1346200"/>
              <a:gd name="connsiteY4" fmla="*/ 482600 h 895350"/>
              <a:gd name="connsiteX5" fmla="*/ 590550 w 1346200"/>
              <a:gd name="connsiteY5" fmla="*/ 895350 h 895350"/>
              <a:gd name="connsiteX6" fmla="*/ 6350 w 1346200"/>
              <a:gd name="connsiteY6" fmla="*/ 574675 h 895350"/>
              <a:gd name="connsiteX0" fmla="*/ 6350 w 1346200"/>
              <a:gd name="connsiteY0" fmla="*/ 574675 h 911225"/>
              <a:gd name="connsiteX1" fmla="*/ 0 w 1346200"/>
              <a:gd name="connsiteY1" fmla="*/ 431800 h 911225"/>
              <a:gd name="connsiteX2" fmla="*/ 749300 w 1346200"/>
              <a:gd name="connsiteY2" fmla="*/ 0 h 911225"/>
              <a:gd name="connsiteX3" fmla="*/ 1346200 w 1346200"/>
              <a:gd name="connsiteY3" fmla="*/ 355600 h 911225"/>
              <a:gd name="connsiteX4" fmla="*/ 1333500 w 1346200"/>
              <a:gd name="connsiteY4" fmla="*/ 482600 h 911225"/>
              <a:gd name="connsiteX5" fmla="*/ 587375 w 1346200"/>
              <a:gd name="connsiteY5" fmla="*/ 911225 h 911225"/>
              <a:gd name="connsiteX6" fmla="*/ 6350 w 1346200"/>
              <a:gd name="connsiteY6" fmla="*/ 574675 h 911225"/>
              <a:gd name="connsiteX0" fmla="*/ 6350 w 1346200"/>
              <a:gd name="connsiteY0" fmla="*/ 574675 h 911225"/>
              <a:gd name="connsiteX1" fmla="*/ 0 w 1346200"/>
              <a:gd name="connsiteY1" fmla="*/ 431800 h 911225"/>
              <a:gd name="connsiteX2" fmla="*/ 749300 w 1346200"/>
              <a:gd name="connsiteY2" fmla="*/ 0 h 911225"/>
              <a:gd name="connsiteX3" fmla="*/ 1346200 w 1346200"/>
              <a:gd name="connsiteY3" fmla="*/ 355600 h 911225"/>
              <a:gd name="connsiteX4" fmla="*/ 1343025 w 1346200"/>
              <a:gd name="connsiteY4" fmla="*/ 482600 h 911225"/>
              <a:gd name="connsiteX5" fmla="*/ 587375 w 1346200"/>
              <a:gd name="connsiteY5" fmla="*/ 911225 h 911225"/>
              <a:gd name="connsiteX6" fmla="*/ 6350 w 1346200"/>
              <a:gd name="connsiteY6" fmla="*/ 574675 h 911225"/>
              <a:gd name="connsiteX0" fmla="*/ 6350 w 1385906"/>
              <a:gd name="connsiteY0" fmla="*/ 574675 h 911225"/>
              <a:gd name="connsiteX1" fmla="*/ 0 w 1385906"/>
              <a:gd name="connsiteY1" fmla="*/ 431800 h 911225"/>
              <a:gd name="connsiteX2" fmla="*/ 749300 w 1385906"/>
              <a:gd name="connsiteY2" fmla="*/ 0 h 911225"/>
              <a:gd name="connsiteX3" fmla="*/ 1346200 w 1385906"/>
              <a:gd name="connsiteY3" fmla="*/ 355600 h 911225"/>
              <a:gd name="connsiteX4" fmla="*/ 1385887 w 1385906"/>
              <a:gd name="connsiteY4" fmla="*/ 468312 h 911225"/>
              <a:gd name="connsiteX5" fmla="*/ 587375 w 1385906"/>
              <a:gd name="connsiteY5" fmla="*/ 911225 h 911225"/>
              <a:gd name="connsiteX6" fmla="*/ 6350 w 1385906"/>
              <a:gd name="connsiteY6" fmla="*/ 574675 h 911225"/>
              <a:gd name="connsiteX0" fmla="*/ 6350 w 1391444"/>
              <a:gd name="connsiteY0" fmla="*/ 574675 h 911225"/>
              <a:gd name="connsiteX1" fmla="*/ 0 w 1391444"/>
              <a:gd name="connsiteY1" fmla="*/ 431800 h 911225"/>
              <a:gd name="connsiteX2" fmla="*/ 749300 w 1391444"/>
              <a:gd name="connsiteY2" fmla="*/ 0 h 911225"/>
              <a:gd name="connsiteX3" fmla="*/ 1391444 w 1391444"/>
              <a:gd name="connsiteY3" fmla="*/ 341313 h 911225"/>
              <a:gd name="connsiteX4" fmla="*/ 1385887 w 1391444"/>
              <a:gd name="connsiteY4" fmla="*/ 468312 h 911225"/>
              <a:gd name="connsiteX5" fmla="*/ 587375 w 1391444"/>
              <a:gd name="connsiteY5" fmla="*/ 911225 h 911225"/>
              <a:gd name="connsiteX6" fmla="*/ 6350 w 1391444"/>
              <a:gd name="connsiteY6" fmla="*/ 574675 h 911225"/>
              <a:gd name="connsiteX0" fmla="*/ 6350 w 1389063"/>
              <a:gd name="connsiteY0" fmla="*/ 574675 h 911225"/>
              <a:gd name="connsiteX1" fmla="*/ 0 w 1389063"/>
              <a:gd name="connsiteY1" fmla="*/ 431800 h 911225"/>
              <a:gd name="connsiteX2" fmla="*/ 749300 w 1389063"/>
              <a:gd name="connsiteY2" fmla="*/ 0 h 911225"/>
              <a:gd name="connsiteX3" fmla="*/ 1389063 w 1389063"/>
              <a:gd name="connsiteY3" fmla="*/ 343694 h 911225"/>
              <a:gd name="connsiteX4" fmla="*/ 1385887 w 1389063"/>
              <a:gd name="connsiteY4" fmla="*/ 468312 h 911225"/>
              <a:gd name="connsiteX5" fmla="*/ 587375 w 1389063"/>
              <a:gd name="connsiteY5" fmla="*/ 911225 h 911225"/>
              <a:gd name="connsiteX6" fmla="*/ 6350 w 1389063"/>
              <a:gd name="connsiteY6" fmla="*/ 574675 h 911225"/>
              <a:gd name="connsiteX0" fmla="*/ 6350 w 1389063"/>
              <a:gd name="connsiteY0" fmla="*/ 574675 h 911225"/>
              <a:gd name="connsiteX1" fmla="*/ 0 w 1389063"/>
              <a:gd name="connsiteY1" fmla="*/ 431800 h 911225"/>
              <a:gd name="connsiteX2" fmla="*/ 749300 w 1389063"/>
              <a:gd name="connsiteY2" fmla="*/ 0 h 911225"/>
              <a:gd name="connsiteX3" fmla="*/ 1389063 w 1389063"/>
              <a:gd name="connsiteY3" fmla="*/ 334169 h 911225"/>
              <a:gd name="connsiteX4" fmla="*/ 1385887 w 1389063"/>
              <a:gd name="connsiteY4" fmla="*/ 468312 h 911225"/>
              <a:gd name="connsiteX5" fmla="*/ 587375 w 1389063"/>
              <a:gd name="connsiteY5" fmla="*/ 911225 h 911225"/>
              <a:gd name="connsiteX6" fmla="*/ 6350 w 1389063"/>
              <a:gd name="connsiteY6" fmla="*/ 574675 h 911225"/>
              <a:gd name="connsiteX0" fmla="*/ 6350 w 1389063"/>
              <a:gd name="connsiteY0" fmla="*/ 586582 h 923132"/>
              <a:gd name="connsiteX1" fmla="*/ 0 w 1389063"/>
              <a:gd name="connsiteY1" fmla="*/ 443707 h 923132"/>
              <a:gd name="connsiteX2" fmla="*/ 782637 w 1389063"/>
              <a:gd name="connsiteY2" fmla="*/ 0 h 923132"/>
              <a:gd name="connsiteX3" fmla="*/ 1389063 w 1389063"/>
              <a:gd name="connsiteY3" fmla="*/ 346076 h 923132"/>
              <a:gd name="connsiteX4" fmla="*/ 1385887 w 1389063"/>
              <a:gd name="connsiteY4" fmla="*/ 480219 h 923132"/>
              <a:gd name="connsiteX5" fmla="*/ 587375 w 1389063"/>
              <a:gd name="connsiteY5" fmla="*/ 923132 h 923132"/>
              <a:gd name="connsiteX6" fmla="*/ 6350 w 1389063"/>
              <a:gd name="connsiteY6" fmla="*/ 586582 h 923132"/>
              <a:gd name="connsiteX0" fmla="*/ 6350 w 1389063"/>
              <a:gd name="connsiteY0" fmla="*/ 588963 h 925513"/>
              <a:gd name="connsiteX1" fmla="*/ 0 w 1389063"/>
              <a:gd name="connsiteY1" fmla="*/ 446088 h 925513"/>
              <a:gd name="connsiteX2" fmla="*/ 792162 w 1389063"/>
              <a:gd name="connsiteY2" fmla="*/ 0 h 925513"/>
              <a:gd name="connsiteX3" fmla="*/ 1389063 w 1389063"/>
              <a:gd name="connsiteY3" fmla="*/ 348457 h 925513"/>
              <a:gd name="connsiteX4" fmla="*/ 1385887 w 1389063"/>
              <a:gd name="connsiteY4" fmla="*/ 482600 h 925513"/>
              <a:gd name="connsiteX5" fmla="*/ 587375 w 1389063"/>
              <a:gd name="connsiteY5" fmla="*/ 925513 h 925513"/>
              <a:gd name="connsiteX6" fmla="*/ 6350 w 1389063"/>
              <a:gd name="connsiteY6" fmla="*/ 588963 h 925513"/>
              <a:gd name="connsiteX0" fmla="*/ 6350 w 1389063"/>
              <a:gd name="connsiteY0" fmla="*/ 600869 h 937419"/>
              <a:gd name="connsiteX1" fmla="*/ 0 w 1389063"/>
              <a:gd name="connsiteY1" fmla="*/ 457994 h 937419"/>
              <a:gd name="connsiteX2" fmla="*/ 794543 w 1389063"/>
              <a:gd name="connsiteY2" fmla="*/ 0 h 937419"/>
              <a:gd name="connsiteX3" fmla="*/ 1389063 w 1389063"/>
              <a:gd name="connsiteY3" fmla="*/ 360363 h 937419"/>
              <a:gd name="connsiteX4" fmla="*/ 1385887 w 1389063"/>
              <a:gd name="connsiteY4" fmla="*/ 494506 h 937419"/>
              <a:gd name="connsiteX5" fmla="*/ 587375 w 1389063"/>
              <a:gd name="connsiteY5" fmla="*/ 937419 h 937419"/>
              <a:gd name="connsiteX6" fmla="*/ 6350 w 1389063"/>
              <a:gd name="connsiteY6" fmla="*/ 600869 h 937419"/>
              <a:gd name="connsiteX0" fmla="*/ 6350 w 1389063"/>
              <a:gd name="connsiteY0" fmla="*/ 591344 h 927894"/>
              <a:gd name="connsiteX1" fmla="*/ 0 w 1389063"/>
              <a:gd name="connsiteY1" fmla="*/ 448469 h 927894"/>
              <a:gd name="connsiteX2" fmla="*/ 796925 w 1389063"/>
              <a:gd name="connsiteY2" fmla="*/ 0 h 927894"/>
              <a:gd name="connsiteX3" fmla="*/ 1389063 w 1389063"/>
              <a:gd name="connsiteY3" fmla="*/ 350838 h 927894"/>
              <a:gd name="connsiteX4" fmla="*/ 1385887 w 1389063"/>
              <a:gd name="connsiteY4" fmla="*/ 484981 h 927894"/>
              <a:gd name="connsiteX5" fmla="*/ 587375 w 1389063"/>
              <a:gd name="connsiteY5" fmla="*/ 927894 h 927894"/>
              <a:gd name="connsiteX6" fmla="*/ 6350 w 1389063"/>
              <a:gd name="connsiteY6" fmla="*/ 591344 h 927894"/>
              <a:gd name="connsiteX0" fmla="*/ 6350 w 1409735"/>
              <a:gd name="connsiteY0" fmla="*/ 591344 h 927894"/>
              <a:gd name="connsiteX1" fmla="*/ 0 w 1409735"/>
              <a:gd name="connsiteY1" fmla="*/ 448469 h 927894"/>
              <a:gd name="connsiteX2" fmla="*/ 796925 w 1409735"/>
              <a:gd name="connsiteY2" fmla="*/ 0 h 927894"/>
              <a:gd name="connsiteX3" fmla="*/ 1389063 w 1409735"/>
              <a:gd name="connsiteY3" fmla="*/ 350838 h 927894"/>
              <a:gd name="connsiteX4" fmla="*/ 1409700 w 1409735"/>
              <a:gd name="connsiteY4" fmla="*/ 470693 h 927894"/>
              <a:gd name="connsiteX5" fmla="*/ 587375 w 1409735"/>
              <a:gd name="connsiteY5" fmla="*/ 927894 h 927894"/>
              <a:gd name="connsiteX6" fmla="*/ 6350 w 1409735"/>
              <a:gd name="connsiteY6" fmla="*/ 591344 h 927894"/>
              <a:gd name="connsiteX0" fmla="*/ 6350 w 1417638"/>
              <a:gd name="connsiteY0" fmla="*/ 591344 h 927894"/>
              <a:gd name="connsiteX1" fmla="*/ 0 w 1417638"/>
              <a:gd name="connsiteY1" fmla="*/ 448469 h 927894"/>
              <a:gd name="connsiteX2" fmla="*/ 796925 w 1417638"/>
              <a:gd name="connsiteY2" fmla="*/ 0 h 927894"/>
              <a:gd name="connsiteX3" fmla="*/ 1417638 w 1417638"/>
              <a:gd name="connsiteY3" fmla="*/ 346076 h 927894"/>
              <a:gd name="connsiteX4" fmla="*/ 1409700 w 1417638"/>
              <a:gd name="connsiteY4" fmla="*/ 470693 h 927894"/>
              <a:gd name="connsiteX5" fmla="*/ 587375 w 1417638"/>
              <a:gd name="connsiteY5" fmla="*/ 927894 h 927894"/>
              <a:gd name="connsiteX6" fmla="*/ 6350 w 1417638"/>
              <a:gd name="connsiteY6" fmla="*/ 591344 h 927894"/>
              <a:gd name="connsiteX0" fmla="*/ 6350 w 1417638"/>
              <a:gd name="connsiteY0" fmla="*/ 591344 h 927894"/>
              <a:gd name="connsiteX1" fmla="*/ 0 w 1417638"/>
              <a:gd name="connsiteY1" fmla="*/ 448469 h 927894"/>
              <a:gd name="connsiteX2" fmla="*/ 796925 w 1417638"/>
              <a:gd name="connsiteY2" fmla="*/ 0 h 927894"/>
              <a:gd name="connsiteX3" fmla="*/ 1417638 w 1417638"/>
              <a:gd name="connsiteY3" fmla="*/ 357982 h 927894"/>
              <a:gd name="connsiteX4" fmla="*/ 1409700 w 1417638"/>
              <a:gd name="connsiteY4" fmla="*/ 470693 h 927894"/>
              <a:gd name="connsiteX5" fmla="*/ 587375 w 1417638"/>
              <a:gd name="connsiteY5" fmla="*/ 927894 h 927894"/>
              <a:gd name="connsiteX6" fmla="*/ 6350 w 1417638"/>
              <a:gd name="connsiteY6" fmla="*/ 591344 h 927894"/>
              <a:gd name="connsiteX0" fmla="*/ 6350 w 1410495"/>
              <a:gd name="connsiteY0" fmla="*/ 591344 h 927894"/>
              <a:gd name="connsiteX1" fmla="*/ 0 w 1410495"/>
              <a:gd name="connsiteY1" fmla="*/ 448469 h 927894"/>
              <a:gd name="connsiteX2" fmla="*/ 796925 w 1410495"/>
              <a:gd name="connsiteY2" fmla="*/ 0 h 927894"/>
              <a:gd name="connsiteX3" fmla="*/ 1410495 w 1410495"/>
              <a:gd name="connsiteY3" fmla="*/ 350838 h 927894"/>
              <a:gd name="connsiteX4" fmla="*/ 1409700 w 1410495"/>
              <a:gd name="connsiteY4" fmla="*/ 470693 h 927894"/>
              <a:gd name="connsiteX5" fmla="*/ 587375 w 1410495"/>
              <a:gd name="connsiteY5" fmla="*/ 927894 h 927894"/>
              <a:gd name="connsiteX6" fmla="*/ 6350 w 1410495"/>
              <a:gd name="connsiteY6" fmla="*/ 591344 h 927894"/>
              <a:gd name="connsiteX0" fmla="*/ 6350 w 1410495"/>
              <a:gd name="connsiteY0" fmla="*/ 591344 h 927894"/>
              <a:gd name="connsiteX1" fmla="*/ 0 w 1410495"/>
              <a:gd name="connsiteY1" fmla="*/ 448469 h 927894"/>
              <a:gd name="connsiteX2" fmla="*/ 796925 w 1410495"/>
              <a:gd name="connsiteY2" fmla="*/ 0 h 927894"/>
              <a:gd name="connsiteX3" fmla="*/ 1410495 w 1410495"/>
              <a:gd name="connsiteY3" fmla="*/ 350838 h 927894"/>
              <a:gd name="connsiteX4" fmla="*/ 1366838 w 1410495"/>
              <a:gd name="connsiteY4" fmla="*/ 496887 h 927894"/>
              <a:gd name="connsiteX5" fmla="*/ 587375 w 1410495"/>
              <a:gd name="connsiteY5" fmla="*/ 927894 h 927894"/>
              <a:gd name="connsiteX6" fmla="*/ 6350 w 1410495"/>
              <a:gd name="connsiteY6" fmla="*/ 591344 h 927894"/>
              <a:gd name="connsiteX0" fmla="*/ 6350 w 1367030"/>
              <a:gd name="connsiteY0" fmla="*/ 591344 h 927894"/>
              <a:gd name="connsiteX1" fmla="*/ 0 w 1367030"/>
              <a:gd name="connsiteY1" fmla="*/ 448469 h 927894"/>
              <a:gd name="connsiteX2" fmla="*/ 796925 w 1367030"/>
              <a:gd name="connsiteY2" fmla="*/ 0 h 927894"/>
              <a:gd name="connsiteX3" fmla="*/ 1365252 w 1367030"/>
              <a:gd name="connsiteY3" fmla="*/ 367506 h 927894"/>
              <a:gd name="connsiteX4" fmla="*/ 1366838 w 1367030"/>
              <a:gd name="connsiteY4" fmla="*/ 496887 h 927894"/>
              <a:gd name="connsiteX5" fmla="*/ 587375 w 1367030"/>
              <a:gd name="connsiteY5" fmla="*/ 927894 h 927894"/>
              <a:gd name="connsiteX6" fmla="*/ 6350 w 1367030"/>
              <a:gd name="connsiteY6" fmla="*/ 591344 h 927894"/>
              <a:gd name="connsiteX0" fmla="*/ 6350 w 1374777"/>
              <a:gd name="connsiteY0" fmla="*/ 591344 h 927894"/>
              <a:gd name="connsiteX1" fmla="*/ 0 w 1374777"/>
              <a:gd name="connsiteY1" fmla="*/ 448469 h 927894"/>
              <a:gd name="connsiteX2" fmla="*/ 796925 w 1374777"/>
              <a:gd name="connsiteY2" fmla="*/ 0 h 927894"/>
              <a:gd name="connsiteX3" fmla="*/ 1374777 w 1374777"/>
              <a:gd name="connsiteY3" fmla="*/ 360363 h 927894"/>
              <a:gd name="connsiteX4" fmla="*/ 1366838 w 1374777"/>
              <a:gd name="connsiteY4" fmla="*/ 496887 h 927894"/>
              <a:gd name="connsiteX5" fmla="*/ 587375 w 1374777"/>
              <a:gd name="connsiteY5" fmla="*/ 927894 h 927894"/>
              <a:gd name="connsiteX6" fmla="*/ 6350 w 1374777"/>
              <a:gd name="connsiteY6" fmla="*/ 591344 h 927894"/>
              <a:gd name="connsiteX0" fmla="*/ 6350 w 1378868"/>
              <a:gd name="connsiteY0" fmla="*/ 591344 h 927894"/>
              <a:gd name="connsiteX1" fmla="*/ 0 w 1378868"/>
              <a:gd name="connsiteY1" fmla="*/ 448469 h 927894"/>
              <a:gd name="connsiteX2" fmla="*/ 796925 w 1378868"/>
              <a:gd name="connsiteY2" fmla="*/ 0 h 927894"/>
              <a:gd name="connsiteX3" fmla="*/ 1374777 w 1378868"/>
              <a:gd name="connsiteY3" fmla="*/ 360363 h 927894"/>
              <a:gd name="connsiteX4" fmla="*/ 1378744 w 1378868"/>
              <a:gd name="connsiteY4" fmla="*/ 492124 h 927894"/>
              <a:gd name="connsiteX5" fmla="*/ 587375 w 1378868"/>
              <a:gd name="connsiteY5" fmla="*/ 927894 h 927894"/>
              <a:gd name="connsiteX6" fmla="*/ 6350 w 1378868"/>
              <a:gd name="connsiteY6" fmla="*/ 591344 h 927894"/>
              <a:gd name="connsiteX0" fmla="*/ 6350 w 1378804"/>
              <a:gd name="connsiteY0" fmla="*/ 591344 h 927894"/>
              <a:gd name="connsiteX1" fmla="*/ 0 w 1378804"/>
              <a:gd name="connsiteY1" fmla="*/ 448469 h 927894"/>
              <a:gd name="connsiteX2" fmla="*/ 796925 w 1378804"/>
              <a:gd name="connsiteY2" fmla="*/ 0 h 927894"/>
              <a:gd name="connsiteX3" fmla="*/ 1367633 w 1378804"/>
              <a:gd name="connsiteY3" fmla="*/ 362744 h 927894"/>
              <a:gd name="connsiteX4" fmla="*/ 1378744 w 1378804"/>
              <a:gd name="connsiteY4" fmla="*/ 492124 h 927894"/>
              <a:gd name="connsiteX5" fmla="*/ 587375 w 1378804"/>
              <a:gd name="connsiteY5" fmla="*/ 927894 h 927894"/>
              <a:gd name="connsiteX6" fmla="*/ 6350 w 1378804"/>
              <a:gd name="connsiteY6" fmla="*/ 591344 h 927894"/>
              <a:gd name="connsiteX0" fmla="*/ 6350 w 1378936"/>
              <a:gd name="connsiteY0" fmla="*/ 591344 h 927894"/>
              <a:gd name="connsiteX1" fmla="*/ 0 w 1378936"/>
              <a:gd name="connsiteY1" fmla="*/ 448469 h 927894"/>
              <a:gd name="connsiteX2" fmla="*/ 796925 w 1378936"/>
              <a:gd name="connsiteY2" fmla="*/ 0 h 927894"/>
              <a:gd name="connsiteX3" fmla="*/ 1377158 w 1378936"/>
              <a:gd name="connsiteY3" fmla="*/ 360363 h 927894"/>
              <a:gd name="connsiteX4" fmla="*/ 1378744 w 1378936"/>
              <a:gd name="connsiteY4" fmla="*/ 492124 h 927894"/>
              <a:gd name="connsiteX5" fmla="*/ 587375 w 1378936"/>
              <a:gd name="connsiteY5" fmla="*/ 927894 h 927894"/>
              <a:gd name="connsiteX6" fmla="*/ 6350 w 1378936"/>
              <a:gd name="connsiteY6" fmla="*/ 591344 h 927894"/>
              <a:gd name="connsiteX0" fmla="*/ 6350 w 1377158"/>
              <a:gd name="connsiteY0" fmla="*/ 591344 h 927894"/>
              <a:gd name="connsiteX1" fmla="*/ 0 w 1377158"/>
              <a:gd name="connsiteY1" fmla="*/ 448469 h 927894"/>
              <a:gd name="connsiteX2" fmla="*/ 796925 w 1377158"/>
              <a:gd name="connsiteY2" fmla="*/ 0 h 927894"/>
              <a:gd name="connsiteX3" fmla="*/ 1377158 w 1377158"/>
              <a:gd name="connsiteY3" fmla="*/ 360363 h 927894"/>
              <a:gd name="connsiteX4" fmla="*/ 1366838 w 1377158"/>
              <a:gd name="connsiteY4" fmla="*/ 496887 h 927894"/>
              <a:gd name="connsiteX5" fmla="*/ 587375 w 1377158"/>
              <a:gd name="connsiteY5" fmla="*/ 927894 h 927894"/>
              <a:gd name="connsiteX6" fmla="*/ 6350 w 1377158"/>
              <a:gd name="connsiteY6" fmla="*/ 591344 h 927894"/>
              <a:gd name="connsiteX0" fmla="*/ 6350 w 1367030"/>
              <a:gd name="connsiteY0" fmla="*/ 591344 h 927894"/>
              <a:gd name="connsiteX1" fmla="*/ 0 w 1367030"/>
              <a:gd name="connsiteY1" fmla="*/ 448469 h 927894"/>
              <a:gd name="connsiteX2" fmla="*/ 796925 w 1367030"/>
              <a:gd name="connsiteY2" fmla="*/ 0 h 927894"/>
              <a:gd name="connsiteX3" fmla="*/ 1365252 w 1367030"/>
              <a:gd name="connsiteY3" fmla="*/ 367507 h 927894"/>
              <a:gd name="connsiteX4" fmla="*/ 1366838 w 1367030"/>
              <a:gd name="connsiteY4" fmla="*/ 496887 h 927894"/>
              <a:gd name="connsiteX5" fmla="*/ 587375 w 1367030"/>
              <a:gd name="connsiteY5" fmla="*/ 927894 h 927894"/>
              <a:gd name="connsiteX6" fmla="*/ 6350 w 1367030"/>
              <a:gd name="connsiteY6" fmla="*/ 591344 h 927894"/>
              <a:gd name="connsiteX0" fmla="*/ 6350 w 1365252"/>
              <a:gd name="connsiteY0" fmla="*/ 591344 h 927894"/>
              <a:gd name="connsiteX1" fmla="*/ 0 w 1365252"/>
              <a:gd name="connsiteY1" fmla="*/ 448469 h 927894"/>
              <a:gd name="connsiteX2" fmla="*/ 796925 w 1365252"/>
              <a:gd name="connsiteY2" fmla="*/ 0 h 927894"/>
              <a:gd name="connsiteX3" fmla="*/ 1365252 w 1365252"/>
              <a:gd name="connsiteY3" fmla="*/ 367507 h 927894"/>
              <a:gd name="connsiteX4" fmla="*/ 1364457 w 1365252"/>
              <a:gd name="connsiteY4" fmla="*/ 496887 h 927894"/>
              <a:gd name="connsiteX5" fmla="*/ 587375 w 1365252"/>
              <a:gd name="connsiteY5" fmla="*/ 927894 h 927894"/>
              <a:gd name="connsiteX6" fmla="*/ 6350 w 1365252"/>
              <a:gd name="connsiteY6" fmla="*/ 591344 h 927894"/>
              <a:gd name="connsiteX0" fmla="*/ 6350 w 1364581"/>
              <a:gd name="connsiteY0" fmla="*/ 591344 h 927894"/>
              <a:gd name="connsiteX1" fmla="*/ 0 w 1364581"/>
              <a:gd name="connsiteY1" fmla="*/ 448469 h 927894"/>
              <a:gd name="connsiteX2" fmla="*/ 796925 w 1364581"/>
              <a:gd name="connsiteY2" fmla="*/ 0 h 927894"/>
              <a:gd name="connsiteX3" fmla="*/ 1360490 w 1364581"/>
              <a:gd name="connsiteY3" fmla="*/ 367507 h 927894"/>
              <a:gd name="connsiteX4" fmla="*/ 1364457 w 1364581"/>
              <a:gd name="connsiteY4" fmla="*/ 496887 h 927894"/>
              <a:gd name="connsiteX5" fmla="*/ 587375 w 1364581"/>
              <a:gd name="connsiteY5" fmla="*/ 927894 h 927894"/>
              <a:gd name="connsiteX6" fmla="*/ 6350 w 1364581"/>
              <a:gd name="connsiteY6" fmla="*/ 591344 h 927894"/>
              <a:gd name="connsiteX0" fmla="*/ 6350 w 1364581"/>
              <a:gd name="connsiteY0" fmla="*/ 560388 h 896938"/>
              <a:gd name="connsiteX1" fmla="*/ 0 w 1364581"/>
              <a:gd name="connsiteY1" fmla="*/ 417513 h 896938"/>
              <a:gd name="connsiteX2" fmla="*/ 749300 w 1364581"/>
              <a:gd name="connsiteY2" fmla="*/ 0 h 896938"/>
              <a:gd name="connsiteX3" fmla="*/ 1360490 w 1364581"/>
              <a:gd name="connsiteY3" fmla="*/ 336551 h 896938"/>
              <a:gd name="connsiteX4" fmla="*/ 1364457 w 1364581"/>
              <a:gd name="connsiteY4" fmla="*/ 465931 h 896938"/>
              <a:gd name="connsiteX5" fmla="*/ 587375 w 1364581"/>
              <a:gd name="connsiteY5" fmla="*/ 896938 h 896938"/>
              <a:gd name="connsiteX6" fmla="*/ 6350 w 1364581"/>
              <a:gd name="connsiteY6" fmla="*/ 560388 h 896938"/>
              <a:gd name="connsiteX0" fmla="*/ 6350 w 1364581"/>
              <a:gd name="connsiteY0" fmla="*/ 531813 h 868363"/>
              <a:gd name="connsiteX1" fmla="*/ 0 w 1364581"/>
              <a:gd name="connsiteY1" fmla="*/ 388938 h 868363"/>
              <a:gd name="connsiteX2" fmla="*/ 668338 w 1364581"/>
              <a:gd name="connsiteY2" fmla="*/ 0 h 868363"/>
              <a:gd name="connsiteX3" fmla="*/ 1360490 w 1364581"/>
              <a:gd name="connsiteY3" fmla="*/ 307976 h 868363"/>
              <a:gd name="connsiteX4" fmla="*/ 1364457 w 1364581"/>
              <a:gd name="connsiteY4" fmla="*/ 437356 h 868363"/>
              <a:gd name="connsiteX5" fmla="*/ 587375 w 1364581"/>
              <a:gd name="connsiteY5" fmla="*/ 868363 h 868363"/>
              <a:gd name="connsiteX6" fmla="*/ 6350 w 1364581"/>
              <a:gd name="connsiteY6" fmla="*/ 531813 h 868363"/>
              <a:gd name="connsiteX0" fmla="*/ 6350 w 1364473"/>
              <a:gd name="connsiteY0" fmla="*/ 531813 h 868363"/>
              <a:gd name="connsiteX1" fmla="*/ 0 w 1364473"/>
              <a:gd name="connsiteY1" fmla="*/ 388938 h 868363"/>
              <a:gd name="connsiteX2" fmla="*/ 668338 w 1364473"/>
              <a:gd name="connsiteY2" fmla="*/ 0 h 868363"/>
              <a:gd name="connsiteX3" fmla="*/ 1317627 w 1364473"/>
              <a:gd name="connsiteY3" fmla="*/ 327026 h 868363"/>
              <a:gd name="connsiteX4" fmla="*/ 1364457 w 1364473"/>
              <a:gd name="connsiteY4" fmla="*/ 437356 h 868363"/>
              <a:gd name="connsiteX5" fmla="*/ 587375 w 1364473"/>
              <a:gd name="connsiteY5" fmla="*/ 868363 h 868363"/>
              <a:gd name="connsiteX6" fmla="*/ 6350 w 1364473"/>
              <a:gd name="connsiteY6" fmla="*/ 531813 h 868363"/>
              <a:gd name="connsiteX0" fmla="*/ 6350 w 1364473"/>
              <a:gd name="connsiteY0" fmla="*/ 543719 h 880269"/>
              <a:gd name="connsiteX1" fmla="*/ 0 w 1364473"/>
              <a:gd name="connsiteY1" fmla="*/ 400844 h 880269"/>
              <a:gd name="connsiteX2" fmla="*/ 689769 w 1364473"/>
              <a:gd name="connsiteY2" fmla="*/ 0 h 880269"/>
              <a:gd name="connsiteX3" fmla="*/ 1317627 w 1364473"/>
              <a:gd name="connsiteY3" fmla="*/ 338932 h 880269"/>
              <a:gd name="connsiteX4" fmla="*/ 1364457 w 1364473"/>
              <a:gd name="connsiteY4" fmla="*/ 449262 h 880269"/>
              <a:gd name="connsiteX5" fmla="*/ 587375 w 1364473"/>
              <a:gd name="connsiteY5" fmla="*/ 880269 h 880269"/>
              <a:gd name="connsiteX6" fmla="*/ 6350 w 1364473"/>
              <a:gd name="connsiteY6" fmla="*/ 543719 h 880269"/>
              <a:gd name="connsiteX0" fmla="*/ 6350 w 1364470"/>
              <a:gd name="connsiteY0" fmla="*/ 543719 h 880269"/>
              <a:gd name="connsiteX1" fmla="*/ 0 w 1364470"/>
              <a:gd name="connsiteY1" fmla="*/ 400844 h 880269"/>
              <a:gd name="connsiteX2" fmla="*/ 689769 w 1364470"/>
              <a:gd name="connsiteY2" fmla="*/ 0 h 880269"/>
              <a:gd name="connsiteX3" fmla="*/ 1305721 w 1364470"/>
              <a:gd name="connsiteY3" fmla="*/ 348457 h 880269"/>
              <a:gd name="connsiteX4" fmla="*/ 1364457 w 1364470"/>
              <a:gd name="connsiteY4" fmla="*/ 449262 h 880269"/>
              <a:gd name="connsiteX5" fmla="*/ 587375 w 1364470"/>
              <a:gd name="connsiteY5" fmla="*/ 880269 h 880269"/>
              <a:gd name="connsiteX6" fmla="*/ 6350 w 1364470"/>
              <a:gd name="connsiteY6" fmla="*/ 543719 h 880269"/>
              <a:gd name="connsiteX0" fmla="*/ 6350 w 1305721"/>
              <a:gd name="connsiteY0" fmla="*/ 543719 h 880269"/>
              <a:gd name="connsiteX1" fmla="*/ 0 w 1305721"/>
              <a:gd name="connsiteY1" fmla="*/ 400844 h 880269"/>
              <a:gd name="connsiteX2" fmla="*/ 689769 w 1305721"/>
              <a:gd name="connsiteY2" fmla="*/ 0 h 880269"/>
              <a:gd name="connsiteX3" fmla="*/ 1305721 w 1305721"/>
              <a:gd name="connsiteY3" fmla="*/ 348457 h 880269"/>
              <a:gd name="connsiteX4" fmla="*/ 1302544 w 1305721"/>
              <a:gd name="connsiteY4" fmla="*/ 477837 h 880269"/>
              <a:gd name="connsiteX5" fmla="*/ 587375 w 1305721"/>
              <a:gd name="connsiteY5" fmla="*/ 880269 h 880269"/>
              <a:gd name="connsiteX6" fmla="*/ 6350 w 1305721"/>
              <a:gd name="connsiteY6" fmla="*/ 543719 h 88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21" h="880269">
                <a:moveTo>
                  <a:pt x="6350" y="543719"/>
                </a:moveTo>
                <a:lnTo>
                  <a:pt x="0" y="400844"/>
                </a:lnTo>
                <a:lnTo>
                  <a:pt x="689769" y="0"/>
                </a:lnTo>
                <a:lnTo>
                  <a:pt x="1305721" y="348457"/>
                </a:lnTo>
                <a:cubicBezTo>
                  <a:pt x="1304663" y="390790"/>
                  <a:pt x="1303602" y="435504"/>
                  <a:pt x="1302544" y="477837"/>
                </a:cubicBezTo>
                <a:lnTo>
                  <a:pt x="587375" y="880269"/>
                </a:lnTo>
                <a:lnTo>
                  <a:pt x="6350" y="543719"/>
                </a:lnTo>
                <a:close/>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nvGrpSpPr>
          <p:cNvPr id="1714" name="Group 1713">
            <a:extLst>
              <a:ext uri="{FF2B5EF4-FFF2-40B4-BE49-F238E27FC236}">
                <a16:creationId xmlns:a16="http://schemas.microsoft.com/office/drawing/2014/main" id="{CD32D067-3C2D-43B0-93FA-8F7CF8404B44}"/>
              </a:ext>
            </a:extLst>
          </p:cNvPr>
          <p:cNvGrpSpPr/>
          <p:nvPr/>
        </p:nvGrpSpPr>
        <p:grpSpPr bwMode="gray">
          <a:xfrm>
            <a:off x="5072059" y="4108974"/>
            <a:ext cx="1331961" cy="1096850"/>
            <a:chOff x="4162011" y="3949320"/>
            <a:chExt cx="1331961" cy="1096850"/>
          </a:xfrm>
        </p:grpSpPr>
        <p:sp>
          <p:nvSpPr>
            <p:cNvPr id="619" name="Freeform: Shape 618">
              <a:extLst>
                <a:ext uri="{FF2B5EF4-FFF2-40B4-BE49-F238E27FC236}">
                  <a16:creationId xmlns:a16="http://schemas.microsoft.com/office/drawing/2014/main" id="{F3AACF86-FC15-4B5C-B1D0-4F9972BD4B6C}"/>
                </a:ext>
              </a:extLst>
            </p:cNvPr>
            <p:cNvSpPr/>
            <p:nvPr/>
          </p:nvSpPr>
          <p:spPr bwMode="gray">
            <a:xfrm flipV="1">
              <a:off x="4222472" y="3949320"/>
              <a:ext cx="1262509" cy="1096850"/>
            </a:xfrm>
            <a:custGeom>
              <a:avLst/>
              <a:gdLst>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42257 w 1436543"/>
                <a:gd name="connsiteY32" fmla="*/ 820790 h 1155035"/>
                <a:gd name="connsiteX33" fmla="*/ 1044634 w 1436543"/>
                <a:gd name="connsiteY33" fmla="*/ 822488 h 1155035"/>
                <a:gd name="connsiteX34" fmla="*/ 1046850 w 1436543"/>
                <a:gd name="connsiteY34" fmla="*/ 831340 h 1155035"/>
                <a:gd name="connsiteX35" fmla="*/ 1050125 w 1436543"/>
                <a:gd name="connsiteY35" fmla="*/ 834070 h 1155035"/>
                <a:gd name="connsiteX36" fmla="*/ 1342965 w 1436543"/>
                <a:gd name="connsiteY36" fmla="*/ 1006203 h 1155035"/>
                <a:gd name="connsiteX37" fmla="*/ 1343068 w 1436543"/>
                <a:gd name="connsiteY37" fmla="*/ 1006223 h 1155035"/>
                <a:gd name="connsiteX38" fmla="*/ 1344215 w 1436543"/>
                <a:gd name="connsiteY38" fmla="*/ 1010719 h 1155035"/>
                <a:gd name="connsiteX39" fmla="*/ 1330734 w 1436543"/>
                <a:gd name="connsiteY39" fmla="*/ 1028433 h 1155035"/>
                <a:gd name="connsiteX40" fmla="*/ 1238815 w 1436543"/>
                <a:gd name="connsiteY40" fmla="*/ 1081504 h 1155035"/>
                <a:gd name="connsiteX41" fmla="*/ 1238433 w 1436543"/>
                <a:gd name="connsiteY41" fmla="*/ 1129401 h 1155035"/>
                <a:gd name="connsiteX42" fmla="*/ 1270298 w 1436543"/>
                <a:gd name="connsiteY42"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42257 w 1436543"/>
                <a:gd name="connsiteY32" fmla="*/ 820790 h 1155035"/>
                <a:gd name="connsiteX33" fmla="*/ 1044634 w 1436543"/>
                <a:gd name="connsiteY33" fmla="*/ 822488 h 1155035"/>
                <a:gd name="connsiteX34" fmla="*/ 1046850 w 1436543"/>
                <a:gd name="connsiteY34" fmla="*/ 831340 h 1155035"/>
                <a:gd name="connsiteX35" fmla="*/ 1342965 w 1436543"/>
                <a:gd name="connsiteY35" fmla="*/ 1006203 h 1155035"/>
                <a:gd name="connsiteX36" fmla="*/ 1343068 w 1436543"/>
                <a:gd name="connsiteY36" fmla="*/ 1006223 h 1155035"/>
                <a:gd name="connsiteX37" fmla="*/ 1344215 w 1436543"/>
                <a:gd name="connsiteY37" fmla="*/ 1010719 h 1155035"/>
                <a:gd name="connsiteX38" fmla="*/ 1330734 w 1436543"/>
                <a:gd name="connsiteY38" fmla="*/ 1028433 h 1155035"/>
                <a:gd name="connsiteX39" fmla="*/ 1238815 w 1436543"/>
                <a:gd name="connsiteY39" fmla="*/ 1081504 h 1155035"/>
                <a:gd name="connsiteX40" fmla="*/ 1238433 w 1436543"/>
                <a:gd name="connsiteY40" fmla="*/ 1129401 h 1155035"/>
                <a:gd name="connsiteX41" fmla="*/ 1270298 w 1436543"/>
                <a:gd name="connsiteY41"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42257 w 1436543"/>
                <a:gd name="connsiteY32" fmla="*/ 820790 h 1155035"/>
                <a:gd name="connsiteX33" fmla="*/ 1044634 w 1436543"/>
                <a:gd name="connsiteY33" fmla="*/ 822488 h 1155035"/>
                <a:gd name="connsiteX34" fmla="*/ 1342965 w 1436543"/>
                <a:gd name="connsiteY34" fmla="*/ 1006203 h 1155035"/>
                <a:gd name="connsiteX35" fmla="*/ 1343068 w 1436543"/>
                <a:gd name="connsiteY35" fmla="*/ 1006223 h 1155035"/>
                <a:gd name="connsiteX36" fmla="*/ 1344215 w 1436543"/>
                <a:gd name="connsiteY36" fmla="*/ 1010719 h 1155035"/>
                <a:gd name="connsiteX37" fmla="*/ 1330734 w 1436543"/>
                <a:gd name="connsiteY37" fmla="*/ 1028433 h 1155035"/>
                <a:gd name="connsiteX38" fmla="*/ 1238815 w 1436543"/>
                <a:gd name="connsiteY38" fmla="*/ 1081504 h 1155035"/>
                <a:gd name="connsiteX39" fmla="*/ 1238433 w 1436543"/>
                <a:gd name="connsiteY39" fmla="*/ 1129401 h 1155035"/>
                <a:gd name="connsiteX40" fmla="*/ 1270298 w 1436543"/>
                <a:gd name="connsiteY40"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42257 w 1436543"/>
                <a:gd name="connsiteY32" fmla="*/ 820790 h 1155035"/>
                <a:gd name="connsiteX33" fmla="*/ 1054159 w 1436543"/>
                <a:gd name="connsiteY33" fmla="*/ 841538 h 1155035"/>
                <a:gd name="connsiteX34" fmla="*/ 1342965 w 1436543"/>
                <a:gd name="connsiteY34" fmla="*/ 1006203 h 1155035"/>
                <a:gd name="connsiteX35" fmla="*/ 1343068 w 1436543"/>
                <a:gd name="connsiteY35" fmla="*/ 1006223 h 1155035"/>
                <a:gd name="connsiteX36" fmla="*/ 1344215 w 1436543"/>
                <a:gd name="connsiteY36" fmla="*/ 1010719 h 1155035"/>
                <a:gd name="connsiteX37" fmla="*/ 1330734 w 1436543"/>
                <a:gd name="connsiteY37" fmla="*/ 1028433 h 1155035"/>
                <a:gd name="connsiteX38" fmla="*/ 1238815 w 1436543"/>
                <a:gd name="connsiteY38" fmla="*/ 1081504 h 1155035"/>
                <a:gd name="connsiteX39" fmla="*/ 1238433 w 1436543"/>
                <a:gd name="connsiteY39" fmla="*/ 1129401 h 1155035"/>
                <a:gd name="connsiteX40" fmla="*/ 1270298 w 1436543"/>
                <a:gd name="connsiteY40"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54159 w 1436543"/>
                <a:gd name="connsiteY32" fmla="*/ 841538 h 1155035"/>
                <a:gd name="connsiteX33" fmla="*/ 1342965 w 1436543"/>
                <a:gd name="connsiteY33" fmla="*/ 1006203 h 1155035"/>
                <a:gd name="connsiteX34" fmla="*/ 1343068 w 1436543"/>
                <a:gd name="connsiteY34" fmla="*/ 1006223 h 1155035"/>
                <a:gd name="connsiteX35" fmla="*/ 1344215 w 1436543"/>
                <a:gd name="connsiteY35" fmla="*/ 1010719 h 1155035"/>
                <a:gd name="connsiteX36" fmla="*/ 1330734 w 1436543"/>
                <a:gd name="connsiteY36" fmla="*/ 1028433 h 1155035"/>
                <a:gd name="connsiteX37" fmla="*/ 1238815 w 1436543"/>
                <a:gd name="connsiteY37" fmla="*/ 1081504 h 1155035"/>
                <a:gd name="connsiteX38" fmla="*/ 1238433 w 1436543"/>
                <a:gd name="connsiteY38" fmla="*/ 1129401 h 1155035"/>
                <a:gd name="connsiteX39" fmla="*/ 1270298 w 1436543"/>
                <a:gd name="connsiteY39"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54159 w 1436543"/>
                <a:gd name="connsiteY32" fmla="*/ 841538 h 1155035"/>
                <a:gd name="connsiteX33" fmla="*/ 1342965 w 1436543"/>
                <a:gd name="connsiteY33" fmla="*/ 1006203 h 1155035"/>
                <a:gd name="connsiteX34" fmla="*/ 1343068 w 1436543"/>
                <a:gd name="connsiteY34" fmla="*/ 1006223 h 1155035"/>
                <a:gd name="connsiteX35" fmla="*/ 1344215 w 1436543"/>
                <a:gd name="connsiteY35" fmla="*/ 1010719 h 1155035"/>
                <a:gd name="connsiteX36" fmla="*/ 1330734 w 1436543"/>
                <a:gd name="connsiteY36" fmla="*/ 1028433 h 1155035"/>
                <a:gd name="connsiteX37" fmla="*/ 1238815 w 1436543"/>
                <a:gd name="connsiteY37" fmla="*/ 1081504 h 1155035"/>
                <a:gd name="connsiteX38" fmla="*/ 1238433 w 1436543"/>
                <a:gd name="connsiteY38" fmla="*/ 1129401 h 1155035"/>
                <a:gd name="connsiteX39" fmla="*/ 1270298 w 1436543"/>
                <a:gd name="connsiteY39"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54159 w 1436543"/>
                <a:gd name="connsiteY32" fmla="*/ 841538 h 1155035"/>
                <a:gd name="connsiteX33" fmla="*/ 1342965 w 1436543"/>
                <a:gd name="connsiteY33" fmla="*/ 1006203 h 1155035"/>
                <a:gd name="connsiteX34" fmla="*/ 1343068 w 1436543"/>
                <a:gd name="connsiteY34" fmla="*/ 1006223 h 1155035"/>
                <a:gd name="connsiteX35" fmla="*/ 1344215 w 1436543"/>
                <a:gd name="connsiteY35" fmla="*/ 1010719 h 1155035"/>
                <a:gd name="connsiteX36" fmla="*/ 1330734 w 1436543"/>
                <a:gd name="connsiteY36" fmla="*/ 1028433 h 1155035"/>
                <a:gd name="connsiteX37" fmla="*/ 1238815 w 1436543"/>
                <a:gd name="connsiteY37" fmla="*/ 1081504 h 1155035"/>
                <a:gd name="connsiteX38" fmla="*/ 1238433 w 1436543"/>
                <a:gd name="connsiteY38" fmla="*/ 1129401 h 1155035"/>
                <a:gd name="connsiteX39" fmla="*/ 1270298 w 1436543"/>
                <a:gd name="connsiteY39"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85425 w 1436543"/>
                <a:gd name="connsiteY27" fmla="*/ 137067 h 1155035"/>
                <a:gd name="connsiteX28" fmla="*/ 1025799 w 1436543"/>
                <a:gd name="connsiteY28" fmla="*/ 619927 h 1155035"/>
                <a:gd name="connsiteX29" fmla="*/ 1037379 w 1436543"/>
                <a:gd name="connsiteY29" fmla="*/ 639985 h 1155035"/>
                <a:gd name="connsiteX30" fmla="*/ 1037363 w 1436543"/>
                <a:gd name="connsiteY30" fmla="*/ 642575 h 1155035"/>
                <a:gd name="connsiteX31" fmla="*/ 1037046 w 1436543"/>
                <a:gd name="connsiteY31" fmla="*/ 641242 h 1155035"/>
                <a:gd name="connsiteX32" fmla="*/ 1039018 w 1436543"/>
                <a:gd name="connsiteY32" fmla="*/ 811357 h 1155035"/>
                <a:gd name="connsiteX33" fmla="*/ 1054159 w 1436543"/>
                <a:gd name="connsiteY33" fmla="*/ 841538 h 1155035"/>
                <a:gd name="connsiteX34" fmla="*/ 1342965 w 1436543"/>
                <a:gd name="connsiteY34" fmla="*/ 1006203 h 1155035"/>
                <a:gd name="connsiteX35" fmla="*/ 1343068 w 1436543"/>
                <a:gd name="connsiteY35" fmla="*/ 1006223 h 1155035"/>
                <a:gd name="connsiteX36" fmla="*/ 1344215 w 1436543"/>
                <a:gd name="connsiteY36" fmla="*/ 1010719 h 1155035"/>
                <a:gd name="connsiteX37" fmla="*/ 1330734 w 1436543"/>
                <a:gd name="connsiteY37" fmla="*/ 1028433 h 1155035"/>
                <a:gd name="connsiteX38" fmla="*/ 1238815 w 1436543"/>
                <a:gd name="connsiteY38" fmla="*/ 1081504 h 1155035"/>
                <a:gd name="connsiteX39" fmla="*/ 1238433 w 1436543"/>
                <a:gd name="connsiteY39" fmla="*/ 1129401 h 1155035"/>
                <a:gd name="connsiteX40" fmla="*/ 1270298 w 1436543"/>
                <a:gd name="connsiteY40"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221143 w 1436543"/>
                <a:gd name="connsiteY12" fmla="*/ 63249 h 1155035"/>
                <a:gd name="connsiteX13" fmla="*/ 118741 w 1436543"/>
                <a:gd name="connsiteY13" fmla="*/ 5629 h 1155035"/>
                <a:gd name="connsiteX14" fmla="*/ 86142 w 1436543"/>
                <a:gd name="connsiteY14" fmla="*/ 108 h 1155035"/>
                <a:gd name="connsiteX15" fmla="*/ 43540 w 1436543"/>
                <a:gd name="connsiteY15" fmla="*/ 13965 h 1155035"/>
                <a:gd name="connsiteX16" fmla="*/ 14422 w 1436543"/>
                <a:gd name="connsiteY16" fmla="*/ 45201 h 1155035"/>
                <a:gd name="connsiteX17" fmla="*/ 911 w 1436543"/>
                <a:gd name="connsiteY17" fmla="*/ 97582 h 1155035"/>
                <a:gd name="connsiteX18" fmla="*/ 1629 w 1436543"/>
                <a:gd name="connsiteY18" fmla="*/ 212545 h 1155035"/>
                <a:gd name="connsiteX19" fmla="*/ 4867 w 1436543"/>
                <a:gd name="connsiteY19" fmla="*/ 221978 h 1155035"/>
                <a:gd name="connsiteX20" fmla="*/ 42843 w 1436543"/>
                <a:gd name="connsiteY20" fmla="*/ 236780 h 1155035"/>
                <a:gd name="connsiteX21" fmla="*/ 84057 w 1436543"/>
                <a:gd name="connsiteY21" fmla="*/ 212545 h 1155035"/>
                <a:gd name="connsiteX22" fmla="*/ 84058 w 1436543"/>
                <a:gd name="connsiteY22" fmla="*/ 106600 h 1155035"/>
                <a:gd name="connsiteX23" fmla="*/ 83306 w 1436543"/>
                <a:gd name="connsiteY23" fmla="*/ 104410 h 1155035"/>
                <a:gd name="connsiteX24" fmla="*/ 83323 w 1436543"/>
                <a:gd name="connsiteY24" fmla="*/ 98354 h 1155035"/>
                <a:gd name="connsiteX25" fmla="*/ 92642 w 1436543"/>
                <a:gd name="connsiteY25" fmla="*/ 86106 h 1155035"/>
                <a:gd name="connsiteX26" fmla="*/ 97101 w 1436543"/>
                <a:gd name="connsiteY26" fmla="*/ 84854 h 1155035"/>
                <a:gd name="connsiteX27" fmla="*/ 97170 w 1436543"/>
                <a:gd name="connsiteY27" fmla="*/ 84933 h 1155035"/>
                <a:gd name="connsiteX28" fmla="*/ 185425 w 1436543"/>
                <a:gd name="connsiteY28" fmla="*/ 137067 h 1155035"/>
                <a:gd name="connsiteX29" fmla="*/ 1025799 w 1436543"/>
                <a:gd name="connsiteY29" fmla="*/ 619927 h 1155035"/>
                <a:gd name="connsiteX30" fmla="*/ 1037379 w 1436543"/>
                <a:gd name="connsiteY30" fmla="*/ 639985 h 1155035"/>
                <a:gd name="connsiteX31" fmla="*/ 1037363 w 1436543"/>
                <a:gd name="connsiteY31" fmla="*/ 642575 h 1155035"/>
                <a:gd name="connsiteX32" fmla="*/ 1037046 w 1436543"/>
                <a:gd name="connsiteY32" fmla="*/ 641242 h 1155035"/>
                <a:gd name="connsiteX33" fmla="*/ 1039018 w 1436543"/>
                <a:gd name="connsiteY33" fmla="*/ 811357 h 1155035"/>
                <a:gd name="connsiteX34" fmla="*/ 1054159 w 1436543"/>
                <a:gd name="connsiteY34" fmla="*/ 841538 h 1155035"/>
                <a:gd name="connsiteX35" fmla="*/ 1342965 w 1436543"/>
                <a:gd name="connsiteY35" fmla="*/ 1006203 h 1155035"/>
                <a:gd name="connsiteX36" fmla="*/ 1343068 w 1436543"/>
                <a:gd name="connsiteY36" fmla="*/ 1006223 h 1155035"/>
                <a:gd name="connsiteX37" fmla="*/ 1344215 w 1436543"/>
                <a:gd name="connsiteY37" fmla="*/ 1010719 h 1155035"/>
                <a:gd name="connsiteX38" fmla="*/ 1330734 w 1436543"/>
                <a:gd name="connsiteY38" fmla="*/ 1028433 h 1155035"/>
                <a:gd name="connsiteX39" fmla="*/ 1238815 w 1436543"/>
                <a:gd name="connsiteY39" fmla="*/ 1081504 h 1155035"/>
                <a:gd name="connsiteX40" fmla="*/ 1238433 w 1436543"/>
                <a:gd name="connsiteY40" fmla="*/ 1129401 h 1155035"/>
                <a:gd name="connsiteX41" fmla="*/ 1270298 w 1436543"/>
                <a:gd name="connsiteY41" fmla="*/ 1154936 h 1155035"/>
                <a:gd name="connsiteX0" fmla="*/ 1270298 w 1436543"/>
                <a:gd name="connsiteY0" fmla="*/ 1154858 h 1154957"/>
                <a:gd name="connsiteX1" fmla="*/ 1280105 w 1436543"/>
                <a:gd name="connsiteY1" fmla="*/ 1152943 h 1154957"/>
                <a:gd name="connsiteX2" fmla="*/ 1380208 w 1436543"/>
                <a:gd name="connsiteY2" fmla="*/ 1095977 h 1154957"/>
                <a:gd name="connsiteX3" fmla="*/ 1423171 w 1436543"/>
                <a:gd name="connsiteY3" fmla="*/ 1058016 h 1154957"/>
                <a:gd name="connsiteX4" fmla="*/ 1436543 w 1436543"/>
                <a:gd name="connsiteY4" fmla="*/ 1014536 h 1154957"/>
                <a:gd name="connsiteX5" fmla="*/ 1424655 w 1436543"/>
                <a:gd name="connsiteY5" fmla="*/ 974916 h 1154957"/>
                <a:gd name="connsiteX6" fmla="*/ 1400965 w 1436543"/>
                <a:gd name="connsiteY6" fmla="*/ 947685 h 1154957"/>
                <a:gd name="connsiteX7" fmla="*/ 1121192 w 1436543"/>
                <a:gd name="connsiteY7" fmla="*/ 784569 h 1154957"/>
                <a:gd name="connsiteX8" fmla="*/ 1119801 w 1436543"/>
                <a:gd name="connsiteY8" fmla="*/ 639129 h 1154957"/>
                <a:gd name="connsiteX9" fmla="*/ 1118773 w 1436543"/>
                <a:gd name="connsiteY9" fmla="*/ 627590 h 1154957"/>
                <a:gd name="connsiteX10" fmla="*/ 1106280 w 1436543"/>
                <a:gd name="connsiteY10" fmla="*/ 586755 h 1154957"/>
                <a:gd name="connsiteX11" fmla="*/ 1067673 w 1436543"/>
                <a:gd name="connsiteY11" fmla="*/ 548864 h 1154957"/>
                <a:gd name="connsiteX12" fmla="*/ 221143 w 1436543"/>
                <a:gd name="connsiteY12" fmla="*/ 63171 h 1154957"/>
                <a:gd name="connsiteX13" fmla="*/ 86142 w 1436543"/>
                <a:gd name="connsiteY13" fmla="*/ 30 h 1154957"/>
                <a:gd name="connsiteX14" fmla="*/ 43540 w 1436543"/>
                <a:gd name="connsiteY14" fmla="*/ 13887 h 1154957"/>
                <a:gd name="connsiteX15" fmla="*/ 14422 w 1436543"/>
                <a:gd name="connsiteY15" fmla="*/ 45123 h 1154957"/>
                <a:gd name="connsiteX16" fmla="*/ 911 w 1436543"/>
                <a:gd name="connsiteY16" fmla="*/ 97504 h 1154957"/>
                <a:gd name="connsiteX17" fmla="*/ 1629 w 1436543"/>
                <a:gd name="connsiteY17" fmla="*/ 212467 h 1154957"/>
                <a:gd name="connsiteX18" fmla="*/ 4867 w 1436543"/>
                <a:gd name="connsiteY18" fmla="*/ 221900 h 1154957"/>
                <a:gd name="connsiteX19" fmla="*/ 42843 w 1436543"/>
                <a:gd name="connsiteY19" fmla="*/ 236702 h 1154957"/>
                <a:gd name="connsiteX20" fmla="*/ 84057 w 1436543"/>
                <a:gd name="connsiteY20" fmla="*/ 212467 h 1154957"/>
                <a:gd name="connsiteX21" fmla="*/ 84058 w 1436543"/>
                <a:gd name="connsiteY21" fmla="*/ 106522 h 1154957"/>
                <a:gd name="connsiteX22" fmla="*/ 83306 w 1436543"/>
                <a:gd name="connsiteY22" fmla="*/ 104332 h 1154957"/>
                <a:gd name="connsiteX23" fmla="*/ 83323 w 1436543"/>
                <a:gd name="connsiteY23" fmla="*/ 98276 h 1154957"/>
                <a:gd name="connsiteX24" fmla="*/ 92642 w 1436543"/>
                <a:gd name="connsiteY24" fmla="*/ 86028 h 1154957"/>
                <a:gd name="connsiteX25" fmla="*/ 97101 w 1436543"/>
                <a:gd name="connsiteY25" fmla="*/ 84776 h 1154957"/>
                <a:gd name="connsiteX26" fmla="*/ 97170 w 1436543"/>
                <a:gd name="connsiteY26" fmla="*/ 84855 h 1154957"/>
                <a:gd name="connsiteX27" fmla="*/ 185425 w 1436543"/>
                <a:gd name="connsiteY27" fmla="*/ 136989 h 1154957"/>
                <a:gd name="connsiteX28" fmla="*/ 1025799 w 1436543"/>
                <a:gd name="connsiteY28" fmla="*/ 619849 h 1154957"/>
                <a:gd name="connsiteX29" fmla="*/ 1037379 w 1436543"/>
                <a:gd name="connsiteY29" fmla="*/ 639907 h 1154957"/>
                <a:gd name="connsiteX30" fmla="*/ 1037363 w 1436543"/>
                <a:gd name="connsiteY30" fmla="*/ 642497 h 1154957"/>
                <a:gd name="connsiteX31" fmla="*/ 1037046 w 1436543"/>
                <a:gd name="connsiteY31" fmla="*/ 641164 h 1154957"/>
                <a:gd name="connsiteX32" fmla="*/ 1039018 w 1436543"/>
                <a:gd name="connsiteY32" fmla="*/ 811279 h 1154957"/>
                <a:gd name="connsiteX33" fmla="*/ 1054159 w 1436543"/>
                <a:gd name="connsiteY33" fmla="*/ 841460 h 1154957"/>
                <a:gd name="connsiteX34" fmla="*/ 1342965 w 1436543"/>
                <a:gd name="connsiteY34" fmla="*/ 1006125 h 1154957"/>
                <a:gd name="connsiteX35" fmla="*/ 1343068 w 1436543"/>
                <a:gd name="connsiteY35" fmla="*/ 1006145 h 1154957"/>
                <a:gd name="connsiteX36" fmla="*/ 1344215 w 1436543"/>
                <a:gd name="connsiteY36" fmla="*/ 1010641 h 1154957"/>
                <a:gd name="connsiteX37" fmla="*/ 1330734 w 1436543"/>
                <a:gd name="connsiteY37" fmla="*/ 1028355 h 1154957"/>
                <a:gd name="connsiteX38" fmla="*/ 1238815 w 1436543"/>
                <a:gd name="connsiteY38" fmla="*/ 1081426 h 1154957"/>
                <a:gd name="connsiteX39" fmla="*/ 1238433 w 1436543"/>
                <a:gd name="connsiteY39" fmla="*/ 1129323 h 1154957"/>
                <a:gd name="connsiteX40" fmla="*/ 1270298 w 1436543"/>
                <a:gd name="connsiteY40" fmla="*/ 1154858 h 1154957"/>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84058 w 1436543"/>
                <a:gd name="connsiteY20" fmla="*/ 92635 h 1141070"/>
                <a:gd name="connsiteX21" fmla="*/ 83306 w 1436543"/>
                <a:gd name="connsiteY21" fmla="*/ 90445 h 1141070"/>
                <a:gd name="connsiteX22" fmla="*/ 83323 w 1436543"/>
                <a:gd name="connsiteY22" fmla="*/ 84389 h 1141070"/>
                <a:gd name="connsiteX23" fmla="*/ 92642 w 1436543"/>
                <a:gd name="connsiteY23" fmla="*/ 72141 h 1141070"/>
                <a:gd name="connsiteX24" fmla="*/ 97101 w 1436543"/>
                <a:gd name="connsiteY24" fmla="*/ 70889 h 1141070"/>
                <a:gd name="connsiteX25" fmla="*/ 97170 w 1436543"/>
                <a:gd name="connsiteY25" fmla="*/ 70968 h 1141070"/>
                <a:gd name="connsiteX26" fmla="*/ 185425 w 1436543"/>
                <a:gd name="connsiteY26" fmla="*/ 123102 h 1141070"/>
                <a:gd name="connsiteX27" fmla="*/ 1025799 w 1436543"/>
                <a:gd name="connsiteY27" fmla="*/ 605962 h 1141070"/>
                <a:gd name="connsiteX28" fmla="*/ 1037379 w 1436543"/>
                <a:gd name="connsiteY28" fmla="*/ 626020 h 1141070"/>
                <a:gd name="connsiteX29" fmla="*/ 1037363 w 1436543"/>
                <a:gd name="connsiteY29" fmla="*/ 628610 h 1141070"/>
                <a:gd name="connsiteX30" fmla="*/ 1037046 w 1436543"/>
                <a:gd name="connsiteY30" fmla="*/ 627277 h 1141070"/>
                <a:gd name="connsiteX31" fmla="*/ 1039018 w 1436543"/>
                <a:gd name="connsiteY31" fmla="*/ 797392 h 1141070"/>
                <a:gd name="connsiteX32" fmla="*/ 1054159 w 1436543"/>
                <a:gd name="connsiteY32" fmla="*/ 827573 h 1141070"/>
                <a:gd name="connsiteX33" fmla="*/ 1342965 w 1436543"/>
                <a:gd name="connsiteY33" fmla="*/ 992238 h 1141070"/>
                <a:gd name="connsiteX34" fmla="*/ 1343068 w 1436543"/>
                <a:gd name="connsiteY34" fmla="*/ 992258 h 1141070"/>
                <a:gd name="connsiteX35" fmla="*/ 1344215 w 1436543"/>
                <a:gd name="connsiteY35" fmla="*/ 996754 h 1141070"/>
                <a:gd name="connsiteX36" fmla="*/ 1330734 w 1436543"/>
                <a:gd name="connsiteY36" fmla="*/ 1014468 h 1141070"/>
                <a:gd name="connsiteX37" fmla="*/ 1238815 w 1436543"/>
                <a:gd name="connsiteY37" fmla="*/ 1067539 h 1141070"/>
                <a:gd name="connsiteX38" fmla="*/ 1238433 w 1436543"/>
                <a:gd name="connsiteY38" fmla="*/ 1115436 h 1141070"/>
                <a:gd name="connsiteX39" fmla="*/ 1270298 w 1436543"/>
                <a:gd name="connsiteY39"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84058 w 1436543"/>
                <a:gd name="connsiteY20" fmla="*/ 92635 h 1141070"/>
                <a:gd name="connsiteX21" fmla="*/ 83306 w 1436543"/>
                <a:gd name="connsiteY21" fmla="*/ 90445 h 1141070"/>
                <a:gd name="connsiteX22" fmla="*/ 83323 w 1436543"/>
                <a:gd name="connsiteY22" fmla="*/ 84389 h 1141070"/>
                <a:gd name="connsiteX23" fmla="*/ 92642 w 1436543"/>
                <a:gd name="connsiteY23" fmla="*/ 72141 h 1141070"/>
                <a:gd name="connsiteX24" fmla="*/ 97101 w 1436543"/>
                <a:gd name="connsiteY24" fmla="*/ 70889 h 1141070"/>
                <a:gd name="connsiteX25" fmla="*/ 185425 w 1436543"/>
                <a:gd name="connsiteY25" fmla="*/ 123102 h 1141070"/>
                <a:gd name="connsiteX26" fmla="*/ 1025799 w 1436543"/>
                <a:gd name="connsiteY26" fmla="*/ 605962 h 1141070"/>
                <a:gd name="connsiteX27" fmla="*/ 1037379 w 1436543"/>
                <a:gd name="connsiteY27" fmla="*/ 626020 h 1141070"/>
                <a:gd name="connsiteX28" fmla="*/ 1037363 w 1436543"/>
                <a:gd name="connsiteY28" fmla="*/ 628610 h 1141070"/>
                <a:gd name="connsiteX29" fmla="*/ 1037046 w 1436543"/>
                <a:gd name="connsiteY29" fmla="*/ 627277 h 1141070"/>
                <a:gd name="connsiteX30" fmla="*/ 1039018 w 1436543"/>
                <a:gd name="connsiteY30" fmla="*/ 797392 h 1141070"/>
                <a:gd name="connsiteX31" fmla="*/ 1054159 w 1436543"/>
                <a:gd name="connsiteY31" fmla="*/ 827573 h 1141070"/>
                <a:gd name="connsiteX32" fmla="*/ 1342965 w 1436543"/>
                <a:gd name="connsiteY32" fmla="*/ 992238 h 1141070"/>
                <a:gd name="connsiteX33" fmla="*/ 1343068 w 1436543"/>
                <a:gd name="connsiteY33" fmla="*/ 992258 h 1141070"/>
                <a:gd name="connsiteX34" fmla="*/ 1344215 w 1436543"/>
                <a:gd name="connsiteY34" fmla="*/ 996754 h 1141070"/>
                <a:gd name="connsiteX35" fmla="*/ 1330734 w 1436543"/>
                <a:gd name="connsiteY35" fmla="*/ 1014468 h 1141070"/>
                <a:gd name="connsiteX36" fmla="*/ 1238815 w 1436543"/>
                <a:gd name="connsiteY36" fmla="*/ 1067539 h 1141070"/>
                <a:gd name="connsiteX37" fmla="*/ 1238433 w 1436543"/>
                <a:gd name="connsiteY37" fmla="*/ 1115436 h 1141070"/>
                <a:gd name="connsiteX38" fmla="*/ 1270298 w 1436543"/>
                <a:gd name="connsiteY38"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84058 w 1436543"/>
                <a:gd name="connsiteY20" fmla="*/ 92635 h 1141070"/>
                <a:gd name="connsiteX21" fmla="*/ 83306 w 1436543"/>
                <a:gd name="connsiteY21" fmla="*/ 90445 h 1141070"/>
                <a:gd name="connsiteX22" fmla="*/ 83323 w 1436543"/>
                <a:gd name="connsiteY22" fmla="*/ 84389 h 1141070"/>
                <a:gd name="connsiteX23" fmla="*/ 97101 w 1436543"/>
                <a:gd name="connsiteY23" fmla="*/ 70889 h 1141070"/>
                <a:gd name="connsiteX24" fmla="*/ 185425 w 1436543"/>
                <a:gd name="connsiteY24" fmla="*/ 123102 h 1141070"/>
                <a:gd name="connsiteX25" fmla="*/ 1025799 w 1436543"/>
                <a:gd name="connsiteY25" fmla="*/ 605962 h 1141070"/>
                <a:gd name="connsiteX26" fmla="*/ 1037379 w 1436543"/>
                <a:gd name="connsiteY26" fmla="*/ 626020 h 1141070"/>
                <a:gd name="connsiteX27" fmla="*/ 1037363 w 1436543"/>
                <a:gd name="connsiteY27" fmla="*/ 628610 h 1141070"/>
                <a:gd name="connsiteX28" fmla="*/ 1037046 w 1436543"/>
                <a:gd name="connsiteY28" fmla="*/ 627277 h 1141070"/>
                <a:gd name="connsiteX29" fmla="*/ 1039018 w 1436543"/>
                <a:gd name="connsiteY29" fmla="*/ 797392 h 1141070"/>
                <a:gd name="connsiteX30" fmla="*/ 1054159 w 1436543"/>
                <a:gd name="connsiteY30" fmla="*/ 827573 h 1141070"/>
                <a:gd name="connsiteX31" fmla="*/ 1342965 w 1436543"/>
                <a:gd name="connsiteY31" fmla="*/ 992238 h 1141070"/>
                <a:gd name="connsiteX32" fmla="*/ 1343068 w 1436543"/>
                <a:gd name="connsiteY32" fmla="*/ 992258 h 1141070"/>
                <a:gd name="connsiteX33" fmla="*/ 1344215 w 1436543"/>
                <a:gd name="connsiteY33" fmla="*/ 996754 h 1141070"/>
                <a:gd name="connsiteX34" fmla="*/ 1330734 w 1436543"/>
                <a:gd name="connsiteY34" fmla="*/ 1014468 h 1141070"/>
                <a:gd name="connsiteX35" fmla="*/ 1238815 w 1436543"/>
                <a:gd name="connsiteY35" fmla="*/ 1067539 h 1141070"/>
                <a:gd name="connsiteX36" fmla="*/ 1238433 w 1436543"/>
                <a:gd name="connsiteY36" fmla="*/ 1115436 h 1141070"/>
                <a:gd name="connsiteX37" fmla="*/ 1270298 w 1436543"/>
                <a:gd name="connsiteY37"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84058 w 1436543"/>
                <a:gd name="connsiteY20" fmla="*/ 92635 h 1141070"/>
                <a:gd name="connsiteX21" fmla="*/ 83306 w 1436543"/>
                <a:gd name="connsiteY21" fmla="*/ 90445 h 1141070"/>
                <a:gd name="connsiteX22" fmla="*/ 83323 w 1436543"/>
                <a:gd name="connsiteY22" fmla="*/ 84389 h 1141070"/>
                <a:gd name="connsiteX23" fmla="*/ 185425 w 1436543"/>
                <a:gd name="connsiteY23" fmla="*/ 123102 h 1141070"/>
                <a:gd name="connsiteX24" fmla="*/ 1025799 w 1436543"/>
                <a:gd name="connsiteY24" fmla="*/ 605962 h 1141070"/>
                <a:gd name="connsiteX25" fmla="*/ 1037379 w 1436543"/>
                <a:gd name="connsiteY25" fmla="*/ 626020 h 1141070"/>
                <a:gd name="connsiteX26" fmla="*/ 1037363 w 1436543"/>
                <a:gd name="connsiteY26" fmla="*/ 628610 h 1141070"/>
                <a:gd name="connsiteX27" fmla="*/ 1037046 w 1436543"/>
                <a:gd name="connsiteY27" fmla="*/ 627277 h 1141070"/>
                <a:gd name="connsiteX28" fmla="*/ 1039018 w 1436543"/>
                <a:gd name="connsiteY28" fmla="*/ 797392 h 1141070"/>
                <a:gd name="connsiteX29" fmla="*/ 1054159 w 1436543"/>
                <a:gd name="connsiteY29" fmla="*/ 827573 h 1141070"/>
                <a:gd name="connsiteX30" fmla="*/ 1342965 w 1436543"/>
                <a:gd name="connsiteY30" fmla="*/ 992238 h 1141070"/>
                <a:gd name="connsiteX31" fmla="*/ 1343068 w 1436543"/>
                <a:gd name="connsiteY31" fmla="*/ 992258 h 1141070"/>
                <a:gd name="connsiteX32" fmla="*/ 1344215 w 1436543"/>
                <a:gd name="connsiteY32" fmla="*/ 996754 h 1141070"/>
                <a:gd name="connsiteX33" fmla="*/ 1330734 w 1436543"/>
                <a:gd name="connsiteY33" fmla="*/ 1014468 h 1141070"/>
                <a:gd name="connsiteX34" fmla="*/ 1238815 w 1436543"/>
                <a:gd name="connsiteY34" fmla="*/ 1067539 h 1141070"/>
                <a:gd name="connsiteX35" fmla="*/ 1238433 w 1436543"/>
                <a:gd name="connsiteY35" fmla="*/ 1115436 h 1141070"/>
                <a:gd name="connsiteX36" fmla="*/ 1270298 w 1436543"/>
                <a:gd name="connsiteY36"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84058 w 1436543"/>
                <a:gd name="connsiteY20" fmla="*/ 92635 h 1141070"/>
                <a:gd name="connsiteX21" fmla="*/ 83306 w 1436543"/>
                <a:gd name="connsiteY21" fmla="*/ 90445 h 1141070"/>
                <a:gd name="connsiteX22" fmla="*/ 185425 w 1436543"/>
                <a:gd name="connsiteY22" fmla="*/ 123102 h 1141070"/>
                <a:gd name="connsiteX23" fmla="*/ 1025799 w 1436543"/>
                <a:gd name="connsiteY23" fmla="*/ 605962 h 1141070"/>
                <a:gd name="connsiteX24" fmla="*/ 1037379 w 1436543"/>
                <a:gd name="connsiteY24" fmla="*/ 626020 h 1141070"/>
                <a:gd name="connsiteX25" fmla="*/ 1037363 w 1436543"/>
                <a:gd name="connsiteY25" fmla="*/ 628610 h 1141070"/>
                <a:gd name="connsiteX26" fmla="*/ 1037046 w 1436543"/>
                <a:gd name="connsiteY26" fmla="*/ 627277 h 1141070"/>
                <a:gd name="connsiteX27" fmla="*/ 1039018 w 1436543"/>
                <a:gd name="connsiteY27" fmla="*/ 797392 h 1141070"/>
                <a:gd name="connsiteX28" fmla="*/ 1054159 w 1436543"/>
                <a:gd name="connsiteY28" fmla="*/ 827573 h 1141070"/>
                <a:gd name="connsiteX29" fmla="*/ 1342965 w 1436543"/>
                <a:gd name="connsiteY29" fmla="*/ 992238 h 1141070"/>
                <a:gd name="connsiteX30" fmla="*/ 1343068 w 1436543"/>
                <a:gd name="connsiteY30" fmla="*/ 992258 h 1141070"/>
                <a:gd name="connsiteX31" fmla="*/ 1344215 w 1436543"/>
                <a:gd name="connsiteY31" fmla="*/ 996754 h 1141070"/>
                <a:gd name="connsiteX32" fmla="*/ 1330734 w 1436543"/>
                <a:gd name="connsiteY32" fmla="*/ 1014468 h 1141070"/>
                <a:gd name="connsiteX33" fmla="*/ 1238815 w 1436543"/>
                <a:gd name="connsiteY33" fmla="*/ 1067539 h 1141070"/>
                <a:gd name="connsiteX34" fmla="*/ 1238433 w 1436543"/>
                <a:gd name="connsiteY34" fmla="*/ 1115436 h 1141070"/>
                <a:gd name="connsiteX35" fmla="*/ 1270298 w 1436543"/>
                <a:gd name="connsiteY35"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84058 w 1436543"/>
                <a:gd name="connsiteY20" fmla="*/ 92635 h 1141070"/>
                <a:gd name="connsiteX21" fmla="*/ 185425 w 1436543"/>
                <a:gd name="connsiteY21" fmla="*/ 123102 h 1141070"/>
                <a:gd name="connsiteX22" fmla="*/ 1025799 w 1436543"/>
                <a:gd name="connsiteY22" fmla="*/ 605962 h 1141070"/>
                <a:gd name="connsiteX23" fmla="*/ 1037379 w 1436543"/>
                <a:gd name="connsiteY23" fmla="*/ 626020 h 1141070"/>
                <a:gd name="connsiteX24" fmla="*/ 1037363 w 1436543"/>
                <a:gd name="connsiteY24" fmla="*/ 628610 h 1141070"/>
                <a:gd name="connsiteX25" fmla="*/ 1037046 w 1436543"/>
                <a:gd name="connsiteY25" fmla="*/ 627277 h 1141070"/>
                <a:gd name="connsiteX26" fmla="*/ 1039018 w 1436543"/>
                <a:gd name="connsiteY26" fmla="*/ 797392 h 1141070"/>
                <a:gd name="connsiteX27" fmla="*/ 1054159 w 1436543"/>
                <a:gd name="connsiteY27" fmla="*/ 827573 h 1141070"/>
                <a:gd name="connsiteX28" fmla="*/ 1342965 w 1436543"/>
                <a:gd name="connsiteY28" fmla="*/ 992238 h 1141070"/>
                <a:gd name="connsiteX29" fmla="*/ 1343068 w 1436543"/>
                <a:gd name="connsiteY29" fmla="*/ 992258 h 1141070"/>
                <a:gd name="connsiteX30" fmla="*/ 1344215 w 1436543"/>
                <a:gd name="connsiteY30" fmla="*/ 996754 h 1141070"/>
                <a:gd name="connsiteX31" fmla="*/ 1330734 w 1436543"/>
                <a:gd name="connsiteY31" fmla="*/ 1014468 h 1141070"/>
                <a:gd name="connsiteX32" fmla="*/ 1238815 w 1436543"/>
                <a:gd name="connsiteY32" fmla="*/ 1067539 h 1141070"/>
                <a:gd name="connsiteX33" fmla="*/ 1238433 w 1436543"/>
                <a:gd name="connsiteY33" fmla="*/ 1115436 h 1141070"/>
                <a:gd name="connsiteX34" fmla="*/ 1270298 w 1436543"/>
                <a:gd name="connsiteY34"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185425 w 1436543"/>
                <a:gd name="connsiteY20" fmla="*/ 123102 h 1141070"/>
                <a:gd name="connsiteX21" fmla="*/ 1025799 w 1436543"/>
                <a:gd name="connsiteY21" fmla="*/ 605962 h 1141070"/>
                <a:gd name="connsiteX22" fmla="*/ 1037379 w 1436543"/>
                <a:gd name="connsiteY22" fmla="*/ 626020 h 1141070"/>
                <a:gd name="connsiteX23" fmla="*/ 1037363 w 1436543"/>
                <a:gd name="connsiteY23" fmla="*/ 628610 h 1141070"/>
                <a:gd name="connsiteX24" fmla="*/ 1037046 w 1436543"/>
                <a:gd name="connsiteY24" fmla="*/ 627277 h 1141070"/>
                <a:gd name="connsiteX25" fmla="*/ 1039018 w 1436543"/>
                <a:gd name="connsiteY25" fmla="*/ 797392 h 1141070"/>
                <a:gd name="connsiteX26" fmla="*/ 1054159 w 1436543"/>
                <a:gd name="connsiteY26" fmla="*/ 827573 h 1141070"/>
                <a:gd name="connsiteX27" fmla="*/ 1342965 w 1436543"/>
                <a:gd name="connsiteY27" fmla="*/ 992238 h 1141070"/>
                <a:gd name="connsiteX28" fmla="*/ 1343068 w 1436543"/>
                <a:gd name="connsiteY28" fmla="*/ 992258 h 1141070"/>
                <a:gd name="connsiteX29" fmla="*/ 1344215 w 1436543"/>
                <a:gd name="connsiteY29" fmla="*/ 996754 h 1141070"/>
                <a:gd name="connsiteX30" fmla="*/ 1330734 w 1436543"/>
                <a:gd name="connsiteY30" fmla="*/ 1014468 h 1141070"/>
                <a:gd name="connsiteX31" fmla="*/ 1238815 w 1436543"/>
                <a:gd name="connsiteY31" fmla="*/ 1067539 h 1141070"/>
                <a:gd name="connsiteX32" fmla="*/ 1238433 w 1436543"/>
                <a:gd name="connsiteY32" fmla="*/ 1115436 h 1141070"/>
                <a:gd name="connsiteX33" fmla="*/ 1270298 w 1436543"/>
                <a:gd name="connsiteY33"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185425 w 1436543"/>
                <a:gd name="connsiteY19" fmla="*/ 123102 h 1141070"/>
                <a:gd name="connsiteX20" fmla="*/ 1025799 w 1436543"/>
                <a:gd name="connsiteY20" fmla="*/ 605962 h 1141070"/>
                <a:gd name="connsiteX21" fmla="*/ 1037379 w 1436543"/>
                <a:gd name="connsiteY21" fmla="*/ 626020 h 1141070"/>
                <a:gd name="connsiteX22" fmla="*/ 1037363 w 1436543"/>
                <a:gd name="connsiteY22" fmla="*/ 628610 h 1141070"/>
                <a:gd name="connsiteX23" fmla="*/ 1037046 w 1436543"/>
                <a:gd name="connsiteY23" fmla="*/ 627277 h 1141070"/>
                <a:gd name="connsiteX24" fmla="*/ 1039018 w 1436543"/>
                <a:gd name="connsiteY24" fmla="*/ 797392 h 1141070"/>
                <a:gd name="connsiteX25" fmla="*/ 1054159 w 1436543"/>
                <a:gd name="connsiteY25" fmla="*/ 827573 h 1141070"/>
                <a:gd name="connsiteX26" fmla="*/ 1342965 w 1436543"/>
                <a:gd name="connsiteY26" fmla="*/ 992238 h 1141070"/>
                <a:gd name="connsiteX27" fmla="*/ 1343068 w 1436543"/>
                <a:gd name="connsiteY27" fmla="*/ 992258 h 1141070"/>
                <a:gd name="connsiteX28" fmla="*/ 1344215 w 1436543"/>
                <a:gd name="connsiteY28" fmla="*/ 996754 h 1141070"/>
                <a:gd name="connsiteX29" fmla="*/ 1330734 w 1436543"/>
                <a:gd name="connsiteY29" fmla="*/ 1014468 h 1141070"/>
                <a:gd name="connsiteX30" fmla="*/ 1238815 w 1436543"/>
                <a:gd name="connsiteY30" fmla="*/ 1067539 h 1141070"/>
                <a:gd name="connsiteX31" fmla="*/ 1238433 w 1436543"/>
                <a:gd name="connsiteY31" fmla="*/ 1115436 h 1141070"/>
                <a:gd name="connsiteX32" fmla="*/ 1270298 w 1436543"/>
                <a:gd name="connsiteY32" fmla="*/ 1140971 h 1141070"/>
                <a:gd name="connsiteX0" fmla="*/ 1279939 w 1446184"/>
                <a:gd name="connsiteY0" fmla="*/ 1140971 h 1141070"/>
                <a:gd name="connsiteX1" fmla="*/ 1289746 w 1446184"/>
                <a:gd name="connsiteY1" fmla="*/ 1139056 h 1141070"/>
                <a:gd name="connsiteX2" fmla="*/ 1389849 w 1446184"/>
                <a:gd name="connsiteY2" fmla="*/ 1082090 h 1141070"/>
                <a:gd name="connsiteX3" fmla="*/ 1432812 w 1446184"/>
                <a:gd name="connsiteY3" fmla="*/ 1044129 h 1141070"/>
                <a:gd name="connsiteX4" fmla="*/ 1446184 w 1446184"/>
                <a:gd name="connsiteY4" fmla="*/ 1000649 h 1141070"/>
                <a:gd name="connsiteX5" fmla="*/ 1434296 w 1446184"/>
                <a:gd name="connsiteY5" fmla="*/ 961029 h 1141070"/>
                <a:gd name="connsiteX6" fmla="*/ 1410606 w 1446184"/>
                <a:gd name="connsiteY6" fmla="*/ 933798 h 1141070"/>
                <a:gd name="connsiteX7" fmla="*/ 1130833 w 1446184"/>
                <a:gd name="connsiteY7" fmla="*/ 770682 h 1141070"/>
                <a:gd name="connsiteX8" fmla="*/ 1129442 w 1446184"/>
                <a:gd name="connsiteY8" fmla="*/ 625242 h 1141070"/>
                <a:gd name="connsiteX9" fmla="*/ 1128414 w 1446184"/>
                <a:gd name="connsiteY9" fmla="*/ 613703 h 1141070"/>
                <a:gd name="connsiteX10" fmla="*/ 1115921 w 1446184"/>
                <a:gd name="connsiteY10" fmla="*/ 572868 h 1141070"/>
                <a:gd name="connsiteX11" fmla="*/ 1077314 w 1446184"/>
                <a:gd name="connsiteY11" fmla="*/ 534977 h 1141070"/>
                <a:gd name="connsiteX12" fmla="*/ 230784 w 1446184"/>
                <a:gd name="connsiteY12" fmla="*/ 49284 h 1141070"/>
                <a:gd name="connsiteX13" fmla="*/ 53181 w 1446184"/>
                <a:gd name="connsiteY13" fmla="*/ 0 h 1141070"/>
                <a:gd name="connsiteX14" fmla="*/ 24063 w 1446184"/>
                <a:gd name="connsiteY14" fmla="*/ 31236 h 1141070"/>
                <a:gd name="connsiteX15" fmla="*/ 10552 w 1446184"/>
                <a:gd name="connsiteY15" fmla="*/ 83617 h 1141070"/>
                <a:gd name="connsiteX16" fmla="*/ 11270 w 1446184"/>
                <a:gd name="connsiteY16" fmla="*/ 198580 h 1141070"/>
                <a:gd name="connsiteX17" fmla="*/ 14508 w 1446184"/>
                <a:gd name="connsiteY17" fmla="*/ 208013 h 1141070"/>
                <a:gd name="connsiteX18" fmla="*/ 195066 w 1446184"/>
                <a:gd name="connsiteY18" fmla="*/ 123102 h 1141070"/>
                <a:gd name="connsiteX19" fmla="*/ 1035440 w 1446184"/>
                <a:gd name="connsiteY19" fmla="*/ 605962 h 1141070"/>
                <a:gd name="connsiteX20" fmla="*/ 1047020 w 1446184"/>
                <a:gd name="connsiteY20" fmla="*/ 626020 h 1141070"/>
                <a:gd name="connsiteX21" fmla="*/ 1047004 w 1446184"/>
                <a:gd name="connsiteY21" fmla="*/ 628610 h 1141070"/>
                <a:gd name="connsiteX22" fmla="*/ 1046687 w 1446184"/>
                <a:gd name="connsiteY22" fmla="*/ 627277 h 1141070"/>
                <a:gd name="connsiteX23" fmla="*/ 1048659 w 1446184"/>
                <a:gd name="connsiteY23" fmla="*/ 797392 h 1141070"/>
                <a:gd name="connsiteX24" fmla="*/ 1063800 w 1446184"/>
                <a:gd name="connsiteY24" fmla="*/ 827573 h 1141070"/>
                <a:gd name="connsiteX25" fmla="*/ 1352606 w 1446184"/>
                <a:gd name="connsiteY25" fmla="*/ 992238 h 1141070"/>
                <a:gd name="connsiteX26" fmla="*/ 1352709 w 1446184"/>
                <a:gd name="connsiteY26" fmla="*/ 992258 h 1141070"/>
                <a:gd name="connsiteX27" fmla="*/ 1353856 w 1446184"/>
                <a:gd name="connsiteY27" fmla="*/ 996754 h 1141070"/>
                <a:gd name="connsiteX28" fmla="*/ 1340375 w 1446184"/>
                <a:gd name="connsiteY28" fmla="*/ 1014468 h 1141070"/>
                <a:gd name="connsiteX29" fmla="*/ 1248456 w 1446184"/>
                <a:gd name="connsiteY29" fmla="*/ 1067539 h 1141070"/>
                <a:gd name="connsiteX30" fmla="*/ 1248074 w 1446184"/>
                <a:gd name="connsiteY30" fmla="*/ 1115436 h 1141070"/>
                <a:gd name="connsiteX31" fmla="*/ 1279939 w 1446184"/>
                <a:gd name="connsiteY31" fmla="*/ 1140971 h 1141070"/>
                <a:gd name="connsiteX0" fmla="*/ 1270299 w 1436544"/>
                <a:gd name="connsiteY0" fmla="*/ 1140971 h 1141070"/>
                <a:gd name="connsiteX1" fmla="*/ 1280106 w 1436544"/>
                <a:gd name="connsiteY1" fmla="*/ 1139056 h 1141070"/>
                <a:gd name="connsiteX2" fmla="*/ 1380209 w 1436544"/>
                <a:gd name="connsiteY2" fmla="*/ 1082090 h 1141070"/>
                <a:gd name="connsiteX3" fmla="*/ 1423172 w 1436544"/>
                <a:gd name="connsiteY3" fmla="*/ 1044129 h 1141070"/>
                <a:gd name="connsiteX4" fmla="*/ 1436544 w 1436544"/>
                <a:gd name="connsiteY4" fmla="*/ 1000649 h 1141070"/>
                <a:gd name="connsiteX5" fmla="*/ 1424656 w 1436544"/>
                <a:gd name="connsiteY5" fmla="*/ 961029 h 1141070"/>
                <a:gd name="connsiteX6" fmla="*/ 1400966 w 1436544"/>
                <a:gd name="connsiteY6" fmla="*/ 933798 h 1141070"/>
                <a:gd name="connsiteX7" fmla="*/ 1121193 w 1436544"/>
                <a:gd name="connsiteY7" fmla="*/ 770682 h 1141070"/>
                <a:gd name="connsiteX8" fmla="*/ 1119802 w 1436544"/>
                <a:gd name="connsiteY8" fmla="*/ 625242 h 1141070"/>
                <a:gd name="connsiteX9" fmla="*/ 1118774 w 1436544"/>
                <a:gd name="connsiteY9" fmla="*/ 613703 h 1141070"/>
                <a:gd name="connsiteX10" fmla="*/ 1106281 w 1436544"/>
                <a:gd name="connsiteY10" fmla="*/ 572868 h 1141070"/>
                <a:gd name="connsiteX11" fmla="*/ 1067674 w 1436544"/>
                <a:gd name="connsiteY11" fmla="*/ 534977 h 1141070"/>
                <a:gd name="connsiteX12" fmla="*/ 221144 w 1436544"/>
                <a:gd name="connsiteY12" fmla="*/ 49284 h 1141070"/>
                <a:gd name="connsiteX13" fmla="*/ 43541 w 1436544"/>
                <a:gd name="connsiteY13" fmla="*/ 0 h 1141070"/>
                <a:gd name="connsiteX14" fmla="*/ 14423 w 1436544"/>
                <a:gd name="connsiteY14" fmla="*/ 31236 h 1141070"/>
                <a:gd name="connsiteX15" fmla="*/ 912 w 1436544"/>
                <a:gd name="connsiteY15" fmla="*/ 83617 h 1141070"/>
                <a:gd name="connsiteX16" fmla="*/ 1630 w 1436544"/>
                <a:gd name="connsiteY16" fmla="*/ 198580 h 1141070"/>
                <a:gd name="connsiteX17" fmla="*/ 185426 w 1436544"/>
                <a:gd name="connsiteY17" fmla="*/ 123102 h 1141070"/>
                <a:gd name="connsiteX18" fmla="*/ 1025800 w 1436544"/>
                <a:gd name="connsiteY18" fmla="*/ 605962 h 1141070"/>
                <a:gd name="connsiteX19" fmla="*/ 1037380 w 1436544"/>
                <a:gd name="connsiteY19" fmla="*/ 626020 h 1141070"/>
                <a:gd name="connsiteX20" fmla="*/ 1037364 w 1436544"/>
                <a:gd name="connsiteY20" fmla="*/ 628610 h 1141070"/>
                <a:gd name="connsiteX21" fmla="*/ 1037047 w 1436544"/>
                <a:gd name="connsiteY21" fmla="*/ 627277 h 1141070"/>
                <a:gd name="connsiteX22" fmla="*/ 1039019 w 1436544"/>
                <a:gd name="connsiteY22" fmla="*/ 797392 h 1141070"/>
                <a:gd name="connsiteX23" fmla="*/ 1054160 w 1436544"/>
                <a:gd name="connsiteY23" fmla="*/ 827573 h 1141070"/>
                <a:gd name="connsiteX24" fmla="*/ 1342966 w 1436544"/>
                <a:gd name="connsiteY24" fmla="*/ 992238 h 1141070"/>
                <a:gd name="connsiteX25" fmla="*/ 1343069 w 1436544"/>
                <a:gd name="connsiteY25" fmla="*/ 992258 h 1141070"/>
                <a:gd name="connsiteX26" fmla="*/ 1344216 w 1436544"/>
                <a:gd name="connsiteY26" fmla="*/ 996754 h 1141070"/>
                <a:gd name="connsiteX27" fmla="*/ 1330735 w 1436544"/>
                <a:gd name="connsiteY27" fmla="*/ 1014468 h 1141070"/>
                <a:gd name="connsiteX28" fmla="*/ 1238816 w 1436544"/>
                <a:gd name="connsiteY28" fmla="*/ 1067539 h 1141070"/>
                <a:gd name="connsiteX29" fmla="*/ 1238434 w 1436544"/>
                <a:gd name="connsiteY29" fmla="*/ 1115436 h 1141070"/>
                <a:gd name="connsiteX30" fmla="*/ 1270299 w 1436544"/>
                <a:gd name="connsiteY30" fmla="*/ 1140971 h 1141070"/>
                <a:gd name="connsiteX0" fmla="*/ 1269387 w 1435632"/>
                <a:gd name="connsiteY0" fmla="*/ 1140971 h 1141070"/>
                <a:gd name="connsiteX1" fmla="*/ 1279194 w 1435632"/>
                <a:gd name="connsiteY1" fmla="*/ 1139056 h 1141070"/>
                <a:gd name="connsiteX2" fmla="*/ 1379297 w 1435632"/>
                <a:gd name="connsiteY2" fmla="*/ 1082090 h 1141070"/>
                <a:gd name="connsiteX3" fmla="*/ 1422260 w 1435632"/>
                <a:gd name="connsiteY3" fmla="*/ 1044129 h 1141070"/>
                <a:gd name="connsiteX4" fmla="*/ 1435632 w 1435632"/>
                <a:gd name="connsiteY4" fmla="*/ 1000649 h 1141070"/>
                <a:gd name="connsiteX5" fmla="*/ 1423744 w 1435632"/>
                <a:gd name="connsiteY5" fmla="*/ 961029 h 1141070"/>
                <a:gd name="connsiteX6" fmla="*/ 1400054 w 1435632"/>
                <a:gd name="connsiteY6" fmla="*/ 933798 h 1141070"/>
                <a:gd name="connsiteX7" fmla="*/ 1120281 w 1435632"/>
                <a:gd name="connsiteY7" fmla="*/ 770682 h 1141070"/>
                <a:gd name="connsiteX8" fmla="*/ 1118890 w 1435632"/>
                <a:gd name="connsiteY8" fmla="*/ 625242 h 1141070"/>
                <a:gd name="connsiteX9" fmla="*/ 1117862 w 1435632"/>
                <a:gd name="connsiteY9" fmla="*/ 613703 h 1141070"/>
                <a:gd name="connsiteX10" fmla="*/ 1105369 w 1435632"/>
                <a:gd name="connsiteY10" fmla="*/ 572868 h 1141070"/>
                <a:gd name="connsiteX11" fmla="*/ 1066762 w 1435632"/>
                <a:gd name="connsiteY11" fmla="*/ 534977 h 1141070"/>
                <a:gd name="connsiteX12" fmla="*/ 220232 w 1435632"/>
                <a:gd name="connsiteY12" fmla="*/ 49284 h 1141070"/>
                <a:gd name="connsiteX13" fmla="*/ 42629 w 1435632"/>
                <a:gd name="connsiteY13" fmla="*/ 0 h 1141070"/>
                <a:gd name="connsiteX14" fmla="*/ 13511 w 1435632"/>
                <a:gd name="connsiteY14" fmla="*/ 31236 h 1141070"/>
                <a:gd name="connsiteX15" fmla="*/ 0 w 1435632"/>
                <a:gd name="connsiteY15" fmla="*/ 83617 h 1141070"/>
                <a:gd name="connsiteX16" fmla="*/ 184514 w 1435632"/>
                <a:gd name="connsiteY16" fmla="*/ 123102 h 1141070"/>
                <a:gd name="connsiteX17" fmla="*/ 1024888 w 1435632"/>
                <a:gd name="connsiteY17" fmla="*/ 605962 h 1141070"/>
                <a:gd name="connsiteX18" fmla="*/ 1036468 w 1435632"/>
                <a:gd name="connsiteY18" fmla="*/ 626020 h 1141070"/>
                <a:gd name="connsiteX19" fmla="*/ 1036452 w 1435632"/>
                <a:gd name="connsiteY19" fmla="*/ 628610 h 1141070"/>
                <a:gd name="connsiteX20" fmla="*/ 1036135 w 1435632"/>
                <a:gd name="connsiteY20" fmla="*/ 627277 h 1141070"/>
                <a:gd name="connsiteX21" fmla="*/ 1038107 w 1435632"/>
                <a:gd name="connsiteY21" fmla="*/ 797392 h 1141070"/>
                <a:gd name="connsiteX22" fmla="*/ 1053248 w 1435632"/>
                <a:gd name="connsiteY22" fmla="*/ 827573 h 1141070"/>
                <a:gd name="connsiteX23" fmla="*/ 1342054 w 1435632"/>
                <a:gd name="connsiteY23" fmla="*/ 992238 h 1141070"/>
                <a:gd name="connsiteX24" fmla="*/ 1342157 w 1435632"/>
                <a:gd name="connsiteY24" fmla="*/ 992258 h 1141070"/>
                <a:gd name="connsiteX25" fmla="*/ 1343304 w 1435632"/>
                <a:gd name="connsiteY25" fmla="*/ 996754 h 1141070"/>
                <a:gd name="connsiteX26" fmla="*/ 1329823 w 1435632"/>
                <a:gd name="connsiteY26" fmla="*/ 1014468 h 1141070"/>
                <a:gd name="connsiteX27" fmla="*/ 1237904 w 1435632"/>
                <a:gd name="connsiteY27" fmla="*/ 1067539 h 1141070"/>
                <a:gd name="connsiteX28" fmla="*/ 1237522 w 1435632"/>
                <a:gd name="connsiteY28" fmla="*/ 1115436 h 1141070"/>
                <a:gd name="connsiteX29" fmla="*/ 1269387 w 1435632"/>
                <a:gd name="connsiteY29" fmla="*/ 1140971 h 1141070"/>
                <a:gd name="connsiteX0" fmla="*/ 1262800 w 1429045"/>
                <a:gd name="connsiteY0" fmla="*/ 1140971 h 1141070"/>
                <a:gd name="connsiteX1" fmla="*/ 1272607 w 1429045"/>
                <a:gd name="connsiteY1" fmla="*/ 1139056 h 1141070"/>
                <a:gd name="connsiteX2" fmla="*/ 1372710 w 1429045"/>
                <a:gd name="connsiteY2" fmla="*/ 1082090 h 1141070"/>
                <a:gd name="connsiteX3" fmla="*/ 1415673 w 1429045"/>
                <a:gd name="connsiteY3" fmla="*/ 1044129 h 1141070"/>
                <a:gd name="connsiteX4" fmla="*/ 1429045 w 1429045"/>
                <a:gd name="connsiteY4" fmla="*/ 1000649 h 1141070"/>
                <a:gd name="connsiteX5" fmla="*/ 1417157 w 1429045"/>
                <a:gd name="connsiteY5" fmla="*/ 961029 h 1141070"/>
                <a:gd name="connsiteX6" fmla="*/ 1393467 w 1429045"/>
                <a:gd name="connsiteY6" fmla="*/ 933798 h 1141070"/>
                <a:gd name="connsiteX7" fmla="*/ 1113694 w 1429045"/>
                <a:gd name="connsiteY7" fmla="*/ 770682 h 1141070"/>
                <a:gd name="connsiteX8" fmla="*/ 1112303 w 1429045"/>
                <a:gd name="connsiteY8" fmla="*/ 625242 h 1141070"/>
                <a:gd name="connsiteX9" fmla="*/ 1111275 w 1429045"/>
                <a:gd name="connsiteY9" fmla="*/ 613703 h 1141070"/>
                <a:gd name="connsiteX10" fmla="*/ 1098782 w 1429045"/>
                <a:gd name="connsiteY10" fmla="*/ 572868 h 1141070"/>
                <a:gd name="connsiteX11" fmla="*/ 1060175 w 1429045"/>
                <a:gd name="connsiteY11" fmla="*/ 534977 h 1141070"/>
                <a:gd name="connsiteX12" fmla="*/ 213645 w 1429045"/>
                <a:gd name="connsiteY12" fmla="*/ 49284 h 1141070"/>
                <a:gd name="connsiteX13" fmla="*/ 36042 w 1429045"/>
                <a:gd name="connsiteY13" fmla="*/ 0 h 1141070"/>
                <a:gd name="connsiteX14" fmla="*/ 6924 w 1429045"/>
                <a:gd name="connsiteY14" fmla="*/ 31236 h 1141070"/>
                <a:gd name="connsiteX15" fmla="*/ 177927 w 1429045"/>
                <a:gd name="connsiteY15" fmla="*/ 123102 h 1141070"/>
                <a:gd name="connsiteX16" fmla="*/ 1018301 w 1429045"/>
                <a:gd name="connsiteY16" fmla="*/ 605962 h 1141070"/>
                <a:gd name="connsiteX17" fmla="*/ 1029881 w 1429045"/>
                <a:gd name="connsiteY17" fmla="*/ 626020 h 1141070"/>
                <a:gd name="connsiteX18" fmla="*/ 1029865 w 1429045"/>
                <a:gd name="connsiteY18" fmla="*/ 628610 h 1141070"/>
                <a:gd name="connsiteX19" fmla="*/ 1029548 w 1429045"/>
                <a:gd name="connsiteY19" fmla="*/ 627277 h 1141070"/>
                <a:gd name="connsiteX20" fmla="*/ 1031520 w 1429045"/>
                <a:gd name="connsiteY20" fmla="*/ 797392 h 1141070"/>
                <a:gd name="connsiteX21" fmla="*/ 1046661 w 1429045"/>
                <a:gd name="connsiteY21" fmla="*/ 827573 h 1141070"/>
                <a:gd name="connsiteX22" fmla="*/ 1335467 w 1429045"/>
                <a:gd name="connsiteY22" fmla="*/ 992238 h 1141070"/>
                <a:gd name="connsiteX23" fmla="*/ 1335570 w 1429045"/>
                <a:gd name="connsiteY23" fmla="*/ 992258 h 1141070"/>
                <a:gd name="connsiteX24" fmla="*/ 1336717 w 1429045"/>
                <a:gd name="connsiteY24" fmla="*/ 996754 h 1141070"/>
                <a:gd name="connsiteX25" fmla="*/ 1323236 w 1429045"/>
                <a:gd name="connsiteY25" fmla="*/ 1014468 h 1141070"/>
                <a:gd name="connsiteX26" fmla="*/ 1231317 w 1429045"/>
                <a:gd name="connsiteY26" fmla="*/ 1067539 h 1141070"/>
                <a:gd name="connsiteX27" fmla="*/ 1230935 w 1429045"/>
                <a:gd name="connsiteY27" fmla="*/ 1115436 h 1141070"/>
                <a:gd name="connsiteX28" fmla="*/ 1262800 w 1429045"/>
                <a:gd name="connsiteY28" fmla="*/ 1140971 h 1141070"/>
                <a:gd name="connsiteX0" fmla="*/ 1230140 w 1396385"/>
                <a:gd name="connsiteY0" fmla="*/ 1140971 h 1141070"/>
                <a:gd name="connsiteX1" fmla="*/ 1239947 w 1396385"/>
                <a:gd name="connsiteY1" fmla="*/ 1139056 h 1141070"/>
                <a:gd name="connsiteX2" fmla="*/ 1340050 w 1396385"/>
                <a:gd name="connsiteY2" fmla="*/ 1082090 h 1141070"/>
                <a:gd name="connsiteX3" fmla="*/ 1383013 w 1396385"/>
                <a:gd name="connsiteY3" fmla="*/ 1044129 h 1141070"/>
                <a:gd name="connsiteX4" fmla="*/ 1396385 w 1396385"/>
                <a:gd name="connsiteY4" fmla="*/ 1000649 h 1141070"/>
                <a:gd name="connsiteX5" fmla="*/ 1384497 w 1396385"/>
                <a:gd name="connsiteY5" fmla="*/ 961029 h 1141070"/>
                <a:gd name="connsiteX6" fmla="*/ 1360807 w 1396385"/>
                <a:gd name="connsiteY6" fmla="*/ 933798 h 1141070"/>
                <a:gd name="connsiteX7" fmla="*/ 1081034 w 1396385"/>
                <a:gd name="connsiteY7" fmla="*/ 770682 h 1141070"/>
                <a:gd name="connsiteX8" fmla="*/ 1079643 w 1396385"/>
                <a:gd name="connsiteY8" fmla="*/ 625242 h 1141070"/>
                <a:gd name="connsiteX9" fmla="*/ 1078615 w 1396385"/>
                <a:gd name="connsiteY9" fmla="*/ 613703 h 1141070"/>
                <a:gd name="connsiteX10" fmla="*/ 1066122 w 1396385"/>
                <a:gd name="connsiteY10" fmla="*/ 572868 h 1141070"/>
                <a:gd name="connsiteX11" fmla="*/ 1027515 w 1396385"/>
                <a:gd name="connsiteY11" fmla="*/ 534977 h 1141070"/>
                <a:gd name="connsiteX12" fmla="*/ 180985 w 1396385"/>
                <a:gd name="connsiteY12" fmla="*/ 49284 h 1141070"/>
                <a:gd name="connsiteX13" fmla="*/ 3382 w 1396385"/>
                <a:gd name="connsiteY13" fmla="*/ 0 h 1141070"/>
                <a:gd name="connsiteX14" fmla="*/ 145267 w 1396385"/>
                <a:gd name="connsiteY14" fmla="*/ 123102 h 1141070"/>
                <a:gd name="connsiteX15" fmla="*/ 985641 w 1396385"/>
                <a:gd name="connsiteY15" fmla="*/ 605962 h 1141070"/>
                <a:gd name="connsiteX16" fmla="*/ 997221 w 1396385"/>
                <a:gd name="connsiteY16" fmla="*/ 626020 h 1141070"/>
                <a:gd name="connsiteX17" fmla="*/ 997205 w 1396385"/>
                <a:gd name="connsiteY17" fmla="*/ 628610 h 1141070"/>
                <a:gd name="connsiteX18" fmla="*/ 996888 w 1396385"/>
                <a:gd name="connsiteY18" fmla="*/ 627277 h 1141070"/>
                <a:gd name="connsiteX19" fmla="*/ 998860 w 1396385"/>
                <a:gd name="connsiteY19" fmla="*/ 797392 h 1141070"/>
                <a:gd name="connsiteX20" fmla="*/ 1014001 w 1396385"/>
                <a:gd name="connsiteY20" fmla="*/ 827573 h 1141070"/>
                <a:gd name="connsiteX21" fmla="*/ 1302807 w 1396385"/>
                <a:gd name="connsiteY21" fmla="*/ 992238 h 1141070"/>
                <a:gd name="connsiteX22" fmla="*/ 1302910 w 1396385"/>
                <a:gd name="connsiteY22" fmla="*/ 992258 h 1141070"/>
                <a:gd name="connsiteX23" fmla="*/ 1304057 w 1396385"/>
                <a:gd name="connsiteY23" fmla="*/ 996754 h 1141070"/>
                <a:gd name="connsiteX24" fmla="*/ 1290576 w 1396385"/>
                <a:gd name="connsiteY24" fmla="*/ 1014468 h 1141070"/>
                <a:gd name="connsiteX25" fmla="*/ 1198657 w 1396385"/>
                <a:gd name="connsiteY25" fmla="*/ 1067539 h 1141070"/>
                <a:gd name="connsiteX26" fmla="*/ 1198275 w 1396385"/>
                <a:gd name="connsiteY26" fmla="*/ 1115436 h 1141070"/>
                <a:gd name="connsiteX27" fmla="*/ 1230140 w 1396385"/>
                <a:gd name="connsiteY27" fmla="*/ 1140971 h 1141070"/>
                <a:gd name="connsiteX0" fmla="*/ 1160656 w 1326901"/>
                <a:gd name="connsiteY0" fmla="*/ 1091687 h 1091786"/>
                <a:gd name="connsiteX1" fmla="*/ 1170463 w 1326901"/>
                <a:gd name="connsiteY1" fmla="*/ 1089772 h 1091786"/>
                <a:gd name="connsiteX2" fmla="*/ 1270566 w 1326901"/>
                <a:gd name="connsiteY2" fmla="*/ 1032806 h 1091786"/>
                <a:gd name="connsiteX3" fmla="*/ 1313529 w 1326901"/>
                <a:gd name="connsiteY3" fmla="*/ 994845 h 1091786"/>
                <a:gd name="connsiteX4" fmla="*/ 1326901 w 1326901"/>
                <a:gd name="connsiteY4" fmla="*/ 951365 h 1091786"/>
                <a:gd name="connsiteX5" fmla="*/ 1315013 w 1326901"/>
                <a:gd name="connsiteY5" fmla="*/ 911745 h 1091786"/>
                <a:gd name="connsiteX6" fmla="*/ 1291323 w 1326901"/>
                <a:gd name="connsiteY6" fmla="*/ 884514 h 1091786"/>
                <a:gd name="connsiteX7" fmla="*/ 1011550 w 1326901"/>
                <a:gd name="connsiteY7" fmla="*/ 721398 h 1091786"/>
                <a:gd name="connsiteX8" fmla="*/ 1010159 w 1326901"/>
                <a:gd name="connsiteY8" fmla="*/ 575958 h 1091786"/>
                <a:gd name="connsiteX9" fmla="*/ 1009131 w 1326901"/>
                <a:gd name="connsiteY9" fmla="*/ 564419 h 1091786"/>
                <a:gd name="connsiteX10" fmla="*/ 996638 w 1326901"/>
                <a:gd name="connsiteY10" fmla="*/ 523584 h 1091786"/>
                <a:gd name="connsiteX11" fmla="*/ 958031 w 1326901"/>
                <a:gd name="connsiteY11" fmla="*/ 485693 h 1091786"/>
                <a:gd name="connsiteX12" fmla="*/ 111501 w 1326901"/>
                <a:gd name="connsiteY12" fmla="*/ 0 h 1091786"/>
                <a:gd name="connsiteX13" fmla="*/ 69630 w 1326901"/>
                <a:gd name="connsiteY13" fmla="*/ 24535 h 1091786"/>
                <a:gd name="connsiteX14" fmla="*/ 75783 w 1326901"/>
                <a:gd name="connsiteY14" fmla="*/ 73818 h 1091786"/>
                <a:gd name="connsiteX15" fmla="*/ 916157 w 1326901"/>
                <a:gd name="connsiteY15" fmla="*/ 556678 h 1091786"/>
                <a:gd name="connsiteX16" fmla="*/ 927737 w 1326901"/>
                <a:gd name="connsiteY16" fmla="*/ 576736 h 1091786"/>
                <a:gd name="connsiteX17" fmla="*/ 927721 w 1326901"/>
                <a:gd name="connsiteY17" fmla="*/ 579326 h 1091786"/>
                <a:gd name="connsiteX18" fmla="*/ 927404 w 1326901"/>
                <a:gd name="connsiteY18" fmla="*/ 577993 h 1091786"/>
                <a:gd name="connsiteX19" fmla="*/ 929376 w 1326901"/>
                <a:gd name="connsiteY19" fmla="*/ 748108 h 1091786"/>
                <a:gd name="connsiteX20" fmla="*/ 944517 w 1326901"/>
                <a:gd name="connsiteY20" fmla="*/ 778289 h 1091786"/>
                <a:gd name="connsiteX21" fmla="*/ 1233323 w 1326901"/>
                <a:gd name="connsiteY21" fmla="*/ 942954 h 1091786"/>
                <a:gd name="connsiteX22" fmla="*/ 1233426 w 1326901"/>
                <a:gd name="connsiteY22" fmla="*/ 942974 h 1091786"/>
                <a:gd name="connsiteX23" fmla="*/ 1234573 w 1326901"/>
                <a:gd name="connsiteY23" fmla="*/ 947470 h 1091786"/>
                <a:gd name="connsiteX24" fmla="*/ 1221092 w 1326901"/>
                <a:gd name="connsiteY24" fmla="*/ 965184 h 1091786"/>
                <a:gd name="connsiteX25" fmla="*/ 1129173 w 1326901"/>
                <a:gd name="connsiteY25" fmla="*/ 1018255 h 1091786"/>
                <a:gd name="connsiteX26" fmla="*/ 1128791 w 1326901"/>
                <a:gd name="connsiteY26" fmla="*/ 1066152 h 1091786"/>
                <a:gd name="connsiteX27" fmla="*/ 1160656 w 1326901"/>
                <a:gd name="connsiteY27" fmla="*/ 1091687 h 1091786"/>
                <a:gd name="connsiteX0" fmla="*/ 1160656 w 1326901"/>
                <a:gd name="connsiteY0" fmla="*/ 1091687 h 1091786"/>
                <a:gd name="connsiteX1" fmla="*/ 1170463 w 1326901"/>
                <a:gd name="connsiteY1" fmla="*/ 1089772 h 1091786"/>
                <a:gd name="connsiteX2" fmla="*/ 1270566 w 1326901"/>
                <a:gd name="connsiteY2" fmla="*/ 1032806 h 1091786"/>
                <a:gd name="connsiteX3" fmla="*/ 1313529 w 1326901"/>
                <a:gd name="connsiteY3" fmla="*/ 994845 h 1091786"/>
                <a:gd name="connsiteX4" fmla="*/ 1326901 w 1326901"/>
                <a:gd name="connsiteY4" fmla="*/ 951365 h 1091786"/>
                <a:gd name="connsiteX5" fmla="*/ 1315013 w 1326901"/>
                <a:gd name="connsiteY5" fmla="*/ 911745 h 1091786"/>
                <a:gd name="connsiteX6" fmla="*/ 1291323 w 1326901"/>
                <a:gd name="connsiteY6" fmla="*/ 884514 h 1091786"/>
                <a:gd name="connsiteX7" fmla="*/ 1011550 w 1326901"/>
                <a:gd name="connsiteY7" fmla="*/ 721398 h 1091786"/>
                <a:gd name="connsiteX8" fmla="*/ 1010159 w 1326901"/>
                <a:gd name="connsiteY8" fmla="*/ 575958 h 1091786"/>
                <a:gd name="connsiteX9" fmla="*/ 1009131 w 1326901"/>
                <a:gd name="connsiteY9" fmla="*/ 564419 h 1091786"/>
                <a:gd name="connsiteX10" fmla="*/ 996638 w 1326901"/>
                <a:gd name="connsiteY10" fmla="*/ 523584 h 1091786"/>
                <a:gd name="connsiteX11" fmla="*/ 958031 w 1326901"/>
                <a:gd name="connsiteY11" fmla="*/ 485693 h 1091786"/>
                <a:gd name="connsiteX12" fmla="*/ 111501 w 1326901"/>
                <a:gd name="connsiteY12" fmla="*/ 0 h 1091786"/>
                <a:gd name="connsiteX13" fmla="*/ 69630 w 1326901"/>
                <a:gd name="connsiteY13" fmla="*/ 24535 h 1091786"/>
                <a:gd name="connsiteX14" fmla="*/ 75783 w 1326901"/>
                <a:gd name="connsiteY14" fmla="*/ 73818 h 1091786"/>
                <a:gd name="connsiteX15" fmla="*/ 916157 w 1326901"/>
                <a:gd name="connsiteY15" fmla="*/ 556678 h 1091786"/>
                <a:gd name="connsiteX16" fmla="*/ 927737 w 1326901"/>
                <a:gd name="connsiteY16" fmla="*/ 576736 h 1091786"/>
                <a:gd name="connsiteX17" fmla="*/ 927721 w 1326901"/>
                <a:gd name="connsiteY17" fmla="*/ 579326 h 1091786"/>
                <a:gd name="connsiteX18" fmla="*/ 927404 w 1326901"/>
                <a:gd name="connsiteY18" fmla="*/ 577993 h 1091786"/>
                <a:gd name="connsiteX19" fmla="*/ 929376 w 1326901"/>
                <a:gd name="connsiteY19" fmla="*/ 748108 h 1091786"/>
                <a:gd name="connsiteX20" fmla="*/ 944517 w 1326901"/>
                <a:gd name="connsiteY20" fmla="*/ 778289 h 1091786"/>
                <a:gd name="connsiteX21" fmla="*/ 1233323 w 1326901"/>
                <a:gd name="connsiteY21" fmla="*/ 942954 h 1091786"/>
                <a:gd name="connsiteX22" fmla="*/ 1233426 w 1326901"/>
                <a:gd name="connsiteY22" fmla="*/ 942974 h 1091786"/>
                <a:gd name="connsiteX23" fmla="*/ 1234573 w 1326901"/>
                <a:gd name="connsiteY23" fmla="*/ 947470 h 1091786"/>
                <a:gd name="connsiteX24" fmla="*/ 1221092 w 1326901"/>
                <a:gd name="connsiteY24" fmla="*/ 965184 h 1091786"/>
                <a:gd name="connsiteX25" fmla="*/ 1129173 w 1326901"/>
                <a:gd name="connsiteY25" fmla="*/ 1018255 h 1091786"/>
                <a:gd name="connsiteX26" fmla="*/ 1128791 w 1326901"/>
                <a:gd name="connsiteY26" fmla="*/ 1066152 h 1091786"/>
                <a:gd name="connsiteX27" fmla="*/ 1160656 w 1326901"/>
                <a:gd name="connsiteY27" fmla="*/ 1091687 h 1091786"/>
                <a:gd name="connsiteX0" fmla="*/ 1162377 w 1328622"/>
                <a:gd name="connsiteY0" fmla="*/ 1091687 h 1091786"/>
                <a:gd name="connsiteX1" fmla="*/ 1172184 w 1328622"/>
                <a:gd name="connsiteY1" fmla="*/ 1089772 h 1091786"/>
                <a:gd name="connsiteX2" fmla="*/ 1272287 w 1328622"/>
                <a:gd name="connsiteY2" fmla="*/ 1032806 h 1091786"/>
                <a:gd name="connsiteX3" fmla="*/ 1315250 w 1328622"/>
                <a:gd name="connsiteY3" fmla="*/ 994845 h 1091786"/>
                <a:gd name="connsiteX4" fmla="*/ 1328622 w 1328622"/>
                <a:gd name="connsiteY4" fmla="*/ 951365 h 1091786"/>
                <a:gd name="connsiteX5" fmla="*/ 1316734 w 1328622"/>
                <a:gd name="connsiteY5" fmla="*/ 911745 h 1091786"/>
                <a:gd name="connsiteX6" fmla="*/ 1293044 w 1328622"/>
                <a:gd name="connsiteY6" fmla="*/ 884514 h 1091786"/>
                <a:gd name="connsiteX7" fmla="*/ 1013271 w 1328622"/>
                <a:gd name="connsiteY7" fmla="*/ 721398 h 1091786"/>
                <a:gd name="connsiteX8" fmla="*/ 1011880 w 1328622"/>
                <a:gd name="connsiteY8" fmla="*/ 575958 h 1091786"/>
                <a:gd name="connsiteX9" fmla="*/ 1010852 w 1328622"/>
                <a:gd name="connsiteY9" fmla="*/ 564419 h 1091786"/>
                <a:gd name="connsiteX10" fmla="*/ 998359 w 1328622"/>
                <a:gd name="connsiteY10" fmla="*/ 523584 h 1091786"/>
                <a:gd name="connsiteX11" fmla="*/ 959752 w 1328622"/>
                <a:gd name="connsiteY11" fmla="*/ 485693 h 1091786"/>
                <a:gd name="connsiteX12" fmla="*/ 113222 w 1328622"/>
                <a:gd name="connsiteY12" fmla="*/ 0 h 1091786"/>
                <a:gd name="connsiteX13" fmla="*/ 71351 w 1328622"/>
                <a:gd name="connsiteY13" fmla="*/ 24535 h 1091786"/>
                <a:gd name="connsiteX14" fmla="*/ 77504 w 1328622"/>
                <a:gd name="connsiteY14" fmla="*/ 73818 h 1091786"/>
                <a:gd name="connsiteX15" fmla="*/ 917878 w 1328622"/>
                <a:gd name="connsiteY15" fmla="*/ 556678 h 1091786"/>
                <a:gd name="connsiteX16" fmla="*/ 929458 w 1328622"/>
                <a:gd name="connsiteY16" fmla="*/ 576736 h 1091786"/>
                <a:gd name="connsiteX17" fmla="*/ 929442 w 1328622"/>
                <a:gd name="connsiteY17" fmla="*/ 579326 h 1091786"/>
                <a:gd name="connsiteX18" fmla="*/ 929125 w 1328622"/>
                <a:gd name="connsiteY18" fmla="*/ 577993 h 1091786"/>
                <a:gd name="connsiteX19" fmla="*/ 931097 w 1328622"/>
                <a:gd name="connsiteY19" fmla="*/ 748108 h 1091786"/>
                <a:gd name="connsiteX20" fmla="*/ 946238 w 1328622"/>
                <a:gd name="connsiteY20" fmla="*/ 778289 h 1091786"/>
                <a:gd name="connsiteX21" fmla="*/ 1235044 w 1328622"/>
                <a:gd name="connsiteY21" fmla="*/ 942954 h 1091786"/>
                <a:gd name="connsiteX22" fmla="*/ 1235147 w 1328622"/>
                <a:gd name="connsiteY22" fmla="*/ 942974 h 1091786"/>
                <a:gd name="connsiteX23" fmla="*/ 1236294 w 1328622"/>
                <a:gd name="connsiteY23" fmla="*/ 947470 h 1091786"/>
                <a:gd name="connsiteX24" fmla="*/ 1222813 w 1328622"/>
                <a:gd name="connsiteY24" fmla="*/ 965184 h 1091786"/>
                <a:gd name="connsiteX25" fmla="*/ 1130894 w 1328622"/>
                <a:gd name="connsiteY25" fmla="*/ 1018255 h 1091786"/>
                <a:gd name="connsiteX26" fmla="*/ 1130512 w 1328622"/>
                <a:gd name="connsiteY26" fmla="*/ 1066152 h 1091786"/>
                <a:gd name="connsiteX27" fmla="*/ 1162377 w 1328622"/>
                <a:gd name="connsiteY27" fmla="*/ 1091687 h 1091786"/>
                <a:gd name="connsiteX0" fmla="*/ 1096264 w 1262509"/>
                <a:gd name="connsiteY0" fmla="*/ 1091687 h 1091786"/>
                <a:gd name="connsiteX1" fmla="*/ 1106071 w 1262509"/>
                <a:gd name="connsiteY1" fmla="*/ 1089772 h 1091786"/>
                <a:gd name="connsiteX2" fmla="*/ 1206174 w 1262509"/>
                <a:gd name="connsiteY2" fmla="*/ 1032806 h 1091786"/>
                <a:gd name="connsiteX3" fmla="*/ 1249137 w 1262509"/>
                <a:gd name="connsiteY3" fmla="*/ 994845 h 1091786"/>
                <a:gd name="connsiteX4" fmla="*/ 1262509 w 1262509"/>
                <a:gd name="connsiteY4" fmla="*/ 951365 h 1091786"/>
                <a:gd name="connsiteX5" fmla="*/ 1250621 w 1262509"/>
                <a:gd name="connsiteY5" fmla="*/ 911745 h 1091786"/>
                <a:gd name="connsiteX6" fmla="*/ 1226931 w 1262509"/>
                <a:gd name="connsiteY6" fmla="*/ 884514 h 1091786"/>
                <a:gd name="connsiteX7" fmla="*/ 947158 w 1262509"/>
                <a:gd name="connsiteY7" fmla="*/ 721398 h 1091786"/>
                <a:gd name="connsiteX8" fmla="*/ 945767 w 1262509"/>
                <a:gd name="connsiteY8" fmla="*/ 575958 h 1091786"/>
                <a:gd name="connsiteX9" fmla="*/ 944739 w 1262509"/>
                <a:gd name="connsiteY9" fmla="*/ 564419 h 1091786"/>
                <a:gd name="connsiteX10" fmla="*/ 932246 w 1262509"/>
                <a:gd name="connsiteY10" fmla="*/ 523584 h 1091786"/>
                <a:gd name="connsiteX11" fmla="*/ 893639 w 1262509"/>
                <a:gd name="connsiteY11" fmla="*/ 485693 h 1091786"/>
                <a:gd name="connsiteX12" fmla="*/ 47109 w 1262509"/>
                <a:gd name="connsiteY12" fmla="*/ 0 h 1091786"/>
                <a:gd name="connsiteX13" fmla="*/ 5238 w 1262509"/>
                <a:gd name="connsiteY13" fmla="*/ 24535 h 1091786"/>
                <a:gd name="connsiteX14" fmla="*/ 11391 w 1262509"/>
                <a:gd name="connsiteY14" fmla="*/ 73818 h 1091786"/>
                <a:gd name="connsiteX15" fmla="*/ 851765 w 1262509"/>
                <a:gd name="connsiteY15" fmla="*/ 556678 h 1091786"/>
                <a:gd name="connsiteX16" fmla="*/ 863345 w 1262509"/>
                <a:gd name="connsiteY16" fmla="*/ 576736 h 1091786"/>
                <a:gd name="connsiteX17" fmla="*/ 863329 w 1262509"/>
                <a:gd name="connsiteY17" fmla="*/ 579326 h 1091786"/>
                <a:gd name="connsiteX18" fmla="*/ 863012 w 1262509"/>
                <a:gd name="connsiteY18" fmla="*/ 577993 h 1091786"/>
                <a:gd name="connsiteX19" fmla="*/ 864984 w 1262509"/>
                <a:gd name="connsiteY19" fmla="*/ 748108 h 1091786"/>
                <a:gd name="connsiteX20" fmla="*/ 880125 w 1262509"/>
                <a:gd name="connsiteY20" fmla="*/ 778289 h 1091786"/>
                <a:gd name="connsiteX21" fmla="*/ 1168931 w 1262509"/>
                <a:gd name="connsiteY21" fmla="*/ 942954 h 1091786"/>
                <a:gd name="connsiteX22" fmla="*/ 1169034 w 1262509"/>
                <a:gd name="connsiteY22" fmla="*/ 942974 h 1091786"/>
                <a:gd name="connsiteX23" fmla="*/ 1170181 w 1262509"/>
                <a:gd name="connsiteY23" fmla="*/ 947470 h 1091786"/>
                <a:gd name="connsiteX24" fmla="*/ 1156700 w 1262509"/>
                <a:gd name="connsiteY24" fmla="*/ 965184 h 1091786"/>
                <a:gd name="connsiteX25" fmla="*/ 1064781 w 1262509"/>
                <a:gd name="connsiteY25" fmla="*/ 1018255 h 1091786"/>
                <a:gd name="connsiteX26" fmla="*/ 1064399 w 1262509"/>
                <a:gd name="connsiteY26" fmla="*/ 1066152 h 1091786"/>
                <a:gd name="connsiteX27" fmla="*/ 1096264 w 1262509"/>
                <a:gd name="connsiteY27" fmla="*/ 1091687 h 1091786"/>
                <a:gd name="connsiteX0" fmla="*/ 1096264 w 1262509"/>
                <a:gd name="connsiteY0" fmla="*/ 1096751 h 1096850"/>
                <a:gd name="connsiteX1" fmla="*/ 1106071 w 1262509"/>
                <a:gd name="connsiteY1" fmla="*/ 1094836 h 1096850"/>
                <a:gd name="connsiteX2" fmla="*/ 1206174 w 1262509"/>
                <a:gd name="connsiteY2" fmla="*/ 1037870 h 1096850"/>
                <a:gd name="connsiteX3" fmla="*/ 1249137 w 1262509"/>
                <a:gd name="connsiteY3" fmla="*/ 999909 h 1096850"/>
                <a:gd name="connsiteX4" fmla="*/ 1262509 w 1262509"/>
                <a:gd name="connsiteY4" fmla="*/ 956429 h 1096850"/>
                <a:gd name="connsiteX5" fmla="*/ 1250621 w 1262509"/>
                <a:gd name="connsiteY5" fmla="*/ 916809 h 1096850"/>
                <a:gd name="connsiteX6" fmla="*/ 1226931 w 1262509"/>
                <a:gd name="connsiteY6" fmla="*/ 889578 h 1096850"/>
                <a:gd name="connsiteX7" fmla="*/ 947158 w 1262509"/>
                <a:gd name="connsiteY7" fmla="*/ 726462 h 1096850"/>
                <a:gd name="connsiteX8" fmla="*/ 945767 w 1262509"/>
                <a:gd name="connsiteY8" fmla="*/ 581022 h 1096850"/>
                <a:gd name="connsiteX9" fmla="*/ 944739 w 1262509"/>
                <a:gd name="connsiteY9" fmla="*/ 569483 h 1096850"/>
                <a:gd name="connsiteX10" fmla="*/ 932246 w 1262509"/>
                <a:gd name="connsiteY10" fmla="*/ 528648 h 1096850"/>
                <a:gd name="connsiteX11" fmla="*/ 893639 w 1262509"/>
                <a:gd name="connsiteY11" fmla="*/ 490757 h 1096850"/>
                <a:gd name="connsiteX12" fmla="*/ 47109 w 1262509"/>
                <a:gd name="connsiteY12" fmla="*/ 5064 h 1096850"/>
                <a:gd name="connsiteX13" fmla="*/ 5238 w 1262509"/>
                <a:gd name="connsiteY13" fmla="*/ 29599 h 1096850"/>
                <a:gd name="connsiteX14" fmla="*/ 11391 w 1262509"/>
                <a:gd name="connsiteY14" fmla="*/ 78882 h 1096850"/>
                <a:gd name="connsiteX15" fmla="*/ 851765 w 1262509"/>
                <a:gd name="connsiteY15" fmla="*/ 561742 h 1096850"/>
                <a:gd name="connsiteX16" fmla="*/ 863345 w 1262509"/>
                <a:gd name="connsiteY16" fmla="*/ 581800 h 1096850"/>
                <a:gd name="connsiteX17" fmla="*/ 863329 w 1262509"/>
                <a:gd name="connsiteY17" fmla="*/ 584390 h 1096850"/>
                <a:gd name="connsiteX18" fmla="*/ 863012 w 1262509"/>
                <a:gd name="connsiteY18" fmla="*/ 583057 h 1096850"/>
                <a:gd name="connsiteX19" fmla="*/ 864984 w 1262509"/>
                <a:gd name="connsiteY19" fmla="*/ 753172 h 1096850"/>
                <a:gd name="connsiteX20" fmla="*/ 880125 w 1262509"/>
                <a:gd name="connsiteY20" fmla="*/ 783353 h 1096850"/>
                <a:gd name="connsiteX21" fmla="*/ 1168931 w 1262509"/>
                <a:gd name="connsiteY21" fmla="*/ 948018 h 1096850"/>
                <a:gd name="connsiteX22" fmla="*/ 1169034 w 1262509"/>
                <a:gd name="connsiteY22" fmla="*/ 948038 h 1096850"/>
                <a:gd name="connsiteX23" fmla="*/ 1170181 w 1262509"/>
                <a:gd name="connsiteY23" fmla="*/ 952534 h 1096850"/>
                <a:gd name="connsiteX24" fmla="*/ 1156700 w 1262509"/>
                <a:gd name="connsiteY24" fmla="*/ 970248 h 1096850"/>
                <a:gd name="connsiteX25" fmla="*/ 1064781 w 1262509"/>
                <a:gd name="connsiteY25" fmla="*/ 1023319 h 1096850"/>
                <a:gd name="connsiteX26" fmla="*/ 1064399 w 1262509"/>
                <a:gd name="connsiteY26" fmla="*/ 1071216 h 1096850"/>
                <a:gd name="connsiteX27" fmla="*/ 1096264 w 1262509"/>
                <a:gd name="connsiteY27" fmla="*/ 1096751 h 109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62509" h="1096850">
                  <a:moveTo>
                    <a:pt x="1096264" y="1096751"/>
                  </a:moveTo>
                  <a:cubicBezTo>
                    <a:pt x="1099824" y="1097107"/>
                    <a:pt x="1103167" y="1096511"/>
                    <a:pt x="1106071" y="1094836"/>
                  </a:cubicBezTo>
                  <a:cubicBezTo>
                    <a:pt x="1124389" y="1085022"/>
                    <a:pt x="1183045" y="1053692"/>
                    <a:pt x="1206174" y="1037870"/>
                  </a:cubicBezTo>
                  <a:cubicBezTo>
                    <a:pt x="1219786" y="1027019"/>
                    <a:pt x="1239748" y="1013483"/>
                    <a:pt x="1249137" y="999909"/>
                  </a:cubicBezTo>
                  <a:cubicBezTo>
                    <a:pt x="1258526" y="986336"/>
                    <a:pt x="1261984" y="967118"/>
                    <a:pt x="1262509" y="956429"/>
                  </a:cubicBezTo>
                  <a:cubicBezTo>
                    <a:pt x="1260370" y="938603"/>
                    <a:pt x="1256551" y="927951"/>
                    <a:pt x="1250621" y="916809"/>
                  </a:cubicBezTo>
                  <a:cubicBezTo>
                    <a:pt x="1244691" y="905667"/>
                    <a:pt x="1236461" y="897547"/>
                    <a:pt x="1226931" y="889578"/>
                  </a:cubicBezTo>
                  <a:lnTo>
                    <a:pt x="947158" y="726462"/>
                  </a:lnTo>
                  <a:cubicBezTo>
                    <a:pt x="946694" y="677982"/>
                    <a:pt x="946231" y="629502"/>
                    <a:pt x="945767" y="581022"/>
                  </a:cubicBezTo>
                  <a:cubicBezTo>
                    <a:pt x="945322" y="576160"/>
                    <a:pt x="946992" y="578212"/>
                    <a:pt x="944739" y="569483"/>
                  </a:cubicBezTo>
                  <a:cubicBezTo>
                    <a:pt x="944215" y="558813"/>
                    <a:pt x="943894" y="549379"/>
                    <a:pt x="932246" y="528648"/>
                  </a:cubicBezTo>
                  <a:cubicBezTo>
                    <a:pt x="916715" y="501007"/>
                    <a:pt x="907224" y="501588"/>
                    <a:pt x="893639" y="490757"/>
                  </a:cubicBezTo>
                  <a:lnTo>
                    <a:pt x="47109" y="5064"/>
                  </a:lnTo>
                  <a:cubicBezTo>
                    <a:pt x="40296" y="-3427"/>
                    <a:pt x="21576" y="-4773"/>
                    <a:pt x="5238" y="29599"/>
                  </a:cubicBezTo>
                  <a:cubicBezTo>
                    <a:pt x="-7859" y="60952"/>
                    <a:pt x="7225" y="77900"/>
                    <a:pt x="11391" y="78882"/>
                  </a:cubicBezTo>
                  <a:lnTo>
                    <a:pt x="851765" y="561742"/>
                  </a:lnTo>
                  <a:cubicBezTo>
                    <a:pt x="861099" y="569293"/>
                    <a:pt x="861473" y="569942"/>
                    <a:pt x="863345" y="581800"/>
                  </a:cubicBezTo>
                  <a:cubicBezTo>
                    <a:pt x="863339" y="582663"/>
                    <a:pt x="863334" y="583527"/>
                    <a:pt x="863329" y="584390"/>
                  </a:cubicBezTo>
                  <a:cubicBezTo>
                    <a:pt x="863223" y="583946"/>
                    <a:pt x="863118" y="583501"/>
                    <a:pt x="863012" y="583057"/>
                  </a:cubicBezTo>
                  <a:cubicBezTo>
                    <a:pt x="863669" y="639762"/>
                    <a:pt x="864327" y="696467"/>
                    <a:pt x="864984" y="753172"/>
                  </a:cubicBezTo>
                  <a:cubicBezTo>
                    <a:pt x="865455" y="767505"/>
                    <a:pt x="869948" y="774691"/>
                    <a:pt x="880125" y="783353"/>
                  </a:cubicBezTo>
                  <a:lnTo>
                    <a:pt x="1168931" y="948018"/>
                  </a:lnTo>
                  <a:cubicBezTo>
                    <a:pt x="1168965" y="948025"/>
                    <a:pt x="1169000" y="948031"/>
                    <a:pt x="1169034" y="948038"/>
                  </a:cubicBezTo>
                  <a:lnTo>
                    <a:pt x="1170181" y="952534"/>
                  </a:lnTo>
                  <a:cubicBezTo>
                    <a:pt x="1168126" y="956236"/>
                    <a:pt x="1174267" y="958450"/>
                    <a:pt x="1156700" y="970248"/>
                  </a:cubicBezTo>
                  <a:lnTo>
                    <a:pt x="1064781" y="1023319"/>
                  </a:lnTo>
                  <a:cubicBezTo>
                    <a:pt x="1053168" y="1030023"/>
                    <a:pt x="1052997" y="1051468"/>
                    <a:pt x="1064399" y="1071216"/>
                  </a:cubicBezTo>
                  <a:cubicBezTo>
                    <a:pt x="1072950" y="1086028"/>
                    <a:pt x="1085583" y="1095679"/>
                    <a:pt x="1096264" y="1096751"/>
                  </a:cubicBezTo>
                  <a:close/>
                </a:path>
              </a:pathLst>
            </a:custGeom>
            <a:gradFill flip="none" rotWithShape="1">
              <a:gsLst>
                <a:gs pos="44000">
                  <a:schemeClr val="accent2">
                    <a:lumMod val="0"/>
                    <a:lumOff val="100000"/>
                  </a:schemeClr>
                </a:gs>
                <a:gs pos="41000">
                  <a:schemeClr val="accent4"/>
                </a:gs>
              </a:gsLst>
              <a:lin ang="72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1562" name="Oval 1561">
              <a:extLst>
                <a:ext uri="{FF2B5EF4-FFF2-40B4-BE49-F238E27FC236}">
                  <a16:creationId xmlns:a16="http://schemas.microsoft.com/office/drawing/2014/main" id="{FB120B18-A34F-4E52-B598-A03DA913377F}"/>
                </a:ext>
              </a:extLst>
            </p:cNvPr>
            <p:cNvSpPr/>
            <p:nvPr/>
          </p:nvSpPr>
          <p:spPr bwMode="gray">
            <a:xfrm flipH="1" flipV="1">
              <a:off x="5421544" y="4024658"/>
              <a:ext cx="58101" cy="108779"/>
            </a:xfrm>
            <a:custGeom>
              <a:avLst/>
              <a:gdLst>
                <a:gd name="connsiteX0" fmla="*/ 0 w 84213"/>
                <a:gd name="connsiteY0" fmla="*/ 56519 h 113037"/>
                <a:gd name="connsiteX1" fmla="*/ 42107 w 84213"/>
                <a:gd name="connsiteY1" fmla="*/ 0 h 113037"/>
                <a:gd name="connsiteX2" fmla="*/ 84214 w 84213"/>
                <a:gd name="connsiteY2" fmla="*/ 56519 h 113037"/>
                <a:gd name="connsiteX3" fmla="*/ 42107 w 84213"/>
                <a:gd name="connsiteY3" fmla="*/ 113038 h 113037"/>
                <a:gd name="connsiteX4" fmla="*/ 0 w 84213"/>
                <a:gd name="connsiteY4" fmla="*/ 56519 h 113037"/>
                <a:gd name="connsiteX0" fmla="*/ 267 w 84481"/>
                <a:gd name="connsiteY0" fmla="*/ 56519 h 113038"/>
                <a:gd name="connsiteX1" fmla="*/ 30468 w 84481"/>
                <a:gd name="connsiteY1" fmla="*/ 0 h 113038"/>
                <a:gd name="connsiteX2" fmla="*/ 84481 w 84481"/>
                <a:gd name="connsiteY2" fmla="*/ 56519 h 113038"/>
                <a:gd name="connsiteX3" fmla="*/ 42374 w 84481"/>
                <a:gd name="connsiteY3" fmla="*/ 113038 h 113038"/>
                <a:gd name="connsiteX4" fmla="*/ 267 w 84481"/>
                <a:gd name="connsiteY4" fmla="*/ 56519 h 113038"/>
                <a:gd name="connsiteX0" fmla="*/ 192 w 84406"/>
                <a:gd name="connsiteY0" fmla="*/ 63571 h 120090"/>
                <a:gd name="connsiteX1" fmla="*/ 30393 w 84406"/>
                <a:gd name="connsiteY1" fmla="*/ 7052 h 120090"/>
                <a:gd name="connsiteX2" fmla="*/ 84406 w 84406"/>
                <a:gd name="connsiteY2" fmla="*/ 63571 h 120090"/>
                <a:gd name="connsiteX3" fmla="*/ 42299 w 84406"/>
                <a:gd name="connsiteY3" fmla="*/ 120090 h 120090"/>
                <a:gd name="connsiteX4" fmla="*/ 192 w 84406"/>
                <a:gd name="connsiteY4" fmla="*/ 63571 h 120090"/>
                <a:gd name="connsiteX0" fmla="*/ 1003 w 85217"/>
                <a:gd name="connsiteY0" fmla="*/ 56943 h 113462"/>
                <a:gd name="connsiteX1" fmla="*/ 21679 w 85217"/>
                <a:gd name="connsiteY1" fmla="*/ 7567 h 113462"/>
                <a:gd name="connsiteX2" fmla="*/ 85217 w 85217"/>
                <a:gd name="connsiteY2" fmla="*/ 56943 h 113462"/>
                <a:gd name="connsiteX3" fmla="*/ 43110 w 85217"/>
                <a:gd name="connsiteY3" fmla="*/ 113462 h 113462"/>
                <a:gd name="connsiteX4" fmla="*/ 1003 w 85217"/>
                <a:gd name="connsiteY4" fmla="*/ 56943 h 113462"/>
                <a:gd name="connsiteX0" fmla="*/ 552 w 58572"/>
                <a:gd name="connsiteY0" fmla="*/ 49801 h 108354"/>
                <a:gd name="connsiteX1" fmla="*/ 21228 w 58572"/>
                <a:gd name="connsiteY1" fmla="*/ 425 h 108354"/>
                <a:gd name="connsiteX2" fmla="*/ 58572 w 58572"/>
                <a:gd name="connsiteY2" fmla="*/ 78376 h 108354"/>
                <a:gd name="connsiteX3" fmla="*/ 42659 w 58572"/>
                <a:gd name="connsiteY3" fmla="*/ 106320 h 108354"/>
                <a:gd name="connsiteX4" fmla="*/ 552 w 58572"/>
                <a:gd name="connsiteY4" fmla="*/ 49801 h 108354"/>
                <a:gd name="connsiteX0" fmla="*/ 81 w 58101"/>
                <a:gd name="connsiteY0" fmla="*/ 50226 h 108779"/>
                <a:gd name="connsiteX1" fmla="*/ 20757 w 58101"/>
                <a:gd name="connsiteY1" fmla="*/ 850 h 108779"/>
                <a:gd name="connsiteX2" fmla="*/ 58101 w 58101"/>
                <a:gd name="connsiteY2" fmla="*/ 78801 h 108779"/>
                <a:gd name="connsiteX3" fmla="*/ 42188 w 58101"/>
                <a:gd name="connsiteY3" fmla="*/ 106745 h 108779"/>
                <a:gd name="connsiteX4" fmla="*/ 81 w 58101"/>
                <a:gd name="connsiteY4" fmla="*/ 50226 h 1087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01" h="108779">
                  <a:moveTo>
                    <a:pt x="81" y="50226"/>
                  </a:moveTo>
                  <a:cubicBezTo>
                    <a:pt x="-1110" y="11146"/>
                    <a:pt x="11087" y="-3912"/>
                    <a:pt x="20757" y="850"/>
                  </a:cubicBezTo>
                  <a:cubicBezTo>
                    <a:pt x="30427" y="5612"/>
                    <a:pt x="58101" y="47586"/>
                    <a:pt x="58101" y="78801"/>
                  </a:cubicBezTo>
                  <a:cubicBezTo>
                    <a:pt x="58101" y="110016"/>
                    <a:pt x="51858" y="111507"/>
                    <a:pt x="42188" y="106745"/>
                  </a:cubicBezTo>
                  <a:cubicBezTo>
                    <a:pt x="32518" y="101983"/>
                    <a:pt x="1272" y="89306"/>
                    <a:pt x="81" y="50226"/>
                  </a:cubicBezTo>
                  <a:close/>
                </a:path>
              </a:pathLst>
            </a:custGeom>
            <a:gradFill flip="none" rotWithShape="1">
              <a:gsLst>
                <a:gs pos="37000">
                  <a:schemeClr val="accent2">
                    <a:lumMod val="0"/>
                    <a:lumOff val="100000"/>
                    <a:alpha val="0"/>
                  </a:schemeClr>
                </a:gs>
                <a:gs pos="85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615" name="Freeform: Shape 614">
              <a:extLst>
                <a:ext uri="{FF2B5EF4-FFF2-40B4-BE49-F238E27FC236}">
                  <a16:creationId xmlns:a16="http://schemas.microsoft.com/office/drawing/2014/main" id="{D8775021-4E23-42EB-87B7-284F54012716}"/>
                </a:ext>
              </a:extLst>
            </p:cNvPr>
            <p:cNvSpPr/>
            <p:nvPr/>
          </p:nvSpPr>
          <p:spPr bwMode="gray">
            <a:xfrm rot="18000000" flipH="1" flipV="1">
              <a:off x="5074186" y="4058667"/>
              <a:ext cx="439999" cy="255672"/>
            </a:xfrm>
            <a:custGeom>
              <a:avLst/>
              <a:gdLst>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28135 w 3913281"/>
                <a:gd name="connsiteY7" fmla="*/ 1636201 h 2262327"/>
                <a:gd name="connsiteX8" fmla="*/ 3839711 w 3913281"/>
                <a:gd name="connsiteY8" fmla="*/ 1640458 h 2262327"/>
                <a:gd name="connsiteX9" fmla="*/ 3841427 w 3913281"/>
                <a:gd name="connsiteY9" fmla="*/ 2044850 h 2262327"/>
                <a:gd name="connsiteX10" fmla="*/ 3529453 w 3913281"/>
                <a:gd name="connsiteY10" fmla="*/ 2259938 h 2262327"/>
                <a:gd name="connsiteX11" fmla="*/ 3493861 w 3913281"/>
                <a:gd name="connsiteY11" fmla="*/ 2246850 h 2262327"/>
                <a:gd name="connsiteX12" fmla="*/ 3490186 w 3913281"/>
                <a:gd name="connsiteY12" fmla="*/ 2253423 h 2262327"/>
                <a:gd name="connsiteX13" fmla="*/ 865810 w 3913281"/>
                <a:gd name="connsiteY13" fmla="*/ 756776 h 2262327"/>
                <a:gd name="connsiteX14" fmla="*/ 865195 w 3913281"/>
                <a:gd name="connsiteY14" fmla="*/ 756072 h 2262327"/>
                <a:gd name="connsiteX15" fmla="*/ 825464 w 3913281"/>
                <a:gd name="connsiteY15" fmla="*/ 767227 h 2262327"/>
                <a:gd name="connsiteX16" fmla="*/ 742430 w 3913281"/>
                <a:gd name="connsiteY16" fmla="*/ 876351 h 2262327"/>
                <a:gd name="connsiteX17" fmla="*/ 742279 w 3913281"/>
                <a:gd name="connsiteY17" fmla="*/ 930320 h 2262327"/>
                <a:gd name="connsiteX18" fmla="*/ 748979 w 3913281"/>
                <a:gd name="connsiteY18" fmla="*/ 949833 h 2262327"/>
                <a:gd name="connsiteX19" fmla="*/ 748970 w 3913281"/>
                <a:gd name="connsiteY19" fmla="*/ 1893825 h 2262327"/>
                <a:gd name="connsiteX20" fmla="*/ 381745 w 3913281"/>
                <a:gd name="connsiteY20" fmla="*/ 2109764 h 2262327"/>
                <a:gd name="connsiteX21" fmla="*/ 43371 w 3913281"/>
                <a:gd name="connsiteY21"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28135 w 3913281"/>
                <a:gd name="connsiteY7" fmla="*/ 1636201 h 2262327"/>
                <a:gd name="connsiteX8" fmla="*/ 3839711 w 3913281"/>
                <a:gd name="connsiteY8" fmla="*/ 1640458 h 2262327"/>
                <a:gd name="connsiteX9" fmla="*/ 3841427 w 3913281"/>
                <a:gd name="connsiteY9" fmla="*/ 2044850 h 2262327"/>
                <a:gd name="connsiteX10" fmla="*/ 3529453 w 3913281"/>
                <a:gd name="connsiteY10" fmla="*/ 2259938 h 2262327"/>
                <a:gd name="connsiteX11" fmla="*/ 3493861 w 3913281"/>
                <a:gd name="connsiteY11" fmla="*/ 2246850 h 2262327"/>
                <a:gd name="connsiteX12" fmla="*/ 865810 w 3913281"/>
                <a:gd name="connsiteY12" fmla="*/ 756776 h 2262327"/>
                <a:gd name="connsiteX13" fmla="*/ 865195 w 3913281"/>
                <a:gd name="connsiteY13" fmla="*/ 756072 h 2262327"/>
                <a:gd name="connsiteX14" fmla="*/ 825464 w 3913281"/>
                <a:gd name="connsiteY14" fmla="*/ 767227 h 2262327"/>
                <a:gd name="connsiteX15" fmla="*/ 742430 w 3913281"/>
                <a:gd name="connsiteY15" fmla="*/ 876351 h 2262327"/>
                <a:gd name="connsiteX16" fmla="*/ 742279 w 3913281"/>
                <a:gd name="connsiteY16" fmla="*/ 930320 h 2262327"/>
                <a:gd name="connsiteX17" fmla="*/ 748979 w 3913281"/>
                <a:gd name="connsiteY17" fmla="*/ 949833 h 2262327"/>
                <a:gd name="connsiteX18" fmla="*/ 748970 w 3913281"/>
                <a:gd name="connsiteY18" fmla="*/ 1893825 h 2262327"/>
                <a:gd name="connsiteX19" fmla="*/ 381745 w 3913281"/>
                <a:gd name="connsiteY19" fmla="*/ 2109764 h 2262327"/>
                <a:gd name="connsiteX20" fmla="*/ 43371 w 3913281"/>
                <a:gd name="connsiteY20"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2430 w 3913281"/>
                <a:gd name="connsiteY14" fmla="*/ 876351 h 2262327"/>
                <a:gd name="connsiteX15" fmla="*/ 742279 w 3913281"/>
                <a:gd name="connsiteY15" fmla="*/ 930320 h 2262327"/>
                <a:gd name="connsiteX16" fmla="*/ 748979 w 3913281"/>
                <a:gd name="connsiteY16" fmla="*/ 949833 h 2262327"/>
                <a:gd name="connsiteX17" fmla="*/ 748970 w 3913281"/>
                <a:gd name="connsiteY17" fmla="*/ 1893825 h 2262327"/>
                <a:gd name="connsiteX18" fmla="*/ 381745 w 3913281"/>
                <a:gd name="connsiteY18" fmla="*/ 2109764 h 2262327"/>
                <a:gd name="connsiteX19" fmla="*/ 43371 w 3913281"/>
                <a:gd name="connsiteY19"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2279 w 3913281"/>
                <a:gd name="connsiteY14" fmla="*/ 930320 h 2262327"/>
                <a:gd name="connsiteX15" fmla="*/ 748979 w 3913281"/>
                <a:gd name="connsiteY15" fmla="*/ 949833 h 2262327"/>
                <a:gd name="connsiteX16" fmla="*/ 748970 w 3913281"/>
                <a:gd name="connsiteY16" fmla="*/ 1893825 h 2262327"/>
                <a:gd name="connsiteX17" fmla="*/ 381745 w 3913281"/>
                <a:gd name="connsiteY17" fmla="*/ 2109764 h 2262327"/>
                <a:gd name="connsiteX18" fmla="*/ 43371 w 3913281"/>
                <a:gd name="connsiteY18"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8979 w 3913281"/>
                <a:gd name="connsiteY14" fmla="*/ 949833 h 2262327"/>
                <a:gd name="connsiteX15" fmla="*/ 748970 w 3913281"/>
                <a:gd name="connsiteY15" fmla="*/ 1893825 h 2262327"/>
                <a:gd name="connsiteX16" fmla="*/ 381745 w 3913281"/>
                <a:gd name="connsiteY16" fmla="*/ 2109764 h 2262327"/>
                <a:gd name="connsiteX17" fmla="*/ 43371 w 3913281"/>
                <a:gd name="connsiteY17"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8979 w 3913281"/>
                <a:gd name="connsiteY14" fmla="*/ 949833 h 2262327"/>
                <a:gd name="connsiteX15" fmla="*/ 748970 w 3913281"/>
                <a:gd name="connsiteY15" fmla="*/ 1893825 h 2262327"/>
                <a:gd name="connsiteX16" fmla="*/ 381745 w 3913281"/>
                <a:gd name="connsiteY16" fmla="*/ 2109764 h 2262327"/>
                <a:gd name="connsiteX17" fmla="*/ 43371 w 3913281"/>
                <a:gd name="connsiteY17"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09458 w 3913281"/>
                <a:gd name="connsiteY3" fmla="*/ 369759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8979 w 3913281"/>
                <a:gd name="connsiteY14" fmla="*/ 949833 h 2262327"/>
                <a:gd name="connsiteX15" fmla="*/ 748970 w 3913281"/>
                <a:gd name="connsiteY15" fmla="*/ 1893825 h 2262327"/>
                <a:gd name="connsiteX16" fmla="*/ 381745 w 3913281"/>
                <a:gd name="connsiteY16" fmla="*/ 2109764 h 2262327"/>
                <a:gd name="connsiteX17" fmla="*/ 43371 w 3913281"/>
                <a:gd name="connsiteY17" fmla="*/ 1977875 h 2262327"/>
                <a:gd name="connsiteX0" fmla="*/ 43371 w 3913281"/>
                <a:gd name="connsiteY0" fmla="*/ 1982978 h 2267430"/>
                <a:gd name="connsiteX1" fmla="*/ 14511 w 3913281"/>
                <a:gd name="connsiteY1" fmla="*/ 1898928 h 2267430"/>
                <a:gd name="connsiteX2" fmla="*/ 8122 w 3913281"/>
                <a:gd name="connsiteY2" fmla="*/ 874584 h 2267430"/>
                <a:gd name="connsiteX3" fmla="*/ 109458 w 3913281"/>
                <a:gd name="connsiteY3" fmla="*/ 374862 h 2267430"/>
                <a:gd name="connsiteX4" fmla="*/ 389724 w 3913281"/>
                <a:gd name="connsiteY4" fmla="*/ 102121 h 2267430"/>
                <a:gd name="connsiteX5" fmla="*/ 767548 w 3913281"/>
                <a:gd name="connsiteY5" fmla="*/ 6070 h 2267430"/>
                <a:gd name="connsiteX6" fmla="*/ 1058012 w 3913281"/>
                <a:gd name="connsiteY6" fmla="*/ 55263 h 2267430"/>
                <a:gd name="connsiteX7" fmla="*/ 3839711 w 3913281"/>
                <a:gd name="connsiteY7" fmla="*/ 1645561 h 2267430"/>
                <a:gd name="connsiteX8" fmla="*/ 3841427 w 3913281"/>
                <a:gd name="connsiteY8" fmla="*/ 2049953 h 2267430"/>
                <a:gd name="connsiteX9" fmla="*/ 3529453 w 3913281"/>
                <a:gd name="connsiteY9" fmla="*/ 2265041 h 2267430"/>
                <a:gd name="connsiteX10" fmla="*/ 3493861 w 3913281"/>
                <a:gd name="connsiteY10" fmla="*/ 2251953 h 2267430"/>
                <a:gd name="connsiteX11" fmla="*/ 865810 w 3913281"/>
                <a:gd name="connsiteY11" fmla="*/ 761879 h 2267430"/>
                <a:gd name="connsiteX12" fmla="*/ 865195 w 3913281"/>
                <a:gd name="connsiteY12" fmla="*/ 761175 h 2267430"/>
                <a:gd name="connsiteX13" fmla="*/ 825464 w 3913281"/>
                <a:gd name="connsiteY13" fmla="*/ 772330 h 2267430"/>
                <a:gd name="connsiteX14" fmla="*/ 748979 w 3913281"/>
                <a:gd name="connsiteY14" fmla="*/ 954936 h 2267430"/>
                <a:gd name="connsiteX15" fmla="*/ 748970 w 3913281"/>
                <a:gd name="connsiteY15" fmla="*/ 1898928 h 2267430"/>
                <a:gd name="connsiteX16" fmla="*/ 381745 w 3913281"/>
                <a:gd name="connsiteY16" fmla="*/ 2114867 h 2267430"/>
                <a:gd name="connsiteX17" fmla="*/ 43371 w 3913281"/>
                <a:gd name="connsiteY17" fmla="*/ 1982978 h 2267430"/>
                <a:gd name="connsiteX0" fmla="*/ 43371 w 3913281"/>
                <a:gd name="connsiteY0" fmla="*/ 1978638 h 2263090"/>
                <a:gd name="connsiteX1" fmla="*/ 14511 w 3913281"/>
                <a:gd name="connsiteY1" fmla="*/ 1894588 h 2263090"/>
                <a:gd name="connsiteX2" fmla="*/ 8122 w 3913281"/>
                <a:gd name="connsiteY2" fmla="*/ 870244 h 2263090"/>
                <a:gd name="connsiteX3" fmla="*/ 109458 w 3913281"/>
                <a:gd name="connsiteY3" fmla="*/ 370522 h 2263090"/>
                <a:gd name="connsiteX4" fmla="*/ 389724 w 3913281"/>
                <a:gd name="connsiteY4" fmla="*/ 97781 h 2263090"/>
                <a:gd name="connsiteX5" fmla="*/ 767548 w 3913281"/>
                <a:gd name="connsiteY5" fmla="*/ 1730 h 2263090"/>
                <a:gd name="connsiteX6" fmla="*/ 1058012 w 3913281"/>
                <a:gd name="connsiteY6" fmla="*/ 50923 h 2263090"/>
                <a:gd name="connsiteX7" fmla="*/ 3839711 w 3913281"/>
                <a:gd name="connsiteY7" fmla="*/ 1641221 h 2263090"/>
                <a:gd name="connsiteX8" fmla="*/ 3841427 w 3913281"/>
                <a:gd name="connsiteY8" fmla="*/ 2045613 h 2263090"/>
                <a:gd name="connsiteX9" fmla="*/ 3529453 w 3913281"/>
                <a:gd name="connsiteY9" fmla="*/ 2260701 h 2263090"/>
                <a:gd name="connsiteX10" fmla="*/ 3493861 w 3913281"/>
                <a:gd name="connsiteY10" fmla="*/ 2247613 h 2263090"/>
                <a:gd name="connsiteX11" fmla="*/ 865810 w 3913281"/>
                <a:gd name="connsiteY11" fmla="*/ 757539 h 2263090"/>
                <a:gd name="connsiteX12" fmla="*/ 865195 w 3913281"/>
                <a:gd name="connsiteY12" fmla="*/ 756835 h 2263090"/>
                <a:gd name="connsiteX13" fmla="*/ 825464 w 3913281"/>
                <a:gd name="connsiteY13" fmla="*/ 767990 h 2263090"/>
                <a:gd name="connsiteX14" fmla="*/ 748979 w 3913281"/>
                <a:gd name="connsiteY14" fmla="*/ 950596 h 2263090"/>
                <a:gd name="connsiteX15" fmla="*/ 748970 w 3913281"/>
                <a:gd name="connsiteY15" fmla="*/ 1894588 h 2263090"/>
                <a:gd name="connsiteX16" fmla="*/ 381745 w 3913281"/>
                <a:gd name="connsiteY16" fmla="*/ 2110527 h 2263090"/>
                <a:gd name="connsiteX17" fmla="*/ 43371 w 3913281"/>
                <a:gd name="connsiteY17" fmla="*/ 1978638 h 2263090"/>
                <a:gd name="connsiteX0" fmla="*/ 43371 w 3913281"/>
                <a:gd name="connsiteY0" fmla="*/ 1990291 h 2274743"/>
                <a:gd name="connsiteX1" fmla="*/ 14511 w 3913281"/>
                <a:gd name="connsiteY1" fmla="*/ 1906241 h 2274743"/>
                <a:gd name="connsiteX2" fmla="*/ 8122 w 3913281"/>
                <a:gd name="connsiteY2" fmla="*/ 881897 h 2274743"/>
                <a:gd name="connsiteX3" fmla="*/ 109458 w 3913281"/>
                <a:gd name="connsiteY3" fmla="*/ 382175 h 2274743"/>
                <a:gd name="connsiteX4" fmla="*/ 389724 w 3913281"/>
                <a:gd name="connsiteY4" fmla="*/ 109434 h 2274743"/>
                <a:gd name="connsiteX5" fmla="*/ 742920 w 3913281"/>
                <a:gd name="connsiteY5" fmla="*/ 1206 h 2274743"/>
                <a:gd name="connsiteX6" fmla="*/ 1058012 w 3913281"/>
                <a:gd name="connsiteY6" fmla="*/ 62576 h 2274743"/>
                <a:gd name="connsiteX7" fmla="*/ 3839711 w 3913281"/>
                <a:gd name="connsiteY7" fmla="*/ 1652874 h 2274743"/>
                <a:gd name="connsiteX8" fmla="*/ 3841427 w 3913281"/>
                <a:gd name="connsiteY8" fmla="*/ 2057266 h 2274743"/>
                <a:gd name="connsiteX9" fmla="*/ 3529453 w 3913281"/>
                <a:gd name="connsiteY9" fmla="*/ 2272354 h 2274743"/>
                <a:gd name="connsiteX10" fmla="*/ 3493861 w 3913281"/>
                <a:gd name="connsiteY10" fmla="*/ 2259266 h 2274743"/>
                <a:gd name="connsiteX11" fmla="*/ 865810 w 3913281"/>
                <a:gd name="connsiteY11" fmla="*/ 769192 h 2274743"/>
                <a:gd name="connsiteX12" fmla="*/ 865195 w 3913281"/>
                <a:gd name="connsiteY12" fmla="*/ 768488 h 2274743"/>
                <a:gd name="connsiteX13" fmla="*/ 825464 w 3913281"/>
                <a:gd name="connsiteY13" fmla="*/ 779643 h 2274743"/>
                <a:gd name="connsiteX14" fmla="*/ 748979 w 3913281"/>
                <a:gd name="connsiteY14" fmla="*/ 962249 h 2274743"/>
                <a:gd name="connsiteX15" fmla="*/ 748970 w 3913281"/>
                <a:gd name="connsiteY15" fmla="*/ 1906241 h 2274743"/>
                <a:gd name="connsiteX16" fmla="*/ 381745 w 3913281"/>
                <a:gd name="connsiteY16" fmla="*/ 2122180 h 2274743"/>
                <a:gd name="connsiteX17" fmla="*/ 43371 w 3913281"/>
                <a:gd name="connsiteY17" fmla="*/ 1990291 h 2274743"/>
                <a:gd name="connsiteX0" fmla="*/ 43371 w 3913281"/>
                <a:gd name="connsiteY0" fmla="*/ 1989452 h 2273904"/>
                <a:gd name="connsiteX1" fmla="*/ 14511 w 3913281"/>
                <a:gd name="connsiteY1" fmla="*/ 1905402 h 2273904"/>
                <a:gd name="connsiteX2" fmla="*/ 8122 w 3913281"/>
                <a:gd name="connsiteY2" fmla="*/ 881058 h 2273904"/>
                <a:gd name="connsiteX3" fmla="*/ 109458 w 3913281"/>
                <a:gd name="connsiteY3" fmla="*/ 381336 h 2273904"/>
                <a:gd name="connsiteX4" fmla="*/ 384893 w 3913281"/>
                <a:gd name="connsiteY4" fmla="*/ 84987 h 2273904"/>
                <a:gd name="connsiteX5" fmla="*/ 742920 w 3913281"/>
                <a:gd name="connsiteY5" fmla="*/ 367 h 2273904"/>
                <a:gd name="connsiteX6" fmla="*/ 1058012 w 3913281"/>
                <a:gd name="connsiteY6" fmla="*/ 61737 h 2273904"/>
                <a:gd name="connsiteX7" fmla="*/ 3839711 w 3913281"/>
                <a:gd name="connsiteY7" fmla="*/ 1652035 h 2273904"/>
                <a:gd name="connsiteX8" fmla="*/ 3841427 w 3913281"/>
                <a:gd name="connsiteY8" fmla="*/ 2056427 h 2273904"/>
                <a:gd name="connsiteX9" fmla="*/ 3529453 w 3913281"/>
                <a:gd name="connsiteY9" fmla="*/ 2271515 h 2273904"/>
                <a:gd name="connsiteX10" fmla="*/ 3493861 w 3913281"/>
                <a:gd name="connsiteY10" fmla="*/ 2258427 h 2273904"/>
                <a:gd name="connsiteX11" fmla="*/ 865810 w 3913281"/>
                <a:gd name="connsiteY11" fmla="*/ 768353 h 2273904"/>
                <a:gd name="connsiteX12" fmla="*/ 865195 w 3913281"/>
                <a:gd name="connsiteY12" fmla="*/ 767649 h 2273904"/>
                <a:gd name="connsiteX13" fmla="*/ 825464 w 3913281"/>
                <a:gd name="connsiteY13" fmla="*/ 778804 h 2273904"/>
                <a:gd name="connsiteX14" fmla="*/ 748979 w 3913281"/>
                <a:gd name="connsiteY14" fmla="*/ 961410 h 2273904"/>
                <a:gd name="connsiteX15" fmla="*/ 748970 w 3913281"/>
                <a:gd name="connsiteY15" fmla="*/ 1905402 h 2273904"/>
                <a:gd name="connsiteX16" fmla="*/ 381745 w 3913281"/>
                <a:gd name="connsiteY16" fmla="*/ 2121341 h 2273904"/>
                <a:gd name="connsiteX17" fmla="*/ 43371 w 3913281"/>
                <a:gd name="connsiteY17" fmla="*/ 1989452 h 2273904"/>
                <a:gd name="connsiteX0" fmla="*/ 43371 w 3913281"/>
                <a:gd name="connsiteY0" fmla="*/ 1989452 h 2273904"/>
                <a:gd name="connsiteX1" fmla="*/ 14511 w 3913281"/>
                <a:gd name="connsiteY1" fmla="*/ 1905402 h 2273904"/>
                <a:gd name="connsiteX2" fmla="*/ 8122 w 3913281"/>
                <a:gd name="connsiteY2" fmla="*/ 881058 h 2273904"/>
                <a:gd name="connsiteX3" fmla="*/ 109458 w 3913281"/>
                <a:gd name="connsiteY3" fmla="*/ 381336 h 2273904"/>
                <a:gd name="connsiteX4" fmla="*/ 384893 w 3913281"/>
                <a:gd name="connsiteY4" fmla="*/ 84987 h 2273904"/>
                <a:gd name="connsiteX5" fmla="*/ 742920 w 3913281"/>
                <a:gd name="connsiteY5" fmla="*/ 367 h 2273904"/>
                <a:gd name="connsiteX6" fmla="*/ 1058012 w 3913281"/>
                <a:gd name="connsiteY6" fmla="*/ 61737 h 2273904"/>
                <a:gd name="connsiteX7" fmla="*/ 3839711 w 3913281"/>
                <a:gd name="connsiteY7" fmla="*/ 1652035 h 2273904"/>
                <a:gd name="connsiteX8" fmla="*/ 3841427 w 3913281"/>
                <a:gd name="connsiteY8" fmla="*/ 2056427 h 2273904"/>
                <a:gd name="connsiteX9" fmla="*/ 3529453 w 3913281"/>
                <a:gd name="connsiteY9" fmla="*/ 2271515 h 2273904"/>
                <a:gd name="connsiteX10" fmla="*/ 3493861 w 3913281"/>
                <a:gd name="connsiteY10" fmla="*/ 2258427 h 2273904"/>
                <a:gd name="connsiteX11" fmla="*/ 865810 w 3913281"/>
                <a:gd name="connsiteY11" fmla="*/ 768353 h 2273904"/>
                <a:gd name="connsiteX12" fmla="*/ 865195 w 3913281"/>
                <a:gd name="connsiteY12" fmla="*/ 767649 h 2273904"/>
                <a:gd name="connsiteX13" fmla="*/ 825464 w 3913281"/>
                <a:gd name="connsiteY13" fmla="*/ 778804 h 2273904"/>
                <a:gd name="connsiteX14" fmla="*/ 748979 w 3913281"/>
                <a:gd name="connsiteY14" fmla="*/ 961410 h 2273904"/>
                <a:gd name="connsiteX15" fmla="*/ 748970 w 3913281"/>
                <a:gd name="connsiteY15" fmla="*/ 1905402 h 2273904"/>
                <a:gd name="connsiteX16" fmla="*/ 381745 w 3913281"/>
                <a:gd name="connsiteY16" fmla="*/ 2121341 h 2273904"/>
                <a:gd name="connsiteX17" fmla="*/ 43371 w 3913281"/>
                <a:gd name="connsiteY17" fmla="*/ 1989452 h 227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13281" h="2273904">
                  <a:moveTo>
                    <a:pt x="43371" y="1989452"/>
                  </a:moveTo>
                  <a:cubicBezTo>
                    <a:pt x="24793" y="1963621"/>
                    <a:pt x="14520" y="1935215"/>
                    <a:pt x="14511" y="1905402"/>
                  </a:cubicBezTo>
                  <a:cubicBezTo>
                    <a:pt x="8639" y="1720667"/>
                    <a:pt x="-10883" y="1129563"/>
                    <a:pt x="8122" y="881058"/>
                  </a:cubicBezTo>
                  <a:cubicBezTo>
                    <a:pt x="31173" y="727962"/>
                    <a:pt x="46663" y="514015"/>
                    <a:pt x="109458" y="381336"/>
                  </a:cubicBezTo>
                  <a:cubicBezTo>
                    <a:pt x="172253" y="248657"/>
                    <a:pt x="304896" y="136568"/>
                    <a:pt x="384893" y="84987"/>
                  </a:cubicBezTo>
                  <a:cubicBezTo>
                    <a:pt x="531706" y="22188"/>
                    <a:pt x="630734" y="4242"/>
                    <a:pt x="742920" y="367"/>
                  </a:cubicBezTo>
                  <a:cubicBezTo>
                    <a:pt x="855106" y="-3508"/>
                    <a:pt x="954248" y="23771"/>
                    <a:pt x="1058012" y="61737"/>
                  </a:cubicBezTo>
                  <a:lnTo>
                    <a:pt x="3839711" y="1652035"/>
                  </a:lnTo>
                  <a:cubicBezTo>
                    <a:pt x="3937131" y="1708280"/>
                    <a:pt x="3937899" y="1889333"/>
                    <a:pt x="3841427" y="2056427"/>
                  </a:cubicBezTo>
                  <a:cubicBezTo>
                    <a:pt x="3757014" y="2202635"/>
                    <a:pt x="3626121" y="2289710"/>
                    <a:pt x="3529453" y="2271515"/>
                  </a:cubicBezTo>
                  <a:lnTo>
                    <a:pt x="3493861" y="2258427"/>
                  </a:lnTo>
                  <a:lnTo>
                    <a:pt x="865810" y="768353"/>
                  </a:lnTo>
                  <a:cubicBezTo>
                    <a:pt x="865605" y="768121"/>
                    <a:pt x="865400" y="767880"/>
                    <a:pt x="865195" y="767649"/>
                  </a:cubicBezTo>
                  <a:lnTo>
                    <a:pt x="825464" y="778804"/>
                  </a:lnTo>
                  <a:cubicBezTo>
                    <a:pt x="806095" y="811097"/>
                    <a:pt x="761728" y="773644"/>
                    <a:pt x="748979" y="961410"/>
                  </a:cubicBezTo>
                  <a:cubicBezTo>
                    <a:pt x="748979" y="1276074"/>
                    <a:pt x="748970" y="1590738"/>
                    <a:pt x="748970" y="1905402"/>
                  </a:cubicBezTo>
                  <a:cubicBezTo>
                    <a:pt x="748970" y="2024656"/>
                    <a:pt x="584559" y="2121341"/>
                    <a:pt x="381745" y="2121341"/>
                  </a:cubicBezTo>
                  <a:cubicBezTo>
                    <a:pt x="229630" y="2121341"/>
                    <a:pt x="99122" y="2066953"/>
                    <a:pt x="43371" y="1989452"/>
                  </a:cubicBezTo>
                  <a:close/>
                </a:path>
              </a:pathLst>
            </a:custGeom>
            <a:gradFill flip="none" rotWithShape="1">
              <a:gsLst>
                <a:gs pos="58000">
                  <a:schemeClr val="accent2">
                    <a:lumMod val="0"/>
                    <a:lumOff val="100000"/>
                    <a:alpha val="0"/>
                  </a:schemeClr>
                </a:gs>
                <a:gs pos="45000">
                  <a:schemeClr val="accent4"/>
                </a:gs>
              </a:gsLst>
              <a:lin ang="72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612" name="Rectangle: Rounded Corners 611">
              <a:extLst>
                <a:ext uri="{FF2B5EF4-FFF2-40B4-BE49-F238E27FC236}">
                  <a16:creationId xmlns:a16="http://schemas.microsoft.com/office/drawing/2014/main" id="{79FECBD7-6DEE-444F-91C7-36330ABD154B}"/>
                </a:ext>
              </a:extLst>
            </p:cNvPr>
            <p:cNvSpPr/>
            <p:nvPr/>
          </p:nvSpPr>
          <p:spPr bwMode="gray">
            <a:xfrm>
              <a:off x="5087277" y="4273593"/>
              <a:ext cx="74332" cy="235667"/>
            </a:xfrm>
            <a:prstGeom prst="roundRect">
              <a:avLst>
                <a:gd name="adj" fmla="val 50000"/>
              </a:avLst>
            </a:prstGeom>
            <a:gradFill flip="none" rotWithShape="1">
              <a:gsLst>
                <a:gs pos="64000">
                  <a:schemeClr val="accent2">
                    <a:lumMod val="0"/>
                    <a:lumOff val="100000"/>
                  </a:schemeClr>
                </a:gs>
                <a:gs pos="8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err="1"/>
            </a:p>
          </p:txBody>
        </p:sp>
        <p:sp>
          <p:nvSpPr>
            <p:cNvPr id="591" name="Can 74">
              <a:extLst>
                <a:ext uri="{FF2B5EF4-FFF2-40B4-BE49-F238E27FC236}">
                  <a16:creationId xmlns:a16="http://schemas.microsoft.com/office/drawing/2014/main" id="{9E67EFC4-DA00-4E47-8A91-CFDEF67CBCC2}"/>
                </a:ext>
              </a:extLst>
            </p:cNvPr>
            <p:cNvSpPr/>
            <p:nvPr/>
          </p:nvSpPr>
          <p:spPr bwMode="gray">
            <a:xfrm rot="3600000" flipV="1">
              <a:off x="4641332" y="4242283"/>
              <a:ext cx="78679" cy="1037322"/>
            </a:xfrm>
            <a:prstGeom prst="can">
              <a:avLst>
                <a:gd name="adj" fmla="val 58804"/>
              </a:avLst>
            </a:prstGeom>
            <a:gradFill flip="none" rotWithShape="1">
              <a:gsLst>
                <a:gs pos="57000">
                  <a:schemeClr val="accent2">
                    <a:lumMod val="0"/>
                    <a:lumOff val="100000"/>
                  </a:schemeClr>
                </a:gs>
                <a:gs pos="19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1561" name="Freeform: Shape 1560">
              <a:extLst>
                <a:ext uri="{FF2B5EF4-FFF2-40B4-BE49-F238E27FC236}">
                  <a16:creationId xmlns:a16="http://schemas.microsoft.com/office/drawing/2014/main" id="{0C10EF34-4213-4386-ACD1-E794EE9F4682}"/>
                </a:ext>
              </a:extLst>
            </p:cNvPr>
            <p:cNvSpPr/>
            <p:nvPr/>
          </p:nvSpPr>
          <p:spPr bwMode="gray">
            <a:xfrm rot="18000000" flipH="1" flipV="1">
              <a:off x="5341098" y="3921719"/>
              <a:ext cx="84213" cy="221535"/>
            </a:xfrm>
            <a:custGeom>
              <a:avLst/>
              <a:gdLst>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28135 w 3913281"/>
                <a:gd name="connsiteY7" fmla="*/ 1636201 h 2262327"/>
                <a:gd name="connsiteX8" fmla="*/ 3839711 w 3913281"/>
                <a:gd name="connsiteY8" fmla="*/ 1640458 h 2262327"/>
                <a:gd name="connsiteX9" fmla="*/ 3841427 w 3913281"/>
                <a:gd name="connsiteY9" fmla="*/ 2044850 h 2262327"/>
                <a:gd name="connsiteX10" fmla="*/ 3529453 w 3913281"/>
                <a:gd name="connsiteY10" fmla="*/ 2259938 h 2262327"/>
                <a:gd name="connsiteX11" fmla="*/ 3493861 w 3913281"/>
                <a:gd name="connsiteY11" fmla="*/ 2246850 h 2262327"/>
                <a:gd name="connsiteX12" fmla="*/ 3490186 w 3913281"/>
                <a:gd name="connsiteY12" fmla="*/ 2253423 h 2262327"/>
                <a:gd name="connsiteX13" fmla="*/ 865810 w 3913281"/>
                <a:gd name="connsiteY13" fmla="*/ 756776 h 2262327"/>
                <a:gd name="connsiteX14" fmla="*/ 865195 w 3913281"/>
                <a:gd name="connsiteY14" fmla="*/ 756072 h 2262327"/>
                <a:gd name="connsiteX15" fmla="*/ 825464 w 3913281"/>
                <a:gd name="connsiteY15" fmla="*/ 767227 h 2262327"/>
                <a:gd name="connsiteX16" fmla="*/ 742430 w 3913281"/>
                <a:gd name="connsiteY16" fmla="*/ 876351 h 2262327"/>
                <a:gd name="connsiteX17" fmla="*/ 742279 w 3913281"/>
                <a:gd name="connsiteY17" fmla="*/ 930320 h 2262327"/>
                <a:gd name="connsiteX18" fmla="*/ 748979 w 3913281"/>
                <a:gd name="connsiteY18" fmla="*/ 949833 h 2262327"/>
                <a:gd name="connsiteX19" fmla="*/ 748970 w 3913281"/>
                <a:gd name="connsiteY19" fmla="*/ 1893825 h 2262327"/>
                <a:gd name="connsiteX20" fmla="*/ 381745 w 3913281"/>
                <a:gd name="connsiteY20" fmla="*/ 2109764 h 2262327"/>
                <a:gd name="connsiteX21" fmla="*/ 43371 w 3913281"/>
                <a:gd name="connsiteY21"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28135 w 3913281"/>
                <a:gd name="connsiteY7" fmla="*/ 1636201 h 2262327"/>
                <a:gd name="connsiteX8" fmla="*/ 3839711 w 3913281"/>
                <a:gd name="connsiteY8" fmla="*/ 1640458 h 2262327"/>
                <a:gd name="connsiteX9" fmla="*/ 3841427 w 3913281"/>
                <a:gd name="connsiteY9" fmla="*/ 2044850 h 2262327"/>
                <a:gd name="connsiteX10" fmla="*/ 3529453 w 3913281"/>
                <a:gd name="connsiteY10" fmla="*/ 2259938 h 2262327"/>
                <a:gd name="connsiteX11" fmla="*/ 3493861 w 3913281"/>
                <a:gd name="connsiteY11" fmla="*/ 2246850 h 2262327"/>
                <a:gd name="connsiteX12" fmla="*/ 865810 w 3913281"/>
                <a:gd name="connsiteY12" fmla="*/ 756776 h 2262327"/>
                <a:gd name="connsiteX13" fmla="*/ 865195 w 3913281"/>
                <a:gd name="connsiteY13" fmla="*/ 756072 h 2262327"/>
                <a:gd name="connsiteX14" fmla="*/ 825464 w 3913281"/>
                <a:gd name="connsiteY14" fmla="*/ 767227 h 2262327"/>
                <a:gd name="connsiteX15" fmla="*/ 742430 w 3913281"/>
                <a:gd name="connsiteY15" fmla="*/ 876351 h 2262327"/>
                <a:gd name="connsiteX16" fmla="*/ 742279 w 3913281"/>
                <a:gd name="connsiteY16" fmla="*/ 930320 h 2262327"/>
                <a:gd name="connsiteX17" fmla="*/ 748979 w 3913281"/>
                <a:gd name="connsiteY17" fmla="*/ 949833 h 2262327"/>
                <a:gd name="connsiteX18" fmla="*/ 748970 w 3913281"/>
                <a:gd name="connsiteY18" fmla="*/ 1893825 h 2262327"/>
                <a:gd name="connsiteX19" fmla="*/ 381745 w 3913281"/>
                <a:gd name="connsiteY19" fmla="*/ 2109764 h 2262327"/>
                <a:gd name="connsiteX20" fmla="*/ 43371 w 3913281"/>
                <a:gd name="connsiteY20"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2430 w 3913281"/>
                <a:gd name="connsiteY14" fmla="*/ 876351 h 2262327"/>
                <a:gd name="connsiteX15" fmla="*/ 742279 w 3913281"/>
                <a:gd name="connsiteY15" fmla="*/ 930320 h 2262327"/>
                <a:gd name="connsiteX16" fmla="*/ 748979 w 3913281"/>
                <a:gd name="connsiteY16" fmla="*/ 949833 h 2262327"/>
                <a:gd name="connsiteX17" fmla="*/ 748970 w 3913281"/>
                <a:gd name="connsiteY17" fmla="*/ 1893825 h 2262327"/>
                <a:gd name="connsiteX18" fmla="*/ 381745 w 3913281"/>
                <a:gd name="connsiteY18" fmla="*/ 2109764 h 2262327"/>
                <a:gd name="connsiteX19" fmla="*/ 43371 w 3913281"/>
                <a:gd name="connsiteY19"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2279 w 3913281"/>
                <a:gd name="connsiteY14" fmla="*/ 930320 h 2262327"/>
                <a:gd name="connsiteX15" fmla="*/ 748979 w 3913281"/>
                <a:gd name="connsiteY15" fmla="*/ 949833 h 2262327"/>
                <a:gd name="connsiteX16" fmla="*/ 748970 w 3913281"/>
                <a:gd name="connsiteY16" fmla="*/ 1893825 h 2262327"/>
                <a:gd name="connsiteX17" fmla="*/ 381745 w 3913281"/>
                <a:gd name="connsiteY17" fmla="*/ 2109764 h 2262327"/>
                <a:gd name="connsiteX18" fmla="*/ 43371 w 3913281"/>
                <a:gd name="connsiteY18"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8979 w 3913281"/>
                <a:gd name="connsiteY14" fmla="*/ 949833 h 2262327"/>
                <a:gd name="connsiteX15" fmla="*/ 748970 w 3913281"/>
                <a:gd name="connsiteY15" fmla="*/ 1893825 h 2262327"/>
                <a:gd name="connsiteX16" fmla="*/ 381745 w 3913281"/>
                <a:gd name="connsiteY16" fmla="*/ 2109764 h 2262327"/>
                <a:gd name="connsiteX17" fmla="*/ 43371 w 3913281"/>
                <a:gd name="connsiteY17"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28508 w 3913281"/>
                <a:gd name="connsiteY3" fmla="*/ 402755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8979 w 3913281"/>
                <a:gd name="connsiteY14" fmla="*/ 949833 h 2262327"/>
                <a:gd name="connsiteX15" fmla="*/ 748970 w 3913281"/>
                <a:gd name="connsiteY15" fmla="*/ 1893825 h 2262327"/>
                <a:gd name="connsiteX16" fmla="*/ 381745 w 3913281"/>
                <a:gd name="connsiteY16" fmla="*/ 2109764 h 2262327"/>
                <a:gd name="connsiteX17" fmla="*/ 43371 w 3913281"/>
                <a:gd name="connsiteY17" fmla="*/ 1977875 h 2262327"/>
                <a:gd name="connsiteX0" fmla="*/ 43371 w 3913281"/>
                <a:gd name="connsiteY0" fmla="*/ 1977875 h 2262327"/>
                <a:gd name="connsiteX1" fmla="*/ 14511 w 3913281"/>
                <a:gd name="connsiteY1" fmla="*/ 1893825 h 2262327"/>
                <a:gd name="connsiteX2" fmla="*/ 8122 w 3913281"/>
                <a:gd name="connsiteY2" fmla="*/ 869481 h 2262327"/>
                <a:gd name="connsiteX3" fmla="*/ 109458 w 3913281"/>
                <a:gd name="connsiteY3" fmla="*/ 369759 h 2262327"/>
                <a:gd name="connsiteX4" fmla="*/ 387956 w 3913281"/>
                <a:gd name="connsiteY4" fmla="*/ 124436 h 2262327"/>
                <a:gd name="connsiteX5" fmla="*/ 767548 w 3913281"/>
                <a:gd name="connsiteY5" fmla="*/ 967 h 2262327"/>
                <a:gd name="connsiteX6" fmla="*/ 1058012 w 3913281"/>
                <a:gd name="connsiteY6" fmla="*/ 50160 h 2262327"/>
                <a:gd name="connsiteX7" fmla="*/ 3839711 w 3913281"/>
                <a:gd name="connsiteY7" fmla="*/ 1640458 h 2262327"/>
                <a:gd name="connsiteX8" fmla="*/ 3841427 w 3913281"/>
                <a:gd name="connsiteY8" fmla="*/ 2044850 h 2262327"/>
                <a:gd name="connsiteX9" fmla="*/ 3529453 w 3913281"/>
                <a:gd name="connsiteY9" fmla="*/ 2259938 h 2262327"/>
                <a:gd name="connsiteX10" fmla="*/ 3493861 w 3913281"/>
                <a:gd name="connsiteY10" fmla="*/ 2246850 h 2262327"/>
                <a:gd name="connsiteX11" fmla="*/ 865810 w 3913281"/>
                <a:gd name="connsiteY11" fmla="*/ 756776 h 2262327"/>
                <a:gd name="connsiteX12" fmla="*/ 865195 w 3913281"/>
                <a:gd name="connsiteY12" fmla="*/ 756072 h 2262327"/>
                <a:gd name="connsiteX13" fmla="*/ 825464 w 3913281"/>
                <a:gd name="connsiteY13" fmla="*/ 767227 h 2262327"/>
                <a:gd name="connsiteX14" fmla="*/ 748979 w 3913281"/>
                <a:gd name="connsiteY14" fmla="*/ 949833 h 2262327"/>
                <a:gd name="connsiteX15" fmla="*/ 748970 w 3913281"/>
                <a:gd name="connsiteY15" fmla="*/ 1893825 h 2262327"/>
                <a:gd name="connsiteX16" fmla="*/ 381745 w 3913281"/>
                <a:gd name="connsiteY16" fmla="*/ 2109764 h 2262327"/>
                <a:gd name="connsiteX17" fmla="*/ 43371 w 3913281"/>
                <a:gd name="connsiteY17" fmla="*/ 1977875 h 2262327"/>
                <a:gd name="connsiteX0" fmla="*/ 43371 w 3913281"/>
                <a:gd name="connsiteY0" fmla="*/ 1982978 h 2267430"/>
                <a:gd name="connsiteX1" fmla="*/ 14511 w 3913281"/>
                <a:gd name="connsiteY1" fmla="*/ 1898928 h 2267430"/>
                <a:gd name="connsiteX2" fmla="*/ 8122 w 3913281"/>
                <a:gd name="connsiteY2" fmla="*/ 874584 h 2267430"/>
                <a:gd name="connsiteX3" fmla="*/ 109458 w 3913281"/>
                <a:gd name="connsiteY3" fmla="*/ 374862 h 2267430"/>
                <a:gd name="connsiteX4" fmla="*/ 389724 w 3913281"/>
                <a:gd name="connsiteY4" fmla="*/ 102121 h 2267430"/>
                <a:gd name="connsiteX5" fmla="*/ 767548 w 3913281"/>
                <a:gd name="connsiteY5" fmla="*/ 6070 h 2267430"/>
                <a:gd name="connsiteX6" fmla="*/ 1058012 w 3913281"/>
                <a:gd name="connsiteY6" fmla="*/ 55263 h 2267430"/>
                <a:gd name="connsiteX7" fmla="*/ 3839711 w 3913281"/>
                <a:gd name="connsiteY7" fmla="*/ 1645561 h 2267430"/>
                <a:gd name="connsiteX8" fmla="*/ 3841427 w 3913281"/>
                <a:gd name="connsiteY8" fmla="*/ 2049953 h 2267430"/>
                <a:gd name="connsiteX9" fmla="*/ 3529453 w 3913281"/>
                <a:gd name="connsiteY9" fmla="*/ 2265041 h 2267430"/>
                <a:gd name="connsiteX10" fmla="*/ 3493861 w 3913281"/>
                <a:gd name="connsiteY10" fmla="*/ 2251953 h 2267430"/>
                <a:gd name="connsiteX11" fmla="*/ 865810 w 3913281"/>
                <a:gd name="connsiteY11" fmla="*/ 761879 h 2267430"/>
                <a:gd name="connsiteX12" fmla="*/ 865195 w 3913281"/>
                <a:gd name="connsiteY12" fmla="*/ 761175 h 2267430"/>
                <a:gd name="connsiteX13" fmla="*/ 825464 w 3913281"/>
                <a:gd name="connsiteY13" fmla="*/ 772330 h 2267430"/>
                <a:gd name="connsiteX14" fmla="*/ 748979 w 3913281"/>
                <a:gd name="connsiteY14" fmla="*/ 954936 h 2267430"/>
                <a:gd name="connsiteX15" fmla="*/ 748970 w 3913281"/>
                <a:gd name="connsiteY15" fmla="*/ 1898928 h 2267430"/>
                <a:gd name="connsiteX16" fmla="*/ 381745 w 3913281"/>
                <a:gd name="connsiteY16" fmla="*/ 2114867 h 2267430"/>
                <a:gd name="connsiteX17" fmla="*/ 43371 w 3913281"/>
                <a:gd name="connsiteY17" fmla="*/ 1982978 h 2267430"/>
                <a:gd name="connsiteX0" fmla="*/ 43371 w 3913281"/>
                <a:gd name="connsiteY0" fmla="*/ 1978638 h 2263090"/>
                <a:gd name="connsiteX1" fmla="*/ 14511 w 3913281"/>
                <a:gd name="connsiteY1" fmla="*/ 1894588 h 2263090"/>
                <a:gd name="connsiteX2" fmla="*/ 8122 w 3913281"/>
                <a:gd name="connsiteY2" fmla="*/ 870244 h 2263090"/>
                <a:gd name="connsiteX3" fmla="*/ 109458 w 3913281"/>
                <a:gd name="connsiteY3" fmla="*/ 370522 h 2263090"/>
                <a:gd name="connsiteX4" fmla="*/ 389724 w 3913281"/>
                <a:gd name="connsiteY4" fmla="*/ 97781 h 2263090"/>
                <a:gd name="connsiteX5" fmla="*/ 767548 w 3913281"/>
                <a:gd name="connsiteY5" fmla="*/ 1730 h 2263090"/>
                <a:gd name="connsiteX6" fmla="*/ 1058012 w 3913281"/>
                <a:gd name="connsiteY6" fmla="*/ 50923 h 2263090"/>
                <a:gd name="connsiteX7" fmla="*/ 3839711 w 3913281"/>
                <a:gd name="connsiteY7" fmla="*/ 1641221 h 2263090"/>
                <a:gd name="connsiteX8" fmla="*/ 3841427 w 3913281"/>
                <a:gd name="connsiteY8" fmla="*/ 2045613 h 2263090"/>
                <a:gd name="connsiteX9" fmla="*/ 3529453 w 3913281"/>
                <a:gd name="connsiteY9" fmla="*/ 2260701 h 2263090"/>
                <a:gd name="connsiteX10" fmla="*/ 3493861 w 3913281"/>
                <a:gd name="connsiteY10" fmla="*/ 2247613 h 2263090"/>
                <a:gd name="connsiteX11" fmla="*/ 865810 w 3913281"/>
                <a:gd name="connsiteY11" fmla="*/ 757539 h 2263090"/>
                <a:gd name="connsiteX12" fmla="*/ 865195 w 3913281"/>
                <a:gd name="connsiteY12" fmla="*/ 756835 h 2263090"/>
                <a:gd name="connsiteX13" fmla="*/ 825464 w 3913281"/>
                <a:gd name="connsiteY13" fmla="*/ 767990 h 2263090"/>
                <a:gd name="connsiteX14" fmla="*/ 748979 w 3913281"/>
                <a:gd name="connsiteY14" fmla="*/ 950596 h 2263090"/>
                <a:gd name="connsiteX15" fmla="*/ 748970 w 3913281"/>
                <a:gd name="connsiteY15" fmla="*/ 1894588 h 2263090"/>
                <a:gd name="connsiteX16" fmla="*/ 381745 w 3913281"/>
                <a:gd name="connsiteY16" fmla="*/ 2110527 h 2263090"/>
                <a:gd name="connsiteX17" fmla="*/ 43371 w 3913281"/>
                <a:gd name="connsiteY17" fmla="*/ 1978638 h 2263090"/>
                <a:gd name="connsiteX0" fmla="*/ 43371 w 3913281"/>
                <a:gd name="connsiteY0" fmla="*/ 1990291 h 2274743"/>
                <a:gd name="connsiteX1" fmla="*/ 14511 w 3913281"/>
                <a:gd name="connsiteY1" fmla="*/ 1906241 h 2274743"/>
                <a:gd name="connsiteX2" fmla="*/ 8122 w 3913281"/>
                <a:gd name="connsiteY2" fmla="*/ 881897 h 2274743"/>
                <a:gd name="connsiteX3" fmla="*/ 109458 w 3913281"/>
                <a:gd name="connsiteY3" fmla="*/ 382175 h 2274743"/>
                <a:gd name="connsiteX4" fmla="*/ 389724 w 3913281"/>
                <a:gd name="connsiteY4" fmla="*/ 109434 h 2274743"/>
                <a:gd name="connsiteX5" fmla="*/ 742920 w 3913281"/>
                <a:gd name="connsiteY5" fmla="*/ 1206 h 2274743"/>
                <a:gd name="connsiteX6" fmla="*/ 1058012 w 3913281"/>
                <a:gd name="connsiteY6" fmla="*/ 62576 h 2274743"/>
                <a:gd name="connsiteX7" fmla="*/ 3839711 w 3913281"/>
                <a:gd name="connsiteY7" fmla="*/ 1652874 h 2274743"/>
                <a:gd name="connsiteX8" fmla="*/ 3841427 w 3913281"/>
                <a:gd name="connsiteY8" fmla="*/ 2057266 h 2274743"/>
                <a:gd name="connsiteX9" fmla="*/ 3529453 w 3913281"/>
                <a:gd name="connsiteY9" fmla="*/ 2272354 h 2274743"/>
                <a:gd name="connsiteX10" fmla="*/ 3493861 w 3913281"/>
                <a:gd name="connsiteY10" fmla="*/ 2259266 h 2274743"/>
                <a:gd name="connsiteX11" fmla="*/ 865810 w 3913281"/>
                <a:gd name="connsiteY11" fmla="*/ 769192 h 2274743"/>
                <a:gd name="connsiteX12" fmla="*/ 865195 w 3913281"/>
                <a:gd name="connsiteY12" fmla="*/ 768488 h 2274743"/>
                <a:gd name="connsiteX13" fmla="*/ 825464 w 3913281"/>
                <a:gd name="connsiteY13" fmla="*/ 779643 h 2274743"/>
                <a:gd name="connsiteX14" fmla="*/ 748979 w 3913281"/>
                <a:gd name="connsiteY14" fmla="*/ 962249 h 2274743"/>
                <a:gd name="connsiteX15" fmla="*/ 748970 w 3913281"/>
                <a:gd name="connsiteY15" fmla="*/ 1906241 h 2274743"/>
                <a:gd name="connsiteX16" fmla="*/ 381745 w 3913281"/>
                <a:gd name="connsiteY16" fmla="*/ 2122180 h 2274743"/>
                <a:gd name="connsiteX17" fmla="*/ 43371 w 3913281"/>
                <a:gd name="connsiteY17" fmla="*/ 1990291 h 2274743"/>
                <a:gd name="connsiteX0" fmla="*/ 43371 w 3913281"/>
                <a:gd name="connsiteY0" fmla="*/ 1989452 h 2273904"/>
                <a:gd name="connsiteX1" fmla="*/ 14511 w 3913281"/>
                <a:gd name="connsiteY1" fmla="*/ 1905402 h 2273904"/>
                <a:gd name="connsiteX2" fmla="*/ 8122 w 3913281"/>
                <a:gd name="connsiteY2" fmla="*/ 881058 h 2273904"/>
                <a:gd name="connsiteX3" fmla="*/ 109458 w 3913281"/>
                <a:gd name="connsiteY3" fmla="*/ 381336 h 2273904"/>
                <a:gd name="connsiteX4" fmla="*/ 384893 w 3913281"/>
                <a:gd name="connsiteY4" fmla="*/ 84987 h 2273904"/>
                <a:gd name="connsiteX5" fmla="*/ 742920 w 3913281"/>
                <a:gd name="connsiteY5" fmla="*/ 367 h 2273904"/>
                <a:gd name="connsiteX6" fmla="*/ 1058012 w 3913281"/>
                <a:gd name="connsiteY6" fmla="*/ 61737 h 2273904"/>
                <a:gd name="connsiteX7" fmla="*/ 3839711 w 3913281"/>
                <a:gd name="connsiteY7" fmla="*/ 1652035 h 2273904"/>
                <a:gd name="connsiteX8" fmla="*/ 3841427 w 3913281"/>
                <a:gd name="connsiteY8" fmla="*/ 2056427 h 2273904"/>
                <a:gd name="connsiteX9" fmla="*/ 3529453 w 3913281"/>
                <a:gd name="connsiteY9" fmla="*/ 2271515 h 2273904"/>
                <a:gd name="connsiteX10" fmla="*/ 3493861 w 3913281"/>
                <a:gd name="connsiteY10" fmla="*/ 2258427 h 2273904"/>
                <a:gd name="connsiteX11" fmla="*/ 865810 w 3913281"/>
                <a:gd name="connsiteY11" fmla="*/ 768353 h 2273904"/>
                <a:gd name="connsiteX12" fmla="*/ 865195 w 3913281"/>
                <a:gd name="connsiteY12" fmla="*/ 767649 h 2273904"/>
                <a:gd name="connsiteX13" fmla="*/ 825464 w 3913281"/>
                <a:gd name="connsiteY13" fmla="*/ 778804 h 2273904"/>
                <a:gd name="connsiteX14" fmla="*/ 748979 w 3913281"/>
                <a:gd name="connsiteY14" fmla="*/ 961410 h 2273904"/>
                <a:gd name="connsiteX15" fmla="*/ 748970 w 3913281"/>
                <a:gd name="connsiteY15" fmla="*/ 1905402 h 2273904"/>
                <a:gd name="connsiteX16" fmla="*/ 381745 w 3913281"/>
                <a:gd name="connsiteY16" fmla="*/ 2121341 h 2273904"/>
                <a:gd name="connsiteX17" fmla="*/ 43371 w 3913281"/>
                <a:gd name="connsiteY17" fmla="*/ 1989452 h 2273904"/>
                <a:gd name="connsiteX0" fmla="*/ 43371 w 3913281"/>
                <a:gd name="connsiteY0" fmla="*/ 1989452 h 2273904"/>
                <a:gd name="connsiteX1" fmla="*/ 14511 w 3913281"/>
                <a:gd name="connsiteY1" fmla="*/ 1905402 h 2273904"/>
                <a:gd name="connsiteX2" fmla="*/ 8122 w 3913281"/>
                <a:gd name="connsiteY2" fmla="*/ 881058 h 2273904"/>
                <a:gd name="connsiteX3" fmla="*/ 109458 w 3913281"/>
                <a:gd name="connsiteY3" fmla="*/ 381336 h 2273904"/>
                <a:gd name="connsiteX4" fmla="*/ 384893 w 3913281"/>
                <a:gd name="connsiteY4" fmla="*/ 84987 h 2273904"/>
                <a:gd name="connsiteX5" fmla="*/ 742920 w 3913281"/>
                <a:gd name="connsiteY5" fmla="*/ 367 h 2273904"/>
                <a:gd name="connsiteX6" fmla="*/ 1058012 w 3913281"/>
                <a:gd name="connsiteY6" fmla="*/ 61737 h 2273904"/>
                <a:gd name="connsiteX7" fmla="*/ 3839711 w 3913281"/>
                <a:gd name="connsiteY7" fmla="*/ 1652035 h 2273904"/>
                <a:gd name="connsiteX8" fmla="*/ 3841427 w 3913281"/>
                <a:gd name="connsiteY8" fmla="*/ 2056427 h 2273904"/>
                <a:gd name="connsiteX9" fmla="*/ 3529453 w 3913281"/>
                <a:gd name="connsiteY9" fmla="*/ 2271515 h 2273904"/>
                <a:gd name="connsiteX10" fmla="*/ 3493861 w 3913281"/>
                <a:gd name="connsiteY10" fmla="*/ 2258427 h 2273904"/>
                <a:gd name="connsiteX11" fmla="*/ 865810 w 3913281"/>
                <a:gd name="connsiteY11" fmla="*/ 768353 h 2273904"/>
                <a:gd name="connsiteX12" fmla="*/ 865195 w 3913281"/>
                <a:gd name="connsiteY12" fmla="*/ 767649 h 2273904"/>
                <a:gd name="connsiteX13" fmla="*/ 825464 w 3913281"/>
                <a:gd name="connsiteY13" fmla="*/ 778804 h 2273904"/>
                <a:gd name="connsiteX14" fmla="*/ 748979 w 3913281"/>
                <a:gd name="connsiteY14" fmla="*/ 961410 h 2273904"/>
                <a:gd name="connsiteX15" fmla="*/ 748970 w 3913281"/>
                <a:gd name="connsiteY15" fmla="*/ 1905402 h 2273904"/>
                <a:gd name="connsiteX16" fmla="*/ 381745 w 3913281"/>
                <a:gd name="connsiteY16" fmla="*/ 2121341 h 2273904"/>
                <a:gd name="connsiteX17" fmla="*/ 43371 w 3913281"/>
                <a:gd name="connsiteY17" fmla="*/ 1989452 h 2273904"/>
                <a:gd name="connsiteX0" fmla="*/ 43371 w 3841428"/>
                <a:gd name="connsiteY0" fmla="*/ 1989452 h 2273904"/>
                <a:gd name="connsiteX1" fmla="*/ 14511 w 3841428"/>
                <a:gd name="connsiteY1" fmla="*/ 1905402 h 2273904"/>
                <a:gd name="connsiteX2" fmla="*/ 8122 w 3841428"/>
                <a:gd name="connsiteY2" fmla="*/ 881058 h 2273904"/>
                <a:gd name="connsiteX3" fmla="*/ 109458 w 3841428"/>
                <a:gd name="connsiteY3" fmla="*/ 381336 h 2273904"/>
                <a:gd name="connsiteX4" fmla="*/ 384893 w 3841428"/>
                <a:gd name="connsiteY4" fmla="*/ 84987 h 2273904"/>
                <a:gd name="connsiteX5" fmla="*/ 742920 w 3841428"/>
                <a:gd name="connsiteY5" fmla="*/ 367 h 2273904"/>
                <a:gd name="connsiteX6" fmla="*/ 1058012 w 3841428"/>
                <a:gd name="connsiteY6" fmla="*/ 61737 h 2273904"/>
                <a:gd name="connsiteX7" fmla="*/ 3841427 w 3841428"/>
                <a:gd name="connsiteY7" fmla="*/ 2056427 h 2273904"/>
                <a:gd name="connsiteX8" fmla="*/ 3529453 w 3841428"/>
                <a:gd name="connsiteY8" fmla="*/ 2271515 h 2273904"/>
                <a:gd name="connsiteX9" fmla="*/ 3493861 w 3841428"/>
                <a:gd name="connsiteY9" fmla="*/ 2258427 h 2273904"/>
                <a:gd name="connsiteX10" fmla="*/ 865810 w 3841428"/>
                <a:gd name="connsiteY10" fmla="*/ 768353 h 2273904"/>
                <a:gd name="connsiteX11" fmla="*/ 865195 w 3841428"/>
                <a:gd name="connsiteY11" fmla="*/ 767649 h 2273904"/>
                <a:gd name="connsiteX12" fmla="*/ 825464 w 3841428"/>
                <a:gd name="connsiteY12" fmla="*/ 778804 h 2273904"/>
                <a:gd name="connsiteX13" fmla="*/ 748979 w 3841428"/>
                <a:gd name="connsiteY13" fmla="*/ 961410 h 2273904"/>
                <a:gd name="connsiteX14" fmla="*/ 748970 w 3841428"/>
                <a:gd name="connsiteY14" fmla="*/ 1905402 h 2273904"/>
                <a:gd name="connsiteX15" fmla="*/ 381745 w 3841428"/>
                <a:gd name="connsiteY15" fmla="*/ 2121341 h 2273904"/>
                <a:gd name="connsiteX16" fmla="*/ 43371 w 3841428"/>
                <a:gd name="connsiteY16" fmla="*/ 1989452 h 2273904"/>
                <a:gd name="connsiteX0" fmla="*/ 43371 w 3529450"/>
                <a:gd name="connsiteY0" fmla="*/ 1989452 h 2271512"/>
                <a:gd name="connsiteX1" fmla="*/ 14511 w 3529450"/>
                <a:gd name="connsiteY1" fmla="*/ 1905402 h 2271512"/>
                <a:gd name="connsiteX2" fmla="*/ 8122 w 3529450"/>
                <a:gd name="connsiteY2" fmla="*/ 881058 h 2271512"/>
                <a:gd name="connsiteX3" fmla="*/ 109458 w 3529450"/>
                <a:gd name="connsiteY3" fmla="*/ 381336 h 2271512"/>
                <a:gd name="connsiteX4" fmla="*/ 384893 w 3529450"/>
                <a:gd name="connsiteY4" fmla="*/ 84987 h 2271512"/>
                <a:gd name="connsiteX5" fmla="*/ 742920 w 3529450"/>
                <a:gd name="connsiteY5" fmla="*/ 367 h 2271512"/>
                <a:gd name="connsiteX6" fmla="*/ 1058012 w 3529450"/>
                <a:gd name="connsiteY6" fmla="*/ 61737 h 2271512"/>
                <a:gd name="connsiteX7" fmla="*/ 3529453 w 3529450"/>
                <a:gd name="connsiteY7" fmla="*/ 2271515 h 2271512"/>
                <a:gd name="connsiteX8" fmla="*/ 3493861 w 3529450"/>
                <a:gd name="connsiteY8" fmla="*/ 2258427 h 2271512"/>
                <a:gd name="connsiteX9" fmla="*/ 865810 w 3529450"/>
                <a:gd name="connsiteY9" fmla="*/ 768353 h 2271512"/>
                <a:gd name="connsiteX10" fmla="*/ 865195 w 3529450"/>
                <a:gd name="connsiteY10" fmla="*/ 767649 h 2271512"/>
                <a:gd name="connsiteX11" fmla="*/ 825464 w 3529450"/>
                <a:gd name="connsiteY11" fmla="*/ 778804 h 2271512"/>
                <a:gd name="connsiteX12" fmla="*/ 748979 w 3529450"/>
                <a:gd name="connsiteY12" fmla="*/ 961410 h 2271512"/>
                <a:gd name="connsiteX13" fmla="*/ 748970 w 3529450"/>
                <a:gd name="connsiteY13" fmla="*/ 1905402 h 2271512"/>
                <a:gd name="connsiteX14" fmla="*/ 381745 w 3529450"/>
                <a:gd name="connsiteY14" fmla="*/ 2121341 h 2271512"/>
                <a:gd name="connsiteX15" fmla="*/ 43371 w 3529450"/>
                <a:gd name="connsiteY15" fmla="*/ 1989452 h 2271512"/>
                <a:gd name="connsiteX0" fmla="*/ 43371 w 3529450"/>
                <a:gd name="connsiteY0" fmla="*/ 1989452 h 2271512"/>
                <a:gd name="connsiteX1" fmla="*/ 14511 w 3529450"/>
                <a:gd name="connsiteY1" fmla="*/ 1905402 h 2271512"/>
                <a:gd name="connsiteX2" fmla="*/ 8122 w 3529450"/>
                <a:gd name="connsiteY2" fmla="*/ 881058 h 2271512"/>
                <a:gd name="connsiteX3" fmla="*/ 109458 w 3529450"/>
                <a:gd name="connsiteY3" fmla="*/ 381336 h 2271512"/>
                <a:gd name="connsiteX4" fmla="*/ 384893 w 3529450"/>
                <a:gd name="connsiteY4" fmla="*/ 84987 h 2271512"/>
                <a:gd name="connsiteX5" fmla="*/ 742920 w 3529450"/>
                <a:gd name="connsiteY5" fmla="*/ 367 h 2271512"/>
                <a:gd name="connsiteX6" fmla="*/ 1058012 w 3529450"/>
                <a:gd name="connsiteY6" fmla="*/ 61737 h 2271512"/>
                <a:gd name="connsiteX7" fmla="*/ 3529453 w 3529450"/>
                <a:gd name="connsiteY7" fmla="*/ 2271515 h 2271512"/>
                <a:gd name="connsiteX8" fmla="*/ 865810 w 3529450"/>
                <a:gd name="connsiteY8" fmla="*/ 768353 h 2271512"/>
                <a:gd name="connsiteX9" fmla="*/ 865195 w 3529450"/>
                <a:gd name="connsiteY9" fmla="*/ 767649 h 2271512"/>
                <a:gd name="connsiteX10" fmla="*/ 825464 w 3529450"/>
                <a:gd name="connsiteY10" fmla="*/ 778804 h 2271512"/>
                <a:gd name="connsiteX11" fmla="*/ 748979 w 3529450"/>
                <a:gd name="connsiteY11" fmla="*/ 961410 h 2271512"/>
                <a:gd name="connsiteX12" fmla="*/ 748970 w 3529450"/>
                <a:gd name="connsiteY12" fmla="*/ 1905402 h 2271512"/>
                <a:gd name="connsiteX13" fmla="*/ 381745 w 3529450"/>
                <a:gd name="connsiteY13" fmla="*/ 2121341 h 2271512"/>
                <a:gd name="connsiteX14" fmla="*/ 43371 w 3529450"/>
                <a:gd name="connsiteY14" fmla="*/ 1989452 h 2271512"/>
                <a:gd name="connsiteX0" fmla="*/ 43371 w 1058011"/>
                <a:gd name="connsiteY0" fmla="*/ 1989452 h 2121340"/>
                <a:gd name="connsiteX1" fmla="*/ 14511 w 1058011"/>
                <a:gd name="connsiteY1" fmla="*/ 1905402 h 2121340"/>
                <a:gd name="connsiteX2" fmla="*/ 8122 w 1058011"/>
                <a:gd name="connsiteY2" fmla="*/ 881058 h 2121340"/>
                <a:gd name="connsiteX3" fmla="*/ 109458 w 1058011"/>
                <a:gd name="connsiteY3" fmla="*/ 381336 h 2121340"/>
                <a:gd name="connsiteX4" fmla="*/ 384893 w 1058011"/>
                <a:gd name="connsiteY4" fmla="*/ 84987 h 2121340"/>
                <a:gd name="connsiteX5" fmla="*/ 742920 w 1058011"/>
                <a:gd name="connsiteY5" fmla="*/ 367 h 2121340"/>
                <a:gd name="connsiteX6" fmla="*/ 1058012 w 1058011"/>
                <a:gd name="connsiteY6" fmla="*/ 61737 h 2121340"/>
                <a:gd name="connsiteX7" fmla="*/ 865810 w 1058011"/>
                <a:gd name="connsiteY7" fmla="*/ 768353 h 2121340"/>
                <a:gd name="connsiteX8" fmla="*/ 865195 w 1058011"/>
                <a:gd name="connsiteY8" fmla="*/ 767649 h 2121340"/>
                <a:gd name="connsiteX9" fmla="*/ 825464 w 1058011"/>
                <a:gd name="connsiteY9" fmla="*/ 778804 h 2121340"/>
                <a:gd name="connsiteX10" fmla="*/ 748979 w 1058011"/>
                <a:gd name="connsiteY10" fmla="*/ 961410 h 2121340"/>
                <a:gd name="connsiteX11" fmla="*/ 748970 w 1058011"/>
                <a:gd name="connsiteY11" fmla="*/ 1905402 h 2121340"/>
                <a:gd name="connsiteX12" fmla="*/ 381745 w 1058011"/>
                <a:gd name="connsiteY12" fmla="*/ 2121341 h 2121340"/>
                <a:gd name="connsiteX13" fmla="*/ 43371 w 1058011"/>
                <a:gd name="connsiteY13" fmla="*/ 1989452 h 2121340"/>
                <a:gd name="connsiteX0" fmla="*/ 43371 w 1058011"/>
                <a:gd name="connsiteY0" fmla="*/ 1989452 h 2121340"/>
                <a:gd name="connsiteX1" fmla="*/ 14511 w 1058011"/>
                <a:gd name="connsiteY1" fmla="*/ 1905402 h 2121340"/>
                <a:gd name="connsiteX2" fmla="*/ 8122 w 1058011"/>
                <a:gd name="connsiteY2" fmla="*/ 881058 h 2121340"/>
                <a:gd name="connsiteX3" fmla="*/ 109458 w 1058011"/>
                <a:gd name="connsiteY3" fmla="*/ 381336 h 2121340"/>
                <a:gd name="connsiteX4" fmla="*/ 384893 w 1058011"/>
                <a:gd name="connsiteY4" fmla="*/ 84987 h 2121340"/>
                <a:gd name="connsiteX5" fmla="*/ 742920 w 1058011"/>
                <a:gd name="connsiteY5" fmla="*/ 367 h 2121340"/>
                <a:gd name="connsiteX6" fmla="*/ 1058012 w 1058011"/>
                <a:gd name="connsiteY6" fmla="*/ 61737 h 2121340"/>
                <a:gd name="connsiteX7" fmla="*/ 865810 w 1058011"/>
                <a:gd name="connsiteY7" fmla="*/ 768353 h 2121340"/>
                <a:gd name="connsiteX8" fmla="*/ 865195 w 1058011"/>
                <a:gd name="connsiteY8" fmla="*/ 767649 h 2121340"/>
                <a:gd name="connsiteX9" fmla="*/ 748979 w 1058011"/>
                <a:gd name="connsiteY9" fmla="*/ 961410 h 2121340"/>
                <a:gd name="connsiteX10" fmla="*/ 748970 w 1058011"/>
                <a:gd name="connsiteY10" fmla="*/ 1905402 h 2121340"/>
                <a:gd name="connsiteX11" fmla="*/ 381745 w 1058011"/>
                <a:gd name="connsiteY11" fmla="*/ 2121341 h 2121340"/>
                <a:gd name="connsiteX12" fmla="*/ 43371 w 1058011"/>
                <a:gd name="connsiteY12" fmla="*/ 1989452 h 2121340"/>
                <a:gd name="connsiteX0" fmla="*/ 43371 w 1058011"/>
                <a:gd name="connsiteY0" fmla="*/ 1989452 h 2121340"/>
                <a:gd name="connsiteX1" fmla="*/ 14511 w 1058011"/>
                <a:gd name="connsiteY1" fmla="*/ 1905402 h 2121340"/>
                <a:gd name="connsiteX2" fmla="*/ 8122 w 1058011"/>
                <a:gd name="connsiteY2" fmla="*/ 881058 h 2121340"/>
                <a:gd name="connsiteX3" fmla="*/ 109458 w 1058011"/>
                <a:gd name="connsiteY3" fmla="*/ 381336 h 2121340"/>
                <a:gd name="connsiteX4" fmla="*/ 384893 w 1058011"/>
                <a:gd name="connsiteY4" fmla="*/ 84987 h 2121340"/>
                <a:gd name="connsiteX5" fmla="*/ 742920 w 1058011"/>
                <a:gd name="connsiteY5" fmla="*/ 367 h 2121340"/>
                <a:gd name="connsiteX6" fmla="*/ 1058012 w 1058011"/>
                <a:gd name="connsiteY6" fmla="*/ 61737 h 2121340"/>
                <a:gd name="connsiteX7" fmla="*/ 865810 w 1058011"/>
                <a:gd name="connsiteY7" fmla="*/ 768353 h 2121340"/>
                <a:gd name="connsiteX8" fmla="*/ 748979 w 1058011"/>
                <a:gd name="connsiteY8" fmla="*/ 961410 h 2121340"/>
                <a:gd name="connsiteX9" fmla="*/ 748970 w 1058011"/>
                <a:gd name="connsiteY9" fmla="*/ 1905402 h 2121340"/>
                <a:gd name="connsiteX10" fmla="*/ 381745 w 1058011"/>
                <a:gd name="connsiteY10" fmla="*/ 2121341 h 2121340"/>
                <a:gd name="connsiteX11" fmla="*/ 43371 w 1058011"/>
                <a:gd name="connsiteY11" fmla="*/ 1989452 h 2121340"/>
                <a:gd name="connsiteX0" fmla="*/ 43371 w 1058011"/>
                <a:gd name="connsiteY0" fmla="*/ 1989452 h 2121340"/>
                <a:gd name="connsiteX1" fmla="*/ 14511 w 1058011"/>
                <a:gd name="connsiteY1" fmla="*/ 1905402 h 2121340"/>
                <a:gd name="connsiteX2" fmla="*/ 8122 w 1058011"/>
                <a:gd name="connsiteY2" fmla="*/ 881058 h 2121340"/>
                <a:gd name="connsiteX3" fmla="*/ 109458 w 1058011"/>
                <a:gd name="connsiteY3" fmla="*/ 381336 h 2121340"/>
                <a:gd name="connsiteX4" fmla="*/ 384893 w 1058011"/>
                <a:gd name="connsiteY4" fmla="*/ 84987 h 2121340"/>
                <a:gd name="connsiteX5" fmla="*/ 742920 w 1058011"/>
                <a:gd name="connsiteY5" fmla="*/ 367 h 2121340"/>
                <a:gd name="connsiteX6" fmla="*/ 1058012 w 1058011"/>
                <a:gd name="connsiteY6" fmla="*/ 61737 h 2121340"/>
                <a:gd name="connsiteX7" fmla="*/ 748979 w 1058011"/>
                <a:gd name="connsiteY7" fmla="*/ 961410 h 2121340"/>
                <a:gd name="connsiteX8" fmla="*/ 748970 w 1058011"/>
                <a:gd name="connsiteY8" fmla="*/ 1905402 h 2121340"/>
                <a:gd name="connsiteX9" fmla="*/ 381745 w 1058011"/>
                <a:gd name="connsiteY9" fmla="*/ 2121341 h 2121340"/>
                <a:gd name="connsiteX10" fmla="*/ 43371 w 1058011"/>
                <a:gd name="connsiteY10" fmla="*/ 1989452 h 2121340"/>
                <a:gd name="connsiteX0" fmla="*/ 43371 w 771309"/>
                <a:gd name="connsiteY0" fmla="*/ 2047173 h 2179061"/>
                <a:gd name="connsiteX1" fmla="*/ 14511 w 771309"/>
                <a:gd name="connsiteY1" fmla="*/ 1963123 h 2179061"/>
                <a:gd name="connsiteX2" fmla="*/ 8122 w 771309"/>
                <a:gd name="connsiteY2" fmla="*/ 938779 h 2179061"/>
                <a:gd name="connsiteX3" fmla="*/ 109458 w 771309"/>
                <a:gd name="connsiteY3" fmla="*/ 439057 h 2179061"/>
                <a:gd name="connsiteX4" fmla="*/ 384893 w 771309"/>
                <a:gd name="connsiteY4" fmla="*/ 142708 h 2179061"/>
                <a:gd name="connsiteX5" fmla="*/ 742920 w 771309"/>
                <a:gd name="connsiteY5" fmla="*/ 58088 h 2179061"/>
                <a:gd name="connsiteX6" fmla="*/ 748979 w 771309"/>
                <a:gd name="connsiteY6" fmla="*/ 1019131 h 2179061"/>
                <a:gd name="connsiteX7" fmla="*/ 748970 w 771309"/>
                <a:gd name="connsiteY7" fmla="*/ 1963123 h 2179061"/>
                <a:gd name="connsiteX8" fmla="*/ 381745 w 771309"/>
                <a:gd name="connsiteY8" fmla="*/ 2179062 h 2179061"/>
                <a:gd name="connsiteX9" fmla="*/ 43371 w 771309"/>
                <a:gd name="connsiteY9" fmla="*/ 2047173 h 2179061"/>
                <a:gd name="connsiteX0" fmla="*/ 43371 w 748977"/>
                <a:gd name="connsiteY0" fmla="*/ 1904463 h 2036351"/>
                <a:gd name="connsiteX1" fmla="*/ 14511 w 748977"/>
                <a:gd name="connsiteY1" fmla="*/ 1820413 h 2036351"/>
                <a:gd name="connsiteX2" fmla="*/ 8122 w 748977"/>
                <a:gd name="connsiteY2" fmla="*/ 796069 h 2036351"/>
                <a:gd name="connsiteX3" fmla="*/ 109458 w 748977"/>
                <a:gd name="connsiteY3" fmla="*/ 296347 h 2036351"/>
                <a:gd name="connsiteX4" fmla="*/ 384893 w 748977"/>
                <a:gd name="connsiteY4" fmla="*/ -2 h 2036351"/>
                <a:gd name="connsiteX5" fmla="*/ 748979 w 748977"/>
                <a:gd name="connsiteY5" fmla="*/ 876421 h 2036351"/>
                <a:gd name="connsiteX6" fmla="*/ 748970 w 748977"/>
                <a:gd name="connsiteY6" fmla="*/ 1820413 h 2036351"/>
                <a:gd name="connsiteX7" fmla="*/ 381745 w 748977"/>
                <a:gd name="connsiteY7" fmla="*/ 2036352 h 2036351"/>
                <a:gd name="connsiteX8" fmla="*/ 43371 w 748977"/>
                <a:gd name="connsiteY8" fmla="*/ 1904463 h 2036351"/>
                <a:gd name="connsiteX0" fmla="*/ 43371 w 748977"/>
                <a:gd name="connsiteY0" fmla="*/ 1628665 h 1760553"/>
                <a:gd name="connsiteX1" fmla="*/ 14511 w 748977"/>
                <a:gd name="connsiteY1" fmla="*/ 1544615 h 1760553"/>
                <a:gd name="connsiteX2" fmla="*/ 8122 w 748977"/>
                <a:gd name="connsiteY2" fmla="*/ 520271 h 1760553"/>
                <a:gd name="connsiteX3" fmla="*/ 109458 w 748977"/>
                <a:gd name="connsiteY3" fmla="*/ 20549 h 1760553"/>
                <a:gd name="connsiteX4" fmla="*/ 651698 w 748977"/>
                <a:gd name="connsiteY4" fmla="*/ 59258 h 1760553"/>
                <a:gd name="connsiteX5" fmla="*/ 748979 w 748977"/>
                <a:gd name="connsiteY5" fmla="*/ 600623 h 1760553"/>
                <a:gd name="connsiteX6" fmla="*/ 748970 w 748977"/>
                <a:gd name="connsiteY6" fmla="*/ 1544615 h 1760553"/>
                <a:gd name="connsiteX7" fmla="*/ 381745 w 748977"/>
                <a:gd name="connsiteY7" fmla="*/ 1760554 h 1760553"/>
                <a:gd name="connsiteX8" fmla="*/ 43371 w 748977"/>
                <a:gd name="connsiteY8" fmla="*/ 1628665 h 1760553"/>
                <a:gd name="connsiteX0" fmla="*/ 43371 w 748977"/>
                <a:gd name="connsiteY0" fmla="*/ 1821928 h 1953816"/>
                <a:gd name="connsiteX1" fmla="*/ 14511 w 748977"/>
                <a:gd name="connsiteY1" fmla="*/ 1737878 h 1953816"/>
                <a:gd name="connsiteX2" fmla="*/ 8122 w 748977"/>
                <a:gd name="connsiteY2" fmla="*/ 713534 h 1953816"/>
                <a:gd name="connsiteX3" fmla="*/ 334458 w 748977"/>
                <a:gd name="connsiteY3" fmla="*/ 10531 h 1953816"/>
                <a:gd name="connsiteX4" fmla="*/ 651698 w 748977"/>
                <a:gd name="connsiteY4" fmla="*/ 252521 h 1953816"/>
                <a:gd name="connsiteX5" fmla="*/ 748979 w 748977"/>
                <a:gd name="connsiteY5" fmla="*/ 793886 h 1953816"/>
                <a:gd name="connsiteX6" fmla="*/ 748970 w 748977"/>
                <a:gd name="connsiteY6" fmla="*/ 1737878 h 1953816"/>
                <a:gd name="connsiteX7" fmla="*/ 381745 w 748977"/>
                <a:gd name="connsiteY7" fmla="*/ 1953817 h 1953816"/>
                <a:gd name="connsiteX8" fmla="*/ 43371 w 748977"/>
                <a:gd name="connsiteY8" fmla="*/ 1821928 h 1953816"/>
                <a:gd name="connsiteX0" fmla="*/ 43371 w 748977"/>
                <a:gd name="connsiteY0" fmla="*/ 1815453 h 1947341"/>
                <a:gd name="connsiteX1" fmla="*/ 14511 w 748977"/>
                <a:gd name="connsiteY1" fmla="*/ 1731403 h 1947341"/>
                <a:gd name="connsiteX2" fmla="*/ 8122 w 748977"/>
                <a:gd name="connsiteY2" fmla="*/ 707059 h 1947341"/>
                <a:gd name="connsiteX3" fmla="*/ 334458 w 748977"/>
                <a:gd name="connsiteY3" fmla="*/ 4056 h 1947341"/>
                <a:gd name="connsiteX4" fmla="*/ 651698 w 748977"/>
                <a:gd name="connsiteY4" fmla="*/ 246046 h 1947341"/>
                <a:gd name="connsiteX5" fmla="*/ 748979 w 748977"/>
                <a:gd name="connsiteY5" fmla="*/ 787411 h 1947341"/>
                <a:gd name="connsiteX6" fmla="*/ 748970 w 748977"/>
                <a:gd name="connsiteY6" fmla="*/ 1731403 h 1947341"/>
                <a:gd name="connsiteX7" fmla="*/ 381745 w 748977"/>
                <a:gd name="connsiteY7" fmla="*/ 1947342 h 1947341"/>
                <a:gd name="connsiteX8" fmla="*/ 43371 w 748977"/>
                <a:gd name="connsiteY8" fmla="*/ 1815453 h 1947341"/>
                <a:gd name="connsiteX0" fmla="*/ 43371 w 748977"/>
                <a:gd name="connsiteY0" fmla="*/ 1865321 h 1997209"/>
                <a:gd name="connsiteX1" fmla="*/ 14511 w 748977"/>
                <a:gd name="connsiteY1" fmla="*/ 1781271 h 1997209"/>
                <a:gd name="connsiteX2" fmla="*/ 8122 w 748977"/>
                <a:gd name="connsiteY2" fmla="*/ 756927 h 1997209"/>
                <a:gd name="connsiteX3" fmla="*/ 334458 w 748977"/>
                <a:gd name="connsiteY3" fmla="*/ 53924 h 1997209"/>
                <a:gd name="connsiteX4" fmla="*/ 651698 w 748977"/>
                <a:gd name="connsiteY4" fmla="*/ 295914 h 1997209"/>
                <a:gd name="connsiteX5" fmla="*/ 748979 w 748977"/>
                <a:gd name="connsiteY5" fmla="*/ 837279 h 1997209"/>
                <a:gd name="connsiteX6" fmla="*/ 748970 w 748977"/>
                <a:gd name="connsiteY6" fmla="*/ 1781271 h 1997209"/>
                <a:gd name="connsiteX7" fmla="*/ 381745 w 748977"/>
                <a:gd name="connsiteY7" fmla="*/ 1997210 h 1997209"/>
                <a:gd name="connsiteX8" fmla="*/ 43371 w 748977"/>
                <a:gd name="connsiteY8" fmla="*/ 1865321 h 1997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8977" h="1997209">
                  <a:moveTo>
                    <a:pt x="43371" y="1865321"/>
                  </a:moveTo>
                  <a:cubicBezTo>
                    <a:pt x="24793" y="1839490"/>
                    <a:pt x="14520" y="1811084"/>
                    <a:pt x="14511" y="1781271"/>
                  </a:cubicBezTo>
                  <a:cubicBezTo>
                    <a:pt x="8639" y="1596536"/>
                    <a:pt x="-10883" y="1005432"/>
                    <a:pt x="8122" y="756927"/>
                  </a:cubicBezTo>
                  <a:cubicBezTo>
                    <a:pt x="31173" y="603831"/>
                    <a:pt x="76976" y="173997"/>
                    <a:pt x="334458" y="53924"/>
                  </a:cubicBezTo>
                  <a:cubicBezTo>
                    <a:pt x="799385" y="-162887"/>
                    <a:pt x="571701" y="347495"/>
                    <a:pt x="651698" y="295914"/>
                  </a:cubicBezTo>
                  <a:cubicBezTo>
                    <a:pt x="758285" y="392593"/>
                    <a:pt x="688300" y="533877"/>
                    <a:pt x="748979" y="837279"/>
                  </a:cubicBezTo>
                  <a:cubicBezTo>
                    <a:pt x="748979" y="1151943"/>
                    <a:pt x="748970" y="1466607"/>
                    <a:pt x="748970" y="1781271"/>
                  </a:cubicBezTo>
                  <a:cubicBezTo>
                    <a:pt x="748970" y="1900525"/>
                    <a:pt x="584559" y="1997210"/>
                    <a:pt x="381745" y="1997210"/>
                  </a:cubicBezTo>
                  <a:cubicBezTo>
                    <a:pt x="229630" y="1997210"/>
                    <a:pt x="99122" y="1942822"/>
                    <a:pt x="43371" y="1865321"/>
                  </a:cubicBezTo>
                  <a:close/>
                </a:path>
              </a:pathLst>
            </a:custGeom>
            <a:gradFill flip="none" rotWithShape="1">
              <a:gsLst>
                <a:gs pos="35000">
                  <a:schemeClr val="accent2">
                    <a:lumMod val="0"/>
                    <a:lumOff val="100000"/>
                    <a:alpha val="0"/>
                  </a:schemeClr>
                </a:gs>
                <a:gs pos="82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618" name="Freeform: Shape 617">
              <a:extLst>
                <a:ext uri="{FF2B5EF4-FFF2-40B4-BE49-F238E27FC236}">
                  <a16:creationId xmlns:a16="http://schemas.microsoft.com/office/drawing/2014/main" id="{A8239BCE-7EF2-4D69-830E-70124B75376F}"/>
                </a:ext>
              </a:extLst>
            </p:cNvPr>
            <p:cNvSpPr/>
            <p:nvPr/>
          </p:nvSpPr>
          <p:spPr bwMode="gray">
            <a:xfrm flipV="1">
              <a:off x="4222472" y="3949320"/>
              <a:ext cx="1262509" cy="1096850"/>
            </a:xfrm>
            <a:custGeom>
              <a:avLst/>
              <a:gdLst>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42257 w 1436543"/>
                <a:gd name="connsiteY32" fmla="*/ 820790 h 1155035"/>
                <a:gd name="connsiteX33" fmla="*/ 1044634 w 1436543"/>
                <a:gd name="connsiteY33" fmla="*/ 822488 h 1155035"/>
                <a:gd name="connsiteX34" fmla="*/ 1046850 w 1436543"/>
                <a:gd name="connsiteY34" fmla="*/ 831340 h 1155035"/>
                <a:gd name="connsiteX35" fmla="*/ 1050125 w 1436543"/>
                <a:gd name="connsiteY35" fmla="*/ 834070 h 1155035"/>
                <a:gd name="connsiteX36" fmla="*/ 1342965 w 1436543"/>
                <a:gd name="connsiteY36" fmla="*/ 1006203 h 1155035"/>
                <a:gd name="connsiteX37" fmla="*/ 1343068 w 1436543"/>
                <a:gd name="connsiteY37" fmla="*/ 1006223 h 1155035"/>
                <a:gd name="connsiteX38" fmla="*/ 1344215 w 1436543"/>
                <a:gd name="connsiteY38" fmla="*/ 1010719 h 1155035"/>
                <a:gd name="connsiteX39" fmla="*/ 1330734 w 1436543"/>
                <a:gd name="connsiteY39" fmla="*/ 1028433 h 1155035"/>
                <a:gd name="connsiteX40" fmla="*/ 1238815 w 1436543"/>
                <a:gd name="connsiteY40" fmla="*/ 1081504 h 1155035"/>
                <a:gd name="connsiteX41" fmla="*/ 1238433 w 1436543"/>
                <a:gd name="connsiteY41" fmla="*/ 1129401 h 1155035"/>
                <a:gd name="connsiteX42" fmla="*/ 1270298 w 1436543"/>
                <a:gd name="connsiteY42"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42257 w 1436543"/>
                <a:gd name="connsiteY32" fmla="*/ 820790 h 1155035"/>
                <a:gd name="connsiteX33" fmla="*/ 1044634 w 1436543"/>
                <a:gd name="connsiteY33" fmla="*/ 822488 h 1155035"/>
                <a:gd name="connsiteX34" fmla="*/ 1046850 w 1436543"/>
                <a:gd name="connsiteY34" fmla="*/ 831340 h 1155035"/>
                <a:gd name="connsiteX35" fmla="*/ 1342965 w 1436543"/>
                <a:gd name="connsiteY35" fmla="*/ 1006203 h 1155035"/>
                <a:gd name="connsiteX36" fmla="*/ 1343068 w 1436543"/>
                <a:gd name="connsiteY36" fmla="*/ 1006223 h 1155035"/>
                <a:gd name="connsiteX37" fmla="*/ 1344215 w 1436543"/>
                <a:gd name="connsiteY37" fmla="*/ 1010719 h 1155035"/>
                <a:gd name="connsiteX38" fmla="*/ 1330734 w 1436543"/>
                <a:gd name="connsiteY38" fmla="*/ 1028433 h 1155035"/>
                <a:gd name="connsiteX39" fmla="*/ 1238815 w 1436543"/>
                <a:gd name="connsiteY39" fmla="*/ 1081504 h 1155035"/>
                <a:gd name="connsiteX40" fmla="*/ 1238433 w 1436543"/>
                <a:gd name="connsiteY40" fmla="*/ 1129401 h 1155035"/>
                <a:gd name="connsiteX41" fmla="*/ 1270298 w 1436543"/>
                <a:gd name="connsiteY41"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42257 w 1436543"/>
                <a:gd name="connsiteY32" fmla="*/ 820790 h 1155035"/>
                <a:gd name="connsiteX33" fmla="*/ 1044634 w 1436543"/>
                <a:gd name="connsiteY33" fmla="*/ 822488 h 1155035"/>
                <a:gd name="connsiteX34" fmla="*/ 1342965 w 1436543"/>
                <a:gd name="connsiteY34" fmla="*/ 1006203 h 1155035"/>
                <a:gd name="connsiteX35" fmla="*/ 1343068 w 1436543"/>
                <a:gd name="connsiteY35" fmla="*/ 1006223 h 1155035"/>
                <a:gd name="connsiteX36" fmla="*/ 1344215 w 1436543"/>
                <a:gd name="connsiteY36" fmla="*/ 1010719 h 1155035"/>
                <a:gd name="connsiteX37" fmla="*/ 1330734 w 1436543"/>
                <a:gd name="connsiteY37" fmla="*/ 1028433 h 1155035"/>
                <a:gd name="connsiteX38" fmla="*/ 1238815 w 1436543"/>
                <a:gd name="connsiteY38" fmla="*/ 1081504 h 1155035"/>
                <a:gd name="connsiteX39" fmla="*/ 1238433 w 1436543"/>
                <a:gd name="connsiteY39" fmla="*/ 1129401 h 1155035"/>
                <a:gd name="connsiteX40" fmla="*/ 1270298 w 1436543"/>
                <a:gd name="connsiteY40"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42257 w 1436543"/>
                <a:gd name="connsiteY32" fmla="*/ 820790 h 1155035"/>
                <a:gd name="connsiteX33" fmla="*/ 1054159 w 1436543"/>
                <a:gd name="connsiteY33" fmla="*/ 841538 h 1155035"/>
                <a:gd name="connsiteX34" fmla="*/ 1342965 w 1436543"/>
                <a:gd name="connsiteY34" fmla="*/ 1006203 h 1155035"/>
                <a:gd name="connsiteX35" fmla="*/ 1343068 w 1436543"/>
                <a:gd name="connsiteY35" fmla="*/ 1006223 h 1155035"/>
                <a:gd name="connsiteX36" fmla="*/ 1344215 w 1436543"/>
                <a:gd name="connsiteY36" fmla="*/ 1010719 h 1155035"/>
                <a:gd name="connsiteX37" fmla="*/ 1330734 w 1436543"/>
                <a:gd name="connsiteY37" fmla="*/ 1028433 h 1155035"/>
                <a:gd name="connsiteX38" fmla="*/ 1238815 w 1436543"/>
                <a:gd name="connsiteY38" fmla="*/ 1081504 h 1155035"/>
                <a:gd name="connsiteX39" fmla="*/ 1238433 w 1436543"/>
                <a:gd name="connsiteY39" fmla="*/ 1129401 h 1155035"/>
                <a:gd name="connsiteX40" fmla="*/ 1270298 w 1436543"/>
                <a:gd name="connsiteY40"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54159 w 1436543"/>
                <a:gd name="connsiteY32" fmla="*/ 841538 h 1155035"/>
                <a:gd name="connsiteX33" fmla="*/ 1342965 w 1436543"/>
                <a:gd name="connsiteY33" fmla="*/ 1006203 h 1155035"/>
                <a:gd name="connsiteX34" fmla="*/ 1343068 w 1436543"/>
                <a:gd name="connsiteY34" fmla="*/ 1006223 h 1155035"/>
                <a:gd name="connsiteX35" fmla="*/ 1344215 w 1436543"/>
                <a:gd name="connsiteY35" fmla="*/ 1010719 h 1155035"/>
                <a:gd name="connsiteX36" fmla="*/ 1330734 w 1436543"/>
                <a:gd name="connsiteY36" fmla="*/ 1028433 h 1155035"/>
                <a:gd name="connsiteX37" fmla="*/ 1238815 w 1436543"/>
                <a:gd name="connsiteY37" fmla="*/ 1081504 h 1155035"/>
                <a:gd name="connsiteX38" fmla="*/ 1238433 w 1436543"/>
                <a:gd name="connsiteY38" fmla="*/ 1129401 h 1155035"/>
                <a:gd name="connsiteX39" fmla="*/ 1270298 w 1436543"/>
                <a:gd name="connsiteY39"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54159 w 1436543"/>
                <a:gd name="connsiteY32" fmla="*/ 841538 h 1155035"/>
                <a:gd name="connsiteX33" fmla="*/ 1342965 w 1436543"/>
                <a:gd name="connsiteY33" fmla="*/ 1006203 h 1155035"/>
                <a:gd name="connsiteX34" fmla="*/ 1343068 w 1436543"/>
                <a:gd name="connsiteY34" fmla="*/ 1006223 h 1155035"/>
                <a:gd name="connsiteX35" fmla="*/ 1344215 w 1436543"/>
                <a:gd name="connsiteY35" fmla="*/ 1010719 h 1155035"/>
                <a:gd name="connsiteX36" fmla="*/ 1330734 w 1436543"/>
                <a:gd name="connsiteY36" fmla="*/ 1028433 h 1155035"/>
                <a:gd name="connsiteX37" fmla="*/ 1238815 w 1436543"/>
                <a:gd name="connsiteY37" fmla="*/ 1081504 h 1155035"/>
                <a:gd name="connsiteX38" fmla="*/ 1238433 w 1436543"/>
                <a:gd name="connsiteY38" fmla="*/ 1129401 h 1155035"/>
                <a:gd name="connsiteX39" fmla="*/ 1270298 w 1436543"/>
                <a:gd name="connsiteY39"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025799 w 1436543"/>
                <a:gd name="connsiteY27" fmla="*/ 619927 h 1155035"/>
                <a:gd name="connsiteX28" fmla="*/ 1037379 w 1436543"/>
                <a:gd name="connsiteY28" fmla="*/ 639985 h 1155035"/>
                <a:gd name="connsiteX29" fmla="*/ 1037363 w 1436543"/>
                <a:gd name="connsiteY29" fmla="*/ 642575 h 1155035"/>
                <a:gd name="connsiteX30" fmla="*/ 1037046 w 1436543"/>
                <a:gd name="connsiteY30" fmla="*/ 641242 h 1155035"/>
                <a:gd name="connsiteX31" fmla="*/ 1039018 w 1436543"/>
                <a:gd name="connsiteY31" fmla="*/ 811357 h 1155035"/>
                <a:gd name="connsiteX32" fmla="*/ 1054159 w 1436543"/>
                <a:gd name="connsiteY32" fmla="*/ 841538 h 1155035"/>
                <a:gd name="connsiteX33" fmla="*/ 1342965 w 1436543"/>
                <a:gd name="connsiteY33" fmla="*/ 1006203 h 1155035"/>
                <a:gd name="connsiteX34" fmla="*/ 1343068 w 1436543"/>
                <a:gd name="connsiteY34" fmla="*/ 1006223 h 1155035"/>
                <a:gd name="connsiteX35" fmla="*/ 1344215 w 1436543"/>
                <a:gd name="connsiteY35" fmla="*/ 1010719 h 1155035"/>
                <a:gd name="connsiteX36" fmla="*/ 1330734 w 1436543"/>
                <a:gd name="connsiteY36" fmla="*/ 1028433 h 1155035"/>
                <a:gd name="connsiteX37" fmla="*/ 1238815 w 1436543"/>
                <a:gd name="connsiteY37" fmla="*/ 1081504 h 1155035"/>
                <a:gd name="connsiteX38" fmla="*/ 1238433 w 1436543"/>
                <a:gd name="connsiteY38" fmla="*/ 1129401 h 1155035"/>
                <a:gd name="connsiteX39" fmla="*/ 1270298 w 1436543"/>
                <a:gd name="connsiteY39"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118741 w 1436543"/>
                <a:gd name="connsiteY12" fmla="*/ 5629 h 1155035"/>
                <a:gd name="connsiteX13" fmla="*/ 86142 w 1436543"/>
                <a:gd name="connsiteY13" fmla="*/ 108 h 1155035"/>
                <a:gd name="connsiteX14" fmla="*/ 43540 w 1436543"/>
                <a:gd name="connsiteY14" fmla="*/ 13965 h 1155035"/>
                <a:gd name="connsiteX15" fmla="*/ 14422 w 1436543"/>
                <a:gd name="connsiteY15" fmla="*/ 45201 h 1155035"/>
                <a:gd name="connsiteX16" fmla="*/ 911 w 1436543"/>
                <a:gd name="connsiteY16" fmla="*/ 97582 h 1155035"/>
                <a:gd name="connsiteX17" fmla="*/ 1629 w 1436543"/>
                <a:gd name="connsiteY17" fmla="*/ 212545 h 1155035"/>
                <a:gd name="connsiteX18" fmla="*/ 4867 w 1436543"/>
                <a:gd name="connsiteY18" fmla="*/ 221978 h 1155035"/>
                <a:gd name="connsiteX19" fmla="*/ 42843 w 1436543"/>
                <a:gd name="connsiteY19" fmla="*/ 236780 h 1155035"/>
                <a:gd name="connsiteX20" fmla="*/ 84057 w 1436543"/>
                <a:gd name="connsiteY20" fmla="*/ 212545 h 1155035"/>
                <a:gd name="connsiteX21" fmla="*/ 84058 w 1436543"/>
                <a:gd name="connsiteY21" fmla="*/ 106600 h 1155035"/>
                <a:gd name="connsiteX22" fmla="*/ 83306 w 1436543"/>
                <a:gd name="connsiteY22" fmla="*/ 104410 h 1155035"/>
                <a:gd name="connsiteX23" fmla="*/ 83323 w 1436543"/>
                <a:gd name="connsiteY23" fmla="*/ 98354 h 1155035"/>
                <a:gd name="connsiteX24" fmla="*/ 92642 w 1436543"/>
                <a:gd name="connsiteY24" fmla="*/ 86106 h 1155035"/>
                <a:gd name="connsiteX25" fmla="*/ 97101 w 1436543"/>
                <a:gd name="connsiteY25" fmla="*/ 84854 h 1155035"/>
                <a:gd name="connsiteX26" fmla="*/ 97170 w 1436543"/>
                <a:gd name="connsiteY26" fmla="*/ 84933 h 1155035"/>
                <a:gd name="connsiteX27" fmla="*/ 185425 w 1436543"/>
                <a:gd name="connsiteY27" fmla="*/ 137067 h 1155035"/>
                <a:gd name="connsiteX28" fmla="*/ 1025799 w 1436543"/>
                <a:gd name="connsiteY28" fmla="*/ 619927 h 1155035"/>
                <a:gd name="connsiteX29" fmla="*/ 1037379 w 1436543"/>
                <a:gd name="connsiteY29" fmla="*/ 639985 h 1155035"/>
                <a:gd name="connsiteX30" fmla="*/ 1037363 w 1436543"/>
                <a:gd name="connsiteY30" fmla="*/ 642575 h 1155035"/>
                <a:gd name="connsiteX31" fmla="*/ 1037046 w 1436543"/>
                <a:gd name="connsiteY31" fmla="*/ 641242 h 1155035"/>
                <a:gd name="connsiteX32" fmla="*/ 1039018 w 1436543"/>
                <a:gd name="connsiteY32" fmla="*/ 811357 h 1155035"/>
                <a:gd name="connsiteX33" fmla="*/ 1054159 w 1436543"/>
                <a:gd name="connsiteY33" fmla="*/ 841538 h 1155035"/>
                <a:gd name="connsiteX34" fmla="*/ 1342965 w 1436543"/>
                <a:gd name="connsiteY34" fmla="*/ 1006203 h 1155035"/>
                <a:gd name="connsiteX35" fmla="*/ 1343068 w 1436543"/>
                <a:gd name="connsiteY35" fmla="*/ 1006223 h 1155035"/>
                <a:gd name="connsiteX36" fmla="*/ 1344215 w 1436543"/>
                <a:gd name="connsiteY36" fmla="*/ 1010719 h 1155035"/>
                <a:gd name="connsiteX37" fmla="*/ 1330734 w 1436543"/>
                <a:gd name="connsiteY37" fmla="*/ 1028433 h 1155035"/>
                <a:gd name="connsiteX38" fmla="*/ 1238815 w 1436543"/>
                <a:gd name="connsiteY38" fmla="*/ 1081504 h 1155035"/>
                <a:gd name="connsiteX39" fmla="*/ 1238433 w 1436543"/>
                <a:gd name="connsiteY39" fmla="*/ 1129401 h 1155035"/>
                <a:gd name="connsiteX40" fmla="*/ 1270298 w 1436543"/>
                <a:gd name="connsiteY40" fmla="*/ 1154936 h 1155035"/>
                <a:gd name="connsiteX0" fmla="*/ 1270298 w 1436543"/>
                <a:gd name="connsiteY0" fmla="*/ 1154936 h 1155035"/>
                <a:gd name="connsiteX1" fmla="*/ 1280105 w 1436543"/>
                <a:gd name="connsiteY1" fmla="*/ 1153021 h 1155035"/>
                <a:gd name="connsiteX2" fmla="*/ 1380208 w 1436543"/>
                <a:gd name="connsiteY2" fmla="*/ 1096055 h 1155035"/>
                <a:gd name="connsiteX3" fmla="*/ 1423171 w 1436543"/>
                <a:gd name="connsiteY3" fmla="*/ 1058094 h 1155035"/>
                <a:gd name="connsiteX4" fmla="*/ 1436543 w 1436543"/>
                <a:gd name="connsiteY4" fmla="*/ 1014614 h 1155035"/>
                <a:gd name="connsiteX5" fmla="*/ 1424655 w 1436543"/>
                <a:gd name="connsiteY5" fmla="*/ 974994 h 1155035"/>
                <a:gd name="connsiteX6" fmla="*/ 1400965 w 1436543"/>
                <a:gd name="connsiteY6" fmla="*/ 947763 h 1155035"/>
                <a:gd name="connsiteX7" fmla="*/ 1121192 w 1436543"/>
                <a:gd name="connsiteY7" fmla="*/ 784647 h 1155035"/>
                <a:gd name="connsiteX8" fmla="*/ 1119801 w 1436543"/>
                <a:gd name="connsiteY8" fmla="*/ 639207 h 1155035"/>
                <a:gd name="connsiteX9" fmla="*/ 1118773 w 1436543"/>
                <a:gd name="connsiteY9" fmla="*/ 627668 h 1155035"/>
                <a:gd name="connsiteX10" fmla="*/ 1106280 w 1436543"/>
                <a:gd name="connsiteY10" fmla="*/ 586833 h 1155035"/>
                <a:gd name="connsiteX11" fmla="*/ 1067673 w 1436543"/>
                <a:gd name="connsiteY11" fmla="*/ 548942 h 1155035"/>
                <a:gd name="connsiteX12" fmla="*/ 221143 w 1436543"/>
                <a:gd name="connsiteY12" fmla="*/ 63249 h 1155035"/>
                <a:gd name="connsiteX13" fmla="*/ 118741 w 1436543"/>
                <a:gd name="connsiteY13" fmla="*/ 5629 h 1155035"/>
                <a:gd name="connsiteX14" fmla="*/ 86142 w 1436543"/>
                <a:gd name="connsiteY14" fmla="*/ 108 h 1155035"/>
                <a:gd name="connsiteX15" fmla="*/ 43540 w 1436543"/>
                <a:gd name="connsiteY15" fmla="*/ 13965 h 1155035"/>
                <a:gd name="connsiteX16" fmla="*/ 14422 w 1436543"/>
                <a:gd name="connsiteY16" fmla="*/ 45201 h 1155035"/>
                <a:gd name="connsiteX17" fmla="*/ 911 w 1436543"/>
                <a:gd name="connsiteY17" fmla="*/ 97582 h 1155035"/>
                <a:gd name="connsiteX18" fmla="*/ 1629 w 1436543"/>
                <a:gd name="connsiteY18" fmla="*/ 212545 h 1155035"/>
                <a:gd name="connsiteX19" fmla="*/ 4867 w 1436543"/>
                <a:gd name="connsiteY19" fmla="*/ 221978 h 1155035"/>
                <a:gd name="connsiteX20" fmla="*/ 42843 w 1436543"/>
                <a:gd name="connsiteY20" fmla="*/ 236780 h 1155035"/>
                <a:gd name="connsiteX21" fmla="*/ 84057 w 1436543"/>
                <a:gd name="connsiteY21" fmla="*/ 212545 h 1155035"/>
                <a:gd name="connsiteX22" fmla="*/ 84058 w 1436543"/>
                <a:gd name="connsiteY22" fmla="*/ 106600 h 1155035"/>
                <a:gd name="connsiteX23" fmla="*/ 83306 w 1436543"/>
                <a:gd name="connsiteY23" fmla="*/ 104410 h 1155035"/>
                <a:gd name="connsiteX24" fmla="*/ 83323 w 1436543"/>
                <a:gd name="connsiteY24" fmla="*/ 98354 h 1155035"/>
                <a:gd name="connsiteX25" fmla="*/ 92642 w 1436543"/>
                <a:gd name="connsiteY25" fmla="*/ 86106 h 1155035"/>
                <a:gd name="connsiteX26" fmla="*/ 97101 w 1436543"/>
                <a:gd name="connsiteY26" fmla="*/ 84854 h 1155035"/>
                <a:gd name="connsiteX27" fmla="*/ 97170 w 1436543"/>
                <a:gd name="connsiteY27" fmla="*/ 84933 h 1155035"/>
                <a:gd name="connsiteX28" fmla="*/ 185425 w 1436543"/>
                <a:gd name="connsiteY28" fmla="*/ 137067 h 1155035"/>
                <a:gd name="connsiteX29" fmla="*/ 1025799 w 1436543"/>
                <a:gd name="connsiteY29" fmla="*/ 619927 h 1155035"/>
                <a:gd name="connsiteX30" fmla="*/ 1037379 w 1436543"/>
                <a:gd name="connsiteY30" fmla="*/ 639985 h 1155035"/>
                <a:gd name="connsiteX31" fmla="*/ 1037363 w 1436543"/>
                <a:gd name="connsiteY31" fmla="*/ 642575 h 1155035"/>
                <a:gd name="connsiteX32" fmla="*/ 1037046 w 1436543"/>
                <a:gd name="connsiteY32" fmla="*/ 641242 h 1155035"/>
                <a:gd name="connsiteX33" fmla="*/ 1039018 w 1436543"/>
                <a:gd name="connsiteY33" fmla="*/ 811357 h 1155035"/>
                <a:gd name="connsiteX34" fmla="*/ 1054159 w 1436543"/>
                <a:gd name="connsiteY34" fmla="*/ 841538 h 1155035"/>
                <a:gd name="connsiteX35" fmla="*/ 1342965 w 1436543"/>
                <a:gd name="connsiteY35" fmla="*/ 1006203 h 1155035"/>
                <a:gd name="connsiteX36" fmla="*/ 1343068 w 1436543"/>
                <a:gd name="connsiteY36" fmla="*/ 1006223 h 1155035"/>
                <a:gd name="connsiteX37" fmla="*/ 1344215 w 1436543"/>
                <a:gd name="connsiteY37" fmla="*/ 1010719 h 1155035"/>
                <a:gd name="connsiteX38" fmla="*/ 1330734 w 1436543"/>
                <a:gd name="connsiteY38" fmla="*/ 1028433 h 1155035"/>
                <a:gd name="connsiteX39" fmla="*/ 1238815 w 1436543"/>
                <a:gd name="connsiteY39" fmla="*/ 1081504 h 1155035"/>
                <a:gd name="connsiteX40" fmla="*/ 1238433 w 1436543"/>
                <a:gd name="connsiteY40" fmla="*/ 1129401 h 1155035"/>
                <a:gd name="connsiteX41" fmla="*/ 1270298 w 1436543"/>
                <a:gd name="connsiteY41" fmla="*/ 1154936 h 1155035"/>
                <a:gd name="connsiteX0" fmla="*/ 1270298 w 1436543"/>
                <a:gd name="connsiteY0" fmla="*/ 1154858 h 1154957"/>
                <a:gd name="connsiteX1" fmla="*/ 1280105 w 1436543"/>
                <a:gd name="connsiteY1" fmla="*/ 1152943 h 1154957"/>
                <a:gd name="connsiteX2" fmla="*/ 1380208 w 1436543"/>
                <a:gd name="connsiteY2" fmla="*/ 1095977 h 1154957"/>
                <a:gd name="connsiteX3" fmla="*/ 1423171 w 1436543"/>
                <a:gd name="connsiteY3" fmla="*/ 1058016 h 1154957"/>
                <a:gd name="connsiteX4" fmla="*/ 1436543 w 1436543"/>
                <a:gd name="connsiteY4" fmla="*/ 1014536 h 1154957"/>
                <a:gd name="connsiteX5" fmla="*/ 1424655 w 1436543"/>
                <a:gd name="connsiteY5" fmla="*/ 974916 h 1154957"/>
                <a:gd name="connsiteX6" fmla="*/ 1400965 w 1436543"/>
                <a:gd name="connsiteY6" fmla="*/ 947685 h 1154957"/>
                <a:gd name="connsiteX7" fmla="*/ 1121192 w 1436543"/>
                <a:gd name="connsiteY7" fmla="*/ 784569 h 1154957"/>
                <a:gd name="connsiteX8" fmla="*/ 1119801 w 1436543"/>
                <a:gd name="connsiteY8" fmla="*/ 639129 h 1154957"/>
                <a:gd name="connsiteX9" fmla="*/ 1118773 w 1436543"/>
                <a:gd name="connsiteY9" fmla="*/ 627590 h 1154957"/>
                <a:gd name="connsiteX10" fmla="*/ 1106280 w 1436543"/>
                <a:gd name="connsiteY10" fmla="*/ 586755 h 1154957"/>
                <a:gd name="connsiteX11" fmla="*/ 1067673 w 1436543"/>
                <a:gd name="connsiteY11" fmla="*/ 548864 h 1154957"/>
                <a:gd name="connsiteX12" fmla="*/ 221143 w 1436543"/>
                <a:gd name="connsiteY12" fmla="*/ 63171 h 1154957"/>
                <a:gd name="connsiteX13" fmla="*/ 86142 w 1436543"/>
                <a:gd name="connsiteY13" fmla="*/ 30 h 1154957"/>
                <a:gd name="connsiteX14" fmla="*/ 43540 w 1436543"/>
                <a:gd name="connsiteY14" fmla="*/ 13887 h 1154957"/>
                <a:gd name="connsiteX15" fmla="*/ 14422 w 1436543"/>
                <a:gd name="connsiteY15" fmla="*/ 45123 h 1154957"/>
                <a:gd name="connsiteX16" fmla="*/ 911 w 1436543"/>
                <a:gd name="connsiteY16" fmla="*/ 97504 h 1154957"/>
                <a:gd name="connsiteX17" fmla="*/ 1629 w 1436543"/>
                <a:gd name="connsiteY17" fmla="*/ 212467 h 1154957"/>
                <a:gd name="connsiteX18" fmla="*/ 4867 w 1436543"/>
                <a:gd name="connsiteY18" fmla="*/ 221900 h 1154957"/>
                <a:gd name="connsiteX19" fmla="*/ 42843 w 1436543"/>
                <a:gd name="connsiteY19" fmla="*/ 236702 h 1154957"/>
                <a:gd name="connsiteX20" fmla="*/ 84057 w 1436543"/>
                <a:gd name="connsiteY20" fmla="*/ 212467 h 1154957"/>
                <a:gd name="connsiteX21" fmla="*/ 84058 w 1436543"/>
                <a:gd name="connsiteY21" fmla="*/ 106522 h 1154957"/>
                <a:gd name="connsiteX22" fmla="*/ 83306 w 1436543"/>
                <a:gd name="connsiteY22" fmla="*/ 104332 h 1154957"/>
                <a:gd name="connsiteX23" fmla="*/ 83323 w 1436543"/>
                <a:gd name="connsiteY23" fmla="*/ 98276 h 1154957"/>
                <a:gd name="connsiteX24" fmla="*/ 92642 w 1436543"/>
                <a:gd name="connsiteY24" fmla="*/ 86028 h 1154957"/>
                <a:gd name="connsiteX25" fmla="*/ 97101 w 1436543"/>
                <a:gd name="connsiteY25" fmla="*/ 84776 h 1154957"/>
                <a:gd name="connsiteX26" fmla="*/ 97170 w 1436543"/>
                <a:gd name="connsiteY26" fmla="*/ 84855 h 1154957"/>
                <a:gd name="connsiteX27" fmla="*/ 185425 w 1436543"/>
                <a:gd name="connsiteY27" fmla="*/ 136989 h 1154957"/>
                <a:gd name="connsiteX28" fmla="*/ 1025799 w 1436543"/>
                <a:gd name="connsiteY28" fmla="*/ 619849 h 1154957"/>
                <a:gd name="connsiteX29" fmla="*/ 1037379 w 1436543"/>
                <a:gd name="connsiteY29" fmla="*/ 639907 h 1154957"/>
                <a:gd name="connsiteX30" fmla="*/ 1037363 w 1436543"/>
                <a:gd name="connsiteY30" fmla="*/ 642497 h 1154957"/>
                <a:gd name="connsiteX31" fmla="*/ 1037046 w 1436543"/>
                <a:gd name="connsiteY31" fmla="*/ 641164 h 1154957"/>
                <a:gd name="connsiteX32" fmla="*/ 1039018 w 1436543"/>
                <a:gd name="connsiteY32" fmla="*/ 811279 h 1154957"/>
                <a:gd name="connsiteX33" fmla="*/ 1054159 w 1436543"/>
                <a:gd name="connsiteY33" fmla="*/ 841460 h 1154957"/>
                <a:gd name="connsiteX34" fmla="*/ 1342965 w 1436543"/>
                <a:gd name="connsiteY34" fmla="*/ 1006125 h 1154957"/>
                <a:gd name="connsiteX35" fmla="*/ 1343068 w 1436543"/>
                <a:gd name="connsiteY35" fmla="*/ 1006145 h 1154957"/>
                <a:gd name="connsiteX36" fmla="*/ 1344215 w 1436543"/>
                <a:gd name="connsiteY36" fmla="*/ 1010641 h 1154957"/>
                <a:gd name="connsiteX37" fmla="*/ 1330734 w 1436543"/>
                <a:gd name="connsiteY37" fmla="*/ 1028355 h 1154957"/>
                <a:gd name="connsiteX38" fmla="*/ 1238815 w 1436543"/>
                <a:gd name="connsiteY38" fmla="*/ 1081426 h 1154957"/>
                <a:gd name="connsiteX39" fmla="*/ 1238433 w 1436543"/>
                <a:gd name="connsiteY39" fmla="*/ 1129323 h 1154957"/>
                <a:gd name="connsiteX40" fmla="*/ 1270298 w 1436543"/>
                <a:gd name="connsiteY40" fmla="*/ 1154858 h 1154957"/>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84058 w 1436543"/>
                <a:gd name="connsiteY20" fmla="*/ 92635 h 1141070"/>
                <a:gd name="connsiteX21" fmla="*/ 83306 w 1436543"/>
                <a:gd name="connsiteY21" fmla="*/ 90445 h 1141070"/>
                <a:gd name="connsiteX22" fmla="*/ 83323 w 1436543"/>
                <a:gd name="connsiteY22" fmla="*/ 84389 h 1141070"/>
                <a:gd name="connsiteX23" fmla="*/ 92642 w 1436543"/>
                <a:gd name="connsiteY23" fmla="*/ 72141 h 1141070"/>
                <a:gd name="connsiteX24" fmla="*/ 97101 w 1436543"/>
                <a:gd name="connsiteY24" fmla="*/ 70889 h 1141070"/>
                <a:gd name="connsiteX25" fmla="*/ 97170 w 1436543"/>
                <a:gd name="connsiteY25" fmla="*/ 70968 h 1141070"/>
                <a:gd name="connsiteX26" fmla="*/ 185425 w 1436543"/>
                <a:gd name="connsiteY26" fmla="*/ 123102 h 1141070"/>
                <a:gd name="connsiteX27" fmla="*/ 1025799 w 1436543"/>
                <a:gd name="connsiteY27" fmla="*/ 605962 h 1141070"/>
                <a:gd name="connsiteX28" fmla="*/ 1037379 w 1436543"/>
                <a:gd name="connsiteY28" fmla="*/ 626020 h 1141070"/>
                <a:gd name="connsiteX29" fmla="*/ 1037363 w 1436543"/>
                <a:gd name="connsiteY29" fmla="*/ 628610 h 1141070"/>
                <a:gd name="connsiteX30" fmla="*/ 1037046 w 1436543"/>
                <a:gd name="connsiteY30" fmla="*/ 627277 h 1141070"/>
                <a:gd name="connsiteX31" fmla="*/ 1039018 w 1436543"/>
                <a:gd name="connsiteY31" fmla="*/ 797392 h 1141070"/>
                <a:gd name="connsiteX32" fmla="*/ 1054159 w 1436543"/>
                <a:gd name="connsiteY32" fmla="*/ 827573 h 1141070"/>
                <a:gd name="connsiteX33" fmla="*/ 1342965 w 1436543"/>
                <a:gd name="connsiteY33" fmla="*/ 992238 h 1141070"/>
                <a:gd name="connsiteX34" fmla="*/ 1343068 w 1436543"/>
                <a:gd name="connsiteY34" fmla="*/ 992258 h 1141070"/>
                <a:gd name="connsiteX35" fmla="*/ 1344215 w 1436543"/>
                <a:gd name="connsiteY35" fmla="*/ 996754 h 1141070"/>
                <a:gd name="connsiteX36" fmla="*/ 1330734 w 1436543"/>
                <a:gd name="connsiteY36" fmla="*/ 1014468 h 1141070"/>
                <a:gd name="connsiteX37" fmla="*/ 1238815 w 1436543"/>
                <a:gd name="connsiteY37" fmla="*/ 1067539 h 1141070"/>
                <a:gd name="connsiteX38" fmla="*/ 1238433 w 1436543"/>
                <a:gd name="connsiteY38" fmla="*/ 1115436 h 1141070"/>
                <a:gd name="connsiteX39" fmla="*/ 1270298 w 1436543"/>
                <a:gd name="connsiteY39"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84058 w 1436543"/>
                <a:gd name="connsiteY20" fmla="*/ 92635 h 1141070"/>
                <a:gd name="connsiteX21" fmla="*/ 83306 w 1436543"/>
                <a:gd name="connsiteY21" fmla="*/ 90445 h 1141070"/>
                <a:gd name="connsiteX22" fmla="*/ 83323 w 1436543"/>
                <a:gd name="connsiteY22" fmla="*/ 84389 h 1141070"/>
                <a:gd name="connsiteX23" fmla="*/ 92642 w 1436543"/>
                <a:gd name="connsiteY23" fmla="*/ 72141 h 1141070"/>
                <a:gd name="connsiteX24" fmla="*/ 97101 w 1436543"/>
                <a:gd name="connsiteY24" fmla="*/ 70889 h 1141070"/>
                <a:gd name="connsiteX25" fmla="*/ 185425 w 1436543"/>
                <a:gd name="connsiteY25" fmla="*/ 123102 h 1141070"/>
                <a:gd name="connsiteX26" fmla="*/ 1025799 w 1436543"/>
                <a:gd name="connsiteY26" fmla="*/ 605962 h 1141070"/>
                <a:gd name="connsiteX27" fmla="*/ 1037379 w 1436543"/>
                <a:gd name="connsiteY27" fmla="*/ 626020 h 1141070"/>
                <a:gd name="connsiteX28" fmla="*/ 1037363 w 1436543"/>
                <a:gd name="connsiteY28" fmla="*/ 628610 h 1141070"/>
                <a:gd name="connsiteX29" fmla="*/ 1037046 w 1436543"/>
                <a:gd name="connsiteY29" fmla="*/ 627277 h 1141070"/>
                <a:gd name="connsiteX30" fmla="*/ 1039018 w 1436543"/>
                <a:gd name="connsiteY30" fmla="*/ 797392 h 1141070"/>
                <a:gd name="connsiteX31" fmla="*/ 1054159 w 1436543"/>
                <a:gd name="connsiteY31" fmla="*/ 827573 h 1141070"/>
                <a:gd name="connsiteX32" fmla="*/ 1342965 w 1436543"/>
                <a:gd name="connsiteY32" fmla="*/ 992238 h 1141070"/>
                <a:gd name="connsiteX33" fmla="*/ 1343068 w 1436543"/>
                <a:gd name="connsiteY33" fmla="*/ 992258 h 1141070"/>
                <a:gd name="connsiteX34" fmla="*/ 1344215 w 1436543"/>
                <a:gd name="connsiteY34" fmla="*/ 996754 h 1141070"/>
                <a:gd name="connsiteX35" fmla="*/ 1330734 w 1436543"/>
                <a:gd name="connsiteY35" fmla="*/ 1014468 h 1141070"/>
                <a:gd name="connsiteX36" fmla="*/ 1238815 w 1436543"/>
                <a:gd name="connsiteY36" fmla="*/ 1067539 h 1141070"/>
                <a:gd name="connsiteX37" fmla="*/ 1238433 w 1436543"/>
                <a:gd name="connsiteY37" fmla="*/ 1115436 h 1141070"/>
                <a:gd name="connsiteX38" fmla="*/ 1270298 w 1436543"/>
                <a:gd name="connsiteY38"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84058 w 1436543"/>
                <a:gd name="connsiteY20" fmla="*/ 92635 h 1141070"/>
                <a:gd name="connsiteX21" fmla="*/ 83306 w 1436543"/>
                <a:gd name="connsiteY21" fmla="*/ 90445 h 1141070"/>
                <a:gd name="connsiteX22" fmla="*/ 83323 w 1436543"/>
                <a:gd name="connsiteY22" fmla="*/ 84389 h 1141070"/>
                <a:gd name="connsiteX23" fmla="*/ 97101 w 1436543"/>
                <a:gd name="connsiteY23" fmla="*/ 70889 h 1141070"/>
                <a:gd name="connsiteX24" fmla="*/ 185425 w 1436543"/>
                <a:gd name="connsiteY24" fmla="*/ 123102 h 1141070"/>
                <a:gd name="connsiteX25" fmla="*/ 1025799 w 1436543"/>
                <a:gd name="connsiteY25" fmla="*/ 605962 h 1141070"/>
                <a:gd name="connsiteX26" fmla="*/ 1037379 w 1436543"/>
                <a:gd name="connsiteY26" fmla="*/ 626020 h 1141070"/>
                <a:gd name="connsiteX27" fmla="*/ 1037363 w 1436543"/>
                <a:gd name="connsiteY27" fmla="*/ 628610 h 1141070"/>
                <a:gd name="connsiteX28" fmla="*/ 1037046 w 1436543"/>
                <a:gd name="connsiteY28" fmla="*/ 627277 h 1141070"/>
                <a:gd name="connsiteX29" fmla="*/ 1039018 w 1436543"/>
                <a:gd name="connsiteY29" fmla="*/ 797392 h 1141070"/>
                <a:gd name="connsiteX30" fmla="*/ 1054159 w 1436543"/>
                <a:gd name="connsiteY30" fmla="*/ 827573 h 1141070"/>
                <a:gd name="connsiteX31" fmla="*/ 1342965 w 1436543"/>
                <a:gd name="connsiteY31" fmla="*/ 992238 h 1141070"/>
                <a:gd name="connsiteX32" fmla="*/ 1343068 w 1436543"/>
                <a:gd name="connsiteY32" fmla="*/ 992258 h 1141070"/>
                <a:gd name="connsiteX33" fmla="*/ 1344215 w 1436543"/>
                <a:gd name="connsiteY33" fmla="*/ 996754 h 1141070"/>
                <a:gd name="connsiteX34" fmla="*/ 1330734 w 1436543"/>
                <a:gd name="connsiteY34" fmla="*/ 1014468 h 1141070"/>
                <a:gd name="connsiteX35" fmla="*/ 1238815 w 1436543"/>
                <a:gd name="connsiteY35" fmla="*/ 1067539 h 1141070"/>
                <a:gd name="connsiteX36" fmla="*/ 1238433 w 1436543"/>
                <a:gd name="connsiteY36" fmla="*/ 1115436 h 1141070"/>
                <a:gd name="connsiteX37" fmla="*/ 1270298 w 1436543"/>
                <a:gd name="connsiteY37"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84058 w 1436543"/>
                <a:gd name="connsiteY20" fmla="*/ 92635 h 1141070"/>
                <a:gd name="connsiteX21" fmla="*/ 83306 w 1436543"/>
                <a:gd name="connsiteY21" fmla="*/ 90445 h 1141070"/>
                <a:gd name="connsiteX22" fmla="*/ 83323 w 1436543"/>
                <a:gd name="connsiteY22" fmla="*/ 84389 h 1141070"/>
                <a:gd name="connsiteX23" fmla="*/ 185425 w 1436543"/>
                <a:gd name="connsiteY23" fmla="*/ 123102 h 1141070"/>
                <a:gd name="connsiteX24" fmla="*/ 1025799 w 1436543"/>
                <a:gd name="connsiteY24" fmla="*/ 605962 h 1141070"/>
                <a:gd name="connsiteX25" fmla="*/ 1037379 w 1436543"/>
                <a:gd name="connsiteY25" fmla="*/ 626020 h 1141070"/>
                <a:gd name="connsiteX26" fmla="*/ 1037363 w 1436543"/>
                <a:gd name="connsiteY26" fmla="*/ 628610 h 1141070"/>
                <a:gd name="connsiteX27" fmla="*/ 1037046 w 1436543"/>
                <a:gd name="connsiteY27" fmla="*/ 627277 h 1141070"/>
                <a:gd name="connsiteX28" fmla="*/ 1039018 w 1436543"/>
                <a:gd name="connsiteY28" fmla="*/ 797392 h 1141070"/>
                <a:gd name="connsiteX29" fmla="*/ 1054159 w 1436543"/>
                <a:gd name="connsiteY29" fmla="*/ 827573 h 1141070"/>
                <a:gd name="connsiteX30" fmla="*/ 1342965 w 1436543"/>
                <a:gd name="connsiteY30" fmla="*/ 992238 h 1141070"/>
                <a:gd name="connsiteX31" fmla="*/ 1343068 w 1436543"/>
                <a:gd name="connsiteY31" fmla="*/ 992258 h 1141070"/>
                <a:gd name="connsiteX32" fmla="*/ 1344215 w 1436543"/>
                <a:gd name="connsiteY32" fmla="*/ 996754 h 1141070"/>
                <a:gd name="connsiteX33" fmla="*/ 1330734 w 1436543"/>
                <a:gd name="connsiteY33" fmla="*/ 1014468 h 1141070"/>
                <a:gd name="connsiteX34" fmla="*/ 1238815 w 1436543"/>
                <a:gd name="connsiteY34" fmla="*/ 1067539 h 1141070"/>
                <a:gd name="connsiteX35" fmla="*/ 1238433 w 1436543"/>
                <a:gd name="connsiteY35" fmla="*/ 1115436 h 1141070"/>
                <a:gd name="connsiteX36" fmla="*/ 1270298 w 1436543"/>
                <a:gd name="connsiteY36"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84058 w 1436543"/>
                <a:gd name="connsiteY20" fmla="*/ 92635 h 1141070"/>
                <a:gd name="connsiteX21" fmla="*/ 83306 w 1436543"/>
                <a:gd name="connsiteY21" fmla="*/ 90445 h 1141070"/>
                <a:gd name="connsiteX22" fmla="*/ 185425 w 1436543"/>
                <a:gd name="connsiteY22" fmla="*/ 123102 h 1141070"/>
                <a:gd name="connsiteX23" fmla="*/ 1025799 w 1436543"/>
                <a:gd name="connsiteY23" fmla="*/ 605962 h 1141070"/>
                <a:gd name="connsiteX24" fmla="*/ 1037379 w 1436543"/>
                <a:gd name="connsiteY24" fmla="*/ 626020 h 1141070"/>
                <a:gd name="connsiteX25" fmla="*/ 1037363 w 1436543"/>
                <a:gd name="connsiteY25" fmla="*/ 628610 h 1141070"/>
                <a:gd name="connsiteX26" fmla="*/ 1037046 w 1436543"/>
                <a:gd name="connsiteY26" fmla="*/ 627277 h 1141070"/>
                <a:gd name="connsiteX27" fmla="*/ 1039018 w 1436543"/>
                <a:gd name="connsiteY27" fmla="*/ 797392 h 1141070"/>
                <a:gd name="connsiteX28" fmla="*/ 1054159 w 1436543"/>
                <a:gd name="connsiteY28" fmla="*/ 827573 h 1141070"/>
                <a:gd name="connsiteX29" fmla="*/ 1342965 w 1436543"/>
                <a:gd name="connsiteY29" fmla="*/ 992238 h 1141070"/>
                <a:gd name="connsiteX30" fmla="*/ 1343068 w 1436543"/>
                <a:gd name="connsiteY30" fmla="*/ 992258 h 1141070"/>
                <a:gd name="connsiteX31" fmla="*/ 1344215 w 1436543"/>
                <a:gd name="connsiteY31" fmla="*/ 996754 h 1141070"/>
                <a:gd name="connsiteX32" fmla="*/ 1330734 w 1436543"/>
                <a:gd name="connsiteY32" fmla="*/ 1014468 h 1141070"/>
                <a:gd name="connsiteX33" fmla="*/ 1238815 w 1436543"/>
                <a:gd name="connsiteY33" fmla="*/ 1067539 h 1141070"/>
                <a:gd name="connsiteX34" fmla="*/ 1238433 w 1436543"/>
                <a:gd name="connsiteY34" fmla="*/ 1115436 h 1141070"/>
                <a:gd name="connsiteX35" fmla="*/ 1270298 w 1436543"/>
                <a:gd name="connsiteY35"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84058 w 1436543"/>
                <a:gd name="connsiteY20" fmla="*/ 92635 h 1141070"/>
                <a:gd name="connsiteX21" fmla="*/ 185425 w 1436543"/>
                <a:gd name="connsiteY21" fmla="*/ 123102 h 1141070"/>
                <a:gd name="connsiteX22" fmla="*/ 1025799 w 1436543"/>
                <a:gd name="connsiteY22" fmla="*/ 605962 h 1141070"/>
                <a:gd name="connsiteX23" fmla="*/ 1037379 w 1436543"/>
                <a:gd name="connsiteY23" fmla="*/ 626020 h 1141070"/>
                <a:gd name="connsiteX24" fmla="*/ 1037363 w 1436543"/>
                <a:gd name="connsiteY24" fmla="*/ 628610 h 1141070"/>
                <a:gd name="connsiteX25" fmla="*/ 1037046 w 1436543"/>
                <a:gd name="connsiteY25" fmla="*/ 627277 h 1141070"/>
                <a:gd name="connsiteX26" fmla="*/ 1039018 w 1436543"/>
                <a:gd name="connsiteY26" fmla="*/ 797392 h 1141070"/>
                <a:gd name="connsiteX27" fmla="*/ 1054159 w 1436543"/>
                <a:gd name="connsiteY27" fmla="*/ 827573 h 1141070"/>
                <a:gd name="connsiteX28" fmla="*/ 1342965 w 1436543"/>
                <a:gd name="connsiteY28" fmla="*/ 992238 h 1141070"/>
                <a:gd name="connsiteX29" fmla="*/ 1343068 w 1436543"/>
                <a:gd name="connsiteY29" fmla="*/ 992258 h 1141070"/>
                <a:gd name="connsiteX30" fmla="*/ 1344215 w 1436543"/>
                <a:gd name="connsiteY30" fmla="*/ 996754 h 1141070"/>
                <a:gd name="connsiteX31" fmla="*/ 1330734 w 1436543"/>
                <a:gd name="connsiteY31" fmla="*/ 1014468 h 1141070"/>
                <a:gd name="connsiteX32" fmla="*/ 1238815 w 1436543"/>
                <a:gd name="connsiteY32" fmla="*/ 1067539 h 1141070"/>
                <a:gd name="connsiteX33" fmla="*/ 1238433 w 1436543"/>
                <a:gd name="connsiteY33" fmla="*/ 1115436 h 1141070"/>
                <a:gd name="connsiteX34" fmla="*/ 1270298 w 1436543"/>
                <a:gd name="connsiteY34"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84057 w 1436543"/>
                <a:gd name="connsiteY19" fmla="*/ 198580 h 1141070"/>
                <a:gd name="connsiteX20" fmla="*/ 185425 w 1436543"/>
                <a:gd name="connsiteY20" fmla="*/ 123102 h 1141070"/>
                <a:gd name="connsiteX21" fmla="*/ 1025799 w 1436543"/>
                <a:gd name="connsiteY21" fmla="*/ 605962 h 1141070"/>
                <a:gd name="connsiteX22" fmla="*/ 1037379 w 1436543"/>
                <a:gd name="connsiteY22" fmla="*/ 626020 h 1141070"/>
                <a:gd name="connsiteX23" fmla="*/ 1037363 w 1436543"/>
                <a:gd name="connsiteY23" fmla="*/ 628610 h 1141070"/>
                <a:gd name="connsiteX24" fmla="*/ 1037046 w 1436543"/>
                <a:gd name="connsiteY24" fmla="*/ 627277 h 1141070"/>
                <a:gd name="connsiteX25" fmla="*/ 1039018 w 1436543"/>
                <a:gd name="connsiteY25" fmla="*/ 797392 h 1141070"/>
                <a:gd name="connsiteX26" fmla="*/ 1054159 w 1436543"/>
                <a:gd name="connsiteY26" fmla="*/ 827573 h 1141070"/>
                <a:gd name="connsiteX27" fmla="*/ 1342965 w 1436543"/>
                <a:gd name="connsiteY27" fmla="*/ 992238 h 1141070"/>
                <a:gd name="connsiteX28" fmla="*/ 1343068 w 1436543"/>
                <a:gd name="connsiteY28" fmla="*/ 992258 h 1141070"/>
                <a:gd name="connsiteX29" fmla="*/ 1344215 w 1436543"/>
                <a:gd name="connsiteY29" fmla="*/ 996754 h 1141070"/>
                <a:gd name="connsiteX30" fmla="*/ 1330734 w 1436543"/>
                <a:gd name="connsiteY30" fmla="*/ 1014468 h 1141070"/>
                <a:gd name="connsiteX31" fmla="*/ 1238815 w 1436543"/>
                <a:gd name="connsiteY31" fmla="*/ 1067539 h 1141070"/>
                <a:gd name="connsiteX32" fmla="*/ 1238433 w 1436543"/>
                <a:gd name="connsiteY32" fmla="*/ 1115436 h 1141070"/>
                <a:gd name="connsiteX33" fmla="*/ 1270298 w 1436543"/>
                <a:gd name="connsiteY33" fmla="*/ 1140971 h 1141070"/>
                <a:gd name="connsiteX0" fmla="*/ 1270298 w 1436543"/>
                <a:gd name="connsiteY0" fmla="*/ 1140971 h 1141070"/>
                <a:gd name="connsiteX1" fmla="*/ 1280105 w 1436543"/>
                <a:gd name="connsiteY1" fmla="*/ 1139056 h 1141070"/>
                <a:gd name="connsiteX2" fmla="*/ 1380208 w 1436543"/>
                <a:gd name="connsiteY2" fmla="*/ 1082090 h 1141070"/>
                <a:gd name="connsiteX3" fmla="*/ 1423171 w 1436543"/>
                <a:gd name="connsiteY3" fmla="*/ 1044129 h 1141070"/>
                <a:gd name="connsiteX4" fmla="*/ 1436543 w 1436543"/>
                <a:gd name="connsiteY4" fmla="*/ 1000649 h 1141070"/>
                <a:gd name="connsiteX5" fmla="*/ 1424655 w 1436543"/>
                <a:gd name="connsiteY5" fmla="*/ 961029 h 1141070"/>
                <a:gd name="connsiteX6" fmla="*/ 1400965 w 1436543"/>
                <a:gd name="connsiteY6" fmla="*/ 933798 h 1141070"/>
                <a:gd name="connsiteX7" fmla="*/ 1121192 w 1436543"/>
                <a:gd name="connsiteY7" fmla="*/ 770682 h 1141070"/>
                <a:gd name="connsiteX8" fmla="*/ 1119801 w 1436543"/>
                <a:gd name="connsiteY8" fmla="*/ 625242 h 1141070"/>
                <a:gd name="connsiteX9" fmla="*/ 1118773 w 1436543"/>
                <a:gd name="connsiteY9" fmla="*/ 613703 h 1141070"/>
                <a:gd name="connsiteX10" fmla="*/ 1106280 w 1436543"/>
                <a:gd name="connsiteY10" fmla="*/ 572868 h 1141070"/>
                <a:gd name="connsiteX11" fmla="*/ 1067673 w 1436543"/>
                <a:gd name="connsiteY11" fmla="*/ 534977 h 1141070"/>
                <a:gd name="connsiteX12" fmla="*/ 221143 w 1436543"/>
                <a:gd name="connsiteY12" fmla="*/ 49284 h 1141070"/>
                <a:gd name="connsiteX13" fmla="*/ 43540 w 1436543"/>
                <a:gd name="connsiteY13" fmla="*/ 0 h 1141070"/>
                <a:gd name="connsiteX14" fmla="*/ 14422 w 1436543"/>
                <a:gd name="connsiteY14" fmla="*/ 31236 h 1141070"/>
                <a:gd name="connsiteX15" fmla="*/ 911 w 1436543"/>
                <a:gd name="connsiteY15" fmla="*/ 83617 h 1141070"/>
                <a:gd name="connsiteX16" fmla="*/ 1629 w 1436543"/>
                <a:gd name="connsiteY16" fmla="*/ 198580 h 1141070"/>
                <a:gd name="connsiteX17" fmla="*/ 4867 w 1436543"/>
                <a:gd name="connsiteY17" fmla="*/ 208013 h 1141070"/>
                <a:gd name="connsiteX18" fmla="*/ 42843 w 1436543"/>
                <a:gd name="connsiteY18" fmla="*/ 222815 h 1141070"/>
                <a:gd name="connsiteX19" fmla="*/ 185425 w 1436543"/>
                <a:gd name="connsiteY19" fmla="*/ 123102 h 1141070"/>
                <a:gd name="connsiteX20" fmla="*/ 1025799 w 1436543"/>
                <a:gd name="connsiteY20" fmla="*/ 605962 h 1141070"/>
                <a:gd name="connsiteX21" fmla="*/ 1037379 w 1436543"/>
                <a:gd name="connsiteY21" fmla="*/ 626020 h 1141070"/>
                <a:gd name="connsiteX22" fmla="*/ 1037363 w 1436543"/>
                <a:gd name="connsiteY22" fmla="*/ 628610 h 1141070"/>
                <a:gd name="connsiteX23" fmla="*/ 1037046 w 1436543"/>
                <a:gd name="connsiteY23" fmla="*/ 627277 h 1141070"/>
                <a:gd name="connsiteX24" fmla="*/ 1039018 w 1436543"/>
                <a:gd name="connsiteY24" fmla="*/ 797392 h 1141070"/>
                <a:gd name="connsiteX25" fmla="*/ 1054159 w 1436543"/>
                <a:gd name="connsiteY25" fmla="*/ 827573 h 1141070"/>
                <a:gd name="connsiteX26" fmla="*/ 1342965 w 1436543"/>
                <a:gd name="connsiteY26" fmla="*/ 992238 h 1141070"/>
                <a:gd name="connsiteX27" fmla="*/ 1343068 w 1436543"/>
                <a:gd name="connsiteY27" fmla="*/ 992258 h 1141070"/>
                <a:gd name="connsiteX28" fmla="*/ 1344215 w 1436543"/>
                <a:gd name="connsiteY28" fmla="*/ 996754 h 1141070"/>
                <a:gd name="connsiteX29" fmla="*/ 1330734 w 1436543"/>
                <a:gd name="connsiteY29" fmla="*/ 1014468 h 1141070"/>
                <a:gd name="connsiteX30" fmla="*/ 1238815 w 1436543"/>
                <a:gd name="connsiteY30" fmla="*/ 1067539 h 1141070"/>
                <a:gd name="connsiteX31" fmla="*/ 1238433 w 1436543"/>
                <a:gd name="connsiteY31" fmla="*/ 1115436 h 1141070"/>
                <a:gd name="connsiteX32" fmla="*/ 1270298 w 1436543"/>
                <a:gd name="connsiteY32" fmla="*/ 1140971 h 1141070"/>
                <a:gd name="connsiteX0" fmla="*/ 1279939 w 1446184"/>
                <a:gd name="connsiteY0" fmla="*/ 1140971 h 1141070"/>
                <a:gd name="connsiteX1" fmla="*/ 1289746 w 1446184"/>
                <a:gd name="connsiteY1" fmla="*/ 1139056 h 1141070"/>
                <a:gd name="connsiteX2" fmla="*/ 1389849 w 1446184"/>
                <a:gd name="connsiteY2" fmla="*/ 1082090 h 1141070"/>
                <a:gd name="connsiteX3" fmla="*/ 1432812 w 1446184"/>
                <a:gd name="connsiteY3" fmla="*/ 1044129 h 1141070"/>
                <a:gd name="connsiteX4" fmla="*/ 1446184 w 1446184"/>
                <a:gd name="connsiteY4" fmla="*/ 1000649 h 1141070"/>
                <a:gd name="connsiteX5" fmla="*/ 1434296 w 1446184"/>
                <a:gd name="connsiteY5" fmla="*/ 961029 h 1141070"/>
                <a:gd name="connsiteX6" fmla="*/ 1410606 w 1446184"/>
                <a:gd name="connsiteY6" fmla="*/ 933798 h 1141070"/>
                <a:gd name="connsiteX7" fmla="*/ 1130833 w 1446184"/>
                <a:gd name="connsiteY7" fmla="*/ 770682 h 1141070"/>
                <a:gd name="connsiteX8" fmla="*/ 1129442 w 1446184"/>
                <a:gd name="connsiteY8" fmla="*/ 625242 h 1141070"/>
                <a:gd name="connsiteX9" fmla="*/ 1128414 w 1446184"/>
                <a:gd name="connsiteY9" fmla="*/ 613703 h 1141070"/>
                <a:gd name="connsiteX10" fmla="*/ 1115921 w 1446184"/>
                <a:gd name="connsiteY10" fmla="*/ 572868 h 1141070"/>
                <a:gd name="connsiteX11" fmla="*/ 1077314 w 1446184"/>
                <a:gd name="connsiteY11" fmla="*/ 534977 h 1141070"/>
                <a:gd name="connsiteX12" fmla="*/ 230784 w 1446184"/>
                <a:gd name="connsiteY12" fmla="*/ 49284 h 1141070"/>
                <a:gd name="connsiteX13" fmla="*/ 53181 w 1446184"/>
                <a:gd name="connsiteY13" fmla="*/ 0 h 1141070"/>
                <a:gd name="connsiteX14" fmla="*/ 24063 w 1446184"/>
                <a:gd name="connsiteY14" fmla="*/ 31236 h 1141070"/>
                <a:gd name="connsiteX15" fmla="*/ 10552 w 1446184"/>
                <a:gd name="connsiteY15" fmla="*/ 83617 h 1141070"/>
                <a:gd name="connsiteX16" fmla="*/ 11270 w 1446184"/>
                <a:gd name="connsiteY16" fmla="*/ 198580 h 1141070"/>
                <a:gd name="connsiteX17" fmla="*/ 14508 w 1446184"/>
                <a:gd name="connsiteY17" fmla="*/ 208013 h 1141070"/>
                <a:gd name="connsiteX18" fmla="*/ 195066 w 1446184"/>
                <a:gd name="connsiteY18" fmla="*/ 123102 h 1141070"/>
                <a:gd name="connsiteX19" fmla="*/ 1035440 w 1446184"/>
                <a:gd name="connsiteY19" fmla="*/ 605962 h 1141070"/>
                <a:gd name="connsiteX20" fmla="*/ 1047020 w 1446184"/>
                <a:gd name="connsiteY20" fmla="*/ 626020 h 1141070"/>
                <a:gd name="connsiteX21" fmla="*/ 1047004 w 1446184"/>
                <a:gd name="connsiteY21" fmla="*/ 628610 h 1141070"/>
                <a:gd name="connsiteX22" fmla="*/ 1046687 w 1446184"/>
                <a:gd name="connsiteY22" fmla="*/ 627277 h 1141070"/>
                <a:gd name="connsiteX23" fmla="*/ 1048659 w 1446184"/>
                <a:gd name="connsiteY23" fmla="*/ 797392 h 1141070"/>
                <a:gd name="connsiteX24" fmla="*/ 1063800 w 1446184"/>
                <a:gd name="connsiteY24" fmla="*/ 827573 h 1141070"/>
                <a:gd name="connsiteX25" fmla="*/ 1352606 w 1446184"/>
                <a:gd name="connsiteY25" fmla="*/ 992238 h 1141070"/>
                <a:gd name="connsiteX26" fmla="*/ 1352709 w 1446184"/>
                <a:gd name="connsiteY26" fmla="*/ 992258 h 1141070"/>
                <a:gd name="connsiteX27" fmla="*/ 1353856 w 1446184"/>
                <a:gd name="connsiteY27" fmla="*/ 996754 h 1141070"/>
                <a:gd name="connsiteX28" fmla="*/ 1340375 w 1446184"/>
                <a:gd name="connsiteY28" fmla="*/ 1014468 h 1141070"/>
                <a:gd name="connsiteX29" fmla="*/ 1248456 w 1446184"/>
                <a:gd name="connsiteY29" fmla="*/ 1067539 h 1141070"/>
                <a:gd name="connsiteX30" fmla="*/ 1248074 w 1446184"/>
                <a:gd name="connsiteY30" fmla="*/ 1115436 h 1141070"/>
                <a:gd name="connsiteX31" fmla="*/ 1279939 w 1446184"/>
                <a:gd name="connsiteY31" fmla="*/ 1140971 h 1141070"/>
                <a:gd name="connsiteX0" fmla="*/ 1270299 w 1436544"/>
                <a:gd name="connsiteY0" fmla="*/ 1140971 h 1141070"/>
                <a:gd name="connsiteX1" fmla="*/ 1280106 w 1436544"/>
                <a:gd name="connsiteY1" fmla="*/ 1139056 h 1141070"/>
                <a:gd name="connsiteX2" fmla="*/ 1380209 w 1436544"/>
                <a:gd name="connsiteY2" fmla="*/ 1082090 h 1141070"/>
                <a:gd name="connsiteX3" fmla="*/ 1423172 w 1436544"/>
                <a:gd name="connsiteY3" fmla="*/ 1044129 h 1141070"/>
                <a:gd name="connsiteX4" fmla="*/ 1436544 w 1436544"/>
                <a:gd name="connsiteY4" fmla="*/ 1000649 h 1141070"/>
                <a:gd name="connsiteX5" fmla="*/ 1424656 w 1436544"/>
                <a:gd name="connsiteY5" fmla="*/ 961029 h 1141070"/>
                <a:gd name="connsiteX6" fmla="*/ 1400966 w 1436544"/>
                <a:gd name="connsiteY6" fmla="*/ 933798 h 1141070"/>
                <a:gd name="connsiteX7" fmla="*/ 1121193 w 1436544"/>
                <a:gd name="connsiteY7" fmla="*/ 770682 h 1141070"/>
                <a:gd name="connsiteX8" fmla="*/ 1119802 w 1436544"/>
                <a:gd name="connsiteY8" fmla="*/ 625242 h 1141070"/>
                <a:gd name="connsiteX9" fmla="*/ 1118774 w 1436544"/>
                <a:gd name="connsiteY9" fmla="*/ 613703 h 1141070"/>
                <a:gd name="connsiteX10" fmla="*/ 1106281 w 1436544"/>
                <a:gd name="connsiteY10" fmla="*/ 572868 h 1141070"/>
                <a:gd name="connsiteX11" fmla="*/ 1067674 w 1436544"/>
                <a:gd name="connsiteY11" fmla="*/ 534977 h 1141070"/>
                <a:gd name="connsiteX12" fmla="*/ 221144 w 1436544"/>
                <a:gd name="connsiteY12" fmla="*/ 49284 h 1141070"/>
                <a:gd name="connsiteX13" fmla="*/ 43541 w 1436544"/>
                <a:gd name="connsiteY13" fmla="*/ 0 h 1141070"/>
                <a:gd name="connsiteX14" fmla="*/ 14423 w 1436544"/>
                <a:gd name="connsiteY14" fmla="*/ 31236 h 1141070"/>
                <a:gd name="connsiteX15" fmla="*/ 912 w 1436544"/>
                <a:gd name="connsiteY15" fmla="*/ 83617 h 1141070"/>
                <a:gd name="connsiteX16" fmla="*/ 1630 w 1436544"/>
                <a:gd name="connsiteY16" fmla="*/ 198580 h 1141070"/>
                <a:gd name="connsiteX17" fmla="*/ 185426 w 1436544"/>
                <a:gd name="connsiteY17" fmla="*/ 123102 h 1141070"/>
                <a:gd name="connsiteX18" fmla="*/ 1025800 w 1436544"/>
                <a:gd name="connsiteY18" fmla="*/ 605962 h 1141070"/>
                <a:gd name="connsiteX19" fmla="*/ 1037380 w 1436544"/>
                <a:gd name="connsiteY19" fmla="*/ 626020 h 1141070"/>
                <a:gd name="connsiteX20" fmla="*/ 1037364 w 1436544"/>
                <a:gd name="connsiteY20" fmla="*/ 628610 h 1141070"/>
                <a:gd name="connsiteX21" fmla="*/ 1037047 w 1436544"/>
                <a:gd name="connsiteY21" fmla="*/ 627277 h 1141070"/>
                <a:gd name="connsiteX22" fmla="*/ 1039019 w 1436544"/>
                <a:gd name="connsiteY22" fmla="*/ 797392 h 1141070"/>
                <a:gd name="connsiteX23" fmla="*/ 1054160 w 1436544"/>
                <a:gd name="connsiteY23" fmla="*/ 827573 h 1141070"/>
                <a:gd name="connsiteX24" fmla="*/ 1342966 w 1436544"/>
                <a:gd name="connsiteY24" fmla="*/ 992238 h 1141070"/>
                <a:gd name="connsiteX25" fmla="*/ 1343069 w 1436544"/>
                <a:gd name="connsiteY25" fmla="*/ 992258 h 1141070"/>
                <a:gd name="connsiteX26" fmla="*/ 1344216 w 1436544"/>
                <a:gd name="connsiteY26" fmla="*/ 996754 h 1141070"/>
                <a:gd name="connsiteX27" fmla="*/ 1330735 w 1436544"/>
                <a:gd name="connsiteY27" fmla="*/ 1014468 h 1141070"/>
                <a:gd name="connsiteX28" fmla="*/ 1238816 w 1436544"/>
                <a:gd name="connsiteY28" fmla="*/ 1067539 h 1141070"/>
                <a:gd name="connsiteX29" fmla="*/ 1238434 w 1436544"/>
                <a:gd name="connsiteY29" fmla="*/ 1115436 h 1141070"/>
                <a:gd name="connsiteX30" fmla="*/ 1270299 w 1436544"/>
                <a:gd name="connsiteY30" fmla="*/ 1140971 h 1141070"/>
                <a:gd name="connsiteX0" fmla="*/ 1269387 w 1435632"/>
                <a:gd name="connsiteY0" fmla="*/ 1140971 h 1141070"/>
                <a:gd name="connsiteX1" fmla="*/ 1279194 w 1435632"/>
                <a:gd name="connsiteY1" fmla="*/ 1139056 h 1141070"/>
                <a:gd name="connsiteX2" fmla="*/ 1379297 w 1435632"/>
                <a:gd name="connsiteY2" fmla="*/ 1082090 h 1141070"/>
                <a:gd name="connsiteX3" fmla="*/ 1422260 w 1435632"/>
                <a:gd name="connsiteY3" fmla="*/ 1044129 h 1141070"/>
                <a:gd name="connsiteX4" fmla="*/ 1435632 w 1435632"/>
                <a:gd name="connsiteY4" fmla="*/ 1000649 h 1141070"/>
                <a:gd name="connsiteX5" fmla="*/ 1423744 w 1435632"/>
                <a:gd name="connsiteY5" fmla="*/ 961029 h 1141070"/>
                <a:gd name="connsiteX6" fmla="*/ 1400054 w 1435632"/>
                <a:gd name="connsiteY6" fmla="*/ 933798 h 1141070"/>
                <a:gd name="connsiteX7" fmla="*/ 1120281 w 1435632"/>
                <a:gd name="connsiteY7" fmla="*/ 770682 h 1141070"/>
                <a:gd name="connsiteX8" fmla="*/ 1118890 w 1435632"/>
                <a:gd name="connsiteY8" fmla="*/ 625242 h 1141070"/>
                <a:gd name="connsiteX9" fmla="*/ 1117862 w 1435632"/>
                <a:gd name="connsiteY9" fmla="*/ 613703 h 1141070"/>
                <a:gd name="connsiteX10" fmla="*/ 1105369 w 1435632"/>
                <a:gd name="connsiteY10" fmla="*/ 572868 h 1141070"/>
                <a:gd name="connsiteX11" fmla="*/ 1066762 w 1435632"/>
                <a:gd name="connsiteY11" fmla="*/ 534977 h 1141070"/>
                <a:gd name="connsiteX12" fmla="*/ 220232 w 1435632"/>
                <a:gd name="connsiteY12" fmla="*/ 49284 h 1141070"/>
                <a:gd name="connsiteX13" fmla="*/ 42629 w 1435632"/>
                <a:gd name="connsiteY13" fmla="*/ 0 h 1141070"/>
                <a:gd name="connsiteX14" fmla="*/ 13511 w 1435632"/>
                <a:gd name="connsiteY14" fmla="*/ 31236 h 1141070"/>
                <a:gd name="connsiteX15" fmla="*/ 0 w 1435632"/>
                <a:gd name="connsiteY15" fmla="*/ 83617 h 1141070"/>
                <a:gd name="connsiteX16" fmla="*/ 184514 w 1435632"/>
                <a:gd name="connsiteY16" fmla="*/ 123102 h 1141070"/>
                <a:gd name="connsiteX17" fmla="*/ 1024888 w 1435632"/>
                <a:gd name="connsiteY17" fmla="*/ 605962 h 1141070"/>
                <a:gd name="connsiteX18" fmla="*/ 1036468 w 1435632"/>
                <a:gd name="connsiteY18" fmla="*/ 626020 h 1141070"/>
                <a:gd name="connsiteX19" fmla="*/ 1036452 w 1435632"/>
                <a:gd name="connsiteY19" fmla="*/ 628610 h 1141070"/>
                <a:gd name="connsiteX20" fmla="*/ 1036135 w 1435632"/>
                <a:gd name="connsiteY20" fmla="*/ 627277 h 1141070"/>
                <a:gd name="connsiteX21" fmla="*/ 1038107 w 1435632"/>
                <a:gd name="connsiteY21" fmla="*/ 797392 h 1141070"/>
                <a:gd name="connsiteX22" fmla="*/ 1053248 w 1435632"/>
                <a:gd name="connsiteY22" fmla="*/ 827573 h 1141070"/>
                <a:gd name="connsiteX23" fmla="*/ 1342054 w 1435632"/>
                <a:gd name="connsiteY23" fmla="*/ 992238 h 1141070"/>
                <a:gd name="connsiteX24" fmla="*/ 1342157 w 1435632"/>
                <a:gd name="connsiteY24" fmla="*/ 992258 h 1141070"/>
                <a:gd name="connsiteX25" fmla="*/ 1343304 w 1435632"/>
                <a:gd name="connsiteY25" fmla="*/ 996754 h 1141070"/>
                <a:gd name="connsiteX26" fmla="*/ 1329823 w 1435632"/>
                <a:gd name="connsiteY26" fmla="*/ 1014468 h 1141070"/>
                <a:gd name="connsiteX27" fmla="*/ 1237904 w 1435632"/>
                <a:gd name="connsiteY27" fmla="*/ 1067539 h 1141070"/>
                <a:gd name="connsiteX28" fmla="*/ 1237522 w 1435632"/>
                <a:gd name="connsiteY28" fmla="*/ 1115436 h 1141070"/>
                <a:gd name="connsiteX29" fmla="*/ 1269387 w 1435632"/>
                <a:gd name="connsiteY29" fmla="*/ 1140971 h 1141070"/>
                <a:gd name="connsiteX0" fmla="*/ 1262800 w 1429045"/>
                <a:gd name="connsiteY0" fmla="*/ 1140971 h 1141070"/>
                <a:gd name="connsiteX1" fmla="*/ 1272607 w 1429045"/>
                <a:gd name="connsiteY1" fmla="*/ 1139056 h 1141070"/>
                <a:gd name="connsiteX2" fmla="*/ 1372710 w 1429045"/>
                <a:gd name="connsiteY2" fmla="*/ 1082090 h 1141070"/>
                <a:gd name="connsiteX3" fmla="*/ 1415673 w 1429045"/>
                <a:gd name="connsiteY3" fmla="*/ 1044129 h 1141070"/>
                <a:gd name="connsiteX4" fmla="*/ 1429045 w 1429045"/>
                <a:gd name="connsiteY4" fmla="*/ 1000649 h 1141070"/>
                <a:gd name="connsiteX5" fmla="*/ 1417157 w 1429045"/>
                <a:gd name="connsiteY5" fmla="*/ 961029 h 1141070"/>
                <a:gd name="connsiteX6" fmla="*/ 1393467 w 1429045"/>
                <a:gd name="connsiteY6" fmla="*/ 933798 h 1141070"/>
                <a:gd name="connsiteX7" fmla="*/ 1113694 w 1429045"/>
                <a:gd name="connsiteY7" fmla="*/ 770682 h 1141070"/>
                <a:gd name="connsiteX8" fmla="*/ 1112303 w 1429045"/>
                <a:gd name="connsiteY8" fmla="*/ 625242 h 1141070"/>
                <a:gd name="connsiteX9" fmla="*/ 1111275 w 1429045"/>
                <a:gd name="connsiteY9" fmla="*/ 613703 h 1141070"/>
                <a:gd name="connsiteX10" fmla="*/ 1098782 w 1429045"/>
                <a:gd name="connsiteY10" fmla="*/ 572868 h 1141070"/>
                <a:gd name="connsiteX11" fmla="*/ 1060175 w 1429045"/>
                <a:gd name="connsiteY11" fmla="*/ 534977 h 1141070"/>
                <a:gd name="connsiteX12" fmla="*/ 213645 w 1429045"/>
                <a:gd name="connsiteY12" fmla="*/ 49284 h 1141070"/>
                <a:gd name="connsiteX13" fmla="*/ 36042 w 1429045"/>
                <a:gd name="connsiteY13" fmla="*/ 0 h 1141070"/>
                <a:gd name="connsiteX14" fmla="*/ 6924 w 1429045"/>
                <a:gd name="connsiteY14" fmla="*/ 31236 h 1141070"/>
                <a:gd name="connsiteX15" fmla="*/ 177927 w 1429045"/>
                <a:gd name="connsiteY15" fmla="*/ 123102 h 1141070"/>
                <a:gd name="connsiteX16" fmla="*/ 1018301 w 1429045"/>
                <a:gd name="connsiteY16" fmla="*/ 605962 h 1141070"/>
                <a:gd name="connsiteX17" fmla="*/ 1029881 w 1429045"/>
                <a:gd name="connsiteY17" fmla="*/ 626020 h 1141070"/>
                <a:gd name="connsiteX18" fmla="*/ 1029865 w 1429045"/>
                <a:gd name="connsiteY18" fmla="*/ 628610 h 1141070"/>
                <a:gd name="connsiteX19" fmla="*/ 1029548 w 1429045"/>
                <a:gd name="connsiteY19" fmla="*/ 627277 h 1141070"/>
                <a:gd name="connsiteX20" fmla="*/ 1031520 w 1429045"/>
                <a:gd name="connsiteY20" fmla="*/ 797392 h 1141070"/>
                <a:gd name="connsiteX21" fmla="*/ 1046661 w 1429045"/>
                <a:gd name="connsiteY21" fmla="*/ 827573 h 1141070"/>
                <a:gd name="connsiteX22" fmla="*/ 1335467 w 1429045"/>
                <a:gd name="connsiteY22" fmla="*/ 992238 h 1141070"/>
                <a:gd name="connsiteX23" fmla="*/ 1335570 w 1429045"/>
                <a:gd name="connsiteY23" fmla="*/ 992258 h 1141070"/>
                <a:gd name="connsiteX24" fmla="*/ 1336717 w 1429045"/>
                <a:gd name="connsiteY24" fmla="*/ 996754 h 1141070"/>
                <a:gd name="connsiteX25" fmla="*/ 1323236 w 1429045"/>
                <a:gd name="connsiteY25" fmla="*/ 1014468 h 1141070"/>
                <a:gd name="connsiteX26" fmla="*/ 1231317 w 1429045"/>
                <a:gd name="connsiteY26" fmla="*/ 1067539 h 1141070"/>
                <a:gd name="connsiteX27" fmla="*/ 1230935 w 1429045"/>
                <a:gd name="connsiteY27" fmla="*/ 1115436 h 1141070"/>
                <a:gd name="connsiteX28" fmla="*/ 1262800 w 1429045"/>
                <a:gd name="connsiteY28" fmla="*/ 1140971 h 1141070"/>
                <a:gd name="connsiteX0" fmla="*/ 1230140 w 1396385"/>
                <a:gd name="connsiteY0" fmla="*/ 1140971 h 1141070"/>
                <a:gd name="connsiteX1" fmla="*/ 1239947 w 1396385"/>
                <a:gd name="connsiteY1" fmla="*/ 1139056 h 1141070"/>
                <a:gd name="connsiteX2" fmla="*/ 1340050 w 1396385"/>
                <a:gd name="connsiteY2" fmla="*/ 1082090 h 1141070"/>
                <a:gd name="connsiteX3" fmla="*/ 1383013 w 1396385"/>
                <a:gd name="connsiteY3" fmla="*/ 1044129 h 1141070"/>
                <a:gd name="connsiteX4" fmla="*/ 1396385 w 1396385"/>
                <a:gd name="connsiteY4" fmla="*/ 1000649 h 1141070"/>
                <a:gd name="connsiteX5" fmla="*/ 1384497 w 1396385"/>
                <a:gd name="connsiteY5" fmla="*/ 961029 h 1141070"/>
                <a:gd name="connsiteX6" fmla="*/ 1360807 w 1396385"/>
                <a:gd name="connsiteY6" fmla="*/ 933798 h 1141070"/>
                <a:gd name="connsiteX7" fmla="*/ 1081034 w 1396385"/>
                <a:gd name="connsiteY7" fmla="*/ 770682 h 1141070"/>
                <a:gd name="connsiteX8" fmla="*/ 1079643 w 1396385"/>
                <a:gd name="connsiteY8" fmla="*/ 625242 h 1141070"/>
                <a:gd name="connsiteX9" fmla="*/ 1078615 w 1396385"/>
                <a:gd name="connsiteY9" fmla="*/ 613703 h 1141070"/>
                <a:gd name="connsiteX10" fmla="*/ 1066122 w 1396385"/>
                <a:gd name="connsiteY10" fmla="*/ 572868 h 1141070"/>
                <a:gd name="connsiteX11" fmla="*/ 1027515 w 1396385"/>
                <a:gd name="connsiteY11" fmla="*/ 534977 h 1141070"/>
                <a:gd name="connsiteX12" fmla="*/ 180985 w 1396385"/>
                <a:gd name="connsiteY12" fmla="*/ 49284 h 1141070"/>
                <a:gd name="connsiteX13" fmla="*/ 3382 w 1396385"/>
                <a:gd name="connsiteY13" fmla="*/ 0 h 1141070"/>
                <a:gd name="connsiteX14" fmla="*/ 145267 w 1396385"/>
                <a:gd name="connsiteY14" fmla="*/ 123102 h 1141070"/>
                <a:gd name="connsiteX15" fmla="*/ 985641 w 1396385"/>
                <a:gd name="connsiteY15" fmla="*/ 605962 h 1141070"/>
                <a:gd name="connsiteX16" fmla="*/ 997221 w 1396385"/>
                <a:gd name="connsiteY16" fmla="*/ 626020 h 1141070"/>
                <a:gd name="connsiteX17" fmla="*/ 997205 w 1396385"/>
                <a:gd name="connsiteY17" fmla="*/ 628610 h 1141070"/>
                <a:gd name="connsiteX18" fmla="*/ 996888 w 1396385"/>
                <a:gd name="connsiteY18" fmla="*/ 627277 h 1141070"/>
                <a:gd name="connsiteX19" fmla="*/ 998860 w 1396385"/>
                <a:gd name="connsiteY19" fmla="*/ 797392 h 1141070"/>
                <a:gd name="connsiteX20" fmla="*/ 1014001 w 1396385"/>
                <a:gd name="connsiteY20" fmla="*/ 827573 h 1141070"/>
                <a:gd name="connsiteX21" fmla="*/ 1302807 w 1396385"/>
                <a:gd name="connsiteY21" fmla="*/ 992238 h 1141070"/>
                <a:gd name="connsiteX22" fmla="*/ 1302910 w 1396385"/>
                <a:gd name="connsiteY22" fmla="*/ 992258 h 1141070"/>
                <a:gd name="connsiteX23" fmla="*/ 1304057 w 1396385"/>
                <a:gd name="connsiteY23" fmla="*/ 996754 h 1141070"/>
                <a:gd name="connsiteX24" fmla="*/ 1290576 w 1396385"/>
                <a:gd name="connsiteY24" fmla="*/ 1014468 h 1141070"/>
                <a:gd name="connsiteX25" fmla="*/ 1198657 w 1396385"/>
                <a:gd name="connsiteY25" fmla="*/ 1067539 h 1141070"/>
                <a:gd name="connsiteX26" fmla="*/ 1198275 w 1396385"/>
                <a:gd name="connsiteY26" fmla="*/ 1115436 h 1141070"/>
                <a:gd name="connsiteX27" fmla="*/ 1230140 w 1396385"/>
                <a:gd name="connsiteY27" fmla="*/ 1140971 h 1141070"/>
                <a:gd name="connsiteX0" fmla="*/ 1160656 w 1326901"/>
                <a:gd name="connsiteY0" fmla="*/ 1091687 h 1091786"/>
                <a:gd name="connsiteX1" fmla="*/ 1170463 w 1326901"/>
                <a:gd name="connsiteY1" fmla="*/ 1089772 h 1091786"/>
                <a:gd name="connsiteX2" fmla="*/ 1270566 w 1326901"/>
                <a:gd name="connsiteY2" fmla="*/ 1032806 h 1091786"/>
                <a:gd name="connsiteX3" fmla="*/ 1313529 w 1326901"/>
                <a:gd name="connsiteY3" fmla="*/ 994845 h 1091786"/>
                <a:gd name="connsiteX4" fmla="*/ 1326901 w 1326901"/>
                <a:gd name="connsiteY4" fmla="*/ 951365 h 1091786"/>
                <a:gd name="connsiteX5" fmla="*/ 1315013 w 1326901"/>
                <a:gd name="connsiteY5" fmla="*/ 911745 h 1091786"/>
                <a:gd name="connsiteX6" fmla="*/ 1291323 w 1326901"/>
                <a:gd name="connsiteY6" fmla="*/ 884514 h 1091786"/>
                <a:gd name="connsiteX7" fmla="*/ 1011550 w 1326901"/>
                <a:gd name="connsiteY7" fmla="*/ 721398 h 1091786"/>
                <a:gd name="connsiteX8" fmla="*/ 1010159 w 1326901"/>
                <a:gd name="connsiteY8" fmla="*/ 575958 h 1091786"/>
                <a:gd name="connsiteX9" fmla="*/ 1009131 w 1326901"/>
                <a:gd name="connsiteY9" fmla="*/ 564419 h 1091786"/>
                <a:gd name="connsiteX10" fmla="*/ 996638 w 1326901"/>
                <a:gd name="connsiteY10" fmla="*/ 523584 h 1091786"/>
                <a:gd name="connsiteX11" fmla="*/ 958031 w 1326901"/>
                <a:gd name="connsiteY11" fmla="*/ 485693 h 1091786"/>
                <a:gd name="connsiteX12" fmla="*/ 111501 w 1326901"/>
                <a:gd name="connsiteY12" fmla="*/ 0 h 1091786"/>
                <a:gd name="connsiteX13" fmla="*/ 69630 w 1326901"/>
                <a:gd name="connsiteY13" fmla="*/ 24535 h 1091786"/>
                <a:gd name="connsiteX14" fmla="*/ 75783 w 1326901"/>
                <a:gd name="connsiteY14" fmla="*/ 73818 h 1091786"/>
                <a:gd name="connsiteX15" fmla="*/ 916157 w 1326901"/>
                <a:gd name="connsiteY15" fmla="*/ 556678 h 1091786"/>
                <a:gd name="connsiteX16" fmla="*/ 927737 w 1326901"/>
                <a:gd name="connsiteY16" fmla="*/ 576736 h 1091786"/>
                <a:gd name="connsiteX17" fmla="*/ 927721 w 1326901"/>
                <a:gd name="connsiteY17" fmla="*/ 579326 h 1091786"/>
                <a:gd name="connsiteX18" fmla="*/ 927404 w 1326901"/>
                <a:gd name="connsiteY18" fmla="*/ 577993 h 1091786"/>
                <a:gd name="connsiteX19" fmla="*/ 929376 w 1326901"/>
                <a:gd name="connsiteY19" fmla="*/ 748108 h 1091786"/>
                <a:gd name="connsiteX20" fmla="*/ 944517 w 1326901"/>
                <a:gd name="connsiteY20" fmla="*/ 778289 h 1091786"/>
                <a:gd name="connsiteX21" fmla="*/ 1233323 w 1326901"/>
                <a:gd name="connsiteY21" fmla="*/ 942954 h 1091786"/>
                <a:gd name="connsiteX22" fmla="*/ 1233426 w 1326901"/>
                <a:gd name="connsiteY22" fmla="*/ 942974 h 1091786"/>
                <a:gd name="connsiteX23" fmla="*/ 1234573 w 1326901"/>
                <a:gd name="connsiteY23" fmla="*/ 947470 h 1091786"/>
                <a:gd name="connsiteX24" fmla="*/ 1221092 w 1326901"/>
                <a:gd name="connsiteY24" fmla="*/ 965184 h 1091786"/>
                <a:gd name="connsiteX25" fmla="*/ 1129173 w 1326901"/>
                <a:gd name="connsiteY25" fmla="*/ 1018255 h 1091786"/>
                <a:gd name="connsiteX26" fmla="*/ 1128791 w 1326901"/>
                <a:gd name="connsiteY26" fmla="*/ 1066152 h 1091786"/>
                <a:gd name="connsiteX27" fmla="*/ 1160656 w 1326901"/>
                <a:gd name="connsiteY27" fmla="*/ 1091687 h 1091786"/>
                <a:gd name="connsiteX0" fmla="*/ 1160656 w 1326901"/>
                <a:gd name="connsiteY0" fmla="*/ 1091687 h 1091786"/>
                <a:gd name="connsiteX1" fmla="*/ 1170463 w 1326901"/>
                <a:gd name="connsiteY1" fmla="*/ 1089772 h 1091786"/>
                <a:gd name="connsiteX2" fmla="*/ 1270566 w 1326901"/>
                <a:gd name="connsiteY2" fmla="*/ 1032806 h 1091786"/>
                <a:gd name="connsiteX3" fmla="*/ 1313529 w 1326901"/>
                <a:gd name="connsiteY3" fmla="*/ 994845 h 1091786"/>
                <a:gd name="connsiteX4" fmla="*/ 1326901 w 1326901"/>
                <a:gd name="connsiteY4" fmla="*/ 951365 h 1091786"/>
                <a:gd name="connsiteX5" fmla="*/ 1315013 w 1326901"/>
                <a:gd name="connsiteY5" fmla="*/ 911745 h 1091786"/>
                <a:gd name="connsiteX6" fmla="*/ 1291323 w 1326901"/>
                <a:gd name="connsiteY6" fmla="*/ 884514 h 1091786"/>
                <a:gd name="connsiteX7" fmla="*/ 1011550 w 1326901"/>
                <a:gd name="connsiteY7" fmla="*/ 721398 h 1091786"/>
                <a:gd name="connsiteX8" fmla="*/ 1010159 w 1326901"/>
                <a:gd name="connsiteY8" fmla="*/ 575958 h 1091786"/>
                <a:gd name="connsiteX9" fmla="*/ 1009131 w 1326901"/>
                <a:gd name="connsiteY9" fmla="*/ 564419 h 1091786"/>
                <a:gd name="connsiteX10" fmla="*/ 996638 w 1326901"/>
                <a:gd name="connsiteY10" fmla="*/ 523584 h 1091786"/>
                <a:gd name="connsiteX11" fmla="*/ 958031 w 1326901"/>
                <a:gd name="connsiteY11" fmla="*/ 485693 h 1091786"/>
                <a:gd name="connsiteX12" fmla="*/ 111501 w 1326901"/>
                <a:gd name="connsiteY12" fmla="*/ 0 h 1091786"/>
                <a:gd name="connsiteX13" fmla="*/ 69630 w 1326901"/>
                <a:gd name="connsiteY13" fmla="*/ 24535 h 1091786"/>
                <a:gd name="connsiteX14" fmla="*/ 75783 w 1326901"/>
                <a:gd name="connsiteY14" fmla="*/ 73818 h 1091786"/>
                <a:gd name="connsiteX15" fmla="*/ 916157 w 1326901"/>
                <a:gd name="connsiteY15" fmla="*/ 556678 h 1091786"/>
                <a:gd name="connsiteX16" fmla="*/ 927737 w 1326901"/>
                <a:gd name="connsiteY16" fmla="*/ 576736 h 1091786"/>
                <a:gd name="connsiteX17" fmla="*/ 927721 w 1326901"/>
                <a:gd name="connsiteY17" fmla="*/ 579326 h 1091786"/>
                <a:gd name="connsiteX18" fmla="*/ 927404 w 1326901"/>
                <a:gd name="connsiteY18" fmla="*/ 577993 h 1091786"/>
                <a:gd name="connsiteX19" fmla="*/ 929376 w 1326901"/>
                <a:gd name="connsiteY19" fmla="*/ 748108 h 1091786"/>
                <a:gd name="connsiteX20" fmla="*/ 944517 w 1326901"/>
                <a:gd name="connsiteY20" fmla="*/ 778289 h 1091786"/>
                <a:gd name="connsiteX21" fmla="*/ 1233323 w 1326901"/>
                <a:gd name="connsiteY21" fmla="*/ 942954 h 1091786"/>
                <a:gd name="connsiteX22" fmla="*/ 1233426 w 1326901"/>
                <a:gd name="connsiteY22" fmla="*/ 942974 h 1091786"/>
                <a:gd name="connsiteX23" fmla="*/ 1234573 w 1326901"/>
                <a:gd name="connsiteY23" fmla="*/ 947470 h 1091786"/>
                <a:gd name="connsiteX24" fmla="*/ 1221092 w 1326901"/>
                <a:gd name="connsiteY24" fmla="*/ 965184 h 1091786"/>
                <a:gd name="connsiteX25" fmla="*/ 1129173 w 1326901"/>
                <a:gd name="connsiteY25" fmla="*/ 1018255 h 1091786"/>
                <a:gd name="connsiteX26" fmla="*/ 1128791 w 1326901"/>
                <a:gd name="connsiteY26" fmla="*/ 1066152 h 1091786"/>
                <a:gd name="connsiteX27" fmla="*/ 1160656 w 1326901"/>
                <a:gd name="connsiteY27" fmla="*/ 1091687 h 1091786"/>
                <a:gd name="connsiteX0" fmla="*/ 1162377 w 1328622"/>
                <a:gd name="connsiteY0" fmla="*/ 1091687 h 1091786"/>
                <a:gd name="connsiteX1" fmla="*/ 1172184 w 1328622"/>
                <a:gd name="connsiteY1" fmla="*/ 1089772 h 1091786"/>
                <a:gd name="connsiteX2" fmla="*/ 1272287 w 1328622"/>
                <a:gd name="connsiteY2" fmla="*/ 1032806 h 1091786"/>
                <a:gd name="connsiteX3" fmla="*/ 1315250 w 1328622"/>
                <a:gd name="connsiteY3" fmla="*/ 994845 h 1091786"/>
                <a:gd name="connsiteX4" fmla="*/ 1328622 w 1328622"/>
                <a:gd name="connsiteY4" fmla="*/ 951365 h 1091786"/>
                <a:gd name="connsiteX5" fmla="*/ 1316734 w 1328622"/>
                <a:gd name="connsiteY5" fmla="*/ 911745 h 1091786"/>
                <a:gd name="connsiteX6" fmla="*/ 1293044 w 1328622"/>
                <a:gd name="connsiteY6" fmla="*/ 884514 h 1091786"/>
                <a:gd name="connsiteX7" fmla="*/ 1013271 w 1328622"/>
                <a:gd name="connsiteY7" fmla="*/ 721398 h 1091786"/>
                <a:gd name="connsiteX8" fmla="*/ 1011880 w 1328622"/>
                <a:gd name="connsiteY8" fmla="*/ 575958 h 1091786"/>
                <a:gd name="connsiteX9" fmla="*/ 1010852 w 1328622"/>
                <a:gd name="connsiteY9" fmla="*/ 564419 h 1091786"/>
                <a:gd name="connsiteX10" fmla="*/ 998359 w 1328622"/>
                <a:gd name="connsiteY10" fmla="*/ 523584 h 1091786"/>
                <a:gd name="connsiteX11" fmla="*/ 959752 w 1328622"/>
                <a:gd name="connsiteY11" fmla="*/ 485693 h 1091786"/>
                <a:gd name="connsiteX12" fmla="*/ 113222 w 1328622"/>
                <a:gd name="connsiteY12" fmla="*/ 0 h 1091786"/>
                <a:gd name="connsiteX13" fmla="*/ 71351 w 1328622"/>
                <a:gd name="connsiteY13" fmla="*/ 24535 h 1091786"/>
                <a:gd name="connsiteX14" fmla="*/ 77504 w 1328622"/>
                <a:gd name="connsiteY14" fmla="*/ 73818 h 1091786"/>
                <a:gd name="connsiteX15" fmla="*/ 917878 w 1328622"/>
                <a:gd name="connsiteY15" fmla="*/ 556678 h 1091786"/>
                <a:gd name="connsiteX16" fmla="*/ 929458 w 1328622"/>
                <a:gd name="connsiteY16" fmla="*/ 576736 h 1091786"/>
                <a:gd name="connsiteX17" fmla="*/ 929442 w 1328622"/>
                <a:gd name="connsiteY17" fmla="*/ 579326 h 1091786"/>
                <a:gd name="connsiteX18" fmla="*/ 929125 w 1328622"/>
                <a:gd name="connsiteY18" fmla="*/ 577993 h 1091786"/>
                <a:gd name="connsiteX19" fmla="*/ 931097 w 1328622"/>
                <a:gd name="connsiteY19" fmla="*/ 748108 h 1091786"/>
                <a:gd name="connsiteX20" fmla="*/ 946238 w 1328622"/>
                <a:gd name="connsiteY20" fmla="*/ 778289 h 1091786"/>
                <a:gd name="connsiteX21" fmla="*/ 1235044 w 1328622"/>
                <a:gd name="connsiteY21" fmla="*/ 942954 h 1091786"/>
                <a:gd name="connsiteX22" fmla="*/ 1235147 w 1328622"/>
                <a:gd name="connsiteY22" fmla="*/ 942974 h 1091786"/>
                <a:gd name="connsiteX23" fmla="*/ 1236294 w 1328622"/>
                <a:gd name="connsiteY23" fmla="*/ 947470 h 1091786"/>
                <a:gd name="connsiteX24" fmla="*/ 1222813 w 1328622"/>
                <a:gd name="connsiteY24" fmla="*/ 965184 h 1091786"/>
                <a:gd name="connsiteX25" fmla="*/ 1130894 w 1328622"/>
                <a:gd name="connsiteY25" fmla="*/ 1018255 h 1091786"/>
                <a:gd name="connsiteX26" fmla="*/ 1130512 w 1328622"/>
                <a:gd name="connsiteY26" fmla="*/ 1066152 h 1091786"/>
                <a:gd name="connsiteX27" fmla="*/ 1162377 w 1328622"/>
                <a:gd name="connsiteY27" fmla="*/ 1091687 h 1091786"/>
                <a:gd name="connsiteX0" fmla="*/ 1096264 w 1262509"/>
                <a:gd name="connsiteY0" fmla="*/ 1091687 h 1091786"/>
                <a:gd name="connsiteX1" fmla="*/ 1106071 w 1262509"/>
                <a:gd name="connsiteY1" fmla="*/ 1089772 h 1091786"/>
                <a:gd name="connsiteX2" fmla="*/ 1206174 w 1262509"/>
                <a:gd name="connsiteY2" fmla="*/ 1032806 h 1091786"/>
                <a:gd name="connsiteX3" fmla="*/ 1249137 w 1262509"/>
                <a:gd name="connsiteY3" fmla="*/ 994845 h 1091786"/>
                <a:gd name="connsiteX4" fmla="*/ 1262509 w 1262509"/>
                <a:gd name="connsiteY4" fmla="*/ 951365 h 1091786"/>
                <a:gd name="connsiteX5" fmla="*/ 1250621 w 1262509"/>
                <a:gd name="connsiteY5" fmla="*/ 911745 h 1091786"/>
                <a:gd name="connsiteX6" fmla="*/ 1226931 w 1262509"/>
                <a:gd name="connsiteY6" fmla="*/ 884514 h 1091786"/>
                <a:gd name="connsiteX7" fmla="*/ 947158 w 1262509"/>
                <a:gd name="connsiteY7" fmla="*/ 721398 h 1091786"/>
                <a:gd name="connsiteX8" fmla="*/ 945767 w 1262509"/>
                <a:gd name="connsiteY8" fmla="*/ 575958 h 1091786"/>
                <a:gd name="connsiteX9" fmla="*/ 944739 w 1262509"/>
                <a:gd name="connsiteY9" fmla="*/ 564419 h 1091786"/>
                <a:gd name="connsiteX10" fmla="*/ 932246 w 1262509"/>
                <a:gd name="connsiteY10" fmla="*/ 523584 h 1091786"/>
                <a:gd name="connsiteX11" fmla="*/ 893639 w 1262509"/>
                <a:gd name="connsiteY11" fmla="*/ 485693 h 1091786"/>
                <a:gd name="connsiteX12" fmla="*/ 47109 w 1262509"/>
                <a:gd name="connsiteY12" fmla="*/ 0 h 1091786"/>
                <a:gd name="connsiteX13" fmla="*/ 5238 w 1262509"/>
                <a:gd name="connsiteY13" fmla="*/ 24535 h 1091786"/>
                <a:gd name="connsiteX14" fmla="*/ 11391 w 1262509"/>
                <a:gd name="connsiteY14" fmla="*/ 73818 h 1091786"/>
                <a:gd name="connsiteX15" fmla="*/ 851765 w 1262509"/>
                <a:gd name="connsiteY15" fmla="*/ 556678 h 1091786"/>
                <a:gd name="connsiteX16" fmla="*/ 863345 w 1262509"/>
                <a:gd name="connsiteY16" fmla="*/ 576736 h 1091786"/>
                <a:gd name="connsiteX17" fmla="*/ 863329 w 1262509"/>
                <a:gd name="connsiteY17" fmla="*/ 579326 h 1091786"/>
                <a:gd name="connsiteX18" fmla="*/ 863012 w 1262509"/>
                <a:gd name="connsiteY18" fmla="*/ 577993 h 1091786"/>
                <a:gd name="connsiteX19" fmla="*/ 864984 w 1262509"/>
                <a:gd name="connsiteY19" fmla="*/ 748108 h 1091786"/>
                <a:gd name="connsiteX20" fmla="*/ 880125 w 1262509"/>
                <a:gd name="connsiteY20" fmla="*/ 778289 h 1091786"/>
                <a:gd name="connsiteX21" fmla="*/ 1168931 w 1262509"/>
                <a:gd name="connsiteY21" fmla="*/ 942954 h 1091786"/>
                <a:gd name="connsiteX22" fmla="*/ 1169034 w 1262509"/>
                <a:gd name="connsiteY22" fmla="*/ 942974 h 1091786"/>
                <a:gd name="connsiteX23" fmla="*/ 1170181 w 1262509"/>
                <a:gd name="connsiteY23" fmla="*/ 947470 h 1091786"/>
                <a:gd name="connsiteX24" fmla="*/ 1156700 w 1262509"/>
                <a:gd name="connsiteY24" fmla="*/ 965184 h 1091786"/>
                <a:gd name="connsiteX25" fmla="*/ 1064781 w 1262509"/>
                <a:gd name="connsiteY25" fmla="*/ 1018255 h 1091786"/>
                <a:gd name="connsiteX26" fmla="*/ 1064399 w 1262509"/>
                <a:gd name="connsiteY26" fmla="*/ 1066152 h 1091786"/>
                <a:gd name="connsiteX27" fmla="*/ 1096264 w 1262509"/>
                <a:gd name="connsiteY27" fmla="*/ 1091687 h 1091786"/>
                <a:gd name="connsiteX0" fmla="*/ 1096264 w 1262509"/>
                <a:gd name="connsiteY0" fmla="*/ 1096751 h 1096850"/>
                <a:gd name="connsiteX1" fmla="*/ 1106071 w 1262509"/>
                <a:gd name="connsiteY1" fmla="*/ 1094836 h 1096850"/>
                <a:gd name="connsiteX2" fmla="*/ 1206174 w 1262509"/>
                <a:gd name="connsiteY2" fmla="*/ 1037870 h 1096850"/>
                <a:gd name="connsiteX3" fmla="*/ 1249137 w 1262509"/>
                <a:gd name="connsiteY3" fmla="*/ 999909 h 1096850"/>
                <a:gd name="connsiteX4" fmla="*/ 1262509 w 1262509"/>
                <a:gd name="connsiteY4" fmla="*/ 956429 h 1096850"/>
                <a:gd name="connsiteX5" fmla="*/ 1250621 w 1262509"/>
                <a:gd name="connsiteY5" fmla="*/ 916809 h 1096850"/>
                <a:gd name="connsiteX6" fmla="*/ 1226931 w 1262509"/>
                <a:gd name="connsiteY6" fmla="*/ 889578 h 1096850"/>
                <a:gd name="connsiteX7" fmla="*/ 947158 w 1262509"/>
                <a:gd name="connsiteY7" fmla="*/ 726462 h 1096850"/>
                <a:gd name="connsiteX8" fmla="*/ 945767 w 1262509"/>
                <a:gd name="connsiteY8" fmla="*/ 581022 h 1096850"/>
                <a:gd name="connsiteX9" fmla="*/ 944739 w 1262509"/>
                <a:gd name="connsiteY9" fmla="*/ 569483 h 1096850"/>
                <a:gd name="connsiteX10" fmla="*/ 932246 w 1262509"/>
                <a:gd name="connsiteY10" fmla="*/ 528648 h 1096850"/>
                <a:gd name="connsiteX11" fmla="*/ 893639 w 1262509"/>
                <a:gd name="connsiteY11" fmla="*/ 490757 h 1096850"/>
                <a:gd name="connsiteX12" fmla="*/ 47109 w 1262509"/>
                <a:gd name="connsiteY12" fmla="*/ 5064 h 1096850"/>
                <a:gd name="connsiteX13" fmla="*/ 5238 w 1262509"/>
                <a:gd name="connsiteY13" fmla="*/ 29599 h 1096850"/>
                <a:gd name="connsiteX14" fmla="*/ 11391 w 1262509"/>
                <a:gd name="connsiteY14" fmla="*/ 78882 h 1096850"/>
                <a:gd name="connsiteX15" fmla="*/ 851765 w 1262509"/>
                <a:gd name="connsiteY15" fmla="*/ 561742 h 1096850"/>
                <a:gd name="connsiteX16" fmla="*/ 863345 w 1262509"/>
                <a:gd name="connsiteY16" fmla="*/ 581800 h 1096850"/>
                <a:gd name="connsiteX17" fmla="*/ 863329 w 1262509"/>
                <a:gd name="connsiteY17" fmla="*/ 584390 h 1096850"/>
                <a:gd name="connsiteX18" fmla="*/ 863012 w 1262509"/>
                <a:gd name="connsiteY18" fmla="*/ 583057 h 1096850"/>
                <a:gd name="connsiteX19" fmla="*/ 864984 w 1262509"/>
                <a:gd name="connsiteY19" fmla="*/ 753172 h 1096850"/>
                <a:gd name="connsiteX20" fmla="*/ 880125 w 1262509"/>
                <a:gd name="connsiteY20" fmla="*/ 783353 h 1096850"/>
                <a:gd name="connsiteX21" fmla="*/ 1168931 w 1262509"/>
                <a:gd name="connsiteY21" fmla="*/ 948018 h 1096850"/>
                <a:gd name="connsiteX22" fmla="*/ 1169034 w 1262509"/>
                <a:gd name="connsiteY22" fmla="*/ 948038 h 1096850"/>
                <a:gd name="connsiteX23" fmla="*/ 1170181 w 1262509"/>
                <a:gd name="connsiteY23" fmla="*/ 952534 h 1096850"/>
                <a:gd name="connsiteX24" fmla="*/ 1156700 w 1262509"/>
                <a:gd name="connsiteY24" fmla="*/ 970248 h 1096850"/>
                <a:gd name="connsiteX25" fmla="*/ 1064781 w 1262509"/>
                <a:gd name="connsiteY25" fmla="*/ 1023319 h 1096850"/>
                <a:gd name="connsiteX26" fmla="*/ 1064399 w 1262509"/>
                <a:gd name="connsiteY26" fmla="*/ 1071216 h 1096850"/>
                <a:gd name="connsiteX27" fmla="*/ 1096264 w 1262509"/>
                <a:gd name="connsiteY27" fmla="*/ 1096751 h 109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62509" h="1096850">
                  <a:moveTo>
                    <a:pt x="1096264" y="1096751"/>
                  </a:moveTo>
                  <a:cubicBezTo>
                    <a:pt x="1099824" y="1097107"/>
                    <a:pt x="1103167" y="1096511"/>
                    <a:pt x="1106071" y="1094836"/>
                  </a:cubicBezTo>
                  <a:cubicBezTo>
                    <a:pt x="1124389" y="1085022"/>
                    <a:pt x="1183045" y="1053692"/>
                    <a:pt x="1206174" y="1037870"/>
                  </a:cubicBezTo>
                  <a:cubicBezTo>
                    <a:pt x="1219786" y="1027019"/>
                    <a:pt x="1239748" y="1013483"/>
                    <a:pt x="1249137" y="999909"/>
                  </a:cubicBezTo>
                  <a:cubicBezTo>
                    <a:pt x="1258526" y="986336"/>
                    <a:pt x="1261984" y="967118"/>
                    <a:pt x="1262509" y="956429"/>
                  </a:cubicBezTo>
                  <a:cubicBezTo>
                    <a:pt x="1260370" y="938603"/>
                    <a:pt x="1256551" y="927951"/>
                    <a:pt x="1250621" y="916809"/>
                  </a:cubicBezTo>
                  <a:cubicBezTo>
                    <a:pt x="1244691" y="905667"/>
                    <a:pt x="1236461" y="897547"/>
                    <a:pt x="1226931" y="889578"/>
                  </a:cubicBezTo>
                  <a:lnTo>
                    <a:pt x="947158" y="726462"/>
                  </a:lnTo>
                  <a:cubicBezTo>
                    <a:pt x="946694" y="677982"/>
                    <a:pt x="946231" y="629502"/>
                    <a:pt x="945767" y="581022"/>
                  </a:cubicBezTo>
                  <a:cubicBezTo>
                    <a:pt x="945322" y="576160"/>
                    <a:pt x="946992" y="578212"/>
                    <a:pt x="944739" y="569483"/>
                  </a:cubicBezTo>
                  <a:cubicBezTo>
                    <a:pt x="944215" y="558813"/>
                    <a:pt x="943894" y="549379"/>
                    <a:pt x="932246" y="528648"/>
                  </a:cubicBezTo>
                  <a:cubicBezTo>
                    <a:pt x="916715" y="501007"/>
                    <a:pt x="907224" y="501588"/>
                    <a:pt x="893639" y="490757"/>
                  </a:cubicBezTo>
                  <a:lnTo>
                    <a:pt x="47109" y="5064"/>
                  </a:lnTo>
                  <a:cubicBezTo>
                    <a:pt x="40296" y="-3427"/>
                    <a:pt x="21576" y="-4773"/>
                    <a:pt x="5238" y="29599"/>
                  </a:cubicBezTo>
                  <a:cubicBezTo>
                    <a:pt x="-7859" y="60952"/>
                    <a:pt x="7225" y="77900"/>
                    <a:pt x="11391" y="78882"/>
                  </a:cubicBezTo>
                  <a:lnTo>
                    <a:pt x="851765" y="561742"/>
                  </a:lnTo>
                  <a:cubicBezTo>
                    <a:pt x="861099" y="569293"/>
                    <a:pt x="861473" y="569942"/>
                    <a:pt x="863345" y="581800"/>
                  </a:cubicBezTo>
                  <a:cubicBezTo>
                    <a:pt x="863339" y="582663"/>
                    <a:pt x="863334" y="583527"/>
                    <a:pt x="863329" y="584390"/>
                  </a:cubicBezTo>
                  <a:cubicBezTo>
                    <a:pt x="863223" y="583946"/>
                    <a:pt x="863118" y="583501"/>
                    <a:pt x="863012" y="583057"/>
                  </a:cubicBezTo>
                  <a:cubicBezTo>
                    <a:pt x="863669" y="639762"/>
                    <a:pt x="864327" y="696467"/>
                    <a:pt x="864984" y="753172"/>
                  </a:cubicBezTo>
                  <a:cubicBezTo>
                    <a:pt x="865455" y="767505"/>
                    <a:pt x="869948" y="774691"/>
                    <a:pt x="880125" y="783353"/>
                  </a:cubicBezTo>
                  <a:lnTo>
                    <a:pt x="1168931" y="948018"/>
                  </a:lnTo>
                  <a:cubicBezTo>
                    <a:pt x="1168965" y="948025"/>
                    <a:pt x="1169000" y="948031"/>
                    <a:pt x="1169034" y="948038"/>
                  </a:cubicBezTo>
                  <a:lnTo>
                    <a:pt x="1170181" y="952534"/>
                  </a:lnTo>
                  <a:cubicBezTo>
                    <a:pt x="1168126" y="956236"/>
                    <a:pt x="1174267" y="958450"/>
                    <a:pt x="1156700" y="970248"/>
                  </a:cubicBezTo>
                  <a:lnTo>
                    <a:pt x="1064781" y="1023319"/>
                  </a:lnTo>
                  <a:cubicBezTo>
                    <a:pt x="1053168" y="1030023"/>
                    <a:pt x="1052997" y="1051468"/>
                    <a:pt x="1064399" y="1071216"/>
                  </a:cubicBezTo>
                  <a:cubicBezTo>
                    <a:pt x="1072950" y="1086028"/>
                    <a:pt x="1085583" y="1095679"/>
                    <a:pt x="1096264" y="1096751"/>
                  </a:cubicBezTo>
                  <a:close/>
                </a:path>
              </a:pathLst>
            </a:cu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559" name="Freeform: Shape 1558">
            <a:extLst>
              <a:ext uri="{FF2B5EF4-FFF2-40B4-BE49-F238E27FC236}">
                <a16:creationId xmlns:a16="http://schemas.microsoft.com/office/drawing/2014/main" id="{C3464207-8FF4-4A52-84CF-813B25CEE8C4}"/>
              </a:ext>
            </a:extLst>
          </p:cNvPr>
          <p:cNvSpPr/>
          <p:nvPr/>
        </p:nvSpPr>
        <p:spPr bwMode="gray">
          <a:xfrm>
            <a:off x="6689341" y="2221816"/>
            <a:ext cx="1585913" cy="1438275"/>
          </a:xfrm>
          <a:custGeom>
            <a:avLst/>
            <a:gdLst>
              <a:gd name="connsiteX0" fmla="*/ 123825 w 1385888"/>
              <a:gd name="connsiteY0" fmla="*/ 923925 h 1371600"/>
              <a:gd name="connsiteX1" fmla="*/ 109538 w 1385888"/>
              <a:gd name="connsiteY1" fmla="*/ 481012 h 1371600"/>
              <a:gd name="connsiteX2" fmla="*/ 0 w 1385888"/>
              <a:gd name="connsiteY2" fmla="*/ 471487 h 1371600"/>
              <a:gd name="connsiteX3" fmla="*/ 819150 w 1385888"/>
              <a:gd name="connsiteY3" fmla="*/ 0 h 1371600"/>
              <a:gd name="connsiteX4" fmla="*/ 947738 w 1385888"/>
              <a:gd name="connsiteY4" fmla="*/ 0 h 1371600"/>
              <a:gd name="connsiteX5" fmla="*/ 1228725 w 1385888"/>
              <a:gd name="connsiteY5" fmla="*/ 71437 h 1371600"/>
              <a:gd name="connsiteX6" fmla="*/ 1385888 w 1385888"/>
              <a:gd name="connsiteY6" fmla="*/ 214312 h 1371600"/>
              <a:gd name="connsiteX7" fmla="*/ 1338263 w 1385888"/>
              <a:gd name="connsiteY7" fmla="*/ 519112 h 1371600"/>
              <a:gd name="connsiteX8" fmla="*/ 1352550 w 1385888"/>
              <a:gd name="connsiteY8" fmla="*/ 804862 h 1371600"/>
              <a:gd name="connsiteX9" fmla="*/ 357188 w 1385888"/>
              <a:gd name="connsiteY9" fmla="*/ 1371600 h 1371600"/>
              <a:gd name="connsiteX10" fmla="*/ 352425 w 1385888"/>
              <a:gd name="connsiteY10" fmla="*/ 1114425 h 1371600"/>
              <a:gd name="connsiteX11" fmla="*/ 123825 w 1385888"/>
              <a:gd name="connsiteY11" fmla="*/ 923925 h 1371600"/>
              <a:gd name="connsiteX0" fmla="*/ 123825 w 1385888"/>
              <a:gd name="connsiteY0" fmla="*/ 923925 h 1371600"/>
              <a:gd name="connsiteX1" fmla="*/ 109538 w 1385888"/>
              <a:gd name="connsiteY1" fmla="*/ 481012 h 1371600"/>
              <a:gd name="connsiteX2" fmla="*/ 0 w 1385888"/>
              <a:gd name="connsiteY2" fmla="*/ 471487 h 1371600"/>
              <a:gd name="connsiteX3" fmla="*/ 819150 w 1385888"/>
              <a:gd name="connsiteY3" fmla="*/ 0 h 1371600"/>
              <a:gd name="connsiteX4" fmla="*/ 947738 w 1385888"/>
              <a:gd name="connsiteY4" fmla="*/ 0 h 1371600"/>
              <a:gd name="connsiteX5" fmla="*/ 1228725 w 1385888"/>
              <a:gd name="connsiteY5" fmla="*/ 71437 h 1371600"/>
              <a:gd name="connsiteX6" fmla="*/ 1385888 w 1385888"/>
              <a:gd name="connsiteY6" fmla="*/ 214312 h 1371600"/>
              <a:gd name="connsiteX7" fmla="*/ 1338263 w 1385888"/>
              <a:gd name="connsiteY7" fmla="*/ 507205 h 1371600"/>
              <a:gd name="connsiteX8" fmla="*/ 1352550 w 1385888"/>
              <a:gd name="connsiteY8" fmla="*/ 804862 h 1371600"/>
              <a:gd name="connsiteX9" fmla="*/ 357188 w 1385888"/>
              <a:gd name="connsiteY9" fmla="*/ 1371600 h 1371600"/>
              <a:gd name="connsiteX10" fmla="*/ 352425 w 1385888"/>
              <a:gd name="connsiteY10" fmla="*/ 1114425 h 1371600"/>
              <a:gd name="connsiteX11" fmla="*/ 123825 w 1385888"/>
              <a:gd name="connsiteY11" fmla="*/ 923925 h 1371600"/>
              <a:gd name="connsiteX0" fmla="*/ 123825 w 1352550"/>
              <a:gd name="connsiteY0" fmla="*/ 923925 h 1371600"/>
              <a:gd name="connsiteX1" fmla="*/ 109538 w 1352550"/>
              <a:gd name="connsiteY1" fmla="*/ 481012 h 1371600"/>
              <a:gd name="connsiteX2" fmla="*/ 0 w 1352550"/>
              <a:gd name="connsiteY2" fmla="*/ 471487 h 1371600"/>
              <a:gd name="connsiteX3" fmla="*/ 819150 w 1352550"/>
              <a:gd name="connsiteY3" fmla="*/ 0 h 1371600"/>
              <a:gd name="connsiteX4" fmla="*/ 947738 w 1352550"/>
              <a:gd name="connsiteY4" fmla="*/ 0 h 1371600"/>
              <a:gd name="connsiteX5" fmla="*/ 1228725 w 1352550"/>
              <a:gd name="connsiteY5" fmla="*/ 71437 h 1371600"/>
              <a:gd name="connsiteX6" fmla="*/ 1316832 w 1352550"/>
              <a:gd name="connsiteY6" fmla="*/ 214312 h 1371600"/>
              <a:gd name="connsiteX7" fmla="*/ 1338263 w 1352550"/>
              <a:gd name="connsiteY7" fmla="*/ 507205 h 1371600"/>
              <a:gd name="connsiteX8" fmla="*/ 1352550 w 1352550"/>
              <a:gd name="connsiteY8" fmla="*/ 804862 h 1371600"/>
              <a:gd name="connsiteX9" fmla="*/ 357188 w 1352550"/>
              <a:gd name="connsiteY9" fmla="*/ 1371600 h 1371600"/>
              <a:gd name="connsiteX10" fmla="*/ 352425 w 1352550"/>
              <a:gd name="connsiteY10" fmla="*/ 1114425 h 1371600"/>
              <a:gd name="connsiteX11" fmla="*/ 123825 w 1352550"/>
              <a:gd name="connsiteY11" fmla="*/ 923925 h 1371600"/>
              <a:gd name="connsiteX0" fmla="*/ 123825 w 1352550"/>
              <a:gd name="connsiteY0" fmla="*/ 977900 h 1371600"/>
              <a:gd name="connsiteX1" fmla="*/ 109538 w 1352550"/>
              <a:gd name="connsiteY1" fmla="*/ 481012 h 1371600"/>
              <a:gd name="connsiteX2" fmla="*/ 0 w 1352550"/>
              <a:gd name="connsiteY2" fmla="*/ 471487 h 1371600"/>
              <a:gd name="connsiteX3" fmla="*/ 819150 w 1352550"/>
              <a:gd name="connsiteY3" fmla="*/ 0 h 1371600"/>
              <a:gd name="connsiteX4" fmla="*/ 947738 w 1352550"/>
              <a:gd name="connsiteY4" fmla="*/ 0 h 1371600"/>
              <a:gd name="connsiteX5" fmla="*/ 1228725 w 1352550"/>
              <a:gd name="connsiteY5" fmla="*/ 71437 h 1371600"/>
              <a:gd name="connsiteX6" fmla="*/ 1316832 w 1352550"/>
              <a:gd name="connsiteY6" fmla="*/ 214312 h 1371600"/>
              <a:gd name="connsiteX7" fmla="*/ 1338263 w 1352550"/>
              <a:gd name="connsiteY7" fmla="*/ 507205 h 1371600"/>
              <a:gd name="connsiteX8" fmla="*/ 1352550 w 1352550"/>
              <a:gd name="connsiteY8" fmla="*/ 804862 h 1371600"/>
              <a:gd name="connsiteX9" fmla="*/ 357188 w 1352550"/>
              <a:gd name="connsiteY9" fmla="*/ 1371600 h 1371600"/>
              <a:gd name="connsiteX10" fmla="*/ 352425 w 1352550"/>
              <a:gd name="connsiteY10" fmla="*/ 1114425 h 1371600"/>
              <a:gd name="connsiteX11" fmla="*/ 123825 w 1352550"/>
              <a:gd name="connsiteY11" fmla="*/ 977900 h 1371600"/>
              <a:gd name="connsiteX0" fmla="*/ 123825 w 1352550"/>
              <a:gd name="connsiteY0" fmla="*/ 977900 h 1371600"/>
              <a:gd name="connsiteX1" fmla="*/ 114300 w 1352550"/>
              <a:gd name="connsiteY1" fmla="*/ 750093 h 1371600"/>
              <a:gd name="connsiteX2" fmla="*/ 109538 w 1352550"/>
              <a:gd name="connsiteY2" fmla="*/ 481012 h 1371600"/>
              <a:gd name="connsiteX3" fmla="*/ 0 w 1352550"/>
              <a:gd name="connsiteY3" fmla="*/ 471487 h 1371600"/>
              <a:gd name="connsiteX4" fmla="*/ 819150 w 1352550"/>
              <a:gd name="connsiteY4" fmla="*/ 0 h 1371600"/>
              <a:gd name="connsiteX5" fmla="*/ 947738 w 1352550"/>
              <a:gd name="connsiteY5" fmla="*/ 0 h 1371600"/>
              <a:gd name="connsiteX6" fmla="*/ 1228725 w 1352550"/>
              <a:gd name="connsiteY6" fmla="*/ 71437 h 1371600"/>
              <a:gd name="connsiteX7" fmla="*/ 1316832 w 1352550"/>
              <a:gd name="connsiteY7" fmla="*/ 214312 h 1371600"/>
              <a:gd name="connsiteX8" fmla="*/ 1338263 w 1352550"/>
              <a:gd name="connsiteY8" fmla="*/ 507205 h 1371600"/>
              <a:gd name="connsiteX9" fmla="*/ 1352550 w 1352550"/>
              <a:gd name="connsiteY9" fmla="*/ 804862 h 1371600"/>
              <a:gd name="connsiteX10" fmla="*/ 357188 w 1352550"/>
              <a:gd name="connsiteY10" fmla="*/ 1371600 h 1371600"/>
              <a:gd name="connsiteX11" fmla="*/ 352425 w 1352550"/>
              <a:gd name="connsiteY11" fmla="*/ 1114425 h 1371600"/>
              <a:gd name="connsiteX12" fmla="*/ 123825 w 1352550"/>
              <a:gd name="connsiteY12"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54768 w 1407318"/>
              <a:gd name="connsiteY3" fmla="*/ 471487 h 1371600"/>
              <a:gd name="connsiteX4" fmla="*/ 873918 w 1407318"/>
              <a:gd name="connsiteY4" fmla="*/ 0 h 1371600"/>
              <a:gd name="connsiteX5" fmla="*/ 1002506 w 1407318"/>
              <a:gd name="connsiteY5" fmla="*/ 0 h 1371600"/>
              <a:gd name="connsiteX6" fmla="*/ 1283493 w 1407318"/>
              <a:gd name="connsiteY6" fmla="*/ 71437 h 1371600"/>
              <a:gd name="connsiteX7" fmla="*/ 1371600 w 1407318"/>
              <a:gd name="connsiteY7" fmla="*/ 214312 h 1371600"/>
              <a:gd name="connsiteX8" fmla="*/ 1393031 w 1407318"/>
              <a:gd name="connsiteY8" fmla="*/ 507205 h 1371600"/>
              <a:gd name="connsiteX9" fmla="*/ 1407318 w 1407318"/>
              <a:gd name="connsiteY9" fmla="*/ 804862 h 1371600"/>
              <a:gd name="connsiteX10" fmla="*/ 411956 w 1407318"/>
              <a:gd name="connsiteY10" fmla="*/ 1371600 h 1371600"/>
              <a:gd name="connsiteX11" fmla="*/ 407193 w 1407318"/>
              <a:gd name="connsiteY11" fmla="*/ 1114425 h 1371600"/>
              <a:gd name="connsiteX12" fmla="*/ 178593 w 1407318"/>
              <a:gd name="connsiteY12"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54768 w 1407318"/>
              <a:gd name="connsiteY3" fmla="*/ 471487 h 1371600"/>
              <a:gd name="connsiteX4" fmla="*/ 873918 w 1407318"/>
              <a:gd name="connsiteY4" fmla="*/ 0 h 1371600"/>
              <a:gd name="connsiteX5" fmla="*/ 1002506 w 1407318"/>
              <a:gd name="connsiteY5" fmla="*/ 0 h 1371600"/>
              <a:gd name="connsiteX6" fmla="*/ 1283493 w 1407318"/>
              <a:gd name="connsiteY6" fmla="*/ 71437 h 1371600"/>
              <a:gd name="connsiteX7" fmla="*/ 1371600 w 1407318"/>
              <a:gd name="connsiteY7" fmla="*/ 214312 h 1371600"/>
              <a:gd name="connsiteX8" fmla="*/ 1393031 w 1407318"/>
              <a:gd name="connsiteY8" fmla="*/ 507205 h 1371600"/>
              <a:gd name="connsiteX9" fmla="*/ 1407318 w 1407318"/>
              <a:gd name="connsiteY9" fmla="*/ 804862 h 1371600"/>
              <a:gd name="connsiteX10" fmla="*/ 411956 w 1407318"/>
              <a:gd name="connsiteY10" fmla="*/ 1371600 h 1371600"/>
              <a:gd name="connsiteX11" fmla="*/ 407193 w 1407318"/>
              <a:gd name="connsiteY11" fmla="*/ 1114425 h 1371600"/>
              <a:gd name="connsiteX12" fmla="*/ 178593 w 1407318"/>
              <a:gd name="connsiteY12"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54768 w 1407318"/>
              <a:gd name="connsiteY3" fmla="*/ 471487 h 1371600"/>
              <a:gd name="connsiteX4" fmla="*/ 873918 w 1407318"/>
              <a:gd name="connsiteY4" fmla="*/ 0 h 1371600"/>
              <a:gd name="connsiteX5" fmla="*/ 1002506 w 1407318"/>
              <a:gd name="connsiteY5" fmla="*/ 0 h 1371600"/>
              <a:gd name="connsiteX6" fmla="*/ 1283493 w 1407318"/>
              <a:gd name="connsiteY6" fmla="*/ 71437 h 1371600"/>
              <a:gd name="connsiteX7" fmla="*/ 1371600 w 1407318"/>
              <a:gd name="connsiteY7" fmla="*/ 214312 h 1371600"/>
              <a:gd name="connsiteX8" fmla="*/ 1393031 w 1407318"/>
              <a:gd name="connsiteY8" fmla="*/ 507205 h 1371600"/>
              <a:gd name="connsiteX9" fmla="*/ 1407318 w 1407318"/>
              <a:gd name="connsiteY9" fmla="*/ 804862 h 1371600"/>
              <a:gd name="connsiteX10" fmla="*/ 411956 w 1407318"/>
              <a:gd name="connsiteY10" fmla="*/ 1371600 h 1371600"/>
              <a:gd name="connsiteX11" fmla="*/ 407193 w 1407318"/>
              <a:gd name="connsiteY11" fmla="*/ 1114425 h 1371600"/>
              <a:gd name="connsiteX12" fmla="*/ 178593 w 1407318"/>
              <a:gd name="connsiteY12"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54768 w 1407318"/>
              <a:gd name="connsiteY3" fmla="*/ 471487 h 1371600"/>
              <a:gd name="connsiteX4" fmla="*/ 873918 w 1407318"/>
              <a:gd name="connsiteY4" fmla="*/ 0 h 1371600"/>
              <a:gd name="connsiteX5" fmla="*/ 1002506 w 1407318"/>
              <a:gd name="connsiteY5" fmla="*/ 0 h 1371600"/>
              <a:gd name="connsiteX6" fmla="*/ 1283493 w 1407318"/>
              <a:gd name="connsiteY6" fmla="*/ 71437 h 1371600"/>
              <a:gd name="connsiteX7" fmla="*/ 1371600 w 1407318"/>
              <a:gd name="connsiteY7" fmla="*/ 214312 h 1371600"/>
              <a:gd name="connsiteX8" fmla="*/ 1393031 w 1407318"/>
              <a:gd name="connsiteY8" fmla="*/ 507205 h 1371600"/>
              <a:gd name="connsiteX9" fmla="*/ 1407318 w 1407318"/>
              <a:gd name="connsiteY9" fmla="*/ 804862 h 1371600"/>
              <a:gd name="connsiteX10" fmla="*/ 411956 w 1407318"/>
              <a:gd name="connsiteY10" fmla="*/ 1371600 h 1371600"/>
              <a:gd name="connsiteX11" fmla="*/ 407193 w 1407318"/>
              <a:gd name="connsiteY11" fmla="*/ 1114425 h 1371600"/>
              <a:gd name="connsiteX12" fmla="*/ 178593 w 1407318"/>
              <a:gd name="connsiteY12"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30956 w 1407318"/>
              <a:gd name="connsiteY3" fmla="*/ 514350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7193 w 1407318"/>
              <a:gd name="connsiteY12" fmla="*/ 1114425 h 1371600"/>
              <a:gd name="connsiteX13" fmla="*/ 178593 w 1407318"/>
              <a:gd name="connsiteY13"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159543 w 1407318"/>
              <a:gd name="connsiteY3" fmla="*/ 476250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7193 w 1407318"/>
              <a:gd name="connsiteY12" fmla="*/ 1114425 h 1371600"/>
              <a:gd name="connsiteX13" fmla="*/ 178593 w 1407318"/>
              <a:gd name="connsiteY13"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7193 w 1407318"/>
              <a:gd name="connsiteY12" fmla="*/ 1114425 h 1371600"/>
              <a:gd name="connsiteX13" fmla="*/ 178593 w 1407318"/>
              <a:gd name="connsiteY13" fmla="*/ 977900 h 1371600"/>
              <a:gd name="connsiteX0" fmla="*/ 133349 w 1407318"/>
              <a:gd name="connsiteY0" fmla="*/ 958850 h 1371600"/>
              <a:gd name="connsiteX1" fmla="*/ 169068 w 1407318"/>
              <a:gd name="connsiteY1" fmla="*/ 750093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7193 w 1407318"/>
              <a:gd name="connsiteY12" fmla="*/ 1114425 h 1371600"/>
              <a:gd name="connsiteX13" fmla="*/ 133349 w 1407318"/>
              <a:gd name="connsiteY13" fmla="*/ 958850 h 1371600"/>
              <a:gd name="connsiteX0" fmla="*/ 133349 w 1407318"/>
              <a:gd name="connsiteY0" fmla="*/ 958850 h 1371600"/>
              <a:gd name="connsiteX1" fmla="*/ 169068 w 1407318"/>
              <a:gd name="connsiteY1" fmla="*/ 750093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33349 w 1407318"/>
              <a:gd name="connsiteY13" fmla="*/ 958850 h 1371600"/>
              <a:gd name="connsiteX0" fmla="*/ 123824 w 1407318"/>
              <a:gd name="connsiteY0" fmla="*/ 982662 h 1371600"/>
              <a:gd name="connsiteX1" fmla="*/ 169068 w 1407318"/>
              <a:gd name="connsiteY1" fmla="*/ 750093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21443 w 1407318"/>
              <a:gd name="connsiteY1" fmla="*/ 757237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21443 w 1407318"/>
              <a:gd name="connsiteY1" fmla="*/ 757237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21443 w 1407318"/>
              <a:gd name="connsiteY1" fmla="*/ 757237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19062 w 1407318"/>
              <a:gd name="connsiteY1" fmla="*/ 700087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19062 w 1407318"/>
              <a:gd name="connsiteY1" fmla="*/ 700087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19062 w 1407318"/>
              <a:gd name="connsiteY1" fmla="*/ 700087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19062 w 1407318"/>
              <a:gd name="connsiteY1" fmla="*/ 700087 h 1371600"/>
              <a:gd name="connsiteX2" fmla="*/ 0 w 1407318"/>
              <a:gd name="connsiteY2" fmla="*/ 583405 h 1371600"/>
              <a:gd name="connsiteX3" fmla="*/ 169068 w 1407318"/>
              <a:gd name="connsiteY3" fmla="*/ 478631 h 1371600"/>
              <a:gd name="connsiteX4" fmla="*/ 11905 w 1407318"/>
              <a:gd name="connsiteY4" fmla="*/ 473868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19062 w 1407318"/>
              <a:gd name="connsiteY1" fmla="*/ 700087 h 1371600"/>
              <a:gd name="connsiteX2" fmla="*/ 0 w 1407318"/>
              <a:gd name="connsiteY2" fmla="*/ 583405 h 1371600"/>
              <a:gd name="connsiteX3" fmla="*/ 169068 w 1407318"/>
              <a:gd name="connsiteY3" fmla="*/ 478631 h 1371600"/>
              <a:gd name="connsiteX4" fmla="*/ 11905 w 1407318"/>
              <a:gd name="connsiteY4" fmla="*/ 473868 h 1371600"/>
              <a:gd name="connsiteX5" fmla="*/ 814386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8588 w 1412082"/>
              <a:gd name="connsiteY0" fmla="*/ 982662 h 1371600"/>
              <a:gd name="connsiteX1" fmla="*/ 123826 w 1412082"/>
              <a:gd name="connsiteY1" fmla="*/ 700087 h 1371600"/>
              <a:gd name="connsiteX2" fmla="*/ 4764 w 1412082"/>
              <a:gd name="connsiteY2" fmla="*/ 583405 h 1371600"/>
              <a:gd name="connsiteX3" fmla="*/ 173832 w 1412082"/>
              <a:gd name="connsiteY3" fmla="*/ 478631 h 1371600"/>
              <a:gd name="connsiteX4" fmla="*/ 0 w 1412082"/>
              <a:gd name="connsiteY4" fmla="*/ 471486 h 1371600"/>
              <a:gd name="connsiteX5" fmla="*/ 819150 w 1412082"/>
              <a:gd name="connsiteY5" fmla="*/ 0 h 1371600"/>
              <a:gd name="connsiteX6" fmla="*/ 1007270 w 1412082"/>
              <a:gd name="connsiteY6" fmla="*/ 0 h 1371600"/>
              <a:gd name="connsiteX7" fmla="*/ 1288257 w 1412082"/>
              <a:gd name="connsiteY7" fmla="*/ 71437 h 1371600"/>
              <a:gd name="connsiteX8" fmla="*/ 1376364 w 1412082"/>
              <a:gd name="connsiteY8" fmla="*/ 214312 h 1371600"/>
              <a:gd name="connsiteX9" fmla="*/ 1397795 w 1412082"/>
              <a:gd name="connsiteY9" fmla="*/ 507205 h 1371600"/>
              <a:gd name="connsiteX10" fmla="*/ 1412082 w 1412082"/>
              <a:gd name="connsiteY10" fmla="*/ 804862 h 1371600"/>
              <a:gd name="connsiteX11" fmla="*/ 416720 w 1412082"/>
              <a:gd name="connsiteY11" fmla="*/ 1371600 h 1371600"/>
              <a:gd name="connsiteX12" fmla="*/ 414338 w 1412082"/>
              <a:gd name="connsiteY12" fmla="*/ 1145381 h 1371600"/>
              <a:gd name="connsiteX13" fmla="*/ 128588 w 1412082"/>
              <a:gd name="connsiteY13" fmla="*/ 982662 h 1371600"/>
              <a:gd name="connsiteX0" fmla="*/ 128588 w 1412082"/>
              <a:gd name="connsiteY0" fmla="*/ 1039813 h 1428751"/>
              <a:gd name="connsiteX1" fmla="*/ 123826 w 1412082"/>
              <a:gd name="connsiteY1" fmla="*/ 757238 h 1428751"/>
              <a:gd name="connsiteX2" fmla="*/ 4764 w 1412082"/>
              <a:gd name="connsiteY2" fmla="*/ 640556 h 1428751"/>
              <a:gd name="connsiteX3" fmla="*/ 173832 w 1412082"/>
              <a:gd name="connsiteY3" fmla="*/ 535782 h 1428751"/>
              <a:gd name="connsiteX4" fmla="*/ 0 w 1412082"/>
              <a:gd name="connsiteY4" fmla="*/ 528637 h 1428751"/>
              <a:gd name="connsiteX5" fmla="*/ 819150 w 1412082"/>
              <a:gd name="connsiteY5" fmla="*/ 57151 h 1428751"/>
              <a:gd name="connsiteX6" fmla="*/ 1007270 w 1412082"/>
              <a:gd name="connsiteY6" fmla="*/ 57151 h 1428751"/>
              <a:gd name="connsiteX7" fmla="*/ 1107282 w 1412082"/>
              <a:gd name="connsiteY7" fmla="*/ 0 h 1428751"/>
              <a:gd name="connsiteX8" fmla="*/ 1376364 w 1412082"/>
              <a:gd name="connsiteY8" fmla="*/ 271463 h 1428751"/>
              <a:gd name="connsiteX9" fmla="*/ 1397795 w 1412082"/>
              <a:gd name="connsiteY9" fmla="*/ 564356 h 1428751"/>
              <a:gd name="connsiteX10" fmla="*/ 1412082 w 1412082"/>
              <a:gd name="connsiteY10" fmla="*/ 862013 h 1428751"/>
              <a:gd name="connsiteX11" fmla="*/ 416720 w 1412082"/>
              <a:gd name="connsiteY11" fmla="*/ 1428751 h 1428751"/>
              <a:gd name="connsiteX12" fmla="*/ 414338 w 1412082"/>
              <a:gd name="connsiteY12" fmla="*/ 1202532 h 1428751"/>
              <a:gd name="connsiteX13" fmla="*/ 128588 w 1412082"/>
              <a:gd name="connsiteY13" fmla="*/ 1039813 h 1428751"/>
              <a:gd name="connsiteX0" fmla="*/ 128588 w 1412082"/>
              <a:gd name="connsiteY0" fmla="*/ 1039813 h 1428751"/>
              <a:gd name="connsiteX1" fmla="*/ 123826 w 1412082"/>
              <a:gd name="connsiteY1" fmla="*/ 757238 h 1428751"/>
              <a:gd name="connsiteX2" fmla="*/ 4764 w 1412082"/>
              <a:gd name="connsiteY2" fmla="*/ 640556 h 1428751"/>
              <a:gd name="connsiteX3" fmla="*/ 173832 w 1412082"/>
              <a:gd name="connsiteY3" fmla="*/ 535782 h 1428751"/>
              <a:gd name="connsiteX4" fmla="*/ 0 w 1412082"/>
              <a:gd name="connsiteY4" fmla="*/ 528637 h 1428751"/>
              <a:gd name="connsiteX5" fmla="*/ 819150 w 1412082"/>
              <a:gd name="connsiteY5" fmla="*/ 57151 h 1428751"/>
              <a:gd name="connsiteX6" fmla="*/ 1052514 w 1412082"/>
              <a:gd name="connsiteY6" fmla="*/ 28576 h 1428751"/>
              <a:gd name="connsiteX7" fmla="*/ 1107282 w 1412082"/>
              <a:gd name="connsiteY7" fmla="*/ 0 h 1428751"/>
              <a:gd name="connsiteX8" fmla="*/ 1376364 w 1412082"/>
              <a:gd name="connsiteY8" fmla="*/ 271463 h 1428751"/>
              <a:gd name="connsiteX9" fmla="*/ 1397795 w 1412082"/>
              <a:gd name="connsiteY9" fmla="*/ 564356 h 1428751"/>
              <a:gd name="connsiteX10" fmla="*/ 1412082 w 1412082"/>
              <a:gd name="connsiteY10" fmla="*/ 862013 h 1428751"/>
              <a:gd name="connsiteX11" fmla="*/ 416720 w 1412082"/>
              <a:gd name="connsiteY11" fmla="*/ 1428751 h 1428751"/>
              <a:gd name="connsiteX12" fmla="*/ 414338 w 1412082"/>
              <a:gd name="connsiteY12" fmla="*/ 1202532 h 1428751"/>
              <a:gd name="connsiteX13" fmla="*/ 128588 w 1412082"/>
              <a:gd name="connsiteY13" fmla="*/ 1039813 h 1428751"/>
              <a:gd name="connsiteX0" fmla="*/ 128588 w 1412082"/>
              <a:gd name="connsiteY0" fmla="*/ 1039813 h 1428751"/>
              <a:gd name="connsiteX1" fmla="*/ 123826 w 1412082"/>
              <a:gd name="connsiteY1" fmla="*/ 757238 h 1428751"/>
              <a:gd name="connsiteX2" fmla="*/ 4764 w 1412082"/>
              <a:gd name="connsiteY2" fmla="*/ 640556 h 1428751"/>
              <a:gd name="connsiteX3" fmla="*/ 173832 w 1412082"/>
              <a:gd name="connsiteY3" fmla="*/ 535782 h 1428751"/>
              <a:gd name="connsiteX4" fmla="*/ 0 w 1412082"/>
              <a:gd name="connsiteY4" fmla="*/ 528637 h 1428751"/>
              <a:gd name="connsiteX5" fmla="*/ 819150 w 1412082"/>
              <a:gd name="connsiteY5" fmla="*/ 57151 h 1428751"/>
              <a:gd name="connsiteX6" fmla="*/ 1107282 w 1412082"/>
              <a:gd name="connsiteY6" fmla="*/ 0 h 1428751"/>
              <a:gd name="connsiteX7" fmla="*/ 1376364 w 1412082"/>
              <a:gd name="connsiteY7" fmla="*/ 271463 h 1428751"/>
              <a:gd name="connsiteX8" fmla="*/ 1397795 w 1412082"/>
              <a:gd name="connsiteY8" fmla="*/ 564356 h 1428751"/>
              <a:gd name="connsiteX9" fmla="*/ 1412082 w 1412082"/>
              <a:gd name="connsiteY9" fmla="*/ 862013 h 1428751"/>
              <a:gd name="connsiteX10" fmla="*/ 416720 w 1412082"/>
              <a:gd name="connsiteY10" fmla="*/ 1428751 h 1428751"/>
              <a:gd name="connsiteX11" fmla="*/ 414338 w 1412082"/>
              <a:gd name="connsiteY11" fmla="*/ 1202532 h 1428751"/>
              <a:gd name="connsiteX12" fmla="*/ 128588 w 1412082"/>
              <a:gd name="connsiteY12" fmla="*/ 1039813 h 1428751"/>
              <a:gd name="connsiteX0" fmla="*/ 128588 w 1412082"/>
              <a:gd name="connsiteY0" fmla="*/ 1042194 h 1431132"/>
              <a:gd name="connsiteX1" fmla="*/ 123826 w 1412082"/>
              <a:gd name="connsiteY1" fmla="*/ 759619 h 1431132"/>
              <a:gd name="connsiteX2" fmla="*/ 4764 w 1412082"/>
              <a:gd name="connsiteY2" fmla="*/ 642937 h 1431132"/>
              <a:gd name="connsiteX3" fmla="*/ 173832 w 1412082"/>
              <a:gd name="connsiteY3" fmla="*/ 538163 h 1431132"/>
              <a:gd name="connsiteX4" fmla="*/ 0 w 1412082"/>
              <a:gd name="connsiteY4" fmla="*/ 531018 h 1431132"/>
              <a:gd name="connsiteX5" fmla="*/ 928687 w 1412082"/>
              <a:gd name="connsiteY5" fmla="*/ 0 h 1431132"/>
              <a:gd name="connsiteX6" fmla="*/ 1107282 w 1412082"/>
              <a:gd name="connsiteY6" fmla="*/ 2381 h 1431132"/>
              <a:gd name="connsiteX7" fmla="*/ 1376364 w 1412082"/>
              <a:gd name="connsiteY7" fmla="*/ 273844 h 1431132"/>
              <a:gd name="connsiteX8" fmla="*/ 1397795 w 1412082"/>
              <a:gd name="connsiteY8" fmla="*/ 566737 h 1431132"/>
              <a:gd name="connsiteX9" fmla="*/ 1412082 w 1412082"/>
              <a:gd name="connsiteY9" fmla="*/ 864394 h 1431132"/>
              <a:gd name="connsiteX10" fmla="*/ 416720 w 1412082"/>
              <a:gd name="connsiteY10" fmla="*/ 1431132 h 1431132"/>
              <a:gd name="connsiteX11" fmla="*/ 414338 w 1412082"/>
              <a:gd name="connsiteY11" fmla="*/ 1204913 h 1431132"/>
              <a:gd name="connsiteX12" fmla="*/ 128588 w 1412082"/>
              <a:gd name="connsiteY12" fmla="*/ 1042194 h 1431132"/>
              <a:gd name="connsiteX0" fmla="*/ 128588 w 1412082"/>
              <a:gd name="connsiteY0" fmla="*/ 1058862 h 1447800"/>
              <a:gd name="connsiteX1" fmla="*/ 123826 w 1412082"/>
              <a:gd name="connsiteY1" fmla="*/ 776287 h 1447800"/>
              <a:gd name="connsiteX2" fmla="*/ 4764 w 1412082"/>
              <a:gd name="connsiteY2" fmla="*/ 659605 h 1447800"/>
              <a:gd name="connsiteX3" fmla="*/ 173832 w 1412082"/>
              <a:gd name="connsiteY3" fmla="*/ 554831 h 1447800"/>
              <a:gd name="connsiteX4" fmla="*/ 0 w 1412082"/>
              <a:gd name="connsiteY4" fmla="*/ 547686 h 1447800"/>
              <a:gd name="connsiteX5" fmla="*/ 954881 w 1412082"/>
              <a:gd name="connsiteY5" fmla="*/ 0 h 1447800"/>
              <a:gd name="connsiteX6" fmla="*/ 1107282 w 1412082"/>
              <a:gd name="connsiteY6" fmla="*/ 19049 h 1447800"/>
              <a:gd name="connsiteX7" fmla="*/ 1376364 w 1412082"/>
              <a:gd name="connsiteY7" fmla="*/ 290512 h 1447800"/>
              <a:gd name="connsiteX8" fmla="*/ 1397795 w 1412082"/>
              <a:gd name="connsiteY8" fmla="*/ 583405 h 1447800"/>
              <a:gd name="connsiteX9" fmla="*/ 1412082 w 1412082"/>
              <a:gd name="connsiteY9" fmla="*/ 881062 h 1447800"/>
              <a:gd name="connsiteX10" fmla="*/ 416720 w 1412082"/>
              <a:gd name="connsiteY10" fmla="*/ 1447800 h 1447800"/>
              <a:gd name="connsiteX11" fmla="*/ 414338 w 1412082"/>
              <a:gd name="connsiteY11" fmla="*/ 1221581 h 1447800"/>
              <a:gd name="connsiteX12" fmla="*/ 128588 w 1412082"/>
              <a:gd name="connsiteY12" fmla="*/ 1058862 h 1447800"/>
              <a:gd name="connsiteX0" fmla="*/ 128588 w 1412082"/>
              <a:gd name="connsiteY0" fmla="*/ 1049337 h 1438275"/>
              <a:gd name="connsiteX1" fmla="*/ 123826 w 1412082"/>
              <a:gd name="connsiteY1" fmla="*/ 766762 h 1438275"/>
              <a:gd name="connsiteX2" fmla="*/ 4764 w 1412082"/>
              <a:gd name="connsiteY2" fmla="*/ 650080 h 1438275"/>
              <a:gd name="connsiteX3" fmla="*/ 173832 w 1412082"/>
              <a:gd name="connsiteY3" fmla="*/ 545306 h 1438275"/>
              <a:gd name="connsiteX4" fmla="*/ 0 w 1412082"/>
              <a:gd name="connsiteY4" fmla="*/ 538161 h 1438275"/>
              <a:gd name="connsiteX5" fmla="*/ 935831 w 1412082"/>
              <a:gd name="connsiteY5" fmla="*/ 0 h 1438275"/>
              <a:gd name="connsiteX6" fmla="*/ 1107282 w 1412082"/>
              <a:gd name="connsiteY6" fmla="*/ 9524 h 1438275"/>
              <a:gd name="connsiteX7" fmla="*/ 1376364 w 1412082"/>
              <a:gd name="connsiteY7" fmla="*/ 280987 h 1438275"/>
              <a:gd name="connsiteX8" fmla="*/ 1397795 w 1412082"/>
              <a:gd name="connsiteY8" fmla="*/ 573880 h 1438275"/>
              <a:gd name="connsiteX9" fmla="*/ 1412082 w 1412082"/>
              <a:gd name="connsiteY9" fmla="*/ 871537 h 1438275"/>
              <a:gd name="connsiteX10" fmla="*/ 416720 w 1412082"/>
              <a:gd name="connsiteY10" fmla="*/ 1438275 h 1438275"/>
              <a:gd name="connsiteX11" fmla="*/ 414338 w 1412082"/>
              <a:gd name="connsiteY11" fmla="*/ 1212056 h 1438275"/>
              <a:gd name="connsiteX12" fmla="*/ 128588 w 1412082"/>
              <a:gd name="connsiteY12" fmla="*/ 1049337 h 1438275"/>
              <a:gd name="connsiteX0" fmla="*/ 128588 w 1526382"/>
              <a:gd name="connsiteY0" fmla="*/ 1049337 h 1438275"/>
              <a:gd name="connsiteX1" fmla="*/ 123826 w 1526382"/>
              <a:gd name="connsiteY1" fmla="*/ 766762 h 1438275"/>
              <a:gd name="connsiteX2" fmla="*/ 4764 w 1526382"/>
              <a:gd name="connsiteY2" fmla="*/ 650080 h 1438275"/>
              <a:gd name="connsiteX3" fmla="*/ 173832 w 1526382"/>
              <a:gd name="connsiteY3" fmla="*/ 545306 h 1438275"/>
              <a:gd name="connsiteX4" fmla="*/ 0 w 1526382"/>
              <a:gd name="connsiteY4" fmla="*/ 538161 h 1438275"/>
              <a:gd name="connsiteX5" fmla="*/ 935831 w 1526382"/>
              <a:gd name="connsiteY5" fmla="*/ 0 h 1438275"/>
              <a:gd name="connsiteX6" fmla="*/ 1107282 w 1526382"/>
              <a:gd name="connsiteY6" fmla="*/ 9524 h 1438275"/>
              <a:gd name="connsiteX7" fmla="*/ 1526382 w 1526382"/>
              <a:gd name="connsiteY7" fmla="*/ 490537 h 1438275"/>
              <a:gd name="connsiteX8" fmla="*/ 1397795 w 1526382"/>
              <a:gd name="connsiteY8" fmla="*/ 573880 h 1438275"/>
              <a:gd name="connsiteX9" fmla="*/ 1412082 w 1526382"/>
              <a:gd name="connsiteY9" fmla="*/ 871537 h 1438275"/>
              <a:gd name="connsiteX10" fmla="*/ 416720 w 1526382"/>
              <a:gd name="connsiteY10" fmla="*/ 1438275 h 1438275"/>
              <a:gd name="connsiteX11" fmla="*/ 414338 w 1526382"/>
              <a:gd name="connsiteY11" fmla="*/ 1212056 h 1438275"/>
              <a:gd name="connsiteX12" fmla="*/ 128588 w 1526382"/>
              <a:gd name="connsiteY12" fmla="*/ 1049337 h 1438275"/>
              <a:gd name="connsiteX0" fmla="*/ 128588 w 1526382"/>
              <a:gd name="connsiteY0" fmla="*/ 1049337 h 1438275"/>
              <a:gd name="connsiteX1" fmla="*/ 123826 w 1526382"/>
              <a:gd name="connsiteY1" fmla="*/ 766762 h 1438275"/>
              <a:gd name="connsiteX2" fmla="*/ 4764 w 1526382"/>
              <a:gd name="connsiteY2" fmla="*/ 650080 h 1438275"/>
              <a:gd name="connsiteX3" fmla="*/ 173832 w 1526382"/>
              <a:gd name="connsiteY3" fmla="*/ 545306 h 1438275"/>
              <a:gd name="connsiteX4" fmla="*/ 0 w 1526382"/>
              <a:gd name="connsiteY4" fmla="*/ 538161 h 1438275"/>
              <a:gd name="connsiteX5" fmla="*/ 935831 w 1526382"/>
              <a:gd name="connsiteY5" fmla="*/ 0 h 1438275"/>
              <a:gd name="connsiteX6" fmla="*/ 1107282 w 1526382"/>
              <a:gd name="connsiteY6" fmla="*/ 9524 h 1438275"/>
              <a:gd name="connsiteX7" fmla="*/ 1526382 w 1526382"/>
              <a:gd name="connsiteY7" fmla="*/ 490537 h 1438275"/>
              <a:gd name="connsiteX8" fmla="*/ 1393032 w 1526382"/>
              <a:gd name="connsiteY8" fmla="*/ 571499 h 1438275"/>
              <a:gd name="connsiteX9" fmla="*/ 1412082 w 1526382"/>
              <a:gd name="connsiteY9" fmla="*/ 871537 h 1438275"/>
              <a:gd name="connsiteX10" fmla="*/ 416720 w 1526382"/>
              <a:gd name="connsiteY10" fmla="*/ 1438275 h 1438275"/>
              <a:gd name="connsiteX11" fmla="*/ 414338 w 1526382"/>
              <a:gd name="connsiteY11" fmla="*/ 1212056 h 1438275"/>
              <a:gd name="connsiteX12" fmla="*/ 128588 w 1526382"/>
              <a:gd name="connsiteY12" fmla="*/ 1049337 h 1438275"/>
              <a:gd name="connsiteX0" fmla="*/ 128588 w 1564482"/>
              <a:gd name="connsiteY0" fmla="*/ 1049337 h 1438275"/>
              <a:gd name="connsiteX1" fmla="*/ 123826 w 1564482"/>
              <a:gd name="connsiteY1" fmla="*/ 766762 h 1438275"/>
              <a:gd name="connsiteX2" fmla="*/ 4764 w 1564482"/>
              <a:gd name="connsiteY2" fmla="*/ 650080 h 1438275"/>
              <a:gd name="connsiteX3" fmla="*/ 173832 w 1564482"/>
              <a:gd name="connsiteY3" fmla="*/ 545306 h 1438275"/>
              <a:gd name="connsiteX4" fmla="*/ 0 w 1564482"/>
              <a:gd name="connsiteY4" fmla="*/ 538161 h 1438275"/>
              <a:gd name="connsiteX5" fmla="*/ 935831 w 1564482"/>
              <a:gd name="connsiteY5" fmla="*/ 0 h 1438275"/>
              <a:gd name="connsiteX6" fmla="*/ 1107282 w 1564482"/>
              <a:gd name="connsiteY6" fmla="*/ 9524 h 1438275"/>
              <a:gd name="connsiteX7" fmla="*/ 1564482 w 1564482"/>
              <a:gd name="connsiteY7" fmla="*/ 473868 h 1438275"/>
              <a:gd name="connsiteX8" fmla="*/ 1393032 w 1564482"/>
              <a:gd name="connsiteY8" fmla="*/ 571499 h 1438275"/>
              <a:gd name="connsiteX9" fmla="*/ 1412082 w 1564482"/>
              <a:gd name="connsiteY9" fmla="*/ 871537 h 1438275"/>
              <a:gd name="connsiteX10" fmla="*/ 416720 w 1564482"/>
              <a:gd name="connsiteY10" fmla="*/ 1438275 h 1438275"/>
              <a:gd name="connsiteX11" fmla="*/ 414338 w 1564482"/>
              <a:gd name="connsiteY11" fmla="*/ 1212056 h 1438275"/>
              <a:gd name="connsiteX12" fmla="*/ 128588 w 1564482"/>
              <a:gd name="connsiteY12" fmla="*/ 1049337 h 1438275"/>
              <a:gd name="connsiteX0" fmla="*/ 128588 w 1585913"/>
              <a:gd name="connsiteY0" fmla="*/ 1049337 h 1438275"/>
              <a:gd name="connsiteX1" fmla="*/ 123826 w 1585913"/>
              <a:gd name="connsiteY1" fmla="*/ 766762 h 1438275"/>
              <a:gd name="connsiteX2" fmla="*/ 4764 w 1585913"/>
              <a:gd name="connsiteY2" fmla="*/ 650080 h 1438275"/>
              <a:gd name="connsiteX3" fmla="*/ 173832 w 1585913"/>
              <a:gd name="connsiteY3" fmla="*/ 545306 h 1438275"/>
              <a:gd name="connsiteX4" fmla="*/ 0 w 1585913"/>
              <a:gd name="connsiteY4" fmla="*/ 538161 h 1438275"/>
              <a:gd name="connsiteX5" fmla="*/ 935831 w 1585913"/>
              <a:gd name="connsiteY5" fmla="*/ 0 h 1438275"/>
              <a:gd name="connsiteX6" fmla="*/ 1107282 w 1585913"/>
              <a:gd name="connsiteY6" fmla="*/ 9524 h 1438275"/>
              <a:gd name="connsiteX7" fmla="*/ 1585913 w 1585913"/>
              <a:gd name="connsiteY7" fmla="*/ 452437 h 1438275"/>
              <a:gd name="connsiteX8" fmla="*/ 1393032 w 1585913"/>
              <a:gd name="connsiteY8" fmla="*/ 571499 h 1438275"/>
              <a:gd name="connsiteX9" fmla="*/ 1412082 w 1585913"/>
              <a:gd name="connsiteY9" fmla="*/ 871537 h 1438275"/>
              <a:gd name="connsiteX10" fmla="*/ 416720 w 1585913"/>
              <a:gd name="connsiteY10" fmla="*/ 1438275 h 1438275"/>
              <a:gd name="connsiteX11" fmla="*/ 414338 w 1585913"/>
              <a:gd name="connsiteY11" fmla="*/ 1212056 h 1438275"/>
              <a:gd name="connsiteX12" fmla="*/ 128588 w 1585913"/>
              <a:gd name="connsiteY12" fmla="*/ 1049337 h 1438275"/>
              <a:gd name="connsiteX0" fmla="*/ 128588 w 1585913"/>
              <a:gd name="connsiteY0" fmla="*/ 1049337 h 1438275"/>
              <a:gd name="connsiteX1" fmla="*/ 123826 w 1585913"/>
              <a:gd name="connsiteY1" fmla="*/ 766762 h 1438275"/>
              <a:gd name="connsiteX2" fmla="*/ 4764 w 1585913"/>
              <a:gd name="connsiteY2" fmla="*/ 650080 h 1438275"/>
              <a:gd name="connsiteX3" fmla="*/ 173832 w 1585913"/>
              <a:gd name="connsiteY3" fmla="*/ 545306 h 1438275"/>
              <a:gd name="connsiteX4" fmla="*/ 0 w 1585913"/>
              <a:gd name="connsiteY4" fmla="*/ 538161 h 1438275"/>
              <a:gd name="connsiteX5" fmla="*/ 935831 w 1585913"/>
              <a:gd name="connsiteY5" fmla="*/ 0 h 1438275"/>
              <a:gd name="connsiteX6" fmla="*/ 1107282 w 1585913"/>
              <a:gd name="connsiteY6" fmla="*/ 9524 h 1438275"/>
              <a:gd name="connsiteX7" fmla="*/ 1585913 w 1585913"/>
              <a:gd name="connsiteY7" fmla="*/ 452437 h 1438275"/>
              <a:gd name="connsiteX8" fmla="*/ 1393032 w 1585913"/>
              <a:gd name="connsiteY8" fmla="*/ 571499 h 1438275"/>
              <a:gd name="connsiteX9" fmla="*/ 1412082 w 1585913"/>
              <a:gd name="connsiteY9" fmla="*/ 871537 h 1438275"/>
              <a:gd name="connsiteX10" fmla="*/ 416720 w 1585913"/>
              <a:gd name="connsiteY10" fmla="*/ 1438275 h 1438275"/>
              <a:gd name="connsiteX11" fmla="*/ 414338 w 1585913"/>
              <a:gd name="connsiteY11" fmla="*/ 1212056 h 1438275"/>
              <a:gd name="connsiteX12" fmla="*/ 128588 w 1585913"/>
              <a:gd name="connsiteY12" fmla="*/ 1049337 h 1438275"/>
              <a:gd name="connsiteX0" fmla="*/ 128588 w 1585913"/>
              <a:gd name="connsiteY0" fmla="*/ 1049337 h 1438275"/>
              <a:gd name="connsiteX1" fmla="*/ 123826 w 1585913"/>
              <a:gd name="connsiteY1" fmla="*/ 766762 h 1438275"/>
              <a:gd name="connsiteX2" fmla="*/ 4764 w 1585913"/>
              <a:gd name="connsiteY2" fmla="*/ 650080 h 1438275"/>
              <a:gd name="connsiteX3" fmla="*/ 173832 w 1585913"/>
              <a:gd name="connsiteY3" fmla="*/ 545306 h 1438275"/>
              <a:gd name="connsiteX4" fmla="*/ 0 w 1585913"/>
              <a:gd name="connsiteY4" fmla="*/ 538161 h 1438275"/>
              <a:gd name="connsiteX5" fmla="*/ 935831 w 1585913"/>
              <a:gd name="connsiteY5" fmla="*/ 0 h 1438275"/>
              <a:gd name="connsiteX6" fmla="*/ 1107282 w 1585913"/>
              <a:gd name="connsiteY6" fmla="*/ 9524 h 1438275"/>
              <a:gd name="connsiteX7" fmla="*/ 1585913 w 1585913"/>
              <a:gd name="connsiteY7" fmla="*/ 452437 h 1438275"/>
              <a:gd name="connsiteX8" fmla="*/ 1393032 w 1585913"/>
              <a:gd name="connsiteY8" fmla="*/ 571499 h 1438275"/>
              <a:gd name="connsiteX9" fmla="*/ 1390650 w 1585913"/>
              <a:gd name="connsiteY9" fmla="*/ 878680 h 1438275"/>
              <a:gd name="connsiteX10" fmla="*/ 416720 w 1585913"/>
              <a:gd name="connsiteY10" fmla="*/ 1438275 h 1438275"/>
              <a:gd name="connsiteX11" fmla="*/ 414338 w 1585913"/>
              <a:gd name="connsiteY11" fmla="*/ 1212056 h 1438275"/>
              <a:gd name="connsiteX12" fmla="*/ 128588 w 1585913"/>
              <a:gd name="connsiteY12" fmla="*/ 1049337 h 1438275"/>
              <a:gd name="connsiteX0" fmla="*/ 128588 w 1585913"/>
              <a:gd name="connsiteY0" fmla="*/ 1049337 h 1438275"/>
              <a:gd name="connsiteX1" fmla="*/ 123826 w 1585913"/>
              <a:gd name="connsiteY1" fmla="*/ 766762 h 1438275"/>
              <a:gd name="connsiteX2" fmla="*/ 4764 w 1585913"/>
              <a:gd name="connsiteY2" fmla="*/ 650080 h 1438275"/>
              <a:gd name="connsiteX3" fmla="*/ 173832 w 1585913"/>
              <a:gd name="connsiteY3" fmla="*/ 545306 h 1438275"/>
              <a:gd name="connsiteX4" fmla="*/ 0 w 1585913"/>
              <a:gd name="connsiteY4" fmla="*/ 538161 h 1438275"/>
              <a:gd name="connsiteX5" fmla="*/ 935831 w 1585913"/>
              <a:gd name="connsiteY5" fmla="*/ 0 h 1438275"/>
              <a:gd name="connsiteX6" fmla="*/ 1107282 w 1585913"/>
              <a:gd name="connsiteY6" fmla="*/ 9524 h 1438275"/>
              <a:gd name="connsiteX7" fmla="*/ 1585913 w 1585913"/>
              <a:gd name="connsiteY7" fmla="*/ 452437 h 1438275"/>
              <a:gd name="connsiteX8" fmla="*/ 1393032 w 1585913"/>
              <a:gd name="connsiteY8" fmla="*/ 571499 h 1438275"/>
              <a:gd name="connsiteX9" fmla="*/ 1393032 w 1585913"/>
              <a:gd name="connsiteY9" fmla="*/ 878680 h 1438275"/>
              <a:gd name="connsiteX10" fmla="*/ 416720 w 1585913"/>
              <a:gd name="connsiteY10" fmla="*/ 1438275 h 1438275"/>
              <a:gd name="connsiteX11" fmla="*/ 414338 w 1585913"/>
              <a:gd name="connsiteY11" fmla="*/ 1212056 h 1438275"/>
              <a:gd name="connsiteX12" fmla="*/ 128588 w 1585913"/>
              <a:gd name="connsiteY12" fmla="*/ 1049337 h 1438275"/>
              <a:gd name="connsiteX0" fmla="*/ 126206 w 1585913"/>
              <a:gd name="connsiteY0" fmla="*/ 1046956 h 1438275"/>
              <a:gd name="connsiteX1" fmla="*/ 123826 w 1585913"/>
              <a:gd name="connsiteY1" fmla="*/ 766762 h 1438275"/>
              <a:gd name="connsiteX2" fmla="*/ 4764 w 1585913"/>
              <a:gd name="connsiteY2" fmla="*/ 650080 h 1438275"/>
              <a:gd name="connsiteX3" fmla="*/ 173832 w 1585913"/>
              <a:gd name="connsiteY3" fmla="*/ 545306 h 1438275"/>
              <a:gd name="connsiteX4" fmla="*/ 0 w 1585913"/>
              <a:gd name="connsiteY4" fmla="*/ 538161 h 1438275"/>
              <a:gd name="connsiteX5" fmla="*/ 935831 w 1585913"/>
              <a:gd name="connsiteY5" fmla="*/ 0 h 1438275"/>
              <a:gd name="connsiteX6" fmla="*/ 1107282 w 1585913"/>
              <a:gd name="connsiteY6" fmla="*/ 9524 h 1438275"/>
              <a:gd name="connsiteX7" fmla="*/ 1585913 w 1585913"/>
              <a:gd name="connsiteY7" fmla="*/ 452437 h 1438275"/>
              <a:gd name="connsiteX8" fmla="*/ 1393032 w 1585913"/>
              <a:gd name="connsiteY8" fmla="*/ 571499 h 1438275"/>
              <a:gd name="connsiteX9" fmla="*/ 1393032 w 1585913"/>
              <a:gd name="connsiteY9" fmla="*/ 878680 h 1438275"/>
              <a:gd name="connsiteX10" fmla="*/ 416720 w 1585913"/>
              <a:gd name="connsiteY10" fmla="*/ 1438275 h 1438275"/>
              <a:gd name="connsiteX11" fmla="*/ 414338 w 1585913"/>
              <a:gd name="connsiteY11" fmla="*/ 1212056 h 1438275"/>
              <a:gd name="connsiteX12" fmla="*/ 126206 w 1585913"/>
              <a:gd name="connsiteY12" fmla="*/ 1046956 h 143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5913" h="1438275">
                <a:moveTo>
                  <a:pt x="126206" y="1046956"/>
                </a:moveTo>
                <a:cubicBezTo>
                  <a:pt x="125412" y="971814"/>
                  <a:pt x="124620" y="841904"/>
                  <a:pt x="123826" y="766762"/>
                </a:cubicBezTo>
                <a:cubicBezTo>
                  <a:pt x="36514" y="686593"/>
                  <a:pt x="53976" y="701674"/>
                  <a:pt x="4764" y="650080"/>
                </a:cubicBezTo>
                <a:lnTo>
                  <a:pt x="173832" y="545306"/>
                </a:lnTo>
                <a:lnTo>
                  <a:pt x="0" y="538161"/>
                </a:lnTo>
                <a:lnTo>
                  <a:pt x="935831" y="0"/>
                </a:lnTo>
                <a:lnTo>
                  <a:pt x="1107282" y="9524"/>
                </a:lnTo>
                <a:lnTo>
                  <a:pt x="1585913" y="452437"/>
                </a:lnTo>
                <a:lnTo>
                  <a:pt x="1393032" y="571499"/>
                </a:lnTo>
                <a:lnTo>
                  <a:pt x="1393032" y="878680"/>
                </a:lnTo>
                <a:lnTo>
                  <a:pt x="416720" y="1438275"/>
                </a:lnTo>
                <a:cubicBezTo>
                  <a:pt x="415132" y="1352550"/>
                  <a:pt x="415926" y="1297781"/>
                  <a:pt x="414338" y="1212056"/>
                </a:cubicBezTo>
                <a:lnTo>
                  <a:pt x="126206" y="1046956"/>
                </a:lnTo>
                <a:close/>
              </a:path>
            </a:pathLst>
          </a:custGeom>
          <a:solidFill>
            <a:schemeClr val="accent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1517" name="Group 1516">
            <a:extLst>
              <a:ext uri="{FF2B5EF4-FFF2-40B4-BE49-F238E27FC236}">
                <a16:creationId xmlns:a16="http://schemas.microsoft.com/office/drawing/2014/main" id="{D54BC764-E608-47E1-AA2A-8367E9A11CE4}"/>
              </a:ext>
            </a:extLst>
          </p:cNvPr>
          <p:cNvGrpSpPr/>
          <p:nvPr/>
        </p:nvGrpSpPr>
        <p:grpSpPr bwMode="gray">
          <a:xfrm>
            <a:off x="6776184" y="2871588"/>
            <a:ext cx="1322479" cy="619758"/>
            <a:chOff x="13053646" y="-44850"/>
            <a:chExt cx="1845366" cy="864800"/>
          </a:xfrm>
        </p:grpSpPr>
        <p:grpSp>
          <p:nvGrpSpPr>
            <p:cNvPr id="1507" name="Group 1506">
              <a:extLst>
                <a:ext uri="{FF2B5EF4-FFF2-40B4-BE49-F238E27FC236}">
                  <a16:creationId xmlns:a16="http://schemas.microsoft.com/office/drawing/2014/main" id="{FD154769-EB1A-4F57-90AE-A7668FE0A08F}"/>
                </a:ext>
              </a:extLst>
            </p:cNvPr>
            <p:cNvGrpSpPr/>
            <p:nvPr/>
          </p:nvGrpSpPr>
          <p:grpSpPr bwMode="gray">
            <a:xfrm flipH="1" flipV="1">
              <a:off x="13053646" y="-44850"/>
              <a:ext cx="1845366" cy="651510"/>
              <a:chOff x="13053646" y="-1035450"/>
              <a:chExt cx="1845366" cy="651510"/>
            </a:xfrm>
          </p:grpSpPr>
          <p:sp>
            <p:nvSpPr>
              <p:cNvPr id="1511" name="Freeform: Shape 1510">
                <a:extLst>
                  <a:ext uri="{FF2B5EF4-FFF2-40B4-BE49-F238E27FC236}">
                    <a16:creationId xmlns:a16="http://schemas.microsoft.com/office/drawing/2014/main" id="{2DB0E797-320B-4D3D-9E69-159C6AC10226}"/>
                  </a:ext>
                </a:extLst>
              </p:cNvPr>
              <p:cNvSpPr/>
              <p:nvPr/>
            </p:nvSpPr>
            <p:spPr bwMode="gray">
              <a:xfrm rot="18000000" flipH="1">
                <a:off x="13363981" y="-749136"/>
                <a:ext cx="82166" cy="648226"/>
              </a:xfrm>
              <a:custGeom>
                <a:avLst/>
                <a:gdLst>
                  <a:gd name="connsiteX0" fmla="*/ 0 w 82166"/>
                  <a:gd name="connsiteY0" fmla="*/ 25185 h 641429"/>
                  <a:gd name="connsiteX1" fmla="*/ 0 w 82166"/>
                  <a:gd name="connsiteY1" fmla="*/ 616244 h 641429"/>
                  <a:gd name="connsiteX2" fmla="*/ 12033 w 82166"/>
                  <a:gd name="connsiteY2" fmla="*/ 634053 h 641429"/>
                  <a:gd name="connsiteX3" fmla="*/ 41083 w 82166"/>
                  <a:gd name="connsiteY3" fmla="*/ 641429 h 641429"/>
                  <a:gd name="connsiteX4" fmla="*/ 82166 w 82166"/>
                  <a:gd name="connsiteY4" fmla="*/ 616244 h 641429"/>
                  <a:gd name="connsiteX5" fmla="*/ 82166 w 82166"/>
                  <a:gd name="connsiteY5" fmla="*/ 25185 h 641429"/>
                  <a:gd name="connsiteX6" fmla="*/ 41083 w 82166"/>
                  <a:gd name="connsiteY6" fmla="*/ 0 h 641429"/>
                  <a:gd name="connsiteX7" fmla="*/ 0 w 82166"/>
                  <a:gd name="connsiteY7" fmla="*/ 25185 h 641429"/>
                  <a:gd name="connsiteX0" fmla="*/ 0 w 82166"/>
                  <a:gd name="connsiteY0" fmla="*/ 36135 h 652379"/>
                  <a:gd name="connsiteX1" fmla="*/ 0 w 82166"/>
                  <a:gd name="connsiteY1" fmla="*/ 627194 h 652379"/>
                  <a:gd name="connsiteX2" fmla="*/ 12033 w 82166"/>
                  <a:gd name="connsiteY2" fmla="*/ 645003 h 652379"/>
                  <a:gd name="connsiteX3" fmla="*/ 41083 w 82166"/>
                  <a:gd name="connsiteY3" fmla="*/ 652379 h 652379"/>
                  <a:gd name="connsiteX4" fmla="*/ 82166 w 82166"/>
                  <a:gd name="connsiteY4" fmla="*/ 627194 h 652379"/>
                  <a:gd name="connsiteX5" fmla="*/ 82166 w 82166"/>
                  <a:gd name="connsiteY5" fmla="*/ 36135 h 652379"/>
                  <a:gd name="connsiteX6" fmla="*/ 36406 w 82166"/>
                  <a:gd name="connsiteY6" fmla="*/ 0 h 652379"/>
                  <a:gd name="connsiteX7" fmla="*/ 0 w 82166"/>
                  <a:gd name="connsiteY7" fmla="*/ 36135 h 652379"/>
                  <a:gd name="connsiteX0" fmla="*/ 0 w 82166"/>
                  <a:gd name="connsiteY0" fmla="*/ 36135 h 661904"/>
                  <a:gd name="connsiteX1" fmla="*/ 0 w 82166"/>
                  <a:gd name="connsiteY1" fmla="*/ 627194 h 661904"/>
                  <a:gd name="connsiteX2" fmla="*/ 12033 w 82166"/>
                  <a:gd name="connsiteY2" fmla="*/ 645003 h 661904"/>
                  <a:gd name="connsiteX3" fmla="*/ 57581 w 82166"/>
                  <a:gd name="connsiteY3" fmla="*/ 661904 h 661904"/>
                  <a:gd name="connsiteX4" fmla="*/ 82166 w 82166"/>
                  <a:gd name="connsiteY4" fmla="*/ 627194 h 661904"/>
                  <a:gd name="connsiteX5" fmla="*/ 82166 w 82166"/>
                  <a:gd name="connsiteY5" fmla="*/ 36135 h 661904"/>
                  <a:gd name="connsiteX6" fmla="*/ 36406 w 82166"/>
                  <a:gd name="connsiteY6" fmla="*/ 0 h 661904"/>
                  <a:gd name="connsiteX7" fmla="*/ 0 w 82166"/>
                  <a:gd name="connsiteY7" fmla="*/ 36135 h 661904"/>
                  <a:gd name="connsiteX0" fmla="*/ 0 w 82166"/>
                  <a:gd name="connsiteY0" fmla="*/ 36135 h 684641"/>
                  <a:gd name="connsiteX1" fmla="*/ 0 w 82166"/>
                  <a:gd name="connsiteY1" fmla="*/ 627194 h 684641"/>
                  <a:gd name="connsiteX2" fmla="*/ 57581 w 82166"/>
                  <a:gd name="connsiteY2" fmla="*/ 661904 h 684641"/>
                  <a:gd name="connsiteX3" fmla="*/ 82166 w 82166"/>
                  <a:gd name="connsiteY3" fmla="*/ 627194 h 684641"/>
                  <a:gd name="connsiteX4" fmla="*/ 82166 w 82166"/>
                  <a:gd name="connsiteY4" fmla="*/ 36135 h 684641"/>
                  <a:gd name="connsiteX5" fmla="*/ 36406 w 82166"/>
                  <a:gd name="connsiteY5" fmla="*/ 0 h 684641"/>
                  <a:gd name="connsiteX6" fmla="*/ 0 w 82166"/>
                  <a:gd name="connsiteY6" fmla="*/ 36135 h 684641"/>
                  <a:gd name="connsiteX0" fmla="*/ 0 w 82195"/>
                  <a:gd name="connsiteY0" fmla="*/ 36135 h 682103"/>
                  <a:gd name="connsiteX1" fmla="*/ 0 w 82195"/>
                  <a:gd name="connsiteY1" fmla="*/ 627194 h 682103"/>
                  <a:gd name="connsiteX2" fmla="*/ 69721 w 82195"/>
                  <a:gd name="connsiteY2" fmla="*/ 655165 h 682103"/>
                  <a:gd name="connsiteX3" fmla="*/ 82166 w 82195"/>
                  <a:gd name="connsiteY3" fmla="*/ 627194 h 682103"/>
                  <a:gd name="connsiteX4" fmla="*/ 82166 w 82195"/>
                  <a:gd name="connsiteY4" fmla="*/ 36135 h 682103"/>
                  <a:gd name="connsiteX5" fmla="*/ 36406 w 82195"/>
                  <a:gd name="connsiteY5" fmla="*/ 0 h 682103"/>
                  <a:gd name="connsiteX6" fmla="*/ 0 w 82195"/>
                  <a:gd name="connsiteY6" fmla="*/ 36135 h 682103"/>
                  <a:gd name="connsiteX0" fmla="*/ 0 w 82166"/>
                  <a:gd name="connsiteY0" fmla="*/ 36135 h 685730"/>
                  <a:gd name="connsiteX1" fmla="*/ 0 w 82166"/>
                  <a:gd name="connsiteY1" fmla="*/ 627194 h 685730"/>
                  <a:gd name="connsiteX2" fmla="*/ 69721 w 82166"/>
                  <a:gd name="connsiteY2" fmla="*/ 655165 h 685730"/>
                  <a:gd name="connsiteX3" fmla="*/ 82166 w 82166"/>
                  <a:gd name="connsiteY3" fmla="*/ 627194 h 685730"/>
                  <a:gd name="connsiteX4" fmla="*/ 82166 w 82166"/>
                  <a:gd name="connsiteY4" fmla="*/ 36135 h 685730"/>
                  <a:gd name="connsiteX5" fmla="*/ 36406 w 82166"/>
                  <a:gd name="connsiteY5" fmla="*/ 0 h 685730"/>
                  <a:gd name="connsiteX6" fmla="*/ 0 w 82166"/>
                  <a:gd name="connsiteY6" fmla="*/ 36135 h 685730"/>
                  <a:gd name="connsiteX0" fmla="*/ 0 w 82166"/>
                  <a:gd name="connsiteY0" fmla="*/ 36135 h 684587"/>
                  <a:gd name="connsiteX1" fmla="*/ 0 w 82166"/>
                  <a:gd name="connsiteY1" fmla="*/ 627194 h 684587"/>
                  <a:gd name="connsiteX2" fmla="*/ 74164 w 82166"/>
                  <a:gd name="connsiteY2" fmla="*/ 652231 h 684587"/>
                  <a:gd name="connsiteX3" fmla="*/ 82166 w 82166"/>
                  <a:gd name="connsiteY3" fmla="*/ 627194 h 684587"/>
                  <a:gd name="connsiteX4" fmla="*/ 82166 w 82166"/>
                  <a:gd name="connsiteY4" fmla="*/ 36135 h 684587"/>
                  <a:gd name="connsiteX5" fmla="*/ 36406 w 82166"/>
                  <a:gd name="connsiteY5" fmla="*/ 0 h 684587"/>
                  <a:gd name="connsiteX6" fmla="*/ 0 w 82166"/>
                  <a:gd name="connsiteY6" fmla="*/ 36135 h 684587"/>
                  <a:gd name="connsiteX0" fmla="*/ 0 w 82166"/>
                  <a:gd name="connsiteY0" fmla="*/ 36135 h 701076"/>
                  <a:gd name="connsiteX1" fmla="*/ 0 w 82166"/>
                  <a:gd name="connsiteY1" fmla="*/ 627194 h 701076"/>
                  <a:gd name="connsiteX2" fmla="*/ 82166 w 82166"/>
                  <a:gd name="connsiteY2" fmla="*/ 627194 h 701076"/>
                  <a:gd name="connsiteX3" fmla="*/ 82166 w 82166"/>
                  <a:gd name="connsiteY3" fmla="*/ 36135 h 701076"/>
                  <a:gd name="connsiteX4" fmla="*/ 36406 w 82166"/>
                  <a:gd name="connsiteY4" fmla="*/ 0 h 701076"/>
                  <a:gd name="connsiteX5" fmla="*/ 0 w 82166"/>
                  <a:gd name="connsiteY5" fmla="*/ 36135 h 701076"/>
                  <a:gd name="connsiteX0" fmla="*/ 0 w 82166"/>
                  <a:gd name="connsiteY0" fmla="*/ 36135 h 707728"/>
                  <a:gd name="connsiteX1" fmla="*/ 0 w 82166"/>
                  <a:gd name="connsiteY1" fmla="*/ 627194 h 707728"/>
                  <a:gd name="connsiteX2" fmla="*/ 80338 w 82166"/>
                  <a:gd name="connsiteY2" fmla="*/ 639886 h 707728"/>
                  <a:gd name="connsiteX3" fmla="*/ 82166 w 82166"/>
                  <a:gd name="connsiteY3" fmla="*/ 36135 h 707728"/>
                  <a:gd name="connsiteX4" fmla="*/ 36406 w 82166"/>
                  <a:gd name="connsiteY4" fmla="*/ 0 h 707728"/>
                  <a:gd name="connsiteX5" fmla="*/ 0 w 82166"/>
                  <a:gd name="connsiteY5" fmla="*/ 36135 h 707728"/>
                  <a:gd name="connsiteX0" fmla="*/ 0 w 82166"/>
                  <a:gd name="connsiteY0" fmla="*/ 36135 h 678205"/>
                  <a:gd name="connsiteX1" fmla="*/ 0 w 82166"/>
                  <a:gd name="connsiteY1" fmla="*/ 627194 h 678205"/>
                  <a:gd name="connsiteX2" fmla="*/ 80338 w 82166"/>
                  <a:gd name="connsiteY2" fmla="*/ 639886 h 678205"/>
                  <a:gd name="connsiteX3" fmla="*/ 82166 w 82166"/>
                  <a:gd name="connsiteY3" fmla="*/ 36135 h 678205"/>
                  <a:gd name="connsiteX4" fmla="*/ 36406 w 82166"/>
                  <a:gd name="connsiteY4" fmla="*/ 0 h 678205"/>
                  <a:gd name="connsiteX5" fmla="*/ 0 w 82166"/>
                  <a:gd name="connsiteY5" fmla="*/ 36135 h 678205"/>
                  <a:gd name="connsiteX0" fmla="*/ 0 w 82166"/>
                  <a:gd name="connsiteY0" fmla="*/ 36135 h 647264"/>
                  <a:gd name="connsiteX1" fmla="*/ 0 w 82166"/>
                  <a:gd name="connsiteY1" fmla="*/ 627194 h 647264"/>
                  <a:gd name="connsiteX2" fmla="*/ 80338 w 82166"/>
                  <a:gd name="connsiteY2" fmla="*/ 639886 h 647264"/>
                  <a:gd name="connsiteX3" fmla="*/ 82166 w 82166"/>
                  <a:gd name="connsiteY3" fmla="*/ 36135 h 647264"/>
                  <a:gd name="connsiteX4" fmla="*/ 36406 w 82166"/>
                  <a:gd name="connsiteY4" fmla="*/ 0 h 647264"/>
                  <a:gd name="connsiteX5" fmla="*/ 0 w 82166"/>
                  <a:gd name="connsiteY5" fmla="*/ 36135 h 647264"/>
                  <a:gd name="connsiteX0" fmla="*/ 0 w 82166"/>
                  <a:gd name="connsiteY0" fmla="*/ 36135 h 643717"/>
                  <a:gd name="connsiteX1" fmla="*/ 3338 w 82166"/>
                  <a:gd name="connsiteY1" fmla="*/ 607124 h 643717"/>
                  <a:gd name="connsiteX2" fmla="*/ 80338 w 82166"/>
                  <a:gd name="connsiteY2" fmla="*/ 639886 h 643717"/>
                  <a:gd name="connsiteX3" fmla="*/ 82166 w 82166"/>
                  <a:gd name="connsiteY3" fmla="*/ 36135 h 643717"/>
                  <a:gd name="connsiteX4" fmla="*/ 36406 w 82166"/>
                  <a:gd name="connsiteY4" fmla="*/ 0 h 643717"/>
                  <a:gd name="connsiteX5" fmla="*/ 0 w 82166"/>
                  <a:gd name="connsiteY5" fmla="*/ 36135 h 643717"/>
                  <a:gd name="connsiteX0" fmla="*/ 0 w 82166"/>
                  <a:gd name="connsiteY0" fmla="*/ 36135 h 643717"/>
                  <a:gd name="connsiteX1" fmla="*/ 3338 w 82166"/>
                  <a:gd name="connsiteY1" fmla="*/ 607124 h 643717"/>
                  <a:gd name="connsiteX2" fmla="*/ 80338 w 82166"/>
                  <a:gd name="connsiteY2" fmla="*/ 639886 h 643717"/>
                  <a:gd name="connsiteX3" fmla="*/ 82166 w 82166"/>
                  <a:gd name="connsiteY3" fmla="*/ 36135 h 643717"/>
                  <a:gd name="connsiteX4" fmla="*/ 36406 w 82166"/>
                  <a:gd name="connsiteY4" fmla="*/ 0 h 643717"/>
                  <a:gd name="connsiteX5" fmla="*/ 0 w 82166"/>
                  <a:gd name="connsiteY5" fmla="*/ 36135 h 643717"/>
                  <a:gd name="connsiteX0" fmla="*/ 0 w 82166"/>
                  <a:gd name="connsiteY0" fmla="*/ 36135 h 684735"/>
                  <a:gd name="connsiteX1" fmla="*/ 3338 w 82166"/>
                  <a:gd name="connsiteY1" fmla="*/ 607124 h 684735"/>
                  <a:gd name="connsiteX2" fmla="*/ 46221 w 82166"/>
                  <a:gd name="connsiteY2" fmla="*/ 636625 h 684735"/>
                  <a:gd name="connsiteX3" fmla="*/ 80338 w 82166"/>
                  <a:gd name="connsiteY3" fmla="*/ 639886 h 684735"/>
                  <a:gd name="connsiteX4" fmla="*/ 82166 w 82166"/>
                  <a:gd name="connsiteY4" fmla="*/ 36135 h 684735"/>
                  <a:gd name="connsiteX5" fmla="*/ 36406 w 82166"/>
                  <a:gd name="connsiteY5" fmla="*/ 0 h 684735"/>
                  <a:gd name="connsiteX6" fmla="*/ 0 w 82166"/>
                  <a:gd name="connsiteY6" fmla="*/ 36135 h 684735"/>
                  <a:gd name="connsiteX0" fmla="*/ 0 w 82166"/>
                  <a:gd name="connsiteY0" fmla="*/ 36135 h 691598"/>
                  <a:gd name="connsiteX1" fmla="*/ 3338 w 82166"/>
                  <a:gd name="connsiteY1" fmla="*/ 607124 h 691598"/>
                  <a:gd name="connsiteX2" fmla="*/ 71520 w 82166"/>
                  <a:gd name="connsiteY2" fmla="*/ 659480 h 691598"/>
                  <a:gd name="connsiteX3" fmla="*/ 80338 w 82166"/>
                  <a:gd name="connsiteY3" fmla="*/ 639886 h 691598"/>
                  <a:gd name="connsiteX4" fmla="*/ 82166 w 82166"/>
                  <a:gd name="connsiteY4" fmla="*/ 36135 h 691598"/>
                  <a:gd name="connsiteX5" fmla="*/ 36406 w 82166"/>
                  <a:gd name="connsiteY5" fmla="*/ 0 h 691598"/>
                  <a:gd name="connsiteX6" fmla="*/ 0 w 82166"/>
                  <a:gd name="connsiteY6" fmla="*/ 36135 h 691598"/>
                  <a:gd name="connsiteX0" fmla="*/ 0 w 82166"/>
                  <a:gd name="connsiteY0" fmla="*/ 36135 h 687261"/>
                  <a:gd name="connsiteX1" fmla="*/ 3338 w 82166"/>
                  <a:gd name="connsiteY1" fmla="*/ 607124 h 687261"/>
                  <a:gd name="connsiteX2" fmla="*/ 71520 w 82166"/>
                  <a:gd name="connsiteY2" fmla="*/ 659480 h 687261"/>
                  <a:gd name="connsiteX3" fmla="*/ 80338 w 82166"/>
                  <a:gd name="connsiteY3" fmla="*/ 639886 h 687261"/>
                  <a:gd name="connsiteX4" fmla="*/ 82166 w 82166"/>
                  <a:gd name="connsiteY4" fmla="*/ 36135 h 687261"/>
                  <a:gd name="connsiteX5" fmla="*/ 36406 w 82166"/>
                  <a:gd name="connsiteY5" fmla="*/ 0 h 687261"/>
                  <a:gd name="connsiteX6" fmla="*/ 0 w 82166"/>
                  <a:gd name="connsiteY6" fmla="*/ 36135 h 687261"/>
                  <a:gd name="connsiteX0" fmla="*/ 0 w 82166"/>
                  <a:gd name="connsiteY0" fmla="*/ 36135 h 703715"/>
                  <a:gd name="connsiteX1" fmla="*/ 3338 w 82166"/>
                  <a:gd name="connsiteY1" fmla="*/ 607124 h 703715"/>
                  <a:gd name="connsiteX2" fmla="*/ 71520 w 82166"/>
                  <a:gd name="connsiteY2" fmla="*/ 659480 h 703715"/>
                  <a:gd name="connsiteX3" fmla="*/ 80338 w 82166"/>
                  <a:gd name="connsiteY3" fmla="*/ 639886 h 703715"/>
                  <a:gd name="connsiteX4" fmla="*/ 82166 w 82166"/>
                  <a:gd name="connsiteY4" fmla="*/ 36135 h 703715"/>
                  <a:gd name="connsiteX5" fmla="*/ 36406 w 82166"/>
                  <a:gd name="connsiteY5" fmla="*/ 0 h 703715"/>
                  <a:gd name="connsiteX6" fmla="*/ 0 w 82166"/>
                  <a:gd name="connsiteY6" fmla="*/ 36135 h 703715"/>
                  <a:gd name="connsiteX0" fmla="*/ 0 w 82166"/>
                  <a:gd name="connsiteY0" fmla="*/ 36135 h 746122"/>
                  <a:gd name="connsiteX1" fmla="*/ 3338 w 82166"/>
                  <a:gd name="connsiteY1" fmla="*/ 607124 h 746122"/>
                  <a:gd name="connsiteX2" fmla="*/ 69202 w 82166"/>
                  <a:gd name="connsiteY2" fmla="*/ 715885 h 746122"/>
                  <a:gd name="connsiteX3" fmla="*/ 80338 w 82166"/>
                  <a:gd name="connsiteY3" fmla="*/ 639886 h 746122"/>
                  <a:gd name="connsiteX4" fmla="*/ 82166 w 82166"/>
                  <a:gd name="connsiteY4" fmla="*/ 36135 h 746122"/>
                  <a:gd name="connsiteX5" fmla="*/ 36406 w 82166"/>
                  <a:gd name="connsiteY5" fmla="*/ 0 h 746122"/>
                  <a:gd name="connsiteX6" fmla="*/ 0 w 82166"/>
                  <a:gd name="connsiteY6" fmla="*/ 36135 h 746122"/>
                  <a:gd name="connsiteX0" fmla="*/ 0 w 82166"/>
                  <a:gd name="connsiteY0" fmla="*/ 36135 h 698632"/>
                  <a:gd name="connsiteX1" fmla="*/ 3338 w 82166"/>
                  <a:gd name="connsiteY1" fmla="*/ 607124 h 698632"/>
                  <a:gd name="connsiteX2" fmla="*/ 80338 w 82166"/>
                  <a:gd name="connsiteY2" fmla="*/ 639886 h 698632"/>
                  <a:gd name="connsiteX3" fmla="*/ 82166 w 82166"/>
                  <a:gd name="connsiteY3" fmla="*/ 36135 h 698632"/>
                  <a:gd name="connsiteX4" fmla="*/ 36406 w 82166"/>
                  <a:gd name="connsiteY4" fmla="*/ 0 h 698632"/>
                  <a:gd name="connsiteX5" fmla="*/ 0 w 82166"/>
                  <a:gd name="connsiteY5" fmla="*/ 36135 h 698632"/>
                  <a:gd name="connsiteX0" fmla="*/ 0 w 82166"/>
                  <a:gd name="connsiteY0" fmla="*/ 36135 h 668870"/>
                  <a:gd name="connsiteX1" fmla="*/ 3338 w 82166"/>
                  <a:gd name="connsiteY1" fmla="*/ 607124 h 668870"/>
                  <a:gd name="connsiteX2" fmla="*/ 80338 w 82166"/>
                  <a:gd name="connsiteY2" fmla="*/ 639886 h 668870"/>
                  <a:gd name="connsiteX3" fmla="*/ 82166 w 82166"/>
                  <a:gd name="connsiteY3" fmla="*/ 36135 h 668870"/>
                  <a:gd name="connsiteX4" fmla="*/ 36406 w 82166"/>
                  <a:gd name="connsiteY4" fmla="*/ 0 h 668870"/>
                  <a:gd name="connsiteX5" fmla="*/ 0 w 82166"/>
                  <a:gd name="connsiteY5" fmla="*/ 36135 h 668870"/>
                  <a:gd name="connsiteX0" fmla="*/ 0 w 82166"/>
                  <a:gd name="connsiteY0" fmla="*/ 36135 h 648226"/>
                  <a:gd name="connsiteX1" fmla="*/ 3338 w 82166"/>
                  <a:gd name="connsiteY1" fmla="*/ 607124 h 648226"/>
                  <a:gd name="connsiteX2" fmla="*/ 80338 w 82166"/>
                  <a:gd name="connsiteY2" fmla="*/ 639886 h 648226"/>
                  <a:gd name="connsiteX3" fmla="*/ 82166 w 82166"/>
                  <a:gd name="connsiteY3" fmla="*/ 36135 h 648226"/>
                  <a:gd name="connsiteX4" fmla="*/ 36406 w 82166"/>
                  <a:gd name="connsiteY4" fmla="*/ 0 h 648226"/>
                  <a:gd name="connsiteX5" fmla="*/ 0 w 82166"/>
                  <a:gd name="connsiteY5" fmla="*/ 36135 h 64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166" h="648226">
                    <a:moveTo>
                      <a:pt x="0" y="36135"/>
                    </a:moveTo>
                    <a:cubicBezTo>
                      <a:pt x="1113" y="226465"/>
                      <a:pt x="2225" y="416794"/>
                      <a:pt x="3338" y="607124"/>
                    </a:cubicBezTo>
                    <a:cubicBezTo>
                      <a:pt x="27062" y="642224"/>
                      <a:pt x="74919" y="659769"/>
                      <a:pt x="80338" y="639886"/>
                    </a:cubicBezTo>
                    <a:cubicBezTo>
                      <a:pt x="80947" y="438636"/>
                      <a:pt x="81557" y="237385"/>
                      <a:pt x="82166" y="36135"/>
                    </a:cubicBezTo>
                    <a:cubicBezTo>
                      <a:pt x="82166" y="22226"/>
                      <a:pt x="59096" y="0"/>
                      <a:pt x="36406" y="0"/>
                    </a:cubicBezTo>
                    <a:cubicBezTo>
                      <a:pt x="13716" y="0"/>
                      <a:pt x="0" y="22226"/>
                      <a:pt x="0" y="36135"/>
                    </a:cubicBezTo>
                    <a:close/>
                  </a:path>
                </a:pathLst>
              </a:custGeom>
              <a:gradFill flip="none" rotWithShape="1">
                <a:gsLst>
                  <a:gs pos="65776">
                    <a:srgbClr val="E0E0E0"/>
                  </a:gs>
                  <a:gs pos="22000">
                    <a:schemeClr val="accent2">
                      <a:lumMod val="0"/>
                      <a:lumOff val="100000"/>
                    </a:schemeClr>
                  </a:gs>
                  <a:gs pos="86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08" name="Freeform: Shape 1507">
                <a:extLst>
                  <a:ext uri="{FF2B5EF4-FFF2-40B4-BE49-F238E27FC236}">
                    <a16:creationId xmlns:a16="http://schemas.microsoft.com/office/drawing/2014/main" id="{ACCCE928-26EF-49EA-94F1-B6353ADCC242}"/>
                  </a:ext>
                </a:extLst>
              </p:cNvPr>
              <p:cNvSpPr/>
              <p:nvPr/>
            </p:nvSpPr>
            <p:spPr bwMode="gray">
              <a:xfrm rot="3600000">
                <a:off x="13676453" y="-1551723"/>
                <a:ext cx="82167" cy="1327782"/>
              </a:xfrm>
              <a:custGeom>
                <a:avLst/>
                <a:gdLst>
                  <a:gd name="connsiteX0" fmla="*/ 1 w 82167"/>
                  <a:gd name="connsiteY0" fmla="*/ 25186 h 1327782"/>
                  <a:gd name="connsiteX1" fmla="*/ 1 w 82167"/>
                  <a:gd name="connsiteY1" fmla="*/ 25185 h 1327782"/>
                  <a:gd name="connsiteX2" fmla="*/ 1 w 82167"/>
                  <a:gd name="connsiteY2" fmla="*/ 25185 h 1327782"/>
                  <a:gd name="connsiteX3" fmla="*/ 41084 w 82167"/>
                  <a:gd name="connsiteY3" fmla="*/ 0 h 1327782"/>
                  <a:gd name="connsiteX4" fmla="*/ 82167 w 82167"/>
                  <a:gd name="connsiteY4" fmla="*/ 25185 h 1327782"/>
                  <a:gd name="connsiteX5" fmla="*/ 82167 w 82167"/>
                  <a:gd name="connsiteY5" fmla="*/ 25185 h 1327782"/>
                  <a:gd name="connsiteX6" fmla="*/ 82167 w 82167"/>
                  <a:gd name="connsiteY6" fmla="*/ 1302596 h 1327782"/>
                  <a:gd name="connsiteX7" fmla="*/ 82166 w 82167"/>
                  <a:gd name="connsiteY7" fmla="*/ 1302597 h 1327782"/>
                  <a:gd name="connsiteX8" fmla="*/ 82166 w 82167"/>
                  <a:gd name="connsiteY8" fmla="*/ 1302597 h 1327782"/>
                  <a:gd name="connsiteX9" fmla="*/ 41084 w 82167"/>
                  <a:gd name="connsiteY9" fmla="*/ 1327782 h 1327782"/>
                  <a:gd name="connsiteX10" fmla="*/ 12033 w 82167"/>
                  <a:gd name="connsiteY10" fmla="*/ 1320405 h 1327782"/>
                  <a:gd name="connsiteX11" fmla="*/ 0 w 82167"/>
                  <a:gd name="connsiteY11" fmla="*/ 1302597 h 13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167" h="1327782">
                    <a:moveTo>
                      <a:pt x="1" y="25186"/>
                    </a:moveTo>
                    <a:lnTo>
                      <a:pt x="1" y="25185"/>
                    </a:lnTo>
                    <a:lnTo>
                      <a:pt x="1" y="25185"/>
                    </a:lnTo>
                    <a:cubicBezTo>
                      <a:pt x="1" y="11276"/>
                      <a:pt x="18394" y="0"/>
                      <a:pt x="41084" y="0"/>
                    </a:cubicBezTo>
                    <a:cubicBezTo>
                      <a:pt x="63774" y="0"/>
                      <a:pt x="82167" y="11276"/>
                      <a:pt x="82167" y="25185"/>
                    </a:cubicBezTo>
                    <a:lnTo>
                      <a:pt x="82167" y="25185"/>
                    </a:lnTo>
                    <a:lnTo>
                      <a:pt x="82167" y="1302596"/>
                    </a:lnTo>
                    <a:lnTo>
                      <a:pt x="82166" y="1302597"/>
                    </a:lnTo>
                    <a:lnTo>
                      <a:pt x="82166" y="1302597"/>
                    </a:lnTo>
                    <a:cubicBezTo>
                      <a:pt x="82167" y="1316506"/>
                      <a:pt x="63774" y="1327782"/>
                      <a:pt x="41084" y="1327782"/>
                    </a:cubicBezTo>
                    <a:cubicBezTo>
                      <a:pt x="29738" y="1327782"/>
                      <a:pt x="19468" y="1324963"/>
                      <a:pt x="12033" y="1320405"/>
                    </a:cubicBezTo>
                    <a:cubicBezTo>
                      <a:pt x="4599" y="1315848"/>
                      <a:pt x="1" y="1309551"/>
                      <a:pt x="0" y="1302597"/>
                    </a:cubicBezTo>
                    <a:close/>
                  </a:path>
                </a:pathLst>
              </a:custGeom>
              <a:gradFill flip="none" rotWithShape="1">
                <a:gsLst>
                  <a:gs pos="20000">
                    <a:schemeClr val="accent2">
                      <a:lumMod val="0"/>
                      <a:lumOff val="100000"/>
                    </a:schemeClr>
                  </a:gs>
                  <a:gs pos="94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09" name="Freeform: Shape 1508">
                <a:extLst>
                  <a:ext uri="{FF2B5EF4-FFF2-40B4-BE49-F238E27FC236}">
                    <a16:creationId xmlns:a16="http://schemas.microsoft.com/office/drawing/2014/main" id="{F863D03E-71BC-4C2D-AD6A-0315F1422435}"/>
                  </a:ext>
                </a:extLst>
              </p:cNvPr>
              <p:cNvSpPr/>
              <p:nvPr/>
            </p:nvSpPr>
            <p:spPr bwMode="gray">
              <a:xfrm rot="3600000">
                <a:off x="13933626" y="-1406465"/>
                <a:ext cx="82167" cy="1327782"/>
              </a:xfrm>
              <a:custGeom>
                <a:avLst/>
                <a:gdLst>
                  <a:gd name="connsiteX0" fmla="*/ 1 w 82167"/>
                  <a:gd name="connsiteY0" fmla="*/ 25186 h 1327782"/>
                  <a:gd name="connsiteX1" fmla="*/ 1 w 82167"/>
                  <a:gd name="connsiteY1" fmla="*/ 25185 h 1327782"/>
                  <a:gd name="connsiteX2" fmla="*/ 1 w 82167"/>
                  <a:gd name="connsiteY2" fmla="*/ 25185 h 1327782"/>
                  <a:gd name="connsiteX3" fmla="*/ 41084 w 82167"/>
                  <a:gd name="connsiteY3" fmla="*/ 0 h 1327782"/>
                  <a:gd name="connsiteX4" fmla="*/ 82167 w 82167"/>
                  <a:gd name="connsiteY4" fmla="*/ 25185 h 1327782"/>
                  <a:gd name="connsiteX5" fmla="*/ 82167 w 82167"/>
                  <a:gd name="connsiteY5" fmla="*/ 25185 h 1327782"/>
                  <a:gd name="connsiteX6" fmla="*/ 82167 w 82167"/>
                  <a:gd name="connsiteY6" fmla="*/ 1302596 h 1327782"/>
                  <a:gd name="connsiteX7" fmla="*/ 82166 w 82167"/>
                  <a:gd name="connsiteY7" fmla="*/ 1302597 h 1327782"/>
                  <a:gd name="connsiteX8" fmla="*/ 82166 w 82167"/>
                  <a:gd name="connsiteY8" fmla="*/ 1302597 h 1327782"/>
                  <a:gd name="connsiteX9" fmla="*/ 41084 w 82167"/>
                  <a:gd name="connsiteY9" fmla="*/ 1327782 h 1327782"/>
                  <a:gd name="connsiteX10" fmla="*/ 12033 w 82167"/>
                  <a:gd name="connsiteY10" fmla="*/ 1320405 h 1327782"/>
                  <a:gd name="connsiteX11" fmla="*/ 0 w 82167"/>
                  <a:gd name="connsiteY11" fmla="*/ 1302597 h 13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167" h="1327782">
                    <a:moveTo>
                      <a:pt x="1" y="25186"/>
                    </a:moveTo>
                    <a:lnTo>
                      <a:pt x="1" y="25185"/>
                    </a:lnTo>
                    <a:lnTo>
                      <a:pt x="1" y="25185"/>
                    </a:lnTo>
                    <a:cubicBezTo>
                      <a:pt x="1" y="11276"/>
                      <a:pt x="18394" y="0"/>
                      <a:pt x="41084" y="0"/>
                    </a:cubicBezTo>
                    <a:cubicBezTo>
                      <a:pt x="63774" y="0"/>
                      <a:pt x="82167" y="11276"/>
                      <a:pt x="82167" y="25185"/>
                    </a:cubicBezTo>
                    <a:lnTo>
                      <a:pt x="82167" y="25185"/>
                    </a:lnTo>
                    <a:lnTo>
                      <a:pt x="82167" y="1302596"/>
                    </a:lnTo>
                    <a:lnTo>
                      <a:pt x="82166" y="1302597"/>
                    </a:lnTo>
                    <a:lnTo>
                      <a:pt x="82166" y="1302597"/>
                    </a:lnTo>
                    <a:cubicBezTo>
                      <a:pt x="82167" y="1316506"/>
                      <a:pt x="63774" y="1327782"/>
                      <a:pt x="41084" y="1327782"/>
                    </a:cubicBezTo>
                    <a:cubicBezTo>
                      <a:pt x="29738" y="1327782"/>
                      <a:pt x="19468" y="1324963"/>
                      <a:pt x="12033" y="1320405"/>
                    </a:cubicBezTo>
                    <a:cubicBezTo>
                      <a:pt x="4599" y="1315848"/>
                      <a:pt x="1" y="1309551"/>
                      <a:pt x="0" y="1302597"/>
                    </a:cubicBezTo>
                    <a:close/>
                  </a:path>
                </a:pathLst>
              </a:custGeom>
              <a:gradFill flip="none" rotWithShape="1">
                <a:gsLst>
                  <a:gs pos="20000">
                    <a:schemeClr val="accent2">
                      <a:lumMod val="0"/>
                      <a:lumOff val="100000"/>
                    </a:schemeClr>
                  </a:gs>
                  <a:gs pos="94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10" name="Freeform: Shape 1509">
                <a:extLst>
                  <a:ext uri="{FF2B5EF4-FFF2-40B4-BE49-F238E27FC236}">
                    <a16:creationId xmlns:a16="http://schemas.microsoft.com/office/drawing/2014/main" id="{DC1E5733-EDB8-48C8-A33E-D27063D67902}"/>
                  </a:ext>
                </a:extLst>
              </p:cNvPr>
              <p:cNvSpPr/>
              <p:nvPr/>
            </p:nvSpPr>
            <p:spPr bwMode="gray">
              <a:xfrm rot="3600000">
                <a:off x="14187648" y="-1262021"/>
                <a:ext cx="82167" cy="1340560"/>
              </a:xfrm>
              <a:custGeom>
                <a:avLst/>
                <a:gdLst>
                  <a:gd name="connsiteX0" fmla="*/ 1 w 82167"/>
                  <a:gd name="connsiteY0" fmla="*/ 25186 h 1327782"/>
                  <a:gd name="connsiteX1" fmla="*/ 1 w 82167"/>
                  <a:gd name="connsiteY1" fmla="*/ 25185 h 1327782"/>
                  <a:gd name="connsiteX2" fmla="*/ 1 w 82167"/>
                  <a:gd name="connsiteY2" fmla="*/ 25185 h 1327782"/>
                  <a:gd name="connsiteX3" fmla="*/ 41084 w 82167"/>
                  <a:gd name="connsiteY3" fmla="*/ 0 h 1327782"/>
                  <a:gd name="connsiteX4" fmla="*/ 82167 w 82167"/>
                  <a:gd name="connsiteY4" fmla="*/ 25185 h 1327782"/>
                  <a:gd name="connsiteX5" fmla="*/ 82167 w 82167"/>
                  <a:gd name="connsiteY5" fmla="*/ 25185 h 1327782"/>
                  <a:gd name="connsiteX6" fmla="*/ 82167 w 82167"/>
                  <a:gd name="connsiteY6" fmla="*/ 1302596 h 1327782"/>
                  <a:gd name="connsiteX7" fmla="*/ 82166 w 82167"/>
                  <a:gd name="connsiteY7" fmla="*/ 1302597 h 1327782"/>
                  <a:gd name="connsiteX8" fmla="*/ 82166 w 82167"/>
                  <a:gd name="connsiteY8" fmla="*/ 1302597 h 1327782"/>
                  <a:gd name="connsiteX9" fmla="*/ 41084 w 82167"/>
                  <a:gd name="connsiteY9" fmla="*/ 1327782 h 1327782"/>
                  <a:gd name="connsiteX10" fmla="*/ 12033 w 82167"/>
                  <a:gd name="connsiteY10" fmla="*/ 1320405 h 1327782"/>
                  <a:gd name="connsiteX11" fmla="*/ 0 w 82167"/>
                  <a:gd name="connsiteY11" fmla="*/ 1302597 h 1327782"/>
                  <a:gd name="connsiteX0" fmla="*/ 1 w 82167"/>
                  <a:gd name="connsiteY0" fmla="*/ 25186 h 1340560"/>
                  <a:gd name="connsiteX1" fmla="*/ 1 w 82167"/>
                  <a:gd name="connsiteY1" fmla="*/ 25185 h 1340560"/>
                  <a:gd name="connsiteX2" fmla="*/ 1 w 82167"/>
                  <a:gd name="connsiteY2" fmla="*/ 25185 h 1340560"/>
                  <a:gd name="connsiteX3" fmla="*/ 41084 w 82167"/>
                  <a:gd name="connsiteY3" fmla="*/ 0 h 1340560"/>
                  <a:gd name="connsiteX4" fmla="*/ 82167 w 82167"/>
                  <a:gd name="connsiteY4" fmla="*/ 25185 h 1340560"/>
                  <a:gd name="connsiteX5" fmla="*/ 82167 w 82167"/>
                  <a:gd name="connsiteY5" fmla="*/ 25185 h 1340560"/>
                  <a:gd name="connsiteX6" fmla="*/ 82167 w 82167"/>
                  <a:gd name="connsiteY6" fmla="*/ 1302596 h 1340560"/>
                  <a:gd name="connsiteX7" fmla="*/ 82166 w 82167"/>
                  <a:gd name="connsiteY7" fmla="*/ 1302597 h 1340560"/>
                  <a:gd name="connsiteX8" fmla="*/ 82166 w 82167"/>
                  <a:gd name="connsiteY8" fmla="*/ 1302597 h 1340560"/>
                  <a:gd name="connsiteX9" fmla="*/ 58454 w 82167"/>
                  <a:gd name="connsiteY9" fmla="*/ 1340560 h 1340560"/>
                  <a:gd name="connsiteX10" fmla="*/ 12033 w 82167"/>
                  <a:gd name="connsiteY10" fmla="*/ 1320405 h 1340560"/>
                  <a:gd name="connsiteX11" fmla="*/ 0 w 82167"/>
                  <a:gd name="connsiteY11" fmla="*/ 1302597 h 1340560"/>
                  <a:gd name="connsiteX12" fmla="*/ 1 w 82167"/>
                  <a:gd name="connsiteY12" fmla="*/ 25186 h 134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167" h="1340560">
                    <a:moveTo>
                      <a:pt x="1" y="25186"/>
                    </a:moveTo>
                    <a:lnTo>
                      <a:pt x="1" y="25185"/>
                    </a:lnTo>
                    <a:lnTo>
                      <a:pt x="1" y="25185"/>
                    </a:lnTo>
                    <a:cubicBezTo>
                      <a:pt x="1" y="11276"/>
                      <a:pt x="18394" y="0"/>
                      <a:pt x="41084" y="0"/>
                    </a:cubicBezTo>
                    <a:cubicBezTo>
                      <a:pt x="63774" y="0"/>
                      <a:pt x="82167" y="11276"/>
                      <a:pt x="82167" y="25185"/>
                    </a:cubicBezTo>
                    <a:lnTo>
                      <a:pt x="82167" y="25185"/>
                    </a:lnTo>
                    <a:lnTo>
                      <a:pt x="82167" y="1302596"/>
                    </a:lnTo>
                    <a:lnTo>
                      <a:pt x="82166" y="1302597"/>
                    </a:lnTo>
                    <a:lnTo>
                      <a:pt x="82166" y="1302597"/>
                    </a:lnTo>
                    <a:cubicBezTo>
                      <a:pt x="82167" y="1316506"/>
                      <a:pt x="81144" y="1340560"/>
                      <a:pt x="58454" y="1340560"/>
                    </a:cubicBezTo>
                    <a:cubicBezTo>
                      <a:pt x="47108" y="1340560"/>
                      <a:pt x="21775" y="1326732"/>
                      <a:pt x="12033" y="1320405"/>
                    </a:cubicBezTo>
                    <a:cubicBezTo>
                      <a:pt x="2291" y="1314078"/>
                      <a:pt x="1" y="1309551"/>
                      <a:pt x="0" y="1302597"/>
                    </a:cubicBezTo>
                    <a:cubicBezTo>
                      <a:pt x="0" y="876793"/>
                      <a:pt x="1" y="450990"/>
                      <a:pt x="1" y="25186"/>
                    </a:cubicBezTo>
                    <a:close/>
                  </a:path>
                </a:pathLst>
              </a:custGeom>
              <a:gradFill flip="none" rotWithShape="1">
                <a:gsLst>
                  <a:gs pos="20000">
                    <a:schemeClr val="accent2">
                      <a:lumMod val="0"/>
                      <a:lumOff val="100000"/>
                    </a:schemeClr>
                  </a:gs>
                  <a:gs pos="94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12" name="Freeform: Shape 1511">
                <a:extLst>
                  <a:ext uri="{FF2B5EF4-FFF2-40B4-BE49-F238E27FC236}">
                    <a16:creationId xmlns:a16="http://schemas.microsoft.com/office/drawing/2014/main" id="{439EADCE-1849-4404-9A42-1BD7B1756447}"/>
                  </a:ext>
                </a:extLst>
              </p:cNvPr>
              <p:cNvSpPr/>
              <p:nvPr/>
            </p:nvSpPr>
            <p:spPr bwMode="gray">
              <a:xfrm rot="3600000">
                <a:off x="13672129" y="-1559324"/>
                <a:ext cx="595708" cy="1643455"/>
              </a:xfrm>
              <a:custGeom>
                <a:avLst/>
                <a:gdLst>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83675 w 595708"/>
                  <a:gd name="connsiteY15" fmla="*/ 1320404 h 1650732"/>
                  <a:gd name="connsiteX16" fmla="*/ 573042 w 595708"/>
                  <a:gd name="connsiteY16" fmla="*/ 1323104 h 1650732"/>
                  <a:gd name="connsiteX17" fmla="*/ 575469 w 595708"/>
                  <a:gd name="connsiteY17" fmla="*/ 1331708 h 1650732"/>
                  <a:gd name="connsiteX18" fmla="*/ 566063 w 595708"/>
                  <a:gd name="connsiteY18" fmla="*/ 1351033 h 1650732"/>
                  <a:gd name="connsiteX19" fmla="*/ 50731 w 595708"/>
                  <a:gd name="connsiteY19" fmla="*/ 1648559 h 1650732"/>
                  <a:gd name="connsiteX20" fmla="*/ 8379 w 595708"/>
                  <a:gd name="connsiteY20" fmla="*/ 1625573 h 1650732"/>
                  <a:gd name="connsiteX21" fmla="*/ 2747 w 595708"/>
                  <a:gd name="connsiteY21" fmla="*/ 1605609 h 1650732"/>
                  <a:gd name="connsiteX22" fmla="*/ 0 w 595708"/>
                  <a:gd name="connsiteY22" fmla="*/ 1601542 h 1650732"/>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83675 w 595708"/>
                  <a:gd name="connsiteY15" fmla="*/ 1320404 h 1650732"/>
                  <a:gd name="connsiteX16" fmla="*/ 573042 w 595708"/>
                  <a:gd name="connsiteY16" fmla="*/ 1323104 h 1650732"/>
                  <a:gd name="connsiteX17" fmla="*/ 566063 w 595708"/>
                  <a:gd name="connsiteY17" fmla="*/ 1351033 h 1650732"/>
                  <a:gd name="connsiteX18" fmla="*/ 50731 w 595708"/>
                  <a:gd name="connsiteY18" fmla="*/ 1648559 h 1650732"/>
                  <a:gd name="connsiteX19" fmla="*/ 8379 w 595708"/>
                  <a:gd name="connsiteY19" fmla="*/ 1625573 h 1650732"/>
                  <a:gd name="connsiteX20" fmla="*/ 2747 w 595708"/>
                  <a:gd name="connsiteY20" fmla="*/ 1605609 h 1650732"/>
                  <a:gd name="connsiteX21" fmla="*/ 0 w 595708"/>
                  <a:gd name="connsiteY21" fmla="*/ 1601542 h 1650732"/>
                  <a:gd name="connsiteX22" fmla="*/ 0 w 595708"/>
                  <a:gd name="connsiteY22" fmla="*/ 324131 h 1650732"/>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83675 w 595708"/>
                  <a:gd name="connsiteY15" fmla="*/ 1320404 h 1650732"/>
                  <a:gd name="connsiteX16" fmla="*/ 566063 w 595708"/>
                  <a:gd name="connsiteY16" fmla="*/ 1351033 h 1650732"/>
                  <a:gd name="connsiteX17" fmla="*/ 50731 w 595708"/>
                  <a:gd name="connsiteY17" fmla="*/ 1648559 h 1650732"/>
                  <a:gd name="connsiteX18" fmla="*/ 8379 w 595708"/>
                  <a:gd name="connsiteY18" fmla="*/ 1625573 h 1650732"/>
                  <a:gd name="connsiteX19" fmla="*/ 2747 w 595708"/>
                  <a:gd name="connsiteY19" fmla="*/ 1605609 h 1650732"/>
                  <a:gd name="connsiteX20" fmla="*/ 0 w 595708"/>
                  <a:gd name="connsiteY20" fmla="*/ 1601542 h 1650732"/>
                  <a:gd name="connsiteX21" fmla="*/ 0 w 595708"/>
                  <a:gd name="connsiteY21" fmla="*/ 324131 h 1650732"/>
                  <a:gd name="connsiteX0" fmla="*/ 0 w 614349"/>
                  <a:gd name="connsiteY0" fmla="*/ 324131 h 1650732"/>
                  <a:gd name="connsiteX1" fmla="*/ 41083 w 614349"/>
                  <a:gd name="connsiteY1" fmla="*/ 298946 h 1650732"/>
                  <a:gd name="connsiteX2" fmla="*/ 82166 w 614349"/>
                  <a:gd name="connsiteY2" fmla="*/ 324131 h 1650732"/>
                  <a:gd name="connsiteX3" fmla="*/ 82166 w 614349"/>
                  <a:gd name="connsiteY3" fmla="*/ 324131 h 1650732"/>
                  <a:gd name="connsiteX4" fmla="*/ 82166 w 614349"/>
                  <a:gd name="connsiteY4" fmla="*/ 1535533 h 1650732"/>
                  <a:gd name="connsiteX5" fmla="*/ 256442 w 614349"/>
                  <a:gd name="connsiteY5" fmla="*/ 1434915 h 1650732"/>
                  <a:gd name="connsiteX6" fmla="*/ 256442 w 614349"/>
                  <a:gd name="connsiteY6" fmla="*/ 175228 h 1650732"/>
                  <a:gd name="connsiteX7" fmla="*/ 297525 w 614349"/>
                  <a:gd name="connsiteY7" fmla="*/ 150043 h 1650732"/>
                  <a:gd name="connsiteX8" fmla="*/ 338608 w 614349"/>
                  <a:gd name="connsiteY8" fmla="*/ 175228 h 1650732"/>
                  <a:gd name="connsiteX9" fmla="*/ 338608 w 614349"/>
                  <a:gd name="connsiteY9" fmla="*/ 1387476 h 1650732"/>
                  <a:gd name="connsiteX10" fmla="*/ 513542 w 614349"/>
                  <a:gd name="connsiteY10" fmla="*/ 1286479 h 1650732"/>
                  <a:gd name="connsiteX11" fmla="*/ 513542 w 614349"/>
                  <a:gd name="connsiteY11" fmla="*/ 25184 h 1650732"/>
                  <a:gd name="connsiteX12" fmla="*/ 554625 w 614349"/>
                  <a:gd name="connsiteY12" fmla="*/ 0 h 1650732"/>
                  <a:gd name="connsiteX13" fmla="*/ 595708 w 614349"/>
                  <a:gd name="connsiteY13" fmla="*/ 25184 h 1650732"/>
                  <a:gd name="connsiteX14" fmla="*/ 595708 w 614349"/>
                  <a:gd name="connsiteY14" fmla="*/ 1302596 h 1650732"/>
                  <a:gd name="connsiteX15" fmla="*/ 566063 w 614349"/>
                  <a:gd name="connsiteY15" fmla="*/ 1351033 h 1650732"/>
                  <a:gd name="connsiteX16" fmla="*/ 50731 w 614349"/>
                  <a:gd name="connsiteY16" fmla="*/ 1648559 h 1650732"/>
                  <a:gd name="connsiteX17" fmla="*/ 8379 w 614349"/>
                  <a:gd name="connsiteY17" fmla="*/ 1625573 h 1650732"/>
                  <a:gd name="connsiteX18" fmla="*/ 2747 w 614349"/>
                  <a:gd name="connsiteY18" fmla="*/ 1605609 h 1650732"/>
                  <a:gd name="connsiteX19" fmla="*/ 0 w 614349"/>
                  <a:gd name="connsiteY19" fmla="*/ 1601542 h 1650732"/>
                  <a:gd name="connsiteX20" fmla="*/ 0 w 614349"/>
                  <a:gd name="connsiteY20" fmla="*/ 324131 h 1650732"/>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66063 w 595708"/>
                  <a:gd name="connsiteY15" fmla="*/ 1351033 h 1650732"/>
                  <a:gd name="connsiteX16" fmla="*/ 50731 w 595708"/>
                  <a:gd name="connsiteY16" fmla="*/ 1648559 h 1650732"/>
                  <a:gd name="connsiteX17" fmla="*/ 8379 w 595708"/>
                  <a:gd name="connsiteY17" fmla="*/ 1625573 h 1650732"/>
                  <a:gd name="connsiteX18" fmla="*/ 2747 w 595708"/>
                  <a:gd name="connsiteY18" fmla="*/ 1605609 h 1650732"/>
                  <a:gd name="connsiteX19" fmla="*/ 0 w 595708"/>
                  <a:gd name="connsiteY19" fmla="*/ 1601542 h 1650732"/>
                  <a:gd name="connsiteX20" fmla="*/ 0 w 595708"/>
                  <a:gd name="connsiteY20" fmla="*/ 324131 h 1650732"/>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66063 w 595708"/>
                  <a:gd name="connsiteY15" fmla="*/ 1351033 h 1650732"/>
                  <a:gd name="connsiteX16" fmla="*/ 50731 w 595708"/>
                  <a:gd name="connsiteY16" fmla="*/ 1648559 h 1650732"/>
                  <a:gd name="connsiteX17" fmla="*/ 8379 w 595708"/>
                  <a:gd name="connsiteY17" fmla="*/ 1625573 h 1650732"/>
                  <a:gd name="connsiteX18" fmla="*/ 2747 w 595708"/>
                  <a:gd name="connsiteY18" fmla="*/ 1605609 h 1650732"/>
                  <a:gd name="connsiteX19" fmla="*/ 0 w 595708"/>
                  <a:gd name="connsiteY19" fmla="*/ 1601542 h 1650732"/>
                  <a:gd name="connsiteX20" fmla="*/ 0 w 595708"/>
                  <a:gd name="connsiteY20" fmla="*/ 324131 h 1650732"/>
                  <a:gd name="connsiteX0" fmla="*/ 0 w 595708"/>
                  <a:gd name="connsiteY0" fmla="*/ 324131 h 1639943"/>
                  <a:gd name="connsiteX1" fmla="*/ 41083 w 595708"/>
                  <a:gd name="connsiteY1" fmla="*/ 298946 h 1639943"/>
                  <a:gd name="connsiteX2" fmla="*/ 82166 w 595708"/>
                  <a:gd name="connsiteY2" fmla="*/ 324131 h 1639943"/>
                  <a:gd name="connsiteX3" fmla="*/ 82166 w 595708"/>
                  <a:gd name="connsiteY3" fmla="*/ 324131 h 1639943"/>
                  <a:gd name="connsiteX4" fmla="*/ 82166 w 595708"/>
                  <a:gd name="connsiteY4" fmla="*/ 1535533 h 1639943"/>
                  <a:gd name="connsiteX5" fmla="*/ 256442 w 595708"/>
                  <a:gd name="connsiteY5" fmla="*/ 1434915 h 1639943"/>
                  <a:gd name="connsiteX6" fmla="*/ 256442 w 595708"/>
                  <a:gd name="connsiteY6" fmla="*/ 175228 h 1639943"/>
                  <a:gd name="connsiteX7" fmla="*/ 297525 w 595708"/>
                  <a:gd name="connsiteY7" fmla="*/ 150043 h 1639943"/>
                  <a:gd name="connsiteX8" fmla="*/ 338608 w 595708"/>
                  <a:gd name="connsiteY8" fmla="*/ 175228 h 1639943"/>
                  <a:gd name="connsiteX9" fmla="*/ 338608 w 595708"/>
                  <a:gd name="connsiteY9" fmla="*/ 1387476 h 1639943"/>
                  <a:gd name="connsiteX10" fmla="*/ 513542 w 595708"/>
                  <a:gd name="connsiteY10" fmla="*/ 1286479 h 1639943"/>
                  <a:gd name="connsiteX11" fmla="*/ 513542 w 595708"/>
                  <a:gd name="connsiteY11" fmla="*/ 25184 h 1639943"/>
                  <a:gd name="connsiteX12" fmla="*/ 554625 w 595708"/>
                  <a:gd name="connsiteY12" fmla="*/ 0 h 1639943"/>
                  <a:gd name="connsiteX13" fmla="*/ 595708 w 595708"/>
                  <a:gd name="connsiteY13" fmla="*/ 25184 h 1639943"/>
                  <a:gd name="connsiteX14" fmla="*/ 595708 w 595708"/>
                  <a:gd name="connsiteY14" fmla="*/ 1302596 h 1639943"/>
                  <a:gd name="connsiteX15" fmla="*/ 566063 w 595708"/>
                  <a:gd name="connsiteY15" fmla="*/ 1351033 h 1639943"/>
                  <a:gd name="connsiteX16" fmla="*/ 78263 w 595708"/>
                  <a:gd name="connsiteY16" fmla="*/ 1634209 h 1639943"/>
                  <a:gd name="connsiteX17" fmla="*/ 8379 w 595708"/>
                  <a:gd name="connsiteY17" fmla="*/ 1625573 h 1639943"/>
                  <a:gd name="connsiteX18" fmla="*/ 2747 w 595708"/>
                  <a:gd name="connsiteY18" fmla="*/ 1605609 h 1639943"/>
                  <a:gd name="connsiteX19" fmla="*/ 0 w 595708"/>
                  <a:gd name="connsiteY19" fmla="*/ 1601542 h 1639943"/>
                  <a:gd name="connsiteX20" fmla="*/ 0 w 595708"/>
                  <a:gd name="connsiteY20" fmla="*/ 324131 h 1639943"/>
                  <a:gd name="connsiteX0" fmla="*/ 0 w 595708"/>
                  <a:gd name="connsiteY0" fmla="*/ 324131 h 1648418"/>
                  <a:gd name="connsiteX1" fmla="*/ 41083 w 595708"/>
                  <a:gd name="connsiteY1" fmla="*/ 298946 h 1648418"/>
                  <a:gd name="connsiteX2" fmla="*/ 82166 w 595708"/>
                  <a:gd name="connsiteY2" fmla="*/ 324131 h 1648418"/>
                  <a:gd name="connsiteX3" fmla="*/ 82166 w 595708"/>
                  <a:gd name="connsiteY3" fmla="*/ 324131 h 1648418"/>
                  <a:gd name="connsiteX4" fmla="*/ 82166 w 595708"/>
                  <a:gd name="connsiteY4" fmla="*/ 1535533 h 1648418"/>
                  <a:gd name="connsiteX5" fmla="*/ 256442 w 595708"/>
                  <a:gd name="connsiteY5" fmla="*/ 1434915 h 1648418"/>
                  <a:gd name="connsiteX6" fmla="*/ 256442 w 595708"/>
                  <a:gd name="connsiteY6" fmla="*/ 175228 h 1648418"/>
                  <a:gd name="connsiteX7" fmla="*/ 297525 w 595708"/>
                  <a:gd name="connsiteY7" fmla="*/ 150043 h 1648418"/>
                  <a:gd name="connsiteX8" fmla="*/ 338608 w 595708"/>
                  <a:gd name="connsiteY8" fmla="*/ 175228 h 1648418"/>
                  <a:gd name="connsiteX9" fmla="*/ 338608 w 595708"/>
                  <a:gd name="connsiteY9" fmla="*/ 1387476 h 1648418"/>
                  <a:gd name="connsiteX10" fmla="*/ 513542 w 595708"/>
                  <a:gd name="connsiteY10" fmla="*/ 1286479 h 1648418"/>
                  <a:gd name="connsiteX11" fmla="*/ 513542 w 595708"/>
                  <a:gd name="connsiteY11" fmla="*/ 25184 h 1648418"/>
                  <a:gd name="connsiteX12" fmla="*/ 554625 w 595708"/>
                  <a:gd name="connsiteY12" fmla="*/ 0 h 1648418"/>
                  <a:gd name="connsiteX13" fmla="*/ 595708 w 595708"/>
                  <a:gd name="connsiteY13" fmla="*/ 25184 h 1648418"/>
                  <a:gd name="connsiteX14" fmla="*/ 595708 w 595708"/>
                  <a:gd name="connsiteY14" fmla="*/ 1302596 h 1648418"/>
                  <a:gd name="connsiteX15" fmla="*/ 566063 w 595708"/>
                  <a:gd name="connsiteY15" fmla="*/ 1351033 h 1648418"/>
                  <a:gd name="connsiteX16" fmla="*/ 78263 w 595708"/>
                  <a:gd name="connsiteY16" fmla="*/ 1634209 h 1648418"/>
                  <a:gd name="connsiteX17" fmla="*/ 2747 w 595708"/>
                  <a:gd name="connsiteY17" fmla="*/ 1605609 h 1648418"/>
                  <a:gd name="connsiteX18" fmla="*/ 0 w 595708"/>
                  <a:gd name="connsiteY18" fmla="*/ 1601542 h 1648418"/>
                  <a:gd name="connsiteX19" fmla="*/ 0 w 595708"/>
                  <a:gd name="connsiteY19" fmla="*/ 324131 h 1648418"/>
                  <a:gd name="connsiteX0" fmla="*/ 0 w 595708"/>
                  <a:gd name="connsiteY0" fmla="*/ 324131 h 1719425"/>
                  <a:gd name="connsiteX1" fmla="*/ 41083 w 595708"/>
                  <a:gd name="connsiteY1" fmla="*/ 298946 h 1719425"/>
                  <a:gd name="connsiteX2" fmla="*/ 82166 w 595708"/>
                  <a:gd name="connsiteY2" fmla="*/ 324131 h 1719425"/>
                  <a:gd name="connsiteX3" fmla="*/ 82166 w 595708"/>
                  <a:gd name="connsiteY3" fmla="*/ 324131 h 1719425"/>
                  <a:gd name="connsiteX4" fmla="*/ 82166 w 595708"/>
                  <a:gd name="connsiteY4" fmla="*/ 1535533 h 1719425"/>
                  <a:gd name="connsiteX5" fmla="*/ 256442 w 595708"/>
                  <a:gd name="connsiteY5" fmla="*/ 1434915 h 1719425"/>
                  <a:gd name="connsiteX6" fmla="*/ 256442 w 595708"/>
                  <a:gd name="connsiteY6" fmla="*/ 175228 h 1719425"/>
                  <a:gd name="connsiteX7" fmla="*/ 297525 w 595708"/>
                  <a:gd name="connsiteY7" fmla="*/ 150043 h 1719425"/>
                  <a:gd name="connsiteX8" fmla="*/ 338608 w 595708"/>
                  <a:gd name="connsiteY8" fmla="*/ 175228 h 1719425"/>
                  <a:gd name="connsiteX9" fmla="*/ 338608 w 595708"/>
                  <a:gd name="connsiteY9" fmla="*/ 1387476 h 1719425"/>
                  <a:gd name="connsiteX10" fmla="*/ 513542 w 595708"/>
                  <a:gd name="connsiteY10" fmla="*/ 1286479 h 1719425"/>
                  <a:gd name="connsiteX11" fmla="*/ 513542 w 595708"/>
                  <a:gd name="connsiteY11" fmla="*/ 25184 h 1719425"/>
                  <a:gd name="connsiteX12" fmla="*/ 554625 w 595708"/>
                  <a:gd name="connsiteY12" fmla="*/ 0 h 1719425"/>
                  <a:gd name="connsiteX13" fmla="*/ 595708 w 595708"/>
                  <a:gd name="connsiteY13" fmla="*/ 25184 h 1719425"/>
                  <a:gd name="connsiteX14" fmla="*/ 595708 w 595708"/>
                  <a:gd name="connsiteY14" fmla="*/ 1302596 h 1719425"/>
                  <a:gd name="connsiteX15" fmla="*/ 566063 w 595708"/>
                  <a:gd name="connsiteY15" fmla="*/ 1351033 h 1719425"/>
                  <a:gd name="connsiteX16" fmla="*/ 78263 w 595708"/>
                  <a:gd name="connsiteY16" fmla="*/ 1634209 h 1719425"/>
                  <a:gd name="connsiteX17" fmla="*/ 0 w 595708"/>
                  <a:gd name="connsiteY17" fmla="*/ 1601542 h 1719425"/>
                  <a:gd name="connsiteX18" fmla="*/ 0 w 595708"/>
                  <a:gd name="connsiteY18" fmla="*/ 324131 h 1719425"/>
                  <a:gd name="connsiteX0" fmla="*/ 628 w 596336"/>
                  <a:gd name="connsiteY0" fmla="*/ 324131 h 1648230"/>
                  <a:gd name="connsiteX1" fmla="*/ 41711 w 596336"/>
                  <a:gd name="connsiteY1" fmla="*/ 298946 h 1648230"/>
                  <a:gd name="connsiteX2" fmla="*/ 82794 w 596336"/>
                  <a:gd name="connsiteY2" fmla="*/ 324131 h 1648230"/>
                  <a:gd name="connsiteX3" fmla="*/ 82794 w 596336"/>
                  <a:gd name="connsiteY3" fmla="*/ 324131 h 1648230"/>
                  <a:gd name="connsiteX4" fmla="*/ 82794 w 596336"/>
                  <a:gd name="connsiteY4" fmla="*/ 1535533 h 1648230"/>
                  <a:gd name="connsiteX5" fmla="*/ 257070 w 596336"/>
                  <a:gd name="connsiteY5" fmla="*/ 1434915 h 1648230"/>
                  <a:gd name="connsiteX6" fmla="*/ 257070 w 596336"/>
                  <a:gd name="connsiteY6" fmla="*/ 175228 h 1648230"/>
                  <a:gd name="connsiteX7" fmla="*/ 298153 w 596336"/>
                  <a:gd name="connsiteY7" fmla="*/ 150043 h 1648230"/>
                  <a:gd name="connsiteX8" fmla="*/ 339236 w 596336"/>
                  <a:gd name="connsiteY8" fmla="*/ 175228 h 1648230"/>
                  <a:gd name="connsiteX9" fmla="*/ 339236 w 596336"/>
                  <a:gd name="connsiteY9" fmla="*/ 1387476 h 1648230"/>
                  <a:gd name="connsiteX10" fmla="*/ 514170 w 596336"/>
                  <a:gd name="connsiteY10" fmla="*/ 1286479 h 1648230"/>
                  <a:gd name="connsiteX11" fmla="*/ 514170 w 596336"/>
                  <a:gd name="connsiteY11" fmla="*/ 25184 h 1648230"/>
                  <a:gd name="connsiteX12" fmla="*/ 555253 w 596336"/>
                  <a:gd name="connsiteY12" fmla="*/ 0 h 1648230"/>
                  <a:gd name="connsiteX13" fmla="*/ 596336 w 596336"/>
                  <a:gd name="connsiteY13" fmla="*/ 25184 h 1648230"/>
                  <a:gd name="connsiteX14" fmla="*/ 596336 w 596336"/>
                  <a:gd name="connsiteY14" fmla="*/ 1302596 h 1648230"/>
                  <a:gd name="connsiteX15" fmla="*/ 566691 w 596336"/>
                  <a:gd name="connsiteY15" fmla="*/ 1351033 h 1648230"/>
                  <a:gd name="connsiteX16" fmla="*/ 78891 w 596336"/>
                  <a:gd name="connsiteY16" fmla="*/ 1634209 h 1648230"/>
                  <a:gd name="connsiteX17" fmla="*/ 628 w 596336"/>
                  <a:gd name="connsiteY17" fmla="*/ 1601542 h 1648230"/>
                  <a:gd name="connsiteX18" fmla="*/ 628 w 596336"/>
                  <a:gd name="connsiteY18" fmla="*/ 324131 h 1648230"/>
                  <a:gd name="connsiteX0" fmla="*/ 0 w 595708"/>
                  <a:gd name="connsiteY0" fmla="*/ 324131 h 1643455"/>
                  <a:gd name="connsiteX1" fmla="*/ 41083 w 595708"/>
                  <a:gd name="connsiteY1" fmla="*/ 298946 h 1643455"/>
                  <a:gd name="connsiteX2" fmla="*/ 82166 w 595708"/>
                  <a:gd name="connsiteY2" fmla="*/ 324131 h 1643455"/>
                  <a:gd name="connsiteX3" fmla="*/ 82166 w 595708"/>
                  <a:gd name="connsiteY3" fmla="*/ 324131 h 1643455"/>
                  <a:gd name="connsiteX4" fmla="*/ 82166 w 595708"/>
                  <a:gd name="connsiteY4" fmla="*/ 1535533 h 1643455"/>
                  <a:gd name="connsiteX5" fmla="*/ 256442 w 595708"/>
                  <a:gd name="connsiteY5" fmla="*/ 1434915 h 1643455"/>
                  <a:gd name="connsiteX6" fmla="*/ 256442 w 595708"/>
                  <a:gd name="connsiteY6" fmla="*/ 175228 h 1643455"/>
                  <a:gd name="connsiteX7" fmla="*/ 297525 w 595708"/>
                  <a:gd name="connsiteY7" fmla="*/ 150043 h 1643455"/>
                  <a:gd name="connsiteX8" fmla="*/ 338608 w 595708"/>
                  <a:gd name="connsiteY8" fmla="*/ 175228 h 1643455"/>
                  <a:gd name="connsiteX9" fmla="*/ 338608 w 595708"/>
                  <a:gd name="connsiteY9" fmla="*/ 1387476 h 1643455"/>
                  <a:gd name="connsiteX10" fmla="*/ 513542 w 595708"/>
                  <a:gd name="connsiteY10" fmla="*/ 1286479 h 1643455"/>
                  <a:gd name="connsiteX11" fmla="*/ 513542 w 595708"/>
                  <a:gd name="connsiteY11" fmla="*/ 25184 h 1643455"/>
                  <a:gd name="connsiteX12" fmla="*/ 554625 w 595708"/>
                  <a:gd name="connsiteY12" fmla="*/ 0 h 1643455"/>
                  <a:gd name="connsiteX13" fmla="*/ 595708 w 595708"/>
                  <a:gd name="connsiteY13" fmla="*/ 25184 h 1643455"/>
                  <a:gd name="connsiteX14" fmla="*/ 595708 w 595708"/>
                  <a:gd name="connsiteY14" fmla="*/ 1302596 h 1643455"/>
                  <a:gd name="connsiteX15" fmla="*/ 566063 w 595708"/>
                  <a:gd name="connsiteY15" fmla="*/ 1351033 h 1643455"/>
                  <a:gd name="connsiteX16" fmla="*/ 78263 w 595708"/>
                  <a:gd name="connsiteY16" fmla="*/ 1634209 h 1643455"/>
                  <a:gd name="connsiteX17" fmla="*/ 0 w 595708"/>
                  <a:gd name="connsiteY17" fmla="*/ 1601542 h 1643455"/>
                  <a:gd name="connsiteX18" fmla="*/ 0 w 595708"/>
                  <a:gd name="connsiteY18" fmla="*/ 324131 h 16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95708" h="1643455">
                    <a:moveTo>
                      <a:pt x="0" y="324131"/>
                    </a:moveTo>
                    <a:cubicBezTo>
                      <a:pt x="0" y="310222"/>
                      <a:pt x="18393" y="298946"/>
                      <a:pt x="41083" y="298946"/>
                    </a:cubicBezTo>
                    <a:cubicBezTo>
                      <a:pt x="63773" y="298946"/>
                      <a:pt x="82166" y="310222"/>
                      <a:pt x="82166" y="324131"/>
                    </a:cubicBezTo>
                    <a:lnTo>
                      <a:pt x="82166" y="324131"/>
                    </a:lnTo>
                    <a:lnTo>
                      <a:pt x="82166" y="1535533"/>
                    </a:lnTo>
                    <a:lnTo>
                      <a:pt x="256442" y="1434915"/>
                    </a:lnTo>
                    <a:lnTo>
                      <a:pt x="256442" y="175228"/>
                    </a:lnTo>
                    <a:cubicBezTo>
                      <a:pt x="256442" y="161319"/>
                      <a:pt x="274835" y="150043"/>
                      <a:pt x="297525" y="150043"/>
                    </a:cubicBezTo>
                    <a:cubicBezTo>
                      <a:pt x="320215" y="150043"/>
                      <a:pt x="338608" y="161319"/>
                      <a:pt x="338608" y="175228"/>
                    </a:cubicBezTo>
                    <a:lnTo>
                      <a:pt x="338608" y="1387476"/>
                    </a:lnTo>
                    <a:lnTo>
                      <a:pt x="513542" y="1286479"/>
                    </a:lnTo>
                    <a:lnTo>
                      <a:pt x="513542" y="25184"/>
                    </a:lnTo>
                    <a:cubicBezTo>
                      <a:pt x="513542" y="11276"/>
                      <a:pt x="531935" y="0"/>
                      <a:pt x="554625" y="0"/>
                    </a:cubicBezTo>
                    <a:cubicBezTo>
                      <a:pt x="577315" y="0"/>
                      <a:pt x="595708" y="11276"/>
                      <a:pt x="595708" y="25184"/>
                    </a:cubicBezTo>
                    <a:lnTo>
                      <a:pt x="595708" y="1302596"/>
                    </a:lnTo>
                    <a:cubicBezTo>
                      <a:pt x="595513" y="1320088"/>
                      <a:pt x="581354" y="1343248"/>
                      <a:pt x="566063" y="1351033"/>
                    </a:cubicBezTo>
                    <a:lnTo>
                      <a:pt x="78263" y="1634209"/>
                    </a:lnTo>
                    <a:cubicBezTo>
                      <a:pt x="20890" y="1664310"/>
                      <a:pt x="972" y="1612196"/>
                      <a:pt x="0" y="1601542"/>
                    </a:cubicBezTo>
                    <a:lnTo>
                      <a:pt x="0" y="324131"/>
                    </a:lnTo>
                    <a:close/>
                  </a:path>
                </a:pathLst>
              </a:cu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sp>
          <p:nvSpPr>
            <p:cNvPr id="1514" name="Oval 1513">
              <a:extLst>
                <a:ext uri="{FF2B5EF4-FFF2-40B4-BE49-F238E27FC236}">
                  <a16:creationId xmlns:a16="http://schemas.microsoft.com/office/drawing/2014/main" id="{49C0D2A1-DF13-4A7D-A86B-D830C76D068C}"/>
                </a:ext>
              </a:extLst>
            </p:cNvPr>
            <p:cNvSpPr/>
            <p:nvPr/>
          </p:nvSpPr>
          <p:spPr bwMode="gray">
            <a:xfrm rot="19800000">
              <a:off x="13138258" y="443183"/>
              <a:ext cx="51497" cy="81495"/>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515" name="Oval 1514">
              <a:extLst>
                <a:ext uri="{FF2B5EF4-FFF2-40B4-BE49-F238E27FC236}">
                  <a16:creationId xmlns:a16="http://schemas.microsoft.com/office/drawing/2014/main" id="{FFB5A2F3-BAB9-438A-917B-70A52D830C64}"/>
                </a:ext>
              </a:extLst>
            </p:cNvPr>
            <p:cNvSpPr/>
            <p:nvPr/>
          </p:nvSpPr>
          <p:spPr bwMode="gray">
            <a:xfrm rot="19800000">
              <a:off x="13395433" y="593201"/>
              <a:ext cx="51497" cy="81495"/>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516" name="Oval 1515">
              <a:extLst>
                <a:ext uri="{FF2B5EF4-FFF2-40B4-BE49-F238E27FC236}">
                  <a16:creationId xmlns:a16="http://schemas.microsoft.com/office/drawing/2014/main" id="{69E989F8-0864-4689-B5B6-9715324CF083}"/>
                </a:ext>
              </a:extLst>
            </p:cNvPr>
            <p:cNvSpPr/>
            <p:nvPr/>
          </p:nvSpPr>
          <p:spPr bwMode="gray">
            <a:xfrm rot="19800000">
              <a:off x="13652609" y="738455"/>
              <a:ext cx="51497" cy="81495"/>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
        <p:nvSpPr>
          <p:cNvPr id="1422" name="Cylinder 1421">
            <a:extLst>
              <a:ext uri="{FF2B5EF4-FFF2-40B4-BE49-F238E27FC236}">
                <a16:creationId xmlns:a16="http://schemas.microsoft.com/office/drawing/2014/main" id="{B2189136-AEEE-4B8D-BAD9-44AFAB11347B}"/>
              </a:ext>
            </a:extLst>
          </p:cNvPr>
          <p:cNvSpPr/>
          <p:nvPr/>
        </p:nvSpPr>
        <p:spPr bwMode="gray">
          <a:xfrm rot="10800000" flipV="1">
            <a:off x="7503149" y="2747848"/>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18" name="Cylinder 1417">
            <a:extLst>
              <a:ext uri="{FF2B5EF4-FFF2-40B4-BE49-F238E27FC236}">
                <a16:creationId xmlns:a16="http://schemas.microsoft.com/office/drawing/2014/main" id="{F7243CB1-4803-486A-90B5-F45C4D6DFCB3}"/>
              </a:ext>
            </a:extLst>
          </p:cNvPr>
          <p:cNvSpPr/>
          <p:nvPr/>
        </p:nvSpPr>
        <p:spPr bwMode="gray">
          <a:xfrm rot="10800000" flipV="1">
            <a:off x="7413435" y="2799229"/>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14" name="Cylinder 1413">
            <a:extLst>
              <a:ext uri="{FF2B5EF4-FFF2-40B4-BE49-F238E27FC236}">
                <a16:creationId xmlns:a16="http://schemas.microsoft.com/office/drawing/2014/main" id="{8923565D-D5E5-4AB9-BA32-1C98D06CA494}"/>
              </a:ext>
            </a:extLst>
          </p:cNvPr>
          <p:cNvSpPr/>
          <p:nvPr/>
        </p:nvSpPr>
        <p:spPr bwMode="gray">
          <a:xfrm rot="10800000" flipV="1">
            <a:off x="7323720" y="2850609"/>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10" name="Cylinder 1409">
            <a:extLst>
              <a:ext uri="{FF2B5EF4-FFF2-40B4-BE49-F238E27FC236}">
                <a16:creationId xmlns:a16="http://schemas.microsoft.com/office/drawing/2014/main" id="{EB83343B-DC59-473E-9DA6-3E9A224457D3}"/>
              </a:ext>
            </a:extLst>
          </p:cNvPr>
          <p:cNvSpPr/>
          <p:nvPr/>
        </p:nvSpPr>
        <p:spPr bwMode="gray">
          <a:xfrm rot="10800000" flipV="1">
            <a:off x="7234005" y="2901989"/>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06" name="Cylinder 1405">
            <a:extLst>
              <a:ext uri="{FF2B5EF4-FFF2-40B4-BE49-F238E27FC236}">
                <a16:creationId xmlns:a16="http://schemas.microsoft.com/office/drawing/2014/main" id="{3948B9D6-870D-411D-A3FF-7049D001C07A}"/>
              </a:ext>
            </a:extLst>
          </p:cNvPr>
          <p:cNvSpPr/>
          <p:nvPr/>
        </p:nvSpPr>
        <p:spPr bwMode="gray">
          <a:xfrm rot="10800000" flipV="1">
            <a:off x="7144292" y="2953368"/>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02" name="Cylinder 1401">
            <a:extLst>
              <a:ext uri="{FF2B5EF4-FFF2-40B4-BE49-F238E27FC236}">
                <a16:creationId xmlns:a16="http://schemas.microsoft.com/office/drawing/2014/main" id="{8A9D34E0-9585-4114-BA83-D9266E54C0BE}"/>
              </a:ext>
            </a:extLst>
          </p:cNvPr>
          <p:cNvSpPr/>
          <p:nvPr/>
        </p:nvSpPr>
        <p:spPr bwMode="gray">
          <a:xfrm rot="10800000" flipV="1">
            <a:off x="7054577" y="3004749"/>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398" name="Cylinder 1397">
            <a:extLst>
              <a:ext uri="{FF2B5EF4-FFF2-40B4-BE49-F238E27FC236}">
                <a16:creationId xmlns:a16="http://schemas.microsoft.com/office/drawing/2014/main" id="{DF22F4B1-0649-4625-9E78-534F4E89AFB9}"/>
              </a:ext>
            </a:extLst>
          </p:cNvPr>
          <p:cNvSpPr/>
          <p:nvPr/>
        </p:nvSpPr>
        <p:spPr bwMode="gray">
          <a:xfrm rot="10800000" flipV="1">
            <a:off x="6964862" y="3056131"/>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394" name="Cylinder 1393">
            <a:extLst>
              <a:ext uri="{FF2B5EF4-FFF2-40B4-BE49-F238E27FC236}">
                <a16:creationId xmlns:a16="http://schemas.microsoft.com/office/drawing/2014/main" id="{94255321-FEAE-4BE0-9767-2E29CD53918C}"/>
              </a:ext>
            </a:extLst>
          </p:cNvPr>
          <p:cNvSpPr/>
          <p:nvPr/>
        </p:nvSpPr>
        <p:spPr bwMode="gray">
          <a:xfrm rot="10800000" flipV="1">
            <a:off x="7592862" y="2696468"/>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63" name="Cylinder 1462">
            <a:extLst>
              <a:ext uri="{FF2B5EF4-FFF2-40B4-BE49-F238E27FC236}">
                <a16:creationId xmlns:a16="http://schemas.microsoft.com/office/drawing/2014/main" id="{9AE7584A-0637-4215-B3A6-BD8A3537371B}"/>
              </a:ext>
            </a:extLst>
          </p:cNvPr>
          <p:cNvSpPr/>
          <p:nvPr/>
        </p:nvSpPr>
        <p:spPr bwMode="gray">
          <a:xfrm rot="10800000" flipV="1">
            <a:off x="7690673" y="2853651"/>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59" name="Cylinder 1458">
            <a:extLst>
              <a:ext uri="{FF2B5EF4-FFF2-40B4-BE49-F238E27FC236}">
                <a16:creationId xmlns:a16="http://schemas.microsoft.com/office/drawing/2014/main" id="{BEB1E6C9-476C-4A53-A0B5-F5DA1909B515}"/>
              </a:ext>
            </a:extLst>
          </p:cNvPr>
          <p:cNvSpPr/>
          <p:nvPr/>
        </p:nvSpPr>
        <p:spPr bwMode="gray">
          <a:xfrm rot="10800000" flipV="1">
            <a:off x="7600958" y="2905030"/>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55" name="Cylinder 1454">
            <a:extLst>
              <a:ext uri="{FF2B5EF4-FFF2-40B4-BE49-F238E27FC236}">
                <a16:creationId xmlns:a16="http://schemas.microsoft.com/office/drawing/2014/main" id="{EFEDB7B0-9192-4FFD-B820-33528FD64537}"/>
              </a:ext>
            </a:extLst>
          </p:cNvPr>
          <p:cNvSpPr/>
          <p:nvPr/>
        </p:nvSpPr>
        <p:spPr bwMode="gray">
          <a:xfrm rot="10800000" flipV="1">
            <a:off x="7511243" y="2956410"/>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51" name="Cylinder 1450">
            <a:extLst>
              <a:ext uri="{FF2B5EF4-FFF2-40B4-BE49-F238E27FC236}">
                <a16:creationId xmlns:a16="http://schemas.microsoft.com/office/drawing/2014/main" id="{BA8EAEB5-BD45-4D15-9136-6F01A7F5988D}"/>
              </a:ext>
            </a:extLst>
          </p:cNvPr>
          <p:cNvSpPr/>
          <p:nvPr/>
        </p:nvSpPr>
        <p:spPr bwMode="gray">
          <a:xfrm rot="10800000" flipV="1">
            <a:off x="7421530" y="3007790"/>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47" name="Cylinder 1446">
            <a:extLst>
              <a:ext uri="{FF2B5EF4-FFF2-40B4-BE49-F238E27FC236}">
                <a16:creationId xmlns:a16="http://schemas.microsoft.com/office/drawing/2014/main" id="{3E16FCB4-D7C7-4C77-ABDB-7E96C572D2DD}"/>
              </a:ext>
            </a:extLst>
          </p:cNvPr>
          <p:cNvSpPr/>
          <p:nvPr/>
        </p:nvSpPr>
        <p:spPr bwMode="gray">
          <a:xfrm rot="10800000" flipV="1">
            <a:off x="7331815" y="3059171"/>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43" name="Cylinder 1442">
            <a:extLst>
              <a:ext uri="{FF2B5EF4-FFF2-40B4-BE49-F238E27FC236}">
                <a16:creationId xmlns:a16="http://schemas.microsoft.com/office/drawing/2014/main" id="{CCD12EEC-222D-455C-BAFF-EAFAB6B4B7C7}"/>
              </a:ext>
            </a:extLst>
          </p:cNvPr>
          <p:cNvSpPr/>
          <p:nvPr/>
        </p:nvSpPr>
        <p:spPr bwMode="gray">
          <a:xfrm rot="10800000" flipV="1">
            <a:off x="7242100" y="3110551"/>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39" name="Cylinder 1438">
            <a:extLst>
              <a:ext uri="{FF2B5EF4-FFF2-40B4-BE49-F238E27FC236}">
                <a16:creationId xmlns:a16="http://schemas.microsoft.com/office/drawing/2014/main" id="{4A9FBA50-F34F-43E7-AF66-DFAE371CC614}"/>
              </a:ext>
            </a:extLst>
          </p:cNvPr>
          <p:cNvSpPr/>
          <p:nvPr/>
        </p:nvSpPr>
        <p:spPr bwMode="gray">
          <a:xfrm rot="10800000" flipV="1">
            <a:off x="7152386" y="3161933"/>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35" name="Cylinder 1434">
            <a:extLst>
              <a:ext uri="{FF2B5EF4-FFF2-40B4-BE49-F238E27FC236}">
                <a16:creationId xmlns:a16="http://schemas.microsoft.com/office/drawing/2014/main" id="{8797A3E2-72A3-4DBC-B3E5-07A3929FDF03}"/>
              </a:ext>
            </a:extLst>
          </p:cNvPr>
          <p:cNvSpPr/>
          <p:nvPr/>
        </p:nvSpPr>
        <p:spPr bwMode="gray">
          <a:xfrm rot="10800000" flipV="1">
            <a:off x="7780385" y="2802270"/>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04" name="Cylinder 1503">
            <a:extLst>
              <a:ext uri="{FF2B5EF4-FFF2-40B4-BE49-F238E27FC236}">
                <a16:creationId xmlns:a16="http://schemas.microsoft.com/office/drawing/2014/main" id="{47839C03-316A-48D6-B045-785FA6A10195}"/>
              </a:ext>
            </a:extLst>
          </p:cNvPr>
          <p:cNvSpPr/>
          <p:nvPr/>
        </p:nvSpPr>
        <p:spPr bwMode="gray">
          <a:xfrm rot="10800000" flipV="1">
            <a:off x="7878196" y="2959452"/>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00" name="Cylinder 1499">
            <a:extLst>
              <a:ext uri="{FF2B5EF4-FFF2-40B4-BE49-F238E27FC236}">
                <a16:creationId xmlns:a16="http://schemas.microsoft.com/office/drawing/2014/main" id="{EC2B90A7-3D13-4DB1-9DDC-0F6B5E4058E9}"/>
              </a:ext>
            </a:extLst>
          </p:cNvPr>
          <p:cNvSpPr/>
          <p:nvPr/>
        </p:nvSpPr>
        <p:spPr bwMode="gray">
          <a:xfrm rot="10800000" flipV="1">
            <a:off x="7788481" y="3010832"/>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96" name="Cylinder 1495">
            <a:extLst>
              <a:ext uri="{FF2B5EF4-FFF2-40B4-BE49-F238E27FC236}">
                <a16:creationId xmlns:a16="http://schemas.microsoft.com/office/drawing/2014/main" id="{7C19703B-06AD-4E3F-9269-98A06DFB1C24}"/>
              </a:ext>
            </a:extLst>
          </p:cNvPr>
          <p:cNvSpPr/>
          <p:nvPr/>
        </p:nvSpPr>
        <p:spPr bwMode="gray">
          <a:xfrm rot="10800000" flipV="1">
            <a:off x="7698766" y="3062212"/>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92" name="Cylinder 1491">
            <a:extLst>
              <a:ext uri="{FF2B5EF4-FFF2-40B4-BE49-F238E27FC236}">
                <a16:creationId xmlns:a16="http://schemas.microsoft.com/office/drawing/2014/main" id="{379DF06B-42FA-49C9-9350-7C3C3AF67C54}"/>
              </a:ext>
            </a:extLst>
          </p:cNvPr>
          <p:cNvSpPr/>
          <p:nvPr/>
        </p:nvSpPr>
        <p:spPr bwMode="gray">
          <a:xfrm rot="10800000" flipV="1">
            <a:off x="7609052" y="3113593"/>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88" name="Cylinder 1487">
            <a:extLst>
              <a:ext uri="{FF2B5EF4-FFF2-40B4-BE49-F238E27FC236}">
                <a16:creationId xmlns:a16="http://schemas.microsoft.com/office/drawing/2014/main" id="{F0D35DDD-2F21-4287-981D-BB10469B200D}"/>
              </a:ext>
            </a:extLst>
          </p:cNvPr>
          <p:cNvSpPr/>
          <p:nvPr/>
        </p:nvSpPr>
        <p:spPr bwMode="gray">
          <a:xfrm rot="10800000" flipV="1">
            <a:off x="7519338" y="3164972"/>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84" name="Cylinder 1483">
            <a:extLst>
              <a:ext uri="{FF2B5EF4-FFF2-40B4-BE49-F238E27FC236}">
                <a16:creationId xmlns:a16="http://schemas.microsoft.com/office/drawing/2014/main" id="{EB323D1E-62F3-4EAA-B3FE-B46FE091B66D}"/>
              </a:ext>
            </a:extLst>
          </p:cNvPr>
          <p:cNvSpPr/>
          <p:nvPr/>
        </p:nvSpPr>
        <p:spPr bwMode="gray">
          <a:xfrm rot="10800000" flipV="1">
            <a:off x="7429623" y="3216352"/>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80" name="Cylinder 1479">
            <a:extLst>
              <a:ext uri="{FF2B5EF4-FFF2-40B4-BE49-F238E27FC236}">
                <a16:creationId xmlns:a16="http://schemas.microsoft.com/office/drawing/2014/main" id="{60EC194B-A99E-4C37-952A-B4CE4F18917F}"/>
              </a:ext>
            </a:extLst>
          </p:cNvPr>
          <p:cNvSpPr/>
          <p:nvPr/>
        </p:nvSpPr>
        <p:spPr bwMode="gray">
          <a:xfrm rot="10800000" flipV="1">
            <a:off x="7339909" y="3267734"/>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476" name="Cylinder 1475">
            <a:extLst>
              <a:ext uri="{FF2B5EF4-FFF2-40B4-BE49-F238E27FC236}">
                <a16:creationId xmlns:a16="http://schemas.microsoft.com/office/drawing/2014/main" id="{6E427C88-797A-451E-805D-0E741CBC455A}"/>
              </a:ext>
            </a:extLst>
          </p:cNvPr>
          <p:cNvSpPr/>
          <p:nvPr/>
        </p:nvSpPr>
        <p:spPr bwMode="gray">
          <a:xfrm rot="10800000" flipV="1">
            <a:off x="7967908" y="2908071"/>
            <a:ext cx="32765" cy="100725"/>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nvGrpSpPr>
          <p:cNvPr id="1320" name="Group 1319">
            <a:extLst>
              <a:ext uri="{FF2B5EF4-FFF2-40B4-BE49-F238E27FC236}">
                <a16:creationId xmlns:a16="http://schemas.microsoft.com/office/drawing/2014/main" id="{74228E60-4FF2-4A7E-B756-D75580359C51}"/>
              </a:ext>
            </a:extLst>
          </p:cNvPr>
          <p:cNvGrpSpPr/>
          <p:nvPr/>
        </p:nvGrpSpPr>
        <p:grpSpPr bwMode="gray">
          <a:xfrm>
            <a:off x="6944152" y="2301405"/>
            <a:ext cx="703032" cy="800325"/>
            <a:chOff x="13811360" y="-878510"/>
            <a:chExt cx="981000" cy="1116761"/>
          </a:xfrm>
        </p:grpSpPr>
        <p:grpSp>
          <p:nvGrpSpPr>
            <p:cNvPr id="1321" name="Group 1320">
              <a:extLst>
                <a:ext uri="{FF2B5EF4-FFF2-40B4-BE49-F238E27FC236}">
                  <a16:creationId xmlns:a16="http://schemas.microsoft.com/office/drawing/2014/main" id="{C259F426-7470-413B-B08B-4767FB3DED7D}"/>
                </a:ext>
              </a:extLst>
            </p:cNvPr>
            <p:cNvGrpSpPr/>
            <p:nvPr/>
          </p:nvGrpSpPr>
          <p:grpSpPr bwMode="gray">
            <a:xfrm>
              <a:off x="14562476" y="-806815"/>
              <a:ext cx="104700" cy="614893"/>
              <a:chOff x="15213916" y="-747541"/>
              <a:chExt cx="104700" cy="614893"/>
            </a:xfrm>
          </p:grpSpPr>
          <p:grpSp>
            <p:nvGrpSpPr>
              <p:cNvPr id="1357" name="Group 1356">
                <a:extLst>
                  <a:ext uri="{FF2B5EF4-FFF2-40B4-BE49-F238E27FC236}">
                    <a16:creationId xmlns:a16="http://schemas.microsoft.com/office/drawing/2014/main" id="{23AD6520-94D2-4848-96CE-ACF8BD7B7E9C}"/>
                  </a:ext>
                </a:extLst>
              </p:cNvPr>
              <p:cNvGrpSpPr/>
              <p:nvPr/>
            </p:nvGrpSpPr>
            <p:grpSpPr bwMode="gray">
              <a:xfrm>
                <a:off x="15213916" y="-645165"/>
                <a:ext cx="104700" cy="512517"/>
                <a:chOff x="15520009" y="-688027"/>
                <a:chExt cx="104700" cy="512517"/>
              </a:xfrm>
            </p:grpSpPr>
            <p:sp>
              <p:nvSpPr>
                <p:cNvPr id="1359" name="Freeform: Shape 1358">
                  <a:extLst>
                    <a:ext uri="{FF2B5EF4-FFF2-40B4-BE49-F238E27FC236}">
                      <a16:creationId xmlns:a16="http://schemas.microsoft.com/office/drawing/2014/main" id="{367F2D7B-4B02-4279-B5D5-77174B893143}"/>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360" name="Oval 386">
                  <a:extLst>
                    <a:ext uri="{FF2B5EF4-FFF2-40B4-BE49-F238E27FC236}">
                      <a16:creationId xmlns:a16="http://schemas.microsoft.com/office/drawing/2014/main" id="{786EFFAD-1D86-469B-A685-AB22916454A0}"/>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358" name="Cylinder 1357">
                <a:extLst>
                  <a:ext uri="{FF2B5EF4-FFF2-40B4-BE49-F238E27FC236}">
                    <a16:creationId xmlns:a16="http://schemas.microsoft.com/office/drawing/2014/main" id="{E294A29F-17FA-4139-8080-FE1086C8A57B}"/>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322" name="Group 1321">
              <a:extLst>
                <a:ext uri="{FF2B5EF4-FFF2-40B4-BE49-F238E27FC236}">
                  <a16:creationId xmlns:a16="http://schemas.microsoft.com/office/drawing/2014/main" id="{902C4DE1-D25F-4896-BE01-66CC0EC2C096}"/>
                </a:ext>
              </a:extLst>
            </p:cNvPr>
            <p:cNvGrpSpPr/>
            <p:nvPr/>
          </p:nvGrpSpPr>
          <p:grpSpPr bwMode="gray">
            <a:xfrm>
              <a:off x="14437290" y="-735120"/>
              <a:ext cx="104700" cy="614893"/>
              <a:chOff x="15213916" y="-747541"/>
              <a:chExt cx="104700" cy="614893"/>
            </a:xfrm>
          </p:grpSpPr>
          <p:grpSp>
            <p:nvGrpSpPr>
              <p:cNvPr id="1353" name="Group 1352">
                <a:extLst>
                  <a:ext uri="{FF2B5EF4-FFF2-40B4-BE49-F238E27FC236}">
                    <a16:creationId xmlns:a16="http://schemas.microsoft.com/office/drawing/2014/main" id="{3A8ED321-11A9-45F3-9012-C179C11A8168}"/>
                  </a:ext>
                </a:extLst>
              </p:cNvPr>
              <p:cNvGrpSpPr/>
              <p:nvPr/>
            </p:nvGrpSpPr>
            <p:grpSpPr bwMode="gray">
              <a:xfrm>
                <a:off x="15213916" y="-645165"/>
                <a:ext cx="104700" cy="512517"/>
                <a:chOff x="15520009" y="-688027"/>
                <a:chExt cx="104700" cy="512517"/>
              </a:xfrm>
            </p:grpSpPr>
            <p:sp>
              <p:nvSpPr>
                <p:cNvPr id="1355" name="Freeform: Shape 1354">
                  <a:extLst>
                    <a:ext uri="{FF2B5EF4-FFF2-40B4-BE49-F238E27FC236}">
                      <a16:creationId xmlns:a16="http://schemas.microsoft.com/office/drawing/2014/main" id="{0BB2608B-B194-4F23-9B87-9F701E93BA6A}"/>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356" name="Oval 386">
                  <a:extLst>
                    <a:ext uri="{FF2B5EF4-FFF2-40B4-BE49-F238E27FC236}">
                      <a16:creationId xmlns:a16="http://schemas.microsoft.com/office/drawing/2014/main" id="{2AA3D4B1-B34B-4BCF-932A-488030084099}"/>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354" name="Cylinder 1353">
                <a:extLst>
                  <a:ext uri="{FF2B5EF4-FFF2-40B4-BE49-F238E27FC236}">
                    <a16:creationId xmlns:a16="http://schemas.microsoft.com/office/drawing/2014/main" id="{FCBF9EAE-D4AC-410C-9561-2B7041DD696A}"/>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323" name="Group 1322">
              <a:extLst>
                <a:ext uri="{FF2B5EF4-FFF2-40B4-BE49-F238E27FC236}">
                  <a16:creationId xmlns:a16="http://schemas.microsoft.com/office/drawing/2014/main" id="{A8073CA7-6F76-4A2E-AA84-13C580315A70}"/>
                </a:ext>
              </a:extLst>
            </p:cNvPr>
            <p:cNvGrpSpPr/>
            <p:nvPr/>
          </p:nvGrpSpPr>
          <p:grpSpPr bwMode="gray">
            <a:xfrm>
              <a:off x="14312104" y="-663425"/>
              <a:ext cx="104700" cy="614893"/>
              <a:chOff x="15213916" y="-747541"/>
              <a:chExt cx="104700" cy="614893"/>
            </a:xfrm>
          </p:grpSpPr>
          <p:grpSp>
            <p:nvGrpSpPr>
              <p:cNvPr id="1349" name="Group 1348">
                <a:extLst>
                  <a:ext uri="{FF2B5EF4-FFF2-40B4-BE49-F238E27FC236}">
                    <a16:creationId xmlns:a16="http://schemas.microsoft.com/office/drawing/2014/main" id="{A0EE232F-4159-498D-98A7-F4D17BD3DA7D}"/>
                  </a:ext>
                </a:extLst>
              </p:cNvPr>
              <p:cNvGrpSpPr/>
              <p:nvPr/>
            </p:nvGrpSpPr>
            <p:grpSpPr bwMode="gray">
              <a:xfrm>
                <a:off x="15213916" y="-645165"/>
                <a:ext cx="104700" cy="512517"/>
                <a:chOff x="15520009" y="-688027"/>
                <a:chExt cx="104700" cy="512517"/>
              </a:xfrm>
            </p:grpSpPr>
            <p:sp>
              <p:nvSpPr>
                <p:cNvPr id="1351" name="Freeform: Shape 1350">
                  <a:extLst>
                    <a:ext uri="{FF2B5EF4-FFF2-40B4-BE49-F238E27FC236}">
                      <a16:creationId xmlns:a16="http://schemas.microsoft.com/office/drawing/2014/main" id="{16E3EA63-98E7-4D23-AD5C-B73F853A166B}"/>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352" name="Oval 386">
                  <a:extLst>
                    <a:ext uri="{FF2B5EF4-FFF2-40B4-BE49-F238E27FC236}">
                      <a16:creationId xmlns:a16="http://schemas.microsoft.com/office/drawing/2014/main" id="{ECBBA961-6A73-4B21-9F09-A18C63E91002}"/>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350" name="Cylinder 1349">
                <a:extLst>
                  <a:ext uri="{FF2B5EF4-FFF2-40B4-BE49-F238E27FC236}">
                    <a16:creationId xmlns:a16="http://schemas.microsoft.com/office/drawing/2014/main" id="{4F4B42F0-9FDB-4FF0-9B6C-29F2DC7F414C}"/>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324" name="Group 1323">
              <a:extLst>
                <a:ext uri="{FF2B5EF4-FFF2-40B4-BE49-F238E27FC236}">
                  <a16:creationId xmlns:a16="http://schemas.microsoft.com/office/drawing/2014/main" id="{971F6692-D66C-4BE0-A41B-4509B231DAED}"/>
                </a:ext>
              </a:extLst>
            </p:cNvPr>
            <p:cNvGrpSpPr/>
            <p:nvPr/>
          </p:nvGrpSpPr>
          <p:grpSpPr bwMode="gray">
            <a:xfrm>
              <a:off x="14186918" y="-591730"/>
              <a:ext cx="104700" cy="614893"/>
              <a:chOff x="15213916" y="-747541"/>
              <a:chExt cx="104700" cy="614893"/>
            </a:xfrm>
          </p:grpSpPr>
          <p:grpSp>
            <p:nvGrpSpPr>
              <p:cNvPr id="1345" name="Group 1344">
                <a:extLst>
                  <a:ext uri="{FF2B5EF4-FFF2-40B4-BE49-F238E27FC236}">
                    <a16:creationId xmlns:a16="http://schemas.microsoft.com/office/drawing/2014/main" id="{C17F4D14-D95B-4157-8EBA-E1637B1C95DA}"/>
                  </a:ext>
                </a:extLst>
              </p:cNvPr>
              <p:cNvGrpSpPr/>
              <p:nvPr/>
            </p:nvGrpSpPr>
            <p:grpSpPr bwMode="gray">
              <a:xfrm>
                <a:off x="15213916" y="-645165"/>
                <a:ext cx="104700" cy="512517"/>
                <a:chOff x="15520009" y="-688027"/>
                <a:chExt cx="104700" cy="512517"/>
              </a:xfrm>
            </p:grpSpPr>
            <p:sp>
              <p:nvSpPr>
                <p:cNvPr id="1347" name="Freeform: Shape 1346">
                  <a:extLst>
                    <a:ext uri="{FF2B5EF4-FFF2-40B4-BE49-F238E27FC236}">
                      <a16:creationId xmlns:a16="http://schemas.microsoft.com/office/drawing/2014/main" id="{373BCD4B-2B6F-4B29-B6D9-FCF47DE07F97}"/>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348" name="Oval 386">
                  <a:extLst>
                    <a:ext uri="{FF2B5EF4-FFF2-40B4-BE49-F238E27FC236}">
                      <a16:creationId xmlns:a16="http://schemas.microsoft.com/office/drawing/2014/main" id="{6F1E5988-2C52-4E2F-8BEC-F4AB463424C3}"/>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346" name="Cylinder 1345">
                <a:extLst>
                  <a:ext uri="{FF2B5EF4-FFF2-40B4-BE49-F238E27FC236}">
                    <a16:creationId xmlns:a16="http://schemas.microsoft.com/office/drawing/2014/main" id="{1B40139E-985B-4258-90FD-8FCE6CD84B39}"/>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325" name="Group 1324">
              <a:extLst>
                <a:ext uri="{FF2B5EF4-FFF2-40B4-BE49-F238E27FC236}">
                  <a16:creationId xmlns:a16="http://schemas.microsoft.com/office/drawing/2014/main" id="{9C1C1B4A-D44E-4DCD-A4DE-E170A2249199}"/>
                </a:ext>
              </a:extLst>
            </p:cNvPr>
            <p:cNvGrpSpPr/>
            <p:nvPr/>
          </p:nvGrpSpPr>
          <p:grpSpPr bwMode="gray">
            <a:xfrm>
              <a:off x="14061732" y="-520035"/>
              <a:ext cx="104700" cy="614893"/>
              <a:chOff x="15213916" y="-747541"/>
              <a:chExt cx="104700" cy="614893"/>
            </a:xfrm>
          </p:grpSpPr>
          <p:grpSp>
            <p:nvGrpSpPr>
              <p:cNvPr id="1341" name="Group 1340">
                <a:extLst>
                  <a:ext uri="{FF2B5EF4-FFF2-40B4-BE49-F238E27FC236}">
                    <a16:creationId xmlns:a16="http://schemas.microsoft.com/office/drawing/2014/main" id="{C86D5C06-A5F8-48A8-9D94-CAE527E3DE14}"/>
                  </a:ext>
                </a:extLst>
              </p:cNvPr>
              <p:cNvGrpSpPr/>
              <p:nvPr/>
            </p:nvGrpSpPr>
            <p:grpSpPr bwMode="gray">
              <a:xfrm>
                <a:off x="15213916" y="-645165"/>
                <a:ext cx="104700" cy="512517"/>
                <a:chOff x="15520009" y="-688027"/>
                <a:chExt cx="104700" cy="512517"/>
              </a:xfrm>
            </p:grpSpPr>
            <p:sp>
              <p:nvSpPr>
                <p:cNvPr id="1343" name="Freeform: Shape 1342">
                  <a:extLst>
                    <a:ext uri="{FF2B5EF4-FFF2-40B4-BE49-F238E27FC236}">
                      <a16:creationId xmlns:a16="http://schemas.microsoft.com/office/drawing/2014/main" id="{B5895E60-048A-484C-90C7-73FA280E43B2}"/>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344" name="Oval 386">
                  <a:extLst>
                    <a:ext uri="{FF2B5EF4-FFF2-40B4-BE49-F238E27FC236}">
                      <a16:creationId xmlns:a16="http://schemas.microsoft.com/office/drawing/2014/main" id="{F52BD6DB-2008-46AB-AB28-472256188508}"/>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342" name="Cylinder 1341">
                <a:extLst>
                  <a:ext uri="{FF2B5EF4-FFF2-40B4-BE49-F238E27FC236}">
                    <a16:creationId xmlns:a16="http://schemas.microsoft.com/office/drawing/2014/main" id="{0B63A2B1-A9E9-4D64-9A1C-35C139D20DA6}"/>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326" name="Group 1325">
              <a:extLst>
                <a:ext uri="{FF2B5EF4-FFF2-40B4-BE49-F238E27FC236}">
                  <a16:creationId xmlns:a16="http://schemas.microsoft.com/office/drawing/2014/main" id="{C9B34447-F8CB-4D04-B59A-210D47FD19EB}"/>
                </a:ext>
              </a:extLst>
            </p:cNvPr>
            <p:cNvGrpSpPr/>
            <p:nvPr/>
          </p:nvGrpSpPr>
          <p:grpSpPr bwMode="gray">
            <a:xfrm>
              <a:off x="13936546" y="-448340"/>
              <a:ext cx="104700" cy="614893"/>
              <a:chOff x="15213916" y="-747541"/>
              <a:chExt cx="104700" cy="614893"/>
            </a:xfrm>
          </p:grpSpPr>
          <p:grpSp>
            <p:nvGrpSpPr>
              <p:cNvPr id="1337" name="Group 1336">
                <a:extLst>
                  <a:ext uri="{FF2B5EF4-FFF2-40B4-BE49-F238E27FC236}">
                    <a16:creationId xmlns:a16="http://schemas.microsoft.com/office/drawing/2014/main" id="{DCB56D81-FC40-40F1-B9D1-675CB5095CD2}"/>
                  </a:ext>
                </a:extLst>
              </p:cNvPr>
              <p:cNvGrpSpPr/>
              <p:nvPr/>
            </p:nvGrpSpPr>
            <p:grpSpPr bwMode="gray">
              <a:xfrm>
                <a:off x="15213916" y="-645165"/>
                <a:ext cx="104700" cy="512517"/>
                <a:chOff x="15520009" y="-688027"/>
                <a:chExt cx="104700" cy="512517"/>
              </a:xfrm>
            </p:grpSpPr>
            <p:sp>
              <p:nvSpPr>
                <p:cNvPr id="1339" name="Freeform: Shape 1338">
                  <a:extLst>
                    <a:ext uri="{FF2B5EF4-FFF2-40B4-BE49-F238E27FC236}">
                      <a16:creationId xmlns:a16="http://schemas.microsoft.com/office/drawing/2014/main" id="{9FD4B827-90CC-4A92-A190-8B6E864DC3A0}"/>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340" name="Oval 386">
                  <a:extLst>
                    <a:ext uri="{FF2B5EF4-FFF2-40B4-BE49-F238E27FC236}">
                      <a16:creationId xmlns:a16="http://schemas.microsoft.com/office/drawing/2014/main" id="{7AC51BE3-8870-4176-9BB3-9517BD8D4F2B}"/>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338" name="Cylinder 1337">
                <a:extLst>
                  <a:ext uri="{FF2B5EF4-FFF2-40B4-BE49-F238E27FC236}">
                    <a16:creationId xmlns:a16="http://schemas.microsoft.com/office/drawing/2014/main" id="{FD748ED1-EFF9-47A3-9656-FB08EA1036CC}"/>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327" name="Group 1326">
              <a:extLst>
                <a:ext uri="{FF2B5EF4-FFF2-40B4-BE49-F238E27FC236}">
                  <a16:creationId xmlns:a16="http://schemas.microsoft.com/office/drawing/2014/main" id="{CBD3A07F-F8E6-4800-A9C2-C1E8202239EB}"/>
                </a:ext>
              </a:extLst>
            </p:cNvPr>
            <p:cNvGrpSpPr/>
            <p:nvPr/>
          </p:nvGrpSpPr>
          <p:grpSpPr bwMode="gray">
            <a:xfrm>
              <a:off x="13811360" y="-376642"/>
              <a:ext cx="104700" cy="614893"/>
              <a:chOff x="15213916" y="-747541"/>
              <a:chExt cx="104700" cy="614893"/>
            </a:xfrm>
          </p:grpSpPr>
          <p:grpSp>
            <p:nvGrpSpPr>
              <p:cNvPr id="1333" name="Group 1332">
                <a:extLst>
                  <a:ext uri="{FF2B5EF4-FFF2-40B4-BE49-F238E27FC236}">
                    <a16:creationId xmlns:a16="http://schemas.microsoft.com/office/drawing/2014/main" id="{3DB8713B-60A9-4D54-99F7-16F1F588D59B}"/>
                  </a:ext>
                </a:extLst>
              </p:cNvPr>
              <p:cNvGrpSpPr/>
              <p:nvPr/>
            </p:nvGrpSpPr>
            <p:grpSpPr bwMode="gray">
              <a:xfrm>
                <a:off x="15213916" y="-645165"/>
                <a:ext cx="104700" cy="512517"/>
                <a:chOff x="15520009" y="-688027"/>
                <a:chExt cx="104700" cy="512517"/>
              </a:xfrm>
            </p:grpSpPr>
            <p:sp>
              <p:nvSpPr>
                <p:cNvPr id="1335" name="Freeform: Shape 1334">
                  <a:extLst>
                    <a:ext uri="{FF2B5EF4-FFF2-40B4-BE49-F238E27FC236}">
                      <a16:creationId xmlns:a16="http://schemas.microsoft.com/office/drawing/2014/main" id="{5FA3A239-D7D2-4FA5-9F29-944FEBFF5B4B}"/>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336" name="Oval 386">
                  <a:extLst>
                    <a:ext uri="{FF2B5EF4-FFF2-40B4-BE49-F238E27FC236}">
                      <a16:creationId xmlns:a16="http://schemas.microsoft.com/office/drawing/2014/main" id="{AA113AB0-1872-40CD-813F-62F6B32E4727}"/>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334" name="Cylinder 1333">
                <a:extLst>
                  <a:ext uri="{FF2B5EF4-FFF2-40B4-BE49-F238E27FC236}">
                    <a16:creationId xmlns:a16="http://schemas.microsoft.com/office/drawing/2014/main" id="{127BBF0D-5D72-460E-9AE5-84ADC8AFBC91}"/>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328" name="Group 1327">
              <a:extLst>
                <a:ext uri="{FF2B5EF4-FFF2-40B4-BE49-F238E27FC236}">
                  <a16:creationId xmlns:a16="http://schemas.microsoft.com/office/drawing/2014/main" id="{9F3D94B9-6EF8-4D19-B008-46943D7103BA}"/>
                </a:ext>
              </a:extLst>
            </p:cNvPr>
            <p:cNvGrpSpPr/>
            <p:nvPr/>
          </p:nvGrpSpPr>
          <p:grpSpPr bwMode="gray">
            <a:xfrm>
              <a:off x="14687660" y="-878510"/>
              <a:ext cx="104700" cy="614893"/>
              <a:chOff x="15213916" y="-747541"/>
              <a:chExt cx="104700" cy="614893"/>
            </a:xfrm>
          </p:grpSpPr>
          <p:grpSp>
            <p:nvGrpSpPr>
              <p:cNvPr id="1329" name="Group 1328">
                <a:extLst>
                  <a:ext uri="{FF2B5EF4-FFF2-40B4-BE49-F238E27FC236}">
                    <a16:creationId xmlns:a16="http://schemas.microsoft.com/office/drawing/2014/main" id="{C9B4C09C-6952-4082-8158-46A771E2D4F9}"/>
                  </a:ext>
                </a:extLst>
              </p:cNvPr>
              <p:cNvGrpSpPr/>
              <p:nvPr/>
            </p:nvGrpSpPr>
            <p:grpSpPr bwMode="gray">
              <a:xfrm>
                <a:off x="15213916" y="-645165"/>
                <a:ext cx="104700" cy="512517"/>
                <a:chOff x="15520009" y="-688027"/>
                <a:chExt cx="104700" cy="512517"/>
              </a:xfrm>
            </p:grpSpPr>
            <p:sp>
              <p:nvSpPr>
                <p:cNvPr id="1331" name="Freeform: Shape 1330">
                  <a:extLst>
                    <a:ext uri="{FF2B5EF4-FFF2-40B4-BE49-F238E27FC236}">
                      <a16:creationId xmlns:a16="http://schemas.microsoft.com/office/drawing/2014/main" id="{E4330FAB-8647-46B9-863A-5FBD33DF1152}"/>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332" name="Oval 386">
                  <a:extLst>
                    <a:ext uri="{FF2B5EF4-FFF2-40B4-BE49-F238E27FC236}">
                      <a16:creationId xmlns:a16="http://schemas.microsoft.com/office/drawing/2014/main" id="{4C415BE5-E014-47D3-B232-EAF7B6246AA6}"/>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330" name="Cylinder 1329">
                <a:extLst>
                  <a:ext uri="{FF2B5EF4-FFF2-40B4-BE49-F238E27FC236}">
                    <a16:creationId xmlns:a16="http://schemas.microsoft.com/office/drawing/2014/main" id="{769D0916-63E5-492E-BF63-72CB384139EB}"/>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grpSp>
        <p:nvGrpSpPr>
          <p:cNvPr id="1230" name="Group 1229">
            <a:extLst>
              <a:ext uri="{FF2B5EF4-FFF2-40B4-BE49-F238E27FC236}">
                <a16:creationId xmlns:a16="http://schemas.microsoft.com/office/drawing/2014/main" id="{861D1E4A-0C7D-418A-870A-3F8AECA32651}"/>
              </a:ext>
            </a:extLst>
          </p:cNvPr>
          <p:cNvGrpSpPr/>
          <p:nvPr/>
        </p:nvGrpSpPr>
        <p:grpSpPr bwMode="gray">
          <a:xfrm>
            <a:off x="7131675" y="2407207"/>
            <a:ext cx="703032" cy="800325"/>
            <a:chOff x="13811360" y="-878510"/>
            <a:chExt cx="981000" cy="1116761"/>
          </a:xfrm>
        </p:grpSpPr>
        <p:grpSp>
          <p:nvGrpSpPr>
            <p:cNvPr id="1231" name="Group 1230">
              <a:extLst>
                <a:ext uri="{FF2B5EF4-FFF2-40B4-BE49-F238E27FC236}">
                  <a16:creationId xmlns:a16="http://schemas.microsoft.com/office/drawing/2014/main" id="{2393E850-74B9-4E2F-BD58-D9052ABAD3CE}"/>
                </a:ext>
              </a:extLst>
            </p:cNvPr>
            <p:cNvGrpSpPr/>
            <p:nvPr/>
          </p:nvGrpSpPr>
          <p:grpSpPr bwMode="gray">
            <a:xfrm>
              <a:off x="14562476" y="-806815"/>
              <a:ext cx="104700" cy="614893"/>
              <a:chOff x="15213916" y="-747541"/>
              <a:chExt cx="104700" cy="614893"/>
            </a:xfrm>
          </p:grpSpPr>
          <p:grpSp>
            <p:nvGrpSpPr>
              <p:cNvPr id="1267" name="Group 1266">
                <a:extLst>
                  <a:ext uri="{FF2B5EF4-FFF2-40B4-BE49-F238E27FC236}">
                    <a16:creationId xmlns:a16="http://schemas.microsoft.com/office/drawing/2014/main" id="{B927F02A-98E8-41AB-91E1-EAD713C4AC47}"/>
                  </a:ext>
                </a:extLst>
              </p:cNvPr>
              <p:cNvGrpSpPr/>
              <p:nvPr/>
            </p:nvGrpSpPr>
            <p:grpSpPr bwMode="gray">
              <a:xfrm>
                <a:off x="15213916" y="-645165"/>
                <a:ext cx="104700" cy="512517"/>
                <a:chOff x="15520009" y="-688027"/>
                <a:chExt cx="104700" cy="512517"/>
              </a:xfrm>
            </p:grpSpPr>
            <p:sp>
              <p:nvSpPr>
                <p:cNvPr id="1269" name="Freeform: Shape 1268">
                  <a:extLst>
                    <a:ext uri="{FF2B5EF4-FFF2-40B4-BE49-F238E27FC236}">
                      <a16:creationId xmlns:a16="http://schemas.microsoft.com/office/drawing/2014/main" id="{A9EB34F7-79B1-4646-A5AC-9A8FCCC81D7F}"/>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270" name="Oval 386">
                  <a:extLst>
                    <a:ext uri="{FF2B5EF4-FFF2-40B4-BE49-F238E27FC236}">
                      <a16:creationId xmlns:a16="http://schemas.microsoft.com/office/drawing/2014/main" id="{680D8B31-7312-4774-A1DE-AA716B7645C9}"/>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268" name="Cylinder 1267">
                <a:extLst>
                  <a:ext uri="{FF2B5EF4-FFF2-40B4-BE49-F238E27FC236}">
                    <a16:creationId xmlns:a16="http://schemas.microsoft.com/office/drawing/2014/main" id="{6EE1EDEC-3132-41EB-837F-CECF3EDA5FD2}"/>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232" name="Group 1231">
              <a:extLst>
                <a:ext uri="{FF2B5EF4-FFF2-40B4-BE49-F238E27FC236}">
                  <a16:creationId xmlns:a16="http://schemas.microsoft.com/office/drawing/2014/main" id="{97E21F4B-418B-457A-90AC-6DAAB4853D53}"/>
                </a:ext>
              </a:extLst>
            </p:cNvPr>
            <p:cNvGrpSpPr/>
            <p:nvPr/>
          </p:nvGrpSpPr>
          <p:grpSpPr bwMode="gray">
            <a:xfrm>
              <a:off x="14437290" y="-735120"/>
              <a:ext cx="104700" cy="614893"/>
              <a:chOff x="15213916" y="-747541"/>
              <a:chExt cx="104700" cy="614893"/>
            </a:xfrm>
          </p:grpSpPr>
          <p:grpSp>
            <p:nvGrpSpPr>
              <p:cNvPr id="1263" name="Group 1262">
                <a:extLst>
                  <a:ext uri="{FF2B5EF4-FFF2-40B4-BE49-F238E27FC236}">
                    <a16:creationId xmlns:a16="http://schemas.microsoft.com/office/drawing/2014/main" id="{6255B8F9-6A48-4A32-93B3-FC32C7627DB2}"/>
                  </a:ext>
                </a:extLst>
              </p:cNvPr>
              <p:cNvGrpSpPr/>
              <p:nvPr/>
            </p:nvGrpSpPr>
            <p:grpSpPr bwMode="gray">
              <a:xfrm>
                <a:off x="15213916" y="-645165"/>
                <a:ext cx="104700" cy="512517"/>
                <a:chOff x="15520009" y="-688027"/>
                <a:chExt cx="104700" cy="512517"/>
              </a:xfrm>
            </p:grpSpPr>
            <p:sp>
              <p:nvSpPr>
                <p:cNvPr id="1265" name="Freeform: Shape 1264">
                  <a:extLst>
                    <a:ext uri="{FF2B5EF4-FFF2-40B4-BE49-F238E27FC236}">
                      <a16:creationId xmlns:a16="http://schemas.microsoft.com/office/drawing/2014/main" id="{FB3113B3-BD9F-4E66-997D-AB3DD38C1CBC}"/>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266" name="Oval 386">
                  <a:extLst>
                    <a:ext uri="{FF2B5EF4-FFF2-40B4-BE49-F238E27FC236}">
                      <a16:creationId xmlns:a16="http://schemas.microsoft.com/office/drawing/2014/main" id="{73C0171B-B582-4653-8512-E4A2CC55D1BA}"/>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264" name="Cylinder 1263">
                <a:extLst>
                  <a:ext uri="{FF2B5EF4-FFF2-40B4-BE49-F238E27FC236}">
                    <a16:creationId xmlns:a16="http://schemas.microsoft.com/office/drawing/2014/main" id="{A4876C21-7AF2-4BDC-97A0-BCE580955BF7}"/>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233" name="Group 1232">
              <a:extLst>
                <a:ext uri="{FF2B5EF4-FFF2-40B4-BE49-F238E27FC236}">
                  <a16:creationId xmlns:a16="http://schemas.microsoft.com/office/drawing/2014/main" id="{A88D4841-3C83-4A50-9DBE-0B421D76C6DC}"/>
                </a:ext>
              </a:extLst>
            </p:cNvPr>
            <p:cNvGrpSpPr/>
            <p:nvPr/>
          </p:nvGrpSpPr>
          <p:grpSpPr bwMode="gray">
            <a:xfrm>
              <a:off x="14312104" y="-663425"/>
              <a:ext cx="104700" cy="614893"/>
              <a:chOff x="15213916" y="-747541"/>
              <a:chExt cx="104700" cy="614893"/>
            </a:xfrm>
          </p:grpSpPr>
          <p:grpSp>
            <p:nvGrpSpPr>
              <p:cNvPr id="1259" name="Group 1258">
                <a:extLst>
                  <a:ext uri="{FF2B5EF4-FFF2-40B4-BE49-F238E27FC236}">
                    <a16:creationId xmlns:a16="http://schemas.microsoft.com/office/drawing/2014/main" id="{B749CADA-A1DD-4A29-AA1E-5DF1283951D6}"/>
                  </a:ext>
                </a:extLst>
              </p:cNvPr>
              <p:cNvGrpSpPr/>
              <p:nvPr/>
            </p:nvGrpSpPr>
            <p:grpSpPr bwMode="gray">
              <a:xfrm>
                <a:off x="15213916" y="-645165"/>
                <a:ext cx="104700" cy="512517"/>
                <a:chOff x="15520009" y="-688027"/>
                <a:chExt cx="104700" cy="512517"/>
              </a:xfrm>
            </p:grpSpPr>
            <p:sp>
              <p:nvSpPr>
                <p:cNvPr id="1261" name="Freeform: Shape 1260">
                  <a:extLst>
                    <a:ext uri="{FF2B5EF4-FFF2-40B4-BE49-F238E27FC236}">
                      <a16:creationId xmlns:a16="http://schemas.microsoft.com/office/drawing/2014/main" id="{3952FA8C-37B2-482C-82F8-5BD5C27F753E}"/>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262" name="Oval 386">
                  <a:extLst>
                    <a:ext uri="{FF2B5EF4-FFF2-40B4-BE49-F238E27FC236}">
                      <a16:creationId xmlns:a16="http://schemas.microsoft.com/office/drawing/2014/main" id="{38ABC7D4-7530-4AC9-AAD0-22AE2D38E987}"/>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260" name="Cylinder 1259">
                <a:extLst>
                  <a:ext uri="{FF2B5EF4-FFF2-40B4-BE49-F238E27FC236}">
                    <a16:creationId xmlns:a16="http://schemas.microsoft.com/office/drawing/2014/main" id="{43C9891C-3499-4C0F-B8E1-C1C8FE612989}"/>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234" name="Group 1233">
              <a:extLst>
                <a:ext uri="{FF2B5EF4-FFF2-40B4-BE49-F238E27FC236}">
                  <a16:creationId xmlns:a16="http://schemas.microsoft.com/office/drawing/2014/main" id="{30502010-B995-4DB9-996C-42FD45DB4C30}"/>
                </a:ext>
              </a:extLst>
            </p:cNvPr>
            <p:cNvGrpSpPr/>
            <p:nvPr/>
          </p:nvGrpSpPr>
          <p:grpSpPr bwMode="gray">
            <a:xfrm>
              <a:off x="14186918" y="-591730"/>
              <a:ext cx="104700" cy="614893"/>
              <a:chOff x="15213916" y="-747541"/>
              <a:chExt cx="104700" cy="614893"/>
            </a:xfrm>
          </p:grpSpPr>
          <p:grpSp>
            <p:nvGrpSpPr>
              <p:cNvPr id="1255" name="Group 1254">
                <a:extLst>
                  <a:ext uri="{FF2B5EF4-FFF2-40B4-BE49-F238E27FC236}">
                    <a16:creationId xmlns:a16="http://schemas.microsoft.com/office/drawing/2014/main" id="{B1426387-5717-4971-9944-5306621AE162}"/>
                  </a:ext>
                </a:extLst>
              </p:cNvPr>
              <p:cNvGrpSpPr/>
              <p:nvPr/>
            </p:nvGrpSpPr>
            <p:grpSpPr bwMode="gray">
              <a:xfrm>
                <a:off x="15213916" y="-645165"/>
                <a:ext cx="104700" cy="512517"/>
                <a:chOff x="15520009" y="-688027"/>
                <a:chExt cx="104700" cy="512517"/>
              </a:xfrm>
            </p:grpSpPr>
            <p:sp>
              <p:nvSpPr>
                <p:cNvPr id="1257" name="Freeform: Shape 1256">
                  <a:extLst>
                    <a:ext uri="{FF2B5EF4-FFF2-40B4-BE49-F238E27FC236}">
                      <a16:creationId xmlns:a16="http://schemas.microsoft.com/office/drawing/2014/main" id="{2553D90C-98C9-4261-8DF8-67FA741C424C}"/>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258" name="Oval 386">
                  <a:extLst>
                    <a:ext uri="{FF2B5EF4-FFF2-40B4-BE49-F238E27FC236}">
                      <a16:creationId xmlns:a16="http://schemas.microsoft.com/office/drawing/2014/main" id="{30C406A3-72A9-4C66-819C-58AF2072E78E}"/>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256" name="Cylinder 1255">
                <a:extLst>
                  <a:ext uri="{FF2B5EF4-FFF2-40B4-BE49-F238E27FC236}">
                    <a16:creationId xmlns:a16="http://schemas.microsoft.com/office/drawing/2014/main" id="{175AEC8E-41AD-48BF-BAA5-9C515ABAC840}"/>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235" name="Group 1234">
              <a:extLst>
                <a:ext uri="{FF2B5EF4-FFF2-40B4-BE49-F238E27FC236}">
                  <a16:creationId xmlns:a16="http://schemas.microsoft.com/office/drawing/2014/main" id="{9EAA82B1-2E63-48D4-AEE6-2A03947DA28B}"/>
                </a:ext>
              </a:extLst>
            </p:cNvPr>
            <p:cNvGrpSpPr/>
            <p:nvPr/>
          </p:nvGrpSpPr>
          <p:grpSpPr bwMode="gray">
            <a:xfrm>
              <a:off x="14061732" y="-520035"/>
              <a:ext cx="104700" cy="614893"/>
              <a:chOff x="15213916" y="-747541"/>
              <a:chExt cx="104700" cy="614893"/>
            </a:xfrm>
          </p:grpSpPr>
          <p:grpSp>
            <p:nvGrpSpPr>
              <p:cNvPr id="1251" name="Group 1250">
                <a:extLst>
                  <a:ext uri="{FF2B5EF4-FFF2-40B4-BE49-F238E27FC236}">
                    <a16:creationId xmlns:a16="http://schemas.microsoft.com/office/drawing/2014/main" id="{C6238255-659E-4DE3-9B21-09F1C6ACC2CB}"/>
                  </a:ext>
                </a:extLst>
              </p:cNvPr>
              <p:cNvGrpSpPr/>
              <p:nvPr/>
            </p:nvGrpSpPr>
            <p:grpSpPr bwMode="gray">
              <a:xfrm>
                <a:off x="15213916" y="-645165"/>
                <a:ext cx="104700" cy="512517"/>
                <a:chOff x="15520009" y="-688027"/>
                <a:chExt cx="104700" cy="512517"/>
              </a:xfrm>
            </p:grpSpPr>
            <p:sp>
              <p:nvSpPr>
                <p:cNvPr id="1253" name="Freeform: Shape 1252">
                  <a:extLst>
                    <a:ext uri="{FF2B5EF4-FFF2-40B4-BE49-F238E27FC236}">
                      <a16:creationId xmlns:a16="http://schemas.microsoft.com/office/drawing/2014/main" id="{80283DA0-5A08-4890-8B5A-38781763978F}"/>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254" name="Oval 386">
                  <a:extLst>
                    <a:ext uri="{FF2B5EF4-FFF2-40B4-BE49-F238E27FC236}">
                      <a16:creationId xmlns:a16="http://schemas.microsoft.com/office/drawing/2014/main" id="{9A30E591-F4D4-44C4-85DC-329954E98604}"/>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252" name="Cylinder 1251">
                <a:extLst>
                  <a:ext uri="{FF2B5EF4-FFF2-40B4-BE49-F238E27FC236}">
                    <a16:creationId xmlns:a16="http://schemas.microsoft.com/office/drawing/2014/main" id="{E7F36843-3337-4A96-BB81-63396B443E5C}"/>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236" name="Group 1235">
              <a:extLst>
                <a:ext uri="{FF2B5EF4-FFF2-40B4-BE49-F238E27FC236}">
                  <a16:creationId xmlns:a16="http://schemas.microsoft.com/office/drawing/2014/main" id="{8340974C-E19F-4EC4-861B-02EDE7B0CA6B}"/>
                </a:ext>
              </a:extLst>
            </p:cNvPr>
            <p:cNvGrpSpPr/>
            <p:nvPr/>
          </p:nvGrpSpPr>
          <p:grpSpPr bwMode="gray">
            <a:xfrm>
              <a:off x="13936546" y="-448340"/>
              <a:ext cx="104700" cy="614893"/>
              <a:chOff x="15213916" y="-747541"/>
              <a:chExt cx="104700" cy="614893"/>
            </a:xfrm>
          </p:grpSpPr>
          <p:grpSp>
            <p:nvGrpSpPr>
              <p:cNvPr id="1247" name="Group 1246">
                <a:extLst>
                  <a:ext uri="{FF2B5EF4-FFF2-40B4-BE49-F238E27FC236}">
                    <a16:creationId xmlns:a16="http://schemas.microsoft.com/office/drawing/2014/main" id="{3696437D-5BB0-48F5-9492-054736C17D68}"/>
                  </a:ext>
                </a:extLst>
              </p:cNvPr>
              <p:cNvGrpSpPr/>
              <p:nvPr/>
            </p:nvGrpSpPr>
            <p:grpSpPr bwMode="gray">
              <a:xfrm>
                <a:off x="15213916" y="-645165"/>
                <a:ext cx="104700" cy="512517"/>
                <a:chOff x="15520009" y="-688027"/>
                <a:chExt cx="104700" cy="512517"/>
              </a:xfrm>
            </p:grpSpPr>
            <p:sp>
              <p:nvSpPr>
                <p:cNvPr id="1249" name="Freeform: Shape 1248">
                  <a:extLst>
                    <a:ext uri="{FF2B5EF4-FFF2-40B4-BE49-F238E27FC236}">
                      <a16:creationId xmlns:a16="http://schemas.microsoft.com/office/drawing/2014/main" id="{B7D104A3-6CFE-4266-83E5-41138F6C7669}"/>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250" name="Oval 386">
                  <a:extLst>
                    <a:ext uri="{FF2B5EF4-FFF2-40B4-BE49-F238E27FC236}">
                      <a16:creationId xmlns:a16="http://schemas.microsoft.com/office/drawing/2014/main" id="{EFB6368E-8348-4979-9D25-37F293AD2A70}"/>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248" name="Cylinder 1247">
                <a:extLst>
                  <a:ext uri="{FF2B5EF4-FFF2-40B4-BE49-F238E27FC236}">
                    <a16:creationId xmlns:a16="http://schemas.microsoft.com/office/drawing/2014/main" id="{A04D6C82-35E6-48BA-AE75-0B0A1B413AEF}"/>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237" name="Group 1236">
              <a:extLst>
                <a:ext uri="{FF2B5EF4-FFF2-40B4-BE49-F238E27FC236}">
                  <a16:creationId xmlns:a16="http://schemas.microsoft.com/office/drawing/2014/main" id="{1B54A3BE-56DB-4DB9-A1FE-819940958751}"/>
                </a:ext>
              </a:extLst>
            </p:cNvPr>
            <p:cNvGrpSpPr/>
            <p:nvPr/>
          </p:nvGrpSpPr>
          <p:grpSpPr bwMode="gray">
            <a:xfrm>
              <a:off x="13811360" y="-376642"/>
              <a:ext cx="104700" cy="614893"/>
              <a:chOff x="15213916" y="-747541"/>
              <a:chExt cx="104700" cy="614893"/>
            </a:xfrm>
          </p:grpSpPr>
          <p:grpSp>
            <p:nvGrpSpPr>
              <p:cNvPr id="1243" name="Group 1242">
                <a:extLst>
                  <a:ext uri="{FF2B5EF4-FFF2-40B4-BE49-F238E27FC236}">
                    <a16:creationId xmlns:a16="http://schemas.microsoft.com/office/drawing/2014/main" id="{7667BC9E-F8C5-4E30-A0AC-BFD05D21D05C}"/>
                  </a:ext>
                </a:extLst>
              </p:cNvPr>
              <p:cNvGrpSpPr/>
              <p:nvPr/>
            </p:nvGrpSpPr>
            <p:grpSpPr bwMode="gray">
              <a:xfrm>
                <a:off x="15213916" y="-645165"/>
                <a:ext cx="104700" cy="512517"/>
                <a:chOff x="15520009" y="-688027"/>
                <a:chExt cx="104700" cy="512517"/>
              </a:xfrm>
            </p:grpSpPr>
            <p:sp>
              <p:nvSpPr>
                <p:cNvPr id="1245" name="Freeform: Shape 1244">
                  <a:extLst>
                    <a:ext uri="{FF2B5EF4-FFF2-40B4-BE49-F238E27FC236}">
                      <a16:creationId xmlns:a16="http://schemas.microsoft.com/office/drawing/2014/main" id="{D293F66C-C418-436E-A1C6-101919817CD5}"/>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246" name="Oval 386">
                  <a:extLst>
                    <a:ext uri="{FF2B5EF4-FFF2-40B4-BE49-F238E27FC236}">
                      <a16:creationId xmlns:a16="http://schemas.microsoft.com/office/drawing/2014/main" id="{15A4DC53-5D64-4798-9D65-A57A8C69DDF7}"/>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244" name="Cylinder 1243">
                <a:extLst>
                  <a:ext uri="{FF2B5EF4-FFF2-40B4-BE49-F238E27FC236}">
                    <a16:creationId xmlns:a16="http://schemas.microsoft.com/office/drawing/2014/main" id="{DEEAB0B9-AF19-4152-878D-72749F0905D2}"/>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238" name="Group 1237">
              <a:extLst>
                <a:ext uri="{FF2B5EF4-FFF2-40B4-BE49-F238E27FC236}">
                  <a16:creationId xmlns:a16="http://schemas.microsoft.com/office/drawing/2014/main" id="{E884651E-EA75-46DF-951D-995B0019C1C0}"/>
                </a:ext>
              </a:extLst>
            </p:cNvPr>
            <p:cNvGrpSpPr/>
            <p:nvPr/>
          </p:nvGrpSpPr>
          <p:grpSpPr bwMode="gray">
            <a:xfrm>
              <a:off x="14687660" y="-878510"/>
              <a:ext cx="104700" cy="614893"/>
              <a:chOff x="15213916" y="-747541"/>
              <a:chExt cx="104700" cy="614893"/>
            </a:xfrm>
          </p:grpSpPr>
          <p:grpSp>
            <p:nvGrpSpPr>
              <p:cNvPr id="1239" name="Group 1238">
                <a:extLst>
                  <a:ext uri="{FF2B5EF4-FFF2-40B4-BE49-F238E27FC236}">
                    <a16:creationId xmlns:a16="http://schemas.microsoft.com/office/drawing/2014/main" id="{0B371587-B138-4383-92BC-6DC553B62BD0}"/>
                  </a:ext>
                </a:extLst>
              </p:cNvPr>
              <p:cNvGrpSpPr/>
              <p:nvPr/>
            </p:nvGrpSpPr>
            <p:grpSpPr bwMode="gray">
              <a:xfrm>
                <a:off x="15213916" y="-645165"/>
                <a:ext cx="104700" cy="512517"/>
                <a:chOff x="15520009" y="-688027"/>
                <a:chExt cx="104700" cy="512517"/>
              </a:xfrm>
            </p:grpSpPr>
            <p:sp>
              <p:nvSpPr>
                <p:cNvPr id="1241" name="Freeform: Shape 1240">
                  <a:extLst>
                    <a:ext uri="{FF2B5EF4-FFF2-40B4-BE49-F238E27FC236}">
                      <a16:creationId xmlns:a16="http://schemas.microsoft.com/office/drawing/2014/main" id="{F9ECC4B6-5299-4A5A-A558-2F168782F3A6}"/>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242" name="Oval 386">
                  <a:extLst>
                    <a:ext uri="{FF2B5EF4-FFF2-40B4-BE49-F238E27FC236}">
                      <a16:creationId xmlns:a16="http://schemas.microsoft.com/office/drawing/2014/main" id="{E8E0C024-E6F2-4943-8F89-8220396E151D}"/>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240" name="Cylinder 1239">
                <a:extLst>
                  <a:ext uri="{FF2B5EF4-FFF2-40B4-BE49-F238E27FC236}">
                    <a16:creationId xmlns:a16="http://schemas.microsoft.com/office/drawing/2014/main" id="{7A21B365-C418-41C5-BC56-1530C2FBD9A1}"/>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sp>
        <p:nvSpPr>
          <p:cNvPr id="1373" name="Freeform: Shape 1372">
            <a:extLst>
              <a:ext uri="{FF2B5EF4-FFF2-40B4-BE49-F238E27FC236}">
                <a16:creationId xmlns:a16="http://schemas.microsoft.com/office/drawing/2014/main" id="{27014C56-7B7D-404D-83D1-1C485CBB7F6D}"/>
              </a:ext>
            </a:extLst>
          </p:cNvPr>
          <p:cNvSpPr/>
          <p:nvPr/>
        </p:nvSpPr>
        <p:spPr bwMode="gray">
          <a:xfrm rot="3600000">
            <a:off x="7219419" y="2025104"/>
            <a:ext cx="426913" cy="1177779"/>
          </a:xfrm>
          <a:custGeom>
            <a:avLst/>
            <a:gdLst>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83675 w 595708"/>
              <a:gd name="connsiteY15" fmla="*/ 1320404 h 1650732"/>
              <a:gd name="connsiteX16" fmla="*/ 573042 w 595708"/>
              <a:gd name="connsiteY16" fmla="*/ 1323104 h 1650732"/>
              <a:gd name="connsiteX17" fmla="*/ 575469 w 595708"/>
              <a:gd name="connsiteY17" fmla="*/ 1331708 h 1650732"/>
              <a:gd name="connsiteX18" fmla="*/ 566063 w 595708"/>
              <a:gd name="connsiteY18" fmla="*/ 1351033 h 1650732"/>
              <a:gd name="connsiteX19" fmla="*/ 50731 w 595708"/>
              <a:gd name="connsiteY19" fmla="*/ 1648559 h 1650732"/>
              <a:gd name="connsiteX20" fmla="*/ 8379 w 595708"/>
              <a:gd name="connsiteY20" fmla="*/ 1625573 h 1650732"/>
              <a:gd name="connsiteX21" fmla="*/ 2747 w 595708"/>
              <a:gd name="connsiteY21" fmla="*/ 1605609 h 1650732"/>
              <a:gd name="connsiteX22" fmla="*/ 0 w 595708"/>
              <a:gd name="connsiteY22" fmla="*/ 1601542 h 1650732"/>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83675 w 595708"/>
              <a:gd name="connsiteY15" fmla="*/ 1320404 h 1650732"/>
              <a:gd name="connsiteX16" fmla="*/ 573042 w 595708"/>
              <a:gd name="connsiteY16" fmla="*/ 1323104 h 1650732"/>
              <a:gd name="connsiteX17" fmla="*/ 566063 w 595708"/>
              <a:gd name="connsiteY17" fmla="*/ 1351033 h 1650732"/>
              <a:gd name="connsiteX18" fmla="*/ 50731 w 595708"/>
              <a:gd name="connsiteY18" fmla="*/ 1648559 h 1650732"/>
              <a:gd name="connsiteX19" fmla="*/ 8379 w 595708"/>
              <a:gd name="connsiteY19" fmla="*/ 1625573 h 1650732"/>
              <a:gd name="connsiteX20" fmla="*/ 2747 w 595708"/>
              <a:gd name="connsiteY20" fmla="*/ 1605609 h 1650732"/>
              <a:gd name="connsiteX21" fmla="*/ 0 w 595708"/>
              <a:gd name="connsiteY21" fmla="*/ 1601542 h 1650732"/>
              <a:gd name="connsiteX22" fmla="*/ 0 w 595708"/>
              <a:gd name="connsiteY22" fmla="*/ 324131 h 1650732"/>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83675 w 595708"/>
              <a:gd name="connsiteY15" fmla="*/ 1320404 h 1650732"/>
              <a:gd name="connsiteX16" fmla="*/ 566063 w 595708"/>
              <a:gd name="connsiteY16" fmla="*/ 1351033 h 1650732"/>
              <a:gd name="connsiteX17" fmla="*/ 50731 w 595708"/>
              <a:gd name="connsiteY17" fmla="*/ 1648559 h 1650732"/>
              <a:gd name="connsiteX18" fmla="*/ 8379 w 595708"/>
              <a:gd name="connsiteY18" fmla="*/ 1625573 h 1650732"/>
              <a:gd name="connsiteX19" fmla="*/ 2747 w 595708"/>
              <a:gd name="connsiteY19" fmla="*/ 1605609 h 1650732"/>
              <a:gd name="connsiteX20" fmla="*/ 0 w 595708"/>
              <a:gd name="connsiteY20" fmla="*/ 1601542 h 1650732"/>
              <a:gd name="connsiteX21" fmla="*/ 0 w 595708"/>
              <a:gd name="connsiteY21" fmla="*/ 324131 h 1650732"/>
              <a:gd name="connsiteX0" fmla="*/ 0 w 614349"/>
              <a:gd name="connsiteY0" fmla="*/ 324131 h 1650732"/>
              <a:gd name="connsiteX1" fmla="*/ 41083 w 614349"/>
              <a:gd name="connsiteY1" fmla="*/ 298946 h 1650732"/>
              <a:gd name="connsiteX2" fmla="*/ 82166 w 614349"/>
              <a:gd name="connsiteY2" fmla="*/ 324131 h 1650732"/>
              <a:gd name="connsiteX3" fmla="*/ 82166 w 614349"/>
              <a:gd name="connsiteY3" fmla="*/ 324131 h 1650732"/>
              <a:gd name="connsiteX4" fmla="*/ 82166 w 614349"/>
              <a:gd name="connsiteY4" fmla="*/ 1535533 h 1650732"/>
              <a:gd name="connsiteX5" fmla="*/ 256442 w 614349"/>
              <a:gd name="connsiteY5" fmla="*/ 1434915 h 1650732"/>
              <a:gd name="connsiteX6" fmla="*/ 256442 w 614349"/>
              <a:gd name="connsiteY6" fmla="*/ 175228 h 1650732"/>
              <a:gd name="connsiteX7" fmla="*/ 297525 w 614349"/>
              <a:gd name="connsiteY7" fmla="*/ 150043 h 1650732"/>
              <a:gd name="connsiteX8" fmla="*/ 338608 w 614349"/>
              <a:gd name="connsiteY8" fmla="*/ 175228 h 1650732"/>
              <a:gd name="connsiteX9" fmla="*/ 338608 w 614349"/>
              <a:gd name="connsiteY9" fmla="*/ 1387476 h 1650732"/>
              <a:gd name="connsiteX10" fmla="*/ 513542 w 614349"/>
              <a:gd name="connsiteY10" fmla="*/ 1286479 h 1650732"/>
              <a:gd name="connsiteX11" fmla="*/ 513542 w 614349"/>
              <a:gd name="connsiteY11" fmla="*/ 25184 h 1650732"/>
              <a:gd name="connsiteX12" fmla="*/ 554625 w 614349"/>
              <a:gd name="connsiteY12" fmla="*/ 0 h 1650732"/>
              <a:gd name="connsiteX13" fmla="*/ 595708 w 614349"/>
              <a:gd name="connsiteY13" fmla="*/ 25184 h 1650732"/>
              <a:gd name="connsiteX14" fmla="*/ 595708 w 614349"/>
              <a:gd name="connsiteY14" fmla="*/ 1302596 h 1650732"/>
              <a:gd name="connsiteX15" fmla="*/ 566063 w 614349"/>
              <a:gd name="connsiteY15" fmla="*/ 1351033 h 1650732"/>
              <a:gd name="connsiteX16" fmla="*/ 50731 w 614349"/>
              <a:gd name="connsiteY16" fmla="*/ 1648559 h 1650732"/>
              <a:gd name="connsiteX17" fmla="*/ 8379 w 614349"/>
              <a:gd name="connsiteY17" fmla="*/ 1625573 h 1650732"/>
              <a:gd name="connsiteX18" fmla="*/ 2747 w 614349"/>
              <a:gd name="connsiteY18" fmla="*/ 1605609 h 1650732"/>
              <a:gd name="connsiteX19" fmla="*/ 0 w 614349"/>
              <a:gd name="connsiteY19" fmla="*/ 1601542 h 1650732"/>
              <a:gd name="connsiteX20" fmla="*/ 0 w 614349"/>
              <a:gd name="connsiteY20" fmla="*/ 324131 h 1650732"/>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66063 w 595708"/>
              <a:gd name="connsiteY15" fmla="*/ 1351033 h 1650732"/>
              <a:gd name="connsiteX16" fmla="*/ 50731 w 595708"/>
              <a:gd name="connsiteY16" fmla="*/ 1648559 h 1650732"/>
              <a:gd name="connsiteX17" fmla="*/ 8379 w 595708"/>
              <a:gd name="connsiteY17" fmla="*/ 1625573 h 1650732"/>
              <a:gd name="connsiteX18" fmla="*/ 2747 w 595708"/>
              <a:gd name="connsiteY18" fmla="*/ 1605609 h 1650732"/>
              <a:gd name="connsiteX19" fmla="*/ 0 w 595708"/>
              <a:gd name="connsiteY19" fmla="*/ 1601542 h 1650732"/>
              <a:gd name="connsiteX20" fmla="*/ 0 w 595708"/>
              <a:gd name="connsiteY20" fmla="*/ 324131 h 1650732"/>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66063 w 595708"/>
              <a:gd name="connsiteY15" fmla="*/ 1351033 h 1650732"/>
              <a:gd name="connsiteX16" fmla="*/ 50731 w 595708"/>
              <a:gd name="connsiteY16" fmla="*/ 1648559 h 1650732"/>
              <a:gd name="connsiteX17" fmla="*/ 8379 w 595708"/>
              <a:gd name="connsiteY17" fmla="*/ 1625573 h 1650732"/>
              <a:gd name="connsiteX18" fmla="*/ 2747 w 595708"/>
              <a:gd name="connsiteY18" fmla="*/ 1605609 h 1650732"/>
              <a:gd name="connsiteX19" fmla="*/ 0 w 595708"/>
              <a:gd name="connsiteY19" fmla="*/ 1601542 h 1650732"/>
              <a:gd name="connsiteX20" fmla="*/ 0 w 595708"/>
              <a:gd name="connsiteY20" fmla="*/ 324131 h 1650732"/>
              <a:gd name="connsiteX0" fmla="*/ 0 w 595708"/>
              <a:gd name="connsiteY0" fmla="*/ 324131 h 1639943"/>
              <a:gd name="connsiteX1" fmla="*/ 41083 w 595708"/>
              <a:gd name="connsiteY1" fmla="*/ 298946 h 1639943"/>
              <a:gd name="connsiteX2" fmla="*/ 82166 w 595708"/>
              <a:gd name="connsiteY2" fmla="*/ 324131 h 1639943"/>
              <a:gd name="connsiteX3" fmla="*/ 82166 w 595708"/>
              <a:gd name="connsiteY3" fmla="*/ 324131 h 1639943"/>
              <a:gd name="connsiteX4" fmla="*/ 82166 w 595708"/>
              <a:gd name="connsiteY4" fmla="*/ 1535533 h 1639943"/>
              <a:gd name="connsiteX5" fmla="*/ 256442 w 595708"/>
              <a:gd name="connsiteY5" fmla="*/ 1434915 h 1639943"/>
              <a:gd name="connsiteX6" fmla="*/ 256442 w 595708"/>
              <a:gd name="connsiteY6" fmla="*/ 175228 h 1639943"/>
              <a:gd name="connsiteX7" fmla="*/ 297525 w 595708"/>
              <a:gd name="connsiteY7" fmla="*/ 150043 h 1639943"/>
              <a:gd name="connsiteX8" fmla="*/ 338608 w 595708"/>
              <a:gd name="connsiteY8" fmla="*/ 175228 h 1639943"/>
              <a:gd name="connsiteX9" fmla="*/ 338608 w 595708"/>
              <a:gd name="connsiteY9" fmla="*/ 1387476 h 1639943"/>
              <a:gd name="connsiteX10" fmla="*/ 513542 w 595708"/>
              <a:gd name="connsiteY10" fmla="*/ 1286479 h 1639943"/>
              <a:gd name="connsiteX11" fmla="*/ 513542 w 595708"/>
              <a:gd name="connsiteY11" fmla="*/ 25184 h 1639943"/>
              <a:gd name="connsiteX12" fmla="*/ 554625 w 595708"/>
              <a:gd name="connsiteY12" fmla="*/ 0 h 1639943"/>
              <a:gd name="connsiteX13" fmla="*/ 595708 w 595708"/>
              <a:gd name="connsiteY13" fmla="*/ 25184 h 1639943"/>
              <a:gd name="connsiteX14" fmla="*/ 595708 w 595708"/>
              <a:gd name="connsiteY14" fmla="*/ 1302596 h 1639943"/>
              <a:gd name="connsiteX15" fmla="*/ 566063 w 595708"/>
              <a:gd name="connsiteY15" fmla="*/ 1351033 h 1639943"/>
              <a:gd name="connsiteX16" fmla="*/ 78263 w 595708"/>
              <a:gd name="connsiteY16" fmla="*/ 1634209 h 1639943"/>
              <a:gd name="connsiteX17" fmla="*/ 8379 w 595708"/>
              <a:gd name="connsiteY17" fmla="*/ 1625573 h 1639943"/>
              <a:gd name="connsiteX18" fmla="*/ 2747 w 595708"/>
              <a:gd name="connsiteY18" fmla="*/ 1605609 h 1639943"/>
              <a:gd name="connsiteX19" fmla="*/ 0 w 595708"/>
              <a:gd name="connsiteY19" fmla="*/ 1601542 h 1639943"/>
              <a:gd name="connsiteX20" fmla="*/ 0 w 595708"/>
              <a:gd name="connsiteY20" fmla="*/ 324131 h 1639943"/>
              <a:gd name="connsiteX0" fmla="*/ 0 w 595708"/>
              <a:gd name="connsiteY0" fmla="*/ 324131 h 1648418"/>
              <a:gd name="connsiteX1" fmla="*/ 41083 w 595708"/>
              <a:gd name="connsiteY1" fmla="*/ 298946 h 1648418"/>
              <a:gd name="connsiteX2" fmla="*/ 82166 w 595708"/>
              <a:gd name="connsiteY2" fmla="*/ 324131 h 1648418"/>
              <a:gd name="connsiteX3" fmla="*/ 82166 w 595708"/>
              <a:gd name="connsiteY3" fmla="*/ 324131 h 1648418"/>
              <a:gd name="connsiteX4" fmla="*/ 82166 w 595708"/>
              <a:gd name="connsiteY4" fmla="*/ 1535533 h 1648418"/>
              <a:gd name="connsiteX5" fmla="*/ 256442 w 595708"/>
              <a:gd name="connsiteY5" fmla="*/ 1434915 h 1648418"/>
              <a:gd name="connsiteX6" fmla="*/ 256442 w 595708"/>
              <a:gd name="connsiteY6" fmla="*/ 175228 h 1648418"/>
              <a:gd name="connsiteX7" fmla="*/ 297525 w 595708"/>
              <a:gd name="connsiteY7" fmla="*/ 150043 h 1648418"/>
              <a:gd name="connsiteX8" fmla="*/ 338608 w 595708"/>
              <a:gd name="connsiteY8" fmla="*/ 175228 h 1648418"/>
              <a:gd name="connsiteX9" fmla="*/ 338608 w 595708"/>
              <a:gd name="connsiteY9" fmla="*/ 1387476 h 1648418"/>
              <a:gd name="connsiteX10" fmla="*/ 513542 w 595708"/>
              <a:gd name="connsiteY10" fmla="*/ 1286479 h 1648418"/>
              <a:gd name="connsiteX11" fmla="*/ 513542 w 595708"/>
              <a:gd name="connsiteY11" fmla="*/ 25184 h 1648418"/>
              <a:gd name="connsiteX12" fmla="*/ 554625 w 595708"/>
              <a:gd name="connsiteY12" fmla="*/ 0 h 1648418"/>
              <a:gd name="connsiteX13" fmla="*/ 595708 w 595708"/>
              <a:gd name="connsiteY13" fmla="*/ 25184 h 1648418"/>
              <a:gd name="connsiteX14" fmla="*/ 595708 w 595708"/>
              <a:gd name="connsiteY14" fmla="*/ 1302596 h 1648418"/>
              <a:gd name="connsiteX15" fmla="*/ 566063 w 595708"/>
              <a:gd name="connsiteY15" fmla="*/ 1351033 h 1648418"/>
              <a:gd name="connsiteX16" fmla="*/ 78263 w 595708"/>
              <a:gd name="connsiteY16" fmla="*/ 1634209 h 1648418"/>
              <a:gd name="connsiteX17" fmla="*/ 2747 w 595708"/>
              <a:gd name="connsiteY17" fmla="*/ 1605609 h 1648418"/>
              <a:gd name="connsiteX18" fmla="*/ 0 w 595708"/>
              <a:gd name="connsiteY18" fmla="*/ 1601542 h 1648418"/>
              <a:gd name="connsiteX19" fmla="*/ 0 w 595708"/>
              <a:gd name="connsiteY19" fmla="*/ 324131 h 1648418"/>
              <a:gd name="connsiteX0" fmla="*/ 0 w 595708"/>
              <a:gd name="connsiteY0" fmla="*/ 324131 h 1719425"/>
              <a:gd name="connsiteX1" fmla="*/ 41083 w 595708"/>
              <a:gd name="connsiteY1" fmla="*/ 298946 h 1719425"/>
              <a:gd name="connsiteX2" fmla="*/ 82166 w 595708"/>
              <a:gd name="connsiteY2" fmla="*/ 324131 h 1719425"/>
              <a:gd name="connsiteX3" fmla="*/ 82166 w 595708"/>
              <a:gd name="connsiteY3" fmla="*/ 324131 h 1719425"/>
              <a:gd name="connsiteX4" fmla="*/ 82166 w 595708"/>
              <a:gd name="connsiteY4" fmla="*/ 1535533 h 1719425"/>
              <a:gd name="connsiteX5" fmla="*/ 256442 w 595708"/>
              <a:gd name="connsiteY5" fmla="*/ 1434915 h 1719425"/>
              <a:gd name="connsiteX6" fmla="*/ 256442 w 595708"/>
              <a:gd name="connsiteY6" fmla="*/ 175228 h 1719425"/>
              <a:gd name="connsiteX7" fmla="*/ 297525 w 595708"/>
              <a:gd name="connsiteY7" fmla="*/ 150043 h 1719425"/>
              <a:gd name="connsiteX8" fmla="*/ 338608 w 595708"/>
              <a:gd name="connsiteY8" fmla="*/ 175228 h 1719425"/>
              <a:gd name="connsiteX9" fmla="*/ 338608 w 595708"/>
              <a:gd name="connsiteY9" fmla="*/ 1387476 h 1719425"/>
              <a:gd name="connsiteX10" fmla="*/ 513542 w 595708"/>
              <a:gd name="connsiteY10" fmla="*/ 1286479 h 1719425"/>
              <a:gd name="connsiteX11" fmla="*/ 513542 w 595708"/>
              <a:gd name="connsiteY11" fmla="*/ 25184 h 1719425"/>
              <a:gd name="connsiteX12" fmla="*/ 554625 w 595708"/>
              <a:gd name="connsiteY12" fmla="*/ 0 h 1719425"/>
              <a:gd name="connsiteX13" fmla="*/ 595708 w 595708"/>
              <a:gd name="connsiteY13" fmla="*/ 25184 h 1719425"/>
              <a:gd name="connsiteX14" fmla="*/ 595708 w 595708"/>
              <a:gd name="connsiteY14" fmla="*/ 1302596 h 1719425"/>
              <a:gd name="connsiteX15" fmla="*/ 566063 w 595708"/>
              <a:gd name="connsiteY15" fmla="*/ 1351033 h 1719425"/>
              <a:gd name="connsiteX16" fmla="*/ 78263 w 595708"/>
              <a:gd name="connsiteY16" fmla="*/ 1634209 h 1719425"/>
              <a:gd name="connsiteX17" fmla="*/ 0 w 595708"/>
              <a:gd name="connsiteY17" fmla="*/ 1601542 h 1719425"/>
              <a:gd name="connsiteX18" fmla="*/ 0 w 595708"/>
              <a:gd name="connsiteY18" fmla="*/ 324131 h 1719425"/>
              <a:gd name="connsiteX0" fmla="*/ 628 w 596336"/>
              <a:gd name="connsiteY0" fmla="*/ 324131 h 1648230"/>
              <a:gd name="connsiteX1" fmla="*/ 41711 w 596336"/>
              <a:gd name="connsiteY1" fmla="*/ 298946 h 1648230"/>
              <a:gd name="connsiteX2" fmla="*/ 82794 w 596336"/>
              <a:gd name="connsiteY2" fmla="*/ 324131 h 1648230"/>
              <a:gd name="connsiteX3" fmla="*/ 82794 w 596336"/>
              <a:gd name="connsiteY3" fmla="*/ 324131 h 1648230"/>
              <a:gd name="connsiteX4" fmla="*/ 82794 w 596336"/>
              <a:gd name="connsiteY4" fmla="*/ 1535533 h 1648230"/>
              <a:gd name="connsiteX5" fmla="*/ 257070 w 596336"/>
              <a:gd name="connsiteY5" fmla="*/ 1434915 h 1648230"/>
              <a:gd name="connsiteX6" fmla="*/ 257070 w 596336"/>
              <a:gd name="connsiteY6" fmla="*/ 175228 h 1648230"/>
              <a:gd name="connsiteX7" fmla="*/ 298153 w 596336"/>
              <a:gd name="connsiteY7" fmla="*/ 150043 h 1648230"/>
              <a:gd name="connsiteX8" fmla="*/ 339236 w 596336"/>
              <a:gd name="connsiteY8" fmla="*/ 175228 h 1648230"/>
              <a:gd name="connsiteX9" fmla="*/ 339236 w 596336"/>
              <a:gd name="connsiteY9" fmla="*/ 1387476 h 1648230"/>
              <a:gd name="connsiteX10" fmla="*/ 514170 w 596336"/>
              <a:gd name="connsiteY10" fmla="*/ 1286479 h 1648230"/>
              <a:gd name="connsiteX11" fmla="*/ 514170 w 596336"/>
              <a:gd name="connsiteY11" fmla="*/ 25184 h 1648230"/>
              <a:gd name="connsiteX12" fmla="*/ 555253 w 596336"/>
              <a:gd name="connsiteY12" fmla="*/ 0 h 1648230"/>
              <a:gd name="connsiteX13" fmla="*/ 596336 w 596336"/>
              <a:gd name="connsiteY13" fmla="*/ 25184 h 1648230"/>
              <a:gd name="connsiteX14" fmla="*/ 596336 w 596336"/>
              <a:gd name="connsiteY14" fmla="*/ 1302596 h 1648230"/>
              <a:gd name="connsiteX15" fmla="*/ 566691 w 596336"/>
              <a:gd name="connsiteY15" fmla="*/ 1351033 h 1648230"/>
              <a:gd name="connsiteX16" fmla="*/ 78891 w 596336"/>
              <a:gd name="connsiteY16" fmla="*/ 1634209 h 1648230"/>
              <a:gd name="connsiteX17" fmla="*/ 628 w 596336"/>
              <a:gd name="connsiteY17" fmla="*/ 1601542 h 1648230"/>
              <a:gd name="connsiteX18" fmla="*/ 628 w 596336"/>
              <a:gd name="connsiteY18" fmla="*/ 324131 h 1648230"/>
              <a:gd name="connsiteX0" fmla="*/ 0 w 595708"/>
              <a:gd name="connsiteY0" fmla="*/ 324131 h 1643455"/>
              <a:gd name="connsiteX1" fmla="*/ 41083 w 595708"/>
              <a:gd name="connsiteY1" fmla="*/ 298946 h 1643455"/>
              <a:gd name="connsiteX2" fmla="*/ 82166 w 595708"/>
              <a:gd name="connsiteY2" fmla="*/ 324131 h 1643455"/>
              <a:gd name="connsiteX3" fmla="*/ 82166 w 595708"/>
              <a:gd name="connsiteY3" fmla="*/ 324131 h 1643455"/>
              <a:gd name="connsiteX4" fmla="*/ 82166 w 595708"/>
              <a:gd name="connsiteY4" fmla="*/ 1535533 h 1643455"/>
              <a:gd name="connsiteX5" fmla="*/ 256442 w 595708"/>
              <a:gd name="connsiteY5" fmla="*/ 1434915 h 1643455"/>
              <a:gd name="connsiteX6" fmla="*/ 256442 w 595708"/>
              <a:gd name="connsiteY6" fmla="*/ 175228 h 1643455"/>
              <a:gd name="connsiteX7" fmla="*/ 297525 w 595708"/>
              <a:gd name="connsiteY7" fmla="*/ 150043 h 1643455"/>
              <a:gd name="connsiteX8" fmla="*/ 338608 w 595708"/>
              <a:gd name="connsiteY8" fmla="*/ 175228 h 1643455"/>
              <a:gd name="connsiteX9" fmla="*/ 338608 w 595708"/>
              <a:gd name="connsiteY9" fmla="*/ 1387476 h 1643455"/>
              <a:gd name="connsiteX10" fmla="*/ 513542 w 595708"/>
              <a:gd name="connsiteY10" fmla="*/ 1286479 h 1643455"/>
              <a:gd name="connsiteX11" fmla="*/ 513542 w 595708"/>
              <a:gd name="connsiteY11" fmla="*/ 25184 h 1643455"/>
              <a:gd name="connsiteX12" fmla="*/ 554625 w 595708"/>
              <a:gd name="connsiteY12" fmla="*/ 0 h 1643455"/>
              <a:gd name="connsiteX13" fmla="*/ 595708 w 595708"/>
              <a:gd name="connsiteY13" fmla="*/ 25184 h 1643455"/>
              <a:gd name="connsiteX14" fmla="*/ 595708 w 595708"/>
              <a:gd name="connsiteY14" fmla="*/ 1302596 h 1643455"/>
              <a:gd name="connsiteX15" fmla="*/ 566063 w 595708"/>
              <a:gd name="connsiteY15" fmla="*/ 1351033 h 1643455"/>
              <a:gd name="connsiteX16" fmla="*/ 78263 w 595708"/>
              <a:gd name="connsiteY16" fmla="*/ 1634209 h 1643455"/>
              <a:gd name="connsiteX17" fmla="*/ 0 w 595708"/>
              <a:gd name="connsiteY17" fmla="*/ 1601542 h 1643455"/>
              <a:gd name="connsiteX18" fmla="*/ 0 w 595708"/>
              <a:gd name="connsiteY18" fmla="*/ 324131 h 16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95708" h="1643455">
                <a:moveTo>
                  <a:pt x="0" y="324131"/>
                </a:moveTo>
                <a:cubicBezTo>
                  <a:pt x="0" y="310222"/>
                  <a:pt x="18393" y="298946"/>
                  <a:pt x="41083" y="298946"/>
                </a:cubicBezTo>
                <a:cubicBezTo>
                  <a:pt x="63773" y="298946"/>
                  <a:pt x="82166" y="310222"/>
                  <a:pt x="82166" y="324131"/>
                </a:cubicBezTo>
                <a:lnTo>
                  <a:pt x="82166" y="324131"/>
                </a:lnTo>
                <a:lnTo>
                  <a:pt x="82166" y="1535533"/>
                </a:lnTo>
                <a:lnTo>
                  <a:pt x="256442" y="1434915"/>
                </a:lnTo>
                <a:lnTo>
                  <a:pt x="256442" y="175228"/>
                </a:lnTo>
                <a:cubicBezTo>
                  <a:pt x="256442" y="161319"/>
                  <a:pt x="274835" y="150043"/>
                  <a:pt x="297525" y="150043"/>
                </a:cubicBezTo>
                <a:cubicBezTo>
                  <a:pt x="320215" y="150043"/>
                  <a:pt x="338608" y="161319"/>
                  <a:pt x="338608" y="175228"/>
                </a:cubicBezTo>
                <a:lnTo>
                  <a:pt x="338608" y="1387476"/>
                </a:lnTo>
                <a:lnTo>
                  <a:pt x="513542" y="1286479"/>
                </a:lnTo>
                <a:lnTo>
                  <a:pt x="513542" y="25184"/>
                </a:lnTo>
                <a:cubicBezTo>
                  <a:pt x="513542" y="11276"/>
                  <a:pt x="531935" y="0"/>
                  <a:pt x="554625" y="0"/>
                </a:cubicBezTo>
                <a:cubicBezTo>
                  <a:pt x="577315" y="0"/>
                  <a:pt x="595708" y="11276"/>
                  <a:pt x="595708" y="25184"/>
                </a:cubicBezTo>
                <a:lnTo>
                  <a:pt x="595708" y="1302596"/>
                </a:lnTo>
                <a:cubicBezTo>
                  <a:pt x="595513" y="1320088"/>
                  <a:pt x="581354" y="1343248"/>
                  <a:pt x="566063" y="1351033"/>
                </a:cubicBezTo>
                <a:lnTo>
                  <a:pt x="78263" y="1634209"/>
                </a:lnTo>
                <a:cubicBezTo>
                  <a:pt x="20890" y="1664310"/>
                  <a:pt x="972" y="1612196"/>
                  <a:pt x="0" y="1601542"/>
                </a:cubicBezTo>
                <a:lnTo>
                  <a:pt x="0" y="324131"/>
                </a:ln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nvGrpSpPr>
          <p:cNvPr id="1519" name="Group 1518">
            <a:extLst>
              <a:ext uri="{FF2B5EF4-FFF2-40B4-BE49-F238E27FC236}">
                <a16:creationId xmlns:a16="http://schemas.microsoft.com/office/drawing/2014/main" id="{046B5F97-DBA6-4637-8104-81A19E37F487}"/>
              </a:ext>
            </a:extLst>
          </p:cNvPr>
          <p:cNvGrpSpPr/>
          <p:nvPr/>
        </p:nvGrpSpPr>
        <p:grpSpPr bwMode="gray">
          <a:xfrm rot="10800000">
            <a:off x="6975541" y="2694993"/>
            <a:ext cx="125472" cy="532944"/>
            <a:chOff x="11082094" y="2223957"/>
            <a:chExt cx="494877" cy="641895"/>
          </a:xfrm>
          <a:solidFill>
            <a:srgbClr val="FF000F">
              <a:alpha val="50196"/>
            </a:srgbClr>
          </a:solidFill>
        </p:grpSpPr>
        <p:sp>
          <p:nvSpPr>
            <p:cNvPr id="1520" name="Freeform: Shape 1519">
              <a:extLst>
                <a:ext uri="{FF2B5EF4-FFF2-40B4-BE49-F238E27FC236}">
                  <a16:creationId xmlns:a16="http://schemas.microsoft.com/office/drawing/2014/main" id="{6E4B36B3-246E-4E53-8677-BA9DFD1963F2}"/>
                </a:ext>
              </a:extLst>
            </p:cNvPr>
            <p:cNvSpPr/>
            <p:nvPr/>
          </p:nvSpPr>
          <p:spPr bwMode="gray">
            <a:xfrm>
              <a:off x="11082094" y="2223957"/>
              <a:ext cx="494877" cy="641895"/>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2"/>
            </a:solidFill>
            <a:ln w="19050">
              <a:noFill/>
              <a:prstDash val="solid"/>
              <a:miter lim="800000"/>
              <a:headEnd/>
              <a:tailEnd/>
            </a:ln>
          </p:spPr>
          <p:txBody>
            <a:bodyPr rtlCol="0" anchor="ctr"/>
            <a:lstStyle/>
            <a:p>
              <a:pPr algn="ctr"/>
              <a:endParaRPr lang="en-US" sz="1400" dirty="0"/>
            </a:p>
          </p:txBody>
        </p:sp>
        <p:sp>
          <p:nvSpPr>
            <p:cNvPr id="1521" name="Freeform: Shape 1520">
              <a:extLst>
                <a:ext uri="{FF2B5EF4-FFF2-40B4-BE49-F238E27FC236}">
                  <a16:creationId xmlns:a16="http://schemas.microsoft.com/office/drawing/2014/main" id="{DFE615D4-297B-4B5A-99BD-71F494762DF1}"/>
                </a:ext>
              </a:extLst>
            </p:cNvPr>
            <p:cNvSpPr/>
            <p:nvPr/>
          </p:nvSpPr>
          <p:spPr bwMode="gray">
            <a:xfrm>
              <a:off x="11219047" y="2518410"/>
              <a:ext cx="220970" cy="286616"/>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1"/>
            </a:solidFill>
            <a:ln w="19050">
              <a:noFill/>
              <a:prstDash val="solid"/>
              <a:miter lim="800000"/>
              <a:headEnd/>
              <a:tailEnd/>
            </a:ln>
          </p:spPr>
          <p:txBody>
            <a:bodyPr rtlCol="0" anchor="ctr"/>
            <a:lstStyle/>
            <a:p>
              <a:pPr algn="ctr"/>
              <a:endParaRPr lang="en-US" sz="1400"/>
            </a:p>
          </p:txBody>
        </p:sp>
      </p:grpSp>
      <p:grpSp>
        <p:nvGrpSpPr>
          <p:cNvPr id="1522" name="Group 1521">
            <a:extLst>
              <a:ext uri="{FF2B5EF4-FFF2-40B4-BE49-F238E27FC236}">
                <a16:creationId xmlns:a16="http://schemas.microsoft.com/office/drawing/2014/main" id="{97B0F440-4B3B-4376-A511-177A20963353}"/>
              </a:ext>
            </a:extLst>
          </p:cNvPr>
          <p:cNvGrpSpPr/>
          <p:nvPr/>
        </p:nvGrpSpPr>
        <p:grpSpPr bwMode="gray">
          <a:xfrm rot="10800000">
            <a:off x="7154725" y="2592032"/>
            <a:ext cx="125472" cy="555201"/>
            <a:chOff x="11082094" y="2223957"/>
            <a:chExt cx="494877" cy="641895"/>
          </a:xfrm>
          <a:solidFill>
            <a:srgbClr val="FF000F">
              <a:alpha val="50196"/>
            </a:srgbClr>
          </a:solidFill>
        </p:grpSpPr>
        <p:sp>
          <p:nvSpPr>
            <p:cNvPr id="1523" name="Freeform: Shape 1522">
              <a:extLst>
                <a:ext uri="{FF2B5EF4-FFF2-40B4-BE49-F238E27FC236}">
                  <a16:creationId xmlns:a16="http://schemas.microsoft.com/office/drawing/2014/main" id="{AE0B664A-E247-4F90-AE9A-AB95AE603B53}"/>
                </a:ext>
              </a:extLst>
            </p:cNvPr>
            <p:cNvSpPr/>
            <p:nvPr/>
          </p:nvSpPr>
          <p:spPr bwMode="gray">
            <a:xfrm>
              <a:off x="11082094" y="2223957"/>
              <a:ext cx="494877" cy="641895"/>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2"/>
            </a:solidFill>
            <a:ln w="19050">
              <a:noFill/>
              <a:prstDash val="solid"/>
              <a:miter lim="800000"/>
              <a:headEnd/>
              <a:tailEnd/>
            </a:ln>
          </p:spPr>
          <p:txBody>
            <a:bodyPr rtlCol="0" anchor="ctr"/>
            <a:lstStyle/>
            <a:p>
              <a:pPr algn="ctr"/>
              <a:endParaRPr lang="en-US" sz="1400" dirty="0"/>
            </a:p>
          </p:txBody>
        </p:sp>
        <p:sp>
          <p:nvSpPr>
            <p:cNvPr id="1524" name="Freeform: Shape 1523">
              <a:extLst>
                <a:ext uri="{FF2B5EF4-FFF2-40B4-BE49-F238E27FC236}">
                  <a16:creationId xmlns:a16="http://schemas.microsoft.com/office/drawing/2014/main" id="{568B761B-FC61-428A-805B-066A8276F09B}"/>
                </a:ext>
              </a:extLst>
            </p:cNvPr>
            <p:cNvSpPr/>
            <p:nvPr/>
          </p:nvSpPr>
          <p:spPr bwMode="gray">
            <a:xfrm>
              <a:off x="11219047" y="2518410"/>
              <a:ext cx="220970" cy="286616"/>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1"/>
            </a:solidFill>
            <a:ln w="19050">
              <a:noFill/>
              <a:prstDash val="solid"/>
              <a:miter lim="800000"/>
              <a:headEnd/>
              <a:tailEnd/>
            </a:ln>
          </p:spPr>
          <p:txBody>
            <a:bodyPr rtlCol="0" anchor="ctr"/>
            <a:lstStyle/>
            <a:p>
              <a:pPr algn="ctr"/>
              <a:endParaRPr lang="en-US" sz="1400" dirty="0"/>
            </a:p>
          </p:txBody>
        </p:sp>
      </p:grpSp>
      <p:grpSp>
        <p:nvGrpSpPr>
          <p:cNvPr id="1526" name="Group 1525">
            <a:extLst>
              <a:ext uri="{FF2B5EF4-FFF2-40B4-BE49-F238E27FC236}">
                <a16:creationId xmlns:a16="http://schemas.microsoft.com/office/drawing/2014/main" id="{045169FC-4870-45C0-BD13-B36F5E098927}"/>
              </a:ext>
            </a:extLst>
          </p:cNvPr>
          <p:cNvGrpSpPr/>
          <p:nvPr/>
        </p:nvGrpSpPr>
        <p:grpSpPr bwMode="gray">
          <a:xfrm rot="10800000">
            <a:off x="7333909" y="2489073"/>
            <a:ext cx="125472" cy="549804"/>
            <a:chOff x="11082094" y="2223957"/>
            <a:chExt cx="494877" cy="641895"/>
          </a:xfrm>
          <a:solidFill>
            <a:srgbClr val="FF000F">
              <a:alpha val="50196"/>
            </a:srgbClr>
          </a:solidFill>
        </p:grpSpPr>
        <p:sp>
          <p:nvSpPr>
            <p:cNvPr id="1527" name="Freeform: Shape 1526">
              <a:extLst>
                <a:ext uri="{FF2B5EF4-FFF2-40B4-BE49-F238E27FC236}">
                  <a16:creationId xmlns:a16="http://schemas.microsoft.com/office/drawing/2014/main" id="{D6C0AAAB-9E1F-477F-94C4-467D8F9D41AD}"/>
                </a:ext>
              </a:extLst>
            </p:cNvPr>
            <p:cNvSpPr/>
            <p:nvPr/>
          </p:nvSpPr>
          <p:spPr bwMode="gray">
            <a:xfrm>
              <a:off x="11082094" y="2223957"/>
              <a:ext cx="494877" cy="641895"/>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2"/>
            </a:solidFill>
            <a:ln w="19050">
              <a:noFill/>
              <a:prstDash val="solid"/>
              <a:miter lim="800000"/>
              <a:headEnd/>
              <a:tailEnd/>
            </a:ln>
          </p:spPr>
          <p:txBody>
            <a:bodyPr rtlCol="0" anchor="ctr"/>
            <a:lstStyle/>
            <a:p>
              <a:pPr algn="ctr"/>
              <a:endParaRPr lang="en-US" sz="1400"/>
            </a:p>
          </p:txBody>
        </p:sp>
        <p:sp>
          <p:nvSpPr>
            <p:cNvPr id="1528" name="Freeform: Shape 1527">
              <a:extLst>
                <a:ext uri="{FF2B5EF4-FFF2-40B4-BE49-F238E27FC236}">
                  <a16:creationId xmlns:a16="http://schemas.microsoft.com/office/drawing/2014/main" id="{65ED07F5-7CCE-4089-B97A-49D228BBFA48}"/>
                </a:ext>
              </a:extLst>
            </p:cNvPr>
            <p:cNvSpPr/>
            <p:nvPr/>
          </p:nvSpPr>
          <p:spPr bwMode="gray">
            <a:xfrm>
              <a:off x="11219047" y="2518410"/>
              <a:ext cx="220970" cy="286616"/>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1"/>
            </a:solidFill>
            <a:ln w="19050">
              <a:noFill/>
              <a:prstDash val="solid"/>
              <a:miter lim="800000"/>
              <a:headEnd/>
              <a:tailEnd/>
            </a:ln>
          </p:spPr>
          <p:txBody>
            <a:bodyPr rtlCol="0" anchor="ctr"/>
            <a:lstStyle/>
            <a:p>
              <a:pPr algn="ctr"/>
              <a:endParaRPr lang="en-US" sz="1400"/>
            </a:p>
          </p:txBody>
        </p:sp>
      </p:grpSp>
      <p:grpSp>
        <p:nvGrpSpPr>
          <p:cNvPr id="1530" name="Group 1529">
            <a:extLst>
              <a:ext uri="{FF2B5EF4-FFF2-40B4-BE49-F238E27FC236}">
                <a16:creationId xmlns:a16="http://schemas.microsoft.com/office/drawing/2014/main" id="{E6C575D0-4C6D-40EE-B7E4-5A1181D0DFFF}"/>
              </a:ext>
            </a:extLst>
          </p:cNvPr>
          <p:cNvGrpSpPr/>
          <p:nvPr/>
        </p:nvGrpSpPr>
        <p:grpSpPr bwMode="gray">
          <a:xfrm rot="10800000">
            <a:off x="7513094" y="2386114"/>
            <a:ext cx="125472" cy="559925"/>
            <a:chOff x="11082094" y="2223957"/>
            <a:chExt cx="494877" cy="641895"/>
          </a:xfrm>
          <a:solidFill>
            <a:srgbClr val="FF000F">
              <a:alpha val="50196"/>
            </a:srgbClr>
          </a:solidFill>
        </p:grpSpPr>
        <p:sp>
          <p:nvSpPr>
            <p:cNvPr id="1531" name="Freeform: Shape 1530">
              <a:extLst>
                <a:ext uri="{FF2B5EF4-FFF2-40B4-BE49-F238E27FC236}">
                  <a16:creationId xmlns:a16="http://schemas.microsoft.com/office/drawing/2014/main" id="{C7610853-15D2-4973-81B6-19E2525993E0}"/>
                </a:ext>
              </a:extLst>
            </p:cNvPr>
            <p:cNvSpPr/>
            <p:nvPr/>
          </p:nvSpPr>
          <p:spPr bwMode="gray">
            <a:xfrm>
              <a:off x="11082094" y="2223957"/>
              <a:ext cx="494877" cy="641895"/>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2"/>
            </a:solidFill>
            <a:ln w="19050">
              <a:noFill/>
              <a:prstDash val="solid"/>
              <a:miter lim="800000"/>
              <a:headEnd/>
              <a:tailEnd/>
            </a:ln>
          </p:spPr>
          <p:txBody>
            <a:bodyPr rtlCol="0" anchor="ctr"/>
            <a:lstStyle/>
            <a:p>
              <a:pPr algn="ctr"/>
              <a:endParaRPr lang="en-US" sz="1400"/>
            </a:p>
          </p:txBody>
        </p:sp>
        <p:sp>
          <p:nvSpPr>
            <p:cNvPr id="1532" name="Freeform: Shape 1531">
              <a:extLst>
                <a:ext uri="{FF2B5EF4-FFF2-40B4-BE49-F238E27FC236}">
                  <a16:creationId xmlns:a16="http://schemas.microsoft.com/office/drawing/2014/main" id="{A2423629-5BA5-43FD-93C6-4BB2BDFA8C8F}"/>
                </a:ext>
              </a:extLst>
            </p:cNvPr>
            <p:cNvSpPr/>
            <p:nvPr/>
          </p:nvSpPr>
          <p:spPr bwMode="gray">
            <a:xfrm>
              <a:off x="11219047" y="2518410"/>
              <a:ext cx="220970" cy="286616"/>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1"/>
            </a:solidFill>
            <a:ln w="19050">
              <a:noFill/>
              <a:prstDash val="solid"/>
              <a:miter lim="800000"/>
              <a:headEnd/>
              <a:tailEnd/>
            </a:ln>
          </p:spPr>
          <p:txBody>
            <a:bodyPr rtlCol="0" anchor="ctr"/>
            <a:lstStyle/>
            <a:p>
              <a:pPr algn="ctr"/>
              <a:endParaRPr lang="en-US" sz="1400"/>
            </a:p>
          </p:txBody>
        </p:sp>
      </p:grpSp>
      <p:grpSp>
        <p:nvGrpSpPr>
          <p:cNvPr id="1536" name="Group 1535">
            <a:extLst>
              <a:ext uri="{FF2B5EF4-FFF2-40B4-BE49-F238E27FC236}">
                <a16:creationId xmlns:a16="http://schemas.microsoft.com/office/drawing/2014/main" id="{E0A65BEF-2776-410A-B35A-667271CE4A39}"/>
              </a:ext>
            </a:extLst>
          </p:cNvPr>
          <p:cNvGrpSpPr/>
          <p:nvPr/>
        </p:nvGrpSpPr>
        <p:grpSpPr bwMode="gray">
          <a:xfrm rot="10800000">
            <a:off x="7161552" y="2804209"/>
            <a:ext cx="125472" cy="520795"/>
            <a:chOff x="11082094" y="2223957"/>
            <a:chExt cx="494877" cy="641895"/>
          </a:xfrm>
          <a:solidFill>
            <a:srgbClr val="FF000F">
              <a:alpha val="50196"/>
            </a:srgbClr>
          </a:solidFill>
        </p:grpSpPr>
        <p:sp>
          <p:nvSpPr>
            <p:cNvPr id="1550" name="Freeform: Shape 1549">
              <a:extLst>
                <a:ext uri="{FF2B5EF4-FFF2-40B4-BE49-F238E27FC236}">
                  <a16:creationId xmlns:a16="http://schemas.microsoft.com/office/drawing/2014/main" id="{E67A3B7D-509B-4B0E-887D-F24A4B1FCD61}"/>
                </a:ext>
              </a:extLst>
            </p:cNvPr>
            <p:cNvSpPr/>
            <p:nvPr/>
          </p:nvSpPr>
          <p:spPr bwMode="gray">
            <a:xfrm>
              <a:off x="11082094" y="2223957"/>
              <a:ext cx="494877" cy="641895"/>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2"/>
            </a:solidFill>
            <a:ln w="19050">
              <a:noFill/>
              <a:prstDash val="solid"/>
              <a:miter lim="800000"/>
              <a:headEnd/>
              <a:tailEnd/>
            </a:ln>
          </p:spPr>
          <p:txBody>
            <a:bodyPr rtlCol="0" anchor="ctr"/>
            <a:lstStyle/>
            <a:p>
              <a:pPr algn="ctr"/>
              <a:endParaRPr lang="en-US" sz="1400"/>
            </a:p>
          </p:txBody>
        </p:sp>
        <p:sp>
          <p:nvSpPr>
            <p:cNvPr id="1551" name="Freeform: Shape 1550">
              <a:extLst>
                <a:ext uri="{FF2B5EF4-FFF2-40B4-BE49-F238E27FC236}">
                  <a16:creationId xmlns:a16="http://schemas.microsoft.com/office/drawing/2014/main" id="{EFCB1515-550F-40E5-BD01-DA712C80A8E3}"/>
                </a:ext>
              </a:extLst>
            </p:cNvPr>
            <p:cNvSpPr/>
            <p:nvPr/>
          </p:nvSpPr>
          <p:spPr bwMode="gray">
            <a:xfrm>
              <a:off x="11219047" y="2518410"/>
              <a:ext cx="220970" cy="286616"/>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1"/>
            </a:solidFill>
            <a:ln w="19050">
              <a:noFill/>
              <a:prstDash val="solid"/>
              <a:miter lim="800000"/>
              <a:headEnd/>
              <a:tailEnd/>
            </a:ln>
          </p:spPr>
          <p:txBody>
            <a:bodyPr rtlCol="0" anchor="ctr"/>
            <a:lstStyle/>
            <a:p>
              <a:pPr algn="ctr"/>
              <a:endParaRPr lang="en-US" sz="1400"/>
            </a:p>
          </p:txBody>
        </p:sp>
      </p:grpSp>
      <p:grpSp>
        <p:nvGrpSpPr>
          <p:cNvPr id="1538" name="Group 1537">
            <a:extLst>
              <a:ext uri="{FF2B5EF4-FFF2-40B4-BE49-F238E27FC236}">
                <a16:creationId xmlns:a16="http://schemas.microsoft.com/office/drawing/2014/main" id="{BD1A0F83-2BB7-470A-AD72-652E15AE7104}"/>
              </a:ext>
            </a:extLst>
          </p:cNvPr>
          <p:cNvGrpSpPr/>
          <p:nvPr/>
        </p:nvGrpSpPr>
        <p:grpSpPr bwMode="gray">
          <a:xfrm rot="10800000">
            <a:off x="7340736" y="2701251"/>
            <a:ext cx="125472" cy="571128"/>
            <a:chOff x="11082094" y="2223957"/>
            <a:chExt cx="494877" cy="641895"/>
          </a:xfrm>
          <a:solidFill>
            <a:srgbClr val="FF000F">
              <a:alpha val="50196"/>
            </a:srgbClr>
          </a:solidFill>
        </p:grpSpPr>
        <p:sp>
          <p:nvSpPr>
            <p:cNvPr id="1548" name="Freeform: Shape 1547">
              <a:extLst>
                <a:ext uri="{FF2B5EF4-FFF2-40B4-BE49-F238E27FC236}">
                  <a16:creationId xmlns:a16="http://schemas.microsoft.com/office/drawing/2014/main" id="{79BAF668-2C29-4991-93B5-C7BC8EB1FEF9}"/>
                </a:ext>
              </a:extLst>
            </p:cNvPr>
            <p:cNvSpPr/>
            <p:nvPr/>
          </p:nvSpPr>
          <p:spPr bwMode="gray">
            <a:xfrm>
              <a:off x="11082094" y="2223957"/>
              <a:ext cx="494877" cy="641895"/>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2"/>
            </a:solidFill>
            <a:ln w="19050">
              <a:noFill/>
              <a:prstDash val="solid"/>
              <a:miter lim="800000"/>
              <a:headEnd/>
              <a:tailEnd/>
            </a:ln>
          </p:spPr>
          <p:txBody>
            <a:bodyPr rtlCol="0" anchor="ctr"/>
            <a:lstStyle/>
            <a:p>
              <a:pPr algn="ctr"/>
              <a:endParaRPr lang="en-US" sz="1400"/>
            </a:p>
          </p:txBody>
        </p:sp>
        <p:sp>
          <p:nvSpPr>
            <p:cNvPr id="1549" name="Freeform: Shape 1548">
              <a:extLst>
                <a:ext uri="{FF2B5EF4-FFF2-40B4-BE49-F238E27FC236}">
                  <a16:creationId xmlns:a16="http://schemas.microsoft.com/office/drawing/2014/main" id="{A6A1DB68-2E85-4B4F-A98C-DE4E5D5ACC31}"/>
                </a:ext>
              </a:extLst>
            </p:cNvPr>
            <p:cNvSpPr/>
            <p:nvPr/>
          </p:nvSpPr>
          <p:spPr bwMode="gray">
            <a:xfrm>
              <a:off x="11219047" y="2518410"/>
              <a:ext cx="220970" cy="286616"/>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1"/>
            </a:solidFill>
            <a:ln w="19050">
              <a:noFill/>
              <a:prstDash val="solid"/>
              <a:miter lim="800000"/>
              <a:headEnd/>
              <a:tailEnd/>
            </a:ln>
          </p:spPr>
          <p:txBody>
            <a:bodyPr rtlCol="0" anchor="ctr"/>
            <a:lstStyle/>
            <a:p>
              <a:pPr algn="ctr"/>
              <a:endParaRPr lang="en-US" sz="1400"/>
            </a:p>
          </p:txBody>
        </p:sp>
      </p:grpSp>
      <p:sp>
        <p:nvSpPr>
          <p:cNvPr id="1556" name="Cylinder 1555">
            <a:extLst>
              <a:ext uri="{FF2B5EF4-FFF2-40B4-BE49-F238E27FC236}">
                <a16:creationId xmlns:a16="http://schemas.microsoft.com/office/drawing/2014/main" id="{EDAB5D8D-69F1-49F6-8F6F-63DD39B4CD33}"/>
              </a:ext>
            </a:extLst>
          </p:cNvPr>
          <p:cNvSpPr/>
          <p:nvPr/>
        </p:nvSpPr>
        <p:spPr bwMode="gray">
          <a:xfrm rot="14400000" flipH="1">
            <a:off x="7877062" y="2744101"/>
            <a:ext cx="66009" cy="215182"/>
          </a:xfrm>
          <a:prstGeom prst="can">
            <a:avLst>
              <a:gd name="adj" fmla="val 58047"/>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nvGrpSpPr>
          <p:cNvPr id="1540" name="Group 1539">
            <a:extLst>
              <a:ext uri="{FF2B5EF4-FFF2-40B4-BE49-F238E27FC236}">
                <a16:creationId xmlns:a16="http://schemas.microsoft.com/office/drawing/2014/main" id="{52258CBE-E6F7-4C0A-8EF7-8F80F6F65F9A}"/>
              </a:ext>
            </a:extLst>
          </p:cNvPr>
          <p:cNvGrpSpPr/>
          <p:nvPr/>
        </p:nvGrpSpPr>
        <p:grpSpPr bwMode="gray">
          <a:xfrm rot="10800000">
            <a:off x="7519921" y="2598292"/>
            <a:ext cx="125472" cy="548014"/>
            <a:chOff x="11082094" y="2223957"/>
            <a:chExt cx="494877" cy="641895"/>
          </a:xfrm>
          <a:solidFill>
            <a:srgbClr val="FF000F">
              <a:alpha val="50196"/>
            </a:srgbClr>
          </a:solidFill>
        </p:grpSpPr>
        <p:sp>
          <p:nvSpPr>
            <p:cNvPr id="1546" name="Freeform: Shape 1545">
              <a:extLst>
                <a:ext uri="{FF2B5EF4-FFF2-40B4-BE49-F238E27FC236}">
                  <a16:creationId xmlns:a16="http://schemas.microsoft.com/office/drawing/2014/main" id="{481B10DD-8373-47D0-A982-9D3B39CA36A2}"/>
                </a:ext>
              </a:extLst>
            </p:cNvPr>
            <p:cNvSpPr/>
            <p:nvPr/>
          </p:nvSpPr>
          <p:spPr bwMode="gray">
            <a:xfrm>
              <a:off x="11082094" y="2223957"/>
              <a:ext cx="494877" cy="641895"/>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2"/>
            </a:solidFill>
            <a:ln w="19050">
              <a:noFill/>
              <a:prstDash val="solid"/>
              <a:miter lim="800000"/>
              <a:headEnd/>
              <a:tailEnd/>
            </a:ln>
          </p:spPr>
          <p:txBody>
            <a:bodyPr rtlCol="0" anchor="ctr"/>
            <a:lstStyle/>
            <a:p>
              <a:pPr algn="ctr"/>
              <a:endParaRPr lang="en-US" sz="1400"/>
            </a:p>
          </p:txBody>
        </p:sp>
        <p:sp>
          <p:nvSpPr>
            <p:cNvPr id="1547" name="Freeform: Shape 1546">
              <a:extLst>
                <a:ext uri="{FF2B5EF4-FFF2-40B4-BE49-F238E27FC236}">
                  <a16:creationId xmlns:a16="http://schemas.microsoft.com/office/drawing/2014/main" id="{C49DC092-2FF9-4A96-8E2D-561F9AD5B36B}"/>
                </a:ext>
              </a:extLst>
            </p:cNvPr>
            <p:cNvSpPr/>
            <p:nvPr/>
          </p:nvSpPr>
          <p:spPr bwMode="gray">
            <a:xfrm>
              <a:off x="11219047" y="2518410"/>
              <a:ext cx="220970" cy="286616"/>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1"/>
            </a:solidFill>
            <a:ln w="19050">
              <a:noFill/>
              <a:prstDash val="solid"/>
              <a:miter lim="800000"/>
              <a:headEnd/>
              <a:tailEnd/>
            </a:ln>
          </p:spPr>
          <p:txBody>
            <a:bodyPr rtlCol="0" anchor="ctr"/>
            <a:lstStyle/>
            <a:p>
              <a:pPr algn="ctr"/>
              <a:endParaRPr lang="en-US" sz="1400"/>
            </a:p>
          </p:txBody>
        </p:sp>
      </p:grpSp>
      <p:grpSp>
        <p:nvGrpSpPr>
          <p:cNvPr id="1542" name="Group 1541">
            <a:extLst>
              <a:ext uri="{FF2B5EF4-FFF2-40B4-BE49-F238E27FC236}">
                <a16:creationId xmlns:a16="http://schemas.microsoft.com/office/drawing/2014/main" id="{D27681E2-4634-4690-9260-688210D9E5FD}"/>
              </a:ext>
            </a:extLst>
          </p:cNvPr>
          <p:cNvGrpSpPr/>
          <p:nvPr/>
        </p:nvGrpSpPr>
        <p:grpSpPr bwMode="gray">
          <a:xfrm rot="10800000">
            <a:off x="7699105" y="2495331"/>
            <a:ext cx="125472" cy="583577"/>
            <a:chOff x="11082094" y="2223957"/>
            <a:chExt cx="494877" cy="641895"/>
          </a:xfrm>
          <a:solidFill>
            <a:srgbClr val="FF000F">
              <a:alpha val="50196"/>
            </a:srgbClr>
          </a:solidFill>
        </p:grpSpPr>
        <p:sp>
          <p:nvSpPr>
            <p:cNvPr id="1544" name="Freeform: Shape 1543">
              <a:extLst>
                <a:ext uri="{FF2B5EF4-FFF2-40B4-BE49-F238E27FC236}">
                  <a16:creationId xmlns:a16="http://schemas.microsoft.com/office/drawing/2014/main" id="{F242A4D2-4554-44C3-BB45-D85FD8E1FA52}"/>
                </a:ext>
              </a:extLst>
            </p:cNvPr>
            <p:cNvSpPr/>
            <p:nvPr/>
          </p:nvSpPr>
          <p:spPr bwMode="gray">
            <a:xfrm>
              <a:off x="11082094" y="2223957"/>
              <a:ext cx="494877" cy="641895"/>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2"/>
            </a:solidFill>
            <a:ln w="19050">
              <a:noFill/>
              <a:prstDash val="solid"/>
              <a:miter lim="800000"/>
              <a:headEnd/>
              <a:tailEnd/>
            </a:ln>
          </p:spPr>
          <p:txBody>
            <a:bodyPr rtlCol="0" anchor="ctr"/>
            <a:lstStyle/>
            <a:p>
              <a:pPr algn="ctr"/>
              <a:endParaRPr lang="en-US" sz="1400"/>
            </a:p>
          </p:txBody>
        </p:sp>
        <p:sp>
          <p:nvSpPr>
            <p:cNvPr id="1545" name="Freeform: Shape 1544">
              <a:extLst>
                <a:ext uri="{FF2B5EF4-FFF2-40B4-BE49-F238E27FC236}">
                  <a16:creationId xmlns:a16="http://schemas.microsoft.com/office/drawing/2014/main" id="{C927B312-AC7C-45E2-A192-CB48EB665714}"/>
                </a:ext>
              </a:extLst>
            </p:cNvPr>
            <p:cNvSpPr/>
            <p:nvPr/>
          </p:nvSpPr>
          <p:spPr bwMode="gray">
            <a:xfrm>
              <a:off x="11219047" y="2518410"/>
              <a:ext cx="220970" cy="286616"/>
            </a:xfrm>
            <a:custGeom>
              <a:avLst/>
              <a:gdLst>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45856 w 494877"/>
                <a:gd name="connsiteY13" fmla="*/ 514179 h 641895"/>
                <a:gd name="connsiteX14" fmla="*/ 26263 w 494877"/>
                <a:gd name="connsiteY14" fmla="*/ 479861 h 641895"/>
                <a:gd name="connsiteX15" fmla="*/ 13203 w 494877"/>
                <a:gd name="connsiteY15" fmla="*/ 262916 h 641895"/>
                <a:gd name="connsiteX16" fmla="*/ 48652 w 494877"/>
                <a:gd name="connsiteY16" fmla="*/ 298219 h 641895"/>
                <a:gd name="connsiteX17" fmla="*/ 70320 w 494877"/>
                <a:gd name="connsiteY17" fmla="*/ 261342 h 641895"/>
                <a:gd name="connsiteX18" fmla="*/ 181952 w 494877"/>
                <a:gd name="connsiteY18"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48125 w 494877"/>
                <a:gd name="connsiteY12" fmla="*/ 519374 h 641895"/>
                <a:gd name="connsiteX13" fmla="*/ 26263 w 494877"/>
                <a:gd name="connsiteY13" fmla="*/ 479861 h 641895"/>
                <a:gd name="connsiteX14" fmla="*/ 13203 w 494877"/>
                <a:gd name="connsiteY14" fmla="*/ 262916 h 641895"/>
                <a:gd name="connsiteX15" fmla="*/ 48652 w 494877"/>
                <a:gd name="connsiteY15" fmla="*/ 298219 h 641895"/>
                <a:gd name="connsiteX16" fmla="*/ 70320 w 494877"/>
                <a:gd name="connsiteY16" fmla="*/ 261342 h 641895"/>
                <a:gd name="connsiteX17" fmla="*/ 181952 w 494877"/>
                <a:gd name="connsiteY17"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51193 w 494877"/>
                <a:gd name="connsiteY11" fmla="*/ 523528 h 641895"/>
                <a:gd name="connsiteX12" fmla="*/ 26263 w 494877"/>
                <a:gd name="connsiteY12" fmla="*/ 479861 h 641895"/>
                <a:gd name="connsiteX13" fmla="*/ 13203 w 494877"/>
                <a:gd name="connsiteY13" fmla="*/ 262916 h 641895"/>
                <a:gd name="connsiteX14" fmla="*/ 48652 w 494877"/>
                <a:gd name="connsiteY14" fmla="*/ 298219 h 641895"/>
                <a:gd name="connsiteX15" fmla="*/ 70320 w 494877"/>
                <a:gd name="connsiteY15" fmla="*/ 261342 h 641895"/>
                <a:gd name="connsiteX16" fmla="*/ 181952 w 494877"/>
                <a:gd name="connsiteY16"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51810 w 494877"/>
                <a:gd name="connsiteY10" fmla="*/ 524608 h 641895"/>
                <a:gd name="connsiteX11" fmla="*/ 26263 w 494877"/>
                <a:gd name="connsiteY11" fmla="*/ 479861 h 641895"/>
                <a:gd name="connsiteX12" fmla="*/ 13203 w 494877"/>
                <a:gd name="connsiteY12" fmla="*/ 262916 h 641895"/>
                <a:gd name="connsiteX13" fmla="*/ 48652 w 494877"/>
                <a:gd name="connsiteY13" fmla="*/ 298219 h 641895"/>
                <a:gd name="connsiteX14" fmla="*/ 70320 w 494877"/>
                <a:gd name="connsiteY14" fmla="*/ 261342 h 641895"/>
                <a:gd name="connsiteX15" fmla="*/ 181952 w 494877"/>
                <a:gd name="connsiteY15" fmla="*/ 0 h 641895"/>
                <a:gd name="connsiteX0" fmla="*/ 181952 w 494877"/>
                <a:gd name="connsiteY0" fmla="*/ 0 h 641895"/>
                <a:gd name="connsiteX1" fmla="*/ 358226 w 494877"/>
                <a:gd name="connsiteY1" fmla="*/ 138023 h 641895"/>
                <a:gd name="connsiteX2" fmla="*/ 374188 w 494877"/>
                <a:gd name="connsiteY2" fmla="*/ 161328 h 641895"/>
                <a:gd name="connsiteX3" fmla="*/ 398693 w 494877"/>
                <a:gd name="connsiteY3" fmla="*/ 129611 h 641895"/>
                <a:gd name="connsiteX4" fmla="*/ 420862 w 494877"/>
                <a:gd name="connsiteY4" fmla="*/ 84470 h 641895"/>
                <a:gd name="connsiteX5" fmla="*/ 475825 w 494877"/>
                <a:gd name="connsiteY5" fmla="*/ 433547 h 641895"/>
                <a:gd name="connsiteX6" fmla="*/ 427586 w 494877"/>
                <a:gd name="connsiteY6" fmla="*/ 535537 h 641895"/>
                <a:gd name="connsiteX7" fmla="*/ 240484 w 494877"/>
                <a:gd name="connsiteY7" fmla="*/ 641855 h 641895"/>
                <a:gd name="connsiteX8" fmla="*/ 79212 w 494877"/>
                <a:gd name="connsiteY8" fmla="*/ 561455 h 641895"/>
                <a:gd name="connsiteX9" fmla="*/ 52324 w 494877"/>
                <a:gd name="connsiteY9" fmla="*/ 525059 h 641895"/>
                <a:gd name="connsiteX10" fmla="*/ 26263 w 494877"/>
                <a:gd name="connsiteY10" fmla="*/ 479861 h 641895"/>
                <a:gd name="connsiteX11" fmla="*/ 13203 w 494877"/>
                <a:gd name="connsiteY11" fmla="*/ 262916 h 641895"/>
                <a:gd name="connsiteX12" fmla="*/ 48652 w 494877"/>
                <a:gd name="connsiteY12" fmla="*/ 298219 h 641895"/>
                <a:gd name="connsiteX13" fmla="*/ 70320 w 494877"/>
                <a:gd name="connsiteY13" fmla="*/ 261342 h 641895"/>
                <a:gd name="connsiteX14" fmla="*/ 181952 w 494877"/>
                <a:gd name="connsiteY14" fmla="*/ 0 h 64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4877" h="641895">
                  <a:moveTo>
                    <a:pt x="181952" y="0"/>
                  </a:moveTo>
                  <a:cubicBezTo>
                    <a:pt x="245180" y="43422"/>
                    <a:pt x="307995" y="83746"/>
                    <a:pt x="358226" y="138023"/>
                  </a:cubicBezTo>
                  <a:lnTo>
                    <a:pt x="374188" y="161328"/>
                  </a:lnTo>
                  <a:lnTo>
                    <a:pt x="398693" y="129611"/>
                  </a:lnTo>
                  <a:cubicBezTo>
                    <a:pt x="407384" y="115903"/>
                    <a:pt x="414919" y="100949"/>
                    <a:pt x="420862" y="84470"/>
                  </a:cubicBezTo>
                  <a:cubicBezTo>
                    <a:pt x="513592" y="236760"/>
                    <a:pt x="502892" y="325910"/>
                    <a:pt x="475825" y="433547"/>
                  </a:cubicBezTo>
                  <a:cubicBezTo>
                    <a:pt x="467036" y="468500"/>
                    <a:pt x="448712" y="503677"/>
                    <a:pt x="427586" y="535537"/>
                  </a:cubicBezTo>
                  <a:cubicBezTo>
                    <a:pt x="382837" y="607952"/>
                    <a:pt x="303048" y="640210"/>
                    <a:pt x="240484" y="641855"/>
                  </a:cubicBezTo>
                  <a:cubicBezTo>
                    <a:pt x="190432" y="643171"/>
                    <a:pt x="125834" y="612634"/>
                    <a:pt x="79212" y="561455"/>
                  </a:cubicBezTo>
                  <a:lnTo>
                    <a:pt x="52324" y="525059"/>
                  </a:lnTo>
                  <a:lnTo>
                    <a:pt x="26263" y="479861"/>
                  </a:lnTo>
                  <a:cubicBezTo>
                    <a:pt x="2591" y="428059"/>
                    <a:pt x="-12035" y="355258"/>
                    <a:pt x="13203" y="262916"/>
                  </a:cubicBezTo>
                  <a:lnTo>
                    <a:pt x="48652" y="298219"/>
                  </a:lnTo>
                  <a:lnTo>
                    <a:pt x="70320" y="261342"/>
                  </a:lnTo>
                  <a:cubicBezTo>
                    <a:pt x="123198" y="185565"/>
                    <a:pt x="190954" y="152120"/>
                    <a:pt x="181952" y="0"/>
                  </a:cubicBezTo>
                  <a:close/>
                </a:path>
              </a:pathLst>
            </a:custGeom>
            <a:solidFill>
              <a:schemeClr val="bg1"/>
            </a:solidFill>
            <a:ln w="19050">
              <a:noFill/>
              <a:prstDash val="solid"/>
              <a:miter lim="800000"/>
              <a:headEnd/>
              <a:tailEnd/>
            </a:ln>
          </p:spPr>
          <p:txBody>
            <a:bodyPr rtlCol="0" anchor="ctr"/>
            <a:lstStyle/>
            <a:p>
              <a:pPr algn="ctr"/>
              <a:endParaRPr lang="en-US" sz="1400" dirty="0"/>
            </a:p>
          </p:txBody>
        </p:sp>
      </p:grpSp>
      <p:grpSp>
        <p:nvGrpSpPr>
          <p:cNvPr id="1229" name="Group 1228">
            <a:extLst>
              <a:ext uri="{FF2B5EF4-FFF2-40B4-BE49-F238E27FC236}">
                <a16:creationId xmlns:a16="http://schemas.microsoft.com/office/drawing/2014/main" id="{B986F3F1-6CF5-417B-9E12-469EBF6F27DB}"/>
              </a:ext>
            </a:extLst>
          </p:cNvPr>
          <p:cNvGrpSpPr/>
          <p:nvPr/>
        </p:nvGrpSpPr>
        <p:grpSpPr bwMode="gray">
          <a:xfrm>
            <a:off x="7319199" y="2513008"/>
            <a:ext cx="703032" cy="800325"/>
            <a:chOff x="13811360" y="-878510"/>
            <a:chExt cx="981000" cy="1116761"/>
          </a:xfrm>
        </p:grpSpPr>
        <p:grpSp>
          <p:nvGrpSpPr>
            <p:cNvPr id="1189" name="Group 1188">
              <a:extLst>
                <a:ext uri="{FF2B5EF4-FFF2-40B4-BE49-F238E27FC236}">
                  <a16:creationId xmlns:a16="http://schemas.microsoft.com/office/drawing/2014/main" id="{C890CD65-C1E8-4542-9015-C817539CE8DC}"/>
                </a:ext>
              </a:extLst>
            </p:cNvPr>
            <p:cNvGrpSpPr/>
            <p:nvPr/>
          </p:nvGrpSpPr>
          <p:grpSpPr bwMode="gray">
            <a:xfrm>
              <a:off x="14562476" y="-806815"/>
              <a:ext cx="104700" cy="614893"/>
              <a:chOff x="15213916" y="-747541"/>
              <a:chExt cx="104700" cy="614893"/>
            </a:xfrm>
          </p:grpSpPr>
          <p:grpSp>
            <p:nvGrpSpPr>
              <p:cNvPr id="1190" name="Group 1189">
                <a:extLst>
                  <a:ext uri="{FF2B5EF4-FFF2-40B4-BE49-F238E27FC236}">
                    <a16:creationId xmlns:a16="http://schemas.microsoft.com/office/drawing/2014/main" id="{E897C9E2-B692-4FB3-89B2-1A02DF933EAC}"/>
                  </a:ext>
                </a:extLst>
              </p:cNvPr>
              <p:cNvGrpSpPr/>
              <p:nvPr/>
            </p:nvGrpSpPr>
            <p:grpSpPr bwMode="gray">
              <a:xfrm>
                <a:off x="15213916" y="-645165"/>
                <a:ext cx="104700" cy="512517"/>
                <a:chOff x="15520009" y="-688027"/>
                <a:chExt cx="104700" cy="512517"/>
              </a:xfrm>
            </p:grpSpPr>
            <p:sp>
              <p:nvSpPr>
                <p:cNvPr id="1192" name="Freeform: Shape 1191">
                  <a:extLst>
                    <a:ext uri="{FF2B5EF4-FFF2-40B4-BE49-F238E27FC236}">
                      <a16:creationId xmlns:a16="http://schemas.microsoft.com/office/drawing/2014/main" id="{0427CDDF-2688-48F5-8ADE-4551AB37A8E4}"/>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193" name="Oval 386">
                  <a:extLst>
                    <a:ext uri="{FF2B5EF4-FFF2-40B4-BE49-F238E27FC236}">
                      <a16:creationId xmlns:a16="http://schemas.microsoft.com/office/drawing/2014/main" id="{75D43E03-2240-4078-953B-96FFDE8744D9}"/>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191" name="Cylinder 1190">
                <a:extLst>
                  <a:ext uri="{FF2B5EF4-FFF2-40B4-BE49-F238E27FC236}">
                    <a16:creationId xmlns:a16="http://schemas.microsoft.com/office/drawing/2014/main" id="{A455546E-0AA1-4469-BB4E-670B316847BB}"/>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194" name="Group 1193">
              <a:extLst>
                <a:ext uri="{FF2B5EF4-FFF2-40B4-BE49-F238E27FC236}">
                  <a16:creationId xmlns:a16="http://schemas.microsoft.com/office/drawing/2014/main" id="{D0834724-F68D-4ACE-B236-7E205C8DFBCC}"/>
                </a:ext>
              </a:extLst>
            </p:cNvPr>
            <p:cNvGrpSpPr/>
            <p:nvPr/>
          </p:nvGrpSpPr>
          <p:grpSpPr bwMode="gray">
            <a:xfrm>
              <a:off x="14437290" y="-735120"/>
              <a:ext cx="104700" cy="614893"/>
              <a:chOff x="15213916" y="-747541"/>
              <a:chExt cx="104700" cy="614893"/>
            </a:xfrm>
          </p:grpSpPr>
          <p:grpSp>
            <p:nvGrpSpPr>
              <p:cNvPr id="1195" name="Group 1194">
                <a:extLst>
                  <a:ext uri="{FF2B5EF4-FFF2-40B4-BE49-F238E27FC236}">
                    <a16:creationId xmlns:a16="http://schemas.microsoft.com/office/drawing/2014/main" id="{FB464B74-CE99-4C2F-B9A9-297F82A0DF96}"/>
                  </a:ext>
                </a:extLst>
              </p:cNvPr>
              <p:cNvGrpSpPr/>
              <p:nvPr/>
            </p:nvGrpSpPr>
            <p:grpSpPr bwMode="gray">
              <a:xfrm>
                <a:off x="15213916" y="-645165"/>
                <a:ext cx="104700" cy="512517"/>
                <a:chOff x="15520009" y="-688027"/>
                <a:chExt cx="104700" cy="512517"/>
              </a:xfrm>
            </p:grpSpPr>
            <p:sp>
              <p:nvSpPr>
                <p:cNvPr id="1197" name="Freeform: Shape 1196">
                  <a:extLst>
                    <a:ext uri="{FF2B5EF4-FFF2-40B4-BE49-F238E27FC236}">
                      <a16:creationId xmlns:a16="http://schemas.microsoft.com/office/drawing/2014/main" id="{843E860B-69FB-427E-9FC9-2B334C77E624}"/>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198" name="Oval 386">
                  <a:extLst>
                    <a:ext uri="{FF2B5EF4-FFF2-40B4-BE49-F238E27FC236}">
                      <a16:creationId xmlns:a16="http://schemas.microsoft.com/office/drawing/2014/main" id="{BA98EC2F-5429-4536-9047-1A24CE35FAB3}"/>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196" name="Cylinder 1195">
                <a:extLst>
                  <a:ext uri="{FF2B5EF4-FFF2-40B4-BE49-F238E27FC236}">
                    <a16:creationId xmlns:a16="http://schemas.microsoft.com/office/drawing/2014/main" id="{47DE9FB6-887B-417E-9CAB-894BC3E2EFF6}"/>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199" name="Group 1198">
              <a:extLst>
                <a:ext uri="{FF2B5EF4-FFF2-40B4-BE49-F238E27FC236}">
                  <a16:creationId xmlns:a16="http://schemas.microsoft.com/office/drawing/2014/main" id="{65E3E5C7-1A0A-411B-8D43-0176BEAFB192}"/>
                </a:ext>
              </a:extLst>
            </p:cNvPr>
            <p:cNvGrpSpPr/>
            <p:nvPr/>
          </p:nvGrpSpPr>
          <p:grpSpPr bwMode="gray">
            <a:xfrm>
              <a:off x="14312104" y="-663425"/>
              <a:ext cx="104700" cy="614893"/>
              <a:chOff x="15213916" y="-747541"/>
              <a:chExt cx="104700" cy="614893"/>
            </a:xfrm>
          </p:grpSpPr>
          <p:grpSp>
            <p:nvGrpSpPr>
              <p:cNvPr id="1200" name="Group 1199">
                <a:extLst>
                  <a:ext uri="{FF2B5EF4-FFF2-40B4-BE49-F238E27FC236}">
                    <a16:creationId xmlns:a16="http://schemas.microsoft.com/office/drawing/2014/main" id="{A398DA97-D088-48DA-A127-7E997633E41A}"/>
                  </a:ext>
                </a:extLst>
              </p:cNvPr>
              <p:cNvGrpSpPr/>
              <p:nvPr/>
            </p:nvGrpSpPr>
            <p:grpSpPr bwMode="gray">
              <a:xfrm>
                <a:off x="15213916" y="-645165"/>
                <a:ext cx="104700" cy="512517"/>
                <a:chOff x="15520009" y="-688027"/>
                <a:chExt cx="104700" cy="512517"/>
              </a:xfrm>
            </p:grpSpPr>
            <p:sp>
              <p:nvSpPr>
                <p:cNvPr id="1202" name="Freeform: Shape 1201">
                  <a:extLst>
                    <a:ext uri="{FF2B5EF4-FFF2-40B4-BE49-F238E27FC236}">
                      <a16:creationId xmlns:a16="http://schemas.microsoft.com/office/drawing/2014/main" id="{E318CE28-B3A3-4EA7-B67D-2144B658A705}"/>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203" name="Oval 386">
                  <a:extLst>
                    <a:ext uri="{FF2B5EF4-FFF2-40B4-BE49-F238E27FC236}">
                      <a16:creationId xmlns:a16="http://schemas.microsoft.com/office/drawing/2014/main" id="{E23A3C1D-C4BA-433C-A930-16F39ECC270C}"/>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201" name="Cylinder 1200">
                <a:extLst>
                  <a:ext uri="{FF2B5EF4-FFF2-40B4-BE49-F238E27FC236}">
                    <a16:creationId xmlns:a16="http://schemas.microsoft.com/office/drawing/2014/main" id="{2489137A-828F-4AED-B77D-01EE1911AEDF}"/>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204" name="Group 1203">
              <a:extLst>
                <a:ext uri="{FF2B5EF4-FFF2-40B4-BE49-F238E27FC236}">
                  <a16:creationId xmlns:a16="http://schemas.microsoft.com/office/drawing/2014/main" id="{0614334A-C0AA-406C-8DF9-F4B3FB4A2C59}"/>
                </a:ext>
              </a:extLst>
            </p:cNvPr>
            <p:cNvGrpSpPr/>
            <p:nvPr/>
          </p:nvGrpSpPr>
          <p:grpSpPr bwMode="gray">
            <a:xfrm>
              <a:off x="14186918" y="-591730"/>
              <a:ext cx="104700" cy="614893"/>
              <a:chOff x="15213916" y="-747541"/>
              <a:chExt cx="104700" cy="614893"/>
            </a:xfrm>
          </p:grpSpPr>
          <p:grpSp>
            <p:nvGrpSpPr>
              <p:cNvPr id="1205" name="Group 1204">
                <a:extLst>
                  <a:ext uri="{FF2B5EF4-FFF2-40B4-BE49-F238E27FC236}">
                    <a16:creationId xmlns:a16="http://schemas.microsoft.com/office/drawing/2014/main" id="{96169086-ED15-4971-B9AC-925D94D4ABAA}"/>
                  </a:ext>
                </a:extLst>
              </p:cNvPr>
              <p:cNvGrpSpPr/>
              <p:nvPr/>
            </p:nvGrpSpPr>
            <p:grpSpPr bwMode="gray">
              <a:xfrm>
                <a:off x="15213916" y="-645165"/>
                <a:ext cx="104700" cy="512517"/>
                <a:chOff x="15520009" y="-688027"/>
                <a:chExt cx="104700" cy="512517"/>
              </a:xfrm>
            </p:grpSpPr>
            <p:sp>
              <p:nvSpPr>
                <p:cNvPr id="1207" name="Freeform: Shape 1206">
                  <a:extLst>
                    <a:ext uri="{FF2B5EF4-FFF2-40B4-BE49-F238E27FC236}">
                      <a16:creationId xmlns:a16="http://schemas.microsoft.com/office/drawing/2014/main" id="{D0AF153E-6321-4CD5-B8DB-A82EBD0E0114}"/>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208" name="Oval 386">
                  <a:extLst>
                    <a:ext uri="{FF2B5EF4-FFF2-40B4-BE49-F238E27FC236}">
                      <a16:creationId xmlns:a16="http://schemas.microsoft.com/office/drawing/2014/main" id="{B8385FE0-226B-49CD-8E78-77C0FCE1496C}"/>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206" name="Cylinder 1205">
                <a:extLst>
                  <a:ext uri="{FF2B5EF4-FFF2-40B4-BE49-F238E27FC236}">
                    <a16:creationId xmlns:a16="http://schemas.microsoft.com/office/drawing/2014/main" id="{4F8B1B02-B59E-4F7D-B59B-AD384BF0939D}"/>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209" name="Group 1208">
              <a:extLst>
                <a:ext uri="{FF2B5EF4-FFF2-40B4-BE49-F238E27FC236}">
                  <a16:creationId xmlns:a16="http://schemas.microsoft.com/office/drawing/2014/main" id="{AE95F056-D252-4592-B945-92CBAA34482C}"/>
                </a:ext>
              </a:extLst>
            </p:cNvPr>
            <p:cNvGrpSpPr/>
            <p:nvPr/>
          </p:nvGrpSpPr>
          <p:grpSpPr bwMode="gray">
            <a:xfrm>
              <a:off x="14061732" y="-520035"/>
              <a:ext cx="104700" cy="614893"/>
              <a:chOff x="15213916" y="-747541"/>
              <a:chExt cx="104700" cy="614893"/>
            </a:xfrm>
          </p:grpSpPr>
          <p:grpSp>
            <p:nvGrpSpPr>
              <p:cNvPr id="1210" name="Group 1209">
                <a:extLst>
                  <a:ext uri="{FF2B5EF4-FFF2-40B4-BE49-F238E27FC236}">
                    <a16:creationId xmlns:a16="http://schemas.microsoft.com/office/drawing/2014/main" id="{6437BB2A-9304-4423-8E29-B1E438F0907B}"/>
                  </a:ext>
                </a:extLst>
              </p:cNvPr>
              <p:cNvGrpSpPr/>
              <p:nvPr/>
            </p:nvGrpSpPr>
            <p:grpSpPr bwMode="gray">
              <a:xfrm>
                <a:off x="15213916" y="-645165"/>
                <a:ext cx="104700" cy="512517"/>
                <a:chOff x="15520009" y="-688027"/>
                <a:chExt cx="104700" cy="512517"/>
              </a:xfrm>
            </p:grpSpPr>
            <p:sp>
              <p:nvSpPr>
                <p:cNvPr id="1212" name="Freeform: Shape 1211">
                  <a:extLst>
                    <a:ext uri="{FF2B5EF4-FFF2-40B4-BE49-F238E27FC236}">
                      <a16:creationId xmlns:a16="http://schemas.microsoft.com/office/drawing/2014/main" id="{DB200884-5268-439E-9F59-2899D7738BD4}"/>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213" name="Oval 386">
                  <a:extLst>
                    <a:ext uri="{FF2B5EF4-FFF2-40B4-BE49-F238E27FC236}">
                      <a16:creationId xmlns:a16="http://schemas.microsoft.com/office/drawing/2014/main" id="{F00967E4-EAE1-4854-95ED-BB4AAE2689C4}"/>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211" name="Cylinder 1210">
                <a:extLst>
                  <a:ext uri="{FF2B5EF4-FFF2-40B4-BE49-F238E27FC236}">
                    <a16:creationId xmlns:a16="http://schemas.microsoft.com/office/drawing/2014/main" id="{B1979A28-D827-45A1-B941-606C94998739}"/>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214" name="Group 1213">
              <a:extLst>
                <a:ext uri="{FF2B5EF4-FFF2-40B4-BE49-F238E27FC236}">
                  <a16:creationId xmlns:a16="http://schemas.microsoft.com/office/drawing/2014/main" id="{6E5ACEE8-7F82-4C57-B590-547A60A153ED}"/>
                </a:ext>
              </a:extLst>
            </p:cNvPr>
            <p:cNvGrpSpPr/>
            <p:nvPr/>
          </p:nvGrpSpPr>
          <p:grpSpPr bwMode="gray">
            <a:xfrm>
              <a:off x="13936546" y="-448340"/>
              <a:ext cx="104700" cy="614893"/>
              <a:chOff x="15213916" y="-747541"/>
              <a:chExt cx="104700" cy="614893"/>
            </a:xfrm>
          </p:grpSpPr>
          <p:grpSp>
            <p:nvGrpSpPr>
              <p:cNvPr id="1215" name="Group 1214">
                <a:extLst>
                  <a:ext uri="{FF2B5EF4-FFF2-40B4-BE49-F238E27FC236}">
                    <a16:creationId xmlns:a16="http://schemas.microsoft.com/office/drawing/2014/main" id="{A6F269CD-BAF2-45C3-90FC-73CC607338A3}"/>
                  </a:ext>
                </a:extLst>
              </p:cNvPr>
              <p:cNvGrpSpPr/>
              <p:nvPr/>
            </p:nvGrpSpPr>
            <p:grpSpPr bwMode="gray">
              <a:xfrm>
                <a:off x="15213916" y="-645165"/>
                <a:ext cx="104700" cy="512517"/>
                <a:chOff x="15520009" y="-688027"/>
                <a:chExt cx="104700" cy="512517"/>
              </a:xfrm>
            </p:grpSpPr>
            <p:sp>
              <p:nvSpPr>
                <p:cNvPr id="1217" name="Freeform: Shape 1216">
                  <a:extLst>
                    <a:ext uri="{FF2B5EF4-FFF2-40B4-BE49-F238E27FC236}">
                      <a16:creationId xmlns:a16="http://schemas.microsoft.com/office/drawing/2014/main" id="{FD52E52D-53D9-47EE-824A-679B7F4D6E71}"/>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218" name="Oval 386">
                  <a:extLst>
                    <a:ext uri="{FF2B5EF4-FFF2-40B4-BE49-F238E27FC236}">
                      <a16:creationId xmlns:a16="http://schemas.microsoft.com/office/drawing/2014/main" id="{7FE9975F-0B55-4AB2-83BD-31305149E148}"/>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216" name="Cylinder 1215">
                <a:extLst>
                  <a:ext uri="{FF2B5EF4-FFF2-40B4-BE49-F238E27FC236}">
                    <a16:creationId xmlns:a16="http://schemas.microsoft.com/office/drawing/2014/main" id="{2B5348A3-EB73-4211-A11B-C2BF5F762531}"/>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219" name="Group 1218">
              <a:extLst>
                <a:ext uri="{FF2B5EF4-FFF2-40B4-BE49-F238E27FC236}">
                  <a16:creationId xmlns:a16="http://schemas.microsoft.com/office/drawing/2014/main" id="{B27764DA-BC90-48CF-8104-716FE52647E1}"/>
                </a:ext>
              </a:extLst>
            </p:cNvPr>
            <p:cNvGrpSpPr/>
            <p:nvPr/>
          </p:nvGrpSpPr>
          <p:grpSpPr bwMode="gray">
            <a:xfrm>
              <a:off x="13811360" y="-376642"/>
              <a:ext cx="104700" cy="614893"/>
              <a:chOff x="15213916" y="-747541"/>
              <a:chExt cx="104700" cy="614893"/>
            </a:xfrm>
          </p:grpSpPr>
          <p:grpSp>
            <p:nvGrpSpPr>
              <p:cNvPr id="1220" name="Group 1219">
                <a:extLst>
                  <a:ext uri="{FF2B5EF4-FFF2-40B4-BE49-F238E27FC236}">
                    <a16:creationId xmlns:a16="http://schemas.microsoft.com/office/drawing/2014/main" id="{EFDFCB4B-0EA9-47C8-9F52-0B71EE2B072B}"/>
                  </a:ext>
                </a:extLst>
              </p:cNvPr>
              <p:cNvGrpSpPr/>
              <p:nvPr/>
            </p:nvGrpSpPr>
            <p:grpSpPr bwMode="gray">
              <a:xfrm>
                <a:off x="15213916" y="-645165"/>
                <a:ext cx="104700" cy="512517"/>
                <a:chOff x="15520009" y="-688027"/>
                <a:chExt cx="104700" cy="512517"/>
              </a:xfrm>
            </p:grpSpPr>
            <p:sp>
              <p:nvSpPr>
                <p:cNvPr id="1222" name="Freeform: Shape 1221">
                  <a:extLst>
                    <a:ext uri="{FF2B5EF4-FFF2-40B4-BE49-F238E27FC236}">
                      <a16:creationId xmlns:a16="http://schemas.microsoft.com/office/drawing/2014/main" id="{95A74392-C61C-426D-A0DD-B86AE20B7B78}"/>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223" name="Oval 386">
                  <a:extLst>
                    <a:ext uri="{FF2B5EF4-FFF2-40B4-BE49-F238E27FC236}">
                      <a16:creationId xmlns:a16="http://schemas.microsoft.com/office/drawing/2014/main" id="{94E9F187-2A0E-475D-B624-4002DA1D9D5A}"/>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221" name="Cylinder 1220">
                <a:extLst>
                  <a:ext uri="{FF2B5EF4-FFF2-40B4-BE49-F238E27FC236}">
                    <a16:creationId xmlns:a16="http://schemas.microsoft.com/office/drawing/2014/main" id="{4577CE4E-51EA-4CB6-BB5C-7121B59A23B5}"/>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nvGrpSpPr>
            <p:cNvPr id="1188" name="Group 1187">
              <a:extLst>
                <a:ext uri="{FF2B5EF4-FFF2-40B4-BE49-F238E27FC236}">
                  <a16:creationId xmlns:a16="http://schemas.microsoft.com/office/drawing/2014/main" id="{1BD2095A-90A6-4B71-AB3D-ECD0BEBC7BEF}"/>
                </a:ext>
              </a:extLst>
            </p:cNvPr>
            <p:cNvGrpSpPr/>
            <p:nvPr/>
          </p:nvGrpSpPr>
          <p:grpSpPr bwMode="gray">
            <a:xfrm>
              <a:off x="14687660" y="-878510"/>
              <a:ext cx="104700" cy="614893"/>
              <a:chOff x="15213916" y="-747541"/>
              <a:chExt cx="104700" cy="614893"/>
            </a:xfrm>
          </p:grpSpPr>
          <p:grpSp>
            <p:nvGrpSpPr>
              <p:cNvPr id="1186" name="Group 1185">
                <a:extLst>
                  <a:ext uri="{FF2B5EF4-FFF2-40B4-BE49-F238E27FC236}">
                    <a16:creationId xmlns:a16="http://schemas.microsoft.com/office/drawing/2014/main" id="{D6A29763-B470-485D-952A-78C4DA4AFD12}"/>
                  </a:ext>
                </a:extLst>
              </p:cNvPr>
              <p:cNvGrpSpPr/>
              <p:nvPr/>
            </p:nvGrpSpPr>
            <p:grpSpPr bwMode="gray">
              <a:xfrm>
                <a:off x="15213916" y="-645165"/>
                <a:ext cx="104700" cy="512517"/>
                <a:chOff x="15520009" y="-688027"/>
                <a:chExt cx="104700" cy="512517"/>
              </a:xfrm>
            </p:grpSpPr>
            <p:sp>
              <p:nvSpPr>
                <p:cNvPr id="1185" name="Freeform: Shape 1184">
                  <a:extLst>
                    <a:ext uri="{FF2B5EF4-FFF2-40B4-BE49-F238E27FC236}">
                      <a16:creationId xmlns:a16="http://schemas.microsoft.com/office/drawing/2014/main" id="{5F5137F7-2724-4C5F-A48B-5BF76678F79E}"/>
                    </a:ext>
                  </a:extLst>
                </p:cNvPr>
                <p:cNvSpPr/>
                <p:nvPr/>
              </p:nvSpPr>
              <p:spPr bwMode="gray">
                <a:xfrm>
                  <a:off x="15520010" y="-654346"/>
                  <a:ext cx="104699" cy="478836"/>
                </a:xfrm>
                <a:custGeom>
                  <a:avLst/>
                  <a:gdLst>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171450 h 478836"/>
                    <a:gd name="connsiteX4" fmla="*/ 104699 w 104699"/>
                    <a:gd name="connsiteY4" fmla="*/ 276865 h 478836"/>
                    <a:gd name="connsiteX5" fmla="*/ 104699 w 104699"/>
                    <a:gd name="connsiteY5" fmla="*/ 448315 h 478836"/>
                    <a:gd name="connsiteX6" fmla="*/ 52350 w 104699"/>
                    <a:gd name="connsiteY6" fmla="*/ 478836 h 478836"/>
                    <a:gd name="connsiteX7" fmla="*/ 0 w 104699"/>
                    <a:gd name="connsiteY7" fmla="*/ 448315 h 478836"/>
                    <a:gd name="connsiteX8" fmla="*/ 0 w 104699"/>
                    <a:gd name="connsiteY8" fmla="*/ 276865 h 478836"/>
                    <a:gd name="connsiteX9" fmla="*/ 0 w 104699"/>
                    <a:gd name="connsiteY9" fmla="*/ 17145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276865 h 478836"/>
                    <a:gd name="connsiteX4" fmla="*/ 104699 w 104699"/>
                    <a:gd name="connsiteY4" fmla="*/ 448315 h 478836"/>
                    <a:gd name="connsiteX5" fmla="*/ 52350 w 104699"/>
                    <a:gd name="connsiteY5" fmla="*/ 478836 h 478836"/>
                    <a:gd name="connsiteX6" fmla="*/ 0 w 104699"/>
                    <a:gd name="connsiteY6" fmla="*/ 448315 h 478836"/>
                    <a:gd name="connsiteX7" fmla="*/ 0 w 104699"/>
                    <a:gd name="connsiteY7" fmla="*/ 276865 h 478836"/>
                    <a:gd name="connsiteX8" fmla="*/ 0 w 104699"/>
                    <a:gd name="connsiteY8" fmla="*/ 171450 h 478836"/>
                    <a:gd name="connsiteX9" fmla="*/ 0 w 104699"/>
                    <a:gd name="connsiteY9"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276865 h 478836"/>
                    <a:gd name="connsiteX7" fmla="*/ 0 w 104699"/>
                    <a:gd name="connsiteY7" fmla="*/ 171450 h 478836"/>
                    <a:gd name="connsiteX8" fmla="*/ 0 w 104699"/>
                    <a:gd name="connsiteY8"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171450 h 478836"/>
                    <a:gd name="connsiteX7" fmla="*/ 0 w 104699"/>
                    <a:gd name="connsiteY7" fmla="*/ 0 h 478836"/>
                    <a:gd name="connsiteX0" fmla="*/ 0 w 104699"/>
                    <a:gd name="connsiteY0" fmla="*/ 0 h 478836"/>
                    <a:gd name="connsiteX1" fmla="*/ 52350 w 104699"/>
                    <a:gd name="connsiteY1" fmla="*/ 30521 h 478836"/>
                    <a:gd name="connsiteX2" fmla="*/ 104699 w 104699"/>
                    <a:gd name="connsiteY2" fmla="*/ 0 h 478836"/>
                    <a:gd name="connsiteX3" fmla="*/ 104699 w 104699"/>
                    <a:gd name="connsiteY3" fmla="*/ 448315 h 478836"/>
                    <a:gd name="connsiteX4" fmla="*/ 52350 w 104699"/>
                    <a:gd name="connsiteY4" fmla="*/ 478836 h 478836"/>
                    <a:gd name="connsiteX5" fmla="*/ 0 w 104699"/>
                    <a:gd name="connsiteY5" fmla="*/ 448315 h 478836"/>
                    <a:gd name="connsiteX6" fmla="*/ 0 w 104699"/>
                    <a:gd name="connsiteY6" fmla="*/ 0 h 4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699" h="478836">
                      <a:moveTo>
                        <a:pt x="0" y="0"/>
                      </a:moveTo>
                      <a:cubicBezTo>
                        <a:pt x="0" y="16857"/>
                        <a:pt x="23438" y="30521"/>
                        <a:pt x="52350" y="30521"/>
                      </a:cubicBezTo>
                      <a:cubicBezTo>
                        <a:pt x="81262" y="30521"/>
                        <a:pt x="104699" y="16857"/>
                        <a:pt x="104699" y="0"/>
                      </a:cubicBezTo>
                      <a:lnTo>
                        <a:pt x="104699" y="448315"/>
                      </a:lnTo>
                      <a:cubicBezTo>
                        <a:pt x="104699" y="465171"/>
                        <a:pt x="81262" y="478836"/>
                        <a:pt x="52350" y="478836"/>
                      </a:cubicBezTo>
                      <a:cubicBezTo>
                        <a:pt x="23438" y="478836"/>
                        <a:pt x="0" y="465171"/>
                        <a:pt x="0" y="448315"/>
                      </a:cubicBezTo>
                      <a:lnTo>
                        <a:pt x="0" y="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dirty="0"/>
                </a:p>
              </p:txBody>
            </p:sp>
            <p:sp>
              <p:nvSpPr>
                <p:cNvPr id="1182" name="Oval 386">
                  <a:extLst>
                    <a:ext uri="{FF2B5EF4-FFF2-40B4-BE49-F238E27FC236}">
                      <a16:creationId xmlns:a16="http://schemas.microsoft.com/office/drawing/2014/main" id="{D6D24A7A-6107-4045-92C0-18FA2ED6A560}"/>
                    </a:ext>
                  </a:extLst>
                </p:cNvPr>
                <p:cNvSpPr/>
                <p:nvPr/>
              </p:nvSpPr>
              <p:spPr bwMode="gray">
                <a:xfrm>
                  <a:off x="15520009" y="-688027"/>
                  <a:ext cx="104699" cy="64204"/>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1165" name="Cylinder 1164">
                <a:extLst>
                  <a:ext uri="{FF2B5EF4-FFF2-40B4-BE49-F238E27FC236}">
                    <a16:creationId xmlns:a16="http://schemas.microsoft.com/office/drawing/2014/main" id="{473A1157-6999-45F3-AE89-C8CD2426B5E9}"/>
                  </a:ext>
                </a:extLst>
              </p:cNvPr>
              <p:cNvSpPr/>
              <p:nvPr/>
            </p:nvSpPr>
            <p:spPr bwMode="gray">
              <a:xfrm rot="10800000" flipV="1">
                <a:off x="15242815" y="-747541"/>
                <a:ext cx="45720" cy="140550"/>
              </a:xfrm>
              <a:prstGeom prst="can">
                <a:avLst>
                  <a:gd name="adj" fmla="val 71299"/>
                </a:avLst>
              </a:prstGeom>
              <a:gradFill flip="none" rotWithShape="1">
                <a:gsLst>
                  <a:gs pos="23000">
                    <a:schemeClr val="accent2">
                      <a:lumMod val="0"/>
                      <a:lumOff val="100000"/>
                    </a:schemeClr>
                  </a:gs>
                  <a:gs pos="68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grpSp>
      <p:grpSp>
        <p:nvGrpSpPr>
          <p:cNvPr id="1383" name="Group 1382">
            <a:extLst>
              <a:ext uri="{FF2B5EF4-FFF2-40B4-BE49-F238E27FC236}">
                <a16:creationId xmlns:a16="http://schemas.microsoft.com/office/drawing/2014/main" id="{EA27999B-C560-4D6B-BE41-E4829AC53B19}"/>
              </a:ext>
            </a:extLst>
          </p:cNvPr>
          <p:cNvGrpSpPr/>
          <p:nvPr/>
        </p:nvGrpSpPr>
        <p:grpSpPr bwMode="gray">
          <a:xfrm>
            <a:off x="6776184" y="2400538"/>
            <a:ext cx="1322479" cy="466903"/>
            <a:chOff x="13053646" y="-1035450"/>
            <a:chExt cx="1845366" cy="651510"/>
          </a:xfrm>
        </p:grpSpPr>
        <p:sp>
          <p:nvSpPr>
            <p:cNvPr id="1376" name="Freeform: Shape 1375">
              <a:extLst>
                <a:ext uri="{FF2B5EF4-FFF2-40B4-BE49-F238E27FC236}">
                  <a16:creationId xmlns:a16="http://schemas.microsoft.com/office/drawing/2014/main" id="{9E449898-5D0B-4457-B228-F60F09768FF6}"/>
                </a:ext>
              </a:extLst>
            </p:cNvPr>
            <p:cNvSpPr/>
            <p:nvPr/>
          </p:nvSpPr>
          <p:spPr bwMode="gray">
            <a:xfrm rot="3600000">
              <a:off x="13676453" y="-1551723"/>
              <a:ext cx="82167" cy="1327782"/>
            </a:xfrm>
            <a:custGeom>
              <a:avLst/>
              <a:gdLst>
                <a:gd name="connsiteX0" fmla="*/ 1 w 82167"/>
                <a:gd name="connsiteY0" fmla="*/ 25186 h 1327782"/>
                <a:gd name="connsiteX1" fmla="*/ 1 w 82167"/>
                <a:gd name="connsiteY1" fmla="*/ 25185 h 1327782"/>
                <a:gd name="connsiteX2" fmla="*/ 1 w 82167"/>
                <a:gd name="connsiteY2" fmla="*/ 25185 h 1327782"/>
                <a:gd name="connsiteX3" fmla="*/ 41084 w 82167"/>
                <a:gd name="connsiteY3" fmla="*/ 0 h 1327782"/>
                <a:gd name="connsiteX4" fmla="*/ 82167 w 82167"/>
                <a:gd name="connsiteY4" fmla="*/ 25185 h 1327782"/>
                <a:gd name="connsiteX5" fmla="*/ 82167 w 82167"/>
                <a:gd name="connsiteY5" fmla="*/ 25185 h 1327782"/>
                <a:gd name="connsiteX6" fmla="*/ 82167 w 82167"/>
                <a:gd name="connsiteY6" fmla="*/ 1302596 h 1327782"/>
                <a:gd name="connsiteX7" fmla="*/ 82166 w 82167"/>
                <a:gd name="connsiteY7" fmla="*/ 1302597 h 1327782"/>
                <a:gd name="connsiteX8" fmla="*/ 82166 w 82167"/>
                <a:gd name="connsiteY8" fmla="*/ 1302597 h 1327782"/>
                <a:gd name="connsiteX9" fmla="*/ 41084 w 82167"/>
                <a:gd name="connsiteY9" fmla="*/ 1327782 h 1327782"/>
                <a:gd name="connsiteX10" fmla="*/ 12033 w 82167"/>
                <a:gd name="connsiteY10" fmla="*/ 1320405 h 1327782"/>
                <a:gd name="connsiteX11" fmla="*/ 0 w 82167"/>
                <a:gd name="connsiteY11" fmla="*/ 1302597 h 13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167" h="1327782">
                  <a:moveTo>
                    <a:pt x="1" y="25186"/>
                  </a:moveTo>
                  <a:lnTo>
                    <a:pt x="1" y="25185"/>
                  </a:lnTo>
                  <a:lnTo>
                    <a:pt x="1" y="25185"/>
                  </a:lnTo>
                  <a:cubicBezTo>
                    <a:pt x="1" y="11276"/>
                    <a:pt x="18394" y="0"/>
                    <a:pt x="41084" y="0"/>
                  </a:cubicBezTo>
                  <a:cubicBezTo>
                    <a:pt x="63774" y="0"/>
                    <a:pt x="82167" y="11276"/>
                    <a:pt x="82167" y="25185"/>
                  </a:cubicBezTo>
                  <a:lnTo>
                    <a:pt x="82167" y="25185"/>
                  </a:lnTo>
                  <a:lnTo>
                    <a:pt x="82167" y="1302596"/>
                  </a:lnTo>
                  <a:lnTo>
                    <a:pt x="82166" y="1302597"/>
                  </a:lnTo>
                  <a:lnTo>
                    <a:pt x="82166" y="1302597"/>
                  </a:lnTo>
                  <a:cubicBezTo>
                    <a:pt x="82167" y="1316506"/>
                    <a:pt x="63774" y="1327782"/>
                    <a:pt x="41084" y="1327782"/>
                  </a:cubicBezTo>
                  <a:cubicBezTo>
                    <a:pt x="29738" y="1327782"/>
                    <a:pt x="19468" y="1324963"/>
                    <a:pt x="12033" y="1320405"/>
                  </a:cubicBezTo>
                  <a:cubicBezTo>
                    <a:pt x="4599" y="1315848"/>
                    <a:pt x="1" y="1309551"/>
                    <a:pt x="0" y="1302597"/>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377" name="Freeform: Shape 1376">
              <a:extLst>
                <a:ext uri="{FF2B5EF4-FFF2-40B4-BE49-F238E27FC236}">
                  <a16:creationId xmlns:a16="http://schemas.microsoft.com/office/drawing/2014/main" id="{01D7EDFD-0D23-4630-B7C9-1DD2F81BC310}"/>
                </a:ext>
              </a:extLst>
            </p:cNvPr>
            <p:cNvSpPr/>
            <p:nvPr/>
          </p:nvSpPr>
          <p:spPr bwMode="gray">
            <a:xfrm rot="3600000">
              <a:off x="13933626" y="-1406465"/>
              <a:ext cx="82167" cy="1327782"/>
            </a:xfrm>
            <a:custGeom>
              <a:avLst/>
              <a:gdLst>
                <a:gd name="connsiteX0" fmla="*/ 1 w 82167"/>
                <a:gd name="connsiteY0" fmla="*/ 25186 h 1327782"/>
                <a:gd name="connsiteX1" fmla="*/ 1 w 82167"/>
                <a:gd name="connsiteY1" fmla="*/ 25185 h 1327782"/>
                <a:gd name="connsiteX2" fmla="*/ 1 w 82167"/>
                <a:gd name="connsiteY2" fmla="*/ 25185 h 1327782"/>
                <a:gd name="connsiteX3" fmla="*/ 41084 w 82167"/>
                <a:gd name="connsiteY3" fmla="*/ 0 h 1327782"/>
                <a:gd name="connsiteX4" fmla="*/ 82167 w 82167"/>
                <a:gd name="connsiteY4" fmla="*/ 25185 h 1327782"/>
                <a:gd name="connsiteX5" fmla="*/ 82167 w 82167"/>
                <a:gd name="connsiteY5" fmla="*/ 25185 h 1327782"/>
                <a:gd name="connsiteX6" fmla="*/ 82167 w 82167"/>
                <a:gd name="connsiteY6" fmla="*/ 1302596 h 1327782"/>
                <a:gd name="connsiteX7" fmla="*/ 82166 w 82167"/>
                <a:gd name="connsiteY7" fmla="*/ 1302597 h 1327782"/>
                <a:gd name="connsiteX8" fmla="*/ 82166 w 82167"/>
                <a:gd name="connsiteY8" fmla="*/ 1302597 h 1327782"/>
                <a:gd name="connsiteX9" fmla="*/ 41084 w 82167"/>
                <a:gd name="connsiteY9" fmla="*/ 1327782 h 1327782"/>
                <a:gd name="connsiteX10" fmla="*/ 12033 w 82167"/>
                <a:gd name="connsiteY10" fmla="*/ 1320405 h 1327782"/>
                <a:gd name="connsiteX11" fmla="*/ 0 w 82167"/>
                <a:gd name="connsiteY11" fmla="*/ 1302597 h 1327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167" h="1327782">
                  <a:moveTo>
                    <a:pt x="1" y="25186"/>
                  </a:moveTo>
                  <a:lnTo>
                    <a:pt x="1" y="25185"/>
                  </a:lnTo>
                  <a:lnTo>
                    <a:pt x="1" y="25185"/>
                  </a:lnTo>
                  <a:cubicBezTo>
                    <a:pt x="1" y="11276"/>
                    <a:pt x="18394" y="0"/>
                    <a:pt x="41084" y="0"/>
                  </a:cubicBezTo>
                  <a:cubicBezTo>
                    <a:pt x="63774" y="0"/>
                    <a:pt x="82167" y="11276"/>
                    <a:pt x="82167" y="25185"/>
                  </a:cubicBezTo>
                  <a:lnTo>
                    <a:pt x="82167" y="25185"/>
                  </a:lnTo>
                  <a:lnTo>
                    <a:pt x="82167" y="1302596"/>
                  </a:lnTo>
                  <a:lnTo>
                    <a:pt x="82166" y="1302597"/>
                  </a:lnTo>
                  <a:lnTo>
                    <a:pt x="82166" y="1302597"/>
                  </a:lnTo>
                  <a:cubicBezTo>
                    <a:pt x="82167" y="1316506"/>
                    <a:pt x="63774" y="1327782"/>
                    <a:pt x="41084" y="1327782"/>
                  </a:cubicBezTo>
                  <a:cubicBezTo>
                    <a:pt x="29738" y="1327782"/>
                    <a:pt x="19468" y="1324963"/>
                    <a:pt x="12033" y="1320405"/>
                  </a:cubicBezTo>
                  <a:cubicBezTo>
                    <a:pt x="4599" y="1315848"/>
                    <a:pt x="1" y="1309551"/>
                    <a:pt x="0" y="1302597"/>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378" name="Freeform: Shape 1377">
              <a:extLst>
                <a:ext uri="{FF2B5EF4-FFF2-40B4-BE49-F238E27FC236}">
                  <a16:creationId xmlns:a16="http://schemas.microsoft.com/office/drawing/2014/main" id="{2FF819E4-0989-4CC3-86C3-3C7CEE69787A}"/>
                </a:ext>
              </a:extLst>
            </p:cNvPr>
            <p:cNvSpPr/>
            <p:nvPr/>
          </p:nvSpPr>
          <p:spPr bwMode="gray">
            <a:xfrm rot="3600000">
              <a:off x="14187648" y="-1262021"/>
              <a:ext cx="82167" cy="1340560"/>
            </a:xfrm>
            <a:custGeom>
              <a:avLst/>
              <a:gdLst>
                <a:gd name="connsiteX0" fmla="*/ 1 w 82167"/>
                <a:gd name="connsiteY0" fmla="*/ 25186 h 1327782"/>
                <a:gd name="connsiteX1" fmla="*/ 1 w 82167"/>
                <a:gd name="connsiteY1" fmla="*/ 25185 h 1327782"/>
                <a:gd name="connsiteX2" fmla="*/ 1 w 82167"/>
                <a:gd name="connsiteY2" fmla="*/ 25185 h 1327782"/>
                <a:gd name="connsiteX3" fmla="*/ 41084 w 82167"/>
                <a:gd name="connsiteY3" fmla="*/ 0 h 1327782"/>
                <a:gd name="connsiteX4" fmla="*/ 82167 w 82167"/>
                <a:gd name="connsiteY4" fmla="*/ 25185 h 1327782"/>
                <a:gd name="connsiteX5" fmla="*/ 82167 w 82167"/>
                <a:gd name="connsiteY5" fmla="*/ 25185 h 1327782"/>
                <a:gd name="connsiteX6" fmla="*/ 82167 w 82167"/>
                <a:gd name="connsiteY6" fmla="*/ 1302596 h 1327782"/>
                <a:gd name="connsiteX7" fmla="*/ 82166 w 82167"/>
                <a:gd name="connsiteY7" fmla="*/ 1302597 h 1327782"/>
                <a:gd name="connsiteX8" fmla="*/ 82166 w 82167"/>
                <a:gd name="connsiteY8" fmla="*/ 1302597 h 1327782"/>
                <a:gd name="connsiteX9" fmla="*/ 41084 w 82167"/>
                <a:gd name="connsiteY9" fmla="*/ 1327782 h 1327782"/>
                <a:gd name="connsiteX10" fmla="*/ 12033 w 82167"/>
                <a:gd name="connsiteY10" fmla="*/ 1320405 h 1327782"/>
                <a:gd name="connsiteX11" fmla="*/ 0 w 82167"/>
                <a:gd name="connsiteY11" fmla="*/ 1302597 h 1327782"/>
                <a:gd name="connsiteX0" fmla="*/ 1 w 82167"/>
                <a:gd name="connsiteY0" fmla="*/ 25186 h 1340560"/>
                <a:gd name="connsiteX1" fmla="*/ 1 w 82167"/>
                <a:gd name="connsiteY1" fmla="*/ 25185 h 1340560"/>
                <a:gd name="connsiteX2" fmla="*/ 1 w 82167"/>
                <a:gd name="connsiteY2" fmla="*/ 25185 h 1340560"/>
                <a:gd name="connsiteX3" fmla="*/ 41084 w 82167"/>
                <a:gd name="connsiteY3" fmla="*/ 0 h 1340560"/>
                <a:gd name="connsiteX4" fmla="*/ 82167 w 82167"/>
                <a:gd name="connsiteY4" fmla="*/ 25185 h 1340560"/>
                <a:gd name="connsiteX5" fmla="*/ 82167 w 82167"/>
                <a:gd name="connsiteY5" fmla="*/ 25185 h 1340560"/>
                <a:gd name="connsiteX6" fmla="*/ 82167 w 82167"/>
                <a:gd name="connsiteY6" fmla="*/ 1302596 h 1340560"/>
                <a:gd name="connsiteX7" fmla="*/ 82166 w 82167"/>
                <a:gd name="connsiteY7" fmla="*/ 1302597 h 1340560"/>
                <a:gd name="connsiteX8" fmla="*/ 82166 w 82167"/>
                <a:gd name="connsiteY8" fmla="*/ 1302597 h 1340560"/>
                <a:gd name="connsiteX9" fmla="*/ 58454 w 82167"/>
                <a:gd name="connsiteY9" fmla="*/ 1340560 h 1340560"/>
                <a:gd name="connsiteX10" fmla="*/ 12033 w 82167"/>
                <a:gd name="connsiteY10" fmla="*/ 1320405 h 1340560"/>
                <a:gd name="connsiteX11" fmla="*/ 0 w 82167"/>
                <a:gd name="connsiteY11" fmla="*/ 1302597 h 1340560"/>
                <a:gd name="connsiteX12" fmla="*/ 1 w 82167"/>
                <a:gd name="connsiteY12" fmla="*/ 25186 h 134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167" h="1340560">
                  <a:moveTo>
                    <a:pt x="1" y="25186"/>
                  </a:moveTo>
                  <a:lnTo>
                    <a:pt x="1" y="25185"/>
                  </a:lnTo>
                  <a:lnTo>
                    <a:pt x="1" y="25185"/>
                  </a:lnTo>
                  <a:cubicBezTo>
                    <a:pt x="1" y="11276"/>
                    <a:pt x="18394" y="0"/>
                    <a:pt x="41084" y="0"/>
                  </a:cubicBezTo>
                  <a:cubicBezTo>
                    <a:pt x="63774" y="0"/>
                    <a:pt x="82167" y="11276"/>
                    <a:pt x="82167" y="25185"/>
                  </a:cubicBezTo>
                  <a:lnTo>
                    <a:pt x="82167" y="25185"/>
                  </a:lnTo>
                  <a:lnTo>
                    <a:pt x="82167" y="1302596"/>
                  </a:lnTo>
                  <a:lnTo>
                    <a:pt x="82166" y="1302597"/>
                  </a:lnTo>
                  <a:lnTo>
                    <a:pt x="82166" y="1302597"/>
                  </a:lnTo>
                  <a:cubicBezTo>
                    <a:pt x="82167" y="1316506"/>
                    <a:pt x="81144" y="1340560"/>
                    <a:pt x="58454" y="1340560"/>
                  </a:cubicBezTo>
                  <a:cubicBezTo>
                    <a:pt x="47108" y="1340560"/>
                    <a:pt x="21775" y="1326732"/>
                    <a:pt x="12033" y="1320405"/>
                  </a:cubicBezTo>
                  <a:cubicBezTo>
                    <a:pt x="2291" y="1314078"/>
                    <a:pt x="1" y="1309551"/>
                    <a:pt x="0" y="1302597"/>
                  </a:cubicBezTo>
                  <a:cubicBezTo>
                    <a:pt x="0" y="876793"/>
                    <a:pt x="1" y="450990"/>
                    <a:pt x="1" y="25186"/>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381" name="Freeform: Shape 1380">
              <a:extLst>
                <a:ext uri="{FF2B5EF4-FFF2-40B4-BE49-F238E27FC236}">
                  <a16:creationId xmlns:a16="http://schemas.microsoft.com/office/drawing/2014/main" id="{62ADB420-9A4B-4AD1-A694-CA6F0D09E209}"/>
                </a:ext>
              </a:extLst>
            </p:cNvPr>
            <p:cNvSpPr/>
            <p:nvPr/>
          </p:nvSpPr>
          <p:spPr bwMode="gray">
            <a:xfrm rot="18000000" flipH="1">
              <a:off x="13363981" y="-749136"/>
              <a:ext cx="82166" cy="648226"/>
            </a:xfrm>
            <a:custGeom>
              <a:avLst/>
              <a:gdLst>
                <a:gd name="connsiteX0" fmla="*/ 0 w 82166"/>
                <a:gd name="connsiteY0" fmla="*/ 25185 h 641429"/>
                <a:gd name="connsiteX1" fmla="*/ 0 w 82166"/>
                <a:gd name="connsiteY1" fmla="*/ 616244 h 641429"/>
                <a:gd name="connsiteX2" fmla="*/ 12033 w 82166"/>
                <a:gd name="connsiteY2" fmla="*/ 634053 h 641429"/>
                <a:gd name="connsiteX3" fmla="*/ 41083 w 82166"/>
                <a:gd name="connsiteY3" fmla="*/ 641429 h 641429"/>
                <a:gd name="connsiteX4" fmla="*/ 82166 w 82166"/>
                <a:gd name="connsiteY4" fmla="*/ 616244 h 641429"/>
                <a:gd name="connsiteX5" fmla="*/ 82166 w 82166"/>
                <a:gd name="connsiteY5" fmla="*/ 25185 h 641429"/>
                <a:gd name="connsiteX6" fmla="*/ 41083 w 82166"/>
                <a:gd name="connsiteY6" fmla="*/ 0 h 641429"/>
                <a:gd name="connsiteX7" fmla="*/ 0 w 82166"/>
                <a:gd name="connsiteY7" fmla="*/ 25185 h 641429"/>
                <a:gd name="connsiteX0" fmla="*/ 0 w 82166"/>
                <a:gd name="connsiteY0" fmla="*/ 36135 h 652379"/>
                <a:gd name="connsiteX1" fmla="*/ 0 w 82166"/>
                <a:gd name="connsiteY1" fmla="*/ 627194 h 652379"/>
                <a:gd name="connsiteX2" fmla="*/ 12033 w 82166"/>
                <a:gd name="connsiteY2" fmla="*/ 645003 h 652379"/>
                <a:gd name="connsiteX3" fmla="*/ 41083 w 82166"/>
                <a:gd name="connsiteY3" fmla="*/ 652379 h 652379"/>
                <a:gd name="connsiteX4" fmla="*/ 82166 w 82166"/>
                <a:gd name="connsiteY4" fmla="*/ 627194 h 652379"/>
                <a:gd name="connsiteX5" fmla="*/ 82166 w 82166"/>
                <a:gd name="connsiteY5" fmla="*/ 36135 h 652379"/>
                <a:gd name="connsiteX6" fmla="*/ 36406 w 82166"/>
                <a:gd name="connsiteY6" fmla="*/ 0 h 652379"/>
                <a:gd name="connsiteX7" fmla="*/ 0 w 82166"/>
                <a:gd name="connsiteY7" fmla="*/ 36135 h 652379"/>
                <a:gd name="connsiteX0" fmla="*/ 0 w 82166"/>
                <a:gd name="connsiteY0" fmla="*/ 36135 h 661904"/>
                <a:gd name="connsiteX1" fmla="*/ 0 w 82166"/>
                <a:gd name="connsiteY1" fmla="*/ 627194 h 661904"/>
                <a:gd name="connsiteX2" fmla="*/ 12033 w 82166"/>
                <a:gd name="connsiteY2" fmla="*/ 645003 h 661904"/>
                <a:gd name="connsiteX3" fmla="*/ 57581 w 82166"/>
                <a:gd name="connsiteY3" fmla="*/ 661904 h 661904"/>
                <a:gd name="connsiteX4" fmla="*/ 82166 w 82166"/>
                <a:gd name="connsiteY4" fmla="*/ 627194 h 661904"/>
                <a:gd name="connsiteX5" fmla="*/ 82166 w 82166"/>
                <a:gd name="connsiteY5" fmla="*/ 36135 h 661904"/>
                <a:gd name="connsiteX6" fmla="*/ 36406 w 82166"/>
                <a:gd name="connsiteY6" fmla="*/ 0 h 661904"/>
                <a:gd name="connsiteX7" fmla="*/ 0 w 82166"/>
                <a:gd name="connsiteY7" fmla="*/ 36135 h 661904"/>
                <a:gd name="connsiteX0" fmla="*/ 0 w 82166"/>
                <a:gd name="connsiteY0" fmla="*/ 36135 h 684641"/>
                <a:gd name="connsiteX1" fmla="*/ 0 w 82166"/>
                <a:gd name="connsiteY1" fmla="*/ 627194 h 684641"/>
                <a:gd name="connsiteX2" fmla="*/ 57581 w 82166"/>
                <a:gd name="connsiteY2" fmla="*/ 661904 h 684641"/>
                <a:gd name="connsiteX3" fmla="*/ 82166 w 82166"/>
                <a:gd name="connsiteY3" fmla="*/ 627194 h 684641"/>
                <a:gd name="connsiteX4" fmla="*/ 82166 w 82166"/>
                <a:gd name="connsiteY4" fmla="*/ 36135 h 684641"/>
                <a:gd name="connsiteX5" fmla="*/ 36406 w 82166"/>
                <a:gd name="connsiteY5" fmla="*/ 0 h 684641"/>
                <a:gd name="connsiteX6" fmla="*/ 0 w 82166"/>
                <a:gd name="connsiteY6" fmla="*/ 36135 h 684641"/>
                <a:gd name="connsiteX0" fmla="*/ 0 w 82195"/>
                <a:gd name="connsiteY0" fmla="*/ 36135 h 682103"/>
                <a:gd name="connsiteX1" fmla="*/ 0 w 82195"/>
                <a:gd name="connsiteY1" fmla="*/ 627194 h 682103"/>
                <a:gd name="connsiteX2" fmla="*/ 69721 w 82195"/>
                <a:gd name="connsiteY2" fmla="*/ 655165 h 682103"/>
                <a:gd name="connsiteX3" fmla="*/ 82166 w 82195"/>
                <a:gd name="connsiteY3" fmla="*/ 627194 h 682103"/>
                <a:gd name="connsiteX4" fmla="*/ 82166 w 82195"/>
                <a:gd name="connsiteY4" fmla="*/ 36135 h 682103"/>
                <a:gd name="connsiteX5" fmla="*/ 36406 w 82195"/>
                <a:gd name="connsiteY5" fmla="*/ 0 h 682103"/>
                <a:gd name="connsiteX6" fmla="*/ 0 w 82195"/>
                <a:gd name="connsiteY6" fmla="*/ 36135 h 682103"/>
                <a:gd name="connsiteX0" fmla="*/ 0 w 82166"/>
                <a:gd name="connsiteY0" fmla="*/ 36135 h 685730"/>
                <a:gd name="connsiteX1" fmla="*/ 0 w 82166"/>
                <a:gd name="connsiteY1" fmla="*/ 627194 h 685730"/>
                <a:gd name="connsiteX2" fmla="*/ 69721 w 82166"/>
                <a:gd name="connsiteY2" fmla="*/ 655165 h 685730"/>
                <a:gd name="connsiteX3" fmla="*/ 82166 w 82166"/>
                <a:gd name="connsiteY3" fmla="*/ 627194 h 685730"/>
                <a:gd name="connsiteX4" fmla="*/ 82166 w 82166"/>
                <a:gd name="connsiteY4" fmla="*/ 36135 h 685730"/>
                <a:gd name="connsiteX5" fmla="*/ 36406 w 82166"/>
                <a:gd name="connsiteY5" fmla="*/ 0 h 685730"/>
                <a:gd name="connsiteX6" fmla="*/ 0 w 82166"/>
                <a:gd name="connsiteY6" fmla="*/ 36135 h 685730"/>
                <a:gd name="connsiteX0" fmla="*/ 0 w 82166"/>
                <a:gd name="connsiteY0" fmla="*/ 36135 h 684587"/>
                <a:gd name="connsiteX1" fmla="*/ 0 w 82166"/>
                <a:gd name="connsiteY1" fmla="*/ 627194 h 684587"/>
                <a:gd name="connsiteX2" fmla="*/ 74164 w 82166"/>
                <a:gd name="connsiteY2" fmla="*/ 652231 h 684587"/>
                <a:gd name="connsiteX3" fmla="*/ 82166 w 82166"/>
                <a:gd name="connsiteY3" fmla="*/ 627194 h 684587"/>
                <a:gd name="connsiteX4" fmla="*/ 82166 w 82166"/>
                <a:gd name="connsiteY4" fmla="*/ 36135 h 684587"/>
                <a:gd name="connsiteX5" fmla="*/ 36406 w 82166"/>
                <a:gd name="connsiteY5" fmla="*/ 0 h 684587"/>
                <a:gd name="connsiteX6" fmla="*/ 0 w 82166"/>
                <a:gd name="connsiteY6" fmla="*/ 36135 h 684587"/>
                <a:gd name="connsiteX0" fmla="*/ 0 w 82166"/>
                <a:gd name="connsiteY0" fmla="*/ 36135 h 701076"/>
                <a:gd name="connsiteX1" fmla="*/ 0 w 82166"/>
                <a:gd name="connsiteY1" fmla="*/ 627194 h 701076"/>
                <a:gd name="connsiteX2" fmla="*/ 82166 w 82166"/>
                <a:gd name="connsiteY2" fmla="*/ 627194 h 701076"/>
                <a:gd name="connsiteX3" fmla="*/ 82166 w 82166"/>
                <a:gd name="connsiteY3" fmla="*/ 36135 h 701076"/>
                <a:gd name="connsiteX4" fmla="*/ 36406 w 82166"/>
                <a:gd name="connsiteY4" fmla="*/ 0 h 701076"/>
                <a:gd name="connsiteX5" fmla="*/ 0 w 82166"/>
                <a:gd name="connsiteY5" fmla="*/ 36135 h 701076"/>
                <a:gd name="connsiteX0" fmla="*/ 0 w 82166"/>
                <a:gd name="connsiteY0" fmla="*/ 36135 h 707728"/>
                <a:gd name="connsiteX1" fmla="*/ 0 w 82166"/>
                <a:gd name="connsiteY1" fmla="*/ 627194 h 707728"/>
                <a:gd name="connsiteX2" fmla="*/ 80338 w 82166"/>
                <a:gd name="connsiteY2" fmla="*/ 639886 h 707728"/>
                <a:gd name="connsiteX3" fmla="*/ 82166 w 82166"/>
                <a:gd name="connsiteY3" fmla="*/ 36135 h 707728"/>
                <a:gd name="connsiteX4" fmla="*/ 36406 w 82166"/>
                <a:gd name="connsiteY4" fmla="*/ 0 h 707728"/>
                <a:gd name="connsiteX5" fmla="*/ 0 w 82166"/>
                <a:gd name="connsiteY5" fmla="*/ 36135 h 707728"/>
                <a:gd name="connsiteX0" fmla="*/ 0 w 82166"/>
                <a:gd name="connsiteY0" fmla="*/ 36135 h 678205"/>
                <a:gd name="connsiteX1" fmla="*/ 0 w 82166"/>
                <a:gd name="connsiteY1" fmla="*/ 627194 h 678205"/>
                <a:gd name="connsiteX2" fmla="*/ 80338 w 82166"/>
                <a:gd name="connsiteY2" fmla="*/ 639886 h 678205"/>
                <a:gd name="connsiteX3" fmla="*/ 82166 w 82166"/>
                <a:gd name="connsiteY3" fmla="*/ 36135 h 678205"/>
                <a:gd name="connsiteX4" fmla="*/ 36406 w 82166"/>
                <a:gd name="connsiteY4" fmla="*/ 0 h 678205"/>
                <a:gd name="connsiteX5" fmla="*/ 0 w 82166"/>
                <a:gd name="connsiteY5" fmla="*/ 36135 h 678205"/>
                <a:gd name="connsiteX0" fmla="*/ 0 w 82166"/>
                <a:gd name="connsiteY0" fmla="*/ 36135 h 647264"/>
                <a:gd name="connsiteX1" fmla="*/ 0 w 82166"/>
                <a:gd name="connsiteY1" fmla="*/ 627194 h 647264"/>
                <a:gd name="connsiteX2" fmla="*/ 80338 w 82166"/>
                <a:gd name="connsiteY2" fmla="*/ 639886 h 647264"/>
                <a:gd name="connsiteX3" fmla="*/ 82166 w 82166"/>
                <a:gd name="connsiteY3" fmla="*/ 36135 h 647264"/>
                <a:gd name="connsiteX4" fmla="*/ 36406 w 82166"/>
                <a:gd name="connsiteY4" fmla="*/ 0 h 647264"/>
                <a:gd name="connsiteX5" fmla="*/ 0 w 82166"/>
                <a:gd name="connsiteY5" fmla="*/ 36135 h 647264"/>
                <a:gd name="connsiteX0" fmla="*/ 0 w 82166"/>
                <a:gd name="connsiteY0" fmla="*/ 36135 h 643717"/>
                <a:gd name="connsiteX1" fmla="*/ 3338 w 82166"/>
                <a:gd name="connsiteY1" fmla="*/ 607124 h 643717"/>
                <a:gd name="connsiteX2" fmla="*/ 80338 w 82166"/>
                <a:gd name="connsiteY2" fmla="*/ 639886 h 643717"/>
                <a:gd name="connsiteX3" fmla="*/ 82166 w 82166"/>
                <a:gd name="connsiteY3" fmla="*/ 36135 h 643717"/>
                <a:gd name="connsiteX4" fmla="*/ 36406 w 82166"/>
                <a:gd name="connsiteY4" fmla="*/ 0 h 643717"/>
                <a:gd name="connsiteX5" fmla="*/ 0 w 82166"/>
                <a:gd name="connsiteY5" fmla="*/ 36135 h 643717"/>
                <a:gd name="connsiteX0" fmla="*/ 0 w 82166"/>
                <a:gd name="connsiteY0" fmla="*/ 36135 h 643717"/>
                <a:gd name="connsiteX1" fmla="*/ 3338 w 82166"/>
                <a:gd name="connsiteY1" fmla="*/ 607124 h 643717"/>
                <a:gd name="connsiteX2" fmla="*/ 80338 w 82166"/>
                <a:gd name="connsiteY2" fmla="*/ 639886 h 643717"/>
                <a:gd name="connsiteX3" fmla="*/ 82166 w 82166"/>
                <a:gd name="connsiteY3" fmla="*/ 36135 h 643717"/>
                <a:gd name="connsiteX4" fmla="*/ 36406 w 82166"/>
                <a:gd name="connsiteY4" fmla="*/ 0 h 643717"/>
                <a:gd name="connsiteX5" fmla="*/ 0 w 82166"/>
                <a:gd name="connsiteY5" fmla="*/ 36135 h 643717"/>
                <a:gd name="connsiteX0" fmla="*/ 0 w 82166"/>
                <a:gd name="connsiteY0" fmla="*/ 36135 h 684735"/>
                <a:gd name="connsiteX1" fmla="*/ 3338 w 82166"/>
                <a:gd name="connsiteY1" fmla="*/ 607124 h 684735"/>
                <a:gd name="connsiteX2" fmla="*/ 46221 w 82166"/>
                <a:gd name="connsiteY2" fmla="*/ 636625 h 684735"/>
                <a:gd name="connsiteX3" fmla="*/ 80338 w 82166"/>
                <a:gd name="connsiteY3" fmla="*/ 639886 h 684735"/>
                <a:gd name="connsiteX4" fmla="*/ 82166 w 82166"/>
                <a:gd name="connsiteY4" fmla="*/ 36135 h 684735"/>
                <a:gd name="connsiteX5" fmla="*/ 36406 w 82166"/>
                <a:gd name="connsiteY5" fmla="*/ 0 h 684735"/>
                <a:gd name="connsiteX6" fmla="*/ 0 w 82166"/>
                <a:gd name="connsiteY6" fmla="*/ 36135 h 684735"/>
                <a:gd name="connsiteX0" fmla="*/ 0 w 82166"/>
                <a:gd name="connsiteY0" fmla="*/ 36135 h 691598"/>
                <a:gd name="connsiteX1" fmla="*/ 3338 w 82166"/>
                <a:gd name="connsiteY1" fmla="*/ 607124 h 691598"/>
                <a:gd name="connsiteX2" fmla="*/ 71520 w 82166"/>
                <a:gd name="connsiteY2" fmla="*/ 659480 h 691598"/>
                <a:gd name="connsiteX3" fmla="*/ 80338 w 82166"/>
                <a:gd name="connsiteY3" fmla="*/ 639886 h 691598"/>
                <a:gd name="connsiteX4" fmla="*/ 82166 w 82166"/>
                <a:gd name="connsiteY4" fmla="*/ 36135 h 691598"/>
                <a:gd name="connsiteX5" fmla="*/ 36406 w 82166"/>
                <a:gd name="connsiteY5" fmla="*/ 0 h 691598"/>
                <a:gd name="connsiteX6" fmla="*/ 0 w 82166"/>
                <a:gd name="connsiteY6" fmla="*/ 36135 h 691598"/>
                <a:gd name="connsiteX0" fmla="*/ 0 w 82166"/>
                <a:gd name="connsiteY0" fmla="*/ 36135 h 687261"/>
                <a:gd name="connsiteX1" fmla="*/ 3338 w 82166"/>
                <a:gd name="connsiteY1" fmla="*/ 607124 h 687261"/>
                <a:gd name="connsiteX2" fmla="*/ 71520 w 82166"/>
                <a:gd name="connsiteY2" fmla="*/ 659480 h 687261"/>
                <a:gd name="connsiteX3" fmla="*/ 80338 w 82166"/>
                <a:gd name="connsiteY3" fmla="*/ 639886 h 687261"/>
                <a:gd name="connsiteX4" fmla="*/ 82166 w 82166"/>
                <a:gd name="connsiteY4" fmla="*/ 36135 h 687261"/>
                <a:gd name="connsiteX5" fmla="*/ 36406 w 82166"/>
                <a:gd name="connsiteY5" fmla="*/ 0 h 687261"/>
                <a:gd name="connsiteX6" fmla="*/ 0 w 82166"/>
                <a:gd name="connsiteY6" fmla="*/ 36135 h 687261"/>
                <a:gd name="connsiteX0" fmla="*/ 0 w 82166"/>
                <a:gd name="connsiteY0" fmla="*/ 36135 h 703715"/>
                <a:gd name="connsiteX1" fmla="*/ 3338 w 82166"/>
                <a:gd name="connsiteY1" fmla="*/ 607124 h 703715"/>
                <a:gd name="connsiteX2" fmla="*/ 71520 w 82166"/>
                <a:gd name="connsiteY2" fmla="*/ 659480 h 703715"/>
                <a:gd name="connsiteX3" fmla="*/ 80338 w 82166"/>
                <a:gd name="connsiteY3" fmla="*/ 639886 h 703715"/>
                <a:gd name="connsiteX4" fmla="*/ 82166 w 82166"/>
                <a:gd name="connsiteY4" fmla="*/ 36135 h 703715"/>
                <a:gd name="connsiteX5" fmla="*/ 36406 w 82166"/>
                <a:gd name="connsiteY5" fmla="*/ 0 h 703715"/>
                <a:gd name="connsiteX6" fmla="*/ 0 w 82166"/>
                <a:gd name="connsiteY6" fmla="*/ 36135 h 703715"/>
                <a:gd name="connsiteX0" fmla="*/ 0 w 82166"/>
                <a:gd name="connsiteY0" fmla="*/ 36135 h 746122"/>
                <a:gd name="connsiteX1" fmla="*/ 3338 w 82166"/>
                <a:gd name="connsiteY1" fmla="*/ 607124 h 746122"/>
                <a:gd name="connsiteX2" fmla="*/ 69202 w 82166"/>
                <a:gd name="connsiteY2" fmla="*/ 715885 h 746122"/>
                <a:gd name="connsiteX3" fmla="*/ 80338 w 82166"/>
                <a:gd name="connsiteY3" fmla="*/ 639886 h 746122"/>
                <a:gd name="connsiteX4" fmla="*/ 82166 w 82166"/>
                <a:gd name="connsiteY4" fmla="*/ 36135 h 746122"/>
                <a:gd name="connsiteX5" fmla="*/ 36406 w 82166"/>
                <a:gd name="connsiteY5" fmla="*/ 0 h 746122"/>
                <a:gd name="connsiteX6" fmla="*/ 0 w 82166"/>
                <a:gd name="connsiteY6" fmla="*/ 36135 h 746122"/>
                <a:gd name="connsiteX0" fmla="*/ 0 w 82166"/>
                <a:gd name="connsiteY0" fmla="*/ 36135 h 698632"/>
                <a:gd name="connsiteX1" fmla="*/ 3338 w 82166"/>
                <a:gd name="connsiteY1" fmla="*/ 607124 h 698632"/>
                <a:gd name="connsiteX2" fmla="*/ 80338 w 82166"/>
                <a:gd name="connsiteY2" fmla="*/ 639886 h 698632"/>
                <a:gd name="connsiteX3" fmla="*/ 82166 w 82166"/>
                <a:gd name="connsiteY3" fmla="*/ 36135 h 698632"/>
                <a:gd name="connsiteX4" fmla="*/ 36406 w 82166"/>
                <a:gd name="connsiteY4" fmla="*/ 0 h 698632"/>
                <a:gd name="connsiteX5" fmla="*/ 0 w 82166"/>
                <a:gd name="connsiteY5" fmla="*/ 36135 h 698632"/>
                <a:gd name="connsiteX0" fmla="*/ 0 w 82166"/>
                <a:gd name="connsiteY0" fmla="*/ 36135 h 668870"/>
                <a:gd name="connsiteX1" fmla="*/ 3338 w 82166"/>
                <a:gd name="connsiteY1" fmla="*/ 607124 h 668870"/>
                <a:gd name="connsiteX2" fmla="*/ 80338 w 82166"/>
                <a:gd name="connsiteY2" fmla="*/ 639886 h 668870"/>
                <a:gd name="connsiteX3" fmla="*/ 82166 w 82166"/>
                <a:gd name="connsiteY3" fmla="*/ 36135 h 668870"/>
                <a:gd name="connsiteX4" fmla="*/ 36406 w 82166"/>
                <a:gd name="connsiteY4" fmla="*/ 0 h 668870"/>
                <a:gd name="connsiteX5" fmla="*/ 0 w 82166"/>
                <a:gd name="connsiteY5" fmla="*/ 36135 h 668870"/>
                <a:gd name="connsiteX0" fmla="*/ 0 w 82166"/>
                <a:gd name="connsiteY0" fmla="*/ 36135 h 648226"/>
                <a:gd name="connsiteX1" fmla="*/ 3338 w 82166"/>
                <a:gd name="connsiteY1" fmla="*/ 607124 h 648226"/>
                <a:gd name="connsiteX2" fmla="*/ 80338 w 82166"/>
                <a:gd name="connsiteY2" fmla="*/ 639886 h 648226"/>
                <a:gd name="connsiteX3" fmla="*/ 82166 w 82166"/>
                <a:gd name="connsiteY3" fmla="*/ 36135 h 648226"/>
                <a:gd name="connsiteX4" fmla="*/ 36406 w 82166"/>
                <a:gd name="connsiteY4" fmla="*/ 0 h 648226"/>
                <a:gd name="connsiteX5" fmla="*/ 0 w 82166"/>
                <a:gd name="connsiteY5" fmla="*/ 36135 h 64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166" h="648226">
                  <a:moveTo>
                    <a:pt x="0" y="36135"/>
                  </a:moveTo>
                  <a:cubicBezTo>
                    <a:pt x="1113" y="226465"/>
                    <a:pt x="2225" y="416794"/>
                    <a:pt x="3338" y="607124"/>
                  </a:cubicBezTo>
                  <a:cubicBezTo>
                    <a:pt x="27062" y="642224"/>
                    <a:pt x="74919" y="659769"/>
                    <a:pt x="80338" y="639886"/>
                  </a:cubicBezTo>
                  <a:cubicBezTo>
                    <a:pt x="80947" y="438636"/>
                    <a:pt x="81557" y="237385"/>
                    <a:pt x="82166" y="36135"/>
                  </a:cubicBezTo>
                  <a:cubicBezTo>
                    <a:pt x="82166" y="22226"/>
                    <a:pt x="59096" y="0"/>
                    <a:pt x="36406" y="0"/>
                  </a:cubicBezTo>
                  <a:cubicBezTo>
                    <a:pt x="13716" y="0"/>
                    <a:pt x="0" y="22226"/>
                    <a:pt x="0" y="36135"/>
                  </a:cubicBezTo>
                  <a:close/>
                </a:path>
              </a:pathLst>
            </a:custGeom>
            <a:gradFill flip="none" rotWithShape="1">
              <a:gsLst>
                <a:gs pos="46000">
                  <a:schemeClr val="accent2">
                    <a:lumMod val="0"/>
                    <a:lumOff val="100000"/>
                  </a:schemeClr>
                </a:gs>
                <a:gs pos="10000">
                  <a:schemeClr val="accent4"/>
                </a:gs>
              </a:gsLst>
              <a:lin ang="108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382" name="Freeform: Shape 1381">
              <a:extLst>
                <a:ext uri="{FF2B5EF4-FFF2-40B4-BE49-F238E27FC236}">
                  <a16:creationId xmlns:a16="http://schemas.microsoft.com/office/drawing/2014/main" id="{7FB7FBE8-359D-4600-B095-A938E9E85AFA}"/>
                </a:ext>
              </a:extLst>
            </p:cNvPr>
            <p:cNvSpPr/>
            <p:nvPr/>
          </p:nvSpPr>
          <p:spPr bwMode="gray">
            <a:xfrm rot="3600000">
              <a:off x="13672129" y="-1559324"/>
              <a:ext cx="595708" cy="1643455"/>
            </a:xfrm>
            <a:custGeom>
              <a:avLst/>
              <a:gdLst>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83675 w 595708"/>
                <a:gd name="connsiteY15" fmla="*/ 1320404 h 1650732"/>
                <a:gd name="connsiteX16" fmla="*/ 573042 w 595708"/>
                <a:gd name="connsiteY16" fmla="*/ 1323104 h 1650732"/>
                <a:gd name="connsiteX17" fmla="*/ 575469 w 595708"/>
                <a:gd name="connsiteY17" fmla="*/ 1331708 h 1650732"/>
                <a:gd name="connsiteX18" fmla="*/ 566063 w 595708"/>
                <a:gd name="connsiteY18" fmla="*/ 1351033 h 1650732"/>
                <a:gd name="connsiteX19" fmla="*/ 50731 w 595708"/>
                <a:gd name="connsiteY19" fmla="*/ 1648559 h 1650732"/>
                <a:gd name="connsiteX20" fmla="*/ 8379 w 595708"/>
                <a:gd name="connsiteY20" fmla="*/ 1625573 h 1650732"/>
                <a:gd name="connsiteX21" fmla="*/ 2747 w 595708"/>
                <a:gd name="connsiteY21" fmla="*/ 1605609 h 1650732"/>
                <a:gd name="connsiteX22" fmla="*/ 0 w 595708"/>
                <a:gd name="connsiteY22" fmla="*/ 1601542 h 1650732"/>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83675 w 595708"/>
                <a:gd name="connsiteY15" fmla="*/ 1320404 h 1650732"/>
                <a:gd name="connsiteX16" fmla="*/ 573042 w 595708"/>
                <a:gd name="connsiteY16" fmla="*/ 1323104 h 1650732"/>
                <a:gd name="connsiteX17" fmla="*/ 566063 w 595708"/>
                <a:gd name="connsiteY17" fmla="*/ 1351033 h 1650732"/>
                <a:gd name="connsiteX18" fmla="*/ 50731 w 595708"/>
                <a:gd name="connsiteY18" fmla="*/ 1648559 h 1650732"/>
                <a:gd name="connsiteX19" fmla="*/ 8379 w 595708"/>
                <a:gd name="connsiteY19" fmla="*/ 1625573 h 1650732"/>
                <a:gd name="connsiteX20" fmla="*/ 2747 w 595708"/>
                <a:gd name="connsiteY20" fmla="*/ 1605609 h 1650732"/>
                <a:gd name="connsiteX21" fmla="*/ 0 w 595708"/>
                <a:gd name="connsiteY21" fmla="*/ 1601542 h 1650732"/>
                <a:gd name="connsiteX22" fmla="*/ 0 w 595708"/>
                <a:gd name="connsiteY22" fmla="*/ 324131 h 1650732"/>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83675 w 595708"/>
                <a:gd name="connsiteY15" fmla="*/ 1320404 h 1650732"/>
                <a:gd name="connsiteX16" fmla="*/ 566063 w 595708"/>
                <a:gd name="connsiteY16" fmla="*/ 1351033 h 1650732"/>
                <a:gd name="connsiteX17" fmla="*/ 50731 w 595708"/>
                <a:gd name="connsiteY17" fmla="*/ 1648559 h 1650732"/>
                <a:gd name="connsiteX18" fmla="*/ 8379 w 595708"/>
                <a:gd name="connsiteY18" fmla="*/ 1625573 h 1650732"/>
                <a:gd name="connsiteX19" fmla="*/ 2747 w 595708"/>
                <a:gd name="connsiteY19" fmla="*/ 1605609 h 1650732"/>
                <a:gd name="connsiteX20" fmla="*/ 0 w 595708"/>
                <a:gd name="connsiteY20" fmla="*/ 1601542 h 1650732"/>
                <a:gd name="connsiteX21" fmla="*/ 0 w 595708"/>
                <a:gd name="connsiteY21" fmla="*/ 324131 h 1650732"/>
                <a:gd name="connsiteX0" fmla="*/ 0 w 614349"/>
                <a:gd name="connsiteY0" fmla="*/ 324131 h 1650732"/>
                <a:gd name="connsiteX1" fmla="*/ 41083 w 614349"/>
                <a:gd name="connsiteY1" fmla="*/ 298946 h 1650732"/>
                <a:gd name="connsiteX2" fmla="*/ 82166 w 614349"/>
                <a:gd name="connsiteY2" fmla="*/ 324131 h 1650732"/>
                <a:gd name="connsiteX3" fmla="*/ 82166 w 614349"/>
                <a:gd name="connsiteY3" fmla="*/ 324131 h 1650732"/>
                <a:gd name="connsiteX4" fmla="*/ 82166 w 614349"/>
                <a:gd name="connsiteY4" fmla="*/ 1535533 h 1650732"/>
                <a:gd name="connsiteX5" fmla="*/ 256442 w 614349"/>
                <a:gd name="connsiteY5" fmla="*/ 1434915 h 1650732"/>
                <a:gd name="connsiteX6" fmla="*/ 256442 w 614349"/>
                <a:gd name="connsiteY6" fmla="*/ 175228 h 1650732"/>
                <a:gd name="connsiteX7" fmla="*/ 297525 w 614349"/>
                <a:gd name="connsiteY7" fmla="*/ 150043 h 1650732"/>
                <a:gd name="connsiteX8" fmla="*/ 338608 w 614349"/>
                <a:gd name="connsiteY8" fmla="*/ 175228 h 1650732"/>
                <a:gd name="connsiteX9" fmla="*/ 338608 w 614349"/>
                <a:gd name="connsiteY9" fmla="*/ 1387476 h 1650732"/>
                <a:gd name="connsiteX10" fmla="*/ 513542 w 614349"/>
                <a:gd name="connsiteY10" fmla="*/ 1286479 h 1650732"/>
                <a:gd name="connsiteX11" fmla="*/ 513542 w 614349"/>
                <a:gd name="connsiteY11" fmla="*/ 25184 h 1650732"/>
                <a:gd name="connsiteX12" fmla="*/ 554625 w 614349"/>
                <a:gd name="connsiteY12" fmla="*/ 0 h 1650732"/>
                <a:gd name="connsiteX13" fmla="*/ 595708 w 614349"/>
                <a:gd name="connsiteY13" fmla="*/ 25184 h 1650732"/>
                <a:gd name="connsiteX14" fmla="*/ 595708 w 614349"/>
                <a:gd name="connsiteY14" fmla="*/ 1302596 h 1650732"/>
                <a:gd name="connsiteX15" fmla="*/ 566063 w 614349"/>
                <a:gd name="connsiteY15" fmla="*/ 1351033 h 1650732"/>
                <a:gd name="connsiteX16" fmla="*/ 50731 w 614349"/>
                <a:gd name="connsiteY16" fmla="*/ 1648559 h 1650732"/>
                <a:gd name="connsiteX17" fmla="*/ 8379 w 614349"/>
                <a:gd name="connsiteY17" fmla="*/ 1625573 h 1650732"/>
                <a:gd name="connsiteX18" fmla="*/ 2747 w 614349"/>
                <a:gd name="connsiteY18" fmla="*/ 1605609 h 1650732"/>
                <a:gd name="connsiteX19" fmla="*/ 0 w 614349"/>
                <a:gd name="connsiteY19" fmla="*/ 1601542 h 1650732"/>
                <a:gd name="connsiteX20" fmla="*/ 0 w 614349"/>
                <a:gd name="connsiteY20" fmla="*/ 324131 h 1650732"/>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66063 w 595708"/>
                <a:gd name="connsiteY15" fmla="*/ 1351033 h 1650732"/>
                <a:gd name="connsiteX16" fmla="*/ 50731 w 595708"/>
                <a:gd name="connsiteY16" fmla="*/ 1648559 h 1650732"/>
                <a:gd name="connsiteX17" fmla="*/ 8379 w 595708"/>
                <a:gd name="connsiteY17" fmla="*/ 1625573 h 1650732"/>
                <a:gd name="connsiteX18" fmla="*/ 2747 w 595708"/>
                <a:gd name="connsiteY18" fmla="*/ 1605609 h 1650732"/>
                <a:gd name="connsiteX19" fmla="*/ 0 w 595708"/>
                <a:gd name="connsiteY19" fmla="*/ 1601542 h 1650732"/>
                <a:gd name="connsiteX20" fmla="*/ 0 w 595708"/>
                <a:gd name="connsiteY20" fmla="*/ 324131 h 1650732"/>
                <a:gd name="connsiteX0" fmla="*/ 0 w 595708"/>
                <a:gd name="connsiteY0" fmla="*/ 324131 h 1650732"/>
                <a:gd name="connsiteX1" fmla="*/ 41083 w 595708"/>
                <a:gd name="connsiteY1" fmla="*/ 298946 h 1650732"/>
                <a:gd name="connsiteX2" fmla="*/ 82166 w 595708"/>
                <a:gd name="connsiteY2" fmla="*/ 324131 h 1650732"/>
                <a:gd name="connsiteX3" fmla="*/ 82166 w 595708"/>
                <a:gd name="connsiteY3" fmla="*/ 324131 h 1650732"/>
                <a:gd name="connsiteX4" fmla="*/ 82166 w 595708"/>
                <a:gd name="connsiteY4" fmla="*/ 1535533 h 1650732"/>
                <a:gd name="connsiteX5" fmla="*/ 256442 w 595708"/>
                <a:gd name="connsiteY5" fmla="*/ 1434915 h 1650732"/>
                <a:gd name="connsiteX6" fmla="*/ 256442 w 595708"/>
                <a:gd name="connsiteY6" fmla="*/ 175228 h 1650732"/>
                <a:gd name="connsiteX7" fmla="*/ 297525 w 595708"/>
                <a:gd name="connsiteY7" fmla="*/ 150043 h 1650732"/>
                <a:gd name="connsiteX8" fmla="*/ 338608 w 595708"/>
                <a:gd name="connsiteY8" fmla="*/ 175228 h 1650732"/>
                <a:gd name="connsiteX9" fmla="*/ 338608 w 595708"/>
                <a:gd name="connsiteY9" fmla="*/ 1387476 h 1650732"/>
                <a:gd name="connsiteX10" fmla="*/ 513542 w 595708"/>
                <a:gd name="connsiteY10" fmla="*/ 1286479 h 1650732"/>
                <a:gd name="connsiteX11" fmla="*/ 513542 w 595708"/>
                <a:gd name="connsiteY11" fmla="*/ 25184 h 1650732"/>
                <a:gd name="connsiteX12" fmla="*/ 554625 w 595708"/>
                <a:gd name="connsiteY12" fmla="*/ 0 h 1650732"/>
                <a:gd name="connsiteX13" fmla="*/ 595708 w 595708"/>
                <a:gd name="connsiteY13" fmla="*/ 25184 h 1650732"/>
                <a:gd name="connsiteX14" fmla="*/ 595708 w 595708"/>
                <a:gd name="connsiteY14" fmla="*/ 1302596 h 1650732"/>
                <a:gd name="connsiteX15" fmla="*/ 566063 w 595708"/>
                <a:gd name="connsiteY15" fmla="*/ 1351033 h 1650732"/>
                <a:gd name="connsiteX16" fmla="*/ 50731 w 595708"/>
                <a:gd name="connsiteY16" fmla="*/ 1648559 h 1650732"/>
                <a:gd name="connsiteX17" fmla="*/ 8379 w 595708"/>
                <a:gd name="connsiteY17" fmla="*/ 1625573 h 1650732"/>
                <a:gd name="connsiteX18" fmla="*/ 2747 w 595708"/>
                <a:gd name="connsiteY18" fmla="*/ 1605609 h 1650732"/>
                <a:gd name="connsiteX19" fmla="*/ 0 w 595708"/>
                <a:gd name="connsiteY19" fmla="*/ 1601542 h 1650732"/>
                <a:gd name="connsiteX20" fmla="*/ 0 w 595708"/>
                <a:gd name="connsiteY20" fmla="*/ 324131 h 1650732"/>
                <a:gd name="connsiteX0" fmla="*/ 0 w 595708"/>
                <a:gd name="connsiteY0" fmla="*/ 324131 h 1639943"/>
                <a:gd name="connsiteX1" fmla="*/ 41083 w 595708"/>
                <a:gd name="connsiteY1" fmla="*/ 298946 h 1639943"/>
                <a:gd name="connsiteX2" fmla="*/ 82166 w 595708"/>
                <a:gd name="connsiteY2" fmla="*/ 324131 h 1639943"/>
                <a:gd name="connsiteX3" fmla="*/ 82166 w 595708"/>
                <a:gd name="connsiteY3" fmla="*/ 324131 h 1639943"/>
                <a:gd name="connsiteX4" fmla="*/ 82166 w 595708"/>
                <a:gd name="connsiteY4" fmla="*/ 1535533 h 1639943"/>
                <a:gd name="connsiteX5" fmla="*/ 256442 w 595708"/>
                <a:gd name="connsiteY5" fmla="*/ 1434915 h 1639943"/>
                <a:gd name="connsiteX6" fmla="*/ 256442 w 595708"/>
                <a:gd name="connsiteY6" fmla="*/ 175228 h 1639943"/>
                <a:gd name="connsiteX7" fmla="*/ 297525 w 595708"/>
                <a:gd name="connsiteY7" fmla="*/ 150043 h 1639943"/>
                <a:gd name="connsiteX8" fmla="*/ 338608 w 595708"/>
                <a:gd name="connsiteY8" fmla="*/ 175228 h 1639943"/>
                <a:gd name="connsiteX9" fmla="*/ 338608 w 595708"/>
                <a:gd name="connsiteY9" fmla="*/ 1387476 h 1639943"/>
                <a:gd name="connsiteX10" fmla="*/ 513542 w 595708"/>
                <a:gd name="connsiteY10" fmla="*/ 1286479 h 1639943"/>
                <a:gd name="connsiteX11" fmla="*/ 513542 w 595708"/>
                <a:gd name="connsiteY11" fmla="*/ 25184 h 1639943"/>
                <a:gd name="connsiteX12" fmla="*/ 554625 w 595708"/>
                <a:gd name="connsiteY12" fmla="*/ 0 h 1639943"/>
                <a:gd name="connsiteX13" fmla="*/ 595708 w 595708"/>
                <a:gd name="connsiteY13" fmla="*/ 25184 h 1639943"/>
                <a:gd name="connsiteX14" fmla="*/ 595708 w 595708"/>
                <a:gd name="connsiteY14" fmla="*/ 1302596 h 1639943"/>
                <a:gd name="connsiteX15" fmla="*/ 566063 w 595708"/>
                <a:gd name="connsiteY15" fmla="*/ 1351033 h 1639943"/>
                <a:gd name="connsiteX16" fmla="*/ 78263 w 595708"/>
                <a:gd name="connsiteY16" fmla="*/ 1634209 h 1639943"/>
                <a:gd name="connsiteX17" fmla="*/ 8379 w 595708"/>
                <a:gd name="connsiteY17" fmla="*/ 1625573 h 1639943"/>
                <a:gd name="connsiteX18" fmla="*/ 2747 w 595708"/>
                <a:gd name="connsiteY18" fmla="*/ 1605609 h 1639943"/>
                <a:gd name="connsiteX19" fmla="*/ 0 w 595708"/>
                <a:gd name="connsiteY19" fmla="*/ 1601542 h 1639943"/>
                <a:gd name="connsiteX20" fmla="*/ 0 w 595708"/>
                <a:gd name="connsiteY20" fmla="*/ 324131 h 1639943"/>
                <a:gd name="connsiteX0" fmla="*/ 0 w 595708"/>
                <a:gd name="connsiteY0" fmla="*/ 324131 h 1648418"/>
                <a:gd name="connsiteX1" fmla="*/ 41083 w 595708"/>
                <a:gd name="connsiteY1" fmla="*/ 298946 h 1648418"/>
                <a:gd name="connsiteX2" fmla="*/ 82166 w 595708"/>
                <a:gd name="connsiteY2" fmla="*/ 324131 h 1648418"/>
                <a:gd name="connsiteX3" fmla="*/ 82166 w 595708"/>
                <a:gd name="connsiteY3" fmla="*/ 324131 h 1648418"/>
                <a:gd name="connsiteX4" fmla="*/ 82166 w 595708"/>
                <a:gd name="connsiteY4" fmla="*/ 1535533 h 1648418"/>
                <a:gd name="connsiteX5" fmla="*/ 256442 w 595708"/>
                <a:gd name="connsiteY5" fmla="*/ 1434915 h 1648418"/>
                <a:gd name="connsiteX6" fmla="*/ 256442 w 595708"/>
                <a:gd name="connsiteY6" fmla="*/ 175228 h 1648418"/>
                <a:gd name="connsiteX7" fmla="*/ 297525 w 595708"/>
                <a:gd name="connsiteY7" fmla="*/ 150043 h 1648418"/>
                <a:gd name="connsiteX8" fmla="*/ 338608 w 595708"/>
                <a:gd name="connsiteY8" fmla="*/ 175228 h 1648418"/>
                <a:gd name="connsiteX9" fmla="*/ 338608 w 595708"/>
                <a:gd name="connsiteY9" fmla="*/ 1387476 h 1648418"/>
                <a:gd name="connsiteX10" fmla="*/ 513542 w 595708"/>
                <a:gd name="connsiteY10" fmla="*/ 1286479 h 1648418"/>
                <a:gd name="connsiteX11" fmla="*/ 513542 w 595708"/>
                <a:gd name="connsiteY11" fmla="*/ 25184 h 1648418"/>
                <a:gd name="connsiteX12" fmla="*/ 554625 w 595708"/>
                <a:gd name="connsiteY12" fmla="*/ 0 h 1648418"/>
                <a:gd name="connsiteX13" fmla="*/ 595708 w 595708"/>
                <a:gd name="connsiteY13" fmla="*/ 25184 h 1648418"/>
                <a:gd name="connsiteX14" fmla="*/ 595708 w 595708"/>
                <a:gd name="connsiteY14" fmla="*/ 1302596 h 1648418"/>
                <a:gd name="connsiteX15" fmla="*/ 566063 w 595708"/>
                <a:gd name="connsiteY15" fmla="*/ 1351033 h 1648418"/>
                <a:gd name="connsiteX16" fmla="*/ 78263 w 595708"/>
                <a:gd name="connsiteY16" fmla="*/ 1634209 h 1648418"/>
                <a:gd name="connsiteX17" fmla="*/ 2747 w 595708"/>
                <a:gd name="connsiteY17" fmla="*/ 1605609 h 1648418"/>
                <a:gd name="connsiteX18" fmla="*/ 0 w 595708"/>
                <a:gd name="connsiteY18" fmla="*/ 1601542 h 1648418"/>
                <a:gd name="connsiteX19" fmla="*/ 0 w 595708"/>
                <a:gd name="connsiteY19" fmla="*/ 324131 h 1648418"/>
                <a:gd name="connsiteX0" fmla="*/ 0 w 595708"/>
                <a:gd name="connsiteY0" fmla="*/ 324131 h 1719425"/>
                <a:gd name="connsiteX1" fmla="*/ 41083 w 595708"/>
                <a:gd name="connsiteY1" fmla="*/ 298946 h 1719425"/>
                <a:gd name="connsiteX2" fmla="*/ 82166 w 595708"/>
                <a:gd name="connsiteY2" fmla="*/ 324131 h 1719425"/>
                <a:gd name="connsiteX3" fmla="*/ 82166 w 595708"/>
                <a:gd name="connsiteY3" fmla="*/ 324131 h 1719425"/>
                <a:gd name="connsiteX4" fmla="*/ 82166 w 595708"/>
                <a:gd name="connsiteY4" fmla="*/ 1535533 h 1719425"/>
                <a:gd name="connsiteX5" fmla="*/ 256442 w 595708"/>
                <a:gd name="connsiteY5" fmla="*/ 1434915 h 1719425"/>
                <a:gd name="connsiteX6" fmla="*/ 256442 w 595708"/>
                <a:gd name="connsiteY6" fmla="*/ 175228 h 1719425"/>
                <a:gd name="connsiteX7" fmla="*/ 297525 w 595708"/>
                <a:gd name="connsiteY7" fmla="*/ 150043 h 1719425"/>
                <a:gd name="connsiteX8" fmla="*/ 338608 w 595708"/>
                <a:gd name="connsiteY8" fmla="*/ 175228 h 1719425"/>
                <a:gd name="connsiteX9" fmla="*/ 338608 w 595708"/>
                <a:gd name="connsiteY9" fmla="*/ 1387476 h 1719425"/>
                <a:gd name="connsiteX10" fmla="*/ 513542 w 595708"/>
                <a:gd name="connsiteY10" fmla="*/ 1286479 h 1719425"/>
                <a:gd name="connsiteX11" fmla="*/ 513542 w 595708"/>
                <a:gd name="connsiteY11" fmla="*/ 25184 h 1719425"/>
                <a:gd name="connsiteX12" fmla="*/ 554625 w 595708"/>
                <a:gd name="connsiteY12" fmla="*/ 0 h 1719425"/>
                <a:gd name="connsiteX13" fmla="*/ 595708 w 595708"/>
                <a:gd name="connsiteY13" fmla="*/ 25184 h 1719425"/>
                <a:gd name="connsiteX14" fmla="*/ 595708 w 595708"/>
                <a:gd name="connsiteY14" fmla="*/ 1302596 h 1719425"/>
                <a:gd name="connsiteX15" fmla="*/ 566063 w 595708"/>
                <a:gd name="connsiteY15" fmla="*/ 1351033 h 1719425"/>
                <a:gd name="connsiteX16" fmla="*/ 78263 w 595708"/>
                <a:gd name="connsiteY16" fmla="*/ 1634209 h 1719425"/>
                <a:gd name="connsiteX17" fmla="*/ 0 w 595708"/>
                <a:gd name="connsiteY17" fmla="*/ 1601542 h 1719425"/>
                <a:gd name="connsiteX18" fmla="*/ 0 w 595708"/>
                <a:gd name="connsiteY18" fmla="*/ 324131 h 1719425"/>
                <a:gd name="connsiteX0" fmla="*/ 628 w 596336"/>
                <a:gd name="connsiteY0" fmla="*/ 324131 h 1648230"/>
                <a:gd name="connsiteX1" fmla="*/ 41711 w 596336"/>
                <a:gd name="connsiteY1" fmla="*/ 298946 h 1648230"/>
                <a:gd name="connsiteX2" fmla="*/ 82794 w 596336"/>
                <a:gd name="connsiteY2" fmla="*/ 324131 h 1648230"/>
                <a:gd name="connsiteX3" fmla="*/ 82794 w 596336"/>
                <a:gd name="connsiteY3" fmla="*/ 324131 h 1648230"/>
                <a:gd name="connsiteX4" fmla="*/ 82794 w 596336"/>
                <a:gd name="connsiteY4" fmla="*/ 1535533 h 1648230"/>
                <a:gd name="connsiteX5" fmla="*/ 257070 w 596336"/>
                <a:gd name="connsiteY5" fmla="*/ 1434915 h 1648230"/>
                <a:gd name="connsiteX6" fmla="*/ 257070 w 596336"/>
                <a:gd name="connsiteY6" fmla="*/ 175228 h 1648230"/>
                <a:gd name="connsiteX7" fmla="*/ 298153 w 596336"/>
                <a:gd name="connsiteY7" fmla="*/ 150043 h 1648230"/>
                <a:gd name="connsiteX8" fmla="*/ 339236 w 596336"/>
                <a:gd name="connsiteY8" fmla="*/ 175228 h 1648230"/>
                <a:gd name="connsiteX9" fmla="*/ 339236 w 596336"/>
                <a:gd name="connsiteY9" fmla="*/ 1387476 h 1648230"/>
                <a:gd name="connsiteX10" fmla="*/ 514170 w 596336"/>
                <a:gd name="connsiteY10" fmla="*/ 1286479 h 1648230"/>
                <a:gd name="connsiteX11" fmla="*/ 514170 w 596336"/>
                <a:gd name="connsiteY11" fmla="*/ 25184 h 1648230"/>
                <a:gd name="connsiteX12" fmla="*/ 555253 w 596336"/>
                <a:gd name="connsiteY12" fmla="*/ 0 h 1648230"/>
                <a:gd name="connsiteX13" fmla="*/ 596336 w 596336"/>
                <a:gd name="connsiteY13" fmla="*/ 25184 h 1648230"/>
                <a:gd name="connsiteX14" fmla="*/ 596336 w 596336"/>
                <a:gd name="connsiteY14" fmla="*/ 1302596 h 1648230"/>
                <a:gd name="connsiteX15" fmla="*/ 566691 w 596336"/>
                <a:gd name="connsiteY15" fmla="*/ 1351033 h 1648230"/>
                <a:gd name="connsiteX16" fmla="*/ 78891 w 596336"/>
                <a:gd name="connsiteY16" fmla="*/ 1634209 h 1648230"/>
                <a:gd name="connsiteX17" fmla="*/ 628 w 596336"/>
                <a:gd name="connsiteY17" fmla="*/ 1601542 h 1648230"/>
                <a:gd name="connsiteX18" fmla="*/ 628 w 596336"/>
                <a:gd name="connsiteY18" fmla="*/ 324131 h 1648230"/>
                <a:gd name="connsiteX0" fmla="*/ 0 w 595708"/>
                <a:gd name="connsiteY0" fmla="*/ 324131 h 1643455"/>
                <a:gd name="connsiteX1" fmla="*/ 41083 w 595708"/>
                <a:gd name="connsiteY1" fmla="*/ 298946 h 1643455"/>
                <a:gd name="connsiteX2" fmla="*/ 82166 w 595708"/>
                <a:gd name="connsiteY2" fmla="*/ 324131 h 1643455"/>
                <a:gd name="connsiteX3" fmla="*/ 82166 w 595708"/>
                <a:gd name="connsiteY3" fmla="*/ 324131 h 1643455"/>
                <a:gd name="connsiteX4" fmla="*/ 82166 w 595708"/>
                <a:gd name="connsiteY4" fmla="*/ 1535533 h 1643455"/>
                <a:gd name="connsiteX5" fmla="*/ 256442 w 595708"/>
                <a:gd name="connsiteY5" fmla="*/ 1434915 h 1643455"/>
                <a:gd name="connsiteX6" fmla="*/ 256442 w 595708"/>
                <a:gd name="connsiteY6" fmla="*/ 175228 h 1643455"/>
                <a:gd name="connsiteX7" fmla="*/ 297525 w 595708"/>
                <a:gd name="connsiteY7" fmla="*/ 150043 h 1643455"/>
                <a:gd name="connsiteX8" fmla="*/ 338608 w 595708"/>
                <a:gd name="connsiteY8" fmla="*/ 175228 h 1643455"/>
                <a:gd name="connsiteX9" fmla="*/ 338608 w 595708"/>
                <a:gd name="connsiteY9" fmla="*/ 1387476 h 1643455"/>
                <a:gd name="connsiteX10" fmla="*/ 513542 w 595708"/>
                <a:gd name="connsiteY10" fmla="*/ 1286479 h 1643455"/>
                <a:gd name="connsiteX11" fmla="*/ 513542 w 595708"/>
                <a:gd name="connsiteY11" fmla="*/ 25184 h 1643455"/>
                <a:gd name="connsiteX12" fmla="*/ 554625 w 595708"/>
                <a:gd name="connsiteY12" fmla="*/ 0 h 1643455"/>
                <a:gd name="connsiteX13" fmla="*/ 595708 w 595708"/>
                <a:gd name="connsiteY13" fmla="*/ 25184 h 1643455"/>
                <a:gd name="connsiteX14" fmla="*/ 595708 w 595708"/>
                <a:gd name="connsiteY14" fmla="*/ 1302596 h 1643455"/>
                <a:gd name="connsiteX15" fmla="*/ 566063 w 595708"/>
                <a:gd name="connsiteY15" fmla="*/ 1351033 h 1643455"/>
                <a:gd name="connsiteX16" fmla="*/ 78263 w 595708"/>
                <a:gd name="connsiteY16" fmla="*/ 1634209 h 1643455"/>
                <a:gd name="connsiteX17" fmla="*/ 0 w 595708"/>
                <a:gd name="connsiteY17" fmla="*/ 1601542 h 1643455"/>
                <a:gd name="connsiteX18" fmla="*/ 0 w 595708"/>
                <a:gd name="connsiteY18" fmla="*/ 324131 h 164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95708" h="1643455">
                  <a:moveTo>
                    <a:pt x="0" y="324131"/>
                  </a:moveTo>
                  <a:cubicBezTo>
                    <a:pt x="0" y="310222"/>
                    <a:pt x="18393" y="298946"/>
                    <a:pt x="41083" y="298946"/>
                  </a:cubicBezTo>
                  <a:cubicBezTo>
                    <a:pt x="63773" y="298946"/>
                    <a:pt x="82166" y="310222"/>
                    <a:pt x="82166" y="324131"/>
                  </a:cubicBezTo>
                  <a:lnTo>
                    <a:pt x="82166" y="324131"/>
                  </a:lnTo>
                  <a:lnTo>
                    <a:pt x="82166" y="1535533"/>
                  </a:lnTo>
                  <a:lnTo>
                    <a:pt x="256442" y="1434915"/>
                  </a:lnTo>
                  <a:lnTo>
                    <a:pt x="256442" y="175228"/>
                  </a:lnTo>
                  <a:cubicBezTo>
                    <a:pt x="256442" y="161319"/>
                    <a:pt x="274835" y="150043"/>
                    <a:pt x="297525" y="150043"/>
                  </a:cubicBezTo>
                  <a:cubicBezTo>
                    <a:pt x="320215" y="150043"/>
                    <a:pt x="338608" y="161319"/>
                    <a:pt x="338608" y="175228"/>
                  </a:cubicBezTo>
                  <a:lnTo>
                    <a:pt x="338608" y="1387476"/>
                  </a:lnTo>
                  <a:lnTo>
                    <a:pt x="513542" y="1286479"/>
                  </a:lnTo>
                  <a:lnTo>
                    <a:pt x="513542" y="25184"/>
                  </a:lnTo>
                  <a:cubicBezTo>
                    <a:pt x="513542" y="11276"/>
                    <a:pt x="531935" y="0"/>
                    <a:pt x="554625" y="0"/>
                  </a:cubicBezTo>
                  <a:cubicBezTo>
                    <a:pt x="577315" y="0"/>
                    <a:pt x="595708" y="11276"/>
                    <a:pt x="595708" y="25184"/>
                  </a:cubicBezTo>
                  <a:lnTo>
                    <a:pt x="595708" y="1302596"/>
                  </a:lnTo>
                  <a:cubicBezTo>
                    <a:pt x="595513" y="1320088"/>
                    <a:pt x="581354" y="1343248"/>
                    <a:pt x="566063" y="1351033"/>
                  </a:cubicBezTo>
                  <a:lnTo>
                    <a:pt x="78263" y="1634209"/>
                  </a:lnTo>
                  <a:cubicBezTo>
                    <a:pt x="20890" y="1664310"/>
                    <a:pt x="972" y="1612196"/>
                    <a:pt x="0" y="1601542"/>
                  </a:cubicBezTo>
                  <a:lnTo>
                    <a:pt x="0" y="324131"/>
                  </a:lnTo>
                  <a:close/>
                </a:path>
              </a:pathLst>
            </a:cu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grpSp>
      <p:sp>
        <p:nvSpPr>
          <p:cNvPr id="1380" name="Cylinder 1379">
            <a:extLst>
              <a:ext uri="{FF2B5EF4-FFF2-40B4-BE49-F238E27FC236}">
                <a16:creationId xmlns:a16="http://schemas.microsoft.com/office/drawing/2014/main" id="{675C3362-0017-49EC-B536-96302B05CD25}"/>
              </a:ext>
            </a:extLst>
          </p:cNvPr>
          <p:cNvSpPr/>
          <p:nvPr/>
        </p:nvSpPr>
        <p:spPr bwMode="gray">
          <a:xfrm flipH="1">
            <a:off x="6997039" y="2575508"/>
            <a:ext cx="79755" cy="157589"/>
          </a:xfrm>
          <a:prstGeom prst="can">
            <a:avLst>
              <a:gd name="adj" fmla="val 61303"/>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25" name="Cylinder 1524">
            <a:extLst>
              <a:ext uri="{FF2B5EF4-FFF2-40B4-BE49-F238E27FC236}">
                <a16:creationId xmlns:a16="http://schemas.microsoft.com/office/drawing/2014/main" id="{9B5BFD92-652F-4506-BEA4-7EAF8085437F}"/>
              </a:ext>
            </a:extLst>
          </p:cNvPr>
          <p:cNvSpPr/>
          <p:nvPr/>
        </p:nvSpPr>
        <p:spPr bwMode="gray">
          <a:xfrm flipH="1">
            <a:off x="7176223" y="2472548"/>
            <a:ext cx="79755" cy="157589"/>
          </a:xfrm>
          <a:prstGeom prst="can">
            <a:avLst>
              <a:gd name="adj" fmla="val 61303"/>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29" name="Cylinder 1528">
            <a:extLst>
              <a:ext uri="{FF2B5EF4-FFF2-40B4-BE49-F238E27FC236}">
                <a16:creationId xmlns:a16="http://schemas.microsoft.com/office/drawing/2014/main" id="{FCE441B3-3E2A-4132-A458-3B92C4B9C66C}"/>
              </a:ext>
            </a:extLst>
          </p:cNvPr>
          <p:cNvSpPr/>
          <p:nvPr/>
        </p:nvSpPr>
        <p:spPr bwMode="gray">
          <a:xfrm flipH="1">
            <a:off x="7355408" y="2369588"/>
            <a:ext cx="79755" cy="157589"/>
          </a:xfrm>
          <a:prstGeom prst="can">
            <a:avLst>
              <a:gd name="adj" fmla="val 61303"/>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33" name="Cylinder 1532">
            <a:extLst>
              <a:ext uri="{FF2B5EF4-FFF2-40B4-BE49-F238E27FC236}">
                <a16:creationId xmlns:a16="http://schemas.microsoft.com/office/drawing/2014/main" id="{44054654-36F3-469E-BA90-BAC4EA5B284B}"/>
              </a:ext>
            </a:extLst>
          </p:cNvPr>
          <p:cNvSpPr/>
          <p:nvPr/>
        </p:nvSpPr>
        <p:spPr bwMode="gray">
          <a:xfrm flipH="1">
            <a:off x="7534591" y="2266629"/>
            <a:ext cx="79755" cy="157589"/>
          </a:xfrm>
          <a:prstGeom prst="can">
            <a:avLst>
              <a:gd name="adj" fmla="val 61303"/>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37" name="Cylinder 1536">
            <a:extLst>
              <a:ext uri="{FF2B5EF4-FFF2-40B4-BE49-F238E27FC236}">
                <a16:creationId xmlns:a16="http://schemas.microsoft.com/office/drawing/2014/main" id="{2309492F-14EE-4B30-ADEF-BAFC18558A22}"/>
              </a:ext>
            </a:extLst>
          </p:cNvPr>
          <p:cNvSpPr/>
          <p:nvPr/>
        </p:nvSpPr>
        <p:spPr bwMode="gray">
          <a:xfrm flipH="1">
            <a:off x="7183050" y="2684725"/>
            <a:ext cx="79755" cy="157589"/>
          </a:xfrm>
          <a:prstGeom prst="can">
            <a:avLst>
              <a:gd name="adj" fmla="val 61303"/>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39" name="Cylinder 1538">
            <a:extLst>
              <a:ext uri="{FF2B5EF4-FFF2-40B4-BE49-F238E27FC236}">
                <a16:creationId xmlns:a16="http://schemas.microsoft.com/office/drawing/2014/main" id="{6B1CC75D-967D-411D-877F-10678760CDE4}"/>
              </a:ext>
            </a:extLst>
          </p:cNvPr>
          <p:cNvSpPr/>
          <p:nvPr/>
        </p:nvSpPr>
        <p:spPr bwMode="gray">
          <a:xfrm flipH="1">
            <a:off x="7362235" y="2581765"/>
            <a:ext cx="79755" cy="157589"/>
          </a:xfrm>
          <a:prstGeom prst="can">
            <a:avLst>
              <a:gd name="adj" fmla="val 61303"/>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41" name="Cylinder 1540">
            <a:extLst>
              <a:ext uri="{FF2B5EF4-FFF2-40B4-BE49-F238E27FC236}">
                <a16:creationId xmlns:a16="http://schemas.microsoft.com/office/drawing/2014/main" id="{10A43573-6EA5-4534-AE8A-5825606CBCC9}"/>
              </a:ext>
            </a:extLst>
          </p:cNvPr>
          <p:cNvSpPr/>
          <p:nvPr/>
        </p:nvSpPr>
        <p:spPr bwMode="gray">
          <a:xfrm flipH="1">
            <a:off x="7541418" y="2478805"/>
            <a:ext cx="79755" cy="157589"/>
          </a:xfrm>
          <a:prstGeom prst="can">
            <a:avLst>
              <a:gd name="adj" fmla="val 61303"/>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43" name="Cylinder 1542">
            <a:extLst>
              <a:ext uri="{FF2B5EF4-FFF2-40B4-BE49-F238E27FC236}">
                <a16:creationId xmlns:a16="http://schemas.microsoft.com/office/drawing/2014/main" id="{8F5EAD42-686F-476F-BBD0-5213FA424503}"/>
              </a:ext>
            </a:extLst>
          </p:cNvPr>
          <p:cNvSpPr/>
          <p:nvPr/>
        </p:nvSpPr>
        <p:spPr bwMode="gray">
          <a:xfrm flipH="1">
            <a:off x="7720603" y="2375846"/>
            <a:ext cx="79755" cy="157589"/>
          </a:xfrm>
          <a:prstGeom prst="can">
            <a:avLst>
              <a:gd name="adj" fmla="val 61303"/>
            </a:avLst>
          </a:pr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558" name="Freeform: Shape 1557">
            <a:extLst>
              <a:ext uri="{FF2B5EF4-FFF2-40B4-BE49-F238E27FC236}">
                <a16:creationId xmlns:a16="http://schemas.microsoft.com/office/drawing/2014/main" id="{3531DBDF-E110-4F92-945A-8BEDE6C4F18D}"/>
              </a:ext>
            </a:extLst>
          </p:cNvPr>
          <p:cNvSpPr/>
          <p:nvPr/>
        </p:nvSpPr>
        <p:spPr bwMode="gray">
          <a:xfrm rot="3600000" flipH="1" flipV="1">
            <a:off x="6878251" y="2769009"/>
            <a:ext cx="67840" cy="290653"/>
          </a:xfrm>
          <a:custGeom>
            <a:avLst/>
            <a:gdLst>
              <a:gd name="connsiteX0" fmla="*/ 55134 w 55135"/>
              <a:gd name="connsiteY0" fmla="*/ 358555 h 375932"/>
              <a:gd name="connsiteX1" fmla="*/ 27567 w 55135"/>
              <a:gd name="connsiteY1" fmla="*/ 375932 h 375932"/>
              <a:gd name="connsiteX2" fmla="*/ 0 w 55135"/>
              <a:gd name="connsiteY2" fmla="*/ 358555 h 375932"/>
              <a:gd name="connsiteX3" fmla="*/ 1 w 55135"/>
              <a:gd name="connsiteY3" fmla="*/ 17378 h 375932"/>
              <a:gd name="connsiteX4" fmla="*/ 0 w 55135"/>
              <a:gd name="connsiteY4" fmla="*/ 17377 h 375932"/>
              <a:gd name="connsiteX5" fmla="*/ 27567 w 55135"/>
              <a:gd name="connsiteY5" fmla="*/ 0 h 375932"/>
              <a:gd name="connsiteX6" fmla="*/ 27567 w 55135"/>
              <a:gd name="connsiteY6" fmla="*/ 0 h 375932"/>
              <a:gd name="connsiteX7" fmla="*/ 27568 w 55135"/>
              <a:gd name="connsiteY7" fmla="*/ 0 h 375932"/>
              <a:gd name="connsiteX8" fmla="*/ 55135 w 55135"/>
              <a:gd name="connsiteY8" fmla="*/ 17377 h 375932"/>
              <a:gd name="connsiteX9" fmla="*/ 55134 w 55135"/>
              <a:gd name="connsiteY9" fmla="*/ 358555 h 375932"/>
              <a:gd name="connsiteX0" fmla="*/ 55134 w 57009"/>
              <a:gd name="connsiteY0" fmla="*/ 358555 h 375932"/>
              <a:gd name="connsiteX1" fmla="*/ 27567 w 57009"/>
              <a:gd name="connsiteY1" fmla="*/ 375932 h 375932"/>
              <a:gd name="connsiteX2" fmla="*/ 0 w 57009"/>
              <a:gd name="connsiteY2" fmla="*/ 358555 h 375932"/>
              <a:gd name="connsiteX3" fmla="*/ 1 w 57009"/>
              <a:gd name="connsiteY3" fmla="*/ 17378 h 375932"/>
              <a:gd name="connsiteX4" fmla="*/ 0 w 57009"/>
              <a:gd name="connsiteY4" fmla="*/ 17377 h 375932"/>
              <a:gd name="connsiteX5" fmla="*/ 27567 w 57009"/>
              <a:gd name="connsiteY5" fmla="*/ 0 h 375932"/>
              <a:gd name="connsiteX6" fmla="*/ 27567 w 57009"/>
              <a:gd name="connsiteY6" fmla="*/ 0 h 375932"/>
              <a:gd name="connsiteX7" fmla="*/ 27568 w 57009"/>
              <a:gd name="connsiteY7" fmla="*/ 0 h 375932"/>
              <a:gd name="connsiteX8" fmla="*/ 55135 w 57009"/>
              <a:gd name="connsiteY8" fmla="*/ 17377 h 375932"/>
              <a:gd name="connsiteX9" fmla="*/ 54607 w 57009"/>
              <a:gd name="connsiteY9" fmla="*/ 85508 h 375932"/>
              <a:gd name="connsiteX10" fmla="*/ 55134 w 57009"/>
              <a:gd name="connsiteY10" fmla="*/ 358555 h 375932"/>
              <a:gd name="connsiteX0" fmla="*/ 56729 w 58604"/>
              <a:gd name="connsiteY0" fmla="*/ 358555 h 387281"/>
              <a:gd name="connsiteX1" fmla="*/ 29162 w 58604"/>
              <a:gd name="connsiteY1" fmla="*/ 375932 h 387281"/>
              <a:gd name="connsiteX2" fmla="*/ 1595 w 58604"/>
              <a:gd name="connsiteY2" fmla="*/ 358555 h 387281"/>
              <a:gd name="connsiteX3" fmla="*/ 3137 w 58604"/>
              <a:gd name="connsiteY3" fmla="*/ 63121 h 387281"/>
              <a:gd name="connsiteX4" fmla="*/ 1596 w 58604"/>
              <a:gd name="connsiteY4" fmla="*/ 17378 h 387281"/>
              <a:gd name="connsiteX5" fmla="*/ 1595 w 58604"/>
              <a:gd name="connsiteY5" fmla="*/ 17377 h 387281"/>
              <a:gd name="connsiteX6" fmla="*/ 29162 w 58604"/>
              <a:gd name="connsiteY6" fmla="*/ 0 h 387281"/>
              <a:gd name="connsiteX7" fmla="*/ 29162 w 58604"/>
              <a:gd name="connsiteY7" fmla="*/ 0 h 387281"/>
              <a:gd name="connsiteX8" fmla="*/ 29163 w 58604"/>
              <a:gd name="connsiteY8" fmla="*/ 0 h 387281"/>
              <a:gd name="connsiteX9" fmla="*/ 56730 w 58604"/>
              <a:gd name="connsiteY9" fmla="*/ 17377 h 387281"/>
              <a:gd name="connsiteX10" fmla="*/ 56202 w 58604"/>
              <a:gd name="connsiteY10" fmla="*/ 85508 h 387281"/>
              <a:gd name="connsiteX11" fmla="*/ 56729 w 58604"/>
              <a:gd name="connsiteY11" fmla="*/ 358555 h 387281"/>
              <a:gd name="connsiteX0" fmla="*/ 56729 w 58604"/>
              <a:gd name="connsiteY0" fmla="*/ 358555 h 375932"/>
              <a:gd name="connsiteX1" fmla="*/ 29162 w 58604"/>
              <a:gd name="connsiteY1" fmla="*/ 375932 h 375932"/>
              <a:gd name="connsiteX2" fmla="*/ 1595 w 58604"/>
              <a:gd name="connsiteY2" fmla="*/ 358555 h 375932"/>
              <a:gd name="connsiteX3" fmla="*/ 3137 w 58604"/>
              <a:gd name="connsiteY3" fmla="*/ 63121 h 375932"/>
              <a:gd name="connsiteX4" fmla="*/ 1596 w 58604"/>
              <a:gd name="connsiteY4" fmla="*/ 17378 h 375932"/>
              <a:gd name="connsiteX5" fmla="*/ 1595 w 58604"/>
              <a:gd name="connsiteY5" fmla="*/ 17377 h 375932"/>
              <a:gd name="connsiteX6" fmla="*/ 29162 w 58604"/>
              <a:gd name="connsiteY6" fmla="*/ 0 h 375932"/>
              <a:gd name="connsiteX7" fmla="*/ 29162 w 58604"/>
              <a:gd name="connsiteY7" fmla="*/ 0 h 375932"/>
              <a:gd name="connsiteX8" fmla="*/ 29163 w 58604"/>
              <a:gd name="connsiteY8" fmla="*/ 0 h 375932"/>
              <a:gd name="connsiteX9" fmla="*/ 56730 w 58604"/>
              <a:gd name="connsiteY9" fmla="*/ 17377 h 375932"/>
              <a:gd name="connsiteX10" fmla="*/ 56202 w 58604"/>
              <a:gd name="connsiteY10" fmla="*/ 85508 h 375932"/>
              <a:gd name="connsiteX11" fmla="*/ 56729 w 58604"/>
              <a:gd name="connsiteY11" fmla="*/ 358555 h 375932"/>
              <a:gd name="connsiteX0" fmla="*/ 56729 w 58604"/>
              <a:gd name="connsiteY0" fmla="*/ 358555 h 375932"/>
              <a:gd name="connsiteX1" fmla="*/ 29162 w 58604"/>
              <a:gd name="connsiteY1" fmla="*/ 375932 h 375932"/>
              <a:gd name="connsiteX2" fmla="*/ 1595 w 58604"/>
              <a:gd name="connsiteY2" fmla="*/ 358555 h 375932"/>
              <a:gd name="connsiteX3" fmla="*/ 3137 w 58604"/>
              <a:gd name="connsiteY3" fmla="*/ 63121 h 375932"/>
              <a:gd name="connsiteX4" fmla="*/ 1596 w 58604"/>
              <a:gd name="connsiteY4" fmla="*/ 17378 h 375932"/>
              <a:gd name="connsiteX5" fmla="*/ 29162 w 58604"/>
              <a:gd name="connsiteY5" fmla="*/ 0 h 375932"/>
              <a:gd name="connsiteX6" fmla="*/ 29162 w 58604"/>
              <a:gd name="connsiteY6" fmla="*/ 0 h 375932"/>
              <a:gd name="connsiteX7" fmla="*/ 29163 w 58604"/>
              <a:gd name="connsiteY7" fmla="*/ 0 h 375932"/>
              <a:gd name="connsiteX8" fmla="*/ 56730 w 58604"/>
              <a:gd name="connsiteY8" fmla="*/ 17377 h 375932"/>
              <a:gd name="connsiteX9" fmla="*/ 56202 w 58604"/>
              <a:gd name="connsiteY9" fmla="*/ 85508 h 375932"/>
              <a:gd name="connsiteX10" fmla="*/ 56729 w 58604"/>
              <a:gd name="connsiteY10" fmla="*/ 358555 h 375932"/>
              <a:gd name="connsiteX0" fmla="*/ 56729 w 58604"/>
              <a:gd name="connsiteY0" fmla="*/ 358555 h 375932"/>
              <a:gd name="connsiteX1" fmla="*/ 29162 w 58604"/>
              <a:gd name="connsiteY1" fmla="*/ 375932 h 375932"/>
              <a:gd name="connsiteX2" fmla="*/ 1595 w 58604"/>
              <a:gd name="connsiteY2" fmla="*/ 358555 h 375932"/>
              <a:gd name="connsiteX3" fmla="*/ 3137 w 58604"/>
              <a:gd name="connsiteY3" fmla="*/ 63121 h 375932"/>
              <a:gd name="connsiteX4" fmla="*/ 1596 w 58604"/>
              <a:gd name="connsiteY4" fmla="*/ 17378 h 375932"/>
              <a:gd name="connsiteX5" fmla="*/ 29162 w 58604"/>
              <a:gd name="connsiteY5" fmla="*/ 0 h 375932"/>
              <a:gd name="connsiteX6" fmla="*/ 29162 w 58604"/>
              <a:gd name="connsiteY6" fmla="*/ 0 h 375932"/>
              <a:gd name="connsiteX7" fmla="*/ 56730 w 58604"/>
              <a:gd name="connsiteY7" fmla="*/ 17377 h 375932"/>
              <a:gd name="connsiteX8" fmla="*/ 56202 w 58604"/>
              <a:gd name="connsiteY8" fmla="*/ 85508 h 375932"/>
              <a:gd name="connsiteX9" fmla="*/ 56729 w 58604"/>
              <a:gd name="connsiteY9" fmla="*/ 358555 h 375932"/>
              <a:gd name="connsiteX0" fmla="*/ 56729 w 58604"/>
              <a:gd name="connsiteY0" fmla="*/ 358555 h 375932"/>
              <a:gd name="connsiteX1" fmla="*/ 29162 w 58604"/>
              <a:gd name="connsiteY1" fmla="*/ 375932 h 375932"/>
              <a:gd name="connsiteX2" fmla="*/ 1595 w 58604"/>
              <a:gd name="connsiteY2" fmla="*/ 358555 h 375932"/>
              <a:gd name="connsiteX3" fmla="*/ 3137 w 58604"/>
              <a:gd name="connsiteY3" fmla="*/ 63121 h 375932"/>
              <a:gd name="connsiteX4" fmla="*/ 1596 w 58604"/>
              <a:gd name="connsiteY4" fmla="*/ 17378 h 375932"/>
              <a:gd name="connsiteX5" fmla="*/ 29162 w 58604"/>
              <a:gd name="connsiteY5" fmla="*/ 0 h 375932"/>
              <a:gd name="connsiteX6" fmla="*/ 29162 w 58604"/>
              <a:gd name="connsiteY6" fmla="*/ 0 h 375932"/>
              <a:gd name="connsiteX7" fmla="*/ 56202 w 58604"/>
              <a:gd name="connsiteY7" fmla="*/ 85508 h 375932"/>
              <a:gd name="connsiteX8" fmla="*/ 56729 w 58604"/>
              <a:gd name="connsiteY8" fmla="*/ 358555 h 375932"/>
              <a:gd name="connsiteX0" fmla="*/ 56729 w 58604"/>
              <a:gd name="connsiteY0" fmla="*/ 358555 h 375932"/>
              <a:gd name="connsiteX1" fmla="*/ 29162 w 58604"/>
              <a:gd name="connsiteY1" fmla="*/ 375932 h 375932"/>
              <a:gd name="connsiteX2" fmla="*/ 1595 w 58604"/>
              <a:gd name="connsiteY2" fmla="*/ 358555 h 375932"/>
              <a:gd name="connsiteX3" fmla="*/ 3137 w 58604"/>
              <a:gd name="connsiteY3" fmla="*/ 63121 h 375932"/>
              <a:gd name="connsiteX4" fmla="*/ 1596 w 58604"/>
              <a:gd name="connsiteY4" fmla="*/ 17378 h 375932"/>
              <a:gd name="connsiteX5" fmla="*/ 29162 w 58604"/>
              <a:gd name="connsiteY5" fmla="*/ 0 h 375932"/>
              <a:gd name="connsiteX6" fmla="*/ 56202 w 58604"/>
              <a:gd name="connsiteY6" fmla="*/ 85508 h 375932"/>
              <a:gd name="connsiteX7" fmla="*/ 56729 w 58604"/>
              <a:gd name="connsiteY7" fmla="*/ 358555 h 375932"/>
              <a:gd name="connsiteX0" fmla="*/ 57795 w 59670"/>
              <a:gd name="connsiteY0" fmla="*/ 359371 h 376748"/>
              <a:gd name="connsiteX1" fmla="*/ 30228 w 59670"/>
              <a:gd name="connsiteY1" fmla="*/ 376748 h 376748"/>
              <a:gd name="connsiteX2" fmla="*/ 2661 w 59670"/>
              <a:gd name="connsiteY2" fmla="*/ 359371 h 376748"/>
              <a:gd name="connsiteX3" fmla="*/ 4203 w 59670"/>
              <a:gd name="connsiteY3" fmla="*/ 63937 h 376748"/>
              <a:gd name="connsiteX4" fmla="*/ 30228 w 59670"/>
              <a:gd name="connsiteY4" fmla="*/ 816 h 376748"/>
              <a:gd name="connsiteX5" fmla="*/ 57268 w 59670"/>
              <a:gd name="connsiteY5" fmla="*/ 86324 h 376748"/>
              <a:gd name="connsiteX6" fmla="*/ 57795 w 59670"/>
              <a:gd name="connsiteY6" fmla="*/ 359371 h 376748"/>
              <a:gd name="connsiteX0" fmla="*/ 59421 w 61296"/>
              <a:gd name="connsiteY0" fmla="*/ 321398 h 338775"/>
              <a:gd name="connsiteX1" fmla="*/ 31854 w 61296"/>
              <a:gd name="connsiteY1" fmla="*/ 338775 h 338775"/>
              <a:gd name="connsiteX2" fmla="*/ 4287 w 61296"/>
              <a:gd name="connsiteY2" fmla="*/ 321398 h 338775"/>
              <a:gd name="connsiteX3" fmla="*/ 5829 w 61296"/>
              <a:gd name="connsiteY3" fmla="*/ 25964 h 338775"/>
              <a:gd name="connsiteX4" fmla="*/ 58894 w 61296"/>
              <a:gd name="connsiteY4" fmla="*/ 48351 h 338775"/>
              <a:gd name="connsiteX5" fmla="*/ 59421 w 61296"/>
              <a:gd name="connsiteY5" fmla="*/ 321398 h 338775"/>
              <a:gd name="connsiteX0" fmla="*/ 59421 w 61296"/>
              <a:gd name="connsiteY0" fmla="*/ 321398 h 338775"/>
              <a:gd name="connsiteX1" fmla="*/ 31854 w 61296"/>
              <a:gd name="connsiteY1" fmla="*/ 338775 h 338775"/>
              <a:gd name="connsiteX2" fmla="*/ 4287 w 61296"/>
              <a:gd name="connsiteY2" fmla="*/ 321398 h 338775"/>
              <a:gd name="connsiteX3" fmla="*/ 5829 w 61296"/>
              <a:gd name="connsiteY3" fmla="*/ 25964 h 338775"/>
              <a:gd name="connsiteX4" fmla="*/ 58894 w 61296"/>
              <a:gd name="connsiteY4" fmla="*/ 48351 h 338775"/>
              <a:gd name="connsiteX5" fmla="*/ 59421 w 61296"/>
              <a:gd name="connsiteY5" fmla="*/ 321398 h 338775"/>
              <a:gd name="connsiteX0" fmla="*/ 57605 w 59480"/>
              <a:gd name="connsiteY0" fmla="*/ 321398 h 338775"/>
              <a:gd name="connsiteX1" fmla="*/ 30038 w 59480"/>
              <a:gd name="connsiteY1" fmla="*/ 338775 h 338775"/>
              <a:gd name="connsiteX2" fmla="*/ 2471 w 59480"/>
              <a:gd name="connsiteY2" fmla="*/ 321398 h 338775"/>
              <a:gd name="connsiteX3" fmla="*/ 4013 w 59480"/>
              <a:gd name="connsiteY3" fmla="*/ 25964 h 338775"/>
              <a:gd name="connsiteX4" fmla="*/ 57078 w 59480"/>
              <a:gd name="connsiteY4" fmla="*/ 48351 h 338775"/>
              <a:gd name="connsiteX5" fmla="*/ 57605 w 59480"/>
              <a:gd name="connsiteY5" fmla="*/ 321398 h 338775"/>
              <a:gd name="connsiteX0" fmla="*/ 57605 w 59480"/>
              <a:gd name="connsiteY0" fmla="*/ 299348 h 316725"/>
              <a:gd name="connsiteX1" fmla="*/ 30038 w 59480"/>
              <a:gd name="connsiteY1" fmla="*/ 316725 h 316725"/>
              <a:gd name="connsiteX2" fmla="*/ 2471 w 59480"/>
              <a:gd name="connsiteY2" fmla="*/ 299348 h 316725"/>
              <a:gd name="connsiteX3" fmla="*/ 4013 w 59480"/>
              <a:gd name="connsiteY3" fmla="*/ 3914 h 316725"/>
              <a:gd name="connsiteX4" fmla="*/ 57078 w 59480"/>
              <a:gd name="connsiteY4" fmla="*/ 26301 h 316725"/>
              <a:gd name="connsiteX5" fmla="*/ 57605 w 59480"/>
              <a:gd name="connsiteY5" fmla="*/ 299348 h 316725"/>
              <a:gd name="connsiteX0" fmla="*/ 57605 w 59480"/>
              <a:gd name="connsiteY0" fmla="*/ 295434 h 312811"/>
              <a:gd name="connsiteX1" fmla="*/ 30038 w 59480"/>
              <a:gd name="connsiteY1" fmla="*/ 312811 h 312811"/>
              <a:gd name="connsiteX2" fmla="*/ 2471 w 59480"/>
              <a:gd name="connsiteY2" fmla="*/ 295434 h 312811"/>
              <a:gd name="connsiteX3" fmla="*/ 4013 w 59480"/>
              <a:gd name="connsiteY3" fmla="*/ 0 h 312811"/>
              <a:gd name="connsiteX4" fmla="*/ 57078 w 59480"/>
              <a:gd name="connsiteY4" fmla="*/ 22387 h 312811"/>
              <a:gd name="connsiteX5" fmla="*/ 57605 w 59480"/>
              <a:gd name="connsiteY5" fmla="*/ 295434 h 312811"/>
              <a:gd name="connsiteX0" fmla="*/ 57605 w 58910"/>
              <a:gd name="connsiteY0" fmla="*/ 295434 h 312811"/>
              <a:gd name="connsiteX1" fmla="*/ 30038 w 58910"/>
              <a:gd name="connsiteY1" fmla="*/ 312811 h 312811"/>
              <a:gd name="connsiteX2" fmla="*/ 2471 w 58910"/>
              <a:gd name="connsiteY2" fmla="*/ 295434 h 312811"/>
              <a:gd name="connsiteX3" fmla="*/ 4013 w 58910"/>
              <a:gd name="connsiteY3" fmla="*/ 0 h 312811"/>
              <a:gd name="connsiteX4" fmla="*/ 53506 w 58910"/>
              <a:gd name="connsiteY4" fmla="*/ 28573 h 312811"/>
              <a:gd name="connsiteX5" fmla="*/ 57605 w 58910"/>
              <a:gd name="connsiteY5" fmla="*/ 295434 h 312811"/>
              <a:gd name="connsiteX0" fmla="*/ 57605 w 61036"/>
              <a:gd name="connsiteY0" fmla="*/ 295434 h 312811"/>
              <a:gd name="connsiteX1" fmla="*/ 30038 w 61036"/>
              <a:gd name="connsiteY1" fmla="*/ 312811 h 312811"/>
              <a:gd name="connsiteX2" fmla="*/ 2471 w 61036"/>
              <a:gd name="connsiteY2" fmla="*/ 295434 h 312811"/>
              <a:gd name="connsiteX3" fmla="*/ 4013 w 61036"/>
              <a:gd name="connsiteY3" fmla="*/ 0 h 312811"/>
              <a:gd name="connsiteX4" fmla="*/ 60883 w 61036"/>
              <a:gd name="connsiteY4" fmla="*/ 30084 h 312811"/>
              <a:gd name="connsiteX5" fmla="*/ 57605 w 61036"/>
              <a:gd name="connsiteY5" fmla="*/ 295434 h 312811"/>
              <a:gd name="connsiteX0" fmla="*/ 57605 w 60883"/>
              <a:gd name="connsiteY0" fmla="*/ 295434 h 312811"/>
              <a:gd name="connsiteX1" fmla="*/ 30038 w 60883"/>
              <a:gd name="connsiteY1" fmla="*/ 312811 h 312811"/>
              <a:gd name="connsiteX2" fmla="*/ 2471 w 60883"/>
              <a:gd name="connsiteY2" fmla="*/ 295434 h 312811"/>
              <a:gd name="connsiteX3" fmla="*/ 4013 w 60883"/>
              <a:gd name="connsiteY3" fmla="*/ 0 h 312811"/>
              <a:gd name="connsiteX4" fmla="*/ 60883 w 60883"/>
              <a:gd name="connsiteY4" fmla="*/ 30084 h 312811"/>
              <a:gd name="connsiteX5" fmla="*/ 57605 w 60883"/>
              <a:gd name="connsiteY5" fmla="*/ 295434 h 312811"/>
              <a:gd name="connsiteX0" fmla="*/ 57605 w 61054"/>
              <a:gd name="connsiteY0" fmla="*/ 307263 h 324640"/>
              <a:gd name="connsiteX1" fmla="*/ 30038 w 61054"/>
              <a:gd name="connsiteY1" fmla="*/ 324640 h 324640"/>
              <a:gd name="connsiteX2" fmla="*/ 2471 w 61054"/>
              <a:gd name="connsiteY2" fmla="*/ 307263 h 324640"/>
              <a:gd name="connsiteX3" fmla="*/ 4013 w 61054"/>
              <a:gd name="connsiteY3" fmla="*/ 11829 h 324640"/>
              <a:gd name="connsiteX4" fmla="*/ 61054 w 61054"/>
              <a:gd name="connsiteY4" fmla="*/ 3516 h 324640"/>
              <a:gd name="connsiteX5" fmla="*/ 57605 w 61054"/>
              <a:gd name="connsiteY5" fmla="*/ 307263 h 324640"/>
              <a:gd name="connsiteX0" fmla="*/ 57605 w 65496"/>
              <a:gd name="connsiteY0" fmla="*/ 309958 h 327335"/>
              <a:gd name="connsiteX1" fmla="*/ 30038 w 65496"/>
              <a:gd name="connsiteY1" fmla="*/ 327335 h 327335"/>
              <a:gd name="connsiteX2" fmla="*/ 2471 w 65496"/>
              <a:gd name="connsiteY2" fmla="*/ 309958 h 327335"/>
              <a:gd name="connsiteX3" fmla="*/ 4013 w 65496"/>
              <a:gd name="connsiteY3" fmla="*/ 14524 h 327335"/>
              <a:gd name="connsiteX4" fmla="*/ 65496 w 65496"/>
              <a:gd name="connsiteY4" fmla="*/ 3278 h 327335"/>
              <a:gd name="connsiteX5" fmla="*/ 57605 w 65496"/>
              <a:gd name="connsiteY5" fmla="*/ 309958 h 327335"/>
              <a:gd name="connsiteX0" fmla="*/ 57605 w 65496"/>
              <a:gd name="connsiteY0" fmla="*/ 307132 h 324509"/>
              <a:gd name="connsiteX1" fmla="*/ 30038 w 65496"/>
              <a:gd name="connsiteY1" fmla="*/ 324509 h 324509"/>
              <a:gd name="connsiteX2" fmla="*/ 2471 w 65496"/>
              <a:gd name="connsiteY2" fmla="*/ 307132 h 324509"/>
              <a:gd name="connsiteX3" fmla="*/ 4013 w 65496"/>
              <a:gd name="connsiteY3" fmla="*/ 11698 h 324509"/>
              <a:gd name="connsiteX4" fmla="*/ 65496 w 65496"/>
              <a:gd name="connsiteY4" fmla="*/ 452 h 324509"/>
              <a:gd name="connsiteX5" fmla="*/ 57605 w 65496"/>
              <a:gd name="connsiteY5" fmla="*/ 307132 h 324509"/>
              <a:gd name="connsiteX0" fmla="*/ 57605 w 71134"/>
              <a:gd name="connsiteY0" fmla="*/ 307132 h 324509"/>
              <a:gd name="connsiteX1" fmla="*/ 30038 w 71134"/>
              <a:gd name="connsiteY1" fmla="*/ 324509 h 324509"/>
              <a:gd name="connsiteX2" fmla="*/ 2471 w 71134"/>
              <a:gd name="connsiteY2" fmla="*/ 307132 h 324509"/>
              <a:gd name="connsiteX3" fmla="*/ 4013 w 71134"/>
              <a:gd name="connsiteY3" fmla="*/ 11698 h 324509"/>
              <a:gd name="connsiteX4" fmla="*/ 65496 w 71134"/>
              <a:gd name="connsiteY4" fmla="*/ 452 h 324509"/>
              <a:gd name="connsiteX5" fmla="*/ 67460 w 71134"/>
              <a:gd name="connsiteY5" fmla="*/ 51577 h 324509"/>
              <a:gd name="connsiteX6" fmla="*/ 57605 w 71134"/>
              <a:gd name="connsiteY6" fmla="*/ 307132 h 324509"/>
              <a:gd name="connsiteX0" fmla="*/ 58336 w 71865"/>
              <a:gd name="connsiteY0" fmla="*/ 307132 h 332816"/>
              <a:gd name="connsiteX1" fmla="*/ 30769 w 71865"/>
              <a:gd name="connsiteY1" fmla="*/ 324509 h 332816"/>
              <a:gd name="connsiteX2" fmla="*/ 3202 w 71865"/>
              <a:gd name="connsiteY2" fmla="*/ 307132 h 332816"/>
              <a:gd name="connsiteX3" fmla="*/ 4015 w 71865"/>
              <a:gd name="connsiteY3" fmla="*/ 55716 h 332816"/>
              <a:gd name="connsiteX4" fmla="*/ 4744 w 71865"/>
              <a:gd name="connsiteY4" fmla="*/ 11698 h 332816"/>
              <a:gd name="connsiteX5" fmla="*/ 66227 w 71865"/>
              <a:gd name="connsiteY5" fmla="*/ 452 h 332816"/>
              <a:gd name="connsiteX6" fmla="*/ 68191 w 71865"/>
              <a:gd name="connsiteY6" fmla="*/ 51577 h 332816"/>
              <a:gd name="connsiteX7" fmla="*/ 58336 w 71865"/>
              <a:gd name="connsiteY7" fmla="*/ 307132 h 332816"/>
              <a:gd name="connsiteX0" fmla="*/ 58336 w 71489"/>
              <a:gd name="connsiteY0" fmla="*/ 307132 h 332816"/>
              <a:gd name="connsiteX1" fmla="*/ 30769 w 71489"/>
              <a:gd name="connsiteY1" fmla="*/ 324509 h 332816"/>
              <a:gd name="connsiteX2" fmla="*/ 3202 w 71489"/>
              <a:gd name="connsiteY2" fmla="*/ 307132 h 332816"/>
              <a:gd name="connsiteX3" fmla="*/ 4015 w 71489"/>
              <a:gd name="connsiteY3" fmla="*/ 55716 h 332816"/>
              <a:gd name="connsiteX4" fmla="*/ 4744 w 71489"/>
              <a:gd name="connsiteY4" fmla="*/ 11698 h 332816"/>
              <a:gd name="connsiteX5" fmla="*/ 66227 w 71489"/>
              <a:gd name="connsiteY5" fmla="*/ 452 h 332816"/>
              <a:gd name="connsiteX6" fmla="*/ 67076 w 71489"/>
              <a:gd name="connsiteY6" fmla="*/ 53509 h 332816"/>
              <a:gd name="connsiteX7" fmla="*/ 58336 w 71489"/>
              <a:gd name="connsiteY7" fmla="*/ 307132 h 332816"/>
              <a:gd name="connsiteX0" fmla="*/ 58336 w 67076"/>
              <a:gd name="connsiteY0" fmla="*/ 295985 h 321669"/>
              <a:gd name="connsiteX1" fmla="*/ 30769 w 67076"/>
              <a:gd name="connsiteY1" fmla="*/ 313362 h 321669"/>
              <a:gd name="connsiteX2" fmla="*/ 3202 w 67076"/>
              <a:gd name="connsiteY2" fmla="*/ 295985 h 321669"/>
              <a:gd name="connsiteX3" fmla="*/ 4015 w 67076"/>
              <a:gd name="connsiteY3" fmla="*/ 44569 h 321669"/>
              <a:gd name="connsiteX4" fmla="*/ 4744 w 67076"/>
              <a:gd name="connsiteY4" fmla="*/ 551 h 321669"/>
              <a:gd name="connsiteX5" fmla="*/ 67076 w 67076"/>
              <a:gd name="connsiteY5" fmla="*/ 42362 h 321669"/>
              <a:gd name="connsiteX6" fmla="*/ 58336 w 67076"/>
              <a:gd name="connsiteY6" fmla="*/ 295985 h 321669"/>
              <a:gd name="connsiteX0" fmla="*/ 60514 w 69254"/>
              <a:gd name="connsiteY0" fmla="*/ 284103 h 309787"/>
              <a:gd name="connsiteX1" fmla="*/ 32947 w 69254"/>
              <a:gd name="connsiteY1" fmla="*/ 301480 h 309787"/>
              <a:gd name="connsiteX2" fmla="*/ 5380 w 69254"/>
              <a:gd name="connsiteY2" fmla="*/ 284103 h 309787"/>
              <a:gd name="connsiteX3" fmla="*/ 6193 w 69254"/>
              <a:gd name="connsiteY3" fmla="*/ 32687 h 309787"/>
              <a:gd name="connsiteX4" fmla="*/ 69254 w 69254"/>
              <a:gd name="connsiteY4" fmla="*/ 30480 h 309787"/>
              <a:gd name="connsiteX5" fmla="*/ 60514 w 69254"/>
              <a:gd name="connsiteY5" fmla="*/ 284103 h 309787"/>
              <a:gd name="connsiteX0" fmla="*/ 60514 w 69254"/>
              <a:gd name="connsiteY0" fmla="*/ 284103 h 309787"/>
              <a:gd name="connsiteX1" fmla="*/ 32947 w 69254"/>
              <a:gd name="connsiteY1" fmla="*/ 301480 h 309787"/>
              <a:gd name="connsiteX2" fmla="*/ 5380 w 69254"/>
              <a:gd name="connsiteY2" fmla="*/ 284103 h 309787"/>
              <a:gd name="connsiteX3" fmla="*/ 6193 w 69254"/>
              <a:gd name="connsiteY3" fmla="*/ 32687 h 309787"/>
              <a:gd name="connsiteX4" fmla="*/ 69254 w 69254"/>
              <a:gd name="connsiteY4" fmla="*/ 30480 h 309787"/>
              <a:gd name="connsiteX5" fmla="*/ 60514 w 69254"/>
              <a:gd name="connsiteY5" fmla="*/ 284103 h 309787"/>
              <a:gd name="connsiteX0" fmla="*/ 56583 w 65323"/>
              <a:gd name="connsiteY0" fmla="*/ 284103 h 309787"/>
              <a:gd name="connsiteX1" fmla="*/ 29016 w 65323"/>
              <a:gd name="connsiteY1" fmla="*/ 301480 h 309787"/>
              <a:gd name="connsiteX2" fmla="*/ 1449 w 65323"/>
              <a:gd name="connsiteY2" fmla="*/ 284103 h 309787"/>
              <a:gd name="connsiteX3" fmla="*/ 2262 w 65323"/>
              <a:gd name="connsiteY3" fmla="*/ 32687 h 309787"/>
              <a:gd name="connsiteX4" fmla="*/ 65323 w 65323"/>
              <a:gd name="connsiteY4" fmla="*/ 30480 h 309787"/>
              <a:gd name="connsiteX5" fmla="*/ 56583 w 65323"/>
              <a:gd name="connsiteY5" fmla="*/ 284103 h 309787"/>
              <a:gd name="connsiteX0" fmla="*/ 56583 w 65323"/>
              <a:gd name="connsiteY0" fmla="*/ 284103 h 309787"/>
              <a:gd name="connsiteX1" fmla="*/ 29016 w 65323"/>
              <a:gd name="connsiteY1" fmla="*/ 301480 h 309787"/>
              <a:gd name="connsiteX2" fmla="*/ 1449 w 65323"/>
              <a:gd name="connsiteY2" fmla="*/ 284103 h 309787"/>
              <a:gd name="connsiteX3" fmla="*/ 2262 w 65323"/>
              <a:gd name="connsiteY3" fmla="*/ 32687 h 309787"/>
              <a:gd name="connsiteX4" fmla="*/ 65323 w 65323"/>
              <a:gd name="connsiteY4" fmla="*/ 30480 h 309787"/>
              <a:gd name="connsiteX5" fmla="*/ 56583 w 65323"/>
              <a:gd name="connsiteY5" fmla="*/ 284103 h 309787"/>
              <a:gd name="connsiteX0" fmla="*/ 56583 w 65323"/>
              <a:gd name="connsiteY0" fmla="*/ 284103 h 309787"/>
              <a:gd name="connsiteX1" fmla="*/ 29016 w 65323"/>
              <a:gd name="connsiteY1" fmla="*/ 301480 h 309787"/>
              <a:gd name="connsiteX2" fmla="*/ 1449 w 65323"/>
              <a:gd name="connsiteY2" fmla="*/ 284103 h 309787"/>
              <a:gd name="connsiteX3" fmla="*/ 2262 w 65323"/>
              <a:gd name="connsiteY3" fmla="*/ 32687 h 309787"/>
              <a:gd name="connsiteX4" fmla="*/ 65323 w 65323"/>
              <a:gd name="connsiteY4" fmla="*/ 30480 h 309787"/>
              <a:gd name="connsiteX5" fmla="*/ 56583 w 65323"/>
              <a:gd name="connsiteY5" fmla="*/ 284103 h 309787"/>
              <a:gd name="connsiteX0" fmla="*/ 56583 w 65323"/>
              <a:gd name="connsiteY0" fmla="*/ 284103 h 301480"/>
              <a:gd name="connsiteX1" fmla="*/ 29016 w 65323"/>
              <a:gd name="connsiteY1" fmla="*/ 301480 h 301480"/>
              <a:gd name="connsiteX2" fmla="*/ 1449 w 65323"/>
              <a:gd name="connsiteY2" fmla="*/ 284103 h 301480"/>
              <a:gd name="connsiteX3" fmla="*/ 2262 w 65323"/>
              <a:gd name="connsiteY3" fmla="*/ 32687 h 301480"/>
              <a:gd name="connsiteX4" fmla="*/ 65323 w 65323"/>
              <a:gd name="connsiteY4" fmla="*/ 30480 h 301480"/>
              <a:gd name="connsiteX5" fmla="*/ 56583 w 65323"/>
              <a:gd name="connsiteY5" fmla="*/ 284103 h 301480"/>
              <a:gd name="connsiteX0" fmla="*/ 58812 w 65323"/>
              <a:gd name="connsiteY0" fmla="*/ 280241 h 301503"/>
              <a:gd name="connsiteX1" fmla="*/ 29016 w 65323"/>
              <a:gd name="connsiteY1" fmla="*/ 301480 h 301503"/>
              <a:gd name="connsiteX2" fmla="*/ 1449 w 65323"/>
              <a:gd name="connsiteY2" fmla="*/ 284103 h 301503"/>
              <a:gd name="connsiteX3" fmla="*/ 2262 w 65323"/>
              <a:gd name="connsiteY3" fmla="*/ 32687 h 301503"/>
              <a:gd name="connsiteX4" fmla="*/ 65323 w 65323"/>
              <a:gd name="connsiteY4" fmla="*/ 30480 h 301503"/>
              <a:gd name="connsiteX5" fmla="*/ 58812 w 65323"/>
              <a:gd name="connsiteY5" fmla="*/ 280241 h 301503"/>
              <a:gd name="connsiteX0" fmla="*/ 58812 w 63391"/>
              <a:gd name="connsiteY0" fmla="*/ 280823 h 302085"/>
              <a:gd name="connsiteX1" fmla="*/ 29016 w 63391"/>
              <a:gd name="connsiteY1" fmla="*/ 302062 h 302085"/>
              <a:gd name="connsiteX2" fmla="*/ 1449 w 63391"/>
              <a:gd name="connsiteY2" fmla="*/ 284685 h 302085"/>
              <a:gd name="connsiteX3" fmla="*/ 2262 w 63391"/>
              <a:gd name="connsiteY3" fmla="*/ 33269 h 302085"/>
              <a:gd name="connsiteX4" fmla="*/ 63391 w 63391"/>
              <a:gd name="connsiteY4" fmla="*/ 29947 h 302085"/>
              <a:gd name="connsiteX5" fmla="*/ 58812 w 63391"/>
              <a:gd name="connsiteY5" fmla="*/ 280823 h 302085"/>
              <a:gd name="connsiteX0" fmla="*/ 58812 w 63391"/>
              <a:gd name="connsiteY0" fmla="*/ 264716 h 285978"/>
              <a:gd name="connsiteX1" fmla="*/ 29016 w 63391"/>
              <a:gd name="connsiteY1" fmla="*/ 285955 h 285978"/>
              <a:gd name="connsiteX2" fmla="*/ 1449 w 63391"/>
              <a:gd name="connsiteY2" fmla="*/ 268578 h 285978"/>
              <a:gd name="connsiteX3" fmla="*/ 2262 w 63391"/>
              <a:gd name="connsiteY3" fmla="*/ 17162 h 285978"/>
              <a:gd name="connsiteX4" fmla="*/ 63391 w 63391"/>
              <a:gd name="connsiteY4" fmla="*/ 13840 h 285978"/>
              <a:gd name="connsiteX5" fmla="*/ 58812 w 63391"/>
              <a:gd name="connsiteY5" fmla="*/ 264716 h 285978"/>
              <a:gd name="connsiteX0" fmla="*/ 58812 w 63391"/>
              <a:gd name="connsiteY0" fmla="*/ 250876 h 272138"/>
              <a:gd name="connsiteX1" fmla="*/ 29016 w 63391"/>
              <a:gd name="connsiteY1" fmla="*/ 272115 h 272138"/>
              <a:gd name="connsiteX2" fmla="*/ 1449 w 63391"/>
              <a:gd name="connsiteY2" fmla="*/ 254738 h 272138"/>
              <a:gd name="connsiteX3" fmla="*/ 2262 w 63391"/>
              <a:gd name="connsiteY3" fmla="*/ 3322 h 272138"/>
              <a:gd name="connsiteX4" fmla="*/ 63391 w 63391"/>
              <a:gd name="connsiteY4" fmla="*/ 0 h 272138"/>
              <a:gd name="connsiteX5" fmla="*/ 58812 w 63391"/>
              <a:gd name="connsiteY5" fmla="*/ 250876 h 272138"/>
              <a:gd name="connsiteX0" fmla="*/ 58938 w 63517"/>
              <a:gd name="connsiteY0" fmla="*/ 250876 h 272138"/>
              <a:gd name="connsiteX1" fmla="*/ 29142 w 63517"/>
              <a:gd name="connsiteY1" fmla="*/ 272115 h 272138"/>
              <a:gd name="connsiteX2" fmla="*/ 1575 w 63517"/>
              <a:gd name="connsiteY2" fmla="*/ 254738 h 272138"/>
              <a:gd name="connsiteX3" fmla="*/ 1573 w 63517"/>
              <a:gd name="connsiteY3" fmla="*/ 277 h 272138"/>
              <a:gd name="connsiteX4" fmla="*/ 63517 w 63517"/>
              <a:gd name="connsiteY4" fmla="*/ 0 h 272138"/>
              <a:gd name="connsiteX5" fmla="*/ 58938 w 63517"/>
              <a:gd name="connsiteY5" fmla="*/ 250876 h 27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517" h="272138">
                <a:moveTo>
                  <a:pt x="58938" y="250876"/>
                </a:moveTo>
                <a:cubicBezTo>
                  <a:pt x="58938" y="260473"/>
                  <a:pt x="38702" y="271471"/>
                  <a:pt x="29142" y="272115"/>
                </a:cubicBezTo>
                <a:cubicBezTo>
                  <a:pt x="19582" y="272759"/>
                  <a:pt x="400" y="260242"/>
                  <a:pt x="1575" y="254738"/>
                </a:cubicBezTo>
                <a:cubicBezTo>
                  <a:pt x="-2884" y="209939"/>
                  <a:pt x="3767" y="78278"/>
                  <a:pt x="1573" y="277"/>
                </a:cubicBezTo>
                <a:cubicBezTo>
                  <a:pt x="27723" y="15874"/>
                  <a:pt x="31273" y="11645"/>
                  <a:pt x="63517" y="0"/>
                </a:cubicBezTo>
                <a:cubicBezTo>
                  <a:pt x="62202" y="51113"/>
                  <a:pt x="65175" y="205387"/>
                  <a:pt x="58938" y="250876"/>
                </a:cubicBezTo>
                <a:close/>
              </a:path>
            </a:pathLst>
          </a:custGeom>
          <a:gradFill flip="none" rotWithShape="1">
            <a:gsLst>
              <a:gs pos="46000">
                <a:schemeClr val="accent2">
                  <a:lumMod val="0"/>
                  <a:lumOff val="100000"/>
                </a:schemeClr>
              </a:gs>
              <a:gs pos="10000">
                <a:schemeClr val="accent4"/>
              </a:gs>
            </a:gsLst>
            <a:lin ang="10800000" scaled="0"/>
            <a:tileRect/>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400" dirty="0" err="1"/>
          </a:p>
        </p:txBody>
      </p:sp>
      <p:sp>
        <p:nvSpPr>
          <p:cNvPr id="1729" name="Freeform: Shape 1728">
            <a:extLst>
              <a:ext uri="{FF2B5EF4-FFF2-40B4-BE49-F238E27FC236}">
                <a16:creationId xmlns:a16="http://schemas.microsoft.com/office/drawing/2014/main" id="{236667E7-908F-48CE-83A1-632C6C1DA0FF}"/>
              </a:ext>
            </a:extLst>
          </p:cNvPr>
          <p:cNvSpPr/>
          <p:nvPr/>
        </p:nvSpPr>
        <p:spPr bwMode="gray">
          <a:xfrm>
            <a:off x="6689341" y="2221816"/>
            <a:ext cx="1585913" cy="1438275"/>
          </a:xfrm>
          <a:custGeom>
            <a:avLst/>
            <a:gdLst>
              <a:gd name="connsiteX0" fmla="*/ 123825 w 1385888"/>
              <a:gd name="connsiteY0" fmla="*/ 923925 h 1371600"/>
              <a:gd name="connsiteX1" fmla="*/ 109538 w 1385888"/>
              <a:gd name="connsiteY1" fmla="*/ 481012 h 1371600"/>
              <a:gd name="connsiteX2" fmla="*/ 0 w 1385888"/>
              <a:gd name="connsiteY2" fmla="*/ 471487 h 1371600"/>
              <a:gd name="connsiteX3" fmla="*/ 819150 w 1385888"/>
              <a:gd name="connsiteY3" fmla="*/ 0 h 1371600"/>
              <a:gd name="connsiteX4" fmla="*/ 947738 w 1385888"/>
              <a:gd name="connsiteY4" fmla="*/ 0 h 1371600"/>
              <a:gd name="connsiteX5" fmla="*/ 1228725 w 1385888"/>
              <a:gd name="connsiteY5" fmla="*/ 71437 h 1371600"/>
              <a:gd name="connsiteX6" fmla="*/ 1385888 w 1385888"/>
              <a:gd name="connsiteY6" fmla="*/ 214312 h 1371600"/>
              <a:gd name="connsiteX7" fmla="*/ 1338263 w 1385888"/>
              <a:gd name="connsiteY7" fmla="*/ 519112 h 1371600"/>
              <a:gd name="connsiteX8" fmla="*/ 1352550 w 1385888"/>
              <a:gd name="connsiteY8" fmla="*/ 804862 h 1371600"/>
              <a:gd name="connsiteX9" fmla="*/ 357188 w 1385888"/>
              <a:gd name="connsiteY9" fmla="*/ 1371600 h 1371600"/>
              <a:gd name="connsiteX10" fmla="*/ 352425 w 1385888"/>
              <a:gd name="connsiteY10" fmla="*/ 1114425 h 1371600"/>
              <a:gd name="connsiteX11" fmla="*/ 123825 w 1385888"/>
              <a:gd name="connsiteY11" fmla="*/ 923925 h 1371600"/>
              <a:gd name="connsiteX0" fmla="*/ 123825 w 1385888"/>
              <a:gd name="connsiteY0" fmla="*/ 923925 h 1371600"/>
              <a:gd name="connsiteX1" fmla="*/ 109538 w 1385888"/>
              <a:gd name="connsiteY1" fmla="*/ 481012 h 1371600"/>
              <a:gd name="connsiteX2" fmla="*/ 0 w 1385888"/>
              <a:gd name="connsiteY2" fmla="*/ 471487 h 1371600"/>
              <a:gd name="connsiteX3" fmla="*/ 819150 w 1385888"/>
              <a:gd name="connsiteY3" fmla="*/ 0 h 1371600"/>
              <a:gd name="connsiteX4" fmla="*/ 947738 w 1385888"/>
              <a:gd name="connsiteY4" fmla="*/ 0 h 1371600"/>
              <a:gd name="connsiteX5" fmla="*/ 1228725 w 1385888"/>
              <a:gd name="connsiteY5" fmla="*/ 71437 h 1371600"/>
              <a:gd name="connsiteX6" fmla="*/ 1385888 w 1385888"/>
              <a:gd name="connsiteY6" fmla="*/ 214312 h 1371600"/>
              <a:gd name="connsiteX7" fmla="*/ 1338263 w 1385888"/>
              <a:gd name="connsiteY7" fmla="*/ 507205 h 1371600"/>
              <a:gd name="connsiteX8" fmla="*/ 1352550 w 1385888"/>
              <a:gd name="connsiteY8" fmla="*/ 804862 h 1371600"/>
              <a:gd name="connsiteX9" fmla="*/ 357188 w 1385888"/>
              <a:gd name="connsiteY9" fmla="*/ 1371600 h 1371600"/>
              <a:gd name="connsiteX10" fmla="*/ 352425 w 1385888"/>
              <a:gd name="connsiteY10" fmla="*/ 1114425 h 1371600"/>
              <a:gd name="connsiteX11" fmla="*/ 123825 w 1385888"/>
              <a:gd name="connsiteY11" fmla="*/ 923925 h 1371600"/>
              <a:gd name="connsiteX0" fmla="*/ 123825 w 1352550"/>
              <a:gd name="connsiteY0" fmla="*/ 923925 h 1371600"/>
              <a:gd name="connsiteX1" fmla="*/ 109538 w 1352550"/>
              <a:gd name="connsiteY1" fmla="*/ 481012 h 1371600"/>
              <a:gd name="connsiteX2" fmla="*/ 0 w 1352550"/>
              <a:gd name="connsiteY2" fmla="*/ 471487 h 1371600"/>
              <a:gd name="connsiteX3" fmla="*/ 819150 w 1352550"/>
              <a:gd name="connsiteY3" fmla="*/ 0 h 1371600"/>
              <a:gd name="connsiteX4" fmla="*/ 947738 w 1352550"/>
              <a:gd name="connsiteY4" fmla="*/ 0 h 1371600"/>
              <a:gd name="connsiteX5" fmla="*/ 1228725 w 1352550"/>
              <a:gd name="connsiteY5" fmla="*/ 71437 h 1371600"/>
              <a:gd name="connsiteX6" fmla="*/ 1316832 w 1352550"/>
              <a:gd name="connsiteY6" fmla="*/ 214312 h 1371600"/>
              <a:gd name="connsiteX7" fmla="*/ 1338263 w 1352550"/>
              <a:gd name="connsiteY7" fmla="*/ 507205 h 1371600"/>
              <a:gd name="connsiteX8" fmla="*/ 1352550 w 1352550"/>
              <a:gd name="connsiteY8" fmla="*/ 804862 h 1371600"/>
              <a:gd name="connsiteX9" fmla="*/ 357188 w 1352550"/>
              <a:gd name="connsiteY9" fmla="*/ 1371600 h 1371600"/>
              <a:gd name="connsiteX10" fmla="*/ 352425 w 1352550"/>
              <a:gd name="connsiteY10" fmla="*/ 1114425 h 1371600"/>
              <a:gd name="connsiteX11" fmla="*/ 123825 w 1352550"/>
              <a:gd name="connsiteY11" fmla="*/ 923925 h 1371600"/>
              <a:gd name="connsiteX0" fmla="*/ 123825 w 1352550"/>
              <a:gd name="connsiteY0" fmla="*/ 977900 h 1371600"/>
              <a:gd name="connsiteX1" fmla="*/ 109538 w 1352550"/>
              <a:gd name="connsiteY1" fmla="*/ 481012 h 1371600"/>
              <a:gd name="connsiteX2" fmla="*/ 0 w 1352550"/>
              <a:gd name="connsiteY2" fmla="*/ 471487 h 1371600"/>
              <a:gd name="connsiteX3" fmla="*/ 819150 w 1352550"/>
              <a:gd name="connsiteY3" fmla="*/ 0 h 1371600"/>
              <a:gd name="connsiteX4" fmla="*/ 947738 w 1352550"/>
              <a:gd name="connsiteY4" fmla="*/ 0 h 1371600"/>
              <a:gd name="connsiteX5" fmla="*/ 1228725 w 1352550"/>
              <a:gd name="connsiteY5" fmla="*/ 71437 h 1371600"/>
              <a:gd name="connsiteX6" fmla="*/ 1316832 w 1352550"/>
              <a:gd name="connsiteY6" fmla="*/ 214312 h 1371600"/>
              <a:gd name="connsiteX7" fmla="*/ 1338263 w 1352550"/>
              <a:gd name="connsiteY7" fmla="*/ 507205 h 1371600"/>
              <a:gd name="connsiteX8" fmla="*/ 1352550 w 1352550"/>
              <a:gd name="connsiteY8" fmla="*/ 804862 h 1371600"/>
              <a:gd name="connsiteX9" fmla="*/ 357188 w 1352550"/>
              <a:gd name="connsiteY9" fmla="*/ 1371600 h 1371600"/>
              <a:gd name="connsiteX10" fmla="*/ 352425 w 1352550"/>
              <a:gd name="connsiteY10" fmla="*/ 1114425 h 1371600"/>
              <a:gd name="connsiteX11" fmla="*/ 123825 w 1352550"/>
              <a:gd name="connsiteY11" fmla="*/ 977900 h 1371600"/>
              <a:gd name="connsiteX0" fmla="*/ 123825 w 1352550"/>
              <a:gd name="connsiteY0" fmla="*/ 977900 h 1371600"/>
              <a:gd name="connsiteX1" fmla="*/ 114300 w 1352550"/>
              <a:gd name="connsiteY1" fmla="*/ 750093 h 1371600"/>
              <a:gd name="connsiteX2" fmla="*/ 109538 w 1352550"/>
              <a:gd name="connsiteY2" fmla="*/ 481012 h 1371600"/>
              <a:gd name="connsiteX3" fmla="*/ 0 w 1352550"/>
              <a:gd name="connsiteY3" fmla="*/ 471487 h 1371600"/>
              <a:gd name="connsiteX4" fmla="*/ 819150 w 1352550"/>
              <a:gd name="connsiteY4" fmla="*/ 0 h 1371600"/>
              <a:gd name="connsiteX5" fmla="*/ 947738 w 1352550"/>
              <a:gd name="connsiteY5" fmla="*/ 0 h 1371600"/>
              <a:gd name="connsiteX6" fmla="*/ 1228725 w 1352550"/>
              <a:gd name="connsiteY6" fmla="*/ 71437 h 1371600"/>
              <a:gd name="connsiteX7" fmla="*/ 1316832 w 1352550"/>
              <a:gd name="connsiteY7" fmla="*/ 214312 h 1371600"/>
              <a:gd name="connsiteX8" fmla="*/ 1338263 w 1352550"/>
              <a:gd name="connsiteY8" fmla="*/ 507205 h 1371600"/>
              <a:gd name="connsiteX9" fmla="*/ 1352550 w 1352550"/>
              <a:gd name="connsiteY9" fmla="*/ 804862 h 1371600"/>
              <a:gd name="connsiteX10" fmla="*/ 357188 w 1352550"/>
              <a:gd name="connsiteY10" fmla="*/ 1371600 h 1371600"/>
              <a:gd name="connsiteX11" fmla="*/ 352425 w 1352550"/>
              <a:gd name="connsiteY11" fmla="*/ 1114425 h 1371600"/>
              <a:gd name="connsiteX12" fmla="*/ 123825 w 1352550"/>
              <a:gd name="connsiteY12"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54768 w 1407318"/>
              <a:gd name="connsiteY3" fmla="*/ 471487 h 1371600"/>
              <a:gd name="connsiteX4" fmla="*/ 873918 w 1407318"/>
              <a:gd name="connsiteY4" fmla="*/ 0 h 1371600"/>
              <a:gd name="connsiteX5" fmla="*/ 1002506 w 1407318"/>
              <a:gd name="connsiteY5" fmla="*/ 0 h 1371600"/>
              <a:gd name="connsiteX6" fmla="*/ 1283493 w 1407318"/>
              <a:gd name="connsiteY6" fmla="*/ 71437 h 1371600"/>
              <a:gd name="connsiteX7" fmla="*/ 1371600 w 1407318"/>
              <a:gd name="connsiteY7" fmla="*/ 214312 h 1371600"/>
              <a:gd name="connsiteX8" fmla="*/ 1393031 w 1407318"/>
              <a:gd name="connsiteY8" fmla="*/ 507205 h 1371600"/>
              <a:gd name="connsiteX9" fmla="*/ 1407318 w 1407318"/>
              <a:gd name="connsiteY9" fmla="*/ 804862 h 1371600"/>
              <a:gd name="connsiteX10" fmla="*/ 411956 w 1407318"/>
              <a:gd name="connsiteY10" fmla="*/ 1371600 h 1371600"/>
              <a:gd name="connsiteX11" fmla="*/ 407193 w 1407318"/>
              <a:gd name="connsiteY11" fmla="*/ 1114425 h 1371600"/>
              <a:gd name="connsiteX12" fmla="*/ 178593 w 1407318"/>
              <a:gd name="connsiteY12"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54768 w 1407318"/>
              <a:gd name="connsiteY3" fmla="*/ 471487 h 1371600"/>
              <a:gd name="connsiteX4" fmla="*/ 873918 w 1407318"/>
              <a:gd name="connsiteY4" fmla="*/ 0 h 1371600"/>
              <a:gd name="connsiteX5" fmla="*/ 1002506 w 1407318"/>
              <a:gd name="connsiteY5" fmla="*/ 0 h 1371600"/>
              <a:gd name="connsiteX6" fmla="*/ 1283493 w 1407318"/>
              <a:gd name="connsiteY6" fmla="*/ 71437 h 1371600"/>
              <a:gd name="connsiteX7" fmla="*/ 1371600 w 1407318"/>
              <a:gd name="connsiteY7" fmla="*/ 214312 h 1371600"/>
              <a:gd name="connsiteX8" fmla="*/ 1393031 w 1407318"/>
              <a:gd name="connsiteY8" fmla="*/ 507205 h 1371600"/>
              <a:gd name="connsiteX9" fmla="*/ 1407318 w 1407318"/>
              <a:gd name="connsiteY9" fmla="*/ 804862 h 1371600"/>
              <a:gd name="connsiteX10" fmla="*/ 411956 w 1407318"/>
              <a:gd name="connsiteY10" fmla="*/ 1371600 h 1371600"/>
              <a:gd name="connsiteX11" fmla="*/ 407193 w 1407318"/>
              <a:gd name="connsiteY11" fmla="*/ 1114425 h 1371600"/>
              <a:gd name="connsiteX12" fmla="*/ 178593 w 1407318"/>
              <a:gd name="connsiteY12"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54768 w 1407318"/>
              <a:gd name="connsiteY3" fmla="*/ 471487 h 1371600"/>
              <a:gd name="connsiteX4" fmla="*/ 873918 w 1407318"/>
              <a:gd name="connsiteY4" fmla="*/ 0 h 1371600"/>
              <a:gd name="connsiteX5" fmla="*/ 1002506 w 1407318"/>
              <a:gd name="connsiteY5" fmla="*/ 0 h 1371600"/>
              <a:gd name="connsiteX6" fmla="*/ 1283493 w 1407318"/>
              <a:gd name="connsiteY6" fmla="*/ 71437 h 1371600"/>
              <a:gd name="connsiteX7" fmla="*/ 1371600 w 1407318"/>
              <a:gd name="connsiteY7" fmla="*/ 214312 h 1371600"/>
              <a:gd name="connsiteX8" fmla="*/ 1393031 w 1407318"/>
              <a:gd name="connsiteY8" fmla="*/ 507205 h 1371600"/>
              <a:gd name="connsiteX9" fmla="*/ 1407318 w 1407318"/>
              <a:gd name="connsiteY9" fmla="*/ 804862 h 1371600"/>
              <a:gd name="connsiteX10" fmla="*/ 411956 w 1407318"/>
              <a:gd name="connsiteY10" fmla="*/ 1371600 h 1371600"/>
              <a:gd name="connsiteX11" fmla="*/ 407193 w 1407318"/>
              <a:gd name="connsiteY11" fmla="*/ 1114425 h 1371600"/>
              <a:gd name="connsiteX12" fmla="*/ 178593 w 1407318"/>
              <a:gd name="connsiteY12"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54768 w 1407318"/>
              <a:gd name="connsiteY3" fmla="*/ 471487 h 1371600"/>
              <a:gd name="connsiteX4" fmla="*/ 873918 w 1407318"/>
              <a:gd name="connsiteY4" fmla="*/ 0 h 1371600"/>
              <a:gd name="connsiteX5" fmla="*/ 1002506 w 1407318"/>
              <a:gd name="connsiteY5" fmla="*/ 0 h 1371600"/>
              <a:gd name="connsiteX6" fmla="*/ 1283493 w 1407318"/>
              <a:gd name="connsiteY6" fmla="*/ 71437 h 1371600"/>
              <a:gd name="connsiteX7" fmla="*/ 1371600 w 1407318"/>
              <a:gd name="connsiteY7" fmla="*/ 214312 h 1371600"/>
              <a:gd name="connsiteX8" fmla="*/ 1393031 w 1407318"/>
              <a:gd name="connsiteY8" fmla="*/ 507205 h 1371600"/>
              <a:gd name="connsiteX9" fmla="*/ 1407318 w 1407318"/>
              <a:gd name="connsiteY9" fmla="*/ 804862 h 1371600"/>
              <a:gd name="connsiteX10" fmla="*/ 411956 w 1407318"/>
              <a:gd name="connsiteY10" fmla="*/ 1371600 h 1371600"/>
              <a:gd name="connsiteX11" fmla="*/ 407193 w 1407318"/>
              <a:gd name="connsiteY11" fmla="*/ 1114425 h 1371600"/>
              <a:gd name="connsiteX12" fmla="*/ 178593 w 1407318"/>
              <a:gd name="connsiteY12"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30956 w 1407318"/>
              <a:gd name="connsiteY3" fmla="*/ 514350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7193 w 1407318"/>
              <a:gd name="connsiteY12" fmla="*/ 1114425 h 1371600"/>
              <a:gd name="connsiteX13" fmla="*/ 178593 w 1407318"/>
              <a:gd name="connsiteY13"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159543 w 1407318"/>
              <a:gd name="connsiteY3" fmla="*/ 476250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7193 w 1407318"/>
              <a:gd name="connsiteY12" fmla="*/ 1114425 h 1371600"/>
              <a:gd name="connsiteX13" fmla="*/ 178593 w 1407318"/>
              <a:gd name="connsiteY13" fmla="*/ 977900 h 1371600"/>
              <a:gd name="connsiteX0" fmla="*/ 178593 w 1407318"/>
              <a:gd name="connsiteY0" fmla="*/ 977900 h 1371600"/>
              <a:gd name="connsiteX1" fmla="*/ 169068 w 1407318"/>
              <a:gd name="connsiteY1" fmla="*/ 750093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7193 w 1407318"/>
              <a:gd name="connsiteY12" fmla="*/ 1114425 h 1371600"/>
              <a:gd name="connsiteX13" fmla="*/ 178593 w 1407318"/>
              <a:gd name="connsiteY13" fmla="*/ 977900 h 1371600"/>
              <a:gd name="connsiteX0" fmla="*/ 133349 w 1407318"/>
              <a:gd name="connsiteY0" fmla="*/ 958850 h 1371600"/>
              <a:gd name="connsiteX1" fmla="*/ 169068 w 1407318"/>
              <a:gd name="connsiteY1" fmla="*/ 750093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7193 w 1407318"/>
              <a:gd name="connsiteY12" fmla="*/ 1114425 h 1371600"/>
              <a:gd name="connsiteX13" fmla="*/ 133349 w 1407318"/>
              <a:gd name="connsiteY13" fmla="*/ 958850 h 1371600"/>
              <a:gd name="connsiteX0" fmla="*/ 133349 w 1407318"/>
              <a:gd name="connsiteY0" fmla="*/ 958850 h 1371600"/>
              <a:gd name="connsiteX1" fmla="*/ 169068 w 1407318"/>
              <a:gd name="connsiteY1" fmla="*/ 750093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33349 w 1407318"/>
              <a:gd name="connsiteY13" fmla="*/ 958850 h 1371600"/>
              <a:gd name="connsiteX0" fmla="*/ 123824 w 1407318"/>
              <a:gd name="connsiteY0" fmla="*/ 982662 h 1371600"/>
              <a:gd name="connsiteX1" fmla="*/ 169068 w 1407318"/>
              <a:gd name="connsiteY1" fmla="*/ 750093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21443 w 1407318"/>
              <a:gd name="connsiteY1" fmla="*/ 757237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21443 w 1407318"/>
              <a:gd name="connsiteY1" fmla="*/ 757237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21443 w 1407318"/>
              <a:gd name="connsiteY1" fmla="*/ 757237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19062 w 1407318"/>
              <a:gd name="connsiteY1" fmla="*/ 700087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19062 w 1407318"/>
              <a:gd name="connsiteY1" fmla="*/ 700087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19062 w 1407318"/>
              <a:gd name="connsiteY1" fmla="*/ 700087 h 1371600"/>
              <a:gd name="connsiteX2" fmla="*/ 0 w 1407318"/>
              <a:gd name="connsiteY2" fmla="*/ 583405 h 1371600"/>
              <a:gd name="connsiteX3" fmla="*/ 169068 w 1407318"/>
              <a:gd name="connsiteY3" fmla="*/ 478631 h 1371600"/>
              <a:gd name="connsiteX4" fmla="*/ 54768 w 1407318"/>
              <a:gd name="connsiteY4" fmla="*/ 471487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19062 w 1407318"/>
              <a:gd name="connsiteY1" fmla="*/ 700087 h 1371600"/>
              <a:gd name="connsiteX2" fmla="*/ 0 w 1407318"/>
              <a:gd name="connsiteY2" fmla="*/ 583405 h 1371600"/>
              <a:gd name="connsiteX3" fmla="*/ 169068 w 1407318"/>
              <a:gd name="connsiteY3" fmla="*/ 478631 h 1371600"/>
              <a:gd name="connsiteX4" fmla="*/ 11905 w 1407318"/>
              <a:gd name="connsiteY4" fmla="*/ 473868 h 1371600"/>
              <a:gd name="connsiteX5" fmla="*/ 873918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3824 w 1407318"/>
              <a:gd name="connsiteY0" fmla="*/ 982662 h 1371600"/>
              <a:gd name="connsiteX1" fmla="*/ 119062 w 1407318"/>
              <a:gd name="connsiteY1" fmla="*/ 700087 h 1371600"/>
              <a:gd name="connsiteX2" fmla="*/ 0 w 1407318"/>
              <a:gd name="connsiteY2" fmla="*/ 583405 h 1371600"/>
              <a:gd name="connsiteX3" fmla="*/ 169068 w 1407318"/>
              <a:gd name="connsiteY3" fmla="*/ 478631 h 1371600"/>
              <a:gd name="connsiteX4" fmla="*/ 11905 w 1407318"/>
              <a:gd name="connsiteY4" fmla="*/ 473868 h 1371600"/>
              <a:gd name="connsiteX5" fmla="*/ 814386 w 1407318"/>
              <a:gd name="connsiteY5" fmla="*/ 0 h 1371600"/>
              <a:gd name="connsiteX6" fmla="*/ 1002506 w 1407318"/>
              <a:gd name="connsiteY6" fmla="*/ 0 h 1371600"/>
              <a:gd name="connsiteX7" fmla="*/ 1283493 w 1407318"/>
              <a:gd name="connsiteY7" fmla="*/ 71437 h 1371600"/>
              <a:gd name="connsiteX8" fmla="*/ 1371600 w 1407318"/>
              <a:gd name="connsiteY8" fmla="*/ 214312 h 1371600"/>
              <a:gd name="connsiteX9" fmla="*/ 1393031 w 1407318"/>
              <a:gd name="connsiteY9" fmla="*/ 507205 h 1371600"/>
              <a:gd name="connsiteX10" fmla="*/ 1407318 w 1407318"/>
              <a:gd name="connsiteY10" fmla="*/ 804862 h 1371600"/>
              <a:gd name="connsiteX11" fmla="*/ 411956 w 1407318"/>
              <a:gd name="connsiteY11" fmla="*/ 1371600 h 1371600"/>
              <a:gd name="connsiteX12" fmla="*/ 409574 w 1407318"/>
              <a:gd name="connsiteY12" fmla="*/ 1145381 h 1371600"/>
              <a:gd name="connsiteX13" fmla="*/ 123824 w 1407318"/>
              <a:gd name="connsiteY13" fmla="*/ 982662 h 1371600"/>
              <a:gd name="connsiteX0" fmla="*/ 128588 w 1412082"/>
              <a:gd name="connsiteY0" fmla="*/ 982662 h 1371600"/>
              <a:gd name="connsiteX1" fmla="*/ 123826 w 1412082"/>
              <a:gd name="connsiteY1" fmla="*/ 700087 h 1371600"/>
              <a:gd name="connsiteX2" fmla="*/ 4764 w 1412082"/>
              <a:gd name="connsiteY2" fmla="*/ 583405 h 1371600"/>
              <a:gd name="connsiteX3" fmla="*/ 173832 w 1412082"/>
              <a:gd name="connsiteY3" fmla="*/ 478631 h 1371600"/>
              <a:gd name="connsiteX4" fmla="*/ 0 w 1412082"/>
              <a:gd name="connsiteY4" fmla="*/ 471486 h 1371600"/>
              <a:gd name="connsiteX5" fmla="*/ 819150 w 1412082"/>
              <a:gd name="connsiteY5" fmla="*/ 0 h 1371600"/>
              <a:gd name="connsiteX6" fmla="*/ 1007270 w 1412082"/>
              <a:gd name="connsiteY6" fmla="*/ 0 h 1371600"/>
              <a:gd name="connsiteX7" fmla="*/ 1288257 w 1412082"/>
              <a:gd name="connsiteY7" fmla="*/ 71437 h 1371600"/>
              <a:gd name="connsiteX8" fmla="*/ 1376364 w 1412082"/>
              <a:gd name="connsiteY8" fmla="*/ 214312 h 1371600"/>
              <a:gd name="connsiteX9" fmla="*/ 1397795 w 1412082"/>
              <a:gd name="connsiteY9" fmla="*/ 507205 h 1371600"/>
              <a:gd name="connsiteX10" fmla="*/ 1412082 w 1412082"/>
              <a:gd name="connsiteY10" fmla="*/ 804862 h 1371600"/>
              <a:gd name="connsiteX11" fmla="*/ 416720 w 1412082"/>
              <a:gd name="connsiteY11" fmla="*/ 1371600 h 1371600"/>
              <a:gd name="connsiteX12" fmla="*/ 414338 w 1412082"/>
              <a:gd name="connsiteY12" fmla="*/ 1145381 h 1371600"/>
              <a:gd name="connsiteX13" fmla="*/ 128588 w 1412082"/>
              <a:gd name="connsiteY13" fmla="*/ 982662 h 1371600"/>
              <a:gd name="connsiteX0" fmla="*/ 128588 w 1412082"/>
              <a:gd name="connsiteY0" fmla="*/ 1039813 h 1428751"/>
              <a:gd name="connsiteX1" fmla="*/ 123826 w 1412082"/>
              <a:gd name="connsiteY1" fmla="*/ 757238 h 1428751"/>
              <a:gd name="connsiteX2" fmla="*/ 4764 w 1412082"/>
              <a:gd name="connsiteY2" fmla="*/ 640556 h 1428751"/>
              <a:gd name="connsiteX3" fmla="*/ 173832 w 1412082"/>
              <a:gd name="connsiteY3" fmla="*/ 535782 h 1428751"/>
              <a:gd name="connsiteX4" fmla="*/ 0 w 1412082"/>
              <a:gd name="connsiteY4" fmla="*/ 528637 h 1428751"/>
              <a:gd name="connsiteX5" fmla="*/ 819150 w 1412082"/>
              <a:gd name="connsiteY5" fmla="*/ 57151 h 1428751"/>
              <a:gd name="connsiteX6" fmla="*/ 1007270 w 1412082"/>
              <a:gd name="connsiteY6" fmla="*/ 57151 h 1428751"/>
              <a:gd name="connsiteX7" fmla="*/ 1107282 w 1412082"/>
              <a:gd name="connsiteY7" fmla="*/ 0 h 1428751"/>
              <a:gd name="connsiteX8" fmla="*/ 1376364 w 1412082"/>
              <a:gd name="connsiteY8" fmla="*/ 271463 h 1428751"/>
              <a:gd name="connsiteX9" fmla="*/ 1397795 w 1412082"/>
              <a:gd name="connsiteY9" fmla="*/ 564356 h 1428751"/>
              <a:gd name="connsiteX10" fmla="*/ 1412082 w 1412082"/>
              <a:gd name="connsiteY10" fmla="*/ 862013 h 1428751"/>
              <a:gd name="connsiteX11" fmla="*/ 416720 w 1412082"/>
              <a:gd name="connsiteY11" fmla="*/ 1428751 h 1428751"/>
              <a:gd name="connsiteX12" fmla="*/ 414338 w 1412082"/>
              <a:gd name="connsiteY12" fmla="*/ 1202532 h 1428751"/>
              <a:gd name="connsiteX13" fmla="*/ 128588 w 1412082"/>
              <a:gd name="connsiteY13" fmla="*/ 1039813 h 1428751"/>
              <a:gd name="connsiteX0" fmla="*/ 128588 w 1412082"/>
              <a:gd name="connsiteY0" fmla="*/ 1039813 h 1428751"/>
              <a:gd name="connsiteX1" fmla="*/ 123826 w 1412082"/>
              <a:gd name="connsiteY1" fmla="*/ 757238 h 1428751"/>
              <a:gd name="connsiteX2" fmla="*/ 4764 w 1412082"/>
              <a:gd name="connsiteY2" fmla="*/ 640556 h 1428751"/>
              <a:gd name="connsiteX3" fmla="*/ 173832 w 1412082"/>
              <a:gd name="connsiteY3" fmla="*/ 535782 h 1428751"/>
              <a:gd name="connsiteX4" fmla="*/ 0 w 1412082"/>
              <a:gd name="connsiteY4" fmla="*/ 528637 h 1428751"/>
              <a:gd name="connsiteX5" fmla="*/ 819150 w 1412082"/>
              <a:gd name="connsiteY5" fmla="*/ 57151 h 1428751"/>
              <a:gd name="connsiteX6" fmla="*/ 1052514 w 1412082"/>
              <a:gd name="connsiteY6" fmla="*/ 28576 h 1428751"/>
              <a:gd name="connsiteX7" fmla="*/ 1107282 w 1412082"/>
              <a:gd name="connsiteY7" fmla="*/ 0 h 1428751"/>
              <a:gd name="connsiteX8" fmla="*/ 1376364 w 1412082"/>
              <a:gd name="connsiteY8" fmla="*/ 271463 h 1428751"/>
              <a:gd name="connsiteX9" fmla="*/ 1397795 w 1412082"/>
              <a:gd name="connsiteY9" fmla="*/ 564356 h 1428751"/>
              <a:gd name="connsiteX10" fmla="*/ 1412082 w 1412082"/>
              <a:gd name="connsiteY10" fmla="*/ 862013 h 1428751"/>
              <a:gd name="connsiteX11" fmla="*/ 416720 w 1412082"/>
              <a:gd name="connsiteY11" fmla="*/ 1428751 h 1428751"/>
              <a:gd name="connsiteX12" fmla="*/ 414338 w 1412082"/>
              <a:gd name="connsiteY12" fmla="*/ 1202532 h 1428751"/>
              <a:gd name="connsiteX13" fmla="*/ 128588 w 1412082"/>
              <a:gd name="connsiteY13" fmla="*/ 1039813 h 1428751"/>
              <a:gd name="connsiteX0" fmla="*/ 128588 w 1412082"/>
              <a:gd name="connsiteY0" fmla="*/ 1039813 h 1428751"/>
              <a:gd name="connsiteX1" fmla="*/ 123826 w 1412082"/>
              <a:gd name="connsiteY1" fmla="*/ 757238 h 1428751"/>
              <a:gd name="connsiteX2" fmla="*/ 4764 w 1412082"/>
              <a:gd name="connsiteY2" fmla="*/ 640556 h 1428751"/>
              <a:gd name="connsiteX3" fmla="*/ 173832 w 1412082"/>
              <a:gd name="connsiteY3" fmla="*/ 535782 h 1428751"/>
              <a:gd name="connsiteX4" fmla="*/ 0 w 1412082"/>
              <a:gd name="connsiteY4" fmla="*/ 528637 h 1428751"/>
              <a:gd name="connsiteX5" fmla="*/ 819150 w 1412082"/>
              <a:gd name="connsiteY5" fmla="*/ 57151 h 1428751"/>
              <a:gd name="connsiteX6" fmla="*/ 1107282 w 1412082"/>
              <a:gd name="connsiteY6" fmla="*/ 0 h 1428751"/>
              <a:gd name="connsiteX7" fmla="*/ 1376364 w 1412082"/>
              <a:gd name="connsiteY7" fmla="*/ 271463 h 1428751"/>
              <a:gd name="connsiteX8" fmla="*/ 1397795 w 1412082"/>
              <a:gd name="connsiteY8" fmla="*/ 564356 h 1428751"/>
              <a:gd name="connsiteX9" fmla="*/ 1412082 w 1412082"/>
              <a:gd name="connsiteY9" fmla="*/ 862013 h 1428751"/>
              <a:gd name="connsiteX10" fmla="*/ 416720 w 1412082"/>
              <a:gd name="connsiteY10" fmla="*/ 1428751 h 1428751"/>
              <a:gd name="connsiteX11" fmla="*/ 414338 w 1412082"/>
              <a:gd name="connsiteY11" fmla="*/ 1202532 h 1428751"/>
              <a:gd name="connsiteX12" fmla="*/ 128588 w 1412082"/>
              <a:gd name="connsiteY12" fmla="*/ 1039813 h 1428751"/>
              <a:gd name="connsiteX0" fmla="*/ 128588 w 1412082"/>
              <a:gd name="connsiteY0" fmla="*/ 1042194 h 1431132"/>
              <a:gd name="connsiteX1" fmla="*/ 123826 w 1412082"/>
              <a:gd name="connsiteY1" fmla="*/ 759619 h 1431132"/>
              <a:gd name="connsiteX2" fmla="*/ 4764 w 1412082"/>
              <a:gd name="connsiteY2" fmla="*/ 642937 h 1431132"/>
              <a:gd name="connsiteX3" fmla="*/ 173832 w 1412082"/>
              <a:gd name="connsiteY3" fmla="*/ 538163 h 1431132"/>
              <a:gd name="connsiteX4" fmla="*/ 0 w 1412082"/>
              <a:gd name="connsiteY4" fmla="*/ 531018 h 1431132"/>
              <a:gd name="connsiteX5" fmla="*/ 928687 w 1412082"/>
              <a:gd name="connsiteY5" fmla="*/ 0 h 1431132"/>
              <a:gd name="connsiteX6" fmla="*/ 1107282 w 1412082"/>
              <a:gd name="connsiteY6" fmla="*/ 2381 h 1431132"/>
              <a:gd name="connsiteX7" fmla="*/ 1376364 w 1412082"/>
              <a:gd name="connsiteY7" fmla="*/ 273844 h 1431132"/>
              <a:gd name="connsiteX8" fmla="*/ 1397795 w 1412082"/>
              <a:gd name="connsiteY8" fmla="*/ 566737 h 1431132"/>
              <a:gd name="connsiteX9" fmla="*/ 1412082 w 1412082"/>
              <a:gd name="connsiteY9" fmla="*/ 864394 h 1431132"/>
              <a:gd name="connsiteX10" fmla="*/ 416720 w 1412082"/>
              <a:gd name="connsiteY10" fmla="*/ 1431132 h 1431132"/>
              <a:gd name="connsiteX11" fmla="*/ 414338 w 1412082"/>
              <a:gd name="connsiteY11" fmla="*/ 1204913 h 1431132"/>
              <a:gd name="connsiteX12" fmla="*/ 128588 w 1412082"/>
              <a:gd name="connsiteY12" fmla="*/ 1042194 h 1431132"/>
              <a:gd name="connsiteX0" fmla="*/ 128588 w 1412082"/>
              <a:gd name="connsiteY0" fmla="*/ 1058862 h 1447800"/>
              <a:gd name="connsiteX1" fmla="*/ 123826 w 1412082"/>
              <a:gd name="connsiteY1" fmla="*/ 776287 h 1447800"/>
              <a:gd name="connsiteX2" fmla="*/ 4764 w 1412082"/>
              <a:gd name="connsiteY2" fmla="*/ 659605 h 1447800"/>
              <a:gd name="connsiteX3" fmla="*/ 173832 w 1412082"/>
              <a:gd name="connsiteY3" fmla="*/ 554831 h 1447800"/>
              <a:gd name="connsiteX4" fmla="*/ 0 w 1412082"/>
              <a:gd name="connsiteY4" fmla="*/ 547686 h 1447800"/>
              <a:gd name="connsiteX5" fmla="*/ 954881 w 1412082"/>
              <a:gd name="connsiteY5" fmla="*/ 0 h 1447800"/>
              <a:gd name="connsiteX6" fmla="*/ 1107282 w 1412082"/>
              <a:gd name="connsiteY6" fmla="*/ 19049 h 1447800"/>
              <a:gd name="connsiteX7" fmla="*/ 1376364 w 1412082"/>
              <a:gd name="connsiteY7" fmla="*/ 290512 h 1447800"/>
              <a:gd name="connsiteX8" fmla="*/ 1397795 w 1412082"/>
              <a:gd name="connsiteY8" fmla="*/ 583405 h 1447800"/>
              <a:gd name="connsiteX9" fmla="*/ 1412082 w 1412082"/>
              <a:gd name="connsiteY9" fmla="*/ 881062 h 1447800"/>
              <a:gd name="connsiteX10" fmla="*/ 416720 w 1412082"/>
              <a:gd name="connsiteY10" fmla="*/ 1447800 h 1447800"/>
              <a:gd name="connsiteX11" fmla="*/ 414338 w 1412082"/>
              <a:gd name="connsiteY11" fmla="*/ 1221581 h 1447800"/>
              <a:gd name="connsiteX12" fmla="*/ 128588 w 1412082"/>
              <a:gd name="connsiteY12" fmla="*/ 1058862 h 1447800"/>
              <a:gd name="connsiteX0" fmla="*/ 128588 w 1412082"/>
              <a:gd name="connsiteY0" fmla="*/ 1049337 h 1438275"/>
              <a:gd name="connsiteX1" fmla="*/ 123826 w 1412082"/>
              <a:gd name="connsiteY1" fmla="*/ 766762 h 1438275"/>
              <a:gd name="connsiteX2" fmla="*/ 4764 w 1412082"/>
              <a:gd name="connsiteY2" fmla="*/ 650080 h 1438275"/>
              <a:gd name="connsiteX3" fmla="*/ 173832 w 1412082"/>
              <a:gd name="connsiteY3" fmla="*/ 545306 h 1438275"/>
              <a:gd name="connsiteX4" fmla="*/ 0 w 1412082"/>
              <a:gd name="connsiteY4" fmla="*/ 538161 h 1438275"/>
              <a:gd name="connsiteX5" fmla="*/ 935831 w 1412082"/>
              <a:gd name="connsiteY5" fmla="*/ 0 h 1438275"/>
              <a:gd name="connsiteX6" fmla="*/ 1107282 w 1412082"/>
              <a:gd name="connsiteY6" fmla="*/ 9524 h 1438275"/>
              <a:gd name="connsiteX7" fmla="*/ 1376364 w 1412082"/>
              <a:gd name="connsiteY7" fmla="*/ 280987 h 1438275"/>
              <a:gd name="connsiteX8" fmla="*/ 1397795 w 1412082"/>
              <a:gd name="connsiteY8" fmla="*/ 573880 h 1438275"/>
              <a:gd name="connsiteX9" fmla="*/ 1412082 w 1412082"/>
              <a:gd name="connsiteY9" fmla="*/ 871537 h 1438275"/>
              <a:gd name="connsiteX10" fmla="*/ 416720 w 1412082"/>
              <a:gd name="connsiteY10" fmla="*/ 1438275 h 1438275"/>
              <a:gd name="connsiteX11" fmla="*/ 414338 w 1412082"/>
              <a:gd name="connsiteY11" fmla="*/ 1212056 h 1438275"/>
              <a:gd name="connsiteX12" fmla="*/ 128588 w 1412082"/>
              <a:gd name="connsiteY12" fmla="*/ 1049337 h 1438275"/>
              <a:gd name="connsiteX0" fmla="*/ 128588 w 1526382"/>
              <a:gd name="connsiteY0" fmla="*/ 1049337 h 1438275"/>
              <a:gd name="connsiteX1" fmla="*/ 123826 w 1526382"/>
              <a:gd name="connsiteY1" fmla="*/ 766762 h 1438275"/>
              <a:gd name="connsiteX2" fmla="*/ 4764 w 1526382"/>
              <a:gd name="connsiteY2" fmla="*/ 650080 h 1438275"/>
              <a:gd name="connsiteX3" fmla="*/ 173832 w 1526382"/>
              <a:gd name="connsiteY3" fmla="*/ 545306 h 1438275"/>
              <a:gd name="connsiteX4" fmla="*/ 0 w 1526382"/>
              <a:gd name="connsiteY4" fmla="*/ 538161 h 1438275"/>
              <a:gd name="connsiteX5" fmla="*/ 935831 w 1526382"/>
              <a:gd name="connsiteY5" fmla="*/ 0 h 1438275"/>
              <a:gd name="connsiteX6" fmla="*/ 1107282 w 1526382"/>
              <a:gd name="connsiteY6" fmla="*/ 9524 h 1438275"/>
              <a:gd name="connsiteX7" fmla="*/ 1526382 w 1526382"/>
              <a:gd name="connsiteY7" fmla="*/ 490537 h 1438275"/>
              <a:gd name="connsiteX8" fmla="*/ 1397795 w 1526382"/>
              <a:gd name="connsiteY8" fmla="*/ 573880 h 1438275"/>
              <a:gd name="connsiteX9" fmla="*/ 1412082 w 1526382"/>
              <a:gd name="connsiteY9" fmla="*/ 871537 h 1438275"/>
              <a:gd name="connsiteX10" fmla="*/ 416720 w 1526382"/>
              <a:gd name="connsiteY10" fmla="*/ 1438275 h 1438275"/>
              <a:gd name="connsiteX11" fmla="*/ 414338 w 1526382"/>
              <a:gd name="connsiteY11" fmla="*/ 1212056 h 1438275"/>
              <a:gd name="connsiteX12" fmla="*/ 128588 w 1526382"/>
              <a:gd name="connsiteY12" fmla="*/ 1049337 h 1438275"/>
              <a:gd name="connsiteX0" fmla="*/ 128588 w 1526382"/>
              <a:gd name="connsiteY0" fmla="*/ 1049337 h 1438275"/>
              <a:gd name="connsiteX1" fmla="*/ 123826 w 1526382"/>
              <a:gd name="connsiteY1" fmla="*/ 766762 h 1438275"/>
              <a:gd name="connsiteX2" fmla="*/ 4764 w 1526382"/>
              <a:gd name="connsiteY2" fmla="*/ 650080 h 1438275"/>
              <a:gd name="connsiteX3" fmla="*/ 173832 w 1526382"/>
              <a:gd name="connsiteY3" fmla="*/ 545306 h 1438275"/>
              <a:gd name="connsiteX4" fmla="*/ 0 w 1526382"/>
              <a:gd name="connsiteY4" fmla="*/ 538161 h 1438275"/>
              <a:gd name="connsiteX5" fmla="*/ 935831 w 1526382"/>
              <a:gd name="connsiteY5" fmla="*/ 0 h 1438275"/>
              <a:gd name="connsiteX6" fmla="*/ 1107282 w 1526382"/>
              <a:gd name="connsiteY6" fmla="*/ 9524 h 1438275"/>
              <a:gd name="connsiteX7" fmla="*/ 1526382 w 1526382"/>
              <a:gd name="connsiteY7" fmla="*/ 490537 h 1438275"/>
              <a:gd name="connsiteX8" fmla="*/ 1393032 w 1526382"/>
              <a:gd name="connsiteY8" fmla="*/ 571499 h 1438275"/>
              <a:gd name="connsiteX9" fmla="*/ 1412082 w 1526382"/>
              <a:gd name="connsiteY9" fmla="*/ 871537 h 1438275"/>
              <a:gd name="connsiteX10" fmla="*/ 416720 w 1526382"/>
              <a:gd name="connsiteY10" fmla="*/ 1438275 h 1438275"/>
              <a:gd name="connsiteX11" fmla="*/ 414338 w 1526382"/>
              <a:gd name="connsiteY11" fmla="*/ 1212056 h 1438275"/>
              <a:gd name="connsiteX12" fmla="*/ 128588 w 1526382"/>
              <a:gd name="connsiteY12" fmla="*/ 1049337 h 1438275"/>
              <a:gd name="connsiteX0" fmla="*/ 128588 w 1564482"/>
              <a:gd name="connsiteY0" fmla="*/ 1049337 h 1438275"/>
              <a:gd name="connsiteX1" fmla="*/ 123826 w 1564482"/>
              <a:gd name="connsiteY1" fmla="*/ 766762 h 1438275"/>
              <a:gd name="connsiteX2" fmla="*/ 4764 w 1564482"/>
              <a:gd name="connsiteY2" fmla="*/ 650080 h 1438275"/>
              <a:gd name="connsiteX3" fmla="*/ 173832 w 1564482"/>
              <a:gd name="connsiteY3" fmla="*/ 545306 h 1438275"/>
              <a:gd name="connsiteX4" fmla="*/ 0 w 1564482"/>
              <a:gd name="connsiteY4" fmla="*/ 538161 h 1438275"/>
              <a:gd name="connsiteX5" fmla="*/ 935831 w 1564482"/>
              <a:gd name="connsiteY5" fmla="*/ 0 h 1438275"/>
              <a:gd name="connsiteX6" fmla="*/ 1107282 w 1564482"/>
              <a:gd name="connsiteY6" fmla="*/ 9524 h 1438275"/>
              <a:gd name="connsiteX7" fmla="*/ 1564482 w 1564482"/>
              <a:gd name="connsiteY7" fmla="*/ 473868 h 1438275"/>
              <a:gd name="connsiteX8" fmla="*/ 1393032 w 1564482"/>
              <a:gd name="connsiteY8" fmla="*/ 571499 h 1438275"/>
              <a:gd name="connsiteX9" fmla="*/ 1412082 w 1564482"/>
              <a:gd name="connsiteY9" fmla="*/ 871537 h 1438275"/>
              <a:gd name="connsiteX10" fmla="*/ 416720 w 1564482"/>
              <a:gd name="connsiteY10" fmla="*/ 1438275 h 1438275"/>
              <a:gd name="connsiteX11" fmla="*/ 414338 w 1564482"/>
              <a:gd name="connsiteY11" fmla="*/ 1212056 h 1438275"/>
              <a:gd name="connsiteX12" fmla="*/ 128588 w 1564482"/>
              <a:gd name="connsiteY12" fmla="*/ 1049337 h 1438275"/>
              <a:gd name="connsiteX0" fmla="*/ 128588 w 1585913"/>
              <a:gd name="connsiteY0" fmla="*/ 1049337 h 1438275"/>
              <a:gd name="connsiteX1" fmla="*/ 123826 w 1585913"/>
              <a:gd name="connsiteY1" fmla="*/ 766762 h 1438275"/>
              <a:gd name="connsiteX2" fmla="*/ 4764 w 1585913"/>
              <a:gd name="connsiteY2" fmla="*/ 650080 h 1438275"/>
              <a:gd name="connsiteX3" fmla="*/ 173832 w 1585913"/>
              <a:gd name="connsiteY3" fmla="*/ 545306 h 1438275"/>
              <a:gd name="connsiteX4" fmla="*/ 0 w 1585913"/>
              <a:gd name="connsiteY4" fmla="*/ 538161 h 1438275"/>
              <a:gd name="connsiteX5" fmla="*/ 935831 w 1585913"/>
              <a:gd name="connsiteY5" fmla="*/ 0 h 1438275"/>
              <a:gd name="connsiteX6" fmla="*/ 1107282 w 1585913"/>
              <a:gd name="connsiteY6" fmla="*/ 9524 h 1438275"/>
              <a:gd name="connsiteX7" fmla="*/ 1585913 w 1585913"/>
              <a:gd name="connsiteY7" fmla="*/ 452437 h 1438275"/>
              <a:gd name="connsiteX8" fmla="*/ 1393032 w 1585913"/>
              <a:gd name="connsiteY8" fmla="*/ 571499 h 1438275"/>
              <a:gd name="connsiteX9" fmla="*/ 1412082 w 1585913"/>
              <a:gd name="connsiteY9" fmla="*/ 871537 h 1438275"/>
              <a:gd name="connsiteX10" fmla="*/ 416720 w 1585913"/>
              <a:gd name="connsiteY10" fmla="*/ 1438275 h 1438275"/>
              <a:gd name="connsiteX11" fmla="*/ 414338 w 1585913"/>
              <a:gd name="connsiteY11" fmla="*/ 1212056 h 1438275"/>
              <a:gd name="connsiteX12" fmla="*/ 128588 w 1585913"/>
              <a:gd name="connsiteY12" fmla="*/ 1049337 h 1438275"/>
              <a:gd name="connsiteX0" fmla="*/ 128588 w 1585913"/>
              <a:gd name="connsiteY0" fmla="*/ 1049337 h 1438275"/>
              <a:gd name="connsiteX1" fmla="*/ 123826 w 1585913"/>
              <a:gd name="connsiteY1" fmla="*/ 766762 h 1438275"/>
              <a:gd name="connsiteX2" fmla="*/ 4764 w 1585913"/>
              <a:gd name="connsiteY2" fmla="*/ 650080 h 1438275"/>
              <a:gd name="connsiteX3" fmla="*/ 173832 w 1585913"/>
              <a:gd name="connsiteY3" fmla="*/ 545306 h 1438275"/>
              <a:gd name="connsiteX4" fmla="*/ 0 w 1585913"/>
              <a:gd name="connsiteY4" fmla="*/ 538161 h 1438275"/>
              <a:gd name="connsiteX5" fmla="*/ 935831 w 1585913"/>
              <a:gd name="connsiteY5" fmla="*/ 0 h 1438275"/>
              <a:gd name="connsiteX6" fmla="*/ 1107282 w 1585913"/>
              <a:gd name="connsiteY6" fmla="*/ 9524 h 1438275"/>
              <a:gd name="connsiteX7" fmla="*/ 1585913 w 1585913"/>
              <a:gd name="connsiteY7" fmla="*/ 452437 h 1438275"/>
              <a:gd name="connsiteX8" fmla="*/ 1393032 w 1585913"/>
              <a:gd name="connsiteY8" fmla="*/ 571499 h 1438275"/>
              <a:gd name="connsiteX9" fmla="*/ 1412082 w 1585913"/>
              <a:gd name="connsiteY9" fmla="*/ 871537 h 1438275"/>
              <a:gd name="connsiteX10" fmla="*/ 416720 w 1585913"/>
              <a:gd name="connsiteY10" fmla="*/ 1438275 h 1438275"/>
              <a:gd name="connsiteX11" fmla="*/ 414338 w 1585913"/>
              <a:gd name="connsiteY11" fmla="*/ 1212056 h 1438275"/>
              <a:gd name="connsiteX12" fmla="*/ 128588 w 1585913"/>
              <a:gd name="connsiteY12" fmla="*/ 1049337 h 1438275"/>
              <a:gd name="connsiteX0" fmla="*/ 128588 w 1585913"/>
              <a:gd name="connsiteY0" fmla="*/ 1049337 h 1438275"/>
              <a:gd name="connsiteX1" fmla="*/ 123826 w 1585913"/>
              <a:gd name="connsiteY1" fmla="*/ 766762 h 1438275"/>
              <a:gd name="connsiteX2" fmla="*/ 4764 w 1585913"/>
              <a:gd name="connsiteY2" fmla="*/ 650080 h 1438275"/>
              <a:gd name="connsiteX3" fmla="*/ 173832 w 1585913"/>
              <a:gd name="connsiteY3" fmla="*/ 545306 h 1438275"/>
              <a:gd name="connsiteX4" fmla="*/ 0 w 1585913"/>
              <a:gd name="connsiteY4" fmla="*/ 538161 h 1438275"/>
              <a:gd name="connsiteX5" fmla="*/ 935831 w 1585913"/>
              <a:gd name="connsiteY5" fmla="*/ 0 h 1438275"/>
              <a:gd name="connsiteX6" fmla="*/ 1107282 w 1585913"/>
              <a:gd name="connsiteY6" fmla="*/ 9524 h 1438275"/>
              <a:gd name="connsiteX7" fmla="*/ 1585913 w 1585913"/>
              <a:gd name="connsiteY7" fmla="*/ 452437 h 1438275"/>
              <a:gd name="connsiteX8" fmla="*/ 1393032 w 1585913"/>
              <a:gd name="connsiteY8" fmla="*/ 571499 h 1438275"/>
              <a:gd name="connsiteX9" fmla="*/ 1390650 w 1585913"/>
              <a:gd name="connsiteY9" fmla="*/ 878680 h 1438275"/>
              <a:gd name="connsiteX10" fmla="*/ 416720 w 1585913"/>
              <a:gd name="connsiteY10" fmla="*/ 1438275 h 1438275"/>
              <a:gd name="connsiteX11" fmla="*/ 414338 w 1585913"/>
              <a:gd name="connsiteY11" fmla="*/ 1212056 h 1438275"/>
              <a:gd name="connsiteX12" fmla="*/ 128588 w 1585913"/>
              <a:gd name="connsiteY12" fmla="*/ 1049337 h 1438275"/>
              <a:gd name="connsiteX0" fmla="*/ 128588 w 1585913"/>
              <a:gd name="connsiteY0" fmla="*/ 1049337 h 1438275"/>
              <a:gd name="connsiteX1" fmla="*/ 123826 w 1585913"/>
              <a:gd name="connsiteY1" fmla="*/ 766762 h 1438275"/>
              <a:gd name="connsiteX2" fmla="*/ 4764 w 1585913"/>
              <a:gd name="connsiteY2" fmla="*/ 650080 h 1438275"/>
              <a:gd name="connsiteX3" fmla="*/ 173832 w 1585913"/>
              <a:gd name="connsiteY3" fmla="*/ 545306 h 1438275"/>
              <a:gd name="connsiteX4" fmla="*/ 0 w 1585913"/>
              <a:gd name="connsiteY4" fmla="*/ 538161 h 1438275"/>
              <a:gd name="connsiteX5" fmla="*/ 935831 w 1585913"/>
              <a:gd name="connsiteY5" fmla="*/ 0 h 1438275"/>
              <a:gd name="connsiteX6" fmla="*/ 1107282 w 1585913"/>
              <a:gd name="connsiteY6" fmla="*/ 9524 h 1438275"/>
              <a:gd name="connsiteX7" fmla="*/ 1585913 w 1585913"/>
              <a:gd name="connsiteY7" fmla="*/ 452437 h 1438275"/>
              <a:gd name="connsiteX8" fmla="*/ 1393032 w 1585913"/>
              <a:gd name="connsiteY8" fmla="*/ 571499 h 1438275"/>
              <a:gd name="connsiteX9" fmla="*/ 1393032 w 1585913"/>
              <a:gd name="connsiteY9" fmla="*/ 878680 h 1438275"/>
              <a:gd name="connsiteX10" fmla="*/ 416720 w 1585913"/>
              <a:gd name="connsiteY10" fmla="*/ 1438275 h 1438275"/>
              <a:gd name="connsiteX11" fmla="*/ 414338 w 1585913"/>
              <a:gd name="connsiteY11" fmla="*/ 1212056 h 1438275"/>
              <a:gd name="connsiteX12" fmla="*/ 128588 w 1585913"/>
              <a:gd name="connsiteY12" fmla="*/ 1049337 h 1438275"/>
              <a:gd name="connsiteX0" fmla="*/ 126206 w 1585913"/>
              <a:gd name="connsiteY0" fmla="*/ 1046956 h 1438275"/>
              <a:gd name="connsiteX1" fmla="*/ 123826 w 1585913"/>
              <a:gd name="connsiteY1" fmla="*/ 766762 h 1438275"/>
              <a:gd name="connsiteX2" fmla="*/ 4764 w 1585913"/>
              <a:gd name="connsiteY2" fmla="*/ 650080 h 1438275"/>
              <a:gd name="connsiteX3" fmla="*/ 173832 w 1585913"/>
              <a:gd name="connsiteY3" fmla="*/ 545306 h 1438275"/>
              <a:gd name="connsiteX4" fmla="*/ 0 w 1585913"/>
              <a:gd name="connsiteY4" fmla="*/ 538161 h 1438275"/>
              <a:gd name="connsiteX5" fmla="*/ 935831 w 1585913"/>
              <a:gd name="connsiteY5" fmla="*/ 0 h 1438275"/>
              <a:gd name="connsiteX6" fmla="*/ 1107282 w 1585913"/>
              <a:gd name="connsiteY6" fmla="*/ 9524 h 1438275"/>
              <a:gd name="connsiteX7" fmla="*/ 1585913 w 1585913"/>
              <a:gd name="connsiteY7" fmla="*/ 452437 h 1438275"/>
              <a:gd name="connsiteX8" fmla="*/ 1393032 w 1585913"/>
              <a:gd name="connsiteY8" fmla="*/ 571499 h 1438275"/>
              <a:gd name="connsiteX9" fmla="*/ 1393032 w 1585913"/>
              <a:gd name="connsiteY9" fmla="*/ 878680 h 1438275"/>
              <a:gd name="connsiteX10" fmla="*/ 416720 w 1585913"/>
              <a:gd name="connsiteY10" fmla="*/ 1438275 h 1438275"/>
              <a:gd name="connsiteX11" fmla="*/ 414338 w 1585913"/>
              <a:gd name="connsiteY11" fmla="*/ 1212056 h 1438275"/>
              <a:gd name="connsiteX12" fmla="*/ 126206 w 1585913"/>
              <a:gd name="connsiteY12" fmla="*/ 1046956 h 143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85913" h="1438275">
                <a:moveTo>
                  <a:pt x="126206" y="1046956"/>
                </a:moveTo>
                <a:cubicBezTo>
                  <a:pt x="125412" y="971814"/>
                  <a:pt x="124620" y="841904"/>
                  <a:pt x="123826" y="766762"/>
                </a:cubicBezTo>
                <a:cubicBezTo>
                  <a:pt x="36514" y="686593"/>
                  <a:pt x="53976" y="701674"/>
                  <a:pt x="4764" y="650080"/>
                </a:cubicBezTo>
                <a:lnTo>
                  <a:pt x="173832" y="545306"/>
                </a:lnTo>
                <a:lnTo>
                  <a:pt x="0" y="538161"/>
                </a:lnTo>
                <a:lnTo>
                  <a:pt x="935831" y="0"/>
                </a:lnTo>
                <a:lnTo>
                  <a:pt x="1107282" y="9524"/>
                </a:lnTo>
                <a:lnTo>
                  <a:pt x="1585913" y="452437"/>
                </a:lnTo>
                <a:lnTo>
                  <a:pt x="1393032" y="571499"/>
                </a:lnTo>
                <a:lnTo>
                  <a:pt x="1393032" y="878680"/>
                </a:lnTo>
                <a:lnTo>
                  <a:pt x="416720" y="1438275"/>
                </a:lnTo>
                <a:cubicBezTo>
                  <a:pt x="415132" y="1352550"/>
                  <a:pt x="415926" y="1297781"/>
                  <a:pt x="414338" y="1212056"/>
                </a:cubicBezTo>
                <a:lnTo>
                  <a:pt x="126206" y="1046956"/>
                </a:lnTo>
                <a:close/>
              </a:path>
            </a:pathLst>
          </a:cu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730" name="Rechteck 87">
            <a:extLst>
              <a:ext uri="{FF2B5EF4-FFF2-40B4-BE49-F238E27FC236}">
                <a16:creationId xmlns:a16="http://schemas.microsoft.com/office/drawing/2014/main" id="{06F8504D-428F-407B-9402-B2A8DDAEF68C}"/>
              </a:ext>
            </a:extLst>
          </p:cNvPr>
          <p:cNvSpPr/>
          <p:nvPr/>
        </p:nvSpPr>
        <p:spPr bwMode="gray">
          <a:xfrm>
            <a:off x="6727925" y="2066663"/>
            <a:ext cx="922966" cy="168934"/>
          </a:xfrm>
          <a:prstGeom prst="rect">
            <a:avLst/>
          </a:prstGeom>
          <a:noFill/>
          <a:ln w="12700">
            <a:no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lgn="ctr">
              <a:spcBef>
                <a:spcPts val="300"/>
              </a:spcBef>
              <a:buClr>
                <a:srgbClr val="002897"/>
              </a:buClr>
              <a:buSzPct val="70000"/>
            </a:pPr>
            <a:r>
              <a:rPr lang="de-DE" sz="1400" dirty="0" err="1">
                <a:solidFill>
                  <a:schemeClr val="tx1"/>
                </a:solidFill>
              </a:rPr>
              <a:t>Furnace</a:t>
            </a:r>
            <a:endParaRPr lang="de-DE" sz="1400" dirty="0">
              <a:solidFill>
                <a:schemeClr val="tx1"/>
              </a:solidFill>
            </a:endParaRPr>
          </a:p>
        </p:txBody>
      </p:sp>
      <p:sp>
        <p:nvSpPr>
          <p:cNvPr id="1731" name="Rechteck 87">
            <a:extLst>
              <a:ext uri="{FF2B5EF4-FFF2-40B4-BE49-F238E27FC236}">
                <a16:creationId xmlns:a16="http://schemas.microsoft.com/office/drawing/2014/main" id="{86182596-8D38-4F3D-A985-E2C4D817C3C9}"/>
              </a:ext>
            </a:extLst>
          </p:cNvPr>
          <p:cNvSpPr/>
          <p:nvPr/>
        </p:nvSpPr>
        <p:spPr bwMode="gray">
          <a:xfrm>
            <a:off x="5312666" y="2959292"/>
            <a:ext cx="1081946" cy="168934"/>
          </a:xfrm>
          <a:prstGeom prst="rect">
            <a:avLst/>
          </a:prstGeom>
          <a:noFill/>
          <a:ln w="12700">
            <a:no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lgn="ctr">
              <a:spcBef>
                <a:spcPts val="300"/>
              </a:spcBef>
              <a:buClr>
                <a:srgbClr val="002897"/>
              </a:buClr>
              <a:buSzPct val="70000"/>
            </a:pPr>
            <a:r>
              <a:rPr lang="de-DE" sz="1400" dirty="0" err="1">
                <a:solidFill>
                  <a:schemeClr val="tx1"/>
                </a:solidFill>
              </a:rPr>
              <a:t>Convection</a:t>
            </a:r>
            <a:r>
              <a:rPr lang="de-DE" sz="1400" dirty="0">
                <a:solidFill>
                  <a:schemeClr val="tx1"/>
                </a:solidFill>
              </a:rPr>
              <a:t> </a:t>
            </a:r>
            <a:r>
              <a:rPr lang="de-DE" sz="1400" dirty="0" err="1">
                <a:solidFill>
                  <a:schemeClr val="tx1"/>
                </a:solidFill>
              </a:rPr>
              <a:t>section</a:t>
            </a:r>
            <a:endParaRPr lang="de-DE" sz="1400" dirty="0">
              <a:solidFill>
                <a:schemeClr val="tx1"/>
              </a:solidFill>
            </a:endParaRPr>
          </a:p>
        </p:txBody>
      </p:sp>
      <p:cxnSp>
        <p:nvCxnSpPr>
          <p:cNvPr id="1736" name="Straight Arrow Connector 1735">
            <a:extLst>
              <a:ext uri="{FF2B5EF4-FFF2-40B4-BE49-F238E27FC236}">
                <a16:creationId xmlns:a16="http://schemas.microsoft.com/office/drawing/2014/main" id="{2F9BA3E8-F89F-4DBC-B83E-D0ACBAC29E7A}"/>
              </a:ext>
            </a:extLst>
          </p:cNvPr>
          <p:cNvCxnSpPr>
            <a:cxnSpLocks/>
          </p:cNvCxnSpPr>
          <p:nvPr/>
        </p:nvCxnSpPr>
        <p:spPr bwMode="gray">
          <a:xfrm flipH="1" flipV="1">
            <a:off x="8841895" y="4998354"/>
            <a:ext cx="668193" cy="390412"/>
          </a:xfrm>
          <a:prstGeom prst="straightConnector1">
            <a:avLst/>
          </a:prstGeom>
          <a:ln w="12700" cap="rnd">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737" name="Rechteck 87">
            <a:extLst>
              <a:ext uri="{FF2B5EF4-FFF2-40B4-BE49-F238E27FC236}">
                <a16:creationId xmlns:a16="http://schemas.microsoft.com/office/drawing/2014/main" id="{13126DA1-21BC-40E9-A35E-B72C39DCCE93}"/>
              </a:ext>
            </a:extLst>
          </p:cNvPr>
          <p:cNvSpPr/>
          <p:nvPr/>
        </p:nvSpPr>
        <p:spPr bwMode="gray">
          <a:xfrm>
            <a:off x="8683355" y="4931849"/>
            <a:ext cx="1009865" cy="168934"/>
          </a:xfrm>
          <a:prstGeom prst="rect">
            <a:avLst/>
          </a:prstGeom>
          <a:noFill/>
          <a:ln w="12700">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lgn="ctr">
              <a:spcBef>
                <a:spcPts val="300"/>
              </a:spcBef>
              <a:buClr>
                <a:srgbClr val="002897"/>
              </a:buClr>
              <a:buSzPct val="70000"/>
            </a:pPr>
            <a:r>
              <a:rPr lang="de-DE" sz="1400" dirty="0" err="1">
                <a:solidFill>
                  <a:schemeClr val="tx1"/>
                </a:solidFill>
              </a:rPr>
              <a:t>Waste</a:t>
            </a:r>
            <a:r>
              <a:rPr lang="de-DE" sz="1400" dirty="0">
                <a:solidFill>
                  <a:schemeClr val="tx1"/>
                </a:solidFill>
              </a:rPr>
              <a:t> gas</a:t>
            </a:r>
          </a:p>
        </p:txBody>
      </p:sp>
      <p:cxnSp>
        <p:nvCxnSpPr>
          <p:cNvPr id="1738" name="Straight Arrow Connector 1737">
            <a:extLst>
              <a:ext uri="{FF2B5EF4-FFF2-40B4-BE49-F238E27FC236}">
                <a16:creationId xmlns:a16="http://schemas.microsoft.com/office/drawing/2014/main" id="{EDF148FB-692E-48C4-841B-9DC2CD537825}"/>
              </a:ext>
            </a:extLst>
          </p:cNvPr>
          <p:cNvCxnSpPr>
            <a:cxnSpLocks/>
          </p:cNvCxnSpPr>
          <p:nvPr/>
        </p:nvCxnSpPr>
        <p:spPr bwMode="gray">
          <a:xfrm flipH="1" flipV="1">
            <a:off x="10695363" y="3344074"/>
            <a:ext cx="180852" cy="105668"/>
          </a:xfrm>
          <a:prstGeom prst="straightConnector1">
            <a:avLst/>
          </a:prstGeom>
          <a:ln w="12700" cap="rnd">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42" name="Straight Arrow Connector 1741">
            <a:extLst>
              <a:ext uri="{FF2B5EF4-FFF2-40B4-BE49-F238E27FC236}">
                <a16:creationId xmlns:a16="http://schemas.microsoft.com/office/drawing/2014/main" id="{FA8C4D0B-4129-4E02-AF21-32DBDCE6A18D}"/>
              </a:ext>
            </a:extLst>
          </p:cNvPr>
          <p:cNvCxnSpPr>
            <a:cxnSpLocks/>
          </p:cNvCxnSpPr>
          <p:nvPr/>
        </p:nvCxnSpPr>
        <p:spPr bwMode="gray">
          <a:xfrm flipH="1" flipV="1">
            <a:off x="10695363" y="2934499"/>
            <a:ext cx="180852" cy="105668"/>
          </a:xfrm>
          <a:prstGeom prst="straightConnector1">
            <a:avLst/>
          </a:prstGeom>
          <a:ln w="12700" cap="rnd">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1743" name="Straight Arrow Connector 1742">
            <a:extLst>
              <a:ext uri="{FF2B5EF4-FFF2-40B4-BE49-F238E27FC236}">
                <a16:creationId xmlns:a16="http://schemas.microsoft.com/office/drawing/2014/main" id="{AC163E7F-E1E6-4126-AEFB-36AC9007D069}"/>
              </a:ext>
            </a:extLst>
          </p:cNvPr>
          <p:cNvCxnSpPr>
            <a:cxnSpLocks/>
          </p:cNvCxnSpPr>
          <p:nvPr/>
        </p:nvCxnSpPr>
        <p:spPr bwMode="gray">
          <a:xfrm flipH="1" flipV="1">
            <a:off x="10695363" y="3753650"/>
            <a:ext cx="180852" cy="105668"/>
          </a:xfrm>
          <a:prstGeom prst="straightConnector1">
            <a:avLst/>
          </a:prstGeom>
          <a:ln w="12700" cap="rnd">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1744" name="Rechteck 87">
            <a:extLst>
              <a:ext uri="{FF2B5EF4-FFF2-40B4-BE49-F238E27FC236}">
                <a16:creationId xmlns:a16="http://schemas.microsoft.com/office/drawing/2014/main" id="{13AB0E36-46B4-4699-9051-228CC9A743B4}"/>
              </a:ext>
            </a:extLst>
          </p:cNvPr>
          <p:cNvSpPr/>
          <p:nvPr/>
        </p:nvSpPr>
        <p:spPr bwMode="gray">
          <a:xfrm>
            <a:off x="8122159" y="2327627"/>
            <a:ext cx="1009865" cy="168934"/>
          </a:xfrm>
          <a:prstGeom prst="rect">
            <a:avLst/>
          </a:prstGeom>
          <a:noFill/>
          <a:ln w="12700">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lgn="ctr">
              <a:spcBef>
                <a:spcPts val="300"/>
              </a:spcBef>
              <a:buClr>
                <a:srgbClr val="002897"/>
              </a:buClr>
              <a:buSzPct val="70000"/>
            </a:pPr>
            <a:r>
              <a:rPr lang="de-DE" sz="1400" dirty="0">
                <a:solidFill>
                  <a:schemeClr val="tx1"/>
                </a:solidFill>
              </a:rPr>
              <a:t>Boiler</a:t>
            </a:r>
          </a:p>
        </p:txBody>
      </p:sp>
      <p:sp>
        <p:nvSpPr>
          <p:cNvPr id="1745" name="Rechteck 87">
            <a:extLst>
              <a:ext uri="{FF2B5EF4-FFF2-40B4-BE49-F238E27FC236}">
                <a16:creationId xmlns:a16="http://schemas.microsoft.com/office/drawing/2014/main" id="{ADC2D4A0-7CB6-476B-A48E-211B16896572}"/>
              </a:ext>
            </a:extLst>
          </p:cNvPr>
          <p:cNvSpPr/>
          <p:nvPr/>
        </p:nvSpPr>
        <p:spPr bwMode="gray">
          <a:xfrm>
            <a:off x="9599153" y="2100384"/>
            <a:ext cx="1181970" cy="168934"/>
          </a:xfrm>
          <a:prstGeom prst="rect">
            <a:avLst/>
          </a:prstGeom>
          <a:noFill/>
          <a:ln w="12700">
            <a:noFill/>
          </a:ln>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spcBef>
                <a:spcPts val="300"/>
              </a:spcBef>
              <a:buClr>
                <a:srgbClr val="002897"/>
              </a:buClr>
              <a:buSzPct val="70000"/>
            </a:pPr>
            <a:r>
              <a:rPr lang="de-DE" sz="1400" dirty="0" err="1">
                <a:solidFill>
                  <a:schemeClr val="tx1"/>
                </a:solidFill>
              </a:rPr>
              <a:t>Water</a:t>
            </a:r>
            <a:r>
              <a:rPr lang="de-DE" sz="1400" dirty="0">
                <a:solidFill>
                  <a:schemeClr val="tx1"/>
                </a:solidFill>
              </a:rPr>
              <a:t>-gas shift </a:t>
            </a:r>
            <a:r>
              <a:rPr lang="de-DE" sz="1400" dirty="0" err="1">
                <a:solidFill>
                  <a:schemeClr val="tx1"/>
                </a:solidFill>
              </a:rPr>
              <a:t>reactor</a:t>
            </a:r>
            <a:endParaRPr lang="de-DE" sz="1400" dirty="0">
              <a:solidFill>
                <a:schemeClr val="tx1"/>
              </a:solidFill>
            </a:endParaRPr>
          </a:p>
        </p:txBody>
      </p:sp>
      <p:sp>
        <p:nvSpPr>
          <p:cNvPr id="1746" name="Rechteck 87">
            <a:extLst>
              <a:ext uri="{FF2B5EF4-FFF2-40B4-BE49-F238E27FC236}">
                <a16:creationId xmlns:a16="http://schemas.microsoft.com/office/drawing/2014/main" id="{D5026BB5-FF82-4CEE-B955-EADF873F7851}"/>
              </a:ext>
            </a:extLst>
          </p:cNvPr>
          <p:cNvSpPr/>
          <p:nvPr/>
        </p:nvSpPr>
        <p:spPr bwMode="gray">
          <a:xfrm>
            <a:off x="10964449" y="3435872"/>
            <a:ext cx="1268811" cy="168934"/>
          </a:xfrm>
          <a:prstGeom prst="rect">
            <a:avLst/>
          </a:prstGeom>
          <a:noFill/>
          <a:ln w="12700">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spcBef>
                <a:spcPts val="300"/>
              </a:spcBef>
              <a:buClr>
                <a:srgbClr val="002897"/>
              </a:buClr>
              <a:buSzPct val="70000"/>
            </a:pPr>
            <a:r>
              <a:rPr lang="de-DE" sz="1400" dirty="0">
                <a:solidFill>
                  <a:schemeClr val="tx1"/>
                </a:solidFill>
              </a:rPr>
              <a:t>Heat </a:t>
            </a:r>
            <a:r>
              <a:rPr lang="de-DE" sz="1400" dirty="0" err="1">
                <a:solidFill>
                  <a:schemeClr val="tx1"/>
                </a:solidFill>
              </a:rPr>
              <a:t>exchangers</a:t>
            </a:r>
            <a:endParaRPr lang="de-DE" sz="1400" dirty="0">
              <a:solidFill>
                <a:schemeClr val="tx1"/>
              </a:solidFill>
            </a:endParaRPr>
          </a:p>
        </p:txBody>
      </p:sp>
      <p:sp>
        <p:nvSpPr>
          <p:cNvPr id="1747" name="Rechteck 87">
            <a:extLst>
              <a:ext uri="{FF2B5EF4-FFF2-40B4-BE49-F238E27FC236}">
                <a16:creationId xmlns:a16="http://schemas.microsoft.com/office/drawing/2014/main" id="{21779F56-32EE-4FB2-9F01-A5BED3A1EE6A}"/>
              </a:ext>
            </a:extLst>
          </p:cNvPr>
          <p:cNvSpPr/>
          <p:nvPr/>
        </p:nvSpPr>
        <p:spPr bwMode="gray">
          <a:xfrm>
            <a:off x="10602451" y="5176787"/>
            <a:ext cx="1398984" cy="168934"/>
          </a:xfrm>
          <a:prstGeom prst="rect">
            <a:avLst/>
          </a:prstGeom>
          <a:noFill/>
          <a:ln w="12700">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spcBef>
                <a:spcPts val="300"/>
              </a:spcBef>
              <a:buClr>
                <a:srgbClr val="002897"/>
              </a:buClr>
              <a:buSzPct val="70000"/>
            </a:pPr>
            <a:r>
              <a:rPr lang="de-DE" sz="1400" dirty="0" err="1">
                <a:solidFill>
                  <a:schemeClr val="tx1"/>
                </a:solidFill>
              </a:rPr>
              <a:t>Pressure</a:t>
            </a:r>
            <a:r>
              <a:rPr lang="de-DE" sz="1400" dirty="0">
                <a:solidFill>
                  <a:schemeClr val="tx1"/>
                </a:solidFill>
              </a:rPr>
              <a:t> swing </a:t>
            </a:r>
            <a:r>
              <a:rPr lang="de-DE" sz="1400" dirty="0" err="1">
                <a:solidFill>
                  <a:schemeClr val="tx1"/>
                </a:solidFill>
              </a:rPr>
              <a:t>adsorbers</a:t>
            </a:r>
            <a:endParaRPr lang="de-DE" sz="1400" dirty="0">
              <a:solidFill>
                <a:schemeClr val="tx1"/>
              </a:solidFill>
            </a:endParaRPr>
          </a:p>
        </p:txBody>
      </p:sp>
      <p:sp>
        <p:nvSpPr>
          <p:cNvPr id="1748" name="Rechteck 87">
            <a:extLst>
              <a:ext uri="{FF2B5EF4-FFF2-40B4-BE49-F238E27FC236}">
                <a16:creationId xmlns:a16="http://schemas.microsoft.com/office/drawing/2014/main" id="{8B3E6E6E-D276-4295-A0B5-3B4A73352019}"/>
              </a:ext>
            </a:extLst>
          </p:cNvPr>
          <p:cNvSpPr/>
          <p:nvPr/>
        </p:nvSpPr>
        <p:spPr bwMode="gray">
          <a:xfrm>
            <a:off x="7786726" y="3565012"/>
            <a:ext cx="1268811" cy="168934"/>
          </a:xfrm>
          <a:prstGeom prst="rect">
            <a:avLst/>
          </a:prstGeom>
          <a:noFill/>
          <a:ln w="12700">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spcBef>
                <a:spcPts val="300"/>
              </a:spcBef>
              <a:buClr>
                <a:srgbClr val="002897"/>
              </a:buClr>
              <a:buSzPct val="70000"/>
            </a:pPr>
            <a:r>
              <a:rPr lang="de-DE" sz="1400" dirty="0">
                <a:solidFill>
                  <a:schemeClr val="tx1"/>
                </a:solidFill>
              </a:rPr>
              <a:t>Reformer </a:t>
            </a:r>
            <a:r>
              <a:rPr lang="de-DE" sz="1400" dirty="0" err="1">
                <a:solidFill>
                  <a:schemeClr val="tx1"/>
                </a:solidFill>
              </a:rPr>
              <a:t>tubes</a:t>
            </a:r>
            <a:endParaRPr lang="de-DE" sz="1400" dirty="0">
              <a:solidFill>
                <a:schemeClr val="tx1"/>
              </a:solidFill>
            </a:endParaRPr>
          </a:p>
        </p:txBody>
      </p:sp>
      <p:sp>
        <p:nvSpPr>
          <p:cNvPr id="1749" name="Rechteck 87">
            <a:extLst>
              <a:ext uri="{FF2B5EF4-FFF2-40B4-BE49-F238E27FC236}">
                <a16:creationId xmlns:a16="http://schemas.microsoft.com/office/drawing/2014/main" id="{6303BF11-BB42-433A-BA92-F39FB6950767}"/>
              </a:ext>
            </a:extLst>
          </p:cNvPr>
          <p:cNvSpPr/>
          <p:nvPr/>
        </p:nvSpPr>
        <p:spPr bwMode="gray">
          <a:xfrm>
            <a:off x="5615026" y="2132290"/>
            <a:ext cx="1268811" cy="168934"/>
          </a:xfrm>
          <a:prstGeom prst="rect">
            <a:avLst/>
          </a:prstGeom>
          <a:noFill/>
          <a:ln w="12700">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lgn="r">
              <a:spcBef>
                <a:spcPts val="300"/>
              </a:spcBef>
              <a:buClr>
                <a:srgbClr val="002897"/>
              </a:buClr>
              <a:buSzPct val="70000"/>
            </a:pPr>
            <a:r>
              <a:rPr lang="de-DE" sz="1400" dirty="0">
                <a:solidFill>
                  <a:schemeClr val="tx1"/>
                </a:solidFill>
              </a:rPr>
              <a:t>Gas </a:t>
            </a:r>
            <a:br>
              <a:rPr lang="de-DE" sz="1400" dirty="0">
                <a:solidFill>
                  <a:schemeClr val="tx1"/>
                </a:solidFill>
              </a:rPr>
            </a:br>
            <a:r>
              <a:rPr lang="de-DE" sz="1400" dirty="0" err="1">
                <a:solidFill>
                  <a:schemeClr val="tx1"/>
                </a:solidFill>
              </a:rPr>
              <a:t>burners</a:t>
            </a:r>
            <a:endParaRPr lang="de-DE" sz="1400" dirty="0">
              <a:solidFill>
                <a:schemeClr val="tx1"/>
              </a:solidFill>
            </a:endParaRPr>
          </a:p>
        </p:txBody>
      </p:sp>
      <p:cxnSp>
        <p:nvCxnSpPr>
          <p:cNvPr id="1750" name="Straight Arrow Connector 1749">
            <a:extLst>
              <a:ext uri="{FF2B5EF4-FFF2-40B4-BE49-F238E27FC236}">
                <a16:creationId xmlns:a16="http://schemas.microsoft.com/office/drawing/2014/main" id="{A87560EA-1C50-414F-9523-18F1B4041B05}"/>
              </a:ext>
            </a:extLst>
          </p:cNvPr>
          <p:cNvCxnSpPr>
            <a:cxnSpLocks/>
          </p:cNvCxnSpPr>
          <p:nvPr/>
        </p:nvCxnSpPr>
        <p:spPr bwMode="gray">
          <a:xfrm flipH="1" flipV="1">
            <a:off x="7456863" y="3110713"/>
            <a:ext cx="488083" cy="285176"/>
          </a:xfrm>
          <a:prstGeom prst="straightConnector1">
            <a:avLst/>
          </a:prstGeom>
          <a:ln w="12700" cap="rnd">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753" name="Straight Arrow Connector 1752">
            <a:extLst>
              <a:ext uri="{FF2B5EF4-FFF2-40B4-BE49-F238E27FC236}">
                <a16:creationId xmlns:a16="http://schemas.microsoft.com/office/drawing/2014/main" id="{8F03CE93-5E27-479E-8CFB-D65CFFE2EAFE}"/>
              </a:ext>
            </a:extLst>
          </p:cNvPr>
          <p:cNvCxnSpPr>
            <a:cxnSpLocks/>
          </p:cNvCxnSpPr>
          <p:nvPr/>
        </p:nvCxnSpPr>
        <p:spPr bwMode="gray">
          <a:xfrm flipH="1" flipV="1">
            <a:off x="6717707" y="2500236"/>
            <a:ext cx="274733" cy="160522"/>
          </a:xfrm>
          <a:prstGeom prst="straightConnector1">
            <a:avLst/>
          </a:prstGeom>
          <a:ln w="12700" cap="rnd">
            <a:solidFill>
              <a:schemeClr val="tx1"/>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757" name="Rechteck 87">
            <a:extLst>
              <a:ext uri="{FF2B5EF4-FFF2-40B4-BE49-F238E27FC236}">
                <a16:creationId xmlns:a16="http://schemas.microsoft.com/office/drawing/2014/main" id="{8BB7F7EF-4134-40DA-9C3A-777B252F2518}"/>
              </a:ext>
            </a:extLst>
          </p:cNvPr>
          <p:cNvSpPr/>
          <p:nvPr/>
        </p:nvSpPr>
        <p:spPr bwMode="gray">
          <a:xfrm>
            <a:off x="6939002" y="4231761"/>
            <a:ext cx="961872" cy="168934"/>
          </a:xfrm>
          <a:prstGeom prst="rect">
            <a:avLst/>
          </a:prstGeom>
          <a:noFill/>
          <a:ln w="12700">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spcBef>
                <a:spcPts val="300"/>
              </a:spcBef>
              <a:buClr>
                <a:srgbClr val="002897"/>
              </a:buClr>
              <a:buSzPct val="70000"/>
            </a:pPr>
            <a:r>
              <a:rPr lang="de-DE" sz="1400" dirty="0">
                <a:solidFill>
                  <a:schemeClr val="tx1"/>
                </a:solidFill>
              </a:rPr>
              <a:t>Pipe </a:t>
            </a:r>
            <a:r>
              <a:rPr lang="de-DE" sz="1400" dirty="0" err="1">
                <a:solidFill>
                  <a:schemeClr val="tx1"/>
                </a:solidFill>
              </a:rPr>
              <a:t>coil</a:t>
            </a:r>
            <a:endParaRPr lang="de-DE" sz="1400" dirty="0">
              <a:solidFill>
                <a:schemeClr val="tx1"/>
              </a:solidFill>
            </a:endParaRPr>
          </a:p>
        </p:txBody>
      </p:sp>
      <p:cxnSp>
        <p:nvCxnSpPr>
          <p:cNvPr id="1758" name="Straight Arrow Connector 1757">
            <a:extLst>
              <a:ext uri="{FF2B5EF4-FFF2-40B4-BE49-F238E27FC236}">
                <a16:creationId xmlns:a16="http://schemas.microsoft.com/office/drawing/2014/main" id="{9ABF76EE-8CC0-49E5-980E-399B26D69B9B}"/>
              </a:ext>
            </a:extLst>
          </p:cNvPr>
          <p:cNvCxnSpPr>
            <a:cxnSpLocks/>
          </p:cNvCxnSpPr>
          <p:nvPr/>
        </p:nvCxnSpPr>
        <p:spPr bwMode="gray">
          <a:xfrm flipH="1" flipV="1">
            <a:off x="6551988" y="3815563"/>
            <a:ext cx="488083" cy="285176"/>
          </a:xfrm>
          <a:prstGeom prst="straightConnector1">
            <a:avLst/>
          </a:prstGeom>
          <a:ln w="12700" cap="rnd">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1759" name="Rechteck 87">
            <a:extLst>
              <a:ext uri="{FF2B5EF4-FFF2-40B4-BE49-F238E27FC236}">
                <a16:creationId xmlns:a16="http://schemas.microsoft.com/office/drawing/2014/main" id="{C8B3E262-C442-4CA2-AC82-772577EFF486}"/>
              </a:ext>
            </a:extLst>
          </p:cNvPr>
          <p:cNvSpPr/>
          <p:nvPr/>
        </p:nvSpPr>
        <p:spPr bwMode="gray">
          <a:xfrm>
            <a:off x="6329402" y="4533386"/>
            <a:ext cx="1328428" cy="168934"/>
          </a:xfrm>
          <a:prstGeom prst="rect">
            <a:avLst/>
          </a:prstGeom>
          <a:noFill/>
          <a:ln w="12700">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spcBef>
                <a:spcPts val="300"/>
              </a:spcBef>
              <a:buClr>
                <a:srgbClr val="002897"/>
              </a:buClr>
              <a:buSzPct val="70000"/>
            </a:pPr>
            <a:r>
              <a:rPr lang="de-DE" sz="1400" dirty="0">
                <a:solidFill>
                  <a:schemeClr val="tx1"/>
                </a:solidFill>
              </a:rPr>
              <a:t>Steam </a:t>
            </a:r>
            <a:r>
              <a:rPr lang="de-DE" sz="1400" dirty="0" err="1">
                <a:solidFill>
                  <a:schemeClr val="tx1"/>
                </a:solidFill>
              </a:rPr>
              <a:t>added</a:t>
            </a:r>
            <a:endParaRPr lang="de-DE" sz="1400" dirty="0">
              <a:solidFill>
                <a:schemeClr val="tx1"/>
              </a:solidFill>
            </a:endParaRPr>
          </a:p>
        </p:txBody>
      </p:sp>
      <p:sp>
        <p:nvSpPr>
          <p:cNvPr id="1761" name="Arrow: Down 1760">
            <a:extLst>
              <a:ext uri="{FF2B5EF4-FFF2-40B4-BE49-F238E27FC236}">
                <a16:creationId xmlns:a16="http://schemas.microsoft.com/office/drawing/2014/main" id="{60993B64-7EDC-4C57-B598-9E195567C8BD}"/>
              </a:ext>
            </a:extLst>
          </p:cNvPr>
          <p:cNvSpPr/>
          <p:nvPr/>
        </p:nvSpPr>
        <p:spPr bwMode="gray">
          <a:xfrm>
            <a:off x="5967823" y="3136749"/>
            <a:ext cx="431384" cy="1059250"/>
          </a:xfrm>
          <a:prstGeom prst="downArrow">
            <a:avLst/>
          </a:prstGeom>
          <a:solidFill>
            <a:srgbClr val="FF000F">
              <a:alpha val="74902"/>
            </a:srgbClr>
          </a:solidFill>
          <a:ln>
            <a:noFill/>
          </a:ln>
          <a:scene3d>
            <a:camera prst="isometricBottom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vert="vert270" lIns="0" tIns="0" rIns="36000" bIns="0" rtlCol="0" anchor="ctr"/>
          <a:lstStyle/>
          <a:p>
            <a:pPr algn="ctr">
              <a:spcBef>
                <a:spcPts val="300"/>
              </a:spcBef>
              <a:buClr>
                <a:srgbClr val="002897"/>
              </a:buClr>
              <a:buSzPct val="70000"/>
            </a:pPr>
            <a:r>
              <a:rPr lang="de-DE" sz="1400" dirty="0" err="1">
                <a:solidFill>
                  <a:schemeClr val="bg1"/>
                </a:solidFill>
              </a:rPr>
              <a:t>Flue</a:t>
            </a:r>
            <a:r>
              <a:rPr lang="de-DE" sz="1400" dirty="0">
                <a:solidFill>
                  <a:schemeClr val="bg1"/>
                </a:solidFill>
              </a:rPr>
              <a:t> gas</a:t>
            </a:r>
          </a:p>
        </p:txBody>
      </p:sp>
      <p:cxnSp>
        <p:nvCxnSpPr>
          <p:cNvPr id="1765" name="Straight Arrow Connector 1764">
            <a:extLst>
              <a:ext uri="{FF2B5EF4-FFF2-40B4-BE49-F238E27FC236}">
                <a16:creationId xmlns:a16="http://schemas.microsoft.com/office/drawing/2014/main" id="{28898FA0-26F8-43D2-87EE-C68FFEFADBD3}"/>
              </a:ext>
            </a:extLst>
          </p:cNvPr>
          <p:cNvCxnSpPr>
            <a:cxnSpLocks/>
          </p:cNvCxnSpPr>
          <p:nvPr/>
        </p:nvCxnSpPr>
        <p:spPr bwMode="gray">
          <a:xfrm flipV="1">
            <a:off x="8322036" y="4427024"/>
            <a:ext cx="550106" cy="316726"/>
          </a:xfrm>
          <a:prstGeom prst="straightConnector1">
            <a:avLst/>
          </a:prstGeom>
          <a:ln w="12700" cap="rnd">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1767" name="Straight Arrow Connector 1766">
            <a:extLst>
              <a:ext uri="{FF2B5EF4-FFF2-40B4-BE49-F238E27FC236}">
                <a16:creationId xmlns:a16="http://schemas.microsoft.com/office/drawing/2014/main" id="{8965AAB3-380E-4AFD-9196-558D7E0D6708}"/>
              </a:ext>
            </a:extLst>
          </p:cNvPr>
          <p:cNvCxnSpPr>
            <a:cxnSpLocks/>
          </p:cNvCxnSpPr>
          <p:nvPr/>
        </p:nvCxnSpPr>
        <p:spPr bwMode="gray">
          <a:xfrm flipH="1" flipV="1">
            <a:off x="9399963" y="2134399"/>
            <a:ext cx="180852" cy="105668"/>
          </a:xfrm>
          <a:prstGeom prst="straightConnector1">
            <a:avLst/>
          </a:prstGeom>
          <a:ln w="12700" cap="rnd">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1768" name="Straight Arrow Connector 1767">
            <a:extLst>
              <a:ext uri="{FF2B5EF4-FFF2-40B4-BE49-F238E27FC236}">
                <a16:creationId xmlns:a16="http://schemas.microsoft.com/office/drawing/2014/main" id="{591AB8B4-B20F-4ADC-998E-211E1BF74F21}"/>
              </a:ext>
            </a:extLst>
          </p:cNvPr>
          <p:cNvCxnSpPr>
            <a:cxnSpLocks/>
          </p:cNvCxnSpPr>
          <p:nvPr/>
        </p:nvCxnSpPr>
        <p:spPr bwMode="gray">
          <a:xfrm flipV="1">
            <a:off x="5626461" y="4745943"/>
            <a:ext cx="244344" cy="140682"/>
          </a:xfrm>
          <a:prstGeom prst="straightConnector1">
            <a:avLst/>
          </a:prstGeom>
          <a:ln w="12700" cap="rnd">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770" name="Rechteck 87">
            <a:extLst>
              <a:ext uri="{FF2B5EF4-FFF2-40B4-BE49-F238E27FC236}">
                <a16:creationId xmlns:a16="http://schemas.microsoft.com/office/drawing/2014/main" id="{68E82C1B-0D44-4A36-B89E-0EBCF06D01E0}"/>
              </a:ext>
            </a:extLst>
          </p:cNvPr>
          <p:cNvSpPr/>
          <p:nvPr/>
        </p:nvSpPr>
        <p:spPr bwMode="gray">
          <a:xfrm>
            <a:off x="3775835" y="2076158"/>
            <a:ext cx="1268811" cy="168934"/>
          </a:xfrm>
          <a:prstGeom prst="rect">
            <a:avLst/>
          </a:prstGeom>
          <a:noFill/>
          <a:ln w="12700">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lgn="r">
              <a:spcBef>
                <a:spcPts val="300"/>
              </a:spcBef>
              <a:buClr>
                <a:srgbClr val="002897"/>
              </a:buClr>
              <a:buSzPct val="70000"/>
            </a:pPr>
            <a:r>
              <a:rPr lang="de-DE" sz="1400" dirty="0">
                <a:solidFill>
                  <a:schemeClr val="tx1"/>
                </a:solidFill>
              </a:rPr>
              <a:t>Low </a:t>
            </a:r>
            <a:r>
              <a:rPr lang="de-DE" sz="1400" dirty="0" err="1">
                <a:solidFill>
                  <a:schemeClr val="tx1"/>
                </a:solidFill>
              </a:rPr>
              <a:t>level</a:t>
            </a:r>
            <a:r>
              <a:rPr lang="de-DE" sz="1400" dirty="0">
                <a:solidFill>
                  <a:schemeClr val="tx1"/>
                </a:solidFill>
              </a:rPr>
              <a:t> </a:t>
            </a:r>
            <a:br>
              <a:rPr lang="de-DE" sz="1400" dirty="0">
                <a:solidFill>
                  <a:schemeClr val="tx1"/>
                </a:solidFill>
              </a:rPr>
            </a:br>
            <a:r>
              <a:rPr lang="de-DE" sz="1400" dirty="0" err="1">
                <a:solidFill>
                  <a:schemeClr val="tx1"/>
                </a:solidFill>
              </a:rPr>
              <a:t>heat</a:t>
            </a:r>
            <a:r>
              <a:rPr lang="de-DE" sz="1400" dirty="0">
                <a:solidFill>
                  <a:schemeClr val="tx1"/>
                </a:solidFill>
              </a:rPr>
              <a:t> </a:t>
            </a:r>
            <a:r>
              <a:rPr lang="de-DE" sz="1400" dirty="0" err="1">
                <a:solidFill>
                  <a:schemeClr val="tx1"/>
                </a:solidFill>
              </a:rPr>
              <a:t>released</a:t>
            </a:r>
            <a:endParaRPr lang="de-DE" sz="1400" dirty="0">
              <a:solidFill>
                <a:schemeClr val="tx1"/>
              </a:solidFill>
            </a:endParaRPr>
          </a:p>
        </p:txBody>
      </p:sp>
      <p:sp>
        <p:nvSpPr>
          <p:cNvPr id="1772" name="Rechteck 87">
            <a:extLst>
              <a:ext uri="{FF2B5EF4-FFF2-40B4-BE49-F238E27FC236}">
                <a16:creationId xmlns:a16="http://schemas.microsoft.com/office/drawing/2014/main" id="{8A00ABBE-4291-4742-98AD-5023A8468E15}"/>
              </a:ext>
            </a:extLst>
          </p:cNvPr>
          <p:cNvSpPr/>
          <p:nvPr/>
        </p:nvSpPr>
        <p:spPr bwMode="gray">
          <a:xfrm>
            <a:off x="5054413" y="5600867"/>
            <a:ext cx="1935819" cy="168934"/>
          </a:xfrm>
          <a:prstGeom prst="rect">
            <a:avLst/>
          </a:prstGeom>
          <a:noFill/>
          <a:ln w="12700">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spcBef>
                <a:spcPts val="300"/>
              </a:spcBef>
              <a:buClr>
                <a:srgbClr val="002897"/>
              </a:buClr>
              <a:buSzPct val="70000"/>
            </a:pPr>
            <a:r>
              <a:rPr lang="de-DE" sz="1400" dirty="0">
                <a:solidFill>
                  <a:schemeClr val="tx1"/>
                </a:solidFill>
              </a:rPr>
              <a:t>Sulfur </a:t>
            </a:r>
            <a:r>
              <a:rPr lang="de-DE" sz="1400" dirty="0" err="1">
                <a:solidFill>
                  <a:schemeClr val="tx1"/>
                </a:solidFill>
              </a:rPr>
              <a:t>removal</a:t>
            </a:r>
            <a:r>
              <a:rPr lang="de-DE" sz="1400" dirty="0">
                <a:solidFill>
                  <a:schemeClr val="tx1"/>
                </a:solidFill>
              </a:rPr>
              <a:t> </a:t>
            </a:r>
            <a:br>
              <a:rPr lang="de-DE" sz="1400" dirty="0">
                <a:solidFill>
                  <a:schemeClr val="tx1"/>
                </a:solidFill>
              </a:rPr>
            </a:br>
            <a:r>
              <a:rPr lang="de-DE" sz="1400" dirty="0" err="1">
                <a:solidFill>
                  <a:schemeClr val="tx1"/>
                </a:solidFill>
              </a:rPr>
              <a:t>vessel</a:t>
            </a:r>
            <a:endParaRPr lang="de-DE" sz="1400" dirty="0">
              <a:solidFill>
                <a:schemeClr val="tx1"/>
              </a:solidFill>
            </a:endParaRPr>
          </a:p>
        </p:txBody>
      </p:sp>
      <p:cxnSp>
        <p:nvCxnSpPr>
          <p:cNvPr id="1776" name="Straight Arrow Connector 1775">
            <a:extLst>
              <a:ext uri="{FF2B5EF4-FFF2-40B4-BE49-F238E27FC236}">
                <a16:creationId xmlns:a16="http://schemas.microsoft.com/office/drawing/2014/main" id="{960A1C1E-C6F3-4F5D-858C-D27DEBCC7E7E}"/>
              </a:ext>
            </a:extLst>
          </p:cNvPr>
          <p:cNvCxnSpPr>
            <a:cxnSpLocks/>
          </p:cNvCxnSpPr>
          <p:nvPr/>
        </p:nvCxnSpPr>
        <p:spPr bwMode="gray">
          <a:xfrm flipH="1" flipV="1">
            <a:off x="10174664" y="4634713"/>
            <a:ext cx="606459" cy="354341"/>
          </a:xfrm>
          <a:prstGeom prst="straightConnector1">
            <a:avLst/>
          </a:prstGeom>
          <a:ln w="12700" cap="rnd">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1778" name="Straight Arrow Connector 1777">
            <a:extLst>
              <a:ext uri="{FF2B5EF4-FFF2-40B4-BE49-F238E27FC236}">
                <a16:creationId xmlns:a16="http://schemas.microsoft.com/office/drawing/2014/main" id="{94A95AA3-9794-4AE1-8438-EED5542920BF}"/>
              </a:ext>
            </a:extLst>
          </p:cNvPr>
          <p:cNvCxnSpPr>
            <a:cxnSpLocks/>
          </p:cNvCxnSpPr>
          <p:nvPr/>
        </p:nvCxnSpPr>
        <p:spPr bwMode="gray">
          <a:xfrm flipV="1">
            <a:off x="10680923" y="4094389"/>
            <a:ext cx="213637" cy="123003"/>
          </a:xfrm>
          <a:prstGeom prst="straightConnector1">
            <a:avLst/>
          </a:prstGeom>
          <a:ln w="12700" cap="rnd">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grpSp>
        <p:nvGrpSpPr>
          <p:cNvPr id="441" name="Group 440">
            <a:extLst>
              <a:ext uri="{FF2B5EF4-FFF2-40B4-BE49-F238E27FC236}">
                <a16:creationId xmlns:a16="http://schemas.microsoft.com/office/drawing/2014/main" id="{2508AAEA-820C-4305-B85E-D042A4783936}"/>
              </a:ext>
            </a:extLst>
          </p:cNvPr>
          <p:cNvGrpSpPr/>
          <p:nvPr/>
        </p:nvGrpSpPr>
        <p:grpSpPr bwMode="gray">
          <a:xfrm>
            <a:off x="4895066" y="2242520"/>
            <a:ext cx="323262" cy="2103901"/>
            <a:chOff x="10707801" y="2360759"/>
            <a:chExt cx="323262" cy="2103901"/>
          </a:xfrm>
        </p:grpSpPr>
        <p:sp>
          <p:nvSpPr>
            <p:cNvPr id="438" name="Freeform: Shape 437">
              <a:extLst>
                <a:ext uri="{FF2B5EF4-FFF2-40B4-BE49-F238E27FC236}">
                  <a16:creationId xmlns:a16="http://schemas.microsoft.com/office/drawing/2014/main" id="{7CC4CA38-B552-4DC5-8598-1230B80DA679}"/>
                </a:ext>
              </a:extLst>
            </p:cNvPr>
            <p:cNvSpPr/>
            <p:nvPr/>
          </p:nvSpPr>
          <p:spPr bwMode="gray">
            <a:xfrm>
              <a:off x="10707801" y="2360759"/>
              <a:ext cx="323251" cy="2103901"/>
            </a:xfrm>
            <a:custGeom>
              <a:avLst/>
              <a:gdLst>
                <a:gd name="connsiteX0" fmla="*/ 161626 w 323251"/>
                <a:gd name="connsiteY0" fmla="*/ 0 h 2103901"/>
                <a:gd name="connsiteX1" fmla="*/ 323251 w 323251"/>
                <a:gd name="connsiteY1" fmla="*/ 96482 h 2103901"/>
                <a:gd name="connsiteX2" fmla="*/ 323251 w 323251"/>
                <a:gd name="connsiteY2" fmla="*/ 1027782 h 2103901"/>
                <a:gd name="connsiteX3" fmla="*/ 323251 w 323251"/>
                <a:gd name="connsiteY3" fmla="*/ 1076448 h 2103901"/>
                <a:gd name="connsiteX4" fmla="*/ 323251 w 323251"/>
                <a:gd name="connsiteY4" fmla="*/ 1999346 h 2103901"/>
                <a:gd name="connsiteX5" fmla="*/ 323251 w 323251"/>
                <a:gd name="connsiteY5" fmla="*/ 2000023 h 2103901"/>
                <a:gd name="connsiteX6" fmla="*/ 323251 w 323251"/>
                <a:gd name="connsiteY6" fmla="*/ 2007418 h 2103901"/>
                <a:gd name="connsiteX7" fmla="*/ 161626 w 323251"/>
                <a:gd name="connsiteY7" fmla="*/ 2103901 h 2103901"/>
                <a:gd name="connsiteX8" fmla="*/ 113563 w 323251"/>
                <a:gd name="connsiteY8" fmla="*/ 2099563 h 2103901"/>
                <a:gd name="connsiteX9" fmla="*/ 0 w 323251"/>
                <a:gd name="connsiteY9" fmla="*/ 2007418 h 2103901"/>
                <a:gd name="connsiteX10" fmla="*/ 0 w 323251"/>
                <a:gd name="connsiteY10" fmla="*/ 2000023 h 2103901"/>
                <a:gd name="connsiteX11" fmla="*/ 0 w 323251"/>
                <a:gd name="connsiteY11" fmla="*/ 1999346 h 2103901"/>
                <a:gd name="connsiteX12" fmla="*/ 0 w 323251"/>
                <a:gd name="connsiteY12" fmla="*/ 1076448 h 2103901"/>
                <a:gd name="connsiteX13" fmla="*/ 0 w 323251"/>
                <a:gd name="connsiteY13" fmla="*/ 1027782 h 2103901"/>
                <a:gd name="connsiteX14" fmla="*/ 0 w 323251"/>
                <a:gd name="connsiteY14" fmla="*/ 96483 h 2103901"/>
                <a:gd name="connsiteX15" fmla="*/ 0 w 323251"/>
                <a:gd name="connsiteY15" fmla="*/ 96482 h 2103901"/>
                <a:gd name="connsiteX16" fmla="*/ 161626 w 323251"/>
                <a:gd name="connsiteY16" fmla="*/ 0 h 2103901"/>
                <a:gd name="connsiteX0" fmla="*/ 161626 w 323251"/>
                <a:gd name="connsiteY0" fmla="*/ 0 h 2103901"/>
                <a:gd name="connsiteX1" fmla="*/ 323251 w 323251"/>
                <a:gd name="connsiteY1" fmla="*/ 96482 h 2103901"/>
                <a:gd name="connsiteX2" fmla="*/ 323251 w 323251"/>
                <a:gd name="connsiteY2" fmla="*/ 1076448 h 2103901"/>
                <a:gd name="connsiteX3" fmla="*/ 323251 w 323251"/>
                <a:gd name="connsiteY3" fmla="*/ 1999346 h 2103901"/>
                <a:gd name="connsiteX4" fmla="*/ 323251 w 323251"/>
                <a:gd name="connsiteY4" fmla="*/ 2000023 h 2103901"/>
                <a:gd name="connsiteX5" fmla="*/ 323251 w 323251"/>
                <a:gd name="connsiteY5" fmla="*/ 2007418 h 2103901"/>
                <a:gd name="connsiteX6" fmla="*/ 161626 w 323251"/>
                <a:gd name="connsiteY6" fmla="*/ 2103901 h 2103901"/>
                <a:gd name="connsiteX7" fmla="*/ 113563 w 323251"/>
                <a:gd name="connsiteY7" fmla="*/ 2099563 h 2103901"/>
                <a:gd name="connsiteX8" fmla="*/ 0 w 323251"/>
                <a:gd name="connsiteY8" fmla="*/ 2007418 h 2103901"/>
                <a:gd name="connsiteX9" fmla="*/ 0 w 323251"/>
                <a:gd name="connsiteY9" fmla="*/ 2000023 h 2103901"/>
                <a:gd name="connsiteX10" fmla="*/ 0 w 323251"/>
                <a:gd name="connsiteY10" fmla="*/ 1999346 h 2103901"/>
                <a:gd name="connsiteX11" fmla="*/ 0 w 323251"/>
                <a:gd name="connsiteY11" fmla="*/ 1076448 h 2103901"/>
                <a:gd name="connsiteX12" fmla="*/ 0 w 323251"/>
                <a:gd name="connsiteY12" fmla="*/ 1027782 h 2103901"/>
                <a:gd name="connsiteX13" fmla="*/ 0 w 323251"/>
                <a:gd name="connsiteY13" fmla="*/ 96483 h 2103901"/>
                <a:gd name="connsiteX14" fmla="*/ 0 w 323251"/>
                <a:gd name="connsiteY14" fmla="*/ 96482 h 2103901"/>
                <a:gd name="connsiteX15" fmla="*/ 161626 w 323251"/>
                <a:gd name="connsiteY15" fmla="*/ 0 h 2103901"/>
                <a:gd name="connsiteX0" fmla="*/ 161626 w 323251"/>
                <a:gd name="connsiteY0" fmla="*/ 0 h 2103901"/>
                <a:gd name="connsiteX1" fmla="*/ 323251 w 323251"/>
                <a:gd name="connsiteY1" fmla="*/ 96482 h 2103901"/>
                <a:gd name="connsiteX2" fmla="*/ 323251 w 323251"/>
                <a:gd name="connsiteY2" fmla="*/ 1999346 h 2103901"/>
                <a:gd name="connsiteX3" fmla="*/ 323251 w 323251"/>
                <a:gd name="connsiteY3" fmla="*/ 2000023 h 2103901"/>
                <a:gd name="connsiteX4" fmla="*/ 323251 w 323251"/>
                <a:gd name="connsiteY4" fmla="*/ 2007418 h 2103901"/>
                <a:gd name="connsiteX5" fmla="*/ 161626 w 323251"/>
                <a:gd name="connsiteY5" fmla="*/ 2103901 h 2103901"/>
                <a:gd name="connsiteX6" fmla="*/ 113563 w 323251"/>
                <a:gd name="connsiteY6" fmla="*/ 2099563 h 2103901"/>
                <a:gd name="connsiteX7" fmla="*/ 0 w 323251"/>
                <a:gd name="connsiteY7" fmla="*/ 2007418 h 2103901"/>
                <a:gd name="connsiteX8" fmla="*/ 0 w 323251"/>
                <a:gd name="connsiteY8" fmla="*/ 2000023 h 2103901"/>
                <a:gd name="connsiteX9" fmla="*/ 0 w 323251"/>
                <a:gd name="connsiteY9" fmla="*/ 1999346 h 2103901"/>
                <a:gd name="connsiteX10" fmla="*/ 0 w 323251"/>
                <a:gd name="connsiteY10" fmla="*/ 1076448 h 2103901"/>
                <a:gd name="connsiteX11" fmla="*/ 0 w 323251"/>
                <a:gd name="connsiteY11" fmla="*/ 1027782 h 2103901"/>
                <a:gd name="connsiteX12" fmla="*/ 0 w 323251"/>
                <a:gd name="connsiteY12" fmla="*/ 96483 h 2103901"/>
                <a:gd name="connsiteX13" fmla="*/ 0 w 323251"/>
                <a:gd name="connsiteY13" fmla="*/ 96482 h 2103901"/>
                <a:gd name="connsiteX14" fmla="*/ 161626 w 323251"/>
                <a:gd name="connsiteY14" fmla="*/ 0 h 2103901"/>
                <a:gd name="connsiteX0" fmla="*/ 161626 w 323251"/>
                <a:gd name="connsiteY0" fmla="*/ 0 h 2103901"/>
                <a:gd name="connsiteX1" fmla="*/ 323251 w 323251"/>
                <a:gd name="connsiteY1" fmla="*/ 96482 h 2103901"/>
                <a:gd name="connsiteX2" fmla="*/ 323251 w 323251"/>
                <a:gd name="connsiteY2" fmla="*/ 1999346 h 2103901"/>
                <a:gd name="connsiteX3" fmla="*/ 323251 w 323251"/>
                <a:gd name="connsiteY3" fmla="*/ 2000023 h 2103901"/>
                <a:gd name="connsiteX4" fmla="*/ 323251 w 323251"/>
                <a:gd name="connsiteY4" fmla="*/ 2007418 h 2103901"/>
                <a:gd name="connsiteX5" fmla="*/ 161626 w 323251"/>
                <a:gd name="connsiteY5" fmla="*/ 2103901 h 2103901"/>
                <a:gd name="connsiteX6" fmla="*/ 113563 w 323251"/>
                <a:gd name="connsiteY6" fmla="*/ 2099563 h 2103901"/>
                <a:gd name="connsiteX7" fmla="*/ 0 w 323251"/>
                <a:gd name="connsiteY7" fmla="*/ 2007418 h 2103901"/>
                <a:gd name="connsiteX8" fmla="*/ 0 w 323251"/>
                <a:gd name="connsiteY8" fmla="*/ 2000023 h 2103901"/>
                <a:gd name="connsiteX9" fmla="*/ 0 w 323251"/>
                <a:gd name="connsiteY9" fmla="*/ 1999346 h 2103901"/>
                <a:gd name="connsiteX10" fmla="*/ 0 w 323251"/>
                <a:gd name="connsiteY10" fmla="*/ 1076448 h 2103901"/>
                <a:gd name="connsiteX11" fmla="*/ 0 w 323251"/>
                <a:gd name="connsiteY11" fmla="*/ 96483 h 2103901"/>
                <a:gd name="connsiteX12" fmla="*/ 0 w 323251"/>
                <a:gd name="connsiteY12" fmla="*/ 96482 h 2103901"/>
                <a:gd name="connsiteX13" fmla="*/ 161626 w 323251"/>
                <a:gd name="connsiteY13" fmla="*/ 0 h 2103901"/>
                <a:gd name="connsiteX0" fmla="*/ 161626 w 323251"/>
                <a:gd name="connsiteY0" fmla="*/ 0 h 2103901"/>
                <a:gd name="connsiteX1" fmla="*/ 323251 w 323251"/>
                <a:gd name="connsiteY1" fmla="*/ 96482 h 2103901"/>
                <a:gd name="connsiteX2" fmla="*/ 323251 w 323251"/>
                <a:gd name="connsiteY2" fmla="*/ 1999346 h 2103901"/>
                <a:gd name="connsiteX3" fmla="*/ 323251 w 323251"/>
                <a:gd name="connsiteY3" fmla="*/ 2000023 h 2103901"/>
                <a:gd name="connsiteX4" fmla="*/ 323251 w 323251"/>
                <a:gd name="connsiteY4" fmla="*/ 2007418 h 2103901"/>
                <a:gd name="connsiteX5" fmla="*/ 161626 w 323251"/>
                <a:gd name="connsiteY5" fmla="*/ 2103901 h 2103901"/>
                <a:gd name="connsiteX6" fmla="*/ 113563 w 323251"/>
                <a:gd name="connsiteY6" fmla="*/ 2099563 h 2103901"/>
                <a:gd name="connsiteX7" fmla="*/ 0 w 323251"/>
                <a:gd name="connsiteY7" fmla="*/ 2007418 h 2103901"/>
                <a:gd name="connsiteX8" fmla="*/ 0 w 323251"/>
                <a:gd name="connsiteY8" fmla="*/ 2000023 h 2103901"/>
                <a:gd name="connsiteX9" fmla="*/ 0 w 323251"/>
                <a:gd name="connsiteY9" fmla="*/ 1999346 h 2103901"/>
                <a:gd name="connsiteX10" fmla="*/ 0 w 323251"/>
                <a:gd name="connsiteY10" fmla="*/ 96483 h 2103901"/>
                <a:gd name="connsiteX11" fmla="*/ 0 w 323251"/>
                <a:gd name="connsiteY11" fmla="*/ 96482 h 2103901"/>
                <a:gd name="connsiteX12" fmla="*/ 161626 w 323251"/>
                <a:gd name="connsiteY12" fmla="*/ 0 h 210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3251" h="2103901">
                  <a:moveTo>
                    <a:pt x="161626" y="0"/>
                  </a:moveTo>
                  <a:cubicBezTo>
                    <a:pt x="250889" y="0"/>
                    <a:pt x="323251" y="43197"/>
                    <a:pt x="323251" y="96482"/>
                  </a:cubicBezTo>
                  <a:lnTo>
                    <a:pt x="323251" y="1999346"/>
                  </a:lnTo>
                  <a:lnTo>
                    <a:pt x="323251" y="2000023"/>
                  </a:lnTo>
                  <a:lnTo>
                    <a:pt x="323251" y="2007418"/>
                  </a:lnTo>
                  <a:cubicBezTo>
                    <a:pt x="323251" y="2060704"/>
                    <a:pt x="250889" y="2103901"/>
                    <a:pt x="161626" y="2103901"/>
                  </a:cubicBezTo>
                  <a:cubicBezTo>
                    <a:pt x="144889" y="2103901"/>
                    <a:pt x="128746" y="2102382"/>
                    <a:pt x="113563" y="2099563"/>
                  </a:cubicBezTo>
                  <a:cubicBezTo>
                    <a:pt x="47771" y="2087348"/>
                    <a:pt x="0" y="2050713"/>
                    <a:pt x="0" y="2007418"/>
                  </a:cubicBezTo>
                  <a:lnTo>
                    <a:pt x="0" y="2000023"/>
                  </a:lnTo>
                  <a:lnTo>
                    <a:pt x="0" y="1999346"/>
                  </a:lnTo>
                  <a:lnTo>
                    <a:pt x="0" y="96483"/>
                  </a:lnTo>
                  <a:lnTo>
                    <a:pt x="0" y="96482"/>
                  </a:lnTo>
                  <a:cubicBezTo>
                    <a:pt x="0" y="43197"/>
                    <a:pt x="72362" y="0"/>
                    <a:pt x="161626" y="0"/>
                  </a:cubicBez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439" name="Oval 438">
              <a:extLst>
                <a:ext uri="{FF2B5EF4-FFF2-40B4-BE49-F238E27FC236}">
                  <a16:creationId xmlns:a16="http://schemas.microsoft.com/office/drawing/2014/main" id="{76085D8B-45CA-4C36-9BE0-BBD5F31258E1}"/>
                </a:ext>
              </a:extLst>
            </p:cNvPr>
            <p:cNvSpPr/>
            <p:nvPr/>
          </p:nvSpPr>
          <p:spPr bwMode="gray">
            <a:xfrm>
              <a:off x="10707812" y="2360759"/>
              <a:ext cx="323251" cy="193799"/>
            </a:xfrm>
            <a:prstGeom prst="ellipse">
              <a:avLst/>
            </a:pr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440" name="Oval 439">
              <a:extLst>
                <a:ext uri="{FF2B5EF4-FFF2-40B4-BE49-F238E27FC236}">
                  <a16:creationId xmlns:a16="http://schemas.microsoft.com/office/drawing/2014/main" id="{6C777952-5344-4E6F-82B4-FD1E5E8D9E4B}"/>
                </a:ext>
              </a:extLst>
            </p:cNvPr>
            <p:cNvSpPr/>
            <p:nvPr/>
          </p:nvSpPr>
          <p:spPr bwMode="gray">
            <a:xfrm>
              <a:off x="10769267" y="2393237"/>
              <a:ext cx="200343" cy="116804"/>
            </a:xfrm>
            <a:prstGeom prst="ellipse">
              <a:avLst/>
            </a:prstGeom>
            <a:gradFill>
              <a:gsLst>
                <a:gs pos="2679">
                  <a:schemeClr val="accent2"/>
                </a:gs>
                <a:gs pos="29000">
                  <a:schemeClr val="accent3"/>
                </a:gs>
                <a:gs pos="87000">
                  <a:schemeClr val="bg1"/>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459" name="Group 458">
            <a:extLst>
              <a:ext uri="{FF2B5EF4-FFF2-40B4-BE49-F238E27FC236}">
                <a16:creationId xmlns:a16="http://schemas.microsoft.com/office/drawing/2014/main" id="{3DEDEA67-8538-42DA-8931-A6FF830E3078}"/>
              </a:ext>
            </a:extLst>
          </p:cNvPr>
          <p:cNvGrpSpPr/>
          <p:nvPr/>
        </p:nvGrpSpPr>
        <p:grpSpPr bwMode="gray">
          <a:xfrm>
            <a:off x="4793759" y="4355154"/>
            <a:ext cx="535690" cy="1052623"/>
            <a:chOff x="2708474" y="3152105"/>
            <a:chExt cx="785568" cy="1543628"/>
          </a:xfrm>
        </p:grpSpPr>
        <p:grpSp>
          <p:nvGrpSpPr>
            <p:cNvPr id="568" name="Group 567">
              <a:extLst>
                <a:ext uri="{FF2B5EF4-FFF2-40B4-BE49-F238E27FC236}">
                  <a16:creationId xmlns:a16="http://schemas.microsoft.com/office/drawing/2014/main" id="{189DAC28-DE75-400C-A39B-DAC1D2BCAACF}"/>
                </a:ext>
              </a:extLst>
            </p:cNvPr>
            <p:cNvGrpSpPr>
              <a:grpSpLocks noChangeAspect="1"/>
            </p:cNvGrpSpPr>
            <p:nvPr/>
          </p:nvGrpSpPr>
          <p:grpSpPr bwMode="gray">
            <a:xfrm>
              <a:off x="2727247" y="3152105"/>
              <a:ext cx="748022" cy="1543628"/>
              <a:chOff x="11328335" y="-4317835"/>
              <a:chExt cx="4668701" cy="9634382"/>
            </a:xfrm>
          </p:grpSpPr>
          <p:sp>
            <p:nvSpPr>
              <p:cNvPr id="575" name="Freeform: Shape 574">
                <a:extLst>
                  <a:ext uri="{FF2B5EF4-FFF2-40B4-BE49-F238E27FC236}">
                    <a16:creationId xmlns:a16="http://schemas.microsoft.com/office/drawing/2014/main" id="{088A6F2B-3E7B-4564-A128-F4EE5C576231}"/>
                  </a:ext>
                </a:extLst>
              </p:cNvPr>
              <p:cNvSpPr/>
              <p:nvPr/>
            </p:nvSpPr>
            <p:spPr bwMode="gray">
              <a:xfrm>
                <a:off x="11328340" y="-2436351"/>
                <a:ext cx="4668696" cy="7752898"/>
              </a:xfrm>
              <a:custGeom>
                <a:avLst/>
                <a:gdLst>
                  <a:gd name="connsiteX0" fmla="*/ 0 w 4668696"/>
                  <a:gd name="connsiteY0" fmla="*/ 0 h 7752898"/>
                  <a:gd name="connsiteX1" fmla="*/ 2334351 w 4668696"/>
                  <a:gd name="connsiteY1" fmla="*/ 1360996 h 7752898"/>
                  <a:gd name="connsiteX2" fmla="*/ 4668696 w 4668696"/>
                  <a:gd name="connsiteY2" fmla="*/ 0 h 7752898"/>
                  <a:gd name="connsiteX3" fmla="*/ 4668696 w 4668696"/>
                  <a:gd name="connsiteY3" fmla="*/ 518590 h 7752898"/>
                  <a:gd name="connsiteX4" fmla="*/ 4668696 w 4668696"/>
                  <a:gd name="connsiteY4" fmla="*/ 1183985 h 7752898"/>
                  <a:gd name="connsiteX5" fmla="*/ 4668696 w 4668696"/>
                  <a:gd name="connsiteY5" fmla="*/ 1359877 h 7752898"/>
                  <a:gd name="connsiteX6" fmla="*/ 4668696 w 4668696"/>
                  <a:gd name="connsiteY6" fmla="*/ 1416060 h 7752898"/>
                  <a:gd name="connsiteX7" fmla="*/ 4668696 w 4668696"/>
                  <a:gd name="connsiteY7" fmla="*/ 1878467 h 7752898"/>
                  <a:gd name="connsiteX8" fmla="*/ 4668696 w 4668696"/>
                  <a:gd name="connsiteY8" fmla="*/ 2543862 h 7752898"/>
                  <a:gd name="connsiteX9" fmla="*/ 4668696 w 4668696"/>
                  <a:gd name="connsiteY9" fmla="*/ 2775937 h 7752898"/>
                  <a:gd name="connsiteX10" fmla="*/ 4668696 w 4668696"/>
                  <a:gd name="connsiteY10" fmla="*/ 4513435 h 7752898"/>
                  <a:gd name="connsiteX11" fmla="*/ 4668696 w 4668696"/>
                  <a:gd name="connsiteY11" fmla="*/ 5032025 h 7752898"/>
                  <a:gd name="connsiteX12" fmla="*/ 4668696 w 4668696"/>
                  <a:gd name="connsiteY12" fmla="*/ 5873312 h 7752898"/>
                  <a:gd name="connsiteX13" fmla="*/ 4668696 w 4668696"/>
                  <a:gd name="connsiteY13" fmla="*/ 6391902 h 7752898"/>
                  <a:gd name="connsiteX14" fmla="*/ 2334351 w 4668696"/>
                  <a:gd name="connsiteY14" fmla="*/ 7752898 h 7752898"/>
                  <a:gd name="connsiteX15" fmla="*/ 0 w 4668696"/>
                  <a:gd name="connsiteY15" fmla="*/ 6391902 h 7752898"/>
                  <a:gd name="connsiteX16" fmla="*/ 0 w 4668696"/>
                  <a:gd name="connsiteY16" fmla="*/ 5873312 h 7752898"/>
                  <a:gd name="connsiteX17" fmla="*/ 0 w 4668696"/>
                  <a:gd name="connsiteY17" fmla="*/ 5032025 h 7752898"/>
                  <a:gd name="connsiteX18" fmla="*/ 0 w 4668696"/>
                  <a:gd name="connsiteY18" fmla="*/ 4513435 h 7752898"/>
                  <a:gd name="connsiteX19" fmla="*/ 0 w 4668696"/>
                  <a:gd name="connsiteY19" fmla="*/ 2775937 h 7752898"/>
                  <a:gd name="connsiteX20" fmla="*/ 0 w 4668696"/>
                  <a:gd name="connsiteY20" fmla="*/ 2543862 h 7752898"/>
                  <a:gd name="connsiteX21" fmla="*/ 0 w 4668696"/>
                  <a:gd name="connsiteY21" fmla="*/ 1878467 h 7752898"/>
                  <a:gd name="connsiteX22" fmla="*/ 0 w 4668696"/>
                  <a:gd name="connsiteY22" fmla="*/ 1416060 h 7752898"/>
                  <a:gd name="connsiteX23" fmla="*/ 0 w 4668696"/>
                  <a:gd name="connsiteY23" fmla="*/ 1359877 h 7752898"/>
                  <a:gd name="connsiteX24" fmla="*/ 0 w 4668696"/>
                  <a:gd name="connsiteY24" fmla="*/ 1183985 h 7752898"/>
                  <a:gd name="connsiteX25" fmla="*/ 0 w 4668696"/>
                  <a:gd name="connsiteY25" fmla="*/ 518590 h 775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668696" h="7752898">
                    <a:moveTo>
                      <a:pt x="0" y="0"/>
                    </a:moveTo>
                    <a:cubicBezTo>
                      <a:pt x="0" y="751661"/>
                      <a:pt x="1045123" y="1360996"/>
                      <a:pt x="2334351" y="1360996"/>
                    </a:cubicBezTo>
                    <a:cubicBezTo>
                      <a:pt x="3623580" y="1360996"/>
                      <a:pt x="4668696" y="751661"/>
                      <a:pt x="4668696" y="0"/>
                    </a:cubicBezTo>
                    <a:lnTo>
                      <a:pt x="4668696" y="518590"/>
                    </a:lnTo>
                    <a:lnTo>
                      <a:pt x="4668696" y="1183985"/>
                    </a:lnTo>
                    <a:lnTo>
                      <a:pt x="4668696" y="1359877"/>
                    </a:lnTo>
                    <a:lnTo>
                      <a:pt x="4668696" y="1416060"/>
                    </a:lnTo>
                    <a:lnTo>
                      <a:pt x="4668696" y="1878467"/>
                    </a:lnTo>
                    <a:lnTo>
                      <a:pt x="4668696" y="2543862"/>
                    </a:lnTo>
                    <a:lnTo>
                      <a:pt x="4668696" y="2775937"/>
                    </a:lnTo>
                    <a:lnTo>
                      <a:pt x="4668696" y="4513435"/>
                    </a:lnTo>
                    <a:lnTo>
                      <a:pt x="4668696" y="5032025"/>
                    </a:lnTo>
                    <a:lnTo>
                      <a:pt x="4668696" y="5873312"/>
                    </a:lnTo>
                    <a:lnTo>
                      <a:pt x="4668696" y="6391902"/>
                    </a:lnTo>
                    <a:cubicBezTo>
                      <a:pt x="4668696" y="7143563"/>
                      <a:pt x="3623580" y="7752898"/>
                      <a:pt x="2334351" y="7752898"/>
                    </a:cubicBezTo>
                    <a:cubicBezTo>
                      <a:pt x="1045123" y="7752898"/>
                      <a:pt x="0" y="7143563"/>
                      <a:pt x="0" y="6391902"/>
                    </a:cubicBezTo>
                    <a:lnTo>
                      <a:pt x="0" y="5873312"/>
                    </a:lnTo>
                    <a:lnTo>
                      <a:pt x="0" y="5032025"/>
                    </a:lnTo>
                    <a:lnTo>
                      <a:pt x="0" y="4513435"/>
                    </a:lnTo>
                    <a:lnTo>
                      <a:pt x="0" y="2775937"/>
                    </a:lnTo>
                    <a:lnTo>
                      <a:pt x="0" y="2543862"/>
                    </a:lnTo>
                    <a:lnTo>
                      <a:pt x="0" y="1878467"/>
                    </a:lnTo>
                    <a:lnTo>
                      <a:pt x="0" y="1416060"/>
                    </a:lnTo>
                    <a:lnTo>
                      <a:pt x="0" y="1359877"/>
                    </a:lnTo>
                    <a:lnTo>
                      <a:pt x="0" y="1183985"/>
                    </a:lnTo>
                    <a:lnTo>
                      <a:pt x="0" y="518590"/>
                    </a:ln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576" name="Oval 386">
                <a:extLst>
                  <a:ext uri="{FF2B5EF4-FFF2-40B4-BE49-F238E27FC236}">
                    <a16:creationId xmlns:a16="http://schemas.microsoft.com/office/drawing/2014/main" id="{A567602B-49FF-43F1-801B-E890D3EA76EE}"/>
                  </a:ext>
                </a:extLst>
              </p:cNvPr>
              <p:cNvSpPr/>
              <p:nvPr/>
            </p:nvSpPr>
            <p:spPr bwMode="gray">
              <a:xfrm>
                <a:off x="11328335" y="-4317835"/>
                <a:ext cx="4668701" cy="3260985"/>
              </a:xfrm>
              <a:custGeom>
                <a:avLst/>
                <a:gdLst/>
                <a:ahLst/>
                <a:cxnLst/>
                <a:rect l="l" t="t" r="r" b="b"/>
                <a:pathLst>
                  <a:path w="663311" h="463305">
                    <a:moveTo>
                      <a:pt x="331655" y="0"/>
                    </a:moveTo>
                    <a:cubicBezTo>
                      <a:pt x="514823" y="0"/>
                      <a:pt x="663310" y="112246"/>
                      <a:pt x="663310" y="250708"/>
                    </a:cubicBezTo>
                    <a:lnTo>
                      <a:pt x="661962" y="262139"/>
                    </a:lnTo>
                    <a:cubicBezTo>
                      <a:pt x="663221" y="264678"/>
                      <a:pt x="663311" y="267304"/>
                      <a:pt x="663311" y="269942"/>
                    </a:cubicBezTo>
                    <a:cubicBezTo>
                      <a:pt x="663311" y="313321"/>
                      <a:pt x="638811" y="353364"/>
                      <a:pt x="596912" y="384949"/>
                    </a:cubicBezTo>
                    <a:cubicBezTo>
                      <a:pt x="595288" y="386701"/>
                      <a:pt x="593402" y="388150"/>
                      <a:pt x="591093" y="389061"/>
                    </a:cubicBezTo>
                    <a:cubicBezTo>
                      <a:pt x="573619" y="403270"/>
                      <a:pt x="552549" y="415176"/>
                      <a:pt x="528809" y="424643"/>
                    </a:cubicBezTo>
                    <a:cubicBezTo>
                      <a:pt x="526762" y="426193"/>
                      <a:pt x="524451" y="427173"/>
                      <a:pt x="522024" y="427907"/>
                    </a:cubicBezTo>
                    <a:cubicBezTo>
                      <a:pt x="497963" y="438160"/>
                      <a:pt x="471388" y="446239"/>
                      <a:pt x="442869" y="451346"/>
                    </a:cubicBezTo>
                    <a:cubicBezTo>
                      <a:pt x="436763" y="453421"/>
                      <a:pt x="430409" y="454619"/>
                      <a:pt x="423819" y="454794"/>
                    </a:cubicBezTo>
                    <a:cubicBezTo>
                      <a:pt x="394669" y="460657"/>
                      <a:pt x="363693" y="463305"/>
                      <a:pt x="331656" y="463305"/>
                    </a:cubicBezTo>
                    <a:lnTo>
                      <a:pt x="331656" y="463305"/>
                    </a:lnTo>
                    <a:lnTo>
                      <a:pt x="331653" y="463305"/>
                    </a:lnTo>
                    <a:cubicBezTo>
                      <a:pt x="299619" y="463305"/>
                      <a:pt x="268644" y="460657"/>
                      <a:pt x="239495" y="454794"/>
                    </a:cubicBezTo>
                    <a:cubicBezTo>
                      <a:pt x="232903" y="454619"/>
                      <a:pt x="226547" y="453421"/>
                      <a:pt x="220438" y="451345"/>
                    </a:cubicBezTo>
                    <a:cubicBezTo>
                      <a:pt x="191923" y="446238"/>
                      <a:pt x="165350" y="438160"/>
                      <a:pt x="141292" y="427909"/>
                    </a:cubicBezTo>
                    <a:cubicBezTo>
                      <a:pt x="138859" y="427172"/>
                      <a:pt x="136543" y="426191"/>
                      <a:pt x="134491" y="424638"/>
                    </a:cubicBezTo>
                    <a:cubicBezTo>
                      <a:pt x="110759" y="415173"/>
                      <a:pt x="89695" y="403271"/>
                      <a:pt x="72227" y="389065"/>
                    </a:cubicBezTo>
                    <a:cubicBezTo>
                      <a:pt x="69913" y="388153"/>
                      <a:pt x="68023" y="386702"/>
                      <a:pt x="66396" y="384945"/>
                    </a:cubicBezTo>
                    <a:cubicBezTo>
                      <a:pt x="46422" y="370455"/>
                      <a:pt x="30702" y="353570"/>
                      <a:pt x="20522" y="334798"/>
                    </a:cubicBezTo>
                    <a:cubicBezTo>
                      <a:pt x="20522" y="334798"/>
                      <a:pt x="20521" y="334798"/>
                      <a:pt x="20521" y="334797"/>
                    </a:cubicBezTo>
                    <a:lnTo>
                      <a:pt x="20520" y="334795"/>
                    </a:lnTo>
                    <a:cubicBezTo>
                      <a:pt x="6880" y="314974"/>
                      <a:pt x="1" y="292927"/>
                      <a:pt x="1" y="269942"/>
                    </a:cubicBezTo>
                    <a:lnTo>
                      <a:pt x="1349" y="262146"/>
                    </a:lnTo>
                    <a:cubicBezTo>
                      <a:pt x="115" y="258396"/>
                      <a:pt x="0" y="254562"/>
                      <a:pt x="0" y="250708"/>
                    </a:cubicBezTo>
                    <a:cubicBezTo>
                      <a:pt x="0" y="112246"/>
                      <a:pt x="148487" y="0"/>
                      <a:pt x="331655" y="0"/>
                    </a:cubicBezTo>
                    <a:close/>
                  </a:path>
                </a:pathLst>
              </a:custGeom>
              <a:gradFill flip="none" rotWithShape="1">
                <a:gsLst>
                  <a:gs pos="49000">
                    <a:schemeClr val="accent2">
                      <a:lumMod val="0"/>
                      <a:lumOff val="100000"/>
                    </a:schemeClr>
                  </a:gs>
                  <a:gs pos="47287">
                    <a:schemeClr val="accent2">
                      <a:lumMod val="0"/>
                      <a:lumOff val="100000"/>
                    </a:schemeClr>
                  </a:gs>
                  <a:gs pos="76000">
                    <a:schemeClr val="accent4"/>
                  </a:gs>
                </a:gsLst>
                <a:path path="circle">
                  <a:fillToRect r="100000" b="100000"/>
                </a:path>
                <a:tileRect l="-100000" t="-10000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sp>
          <p:nvSpPr>
            <p:cNvPr id="569" name="Freeform: Shape 568">
              <a:extLst>
                <a:ext uri="{FF2B5EF4-FFF2-40B4-BE49-F238E27FC236}">
                  <a16:creationId xmlns:a16="http://schemas.microsoft.com/office/drawing/2014/main" id="{65899E8C-16C4-4A40-904C-801E7F9202B6}"/>
                </a:ext>
              </a:extLst>
            </p:cNvPr>
            <p:cNvSpPr/>
            <p:nvPr/>
          </p:nvSpPr>
          <p:spPr bwMode="gray">
            <a:xfrm>
              <a:off x="2708474" y="4152705"/>
              <a:ext cx="785568" cy="342837"/>
            </a:xfrm>
            <a:custGeom>
              <a:avLst/>
              <a:gdLst>
                <a:gd name="connsiteX0" fmla="*/ 105810 w 4795162"/>
                <a:gd name="connsiteY0" fmla="*/ 0 h 2085043"/>
                <a:gd name="connsiteX1" fmla="*/ 105810 w 4795162"/>
                <a:gd name="connsiteY1" fmla="*/ 381196 h 2085043"/>
                <a:gd name="connsiteX2" fmla="*/ 2163258 w 4795162"/>
                <a:gd name="connsiteY2" fmla="*/ 1721890 h 2085043"/>
                <a:gd name="connsiteX3" fmla="*/ 2397578 w 4795162"/>
                <a:gd name="connsiteY3" fmla="*/ 1728848 h 2085043"/>
                <a:gd name="connsiteX4" fmla="*/ 4689350 w 4795162"/>
                <a:gd name="connsiteY4" fmla="*/ 381196 h 2085043"/>
                <a:gd name="connsiteX5" fmla="*/ 4689350 w 4795162"/>
                <a:gd name="connsiteY5" fmla="*/ 3388 h 2085043"/>
                <a:gd name="connsiteX6" fmla="*/ 4712116 w 4795162"/>
                <a:gd name="connsiteY6" fmla="*/ 45522 h 2085043"/>
                <a:gd name="connsiteX7" fmla="*/ 4795162 w 4795162"/>
                <a:gd name="connsiteY7" fmla="*/ 414723 h 2085043"/>
                <a:gd name="connsiteX8" fmla="*/ 4795162 w 4795162"/>
                <a:gd name="connsiteY8" fmla="*/ 828519 h 2085043"/>
                <a:gd name="connsiteX9" fmla="*/ 4760114 w 4795162"/>
                <a:gd name="connsiteY9" fmla="*/ 962408 h 2085043"/>
                <a:gd name="connsiteX10" fmla="*/ 2397584 w 4795162"/>
                <a:gd name="connsiteY10" fmla="*/ 2085043 h 2085043"/>
                <a:gd name="connsiteX11" fmla="*/ 35048 w 4795162"/>
                <a:gd name="connsiteY11" fmla="*/ 962408 h 2085043"/>
                <a:gd name="connsiteX12" fmla="*/ 2 w 4795162"/>
                <a:gd name="connsiteY12" fmla="*/ 828526 h 2085043"/>
                <a:gd name="connsiteX13" fmla="*/ 2 w 4795162"/>
                <a:gd name="connsiteY13" fmla="*/ 414735 h 2085043"/>
                <a:gd name="connsiteX14" fmla="*/ 0 w 4795162"/>
                <a:gd name="connsiteY14" fmla="*/ 414723 h 2085043"/>
                <a:gd name="connsiteX15" fmla="*/ 48710 w 4795162"/>
                <a:gd name="connsiteY15" fmla="*/ 130585 h 2085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95162" h="2085043">
                  <a:moveTo>
                    <a:pt x="105810" y="0"/>
                  </a:moveTo>
                  <a:lnTo>
                    <a:pt x="105810" y="381196"/>
                  </a:lnTo>
                  <a:cubicBezTo>
                    <a:pt x="105810" y="1078966"/>
                    <a:pt x="1007620" y="1652877"/>
                    <a:pt x="2163258" y="1721890"/>
                  </a:cubicBezTo>
                  <a:cubicBezTo>
                    <a:pt x="2240302" y="1726491"/>
                    <a:pt x="2318472" y="1728848"/>
                    <a:pt x="2397578" y="1728848"/>
                  </a:cubicBezTo>
                  <a:cubicBezTo>
                    <a:pt x="3663290" y="1728848"/>
                    <a:pt x="4689350" y="1125484"/>
                    <a:pt x="4689350" y="381196"/>
                  </a:cubicBezTo>
                  <a:lnTo>
                    <a:pt x="4689350" y="3388"/>
                  </a:lnTo>
                  <a:lnTo>
                    <a:pt x="4712116" y="45522"/>
                  </a:lnTo>
                  <a:cubicBezTo>
                    <a:pt x="4766268" y="163197"/>
                    <a:pt x="4795162" y="286976"/>
                    <a:pt x="4795162" y="414723"/>
                  </a:cubicBezTo>
                  <a:lnTo>
                    <a:pt x="4795162" y="828519"/>
                  </a:lnTo>
                  <a:lnTo>
                    <a:pt x="4760114" y="962408"/>
                  </a:lnTo>
                  <a:cubicBezTo>
                    <a:pt x="4535250" y="1603097"/>
                    <a:pt x="3562956" y="2085043"/>
                    <a:pt x="2397584" y="2085043"/>
                  </a:cubicBezTo>
                  <a:cubicBezTo>
                    <a:pt x="1232212" y="2085043"/>
                    <a:pt x="259914" y="1603097"/>
                    <a:pt x="35048" y="962408"/>
                  </a:cubicBezTo>
                  <a:lnTo>
                    <a:pt x="2" y="828526"/>
                  </a:lnTo>
                  <a:lnTo>
                    <a:pt x="2" y="414735"/>
                  </a:lnTo>
                  <a:lnTo>
                    <a:pt x="0" y="414723"/>
                  </a:lnTo>
                  <a:cubicBezTo>
                    <a:pt x="0" y="317392"/>
                    <a:pt x="16772" y="222364"/>
                    <a:pt x="48710" y="130585"/>
                  </a:cubicBez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570" name="Freeform: Shape 569">
              <a:extLst>
                <a:ext uri="{FF2B5EF4-FFF2-40B4-BE49-F238E27FC236}">
                  <a16:creationId xmlns:a16="http://schemas.microsoft.com/office/drawing/2014/main" id="{9D7E1FAB-2A48-45C6-AFF5-0BF5043C0C79}"/>
                </a:ext>
              </a:extLst>
            </p:cNvPr>
            <p:cNvSpPr/>
            <p:nvPr/>
          </p:nvSpPr>
          <p:spPr bwMode="gray">
            <a:xfrm>
              <a:off x="2708474" y="3390875"/>
              <a:ext cx="785568" cy="342837"/>
            </a:xfrm>
            <a:custGeom>
              <a:avLst/>
              <a:gdLst>
                <a:gd name="connsiteX0" fmla="*/ 105810 w 4795162"/>
                <a:gd name="connsiteY0" fmla="*/ 0 h 2085043"/>
                <a:gd name="connsiteX1" fmla="*/ 105810 w 4795162"/>
                <a:gd name="connsiteY1" fmla="*/ 381196 h 2085043"/>
                <a:gd name="connsiteX2" fmla="*/ 2163258 w 4795162"/>
                <a:gd name="connsiteY2" fmla="*/ 1721890 h 2085043"/>
                <a:gd name="connsiteX3" fmla="*/ 2397578 w 4795162"/>
                <a:gd name="connsiteY3" fmla="*/ 1728848 h 2085043"/>
                <a:gd name="connsiteX4" fmla="*/ 4689350 w 4795162"/>
                <a:gd name="connsiteY4" fmla="*/ 381196 h 2085043"/>
                <a:gd name="connsiteX5" fmla="*/ 4689350 w 4795162"/>
                <a:gd name="connsiteY5" fmla="*/ 3388 h 2085043"/>
                <a:gd name="connsiteX6" fmla="*/ 4712116 w 4795162"/>
                <a:gd name="connsiteY6" fmla="*/ 45522 h 2085043"/>
                <a:gd name="connsiteX7" fmla="*/ 4795162 w 4795162"/>
                <a:gd name="connsiteY7" fmla="*/ 414723 h 2085043"/>
                <a:gd name="connsiteX8" fmla="*/ 4795162 w 4795162"/>
                <a:gd name="connsiteY8" fmla="*/ 828519 h 2085043"/>
                <a:gd name="connsiteX9" fmla="*/ 4760114 w 4795162"/>
                <a:gd name="connsiteY9" fmla="*/ 962408 h 2085043"/>
                <a:gd name="connsiteX10" fmla="*/ 2397584 w 4795162"/>
                <a:gd name="connsiteY10" fmla="*/ 2085043 h 2085043"/>
                <a:gd name="connsiteX11" fmla="*/ 35048 w 4795162"/>
                <a:gd name="connsiteY11" fmla="*/ 962408 h 2085043"/>
                <a:gd name="connsiteX12" fmla="*/ 2 w 4795162"/>
                <a:gd name="connsiteY12" fmla="*/ 828526 h 2085043"/>
                <a:gd name="connsiteX13" fmla="*/ 2 w 4795162"/>
                <a:gd name="connsiteY13" fmla="*/ 414735 h 2085043"/>
                <a:gd name="connsiteX14" fmla="*/ 0 w 4795162"/>
                <a:gd name="connsiteY14" fmla="*/ 414723 h 2085043"/>
                <a:gd name="connsiteX15" fmla="*/ 48710 w 4795162"/>
                <a:gd name="connsiteY15" fmla="*/ 130585 h 2085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95162" h="2085043">
                  <a:moveTo>
                    <a:pt x="105810" y="0"/>
                  </a:moveTo>
                  <a:lnTo>
                    <a:pt x="105810" y="381196"/>
                  </a:lnTo>
                  <a:cubicBezTo>
                    <a:pt x="105810" y="1078966"/>
                    <a:pt x="1007620" y="1652877"/>
                    <a:pt x="2163258" y="1721890"/>
                  </a:cubicBezTo>
                  <a:cubicBezTo>
                    <a:pt x="2240302" y="1726491"/>
                    <a:pt x="2318472" y="1728848"/>
                    <a:pt x="2397578" y="1728848"/>
                  </a:cubicBezTo>
                  <a:cubicBezTo>
                    <a:pt x="3663290" y="1728848"/>
                    <a:pt x="4689350" y="1125484"/>
                    <a:pt x="4689350" y="381196"/>
                  </a:cubicBezTo>
                  <a:lnTo>
                    <a:pt x="4689350" y="3388"/>
                  </a:lnTo>
                  <a:lnTo>
                    <a:pt x="4712116" y="45522"/>
                  </a:lnTo>
                  <a:cubicBezTo>
                    <a:pt x="4766268" y="163197"/>
                    <a:pt x="4795162" y="286976"/>
                    <a:pt x="4795162" y="414723"/>
                  </a:cubicBezTo>
                  <a:lnTo>
                    <a:pt x="4795162" y="828519"/>
                  </a:lnTo>
                  <a:lnTo>
                    <a:pt x="4760114" y="962408"/>
                  </a:lnTo>
                  <a:cubicBezTo>
                    <a:pt x="4535250" y="1603097"/>
                    <a:pt x="3562956" y="2085043"/>
                    <a:pt x="2397584" y="2085043"/>
                  </a:cubicBezTo>
                  <a:cubicBezTo>
                    <a:pt x="1232212" y="2085043"/>
                    <a:pt x="259914" y="1603097"/>
                    <a:pt x="35048" y="962408"/>
                  </a:cubicBezTo>
                  <a:lnTo>
                    <a:pt x="2" y="828526"/>
                  </a:lnTo>
                  <a:lnTo>
                    <a:pt x="2" y="414735"/>
                  </a:lnTo>
                  <a:lnTo>
                    <a:pt x="0" y="414723"/>
                  </a:lnTo>
                  <a:cubicBezTo>
                    <a:pt x="0" y="317392"/>
                    <a:pt x="16772" y="222364"/>
                    <a:pt x="48710" y="130585"/>
                  </a:cubicBez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597" name="Freeform: Shape 596">
              <a:extLst>
                <a:ext uri="{FF2B5EF4-FFF2-40B4-BE49-F238E27FC236}">
                  <a16:creationId xmlns:a16="http://schemas.microsoft.com/office/drawing/2014/main" id="{105AEBD3-EA0C-4CA3-B69D-F654CBF61385}"/>
                </a:ext>
              </a:extLst>
            </p:cNvPr>
            <p:cNvSpPr/>
            <p:nvPr/>
          </p:nvSpPr>
          <p:spPr bwMode="gray">
            <a:xfrm>
              <a:off x="2708474" y="3644818"/>
              <a:ext cx="785568" cy="342837"/>
            </a:xfrm>
            <a:custGeom>
              <a:avLst/>
              <a:gdLst>
                <a:gd name="connsiteX0" fmla="*/ 105810 w 4795162"/>
                <a:gd name="connsiteY0" fmla="*/ 0 h 2085043"/>
                <a:gd name="connsiteX1" fmla="*/ 105810 w 4795162"/>
                <a:gd name="connsiteY1" fmla="*/ 381196 h 2085043"/>
                <a:gd name="connsiteX2" fmla="*/ 2163258 w 4795162"/>
                <a:gd name="connsiteY2" fmla="*/ 1721890 h 2085043"/>
                <a:gd name="connsiteX3" fmla="*/ 2397578 w 4795162"/>
                <a:gd name="connsiteY3" fmla="*/ 1728848 h 2085043"/>
                <a:gd name="connsiteX4" fmla="*/ 4689350 w 4795162"/>
                <a:gd name="connsiteY4" fmla="*/ 381196 h 2085043"/>
                <a:gd name="connsiteX5" fmla="*/ 4689350 w 4795162"/>
                <a:gd name="connsiteY5" fmla="*/ 3388 h 2085043"/>
                <a:gd name="connsiteX6" fmla="*/ 4712116 w 4795162"/>
                <a:gd name="connsiteY6" fmla="*/ 45522 h 2085043"/>
                <a:gd name="connsiteX7" fmla="*/ 4795162 w 4795162"/>
                <a:gd name="connsiteY7" fmla="*/ 414723 h 2085043"/>
                <a:gd name="connsiteX8" fmla="*/ 4795162 w 4795162"/>
                <a:gd name="connsiteY8" fmla="*/ 828519 h 2085043"/>
                <a:gd name="connsiteX9" fmla="*/ 4760114 w 4795162"/>
                <a:gd name="connsiteY9" fmla="*/ 962408 h 2085043"/>
                <a:gd name="connsiteX10" fmla="*/ 2397584 w 4795162"/>
                <a:gd name="connsiteY10" fmla="*/ 2085043 h 2085043"/>
                <a:gd name="connsiteX11" fmla="*/ 35048 w 4795162"/>
                <a:gd name="connsiteY11" fmla="*/ 962408 h 2085043"/>
                <a:gd name="connsiteX12" fmla="*/ 2 w 4795162"/>
                <a:gd name="connsiteY12" fmla="*/ 828526 h 2085043"/>
                <a:gd name="connsiteX13" fmla="*/ 2 w 4795162"/>
                <a:gd name="connsiteY13" fmla="*/ 414735 h 2085043"/>
                <a:gd name="connsiteX14" fmla="*/ 0 w 4795162"/>
                <a:gd name="connsiteY14" fmla="*/ 414723 h 2085043"/>
                <a:gd name="connsiteX15" fmla="*/ 48710 w 4795162"/>
                <a:gd name="connsiteY15" fmla="*/ 130585 h 2085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95162" h="2085043">
                  <a:moveTo>
                    <a:pt x="105810" y="0"/>
                  </a:moveTo>
                  <a:lnTo>
                    <a:pt x="105810" y="381196"/>
                  </a:lnTo>
                  <a:cubicBezTo>
                    <a:pt x="105810" y="1078966"/>
                    <a:pt x="1007620" y="1652877"/>
                    <a:pt x="2163258" y="1721890"/>
                  </a:cubicBezTo>
                  <a:cubicBezTo>
                    <a:pt x="2240302" y="1726491"/>
                    <a:pt x="2318472" y="1728848"/>
                    <a:pt x="2397578" y="1728848"/>
                  </a:cubicBezTo>
                  <a:cubicBezTo>
                    <a:pt x="3663290" y="1728848"/>
                    <a:pt x="4689350" y="1125484"/>
                    <a:pt x="4689350" y="381196"/>
                  </a:cubicBezTo>
                  <a:lnTo>
                    <a:pt x="4689350" y="3388"/>
                  </a:lnTo>
                  <a:lnTo>
                    <a:pt x="4712116" y="45522"/>
                  </a:lnTo>
                  <a:cubicBezTo>
                    <a:pt x="4766268" y="163197"/>
                    <a:pt x="4795162" y="286976"/>
                    <a:pt x="4795162" y="414723"/>
                  </a:cubicBezTo>
                  <a:lnTo>
                    <a:pt x="4795162" y="828519"/>
                  </a:lnTo>
                  <a:lnTo>
                    <a:pt x="4760114" y="962408"/>
                  </a:lnTo>
                  <a:cubicBezTo>
                    <a:pt x="4535250" y="1603097"/>
                    <a:pt x="3562956" y="2085043"/>
                    <a:pt x="2397584" y="2085043"/>
                  </a:cubicBezTo>
                  <a:cubicBezTo>
                    <a:pt x="1232212" y="2085043"/>
                    <a:pt x="259914" y="1603097"/>
                    <a:pt x="35048" y="962408"/>
                  </a:cubicBezTo>
                  <a:lnTo>
                    <a:pt x="2" y="828526"/>
                  </a:lnTo>
                  <a:lnTo>
                    <a:pt x="2" y="414735"/>
                  </a:lnTo>
                  <a:lnTo>
                    <a:pt x="0" y="414723"/>
                  </a:lnTo>
                  <a:cubicBezTo>
                    <a:pt x="0" y="317392"/>
                    <a:pt x="16772" y="222364"/>
                    <a:pt x="48710" y="130585"/>
                  </a:cubicBez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598" name="Freeform: Shape 597">
              <a:extLst>
                <a:ext uri="{FF2B5EF4-FFF2-40B4-BE49-F238E27FC236}">
                  <a16:creationId xmlns:a16="http://schemas.microsoft.com/office/drawing/2014/main" id="{B0B5C835-7F52-411E-8511-DA0E92B6DD85}"/>
                </a:ext>
              </a:extLst>
            </p:cNvPr>
            <p:cNvSpPr/>
            <p:nvPr/>
          </p:nvSpPr>
          <p:spPr bwMode="gray">
            <a:xfrm>
              <a:off x="2708474" y="3898762"/>
              <a:ext cx="785568" cy="342837"/>
            </a:xfrm>
            <a:custGeom>
              <a:avLst/>
              <a:gdLst>
                <a:gd name="connsiteX0" fmla="*/ 105810 w 4795162"/>
                <a:gd name="connsiteY0" fmla="*/ 0 h 2085043"/>
                <a:gd name="connsiteX1" fmla="*/ 105810 w 4795162"/>
                <a:gd name="connsiteY1" fmla="*/ 381196 h 2085043"/>
                <a:gd name="connsiteX2" fmla="*/ 2163258 w 4795162"/>
                <a:gd name="connsiteY2" fmla="*/ 1721890 h 2085043"/>
                <a:gd name="connsiteX3" fmla="*/ 2397578 w 4795162"/>
                <a:gd name="connsiteY3" fmla="*/ 1728848 h 2085043"/>
                <a:gd name="connsiteX4" fmla="*/ 4689350 w 4795162"/>
                <a:gd name="connsiteY4" fmla="*/ 381196 h 2085043"/>
                <a:gd name="connsiteX5" fmla="*/ 4689350 w 4795162"/>
                <a:gd name="connsiteY5" fmla="*/ 3388 h 2085043"/>
                <a:gd name="connsiteX6" fmla="*/ 4712116 w 4795162"/>
                <a:gd name="connsiteY6" fmla="*/ 45522 h 2085043"/>
                <a:gd name="connsiteX7" fmla="*/ 4795162 w 4795162"/>
                <a:gd name="connsiteY7" fmla="*/ 414723 h 2085043"/>
                <a:gd name="connsiteX8" fmla="*/ 4795162 w 4795162"/>
                <a:gd name="connsiteY8" fmla="*/ 828519 h 2085043"/>
                <a:gd name="connsiteX9" fmla="*/ 4760114 w 4795162"/>
                <a:gd name="connsiteY9" fmla="*/ 962408 h 2085043"/>
                <a:gd name="connsiteX10" fmla="*/ 2397584 w 4795162"/>
                <a:gd name="connsiteY10" fmla="*/ 2085043 h 2085043"/>
                <a:gd name="connsiteX11" fmla="*/ 35048 w 4795162"/>
                <a:gd name="connsiteY11" fmla="*/ 962408 h 2085043"/>
                <a:gd name="connsiteX12" fmla="*/ 2 w 4795162"/>
                <a:gd name="connsiteY12" fmla="*/ 828526 h 2085043"/>
                <a:gd name="connsiteX13" fmla="*/ 2 w 4795162"/>
                <a:gd name="connsiteY13" fmla="*/ 414735 h 2085043"/>
                <a:gd name="connsiteX14" fmla="*/ 0 w 4795162"/>
                <a:gd name="connsiteY14" fmla="*/ 414723 h 2085043"/>
                <a:gd name="connsiteX15" fmla="*/ 48710 w 4795162"/>
                <a:gd name="connsiteY15" fmla="*/ 130585 h 2085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95162" h="2085043">
                  <a:moveTo>
                    <a:pt x="105810" y="0"/>
                  </a:moveTo>
                  <a:lnTo>
                    <a:pt x="105810" y="381196"/>
                  </a:lnTo>
                  <a:cubicBezTo>
                    <a:pt x="105810" y="1078966"/>
                    <a:pt x="1007620" y="1652877"/>
                    <a:pt x="2163258" y="1721890"/>
                  </a:cubicBezTo>
                  <a:cubicBezTo>
                    <a:pt x="2240302" y="1726491"/>
                    <a:pt x="2318472" y="1728848"/>
                    <a:pt x="2397578" y="1728848"/>
                  </a:cubicBezTo>
                  <a:cubicBezTo>
                    <a:pt x="3663290" y="1728848"/>
                    <a:pt x="4689350" y="1125484"/>
                    <a:pt x="4689350" y="381196"/>
                  </a:cubicBezTo>
                  <a:lnTo>
                    <a:pt x="4689350" y="3388"/>
                  </a:lnTo>
                  <a:lnTo>
                    <a:pt x="4712116" y="45522"/>
                  </a:lnTo>
                  <a:cubicBezTo>
                    <a:pt x="4766268" y="163197"/>
                    <a:pt x="4795162" y="286976"/>
                    <a:pt x="4795162" y="414723"/>
                  </a:cubicBezTo>
                  <a:lnTo>
                    <a:pt x="4795162" y="828519"/>
                  </a:lnTo>
                  <a:lnTo>
                    <a:pt x="4760114" y="962408"/>
                  </a:lnTo>
                  <a:cubicBezTo>
                    <a:pt x="4535250" y="1603097"/>
                    <a:pt x="3562956" y="2085043"/>
                    <a:pt x="2397584" y="2085043"/>
                  </a:cubicBezTo>
                  <a:cubicBezTo>
                    <a:pt x="1232212" y="2085043"/>
                    <a:pt x="259914" y="1603097"/>
                    <a:pt x="35048" y="962408"/>
                  </a:cubicBezTo>
                  <a:lnTo>
                    <a:pt x="2" y="828526"/>
                  </a:lnTo>
                  <a:lnTo>
                    <a:pt x="2" y="414735"/>
                  </a:lnTo>
                  <a:lnTo>
                    <a:pt x="0" y="414723"/>
                  </a:lnTo>
                  <a:cubicBezTo>
                    <a:pt x="0" y="317392"/>
                    <a:pt x="16772" y="222364"/>
                    <a:pt x="48710" y="130585"/>
                  </a:cubicBezTo>
                  <a:close/>
                </a:path>
              </a:pathLst>
            </a:custGeom>
            <a:gradFill>
              <a:gsLst>
                <a:gs pos="24000">
                  <a:schemeClr val="bg1"/>
                </a:gs>
                <a:gs pos="55000">
                  <a:schemeClr val="accent4"/>
                </a:gs>
              </a:gsLst>
              <a:lin ang="0" scaled="0"/>
            </a:gra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nvGrpSpPr>
          <p:cNvPr id="768" name="Group 767">
            <a:extLst>
              <a:ext uri="{FF2B5EF4-FFF2-40B4-BE49-F238E27FC236}">
                <a16:creationId xmlns:a16="http://schemas.microsoft.com/office/drawing/2014/main" id="{3668FF9B-91D4-41FA-8377-C5CABFBECCDC}"/>
              </a:ext>
            </a:extLst>
          </p:cNvPr>
          <p:cNvGrpSpPr/>
          <p:nvPr/>
        </p:nvGrpSpPr>
        <p:grpSpPr bwMode="gray">
          <a:xfrm>
            <a:off x="4254392" y="3867842"/>
            <a:ext cx="850749" cy="1075325"/>
            <a:chOff x="-3475317" y="-510357"/>
            <a:chExt cx="4214695" cy="5327268"/>
          </a:xfrm>
        </p:grpSpPr>
        <p:sp>
          <p:nvSpPr>
            <p:cNvPr id="769" name="Freeform: Shape 768">
              <a:extLst>
                <a:ext uri="{FF2B5EF4-FFF2-40B4-BE49-F238E27FC236}">
                  <a16:creationId xmlns:a16="http://schemas.microsoft.com/office/drawing/2014/main" id="{19A49A96-A39C-4AA7-92FF-28D73267A808}"/>
                </a:ext>
              </a:extLst>
            </p:cNvPr>
            <p:cNvSpPr/>
            <p:nvPr/>
          </p:nvSpPr>
          <p:spPr bwMode="gray">
            <a:xfrm flipH="1" flipV="1">
              <a:off x="-3473353" y="-510357"/>
              <a:ext cx="4212730" cy="5285288"/>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212730" h="5285288">
                  <a:moveTo>
                    <a:pt x="1970713" y="5285252"/>
                  </a:moveTo>
                  <a:cubicBezTo>
                    <a:pt x="1942294" y="5285662"/>
                    <a:pt x="1917105" y="5282948"/>
                    <a:pt x="1859089" y="5257452"/>
                  </a:cubicBezTo>
                  <a:lnTo>
                    <a:pt x="1799088" y="5227600"/>
                  </a:lnTo>
                  <a:lnTo>
                    <a:pt x="257741" y="4344402"/>
                  </a:lnTo>
                  <a:cubicBezTo>
                    <a:pt x="190572" y="4290851"/>
                    <a:pt x="143642" y="4293725"/>
                    <a:pt x="66855" y="4157062"/>
                  </a:cubicBezTo>
                  <a:cubicBezTo>
                    <a:pt x="9264" y="4054564"/>
                    <a:pt x="7680" y="4007913"/>
                    <a:pt x="5085" y="3955159"/>
                  </a:cubicBezTo>
                  <a:lnTo>
                    <a:pt x="117" y="3898769"/>
                  </a:lnTo>
                  <a:cubicBezTo>
                    <a:pt x="78" y="3898549"/>
                    <a:pt x="39" y="3898326"/>
                    <a:pt x="0" y="3898107"/>
                  </a:cubicBezTo>
                  <a:cubicBezTo>
                    <a:pt x="1973" y="3436613"/>
                    <a:pt x="3947" y="2975119"/>
                    <a:pt x="5920" y="2513626"/>
                  </a:cubicBezTo>
                  <a:lnTo>
                    <a:pt x="9056" y="2484766"/>
                  </a:lnTo>
                  <a:cubicBezTo>
                    <a:pt x="27818" y="2431837"/>
                    <a:pt x="108945" y="2392022"/>
                    <a:pt x="206180" y="2392022"/>
                  </a:cubicBezTo>
                  <a:cubicBezTo>
                    <a:pt x="317306" y="2392022"/>
                    <a:pt x="407391" y="2444025"/>
                    <a:pt x="407391" y="2508175"/>
                  </a:cubicBezTo>
                  <a:cubicBezTo>
                    <a:pt x="406961" y="2529669"/>
                    <a:pt x="406530" y="2551164"/>
                    <a:pt x="406100" y="2572658"/>
                  </a:cubicBezTo>
                  <a:cubicBezTo>
                    <a:pt x="405529" y="2900762"/>
                    <a:pt x="408958" y="3674271"/>
                    <a:pt x="409165" y="3888049"/>
                  </a:cubicBezTo>
                  <a:lnTo>
                    <a:pt x="407598" y="3881457"/>
                  </a:lnTo>
                  <a:cubicBezTo>
                    <a:pt x="407570" y="3885727"/>
                    <a:pt x="407545" y="3889994"/>
                    <a:pt x="407517" y="3894265"/>
                  </a:cubicBezTo>
                  <a:cubicBezTo>
                    <a:pt x="416777" y="3952895"/>
                    <a:pt x="418624" y="3956102"/>
                    <a:pt x="464772" y="3993435"/>
                  </a:cubicBezTo>
                  <a:lnTo>
                    <a:pt x="1965744" y="4865353"/>
                  </a:lnTo>
                  <a:lnTo>
                    <a:pt x="1966088" y="4865745"/>
                  </a:lnTo>
                  <a:lnTo>
                    <a:pt x="1988129" y="4859558"/>
                  </a:lnTo>
                  <a:cubicBezTo>
                    <a:pt x="2011931" y="4852878"/>
                    <a:pt x="2031508" y="4839446"/>
                    <a:pt x="2034209" y="4799004"/>
                  </a:cubicBezTo>
                  <a:cubicBezTo>
                    <a:pt x="2034824" y="4567995"/>
                    <a:pt x="2035438" y="4336987"/>
                    <a:pt x="2036053" y="4105978"/>
                  </a:cubicBezTo>
                  <a:lnTo>
                    <a:pt x="2038324" y="1054770"/>
                  </a:lnTo>
                  <a:lnTo>
                    <a:pt x="2037139" y="1017192"/>
                  </a:lnTo>
                  <a:cubicBezTo>
                    <a:pt x="2033007" y="883195"/>
                    <a:pt x="2032181" y="685526"/>
                    <a:pt x="2035104" y="494424"/>
                  </a:cubicBezTo>
                  <a:cubicBezTo>
                    <a:pt x="2032901" y="341098"/>
                    <a:pt x="2045579" y="249917"/>
                    <a:pt x="2080595" y="171698"/>
                  </a:cubicBezTo>
                  <a:cubicBezTo>
                    <a:pt x="2115611" y="93479"/>
                    <a:pt x="2200593" y="53875"/>
                    <a:pt x="2245202" y="25112"/>
                  </a:cubicBezTo>
                  <a:cubicBezTo>
                    <a:pt x="2327069" y="-9906"/>
                    <a:pt x="2382290" y="1253"/>
                    <a:pt x="2444848" y="3326"/>
                  </a:cubicBezTo>
                  <a:cubicBezTo>
                    <a:pt x="2507406" y="5399"/>
                    <a:pt x="2562690" y="16377"/>
                    <a:pt x="2620552" y="37548"/>
                  </a:cubicBezTo>
                  <a:lnTo>
                    <a:pt x="4171705" y="924343"/>
                  </a:lnTo>
                  <a:cubicBezTo>
                    <a:pt x="4226030" y="955707"/>
                    <a:pt x="4226458" y="1056667"/>
                    <a:pt x="4172662" y="1149844"/>
                  </a:cubicBezTo>
                  <a:cubicBezTo>
                    <a:pt x="4125591" y="1231374"/>
                    <a:pt x="4052602" y="1279929"/>
                    <a:pt x="3998697" y="1269783"/>
                  </a:cubicBezTo>
                  <a:lnTo>
                    <a:pt x="3978850" y="1262485"/>
                  </a:lnTo>
                  <a:lnTo>
                    <a:pt x="2513375" y="431577"/>
                  </a:lnTo>
                  <a:cubicBezTo>
                    <a:pt x="2513261" y="431448"/>
                    <a:pt x="2513146" y="431313"/>
                    <a:pt x="2513032" y="431184"/>
                  </a:cubicBezTo>
                  <a:lnTo>
                    <a:pt x="2490877" y="437405"/>
                  </a:lnTo>
                  <a:cubicBezTo>
                    <a:pt x="2480076" y="455412"/>
                    <a:pt x="2455336" y="434527"/>
                    <a:pt x="2448227" y="539231"/>
                  </a:cubicBezTo>
                  <a:cubicBezTo>
                    <a:pt x="2448227" y="714697"/>
                    <a:pt x="2448222" y="890162"/>
                    <a:pt x="2448222" y="1065628"/>
                  </a:cubicBezTo>
                  <a:lnTo>
                    <a:pt x="2445445" y="1081825"/>
                  </a:lnTo>
                  <a:lnTo>
                    <a:pt x="2442619" y="1858316"/>
                  </a:lnTo>
                  <a:lnTo>
                    <a:pt x="2444476" y="1861834"/>
                  </a:lnTo>
                  <a:cubicBezTo>
                    <a:pt x="2444674" y="2058454"/>
                    <a:pt x="2443809" y="2841791"/>
                    <a:pt x="2443809" y="3038034"/>
                  </a:cubicBezTo>
                  <a:cubicBezTo>
                    <a:pt x="2443095" y="3626297"/>
                    <a:pt x="2442381" y="4214559"/>
                    <a:pt x="2441669" y="4802821"/>
                  </a:cubicBezTo>
                  <a:cubicBezTo>
                    <a:pt x="2428878" y="4887762"/>
                    <a:pt x="2454832" y="4926970"/>
                    <a:pt x="2374871" y="5061801"/>
                  </a:cubicBezTo>
                  <a:cubicBezTo>
                    <a:pt x="2314901" y="5162924"/>
                    <a:pt x="2275295" y="5187619"/>
                    <a:pt x="2230903" y="5216241"/>
                  </a:cubicBezTo>
                  <a:cubicBezTo>
                    <a:pt x="2149434" y="5251083"/>
                    <a:pt x="2101599" y="5287513"/>
                    <a:pt x="2020267" y="5284752"/>
                  </a:cubicBezTo>
                  <a:cubicBezTo>
                    <a:pt x="1999938" y="5284061"/>
                    <a:pt x="1984921" y="5285046"/>
                    <a:pt x="1970713" y="5285252"/>
                  </a:cubicBezTo>
                  <a:close/>
                </a:path>
              </a:pathLst>
            </a:custGeom>
            <a:solidFill>
              <a:schemeClr val="bg1"/>
            </a:solid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nvGrpSpPr>
            <p:cNvPr id="770" name="Group 769">
              <a:extLst>
                <a:ext uri="{FF2B5EF4-FFF2-40B4-BE49-F238E27FC236}">
                  <a16:creationId xmlns:a16="http://schemas.microsoft.com/office/drawing/2014/main" id="{91D59BD7-6132-44F8-AA5B-7384FD2CA756}"/>
                </a:ext>
              </a:extLst>
            </p:cNvPr>
            <p:cNvGrpSpPr/>
            <p:nvPr/>
          </p:nvGrpSpPr>
          <p:grpSpPr bwMode="gray">
            <a:xfrm>
              <a:off x="-3475317" y="-510357"/>
              <a:ext cx="4214695" cy="5327268"/>
              <a:chOff x="-3475317" y="-510357"/>
              <a:chExt cx="4214695" cy="5327268"/>
            </a:xfrm>
          </p:grpSpPr>
          <p:sp>
            <p:nvSpPr>
              <p:cNvPr id="771" name="Freeform: Shape 770">
                <a:extLst>
                  <a:ext uri="{FF2B5EF4-FFF2-40B4-BE49-F238E27FC236}">
                    <a16:creationId xmlns:a16="http://schemas.microsoft.com/office/drawing/2014/main" id="{BE43EFD3-3B31-46CF-B6F9-D7A7BF47B9D6}"/>
                  </a:ext>
                </a:extLst>
              </p:cNvPr>
              <p:cNvSpPr/>
              <p:nvPr/>
            </p:nvSpPr>
            <p:spPr bwMode="gray">
              <a:xfrm flipH="1" flipV="1">
                <a:off x="-1719472" y="-278606"/>
                <a:ext cx="426110" cy="5095517"/>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2513375 w 4212730"/>
                  <a:gd name="connsiteY32" fmla="*/ 431577 h 5285288"/>
                  <a:gd name="connsiteX33" fmla="*/ 2513032 w 4212730"/>
                  <a:gd name="connsiteY33" fmla="*/ 431184 h 5285288"/>
                  <a:gd name="connsiteX34" fmla="*/ 2490877 w 4212730"/>
                  <a:gd name="connsiteY34" fmla="*/ 437405 h 5285288"/>
                  <a:gd name="connsiteX35" fmla="*/ 2448227 w 4212730"/>
                  <a:gd name="connsiteY35" fmla="*/ 539231 h 5285288"/>
                  <a:gd name="connsiteX36" fmla="*/ 2448222 w 4212730"/>
                  <a:gd name="connsiteY36" fmla="*/ 1065628 h 5285288"/>
                  <a:gd name="connsiteX37" fmla="*/ 2445445 w 4212730"/>
                  <a:gd name="connsiteY37" fmla="*/ 1081825 h 5285288"/>
                  <a:gd name="connsiteX38" fmla="*/ 2442619 w 4212730"/>
                  <a:gd name="connsiteY38" fmla="*/ 1858316 h 5285288"/>
                  <a:gd name="connsiteX39" fmla="*/ 2444476 w 4212730"/>
                  <a:gd name="connsiteY39" fmla="*/ 1861834 h 5285288"/>
                  <a:gd name="connsiteX40" fmla="*/ 2443809 w 4212730"/>
                  <a:gd name="connsiteY40" fmla="*/ 3038034 h 5285288"/>
                  <a:gd name="connsiteX41" fmla="*/ 2441669 w 4212730"/>
                  <a:gd name="connsiteY41" fmla="*/ 4802821 h 5285288"/>
                  <a:gd name="connsiteX42" fmla="*/ 2374871 w 4212730"/>
                  <a:gd name="connsiteY42" fmla="*/ 5061801 h 5285288"/>
                  <a:gd name="connsiteX43" fmla="*/ 2230903 w 4212730"/>
                  <a:gd name="connsiteY43" fmla="*/ 5216241 h 5285288"/>
                  <a:gd name="connsiteX44" fmla="*/ 2020267 w 4212730"/>
                  <a:gd name="connsiteY44" fmla="*/ 5284752 h 5285288"/>
                  <a:gd name="connsiteX45" fmla="*/ 1970713 w 4212730"/>
                  <a:gd name="connsiteY45" fmla="*/ 5285252 h 5285288"/>
                  <a:gd name="connsiteX0" fmla="*/ 1970713 w 4290965"/>
                  <a:gd name="connsiteY0" fmla="*/ 5285252 h 5285288"/>
                  <a:gd name="connsiteX1" fmla="*/ 1859089 w 4290965"/>
                  <a:gd name="connsiteY1" fmla="*/ 5257452 h 5285288"/>
                  <a:gd name="connsiteX2" fmla="*/ 1799088 w 4290965"/>
                  <a:gd name="connsiteY2" fmla="*/ 5227600 h 5285288"/>
                  <a:gd name="connsiteX3" fmla="*/ 257741 w 4290965"/>
                  <a:gd name="connsiteY3" fmla="*/ 4344402 h 5285288"/>
                  <a:gd name="connsiteX4" fmla="*/ 66855 w 4290965"/>
                  <a:gd name="connsiteY4" fmla="*/ 4157062 h 5285288"/>
                  <a:gd name="connsiteX5" fmla="*/ 5085 w 4290965"/>
                  <a:gd name="connsiteY5" fmla="*/ 3955159 h 5285288"/>
                  <a:gd name="connsiteX6" fmla="*/ 117 w 4290965"/>
                  <a:gd name="connsiteY6" fmla="*/ 3898769 h 5285288"/>
                  <a:gd name="connsiteX7" fmla="*/ 0 w 4290965"/>
                  <a:gd name="connsiteY7" fmla="*/ 3898107 h 5285288"/>
                  <a:gd name="connsiteX8" fmla="*/ 5920 w 4290965"/>
                  <a:gd name="connsiteY8" fmla="*/ 2513626 h 5285288"/>
                  <a:gd name="connsiteX9" fmla="*/ 9056 w 4290965"/>
                  <a:gd name="connsiteY9" fmla="*/ 2484766 h 5285288"/>
                  <a:gd name="connsiteX10" fmla="*/ 206180 w 4290965"/>
                  <a:gd name="connsiteY10" fmla="*/ 2392022 h 5285288"/>
                  <a:gd name="connsiteX11" fmla="*/ 407391 w 4290965"/>
                  <a:gd name="connsiteY11" fmla="*/ 2508175 h 5285288"/>
                  <a:gd name="connsiteX12" fmla="*/ 406100 w 4290965"/>
                  <a:gd name="connsiteY12" fmla="*/ 2572658 h 5285288"/>
                  <a:gd name="connsiteX13" fmla="*/ 409165 w 4290965"/>
                  <a:gd name="connsiteY13" fmla="*/ 3888049 h 5285288"/>
                  <a:gd name="connsiteX14" fmla="*/ 407598 w 4290965"/>
                  <a:gd name="connsiteY14" fmla="*/ 3881457 h 5285288"/>
                  <a:gd name="connsiteX15" fmla="*/ 407517 w 4290965"/>
                  <a:gd name="connsiteY15" fmla="*/ 3894265 h 5285288"/>
                  <a:gd name="connsiteX16" fmla="*/ 464772 w 4290965"/>
                  <a:gd name="connsiteY16" fmla="*/ 3993435 h 5285288"/>
                  <a:gd name="connsiteX17" fmla="*/ 1965744 w 4290965"/>
                  <a:gd name="connsiteY17" fmla="*/ 4865353 h 5285288"/>
                  <a:gd name="connsiteX18" fmla="*/ 1966088 w 4290965"/>
                  <a:gd name="connsiteY18" fmla="*/ 4865745 h 5285288"/>
                  <a:gd name="connsiteX19" fmla="*/ 1988129 w 4290965"/>
                  <a:gd name="connsiteY19" fmla="*/ 4859558 h 5285288"/>
                  <a:gd name="connsiteX20" fmla="*/ 2034209 w 4290965"/>
                  <a:gd name="connsiteY20" fmla="*/ 4799004 h 5285288"/>
                  <a:gd name="connsiteX21" fmla="*/ 2036053 w 4290965"/>
                  <a:gd name="connsiteY21" fmla="*/ 4105978 h 5285288"/>
                  <a:gd name="connsiteX22" fmla="*/ 2038324 w 4290965"/>
                  <a:gd name="connsiteY22" fmla="*/ 1054770 h 5285288"/>
                  <a:gd name="connsiteX23" fmla="*/ 2037139 w 4290965"/>
                  <a:gd name="connsiteY23" fmla="*/ 1017192 h 5285288"/>
                  <a:gd name="connsiteX24" fmla="*/ 2035104 w 4290965"/>
                  <a:gd name="connsiteY24" fmla="*/ 494424 h 5285288"/>
                  <a:gd name="connsiteX25" fmla="*/ 2080595 w 4290965"/>
                  <a:gd name="connsiteY25" fmla="*/ 171698 h 5285288"/>
                  <a:gd name="connsiteX26" fmla="*/ 2245202 w 4290965"/>
                  <a:gd name="connsiteY26" fmla="*/ 25112 h 5285288"/>
                  <a:gd name="connsiteX27" fmla="*/ 2444848 w 4290965"/>
                  <a:gd name="connsiteY27" fmla="*/ 3326 h 5285288"/>
                  <a:gd name="connsiteX28" fmla="*/ 2620552 w 4290965"/>
                  <a:gd name="connsiteY28" fmla="*/ 37548 h 5285288"/>
                  <a:gd name="connsiteX29" fmla="*/ 4171705 w 4290965"/>
                  <a:gd name="connsiteY29" fmla="*/ 924343 h 5285288"/>
                  <a:gd name="connsiteX30" fmla="*/ 3998697 w 4290965"/>
                  <a:gd name="connsiteY30" fmla="*/ 1269783 h 5285288"/>
                  <a:gd name="connsiteX31" fmla="*/ 2513375 w 4290965"/>
                  <a:gd name="connsiteY31" fmla="*/ 431577 h 5285288"/>
                  <a:gd name="connsiteX32" fmla="*/ 2513032 w 4290965"/>
                  <a:gd name="connsiteY32" fmla="*/ 431184 h 5285288"/>
                  <a:gd name="connsiteX33" fmla="*/ 2490877 w 4290965"/>
                  <a:gd name="connsiteY33" fmla="*/ 437405 h 5285288"/>
                  <a:gd name="connsiteX34" fmla="*/ 2448227 w 4290965"/>
                  <a:gd name="connsiteY34" fmla="*/ 539231 h 5285288"/>
                  <a:gd name="connsiteX35" fmla="*/ 2448222 w 4290965"/>
                  <a:gd name="connsiteY35" fmla="*/ 1065628 h 5285288"/>
                  <a:gd name="connsiteX36" fmla="*/ 2445445 w 4290965"/>
                  <a:gd name="connsiteY36" fmla="*/ 1081825 h 5285288"/>
                  <a:gd name="connsiteX37" fmla="*/ 2442619 w 4290965"/>
                  <a:gd name="connsiteY37" fmla="*/ 1858316 h 5285288"/>
                  <a:gd name="connsiteX38" fmla="*/ 2444476 w 4290965"/>
                  <a:gd name="connsiteY38" fmla="*/ 1861834 h 5285288"/>
                  <a:gd name="connsiteX39" fmla="*/ 2443809 w 4290965"/>
                  <a:gd name="connsiteY39" fmla="*/ 3038034 h 5285288"/>
                  <a:gd name="connsiteX40" fmla="*/ 2441669 w 4290965"/>
                  <a:gd name="connsiteY40" fmla="*/ 4802821 h 5285288"/>
                  <a:gd name="connsiteX41" fmla="*/ 2374871 w 4290965"/>
                  <a:gd name="connsiteY41" fmla="*/ 5061801 h 5285288"/>
                  <a:gd name="connsiteX42" fmla="*/ 2230903 w 4290965"/>
                  <a:gd name="connsiteY42" fmla="*/ 5216241 h 5285288"/>
                  <a:gd name="connsiteX43" fmla="*/ 2020267 w 4290965"/>
                  <a:gd name="connsiteY43" fmla="*/ 5284752 h 5285288"/>
                  <a:gd name="connsiteX44" fmla="*/ 1970713 w 4290965"/>
                  <a:gd name="connsiteY44"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2513375 w 3998697"/>
                  <a:gd name="connsiteY30" fmla="*/ 431577 h 5285288"/>
                  <a:gd name="connsiteX31" fmla="*/ 2513032 w 3998697"/>
                  <a:gd name="connsiteY31" fmla="*/ 431184 h 5285288"/>
                  <a:gd name="connsiteX32" fmla="*/ 2490877 w 3998697"/>
                  <a:gd name="connsiteY32" fmla="*/ 437405 h 5285288"/>
                  <a:gd name="connsiteX33" fmla="*/ 2448227 w 3998697"/>
                  <a:gd name="connsiteY33" fmla="*/ 539231 h 5285288"/>
                  <a:gd name="connsiteX34" fmla="*/ 2448222 w 3998697"/>
                  <a:gd name="connsiteY34" fmla="*/ 1065628 h 5285288"/>
                  <a:gd name="connsiteX35" fmla="*/ 2445445 w 3998697"/>
                  <a:gd name="connsiteY35" fmla="*/ 1081825 h 5285288"/>
                  <a:gd name="connsiteX36" fmla="*/ 2442619 w 3998697"/>
                  <a:gd name="connsiteY36" fmla="*/ 1858316 h 5285288"/>
                  <a:gd name="connsiteX37" fmla="*/ 2444476 w 3998697"/>
                  <a:gd name="connsiteY37" fmla="*/ 1861834 h 5285288"/>
                  <a:gd name="connsiteX38" fmla="*/ 2443809 w 3998697"/>
                  <a:gd name="connsiteY38" fmla="*/ 3038034 h 5285288"/>
                  <a:gd name="connsiteX39" fmla="*/ 2441669 w 3998697"/>
                  <a:gd name="connsiteY39" fmla="*/ 4802821 h 5285288"/>
                  <a:gd name="connsiteX40" fmla="*/ 2374871 w 3998697"/>
                  <a:gd name="connsiteY40" fmla="*/ 5061801 h 5285288"/>
                  <a:gd name="connsiteX41" fmla="*/ 2230903 w 3998697"/>
                  <a:gd name="connsiteY41" fmla="*/ 5216241 h 5285288"/>
                  <a:gd name="connsiteX42" fmla="*/ 2020267 w 3998697"/>
                  <a:gd name="connsiteY42" fmla="*/ 5284752 h 5285288"/>
                  <a:gd name="connsiteX43" fmla="*/ 1970713 w 3998697"/>
                  <a:gd name="connsiteY43" fmla="*/ 5285252 h 5285288"/>
                  <a:gd name="connsiteX0" fmla="*/ 1970713 w 2620552"/>
                  <a:gd name="connsiteY0" fmla="*/ 5285252 h 5285288"/>
                  <a:gd name="connsiteX1" fmla="*/ 1859089 w 2620552"/>
                  <a:gd name="connsiteY1" fmla="*/ 5257452 h 5285288"/>
                  <a:gd name="connsiteX2" fmla="*/ 1799088 w 2620552"/>
                  <a:gd name="connsiteY2" fmla="*/ 5227600 h 5285288"/>
                  <a:gd name="connsiteX3" fmla="*/ 257741 w 2620552"/>
                  <a:gd name="connsiteY3" fmla="*/ 4344402 h 5285288"/>
                  <a:gd name="connsiteX4" fmla="*/ 66855 w 2620552"/>
                  <a:gd name="connsiteY4" fmla="*/ 4157062 h 5285288"/>
                  <a:gd name="connsiteX5" fmla="*/ 5085 w 2620552"/>
                  <a:gd name="connsiteY5" fmla="*/ 3955159 h 5285288"/>
                  <a:gd name="connsiteX6" fmla="*/ 117 w 2620552"/>
                  <a:gd name="connsiteY6" fmla="*/ 3898769 h 5285288"/>
                  <a:gd name="connsiteX7" fmla="*/ 0 w 2620552"/>
                  <a:gd name="connsiteY7" fmla="*/ 3898107 h 5285288"/>
                  <a:gd name="connsiteX8" fmla="*/ 5920 w 2620552"/>
                  <a:gd name="connsiteY8" fmla="*/ 2513626 h 5285288"/>
                  <a:gd name="connsiteX9" fmla="*/ 9056 w 2620552"/>
                  <a:gd name="connsiteY9" fmla="*/ 2484766 h 5285288"/>
                  <a:gd name="connsiteX10" fmla="*/ 206180 w 2620552"/>
                  <a:gd name="connsiteY10" fmla="*/ 2392022 h 5285288"/>
                  <a:gd name="connsiteX11" fmla="*/ 407391 w 2620552"/>
                  <a:gd name="connsiteY11" fmla="*/ 2508175 h 5285288"/>
                  <a:gd name="connsiteX12" fmla="*/ 406100 w 2620552"/>
                  <a:gd name="connsiteY12" fmla="*/ 2572658 h 5285288"/>
                  <a:gd name="connsiteX13" fmla="*/ 409165 w 2620552"/>
                  <a:gd name="connsiteY13" fmla="*/ 3888049 h 5285288"/>
                  <a:gd name="connsiteX14" fmla="*/ 407598 w 2620552"/>
                  <a:gd name="connsiteY14" fmla="*/ 3881457 h 5285288"/>
                  <a:gd name="connsiteX15" fmla="*/ 407517 w 2620552"/>
                  <a:gd name="connsiteY15" fmla="*/ 3894265 h 5285288"/>
                  <a:gd name="connsiteX16" fmla="*/ 464772 w 2620552"/>
                  <a:gd name="connsiteY16" fmla="*/ 3993435 h 5285288"/>
                  <a:gd name="connsiteX17" fmla="*/ 1965744 w 2620552"/>
                  <a:gd name="connsiteY17" fmla="*/ 4865353 h 5285288"/>
                  <a:gd name="connsiteX18" fmla="*/ 1966088 w 2620552"/>
                  <a:gd name="connsiteY18" fmla="*/ 4865745 h 5285288"/>
                  <a:gd name="connsiteX19" fmla="*/ 1988129 w 2620552"/>
                  <a:gd name="connsiteY19" fmla="*/ 4859558 h 5285288"/>
                  <a:gd name="connsiteX20" fmla="*/ 2034209 w 2620552"/>
                  <a:gd name="connsiteY20" fmla="*/ 4799004 h 5285288"/>
                  <a:gd name="connsiteX21" fmla="*/ 2036053 w 2620552"/>
                  <a:gd name="connsiteY21" fmla="*/ 4105978 h 5285288"/>
                  <a:gd name="connsiteX22" fmla="*/ 2038324 w 2620552"/>
                  <a:gd name="connsiteY22" fmla="*/ 1054770 h 5285288"/>
                  <a:gd name="connsiteX23" fmla="*/ 2037139 w 2620552"/>
                  <a:gd name="connsiteY23" fmla="*/ 1017192 h 5285288"/>
                  <a:gd name="connsiteX24" fmla="*/ 2035104 w 2620552"/>
                  <a:gd name="connsiteY24" fmla="*/ 494424 h 5285288"/>
                  <a:gd name="connsiteX25" fmla="*/ 2080595 w 2620552"/>
                  <a:gd name="connsiteY25" fmla="*/ 171698 h 5285288"/>
                  <a:gd name="connsiteX26" fmla="*/ 2245202 w 2620552"/>
                  <a:gd name="connsiteY26" fmla="*/ 25112 h 5285288"/>
                  <a:gd name="connsiteX27" fmla="*/ 2444848 w 2620552"/>
                  <a:gd name="connsiteY27" fmla="*/ 3326 h 5285288"/>
                  <a:gd name="connsiteX28" fmla="*/ 2620552 w 2620552"/>
                  <a:gd name="connsiteY28" fmla="*/ 37548 h 5285288"/>
                  <a:gd name="connsiteX29" fmla="*/ 2513375 w 2620552"/>
                  <a:gd name="connsiteY29" fmla="*/ 431577 h 5285288"/>
                  <a:gd name="connsiteX30" fmla="*/ 2513032 w 2620552"/>
                  <a:gd name="connsiteY30" fmla="*/ 431184 h 5285288"/>
                  <a:gd name="connsiteX31" fmla="*/ 2490877 w 2620552"/>
                  <a:gd name="connsiteY31" fmla="*/ 437405 h 5285288"/>
                  <a:gd name="connsiteX32" fmla="*/ 2448227 w 2620552"/>
                  <a:gd name="connsiteY32" fmla="*/ 539231 h 5285288"/>
                  <a:gd name="connsiteX33" fmla="*/ 2448222 w 2620552"/>
                  <a:gd name="connsiteY33" fmla="*/ 1065628 h 5285288"/>
                  <a:gd name="connsiteX34" fmla="*/ 2445445 w 2620552"/>
                  <a:gd name="connsiteY34" fmla="*/ 1081825 h 5285288"/>
                  <a:gd name="connsiteX35" fmla="*/ 2442619 w 2620552"/>
                  <a:gd name="connsiteY35" fmla="*/ 1858316 h 5285288"/>
                  <a:gd name="connsiteX36" fmla="*/ 2444476 w 2620552"/>
                  <a:gd name="connsiteY36" fmla="*/ 1861834 h 5285288"/>
                  <a:gd name="connsiteX37" fmla="*/ 2443809 w 2620552"/>
                  <a:gd name="connsiteY37" fmla="*/ 3038034 h 5285288"/>
                  <a:gd name="connsiteX38" fmla="*/ 2441669 w 2620552"/>
                  <a:gd name="connsiteY38" fmla="*/ 4802821 h 5285288"/>
                  <a:gd name="connsiteX39" fmla="*/ 2374871 w 2620552"/>
                  <a:gd name="connsiteY39" fmla="*/ 5061801 h 5285288"/>
                  <a:gd name="connsiteX40" fmla="*/ 2230903 w 2620552"/>
                  <a:gd name="connsiteY40" fmla="*/ 5216241 h 5285288"/>
                  <a:gd name="connsiteX41" fmla="*/ 2020267 w 2620552"/>
                  <a:gd name="connsiteY41" fmla="*/ 5284752 h 5285288"/>
                  <a:gd name="connsiteX42" fmla="*/ 1970713 w 2620552"/>
                  <a:gd name="connsiteY42" fmla="*/ 5285252 h 5285288"/>
                  <a:gd name="connsiteX0" fmla="*/ 1970713 w 2513375"/>
                  <a:gd name="connsiteY0" fmla="*/ 5314207 h 5314243"/>
                  <a:gd name="connsiteX1" fmla="*/ 1859089 w 2513375"/>
                  <a:gd name="connsiteY1" fmla="*/ 5286407 h 5314243"/>
                  <a:gd name="connsiteX2" fmla="*/ 1799088 w 2513375"/>
                  <a:gd name="connsiteY2" fmla="*/ 5256555 h 5314243"/>
                  <a:gd name="connsiteX3" fmla="*/ 257741 w 2513375"/>
                  <a:gd name="connsiteY3" fmla="*/ 4373357 h 5314243"/>
                  <a:gd name="connsiteX4" fmla="*/ 66855 w 2513375"/>
                  <a:gd name="connsiteY4" fmla="*/ 4186017 h 5314243"/>
                  <a:gd name="connsiteX5" fmla="*/ 5085 w 2513375"/>
                  <a:gd name="connsiteY5" fmla="*/ 3984114 h 5314243"/>
                  <a:gd name="connsiteX6" fmla="*/ 117 w 2513375"/>
                  <a:gd name="connsiteY6" fmla="*/ 3927724 h 5314243"/>
                  <a:gd name="connsiteX7" fmla="*/ 0 w 2513375"/>
                  <a:gd name="connsiteY7" fmla="*/ 3927062 h 5314243"/>
                  <a:gd name="connsiteX8" fmla="*/ 5920 w 2513375"/>
                  <a:gd name="connsiteY8" fmla="*/ 2542581 h 5314243"/>
                  <a:gd name="connsiteX9" fmla="*/ 9056 w 2513375"/>
                  <a:gd name="connsiteY9" fmla="*/ 2513721 h 5314243"/>
                  <a:gd name="connsiteX10" fmla="*/ 206180 w 2513375"/>
                  <a:gd name="connsiteY10" fmla="*/ 2420977 h 5314243"/>
                  <a:gd name="connsiteX11" fmla="*/ 407391 w 2513375"/>
                  <a:gd name="connsiteY11" fmla="*/ 2537130 h 5314243"/>
                  <a:gd name="connsiteX12" fmla="*/ 406100 w 2513375"/>
                  <a:gd name="connsiteY12" fmla="*/ 2601613 h 5314243"/>
                  <a:gd name="connsiteX13" fmla="*/ 409165 w 2513375"/>
                  <a:gd name="connsiteY13" fmla="*/ 3917004 h 5314243"/>
                  <a:gd name="connsiteX14" fmla="*/ 407598 w 2513375"/>
                  <a:gd name="connsiteY14" fmla="*/ 3910412 h 5314243"/>
                  <a:gd name="connsiteX15" fmla="*/ 407517 w 2513375"/>
                  <a:gd name="connsiteY15" fmla="*/ 3923220 h 5314243"/>
                  <a:gd name="connsiteX16" fmla="*/ 464772 w 2513375"/>
                  <a:gd name="connsiteY16" fmla="*/ 4022390 h 5314243"/>
                  <a:gd name="connsiteX17" fmla="*/ 1965744 w 2513375"/>
                  <a:gd name="connsiteY17" fmla="*/ 4894308 h 5314243"/>
                  <a:gd name="connsiteX18" fmla="*/ 1966088 w 2513375"/>
                  <a:gd name="connsiteY18" fmla="*/ 4894700 h 5314243"/>
                  <a:gd name="connsiteX19" fmla="*/ 1988129 w 2513375"/>
                  <a:gd name="connsiteY19" fmla="*/ 4888513 h 5314243"/>
                  <a:gd name="connsiteX20" fmla="*/ 2034209 w 2513375"/>
                  <a:gd name="connsiteY20" fmla="*/ 4827959 h 5314243"/>
                  <a:gd name="connsiteX21" fmla="*/ 2036053 w 2513375"/>
                  <a:gd name="connsiteY21" fmla="*/ 4134933 h 5314243"/>
                  <a:gd name="connsiteX22" fmla="*/ 2038324 w 2513375"/>
                  <a:gd name="connsiteY22" fmla="*/ 1083725 h 5314243"/>
                  <a:gd name="connsiteX23" fmla="*/ 2037139 w 2513375"/>
                  <a:gd name="connsiteY23" fmla="*/ 1046147 h 5314243"/>
                  <a:gd name="connsiteX24" fmla="*/ 2035104 w 2513375"/>
                  <a:gd name="connsiteY24" fmla="*/ 523379 h 5314243"/>
                  <a:gd name="connsiteX25" fmla="*/ 2080595 w 2513375"/>
                  <a:gd name="connsiteY25" fmla="*/ 200653 h 5314243"/>
                  <a:gd name="connsiteX26" fmla="*/ 2245202 w 2513375"/>
                  <a:gd name="connsiteY26" fmla="*/ 54067 h 5314243"/>
                  <a:gd name="connsiteX27" fmla="*/ 2444848 w 2513375"/>
                  <a:gd name="connsiteY27" fmla="*/ 32281 h 5314243"/>
                  <a:gd name="connsiteX28" fmla="*/ 2513375 w 2513375"/>
                  <a:gd name="connsiteY28" fmla="*/ 460532 h 5314243"/>
                  <a:gd name="connsiteX29" fmla="*/ 2513032 w 2513375"/>
                  <a:gd name="connsiteY29" fmla="*/ 460139 h 5314243"/>
                  <a:gd name="connsiteX30" fmla="*/ 2490877 w 2513375"/>
                  <a:gd name="connsiteY30" fmla="*/ 466360 h 5314243"/>
                  <a:gd name="connsiteX31" fmla="*/ 2448227 w 2513375"/>
                  <a:gd name="connsiteY31" fmla="*/ 568186 h 5314243"/>
                  <a:gd name="connsiteX32" fmla="*/ 2448222 w 2513375"/>
                  <a:gd name="connsiteY32" fmla="*/ 1094583 h 5314243"/>
                  <a:gd name="connsiteX33" fmla="*/ 2445445 w 2513375"/>
                  <a:gd name="connsiteY33" fmla="*/ 1110780 h 5314243"/>
                  <a:gd name="connsiteX34" fmla="*/ 2442619 w 2513375"/>
                  <a:gd name="connsiteY34" fmla="*/ 1887271 h 5314243"/>
                  <a:gd name="connsiteX35" fmla="*/ 2444476 w 2513375"/>
                  <a:gd name="connsiteY35" fmla="*/ 1890789 h 5314243"/>
                  <a:gd name="connsiteX36" fmla="*/ 2443809 w 2513375"/>
                  <a:gd name="connsiteY36" fmla="*/ 3066989 h 5314243"/>
                  <a:gd name="connsiteX37" fmla="*/ 2441669 w 2513375"/>
                  <a:gd name="connsiteY37" fmla="*/ 4831776 h 5314243"/>
                  <a:gd name="connsiteX38" fmla="*/ 2374871 w 2513375"/>
                  <a:gd name="connsiteY38" fmla="*/ 5090756 h 5314243"/>
                  <a:gd name="connsiteX39" fmla="*/ 2230903 w 2513375"/>
                  <a:gd name="connsiteY39" fmla="*/ 5245196 h 5314243"/>
                  <a:gd name="connsiteX40" fmla="*/ 2020267 w 2513375"/>
                  <a:gd name="connsiteY40" fmla="*/ 5313707 h 5314243"/>
                  <a:gd name="connsiteX41" fmla="*/ 1970713 w 2513375"/>
                  <a:gd name="connsiteY41" fmla="*/ 5314207 h 5314243"/>
                  <a:gd name="connsiteX0" fmla="*/ 1970713 w 2513375"/>
                  <a:gd name="connsiteY0" fmla="*/ 5314207 h 5314243"/>
                  <a:gd name="connsiteX1" fmla="*/ 1859089 w 2513375"/>
                  <a:gd name="connsiteY1" fmla="*/ 5286407 h 5314243"/>
                  <a:gd name="connsiteX2" fmla="*/ 1799088 w 2513375"/>
                  <a:gd name="connsiteY2" fmla="*/ 5256555 h 5314243"/>
                  <a:gd name="connsiteX3" fmla="*/ 257741 w 2513375"/>
                  <a:gd name="connsiteY3" fmla="*/ 4373357 h 5314243"/>
                  <a:gd name="connsiteX4" fmla="*/ 66855 w 2513375"/>
                  <a:gd name="connsiteY4" fmla="*/ 4186017 h 5314243"/>
                  <a:gd name="connsiteX5" fmla="*/ 5085 w 2513375"/>
                  <a:gd name="connsiteY5" fmla="*/ 3984114 h 5314243"/>
                  <a:gd name="connsiteX6" fmla="*/ 117 w 2513375"/>
                  <a:gd name="connsiteY6" fmla="*/ 3927724 h 5314243"/>
                  <a:gd name="connsiteX7" fmla="*/ 0 w 2513375"/>
                  <a:gd name="connsiteY7" fmla="*/ 3927062 h 5314243"/>
                  <a:gd name="connsiteX8" fmla="*/ 5920 w 2513375"/>
                  <a:gd name="connsiteY8" fmla="*/ 2542581 h 5314243"/>
                  <a:gd name="connsiteX9" fmla="*/ 9056 w 2513375"/>
                  <a:gd name="connsiteY9" fmla="*/ 2513721 h 5314243"/>
                  <a:gd name="connsiteX10" fmla="*/ 206180 w 2513375"/>
                  <a:gd name="connsiteY10" fmla="*/ 2420977 h 5314243"/>
                  <a:gd name="connsiteX11" fmla="*/ 407391 w 2513375"/>
                  <a:gd name="connsiteY11" fmla="*/ 2537130 h 5314243"/>
                  <a:gd name="connsiteX12" fmla="*/ 406100 w 2513375"/>
                  <a:gd name="connsiteY12" fmla="*/ 2601613 h 5314243"/>
                  <a:gd name="connsiteX13" fmla="*/ 409165 w 2513375"/>
                  <a:gd name="connsiteY13" fmla="*/ 3917004 h 5314243"/>
                  <a:gd name="connsiteX14" fmla="*/ 407598 w 2513375"/>
                  <a:gd name="connsiteY14" fmla="*/ 3910412 h 5314243"/>
                  <a:gd name="connsiteX15" fmla="*/ 407517 w 2513375"/>
                  <a:gd name="connsiteY15" fmla="*/ 3923220 h 5314243"/>
                  <a:gd name="connsiteX16" fmla="*/ 464772 w 2513375"/>
                  <a:gd name="connsiteY16" fmla="*/ 4022390 h 5314243"/>
                  <a:gd name="connsiteX17" fmla="*/ 1965744 w 2513375"/>
                  <a:gd name="connsiteY17" fmla="*/ 4894308 h 5314243"/>
                  <a:gd name="connsiteX18" fmla="*/ 1966088 w 2513375"/>
                  <a:gd name="connsiteY18" fmla="*/ 4894700 h 5314243"/>
                  <a:gd name="connsiteX19" fmla="*/ 1988129 w 2513375"/>
                  <a:gd name="connsiteY19" fmla="*/ 4888513 h 5314243"/>
                  <a:gd name="connsiteX20" fmla="*/ 2034209 w 2513375"/>
                  <a:gd name="connsiteY20" fmla="*/ 4827959 h 5314243"/>
                  <a:gd name="connsiteX21" fmla="*/ 2036053 w 2513375"/>
                  <a:gd name="connsiteY21" fmla="*/ 4134933 h 5314243"/>
                  <a:gd name="connsiteX22" fmla="*/ 2038324 w 2513375"/>
                  <a:gd name="connsiteY22" fmla="*/ 1083725 h 5314243"/>
                  <a:gd name="connsiteX23" fmla="*/ 2037139 w 2513375"/>
                  <a:gd name="connsiteY23" fmla="*/ 1046147 h 5314243"/>
                  <a:gd name="connsiteX24" fmla="*/ 2035104 w 2513375"/>
                  <a:gd name="connsiteY24" fmla="*/ 523379 h 5314243"/>
                  <a:gd name="connsiteX25" fmla="*/ 2080595 w 2513375"/>
                  <a:gd name="connsiteY25" fmla="*/ 200653 h 5314243"/>
                  <a:gd name="connsiteX26" fmla="*/ 2245202 w 2513375"/>
                  <a:gd name="connsiteY26" fmla="*/ 54067 h 5314243"/>
                  <a:gd name="connsiteX27" fmla="*/ 2444848 w 2513375"/>
                  <a:gd name="connsiteY27" fmla="*/ 32281 h 5314243"/>
                  <a:gd name="connsiteX28" fmla="*/ 2513375 w 2513375"/>
                  <a:gd name="connsiteY28" fmla="*/ 460532 h 5314243"/>
                  <a:gd name="connsiteX29" fmla="*/ 2513032 w 2513375"/>
                  <a:gd name="connsiteY29" fmla="*/ 460139 h 5314243"/>
                  <a:gd name="connsiteX30" fmla="*/ 2448227 w 2513375"/>
                  <a:gd name="connsiteY30" fmla="*/ 568186 h 5314243"/>
                  <a:gd name="connsiteX31" fmla="*/ 2448222 w 2513375"/>
                  <a:gd name="connsiteY31" fmla="*/ 1094583 h 5314243"/>
                  <a:gd name="connsiteX32" fmla="*/ 2445445 w 2513375"/>
                  <a:gd name="connsiteY32" fmla="*/ 1110780 h 5314243"/>
                  <a:gd name="connsiteX33" fmla="*/ 2442619 w 2513375"/>
                  <a:gd name="connsiteY33" fmla="*/ 1887271 h 5314243"/>
                  <a:gd name="connsiteX34" fmla="*/ 2444476 w 2513375"/>
                  <a:gd name="connsiteY34" fmla="*/ 1890789 h 5314243"/>
                  <a:gd name="connsiteX35" fmla="*/ 2443809 w 2513375"/>
                  <a:gd name="connsiteY35" fmla="*/ 3066989 h 5314243"/>
                  <a:gd name="connsiteX36" fmla="*/ 2441669 w 2513375"/>
                  <a:gd name="connsiteY36" fmla="*/ 4831776 h 5314243"/>
                  <a:gd name="connsiteX37" fmla="*/ 2374871 w 2513375"/>
                  <a:gd name="connsiteY37" fmla="*/ 5090756 h 5314243"/>
                  <a:gd name="connsiteX38" fmla="*/ 2230903 w 2513375"/>
                  <a:gd name="connsiteY38" fmla="*/ 5245196 h 5314243"/>
                  <a:gd name="connsiteX39" fmla="*/ 2020267 w 2513375"/>
                  <a:gd name="connsiteY39" fmla="*/ 5313707 h 5314243"/>
                  <a:gd name="connsiteX40" fmla="*/ 1970713 w 2513375"/>
                  <a:gd name="connsiteY40" fmla="*/ 5314207 h 5314243"/>
                  <a:gd name="connsiteX0" fmla="*/ 1970713 w 2513379"/>
                  <a:gd name="connsiteY0" fmla="*/ 5314207 h 5314243"/>
                  <a:gd name="connsiteX1" fmla="*/ 1859089 w 2513379"/>
                  <a:gd name="connsiteY1" fmla="*/ 5286407 h 5314243"/>
                  <a:gd name="connsiteX2" fmla="*/ 1799088 w 2513379"/>
                  <a:gd name="connsiteY2" fmla="*/ 5256555 h 5314243"/>
                  <a:gd name="connsiteX3" fmla="*/ 257741 w 2513379"/>
                  <a:gd name="connsiteY3" fmla="*/ 4373357 h 5314243"/>
                  <a:gd name="connsiteX4" fmla="*/ 66855 w 2513379"/>
                  <a:gd name="connsiteY4" fmla="*/ 4186017 h 5314243"/>
                  <a:gd name="connsiteX5" fmla="*/ 5085 w 2513379"/>
                  <a:gd name="connsiteY5" fmla="*/ 3984114 h 5314243"/>
                  <a:gd name="connsiteX6" fmla="*/ 117 w 2513379"/>
                  <a:gd name="connsiteY6" fmla="*/ 3927724 h 5314243"/>
                  <a:gd name="connsiteX7" fmla="*/ 0 w 2513379"/>
                  <a:gd name="connsiteY7" fmla="*/ 3927062 h 5314243"/>
                  <a:gd name="connsiteX8" fmla="*/ 5920 w 2513379"/>
                  <a:gd name="connsiteY8" fmla="*/ 2542581 h 5314243"/>
                  <a:gd name="connsiteX9" fmla="*/ 9056 w 2513379"/>
                  <a:gd name="connsiteY9" fmla="*/ 2513721 h 5314243"/>
                  <a:gd name="connsiteX10" fmla="*/ 206180 w 2513379"/>
                  <a:gd name="connsiteY10" fmla="*/ 2420977 h 5314243"/>
                  <a:gd name="connsiteX11" fmla="*/ 407391 w 2513379"/>
                  <a:gd name="connsiteY11" fmla="*/ 2537130 h 5314243"/>
                  <a:gd name="connsiteX12" fmla="*/ 406100 w 2513379"/>
                  <a:gd name="connsiteY12" fmla="*/ 2601613 h 5314243"/>
                  <a:gd name="connsiteX13" fmla="*/ 409165 w 2513379"/>
                  <a:gd name="connsiteY13" fmla="*/ 3917004 h 5314243"/>
                  <a:gd name="connsiteX14" fmla="*/ 407598 w 2513379"/>
                  <a:gd name="connsiteY14" fmla="*/ 3910412 h 5314243"/>
                  <a:gd name="connsiteX15" fmla="*/ 407517 w 2513379"/>
                  <a:gd name="connsiteY15" fmla="*/ 3923220 h 5314243"/>
                  <a:gd name="connsiteX16" fmla="*/ 464772 w 2513379"/>
                  <a:gd name="connsiteY16" fmla="*/ 4022390 h 5314243"/>
                  <a:gd name="connsiteX17" fmla="*/ 1965744 w 2513379"/>
                  <a:gd name="connsiteY17" fmla="*/ 4894308 h 5314243"/>
                  <a:gd name="connsiteX18" fmla="*/ 1966088 w 2513379"/>
                  <a:gd name="connsiteY18" fmla="*/ 4894700 h 5314243"/>
                  <a:gd name="connsiteX19" fmla="*/ 1988129 w 2513379"/>
                  <a:gd name="connsiteY19" fmla="*/ 4888513 h 5314243"/>
                  <a:gd name="connsiteX20" fmla="*/ 2034209 w 2513379"/>
                  <a:gd name="connsiteY20" fmla="*/ 4827959 h 5314243"/>
                  <a:gd name="connsiteX21" fmla="*/ 2036053 w 2513379"/>
                  <a:gd name="connsiteY21" fmla="*/ 4134933 h 5314243"/>
                  <a:gd name="connsiteX22" fmla="*/ 2038324 w 2513379"/>
                  <a:gd name="connsiteY22" fmla="*/ 1083725 h 5314243"/>
                  <a:gd name="connsiteX23" fmla="*/ 2037139 w 2513379"/>
                  <a:gd name="connsiteY23" fmla="*/ 1046147 h 5314243"/>
                  <a:gd name="connsiteX24" fmla="*/ 2035104 w 2513379"/>
                  <a:gd name="connsiteY24" fmla="*/ 523379 h 5314243"/>
                  <a:gd name="connsiteX25" fmla="*/ 2080595 w 2513379"/>
                  <a:gd name="connsiteY25" fmla="*/ 200653 h 5314243"/>
                  <a:gd name="connsiteX26" fmla="*/ 2245202 w 2513379"/>
                  <a:gd name="connsiteY26" fmla="*/ 54067 h 5314243"/>
                  <a:gd name="connsiteX27" fmla="*/ 2444848 w 2513379"/>
                  <a:gd name="connsiteY27" fmla="*/ 32281 h 5314243"/>
                  <a:gd name="connsiteX28" fmla="*/ 2513375 w 2513379"/>
                  <a:gd name="connsiteY28" fmla="*/ 460532 h 5314243"/>
                  <a:gd name="connsiteX29" fmla="*/ 2448227 w 2513379"/>
                  <a:gd name="connsiteY29" fmla="*/ 568186 h 5314243"/>
                  <a:gd name="connsiteX30" fmla="*/ 2448222 w 2513379"/>
                  <a:gd name="connsiteY30" fmla="*/ 1094583 h 5314243"/>
                  <a:gd name="connsiteX31" fmla="*/ 2445445 w 2513379"/>
                  <a:gd name="connsiteY31" fmla="*/ 1110780 h 5314243"/>
                  <a:gd name="connsiteX32" fmla="*/ 2442619 w 2513379"/>
                  <a:gd name="connsiteY32" fmla="*/ 1887271 h 5314243"/>
                  <a:gd name="connsiteX33" fmla="*/ 2444476 w 2513379"/>
                  <a:gd name="connsiteY33" fmla="*/ 1890789 h 5314243"/>
                  <a:gd name="connsiteX34" fmla="*/ 2443809 w 2513379"/>
                  <a:gd name="connsiteY34" fmla="*/ 3066989 h 5314243"/>
                  <a:gd name="connsiteX35" fmla="*/ 2441669 w 2513379"/>
                  <a:gd name="connsiteY35" fmla="*/ 4831776 h 5314243"/>
                  <a:gd name="connsiteX36" fmla="*/ 2374871 w 2513379"/>
                  <a:gd name="connsiteY36" fmla="*/ 5090756 h 5314243"/>
                  <a:gd name="connsiteX37" fmla="*/ 2230903 w 2513379"/>
                  <a:gd name="connsiteY37" fmla="*/ 5245196 h 5314243"/>
                  <a:gd name="connsiteX38" fmla="*/ 2020267 w 2513379"/>
                  <a:gd name="connsiteY38" fmla="*/ 5313707 h 5314243"/>
                  <a:gd name="connsiteX39" fmla="*/ 1970713 w 2513379"/>
                  <a:gd name="connsiteY39" fmla="*/ 5314207 h 5314243"/>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9056 w 2460678"/>
                  <a:gd name="connsiteY9" fmla="*/ 2521688 h 5322210"/>
                  <a:gd name="connsiteX10" fmla="*/ 206180 w 2460678"/>
                  <a:gd name="connsiteY10" fmla="*/ 2428944 h 5322210"/>
                  <a:gd name="connsiteX11" fmla="*/ 407391 w 2460678"/>
                  <a:gd name="connsiteY11" fmla="*/ 2545097 h 5322210"/>
                  <a:gd name="connsiteX12" fmla="*/ 406100 w 2460678"/>
                  <a:gd name="connsiteY12" fmla="*/ 2609580 h 5322210"/>
                  <a:gd name="connsiteX13" fmla="*/ 409165 w 2460678"/>
                  <a:gd name="connsiteY13" fmla="*/ 3924971 h 5322210"/>
                  <a:gd name="connsiteX14" fmla="*/ 407598 w 2460678"/>
                  <a:gd name="connsiteY14" fmla="*/ 3918379 h 5322210"/>
                  <a:gd name="connsiteX15" fmla="*/ 407517 w 2460678"/>
                  <a:gd name="connsiteY15" fmla="*/ 3931187 h 5322210"/>
                  <a:gd name="connsiteX16" fmla="*/ 464772 w 2460678"/>
                  <a:gd name="connsiteY16" fmla="*/ 4030357 h 5322210"/>
                  <a:gd name="connsiteX17" fmla="*/ 1965744 w 2460678"/>
                  <a:gd name="connsiteY17" fmla="*/ 4902275 h 5322210"/>
                  <a:gd name="connsiteX18" fmla="*/ 1966088 w 2460678"/>
                  <a:gd name="connsiteY18" fmla="*/ 4902667 h 5322210"/>
                  <a:gd name="connsiteX19" fmla="*/ 1988129 w 2460678"/>
                  <a:gd name="connsiteY19" fmla="*/ 4896480 h 5322210"/>
                  <a:gd name="connsiteX20" fmla="*/ 2034209 w 2460678"/>
                  <a:gd name="connsiteY20" fmla="*/ 4835926 h 5322210"/>
                  <a:gd name="connsiteX21" fmla="*/ 2036053 w 2460678"/>
                  <a:gd name="connsiteY21" fmla="*/ 4142900 h 5322210"/>
                  <a:gd name="connsiteX22" fmla="*/ 2038324 w 2460678"/>
                  <a:gd name="connsiteY22" fmla="*/ 1091692 h 5322210"/>
                  <a:gd name="connsiteX23" fmla="*/ 2037139 w 2460678"/>
                  <a:gd name="connsiteY23" fmla="*/ 1054114 h 5322210"/>
                  <a:gd name="connsiteX24" fmla="*/ 2035104 w 2460678"/>
                  <a:gd name="connsiteY24" fmla="*/ 531346 h 5322210"/>
                  <a:gd name="connsiteX25" fmla="*/ 2080595 w 2460678"/>
                  <a:gd name="connsiteY25" fmla="*/ 208620 h 5322210"/>
                  <a:gd name="connsiteX26" fmla="*/ 2245202 w 2460678"/>
                  <a:gd name="connsiteY26" fmla="*/ 62034 h 5322210"/>
                  <a:gd name="connsiteX27" fmla="*/ 2444848 w 2460678"/>
                  <a:gd name="connsiteY27" fmla="*/ 40248 h 5322210"/>
                  <a:gd name="connsiteX28" fmla="*/ 2448227 w 2460678"/>
                  <a:gd name="connsiteY28" fmla="*/ 576153 h 5322210"/>
                  <a:gd name="connsiteX29" fmla="*/ 2448222 w 2460678"/>
                  <a:gd name="connsiteY29" fmla="*/ 1102550 h 5322210"/>
                  <a:gd name="connsiteX30" fmla="*/ 2445445 w 2460678"/>
                  <a:gd name="connsiteY30" fmla="*/ 1118747 h 5322210"/>
                  <a:gd name="connsiteX31" fmla="*/ 2442619 w 2460678"/>
                  <a:gd name="connsiteY31" fmla="*/ 1895238 h 5322210"/>
                  <a:gd name="connsiteX32" fmla="*/ 2444476 w 2460678"/>
                  <a:gd name="connsiteY32" fmla="*/ 1898756 h 5322210"/>
                  <a:gd name="connsiteX33" fmla="*/ 2443809 w 2460678"/>
                  <a:gd name="connsiteY33" fmla="*/ 3074956 h 5322210"/>
                  <a:gd name="connsiteX34" fmla="*/ 2441669 w 2460678"/>
                  <a:gd name="connsiteY34" fmla="*/ 4839743 h 5322210"/>
                  <a:gd name="connsiteX35" fmla="*/ 2374871 w 2460678"/>
                  <a:gd name="connsiteY35" fmla="*/ 5098723 h 5322210"/>
                  <a:gd name="connsiteX36" fmla="*/ 2230903 w 2460678"/>
                  <a:gd name="connsiteY36" fmla="*/ 5253163 h 5322210"/>
                  <a:gd name="connsiteX37" fmla="*/ 2020267 w 2460678"/>
                  <a:gd name="connsiteY37" fmla="*/ 5321674 h 5322210"/>
                  <a:gd name="connsiteX38" fmla="*/ 1970713 w 2460678"/>
                  <a:gd name="connsiteY38"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9056 w 2460678"/>
                  <a:gd name="connsiteY9" fmla="*/ 2521688 h 5322210"/>
                  <a:gd name="connsiteX10" fmla="*/ 206180 w 2460678"/>
                  <a:gd name="connsiteY10" fmla="*/ 2428944 h 5322210"/>
                  <a:gd name="connsiteX11" fmla="*/ 407391 w 2460678"/>
                  <a:gd name="connsiteY11" fmla="*/ 2545097 h 5322210"/>
                  <a:gd name="connsiteX12" fmla="*/ 409165 w 2460678"/>
                  <a:gd name="connsiteY12" fmla="*/ 3924971 h 5322210"/>
                  <a:gd name="connsiteX13" fmla="*/ 407598 w 2460678"/>
                  <a:gd name="connsiteY13" fmla="*/ 3918379 h 5322210"/>
                  <a:gd name="connsiteX14" fmla="*/ 407517 w 2460678"/>
                  <a:gd name="connsiteY14" fmla="*/ 3931187 h 5322210"/>
                  <a:gd name="connsiteX15" fmla="*/ 464772 w 2460678"/>
                  <a:gd name="connsiteY15" fmla="*/ 4030357 h 5322210"/>
                  <a:gd name="connsiteX16" fmla="*/ 1965744 w 2460678"/>
                  <a:gd name="connsiteY16" fmla="*/ 4902275 h 5322210"/>
                  <a:gd name="connsiteX17" fmla="*/ 1966088 w 2460678"/>
                  <a:gd name="connsiteY17" fmla="*/ 4902667 h 5322210"/>
                  <a:gd name="connsiteX18" fmla="*/ 1988129 w 2460678"/>
                  <a:gd name="connsiteY18" fmla="*/ 4896480 h 5322210"/>
                  <a:gd name="connsiteX19" fmla="*/ 2034209 w 2460678"/>
                  <a:gd name="connsiteY19" fmla="*/ 4835926 h 5322210"/>
                  <a:gd name="connsiteX20" fmla="*/ 2036053 w 2460678"/>
                  <a:gd name="connsiteY20" fmla="*/ 4142900 h 5322210"/>
                  <a:gd name="connsiteX21" fmla="*/ 2038324 w 2460678"/>
                  <a:gd name="connsiteY21" fmla="*/ 1091692 h 5322210"/>
                  <a:gd name="connsiteX22" fmla="*/ 2037139 w 2460678"/>
                  <a:gd name="connsiteY22" fmla="*/ 1054114 h 5322210"/>
                  <a:gd name="connsiteX23" fmla="*/ 2035104 w 2460678"/>
                  <a:gd name="connsiteY23" fmla="*/ 531346 h 5322210"/>
                  <a:gd name="connsiteX24" fmla="*/ 2080595 w 2460678"/>
                  <a:gd name="connsiteY24" fmla="*/ 208620 h 5322210"/>
                  <a:gd name="connsiteX25" fmla="*/ 2245202 w 2460678"/>
                  <a:gd name="connsiteY25" fmla="*/ 62034 h 5322210"/>
                  <a:gd name="connsiteX26" fmla="*/ 2444848 w 2460678"/>
                  <a:gd name="connsiteY26" fmla="*/ 40248 h 5322210"/>
                  <a:gd name="connsiteX27" fmla="*/ 2448227 w 2460678"/>
                  <a:gd name="connsiteY27" fmla="*/ 576153 h 5322210"/>
                  <a:gd name="connsiteX28" fmla="*/ 2448222 w 2460678"/>
                  <a:gd name="connsiteY28" fmla="*/ 1102550 h 5322210"/>
                  <a:gd name="connsiteX29" fmla="*/ 2445445 w 2460678"/>
                  <a:gd name="connsiteY29" fmla="*/ 1118747 h 5322210"/>
                  <a:gd name="connsiteX30" fmla="*/ 2442619 w 2460678"/>
                  <a:gd name="connsiteY30" fmla="*/ 1895238 h 5322210"/>
                  <a:gd name="connsiteX31" fmla="*/ 2444476 w 2460678"/>
                  <a:gd name="connsiteY31" fmla="*/ 1898756 h 5322210"/>
                  <a:gd name="connsiteX32" fmla="*/ 2443809 w 2460678"/>
                  <a:gd name="connsiteY32" fmla="*/ 3074956 h 5322210"/>
                  <a:gd name="connsiteX33" fmla="*/ 2441669 w 2460678"/>
                  <a:gd name="connsiteY33" fmla="*/ 4839743 h 5322210"/>
                  <a:gd name="connsiteX34" fmla="*/ 2374871 w 2460678"/>
                  <a:gd name="connsiteY34" fmla="*/ 5098723 h 5322210"/>
                  <a:gd name="connsiteX35" fmla="*/ 2230903 w 2460678"/>
                  <a:gd name="connsiteY35" fmla="*/ 5253163 h 5322210"/>
                  <a:gd name="connsiteX36" fmla="*/ 2020267 w 2460678"/>
                  <a:gd name="connsiteY36" fmla="*/ 5321674 h 5322210"/>
                  <a:gd name="connsiteX37" fmla="*/ 1970713 w 2460678"/>
                  <a:gd name="connsiteY37"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9056 w 2460678"/>
                  <a:gd name="connsiteY9" fmla="*/ 2521688 h 5322210"/>
                  <a:gd name="connsiteX10" fmla="*/ 206180 w 2460678"/>
                  <a:gd name="connsiteY10" fmla="*/ 2428944 h 5322210"/>
                  <a:gd name="connsiteX11" fmla="*/ 409165 w 2460678"/>
                  <a:gd name="connsiteY11" fmla="*/ 3924971 h 5322210"/>
                  <a:gd name="connsiteX12" fmla="*/ 407598 w 2460678"/>
                  <a:gd name="connsiteY12" fmla="*/ 3918379 h 5322210"/>
                  <a:gd name="connsiteX13" fmla="*/ 407517 w 2460678"/>
                  <a:gd name="connsiteY13" fmla="*/ 3931187 h 5322210"/>
                  <a:gd name="connsiteX14" fmla="*/ 464772 w 2460678"/>
                  <a:gd name="connsiteY14" fmla="*/ 4030357 h 5322210"/>
                  <a:gd name="connsiteX15" fmla="*/ 1965744 w 2460678"/>
                  <a:gd name="connsiteY15" fmla="*/ 4902275 h 5322210"/>
                  <a:gd name="connsiteX16" fmla="*/ 1966088 w 2460678"/>
                  <a:gd name="connsiteY16" fmla="*/ 4902667 h 5322210"/>
                  <a:gd name="connsiteX17" fmla="*/ 1988129 w 2460678"/>
                  <a:gd name="connsiteY17" fmla="*/ 4896480 h 5322210"/>
                  <a:gd name="connsiteX18" fmla="*/ 2034209 w 2460678"/>
                  <a:gd name="connsiteY18" fmla="*/ 4835926 h 5322210"/>
                  <a:gd name="connsiteX19" fmla="*/ 2036053 w 2460678"/>
                  <a:gd name="connsiteY19" fmla="*/ 4142900 h 5322210"/>
                  <a:gd name="connsiteX20" fmla="*/ 2038324 w 2460678"/>
                  <a:gd name="connsiteY20" fmla="*/ 1091692 h 5322210"/>
                  <a:gd name="connsiteX21" fmla="*/ 2037139 w 2460678"/>
                  <a:gd name="connsiteY21" fmla="*/ 1054114 h 5322210"/>
                  <a:gd name="connsiteX22" fmla="*/ 2035104 w 2460678"/>
                  <a:gd name="connsiteY22" fmla="*/ 531346 h 5322210"/>
                  <a:gd name="connsiteX23" fmla="*/ 2080595 w 2460678"/>
                  <a:gd name="connsiteY23" fmla="*/ 208620 h 5322210"/>
                  <a:gd name="connsiteX24" fmla="*/ 2245202 w 2460678"/>
                  <a:gd name="connsiteY24" fmla="*/ 62034 h 5322210"/>
                  <a:gd name="connsiteX25" fmla="*/ 2444848 w 2460678"/>
                  <a:gd name="connsiteY25" fmla="*/ 40248 h 5322210"/>
                  <a:gd name="connsiteX26" fmla="*/ 2448227 w 2460678"/>
                  <a:gd name="connsiteY26" fmla="*/ 576153 h 5322210"/>
                  <a:gd name="connsiteX27" fmla="*/ 2448222 w 2460678"/>
                  <a:gd name="connsiteY27" fmla="*/ 1102550 h 5322210"/>
                  <a:gd name="connsiteX28" fmla="*/ 2445445 w 2460678"/>
                  <a:gd name="connsiteY28" fmla="*/ 1118747 h 5322210"/>
                  <a:gd name="connsiteX29" fmla="*/ 2442619 w 2460678"/>
                  <a:gd name="connsiteY29" fmla="*/ 1895238 h 5322210"/>
                  <a:gd name="connsiteX30" fmla="*/ 2444476 w 2460678"/>
                  <a:gd name="connsiteY30" fmla="*/ 1898756 h 5322210"/>
                  <a:gd name="connsiteX31" fmla="*/ 2443809 w 2460678"/>
                  <a:gd name="connsiteY31" fmla="*/ 3074956 h 5322210"/>
                  <a:gd name="connsiteX32" fmla="*/ 2441669 w 2460678"/>
                  <a:gd name="connsiteY32" fmla="*/ 4839743 h 5322210"/>
                  <a:gd name="connsiteX33" fmla="*/ 2374871 w 2460678"/>
                  <a:gd name="connsiteY33" fmla="*/ 5098723 h 5322210"/>
                  <a:gd name="connsiteX34" fmla="*/ 2230903 w 2460678"/>
                  <a:gd name="connsiteY34" fmla="*/ 5253163 h 5322210"/>
                  <a:gd name="connsiteX35" fmla="*/ 2020267 w 2460678"/>
                  <a:gd name="connsiteY35" fmla="*/ 5321674 h 5322210"/>
                  <a:gd name="connsiteX36" fmla="*/ 1970713 w 2460678"/>
                  <a:gd name="connsiteY36"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9056 w 2460678"/>
                  <a:gd name="connsiteY9" fmla="*/ 2521688 h 5322210"/>
                  <a:gd name="connsiteX10" fmla="*/ 409165 w 2460678"/>
                  <a:gd name="connsiteY10" fmla="*/ 3924971 h 5322210"/>
                  <a:gd name="connsiteX11" fmla="*/ 407598 w 2460678"/>
                  <a:gd name="connsiteY11" fmla="*/ 3918379 h 5322210"/>
                  <a:gd name="connsiteX12" fmla="*/ 407517 w 2460678"/>
                  <a:gd name="connsiteY12" fmla="*/ 3931187 h 5322210"/>
                  <a:gd name="connsiteX13" fmla="*/ 464772 w 2460678"/>
                  <a:gd name="connsiteY13" fmla="*/ 4030357 h 5322210"/>
                  <a:gd name="connsiteX14" fmla="*/ 1965744 w 2460678"/>
                  <a:gd name="connsiteY14" fmla="*/ 4902275 h 5322210"/>
                  <a:gd name="connsiteX15" fmla="*/ 1966088 w 2460678"/>
                  <a:gd name="connsiteY15" fmla="*/ 4902667 h 5322210"/>
                  <a:gd name="connsiteX16" fmla="*/ 1988129 w 2460678"/>
                  <a:gd name="connsiteY16" fmla="*/ 4896480 h 5322210"/>
                  <a:gd name="connsiteX17" fmla="*/ 2034209 w 2460678"/>
                  <a:gd name="connsiteY17" fmla="*/ 4835926 h 5322210"/>
                  <a:gd name="connsiteX18" fmla="*/ 2036053 w 2460678"/>
                  <a:gd name="connsiteY18" fmla="*/ 4142900 h 5322210"/>
                  <a:gd name="connsiteX19" fmla="*/ 2038324 w 2460678"/>
                  <a:gd name="connsiteY19" fmla="*/ 1091692 h 5322210"/>
                  <a:gd name="connsiteX20" fmla="*/ 2037139 w 2460678"/>
                  <a:gd name="connsiteY20" fmla="*/ 1054114 h 5322210"/>
                  <a:gd name="connsiteX21" fmla="*/ 2035104 w 2460678"/>
                  <a:gd name="connsiteY21" fmla="*/ 531346 h 5322210"/>
                  <a:gd name="connsiteX22" fmla="*/ 2080595 w 2460678"/>
                  <a:gd name="connsiteY22" fmla="*/ 208620 h 5322210"/>
                  <a:gd name="connsiteX23" fmla="*/ 2245202 w 2460678"/>
                  <a:gd name="connsiteY23" fmla="*/ 62034 h 5322210"/>
                  <a:gd name="connsiteX24" fmla="*/ 2444848 w 2460678"/>
                  <a:gd name="connsiteY24" fmla="*/ 40248 h 5322210"/>
                  <a:gd name="connsiteX25" fmla="*/ 2448227 w 2460678"/>
                  <a:gd name="connsiteY25" fmla="*/ 576153 h 5322210"/>
                  <a:gd name="connsiteX26" fmla="*/ 2448222 w 2460678"/>
                  <a:gd name="connsiteY26" fmla="*/ 1102550 h 5322210"/>
                  <a:gd name="connsiteX27" fmla="*/ 2445445 w 2460678"/>
                  <a:gd name="connsiteY27" fmla="*/ 1118747 h 5322210"/>
                  <a:gd name="connsiteX28" fmla="*/ 2442619 w 2460678"/>
                  <a:gd name="connsiteY28" fmla="*/ 1895238 h 5322210"/>
                  <a:gd name="connsiteX29" fmla="*/ 2444476 w 2460678"/>
                  <a:gd name="connsiteY29" fmla="*/ 1898756 h 5322210"/>
                  <a:gd name="connsiteX30" fmla="*/ 2443809 w 2460678"/>
                  <a:gd name="connsiteY30" fmla="*/ 3074956 h 5322210"/>
                  <a:gd name="connsiteX31" fmla="*/ 2441669 w 2460678"/>
                  <a:gd name="connsiteY31" fmla="*/ 4839743 h 5322210"/>
                  <a:gd name="connsiteX32" fmla="*/ 2374871 w 2460678"/>
                  <a:gd name="connsiteY32" fmla="*/ 5098723 h 5322210"/>
                  <a:gd name="connsiteX33" fmla="*/ 2230903 w 2460678"/>
                  <a:gd name="connsiteY33" fmla="*/ 5253163 h 5322210"/>
                  <a:gd name="connsiteX34" fmla="*/ 2020267 w 2460678"/>
                  <a:gd name="connsiteY34" fmla="*/ 5321674 h 5322210"/>
                  <a:gd name="connsiteX35" fmla="*/ 1970713 w 2460678"/>
                  <a:gd name="connsiteY35"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5920 w 2460678"/>
                  <a:gd name="connsiteY8" fmla="*/ 2550548 h 5322210"/>
                  <a:gd name="connsiteX9" fmla="*/ 409165 w 2460678"/>
                  <a:gd name="connsiteY9" fmla="*/ 3924971 h 5322210"/>
                  <a:gd name="connsiteX10" fmla="*/ 407598 w 2460678"/>
                  <a:gd name="connsiteY10" fmla="*/ 3918379 h 5322210"/>
                  <a:gd name="connsiteX11" fmla="*/ 407517 w 2460678"/>
                  <a:gd name="connsiteY11" fmla="*/ 3931187 h 5322210"/>
                  <a:gd name="connsiteX12" fmla="*/ 464772 w 2460678"/>
                  <a:gd name="connsiteY12" fmla="*/ 4030357 h 5322210"/>
                  <a:gd name="connsiteX13" fmla="*/ 1965744 w 2460678"/>
                  <a:gd name="connsiteY13" fmla="*/ 4902275 h 5322210"/>
                  <a:gd name="connsiteX14" fmla="*/ 1966088 w 2460678"/>
                  <a:gd name="connsiteY14" fmla="*/ 4902667 h 5322210"/>
                  <a:gd name="connsiteX15" fmla="*/ 1988129 w 2460678"/>
                  <a:gd name="connsiteY15" fmla="*/ 4896480 h 5322210"/>
                  <a:gd name="connsiteX16" fmla="*/ 2034209 w 2460678"/>
                  <a:gd name="connsiteY16" fmla="*/ 4835926 h 5322210"/>
                  <a:gd name="connsiteX17" fmla="*/ 2036053 w 2460678"/>
                  <a:gd name="connsiteY17" fmla="*/ 4142900 h 5322210"/>
                  <a:gd name="connsiteX18" fmla="*/ 2038324 w 2460678"/>
                  <a:gd name="connsiteY18" fmla="*/ 1091692 h 5322210"/>
                  <a:gd name="connsiteX19" fmla="*/ 2037139 w 2460678"/>
                  <a:gd name="connsiteY19" fmla="*/ 1054114 h 5322210"/>
                  <a:gd name="connsiteX20" fmla="*/ 2035104 w 2460678"/>
                  <a:gd name="connsiteY20" fmla="*/ 531346 h 5322210"/>
                  <a:gd name="connsiteX21" fmla="*/ 2080595 w 2460678"/>
                  <a:gd name="connsiteY21" fmla="*/ 208620 h 5322210"/>
                  <a:gd name="connsiteX22" fmla="*/ 2245202 w 2460678"/>
                  <a:gd name="connsiteY22" fmla="*/ 62034 h 5322210"/>
                  <a:gd name="connsiteX23" fmla="*/ 2444848 w 2460678"/>
                  <a:gd name="connsiteY23" fmla="*/ 40248 h 5322210"/>
                  <a:gd name="connsiteX24" fmla="*/ 2448227 w 2460678"/>
                  <a:gd name="connsiteY24" fmla="*/ 576153 h 5322210"/>
                  <a:gd name="connsiteX25" fmla="*/ 2448222 w 2460678"/>
                  <a:gd name="connsiteY25" fmla="*/ 1102550 h 5322210"/>
                  <a:gd name="connsiteX26" fmla="*/ 2445445 w 2460678"/>
                  <a:gd name="connsiteY26" fmla="*/ 1118747 h 5322210"/>
                  <a:gd name="connsiteX27" fmla="*/ 2442619 w 2460678"/>
                  <a:gd name="connsiteY27" fmla="*/ 1895238 h 5322210"/>
                  <a:gd name="connsiteX28" fmla="*/ 2444476 w 2460678"/>
                  <a:gd name="connsiteY28" fmla="*/ 1898756 h 5322210"/>
                  <a:gd name="connsiteX29" fmla="*/ 2443809 w 2460678"/>
                  <a:gd name="connsiteY29" fmla="*/ 3074956 h 5322210"/>
                  <a:gd name="connsiteX30" fmla="*/ 2441669 w 2460678"/>
                  <a:gd name="connsiteY30" fmla="*/ 4839743 h 5322210"/>
                  <a:gd name="connsiteX31" fmla="*/ 2374871 w 2460678"/>
                  <a:gd name="connsiteY31" fmla="*/ 5098723 h 5322210"/>
                  <a:gd name="connsiteX32" fmla="*/ 2230903 w 2460678"/>
                  <a:gd name="connsiteY32" fmla="*/ 5253163 h 5322210"/>
                  <a:gd name="connsiteX33" fmla="*/ 2020267 w 2460678"/>
                  <a:gd name="connsiteY33" fmla="*/ 5321674 h 5322210"/>
                  <a:gd name="connsiteX34" fmla="*/ 1970713 w 2460678"/>
                  <a:gd name="connsiteY34" fmla="*/ 5322174 h 5322210"/>
                  <a:gd name="connsiteX0" fmla="*/ 1970713 w 2460678"/>
                  <a:gd name="connsiteY0" fmla="*/ 5322174 h 5322210"/>
                  <a:gd name="connsiteX1" fmla="*/ 1859089 w 2460678"/>
                  <a:gd name="connsiteY1" fmla="*/ 5294374 h 5322210"/>
                  <a:gd name="connsiteX2" fmla="*/ 1799088 w 2460678"/>
                  <a:gd name="connsiteY2" fmla="*/ 5264522 h 5322210"/>
                  <a:gd name="connsiteX3" fmla="*/ 257741 w 2460678"/>
                  <a:gd name="connsiteY3" fmla="*/ 4381324 h 5322210"/>
                  <a:gd name="connsiteX4" fmla="*/ 66855 w 2460678"/>
                  <a:gd name="connsiteY4" fmla="*/ 4193984 h 5322210"/>
                  <a:gd name="connsiteX5" fmla="*/ 5085 w 2460678"/>
                  <a:gd name="connsiteY5" fmla="*/ 3992081 h 5322210"/>
                  <a:gd name="connsiteX6" fmla="*/ 117 w 2460678"/>
                  <a:gd name="connsiteY6" fmla="*/ 3935691 h 5322210"/>
                  <a:gd name="connsiteX7" fmla="*/ 0 w 2460678"/>
                  <a:gd name="connsiteY7" fmla="*/ 3935029 h 5322210"/>
                  <a:gd name="connsiteX8" fmla="*/ 409165 w 2460678"/>
                  <a:gd name="connsiteY8" fmla="*/ 3924971 h 5322210"/>
                  <a:gd name="connsiteX9" fmla="*/ 407598 w 2460678"/>
                  <a:gd name="connsiteY9" fmla="*/ 3918379 h 5322210"/>
                  <a:gd name="connsiteX10" fmla="*/ 407517 w 2460678"/>
                  <a:gd name="connsiteY10" fmla="*/ 3931187 h 5322210"/>
                  <a:gd name="connsiteX11" fmla="*/ 464772 w 2460678"/>
                  <a:gd name="connsiteY11" fmla="*/ 4030357 h 5322210"/>
                  <a:gd name="connsiteX12" fmla="*/ 1965744 w 2460678"/>
                  <a:gd name="connsiteY12" fmla="*/ 4902275 h 5322210"/>
                  <a:gd name="connsiteX13" fmla="*/ 1966088 w 2460678"/>
                  <a:gd name="connsiteY13" fmla="*/ 4902667 h 5322210"/>
                  <a:gd name="connsiteX14" fmla="*/ 1988129 w 2460678"/>
                  <a:gd name="connsiteY14" fmla="*/ 4896480 h 5322210"/>
                  <a:gd name="connsiteX15" fmla="*/ 2034209 w 2460678"/>
                  <a:gd name="connsiteY15" fmla="*/ 4835926 h 5322210"/>
                  <a:gd name="connsiteX16" fmla="*/ 2036053 w 2460678"/>
                  <a:gd name="connsiteY16" fmla="*/ 4142900 h 5322210"/>
                  <a:gd name="connsiteX17" fmla="*/ 2038324 w 2460678"/>
                  <a:gd name="connsiteY17" fmla="*/ 1091692 h 5322210"/>
                  <a:gd name="connsiteX18" fmla="*/ 2037139 w 2460678"/>
                  <a:gd name="connsiteY18" fmla="*/ 1054114 h 5322210"/>
                  <a:gd name="connsiteX19" fmla="*/ 2035104 w 2460678"/>
                  <a:gd name="connsiteY19" fmla="*/ 531346 h 5322210"/>
                  <a:gd name="connsiteX20" fmla="*/ 2080595 w 2460678"/>
                  <a:gd name="connsiteY20" fmla="*/ 208620 h 5322210"/>
                  <a:gd name="connsiteX21" fmla="*/ 2245202 w 2460678"/>
                  <a:gd name="connsiteY21" fmla="*/ 62034 h 5322210"/>
                  <a:gd name="connsiteX22" fmla="*/ 2444848 w 2460678"/>
                  <a:gd name="connsiteY22" fmla="*/ 40248 h 5322210"/>
                  <a:gd name="connsiteX23" fmla="*/ 2448227 w 2460678"/>
                  <a:gd name="connsiteY23" fmla="*/ 576153 h 5322210"/>
                  <a:gd name="connsiteX24" fmla="*/ 2448222 w 2460678"/>
                  <a:gd name="connsiteY24" fmla="*/ 1102550 h 5322210"/>
                  <a:gd name="connsiteX25" fmla="*/ 2445445 w 2460678"/>
                  <a:gd name="connsiteY25" fmla="*/ 1118747 h 5322210"/>
                  <a:gd name="connsiteX26" fmla="*/ 2442619 w 2460678"/>
                  <a:gd name="connsiteY26" fmla="*/ 1895238 h 5322210"/>
                  <a:gd name="connsiteX27" fmla="*/ 2444476 w 2460678"/>
                  <a:gd name="connsiteY27" fmla="*/ 1898756 h 5322210"/>
                  <a:gd name="connsiteX28" fmla="*/ 2443809 w 2460678"/>
                  <a:gd name="connsiteY28" fmla="*/ 3074956 h 5322210"/>
                  <a:gd name="connsiteX29" fmla="*/ 2441669 w 2460678"/>
                  <a:gd name="connsiteY29" fmla="*/ 4839743 h 5322210"/>
                  <a:gd name="connsiteX30" fmla="*/ 2374871 w 2460678"/>
                  <a:gd name="connsiteY30" fmla="*/ 5098723 h 5322210"/>
                  <a:gd name="connsiteX31" fmla="*/ 2230903 w 2460678"/>
                  <a:gd name="connsiteY31" fmla="*/ 5253163 h 5322210"/>
                  <a:gd name="connsiteX32" fmla="*/ 2020267 w 2460678"/>
                  <a:gd name="connsiteY32" fmla="*/ 5321674 h 5322210"/>
                  <a:gd name="connsiteX33" fmla="*/ 1970713 w 2460678"/>
                  <a:gd name="connsiteY33" fmla="*/ 5322174 h 5322210"/>
                  <a:gd name="connsiteX0" fmla="*/ 1970596 w 2460561"/>
                  <a:gd name="connsiteY0" fmla="*/ 5322174 h 5322210"/>
                  <a:gd name="connsiteX1" fmla="*/ 1858972 w 2460561"/>
                  <a:gd name="connsiteY1" fmla="*/ 5294374 h 5322210"/>
                  <a:gd name="connsiteX2" fmla="*/ 1798971 w 2460561"/>
                  <a:gd name="connsiteY2" fmla="*/ 5264522 h 5322210"/>
                  <a:gd name="connsiteX3" fmla="*/ 257624 w 2460561"/>
                  <a:gd name="connsiteY3" fmla="*/ 4381324 h 5322210"/>
                  <a:gd name="connsiteX4" fmla="*/ 66738 w 2460561"/>
                  <a:gd name="connsiteY4" fmla="*/ 4193984 h 5322210"/>
                  <a:gd name="connsiteX5" fmla="*/ 4968 w 2460561"/>
                  <a:gd name="connsiteY5" fmla="*/ 3992081 h 5322210"/>
                  <a:gd name="connsiteX6" fmla="*/ 0 w 2460561"/>
                  <a:gd name="connsiteY6" fmla="*/ 3935691 h 5322210"/>
                  <a:gd name="connsiteX7" fmla="*/ 409048 w 2460561"/>
                  <a:gd name="connsiteY7" fmla="*/ 3924971 h 5322210"/>
                  <a:gd name="connsiteX8" fmla="*/ 407481 w 2460561"/>
                  <a:gd name="connsiteY8" fmla="*/ 3918379 h 5322210"/>
                  <a:gd name="connsiteX9" fmla="*/ 407400 w 2460561"/>
                  <a:gd name="connsiteY9" fmla="*/ 3931187 h 5322210"/>
                  <a:gd name="connsiteX10" fmla="*/ 464655 w 2460561"/>
                  <a:gd name="connsiteY10" fmla="*/ 4030357 h 5322210"/>
                  <a:gd name="connsiteX11" fmla="*/ 1965627 w 2460561"/>
                  <a:gd name="connsiteY11" fmla="*/ 4902275 h 5322210"/>
                  <a:gd name="connsiteX12" fmla="*/ 1965971 w 2460561"/>
                  <a:gd name="connsiteY12" fmla="*/ 4902667 h 5322210"/>
                  <a:gd name="connsiteX13" fmla="*/ 1988012 w 2460561"/>
                  <a:gd name="connsiteY13" fmla="*/ 4896480 h 5322210"/>
                  <a:gd name="connsiteX14" fmla="*/ 2034092 w 2460561"/>
                  <a:gd name="connsiteY14" fmla="*/ 4835926 h 5322210"/>
                  <a:gd name="connsiteX15" fmla="*/ 2035936 w 2460561"/>
                  <a:gd name="connsiteY15" fmla="*/ 4142900 h 5322210"/>
                  <a:gd name="connsiteX16" fmla="*/ 2038207 w 2460561"/>
                  <a:gd name="connsiteY16" fmla="*/ 1091692 h 5322210"/>
                  <a:gd name="connsiteX17" fmla="*/ 2037022 w 2460561"/>
                  <a:gd name="connsiteY17" fmla="*/ 1054114 h 5322210"/>
                  <a:gd name="connsiteX18" fmla="*/ 2034987 w 2460561"/>
                  <a:gd name="connsiteY18" fmla="*/ 531346 h 5322210"/>
                  <a:gd name="connsiteX19" fmla="*/ 2080478 w 2460561"/>
                  <a:gd name="connsiteY19" fmla="*/ 208620 h 5322210"/>
                  <a:gd name="connsiteX20" fmla="*/ 2245085 w 2460561"/>
                  <a:gd name="connsiteY20" fmla="*/ 62034 h 5322210"/>
                  <a:gd name="connsiteX21" fmla="*/ 2444731 w 2460561"/>
                  <a:gd name="connsiteY21" fmla="*/ 40248 h 5322210"/>
                  <a:gd name="connsiteX22" fmla="*/ 2448110 w 2460561"/>
                  <a:gd name="connsiteY22" fmla="*/ 576153 h 5322210"/>
                  <a:gd name="connsiteX23" fmla="*/ 2448105 w 2460561"/>
                  <a:gd name="connsiteY23" fmla="*/ 1102550 h 5322210"/>
                  <a:gd name="connsiteX24" fmla="*/ 2445328 w 2460561"/>
                  <a:gd name="connsiteY24" fmla="*/ 1118747 h 5322210"/>
                  <a:gd name="connsiteX25" fmla="*/ 2442502 w 2460561"/>
                  <a:gd name="connsiteY25" fmla="*/ 1895238 h 5322210"/>
                  <a:gd name="connsiteX26" fmla="*/ 2444359 w 2460561"/>
                  <a:gd name="connsiteY26" fmla="*/ 1898756 h 5322210"/>
                  <a:gd name="connsiteX27" fmla="*/ 2443692 w 2460561"/>
                  <a:gd name="connsiteY27" fmla="*/ 3074956 h 5322210"/>
                  <a:gd name="connsiteX28" fmla="*/ 2441552 w 2460561"/>
                  <a:gd name="connsiteY28" fmla="*/ 4839743 h 5322210"/>
                  <a:gd name="connsiteX29" fmla="*/ 2374754 w 2460561"/>
                  <a:gd name="connsiteY29" fmla="*/ 5098723 h 5322210"/>
                  <a:gd name="connsiteX30" fmla="*/ 2230786 w 2460561"/>
                  <a:gd name="connsiteY30" fmla="*/ 5253163 h 5322210"/>
                  <a:gd name="connsiteX31" fmla="*/ 2020150 w 2460561"/>
                  <a:gd name="connsiteY31" fmla="*/ 5321674 h 5322210"/>
                  <a:gd name="connsiteX32" fmla="*/ 1970596 w 2460561"/>
                  <a:gd name="connsiteY32" fmla="*/ 5322174 h 5322210"/>
                  <a:gd name="connsiteX0" fmla="*/ 1965628 w 2455593"/>
                  <a:gd name="connsiteY0" fmla="*/ 5322174 h 5322210"/>
                  <a:gd name="connsiteX1" fmla="*/ 1854004 w 2455593"/>
                  <a:gd name="connsiteY1" fmla="*/ 5294374 h 5322210"/>
                  <a:gd name="connsiteX2" fmla="*/ 1794003 w 2455593"/>
                  <a:gd name="connsiteY2" fmla="*/ 5264522 h 5322210"/>
                  <a:gd name="connsiteX3" fmla="*/ 252656 w 2455593"/>
                  <a:gd name="connsiteY3" fmla="*/ 4381324 h 5322210"/>
                  <a:gd name="connsiteX4" fmla="*/ 61770 w 2455593"/>
                  <a:gd name="connsiteY4" fmla="*/ 4193984 h 5322210"/>
                  <a:gd name="connsiteX5" fmla="*/ 0 w 2455593"/>
                  <a:gd name="connsiteY5" fmla="*/ 3992081 h 5322210"/>
                  <a:gd name="connsiteX6" fmla="*/ 404080 w 2455593"/>
                  <a:gd name="connsiteY6" fmla="*/ 3924971 h 5322210"/>
                  <a:gd name="connsiteX7" fmla="*/ 402513 w 2455593"/>
                  <a:gd name="connsiteY7" fmla="*/ 3918379 h 5322210"/>
                  <a:gd name="connsiteX8" fmla="*/ 402432 w 2455593"/>
                  <a:gd name="connsiteY8" fmla="*/ 3931187 h 5322210"/>
                  <a:gd name="connsiteX9" fmla="*/ 459687 w 2455593"/>
                  <a:gd name="connsiteY9" fmla="*/ 4030357 h 5322210"/>
                  <a:gd name="connsiteX10" fmla="*/ 1960659 w 2455593"/>
                  <a:gd name="connsiteY10" fmla="*/ 4902275 h 5322210"/>
                  <a:gd name="connsiteX11" fmla="*/ 1961003 w 2455593"/>
                  <a:gd name="connsiteY11" fmla="*/ 4902667 h 5322210"/>
                  <a:gd name="connsiteX12" fmla="*/ 1983044 w 2455593"/>
                  <a:gd name="connsiteY12" fmla="*/ 4896480 h 5322210"/>
                  <a:gd name="connsiteX13" fmla="*/ 2029124 w 2455593"/>
                  <a:gd name="connsiteY13" fmla="*/ 4835926 h 5322210"/>
                  <a:gd name="connsiteX14" fmla="*/ 2030968 w 2455593"/>
                  <a:gd name="connsiteY14" fmla="*/ 4142900 h 5322210"/>
                  <a:gd name="connsiteX15" fmla="*/ 2033239 w 2455593"/>
                  <a:gd name="connsiteY15" fmla="*/ 1091692 h 5322210"/>
                  <a:gd name="connsiteX16" fmla="*/ 2032054 w 2455593"/>
                  <a:gd name="connsiteY16" fmla="*/ 1054114 h 5322210"/>
                  <a:gd name="connsiteX17" fmla="*/ 2030019 w 2455593"/>
                  <a:gd name="connsiteY17" fmla="*/ 531346 h 5322210"/>
                  <a:gd name="connsiteX18" fmla="*/ 2075510 w 2455593"/>
                  <a:gd name="connsiteY18" fmla="*/ 208620 h 5322210"/>
                  <a:gd name="connsiteX19" fmla="*/ 2240117 w 2455593"/>
                  <a:gd name="connsiteY19" fmla="*/ 62034 h 5322210"/>
                  <a:gd name="connsiteX20" fmla="*/ 2439763 w 2455593"/>
                  <a:gd name="connsiteY20" fmla="*/ 40248 h 5322210"/>
                  <a:gd name="connsiteX21" fmla="*/ 2443142 w 2455593"/>
                  <a:gd name="connsiteY21" fmla="*/ 576153 h 5322210"/>
                  <a:gd name="connsiteX22" fmla="*/ 2443137 w 2455593"/>
                  <a:gd name="connsiteY22" fmla="*/ 1102550 h 5322210"/>
                  <a:gd name="connsiteX23" fmla="*/ 2440360 w 2455593"/>
                  <a:gd name="connsiteY23" fmla="*/ 1118747 h 5322210"/>
                  <a:gd name="connsiteX24" fmla="*/ 2437534 w 2455593"/>
                  <a:gd name="connsiteY24" fmla="*/ 1895238 h 5322210"/>
                  <a:gd name="connsiteX25" fmla="*/ 2439391 w 2455593"/>
                  <a:gd name="connsiteY25" fmla="*/ 1898756 h 5322210"/>
                  <a:gd name="connsiteX26" fmla="*/ 2438724 w 2455593"/>
                  <a:gd name="connsiteY26" fmla="*/ 3074956 h 5322210"/>
                  <a:gd name="connsiteX27" fmla="*/ 2436584 w 2455593"/>
                  <a:gd name="connsiteY27" fmla="*/ 4839743 h 5322210"/>
                  <a:gd name="connsiteX28" fmla="*/ 2369786 w 2455593"/>
                  <a:gd name="connsiteY28" fmla="*/ 5098723 h 5322210"/>
                  <a:gd name="connsiteX29" fmla="*/ 2225818 w 2455593"/>
                  <a:gd name="connsiteY29" fmla="*/ 5253163 h 5322210"/>
                  <a:gd name="connsiteX30" fmla="*/ 2015182 w 2455593"/>
                  <a:gd name="connsiteY30" fmla="*/ 5321674 h 5322210"/>
                  <a:gd name="connsiteX31" fmla="*/ 1965628 w 2455593"/>
                  <a:gd name="connsiteY31" fmla="*/ 5322174 h 5322210"/>
                  <a:gd name="connsiteX0" fmla="*/ 1906707 w 2396672"/>
                  <a:gd name="connsiteY0" fmla="*/ 5322174 h 5322210"/>
                  <a:gd name="connsiteX1" fmla="*/ 1795083 w 2396672"/>
                  <a:gd name="connsiteY1" fmla="*/ 5294374 h 5322210"/>
                  <a:gd name="connsiteX2" fmla="*/ 1735082 w 2396672"/>
                  <a:gd name="connsiteY2" fmla="*/ 5264522 h 5322210"/>
                  <a:gd name="connsiteX3" fmla="*/ 193735 w 2396672"/>
                  <a:gd name="connsiteY3" fmla="*/ 4381324 h 5322210"/>
                  <a:gd name="connsiteX4" fmla="*/ 2849 w 2396672"/>
                  <a:gd name="connsiteY4" fmla="*/ 4193984 h 5322210"/>
                  <a:gd name="connsiteX5" fmla="*/ 345159 w 2396672"/>
                  <a:gd name="connsiteY5" fmla="*/ 3924971 h 5322210"/>
                  <a:gd name="connsiteX6" fmla="*/ 343592 w 2396672"/>
                  <a:gd name="connsiteY6" fmla="*/ 3918379 h 5322210"/>
                  <a:gd name="connsiteX7" fmla="*/ 343511 w 2396672"/>
                  <a:gd name="connsiteY7" fmla="*/ 3931187 h 5322210"/>
                  <a:gd name="connsiteX8" fmla="*/ 400766 w 2396672"/>
                  <a:gd name="connsiteY8" fmla="*/ 4030357 h 5322210"/>
                  <a:gd name="connsiteX9" fmla="*/ 1901738 w 2396672"/>
                  <a:gd name="connsiteY9" fmla="*/ 4902275 h 5322210"/>
                  <a:gd name="connsiteX10" fmla="*/ 1902082 w 2396672"/>
                  <a:gd name="connsiteY10" fmla="*/ 4902667 h 5322210"/>
                  <a:gd name="connsiteX11" fmla="*/ 1924123 w 2396672"/>
                  <a:gd name="connsiteY11" fmla="*/ 4896480 h 5322210"/>
                  <a:gd name="connsiteX12" fmla="*/ 1970203 w 2396672"/>
                  <a:gd name="connsiteY12" fmla="*/ 4835926 h 5322210"/>
                  <a:gd name="connsiteX13" fmla="*/ 1972047 w 2396672"/>
                  <a:gd name="connsiteY13" fmla="*/ 4142900 h 5322210"/>
                  <a:gd name="connsiteX14" fmla="*/ 1974318 w 2396672"/>
                  <a:gd name="connsiteY14" fmla="*/ 1091692 h 5322210"/>
                  <a:gd name="connsiteX15" fmla="*/ 1973133 w 2396672"/>
                  <a:gd name="connsiteY15" fmla="*/ 1054114 h 5322210"/>
                  <a:gd name="connsiteX16" fmla="*/ 1971098 w 2396672"/>
                  <a:gd name="connsiteY16" fmla="*/ 531346 h 5322210"/>
                  <a:gd name="connsiteX17" fmla="*/ 2016589 w 2396672"/>
                  <a:gd name="connsiteY17" fmla="*/ 208620 h 5322210"/>
                  <a:gd name="connsiteX18" fmla="*/ 2181196 w 2396672"/>
                  <a:gd name="connsiteY18" fmla="*/ 62034 h 5322210"/>
                  <a:gd name="connsiteX19" fmla="*/ 2380842 w 2396672"/>
                  <a:gd name="connsiteY19" fmla="*/ 40248 h 5322210"/>
                  <a:gd name="connsiteX20" fmla="*/ 2384221 w 2396672"/>
                  <a:gd name="connsiteY20" fmla="*/ 576153 h 5322210"/>
                  <a:gd name="connsiteX21" fmla="*/ 2384216 w 2396672"/>
                  <a:gd name="connsiteY21" fmla="*/ 1102550 h 5322210"/>
                  <a:gd name="connsiteX22" fmla="*/ 2381439 w 2396672"/>
                  <a:gd name="connsiteY22" fmla="*/ 1118747 h 5322210"/>
                  <a:gd name="connsiteX23" fmla="*/ 2378613 w 2396672"/>
                  <a:gd name="connsiteY23" fmla="*/ 1895238 h 5322210"/>
                  <a:gd name="connsiteX24" fmla="*/ 2380470 w 2396672"/>
                  <a:gd name="connsiteY24" fmla="*/ 1898756 h 5322210"/>
                  <a:gd name="connsiteX25" fmla="*/ 2379803 w 2396672"/>
                  <a:gd name="connsiteY25" fmla="*/ 3074956 h 5322210"/>
                  <a:gd name="connsiteX26" fmla="*/ 2377663 w 2396672"/>
                  <a:gd name="connsiteY26" fmla="*/ 4839743 h 5322210"/>
                  <a:gd name="connsiteX27" fmla="*/ 2310865 w 2396672"/>
                  <a:gd name="connsiteY27" fmla="*/ 5098723 h 5322210"/>
                  <a:gd name="connsiteX28" fmla="*/ 2166897 w 2396672"/>
                  <a:gd name="connsiteY28" fmla="*/ 5253163 h 5322210"/>
                  <a:gd name="connsiteX29" fmla="*/ 1956261 w 2396672"/>
                  <a:gd name="connsiteY29" fmla="*/ 5321674 h 5322210"/>
                  <a:gd name="connsiteX30" fmla="*/ 1906707 w 2396672"/>
                  <a:gd name="connsiteY30" fmla="*/ 5322174 h 5322210"/>
                  <a:gd name="connsiteX0" fmla="*/ 1790618 w 2280583"/>
                  <a:gd name="connsiteY0" fmla="*/ 5322174 h 5322210"/>
                  <a:gd name="connsiteX1" fmla="*/ 1678994 w 2280583"/>
                  <a:gd name="connsiteY1" fmla="*/ 5294374 h 5322210"/>
                  <a:gd name="connsiteX2" fmla="*/ 1618993 w 2280583"/>
                  <a:gd name="connsiteY2" fmla="*/ 5264522 h 5322210"/>
                  <a:gd name="connsiteX3" fmla="*/ 77646 w 2280583"/>
                  <a:gd name="connsiteY3" fmla="*/ 4381324 h 5322210"/>
                  <a:gd name="connsiteX4" fmla="*/ 229070 w 2280583"/>
                  <a:gd name="connsiteY4" fmla="*/ 3924971 h 5322210"/>
                  <a:gd name="connsiteX5" fmla="*/ 227503 w 2280583"/>
                  <a:gd name="connsiteY5" fmla="*/ 3918379 h 5322210"/>
                  <a:gd name="connsiteX6" fmla="*/ 227422 w 2280583"/>
                  <a:gd name="connsiteY6" fmla="*/ 3931187 h 5322210"/>
                  <a:gd name="connsiteX7" fmla="*/ 284677 w 2280583"/>
                  <a:gd name="connsiteY7" fmla="*/ 4030357 h 5322210"/>
                  <a:gd name="connsiteX8" fmla="*/ 1785649 w 2280583"/>
                  <a:gd name="connsiteY8" fmla="*/ 4902275 h 5322210"/>
                  <a:gd name="connsiteX9" fmla="*/ 1785993 w 2280583"/>
                  <a:gd name="connsiteY9" fmla="*/ 4902667 h 5322210"/>
                  <a:gd name="connsiteX10" fmla="*/ 1808034 w 2280583"/>
                  <a:gd name="connsiteY10" fmla="*/ 4896480 h 5322210"/>
                  <a:gd name="connsiteX11" fmla="*/ 1854114 w 2280583"/>
                  <a:gd name="connsiteY11" fmla="*/ 4835926 h 5322210"/>
                  <a:gd name="connsiteX12" fmla="*/ 1855958 w 2280583"/>
                  <a:gd name="connsiteY12" fmla="*/ 4142900 h 5322210"/>
                  <a:gd name="connsiteX13" fmla="*/ 1858229 w 2280583"/>
                  <a:gd name="connsiteY13" fmla="*/ 1091692 h 5322210"/>
                  <a:gd name="connsiteX14" fmla="*/ 1857044 w 2280583"/>
                  <a:gd name="connsiteY14" fmla="*/ 1054114 h 5322210"/>
                  <a:gd name="connsiteX15" fmla="*/ 1855009 w 2280583"/>
                  <a:gd name="connsiteY15" fmla="*/ 531346 h 5322210"/>
                  <a:gd name="connsiteX16" fmla="*/ 1900500 w 2280583"/>
                  <a:gd name="connsiteY16" fmla="*/ 208620 h 5322210"/>
                  <a:gd name="connsiteX17" fmla="*/ 2065107 w 2280583"/>
                  <a:gd name="connsiteY17" fmla="*/ 62034 h 5322210"/>
                  <a:gd name="connsiteX18" fmla="*/ 2264753 w 2280583"/>
                  <a:gd name="connsiteY18" fmla="*/ 40248 h 5322210"/>
                  <a:gd name="connsiteX19" fmla="*/ 2268132 w 2280583"/>
                  <a:gd name="connsiteY19" fmla="*/ 576153 h 5322210"/>
                  <a:gd name="connsiteX20" fmla="*/ 2268127 w 2280583"/>
                  <a:gd name="connsiteY20" fmla="*/ 1102550 h 5322210"/>
                  <a:gd name="connsiteX21" fmla="*/ 2265350 w 2280583"/>
                  <a:gd name="connsiteY21" fmla="*/ 1118747 h 5322210"/>
                  <a:gd name="connsiteX22" fmla="*/ 2262524 w 2280583"/>
                  <a:gd name="connsiteY22" fmla="*/ 1895238 h 5322210"/>
                  <a:gd name="connsiteX23" fmla="*/ 2264381 w 2280583"/>
                  <a:gd name="connsiteY23" fmla="*/ 1898756 h 5322210"/>
                  <a:gd name="connsiteX24" fmla="*/ 2263714 w 2280583"/>
                  <a:gd name="connsiteY24" fmla="*/ 3074956 h 5322210"/>
                  <a:gd name="connsiteX25" fmla="*/ 2261574 w 2280583"/>
                  <a:gd name="connsiteY25" fmla="*/ 4839743 h 5322210"/>
                  <a:gd name="connsiteX26" fmla="*/ 2194776 w 2280583"/>
                  <a:gd name="connsiteY26" fmla="*/ 5098723 h 5322210"/>
                  <a:gd name="connsiteX27" fmla="*/ 2050808 w 2280583"/>
                  <a:gd name="connsiteY27" fmla="*/ 5253163 h 5322210"/>
                  <a:gd name="connsiteX28" fmla="*/ 1840172 w 2280583"/>
                  <a:gd name="connsiteY28" fmla="*/ 5321674 h 5322210"/>
                  <a:gd name="connsiteX29" fmla="*/ 1790618 w 2280583"/>
                  <a:gd name="connsiteY29" fmla="*/ 5322174 h 5322210"/>
                  <a:gd name="connsiteX0" fmla="*/ 1563196 w 2053161"/>
                  <a:gd name="connsiteY0" fmla="*/ 5322174 h 5322210"/>
                  <a:gd name="connsiteX1" fmla="*/ 1451572 w 2053161"/>
                  <a:gd name="connsiteY1" fmla="*/ 5294374 h 5322210"/>
                  <a:gd name="connsiteX2" fmla="*/ 1391571 w 2053161"/>
                  <a:gd name="connsiteY2" fmla="*/ 5264522 h 5322210"/>
                  <a:gd name="connsiteX3" fmla="*/ 1648 w 2053161"/>
                  <a:gd name="connsiteY3" fmla="*/ 3924971 h 5322210"/>
                  <a:gd name="connsiteX4" fmla="*/ 81 w 2053161"/>
                  <a:gd name="connsiteY4" fmla="*/ 3918379 h 5322210"/>
                  <a:gd name="connsiteX5" fmla="*/ 0 w 2053161"/>
                  <a:gd name="connsiteY5" fmla="*/ 3931187 h 5322210"/>
                  <a:gd name="connsiteX6" fmla="*/ 57255 w 2053161"/>
                  <a:gd name="connsiteY6" fmla="*/ 4030357 h 5322210"/>
                  <a:gd name="connsiteX7" fmla="*/ 1558227 w 2053161"/>
                  <a:gd name="connsiteY7" fmla="*/ 4902275 h 5322210"/>
                  <a:gd name="connsiteX8" fmla="*/ 1558571 w 2053161"/>
                  <a:gd name="connsiteY8" fmla="*/ 4902667 h 5322210"/>
                  <a:gd name="connsiteX9" fmla="*/ 1580612 w 2053161"/>
                  <a:gd name="connsiteY9" fmla="*/ 4896480 h 5322210"/>
                  <a:gd name="connsiteX10" fmla="*/ 1626692 w 2053161"/>
                  <a:gd name="connsiteY10" fmla="*/ 4835926 h 5322210"/>
                  <a:gd name="connsiteX11" fmla="*/ 1628536 w 2053161"/>
                  <a:gd name="connsiteY11" fmla="*/ 4142900 h 5322210"/>
                  <a:gd name="connsiteX12" fmla="*/ 1630807 w 2053161"/>
                  <a:gd name="connsiteY12" fmla="*/ 1091692 h 5322210"/>
                  <a:gd name="connsiteX13" fmla="*/ 1629622 w 2053161"/>
                  <a:gd name="connsiteY13" fmla="*/ 1054114 h 5322210"/>
                  <a:gd name="connsiteX14" fmla="*/ 1627587 w 2053161"/>
                  <a:gd name="connsiteY14" fmla="*/ 531346 h 5322210"/>
                  <a:gd name="connsiteX15" fmla="*/ 1673078 w 2053161"/>
                  <a:gd name="connsiteY15" fmla="*/ 208620 h 5322210"/>
                  <a:gd name="connsiteX16" fmla="*/ 1837685 w 2053161"/>
                  <a:gd name="connsiteY16" fmla="*/ 62034 h 5322210"/>
                  <a:gd name="connsiteX17" fmla="*/ 2037331 w 2053161"/>
                  <a:gd name="connsiteY17" fmla="*/ 40248 h 5322210"/>
                  <a:gd name="connsiteX18" fmla="*/ 2040710 w 2053161"/>
                  <a:gd name="connsiteY18" fmla="*/ 576153 h 5322210"/>
                  <a:gd name="connsiteX19" fmla="*/ 2040705 w 2053161"/>
                  <a:gd name="connsiteY19" fmla="*/ 1102550 h 5322210"/>
                  <a:gd name="connsiteX20" fmla="*/ 2037928 w 2053161"/>
                  <a:gd name="connsiteY20" fmla="*/ 1118747 h 5322210"/>
                  <a:gd name="connsiteX21" fmla="*/ 2035102 w 2053161"/>
                  <a:gd name="connsiteY21" fmla="*/ 1895238 h 5322210"/>
                  <a:gd name="connsiteX22" fmla="*/ 2036959 w 2053161"/>
                  <a:gd name="connsiteY22" fmla="*/ 1898756 h 5322210"/>
                  <a:gd name="connsiteX23" fmla="*/ 2036292 w 2053161"/>
                  <a:gd name="connsiteY23" fmla="*/ 3074956 h 5322210"/>
                  <a:gd name="connsiteX24" fmla="*/ 2034152 w 2053161"/>
                  <a:gd name="connsiteY24" fmla="*/ 4839743 h 5322210"/>
                  <a:gd name="connsiteX25" fmla="*/ 1967354 w 2053161"/>
                  <a:gd name="connsiteY25" fmla="*/ 5098723 h 5322210"/>
                  <a:gd name="connsiteX26" fmla="*/ 1823386 w 2053161"/>
                  <a:gd name="connsiteY26" fmla="*/ 5253163 h 5322210"/>
                  <a:gd name="connsiteX27" fmla="*/ 1612750 w 2053161"/>
                  <a:gd name="connsiteY27" fmla="*/ 5321674 h 5322210"/>
                  <a:gd name="connsiteX28" fmla="*/ 1563196 w 2053161"/>
                  <a:gd name="connsiteY28" fmla="*/ 5322174 h 5322210"/>
                  <a:gd name="connsiteX0" fmla="*/ 1635752 w 2125717"/>
                  <a:gd name="connsiteY0" fmla="*/ 5322174 h 5322210"/>
                  <a:gd name="connsiteX1" fmla="*/ 1524128 w 2125717"/>
                  <a:gd name="connsiteY1" fmla="*/ 5294374 h 5322210"/>
                  <a:gd name="connsiteX2" fmla="*/ 1464127 w 2125717"/>
                  <a:gd name="connsiteY2" fmla="*/ 5264522 h 5322210"/>
                  <a:gd name="connsiteX3" fmla="*/ 74204 w 2125717"/>
                  <a:gd name="connsiteY3" fmla="*/ 3924971 h 5322210"/>
                  <a:gd name="connsiteX4" fmla="*/ 72637 w 2125717"/>
                  <a:gd name="connsiteY4" fmla="*/ 3918379 h 5322210"/>
                  <a:gd name="connsiteX5" fmla="*/ 129811 w 2125717"/>
                  <a:gd name="connsiteY5" fmla="*/ 4030357 h 5322210"/>
                  <a:gd name="connsiteX6" fmla="*/ 1630783 w 2125717"/>
                  <a:gd name="connsiteY6" fmla="*/ 4902275 h 5322210"/>
                  <a:gd name="connsiteX7" fmla="*/ 1631127 w 2125717"/>
                  <a:gd name="connsiteY7" fmla="*/ 4902667 h 5322210"/>
                  <a:gd name="connsiteX8" fmla="*/ 1653168 w 2125717"/>
                  <a:gd name="connsiteY8" fmla="*/ 4896480 h 5322210"/>
                  <a:gd name="connsiteX9" fmla="*/ 1699248 w 2125717"/>
                  <a:gd name="connsiteY9" fmla="*/ 4835926 h 5322210"/>
                  <a:gd name="connsiteX10" fmla="*/ 1701092 w 2125717"/>
                  <a:gd name="connsiteY10" fmla="*/ 4142900 h 5322210"/>
                  <a:gd name="connsiteX11" fmla="*/ 1703363 w 2125717"/>
                  <a:gd name="connsiteY11" fmla="*/ 1091692 h 5322210"/>
                  <a:gd name="connsiteX12" fmla="*/ 1702178 w 2125717"/>
                  <a:gd name="connsiteY12" fmla="*/ 1054114 h 5322210"/>
                  <a:gd name="connsiteX13" fmla="*/ 1700143 w 2125717"/>
                  <a:gd name="connsiteY13" fmla="*/ 531346 h 5322210"/>
                  <a:gd name="connsiteX14" fmla="*/ 1745634 w 2125717"/>
                  <a:gd name="connsiteY14" fmla="*/ 208620 h 5322210"/>
                  <a:gd name="connsiteX15" fmla="*/ 1910241 w 2125717"/>
                  <a:gd name="connsiteY15" fmla="*/ 62034 h 5322210"/>
                  <a:gd name="connsiteX16" fmla="*/ 2109887 w 2125717"/>
                  <a:gd name="connsiteY16" fmla="*/ 40248 h 5322210"/>
                  <a:gd name="connsiteX17" fmla="*/ 2113266 w 2125717"/>
                  <a:gd name="connsiteY17" fmla="*/ 576153 h 5322210"/>
                  <a:gd name="connsiteX18" fmla="*/ 2113261 w 2125717"/>
                  <a:gd name="connsiteY18" fmla="*/ 1102550 h 5322210"/>
                  <a:gd name="connsiteX19" fmla="*/ 2110484 w 2125717"/>
                  <a:gd name="connsiteY19" fmla="*/ 1118747 h 5322210"/>
                  <a:gd name="connsiteX20" fmla="*/ 2107658 w 2125717"/>
                  <a:gd name="connsiteY20" fmla="*/ 1895238 h 5322210"/>
                  <a:gd name="connsiteX21" fmla="*/ 2109515 w 2125717"/>
                  <a:gd name="connsiteY21" fmla="*/ 1898756 h 5322210"/>
                  <a:gd name="connsiteX22" fmla="*/ 2108848 w 2125717"/>
                  <a:gd name="connsiteY22" fmla="*/ 3074956 h 5322210"/>
                  <a:gd name="connsiteX23" fmla="*/ 2106708 w 2125717"/>
                  <a:gd name="connsiteY23" fmla="*/ 4839743 h 5322210"/>
                  <a:gd name="connsiteX24" fmla="*/ 2039910 w 2125717"/>
                  <a:gd name="connsiteY24" fmla="*/ 5098723 h 5322210"/>
                  <a:gd name="connsiteX25" fmla="*/ 1895942 w 2125717"/>
                  <a:gd name="connsiteY25" fmla="*/ 5253163 h 5322210"/>
                  <a:gd name="connsiteX26" fmla="*/ 1685306 w 2125717"/>
                  <a:gd name="connsiteY26" fmla="*/ 5321674 h 5322210"/>
                  <a:gd name="connsiteX27" fmla="*/ 1635752 w 2125717"/>
                  <a:gd name="connsiteY27" fmla="*/ 5322174 h 5322210"/>
                  <a:gd name="connsiteX0" fmla="*/ 1563115 w 2053080"/>
                  <a:gd name="connsiteY0" fmla="*/ 5322174 h 5322210"/>
                  <a:gd name="connsiteX1" fmla="*/ 1451491 w 2053080"/>
                  <a:gd name="connsiteY1" fmla="*/ 5294374 h 5322210"/>
                  <a:gd name="connsiteX2" fmla="*/ 1391490 w 2053080"/>
                  <a:gd name="connsiteY2" fmla="*/ 5264522 h 5322210"/>
                  <a:gd name="connsiteX3" fmla="*/ 1567 w 2053080"/>
                  <a:gd name="connsiteY3" fmla="*/ 3924971 h 5322210"/>
                  <a:gd name="connsiteX4" fmla="*/ 0 w 2053080"/>
                  <a:gd name="connsiteY4" fmla="*/ 3918379 h 5322210"/>
                  <a:gd name="connsiteX5" fmla="*/ 1558146 w 2053080"/>
                  <a:gd name="connsiteY5" fmla="*/ 4902275 h 5322210"/>
                  <a:gd name="connsiteX6" fmla="*/ 1558490 w 2053080"/>
                  <a:gd name="connsiteY6" fmla="*/ 4902667 h 5322210"/>
                  <a:gd name="connsiteX7" fmla="*/ 1580531 w 2053080"/>
                  <a:gd name="connsiteY7" fmla="*/ 4896480 h 5322210"/>
                  <a:gd name="connsiteX8" fmla="*/ 1626611 w 2053080"/>
                  <a:gd name="connsiteY8" fmla="*/ 4835926 h 5322210"/>
                  <a:gd name="connsiteX9" fmla="*/ 1628455 w 2053080"/>
                  <a:gd name="connsiteY9" fmla="*/ 4142900 h 5322210"/>
                  <a:gd name="connsiteX10" fmla="*/ 1630726 w 2053080"/>
                  <a:gd name="connsiteY10" fmla="*/ 1091692 h 5322210"/>
                  <a:gd name="connsiteX11" fmla="*/ 1629541 w 2053080"/>
                  <a:gd name="connsiteY11" fmla="*/ 1054114 h 5322210"/>
                  <a:gd name="connsiteX12" fmla="*/ 1627506 w 2053080"/>
                  <a:gd name="connsiteY12" fmla="*/ 531346 h 5322210"/>
                  <a:gd name="connsiteX13" fmla="*/ 1672997 w 2053080"/>
                  <a:gd name="connsiteY13" fmla="*/ 208620 h 5322210"/>
                  <a:gd name="connsiteX14" fmla="*/ 1837604 w 2053080"/>
                  <a:gd name="connsiteY14" fmla="*/ 62034 h 5322210"/>
                  <a:gd name="connsiteX15" fmla="*/ 2037250 w 2053080"/>
                  <a:gd name="connsiteY15" fmla="*/ 40248 h 5322210"/>
                  <a:gd name="connsiteX16" fmla="*/ 2040629 w 2053080"/>
                  <a:gd name="connsiteY16" fmla="*/ 576153 h 5322210"/>
                  <a:gd name="connsiteX17" fmla="*/ 2040624 w 2053080"/>
                  <a:gd name="connsiteY17" fmla="*/ 1102550 h 5322210"/>
                  <a:gd name="connsiteX18" fmla="*/ 2037847 w 2053080"/>
                  <a:gd name="connsiteY18" fmla="*/ 1118747 h 5322210"/>
                  <a:gd name="connsiteX19" fmla="*/ 2035021 w 2053080"/>
                  <a:gd name="connsiteY19" fmla="*/ 1895238 h 5322210"/>
                  <a:gd name="connsiteX20" fmla="*/ 2036878 w 2053080"/>
                  <a:gd name="connsiteY20" fmla="*/ 1898756 h 5322210"/>
                  <a:gd name="connsiteX21" fmla="*/ 2036211 w 2053080"/>
                  <a:gd name="connsiteY21" fmla="*/ 3074956 h 5322210"/>
                  <a:gd name="connsiteX22" fmla="*/ 2034071 w 2053080"/>
                  <a:gd name="connsiteY22" fmla="*/ 4839743 h 5322210"/>
                  <a:gd name="connsiteX23" fmla="*/ 1967273 w 2053080"/>
                  <a:gd name="connsiteY23" fmla="*/ 5098723 h 5322210"/>
                  <a:gd name="connsiteX24" fmla="*/ 1823305 w 2053080"/>
                  <a:gd name="connsiteY24" fmla="*/ 5253163 h 5322210"/>
                  <a:gd name="connsiteX25" fmla="*/ 1612669 w 2053080"/>
                  <a:gd name="connsiteY25" fmla="*/ 5321674 h 5322210"/>
                  <a:gd name="connsiteX26" fmla="*/ 1563115 w 2053080"/>
                  <a:gd name="connsiteY26" fmla="*/ 5322174 h 5322210"/>
                  <a:gd name="connsiteX0" fmla="*/ 1561548 w 2051513"/>
                  <a:gd name="connsiteY0" fmla="*/ 5322174 h 5322210"/>
                  <a:gd name="connsiteX1" fmla="*/ 1449924 w 2051513"/>
                  <a:gd name="connsiteY1" fmla="*/ 5294374 h 5322210"/>
                  <a:gd name="connsiteX2" fmla="*/ 1389923 w 2051513"/>
                  <a:gd name="connsiteY2" fmla="*/ 5264522 h 5322210"/>
                  <a:gd name="connsiteX3" fmla="*/ 0 w 2051513"/>
                  <a:gd name="connsiteY3" fmla="*/ 3924971 h 5322210"/>
                  <a:gd name="connsiteX4" fmla="*/ 1556579 w 2051513"/>
                  <a:gd name="connsiteY4" fmla="*/ 4902275 h 5322210"/>
                  <a:gd name="connsiteX5" fmla="*/ 1556923 w 2051513"/>
                  <a:gd name="connsiteY5" fmla="*/ 4902667 h 5322210"/>
                  <a:gd name="connsiteX6" fmla="*/ 1578964 w 2051513"/>
                  <a:gd name="connsiteY6" fmla="*/ 4896480 h 5322210"/>
                  <a:gd name="connsiteX7" fmla="*/ 1625044 w 2051513"/>
                  <a:gd name="connsiteY7" fmla="*/ 4835926 h 5322210"/>
                  <a:gd name="connsiteX8" fmla="*/ 1626888 w 2051513"/>
                  <a:gd name="connsiteY8" fmla="*/ 4142900 h 5322210"/>
                  <a:gd name="connsiteX9" fmla="*/ 1629159 w 2051513"/>
                  <a:gd name="connsiteY9" fmla="*/ 1091692 h 5322210"/>
                  <a:gd name="connsiteX10" fmla="*/ 1627974 w 2051513"/>
                  <a:gd name="connsiteY10" fmla="*/ 1054114 h 5322210"/>
                  <a:gd name="connsiteX11" fmla="*/ 1625939 w 2051513"/>
                  <a:gd name="connsiteY11" fmla="*/ 531346 h 5322210"/>
                  <a:gd name="connsiteX12" fmla="*/ 1671430 w 2051513"/>
                  <a:gd name="connsiteY12" fmla="*/ 208620 h 5322210"/>
                  <a:gd name="connsiteX13" fmla="*/ 1836037 w 2051513"/>
                  <a:gd name="connsiteY13" fmla="*/ 62034 h 5322210"/>
                  <a:gd name="connsiteX14" fmla="*/ 2035683 w 2051513"/>
                  <a:gd name="connsiteY14" fmla="*/ 40248 h 5322210"/>
                  <a:gd name="connsiteX15" fmla="*/ 2039062 w 2051513"/>
                  <a:gd name="connsiteY15" fmla="*/ 576153 h 5322210"/>
                  <a:gd name="connsiteX16" fmla="*/ 2039057 w 2051513"/>
                  <a:gd name="connsiteY16" fmla="*/ 1102550 h 5322210"/>
                  <a:gd name="connsiteX17" fmla="*/ 2036280 w 2051513"/>
                  <a:gd name="connsiteY17" fmla="*/ 1118747 h 5322210"/>
                  <a:gd name="connsiteX18" fmla="*/ 2033454 w 2051513"/>
                  <a:gd name="connsiteY18" fmla="*/ 1895238 h 5322210"/>
                  <a:gd name="connsiteX19" fmla="*/ 2035311 w 2051513"/>
                  <a:gd name="connsiteY19" fmla="*/ 1898756 h 5322210"/>
                  <a:gd name="connsiteX20" fmla="*/ 2034644 w 2051513"/>
                  <a:gd name="connsiteY20" fmla="*/ 3074956 h 5322210"/>
                  <a:gd name="connsiteX21" fmla="*/ 2032504 w 2051513"/>
                  <a:gd name="connsiteY21" fmla="*/ 4839743 h 5322210"/>
                  <a:gd name="connsiteX22" fmla="*/ 1965706 w 2051513"/>
                  <a:gd name="connsiteY22" fmla="*/ 5098723 h 5322210"/>
                  <a:gd name="connsiteX23" fmla="*/ 1821738 w 2051513"/>
                  <a:gd name="connsiteY23" fmla="*/ 5253163 h 5322210"/>
                  <a:gd name="connsiteX24" fmla="*/ 1611102 w 2051513"/>
                  <a:gd name="connsiteY24" fmla="*/ 5321674 h 5322210"/>
                  <a:gd name="connsiteX25" fmla="*/ 1561548 w 2051513"/>
                  <a:gd name="connsiteY25" fmla="*/ 5322174 h 5322210"/>
                  <a:gd name="connsiteX0" fmla="*/ 171625 w 661590"/>
                  <a:gd name="connsiteY0" fmla="*/ 5322174 h 5322210"/>
                  <a:gd name="connsiteX1" fmla="*/ 60001 w 661590"/>
                  <a:gd name="connsiteY1" fmla="*/ 5294374 h 5322210"/>
                  <a:gd name="connsiteX2" fmla="*/ 0 w 661590"/>
                  <a:gd name="connsiteY2" fmla="*/ 5264522 h 5322210"/>
                  <a:gd name="connsiteX3" fmla="*/ 166656 w 661590"/>
                  <a:gd name="connsiteY3" fmla="*/ 4902275 h 5322210"/>
                  <a:gd name="connsiteX4" fmla="*/ 167000 w 661590"/>
                  <a:gd name="connsiteY4" fmla="*/ 4902667 h 5322210"/>
                  <a:gd name="connsiteX5" fmla="*/ 189041 w 661590"/>
                  <a:gd name="connsiteY5" fmla="*/ 4896480 h 5322210"/>
                  <a:gd name="connsiteX6" fmla="*/ 235121 w 661590"/>
                  <a:gd name="connsiteY6" fmla="*/ 4835926 h 5322210"/>
                  <a:gd name="connsiteX7" fmla="*/ 236965 w 661590"/>
                  <a:gd name="connsiteY7" fmla="*/ 4142900 h 5322210"/>
                  <a:gd name="connsiteX8" fmla="*/ 239236 w 661590"/>
                  <a:gd name="connsiteY8" fmla="*/ 1091692 h 5322210"/>
                  <a:gd name="connsiteX9" fmla="*/ 238051 w 661590"/>
                  <a:gd name="connsiteY9" fmla="*/ 1054114 h 5322210"/>
                  <a:gd name="connsiteX10" fmla="*/ 236016 w 661590"/>
                  <a:gd name="connsiteY10" fmla="*/ 531346 h 5322210"/>
                  <a:gd name="connsiteX11" fmla="*/ 281507 w 661590"/>
                  <a:gd name="connsiteY11" fmla="*/ 208620 h 5322210"/>
                  <a:gd name="connsiteX12" fmla="*/ 446114 w 661590"/>
                  <a:gd name="connsiteY12" fmla="*/ 62034 h 5322210"/>
                  <a:gd name="connsiteX13" fmla="*/ 645760 w 661590"/>
                  <a:gd name="connsiteY13" fmla="*/ 40248 h 5322210"/>
                  <a:gd name="connsiteX14" fmla="*/ 649139 w 661590"/>
                  <a:gd name="connsiteY14" fmla="*/ 576153 h 5322210"/>
                  <a:gd name="connsiteX15" fmla="*/ 649134 w 661590"/>
                  <a:gd name="connsiteY15" fmla="*/ 1102550 h 5322210"/>
                  <a:gd name="connsiteX16" fmla="*/ 646357 w 661590"/>
                  <a:gd name="connsiteY16" fmla="*/ 1118747 h 5322210"/>
                  <a:gd name="connsiteX17" fmla="*/ 643531 w 661590"/>
                  <a:gd name="connsiteY17" fmla="*/ 1895238 h 5322210"/>
                  <a:gd name="connsiteX18" fmla="*/ 645388 w 661590"/>
                  <a:gd name="connsiteY18" fmla="*/ 1898756 h 5322210"/>
                  <a:gd name="connsiteX19" fmla="*/ 644721 w 661590"/>
                  <a:gd name="connsiteY19" fmla="*/ 3074956 h 5322210"/>
                  <a:gd name="connsiteX20" fmla="*/ 642581 w 661590"/>
                  <a:gd name="connsiteY20" fmla="*/ 4839743 h 5322210"/>
                  <a:gd name="connsiteX21" fmla="*/ 575783 w 661590"/>
                  <a:gd name="connsiteY21" fmla="*/ 5098723 h 5322210"/>
                  <a:gd name="connsiteX22" fmla="*/ 431815 w 661590"/>
                  <a:gd name="connsiteY22" fmla="*/ 5253163 h 5322210"/>
                  <a:gd name="connsiteX23" fmla="*/ 221179 w 661590"/>
                  <a:gd name="connsiteY23" fmla="*/ 5321674 h 5322210"/>
                  <a:gd name="connsiteX24" fmla="*/ 171625 w 661590"/>
                  <a:gd name="connsiteY24" fmla="*/ 5322174 h 5322210"/>
                  <a:gd name="connsiteX0" fmla="*/ 111624 w 601589"/>
                  <a:gd name="connsiteY0" fmla="*/ 5322174 h 5322210"/>
                  <a:gd name="connsiteX1" fmla="*/ 0 w 601589"/>
                  <a:gd name="connsiteY1" fmla="*/ 5294374 h 5322210"/>
                  <a:gd name="connsiteX2" fmla="*/ 106655 w 601589"/>
                  <a:gd name="connsiteY2" fmla="*/ 4902275 h 5322210"/>
                  <a:gd name="connsiteX3" fmla="*/ 106999 w 601589"/>
                  <a:gd name="connsiteY3" fmla="*/ 4902667 h 5322210"/>
                  <a:gd name="connsiteX4" fmla="*/ 129040 w 601589"/>
                  <a:gd name="connsiteY4" fmla="*/ 4896480 h 5322210"/>
                  <a:gd name="connsiteX5" fmla="*/ 175120 w 601589"/>
                  <a:gd name="connsiteY5" fmla="*/ 4835926 h 5322210"/>
                  <a:gd name="connsiteX6" fmla="*/ 176964 w 601589"/>
                  <a:gd name="connsiteY6" fmla="*/ 4142900 h 5322210"/>
                  <a:gd name="connsiteX7" fmla="*/ 179235 w 601589"/>
                  <a:gd name="connsiteY7" fmla="*/ 1091692 h 5322210"/>
                  <a:gd name="connsiteX8" fmla="*/ 178050 w 601589"/>
                  <a:gd name="connsiteY8" fmla="*/ 1054114 h 5322210"/>
                  <a:gd name="connsiteX9" fmla="*/ 176015 w 601589"/>
                  <a:gd name="connsiteY9" fmla="*/ 531346 h 5322210"/>
                  <a:gd name="connsiteX10" fmla="*/ 221506 w 601589"/>
                  <a:gd name="connsiteY10" fmla="*/ 208620 h 5322210"/>
                  <a:gd name="connsiteX11" fmla="*/ 386113 w 601589"/>
                  <a:gd name="connsiteY11" fmla="*/ 62034 h 5322210"/>
                  <a:gd name="connsiteX12" fmla="*/ 585759 w 601589"/>
                  <a:gd name="connsiteY12" fmla="*/ 40248 h 5322210"/>
                  <a:gd name="connsiteX13" fmla="*/ 589138 w 601589"/>
                  <a:gd name="connsiteY13" fmla="*/ 576153 h 5322210"/>
                  <a:gd name="connsiteX14" fmla="*/ 589133 w 601589"/>
                  <a:gd name="connsiteY14" fmla="*/ 1102550 h 5322210"/>
                  <a:gd name="connsiteX15" fmla="*/ 586356 w 601589"/>
                  <a:gd name="connsiteY15" fmla="*/ 1118747 h 5322210"/>
                  <a:gd name="connsiteX16" fmla="*/ 583530 w 601589"/>
                  <a:gd name="connsiteY16" fmla="*/ 1895238 h 5322210"/>
                  <a:gd name="connsiteX17" fmla="*/ 585387 w 601589"/>
                  <a:gd name="connsiteY17" fmla="*/ 1898756 h 5322210"/>
                  <a:gd name="connsiteX18" fmla="*/ 584720 w 601589"/>
                  <a:gd name="connsiteY18" fmla="*/ 3074956 h 5322210"/>
                  <a:gd name="connsiteX19" fmla="*/ 582580 w 601589"/>
                  <a:gd name="connsiteY19" fmla="*/ 4839743 h 5322210"/>
                  <a:gd name="connsiteX20" fmla="*/ 515782 w 601589"/>
                  <a:gd name="connsiteY20" fmla="*/ 5098723 h 5322210"/>
                  <a:gd name="connsiteX21" fmla="*/ 371814 w 601589"/>
                  <a:gd name="connsiteY21" fmla="*/ 5253163 h 5322210"/>
                  <a:gd name="connsiteX22" fmla="*/ 161178 w 601589"/>
                  <a:gd name="connsiteY22" fmla="*/ 5321674 h 5322210"/>
                  <a:gd name="connsiteX23" fmla="*/ 111624 w 601589"/>
                  <a:gd name="connsiteY23" fmla="*/ 5322174 h 5322210"/>
                  <a:gd name="connsiteX0" fmla="*/ 111624 w 601589"/>
                  <a:gd name="connsiteY0" fmla="*/ 5322174 h 5322210"/>
                  <a:gd name="connsiteX1" fmla="*/ 0 w 601589"/>
                  <a:gd name="connsiteY1" fmla="*/ 5294374 h 5322210"/>
                  <a:gd name="connsiteX2" fmla="*/ 106655 w 601589"/>
                  <a:gd name="connsiteY2" fmla="*/ 4902275 h 5322210"/>
                  <a:gd name="connsiteX3" fmla="*/ 106999 w 601589"/>
                  <a:gd name="connsiteY3" fmla="*/ 4902667 h 5322210"/>
                  <a:gd name="connsiteX4" fmla="*/ 175120 w 601589"/>
                  <a:gd name="connsiteY4" fmla="*/ 4835926 h 5322210"/>
                  <a:gd name="connsiteX5" fmla="*/ 176964 w 601589"/>
                  <a:gd name="connsiteY5" fmla="*/ 4142900 h 5322210"/>
                  <a:gd name="connsiteX6" fmla="*/ 179235 w 601589"/>
                  <a:gd name="connsiteY6" fmla="*/ 1091692 h 5322210"/>
                  <a:gd name="connsiteX7" fmla="*/ 178050 w 601589"/>
                  <a:gd name="connsiteY7" fmla="*/ 1054114 h 5322210"/>
                  <a:gd name="connsiteX8" fmla="*/ 176015 w 601589"/>
                  <a:gd name="connsiteY8" fmla="*/ 531346 h 5322210"/>
                  <a:gd name="connsiteX9" fmla="*/ 221506 w 601589"/>
                  <a:gd name="connsiteY9" fmla="*/ 208620 h 5322210"/>
                  <a:gd name="connsiteX10" fmla="*/ 386113 w 601589"/>
                  <a:gd name="connsiteY10" fmla="*/ 62034 h 5322210"/>
                  <a:gd name="connsiteX11" fmla="*/ 585759 w 601589"/>
                  <a:gd name="connsiteY11" fmla="*/ 40248 h 5322210"/>
                  <a:gd name="connsiteX12" fmla="*/ 589138 w 601589"/>
                  <a:gd name="connsiteY12" fmla="*/ 576153 h 5322210"/>
                  <a:gd name="connsiteX13" fmla="*/ 589133 w 601589"/>
                  <a:gd name="connsiteY13" fmla="*/ 1102550 h 5322210"/>
                  <a:gd name="connsiteX14" fmla="*/ 586356 w 601589"/>
                  <a:gd name="connsiteY14" fmla="*/ 1118747 h 5322210"/>
                  <a:gd name="connsiteX15" fmla="*/ 583530 w 601589"/>
                  <a:gd name="connsiteY15" fmla="*/ 1895238 h 5322210"/>
                  <a:gd name="connsiteX16" fmla="*/ 585387 w 601589"/>
                  <a:gd name="connsiteY16" fmla="*/ 1898756 h 5322210"/>
                  <a:gd name="connsiteX17" fmla="*/ 584720 w 601589"/>
                  <a:gd name="connsiteY17" fmla="*/ 3074956 h 5322210"/>
                  <a:gd name="connsiteX18" fmla="*/ 582580 w 601589"/>
                  <a:gd name="connsiteY18" fmla="*/ 4839743 h 5322210"/>
                  <a:gd name="connsiteX19" fmla="*/ 515782 w 601589"/>
                  <a:gd name="connsiteY19" fmla="*/ 5098723 h 5322210"/>
                  <a:gd name="connsiteX20" fmla="*/ 371814 w 601589"/>
                  <a:gd name="connsiteY20" fmla="*/ 5253163 h 5322210"/>
                  <a:gd name="connsiteX21" fmla="*/ 161178 w 601589"/>
                  <a:gd name="connsiteY21" fmla="*/ 5321674 h 5322210"/>
                  <a:gd name="connsiteX22" fmla="*/ 111624 w 601589"/>
                  <a:gd name="connsiteY22" fmla="*/ 5322174 h 5322210"/>
                  <a:gd name="connsiteX0" fmla="*/ 111624 w 601589"/>
                  <a:gd name="connsiteY0" fmla="*/ 5322174 h 5322210"/>
                  <a:gd name="connsiteX1" fmla="*/ 0 w 601589"/>
                  <a:gd name="connsiteY1" fmla="*/ 5294374 h 5322210"/>
                  <a:gd name="connsiteX2" fmla="*/ 106655 w 601589"/>
                  <a:gd name="connsiteY2" fmla="*/ 4902275 h 5322210"/>
                  <a:gd name="connsiteX3" fmla="*/ 175120 w 601589"/>
                  <a:gd name="connsiteY3" fmla="*/ 4835926 h 5322210"/>
                  <a:gd name="connsiteX4" fmla="*/ 176964 w 601589"/>
                  <a:gd name="connsiteY4" fmla="*/ 4142900 h 5322210"/>
                  <a:gd name="connsiteX5" fmla="*/ 179235 w 601589"/>
                  <a:gd name="connsiteY5" fmla="*/ 1091692 h 5322210"/>
                  <a:gd name="connsiteX6" fmla="*/ 178050 w 601589"/>
                  <a:gd name="connsiteY6" fmla="*/ 1054114 h 5322210"/>
                  <a:gd name="connsiteX7" fmla="*/ 176015 w 601589"/>
                  <a:gd name="connsiteY7" fmla="*/ 531346 h 5322210"/>
                  <a:gd name="connsiteX8" fmla="*/ 221506 w 601589"/>
                  <a:gd name="connsiteY8" fmla="*/ 208620 h 5322210"/>
                  <a:gd name="connsiteX9" fmla="*/ 386113 w 601589"/>
                  <a:gd name="connsiteY9" fmla="*/ 62034 h 5322210"/>
                  <a:gd name="connsiteX10" fmla="*/ 585759 w 601589"/>
                  <a:gd name="connsiteY10" fmla="*/ 40248 h 5322210"/>
                  <a:gd name="connsiteX11" fmla="*/ 589138 w 601589"/>
                  <a:gd name="connsiteY11" fmla="*/ 576153 h 5322210"/>
                  <a:gd name="connsiteX12" fmla="*/ 589133 w 601589"/>
                  <a:gd name="connsiteY12" fmla="*/ 1102550 h 5322210"/>
                  <a:gd name="connsiteX13" fmla="*/ 586356 w 601589"/>
                  <a:gd name="connsiteY13" fmla="*/ 1118747 h 5322210"/>
                  <a:gd name="connsiteX14" fmla="*/ 583530 w 601589"/>
                  <a:gd name="connsiteY14" fmla="*/ 1895238 h 5322210"/>
                  <a:gd name="connsiteX15" fmla="*/ 585387 w 601589"/>
                  <a:gd name="connsiteY15" fmla="*/ 1898756 h 5322210"/>
                  <a:gd name="connsiteX16" fmla="*/ 584720 w 601589"/>
                  <a:gd name="connsiteY16" fmla="*/ 3074956 h 5322210"/>
                  <a:gd name="connsiteX17" fmla="*/ 582580 w 601589"/>
                  <a:gd name="connsiteY17" fmla="*/ 4839743 h 5322210"/>
                  <a:gd name="connsiteX18" fmla="*/ 515782 w 601589"/>
                  <a:gd name="connsiteY18" fmla="*/ 5098723 h 5322210"/>
                  <a:gd name="connsiteX19" fmla="*/ 371814 w 601589"/>
                  <a:gd name="connsiteY19" fmla="*/ 5253163 h 5322210"/>
                  <a:gd name="connsiteX20" fmla="*/ 161178 w 601589"/>
                  <a:gd name="connsiteY20" fmla="*/ 5321674 h 5322210"/>
                  <a:gd name="connsiteX21" fmla="*/ 111624 w 601589"/>
                  <a:gd name="connsiteY21" fmla="*/ 5322174 h 5322210"/>
                  <a:gd name="connsiteX0" fmla="*/ 111624 w 601589"/>
                  <a:gd name="connsiteY0" fmla="*/ 5322174 h 5322210"/>
                  <a:gd name="connsiteX1" fmla="*/ 0 w 601589"/>
                  <a:gd name="connsiteY1" fmla="*/ 5294374 h 5322210"/>
                  <a:gd name="connsiteX2" fmla="*/ 175120 w 601589"/>
                  <a:gd name="connsiteY2" fmla="*/ 4835926 h 5322210"/>
                  <a:gd name="connsiteX3" fmla="*/ 176964 w 601589"/>
                  <a:gd name="connsiteY3" fmla="*/ 4142900 h 5322210"/>
                  <a:gd name="connsiteX4" fmla="*/ 179235 w 601589"/>
                  <a:gd name="connsiteY4" fmla="*/ 1091692 h 5322210"/>
                  <a:gd name="connsiteX5" fmla="*/ 178050 w 601589"/>
                  <a:gd name="connsiteY5" fmla="*/ 1054114 h 5322210"/>
                  <a:gd name="connsiteX6" fmla="*/ 176015 w 601589"/>
                  <a:gd name="connsiteY6" fmla="*/ 531346 h 5322210"/>
                  <a:gd name="connsiteX7" fmla="*/ 221506 w 601589"/>
                  <a:gd name="connsiteY7" fmla="*/ 208620 h 5322210"/>
                  <a:gd name="connsiteX8" fmla="*/ 386113 w 601589"/>
                  <a:gd name="connsiteY8" fmla="*/ 62034 h 5322210"/>
                  <a:gd name="connsiteX9" fmla="*/ 585759 w 601589"/>
                  <a:gd name="connsiteY9" fmla="*/ 40248 h 5322210"/>
                  <a:gd name="connsiteX10" fmla="*/ 589138 w 601589"/>
                  <a:gd name="connsiteY10" fmla="*/ 576153 h 5322210"/>
                  <a:gd name="connsiteX11" fmla="*/ 589133 w 601589"/>
                  <a:gd name="connsiteY11" fmla="*/ 1102550 h 5322210"/>
                  <a:gd name="connsiteX12" fmla="*/ 586356 w 601589"/>
                  <a:gd name="connsiteY12" fmla="*/ 1118747 h 5322210"/>
                  <a:gd name="connsiteX13" fmla="*/ 583530 w 601589"/>
                  <a:gd name="connsiteY13" fmla="*/ 1895238 h 5322210"/>
                  <a:gd name="connsiteX14" fmla="*/ 585387 w 601589"/>
                  <a:gd name="connsiteY14" fmla="*/ 1898756 h 5322210"/>
                  <a:gd name="connsiteX15" fmla="*/ 584720 w 601589"/>
                  <a:gd name="connsiteY15" fmla="*/ 3074956 h 5322210"/>
                  <a:gd name="connsiteX16" fmla="*/ 582580 w 601589"/>
                  <a:gd name="connsiteY16" fmla="*/ 4839743 h 5322210"/>
                  <a:gd name="connsiteX17" fmla="*/ 515782 w 601589"/>
                  <a:gd name="connsiteY17" fmla="*/ 5098723 h 5322210"/>
                  <a:gd name="connsiteX18" fmla="*/ 371814 w 601589"/>
                  <a:gd name="connsiteY18" fmla="*/ 5253163 h 5322210"/>
                  <a:gd name="connsiteX19" fmla="*/ 161178 w 601589"/>
                  <a:gd name="connsiteY19" fmla="*/ 5321674 h 5322210"/>
                  <a:gd name="connsiteX20" fmla="*/ 111624 w 601589"/>
                  <a:gd name="connsiteY20" fmla="*/ 5322174 h 5322210"/>
                  <a:gd name="connsiteX0" fmla="*/ 0 w 489965"/>
                  <a:gd name="connsiteY0" fmla="*/ 5322174 h 5322174"/>
                  <a:gd name="connsiteX1" fmla="*/ 63496 w 489965"/>
                  <a:gd name="connsiteY1" fmla="*/ 4835926 h 5322174"/>
                  <a:gd name="connsiteX2" fmla="*/ 65340 w 489965"/>
                  <a:gd name="connsiteY2" fmla="*/ 4142900 h 5322174"/>
                  <a:gd name="connsiteX3" fmla="*/ 67611 w 489965"/>
                  <a:gd name="connsiteY3" fmla="*/ 1091692 h 5322174"/>
                  <a:gd name="connsiteX4" fmla="*/ 66426 w 489965"/>
                  <a:gd name="connsiteY4" fmla="*/ 1054114 h 5322174"/>
                  <a:gd name="connsiteX5" fmla="*/ 64391 w 489965"/>
                  <a:gd name="connsiteY5" fmla="*/ 531346 h 5322174"/>
                  <a:gd name="connsiteX6" fmla="*/ 109882 w 489965"/>
                  <a:gd name="connsiteY6" fmla="*/ 208620 h 5322174"/>
                  <a:gd name="connsiteX7" fmla="*/ 274489 w 489965"/>
                  <a:gd name="connsiteY7" fmla="*/ 62034 h 5322174"/>
                  <a:gd name="connsiteX8" fmla="*/ 474135 w 489965"/>
                  <a:gd name="connsiteY8" fmla="*/ 40248 h 5322174"/>
                  <a:gd name="connsiteX9" fmla="*/ 477514 w 489965"/>
                  <a:gd name="connsiteY9" fmla="*/ 576153 h 5322174"/>
                  <a:gd name="connsiteX10" fmla="*/ 477509 w 489965"/>
                  <a:gd name="connsiteY10" fmla="*/ 1102550 h 5322174"/>
                  <a:gd name="connsiteX11" fmla="*/ 474732 w 489965"/>
                  <a:gd name="connsiteY11" fmla="*/ 1118747 h 5322174"/>
                  <a:gd name="connsiteX12" fmla="*/ 471906 w 489965"/>
                  <a:gd name="connsiteY12" fmla="*/ 1895238 h 5322174"/>
                  <a:gd name="connsiteX13" fmla="*/ 473763 w 489965"/>
                  <a:gd name="connsiteY13" fmla="*/ 1898756 h 5322174"/>
                  <a:gd name="connsiteX14" fmla="*/ 473096 w 489965"/>
                  <a:gd name="connsiteY14" fmla="*/ 3074956 h 5322174"/>
                  <a:gd name="connsiteX15" fmla="*/ 470956 w 489965"/>
                  <a:gd name="connsiteY15" fmla="*/ 4839743 h 5322174"/>
                  <a:gd name="connsiteX16" fmla="*/ 404158 w 489965"/>
                  <a:gd name="connsiteY16" fmla="*/ 5098723 h 5322174"/>
                  <a:gd name="connsiteX17" fmla="*/ 260190 w 489965"/>
                  <a:gd name="connsiteY17" fmla="*/ 5253163 h 5322174"/>
                  <a:gd name="connsiteX18" fmla="*/ 49554 w 489965"/>
                  <a:gd name="connsiteY18" fmla="*/ 5321674 h 5322174"/>
                  <a:gd name="connsiteX19" fmla="*/ 0 w 489965"/>
                  <a:gd name="connsiteY19" fmla="*/ 5322174 h 5322174"/>
                  <a:gd name="connsiteX0" fmla="*/ 12071 w 452482"/>
                  <a:gd name="connsiteY0" fmla="*/ 5321674 h 5321821"/>
                  <a:gd name="connsiteX1" fmla="*/ 26013 w 452482"/>
                  <a:gd name="connsiteY1" fmla="*/ 4835926 h 5321821"/>
                  <a:gd name="connsiteX2" fmla="*/ 27857 w 452482"/>
                  <a:gd name="connsiteY2" fmla="*/ 4142900 h 5321821"/>
                  <a:gd name="connsiteX3" fmla="*/ 30128 w 452482"/>
                  <a:gd name="connsiteY3" fmla="*/ 1091692 h 5321821"/>
                  <a:gd name="connsiteX4" fmla="*/ 28943 w 452482"/>
                  <a:gd name="connsiteY4" fmla="*/ 1054114 h 5321821"/>
                  <a:gd name="connsiteX5" fmla="*/ 26908 w 452482"/>
                  <a:gd name="connsiteY5" fmla="*/ 531346 h 5321821"/>
                  <a:gd name="connsiteX6" fmla="*/ 72399 w 452482"/>
                  <a:gd name="connsiteY6" fmla="*/ 208620 h 5321821"/>
                  <a:gd name="connsiteX7" fmla="*/ 237006 w 452482"/>
                  <a:gd name="connsiteY7" fmla="*/ 62034 h 5321821"/>
                  <a:gd name="connsiteX8" fmla="*/ 436652 w 452482"/>
                  <a:gd name="connsiteY8" fmla="*/ 40248 h 5321821"/>
                  <a:gd name="connsiteX9" fmla="*/ 440031 w 452482"/>
                  <a:gd name="connsiteY9" fmla="*/ 576153 h 5321821"/>
                  <a:gd name="connsiteX10" fmla="*/ 440026 w 452482"/>
                  <a:gd name="connsiteY10" fmla="*/ 1102550 h 5321821"/>
                  <a:gd name="connsiteX11" fmla="*/ 437249 w 452482"/>
                  <a:gd name="connsiteY11" fmla="*/ 1118747 h 5321821"/>
                  <a:gd name="connsiteX12" fmla="*/ 434423 w 452482"/>
                  <a:gd name="connsiteY12" fmla="*/ 1895238 h 5321821"/>
                  <a:gd name="connsiteX13" fmla="*/ 436280 w 452482"/>
                  <a:gd name="connsiteY13" fmla="*/ 1898756 h 5321821"/>
                  <a:gd name="connsiteX14" fmla="*/ 435613 w 452482"/>
                  <a:gd name="connsiteY14" fmla="*/ 3074956 h 5321821"/>
                  <a:gd name="connsiteX15" fmla="*/ 433473 w 452482"/>
                  <a:gd name="connsiteY15" fmla="*/ 4839743 h 5321821"/>
                  <a:gd name="connsiteX16" fmla="*/ 366675 w 452482"/>
                  <a:gd name="connsiteY16" fmla="*/ 5098723 h 5321821"/>
                  <a:gd name="connsiteX17" fmla="*/ 222707 w 452482"/>
                  <a:gd name="connsiteY17" fmla="*/ 5253163 h 5321821"/>
                  <a:gd name="connsiteX18" fmla="*/ 12071 w 452482"/>
                  <a:gd name="connsiteY18" fmla="*/ 5321674 h 5321821"/>
                  <a:gd name="connsiteX0" fmla="*/ 197536 w 427311"/>
                  <a:gd name="connsiteY0" fmla="*/ 5253163 h 5253163"/>
                  <a:gd name="connsiteX1" fmla="*/ 842 w 427311"/>
                  <a:gd name="connsiteY1" fmla="*/ 4835926 h 5253163"/>
                  <a:gd name="connsiteX2" fmla="*/ 2686 w 427311"/>
                  <a:gd name="connsiteY2" fmla="*/ 4142900 h 5253163"/>
                  <a:gd name="connsiteX3" fmla="*/ 4957 w 427311"/>
                  <a:gd name="connsiteY3" fmla="*/ 1091692 h 5253163"/>
                  <a:gd name="connsiteX4" fmla="*/ 3772 w 427311"/>
                  <a:gd name="connsiteY4" fmla="*/ 1054114 h 5253163"/>
                  <a:gd name="connsiteX5" fmla="*/ 1737 w 427311"/>
                  <a:gd name="connsiteY5" fmla="*/ 531346 h 5253163"/>
                  <a:gd name="connsiteX6" fmla="*/ 47228 w 427311"/>
                  <a:gd name="connsiteY6" fmla="*/ 208620 h 5253163"/>
                  <a:gd name="connsiteX7" fmla="*/ 211835 w 427311"/>
                  <a:gd name="connsiteY7" fmla="*/ 62034 h 5253163"/>
                  <a:gd name="connsiteX8" fmla="*/ 411481 w 427311"/>
                  <a:gd name="connsiteY8" fmla="*/ 40248 h 5253163"/>
                  <a:gd name="connsiteX9" fmla="*/ 414860 w 427311"/>
                  <a:gd name="connsiteY9" fmla="*/ 576153 h 5253163"/>
                  <a:gd name="connsiteX10" fmla="*/ 414855 w 427311"/>
                  <a:gd name="connsiteY10" fmla="*/ 1102550 h 5253163"/>
                  <a:gd name="connsiteX11" fmla="*/ 412078 w 427311"/>
                  <a:gd name="connsiteY11" fmla="*/ 1118747 h 5253163"/>
                  <a:gd name="connsiteX12" fmla="*/ 409252 w 427311"/>
                  <a:gd name="connsiteY12" fmla="*/ 1895238 h 5253163"/>
                  <a:gd name="connsiteX13" fmla="*/ 411109 w 427311"/>
                  <a:gd name="connsiteY13" fmla="*/ 1898756 h 5253163"/>
                  <a:gd name="connsiteX14" fmla="*/ 410442 w 427311"/>
                  <a:gd name="connsiteY14" fmla="*/ 3074956 h 5253163"/>
                  <a:gd name="connsiteX15" fmla="*/ 408302 w 427311"/>
                  <a:gd name="connsiteY15" fmla="*/ 4839743 h 5253163"/>
                  <a:gd name="connsiteX16" fmla="*/ 341504 w 427311"/>
                  <a:gd name="connsiteY16" fmla="*/ 5098723 h 5253163"/>
                  <a:gd name="connsiteX17" fmla="*/ 197536 w 427311"/>
                  <a:gd name="connsiteY17" fmla="*/ 5253163 h 5253163"/>
                  <a:gd name="connsiteX0" fmla="*/ 341504 w 427311"/>
                  <a:gd name="connsiteY0" fmla="*/ 5098723 h 5098724"/>
                  <a:gd name="connsiteX1" fmla="*/ 842 w 427311"/>
                  <a:gd name="connsiteY1" fmla="*/ 4835926 h 5098724"/>
                  <a:gd name="connsiteX2" fmla="*/ 2686 w 427311"/>
                  <a:gd name="connsiteY2" fmla="*/ 4142900 h 5098724"/>
                  <a:gd name="connsiteX3" fmla="*/ 4957 w 427311"/>
                  <a:gd name="connsiteY3" fmla="*/ 1091692 h 5098724"/>
                  <a:gd name="connsiteX4" fmla="*/ 3772 w 427311"/>
                  <a:gd name="connsiteY4" fmla="*/ 1054114 h 5098724"/>
                  <a:gd name="connsiteX5" fmla="*/ 1737 w 427311"/>
                  <a:gd name="connsiteY5" fmla="*/ 531346 h 5098724"/>
                  <a:gd name="connsiteX6" fmla="*/ 47228 w 427311"/>
                  <a:gd name="connsiteY6" fmla="*/ 208620 h 5098724"/>
                  <a:gd name="connsiteX7" fmla="*/ 211835 w 427311"/>
                  <a:gd name="connsiteY7" fmla="*/ 62034 h 5098724"/>
                  <a:gd name="connsiteX8" fmla="*/ 411481 w 427311"/>
                  <a:gd name="connsiteY8" fmla="*/ 40248 h 5098724"/>
                  <a:gd name="connsiteX9" fmla="*/ 414860 w 427311"/>
                  <a:gd name="connsiteY9" fmla="*/ 576153 h 5098724"/>
                  <a:gd name="connsiteX10" fmla="*/ 414855 w 427311"/>
                  <a:gd name="connsiteY10" fmla="*/ 1102550 h 5098724"/>
                  <a:gd name="connsiteX11" fmla="*/ 412078 w 427311"/>
                  <a:gd name="connsiteY11" fmla="*/ 1118747 h 5098724"/>
                  <a:gd name="connsiteX12" fmla="*/ 409252 w 427311"/>
                  <a:gd name="connsiteY12" fmla="*/ 1895238 h 5098724"/>
                  <a:gd name="connsiteX13" fmla="*/ 411109 w 427311"/>
                  <a:gd name="connsiteY13" fmla="*/ 1898756 h 5098724"/>
                  <a:gd name="connsiteX14" fmla="*/ 410442 w 427311"/>
                  <a:gd name="connsiteY14" fmla="*/ 3074956 h 5098724"/>
                  <a:gd name="connsiteX15" fmla="*/ 408302 w 427311"/>
                  <a:gd name="connsiteY15" fmla="*/ 4839743 h 5098724"/>
                  <a:gd name="connsiteX16" fmla="*/ 341504 w 427311"/>
                  <a:gd name="connsiteY16" fmla="*/ 5098723 h 5098724"/>
                  <a:gd name="connsiteX0" fmla="*/ 408302 w 427311"/>
                  <a:gd name="connsiteY0" fmla="*/ 4839743 h 4998637"/>
                  <a:gd name="connsiteX1" fmla="*/ 842 w 427311"/>
                  <a:gd name="connsiteY1" fmla="*/ 4835926 h 4998637"/>
                  <a:gd name="connsiteX2" fmla="*/ 2686 w 427311"/>
                  <a:gd name="connsiteY2" fmla="*/ 4142900 h 4998637"/>
                  <a:gd name="connsiteX3" fmla="*/ 4957 w 427311"/>
                  <a:gd name="connsiteY3" fmla="*/ 1091692 h 4998637"/>
                  <a:gd name="connsiteX4" fmla="*/ 3772 w 427311"/>
                  <a:gd name="connsiteY4" fmla="*/ 1054114 h 4998637"/>
                  <a:gd name="connsiteX5" fmla="*/ 1737 w 427311"/>
                  <a:gd name="connsiteY5" fmla="*/ 531346 h 4998637"/>
                  <a:gd name="connsiteX6" fmla="*/ 47228 w 427311"/>
                  <a:gd name="connsiteY6" fmla="*/ 208620 h 4998637"/>
                  <a:gd name="connsiteX7" fmla="*/ 211835 w 427311"/>
                  <a:gd name="connsiteY7" fmla="*/ 62034 h 4998637"/>
                  <a:gd name="connsiteX8" fmla="*/ 411481 w 427311"/>
                  <a:gd name="connsiteY8" fmla="*/ 40248 h 4998637"/>
                  <a:gd name="connsiteX9" fmla="*/ 414860 w 427311"/>
                  <a:gd name="connsiteY9" fmla="*/ 576153 h 4998637"/>
                  <a:gd name="connsiteX10" fmla="*/ 414855 w 427311"/>
                  <a:gd name="connsiteY10" fmla="*/ 1102550 h 4998637"/>
                  <a:gd name="connsiteX11" fmla="*/ 412078 w 427311"/>
                  <a:gd name="connsiteY11" fmla="*/ 1118747 h 4998637"/>
                  <a:gd name="connsiteX12" fmla="*/ 409252 w 427311"/>
                  <a:gd name="connsiteY12" fmla="*/ 1895238 h 4998637"/>
                  <a:gd name="connsiteX13" fmla="*/ 411109 w 427311"/>
                  <a:gd name="connsiteY13" fmla="*/ 1898756 h 4998637"/>
                  <a:gd name="connsiteX14" fmla="*/ 410442 w 427311"/>
                  <a:gd name="connsiteY14" fmla="*/ 3074956 h 4998637"/>
                  <a:gd name="connsiteX15" fmla="*/ 408302 w 427311"/>
                  <a:gd name="connsiteY15" fmla="*/ 4839743 h 4998637"/>
                  <a:gd name="connsiteX0" fmla="*/ 408302 w 427311"/>
                  <a:gd name="connsiteY0" fmla="*/ 4839743 h 4998637"/>
                  <a:gd name="connsiteX1" fmla="*/ 842 w 427311"/>
                  <a:gd name="connsiteY1" fmla="*/ 4835926 h 4998637"/>
                  <a:gd name="connsiteX2" fmla="*/ 2686 w 427311"/>
                  <a:gd name="connsiteY2" fmla="*/ 4142900 h 4998637"/>
                  <a:gd name="connsiteX3" fmla="*/ 4957 w 427311"/>
                  <a:gd name="connsiteY3" fmla="*/ 1091692 h 4998637"/>
                  <a:gd name="connsiteX4" fmla="*/ 3772 w 427311"/>
                  <a:gd name="connsiteY4" fmla="*/ 1054114 h 4998637"/>
                  <a:gd name="connsiteX5" fmla="*/ 1737 w 427311"/>
                  <a:gd name="connsiteY5" fmla="*/ 531346 h 4998637"/>
                  <a:gd name="connsiteX6" fmla="*/ 47228 w 427311"/>
                  <a:gd name="connsiteY6" fmla="*/ 208620 h 4998637"/>
                  <a:gd name="connsiteX7" fmla="*/ 211835 w 427311"/>
                  <a:gd name="connsiteY7" fmla="*/ 62034 h 4998637"/>
                  <a:gd name="connsiteX8" fmla="*/ 411481 w 427311"/>
                  <a:gd name="connsiteY8" fmla="*/ 40248 h 4998637"/>
                  <a:gd name="connsiteX9" fmla="*/ 414860 w 427311"/>
                  <a:gd name="connsiteY9" fmla="*/ 576153 h 4998637"/>
                  <a:gd name="connsiteX10" fmla="*/ 414855 w 427311"/>
                  <a:gd name="connsiteY10" fmla="*/ 1102550 h 4998637"/>
                  <a:gd name="connsiteX11" fmla="*/ 412078 w 427311"/>
                  <a:gd name="connsiteY11" fmla="*/ 1118747 h 4998637"/>
                  <a:gd name="connsiteX12" fmla="*/ 409252 w 427311"/>
                  <a:gd name="connsiteY12" fmla="*/ 1895238 h 4998637"/>
                  <a:gd name="connsiteX13" fmla="*/ 410442 w 427311"/>
                  <a:gd name="connsiteY13" fmla="*/ 3074956 h 4998637"/>
                  <a:gd name="connsiteX14" fmla="*/ 408302 w 427311"/>
                  <a:gd name="connsiteY14" fmla="*/ 4839743 h 4998637"/>
                  <a:gd name="connsiteX0" fmla="*/ 408302 w 427311"/>
                  <a:gd name="connsiteY0" fmla="*/ 4839743 h 4998637"/>
                  <a:gd name="connsiteX1" fmla="*/ 842 w 427311"/>
                  <a:gd name="connsiteY1" fmla="*/ 4835926 h 4998637"/>
                  <a:gd name="connsiteX2" fmla="*/ 2686 w 427311"/>
                  <a:gd name="connsiteY2" fmla="*/ 4142900 h 4998637"/>
                  <a:gd name="connsiteX3" fmla="*/ 4957 w 427311"/>
                  <a:gd name="connsiteY3" fmla="*/ 1091692 h 4998637"/>
                  <a:gd name="connsiteX4" fmla="*/ 3772 w 427311"/>
                  <a:gd name="connsiteY4" fmla="*/ 1054114 h 4998637"/>
                  <a:gd name="connsiteX5" fmla="*/ 1737 w 427311"/>
                  <a:gd name="connsiteY5" fmla="*/ 531346 h 4998637"/>
                  <a:gd name="connsiteX6" fmla="*/ 47228 w 427311"/>
                  <a:gd name="connsiteY6" fmla="*/ 208620 h 4998637"/>
                  <a:gd name="connsiteX7" fmla="*/ 211835 w 427311"/>
                  <a:gd name="connsiteY7" fmla="*/ 62034 h 4998637"/>
                  <a:gd name="connsiteX8" fmla="*/ 411481 w 427311"/>
                  <a:gd name="connsiteY8" fmla="*/ 40248 h 4998637"/>
                  <a:gd name="connsiteX9" fmla="*/ 414860 w 427311"/>
                  <a:gd name="connsiteY9" fmla="*/ 576153 h 4998637"/>
                  <a:gd name="connsiteX10" fmla="*/ 414855 w 427311"/>
                  <a:gd name="connsiteY10" fmla="*/ 1102550 h 4998637"/>
                  <a:gd name="connsiteX11" fmla="*/ 412078 w 427311"/>
                  <a:gd name="connsiteY11" fmla="*/ 1118747 h 4998637"/>
                  <a:gd name="connsiteX12" fmla="*/ 410442 w 427311"/>
                  <a:gd name="connsiteY12" fmla="*/ 3074956 h 4998637"/>
                  <a:gd name="connsiteX13" fmla="*/ 408302 w 427311"/>
                  <a:gd name="connsiteY13" fmla="*/ 4839743 h 4998637"/>
                  <a:gd name="connsiteX0" fmla="*/ 408302 w 439992"/>
                  <a:gd name="connsiteY0" fmla="*/ 4810191 h 4969085"/>
                  <a:gd name="connsiteX1" fmla="*/ 842 w 439992"/>
                  <a:gd name="connsiteY1" fmla="*/ 4806374 h 4969085"/>
                  <a:gd name="connsiteX2" fmla="*/ 2686 w 439992"/>
                  <a:gd name="connsiteY2" fmla="*/ 4113348 h 4969085"/>
                  <a:gd name="connsiteX3" fmla="*/ 4957 w 439992"/>
                  <a:gd name="connsiteY3" fmla="*/ 1062140 h 4969085"/>
                  <a:gd name="connsiteX4" fmla="*/ 3772 w 439992"/>
                  <a:gd name="connsiteY4" fmla="*/ 1024562 h 4969085"/>
                  <a:gd name="connsiteX5" fmla="*/ 1737 w 439992"/>
                  <a:gd name="connsiteY5" fmla="*/ 501794 h 4969085"/>
                  <a:gd name="connsiteX6" fmla="*/ 47228 w 439992"/>
                  <a:gd name="connsiteY6" fmla="*/ 179068 h 4969085"/>
                  <a:gd name="connsiteX7" fmla="*/ 211835 w 439992"/>
                  <a:gd name="connsiteY7" fmla="*/ 32482 h 4969085"/>
                  <a:gd name="connsiteX8" fmla="*/ 411481 w 439992"/>
                  <a:gd name="connsiteY8" fmla="*/ 10696 h 4969085"/>
                  <a:gd name="connsiteX9" fmla="*/ 414860 w 439992"/>
                  <a:gd name="connsiteY9" fmla="*/ 546601 h 4969085"/>
                  <a:gd name="connsiteX10" fmla="*/ 414855 w 439992"/>
                  <a:gd name="connsiteY10" fmla="*/ 1072998 h 4969085"/>
                  <a:gd name="connsiteX11" fmla="*/ 412078 w 439992"/>
                  <a:gd name="connsiteY11" fmla="*/ 1089195 h 4969085"/>
                  <a:gd name="connsiteX12" fmla="*/ 410442 w 439992"/>
                  <a:gd name="connsiteY12" fmla="*/ 3045404 h 4969085"/>
                  <a:gd name="connsiteX13" fmla="*/ 408302 w 439992"/>
                  <a:gd name="connsiteY13" fmla="*/ 4810191 h 4969085"/>
                  <a:gd name="connsiteX0" fmla="*/ 415394 w 447084"/>
                  <a:gd name="connsiteY0" fmla="*/ 4810191 h 5065849"/>
                  <a:gd name="connsiteX1" fmla="*/ 7934 w 447084"/>
                  <a:gd name="connsiteY1" fmla="*/ 4806374 h 5065849"/>
                  <a:gd name="connsiteX2" fmla="*/ 9778 w 447084"/>
                  <a:gd name="connsiteY2" fmla="*/ 4113348 h 5065849"/>
                  <a:gd name="connsiteX3" fmla="*/ 12049 w 447084"/>
                  <a:gd name="connsiteY3" fmla="*/ 1062140 h 5065849"/>
                  <a:gd name="connsiteX4" fmla="*/ 10864 w 447084"/>
                  <a:gd name="connsiteY4" fmla="*/ 1024562 h 5065849"/>
                  <a:gd name="connsiteX5" fmla="*/ 8829 w 447084"/>
                  <a:gd name="connsiteY5" fmla="*/ 501794 h 5065849"/>
                  <a:gd name="connsiteX6" fmla="*/ 54320 w 447084"/>
                  <a:gd name="connsiteY6" fmla="*/ 179068 h 5065849"/>
                  <a:gd name="connsiteX7" fmla="*/ 218927 w 447084"/>
                  <a:gd name="connsiteY7" fmla="*/ 32482 h 5065849"/>
                  <a:gd name="connsiteX8" fmla="*/ 418573 w 447084"/>
                  <a:gd name="connsiteY8" fmla="*/ 10696 h 5065849"/>
                  <a:gd name="connsiteX9" fmla="*/ 421952 w 447084"/>
                  <a:gd name="connsiteY9" fmla="*/ 546601 h 5065849"/>
                  <a:gd name="connsiteX10" fmla="*/ 421947 w 447084"/>
                  <a:gd name="connsiteY10" fmla="*/ 1072998 h 5065849"/>
                  <a:gd name="connsiteX11" fmla="*/ 419170 w 447084"/>
                  <a:gd name="connsiteY11" fmla="*/ 1089195 h 5065849"/>
                  <a:gd name="connsiteX12" fmla="*/ 417534 w 447084"/>
                  <a:gd name="connsiteY12" fmla="*/ 3045404 h 5065849"/>
                  <a:gd name="connsiteX13" fmla="*/ 415394 w 447084"/>
                  <a:gd name="connsiteY13" fmla="*/ 4810191 h 5065849"/>
                  <a:gd name="connsiteX0" fmla="*/ 409351 w 441041"/>
                  <a:gd name="connsiteY0" fmla="*/ 4810191 h 5176507"/>
                  <a:gd name="connsiteX1" fmla="*/ 1891 w 441041"/>
                  <a:gd name="connsiteY1" fmla="*/ 4806374 h 5176507"/>
                  <a:gd name="connsiteX2" fmla="*/ 3735 w 441041"/>
                  <a:gd name="connsiteY2" fmla="*/ 4113348 h 5176507"/>
                  <a:gd name="connsiteX3" fmla="*/ 6006 w 441041"/>
                  <a:gd name="connsiteY3" fmla="*/ 1062140 h 5176507"/>
                  <a:gd name="connsiteX4" fmla="*/ 4821 w 441041"/>
                  <a:gd name="connsiteY4" fmla="*/ 1024562 h 5176507"/>
                  <a:gd name="connsiteX5" fmla="*/ 2786 w 441041"/>
                  <a:gd name="connsiteY5" fmla="*/ 501794 h 5176507"/>
                  <a:gd name="connsiteX6" fmla="*/ 48277 w 441041"/>
                  <a:gd name="connsiteY6" fmla="*/ 179068 h 5176507"/>
                  <a:gd name="connsiteX7" fmla="*/ 212884 w 441041"/>
                  <a:gd name="connsiteY7" fmla="*/ 32482 h 5176507"/>
                  <a:gd name="connsiteX8" fmla="*/ 412530 w 441041"/>
                  <a:gd name="connsiteY8" fmla="*/ 10696 h 5176507"/>
                  <a:gd name="connsiteX9" fmla="*/ 415909 w 441041"/>
                  <a:gd name="connsiteY9" fmla="*/ 546601 h 5176507"/>
                  <a:gd name="connsiteX10" fmla="*/ 415904 w 441041"/>
                  <a:gd name="connsiteY10" fmla="*/ 1072998 h 5176507"/>
                  <a:gd name="connsiteX11" fmla="*/ 413127 w 441041"/>
                  <a:gd name="connsiteY11" fmla="*/ 1089195 h 5176507"/>
                  <a:gd name="connsiteX12" fmla="*/ 411491 w 441041"/>
                  <a:gd name="connsiteY12" fmla="*/ 3045404 h 5176507"/>
                  <a:gd name="connsiteX13" fmla="*/ 409351 w 441041"/>
                  <a:gd name="connsiteY13" fmla="*/ 4810191 h 5176507"/>
                  <a:gd name="connsiteX0" fmla="*/ 409351 w 426110"/>
                  <a:gd name="connsiteY0" fmla="*/ 4811187 h 5177503"/>
                  <a:gd name="connsiteX1" fmla="*/ 1891 w 426110"/>
                  <a:gd name="connsiteY1" fmla="*/ 4807370 h 5177503"/>
                  <a:gd name="connsiteX2" fmla="*/ 3735 w 426110"/>
                  <a:gd name="connsiteY2" fmla="*/ 4114344 h 5177503"/>
                  <a:gd name="connsiteX3" fmla="*/ 6006 w 426110"/>
                  <a:gd name="connsiteY3" fmla="*/ 1063136 h 5177503"/>
                  <a:gd name="connsiteX4" fmla="*/ 4821 w 426110"/>
                  <a:gd name="connsiteY4" fmla="*/ 1025558 h 5177503"/>
                  <a:gd name="connsiteX5" fmla="*/ 2786 w 426110"/>
                  <a:gd name="connsiteY5" fmla="*/ 502790 h 5177503"/>
                  <a:gd name="connsiteX6" fmla="*/ 48277 w 426110"/>
                  <a:gd name="connsiteY6" fmla="*/ 180064 h 5177503"/>
                  <a:gd name="connsiteX7" fmla="*/ 243364 w 426110"/>
                  <a:gd name="connsiteY7" fmla="*/ 181565 h 5177503"/>
                  <a:gd name="connsiteX8" fmla="*/ 412530 w 426110"/>
                  <a:gd name="connsiteY8" fmla="*/ 11692 h 5177503"/>
                  <a:gd name="connsiteX9" fmla="*/ 415909 w 426110"/>
                  <a:gd name="connsiteY9" fmla="*/ 547597 h 5177503"/>
                  <a:gd name="connsiteX10" fmla="*/ 415904 w 426110"/>
                  <a:gd name="connsiteY10" fmla="*/ 1073994 h 5177503"/>
                  <a:gd name="connsiteX11" fmla="*/ 413127 w 426110"/>
                  <a:gd name="connsiteY11" fmla="*/ 1090191 h 5177503"/>
                  <a:gd name="connsiteX12" fmla="*/ 411491 w 426110"/>
                  <a:gd name="connsiteY12" fmla="*/ 3046400 h 5177503"/>
                  <a:gd name="connsiteX13" fmla="*/ 409351 w 426110"/>
                  <a:gd name="connsiteY13" fmla="*/ 4811187 h 5177503"/>
                  <a:gd name="connsiteX0" fmla="*/ 409351 w 426110"/>
                  <a:gd name="connsiteY0" fmla="*/ 4845590 h 5211906"/>
                  <a:gd name="connsiteX1" fmla="*/ 1891 w 426110"/>
                  <a:gd name="connsiteY1" fmla="*/ 4841773 h 5211906"/>
                  <a:gd name="connsiteX2" fmla="*/ 3735 w 426110"/>
                  <a:gd name="connsiteY2" fmla="*/ 4148747 h 5211906"/>
                  <a:gd name="connsiteX3" fmla="*/ 6006 w 426110"/>
                  <a:gd name="connsiteY3" fmla="*/ 1097539 h 5211906"/>
                  <a:gd name="connsiteX4" fmla="*/ 4821 w 426110"/>
                  <a:gd name="connsiteY4" fmla="*/ 1059961 h 5211906"/>
                  <a:gd name="connsiteX5" fmla="*/ 2786 w 426110"/>
                  <a:gd name="connsiteY5" fmla="*/ 537193 h 5211906"/>
                  <a:gd name="connsiteX6" fmla="*/ 48277 w 426110"/>
                  <a:gd name="connsiteY6" fmla="*/ 214467 h 5211906"/>
                  <a:gd name="connsiteX7" fmla="*/ 243364 w 426110"/>
                  <a:gd name="connsiteY7" fmla="*/ 52292 h 5211906"/>
                  <a:gd name="connsiteX8" fmla="*/ 412530 w 426110"/>
                  <a:gd name="connsiteY8" fmla="*/ 46095 h 5211906"/>
                  <a:gd name="connsiteX9" fmla="*/ 415909 w 426110"/>
                  <a:gd name="connsiteY9" fmla="*/ 582000 h 5211906"/>
                  <a:gd name="connsiteX10" fmla="*/ 415904 w 426110"/>
                  <a:gd name="connsiteY10" fmla="*/ 1108397 h 5211906"/>
                  <a:gd name="connsiteX11" fmla="*/ 413127 w 426110"/>
                  <a:gd name="connsiteY11" fmla="*/ 1124594 h 5211906"/>
                  <a:gd name="connsiteX12" fmla="*/ 411491 w 426110"/>
                  <a:gd name="connsiteY12" fmla="*/ 3080803 h 5211906"/>
                  <a:gd name="connsiteX13" fmla="*/ 409351 w 426110"/>
                  <a:gd name="connsiteY13" fmla="*/ 4845590 h 521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6110" h="5211906">
                    <a:moveTo>
                      <a:pt x="409351" y="4845590"/>
                    </a:moveTo>
                    <a:cubicBezTo>
                      <a:pt x="341084" y="5139085"/>
                      <a:pt x="-29566" y="5498933"/>
                      <a:pt x="1891" y="4841773"/>
                    </a:cubicBezTo>
                    <a:cubicBezTo>
                      <a:pt x="2506" y="4610764"/>
                      <a:pt x="3120" y="4379756"/>
                      <a:pt x="3735" y="4148747"/>
                    </a:cubicBezTo>
                    <a:lnTo>
                      <a:pt x="6006" y="1097539"/>
                    </a:lnTo>
                    <a:lnTo>
                      <a:pt x="4821" y="1059961"/>
                    </a:lnTo>
                    <a:cubicBezTo>
                      <a:pt x="689" y="925964"/>
                      <a:pt x="-137" y="728295"/>
                      <a:pt x="2786" y="537193"/>
                    </a:cubicBezTo>
                    <a:cubicBezTo>
                      <a:pt x="583" y="383867"/>
                      <a:pt x="8181" y="295284"/>
                      <a:pt x="48277" y="214467"/>
                    </a:cubicBezTo>
                    <a:cubicBezTo>
                      <a:pt x="88373" y="133650"/>
                      <a:pt x="198755" y="81055"/>
                      <a:pt x="243364" y="52292"/>
                    </a:cubicBezTo>
                    <a:cubicBezTo>
                      <a:pt x="325231" y="17274"/>
                      <a:pt x="383773" y="-42190"/>
                      <a:pt x="412530" y="46095"/>
                    </a:cubicBezTo>
                    <a:cubicBezTo>
                      <a:pt x="441288" y="134380"/>
                      <a:pt x="415347" y="404950"/>
                      <a:pt x="415909" y="582000"/>
                    </a:cubicBezTo>
                    <a:cubicBezTo>
                      <a:pt x="415909" y="757466"/>
                      <a:pt x="415904" y="932931"/>
                      <a:pt x="415904" y="1108397"/>
                    </a:cubicBezTo>
                    <a:lnTo>
                      <a:pt x="413127" y="1124594"/>
                    </a:lnTo>
                    <a:cubicBezTo>
                      <a:pt x="412582" y="1776664"/>
                      <a:pt x="412036" y="2428733"/>
                      <a:pt x="411491" y="3080803"/>
                    </a:cubicBezTo>
                    <a:cubicBezTo>
                      <a:pt x="410777" y="3669066"/>
                      <a:pt x="410063" y="4257328"/>
                      <a:pt x="409351" y="4845590"/>
                    </a:cubicBezTo>
                    <a:close/>
                  </a:path>
                </a:pathLst>
              </a:custGeom>
              <a:gradFill flip="none" rotWithShape="1">
                <a:gsLst>
                  <a:gs pos="100000">
                    <a:schemeClr val="accent2">
                      <a:lumMod val="0"/>
                      <a:lumOff val="100000"/>
                      <a:alpha val="0"/>
                    </a:schemeClr>
                  </a:gs>
                  <a:gs pos="30000">
                    <a:schemeClr val="accent4"/>
                  </a:gs>
                </a:gsLst>
                <a:lin ang="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72" name="Freeform: Shape 771">
                <a:extLst>
                  <a:ext uri="{FF2B5EF4-FFF2-40B4-BE49-F238E27FC236}">
                    <a16:creationId xmlns:a16="http://schemas.microsoft.com/office/drawing/2014/main" id="{E19EDD85-4815-4F68-ACE3-2F8E1971E1DC}"/>
                  </a:ext>
                </a:extLst>
              </p:cNvPr>
              <p:cNvSpPr/>
              <p:nvPr/>
            </p:nvSpPr>
            <p:spPr bwMode="gray">
              <a:xfrm flipH="1" flipV="1">
                <a:off x="-1506986" y="-509529"/>
                <a:ext cx="2246364" cy="1396680"/>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172662"/>
                  <a:gd name="connsiteY0" fmla="*/ 5285252 h 5285288"/>
                  <a:gd name="connsiteX1" fmla="*/ 1859089 w 4172662"/>
                  <a:gd name="connsiteY1" fmla="*/ 5257452 h 5285288"/>
                  <a:gd name="connsiteX2" fmla="*/ 1799088 w 4172662"/>
                  <a:gd name="connsiteY2" fmla="*/ 5227600 h 5285288"/>
                  <a:gd name="connsiteX3" fmla="*/ 257741 w 4172662"/>
                  <a:gd name="connsiteY3" fmla="*/ 4344402 h 5285288"/>
                  <a:gd name="connsiteX4" fmla="*/ 66855 w 4172662"/>
                  <a:gd name="connsiteY4" fmla="*/ 4157062 h 5285288"/>
                  <a:gd name="connsiteX5" fmla="*/ 5085 w 4172662"/>
                  <a:gd name="connsiteY5" fmla="*/ 3955159 h 5285288"/>
                  <a:gd name="connsiteX6" fmla="*/ 117 w 4172662"/>
                  <a:gd name="connsiteY6" fmla="*/ 3898769 h 5285288"/>
                  <a:gd name="connsiteX7" fmla="*/ 0 w 4172662"/>
                  <a:gd name="connsiteY7" fmla="*/ 3898107 h 5285288"/>
                  <a:gd name="connsiteX8" fmla="*/ 5920 w 4172662"/>
                  <a:gd name="connsiteY8" fmla="*/ 2513626 h 5285288"/>
                  <a:gd name="connsiteX9" fmla="*/ 9056 w 4172662"/>
                  <a:gd name="connsiteY9" fmla="*/ 2484766 h 5285288"/>
                  <a:gd name="connsiteX10" fmla="*/ 206180 w 4172662"/>
                  <a:gd name="connsiteY10" fmla="*/ 2392022 h 5285288"/>
                  <a:gd name="connsiteX11" fmla="*/ 407391 w 4172662"/>
                  <a:gd name="connsiteY11" fmla="*/ 2508175 h 5285288"/>
                  <a:gd name="connsiteX12" fmla="*/ 406100 w 4172662"/>
                  <a:gd name="connsiteY12" fmla="*/ 2572658 h 5285288"/>
                  <a:gd name="connsiteX13" fmla="*/ 409165 w 4172662"/>
                  <a:gd name="connsiteY13" fmla="*/ 3888049 h 5285288"/>
                  <a:gd name="connsiteX14" fmla="*/ 407598 w 4172662"/>
                  <a:gd name="connsiteY14" fmla="*/ 3881457 h 5285288"/>
                  <a:gd name="connsiteX15" fmla="*/ 407517 w 4172662"/>
                  <a:gd name="connsiteY15" fmla="*/ 3894265 h 5285288"/>
                  <a:gd name="connsiteX16" fmla="*/ 464772 w 4172662"/>
                  <a:gd name="connsiteY16" fmla="*/ 3993435 h 5285288"/>
                  <a:gd name="connsiteX17" fmla="*/ 1965744 w 4172662"/>
                  <a:gd name="connsiteY17" fmla="*/ 4865353 h 5285288"/>
                  <a:gd name="connsiteX18" fmla="*/ 1966088 w 4172662"/>
                  <a:gd name="connsiteY18" fmla="*/ 4865745 h 5285288"/>
                  <a:gd name="connsiteX19" fmla="*/ 1988129 w 4172662"/>
                  <a:gd name="connsiteY19" fmla="*/ 4859558 h 5285288"/>
                  <a:gd name="connsiteX20" fmla="*/ 2034209 w 4172662"/>
                  <a:gd name="connsiteY20" fmla="*/ 4799004 h 5285288"/>
                  <a:gd name="connsiteX21" fmla="*/ 2036053 w 4172662"/>
                  <a:gd name="connsiteY21" fmla="*/ 4105978 h 5285288"/>
                  <a:gd name="connsiteX22" fmla="*/ 2038324 w 4172662"/>
                  <a:gd name="connsiteY22" fmla="*/ 1054770 h 5285288"/>
                  <a:gd name="connsiteX23" fmla="*/ 2037139 w 4172662"/>
                  <a:gd name="connsiteY23" fmla="*/ 1017192 h 5285288"/>
                  <a:gd name="connsiteX24" fmla="*/ 2035104 w 4172662"/>
                  <a:gd name="connsiteY24" fmla="*/ 494424 h 5285288"/>
                  <a:gd name="connsiteX25" fmla="*/ 2080595 w 4172662"/>
                  <a:gd name="connsiteY25" fmla="*/ 171698 h 5285288"/>
                  <a:gd name="connsiteX26" fmla="*/ 2245202 w 4172662"/>
                  <a:gd name="connsiteY26" fmla="*/ 25112 h 5285288"/>
                  <a:gd name="connsiteX27" fmla="*/ 2444848 w 4172662"/>
                  <a:gd name="connsiteY27" fmla="*/ 3326 h 5285288"/>
                  <a:gd name="connsiteX28" fmla="*/ 2620552 w 4172662"/>
                  <a:gd name="connsiteY28" fmla="*/ 37548 h 5285288"/>
                  <a:gd name="connsiteX29" fmla="*/ 4172662 w 4172662"/>
                  <a:gd name="connsiteY29" fmla="*/ 1149844 h 5285288"/>
                  <a:gd name="connsiteX30" fmla="*/ 3998697 w 4172662"/>
                  <a:gd name="connsiteY30" fmla="*/ 1269783 h 5285288"/>
                  <a:gd name="connsiteX31" fmla="*/ 3978850 w 4172662"/>
                  <a:gd name="connsiteY31" fmla="*/ 1262485 h 5285288"/>
                  <a:gd name="connsiteX32" fmla="*/ 2513375 w 4172662"/>
                  <a:gd name="connsiteY32" fmla="*/ 431577 h 5285288"/>
                  <a:gd name="connsiteX33" fmla="*/ 2513032 w 4172662"/>
                  <a:gd name="connsiteY33" fmla="*/ 431184 h 5285288"/>
                  <a:gd name="connsiteX34" fmla="*/ 2490877 w 4172662"/>
                  <a:gd name="connsiteY34" fmla="*/ 437405 h 5285288"/>
                  <a:gd name="connsiteX35" fmla="*/ 2448227 w 4172662"/>
                  <a:gd name="connsiteY35" fmla="*/ 539231 h 5285288"/>
                  <a:gd name="connsiteX36" fmla="*/ 2448222 w 4172662"/>
                  <a:gd name="connsiteY36" fmla="*/ 1065628 h 5285288"/>
                  <a:gd name="connsiteX37" fmla="*/ 2445445 w 4172662"/>
                  <a:gd name="connsiteY37" fmla="*/ 1081825 h 5285288"/>
                  <a:gd name="connsiteX38" fmla="*/ 2442619 w 4172662"/>
                  <a:gd name="connsiteY38" fmla="*/ 1858316 h 5285288"/>
                  <a:gd name="connsiteX39" fmla="*/ 2444476 w 4172662"/>
                  <a:gd name="connsiteY39" fmla="*/ 1861834 h 5285288"/>
                  <a:gd name="connsiteX40" fmla="*/ 2443809 w 4172662"/>
                  <a:gd name="connsiteY40" fmla="*/ 3038034 h 5285288"/>
                  <a:gd name="connsiteX41" fmla="*/ 2441669 w 4172662"/>
                  <a:gd name="connsiteY41" fmla="*/ 4802821 h 5285288"/>
                  <a:gd name="connsiteX42" fmla="*/ 2374871 w 4172662"/>
                  <a:gd name="connsiteY42" fmla="*/ 5061801 h 5285288"/>
                  <a:gd name="connsiteX43" fmla="*/ 2230903 w 4172662"/>
                  <a:gd name="connsiteY43" fmla="*/ 5216241 h 5285288"/>
                  <a:gd name="connsiteX44" fmla="*/ 2020267 w 4172662"/>
                  <a:gd name="connsiteY44" fmla="*/ 5284752 h 5285288"/>
                  <a:gd name="connsiteX45" fmla="*/ 1970713 w 4172662"/>
                  <a:gd name="connsiteY45"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3978850 w 3998697"/>
                  <a:gd name="connsiteY30" fmla="*/ 1262485 h 5285288"/>
                  <a:gd name="connsiteX31" fmla="*/ 2513375 w 3998697"/>
                  <a:gd name="connsiteY31" fmla="*/ 431577 h 5285288"/>
                  <a:gd name="connsiteX32" fmla="*/ 2513032 w 3998697"/>
                  <a:gd name="connsiteY32" fmla="*/ 431184 h 5285288"/>
                  <a:gd name="connsiteX33" fmla="*/ 2490877 w 3998697"/>
                  <a:gd name="connsiteY33" fmla="*/ 437405 h 5285288"/>
                  <a:gd name="connsiteX34" fmla="*/ 2448227 w 3998697"/>
                  <a:gd name="connsiteY34" fmla="*/ 539231 h 5285288"/>
                  <a:gd name="connsiteX35" fmla="*/ 2448222 w 3998697"/>
                  <a:gd name="connsiteY35" fmla="*/ 1065628 h 5285288"/>
                  <a:gd name="connsiteX36" fmla="*/ 2445445 w 3998697"/>
                  <a:gd name="connsiteY36" fmla="*/ 1081825 h 5285288"/>
                  <a:gd name="connsiteX37" fmla="*/ 2442619 w 3998697"/>
                  <a:gd name="connsiteY37" fmla="*/ 1858316 h 5285288"/>
                  <a:gd name="connsiteX38" fmla="*/ 2444476 w 3998697"/>
                  <a:gd name="connsiteY38" fmla="*/ 1861834 h 5285288"/>
                  <a:gd name="connsiteX39" fmla="*/ 2443809 w 3998697"/>
                  <a:gd name="connsiteY39" fmla="*/ 3038034 h 5285288"/>
                  <a:gd name="connsiteX40" fmla="*/ 2441669 w 3998697"/>
                  <a:gd name="connsiteY40" fmla="*/ 4802821 h 5285288"/>
                  <a:gd name="connsiteX41" fmla="*/ 2374871 w 3998697"/>
                  <a:gd name="connsiteY41" fmla="*/ 5061801 h 5285288"/>
                  <a:gd name="connsiteX42" fmla="*/ 2230903 w 3998697"/>
                  <a:gd name="connsiteY42" fmla="*/ 5216241 h 5285288"/>
                  <a:gd name="connsiteX43" fmla="*/ 2020267 w 3998697"/>
                  <a:gd name="connsiteY43" fmla="*/ 5284752 h 5285288"/>
                  <a:gd name="connsiteX44" fmla="*/ 1970713 w 3998697"/>
                  <a:gd name="connsiteY44"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2513375 w 3998697"/>
                  <a:gd name="connsiteY30" fmla="*/ 431577 h 5285288"/>
                  <a:gd name="connsiteX31" fmla="*/ 2513032 w 3998697"/>
                  <a:gd name="connsiteY31" fmla="*/ 431184 h 5285288"/>
                  <a:gd name="connsiteX32" fmla="*/ 2490877 w 3998697"/>
                  <a:gd name="connsiteY32" fmla="*/ 437405 h 5285288"/>
                  <a:gd name="connsiteX33" fmla="*/ 2448227 w 3998697"/>
                  <a:gd name="connsiteY33" fmla="*/ 539231 h 5285288"/>
                  <a:gd name="connsiteX34" fmla="*/ 2448222 w 3998697"/>
                  <a:gd name="connsiteY34" fmla="*/ 1065628 h 5285288"/>
                  <a:gd name="connsiteX35" fmla="*/ 2445445 w 3998697"/>
                  <a:gd name="connsiteY35" fmla="*/ 1081825 h 5285288"/>
                  <a:gd name="connsiteX36" fmla="*/ 2442619 w 3998697"/>
                  <a:gd name="connsiteY36" fmla="*/ 1858316 h 5285288"/>
                  <a:gd name="connsiteX37" fmla="*/ 2444476 w 3998697"/>
                  <a:gd name="connsiteY37" fmla="*/ 1861834 h 5285288"/>
                  <a:gd name="connsiteX38" fmla="*/ 2443809 w 3998697"/>
                  <a:gd name="connsiteY38" fmla="*/ 3038034 h 5285288"/>
                  <a:gd name="connsiteX39" fmla="*/ 2441669 w 3998697"/>
                  <a:gd name="connsiteY39" fmla="*/ 4802821 h 5285288"/>
                  <a:gd name="connsiteX40" fmla="*/ 2374871 w 3998697"/>
                  <a:gd name="connsiteY40" fmla="*/ 5061801 h 5285288"/>
                  <a:gd name="connsiteX41" fmla="*/ 2230903 w 3998697"/>
                  <a:gd name="connsiteY41" fmla="*/ 5216241 h 5285288"/>
                  <a:gd name="connsiteX42" fmla="*/ 2020267 w 3998697"/>
                  <a:gd name="connsiteY42" fmla="*/ 5284752 h 5285288"/>
                  <a:gd name="connsiteX43" fmla="*/ 1970713 w 3998697"/>
                  <a:gd name="connsiteY43" fmla="*/ 5285252 h 5285288"/>
                  <a:gd name="connsiteX0" fmla="*/ 1970713 w 2620552"/>
                  <a:gd name="connsiteY0" fmla="*/ 5285252 h 5285288"/>
                  <a:gd name="connsiteX1" fmla="*/ 1859089 w 2620552"/>
                  <a:gd name="connsiteY1" fmla="*/ 5257452 h 5285288"/>
                  <a:gd name="connsiteX2" fmla="*/ 1799088 w 2620552"/>
                  <a:gd name="connsiteY2" fmla="*/ 5227600 h 5285288"/>
                  <a:gd name="connsiteX3" fmla="*/ 257741 w 2620552"/>
                  <a:gd name="connsiteY3" fmla="*/ 4344402 h 5285288"/>
                  <a:gd name="connsiteX4" fmla="*/ 66855 w 2620552"/>
                  <a:gd name="connsiteY4" fmla="*/ 4157062 h 5285288"/>
                  <a:gd name="connsiteX5" fmla="*/ 5085 w 2620552"/>
                  <a:gd name="connsiteY5" fmla="*/ 3955159 h 5285288"/>
                  <a:gd name="connsiteX6" fmla="*/ 117 w 2620552"/>
                  <a:gd name="connsiteY6" fmla="*/ 3898769 h 5285288"/>
                  <a:gd name="connsiteX7" fmla="*/ 0 w 2620552"/>
                  <a:gd name="connsiteY7" fmla="*/ 3898107 h 5285288"/>
                  <a:gd name="connsiteX8" fmla="*/ 5920 w 2620552"/>
                  <a:gd name="connsiteY8" fmla="*/ 2513626 h 5285288"/>
                  <a:gd name="connsiteX9" fmla="*/ 9056 w 2620552"/>
                  <a:gd name="connsiteY9" fmla="*/ 2484766 h 5285288"/>
                  <a:gd name="connsiteX10" fmla="*/ 206180 w 2620552"/>
                  <a:gd name="connsiteY10" fmla="*/ 2392022 h 5285288"/>
                  <a:gd name="connsiteX11" fmla="*/ 407391 w 2620552"/>
                  <a:gd name="connsiteY11" fmla="*/ 2508175 h 5285288"/>
                  <a:gd name="connsiteX12" fmla="*/ 406100 w 2620552"/>
                  <a:gd name="connsiteY12" fmla="*/ 2572658 h 5285288"/>
                  <a:gd name="connsiteX13" fmla="*/ 409165 w 2620552"/>
                  <a:gd name="connsiteY13" fmla="*/ 3888049 h 5285288"/>
                  <a:gd name="connsiteX14" fmla="*/ 407598 w 2620552"/>
                  <a:gd name="connsiteY14" fmla="*/ 3881457 h 5285288"/>
                  <a:gd name="connsiteX15" fmla="*/ 407517 w 2620552"/>
                  <a:gd name="connsiteY15" fmla="*/ 3894265 h 5285288"/>
                  <a:gd name="connsiteX16" fmla="*/ 464772 w 2620552"/>
                  <a:gd name="connsiteY16" fmla="*/ 3993435 h 5285288"/>
                  <a:gd name="connsiteX17" fmla="*/ 1965744 w 2620552"/>
                  <a:gd name="connsiteY17" fmla="*/ 4865353 h 5285288"/>
                  <a:gd name="connsiteX18" fmla="*/ 1966088 w 2620552"/>
                  <a:gd name="connsiteY18" fmla="*/ 4865745 h 5285288"/>
                  <a:gd name="connsiteX19" fmla="*/ 1988129 w 2620552"/>
                  <a:gd name="connsiteY19" fmla="*/ 4859558 h 5285288"/>
                  <a:gd name="connsiteX20" fmla="*/ 2034209 w 2620552"/>
                  <a:gd name="connsiteY20" fmla="*/ 4799004 h 5285288"/>
                  <a:gd name="connsiteX21" fmla="*/ 2036053 w 2620552"/>
                  <a:gd name="connsiteY21" fmla="*/ 4105978 h 5285288"/>
                  <a:gd name="connsiteX22" fmla="*/ 2038324 w 2620552"/>
                  <a:gd name="connsiteY22" fmla="*/ 1054770 h 5285288"/>
                  <a:gd name="connsiteX23" fmla="*/ 2037139 w 2620552"/>
                  <a:gd name="connsiteY23" fmla="*/ 1017192 h 5285288"/>
                  <a:gd name="connsiteX24" fmla="*/ 2035104 w 2620552"/>
                  <a:gd name="connsiteY24" fmla="*/ 494424 h 5285288"/>
                  <a:gd name="connsiteX25" fmla="*/ 2080595 w 2620552"/>
                  <a:gd name="connsiteY25" fmla="*/ 171698 h 5285288"/>
                  <a:gd name="connsiteX26" fmla="*/ 2245202 w 2620552"/>
                  <a:gd name="connsiteY26" fmla="*/ 25112 h 5285288"/>
                  <a:gd name="connsiteX27" fmla="*/ 2444848 w 2620552"/>
                  <a:gd name="connsiteY27" fmla="*/ 3326 h 5285288"/>
                  <a:gd name="connsiteX28" fmla="*/ 2620552 w 2620552"/>
                  <a:gd name="connsiteY28" fmla="*/ 37548 h 5285288"/>
                  <a:gd name="connsiteX29" fmla="*/ 2513375 w 2620552"/>
                  <a:gd name="connsiteY29" fmla="*/ 431577 h 5285288"/>
                  <a:gd name="connsiteX30" fmla="*/ 2513032 w 2620552"/>
                  <a:gd name="connsiteY30" fmla="*/ 431184 h 5285288"/>
                  <a:gd name="connsiteX31" fmla="*/ 2490877 w 2620552"/>
                  <a:gd name="connsiteY31" fmla="*/ 437405 h 5285288"/>
                  <a:gd name="connsiteX32" fmla="*/ 2448227 w 2620552"/>
                  <a:gd name="connsiteY32" fmla="*/ 539231 h 5285288"/>
                  <a:gd name="connsiteX33" fmla="*/ 2448222 w 2620552"/>
                  <a:gd name="connsiteY33" fmla="*/ 1065628 h 5285288"/>
                  <a:gd name="connsiteX34" fmla="*/ 2445445 w 2620552"/>
                  <a:gd name="connsiteY34" fmla="*/ 1081825 h 5285288"/>
                  <a:gd name="connsiteX35" fmla="*/ 2442619 w 2620552"/>
                  <a:gd name="connsiteY35" fmla="*/ 1858316 h 5285288"/>
                  <a:gd name="connsiteX36" fmla="*/ 2444476 w 2620552"/>
                  <a:gd name="connsiteY36" fmla="*/ 1861834 h 5285288"/>
                  <a:gd name="connsiteX37" fmla="*/ 2443809 w 2620552"/>
                  <a:gd name="connsiteY37" fmla="*/ 3038034 h 5285288"/>
                  <a:gd name="connsiteX38" fmla="*/ 2441669 w 2620552"/>
                  <a:gd name="connsiteY38" fmla="*/ 4802821 h 5285288"/>
                  <a:gd name="connsiteX39" fmla="*/ 2374871 w 2620552"/>
                  <a:gd name="connsiteY39" fmla="*/ 5061801 h 5285288"/>
                  <a:gd name="connsiteX40" fmla="*/ 2230903 w 2620552"/>
                  <a:gd name="connsiteY40" fmla="*/ 5216241 h 5285288"/>
                  <a:gd name="connsiteX41" fmla="*/ 2020267 w 2620552"/>
                  <a:gd name="connsiteY41" fmla="*/ 5284752 h 5285288"/>
                  <a:gd name="connsiteX42" fmla="*/ 1970713 w 2620552"/>
                  <a:gd name="connsiteY42" fmla="*/ 5285252 h 5285288"/>
                  <a:gd name="connsiteX0" fmla="*/ 1970713 w 2513375"/>
                  <a:gd name="connsiteY0" fmla="*/ 5314207 h 5314243"/>
                  <a:gd name="connsiteX1" fmla="*/ 1859089 w 2513375"/>
                  <a:gd name="connsiteY1" fmla="*/ 5286407 h 5314243"/>
                  <a:gd name="connsiteX2" fmla="*/ 1799088 w 2513375"/>
                  <a:gd name="connsiteY2" fmla="*/ 5256555 h 5314243"/>
                  <a:gd name="connsiteX3" fmla="*/ 257741 w 2513375"/>
                  <a:gd name="connsiteY3" fmla="*/ 4373357 h 5314243"/>
                  <a:gd name="connsiteX4" fmla="*/ 66855 w 2513375"/>
                  <a:gd name="connsiteY4" fmla="*/ 4186017 h 5314243"/>
                  <a:gd name="connsiteX5" fmla="*/ 5085 w 2513375"/>
                  <a:gd name="connsiteY5" fmla="*/ 3984114 h 5314243"/>
                  <a:gd name="connsiteX6" fmla="*/ 117 w 2513375"/>
                  <a:gd name="connsiteY6" fmla="*/ 3927724 h 5314243"/>
                  <a:gd name="connsiteX7" fmla="*/ 0 w 2513375"/>
                  <a:gd name="connsiteY7" fmla="*/ 3927062 h 5314243"/>
                  <a:gd name="connsiteX8" fmla="*/ 5920 w 2513375"/>
                  <a:gd name="connsiteY8" fmla="*/ 2542581 h 5314243"/>
                  <a:gd name="connsiteX9" fmla="*/ 9056 w 2513375"/>
                  <a:gd name="connsiteY9" fmla="*/ 2513721 h 5314243"/>
                  <a:gd name="connsiteX10" fmla="*/ 206180 w 2513375"/>
                  <a:gd name="connsiteY10" fmla="*/ 2420977 h 5314243"/>
                  <a:gd name="connsiteX11" fmla="*/ 407391 w 2513375"/>
                  <a:gd name="connsiteY11" fmla="*/ 2537130 h 5314243"/>
                  <a:gd name="connsiteX12" fmla="*/ 406100 w 2513375"/>
                  <a:gd name="connsiteY12" fmla="*/ 2601613 h 5314243"/>
                  <a:gd name="connsiteX13" fmla="*/ 409165 w 2513375"/>
                  <a:gd name="connsiteY13" fmla="*/ 3917004 h 5314243"/>
                  <a:gd name="connsiteX14" fmla="*/ 407598 w 2513375"/>
                  <a:gd name="connsiteY14" fmla="*/ 3910412 h 5314243"/>
                  <a:gd name="connsiteX15" fmla="*/ 407517 w 2513375"/>
                  <a:gd name="connsiteY15" fmla="*/ 3923220 h 5314243"/>
                  <a:gd name="connsiteX16" fmla="*/ 464772 w 2513375"/>
                  <a:gd name="connsiteY16" fmla="*/ 4022390 h 5314243"/>
                  <a:gd name="connsiteX17" fmla="*/ 1965744 w 2513375"/>
                  <a:gd name="connsiteY17" fmla="*/ 4894308 h 5314243"/>
                  <a:gd name="connsiteX18" fmla="*/ 1966088 w 2513375"/>
                  <a:gd name="connsiteY18" fmla="*/ 4894700 h 5314243"/>
                  <a:gd name="connsiteX19" fmla="*/ 1988129 w 2513375"/>
                  <a:gd name="connsiteY19" fmla="*/ 4888513 h 5314243"/>
                  <a:gd name="connsiteX20" fmla="*/ 2034209 w 2513375"/>
                  <a:gd name="connsiteY20" fmla="*/ 4827959 h 5314243"/>
                  <a:gd name="connsiteX21" fmla="*/ 2036053 w 2513375"/>
                  <a:gd name="connsiteY21" fmla="*/ 4134933 h 5314243"/>
                  <a:gd name="connsiteX22" fmla="*/ 2038324 w 2513375"/>
                  <a:gd name="connsiteY22" fmla="*/ 1083725 h 5314243"/>
                  <a:gd name="connsiteX23" fmla="*/ 2037139 w 2513375"/>
                  <a:gd name="connsiteY23" fmla="*/ 1046147 h 5314243"/>
                  <a:gd name="connsiteX24" fmla="*/ 2035104 w 2513375"/>
                  <a:gd name="connsiteY24" fmla="*/ 523379 h 5314243"/>
                  <a:gd name="connsiteX25" fmla="*/ 2080595 w 2513375"/>
                  <a:gd name="connsiteY25" fmla="*/ 200653 h 5314243"/>
                  <a:gd name="connsiteX26" fmla="*/ 2245202 w 2513375"/>
                  <a:gd name="connsiteY26" fmla="*/ 54067 h 5314243"/>
                  <a:gd name="connsiteX27" fmla="*/ 2444848 w 2513375"/>
                  <a:gd name="connsiteY27" fmla="*/ 32281 h 5314243"/>
                  <a:gd name="connsiteX28" fmla="*/ 2513375 w 2513375"/>
                  <a:gd name="connsiteY28" fmla="*/ 460532 h 5314243"/>
                  <a:gd name="connsiteX29" fmla="*/ 2513032 w 2513375"/>
                  <a:gd name="connsiteY29" fmla="*/ 460139 h 5314243"/>
                  <a:gd name="connsiteX30" fmla="*/ 2490877 w 2513375"/>
                  <a:gd name="connsiteY30" fmla="*/ 466360 h 5314243"/>
                  <a:gd name="connsiteX31" fmla="*/ 2448227 w 2513375"/>
                  <a:gd name="connsiteY31" fmla="*/ 568186 h 5314243"/>
                  <a:gd name="connsiteX32" fmla="*/ 2448222 w 2513375"/>
                  <a:gd name="connsiteY32" fmla="*/ 1094583 h 5314243"/>
                  <a:gd name="connsiteX33" fmla="*/ 2445445 w 2513375"/>
                  <a:gd name="connsiteY33" fmla="*/ 1110780 h 5314243"/>
                  <a:gd name="connsiteX34" fmla="*/ 2442619 w 2513375"/>
                  <a:gd name="connsiteY34" fmla="*/ 1887271 h 5314243"/>
                  <a:gd name="connsiteX35" fmla="*/ 2444476 w 2513375"/>
                  <a:gd name="connsiteY35" fmla="*/ 1890789 h 5314243"/>
                  <a:gd name="connsiteX36" fmla="*/ 2443809 w 2513375"/>
                  <a:gd name="connsiteY36" fmla="*/ 3066989 h 5314243"/>
                  <a:gd name="connsiteX37" fmla="*/ 2441669 w 2513375"/>
                  <a:gd name="connsiteY37" fmla="*/ 4831776 h 5314243"/>
                  <a:gd name="connsiteX38" fmla="*/ 2374871 w 2513375"/>
                  <a:gd name="connsiteY38" fmla="*/ 5090756 h 5314243"/>
                  <a:gd name="connsiteX39" fmla="*/ 2230903 w 2513375"/>
                  <a:gd name="connsiteY39" fmla="*/ 5245196 h 5314243"/>
                  <a:gd name="connsiteX40" fmla="*/ 2020267 w 2513375"/>
                  <a:gd name="connsiteY40" fmla="*/ 5313707 h 5314243"/>
                  <a:gd name="connsiteX41" fmla="*/ 1970713 w 2513375"/>
                  <a:gd name="connsiteY41" fmla="*/ 5314207 h 5314243"/>
                  <a:gd name="connsiteX0" fmla="*/ 1970713 w 2513375"/>
                  <a:gd name="connsiteY0" fmla="*/ 5260140 h 5260176"/>
                  <a:gd name="connsiteX1" fmla="*/ 1859089 w 2513375"/>
                  <a:gd name="connsiteY1" fmla="*/ 5232340 h 5260176"/>
                  <a:gd name="connsiteX2" fmla="*/ 1799088 w 2513375"/>
                  <a:gd name="connsiteY2" fmla="*/ 5202488 h 5260176"/>
                  <a:gd name="connsiteX3" fmla="*/ 257741 w 2513375"/>
                  <a:gd name="connsiteY3" fmla="*/ 4319290 h 5260176"/>
                  <a:gd name="connsiteX4" fmla="*/ 66855 w 2513375"/>
                  <a:gd name="connsiteY4" fmla="*/ 4131950 h 5260176"/>
                  <a:gd name="connsiteX5" fmla="*/ 5085 w 2513375"/>
                  <a:gd name="connsiteY5" fmla="*/ 3930047 h 5260176"/>
                  <a:gd name="connsiteX6" fmla="*/ 117 w 2513375"/>
                  <a:gd name="connsiteY6" fmla="*/ 3873657 h 5260176"/>
                  <a:gd name="connsiteX7" fmla="*/ 0 w 2513375"/>
                  <a:gd name="connsiteY7" fmla="*/ 3872995 h 5260176"/>
                  <a:gd name="connsiteX8" fmla="*/ 5920 w 2513375"/>
                  <a:gd name="connsiteY8" fmla="*/ 2488514 h 5260176"/>
                  <a:gd name="connsiteX9" fmla="*/ 9056 w 2513375"/>
                  <a:gd name="connsiteY9" fmla="*/ 2459654 h 5260176"/>
                  <a:gd name="connsiteX10" fmla="*/ 206180 w 2513375"/>
                  <a:gd name="connsiteY10" fmla="*/ 2366910 h 5260176"/>
                  <a:gd name="connsiteX11" fmla="*/ 407391 w 2513375"/>
                  <a:gd name="connsiteY11" fmla="*/ 2483063 h 5260176"/>
                  <a:gd name="connsiteX12" fmla="*/ 406100 w 2513375"/>
                  <a:gd name="connsiteY12" fmla="*/ 2547546 h 5260176"/>
                  <a:gd name="connsiteX13" fmla="*/ 409165 w 2513375"/>
                  <a:gd name="connsiteY13" fmla="*/ 3862937 h 5260176"/>
                  <a:gd name="connsiteX14" fmla="*/ 407598 w 2513375"/>
                  <a:gd name="connsiteY14" fmla="*/ 3856345 h 5260176"/>
                  <a:gd name="connsiteX15" fmla="*/ 407517 w 2513375"/>
                  <a:gd name="connsiteY15" fmla="*/ 3869153 h 5260176"/>
                  <a:gd name="connsiteX16" fmla="*/ 464772 w 2513375"/>
                  <a:gd name="connsiteY16" fmla="*/ 3968323 h 5260176"/>
                  <a:gd name="connsiteX17" fmla="*/ 1965744 w 2513375"/>
                  <a:gd name="connsiteY17" fmla="*/ 4840241 h 5260176"/>
                  <a:gd name="connsiteX18" fmla="*/ 1966088 w 2513375"/>
                  <a:gd name="connsiteY18" fmla="*/ 4840633 h 5260176"/>
                  <a:gd name="connsiteX19" fmla="*/ 1988129 w 2513375"/>
                  <a:gd name="connsiteY19" fmla="*/ 4834446 h 5260176"/>
                  <a:gd name="connsiteX20" fmla="*/ 2034209 w 2513375"/>
                  <a:gd name="connsiteY20" fmla="*/ 4773892 h 5260176"/>
                  <a:gd name="connsiteX21" fmla="*/ 2036053 w 2513375"/>
                  <a:gd name="connsiteY21" fmla="*/ 4080866 h 5260176"/>
                  <a:gd name="connsiteX22" fmla="*/ 2038324 w 2513375"/>
                  <a:gd name="connsiteY22" fmla="*/ 1029658 h 5260176"/>
                  <a:gd name="connsiteX23" fmla="*/ 2037139 w 2513375"/>
                  <a:gd name="connsiteY23" fmla="*/ 992080 h 5260176"/>
                  <a:gd name="connsiteX24" fmla="*/ 2035104 w 2513375"/>
                  <a:gd name="connsiteY24" fmla="*/ 469312 h 5260176"/>
                  <a:gd name="connsiteX25" fmla="*/ 2080595 w 2513375"/>
                  <a:gd name="connsiteY25" fmla="*/ 146586 h 5260176"/>
                  <a:gd name="connsiteX26" fmla="*/ 2245202 w 2513375"/>
                  <a:gd name="connsiteY26" fmla="*/ 0 h 5260176"/>
                  <a:gd name="connsiteX27" fmla="*/ 2513375 w 2513375"/>
                  <a:gd name="connsiteY27" fmla="*/ 406465 h 5260176"/>
                  <a:gd name="connsiteX28" fmla="*/ 2513032 w 2513375"/>
                  <a:gd name="connsiteY28" fmla="*/ 406072 h 5260176"/>
                  <a:gd name="connsiteX29" fmla="*/ 2490877 w 2513375"/>
                  <a:gd name="connsiteY29" fmla="*/ 412293 h 5260176"/>
                  <a:gd name="connsiteX30" fmla="*/ 2448227 w 2513375"/>
                  <a:gd name="connsiteY30" fmla="*/ 514119 h 5260176"/>
                  <a:gd name="connsiteX31" fmla="*/ 2448222 w 2513375"/>
                  <a:gd name="connsiteY31" fmla="*/ 1040516 h 5260176"/>
                  <a:gd name="connsiteX32" fmla="*/ 2445445 w 2513375"/>
                  <a:gd name="connsiteY32" fmla="*/ 1056713 h 5260176"/>
                  <a:gd name="connsiteX33" fmla="*/ 2442619 w 2513375"/>
                  <a:gd name="connsiteY33" fmla="*/ 1833204 h 5260176"/>
                  <a:gd name="connsiteX34" fmla="*/ 2444476 w 2513375"/>
                  <a:gd name="connsiteY34" fmla="*/ 1836722 h 5260176"/>
                  <a:gd name="connsiteX35" fmla="*/ 2443809 w 2513375"/>
                  <a:gd name="connsiteY35" fmla="*/ 3012922 h 5260176"/>
                  <a:gd name="connsiteX36" fmla="*/ 2441669 w 2513375"/>
                  <a:gd name="connsiteY36" fmla="*/ 4777709 h 5260176"/>
                  <a:gd name="connsiteX37" fmla="*/ 2374871 w 2513375"/>
                  <a:gd name="connsiteY37" fmla="*/ 5036689 h 5260176"/>
                  <a:gd name="connsiteX38" fmla="*/ 2230903 w 2513375"/>
                  <a:gd name="connsiteY38" fmla="*/ 5191129 h 5260176"/>
                  <a:gd name="connsiteX39" fmla="*/ 2020267 w 2513375"/>
                  <a:gd name="connsiteY39" fmla="*/ 5259640 h 5260176"/>
                  <a:gd name="connsiteX40" fmla="*/ 1970713 w 2513375"/>
                  <a:gd name="connsiteY40" fmla="*/ 5260140 h 5260176"/>
                  <a:gd name="connsiteX0" fmla="*/ 1970713 w 2513375"/>
                  <a:gd name="connsiteY0" fmla="*/ 5113905 h 5113941"/>
                  <a:gd name="connsiteX1" fmla="*/ 1859089 w 2513375"/>
                  <a:gd name="connsiteY1" fmla="*/ 5086105 h 5113941"/>
                  <a:gd name="connsiteX2" fmla="*/ 1799088 w 2513375"/>
                  <a:gd name="connsiteY2" fmla="*/ 5056253 h 5113941"/>
                  <a:gd name="connsiteX3" fmla="*/ 257741 w 2513375"/>
                  <a:gd name="connsiteY3" fmla="*/ 4173055 h 5113941"/>
                  <a:gd name="connsiteX4" fmla="*/ 66855 w 2513375"/>
                  <a:gd name="connsiteY4" fmla="*/ 3985715 h 5113941"/>
                  <a:gd name="connsiteX5" fmla="*/ 5085 w 2513375"/>
                  <a:gd name="connsiteY5" fmla="*/ 3783812 h 5113941"/>
                  <a:gd name="connsiteX6" fmla="*/ 117 w 2513375"/>
                  <a:gd name="connsiteY6" fmla="*/ 3727422 h 5113941"/>
                  <a:gd name="connsiteX7" fmla="*/ 0 w 2513375"/>
                  <a:gd name="connsiteY7" fmla="*/ 3726760 h 5113941"/>
                  <a:gd name="connsiteX8" fmla="*/ 5920 w 2513375"/>
                  <a:gd name="connsiteY8" fmla="*/ 2342279 h 5113941"/>
                  <a:gd name="connsiteX9" fmla="*/ 9056 w 2513375"/>
                  <a:gd name="connsiteY9" fmla="*/ 2313419 h 5113941"/>
                  <a:gd name="connsiteX10" fmla="*/ 206180 w 2513375"/>
                  <a:gd name="connsiteY10" fmla="*/ 2220675 h 5113941"/>
                  <a:gd name="connsiteX11" fmla="*/ 407391 w 2513375"/>
                  <a:gd name="connsiteY11" fmla="*/ 2336828 h 5113941"/>
                  <a:gd name="connsiteX12" fmla="*/ 406100 w 2513375"/>
                  <a:gd name="connsiteY12" fmla="*/ 2401311 h 5113941"/>
                  <a:gd name="connsiteX13" fmla="*/ 409165 w 2513375"/>
                  <a:gd name="connsiteY13" fmla="*/ 3716702 h 5113941"/>
                  <a:gd name="connsiteX14" fmla="*/ 407598 w 2513375"/>
                  <a:gd name="connsiteY14" fmla="*/ 3710110 h 5113941"/>
                  <a:gd name="connsiteX15" fmla="*/ 407517 w 2513375"/>
                  <a:gd name="connsiteY15" fmla="*/ 3722918 h 5113941"/>
                  <a:gd name="connsiteX16" fmla="*/ 464772 w 2513375"/>
                  <a:gd name="connsiteY16" fmla="*/ 3822088 h 5113941"/>
                  <a:gd name="connsiteX17" fmla="*/ 1965744 w 2513375"/>
                  <a:gd name="connsiteY17" fmla="*/ 4694006 h 5113941"/>
                  <a:gd name="connsiteX18" fmla="*/ 1966088 w 2513375"/>
                  <a:gd name="connsiteY18" fmla="*/ 4694398 h 5113941"/>
                  <a:gd name="connsiteX19" fmla="*/ 1988129 w 2513375"/>
                  <a:gd name="connsiteY19" fmla="*/ 4688211 h 5113941"/>
                  <a:gd name="connsiteX20" fmla="*/ 2034209 w 2513375"/>
                  <a:gd name="connsiteY20" fmla="*/ 4627657 h 5113941"/>
                  <a:gd name="connsiteX21" fmla="*/ 2036053 w 2513375"/>
                  <a:gd name="connsiteY21" fmla="*/ 3934631 h 5113941"/>
                  <a:gd name="connsiteX22" fmla="*/ 2038324 w 2513375"/>
                  <a:gd name="connsiteY22" fmla="*/ 883423 h 5113941"/>
                  <a:gd name="connsiteX23" fmla="*/ 2037139 w 2513375"/>
                  <a:gd name="connsiteY23" fmla="*/ 845845 h 5113941"/>
                  <a:gd name="connsiteX24" fmla="*/ 2035104 w 2513375"/>
                  <a:gd name="connsiteY24" fmla="*/ 323077 h 5113941"/>
                  <a:gd name="connsiteX25" fmla="*/ 2080595 w 2513375"/>
                  <a:gd name="connsiteY25" fmla="*/ 351 h 5113941"/>
                  <a:gd name="connsiteX26" fmla="*/ 2513375 w 2513375"/>
                  <a:gd name="connsiteY26" fmla="*/ 260230 h 5113941"/>
                  <a:gd name="connsiteX27" fmla="*/ 2513032 w 2513375"/>
                  <a:gd name="connsiteY27" fmla="*/ 259837 h 5113941"/>
                  <a:gd name="connsiteX28" fmla="*/ 2490877 w 2513375"/>
                  <a:gd name="connsiteY28" fmla="*/ 266058 h 5113941"/>
                  <a:gd name="connsiteX29" fmla="*/ 2448227 w 2513375"/>
                  <a:gd name="connsiteY29" fmla="*/ 367884 h 5113941"/>
                  <a:gd name="connsiteX30" fmla="*/ 2448222 w 2513375"/>
                  <a:gd name="connsiteY30" fmla="*/ 894281 h 5113941"/>
                  <a:gd name="connsiteX31" fmla="*/ 2445445 w 2513375"/>
                  <a:gd name="connsiteY31" fmla="*/ 910478 h 5113941"/>
                  <a:gd name="connsiteX32" fmla="*/ 2442619 w 2513375"/>
                  <a:gd name="connsiteY32" fmla="*/ 1686969 h 5113941"/>
                  <a:gd name="connsiteX33" fmla="*/ 2444476 w 2513375"/>
                  <a:gd name="connsiteY33" fmla="*/ 1690487 h 5113941"/>
                  <a:gd name="connsiteX34" fmla="*/ 2443809 w 2513375"/>
                  <a:gd name="connsiteY34" fmla="*/ 2866687 h 5113941"/>
                  <a:gd name="connsiteX35" fmla="*/ 2441669 w 2513375"/>
                  <a:gd name="connsiteY35" fmla="*/ 4631474 h 5113941"/>
                  <a:gd name="connsiteX36" fmla="*/ 2374871 w 2513375"/>
                  <a:gd name="connsiteY36" fmla="*/ 4890454 h 5113941"/>
                  <a:gd name="connsiteX37" fmla="*/ 2230903 w 2513375"/>
                  <a:gd name="connsiteY37" fmla="*/ 5044894 h 5113941"/>
                  <a:gd name="connsiteX38" fmla="*/ 2020267 w 2513375"/>
                  <a:gd name="connsiteY38" fmla="*/ 5113405 h 5113941"/>
                  <a:gd name="connsiteX39" fmla="*/ 1970713 w 2513375"/>
                  <a:gd name="connsiteY39" fmla="*/ 5113905 h 5113941"/>
                  <a:gd name="connsiteX0" fmla="*/ 1970713 w 2513375"/>
                  <a:gd name="connsiteY0" fmla="*/ 4855263 h 4855299"/>
                  <a:gd name="connsiteX1" fmla="*/ 1859089 w 2513375"/>
                  <a:gd name="connsiteY1" fmla="*/ 4827463 h 4855299"/>
                  <a:gd name="connsiteX2" fmla="*/ 1799088 w 2513375"/>
                  <a:gd name="connsiteY2" fmla="*/ 4797611 h 4855299"/>
                  <a:gd name="connsiteX3" fmla="*/ 257741 w 2513375"/>
                  <a:gd name="connsiteY3" fmla="*/ 3914413 h 4855299"/>
                  <a:gd name="connsiteX4" fmla="*/ 66855 w 2513375"/>
                  <a:gd name="connsiteY4" fmla="*/ 3727073 h 4855299"/>
                  <a:gd name="connsiteX5" fmla="*/ 5085 w 2513375"/>
                  <a:gd name="connsiteY5" fmla="*/ 3525170 h 4855299"/>
                  <a:gd name="connsiteX6" fmla="*/ 117 w 2513375"/>
                  <a:gd name="connsiteY6" fmla="*/ 3468780 h 4855299"/>
                  <a:gd name="connsiteX7" fmla="*/ 0 w 2513375"/>
                  <a:gd name="connsiteY7" fmla="*/ 3468118 h 4855299"/>
                  <a:gd name="connsiteX8" fmla="*/ 5920 w 2513375"/>
                  <a:gd name="connsiteY8" fmla="*/ 2083637 h 4855299"/>
                  <a:gd name="connsiteX9" fmla="*/ 9056 w 2513375"/>
                  <a:gd name="connsiteY9" fmla="*/ 2054777 h 4855299"/>
                  <a:gd name="connsiteX10" fmla="*/ 206180 w 2513375"/>
                  <a:gd name="connsiteY10" fmla="*/ 1962033 h 4855299"/>
                  <a:gd name="connsiteX11" fmla="*/ 407391 w 2513375"/>
                  <a:gd name="connsiteY11" fmla="*/ 2078186 h 4855299"/>
                  <a:gd name="connsiteX12" fmla="*/ 406100 w 2513375"/>
                  <a:gd name="connsiteY12" fmla="*/ 2142669 h 4855299"/>
                  <a:gd name="connsiteX13" fmla="*/ 409165 w 2513375"/>
                  <a:gd name="connsiteY13" fmla="*/ 3458060 h 4855299"/>
                  <a:gd name="connsiteX14" fmla="*/ 407598 w 2513375"/>
                  <a:gd name="connsiteY14" fmla="*/ 3451468 h 4855299"/>
                  <a:gd name="connsiteX15" fmla="*/ 407517 w 2513375"/>
                  <a:gd name="connsiteY15" fmla="*/ 3464276 h 4855299"/>
                  <a:gd name="connsiteX16" fmla="*/ 464772 w 2513375"/>
                  <a:gd name="connsiteY16" fmla="*/ 3563446 h 4855299"/>
                  <a:gd name="connsiteX17" fmla="*/ 1965744 w 2513375"/>
                  <a:gd name="connsiteY17" fmla="*/ 4435364 h 4855299"/>
                  <a:gd name="connsiteX18" fmla="*/ 1966088 w 2513375"/>
                  <a:gd name="connsiteY18" fmla="*/ 4435756 h 4855299"/>
                  <a:gd name="connsiteX19" fmla="*/ 1988129 w 2513375"/>
                  <a:gd name="connsiteY19" fmla="*/ 4429569 h 4855299"/>
                  <a:gd name="connsiteX20" fmla="*/ 2034209 w 2513375"/>
                  <a:gd name="connsiteY20" fmla="*/ 4369015 h 4855299"/>
                  <a:gd name="connsiteX21" fmla="*/ 2036053 w 2513375"/>
                  <a:gd name="connsiteY21" fmla="*/ 3675989 h 4855299"/>
                  <a:gd name="connsiteX22" fmla="*/ 2038324 w 2513375"/>
                  <a:gd name="connsiteY22" fmla="*/ 624781 h 4855299"/>
                  <a:gd name="connsiteX23" fmla="*/ 2037139 w 2513375"/>
                  <a:gd name="connsiteY23" fmla="*/ 587203 h 4855299"/>
                  <a:gd name="connsiteX24" fmla="*/ 2035104 w 2513375"/>
                  <a:gd name="connsiteY24" fmla="*/ 64435 h 4855299"/>
                  <a:gd name="connsiteX25" fmla="*/ 2513375 w 2513375"/>
                  <a:gd name="connsiteY25" fmla="*/ 1588 h 4855299"/>
                  <a:gd name="connsiteX26" fmla="*/ 2513032 w 2513375"/>
                  <a:gd name="connsiteY26" fmla="*/ 1195 h 4855299"/>
                  <a:gd name="connsiteX27" fmla="*/ 2490877 w 2513375"/>
                  <a:gd name="connsiteY27" fmla="*/ 7416 h 4855299"/>
                  <a:gd name="connsiteX28" fmla="*/ 2448227 w 2513375"/>
                  <a:gd name="connsiteY28" fmla="*/ 109242 h 4855299"/>
                  <a:gd name="connsiteX29" fmla="*/ 2448222 w 2513375"/>
                  <a:gd name="connsiteY29" fmla="*/ 635639 h 4855299"/>
                  <a:gd name="connsiteX30" fmla="*/ 2445445 w 2513375"/>
                  <a:gd name="connsiteY30" fmla="*/ 651836 h 4855299"/>
                  <a:gd name="connsiteX31" fmla="*/ 2442619 w 2513375"/>
                  <a:gd name="connsiteY31" fmla="*/ 1428327 h 4855299"/>
                  <a:gd name="connsiteX32" fmla="*/ 2444476 w 2513375"/>
                  <a:gd name="connsiteY32" fmla="*/ 1431845 h 4855299"/>
                  <a:gd name="connsiteX33" fmla="*/ 2443809 w 2513375"/>
                  <a:gd name="connsiteY33" fmla="*/ 2608045 h 4855299"/>
                  <a:gd name="connsiteX34" fmla="*/ 2441669 w 2513375"/>
                  <a:gd name="connsiteY34" fmla="*/ 4372832 h 4855299"/>
                  <a:gd name="connsiteX35" fmla="*/ 2374871 w 2513375"/>
                  <a:gd name="connsiteY35" fmla="*/ 4631812 h 4855299"/>
                  <a:gd name="connsiteX36" fmla="*/ 2230903 w 2513375"/>
                  <a:gd name="connsiteY36" fmla="*/ 4786252 h 4855299"/>
                  <a:gd name="connsiteX37" fmla="*/ 2020267 w 2513375"/>
                  <a:gd name="connsiteY37" fmla="*/ 4854763 h 4855299"/>
                  <a:gd name="connsiteX38" fmla="*/ 1970713 w 2513375"/>
                  <a:gd name="connsiteY38" fmla="*/ 4855263 h 4855299"/>
                  <a:gd name="connsiteX0" fmla="*/ 1970713 w 2513375"/>
                  <a:gd name="connsiteY0" fmla="*/ 4855263 h 4855299"/>
                  <a:gd name="connsiteX1" fmla="*/ 1859089 w 2513375"/>
                  <a:gd name="connsiteY1" fmla="*/ 4827463 h 4855299"/>
                  <a:gd name="connsiteX2" fmla="*/ 1799088 w 2513375"/>
                  <a:gd name="connsiteY2" fmla="*/ 4797611 h 4855299"/>
                  <a:gd name="connsiteX3" fmla="*/ 257741 w 2513375"/>
                  <a:gd name="connsiteY3" fmla="*/ 3914413 h 4855299"/>
                  <a:gd name="connsiteX4" fmla="*/ 66855 w 2513375"/>
                  <a:gd name="connsiteY4" fmla="*/ 3727073 h 4855299"/>
                  <a:gd name="connsiteX5" fmla="*/ 5085 w 2513375"/>
                  <a:gd name="connsiteY5" fmla="*/ 3525170 h 4855299"/>
                  <a:gd name="connsiteX6" fmla="*/ 117 w 2513375"/>
                  <a:gd name="connsiteY6" fmla="*/ 3468780 h 4855299"/>
                  <a:gd name="connsiteX7" fmla="*/ 0 w 2513375"/>
                  <a:gd name="connsiteY7" fmla="*/ 3468118 h 4855299"/>
                  <a:gd name="connsiteX8" fmla="*/ 5920 w 2513375"/>
                  <a:gd name="connsiteY8" fmla="*/ 2083637 h 4855299"/>
                  <a:gd name="connsiteX9" fmla="*/ 9056 w 2513375"/>
                  <a:gd name="connsiteY9" fmla="*/ 2054777 h 4855299"/>
                  <a:gd name="connsiteX10" fmla="*/ 206180 w 2513375"/>
                  <a:gd name="connsiteY10" fmla="*/ 1962033 h 4855299"/>
                  <a:gd name="connsiteX11" fmla="*/ 407391 w 2513375"/>
                  <a:gd name="connsiteY11" fmla="*/ 2078186 h 4855299"/>
                  <a:gd name="connsiteX12" fmla="*/ 406100 w 2513375"/>
                  <a:gd name="connsiteY12" fmla="*/ 2142669 h 4855299"/>
                  <a:gd name="connsiteX13" fmla="*/ 409165 w 2513375"/>
                  <a:gd name="connsiteY13" fmla="*/ 3458060 h 4855299"/>
                  <a:gd name="connsiteX14" fmla="*/ 407598 w 2513375"/>
                  <a:gd name="connsiteY14" fmla="*/ 3451468 h 4855299"/>
                  <a:gd name="connsiteX15" fmla="*/ 407517 w 2513375"/>
                  <a:gd name="connsiteY15" fmla="*/ 3464276 h 4855299"/>
                  <a:gd name="connsiteX16" fmla="*/ 464772 w 2513375"/>
                  <a:gd name="connsiteY16" fmla="*/ 3563446 h 4855299"/>
                  <a:gd name="connsiteX17" fmla="*/ 1965744 w 2513375"/>
                  <a:gd name="connsiteY17" fmla="*/ 4435364 h 4855299"/>
                  <a:gd name="connsiteX18" fmla="*/ 1966088 w 2513375"/>
                  <a:gd name="connsiteY18" fmla="*/ 4435756 h 4855299"/>
                  <a:gd name="connsiteX19" fmla="*/ 1988129 w 2513375"/>
                  <a:gd name="connsiteY19" fmla="*/ 4429569 h 4855299"/>
                  <a:gd name="connsiteX20" fmla="*/ 2034209 w 2513375"/>
                  <a:gd name="connsiteY20" fmla="*/ 4369015 h 4855299"/>
                  <a:gd name="connsiteX21" fmla="*/ 2036053 w 2513375"/>
                  <a:gd name="connsiteY21" fmla="*/ 3675989 h 4855299"/>
                  <a:gd name="connsiteX22" fmla="*/ 2038324 w 2513375"/>
                  <a:gd name="connsiteY22" fmla="*/ 624781 h 4855299"/>
                  <a:gd name="connsiteX23" fmla="*/ 2037139 w 2513375"/>
                  <a:gd name="connsiteY23" fmla="*/ 587203 h 4855299"/>
                  <a:gd name="connsiteX24" fmla="*/ 2035104 w 2513375"/>
                  <a:gd name="connsiteY24" fmla="*/ 64435 h 4855299"/>
                  <a:gd name="connsiteX25" fmla="*/ 2513375 w 2513375"/>
                  <a:gd name="connsiteY25" fmla="*/ 1588 h 4855299"/>
                  <a:gd name="connsiteX26" fmla="*/ 2513032 w 2513375"/>
                  <a:gd name="connsiteY26" fmla="*/ 1195 h 4855299"/>
                  <a:gd name="connsiteX27" fmla="*/ 2448227 w 2513375"/>
                  <a:gd name="connsiteY27" fmla="*/ 109242 h 4855299"/>
                  <a:gd name="connsiteX28" fmla="*/ 2448222 w 2513375"/>
                  <a:gd name="connsiteY28" fmla="*/ 635639 h 4855299"/>
                  <a:gd name="connsiteX29" fmla="*/ 2445445 w 2513375"/>
                  <a:gd name="connsiteY29" fmla="*/ 651836 h 4855299"/>
                  <a:gd name="connsiteX30" fmla="*/ 2442619 w 2513375"/>
                  <a:gd name="connsiteY30" fmla="*/ 1428327 h 4855299"/>
                  <a:gd name="connsiteX31" fmla="*/ 2444476 w 2513375"/>
                  <a:gd name="connsiteY31" fmla="*/ 1431845 h 4855299"/>
                  <a:gd name="connsiteX32" fmla="*/ 2443809 w 2513375"/>
                  <a:gd name="connsiteY32" fmla="*/ 2608045 h 4855299"/>
                  <a:gd name="connsiteX33" fmla="*/ 2441669 w 2513375"/>
                  <a:gd name="connsiteY33" fmla="*/ 4372832 h 4855299"/>
                  <a:gd name="connsiteX34" fmla="*/ 2374871 w 2513375"/>
                  <a:gd name="connsiteY34" fmla="*/ 4631812 h 4855299"/>
                  <a:gd name="connsiteX35" fmla="*/ 2230903 w 2513375"/>
                  <a:gd name="connsiteY35" fmla="*/ 4786252 h 4855299"/>
                  <a:gd name="connsiteX36" fmla="*/ 2020267 w 2513375"/>
                  <a:gd name="connsiteY36" fmla="*/ 4854763 h 4855299"/>
                  <a:gd name="connsiteX37" fmla="*/ 1970713 w 2513375"/>
                  <a:gd name="connsiteY37" fmla="*/ 4855263 h 4855299"/>
                  <a:gd name="connsiteX0" fmla="*/ 1970713 w 2513375"/>
                  <a:gd name="connsiteY0" fmla="*/ 4855263 h 4855299"/>
                  <a:gd name="connsiteX1" fmla="*/ 1859089 w 2513375"/>
                  <a:gd name="connsiteY1" fmla="*/ 4827463 h 4855299"/>
                  <a:gd name="connsiteX2" fmla="*/ 1799088 w 2513375"/>
                  <a:gd name="connsiteY2" fmla="*/ 4797611 h 4855299"/>
                  <a:gd name="connsiteX3" fmla="*/ 257741 w 2513375"/>
                  <a:gd name="connsiteY3" fmla="*/ 3914413 h 4855299"/>
                  <a:gd name="connsiteX4" fmla="*/ 66855 w 2513375"/>
                  <a:gd name="connsiteY4" fmla="*/ 3727073 h 4855299"/>
                  <a:gd name="connsiteX5" fmla="*/ 5085 w 2513375"/>
                  <a:gd name="connsiteY5" fmla="*/ 3525170 h 4855299"/>
                  <a:gd name="connsiteX6" fmla="*/ 117 w 2513375"/>
                  <a:gd name="connsiteY6" fmla="*/ 3468780 h 4855299"/>
                  <a:gd name="connsiteX7" fmla="*/ 0 w 2513375"/>
                  <a:gd name="connsiteY7" fmla="*/ 3468118 h 4855299"/>
                  <a:gd name="connsiteX8" fmla="*/ 5920 w 2513375"/>
                  <a:gd name="connsiteY8" fmla="*/ 2083637 h 4855299"/>
                  <a:gd name="connsiteX9" fmla="*/ 9056 w 2513375"/>
                  <a:gd name="connsiteY9" fmla="*/ 2054777 h 4855299"/>
                  <a:gd name="connsiteX10" fmla="*/ 206180 w 2513375"/>
                  <a:gd name="connsiteY10" fmla="*/ 1962033 h 4855299"/>
                  <a:gd name="connsiteX11" fmla="*/ 407391 w 2513375"/>
                  <a:gd name="connsiteY11" fmla="*/ 2078186 h 4855299"/>
                  <a:gd name="connsiteX12" fmla="*/ 406100 w 2513375"/>
                  <a:gd name="connsiteY12" fmla="*/ 2142669 h 4855299"/>
                  <a:gd name="connsiteX13" fmla="*/ 409165 w 2513375"/>
                  <a:gd name="connsiteY13" fmla="*/ 3458060 h 4855299"/>
                  <a:gd name="connsiteX14" fmla="*/ 407598 w 2513375"/>
                  <a:gd name="connsiteY14" fmla="*/ 3451468 h 4855299"/>
                  <a:gd name="connsiteX15" fmla="*/ 407517 w 2513375"/>
                  <a:gd name="connsiteY15" fmla="*/ 3464276 h 4855299"/>
                  <a:gd name="connsiteX16" fmla="*/ 464772 w 2513375"/>
                  <a:gd name="connsiteY16" fmla="*/ 3563446 h 4855299"/>
                  <a:gd name="connsiteX17" fmla="*/ 1965744 w 2513375"/>
                  <a:gd name="connsiteY17" fmla="*/ 4435364 h 4855299"/>
                  <a:gd name="connsiteX18" fmla="*/ 1966088 w 2513375"/>
                  <a:gd name="connsiteY18" fmla="*/ 4435756 h 4855299"/>
                  <a:gd name="connsiteX19" fmla="*/ 1988129 w 2513375"/>
                  <a:gd name="connsiteY19" fmla="*/ 4429569 h 4855299"/>
                  <a:gd name="connsiteX20" fmla="*/ 2034209 w 2513375"/>
                  <a:gd name="connsiteY20" fmla="*/ 4369015 h 4855299"/>
                  <a:gd name="connsiteX21" fmla="*/ 2036053 w 2513375"/>
                  <a:gd name="connsiteY21" fmla="*/ 3675989 h 4855299"/>
                  <a:gd name="connsiteX22" fmla="*/ 2038324 w 2513375"/>
                  <a:gd name="connsiteY22" fmla="*/ 624781 h 4855299"/>
                  <a:gd name="connsiteX23" fmla="*/ 2037139 w 2513375"/>
                  <a:gd name="connsiteY23" fmla="*/ 587203 h 4855299"/>
                  <a:gd name="connsiteX24" fmla="*/ 2035104 w 2513375"/>
                  <a:gd name="connsiteY24" fmla="*/ 64435 h 4855299"/>
                  <a:gd name="connsiteX25" fmla="*/ 2513375 w 2513375"/>
                  <a:gd name="connsiteY25" fmla="*/ 1588 h 4855299"/>
                  <a:gd name="connsiteX26" fmla="*/ 2513032 w 2513375"/>
                  <a:gd name="connsiteY26" fmla="*/ 1195 h 4855299"/>
                  <a:gd name="connsiteX27" fmla="*/ 2448222 w 2513375"/>
                  <a:gd name="connsiteY27" fmla="*/ 635639 h 4855299"/>
                  <a:gd name="connsiteX28" fmla="*/ 2445445 w 2513375"/>
                  <a:gd name="connsiteY28" fmla="*/ 651836 h 4855299"/>
                  <a:gd name="connsiteX29" fmla="*/ 2442619 w 2513375"/>
                  <a:gd name="connsiteY29" fmla="*/ 1428327 h 4855299"/>
                  <a:gd name="connsiteX30" fmla="*/ 2444476 w 2513375"/>
                  <a:gd name="connsiteY30" fmla="*/ 1431845 h 4855299"/>
                  <a:gd name="connsiteX31" fmla="*/ 2443809 w 2513375"/>
                  <a:gd name="connsiteY31" fmla="*/ 2608045 h 4855299"/>
                  <a:gd name="connsiteX32" fmla="*/ 2441669 w 2513375"/>
                  <a:gd name="connsiteY32" fmla="*/ 4372832 h 4855299"/>
                  <a:gd name="connsiteX33" fmla="*/ 2374871 w 2513375"/>
                  <a:gd name="connsiteY33" fmla="*/ 4631812 h 4855299"/>
                  <a:gd name="connsiteX34" fmla="*/ 2230903 w 2513375"/>
                  <a:gd name="connsiteY34" fmla="*/ 4786252 h 4855299"/>
                  <a:gd name="connsiteX35" fmla="*/ 2020267 w 2513375"/>
                  <a:gd name="connsiteY35" fmla="*/ 4854763 h 4855299"/>
                  <a:gd name="connsiteX36" fmla="*/ 1970713 w 2513375"/>
                  <a:gd name="connsiteY36" fmla="*/ 4855263 h 4855299"/>
                  <a:gd name="connsiteX0" fmla="*/ 1970713 w 2534235"/>
                  <a:gd name="connsiteY0" fmla="*/ 4855263 h 4855299"/>
                  <a:gd name="connsiteX1" fmla="*/ 1859089 w 2534235"/>
                  <a:gd name="connsiteY1" fmla="*/ 4827463 h 4855299"/>
                  <a:gd name="connsiteX2" fmla="*/ 1799088 w 2534235"/>
                  <a:gd name="connsiteY2" fmla="*/ 4797611 h 4855299"/>
                  <a:gd name="connsiteX3" fmla="*/ 257741 w 2534235"/>
                  <a:gd name="connsiteY3" fmla="*/ 3914413 h 4855299"/>
                  <a:gd name="connsiteX4" fmla="*/ 66855 w 2534235"/>
                  <a:gd name="connsiteY4" fmla="*/ 3727073 h 4855299"/>
                  <a:gd name="connsiteX5" fmla="*/ 5085 w 2534235"/>
                  <a:gd name="connsiteY5" fmla="*/ 3525170 h 4855299"/>
                  <a:gd name="connsiteX6" fmla="*/ 117 w 2534235"/>
                  <a:gd name="connsiteY6" fmla="*/ 3468780 h 4855299"/>
                  <a:gd name="connsiteX7" fmla="*/ 0 w 2534235"/>
                  <a:gd name="connsiteY7" fmla="*/ 3468118 h 4855299"/>
                  <a:gd name="connsiteX8" fmla="*/ 5920 w 2534235"/>
                  <a:gd name="connsiteY8" fmla="*/ 2083637 h 4855299"/>
                  <a:gd name="connsiteX9" fmla="*/ 9056 w 2534235"/>
                  <a:gd name="connsiteY9" fmla="*/ 2054777 h 4855299"/>
                  <a:gd name="connsiteX10" fmla="*/ 206180 w 2534235"/>
                  <a:gd name="connsiteY10" fmla="*/ 1962033 h 4855299"/>
                  <a:gd name="connsiteX11" fmla="*/ 407391 w 2534235"/>
                  <a:gd name="connsiteY11" fmla="*/ 2078186 h 4855299"/>
                  <a:gd name="connsiteX12" fmla="*/ 406100 w 2534235"/>
                  <a:gd name="connsiteY12" fmla="*/ 2142669 h 4855299"/>
                  <a:gd name="connsiteX13" fmla="*/ 409165 w 2534235"/>
                  <a:gd name="connsiteY13" fmla="*/ 3458060 h 4855299"/>
                  <a:gd name="connsiteX14" fmla="*/ 407598 w 2534235"/>
                  <a:gd name="connsiteY14" fmla="*/ 3451468 h 4855299"/>
                  <a:gd name="connsiteX15" fmla="*/ 407517 w 2534235"/>
                  <a:gd name="connsiteY15" fmla="*/ 3464276 h 4855299"/>
                  <a:gd name="connsiteX16" fmla="*/ 464772 w 2534235"/>
                  <a:gd name="connsiteY16" fmla="*/ 3563446 h 4855299"/>
                  <a:gd name="connsiteX17" fmla="*/ 1965744 w 2534235"/>
                  <a:gd name="connsiteY17" fmla="*/ 4435364 h 4855299"/>
                  <a:gd name="connsiteX18" fmla="*/ 1966088 w 2534235"/>
                  <a:gd name="connsiteY18" fmla="*/ 4435756 h 4855299"/>
                  <a:gd name="connsiteX19" fmla="*/ 1988129 w 2534235"/>
                  <a:gd name="connsiteY19" fmla="*/ 4429569 h 4855299"/>
                  <a:gd name="connsiteX20" fmla="*/ 2034209 w 2534235"/>
                  <a:gd name="connsiteY20" fmla="*/ 4369015 h 4855299"/>
                  <a:gd name="connsiteX21" fmla="*/ 2036053 w 2534235"/>
                  <a:gd name="connsiteY21" fmla="*/ 3675989 h 4855299"/>
                  <a:gd name="connsiteX22" fmla="*/ 2038324 w 2534235"/>
                  <a:gd name="connsiteY22" fmla="*/ 624781 h 4855299"/>
                  <a:gd name="connsiteX23" fmla="*/ 2037139 w 2534235"/>
                  <a:gd name="connsiteY23" fmla="*/ 587203 h 4855299"/>
                  <a:gd name="connsiteX24" fmla="*/ 2035104 w 2534235"/>
                  <a:gd name="connsiteY24" fmla="*/ 64435 h 4855299"/>
                  <a:gd name="connsiteX25" fmla="*/ 2513375 w 2534235"/>
                  <a:gd name="connsiteY25" fmla="*/ 1588 h 4855299"/>
                  <a:gd name="connsiteX26" fmla="*/ 2448222 w 2534235"/>
                  <a:gd name="connsiteY26" fmla="*/ 635639 h 4855299"/>
                  <a:gd name="connsiteX27" fmla="*/ 2445445 w 2534235"/>
                  <a:gd name="connsiteY27" fmla="*/ 651836 h 4855299"/>
                  <a:gd name="connsiteX28" fmla="*/ 2442619 w 2534235"/>
                  <a:gd name="connsiteY28" fmla="*/ 1428327 h 4855299"/>
                  <a:gd name="connsiteX29" fmla="*/ 2444476 w 2534235"/>
                  <a:gd name="connsiteY29" fmla="*/ 1431845 h 4855299"/>
                  <a:gd name="connsiteX30" fmla="*/ 2443809 w 2534235"/>
                  <a:gd name="connsiteY30" fmla="*/ 2608045 h 4855299"/>
                  <a:gd name="connsiteX31" fmla="*/ 2441669 w 2534235"/>
                  <a:gd name="connsiteY31" fmla="*/ 4372832 h 4855299"/>
                  <a:gd name="connsiteX32" fmla="*/ 2374871 w 2534235"/>
                  <a:gd name="connsiteY32" fmla="*/ 4631812 h 4855299"/>
                  <a:gd name="connsiteX33" fmla="*/ 2230903 w 2534235"/>
                  <a:gd name="connsiteY33" fmla="*/ 4786252 h 4855299"/>
                  <a:gd name="connsiteX34" fmla="*/ 2020267 w 2534235"/>
                  <a:gd name="connsiteY34" fmla="*/ 4854763 h 4855299"/>
                  <a:gd name="connsiteX35" fmla="*/ 1970713 w 2534235"/>
                  <a:gd name="connsiteY35" fmla="*/ 4855263 h 4855299"/>
                  <a:gd name="connsiteX0" fmla="*/ 1970713 w 2534235"/>
                  <a:gd name="connsiteY0" fmla="*/ 4853774 h 4853810"/>
                  <a:gd name="connsiteX1" fmla="*/ 1859089 w 2534235"/>
                  <a:gd name="connsiteY1" fmla="*/ 4825974 h 4853810"/>
                  <a:gd name="connsiteX2" fmla="*/ 1799088 w 2534235"/>
                  <a:gd name="connsiteY2" fmla="*/ 4796122 h 4853810"/>
                  <a:gd name="connsiteX3" fmla="*/ 257741 w 2534235"/>
                  <a:gd name="connsiteY3" fmla="*/ 3912924 h 4853810"/>
                  <a:gd name="connsiteX4" fmla="*/ 66855 w 2534235"/>
                  <a:gd name="connsiteY4" fmla="*/ 3725584 h 4853810"/>
                  <a:gd name="connsiteX5" fmla="*/ 5085 w 2534235"/>
                  <a:gd name="connsiteY5" fmla="*/ 3523681 h 4853810"/>
                  <a:gd name="connsiteX6" fmla="*/ 117 w 2534235"/>
                  <a:gd name="connsiteY6" fmla="*/ 3467291 h 4853810"/>
                  <a:gd name="connsiteX7" fmla="*/ 0 w 2534235"/>
                  <a:gd name="connsiteY7" fmla="*/ 3466629 h 4853810"/>
                  <a:gd name="connsiteX8" fmla="*/ 5920 w 2534235"/>
                  <a:gd name="connsiteY8" fmla="*/ 2082148 h 4853810"/>
                  <a:gd name="connsiteX9" fmla="*/ 9056 w 2534235"/>
                  <a:gd name="connsiteY9" fmla="*/ 2053288 h 4853810"/>
                  <a:gd name="connsiteX10" fmla="*/ 206180 w 2534235"/>
                  <a:gd name="connsiteY10" fmla="*/ 1960544 h 4853810"/>
                  <a:gd name="connsiteX11" fmla="*/ 407391 w 2534235"/>
                  <a:gd name="connsiteY11" fmla="*/ 2076697 h 4853810"/>
                  <a:gd name="connsiteX12" fmla="*/ 406100 w 2534235"/>
                  <a:gd name="connsiteY12" fmla="*/ 2141180 h 4853810"/>
                  <a:gd name="connsiteX13" fmla="*/ 409165 w 2534235"/>
                  <a:gd name="connsiteY13" fmla="*/ 3456571 h 4853810"/>
                  <a:gd name="connsiteX14" fmla="*/ 407598 w 2534235"/>
                  <a:gd name="connsiteY14" fmla="*/ 3449979 h 4853810"/>
                  <a:gd name="connsiteX15" fmla="*/ 407517 w 2534235"/>
                  <a:gd name="connsiteY15" fmla="*/ 3462787 h 4853810"/>
                  <a:gd name="connsiteX16" fmla="*/ 464772 w 2534235"/>
                  <a:gd name="connsiteY16" fmla="*/ 3561957 h 4853810"/>
                  <a:gd name="connsiteX17" fmla="*/ 1965744 w 2534235"/>
                  <a:gd name="connsiteY17" fmla="*/ 4433875 h 4853810"/>
                  <a:gd name="connsiteX18" fmla="*/ 1966088 w 2534235"/>
                  <a:gd name="connsiteY18" fmla="*/ 4434267 h 4853810"/>
                  <a:gd name="connsiteX19" fmla="*/ 1988129 w 2534235"/>
                  <a:gd name="connsiteY19" fmla="*/ 4428080 h 4853810"/>
                  <a:gd name="connsiteX20" fmla="*/ 2034209 w 2534235"/>
                  <a:gd name="connsiteY20" fmla="*/ 4367526 h 4853810"/>
                  <a:gd name="connsiteX21" fmla="*/ 2036053 w 2534235"/>
                  <a:gd name="connsiteY21" fmla="*/ 3674500 h 4853810"/>
                  <a:gd name="connsiteX22" fmla="*/ 2038324 w 2534235"/>
                  <a:gd name="connsiteY22" fmla="*/ 623292 h 4853810"/>
                  <a:gd name="connsiteX23" fmla="*/ 2037139 w 2534235"/>
                  <a:gd name="connsiteY23" fmla="*/ 585714 h 4853810"/>
                  <a:gd name="connsiteX24" fmla="*/ 2513375 w 2534235"/>
                  <a:gd name="connsiteY24" fmla="*/ 99 h 4853810"/>
                  <a:gd name="connsiteX25" fmla="*/ 2448222 w 2534235"/>
                  <a:gd name="connsiteY25" fmla="*/ 634150 h 4853810"/>
                  <a:gd name="connsiteX26" fmla="*/ 2445445 w 2534235"/>
                  <a:gd name="connsiteY26" fmla="*/ 650347 h 4853810"/>
                  <a:gd name="connsiteX27" fmla="*/ 2442619 w 2534235"/>
                  <a:gd name="connsiteY27" fmla="*/ 1426838 h 4853810"/>
                  <a:gd name="connsiteX28" fmla="*/ 2444476 w 2534235"/>
                  <a:gd name="connsiteY28" fmla="*/ 1430356 h 4853810"/>
                  <a:gd name="connsiteX29" fmla="*/ 2443809 w 2534235"/>
                  <a:gd name="connsiteY29" fmla="*/ 2606556 h 4853810"/>
                  <a:gd name="connsiteX30" fmla="*/ 2441669 w 2534235"/>
                  <a:gd name="connsiteY30" fmla="*/ 4371343 h 4853810"/>
                  <a:gd name="connsiteX31" fmla="*/ 2374871 w 2534235"/>
                  <a:gd name="connsiteY31" fmla="*/ 4630323 h 4853810"/>
                  <a:gd name="connsiteX32" fmla="*/ 2230903 w 2534235"/>
                  <a:gd name="connsiteY32" fmla="*/ 4784763 h 4853810"/>
                  <a:gd name="connsiteX33" fmla="*/ 2020267 w 2534235"/>
                  <a:gd name="connsiteY33" fmla="*/ 4853274 h 4853810"/>
                  <a:gd name="connsiteX34" fmla="*/ 1970713 w 2534235"/>
                  <a:gd name="connsiteY34" fmla="*/ 4853774 h 4853810"/>
                  <a:gd name="connsiteX0" fmla="*/ 1970713 w 2448222"/>
                  <a:gd name="connsiteY0" fmla="*/ 4268060 h 4268096"/>
                  <a:gd name="connsiteX1" fmla="*/ 1859089 w 2448222"/>
                  <a:gd name="connsiteY1" fmla="*/ 4240260 h 4268096"/>
                  <a:gd name="connsiteX2" fmla="*/ 1799088 w 2448222"/>
                  <a:gd name="connsiteY2" fmla="*/ 4210408 h 4268096"/>
                  <a:gd name="connsiteX3" fmla="*/ 257741 w 2448222"/>
                  <a:gd name="connsiteY3" fmla="*/ 3327210 h 4268096"/>
                  <a:gd name="connsiteX4" fmla="*/ 66855 w 2448222"/>
                  <a:gd name="connsiteY4" fmla="*/ 3139870 h 4268096"/>
                  <a:gd name="connsiteX5" fmla="*/ 5085 w 2448222"/>
                  <a:gd name="connsiteY5" fmla="*/ 2937967 h 4268096"/>
                  <a:gd name="connsiteX6" fmla="*/ 117 w 2448222"/>
                  <a:gd name="connsiteY6" fmla="*/ 2881577 h 4268096"/>
                  <a:gd name="connsiteX7" fmla="*/ 0 w 2448222"/>
                  <a:gd name="connsiteY7" fmla="*/ 2880915 h 4268096"/>
                  <a:gd name="connsiteX8" fmla="*/ 5920 w 2448222"/>
                  <a:gd name="connsiteY8" fmla="*/ 1496434 h 4268096"/>
                  <a:gd name="connsiteX9" fmla="*/ 9056 w 2448222"/>
                  <a:gd name="connsiteY9" fmla="*/ 1467574 h 4268096"/>
                  <a:gd name="connsiteX10" fmla="*/ 206180 w 2448222"/>
                  <a:gd name="connsiteY10" fmla="*/ 1374830 h 4268096"/>
                  <a:gd name="connsiteX11" fmla="*/ 407391 w 2448222"/>
                  <a:gd name="connsiteY11" fmla="*/ 1490983 h 4268096"/>
                  <a:gd name="connsiteX12" fmla="*/ 406100 w 2448222"/>
                  <a:gd name="connsiteY12" fmla="*/ 1555466 h 4268096"/>
                  <a:gd name="connsiteX13" fmla="*/ 409165 w 2448222"/>
                  <a:gd name="connsiteY13" fmla="*/ 2870857 h 4268096"/>
                  <a:gd name="connsiteX14" fmla="*/ 407598 w 2448222"/>
                  <a:gd name="connsiteY14" fmla="*/ 2864265 h 4268096"/>
                  <a:gd name="connsiteX15" fmla="*/ 407517 w 2448222"/>
                  <a:gd name="connsiteY15" fmla="*/ 2877073 h 4268096"/>
                  <a:gd name="connsiteX16" fmla="*/ 464772 w 2448222"/>
                  <a:gd name="connsiteY16" fmla="*/ 2976243 h 4268096"/>
                  <a:gd name="connsiteX17" fmla="*/ 1965744 w 2448222"/>
                  <a:gd name="connsiteY17" fmla="*/ 3848161 h 4268096"/>
                  <a:gd name="connsiteX18" fmla="*/ 1966088 w 2448222"/>
                  <a:gd name="connsiteY18" fmla="*/ 3848553 h 4268096"/>
                  <a:gd name="connsiteX19" fmla="*/ 1988129 w 2448222"/>
                  <a:gd name="connsiteY19" fmla="*/ 3842366 h 4268096"/>
                  <a:gd name="connsiteX20" fmla="*/ 2034209 w 2448222"/>
                  <a:gd name="connsiteY20" fmla="*/ 3781812 h 4268096"/>
                  <a:gd name="connsiteX21" fmla="*/ 2036053 w 2448222"/>
                  <a:gd name="connsiteY21" fmla="*/ 3088786 h 4268096"/>
                  <a:gd name="connsiteX22" fmla="*/ 2038324 w 2448222"/>
                  <a:gd name="connsiteY22" fmla="*/ 37578 h 4268096"/>
                  <a:gd name="connsiteX23" fmla="*/ 2037139 w 2448222"/>
                  <a:gd name="connsiteY23" fmla="*/ 0 h 4268096"/>
                  <a:gd name="connsiteX24" fmla="*/ 2448222 w 2448222"/>
                  <a:gd name="connsiteY24" fmla="*/ 48436 h 4268096"/>
                  <a:gd name="connsiteX25" fmla="*/ 2445445 w 2448222"/>
                  <a:gd name="connsiteY25" fmla="*/ 64633 h 4268096"/>
                  <a:gd name="connsiteX26" fmla="*/ 2442619 w 2448222"/>
                  <a:gd name="connsiteY26" fmla="*/ 841124 h 4268096"/>
                  <a:gd name="connsiteX27" fmla="*/ 2444476 w 2448222"/>
                  <a:gd name="connsiteY27" fmla="*/ 844642 h 4268096"/>
                  <a:gd name="connsiteX28" fmla="*/ 2443809 w 2448222"/>
                  <a:gd name="connsiteY28" fmla="*/ 2020842 h 4268096"/>
                  <a:gd name="connsiteX29" fmla="*/ 2441669 w 2448222"/>
                  <a:gd name="connsiteY29" fmla="*/ 3785629 h 4268096"/>
                  <a:gd name="connsiteX30" fmla="*/ 2374871 w 2448222"/>
                  <a:gd name="connsiteY30" fmla="*/ 4044609 h 4268096"/>
                  <a:gd name="connsiteX31" fmla="*/ 2230903 w 2448222"/>
                  <a:gd name="connsiteY31" fmla="*/ 4199049 h 4268096"/>
                  <a:gd name="connsiteX32" fmla="*/ 2020267 w 2448222"/>
                  <a:gd name="connsiteY32" fmla="*/ 4267560 h 4268096"/>
                  <a:gd name="connsiteX33" fmla="*/ 1970713 w 2448222"/>
                  <a:gd name="connsiteY33" fmla="*/ 4268060 h 4268096"/>
                  <a:gd name="connsiteX0" fmla="*/ 1970713 w 2448222"/>
                  <a:gd name="connsiteY0" fmla="*/ 4268060 h 4268096"/>
                  <a:gd name="connsiteX1" fmla="*/ 1859089 w 2448222"/>
                  <a:gd name="connsiteY1" fmla="*/ 4240260 h 4268096"/>
                  <a:gd name="connsiteX2" fmla="*/ 1799088 w 2448222"/>
                  <a:gd name="connsiteY2" fmla="*/ 4210408 h 4268096"/>
                  <a:gd name="connsiteX3" fmla="*/ 257741 w 2448222"/>
                  <a:gd name="connsiteY3" fmla="*/ 3327210 h 4268096"/>
                  <a:gd name="connsiteX4" fmla="*/ 66855 w 2448222"/>
                  <a:gd name="connsiteY4" fmla="*/ 3139870 h 4268096"/>
                  <a:gd name="connsiteX5" fmla="*/ 5085 w 2448222"/>
                  <a:gd name="connsiteY5" fmla="*/ 2937967 h 4268096"/>
                  <a:gd name="connsiteX6" fmla="*/ 117 w 2448222"/>
                  <a:gd name="connsiteY6" fmla="*/ 2881577 h 4268096"/>
                  <a:gd name="connsiteX7" fmla="*/ 0 w 2448222"/>
                  <a:gd name="connsiteY7" fmla="*/ 2880915 h 4268096"/>
                  <a:gd name="connsiteX8" fmla="*/ 5920 w 2448222"/>
                  <a:gd name="connsiteY8" fmla="*/ 1496434 h 4268096"/>
                  <a:gd name="connsiteX9" fmla="*/ 9056 w 2448222"/>
                  <a:gd name="connsiteY9" fmla="*/ 1467574 h 4268096"/>
                  <a:gd name="connsiteX10" fmla="*/ 206180 w 2448222"/>
                  <a:gd name="connsiteY10" fmla="*/ 1374830 h 4268096"/>
                  <a:gd name="connsiteX11" fmla="*/ 407391 w 2448222"/>
                  <a:gd name="connsiteY11" fmla="*/ 1490983 h 4268096"/>
                  <a:gd name="connsiteX12" fmla="*/ 406100 w 2448222"/>
                  <a:gd name="connsiteY12" fmla="*/ 1555466 h 4268096"/>
                  <a:gd name="connsiteX13" fmla="*/ 409165 w 2448222"/>
                  <a:gd name="connsiteY13" fmla="*/ 2870857 h 4268096"/>
                  <a:gd name="connsiteX14" fmla="*/ 407598 w 2448222"/>
                  <a:gd name="connsiteY14" fmla="*/ 2864265 h 4268096"/>
                  <a:gd name="connsiteX15" fmla="*/ 407517 w 2448222"/>
                  <a:gd name="connsiteY15" fmla="*/ 2877073 h 4268096"/>
                  <a:gd name="connsiteX16" fmla="*/ 464772 w 2448222"/>
                  <a:gd name="connsiteY16" fmla="*/ 2976243 h 4268096"/>
                  <a:gd name="connsiteX17" fmla="*/ 1965744 w 2448222"/>
                  <a:gd name="connsiteY17" fmla="*/ 3848161 h 4268096"/>
                  <a:gd name="connsiteX18" fmla="*/ 1966088 w 2448222"/>
                  <a:gd name="connsiteY18" fmla="*/ 3848553 h 4268096"/>
                  <a:gd name="connsiteX19" fmla="*/ 1988129 w 2448222"/>
                  <a:gd name="connsiteY19" fmla="*/ 3842366 h 4268096"/>
                  <a:gd name="connsiteX20" fmla="*/ 2034209 w 2448222"/>
                  <a:gd name="connsiteY20" fmla="*/ 3781812 h 4268096"/>
                  <a:gd name="connsiteX21" fmla="*/ 2036053 w 2448222"/>
                  <a:gd name="connsiteY21" fmla="*/ 3088786 h 4268096"/>
                  <a:gd name="connsiteX22" fmla="*/ 2038324 w 2448222"/>
                  <a:gd name="connsiteY22" fmla="*/ 37578 h 4268096"/>
                  <a:gd name="connsiteX23" fmla="*/ 2037139 w 2448222"/>
                  <a:gd name="connsiteY23" fmla="*/ 0 h 4268096"/>
                  <a:gd name="connsiteX24" fmla="*/ 2448222 w 2448222"/>
                  <a:gd name="connsiteY24" fmla="*/ 48436 h 4268096"/>
                  <a:gd name="connsiteX25" fmla="*/ 2442619 w 2448222"/>
                  <a:gd name="connsiteY25" fmla="*/ 841124 h 4268096"/>
                  <a:gd name="connsiteX26" fmla="*/ 2444476 w 2448222"/>
                  <a:gd name="connsiteY26" fmla="*/ 844642 h 4268096"/>
                  <a:gd name="connsiteX27" fmla="*/ 2443809 w 2448222"/>
                  <a:gd name="connsiteY27" fmla="*/ 2020842 h 4268096"/>
                  <a:gd name="connsiteX28" fmla="*/ 2441669 w 2448222"/>
                  <a:gd name="connsiteY28" fmla="*/ 3785629 h 4268096"/>
                  <a:gd name="connsiteX29" fmla="*/ 2374871 w 2448222"/>
                  <a:gd name="connsiteY29" fmla="*/ 4044609 h 4268096"/>
                  <a:gd name="connsiteX30" fmla="*/ 2230903 w 2448222"/>
                  <a:gd name="connsiteY30" fmla="*/ 4199049 h 4268096"/>
                  <a:gd name="connsiteX31" fmla="*/ 2020267 w 2448222"/>
                  <a:gd name="connsiteY31" fmla="*/ 4267560 h 4268096"/>
                  <a:gd name="connsiteX32" fmla="*/ 1970713 w 2448222"/>
                  <a:gd name="connsiteY32" fmla="*/ 4268060 h 4268096"/>
                  <a:gd name="connsiteX0" fmla="*/ 1970713 w 2448222"/>
                  <a:gd name="connsiteY0" fmla="*/ 4230482 h 4230518"/>
                  <a:gd name="connsiteX1" fmla="*/ 1859089 w 2448222"/>
                  <a:gd name="connsiteY1" fmla="*/ 4202682 h 4230518"/>
                  <a:gd name="connsiteX2" fmla="*/ 1799088 w 2448222"/>
                  <a:gd name="connsiteY2" fmla="*/ 4172830 h 4230518"/>
                  <a:gd name="connsiteX3" fmla="*/ 257741 w 2448222"/>
                  <a:gd name="connsiteY3" fmla="*/ 3289632 h 4230518"/>
                  <a:gd name="connsiteX4" fmla="*/ 66855 w 2448222"/>
                  <a:gd name="connsiteY4" fmla="*/ 3102292 h 4230518"/>
                  <a:gd name="connsiteX5" fmla="*/ 5085 w 2448222"/>
                  <a:gd name="connsiteY5" fmla="*/ 2900389 h 4230518"/>
                  <a:gd name="connsiteX6" fmla="*/ 117 w 2448222"/>
                  <a:gd name="connsiteY6" fmla="*/ 2843999 h 4230518"/>
                  <a:gd name="connsiteX7" fmla="*/ 0 w 2448222"/>
                  <a:gd name="connsiteY7" fmla="*/ 2843337 h 4230518"/>
                  <a:gd name="connsiteX8" fmla="*/ 5920 w 2448222"/>
                  <a:gd name="connsiteY8" fmla="*/ 1458856 h 4230518"/>
                  <a:gd name="connsiteX9" fmla="*/ 9056 w 2448222"/>
                  <a:gd name="connsiteY9" fmla="*/ 1429996 h 4230518"/>
                  <a:gd name="connsiteX10" fmla="*/ 206180 w 2448222"/>
                  <a:gd name="connsiteY10" fmla="*/ 1337252 h 4230518"/>
                  <a:gd name="connsiteX11" fmla="*/ 407391 w 2448222"/>
                  <a:gd name="connsiteY11" fmla="*/ 1453405 h 4230518"/>
                  <a:gd name="connsiteX12" fmla="*/ 406100 w 2448222"/>
                  <a:gd name="connsiteY12" fmla="*/ 1517888 h 4230518"/>
                  <a:gd name="connsiteX13" fmla="*/ 409165 w 2448222"/>
                  <a:gd name="connsiteY13" fmla="*/ 2833279 h 4230518"/>
                  <a:gd name="connsiteX14" fmla="*/ 407598 w 2448222"/>
                  <a:gd name="connsiteY14" fmla="*/ 2826687 h 4230518"/>
                  <a:gd name="connsiteX15" fmla="*/ 407517 w 2448222"/>
                  <a:gd name="connsiteY15" fmla="*/ 2839495 h 4230518"/>
                  <a:gd name="connsiteX16" fmla="*/ 464772 w 2448222"/>
                  <a:gd name="connsiteY16" fmla="*/ 2938665 h 4230518"/>
                  <a:gd name="connsiteX17" fmla="*/ 1965744 w 2448222"/>
                  <a:gd name="connsiteY17" fmla="*/ 3810583 h 4230518"/>
                  <a:gd name="connsiteX18" fmla="*/ 1966088 w 2448222"/>
                  <a:gd name="connsiteY18" fmla="*/ 3810975 h 4230518"/>
                  <a:gd name="connsiteX19" fmla="*/ 1988129 w 2448222"/>
                  <a:gd name="connsiteY19" fmla="*/ 3804788 h 4230518"/>
                  <a:gd name="connsiteX20" fmla="*/ 2034209 w 2448222"/>
                  <a:gd name="connsiteY20" fmla="*/ 3744234 h 4230518"/>
                  <a:gd name="connsiteX21" fmla="*/ 2036053 w 2448222"/>
                  <a:gd name="connsiteY21" fmla="*/ 3051208 h 4230518"/>
                  <a:gd name="connsiteX22" fmla="*/ 2038324 w 2448222"/>
                  <a:gd name="connsiteY22" fmla="*/ 0 h 4230518"/>
                  <a:gd name="connsiteX23" fmla="*/ 2448222 w 2448222"/>
                  <a:gd name="connsiteY23" fmla="*/ 10858 h 4230518"/>
                  <a:gd name="connsiteX24" fmla="*/ 2442619 w 2448222"/>
                  <a:gd name="connsiteY24" fmla="*/ 803546 h 4230518"/>
                  <a:gd name="connsiteX25" fmla="*/ 2444476 w 2448222"/>
                  <a:gd name="connsiteY25" fmla="*/ 807064 h 4230518"/>
                  <a:gd name="connsiteX26" fmla="*/ 2443809 w 2448222"/>
                  <a:gd name="connsiteY26" fmla="*/ 1983264 h 4230518"/>
                  <a:gd name="connsiteX27" fmla="*/ 2441669 w 2448222"/>
                  <a:gd name="connsiteY27" fmla="*/ 3748051 h 4230518"/>
                  <a:gd name="connsiteX28" fmla="*/ 2374871 w 2448222"/>
                  <a:gd name="connsiteY28" fmla="*/ 4007031 h 4230518"/>
                  <a:gd name="connsiteX29" fmla="*/ 2230903 w 2448222"/>
                  <a:gd name="connsiteY29" fmla="*/ 4161471 h 4230518"/>
                  <a:gd name="connsiteX30" fmla="*/ 2020267 w 2448222"/>
                  <a:gd name="connsiteY30" fmla="*/ 4229982 h 4230518"/>
                  <a:gd name="connsiteX31" fmla="*/ 1970713 w 2448222"/>
                  <a:gd name="connsiteY31" fmla="*/ 4230482 h 4230518"/>
                  <a:gd name="connsiteX0" fmla="*/ 1970713 w 2448222"/>
                  <a:gd name="connsiteY0" fmla="*/ 4219624 h 4219660"/>
                  <a:gd name="connsiteX1" fmla="*/ 1859089 w 2448222"/>
                  <a:gd name="connsiteY1" fmla="*/ 4191824 h 4219660"/>
                  <a:gd name="connsiteX2" fmla="*/ 1799088 w 2448222"/>
                  <a:gd name="connsiteY2" fmla="*/ 4161972 h 4219660"/>
                  <a:gd name="connsiteX3" fmla="*/ 257741 w 2448222"/>
                  <a:gd name="connsiteY3" fmla="*/ 3278774 h 4219660"/>
                  <a:gd name="connsiteX4" fmla="*/ 66855 w 2448222"/>
                  <a:gd name="connsiteY4" fmla="*/ 3091434 h 4219660"/>
                  <a:gd name="connsiteX5" fmla="*/ 5085 w 2448222"/>
                  <a:gd name="connsiteY5" fmla="*/ 2889531 h 4219660"/>
                  <a:gd name="connsiteX6" fmla="*/ 117 w 2448222"/>
                  <a:gd name="connsiteY6" fmla="*/ 2833141 h 4219660"/>
                  <a:gd name="connsiteX7" fmla="*/ 0 w 2448222"/>
                  <a:gd name="connsiteY7" fmla="*/ 2832479 h 4219660"/>
                  <a:gd name="connsiteX8" fmla="*/ 5920 w 2448222"/>
                  <a:gd name="connsiteY8" fmla="*/ 1447998 h 4219660"/>
                  <a:gd name="connsiteX9" fmla="*/ 9056 w 2448222"/>
                  <a:gd name="connsiteY9" fmla="*/ 1419138 h 4219660"/>
                  <a:gd name="connsiteX10" fmla="*/ 206180 w 2448222"/>
                  <a:gd name="connsiteY10" fmla="*/ 1326394 h 4219660"/>
                  <a:gd name="connsiteX11" fmla="*/ 407391 w 2448222"/>
                  <a:gd name="connsiteY11" fmla="*/ 1442547 h 4219660"/>
                  <a:gd name="connsiteX12" fmla="*/ 406100 w 2448222"/>
                  <a:gd name="connsiteY12" fmla="*/ 1507030 h 4219660"/>
                  <a:gd name="connsiteX13" fmla="*/ 409165 w 2448222"/>
                  <a:gd name="connsiteY13" fmla="*/ 2822421 h 4219660"/>
                  <a:gd name="connsiteX14" fmla="*/ 407598 w 2448222"/>
                  <a:gd name="connsiteY14" fmla="*/ 2815829 h 4219660"/>
                  <a:gd name="connsiteX15" fmla="*/ 407517 w 2448222"/>
                  <a:gd name="connsiteY15" fmla="*/ 2828637 h 4219660"/>
                  <a:gd name="connsiteX16" fmla="*/ 464772 w 2448222"/>
                  <a:gd name="connsiteY16" fmla="*/ 2927807 h 4219660"/>
                  <a:gd name="connsiteX17" fmla="*/ 1965744 w 2448222"/>
                  <a:gd name="connsiteY17" fmla="*/ 3799725 h 4219660"/>
                  <a:gd name="connsiteX18" fmla="*/ 1966088 w 2448222"/>
                  <a:gd name="connsiteY18" fmla="*/ 3800117 h 4219660"/>
                  <a:gd name="connsiteX19" fmla="*/ 1988129 w 2448222"/>
                  <a:gd name="connsiteY19" fmla="*/ 3793930 h 4219660"/>
                  <a:gd name="connsiteX20" fmla="*/ 2034209 w 2448222"/>
                  <a:gd name="connsiteY20" fmla="*/ 3733376 h 4219660"/>
                  <a:gd name="connsiteX21" fmla="*/ 2036053 w 2448222"/>
                  <a:gd name="connsiteY21" fmla="*/ 3040350 h 4219660"/>
                  <a:gd name="connsiteX22" fmla="*/ 2448222 w 2448222"/>
                  <a:gd name="connsiteY22" fmla="*/ 0 h 4219660"/>
                  <a:gd name="connsiteX23" fmla="*/ 2442619 w 2448222"/>
                  <a:gd name="connsiteY23" fmla="*/ 792688 h 4219660"/>
                  <a:gd name="connsiteX24" fmla="*/ 2444476 w 2448222"/>
                  <a:gd name="connsiteY24" fmla="*/ 796206 h 4219660"/>
                  <a:gd name="connsiteX25" fmla="*/ 2443809 w 2448222"/>
                  <a:gd name="connsiteY25" fmla="*/ 1972406 h 4219660"/>
                  <a:gd name="connsiteX26" fmla="*/ 2441669 w 2448222"/>
                  <a:gd name="connsiteY26" fmla="*/ 3737193 h 4219660"/>
                  <a:gd name="connsiteX27" fmla="*/ 2374871 w 2448222"/>
                  <a:gd name="connsiteY27" fmla="*/ 3996173 h 4219660"/>
                  <a:gd name="connsiteX28" fmla="*/ 2230903 w 2448222"/>
                  <a:gd name="connsiteY28" fmla="*/ 4150613 h 4219660"/>
                  <a:gd name="connsiteX29" fmla="*/ 2020267 w 2448222"/>
                  <a:gd name="connsiteY29" fmla="*/ 4219124 h 4219660"/>
                  <a:gd name="connsiteX30" fmla="*/ 1970713 w 2448222"/>
                  <a:gd name="connsiteY30" fmla="*/ 4219624 h 4219660"/>
                  <a:gd name="connsiteX0" fmla="*/ 1970713 w 2444505"/>
                  <a:gd name="connsiteY0" fmla="*/ 3426936 h 3426972"/>
                  <a:gd name="connsiteX1" fmla="*/ 1859089 w 2444505"/>
                  <a:gd name="connsiteY1" fmla="*/ 3399136 h 3426972"/>
                  <a:gd name="connsiteX2" fmla="*/ 1799088 w 2444505"/>
                  <a:gd name="connsiteY2" fmla="*/ 3369284 h 3426972"/>
                  <a:gd name="connsiteX3" fmla="*/ 257741 w 2444505"/>
                  <a:gd name="connsiteY3" fmla="*/ 2486086 h 3426972"/>
                  <a:gd name="connsiteX4" fmla="*/ 66855 w 2444505"/>
                  <a:gd name="connsiteY4" fmla="*/ 2298746 h 3426972"/>
                  <a:gd name="connsiteX5" fmla="*/ 5085 w 2444505"/>
                  <a:gd name="connsiteY5" fmla="*/ 2096843 h 3426972"/>
                  <a:gd name="connsiteX6" fmla="*/ 117 w 2444505"/>
                  <a:gd name="connsiteY6" fmla="*/ 2040453 h 3426972"/>
                  <a:gd name="connsiteX7" fmla="*/ 0 w 2444505"/>
                  <a:gd name="connsiteY7" fmla="*/ 2039791 h 3426972"/>
                  <a:gd name="connsiteX8" fmla="*/ 5920 w 2444505"/>
                  <a:gd name="connsiteY8" fmla="*/ 655310 h 3426972"/>
                  <a:gd name="connsiteX9" fmla="*/ 9056 w 2444505"/>
                  <a:gd name="connsiteY9" fmla="*/ 626450 h 3426972"/>
                  <a:gd name="connsiteX10" fmla="*/ 206180 w 2444505"/>
                  <a:gd name="connsiteY10" fmla="*/ 533706 h 3426972"/>
                  <a:gd name="connsiteX11" fmla="*/ 407391 w 2444505"/>
                  <a:gd name="connsiteY11" fmla="*/ 649859 h 3426972"/>
                  <a:gd name="connsiteX12" fmla="*/ 406100 w 2444505"/>
                  <a:gd name="connsiteY12" fmla="*/ 714342 h 3426972"/>
                  <a:gd name="connsiteX13" fmla="*/ 409165 w 2444505"/>
                  <a:gd name="connsiteY13" fmla="*/ 2029733 h 3426972"/>
                  <a:gd name="connsiteX14" fmla="*/ 407598 w 2444505"/>
                  <a:gd name="connsiteY14" fmla="*/ 2023141 h 3426972"/>
                  <a:gd name="connsiteX15" fmla="*/ 407517 w 2444505"/>
                  <a:gd name="connsiteY15" fmla="*/ 2035949 h 3426972"/>
                  <a:gd name="connsiteX16" fmla="*/ 464772 w 2444505"/>
                  <a:gd name="connsiteY16" fmla="*/ 2135119 h 3426972"/>
                  <a:gd name="connsiteX17" fmla="*/ 1965744 w 2444505"/>
                  <a:gd name="connsiteY17" fmla="*/ 3007037 h 3426972"/>
                  <a:gd name="connsiteX18" fmla="*/ 1966088 w 2444505"/>
                  <a:gd name="connsiteY18" fmla="*/ 3007429 h 3426972"/>
                  <a:gd name="connsiteX19" fmla="*/ 1988129 w 2444505"/>
                  <a:gd name="connsiteY19" fmla="*/ 3001242 h 3426972"/>
                  <a:gd name="connsiteX20" fmla="*/ 2034209 w 2444505"/>
                  <a:gd name="connsiteY20" fmla="*/ 2940688 h 3426972"/>
                  <a:gd name="connsiteX21" fmla="*/ 2036053 w 2444505"/>
                  <a:gd name="connsiteY21" fmla="*/ 2247662 h 3426972"/>
                  <a:gd name="connsiteX22" fmla="*/ 2442619 w 2444505"/>
                  <a:gd name="connsiteY22" fmla="*/ 0 h 3426972"/>
                  <a:gd name="connsiteX23" fmla="*/ 2444476 w 2444505"/>
                  <a:gd name="connsiteY23" fmla="*/ 3518 h 3426972"/>
                  <a:gd name="connsiteX24" fmla="*/ 2443809 w 2444505"/>
                  <a:gd name="connsiteY24" fmla="*/ 1179718 h 3426972"/>
                  <a:gd name="connsiteX25" fmla="*/ 2441669 w 2444505"/>
                  <a:gd name="connsiteY25" fmla="*/ 2944505 h 3426972"/>
                  <a:gd name="connsiteX26" fmla="*/ 2374871 w 2444505"/>
                  <a:gd name="connsiteY26" fmla="*/ 3203485 h 3426972"/>
                  <a:gd name="connsiteX27" fmla="*/ 2230903 w 2444505"/>
                  <a:gd name="connsiteY27" fmla="*/ 3357925 h 3426972"/>
                  <a:gd name="connsiteX28" fmla="*/ 2020267 w 2444505"/>
                  <a:gd name="connsiteY28" fmla="*/ 3426436 h 3426972"/>
                  <a:gd name="connsiteX29" fmla="*/ 1970713 w 2444505"/>
                  <a:gd name="connsiteY29" fmla="*/ 3426936 h 3426972"/>
                  <a:gd name="connsiteX0" fmla="*/ 1970713 w 2443809"/>
                  <a:gd name="connsiteY0" fmla="*/ 3426936 h 3426972"/>
                  <a:gd name="connsiteX1" fmla="*/ 1859089 w 2443809"/>
                  <a:gd name="connsiteY1" fmla="*/ 3399136 h 3426972"/>
                  <a:gd name="connsiteX2" fmla="*/ 1799088 w 2443809"/>
                  <a:gd name="connsiteY2" fmla="*/ 3369284 h 3426972"/>
                  <a:gd name="connsiteX3" fmla="*/ 257741 w 2443809"/>
                  <a:gd name="connsiteY3" fmla="*/ 2486086 h 3426972"/>
                  <a:gd name="connsiteX4" fmla="*/ 66855 w 2443809"/>
                  <a:gd name="connsiteY4" fmla="*/ 2298746 h 3426972"/>
                  <a:gd name="connsiteX5" fmla="*/ 5085 w 2443809"/>
                  <a:gd name="connsiteY5" fmla="*/ 2096843 h 3426972"/>
                  <a:gd name="connsiteX6" fmla="*/ 117 w 2443809"/>
                  <a:gd name="connsiteY6" fmla="*/ 2040453 h 3426972"/>
                  <a:gd name="connsiteX7" fmla="*/ 0 w 2443809"/>
                  <a:gd name="connsiteY7" fmla="*/ 2039791 h 3426972"/>
                  <a:gd name="connsiteX8" fmla="*/ 5920 w 2443809"/>
                  <a:gd name="connsiteY8" fmla="*/ 655310 h 3426972"/>
                  <a:gd name="connsiteX9" fmla="*/ 9056 w 2443809"/>
                  <a:gd name="connsiteY9" fmla="*/ 626450 h 3426972"/>
                  <a:gd name="connsiteX10" fmla="*/ 206180 w 2443809"/>
                  <a:gd name="connsiteY10" fmla="*/ 533706 h 3426972"/>
                  <a:gd name="connsiteX11" fmla="*/ 407391 w 2443809"/>
                  <a:gd name="connsiteY11" fmla="*/ 649859 h 3426972"/>
                  <a:gd name="connsiteX12" fmla="*/ 406100 w 2443809"/>
                  <a:gd name="connsiteY12" fmla="*/ 714342 h 3426972"/>
                  <a:gd name="connsiteX13" fmla="*/ 409165 w 2443809"/>
                  <a:gd name="connsiteY13" fmla="*/ 2029733 h 3426972"/>
                  <a:gd name="connsiteX14" fmla="*/ 407598 w 2443809"/>
                  <a:gd name="connsiteY14" fmla="*/ 2023141 h 3426972"/>
                  <a:gd name="connsiteX15" fmla="*/ 407517 w 2443809"/>
                  <a:gd name="connsiteY15" fmla="*/ 2035949 h 3426972"/>
                  <a:gd name="connsiteX16" fmla="*/ 464772 w 2443809"/>
                  <a:gd name="connsiteY16" fmla="*/ 2135119 h 3426972"/>
                  <a:gd name="connsiteX17" fmla="*/ 1965744 w 2443809"/>
                  <a:gd name="connsiteY17" fmla="*/ 3007037 h 3426972"/>
                  <a:gd name="connsiteX18" fmla="*/ 1966088 w 2443809"/>
                  <a:gd name="connsiteY18" fmla="*/ 3007429 h 3426972"/>
                  <a:gd name="connsiteX19" fmla="*/ 1988129 w 2443809"/>
                  <a:gd name="connsiteY19" fmla="*/ 3001242 h 3426972"/>
                  <a:gd name="connsiteX20" fmla="*/ 2034209 w 2443809"/>
                  <a:gd name="connsiteY20" fmla="*/ 2940688 h 3426972"/>
                  <a:gd name="connsiteX21" fmla="*/ 2036053 w 2443809"/>
                  <a:gd name="connsiteY21" fmla="*/ 2247662 h 3426972"/>
                  <a:gd name="connsiteX22" fmla="*/ 2442619 w 2443809"/>
                  <a:gd name="connsiteY22" fmla="*/ 0 h 3426972"/>
                  <a:gd name="connsiteX23" fmla="*/ 2443809 w 2443809"/>
                  <a:gd name="connsiteY23" fmla="*/ 1179718 h 3426972"/>
                  <a:gd name="connsiteX24" fmla="*/ 2441669 w 2443809"/>
                  <a:gd name="connsiteY24" fmla="*/ 2944505 h 3426972"/>
                  <a:gd name="connsiteX25" fmla="*/ 2374871 w 2443809"/>
                  <a:gd name="connsiteY25" fmla="*/ 3203485 h 3426972"/>
                  <a:gd name="connsiteX26" fmla="*/ 2230903 w 2443809"/>
                  <a:gd name="connsiteY26" fmla="*/ 3357925 h 3426972"/>
                  <a:gd name="connsiteX27" fmla="*/ 2020267 w 2443809"/>
                  <a:gd name="connsiteY27" fmla="*/ 3426436 h 3426972"/>
                  <a:gd name="connsiteX28" fmla="*/ 1970713 w 2443809"/>
                  <a:gd name="connsiteY28" fmla="*/ 3426936 h 3426972"/>
                  <a:gd name="connsiteX0" fmla="*/ 1970713 w 2475053"/>
                  <a:gd name="connsiteY0" fmla="*/ 3426936 h 3426972"/>
                  <a:gd name="connsiteX1" fmla="*/ 1859089 w 2475053"/>
                  <a:gd name="connsiteY1" fmla="*/ 3399136 h 3426972"/>
                  <a:gd name="connsiteX2" fmla="*/ 1799088 w 2475053"/>
                  <a:gd name="connsiteY2" fmla="*/ 3369284 h 3426972"/>
                  <a:gd name="connsiteX3" fmla="*/ 257741 w 2475053"/>
                  <a:gd name="connsiteY3" fmla="*/ 2486086 h 3426972"/>
                  <a:gd name="connsiteX4" fmla="*/ 66855 w 2475053"/>
                  <a:gd name="connsiteY4" fmla="*/ 2298746 h 3426972"/>
                  <a:gd name="connsiteX5" fmla="*/ 5085 w 2475053"/>
                  <a:gd name="connsiteY5" fmla="*/ 2096843 h 3426972"/>
                  <a:gd name="connsiteX6" fmla="*/ 117 w 2475053"/>
                  <a:gd name="connsiteY6" fmla="*/ 2040453 h 3426972"/>
                  <a:gd name="connsiteX7" fmla="*/ 0 w 2475053"/>
                  <a:gd name="connsiteY7" fmla="*/ 2039791 h 3426972"/>
                  <a:gd name="connsiteX8" fmla="*/ 5920 w 2475053"/>
                  <a:gd name="connsiteY8" fmla="*/ 655310 h 3426972"/>
                  <a:gd name="connsiteX9" fmla="*/ 9056 w 2475053"/>
                  <a:gd name="connsiteY9" fmla="*/ 626450 h 3426972"/>
                  <a:gd name="connsiteX10" fmla="*/ 206180 w 2475053"/>
                  <a:gd name="connsiteY10" fmla="*/ 533706 h 3426972"/>
                  <a:gd name="connsiteX11" fmla="*/ 407391 w 2475053"/>
                  <a:gd name="connsiteY11" fmla="*/ 649859 h 3426972"/>
                  <a:gd name="connsiteX12" fmla="*/ 406100 w 2475053"/>
                  <a:gd name="connsiteY12" fmla="*/ 714342 h 3426972"/>
                  <a:gd name="connsiteX13" fmla="*/ 409165 w 2475053"/>
                  <a:gd name="connsiteY13" fmla="*/ 2029733 h 3426972"/>
                  <a:gd name="connsiteX14" fmla="*/ 407598 w 2475053"/>
                  <a:gd name="connsiteY14" fmla="*/ 2023141 h 3426972"/>
                  <a:gd name="connsiteX15" fmla="*/ 407517 w 2475053"/>
                  <a:gd name="connsiteY15" fmla="*/ 2035949 h 3426972"/>
                  <a:gd name="connsiteX16" fmla="*/ 464772 w 2475053"/>
                  <a:gd name="connsiteY16" fmla="*/ 2135119 h 3426972"/>
                  <a:gd name="connsiteX17" fmla="*/ 1965744 w 2475053"/>
                  <a:gd name="connsiteY17" fmla="*/ 3007037 h 3426972"/>
                  <a:gd name="connsiteX18" fmla="*/ 1966088 w 2475053"/>
                  <a:gd name="connsiteY18" fmla="*/ 3007429 h 3426972"/>
                  <a:gd name="connsiteX19" fmla="*/ 1988129 w 2475053"/>
                  <a:gd name="connsiteY19" fmla="*/ 3001242 h 3426972"/>
                  <a:gd name="connsiteX20" fmla="*/ 2034209 w 2475053"/>
                  <a:gd name="connsiteY20" fmla="*/ 2940688 h 3426972"/>
                  <a:gd name="connsiteX21" fmla="*/ 2036053 w 2475053"/>
                  <a:gd name="connsiteY21" fmla="*/ 2247662 h 3426972"/>
                  <a:gd name="connsiteX22" fmla="*/ 2442619 w 2475053"/>
                  <a:gd name="connsiteY22" fmla="*/ 0 h 3426972"/>
                  <a:gd name="connsiteX23" fmla="*/ 2441669 w 2475053"/>
                  <a:gd name="connsiteY23" fmla="*/ 2944505 h 3426972"/>
                  <a:gd name="connsiteX24" fmla="*/ 2374871 w 2475053"/>
                  <a:gd name="connsiteY24" fmla="*/ 3203485 h 3426972"/>
                  <a:gd name="connsiteX25" fmla="*/ 2230903 w 2475053"/>
                  <a:gd name="connsiteY25" fmla="*/ 3357925 h 3426972"/>
                  <a:gd name="connsiteX26" fmla="*/ 2020267 w 2475053"/>
                  <a:gd name="connsiteY26" fmla="*/ 3426436 h 3426972"/>
                  <a:gd name="connsiteX27" fmla="*/ 1970713 w 2475053"/>
                  <a:gd name="connsiteY27" fmla="*/ 3426936 h 3426972"/>
                  <a:gd name="connsiteX0" fmla="*/ 1970713 w 2441669"/>
                  <a:gd name="connsiteY0" fmla="*/ 2893230 h 2893266"/>
                  <a:gd name="connsiteX1" fmla="*/ 1859089 w 2441669"/>
                  <a:gd name="connsiteY1" fmla="*/ 2865430 h 2893266"/>
                  <a:gd name="connsiteX2" fmla="*/ 1799088 w 2441669"/>
                  <a:gd name="connsiteY2" fmla="*/ 2835578 h 2893266"/>
                  <a:gd name="connsiteX3" fmla="*/ 257741 w 2441669"/>
                  <a:gd name="connsiteY3" fmla="*/ 1952380 h 2893266"/>
                  <a:gd name="connsiteX4" fmla="*/ 66855 w 2441669"/>
                  <a:gd name="connsiteY4" fmla="*/ 1765040 h 2893266"/>
                  <a:gd name="connsiteX5" fmla="*/ 5085 w 2441669"/>
                  <a:gd name="connsiteY5" fmla="*/ 1563137 h 2893266"/>
                  <a:gd name="connsiteX6" fmla="*/ 117 w 2441669"/>
                  <a:gd name="connsiteY6" fmla="*/ 1506747 h 2893266"/>
                  <a:gd name="connsiteX7" fmla="*/ 0 w 2441669"/>
                  <a:gd name="connsiteY7" fmla="*/ 1506085 h 2893266"/>
                  <a:gd name="connsiteX8" fmla="*/ 5920 w 2441669"/>
                  <a:gd name="connsiteY8" fmla="*/ 121604 h 2893266"/>
                  <a:gd name="connsiteX9" fmla="*/ 9056 w 2441669"/>
                  <a:gd name="connsiteY9" fmla="*/ 92744 h 2893266"/>
                  <a:gd name="connsiteX10" fmla="*/ 206180 w 2441669"/>
                  <a:gd name="connsiteY10" fmla="*/ 0 h 2893266"/>
                  <a:gd name="connsiteX11" fmla="*/ 407391 w 2441669"/>
                  <a:gd name="connsiteY11" fmla="*/ 116153 h 2893266"/>
                  <a:gd name="connsiteX12" fmla="*/ 406100 w 2441669"/>
                  <a:gd name="connsiteY12" fmla="*/ 180636 h 2893266"/>
                  <a:gd name="connsiteX13" fmla="*/ 409165 w 2441669"/>
                  <a:gd name="connsiteY13" fmla="*/ 1496027 h 2893266"/>
                  <a:gd name="connsiteX14" fmla="*/ 407598 w 2441669"/>
                  <a:gd name="connsiteY14" fmla="*/ 1489435 h 2893266"/>
                  <a:gd name="connsiteX15" fmla="*/ 407517 w 2441669"/>
                  <a:gd name="connsiteY15" fmla="*/ 1502243 h 2893266"/>
                  <a:gd name="connsiteX16" fmla="*/ 464772 w 2441669"/>
                  <a:gd name="connsiteY16" fmla="*/ 1601413 h 2893266"/>
                  <a:gd name="connsiteX17" fmla="*/ 1965744 w 2441669"/>
                  <a:gd name="connsiteY17" fmla="*/ 2473331 h 2893266"/>
                  <a:gd name="connsiteX18" fmla="*/ 1966088 w 2441669"/>
                  <a:gd name="connsiteY18" fmla="*/ 2473723 h 2893266"/>
                  <a:gd name="connsiteX19" fmla="*/ 1988129 w 2441669"/>
                  <a:gd name="connsiteY19" fmla="*/ 2467536 h 2893266"/>
                  <a:gd name="connsiteX20" fmla="*/ 2034209 w 2441669"/>
                  <a:gd name="connsiteY20" fmla="*/ 2406982 h 2893266"/>
                  <a:gd name="connsiteX21" fmla="*/ 2036053 w 2441669"/>
                  <a:gd name="connsiteY21" fmla="*/ 1713956 h 2893266"/>
                  <a:gd name="connsiteX22" fmla="*/ 2441669 w 2441669"/>
                  <a:gd name="connsiteY22" fmla="*/ 2410799 h 2893266"/>
                  <a:gd name="connsiteX23" fmla="*/ 2374871 w 2441669"/>
                  <a:gd name="connsiteY23" fmla="*/ 2669779 h 2893266"/>
                  <a:gd name="connsiteX24" fmla="*/ 2230903 w 2441669"/>
                  <a:gd name="connsiteY24" fmla="*/ 2824219 h 2893266"/>
                  <a:gd name="connsiteX25" fmla="*/ 2020267 w 2441669"/>
                  <a:gd name="connsiteY25" fmla="*/ 2892730 h 2893266"/>
                  <a:gd name="connsiteX26" fmla="*/ 1970713 w 2441669"/>
                  <a:gd name="connsiteY26" fmla="*/ 2893230 h 2893266"/>
                  <a:gd name="connsiteX0" fmla="*/ 1970713 w 2441669"/>
                  <a:gd name="connsiteY0" fmla="*/ 2893230 h 2893266"/>
                  <a:gd name="connsiteX1" fmla="*/ 1859089 w 2441669"/>
                  <a:gd name="connsiteY1" fmla="*/ 2865430 h 2893266"/>
                  <a:gd name="connsiteX2" fmla="*/ 1799088 w 2441669"/>
                  <a:gd name="connsiteY2" fmla="*/ 2835578 h 2893266"/>
                  <a:gd name="connsiteX3" fmla="*/ 257741 w 2441669"/>
                  <a:gd name="connsiteY3" fmla="*/ 1952380 h 2893266"/>
                  <a:gd name="connsiteX4" fmla="*/ 66855 w 2441669"/>
                  <a:gd name="connsiteY4" fmla="*/ 1765040 h 2893266"/>
                  <a:gd name="connsiteX5" fmla="*/ 5085 w 2441669"/>
                  <a:gd name="connsiteY5" fmla="*/ 1563137 h 2893266"/>
                  <a:gd name="connsiteX6" fmla="*/ 117 w 2441669"/>
                  <a:gd name="connsiteY6" fmla="*/ 1506747 h 2893266"/>
                  <a:gd name="connsiteX7" fmla="*/ 0 w 2441669"/>
                  <a:gd name="connsiteY7" fmla="*/ 1506085 h 2893266"/>
                  <a:gd name="connsiteX8" fmla="*/ 5920 w 2441669"/>
                  <a:gd name="connsiteY8" fmla="*/ 121604 h 2893266"/>
                  <a:gd name="connsiteX9" fmla="*/ 9056 w 2441669"/>
                  <a:gd name="connsiteY9" fmla="*/ 92744 h 2893266"/>
                  <a:gd name="connsiteX10" fmla="*/ 206180 w 2441669"/>
                  <a:gd name="connsiteY10" fmla="*/ 0 h 2893266"/>
                  <a:gd name="connsiteX11" fmla="*/ 407391 w 2441669"/>
                  <a:gd name="connsiteY11" fmla="*/ 116153 h 2893266"/>
                  <a:gd name="connsiteX12" fmla="*/ 406100 w 2441669"/>
                  <a:gd name="connsiteY12" fmla="*/ 180636 h 2893266"/>
                  <a:gd name="connsiteX13" fmla="*/ 409165 w 2441669"/>
                  <a:gd name="connsiteY13" fmla="*/ 1496027 h 2893266"/>
                  <a:gd name="connsiteX14" fmla="*/ 407598 w 2441669"/>
                  <a:gd name="connsiteY14" fmla="*/ 1489435 h 2893266"/>
                  <a:gd name="connsiteX15" fmla="*/ 407517 w 2441669"/>
                  <a:gd name="connsiteY15" fmla="*/ 1502243 h 2893266"/>
                  <a:gd name="connsiteX16" fmla="*/ 464772 w 2441669"/>
                  <a:gd name="connsiteY16" fmla="*/ 1601413 h 2893266"/>
                  <a:gd name="connsiteX17" fmla="*/ 1965744 w 2441669"/>
                  <a:gd name="connsiteY17" fmla="*/ 2473331 h 2893266"/>
                  <a:gd name="connsiteX18" fmla="*/ 1966088 w 2441669"/>
                  <a:gd name="connsiteY18" fmla="*/ 2473723 h 2893266"/>
                  <a:gd name="connsiteX19" fmla="*/ 1988129 w 2441669"/>
                  <a:gd name="connsiteY19" fmla="*/ 2467536 h 2893266"/>
                  <a:gd name="connsiteX20" fmla="*/ 2034209 w 2441669"/>
                  <a:gd name="connsiteY20" fmla="*/ 2406982 h 2893266"/>
                  <a:gd name="connsiteX21" fmla="*/ 2441669 w 2441669"/>
                  <a:gd name="connsiteY21" fmla="*/ 2410799 h 2893266"/>
                  <a:gd name="connsiteX22" fmla="*/ 2374871 w 2441669"/>
                  <a:gd name="connsiteY22" fmla="*/ 2669779 h 2893266"/>
                  <a:gd name="connsiteX23" fmla="*/ 2230903 w 2441669"/>
                  <a:gd name="connsiteY23" fmla="*/ 2824219 h 2893266"/>
                  <a:gd name="connsiteX24" fmla="*/ 2020267 w 2441669"/>
                  <a:gd name="connsiteY24" fmla="*/ 2892730 h 2893266"/>
                  <a:gd name="connsiteX25" fmla="*/ 1970713 w 2441669"/>
                  <a:gd name="connsiteY25" fmla="*/ 2893230 h 2893266"/>
                  <a:gd name="connsiteX0" fmla="*/ 1970713 w 2380032"/>
                  <a:gd name="connsiteY0" fmla="*/ 2893230 h 2893266"/>
                  <a:gd name="connsiteX1" fmla="*/ 1859089 w 2380032"/>
                  <a:gd name="connsiteY1" fmla="*/ 2865430 h 2893266"/>
                  <a:gd name="connsiteX2" fmla="*/ 1799088 w 2380032"/>
                  <a:gd name="connsiteY2" fmla="*/ 2835578 h 2893266"/>
                  <a:gd name="connsiteX3" fmla="*/ 257741 w 2380032"/>
                  <a:gd name="connsiteY3" fmla="*/ 1952380 h 2893266"/>
                  <a:gd name="connsiteX4" fmla="*/ 66855 w 2380032"/>
                  <a:gd name="connsiteY4" fmla="*/ 1765040 h 2893266"/>
                  <a:gd name="connsiteX5" fmla="*/ 5085 w 2380032"/>
                  <a:gd name="connsiteY5" fmla="*/ 1563137 h 2893266"/>
                  <a:gd name="connsiteX6" fmla="*/ 117 w 2380032"/>
                  <a:gd name="connsiteY6" fmla="*/ 1506747 h 2893266"/>
                  <a:gd name="connsiteX7" fmla="*/ 0 w 2380032"/>
                  <a:gd name="connsiteY7" fmla="*/ 1506085 h 2893266"/>
                  <a:gd name="connsiteX8" fmla="*/ 5920 w 2380032"/>
                  <a:gd name="connsiteY8" fmla="*/ 121604 h 2893266"/>
                  <a:gd name="connsiteX9" fmla="*/ 9056 w 2380032"/>
                  <a:gd name="connsiteY9" fmla="*/ 92744 h 2893266"/>
                  <a:gd name="connsiteX10" fmla="*/ 206180 w 2380032"/>
                  <a:gd name="connsiteY10" fmla="*/ 0 h 2893266"/>
                  <a:gd name="connsiteX11" fmla="*/ 407391 w 2380032"/>
                  <a:gd name="connsiteY11" fmla="*/ 116153 h 2893266"/>
                  <a:gd name="connsiteX12" fmla="*/ 406100 w 2380032"/>
                  <a:gd name="connsiteY12" fmla="*/ 180636 h 2893266"/>
                  <a:gd name="connsiteX13" fmla="*/ 409165 w 2380032"/>
                  <a:gd name="connsiteY13" fmla="*/ 1496027 h 2893266"/>
                  <a:gd name="connsiteX14" fmla="*/ 407598 w 2380032"/>
                  <a:gd name="connsiteY14" fmla="*/ 1489435 h 2893266"/>
                  <a:gd name="connsiteX15" fmla="*/ 407517 w 2380032"/>
                  <a:gd name="connsiteY15" fmla="*/ 1502243 h 2893266"/>
                  <a:gd name="connsiteX16" fmla="*/ 464772 w 2380032"/>
                  <a:gd name="connsiteY16" fmla="*/ 1601413 h 2893266"/>
                  <a:gd name="connsiteX17" fmla="*/ 1965744 w 2380032"/>
                  <a:gd name="connsiteY17" fmla="*/ 2473331 h 2893266"/>
                  <a:gd name="connsiteX18" fmla="*/ 1966088 w 2380032"/>
                  <a:gd name="connsiteY18" fmla="*/ 2473723 h 2893266"/>
                  <a:gd name="connsiteX19" fmla="*/ 1988129 w 2380032"/>
                  <a:gd name="connsiteY19" fmla="*/ 2467536 h 2893266"/>
                  <a:gd name="connsiteX20" fmla="*/ 2034209 w 2380032"/>
                  <a:gd name="connsiteY20" fmla="*/ 2406982 h 2893266"/>
                  <a:gd name="connsiteX21" fmla="*/ 2374871 w 2380032"/>
                  <a:gd name="connsiteY21" fmla="*/ 2669779 h 2893266"/>
                  <a:gd name="connsiteX22" fmla="*/ 2230903 w 2380032"/>
                  <a:gd name="connsiteY22" fmla="*/ 2824219 h 2893266"/>
                  <a:gd name="connsiteX23" fmla="*/ 2020267 w 2380032"/>
                  <a:gd name="connsiteY23" fmla="*/ 2892730 h 2893266"/>
                  <a:gd name="connsiteX24" fmla="*/ 1970713 w 2380032"/>
                  <a:gd name="connsiteY24"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1965744 w 2382123"/>
                  <a:gd name="connsiteY17" fmla="*/ 2473331 h 2893266"/>
                  <a:gd name="connsiteX18" fmla="*/ 1966088 w 2382123"/>
                  <a:gd name="connsiteY18" fmla="*/ 2473723 h 2893266"/>
                  <a:gd name="connsiteX19" fmla="*/ 1988129 w 2382123"/>
                  <a:gd name="connsiteY19" fmla="*/ 2467536 h 2893266"/>
                  <a:gd name="connsiteX20" fmla="*/ 2374871 w 2382123"/>
                  <a:gd name="connsiteY20" fmla="*/ 2669779 h 2893266"/>
                  <a:gd name="connsiteX21" fmla="*/ 2230903 w 2382123"/>
                  <a:gd name="connsiteY21" fmla="*/ 2824219 h 2893266"/>
                  <a:gd name="connsiteX22" fmla="*/ 2020267 w 2382123"/>
                  <a:gd name="connsiteY22" fmla="*/ 2892730 h 2893266"/>
                  <a:gd name="connsiteX23" fmla="*/ 1970713 w 2382123"/>
                  <a:gd name="connsiteY23" fmla="*/ 2893230 h 2893266"/>
                  <a:gd name="connsiteX0" fmla="*/ 1970713 w 2230903"/>
                  <a:gd name="connsiteY0" fmla="*/ 2893230 h 2893266"/>
                  <a:gd name="connsiteX1" fmla="*/ 1859089 w 2230903"/>
                  <a:gd name="connsiteY1" fmla="*/ 2865430 h 2893266"/>
                  <a:gd name="connsiteX2" fmla="*/ 1799088 w 2230903"/>
                  <a:gd name="connsiteY2" fmla="*/ 2835578 h 2893266"/>
                  <a:gd name="connsiteX3" fmla="*/ 257741 w 2230903"/>
                  <a:gd name="connsiteY3" fmla="*/ 1952380 h 2893266"/>
                  <a:gd name="connsiteX4" fmla="*/ 66855 w 2230903"/>
                  <a:gd name="connsiteY4" fmla="*/ 1765040 h 2893266"/>
                  <a:gd name="connsiteX5" fmla="*/ 5085 w 2230903"/>
                  <a:gd name="connsiteY5" fmla="*/ 1563137 h 2893266"/>
                  <a:gd name="connsiteX6" fmla="*/ 117 w 2230903"/>
                  <a:gd name="connsiteY6" fmla="*/ 1506747 h 2893266"/>
                  <a:gd name="connsiteX7" fmla="*/ 0 w 2230903"/>
                  <a:gd name="connsiteY7" fmla="*/ 1506085 h 2893266"/>
                  <a:gd name="connsiteX8" fmla="*/ 5920 w 2230903"/>
                  <a:gd name="connsiteY8" fmla="*/ 121604 h 2893266"/>
                  <a:gd name="connsiteX9" fmla="*/ 9056 w 2230903"/>
                  <a:gd name="connsiteY9" fmla="*/ 92744 h 2893266"/>
                  <a:gd name="connsiteX10" fmla="*/ 206180 w 2230903"/>
                  <a:gd name="connsiteY10" fmla="*/ 0 h 2893266"/>
                  <a:gd name="connsiteX11" fmla="*/ 407391 w 2230903"/>
                  <a:gd name="connsiteY11" fmla="*/ 116153 h 2893266"/>
                  <a:gd name="connsiteX12" fmla="*/ 406100 w 2230903"/>
                  <a:gd name="connsiteY12" fmla="*/ 180636 h 2893266"/>
                  <a:gd name="connsiteX13" fmla="*/ 409165 w 2230903"/>
                  <a:gd name="connsiteY13" fmla="*/ 1496027 h 2893266"/>
                  <a:gd name="connsiteX14" fmla="*/ 407598 w 2230903"/>
                  <a:gd name="connsiteY14" fmla="*/ 1489435 h 2893266"/>
                  <a:gd name="connsiteX15" fmla="*/ 407517 w 2230903"/>
                  <a:gd name="connsiteY15" fmla="*/ 1502243 h 2893266"/>
                  <a:gd name="connsiteX16" fmla="*/ 464772 w 2230903"/>
                  <a:gd name="connsiteY16" fmla="*/ 1601413 h 2893266"/>
                  <a:gd name="connsiteX17" fmla="*/ 1965744 w 2230903"/>
                  <a:gd name="connsiteY17" fmla="*/ 2473331 h 2893266"/>
                  <a:gd name="connsiteX18" fmla="*/ 1966088 w 2230903"/>
                  <a:gd name="connsiteY18" fmla="*/ 2473723 h 2893266"/>
                  <a:gd name="connsiteX19" fmla="*/ 1988129 w 2230903"/>
                  <a:gd name="connsiteY19" fmla="*/ 2467536 h 2893266"/>
                  <a:gd name="connsiteX20" fmla="*/ 2230903 w 2230903"/>
                  <a:gd name="connsiteY20" fmla="*/ 2824219 h 2893266"/>
                  <a:gd name="connsiteX21" fmla="*/ 2020267 w 2230903"/>
                  <a:gd name="connsiteY21" fmla="*/ 2892730 h 2893266"/>
                  <a:gd name="connsiteX22" fmla="*/ 1970713 w 2230903"/>
                  <a:gd name="connsiteY22" fmla="*/ 2893230 h 2893266"/>
                  <a:gd name="connsiteX0" fmla="*/ 1970713 w 2020491"/>
                  <a:gd name="connsiteY0" fmla="*/ 2893230 h 2893266"/>
                  <a:gd name="connsiteX1" fmla="*/ 1859089 w 2020491"/>
                  <a:gd name="connsiteY1" fmla="*/ 2865430 h 2893266"/>
                  <a:gd name="connsiteX2" fmla="*/ 1799088 w 2020491"/>
                  <a:gd name="connsiteY2" fmla="*/ 2835578 h 2893266"/>
                  <a:gd name="connsiteX3" fmla="*/ 257741 w 2020491"/>
                  <a:gd name="connsiteY3" fmla="*/ 1952380 h 2893266"/>
                  <a:gd name="connsiteX4" fmla="*/ 66855 w 2020491"/>
                  <a:gd name="connsiteY4" fmla="*/ 1765040 h 2893266"/>
                  <a:gd name="connsiteX5" fmla="*/ 5085 w 2020491"/>
                  <a:gd name="connsiteY5" fmla="*/ 1563137 h 2893266"/>
                  <a:gd name="connsiteX6" fmla="*/ 117 w 2020491"/>
                  <a:gd name="connsiteY6" fmla="*/ 1506747 h 2893266"/>
                  <a:gd name="connsiteX7" fmla="*/ 0 w 2020491"/>
                  <a:gd name="connsiteY7" fmla="*/ 1506085 h 2893266"/>
                  <a:gd name="connsiteX8" fmla="*/ 5920 w 2020491"/>
                  <a:gd name="connsiteY8" fmla="*/ 121604 h 2893266"/>
                  <a:gd name="connsiteX9" fmla="*/ 9056 w 2020491"/>
                  <a:gd name="connsiteY9" fmla="*/ 92744 h 2893266"/>
                  <a:gd name="connsiteX10" fmla="*/ 206180 w 2020491"/>
                  <a:gd name="connsiteY10" fmla="*/ 0 h 2893266"/>
                  <a:gd name="connsiteX11" fmla="*/ 407391 w 2020491"/>
                  <a:gd name="connsiteY11" fmla="*/ 116153 h 2893266"/>
                  <a:gd name="connsiteX12" fmla="*/ 406100 w 2020491"/>
                  <a:gd name="connsiteY12" fmla="*/ 180636 h 2893266"/>
                  <a:gd name="connsiteX13" fmla="*/ 409165 w 2020491"/>
                  <a:gd name="connsiteY13" fmla="*/ 1496027 h 2893266"/>
                  <a:gd name="connsiteX14" fmla="*/ 407598 w 2020491"/>
                  <a:gd name="connsiteY14" fmla="*/ 1489435 h 2893266"/>
                  <a:gd name="connsiteX15" fmla="*/ 407517 w 2020491"/>
                  <a:gd name="connsiteY15" fmla="*/ 1502243 h 2893266"/>
                  <a:gd name="connsiteX16" fmla="*/ 464772 w 2020491"/>
                  <a:gd name="connsiteY16" fmla="*/ 1601413 h 2893266"/>
                  <a:gd name="connsiteX17" fmla="*/ 1965744 w 2020491"/>
                  <a:gd name="connsiteY17" fmla="*/ 2473331 h 2893266"/>
                  <a:gd name="connsiteX18" fmla="*/ 1966088 w 2020491"/>
                  <a:gd name="connsiteY18" fmla="*/ 2473723 h 2893266"/>
                  <a:gd name="connsiteX19" fmla="*/ 1988129 w 2020491"/>
                  <a:gd name="connsiteY19" fmla="*/ 2467536 h 2893266"/>
                  <a:gd name="connsiteX20" fmla="*/ 2020267 w 2020491"/>
                  <a:gd name="connsiteY20" fmla="*/ 2892730 h 2893266"/>
                  <a:gd name="connsiteX21" fmla="*/ 1970713 w 2020491"/>
                  <a:gd name="connsiteY21" fmla="*/ 2893230 h 2893266"/>
                  <a:gd name="connsiteX0" fmla="*/ 2020267 w 2020491"/>
                  <a:gd name="connsiteY0" fmla="*/ 2892730 h 2917998"/>
                  <a:gd name="connsiteX1" fmla="*/ 1859089 w 2020491"/>
                  <a:gd name="connsiteY1" fmla="*/ 2865430 h 2917998"/>
                  <a:gd name="connsiteX2" fmla="*/ 1799088 w 2020491"/>
                  <a:gd name="connsiteY2" fmla="*/ 2835578 h 2917998"/>
                  <a:gd name="connsiteX3" fmla="*/ 257741 w 2020491"/>
                  <a:gd name="connsiteY3" fmla="*/ 1952380 h 2917998"/>
                  <a:gd name="connsiteX4" fmla="*/ 66855 w 2020491"/>
                  <a:gd name="connsiteY4" fmla="*/ 1765040 h 2917998"/>
                  <a:gd name="connsiteX5" fmla="*/ 5085 w 2020491"/>
                  <a:gd name="connsiteY5" fmla="*/ 1563137 h 2917998"/>
                  <a:gd name="connsiteX6" fmla="*/ 117 w 2020491"/>
                  <a:gd name="connsiteY6" fmla="*/ 1506747 h 2917998"/>
                  <a:gd name="connsiteX7" fmla="*/ 0 w 2020491"/>
                  <a:gd name="connsiteY7" fmla="*/ 1506085 h 2917998"/>
                  <a:gd name="connsiteX8" fmla="*/ 5920 w 2020491"/>
                  <a:gd name="connsiteY8" fmla="*/ 121604 h 2917998"/>
                  <a:gd name="connsiteX9" fmla="*/ 9056 w 2020491"/>
                  <a:gd name="connsiteY9" fmla="*/ 92744 h 2917998"/>
                  <a:gd name="connsiteX10" fmla="*/ 206180 w 2020491"/>
                  <a:gd name="connsiteY10" fmla="*/ 0 h 2917998"/>
                  <a:gd name="connsiteX11" fmla="*/ 407391 w 2020491"/>
                  <a:gd name="connsiteY11" fmla="*/ 116153 h 2917998"/>
                  <a:gd name="connsiteX12" fmla="*/ 406100 w 2020491"/>
                  <a:gd name="connsiteY12" fmla="*/ 180636 h 2917998"/>
                  <a:gd name="connsiteX13" fmla="*/ 409165 w 2020491"/>
                  <a:gd name="connsiteY13" fmla="*/ 1496027 h 2917998"/>
                  <a:gd name="connsiteX14" fmla="*/ 407598 w 2020491"/>
                  <a:gd name="connsiteY14" fmla="*/ 1489435 h 2917998"/>
                  <a:gd name="connsiteX15" fmla="*/ 407517 w 2020491"/>
                  <a:gd name="connsiteY15" fmla="*/ 1502243 h 2917998"/>
                  <a:gd name="connsiteX16" fmla="*/ 464772 w 2020491"/>
                  <a:gd name="connsiteY16" fmla="*/ 1601413 h 2917998"/>
                  <a:gd name="connsiteX17" fmla="*/ 1965744 w 2020491"/>
                  <a:gd name="connsiteY17" fmla="*/ 2473331 h 2917998"/>
                  <a:gd name="connsiteX18" fmla="*/ 1966088 w 2020491"/>
                  <a:gd name="connsiteY18" fmla="*/ 2473723 h 2917998"/>
                  <a:gd name="connsiteX19" fmla="*/ 1988129 w 2020491"/>
                  <a:gd name="connsiteY19" fmla="*/ 2467536 h 2917998"/>
                  <a:gd name="connsiteX20" fmla="*/ 2020267 w 2020491"/>
                  <a:gd name="connsiteY20" fmla="*/ 2892730 h 2917998"/>
                  <a:gd name="connsiteX0" fmla="*/ 1988129 w 1988129"/>
                  <a:gd name="connsiteY0" fmla="*/ 2467536 h 2865430"/>
                  <a:gd name="connsiteX1" fmla="*/ 1859089 w 1988129"/>
                  <a:gd name="connsiteY1" fmla="*/ 2865430 h 2865430"/>
                  <a:gd name="connsiteX2" fmla="*/ 1799088 w 1988129"/>
                  <a:gd name="connsiteY2" fmla="*/ 2835578 h 2865430"/>
                  <a:gd name="connsiteX3" fmla="*/ 257741 w 1988129"/>
                  <a:gd name="connsiteY3" fmla="*/ 1952380 h 2865430"/>
                  <a:gd name="connsiteX4" fmla="*/ 66855 w 1988129"/>
                  <a:gd name="connsiteY4" fmla="*/ 1765040 h 2865430"/>
                  <a:gd name="connsiteX5" fmla="*/ 5085 w 1988129"/>
                  <a:gd name="connsiteY5" fmla="*/ 1563137 h 2865430"/>
                  <a:gd name="connsiteX6" fmla="*/ 117 w 1988129"/>
                  <a:gd name="connsiteY6" fmla="*/ 1506747 h 2865430"/>
                  <a:gd name="connsiteX7" fmla="*/ 0 w 1988129"/>
                  <a:gd name="connsiteY7" fmla="*/ 1506085 h 2865430"/>
                  <a:gd name="connsiteX8" fmla="*/ 5920 w 1988129"/>
                  <a:gd name="connsiteY8" fmla="*/ 121604 h 2865430"/>
                  <a:gd name="connsiteX9" fmla="*/ 9056 w 1988129"/>
                  <a:gd name="connsiteY9" fmla="*/ 92744 h 2865430"/>
                  <a:gd name="connsiteX10" fmla="*/ 206180 w 1988129"/>
                  <a:gd name="connsiteY10" fmla="*/ 0 h 2865430"/>
                  <a:gd name="connsiteX11" fmla="*/ 407391 w 1988129"/>
                  <a:gd name="connsiteY11" fmla="*/ 116153 h 2865430"/>
                  <a:gd name="connsiteX12" fmla="*/ 406100 w 1988129"/>
                  <a:gd name="connsiteY12" fmla="*/ 180636 h 2865430"/>
                  <a:gd name="connsiteX13" fmla="*/ 409165 w 1988129"/>
                  <a:gd name="connsiteY13" fmla="*/ 1496027 h 2865430"/>
                  <a:gd name="connsiteX14" fmla="*/ 407598 w 1988129"/>
                  <a:gd name="connsiteY14" fmla="*/ 1489435 h 2865430"/>
                  <a:gd name="connsiteX15" fmla="*/ 407517 w 1988129"/>
                  <a:gd name="connsiteY15" fmla="*/ 1502243 h 2865430"/>
                  <a:gd name="connsiteX16" fmla="*/ 464772 w 1988129"/>
                  <a:gd name="connsiteY16" fmla="*/ 1601413 h 2865430"/>
                  <a:gd name="connsiteX17" fmla="*/ 1965744 w 1988129"/>
                  <a:gd name="connsiteY17" fmla="*/ 2473331 h 2865430"/>
                  <a:gd name="connsiteX18" fmla="*/ 1966088 w 1988129"/>
                  <a:gd name="connsiteY18" fmla="*/ 2473723 h 2865430"/>
                  <a:gd name="connsiteX19" fmla="*/ 1988129 w 1988129"/>
                  <a:gd name="connsiteY19" fmla="*/ 2467536 h 2865430"/>
                  <a:gd name="connsiteX0" fmla="*/ 1988129 w 1992848"/>
                  <a:gd name="connsiteY0" fmla="*/ 2467536 h 2847771"/>
                  <a:gd name="connsiteX1" fmla="*/ 1799088 w 1992848"/>
                  <a:gd name="connsiteY1" fmla="*/ 2835578 h 2847771"/>
                  <a:gd name="connsiteX2" fmla="*/ 257741 w 1992848"/>
                  <a:gd name="connsiteY2" fmla="*/ 1952380 h 2847771"/>
                  <a:gd name="connsiteX3" fmla="*/ 66855 w 1992848"/>
                  <a:gd name="connsiteY3" fmla="*/ 1765040 h 2847771"/>
                  <a:gd name="connsiteX4" fmla="*/ 5085 w 1992848"/>
                  <a:gd name="connsiteY4" fmla="*/ 1563137 h 2847771"/>
                  <a:gd name="connsiteX5" fmla="*/ 117 w 1992848"/>
                  <a:gd name="connsiteY5" fmla="*/ 1506747 h 2847771"/>
                  <a:gd name="connsiteX6" fmla="*/ 0 w 1992848"/>
                  <a:gd name="connsiteY6" fmla="*/ 1506085 h 2847771"/>
                  <a:gd name="connsiteX7" fmla="*/ 5920 w 1992848"/>
                  <a:gd name="connsiteY7" fmla="*/ 121604 h 2847771"/>
                  <a:gd name="connsiteX8" fmla="*/ 9056 w 1992848"/>
                  <a:gd name="connsiteY8" fmla="*/ 92744 h 2847771"/>
                  <a:gd name="connsiteX9" fmla="*/ 206180 w 1992848"/>
                  <a:gd name="connsiteY9" fmla="*/ 0 h 2847771"/>
                  <a:gd name="connsiteX10" fmla="*/ 407391 w 1992848"/>
                  <a:gd name="connsiteY10" fmla="*/ 116153 h 2847771"/>
                  <a:gd name="connsiteX11" fmla="*/ 406100 w 1992848"/>
                  <a:gd name="connsiteY11" fmla="*/ 180636 h 2847771"/>
                  <a:gd name="connsiteX12" fmla="*/ 409165 w 1992848"/>
                  <a:gd name="connsiteY12" fmla="*/ 1496027 h 2847771"/>
                  <a:gd name="connsiteX13" fmla="*/ 407598 w 1992848"/>
                  <a:gd name="connsiteY13" fmla="*/ 1489435 h 2847771"/>
                  <a:gd name="connsiteX14" fmla="*/ 407517 w 1992848"/>
                  <a:gd name="connsiteY14" fmla="*/ 1502243 h 2847771"/>
                  <a:gd name="connsiteX15" fmla="*/ 464772 w 1992848"/>
                  <a:gd name="connsiteY15" fmla="*/ 1601413 h 2847771"/>
                  <a:gd name="connsiteX16" fmla="*/ 1965744 w 1992848"/>
                  <a:gd name="connsiteY16" fmla="*/ 2473331 h 2847771"/>
                  <a:gd name="connsiteX17" fmla="*/ 1966088 w 1992848"/>
                  <a:gd name="connsiteY17" fmla="*/ 2473723 h 2847771"/>
                  <a:gd name="connsiteX18" fmla="*/ 1988129 w 1992848"/>
                  <a:gd name="connsiteY18" fmla="*/ 2467536 h 2847771"/>
                  <a:gd name="connsiteX0" fmla="*/ 1988129 w 2060611"/>
                  <a:gd name="connsiteY0" fmla="*/ 2467536 h 2890886"/>
                  <a:gd name="connsiteX1" fmla="*/ 1799088 w 2060611"/>
                  <a:gd name="connsiteY1" fmla="*/ 2835578 h 2890886"/>
                  <a:gd name="connsiteX2" fmla="*/ 257741 w 2060611"/>
                  <a:gd name="connsiteY2" fmla="*/ 1952380 h 2890886"/>
                  <a:gd name="connsiteX3" fmla="*/ 66855 w 2060611"/>
                  <a:gd name="connsiteY3" fmla="*/ 1765040 h 2890886"/>
                  <a:gd name="connsiteX4" fmla="*/ 5085 w 2060611"/>
                  <a:gd name="connsiteY4" fmla="*/ 1563137 h 2890886"/>
                  <a:gd name="connsiteX5" fmla="*/ 117 w 2060611"/>
                  <a:gd name="connsiteY5" fmla="*/ 1506747 h 2890886"/>
                  <a:gd name="connsiteX6" fmla="*/ 0 w 2060611"/>
                  <a:gd name="connsiteY6" fmla="*/ 1506085 h 2890886"/>
                  <a:gd name="connsiteX7" fmla="*/ 5920 w 2060611"/>
                  <a:gd name="connsiteY7" fmla="*/ 121604 h 2890886"/>
                  <a:gd name="connsiteX8" fmla="*/ 9056 w 2060611"/>
                  <a:gd name="connsiteY8" fmla="*/ 92744 h 2890886"/>
                  <a:gd name="connsiteX9" fmla="*/ 206180 w 2060611"/>
                  <a:gd name="connsiteY9" fmla="*/ 0 h 2890886"/>
                  <a:gd name="connsiteX10" fmla="*/ 407391 w 2060611"/>
                  <a:gd name="connsiteY10" fmla="*/ 116153 h 2890886"/>
                  <a:gd name="connsiteX11" fmla="*/ 406100 w 2060611"/>
                  <a:gd name="connsiteY11" fmla="*/ 180636 h 2890886"/>
                  <a:gd name="connsiteX12" fmla="*/ 409165 w 2060611"/>
                  <a:gd name="connsiteY12" fmla="*/ 1496027 h 2890886"/>
                  <a:gd name="connsiteX13" fmla="*/ 407598 w 2060611"/>
                  <a:gd name="connsiteY13" fmla="*/ 1489435 h 2890886"/>
                  <a:gd name="connsiteX14" fmla="*/ 407517 w 2060611"/>
                  <a:gd name="connsiteY14" fmla="*/ 1502243 h 2890886"/>
                  <a:gd name="connsiteX15" fmla="*/ 464772 w 2060611"/>
                  <a:gd name="connsiteY15" fmla="*/ 1601413 h 2890886"/>
                  <a:gd name="connsiteX16" fmla="*/ 1965744 w 2060611"/>
                  <a:gd name="connsiteY16" fmla="*/ 2473331 h 2890886"/>
                  <a:gd name="connsiteX17" fmla="*/ 1966088 w 2060611"/>
                  <a:gd name="connsiteY17" fmla="*/ 2473723 h 2890886"/>
                  <a:gd name="connsiteX18" fmla="*/ 1988129 w 2060611"/>
                  <a:gd name="connsiteY18" fmla="*/ 2467536 h 2890886"/>
                  <a:gd name="connsiteX0" fmla="*/ 1988129 w 2060611"/>
                  <a:gd name="connsiteY0" fmla="*/ 2467536 h 2890886"/>
                  <a:gd name="connsiteX1" fmla="*/ 1799088 w 2060611"/>
                  <a:gd name="connsiteY1" fmla="*/ 2835578 h 2890886"/>
                  <a:gd name="connsiteX2" fmla="*/ 257741 w 2060611"/>
                  <a:gd name="connsiteY2" fmla="*/ 1952380 h 2890886"/>
                  <a:gd name="connsiteX3" fmla="*/ 66855 w 2060611"/>
                  <a:gd name="connsiteY3" fmla="*/ 1765040 h 2890886"/>
                  <a:gd name="connsiteX4" fmla="*/ 5085 w 2060611"/>
                  <a:gd name="connsiteY4" fmla="*/ 1563137 h 2890886"/>
                  <a:gd name="connsiteX5" fmla="*/ 117 w 2060611"/>
                  <a:gd name="connsiteY5" fmla="*/ 1506747 h 2890886"/>
                  <a:gd name="connsiteX6" fmla="*/ 0 w 2060611"/>
                  <a:gd name="connsiteY6" fmla="*/ 1506085 h 2890886"/>
                  <a:gd name="connsiteX7" fmla="*/ 5920 w 2060611"/>
                  <a:gd name="connsiteY7" fmla="*/ 121604 h 2890886"/>
                  <a:gd name="connsiteX8" fmla="*/ 9056 w 2060611"/>
                  <a:gd name="connsiteY8" fmla="*/ 92744 h 2890886"/>
                  <a:gd name="connsiteX9" fmla="*/ 206180 w 2060611"/>
                  <a:gd name="connsiteY9" fmla="*/ 0 h 2890886"/>
                  <a:gd name="connsiteX10" fmla="*/ 407391 w 2060611"/>
                  <a:gd name="connsiteY10" fmla="*/ 116153 h 2890886"/>
                  <a:gd name="connsiteX11" fmla="*/ 409165 w 2060611"/>
                  <a:gd name="connsiteY11" fmla="*/ 1496027 h 2890886"/>
                  <a:gd name="connsiteX12" fmla="*/ 407598 w 2060611"/>
                  <a:gd name="connsiteY12" fmla="*/ 1489435 h 2890886"/>
                  <a:gd name="connsiteX13" fmla="*/ 407517 w 2060611"/>
                  <a:gd name="connsiteY13" fmla="*/ 1502243 h 2890886"/>
                  <a:gd name="connsiteX14" fmla="*/ 464772 w 2060611"/>
                  <a:gd name="connsiteY14" fmla="*/ 1601413 h 2890886"/>
                  <a:gd name="connsiteX15" fmla="*/ 1965744 w 2060611"/>
                  <a:gd name="connsiteY15" fmla="*/ 2473331 h 2890886"/>
                  <a:gd name="connsiteX16" fmla="*/ 1966088 w 2060611"/>
                  <a:gd name="connsiteY16" fmla="*/ 2473723 h 2890886"/>
                  <a:gd name="connsiteX17" fmla="*/ 1988129 w 2060611"/>
                  <a:gd name="connsiteY17" fmla="*/ 2467536 h 2890886"/>
                  <a:gd name="connsiteX0" fmla="*/ 1988129 w 2060611"/>
                  <a:gd name="connsiteY0" fmla="*/ 2461991 h 2885341"/>
                  <a:gd name="connsiteX1" fmla="*/ 1799088 w 2060611"/>
                  <a:gd name="connsiteY1" fmla="*/ 2830033 h 2885341"/>
                  <a:gd name="connsiteX2" fmla="*/ 257741 w 2060611"/>
                  <a:gd name="connsiteY2" fmla="*/ 1946835 h 2885341"/>
                  <a:gd name="connsiteX3" fmla="*/ 66855 w 2060611"/>
                  <a:gd name="connsiteY3" fmla="*/ 1759495 h 2885341"/>
                  <a:gd name="connsiteX4" fmla="*/ 5085 w 2060611"/>
                  <a:gd name="connsiteY4" fmla="*/ 1557592 h 2885341"/>
                  <a:gd name="connsiteX5" fmla="*/ 117 w 2060611"/>
                  <a:gd name="connsiteY5" fmla="*/ 1501202 h 2885341"/>
                  <a:gd name="connsiteX6" fmla="*/ 0 w 2060611"/>
                  <a:gd name="connsiteY6" fmla="*/ 1500540 h 2885341"/>
                  <a:gd name="connsiteX7" fmla="*/ 5920 w 2060611"/>
                  <a:gd name="connsiteY7" fmla="*/ 116059 h 2885341"/>
                  <a:gd name="connsiteX8" fmla="*/ 9056 w 2060611"/>
                  <a:gd name="connsiteY8" fmla="*/ 87199 h 2885341"/>
                  <a:gd name="connsiteX9" fmla="*/ 407391 w 2060611"/>
                  <a:gd name="connsiteY9" fmla="*/ 110608 h 2885341"/>
                  <a:gd name="connsiteX10" fmla="*/ 409165 w 2060611"/>
                  <a:gd name="connsiteY10" fmla="*/ 1490482 h 2885341"/>
                  <a:gd name="connsiteX11" fmla="*/ 407598 w 2060611"/>
                  <a:gd name="connsiteY11" fmla="*/ 1483890 h 2885341"/>
                  <a:gd name="connsiteX12" fmla="*/ 407517 w 2060611"/>
                  <a:gd name="connsiteY12" fmla="*/ 1496698 h 2885341"/>
                  <a:gd name="connsiteX13" fmla="*/ 464772 w 2060611"/>
                  <a:gd name="connsiteY13" fmla="*/ 1595868 h 2885341"/>
                  <a:gd name="connsiteX14" fmla="*/ 1965744 w 2060611"/>
                  <a:gd name="connsiteY14" fmla="*/ 2467786 h 2885341"/>
                  <a:gd name="connsiteX15" fmla="*/ 1966088 w 2060611"/>
                  <a:gd name="connsiteY15" fmla="*/ 2468178 h 2885341"/>
                  <a:gd name="connsiteX16" fmla="*/ 1988129 w 2060611"/>
                  <a:gd name="connsiteY16" fmla="*/ 2461991 h 2885341"/>
                  <a:gd name="connsiteX0" fmla="*/ 1988129 w 2060611"/>
                  <a:gd name="connsiteY0" fmla="*/ 2351383 h 2774733"/>
                  <a:gd name="connsiteX1" fmla="*/ 1799088 w 2060611"/>
                  <a:gd name="connsiteY1" fmla="*/ 2719425 h 2774733"/>
                  <a:gd name="connsiteX2" fmla="*/ 257741 w 2060611"/>
                  <a:gd name="connsiteY2" fmla="*/ 1836227 h 2774733"/>
                  <a:gd name="connsiteX3" fmla="*/ 66855 w 2060611"/>
                  <a:gd name="connsiteY3" fmla="*/ 1648887 h 2774733"/>
                  <a:gd name="connsiteX4" fmla="*/ 5085 w 2060611"/>
                  <a:gd name="connsiteY4" fmla="*/ 1446984 h 2774733"/>
                  <a:gd name="connsiteX5" fmla="*/ 117 w 2060611"/>
                  <a:gd name="connsiteY5" fmla="*/ 1390594 h 2774733"/>
                  <a:gd name="connsiteX6" fmla="*/ 0 w 2060611"/>
                  <a:gd name="connsiteY6" fmla="*/ 1389932 h 2774733"/>
                  <a:gd name="connsiteX7" fmla="*/ 5920 w 2060611"/>
                  <a:gd name="connsiteY7" fmla="*/ 5451 h 2774733"/>
                  <a:gd name="connsiteX8" fmla="*/ 407391 w 2060611"/>
                  <a:gd name="connsiteY8" fmla="*/ 0 h 2774733"/>
                  <a:gd name="connsiteX9" fmla="*/ 409165 w 2060611"/>
                  <a:gd name="connsiteY9" fmla="*/ 1379874 h 2774733"/>
                  <a:gd name="connsiteX10" fmla="*/ 407598 w 2060611"/>
                  <a:gd name="connsiteY10" fmla="*/ 1373282 h 2774733"/>
                  <a:gd name="connsiteX11" fmla="*/ 407517 w 2060611"/>
                  <a:gd name="connsiteY11" fmla="*/ 1386090 h 2774733"/>
                  <a:gd name="connsiteX12" fmla="*/ 464772 w 2060611"/>
                  <a:gd name="connsiteY12" fmla="*/ 1485260 h 2774733"/>
                  <a:gd name="connsiteX13" fmla="*/ 1965744 w 2060611"/>
                  <a:gd name="connsiteY13" fmla="*/ 2357178 h 2774733"/>
                  <a:gd name="connsiteX14" fmla="*/ 1966088 w 2060611"/>
                  <a:gd name="connsiteY14" fmla="*/ 2357570 h 2774733"/>
                  <a:gd name="connsiteX15" fmla="*/ 1988129 w 2060611"/>
                  <a:gd name="connsiteY15" fmla="*/ 2351383 h 2774733"/>
                  <a:gd name="connsiteX0" fmla="*/ 1988129 w 2060611"/>
                  <a:gd name="connsiteY0" fmla="*/ 2351383 h 2774733"/>
                  <a:gd name="connsiteX1" fmla="*/ 1799088 w 2060611"/>
                  <a:gd name="connsiteY1" fmla="*/ 2719425 h 2774733"/>
                  <a:gd name="connsiteX2" fmla="*/ 257741 w 2060611"/>
                  <a:gd name="connsiteY2" fmla="*/ 1836227 h 2774733"/>
                  <a:gd name="connsiteX3" fmla="*/ 66855 w 2060611"/>
                  <a:gd name="connsiteY3" fmla="*/ 1648887 h 2774733"/>
                  <a:gd name="connsiteX4" fmla="*/ 5085 w 2060611"/>
                  <a:gd name="connsiteY4" fmla="*/ 1446984 h 2774733"/>
                  <a:gd name="connsiteX5" fmla="*/ 117 w 2060611"/>
                  <a:gd name="connsiteY5" fmla="*/ 1390594 h 2774733"/>
                  <a:gd name="connsiteX6" fmla="*/ 0 w 2060611"/>
                  <a:gd name="connsiteY6" fmla="*/ 1389932 h 2774733"/>
                  <a:gd name="connsiteX7" fmla="*/ 407391 w 2060611"/>
                  <a:gd name="connsiteY7" fmla="*/ 0 h 2774733"/>
                  <a:gd name="connsiteX8" fmla="*/ 409165 w 2060611"/>
                  <a:gd name="connsiteY8" fmla="*/ 1379874 h 2774733"/>
                  <a:gd name="connsiteX9" fmla="*/ 407598 w 2060611"/>
                  <a:gd name="connsiteY9" fmla="*/ 1373282 h 2774733"/>
                  <a:gd name="connsiteX10" fmla="*/ 407517 w 2060611"/>
                  <a:gd name="connsiteY10" fmla="*/ 1386090 h 2774733"/>
                  <a:gd name="connsiteX11" fmla="*/ 464772 w 2060611"/>
                  <a:gd name="connsiteY11" fmla="*/ 1485260 h 2774733"/>
                  <a:gd name="connsiteX12" fmla="*/ 1965744 w 2060611"/>
                  <a:gd name="connsiteY12" fmla="*/ 2357178 h 2774733"/>
                  <a:gd name="connsiteX13" fmla="*/ 1966088 w 2060611"/>
                  <a:gd name="connsiteY13" fmla="*/ 2357570 h 2774733"/>
                  <a:gd name="connsiteX14" fmla="*/ 1988129 w 2060611"/>
                  <a:gd name="connsiteY14" fmla="*/ 2351383 h 2774733"/>
                  <a:gd name="connsiteX0" fmla="*/ 1988129 w 2060611"/>
                  <a:gd name="connsiteY0" fmla="*/ 978101 h 1401451"/>
                  <a:gd name="connsiteX1" fmla="*/ 1799088 w 2060611"/>
                  <a:gd name="connsiteY1" fmla="*/ 1346143 h 1401451"/>
                  <a:gd name="connsiteX2" fmla="*/ 257741 w 2060611"/>
                  <a:gd name="connsiteY2" fmla="*/ 462945 h 1401451"/>
                  <a:gd name="connsiteX3" fmla="*/ 66855 w 2060611"/>
                  <a:gd name="connsiteY3" fmla="*/ 275605 h 1401451"/>
                  <a:gd name="connsiteX4" fmla="*/ 5085 w 2060611"/>
                  <a:gd name="connsiteY4" fmla="*/ 73702 h 1401451"/>
                  <a:gd name="connsiteX5" fmla="*/ 117 w 2060611"/>
                  <a:gd name="connsiteY5" fmla="*/ 17312 h 1401451"/>
                  <a:gd name="connsiteX6" fmla="*/ 0 w 2060611"/>
                  <a:gd name="connsiteY6" fmla="*/ 16650 h 1401451"/>
                  <a:gd name="connsiteX7" fmla="*/ 409165 w 2060611"/>
                  <a:gd name="connsiteY7" fmla="*/ 6592 h 1401451"/>
                  <a:gd name="connsiteX8" fmla="*/ 407598 w 2060611"/>
                  <a:gd name="connsiteY8" fmla="*/ 0 h 1401451"/>
                  <a:gd name="connsiteX9" fmla="*/ 407517 w 2060611"/>
                  <a:gd name="connsiteY9" fmla="*/ 12808 h 1401451"/>
                  <a:gd name="connsiteX10" fmla="*/ 464772 w 2060611"/>
                  <a:gd name="connsiteY10" fmla="*/ 111978 h 1401451"/>
                  <a:gd name="connsiteX11" fmla="*/ 1965744 w 2060611"/>
                  <a:gd name="connsiteY11" fmla="*/ 983896 h 1401451"/>
                  <a:gd name="connsiteX12" fmla="*/ 1966088 w 2060611"/>
                  <a:gd name="connsiteY12" fmla="*/ 984288 h 1401451"/>
                  <a:gd name="connsiteX13" fmla="*/ 1988129 w 2060611"/>
                  <a:gd name="connsiteY13" fmla="*/ 978101 h 1401451"/>
                  <a:gd name="connsiteX0" fmla="*/ 1988129 w 2060611"/>
                  <a:gd name="connsiteY0" fmla="*/ 978336 h 1401686"/>
                  <a:gd name="connsiteX1" fmla="*/ 1799088 w 2060611"/>
                  <a:gd name="connsiteY1" fmla="*/ 1346378 h 1401686"/>
                  <a:gd name="connsiteX2" fmla="*/ 257741 w 2060611"/>
                  <a:gd name="connsiteY2" fmla="*/ 463180 h 1401686"/>
                  <a:gd name="connsiteX3" fmla="*/ 66855 w 2060611"/>
                  <a:gd name="connsiteY3" fmla="*/ 275840 h 1401686"/>
                  <a:gd name="connsiteX4" fmla="*/ 5085 w 2060611"/>
                  <a:gd name="connsiteY4" fmla="*/ 73937 h 1401686"/>
                  <a:gd name="connsiteX5" fmla="*/ 117 w 2060611"/>
                  <a:gd name="connsiteY5" fmla="*/ 17547 h 1401686"/>
                  <a:gd name="connsiteX6" fmla="*/ 0 w 2060611"/>
                  <a:gd name="connsiteY6" fmla="*/ 16885 h 1401686"/>
                  <a:gd name="connsiteX7" fmla="*/ 409165 w 2060611"/>
                  <a:gd name="connsiteY7" fmla="*/ 6827 h 1401686"/>
                  <a:gd name="connsiteX8" fmla="*/ 407598 w 2060611"/>
                  <a:gd name="connsiteY8" fmla="*/ 235 h 1401686"/>
                  <a:gd name="connsiteX9" fmla="*/ 464772 w 2060611"/>
                  <a:gd name="connsiteY9" fmla="*/ 112213 h 1401686"/>
                  <a:gd name="connsiteX10" fmla="*/ 1965744 w 2060611"/>
                  <a:gd name="connsiteY10" fmla="*/ 984131 h 1401686"/>
                  <a:gd name="connsiteX11" fmla="*/ 1966088 w 2060611"/>
                  <a:gd name="connsiteY11" fmla="*/ 984523 h 1401686"/>
                  <a:gd name="connsiteX12" fmla="*/ 1988129 w 2060611"/>
                  <a:gd name="connsiteY12" fmla="*/ 978336 h 1401686"/>
                  <a:gd name="connsiteX0" fmla="*/ 1988129 w 2060611"/>
                  <a:gd name="connsiteY0" fmla="*/ 971509 h 1394859"/>
                  <a:gd name="connsiteX1" fmla="*/ 1799088 w 2060611"/>
                  <a:gd name="connsiteY1" fmla="*/ 1339551 h 1394859"/>
                  <a:gd name="connsiteX2" fmla="*/ 257741 w 2060611"/>
                  <a:gd name="connsiteY2" fmla="*/ 456353 h 1394859"/>
                  <a:gd name="connsiteX3" fmla="*/ 66855 w 2060611"/>
                  <a:gd name="connsiteY3" fmla="*/ 269013 h 1394859"/>
                  <a:gd name="connsiteX4" fmla="*/ 5085 w 2060611"/>
                  <a:gd name="connsiteY4" fmla="*/ 67110 h 1394859"/>
                  <a:gd name="connsiteX5" fmla="*/ 117 w 2060611"/>
                  <a:gd name="connsiteY5" fmla="*/ 10720 h 1394859"/>
                  <a:gd name="connsiteX6" fmla="*/ 0 w 2060611"/>
                  <a:gd name="connsiteY6" fmla="*/ 10058 h 1394859"/>
                  <a:gd name="connsiteX7" fmla="*/ 409165 w 2060611"/>
                  <a:gd name="connsiteY7" fmla="*/ 0 h 1394859"/>
                  <a:gd name="connsiteX8" fmla="*/ 464772 w 2060611"/>
                  <a:gd name="connsiteY8" fmla="*/ 105386 h 1394859"/>
                  <a:gd name="connsiteX9" fmla="*/ 1965744 w 2060611"/>
                  <a:gd name="connsiteY9" fmla="*/ 977304 h 1394859"/>
                  <a:gd name="connsiteX10" fmla="*/ 1966088 w 2060611"/>
                  <a:gd name="connsiteY10" fmla="*/ 977696 h 1394859"/>
                  <a:gd name="connsiteX11" fmla="*/ 1988129 w 2060611"/>
                  <a:gd name="connsiteY11" fmla="*/ 971509 h 1394859"/>
                  <a:gd name="connsiteX0" fmla="*/ 1988129 w 2060611"/>
                  <a:gd name="connsiteY0" fmla="*/ 961451 h 1384801"/>
                  <a:gd name="connsiteX1" fmla="*/ 1799088 w 2060611"/>
                  <a:gd name="connsiteY1" fmla="*/ 1329493 h 1384801"/>
                  <a:gd name="connsiteX2" fmla="*/ 257741 w 2060611"/>
                  <a:gd name="connsiteY2" fmla="*/ 446295 h 1384801"/>
                  <a:gd name="connsiteX3" fmla="*/ 66855 w 2060611"/>
                  <a:gd name="connsiteY3" fmla="*/ 258955 h 1384801"/>
                  <a:gd name="connsiteX4" fmla="*/ 5085 w 2060611"/>
                  <a:gd name="connsiteY4" fmla="*/ 57052 h 1384801"/>
                  <a:gd name="connsiteX5" fmla="*/ 117 w 2060611"/>
                  <a:gd name="connsiteY5" fmla="*/ 662 h 1384801"/>
                  <a:gd name="connsiteX6" fmla="*/ 0 w 2060611"/>
                  <a:gd name="connsiteY6" fmla="*/ 0 h 1384801"/>
                  <a:gd name="connsiteX7" fmla="*/ 464772 w 2060611"/>
                  <a:gd name="connsiteY7" fmla="*/ 95328 h 1384801"/>
                  <a:gd name="connsiteX8" fmla="*/ 1965744 w 2060611"/>
                  <a:gd name="connsiteY8" fmla="*/ 967246 h 1384801"/>
                  <a:gd name="connsiteX9" fmla="*/ 1966088 w 2060611"/>
                  <a:gd name="connsiteY9" fmla="*/ 967638 h 1384801"/>
                  <a:gd name="connsiteX10" fmla="*/ 1988129 w 2060611"/>
                  <a:gd name="connsiteY10" fmla="*/ 961451 h 1384801"/>
                  <a:gd name="connsiteX0" fmla="*/ 1988012 w 2060494"/>
                  <a:gd name="connsiteY0" fmla="*/ 971780 h 1395130"/>
                  <a:gd name="connsiteX1" fmla="*/ 1798971 w 2060494"/>
                  <a:gd name="connsiteY1" fmla="*/ 1339822 h 1395130"/>
                  <a:gd name="connsiteX2" fmla="*/ 257624 w 2060494"/>
                  <a:gd name="connsiteY2" fmla="*/ 456624 h 1395130"/>
                  <a:gd name="connsiteX3" fmla="*/ 66738 w 2060494"/>
                  <a:gd name="connsiteY3" fmla="*/ 269284 h 1395130"/>
                  <a:gd name="connsiteX4" fmla="*/ 4968 w 2060494"/>
                  <a:gd name="connsiteY4" fmla="*/ 67381 h 1395130"/>
                  <a:gd name="connsiteX5" fmla="*/ 0 w 2060494"/>
                  <a:gd name="connsiteY5" fmla="*/ 10991 h 1395130"/>
                  <a:gd name="connsiteX6" fmla="*/ 464655 w 2060494"/>
                  <a:gd name="connsiteY6" fmla="*/ 105657 h 1395130"/>
                  <a:gd name="connsiteX7" fmla="*/ 1965627 w 2060494"/>
                  <a:gd name="connsiteY7" fmla="*/ 977575 h 1395130"/>
                  <a:gd name="connsiteX8" fmla="*/ 1965971 w 2060494"/>
                  <a:gd name="connsiteY8" fmla="*/ 977967 h 1395130"/>
                  <a:gd name="connsiteX9" fmla="*/ 1988012 w 2060494"/>
                  <a:gd name="connsiteY9" fmla="*/ 971780 h 1395130"/>
                  <a:gd name="connsiteX0" fmla="*/ 2148032 w 2148764"/>
                  <a:gd name="connsiteY0" fmla="*/ 1078460 h 1405094"/>
                  <a:gd name="connsiteX1" fmla="*/ 1798971 w 2148764"/>
                  <a:gd name="connsiteY1" fmla="*/ 1339822 h 1405094"/>
                  <a:gd name="connsiteX2" fmla="*/ 257624 w 2148764"/>
                  <a:gd name="connsiteY2" fmla="*/ 456624 h 1405094"/>
                  <a:gd name="connsiteX3" fmla="*/ 66738 w 2148764"/>
                  <a:gd name="connsiteY3" fmla="*/ 269284 h 1405094"/>
                  <a:gd name="connsiteX4" fmla="*/ 4968 w 2148764"/>
                  <a:gd name="connsiteY4" fmla="*/ 67381 h 1405094"/>
                  <a:gd name="connsiteX5" fmla="*/ 0 w 2148764"/>
                  <a:gd name="connsiteY5" fmla="*/ 10991 h 1405094"/>
                  <a:gd name="connsiteX6" fmla="*/ 464655 w 2148764"/>
                  <a:gd name="connsiteY6" fmla="*/ 105657 h 1405094"/>
                  <a:gd name="connsiteX7" fmla="*/ 1965627 w 2148764"/>
                  <a:gd name="connsiteY7" fmla="*/ 977575 h 1405094"/>
                  <a:gd name="connsiteX8" fmla="*/ 1965971 w 2148764"/>
                  <a:gd name="connsiteY8" fmla="*/ 977967 h 1405094"/>
                  <a:gd name="connsiteX9" fmla="*/ 2148032 w 2148764"/>
                  <a:gd name="connsiteY9" fmla="*/ 1078460 h 1405094"/>
                  <a:gd name="connsiteX0" fmla="*/ 2125172 w 2132683"/>
                  <a:gd name="connsiteY0" fmla="*/ 926060 h 1391724"/>
                  <a:gd name="connsiteX1" fmla="*/ 1798971 w 2132683"/>
                  <a:gd name="connsiteY1" fmla="*/ 1339822 h 1391724"/>
                  <a:gd name="connsiteX2" fmla="*/ 257624 w 2132683"/>
                  <a:gd name="connsiteY2" fmla="*/ 456624 h 1391724"/>
                  <a:gd name="connsiteX3" fmla="*/ 66738 w 2132683"/>
                  <a:gd name="connsiteY3" fmla="*/ 269284 h 1391724"/>
                  <a:gd name="connsiteX4" fmla="*/ 4968 w 2132683"/>
                  <a:gd name="connsiteY4" fmla="*/ 67381 h 1391724"/>
                  <a:gd name="connsiteX5" fmla="*/ 0 w 2132683"/>
                  <a:gd name="connsiteY5" fmla="*/ 10991 h 1391724"/>
                  <a:gd name="connsiteX6" fmla="*/ 464655 w 2132683"/>
                  <a:gd name="connsiteY6" fmla="*/ 105657 h 1391724"/>
                  <a:gd name="connsiteX7" fmla="*/ 1965627 w 2132683"/>
                  <a:gd name="connsiteY7" fmla="*/ 977575 h 1391724"/>
                  <a:gd name="connsiteX8" fmla="*/ 1965971 w 2132683"/>
                  <a:gd name="connsiteY8" fmla="*/ 977967 h 1391724"/>
                  <a:gd name="connsiteX9" fmla="*/ 2125172 w 2132683"/>
                  <a:gd name="connsiteY9" fmla="*/ 926060 h 1391724"/>
                  <a:gd name="connsiteX0" fmla="*/ 2125172 w 2132683"/>
                  <a:gd name="connsiteY0" fmla="*/ 926060 h 1391724"/>
                  <a:gd name="connsiteX1" fmla="*/ 1798971 w 2132683"/>
                  <a:gd name="connsiteY1" fmla="*/ 1339822 h 1391724"/>
                  <a:gd name="connsiteX2" fmla="*/ 257624 w 2132683"/>
                  <a:gd name="connsiteY2" fmla="*/ 456624 h 1391724"/>
                  <a:gd name="connsiteX3" fmla="*/ 66738 w 2132683"/>
                  <a:gd name="connsiteY3" fmla="*/ 269284 h 1391724"/>
                  <a:gd name="connsiteX4" fmla="*/ 4968 w 2132683"/>
                  <a:gd name="connsiteY4" fmla="*/ 67381 h 1391724"/>
                  <a:gd name="connsiteX5" fmla="*/ 0 w 2132683"/>
                  <a:gd name="connsiteY5" fmla="*/ 10991 h 1391724"/>
                  <a:gd name="connsiteX6" fmla="*/ 464655 w 2132683"/>
                  <a:gd name="connsiteY6" fmla="*/ 105657 h 1391724"/>
                  <a:gd name="connsiteX7" fmla="*/ 1965627 w 2132683"/>
                  <a:gd name="connsiteY7" fmla="*/ 977575 h 1391724"/>
                  <a:gd name="connsiteX8" fmla="*/ 1965971 w 2132683"/>
                  <a:gd name="connsiteY8" fmla="*/ 977967 h 1391724"/>
                  <a:gd name="connsiteX9" fmla="*/ 2125172 w 2132683"/>
                  <a:gd name="connsiteY9" fmla="*/ 926060 h 1391724"/>
                  <a:gd name="connsiteX0" fmla="*/ 2041829 w 2084801"/>
                  <a:gd name="connsiteY0" fmla="*/ 904629 h 1390266"/>
                  <a:gd name="connsiteX1" fmla="*/ 1798971 w 2084801"/>
                  <a:gd name="connsiteY1" fmla="*/ 1339822 h 1390266"/>
                  <a:gd name="connsiteX2" fmla="*/ 257624 w 2084801"/>
                  <a:gd name="connsiteY2" fmla="*/ 456624 h 1390266"/>
                  <a:gd name="connsiteX3" fmla="*/ 66738 w 2084801"/>
                  <a:gd name="connsiteY3" fmla="*/ 269284 h 1390266"/>
                  <a:gd name="connsiteX4" fmla="*/ 4968 w 2084801"/>
                  <a:gd name="connsiteY4" fmla="*/ 67381 h 1390266"/>
                  <a:gd name="connsiteX5" fmla="*/ 0 w 2084801"/>
                  <a:gd name="connsiteY5" fmla="*/ 10991 h 1390266"/>
                  <a:gd name="connsiteX6" fmla="*/ 464655 w 2084801"/>
                  <a:gd name="connsiteY6" fmla="*/ 105657 h 1390266"/>
                  <a:gd name="connsiteX7" fmla="*/ 1965627 w 2084801"/>
                  <a:gd name="connsiteY7" fmla="*/ 977575 h 1390266"/>
                  <a:gd name="connsiteX8" fmla="*/ 1965971 w 2084801"/>
                  <a:gd name="connsiteY8" fmla="*/ 977967 h 1390266"/>
                  <a:gd name="connsiteX9" fmla="*/ 2041829 w 2084801"/>
                  <a:gd name="connsiteY9" fmla="*/ 904629 h 1390266"/>
                  <a:gd name="connsiteX0" fmla="*/ 2041829 w 2084801"/>
                  <a:gd name="connsiteY0" fmla="*/ 904629 h 1390266"/>
                  <a:gd name="connsiteX1" fmla="*/ 1798971 w 2084801"/>
                  <a:gd name="connsiteY1" fmla="*/ 1339822 h 1390266"/>
                  <a:gd name="connsiteX2" fmla="*/ 257624 w 2084801"/>
                  <a:gd name="connsiteY2" fmla="*/ 456624 h 1390266"/>
                  <a:gd name="connsiteX3" fmla="*/ 66738 w 2084801"/>
                  <a:gd name="connsiteY3" fmla="*/ 269284 h 1390266"/>
                  <a:gd name="connsiteX4" fmla="*/ 4968 w 2084801"/>
                  <a:gd name="connsiteY4" fmla="*/ 67381 h 1390266"/>
                  <a:gd name="connsiteX5" fmla="*/ 0 w 2084801"/>
                  <a:gd name="connsiteY5" fmla="*/ 10991 h 1390266"/>
                  <a:gd name="connsiteX6" fmla="*/ 464655 w 2084801"/>
                  <a:gd name="connsiteY6" fmla="*/ 105657 h 1390266"/>
                  <a:gd name="connsiteX7" fmla="*/ 1965627 w 2084801"/>
                  <a:gd name="connsiteY7" fmla="*/ 977575 h 1390266"/>
                  <a:gd name="connsiteX8" fmla="*/ 1965971 w 2084801"/>
                  <a:gd name="connsiteY8" fmla="*/ 977967 h 1390266"/>
                  <a:gd name="connsiteX9" fmla="*/ 2041829 w 2084801"/>
                  <a:gd name="connsiteY9" fmla="*/ 904629 h 1390266"/>
                  <a:gd name="connsiteX0" fmla="*/ 2032304 w 2080180"/>
                  <a:gd name="connsiteY0" fmla="*/ 930823 h 1392059"/>
                  <a:gd name="connsiteX1" fmla="*/ 1798971 w 2080180"/>
                  <a:gd name="connsiteY1" fmla="*/ 1339822 h 1392059"/>
                  <a:gd name="connsiteX2" fmla="*/ 257624 w 2080180"/>
                  <a:gd name="connsiteY2" fmla="*/ 456624 h 1392059"/>
                  <a:gd name="connsiteX3" fmla="*/ 66738 w 2080180"/>
                  <a:gd name="connsiteY3" fmla="*/ 269284 h 1392059"/>
                  <a:gd name="connsiteX4" fmla="*/ 4968 w 2080180"/>
                  <a:gd name="connsiteY4" fmla="*/ 67381 h 1392059"/>
                  <a:gd name="connsiteX5" fmla="*/ 0 w 2080180"/>
                  <a:gd name="connsiteY5" fmla="*/ 10991 h 1392059"/>
                  <a:gd name="connsiteX6" fmla="*/ 464655 w 2080180"/>
                  <a:gd name="connsiteY6" fmla="*/ 105657 h 1392059"/>
                  <a:gd name="connsiteX7" fmla="*/ 1965627 w 2080180"/>
                  <a:gd name="connsiteY7" fmla="*/ 977575 h 1392059"/>
                  <a:gd name="connsiteX8" fmla="*/ 1965971 w 2080180"/>
                  <a:gd name="connsiteY8" fmla="*/ 977967 h 1392059"/>
                  <a:gd name="connsiteX9" fmla="*/ 2032304 w 2080180"/>
                  <a:gd name="connsiteY9" fmla="*/ 930823 h 1392059"/>
                  <a:gd name="connsiteX0" fmla="*/ 2032304 w 2082788"/>
                  <a:gd name="connsiteY0" fmla="*/ 930823 h 1390071"/>
                  <a:gd name="connsiteX1" fmla="*/ 1798971 w 2082788"/>
                  <a:gd name="connsiteY1" fmla="*/ 1339822 h 1390071"/>
                  <a:gd name="connsiteX2" fmla="*/ 257624 w 2082788"/>
                  <a:gd name="connsiteY2" fmla="*/ 456624 h 1390071"/>
                  <a:gd name="connsiteX3" fmla="*/ 66738 w 2082788"/>
                  <a:gd name="connsiteY3" fmla="*/ 269284 h 1390071"/>
                  <a:gd name="connsiteX4" fmla="*/ 4968 w 2082788"/>
                  <a:gd name="connsiteY4" fmla="*/ 67381 h 1390071"/>
                  <a:gd name="connsiteX5" fmla="*/ 0 w 2082788"/>
                  <a:gd name="connsiteY5" fmla="*/ 10991 h 1390071"/>
                  <a:gd name="connsiteX6" fmla="*/ 464655 w 2082788"/>
                  <a:gd name="connsiteY6" fmla="*/ 105657 h 1390071"/>
                  <a:gd name="connsiteX7" fmla="*/ 1965627 w 2082788"/>
                  <a:gd name="connsiteY7" fmla="*/ 977575 h 1390071"/>
                  <a:gd name="connsiteX8" fmla="*/ 1965971 w 2082788"/>
                  <a:gd name="connsiteY8" fmla="*/ 977967 h 1390071"/>
                  <a:gd name="connsiteX9" fmla="*/ 2032304 w 2082788"/>
                  <a:gd name="connsiteY9" fmla="*/ 930823 h 1390071"/>
                  <a:gd name="connsiteX0" fmla="*/ 2032304 w 2082788"/>
                  <a:gd name="connsiteY0" fmla="*/ 930823 h 1390071"/>
                  <a:gd name="connsiteX1" fmla="*/ 1798971 w 2082788"/>
                  <a:gd name="connsiteY1" fmla="*/ 1339822 h 1390071"/>
                  <a:gd name="connsiteX2" fmla="*/ 257624 w 2082788"/>
                  <a:gd name="connsiteY2" fmla="*/ 456624 h 1390071"/>
                  <a:gd name="connsiteX3" fmla="*/ 66738 w 2082788"/>
                  <a:gd name="connsiteY3" fmla="*/ 269284 h 1390071"/>
                  <a:gd name="connsiteX4" fmla="*/ 4968 w 2082788"/>
                  <a:gd name="connsiteY4" fmla="*/ 67381 h 1390071"/>
                  <a:gd name="connsiteX5" fmla="*/ 0 w 2082788"/>
                  <a:gd name="connsiteY5" fmla="*/ 10991 h 1390071"/>
                  <a:gd name="connsiteX6" fmla="*/ 464655 w 2082788"/>
                  <a:gd name="connsiteY6" fmla="*/ 105657 h 1390071"/>
                  <a:gd name="connsiteX7" fmla="*/ 1965627 w 2082788"/>
                  <a:gd name="connsiteY7" fmla="*/ 977575 h 1390071"/>
                  <a:gd name="connsiteX8" fmla="*/ 1965971 w 2082788"/>
                  <a:gd name="connsiteY8" fmla="*/ 977967 h 1390071"/>
                  <a:gd name="connsiteX9" fmla="*/ 2032304 w 2082788"/>
                  <a:gd name="connsiteY9" fmla="*/ 930823 h 1390071"/>
                  <a:gd name="connsiteX0" fmla="*/ 2032304 w 2182712"/>
                  <a:gd name="connsiteY0" fmla="*/ 930823 h 1394196"/>
                  <a:gd name="connsiteX1" fmla="*/ 1798971 w 2182712"/>
                  <a:gd name="connsiteY1" fmla="*/ 1339822 h 1394196"/>
                  <a:gd name="connsiteX2" fmla="*/ 257624 w 2182712"/>
                  <a:gd name="connsiteY2" fmla="*/ 456624 h 1394196"/>
                  <a:gd name="connsiteX3" fmla="*/ 66738 w 2182712"/>
                  <a:gd name="connsiteY3" fmla="*/ 269284 h 1394196"/>
                  <a:gd name="connsiteX4" fmla="*/ 4968 w 2182712"/>
                  <a:gd name="connsiteY4" fmla="*/ 67381 h 1394196"/>
                  <a:gd name="connsiteX5" fmla="*/ 0 w 2182712"/>
                  <a:gd name="connsiteY5" fmla="*/ 10991 h 1394196"/>
                  <a:gd name="connsiteX6" fmla="*/ 464655 w 2182712"/>
                  <a:gd name="connsiteY6" fmla="*/ 105657 h 1394196"/>
                  <a:gd name="connsiteX7" fmla="*/ 1965627 w 2182712"/>
                  <a:gd name="connsiteY7" fmla="*/ 977575 h 1394196"/>
                  <a:gd name="connsiteX8" fmla="*/ 1965971 w 2182712"/>
                  <a:gd name="connsiteY8" fmla="*/ 977967 h 1394196"/>
                  <a:gd name="connsiteX9" fmla="*/ 2032304 w 2182712"/>
                  <a:gd name="connsiteY9" fmla="*/ 930823 h 1394196"/>
                  <a:gd name="connsiteX0" fmla="*/ 2032304 w 2182712"/>
                  <a:gd name="connsiteY0" fmla="*/ 930823 h 1394196"/>
                  <a:gd name="connsiteX1" fmla="*/ 1798971 w 2182712"/>
                  <a:gd name="connsiteY1" fmla="*/ 1339822 h 1394196"/>
                  <a:gd name="connsiteX2" fmla="*/ 257624 w 2182712"/>
                  <a:gd name="connsiteY2" fmla="*/ 456624 h 1394196"/>
                  <a:gd name="connsiteX3" fmla="*/ 66738 w 2182712"/>
                  <a:gd name="connsiteY3" fmla="*/ 269284 h 1394196"/>
                  <a:gd name="connsiteX4" fmla="*/ 4968 w 2182712"/>
                  <a:gd name="connsiteY4" fmla="*/ 67381 h 1394196"/>
                  <a:gd name="connsiteX5" fmla="*/ 0 w 2182712"/>
                  <a:gd name="connsiteY5" fmla="*/ 10991 h 1394196"/>
                  <a:gd name="connsiteX6" fmla="*/ 464655 w 2182712"/>
                  <a:gd name="connsiteY6" fmla="*/ 105657 h 1394196"/>
                  <a:gd name="connsiteX7" fmla="*/ 1965627 w 2182712"/>
                  <a:gd name="connsiteY7" fmla="*/ 977575 h 1394196"/>
                  <a:gd name="connsiteX8" fmla="*/ 1965971 w 2182712"/>
                  <a:gd name="connsiteY8" fmla="*/ 977967 h 1394196"/>
                  <a:gd name="connsiteX9" fmla="*/ 2032304 w 2182712"/>
                  <a:gd name="connsiteY9" fmla="*/ 930823 h 1394196"/>
                  <a:gd name="connsiteX0" fmla="*/ 2032304 w 2182712"/>
                  <a:gd name="connsiteY0" fmla="*/ 930823 h 1394196"/>
                  <a:gd name="connsiteX1" fmla="*/ 1798971 w 2182712"/>
                  <a:gd name="connsiteY1" fmla="*/ 1339822 h 1394196"/>
                  <a:gd name="connsiteX2" fmla="*/ 257624 w 2182712"/>
                  <a:gd name="connsiteY2" fmla="*/ 456624 h 1394196"/>
                  <a:gd name="connsiteX3" fmla="*/ 66738 w 2182712"/>
                  <a:gd name="connsiteY3" fmla="*/ 269284 h 1394196"/>
                  <a:gd name="connsiteX4" fmla="*/ 4968 w 2182712"/>
                  <a:gd name="connsiteY4" fmla="*/ 67381 h 1394196"/>
                  <a:gd name="connsiteX5" fmla="*/ 0 w 2182712"/>
                  <a:gd name="connsiteY5" fmla="*/ 10991 h 1394196"/>
                  <a:gd name="connsiteX6" fmla="*/ 464655 w 2182712"/>
                  <a:gd name="connsiteY6" fmla="*/ 105657 h 1394196"/>
                  <a:gd name="connsiteX7" fmla="*/ 1965627 w 2182712"/>
                  <a:gd name="connsiteY7" fmla="*/ 977575 h 1394196"/>
                  <a:gd name="connsiteX8" fmla="*/ 1965971 w 2182712"/>
                  <a:gd name="connsiteY8" fmla="*/ 977967 h 1394196"/>
                  <a:gd name="connsiteX9" fmla="*/ 2032304 w 2182712"/>
                  <a:gd name="connsiteY9" fmla="*/ 930823 h 1394196"/>
                  <a:gd name="connsiteX0" fmla="*/ 2032304 w 2170584"/>
                  <a:gd name="connsiteY0" fmla="*/ 930823 h 1395770"/>
                  <a:gd name="connsiteX1" fmla="*/ 1798971 w 2170584"/>
                  <a:gd name="connsiteY1" fmla="*/ 1339822 h 1395770"/>
                  <a:gd name="connsiteX2" fmla="*/ 257624 w 2170584"/>
                  <a:gd name="connsiteY2" fmla="*/ 456624 h 1395770"/>
                  <a:gd name="connsiteX3" fmla="*/ 66738 w 2170584"/>
                  <a:gd name="connsiteY3" fmla="*/ 269284 h 1395770"/>
                  <a:gd name="connsiteX4" fmla="*/ 4968 w 2170584"/>
                  <a:gd name="connsiteY4" fmla="*/ 67381 h 1395770"/>
                  <a:gd name="connsiteX5" fmla="*/ 0 w 2170584"/>
                  <a:gd name="connsiteY5" fmla="*/ 10991 h 1395770"/>
                  <a:gd name="connsiteX6" fmla="*/ 464655 w 2170584"/>
                  <a:gd name="connsiteY6" fmla="*/ 105657 h 1395770"/>
                  <a:gd name="connsiteX7" fmla="*/ 1965627 w 2170584"/>
                  <a:gd name="connsiteY7" fmla="*/ 977575 h 1395770"/>
                  <a:gd name="connsiteX8" fmla="*/ 1965971 w 2170584"/>
                  <a:gd name="connsiteY8" fmla="*/ 977967 h 1395770"/>
                  <a:gd name="connsiteX9" fmla="*/ 2032304 w 2170584"/>
                  <a:gd name="connsiteY9" fmla="*/ 930823 h 1395770"/>
                  <a:gd name="connsiteX0" fmla="*/ 2032304 w 2246364"/>
                  <a:gd name="connsiteY0" fmla="*/ 930823 h 1396680"/>
                  <a:gd name="connsiteX1" fmla="*/ 1798971 w 2246364"/>
                  <a:gd name="connsiteY1" fmla="*/ 1339822 h 1396680"/>
                  <a:gd name="connsiteX2" fmla="*/ 257624 w 2246364"/>
                  <a:gd name="connsiteY2" fmla="*/ 456624 h 1396680"/>
                  <a:gd name="connsiteX3" fmla="*/ 66738 w 2246364"/>
                  <a:gd name="connsiteY3" fmla="*/ 269284 h 1396680"/>
                  <a:gd name="connsiteX4" fmla="*/ 4968 w 2246364"/>
                  <a:gd name="connsiteY4" fmla="*/ 67381 h 1396680"/>
                  <a:gd name="connsiteX5" fmla="*/ 0 w 2246364"/>
                  <a:gd name="connsiteY5" fmla="*/ 10991 h 1396680"/>
                  <a:gd name="connsiteX6" fmla="*/ 464655 w 2246364"/>
                  <a:gd name="connsiteY6" fmla="*/ 105657 h 1396680"/>
                  <a:gd name="connsiteX7" fmla="*/ 1965627 w 2246364"/>
                  <a:gd name="connsiteY7" fmla="*/ 977575 h 1396680"/>
                  <a:gd name="connsiteX8" fmla="*/ 1965971 w 2246364"/>
                  <a:gd name="connsiteY8" fmla="*/ 977967 h 1396680"/>
                  <a:gd name="connsiteX9" fmla="*/ 2032304 w 2246364"/>
                  <a:gd name="connsiteY9" fmla="*/ 930823 h 1396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6364" h="1396680">
                    <a:moveTo>
                      <a:pt x="2032304" y="930823"/>
                    </a:moveTo>
                    <a:cubicBezTo>
                      <a:pt x="2406902" y="1055427"/>
                      <a:pt x="2265169" y="1565381"/>
                      <a:pt x="1798971" y="1339822"/>
                    </a:cubicBezTo>
                    <a:lnTo>
                      <a:pt x="257624" y="456624"/>
                    </a:lnTo>
                    <a:cubicBezTo>
                      <a:pt x="190455" y="403073"/>
                      <a:pt x="143525" y="405947"/>
                      <a:pt x="66738" y="269284"/>
                    </a:cubicBezTo>
                    <a:cubicBezTo>
                      <a:pt x="9147" y="166786"/>
                      <a:pt x="7563" y="120135"/>
                      <a:pt x="4968" y="67381"/>
                    </a:cubicBezTo>
                    <a:lnTo>
                      <a:pt x="0" y="10991"/>
                    </a:lnTo>
                    <a:cubicBezTo>
                      <a:pt x="76614" y="17370"/>
                      <a:pt x="137051" y="-55440"/>
                      <a:pt x="464655" y="105657"/>
                    </a:cubicBezTo>
                    <a:lnTo>
                      <a:pt x="1965627" y="977575"/>
                    </a:lnTo>
                    <a:lnTo>
                      <a:pt x="1965971" y="977967"/>
                    </a:lnTo>
                    <a:cubicBezTo>
                      <a:pt x="2019038" y="960665"/>
                      <a:pt x="2005431" y="969555"/>
                      <a:pt x="2032304" y="930823"/>
                    </a:cubicBezTo>
                    <a:close/>
                  </a:path>
                </a:pathLst>
              </a:custGeom>
              <a:gradFill flip="none" rotWithShape="1">
                <a:gsLst>
                  <a:gs pos="58000">
                    <a:schemeClr val="accent2">
                      <a:lumMod val="0"/>
                      <a:lumOff val="100000"/>
                      <a:alpha val="0"/>
                    </a:schemeClr>
                  </a:gs>
                  <a:gs pos="45000">
                    <a:schemeClr val="accent4"/>
                  </a:gs>
                </a:gsLst>
                <a:lin ang="72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73" name="Freeform: Shape 772">
                <a:extLst>
                  <a:ext uri="{FF2B5EF4-FFF2-40B4-BE49-F238E27FC236}">
                    <a16:creationId xmlns:a16="http://schemas.microsoft.com/office/drawing/2014/main" id="{39F6D0C0-85FF-41E4-B576-C0BFB0EEFEA3}"/>
                  </a:ext>
                </a:extLst>
              </p:cNvPr>
              <p:cNvSpPr/>
              <p:nvPr/>
            </p:nvSpPr>
            <p:spPr bwMode="gray">
              <a:xfrm flipH="1" flipV="1">
                <a:off x="-3473355" y="3502137"/>
                <a:ext cx="2139562" cy="1277355"/>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206180 w 4212730"/>
                  <a:gd name="connsiteY9" fmla="*/ 2392022 h 5285288"/>
                  <a:gd name="connsiteX10" fmla="*/ 407391 w 4212730"/>
                  <a:gd name="connsiteY10" fmla="*/ 2508175 h 5285288"/>
                  <a:gd name="connsiteX11" fmla="*/ 406100 w 4212730"/>
                  <a:gd name="connsiteY11" fmla="*/ 2572658 h 5285288"/>
                  <a:gd name="connsiteX12" fmla="*/ 409165 w 4212730"/>
                  <a:gd name="connsiteY12" fmla="*/ 3888049 h 5285288"/>
                  <a:gd name="connsiteX13" fmla="*/ 407598 w 4212730"/>
                  <a:gd name="connsiteY13" fmla="*/ 3881457 h 5285288"/>
                  <a:gd name="connsiteX14" fmla="*/ 407517 w 4212730"/>
                  <a:gd name="connsiteY14" fmla="*/ 3894265 h 5285288"/>
                  <a:gd name="connsiteX15" fmla="*/ 464772 w 4212730"/>
                  <a:gd name="connsiteY15" fmla="*/ 3993435 h 5285288"/>
                  <a:gd name="connsiteX16" fmla="*/ 1965744 w 4212730"/>
                  <a:gd name="connsiteY16" fmla="*/ 4865353 h 5285288"/>
                  <a:gd name="connsiteX17" fmla="*/ 1966088 w 4212730"/>
                  <a:gd name="connsiteY17" fmla="*/ 4865745 h 5285288"/>
                  <a:gd name="connsiteX18" fmla="*/ 1988129 w 4212730"/>
                  <a:gd name="connsiteY18" fmla="*/ 4859558 h 5285288"/>
                  <a:gd name="connsiteX19" fmla="*/ 2034209 w 4212730"/>
                  <a:gd name="connsiteY19" fmla="*/ 4799004 h 5285288"/>
                  <a:gd name="connsiteX20" fmla="*/ 2036053 w 4212730"/>
                  <a:gd name="connsiteY20" fmla="*/ 4105978 h 5285288"/>
                  <a:gd name="connsiteX21" fmla="*/ 2038324 w 4212730"/>
                  <a:gd name="connsiteY21" fmla="*/ 1054770 h 5285288"/>
                  <a:gd name="connsiteX22" fmla="*/ 2037139 w 4212730"/>
                  <a:gd name="connsiteY22" fmla="*/ 1017192 h 5285288"/>
                  <a:gd name="connsiteX23" fmla="*/ 2035104 w 4212730"/>
                  <a:gd name="connsiteY23" fmla="*/ 494424 h 5285288"/>
                  <a:gd name="connsiteX24" fmla="*/ 2080595 w 4212730"/>
                  <a:gd name="connsiteY24" fmla="*/ 171698 h 5285288"/>
                  <a:gd name="connsiteX25" fmla="*/ 2245202 w 4212730"/>
                  <a:gd name="connsiteY25" fmla="*/ 25112 h 5285288"/>
                  <a:gd name="connsiteX26" fmla="*/ 2444848 w 4212730"/>
                  <a:gd name="connsiteY26" fmla="*/ 3326 h 5285288"/>
                  <a:gd name="connsiteX27" fmla="*/ 2620552 w 4212730"/>
                  <a:gd name="connsiteY27" fmla="*/ 37548 h 5285288"/>
                  <a:gd name="connsiteX28" fmla="*/ 4171705 w 4212730"/>
                  <a:gd name="connsiteY28" fmla="*/ 924343 h 5285288"/>
                  <a:gd name="connsiteX29" fmla="*/ 4172662 w 4212730"/>
                  <a:gd name="connsiteY29" fmla="*/ 1149844 h 5285288"/>
                  <a:gd name="connsiteX30" fmla="*/ 3998697 w 4212730"/>
                  <a:gd name="connsiteY30" fmla="*/ 1269783 h 5285288"/>
                  <a:gd name="connsiteX31" fmla="*/ 3978850 w 4212730"/>
                  <a:gd name="connsiteY31" fmla="*/ 1262485 h 5285288"/>
                  <a:gd name="connsiteX32" fmla="*/ 2513375 w 4212730"/>
                  <a:gd name="connsiteY32" fmla="*/ 431577 h 5285288"/>
                  <a:gd name="connsiteX33" fmla="*/ 2513032 w 4212730"/>
                  <a:gd name="connsiteY33" fmla="*/ 431184 h 5285288"/>
                  <a:gd name="connsiteX34" fmla="*/ 2490877 w 4212730"/>
                  <a:gd name="connsiteY34" fmla="*/ 437405 h 5285288"/>
                  <a:gd name="connsiteX35" fmla="*/ 2448227 w 4212730"/>
                  <a:gd name="connsiteY35" fmla="*/ 539231 h 5285288"/>
                  <a:gd name="connsiteX36" fmla="*/ 2448222 w 4212730"/>
                  <a:gd name="connsiteY36" fmla="*/ 1065628 h 5285288"/>
                  <a:gd name="connsiteX37" fmla="*/ 2445445 w 4212730"/>
                  <a:gd name="connsiteY37" fmla="*/ 1081825 h 5285288"/>
                  <a:gd name="connsiteX38" fmla="*/ 2442619 w 4212730"/>
                  <a:gd name="connsiteY38" fmla="*/ 1858316 h 5285288"/>
                  <a:gd name="connsiteX39" fmla="*/ 2444476 w 4212730"/>
                  <a:gd name="connsiteY39" fmla="*/ 1861834 h 5285288"/>
                  <a:gd name="connsiteX40" fmla="*/ 2443809 w 4212730"/>
                  <a:gd name="connsiteY40" fmla="*/ 3038034 h 5285288"/>
                  <a:gd name="connsiteX41" fmla="*/ 2441669 w 4212730"/>
                  <a:gd name="connsiteY41" fmla="*/ 4802821 h 5285288"/>
                  <a:gd name="connsiteX42" fmla="*/ 2374871 w 4212730"/>
                  <a:gd name="connsiteY42" fmla="*/ 5061801 h 5285288"/>
                  <a:gd name="connsiteX43" fmla="*/ 2230903 w 4212730"/>
                  <a:gd name="connsiteY43" fmla="*/ 5216241 h 5285288"/>
                  <a:gd name="connsiteX44" fmla="*/ 2020267 w 4212730"/>
                  <a:gd name="connsiteY44" fmla="*/ 5284752 h 5285288"/>
                  <a:gd name="connsiteX45" fmla="*/ 1970713 w 4212730"/>
                  <a:gd name="connsiteY45"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206180 w 4212730"/>
                  <a:gd name="connsiteY8" fmla="*/ 2392022 h 5285288"/>
                  <a:gd name="connsiteX9" fmla="*/ 407391 w 4212730"/>
                  <a:gd name="connsiteY9" fmla="*/ 2508175 h 5285288"/>
                  <a:gd name="connsiteX10" fmla="*/ 406100 w 4212730"/>
                  <a:gd name="connsiteY10" fmla="*/ 2572658 h 5285288"/>
                  <a:gd name="connsiteX11" fmla="*/ 409165 w 4212730"/>
                  <a:gd name="connsiteY11" fmla="*/ 3888049 h 5285288"/>
                  <a:gd name="connsiteX12" fmla="*/ 407598 w 4212730"/>
                  <a:gd name="connsiteY12" fmla="*/ 3881457 h 5285288"/>
                  <a:gd name="connsiteX13" fmla="*/ 407517 w 4212730"/>
                  <a:gd name="connsiteY13" fmla="*/ 3894265 h 5285288"/>
                  <a:gd name="connsiteX14" fmla="*/ 464772 w 4212730"/>
                  <a:gd name="connsiteY14" fmla="*/ 3993435 h 5285288"/>
                  <a:gd name="connsiteX15" fmla="*/ 1965744 w 4212730"/>
                  <a:gd name="connsiteY15" fmla="*/ 4865353 h 5285288"/>
                  <a:gd name="connsiteX16" fmla="*/ 1966088 w 4212730"/>
                  <a:gd name="connsiteY16" fmla="*/ 4865745 h 5285288"/>
                  <a:gd name="connsiteX17" fmla="*/ 1988129 w 4212730"/>
                  <a:gd name="connsiteY17" fmla="*/ 4859558 h 5285288"/>
                  <a:gd name="connsiteX18" fmla="*/ 2034209 w 4212730"/>
                  <a:gd name="connsiteY18" fmla="*/ 4799004 h 5285288"/>
                  <a:gd name="connsiteX19" fmla="*/ 2036053 w 4212730"/>
                  <a:gd name="connsiteY19" fmla="*/ 4105978 h 5285288"/>
                  <a:gd name="connsiteX20" fmla="*/ 2038324 w 4212730"/>
                  <a:gd name="connsiteY20" fmla="*/ 1054770 h 5285288"/>
                  <a:gd name="connsiteX21" fmla="*/ 2037139 w 4212730"/>
                  <a:gd name="connsiteY21" fmla="*/ 1017192 h 5285288"/>
                  <a:gd name="connsiteX22" fmla="*/ 2035104 w 4212730"/>
                  <a:gd name="connsiteY22" fmla="*/ 494424 h 5285288"/>
                  <a:gd name="connsiteX23" fmla="*/ 2080595 w 4212730"/>
                  <a:gd name="connsiteY23" fmla="*/ 171698 h 5285288"/>
                  <a:gd name="connsiteX24" fmla="*/ 2245202 w 4212730"/>
                  <a:gd name="connsiteY24" fmla="*/ 25112 h 5285288"/>
                  <a:gd name="connsiteX25" fmla="*/ 2444848 w 4212730"/>
                  <a:gd name="connsiteY25" fmla="*/ 3326 h 5285288"/>
                  <a:gd name="connsiteX26" fmla="*/ 2620552 w 4212730"/>
                  <a:gd name="connsiteY26" fmla="*/ 37548 h 5285288"/>
                  <a:gd name="connsiteX27" fmla="*/ 4171705 w 4212730"/>
                  <a:gd name="connsiteY27" fmla="*/ 924343 h 5285288"/>
                  <a:gd name="connsiteX28" fmla="*/ 4172662 w 4212730"/>
                  <a:gd name="connsiteY28" fmla="*/ 1149844 h 5285288"/>
                  <a:gd name="connsiteX29" fmla="*/ 3998697 w 4212730"/>
                  <a:gd name="connsiteY29" fmla="*/ 1269783 h 5285288"/>
                  <a:gd name="connsiteX30" fmla="*/ 3978850 w 4212730"/>
                  <a:gd name="connsiteY30" fmla="*/ 1262485 h 5285288"/>
                  <a:gd name="connsiteX31" fmla="*/ 2513375 w 4212730"/>
                  <a:gd name="connsiteY31" fmla="*/ 431577 h 5285288"/>
                  <a:gd name="connsiteX32" fmla="*/ 2513032 w 4212730"/>
                  <a:gd name="connsiteY32" fmla="*/ 431184 h 5285288"/>
                  <a:gd name="connsiteX33" fmla="*/ 2490877 w 4212730"/>
                  <a:gd name="connsiteY33" fmla="*/ 437405 h 5285288"/>
                  <a:gd name="connsiteX34" fmla="*/ 2448227 w 4212730"/>
                  <a:gd name="connsiteY34" fmla="*/ 539231 h 5285288"/>
                  <a:gd name="connsiteX35" fmla="*/ 2448222 w 4212730"/>
                  <a:gd name="connsiteY35" fmla="*/ 1065628 h 5285288"/>
                  <a:gd name="connsiteX36" fmla="*/ 2445445 w 4212730"/>
                  <a:gd name="connsiteY36" fmla="*/ 1081825 h 5285288"/>
                  <a:gd name="connsiteX37" fmla="*/ 2442619 w 4212730"/>
                  <a:gd name="connsiteY37" fmla="*/ 1858316 h 5285288"/>
                  <a:gd name="connsiteX38" fmla="*/ 2444476 w 4212730"/>
                  <a:gd name="connsiteY38" fmla="*/ 1861834 h 5285288"/>
                  <a:gd name="connsiteX39" fmla="*/ 2443809 w 4212730"/>
                  <a:gd name="connsiteY39" fmla="*/ 3038034 h 5285288"/>
                  <a:gd name="connsiteX40" fmla="*/ 2441669 w 4212730"/>
                  <a:gd name="connsiteY40" fmla="*/ 4802821 h 5285288"/>
                  <a:gd name="connsiteX41" fmla="*/ 2374871 w 4212730"/>
                  <a:gd name="connsiteY41" fmla="*/ 5061801 h 5285288"/>
                  <a:gd name="connsiteX42" fmla="*/ 2230903 w 4212730"/>
                  <a:gd name="connsiteY42" fmla="*/ 5216241 h 5285288"/>
                  <a:gd name="connsiteX43" fmla="*/ 2020267 w 4212730"/>
                  <a:gd name="connsiteY43" fmla="*/ 5284752 h 5285288"/>
                  <a:gd name="connsiteX44" fmla="*/ 1970713 w 4212730"/>
                  <a:gd name="connsiteY44"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7391 w 4212730"/>
                  <a:gd name="connsiteY8" fmla="*/ 2508175 h 5285288"/>
                  <a:gd name="connsiteX9" fmla="*/ 406100 w 4212730"/>
                  <a:gd name="connsiteY9" fmla="*/ 2572658 h 5285288"/>
                  <a:gd name="connsiteX10" fmla="*/ 409165 w 4212730"/>
                  <a:gd name="connsiteY10" fmla="*/ 3888049 h 5285288"/>
                  <a:gd name="connsiteX11" fmla="*/ 407598 w 4212730"/>
                  <a:gd name="connsiteY11" fmla="*/ 3881457 h 5285288"/>
                  <a:gd name="connsiteX12" fmla="*/ 407517 w 4212730"/>
                  <a:gd name="connsiteY12" fmla="*/ 3894265 h 5285288"/>
                  <a:gd name="connsiteX13" fmla="*/ 464772 w 4212730"/>
                  <a:gd name="connsiteY13" fmla="*/ 3993435 h 5285288"/>
                  <a:gd name="connsiteX14" fmla="*/ 1965744 w 4212730"/>
                  <a:gd name="connsiteY14" fmla="*/ 4865353 h 5285288"/>
                  <a:gd name="connsiteX15" fmla="*/ 1966088 w 4212730"/>
                  <a:gd name="connsiteY15" fmla="*/ 4865745 h 5285288"/>
                  <a:gd name="connsiteX16" fmla="*/ 1988129 w 4212730"/>
                  <a:gd name="connsiteY16" fmla="*/ 4859558 h 5285288"/>
                  <a:gd name="connsiteX17" fmla="*/ 2034209 w 4212730"/>
                  <a:gd name="connsiteY17" fmla="*/ 4799004 h 5285288"/>
                  <a:gd name="connsiteX18" fmla="*/ 2036053 w 4212730"/>
                  <a:gd name="connsiteY18" fmla="*/ 4105978 h 5285288"/>
                  <a:gd name="connsiteX19" fmla="*/ 2038324 w 4212730"/>
                  <a:gd name="connsiteY19" fmla="*/ 1054770 h 5285288"/>
                  <a:gd name="connsiteX20" fmla="*/ 2037139 w 4212730"/>
                  <a:gd name="connsiteY20" fmla="*/ 1017192 h 5285288"/>
                  <a:gd name="connsiteX21" fmla="*/ 2035104 w 4212730"/>
                  <a:gd name="connsiteY21" fmla="*/ 494424 h 5285288"/>
                  <a:gd name="connsiteX22" fmla="*/ 2080595 w 4212730"/>
                  <a:gd name="connsiteY22" fmla="*/ 171698 h 5285288"/>
                  <a:gd name="connsiteX23" fmla="*/ 2245202 w 4212730"/>
                  <a:gd name="connsiteY23" fmla="*/ 25112 h 5285288"/>
                  <a:gd name="connsiteX24" fmla="*/ 2444848 w 4212730"/>
                  <a:gd name="connsiteY24" fmla="*/ 3326 h 5285288"/>
                  <a:gd name="connsiteX25" fmla="*/ 2620552 w 4212730"/>
                  <a:gd name="connsiteY25" fmla="*/ 37548 h 5285288"/>
                  <a:gd name="connsiteX26" fmla="*/ 4171705 w 4212730"/>
                  <a:gd name="connsiteY26" fmla="*/ 924343 h 5285288"/>
                  <a:gd name="connsiteX27" fmla="*/ 4172662 w 4212730"/>
                  <a:gd name="connsiteY27" fmla="*/ 1149844 h 5285288"/>
                  <a:gd name="connsiteX28" fmla="*/ 3998697 w 4212730"/>
                  <a:gd name="connsiteY28" fmla="*/ 1269783 h 5285288"/>
                  <a:gd name="connsiteX29" fmla="*/ 3978850 w 4212730"/>
                  <a:gd name="connsiteY29" fmla="*/ 1262485 h 5285288"/>
                  <a:gd name="connsiteX30" fmla="*/ 2513375 w 4212730"/>
                  <a:gd name="connsiteY30" fmla="*/ 431577 h 5285288"/>
                  <a:gd name="connsiteX31" fmla="*/ 2513032 w 4212730"/>
                  <a:gd name="connsiteY31" fmla="*/ 431184 h 5285288"/>
                  <a:gd name="connsiteX32" fmla="*/ 2490877 w 4212730"/>
                  <a:gd name="connsiteY32" fmla="*/ 437405 h 5285288"/>
                  <a:gd name="connsiteX33" fmla="*/ 2448227 w 4212730"/>
                  <a:gd name="connsiteY33" fmla="*/ 539231 h 5285288"/>
                  <a:gd name="connsiteX34" fmla="*/ 2448222 w 4212730"/>
                  <a:gd name="connsiteY34" fmla="*/ 1065628 h 5285288"/>
                  <a:gd name="connsiteX35" fmla="*/ 2445445 w 4212730"/>
                  <a:gd name="connsiteY35" fmla="*/ 1081825 h 5285288"/>
                  <a:gd name="connsiteX36" fmla="*/ 2442619 w 4212730"/>
                  <a:gd name="connsiteY36" fmla="*/ 1858316 h 5285288"/>
                  <a:gd name="connsiteX37" fmla="*/ 2444476 w 4212730"/>
                  <a:gd name="connsiteY37" fmla="*/ 1861834 h 5285288"/>
                  <a:gd name="connsiteX38" fmla="*/ 2443809 w 4212730"/>
                  <a:gd name="connsiteY38" fmla="*/ 3038034 h 5285288"/>
                  <a:gd name="connsiteX39" fmla="*/ 2441669 w 4212730"/>
                  <a:gd name="connsiteY39" fmla="*/ 4802821 h 5285288"/>
                  <a:gd name="connsiteX40" fmla="*/ 2374871 w 4212730"/>
                  <a:gd name="connsiteY40" fmla="*/ 5061801 h 5285288"/>
                  <a:gd name="connsiteX41" fmla="*/ 2230903 w 4212730"/>
                  <a:gd name="connsiteY41" fmla="*/ 5216241 h 5285288"/>
                  <a:gd name="connsiteX42" fmla="*/ 2020267 w 4212730"/>
                  <a:gd name="connsiteY42" fmla="*/ 5284752 h 5285288"/>
                  <a:gd name="connsiteX43" fmla="*/ 1970713 w 4212730"/>
                  <a:gd name="connsiteY43"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6100 w 4212730"/>
                  <a:gd name="connsiteY8" fmla="*/ 2572658 h 5285288"/>
                  <a:gd name="connsiteX9" fmla="*/ 409165 w 4212730"/>
                  <a:gd name="connsiteY9" fmla="*/ 3888049 h 5285288"/>
                  <a:gd name="connsiteX10" fmla="*/ 407598 w 4212730"/>
                  <a:gd name="connsiteY10" fmla="*/ 3881457 h 5285288"/>
                  <a:gd name="connsiteX11" fmla="*/ 407517 w 4212730"/>
                  <a:gd name="connsiteY11" fmla="*/ 3894265 h 5285288"/>
                  <a:gd name="connsiteX12" fmla="*/ 464772 w 4212730"/>
                  <a:gd name="connsiteY12" fmla="*/ 3993435 h 5285288"/>
                  <a:gd name="connsiteX13" fmla="*/ 1965744 w 4212730"/>
                  <a:gd name="connsiteY13" fmla="*/ 4865353 h 5285288"/>
                  <a:gd name="connsiteX14" fmla="*/ 1966088 w 4212730"/>
                  <a:gd name="connsiteY14" fmla="*/ 4865745 h 5285288"/>
                  <a:gd name="connsiteX15" fmla="*/ 1988129 w 4212730"/>
                  <a:gd name="connsiteY15" fmla="*/ 4859558 h 5285288"/>
                  <a:gd name="connsiteX16" fmla="*/ 2034209 w 4212730"/>
                  <a:gd name="connsiteY16" fmla="*/ 4799004 h 5285288"/>
                  <a:gd name="connsiteX17" fmla="*/ 2036053 w 4212730"/>
                  <a:gd name="connsiteY17" fmla="*/ 4105978 h 5285288"/>
                  <a:gd name="connsiteX18" fmla="*/ 2038324 w 4212730"/>
                  <a:gd name="connsiteY18" fmla="*/ 1054770 h 5285288"/>
                  <a:gd name="connsiteX19" fmla="*/ 2037139 w 4212730"/>
                  <a:gd name="connsiteY19" fmla="*/ 1017192 h 5285288"/>
                  <a:gd name="connsiteX20" fmla="*/ 2035104 w 4212730"/>
                  <a:gd name="connsiteY20" fmla="*/ 494424 h 5285288"/>
                  <a:gd name="connsiteX21" fmla="*/ 2080595 w 4212730"/>
                  <a:gd name="connsiteY21" fmla="*/ 171698 h 5285288"/>
                  <a:gd name="connsiteX22" fmla="*/ 2245202 w 4212730"/>
                  <a:gd name="connsiteY22" fmla="*/ 25112 h 5285288"/>
                  <a:gd name="connsiteX23" fmla="*/ 2444848 w 4212730"/>
                  <a:gd name="connsiteY23" fmla="*/ 3326 h 5285288"/>
                  <a:gd name="connsiteX24" fmla="*/ 2620552 w 4212730"/>
                  <a:gd name="connsiteY24" fmla="*/ 37548 h 5285288"/>
                  <a:gd name="connsiteX25" fmla="*/ 4171705 w 4212730"/>
                  <a:gd name="connsiteY25" fmla="*/ 924343 h 5285288"/>
                  <a:gd name="connsiteX26" fmla="*/ 4172662 w 4212730"/>
                  <a:gd name="connsiteY26" fmla="*/ 1149844 h 5285288"/>
                  <a:gd name="connsiteX27" fmla="*/ 3998697 w 4212730"/>
                  <a:gd name="connsiteY27" fmla="*/ 1269783 h 5285288"/>
                  <a:gd name="connsiteX28" fmla="*/ 3978850 w 4212730"/>
                  <a:gd name="connsiteY28" fmla="*/ 1262485 h 5285288"/>
                  <a:gd name="connsiteX29" fmla="*/ 2513375 w 4212730"/>
                  <a:gd name="connsiteY29" fmla="*/ 431577 h 5285288"/>
                  <a:gd name="connsiteX30" fmla="*/ 2513032 w 4212730"/>
                  <a:gd name="connsiteY30" fmla="*/ 431184 h 5285288"/>
                  <a:gd name="connsiteX31" fmla="*/ 2490877 w 4212730"/>
                  <a:gd name="connsiteY31" fmla="*/ 437405 h 5285288"/>
                  <a:gd name="connsiteX32" fmla="*/ 2448227 w 4212730"/>
                  <a:gd name="connsiteY32" fmla="*/ 539231 h 5285288"/>
                  <a:gd name="connsiteX33" fmla="*/ 2448222 w 4212730"/>
                  <a:gd name="connsiteY33" fmla="*/ 1065628 h 5285288"/>
                  <a:gd name="connsiteX34" fmla="*/ 2445445 w 4212730"/>
                  <a:gd name="connsiteY34" fmla="*/ 1081825 h 5285288"/>
                  <a:gd name="connsiteX35" fmla="*/ 2442619 w 4212730"/>
                  <a:gd name="connsiteY35" fmla="*/ 1858316 h 5285288"/>
                  <a:gd name="connsiteX36" fmla="*/ 2444476 w 4212730"/>
                  <a:gd name="connsiteY36" fmla="*/ 1861834 h 5285288"/>
                  <a:gd name="connsiteX37" fmla="*/ 2443809 w 4212730"/>
                  <a:gd name="connsiteY37" fmla="*/ 3038034 h 5285288"/>
                  <a:gd name="connsiteX38" fmla="*/ 2441669 w 4212730"/>
                  <a:gd name="connsiteY38" fmla="*/ 4802821 h 5285288"/>
                  <a:gd name="connsiteX39" fmla="*/ 2374871 w 4212730"/>
                  <a:gd name="connsiteY39" fmla="*/ 5061801 h 5285288"/>
                  <a:gd name="connsiteX40" fmla="*/ 2230903 w 4212730"/>
                  <a:gd name="connsiteY40" fmla="*/ 5216241 h 5285288"/>
                  <a:gd name="connsiteX41" fmla="*/ 2020267 w 4212730"/>
                  <a:gd name="connsiteY41" fmla="*/ 5284752 h 5285288"/>
                  <a:gd name="connsiteX42" fmla="*/ 1970713 w 4212730"/>
                  <a:gd name="connsiteY42"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9165 w 4212730"/>
                  <a:gd name="connsiteY8" fmla="*/ 3888049 h 5285288"/>
                  <a:gd name="connsiteX9" fmla="*/ 407598 w 4212730"/>
                  <a:gd name="connsiteY9" fmla="*/ 3881457 h 5285288"/>
                  <a:gd name="connsiteX10" fmla="*/ 407517 w 4212730"/>
                  <a:gd name="connsiteY10" fmla="*/ 3894265 h 5285288"/>
                  <a:gd name="connsiteX11" fmla="*/ 464772 w 4212730"/>
                  <a:gd name="connsiteY11" fmla="*/ 3993435 h 5285288"/>
                  <a:gd name="connsiteX12" fmla="*/ 1965744 w 4212730"/>
                  <a:gd name="connsiteY12" fmla="*/ 4865353 h 5285288"/>
                  <a:gd name="connsiteX13" fmla="*/ 1966088 w 4212730"/>
                  <a:gd name="connsiteY13" fmla="*/ 4865745 h 5285288"/>
                  <a:gd name="connsiteX14" fmla="*/ 1988129 w 4212730"/>
                  <a:gd name="connsiteY14" fmla="*/ 4859558 h 5285288"/>
                  <a:gd name="connsiteX15" fmla="*/ 2034209 w 4212730"/>
                  <a:gd name="connsiteY15" fmla="*/ 4799004 h 5285288"/>
                  <a:gd name="connsiteX16" fmla="*/ 2036053 w 4212730"/>
                  <a:gd name="connsiteY16" fmla="*/ 4105978 h 5285288"/>
                  <a:gd name="connsiteX17" fmla="*/ 2038324 w 4212730"/>
                  <a:gd name="connsiteY17" fmla="*/ 1054770 h 5285288"/>
                  <a:gd name="connsiteX18" fmla="*/ 2037139 w 4212730"/>
                  <a:gd name="connsiteY18" fmla="*/ 1017192 h 5285288"/>
                  <a:gd name="connsiteX19" fmla="*/ 2035104 w 4212730"/>
                  <a:gd name="connsiteY19" fmla="*/ 494424 h 5285288"/>
                  <a:gd name="connsiteX20" fmla="*/ 2080595 w 4212730"/>
                  <a:gd name="connsiteY20" fmla="*/ 171698 h 5285288"/>
                  <a:gd name="connsiteX21" fmla="*/ 2245202 w 4212730"/>
                  <a:gd name="connsiteY21" fmla="*/ 25112 h 5285288"/>
                  <a:gd name="connsiteX22" fmla="*/ 2444848 w 4212730"/>
                  <a:gd name="connsiteY22" fmla="*/ 3326 h 5285288"/>
                  <a:gd name="connsiteX23" fmla="*/ 2620552 w 4212730"/>
                  <a:gd name="connsiteY23" fmla="*/ 37548 h 5285288"/>
                  <a:gd name="connsiteX24" fmla="*/ 4171705 w 4212730"/>
                  <a:gd name="connsiteY24" fmla="*/ 924343 h 5285288"/>
                  <a:gd name="connsiteX25" fmla="*/ 4172662 w 4212730"/>
                  <a:gd name="connsiteY25" fmla="*/ 1149844 h 5285288"/>
                  <a:gd name="connsiteX26" fmla="*/ 3998697 w 4212730"/>
                  <a:gd name="connsiteY26" fmla="*/ 1269783 h 5285288"/>
                  <a:gd name="connsiteX27" fmla="*/ 3978850 w 4212730"/>
                  <a:gd name="connsiteY27" fmla="*/ 1262485 h 5285288"/>
                  <a:gd name="connsiteX28" fmla="*/ 2513375 w 4212730"/>
                  <a:gd name="connsiteY28" fmla="*/ 431577 h 5285288"/>
                  <a:gd name="connsiteX29" fmla="*/ 2513032 w 4212730"/>
                  <a:gd name="connsiteY29" fmla="*/ 431184 h 5285288"/>
                  <a:gd name="connsiteX30" fmla="*/ 2490877 w 4212730"/>
                  <a:gd name="connsiteY30" fmla="*/ 437405 h 5285288"/>
                  <a:gd name="connsiteX31" fmla="*/ 2448227 w 4212730"/>
                  <a:gd name="connsiteY31" fmla="*/ 539231 h 5285288"/>
                  <a:gd name="connsiteX32" fmla="*/ 2448222 w 4212730"/>
                  <a:gd name="connsiteY32" fmla="*/ 1065628 h 5285288"/>
                  <a:gd name="connsiteX33" fmla="*/ 2445445 w 4212730"/>
                  <a:gd name="connsiteY33" fmla="*/ 1081825 h 5285288"/>
                  <a:gd name="connsiteX34" fmla="*/ 2442619 w 4212730"/>
                  <a:gd name="connsiteY34" fmla="*/ 1858316 h 5285288"/>
                  <a:gd name="connsiteX35" fmla="*/ 2444476 w 4212730"/>
                  <a:gd name="connsiteY35" fmla="*/ 1861834 h 5285288"/>
                  <a:gd name="connsiteX36" fmla="*/ 2443809 w 4212730"/>
                  <a:gd name="connsiteY36" fmla="*/ 3038034 h 5285288"/>
                  <a:gd name="connsiteX37" fmla="*/ 2441669 w 4212730"/>
                  <a:gd name="connsiteY37" fmla="*/ 4802821 h 5285288"/>
                  <a:gd name="connsiteX38" fmla="*/ 2374871 w 4212730"/>
                  <a:gd name="connsiteY38" fmla="*/ 5061801 h 5285288"/>
                  <a:gd name="connsiteX39" fmla="*/ 2230903 w 4212730"/>
                  <a:gd name="connsiteY39" fmla="*/ 5216241 h 5285288"/>
                  <a:gd name="connsiteX40" fmla="*/ 2020267 w 4212730"/>
                  <a:gd name="connsiteY40" fmla="*/ 5284752 h 5285288"/>
                  <a:gd name="connsiteX41" fmla="*/ 1970713 w 4212730"/>
                  <a:gd name="connsiteY41" fmla="*/ 5285252 h 5285288"/>
                  <a:gd name="connsiteX0" fmla="*/ 1970596 w 4212613"/>
                  <a:gd name="connsiteY0" fmla="*/ 5285252 h 5285288"/>
                  <a:gd name="connsiteX1" fmla="*/ 1858972 w 4212613"/>
                  <a:gd name="connsiteY1" fmla="*/ 5257452 h 5285288"/>
                  <a:gd name="connsiteX2" fmla="*/ 1798971 w 4212613"/>
                  <a:gd name="connsiteY2" fmla="*/ 5227600 h 5285288"/>
                  <a:gd name="connsiteX3" fmla="*/ 257624 w 4212613"/>
                  <a:gd name="connsiteY3" fmla="*/ 4344402 h 5285288"/>
                  <a:gd name="connsiteX4" fmla="*/ 66738 w 4212613"/>
                  <a:gd name="connsiteY4" fmla="*/ 4157062 h 5285288"/>
                  <a:gd name="connsiteX5" fmla="*/ 4968 w 4212613"/>
                  <a:gd name="connsiteY5" fmla="*/ 3955159 h 5285288"/>
                  <a:gd name="connsiteX6" fmla="*/ 0 w 4212613"/>
                  <a:gd name="connsiteY6" fmla="*/ 3898769 h 5285288"/>
                  <a:gd name="connsiteX7" fmla="*/ 409048 w 4212613"/>
                  <a:gd name="connsiteY7" fmla="*/ 3888049 h 5285288"/>
                  <a:gd name="connsiteX8" fmla="*/ 407481 w 4212613"/>
                  <a:gd name="connsiteY8" fmla="*/ 3881457 h 5285288"/>
                  <a:gd name="connsiteX9" fmla="*/ 407400 w 4212613"/>
                  <a:gd name="connsiteY9" fmla="*/ 3894265 h 5285288"/>
                  <a:gd name="connsiteX10" fmla="*/ 464655 w 4212613"/>
                  <a:gd name="connsiteY10" fmla="*/ 3993435 h 5285288"/>
                  <a:gd name="connsiteX11" fmla="*/ 1965627 w 4212613"/>
                  <a:gd name="connsiteY11" fmla="*/ 4865353 h 5285288"/>
                  <a:gd name="connsiteX12" fmla="*/ 1965971 w 4212613"/>
                  <a:gd name="connsiteY12" fmla="*/ 4865745 h 5285288"/>
                  <a:gd name="connsiteX13" fmla="*/ 1988012 w 4212613"/>
                  <a:gd name="connsiteY13" fmla="*/ 4859558 h 5285288"/>
                  <a:gd name="connsiteX14" fmla="*/ 2034092 w 4212613"/>
                  <a:gd name="connsiteY14" fmla="*/ 4799004 h 5285288"/>
                  <a:gd name="connsiteX15" fmla="*/ 2035936 w 4212613"/>
                  <a:gd name="connsiteY15" fmla="*/ 4105978 h 5285288"/>
                  <a:gd name="connsiteX16" fmla="*/ 2038207 w 4212613"/>
                  <a:gd name="connsiteY16" fmla="*/ 1054770 h 5285288"/>
                  <a:gd name="connsiteX17" fmla="*/ 2037022 w 4212613"/>
                  <a:gd name="connsiteY17" fmla="*/ 1017192 h 5285288"/>
                  <a:gd name="connsiteX18" fmla="*/ 2034987 w 4212613"/>
                  <a:gd name="connsiteY18" fmla="*/ 494424 h 5285288"/>
                  <a:gd name="connsiteX19" fmla="*/ 2080478 w 4212613"/>
                  <a:gd name="connsiteY19" fmla="*/ 171698 h 5285288"/>
                  <a:gd name="connsiteX20" fmla="*/ 2245085 w 4212613"/>
                  <a:gd name="connsiteY20" fmla="*/ 25112 h 5285288"/>
                  <a:gd name="connsiteX21" fmla="*/ 2444731 w 4212613"/>
                  <a:gd name="connsiteY21" fmla="*/ 3326 h 5285288"/>
                  <a:gd name="connsiteX22" fmla="*/ 2620435 w 4212613"/>
                  <a:gd name="connsiteY22" fmla="*/ 37548 h 5285288"/>
                  <a:gd name="connsiteX23" fmla="*/ 4171588 w 4212613"/>
                  <a:gd name="connsiteY23" fmla="*/ 924343 h 5285288"/>
                  <a:gd name="connsiteX24" fmla="*/ 4172545 w 4212613"/>
                  <a:gd name="connsiteY24" fmla="*/ 1149844 h 5285288"/>
                  <a:gd name="connsiteX25" fmla="*/ 3998580 w 4212613"/>
                  <a:gd name="connsiteY25" fmla="*/ 1269783 h 5285288"/>
                  <a:gd name="connsiteX26" fmla="*/ 3978733 w 4212613"/>
                  <a:gd name="connsiteY26" fmla="*/ 1262485 h 5285288"/>
                  <a:gd name="connsiteX27" fmla="*/ 2513258 w 4212613"/>
                  <a:gd name="connsiteY27" fmla="*/ 431577 h 5285288"/>
                  <a:gd name="connsiteX28" fmla="*/ 2512915 w 4212613"/>
                  <a:gd name="connsiteY28" fmla="*/ 431184 h 5285288"/>
                  <a:gd name="connsiteX29" fmla="*/ 2490760 w 4212613"/>
                  <a:gd name="connsiteY29" fmla="*/ 437405 h 5285288"/>
                  <a:gd name="connsiteX30" fmla="*/ 2448110 w 4212613"/>
                  <a:gd name="connsiteY30" fmla="*/ 539231 h 5285288"/>
                  <a:gd name="connsiteX31" fmla="*/ 2448105 w 4212613"/>
                  <a:gd name="connsiteY31" fmla="*/ 1065628 h 5285288"/>
                  <a:gd name="connsiteX32" fmla="*/ 2445328 w 4212613"/>
                  <a:gd name="connsiteY32" fmla="*/ 1081825 h 5285288"/>
                  <a:gd name="connsiteX33" fmla="*/ 2442502 w 4212613"/>
                  <a:gd name="connsiteY33" fmla="*/ 1858316 h 5285288"/>
                  <a:gd name="connsiteX34" fmla="*/ 2444359 w 4212613"/>
                  <a:gd name="connsiteY34" fmla="*/ 1861834 h 5285288"/>
                  <a:gd name="connsiteX35" fmla="*/ 2443692 w 4212613"/>
                  <a:gd name="connsiteY35" fmla="*/ 3038034 h 5285288"/>
                  <a:gd name="connsiteX36" fmla="*/ 2441552 w 4212613"/>
                  <a:gd name="connsiteY36" fmla="*/ 4802821 h 5285288"/>
                  <a:gd name="connsiteX37" fmla="*/ 2374754 w 4212613"/>
                  <a:gd name="connsiteY37" fmla="*/ 5061801 h 5285288"/>
                  <a:gd name="connsiteX38" fmla="*/ 2230786 w 4212613"/>
                  <a:gd name="connsiteY38" fmla="*/ 5216241 h 5285288"/>
                  <a:gd name="connsiteX39" fmla="*/ 2020150 w 4212613"/>
                  <a:gd name="connsiteY39" fmla="*/ 5284752 h 5285288"/>
                  <a:gd name="connsiteX40" fmla="*/ 1970596 w 4212613"/>
                  <a:gd name="connsiteY40" fmla="*/ 5285252 h 5285288"/>
                  <a:gd name="connsiteX0" fmla="*/ 1965628 w 4207645"/>
                  <a:gd name="connsiteY0" fmla="*/ 5285252 h 5285288"/>
                  <a:gd name="connsiteX1" fmla="*/ 1854004 w 4207645"/>
                  <a:gd name="connsiteY1" fmla="*/ 5257452 h 5285288"/>
                  <a:gd name="connsiteX2" fmla="*/ 1794003 w 4207645"/>
                  <a:gd name="connsiteY2" fmla="*/ 5227600 h 5285288"/>
                  <a:gd name="connsiteX3" fmla="*/ 252656 w 4207645"/>
                  <a:gd name="connsiteY3" fmla="*/ 4344402 h 5285288"/>
                  <a:gd name="connsiteX4" fmla="*/ 61770 w 4207645"/>
                  <a:gd name="connsiteY4" fmla="*/ 4157062 h 5285288"/>
                  <a:gd name="connsiteX5" fmla="*/ 0 w 4207645"/>
                  <a:gd name="connsiteY5" fmla="*/ 3955159 h 5285288"/>
                  <a:gd name="connsiteX6" fmla="*/ 404080 w 4207645"/>
                  <a:gd name="connsiteY6" fmla="*/ 3888049 h 5285288"/>
                  <a:gd name="connsiteX7" fmla="*/ 402513 w 4207645"/>
                  <a:gd name="connsiteY7" fmla="*/ 3881457 h 5285288"/>
                  <a:gd name="connsiteX8" fmla="*/ 402432 w 4207645"/>
                  <a:gd name="connsiteY8" fmla="*/ 3894265 h 5285288"/>
                  <a:gd name="connsiteX9" fmla="*/ 459687 w 4207645"/>
                  <a:gd name="connsiteY9" fmla="*/ 3993435 h 5285288"/>
                  <a:gd name="connsiteX10" fmla="*/ 1960659 w 4207645"/>
                  <a:gd name="connsiteY10" fmla="*/ 4865353 h 5285288"/>
                  <a:gd name="connsiteX11" fmla="*/ 1961003 w 4207645"/>
                  <a:gd name="connsiteY11" fmla="*/ 4865745 h 5285288"/>
                  <a:gd name="connsiteX12" fmla="*/ 1983044 w 4207645"/>
                  <a:gd name="connsiteY12" fmla="*/ 4859558 h 5285288"/>
                  <a:gd name="connsiteX13" fmla="*/ 2029124 w 4207645"/>
                  <a:gd name="connsiteY13" fmla="*/ 4799004 h 5285288"/>
                  <a:gd name="connsiteX14" fmla="*/ 2030968 w 4207645"/>
                  <a:gd name="connsiteY14" fmla="*/ 4105978 h 5285288"/>
                  <a:gd name="connsiteX15" fmla="*/ 2033239 w 4207645"/>
                  <a:gd name="connsiteY15" fmla="*/ 1054770 h 5285288"/>
                  <a:gd name="connsiteX16" fmla="*/ 2032054 w 4207645"/>
                  <a:gd name="connsiteY16" fmla="*/ 1017192 h 5285288"/>
                  <a:gd name="connsiteX17" fmla="*/ 2030019 w 4207645"/>
                  <a:gd name="connsiteY17" fmla="*/ 494424 h 5285288"/>
                  <a:gd name="connsiteX18" fmla="*/ 2075510 w 4207645"/>
                  <a:gd name="connsiteY18" fmla="*/ 171698 h 5285288"/>
                  <a:gd name="connsiteX19" fmla="*/ 2240117 w 4207645"/>
                  <a:gd name="connsiteY19" fmla="*/ 25112 h 5285288"/>
                  <a:gd name="connsiteX20" fmla="*/ 2439763 w 4207645"/>
                  <a:gd name="connsiteY20" fmla="*/ 3326 h 5285288"/>
                  <a:gd name="connsiteX21" fmla="*/ 2615467 w 4207645"/>
                  <a:gd name="connsiteY21" fmla="*/ 37548 h 5285288"/>
                  <a:gd name="connsiteX22" fmla="*/ 4166620 w 4207645"/>
                  <a:gd name="connsiteY22" fmla="*/ 924343 h 5285288"/>
                  <a:gd name="connsiteX23" fmla="*/ 4167577 w 4207645"/>
                  <a:gd name="connsiteY23" fmla="*/ 1149844 h 5285288"/>
                  <a:gd name="connsiteX24" fmla="*/ 3993612 w 4207645"/>
                  <a:gd name="connsiteY24" fmla="*/ 1269783 h 5285288"/>
                  <a:gd name="connsiteX25" fmla="*/ 3973765 w 4207645"/>
                  <a:gd name="connsiteY25" fmla="*/ 1262485 h 5285288"/>
                  <a:gd name="connsiteX26" fmla="*/ 2508290 w 4207645"/>
                  <a:gd name="connsiteY26" fmla="*/ 431577 h 5285288"/>
                  <a:gd name="connsiteX27" fmla="*/ 2507947 w 4207645"/>
                  <a:gd name="connsiteY27" fmla="*/ 431184 h 5285288"/>
                  <a:gd name="connsiteX28" fmla="*/ 2485792 w 4207645"/>
                  <a:gd name="connsiteY28" fmla="*/ 437405 h 5285288"/>
                  <a:gd name="connsiteX29" fmla="*/ 2443142 w 4207645"/>
                  <a:gd name="connsiteY29" fmla="*/ 539231 h 5285288"/>
                  <a:gd name="connsiteX30" fmla="*/ 2443137 w 4207645"/>
                  <a:gd name="connsiteY30" fmla="*/ 1065628 h 5285288"/>
                  <a:gd name="connsiteX31" fmla="*/ 2440360 w 4207645"/>
                  <a:gd name="connsiteY31" fmla="*/ 1081825 h 5285288"/>
                  <a:gd name="connsiteX32" fmla="*/ 2437534 w 4207645"/>
                  <a:gd name="connsiteY32" fmla="*/ 1858316 h 5285288"/>
                  <a:gd name="connsiteX33" fmla="*/ 2439391 w 4207645"/>
                  <a:gd name="connsiteY33" fmla="*/ 1861834 h 5285288"/>
                  <a:gd name="connsiteX34" fmla="*/ 2438724 w 4207645"/>
                  <a:gd name="connsiteY34" fmla="*/ 3038034 h 5285288"/>
                  <a:gd name="connsiteX35" fmla="*/ 2436584 w 4207645"/>
                  <a:gd name="connsiteY35" fmla="*/ 4802821 h 5285288"/>
                  <a:gd name="connsiteX36" fmla="*/ 2369786 w 4207645"/>
                  <a:gd name="connsiteY36" fmla="*/ 5061801 h 5285288"/>
                  <a:gd name="connsiteX37" fmla="*/ 2225818 w 4207645"/>
                  <a:gd name="connsiteY37" fmla="*/ 5216241 h 5285288"/>
                  <a:gd name="connsiteX38" fmla="*/ 2015182 w 4207645"/>
                  <a:gd name="connsiteY38" fmla="*/ 5284752 h 5285288"/>
                  <a:gd name="connsiteX39" fmla="*/ 1965628 w 4207645"/>
                  <a:gd name="connsiteY39" fmla="*/ 5285252 h 5285288"/>
                  <a:gd name="connsiteX0" fmla="*/ 1978947 w 4220964"/>
                  <a:gd name="connsiteY0" fmla="*/ 5285252 h 5285288"/>
                  <a:gd name="connsiteX1" fmla="*/ 1867323 w 4220964"/>
                  <a:gd name="connsiteY1" fmla="*/ 5257452 h 5285288"/>
                  <a:gd name="connsiteX2" fmla="*/ 1807322 w 4220964"/>
                  <a:gd name="connsiteY2" fmla="*/ 5227600 h 5285288"/>
                  <a:gd name="connsiteX3" fmla="*/ 265975 w 4220964"/>
                  <a:gd name="connsiteY3" fmla="*/ 4344402 h 5285288"/>
                  <a:gd name="connsiteX4" fmla="*/ 13319 w 4220964"/>
                  <a:gd name="connsiteY4" fmla="*/ 3955159 h 5285288"/>
                  <a:gd name="connsiteX5" fmla="*/ 417399 w 4220964"/>
                  <a:gd name="connsiteY5" fmla="*/ 3888049 h 5285288"/>
                  <a:gd name="connsiteX6" fmla="*/ 415832 w 4220964"/>
                  <a:gd name="connsiteY6" fmla="*/ 3881457 h 5285288"/>
                  <a:gd name="connsiteX7" fmla="*/ 415751 w 4220964"/>
                  <a:gd name="connsiteY7" fmla="*/ 3894265 h 5285288"/>
                  <a:gd name="connsiteX8" fmla="*/ 473006 w 4220964"/>
                  <a:gd name="connsiteY8" fmla="*/ 3993435 h 5285288"/>
                  <a:gd name="connsiteX9" fmla="*/ 1973978 w 4220964"/>
                  <a:gd name="connsiteY9" fmla="*/ 4865353 h 5285288"/>
                  <a:gd name="connsiteX10" fmla="*/ 1974322 w 4220964"/>
                  <a:gd name="connsiteY10" fmla="*/ 4865745 h 5285288"/>
                  <a:gd name="connsiteX11" fmla="*/ 1996363 w 4220964"/>
                  <a:gd name="connsiteY11" fmla="*/ 4859558 h 5285288"/>
                  <a:gd name="connsiteX12" fmla="*/ 2042443 w 4220964"/>
                  <a:gd name="connsiteY12" fmla="*/ 4799004 h 5285288"/>
                  <a:gd name="connsiteX13" fmla="*/ 2044287 w 4220964"/>
                  <a:gd name="connsiteY13" fmla="*/ 4105978 h 5285288"/>
                  <a:gd name="connsiteX14" fmla="*/ 2046558 w 4220964"/>
                  <a:gd name="connsiteY14" fmla="*/ 1054770 h 5285288"/>
                  <a:gd name="connsiteX15" fmla="*/ 2045373 w 4220964"/>
                  <a:gd name="connsiteY15" fmla="*/ 1017192 h 5285288"/>
                  <a:gd name="connsiteX16" fmla="*/ 2043338 w 4220964"/>
                  <a:gd name="connsiteY16" fmla="*/ 494424 h 5285288"/>
                  <a:gd name="connsiteX17" fmla="*/ 2088829 w 4220964"/>
                  <a:gd name="connsiteY17" fmla="*/ 171698 h 5285288"/>
                  <a:gd name="connsiteX18" fmla="*/ 2253436 w 4220964"/>
                  <a:gd name="connsiteY18" fmla="*/ 25112 h 5285288"/>
                  <a:gd name="connsiteX19" fmla="*/ 2453082 w 4220964"/>
                  <a:gd name="connsiteY19" fmla="*/ 3326 h 5285288"/>
                  <a:gd name="connsiteX20" fmla="*/ 2628786 w 4220964"/>
                  <a:gd name="connsiteY20" fmla="*/ 37548 h 5285288"/>
                  <a:gd name="connsiteX21" fmla="*/ 4179939 w 4220964"/>
                  <a:gd name="connsiteY21" fmla="*/ 924343 h 5285288"/>
                  <a:gd name="connsiteX22" fmla="*/ 4180896 w 4220964"/>
                  <a:gd name="connsiteY22" fmla="*/ 1149844 h 5285288"/>
                  <a:gd name="connsiteX23" fmla="*/ 4006931 w 4220964"/>
                  <a:gd name="connsiteY23" fmla="*/ 1269783 h 5285288"/>
                  <a:gd name="connsiteX24" fmla="*/ 3987084 w 4220964"/>
                  <a:gd name="connsiteY24" fmla="*/ 1262485 h 5285288"/>
                  <a:gd name="connsiteX25" fmla="*/ 2521609 w 4220964"/>
                  <a:gd name="connsiteY25" fmla="*/ 431577 h 5285288"/>
                  <a:gd name="connsiteX26" fmla="*/ 2521266 w 4220964"/>
                  <a:gd name="connsiteY26" fmla="*/ 431184 h 5285288"/>
                  <a:gd name="connsiteX27" fmla="*/ 2499111 w 4220964"/>
                  <a:gd name="connsiteY27" fmla="*/ 437405 h 5285288"/>
                  <a:gd name="connsiteX28" fmla="*/ 2456461 w 4220964"/>
                  <a:gd name="connsiteY28" fmla="*/ 539231 h 5285288"/>
                  <a:gd name="connsiteX29" fmla="*/ 2456456 w 4220964"/>
                  <a:gd name="connsiteY29" fmla="*/ 1065628 h 5285288"/>
                  <a:gd name="connsiteX30" fmla="*/ 2453679 w 4220964"/>
                  <a:gd name="connsiteY30" fmla="*/ 1081825 h 5285288"/>
                  <a:gd name="connsiteX31" fmla="*/ 2450853 w 4220964"/>
                  <a:gd name="connsiteY31" fmla="*/ 1858316 h 5285288"/>
                  <a:gd name="connsiteX32" fmla="*/ 2452710 w 4220964"/>
                  <a:gd name="connsiteY32" fmla="*/ 1861834 h 5285288"/>
                  <a:gd name="connsiteX33" fmla="*/ 2452043 w 4220964"/>
                  <a:gd name="connsiteY33" fmla="*/ 3038034 h 5285288"/>
                  <a:gd name="connsiteX34" fmla="*/ 2449903 w 4220964"/>
                  <a:gd name="connsiteY34" fmla="*/ 4802821 h 5285288"/>
                  <a:gd name="connsiteX35" fmla="*/ 2383105 w 4220964"/>
                  <a:gd name="connsiteY35" fmla="*/ 5061801 h 5285288"/>
                  <a:gd name="connsiteX36" fmla="*/ 2239137 w 4220964"/>
                  <a:gd name="connsiteY36" fmla="*/ 5216241 h 5285288"/>
                  <a:gd name="connsiteX37" fmla="*/ 2028501 w 4220964"/>
                  <a:gd name="connsiteY37" fmla="*/ 5284752 h 5285288"/>
                  <a:gd name="connsiteX38" fmla="*/ 1978947 w 4220964"/>
                  <a:gd name="connsiteY38" fmla="*/ 5285252 h 5285288"/>
                  <a:gd name="connsiteX0" fmla="*/ 1790618 w 4032635"/>
                  <a:gd name="connsiteY0" fmla="*/ 5285252 h 5285288"/>
                  <a:gd name="connsiteX1" fmla="*/ 1678994 w 4032635"/>
                  <a:gd name="connsiteY1" fmla="*/ 5257452 h 5285288"/>
                  <a:gd name="connsiteX2" fmla="*/ 1618993 w 4032635"/>
                  <a:gd name="connsiteY2" fmla="*/ 5227600 h 5285288"/>
                  <a:gd name="connsiteX3" fmla="*/ 77646 w 4032635"/>
                  <a:gd name="connsiteY3" fmla="*/ 4344402 h 5285288"/>
                  <a:gd name="connsiteX4" fmla="*/ 229070 w 4032635"/>
                  <a:gd name="connsiteY4" fmla="*/ 3888049 h 5285288"/>
                  <a:gd name="connsiteX5" fmla="*/ 227503 w 4032635"/>
                  <a:gd name="connsiteY5" fmla="*/ 3881457 h 5285288"/>
                  <a:gd name="connsiteX6" fmla="*/ 227422 w 4032635"/>
                  <a:gd name="connsiteY6" fmla="*/ 3894265 h 5285288"/>
                  <a:gd name="connsiteX7" fmla="*/ 284677 w 4032635"/>
                  <a:gd name="connsiteY7" fmla="*/ 3993435 h 5285288"/>
                  <a:gd name="connsiteX8" fmla="*/ 1785649 w 4032635"/>
                  <a:gd name="connsiteY8" fmla="*/ 4865353 h 5285288"/>
                  <a:gd name="connsiteX9" fmla="*/ 1785993 w 4032635"/>
                  <a:gd name="connsiteY9" fmla="*/ 4865745 h 5285288"/>
                  <a:gd name="connsiteX10" fmla="*/ 1808034 w 4032635"/>
                  <a:gd name="connsiteY10" fmla="*/ 4859558 h 5285288"/>
                  <a:gd name="connsiteX11" fmla="*/ 1854114 w 4032635"/>
                  <a:gd name="connsiteY11" fmla="*/ 4799004 h 5285288"/>
                  <a:gd name="connsiteX12" fmla="*/ 1855958 w 4032635"/>
                  <a:gd name="connsiteY12" fmla="*/ 4105978 h 5285288"/>
                  <a:gd name="connsiteX13" fmla="*/ 1858229 w 4032635"/>
                  <a:gd name="connsiteY13" fmla="*/ 1054770 h 5285288"/>
                  <a:gd name="connsiteX14" fmla="*/ 1857044 w 4032635"/>
                  <a:gd name="connsiteY14" fmla="*/ 1017192 h 5285288"/>
                  <a:gd name="connsiteX15" fmla="*/ 1855009 w 4032635"/>
                  <a:gd name="connsiteY15" fmla="*/ 494424 h 5285288"/>
                  <a:gd name="connsiteX16" fmla="*/ 1900500 w 4032635"/>
                  <a:gd name="connsiteY16" fmla="*/ 171698 h 5285288"/>
                  <a:gd name="connsiteX17" fmla="*/ 2065107 w 4032635"/>
                  <a:gd name="connsiteY17" fmla="*/ 25112 h 5285288"/>
                  <a:gd name="connsiteX18" fmla="*/ 2264753 w 4032635"/>
                  <a:gd name="connsiteY18" fmla="*/ 3326 h 5285288"/>
                  <a:gd name="connsiteX19" fmla="*/ 2440457 w 4032635"/>
                  <a:gd name="connsiteY19" fmla="*/ 37548 h 5285288"/>
                  <a:gd name="connsiteX20" fmla="*/ 3991610 w 4032635"/>
                  <a:gd name="connsiteY20" fmla="*/ 924343 h 5285288"/>
                  <a:gd name="connsiteX21" fmla="*/ 3992567 w 4032635"/>
                  <a:gd name="connsiteY21" fmla="*/ 1149844 h 5285288"/>
                  <a:gd name="connsiteX22" fmla="*/ 3818602 w 4032635"/>
                  <a:gd name="connsiteY22" fmla="*/ 1269783 h 5285288"/>
                  <a:gd name="connsiteX23" fmla="*/ 3798755 w 4032635"/>
                  <a:gd name="connsiteY23" fmla="*/ 1262485 h 5285288"/>
                  <a:gd name="connsiteX24" fmla="*/ 2333280 w 4032635"/>
                  <a:gd name="connsiteY24" fmla="*/ 431577 h 5285288"/>
                  <a:gd name="connsiteX25" fmla="*/ 2332937 w 4032635"/>
                  <a:gd name="connsiteY25" fmla="*/ 431184 h 5285288"/>
                  <a:gd name="connsiteX26" fmla="*/ 2310782 w 4032635"/>
                  <a:gd name="connsiteY26" fmla="*/ 437405 h 5285288"/>
                  <a:gd name="connsiteX27" fmla="*/ 2268132 w 4032635"/>
                  <a:gd name="connsiteY27" fmla="*/ 539231 h 5285288"/>
                  <a:gd name="connsiteX28" fmla="*/ 2268127 w 4032635"/>
                  <a:gd name="connsiteY28" fmla="*/ 1065628 h 5285288"/>
                  <a:gd name="connsiteX29" fmla="*/ 2265350 w 4032635"/>
                  <a:gd name="connsiteY29" fmla="*/ 1081825 h 5285288"/>
                  <a:gd name="connsiteX30" fmla="*/ 2262524 w 4032635"/>
                  <a:gd name="connsiteY30" fmla="*/ 1858316 h 5285288"/>
                  <a:gd name="connsiteX31" fmla="*/ 2264381 w 4032635"/>
                  <a:gd name="connsiteY31" fmla="*/ 1861834 h 5285288"/>
                  <a:gd name="connsiteX32" fmla="*/ 2263714 w 4032635"/>
                  <a:gd name="connsiteY32" fmla="*/ 3038034 h 5285288"/>
                  <a:gd name="connsiteX33" fmla="*/ 2261574 w 4032635"/>
                  <a:gd name="connsiteY33" fmla="*/ 4802821 h 5285288"/>
                  <a:gd name="connsiteX34" fmla="*/ 2194776 w 4032635"/>
                  <a:gd name="connsiteY34" fmla="*/ 5061801 h 5285288"/>
                  <a:gd name="connsiteX35" fmla="*/ 2050808 w 4032635"/>
                  <a:gd name="connsiteY35" fmla="*/ 5216241 h 5285288"/>
                  <a:gd name="connsiteX36" fmla="*/ 1840172 w 4032635"/>
                  <a:gd name="connsiteY36" fmla="*/ 5284752 h 5285288"/>
                  <a:gd name="connsiteX37" fmla="*/ 1790618 w 4032635"/>
                  <a:gd name="connsiteY37" fmla="*/ 5285252 h 5285288"/>
                  <a:gd name="connsiteX0" fmla="*/ 1563196 w 3805213"/>
                  <a:gd name="connsiteY0" fmla="*/ 5285252 h 5285288"/>
                  <a:gd name="connsiteX1" fmla="*/ 1451572 w 3805213"/>
                  <a:gd name="connsiteY1" fmla="*/ 5257452 h 5285288"/>
                  <a:gd name="connsiteX2" fmla="*/ 1391571 w 3805213"/>
                  <a:gd name="connsiteY2" fmla="*/ 5227600 h 5285288"/>
                  <a:gd name="connsiteX3" fmla="*/ 1648 w 3805213"/>
                  <a:gd name="connsiteY3" fmla="*/ 3888049 h 5285288"/>
                  <a:gd name="connsiteX4" fmla="*/ 81 w 3805213"/>
                  <a:gd name="connsiteY4" fmla="*/ 3881457 h 5285288"/>
                  <a:gd name="connsiteX5" fmla="*/ 0 w 3805213"/>
                  <a:gd name="connsiteY5" fmla="*/ 3894265 h 5285288"/>
                  <a:gd name="connsiteX6" fmla="*/ 57255 w 3805213"/>
                  <a:gd name="connsiteY6" fmla="*/ 3993435 h 5285288"/>
                  <a:gd name="connsiteX7" fmla="*/ 1558227 w 3805213"/>
                  <a:gd name="connsiteY7" fmla="*/ 4865353 h 5285288"/>
                  <a:gd name="connsiteX8" fmla="*/ 1558571 w 3805213"/>
                  <a:gd name="connsiteY8" fmla="*/ 4865745 h 5285288"/>
                  <a:gd name="connsiteX9" fmla="*/ 1580612 w 3805213"/>
                  <a:gd name="connsiteY9" fmla="*/ 4859558 h 5285288"/>
                  <a:gd name="connsiteX10" fmla="*/ 1626692 w 3805213"/>
                  <a:gd name="connsiteY10" fmla="*/ 4799004 h 5285288"/>
                  <a:gd name="connsiteX11" fmla="*/ 1628536 w 3805213"/>
                  <a:gd name="connsiteY11" fmla="*/ 4105978 h 5285288"/>
                  <a:gd name="connsiteX12" fmla="*/ 1630807 w 3805213"/>
                  <a:gd name="connsiteY12" fmla="*/ 1054770 h 5285288"/>
                  <a:gd name="connsiteX13" fmla="*/ 1629622 w 3805213"/>
                  <a:gd name="connsiteY13" fmla="*/ 1017192 h 5285288"/>
                  <a:gd name="connsiteX14" fmla="*/ 1627587 w 3805213"/>
                  <a:gd name="connsiteY14" fmla="*/ 494424 h 5285288"/>
                  <a:gd name="connsiteX15" fmla="*/ 1673078 w 3805213"/>
                  <a:gd name="connsiteY15" fmla="*/ 171698 h 5285288"/>
                  <a:gd name="connsiteX16" fmla="*/ 1837685 w 3805213"/>
                  <a:gd name="connsiteY16" fmla="*/ 25112 h 5285288"/>
                  <a:gd name="connsiteX17" fmla="*/ 2037331 w 3805213"/>
                  <a:gd name="connsiteY17" fmla="*/ 3326 h 5285288"/>
                  <a:gd name="connsiteX18" fmla="*/ 2213035 w 3805213"/>
                  <a:gd name="connsiteY18" fmla="*/ 37548 h 5285288"/>
                  <a:gd name="connsiteX19" fmla="*/ 3764188 w 3805213"/>
                  <a:gd name="connsiteY19" fmla="*/ 924343 h 5285288"/>
                  <a:gd name="connsiteX20" fmla="*/ 3765145 w 3805213"/>
                  <a:gd name="connsiteY20" fmla="*/ 1149844 h 5285288"/>
                  <a:gd name="connsiteX21" fmla="*/ 3591180 w 3805213"/>
                  <a:gd name="connsiteY21" fmla="*/ 1269783 h 5285288"/>
                  <a:gd name="connsiteX22" fmla="*/ 3571333 w 3805213"/>
                  <a:gd name="connsiteY22" fmla="*/ 1262485 h 5285288"/>
                  <a:gd name="connsiteX23" fmla="*/ 2105858 w 3805213"/>
                  <a:gd name="connsiteY23" fmla="*/ 431577 h 5285288"/>
                  <a:gd name="connsiteX24" fmla="*/ 2105515 w 3805213"/>
                  <a:gd name="connsiteY24" fmla="*/ 431184 h 5285288"/>
                  <a:gd name="connsiteX25" fmla="*/ 2083360 w 3805213"/>
                  <a:gd name="connsiteY25" fmla="*/ 437405 h 5285288"/>
                  <a:gd name="connsiteX26" fmla="*/ 2040710 w 3805213"/>
                  <a:gd name="connsiteY26" fmla="*/ 539231 h 5285288"/>
                  <a:gd name="connsiteX27" fmla="*/ 2040705 w 3805213"/>
                  <a:gd name="connsiteY27" fmla="*/ 1065628 h 5285288"/>
                  <a:gd name="connsiteX28" fmla="*/ 2037928 w 3805213"/>
                  <a:gd name="connsiteY28" fmla="*/ 1081825 h 5285288"/>
                  <a:gd name="connsiteX29" fmla="*/ 2035102 w 3805213"/>
                  <a:gd name="connsiteY29" fmla="*/ 1858316 h 5285288"/>
                  <a:gd name="connsiteX30" fmla="*/ 2036959 w 3805213"/>
                  <a:gd name="connsiteY30" fmla="*/ 1861834 h 5285288"/>
                  <a:gd name="connsiteX31" fmla="*/ 2036292 w 3805213"/>
                  <a:gd name="connsiteY31" fmla="*/ 3038034 h 5285288"/>
                  <a:gd name="connsiteX32" fmla="*/ 2034152 w 3805213"/>
                  <a:gd name="connsiteY32" fmla="*/ 4802821 h 5285288"/>
                  <a:gd name="connsiteX33" fmla="*/ 1967354 w 3805213"/>
                  <a:gd name="connsiteY33" fmla="*/ 5061801 h 5285288"/>
                  <a:gd name="connsiteX34" fmla="*/ 1823386 w 3805213"/>
                  <a:gd name="connsiteY34" fmla="*/ 5216241 h 5285288"/>
                  <a:gd name="connsiteX35" fmla="*/ 1612750 w 3805213"/>
                  <a:gd name="connsiteY35" fmla="*/ 5284752 h 5285288"/>
                  <a:gd name="connsiteX36" fmla="*/ 1563196 w 3805213"/>
                  <a:gd name="connsiteY36" fmla="*/ 5285252 h 5285288"/>
                  <a:gd name="connsiteX0" fmla="*/ 1635752 w 3877769"/>
                  <a:gd name="connsiteY0" fmla="*/ 5285252 h 5285288"/>
                  <a:gd name="connsiteX1" fmla="*/ 1524128 w 3877769"/>
                  <a:gd name="connsiteY1" fmla="*/ 5257452 h 5285288"/>
                  <a:gd name="connsiteX2" fmla="*/ 1464127 w 3877769"/>
                  <a:gd name="connsiteY2" fmla="*/ 5227600 h 5285288"/>
                  <a:gd name="connsiteX3" fmla="*/ 74204 w 3877769"/>
                  <a:gd name="connsiteY3" fmla="*/ 3888049 h 5285288"/>
                  <a:gd name="connsiteX4" fmla="*/ 72637 w 3877769"/>
                  <a:gd name="connsiteY4" fmla="*/ 3881457 h 5285288"/>
                  <a:gd name="connsiteX5" fmla="*/ 129811 w 3877769"/>
                  <a:gd name="connsiteY5" fmla="*/ 3993435 h 5285288"/>
                  <a:gd name="connsiteX6" fmla="*/ 1630783 w 3877769"/>
                  <a:gd name="connsiteY6" fmla="*/ 4865353 h 5285288"/>
                  <a:gd name="connsiteX7" fmla="*/ 1631127 w 3877769"/>
                  <a:gd name="connsiteY7" fmla="*/ 4865745 h 5285288"/>
                  <a:gd name="connsiteX8" fmla="*/ 1653168 w 3877769"/>
                  <a:gd name="connsiteY8" fmla="*/ 4859558 h 5285288"/>
                  <a:gd name="connsiteX9" fmla="*/ 1699248 w 3877769"/>
                  <a:gd name="connsiteY9" fmla="*/ 4799004 h 5285288"/>
                  <a:gd name="connsiteX10" fmla="*/ 1701092 w 3877769"/>
                  <a:gd name="connsiteY10" fmla="*/ 4105978 h 5285288"/>
                  <a:gd name="connsiteX11" fmla="*/ 1703363 w 3877769"/>
                  <a:gd name="connsiteY11" fmla="*/ 1054770 h 5285288"/>
                  <a:gd name="connsiteX12" fmla="*/ 1702178 w 3877769"/>
                  <a:gd name="connsiteY12" fmla="*/ 1017192 h 5285288"/>
                  <a:gd name="connsiteX13" fmla="*/ 1700143 w 3877769"/>
                  <a:gd name="connsiteY13" fmla="*/ 494424 h 5285288"/>
                  <a:gd name="connsiteX14" fmla="*/ 1745634 w 3877769"/>
                  <a:gd name="connsiteY14" fmla="*/ 171698 h 5285288"/>
                  <a:gd name="connsiteX15" fmla="*/ 1910241 w 3877769"/>
                  <a:gd name="connsiteY15" fmla="*/ 25112 h 5285288"/>
                  <a:gd name="connsiteX16" fmla="*/ 2109887 w 3877769"/>
                  <a:gd name="connsiteY16" fmla="*/ 3326 h 5285288"/>
                  <a:gd name="connsiteX17" fmla="*/ 2285591 w 3877769"/>
                  <a:gd name="connsiteY17" fmla="*/ 37548 h 5285288"/>
                  <a:gd name="connsiteX18" fmla="*/ 3836744 w 3877769"/>
                  <a:gd name="connsiteY18" fmla="*/ 924343 h 5285288"/>
                  <a:gd name="connsiteX19" fmla="*/ 3837701 w 3877769"/>
                  <a:gd name="connsiteY19" fmla="*/ 1149844 h 5285288"/>
                  <a:gd name="connsiteX20" fmla="*/ 3663736 w 3877769"/>
                  <a:gd name="connsiteY20" fmla="*/ 1269783 h 5285288"/>
                  <a:gd name="connsiteX21" fmla="*/ 3643889 w 3877769"/>
                  <a:gd name="connsiteY21" fmla="*/ 1262485 h 5285288"/>
                  <a:gd name="connsiteX22" fmla="*/ 2178414 w 3877769"/>
                  <a:gd name="connsiteY22" fmla="*/ 431577 h 5285288"/>
                  <a:gd name="connsiteX23" fmla="*/ 2178071 w 3877769"/>
                  <a:gd name="connsiteY23" fmla="*/ 431184 h 5285288"/>
                  <a:gd name="connsiteX24" fmla="*/ 2155916 w 3877769"/>
                  <a:gd name="connsiteY24" fmla="*/ 437405 h 5285288"/>
                  <a:gd name="connsiteX25" fmla="*/ 2113266 w 3877769"/>
                  <a:gd name="connsiteY25" fmla="*/ 539231 h 5285288"/>
                  <a:gd name="connsiteX26" fmla="*/ 2113261 w 3877769"/>
                  <a:gd name="connsiteY26" fmla="*/ 1065628 h 5285288"/>
                  <a:gd name="connsiteX27" fmla="*/ 2110484 w 3877769"/>
                  <a:gd name="connsiteY27" fmla="*/ 1081825 h 5285288"/>
                  <a:gd name="connsiteX28" fmla="*/ 2107658 w 3877769"/>
                  <a:gd name="connsiteY28" fmla="*/ 1858316 h 5285288"/>
                  <a:gd name="connsiteX29" fmla="*/ 2109515 w 3877769"/>
                  <a:gd name="connsiteY29" fmla="*/ 1861834 h 5285288"/>
                  <a:gd name="connsiteX30" fmla="*/ 2108848 w 3877769"/>
                  <a:gd name="connsiteY30" fmla="*/ 3038034 h 5285288"/>
                  <a:gd name="connsiteX31" fmla="*/ 2106708 w 3877769"/>
                  <a:gd name="connsiteY31" fmla="*/ 4802821 h 5285288"/>
                  <a:gd name="connsiteX32" fmla="*/ 2039910 w 3877769"/>
                  <a:gd name="connsiteY32" fmla="*/ 5061801 h 5285288"/>
                  <a:gd name="connsiteX33" fmla="*/ 1895942 w 3877769"/>
                  <a:gd name="connsiteY33" fmla="*/ 5216241 h 5285288"/>
                  <a:gd name="connsiteX34" fmla="*/ 1685306 w 3877769"/>
                  <a:gd name="connsiteY34" fmla="*/ 5284752 h 5285288"/>
                  <a:gd name="connsiteX35" fmla="*/ 1635752 w 3877769"/>
                  <a:gd name="connsiteY35" fmla="*/ 5285252 h 5285288"/>
                  <a:gd name="connsiteX0" fmla="*/ 1563115 w 3805132"/>
                  <a:gd name="connsiteY0" fmla="*/ 5285252 h 5285288"/>
                  <a:gd name="connsiteX1" fmla="*/ 1451491 w 3805132"/>
                  <a:gd name="connsiteY1" fmla="*/ 5257452 h 5285288"/>
                  <a:gd name="connsiteX2" fmla="*/ 1391490 w 3805132"/>
                  <a:gd name="connsiteY2" fmla="*/ 5227600 h 5285288"/>
                  <a:gd name="connsiteX3" fmla="*/ 1567 w 3805132"/>
                  <a:gd name="connsiteY3" fmla="*/ 3888049 h 5285288"/>
                  <a:gd name="connsiteX4" fmla="*/ 0 w 3805132"/>
                  <a:gd name="connsiteY4" fmla="*/ 3881457 h 5285288"/>
                  <a:gd name="connsiteX5" fmla="*/ 1558146 w 3805132"/>
                  <a:gd name="connsiteY5" fmla="*/ 4865353 h 5285288"/>
                  <a:gd name="connsiteX6" fmla="*/ 1558490 w 3805132"/>
                  <a:gd name="connsiteY6" fmla="*/ 4865745 h 5285288"/>
                  <a:gd name="connsiteX7" fmla="*/ 1580531 w 3805132"/>
                  <a:gd name="connsiteY7" fmla="*/ 4859558 h 5285288"/>
                  <a:gd name="connsiteX8" fmla="*/ 1626611 w 3805132"/>
                  <a:gd name="connsiteY8" fmla="*/ 4799004 h 5285288"/>
                  <a:gd name="connsiteX9" fmla="*/ 1628455 w 3805132"/>
                  <a:gd name="connsiteY9" fmla="*/ 4105978 h 5285288"/>
                  <a:gd name="connsiteX10" fmla="*/ 1630726 w 3805132"/>
                  <a:gd name="connsiteY10" fmla="*/ 1054770 h 5285288"/>
                  <a:gd name="connsiteX11" fmla="*/ 1629541 w 3805132"/>
                  <a:gd name="connsiteY11" fmla="*/ 1017192 h 5285288"/>
                  <a:gd name="connsiteX12" fmla="*/ 1627506 w 3805132"/>
                  <a:gd name="connsiteY12" fmla="*/ 494424 h 5285288"/>
                  <a:gd name="connsiteX13" fmla="*/ 1672997 w 3805132"/>
                  <a:gd name="connsiteY13" fmla="*/ 171698 h 5285288"/>
                  <a:gd name="connsiteX14" fmla="*/ 1837604 w 3805132"/>
                  <a:gd name="connsiteY14" fmla="*/ 25112 h 5285288"/>
                  <a:gd name="connsiteX15" fmla="*/ 2037250 w 3805132"/>
                  <a:gd name="connsiteY15" fmla="*/ 3326 h 5285288"/>
                  <a:gd name="connsiteX16" fmla="*/ 2212954 w 3805132"/>
                  <a:gd name="connsiteY16" fmla="*/ 37548 h 5285288"/>
                  <a:gd name="connsiteX17" fmla="*/ 3764107 w 3805132"/>
                  <a:gd name="connsiteY17" fmla="*/ 924343 h 5285288"/>
                  <a:gd name="connsiteX18" fmla="*/ 3765064 w 3805132"/>
                  <a:gd name="connsiteY18" fmla="*/ 1149844 h 5285288"/>
                  <a:gd name="connsiteX19" fmla="*/ 3591099 w 3805132"/>
                  <a:gd name="connsiteY19" fmla="*/ 1269783 h 5285288"/>
                  <a:gd name="connsiteX20" fmla="*/ 3571252 w 3805132"/>
                  <a:gd name="connsiteY20" fmla="*/ 1262485 h 5285288"/>
                  <a:gd name="connsiteX21" fmla="*/ 2105777 w 3805132"/>
                  <a:gd name="connsiteY21" fmla="*/ 431577 h 5285288"/>
                  <a:gd name="connsiteX22" fmla="*/ 2105434 w 3805132"/>
                  <a:gd name="connsiteY22" fmla="*/ 431184 h 5285288"/>
                  <a:gd name="connsiteX23" fmla="*/ 2083279 w 3805132"/>
                  <a:gd name="connsiteY23" fmla="*/ 437405 h 5285288"/>
                  <a:gd name="connsiteX24" fmla="*/ 2040629 w 3805132"/>
                  <a:gd name="connsiteY24" fmla="*/ 539231 h 5285288"/>
                  <a:gd name="connsiteX25" fmla="*/ 2040624 w 3805132"/>
                  <a:gd name="connsiteY25" fmla="*/ 1065628 h 5285288"/>
                  <a:gd name="connsiteX26" fmla="*/ 2037847 w 3805132"/>
                  <a:gd name="connsiteY26" fmla="*/ 1081825 h 5285288"/>
                  <a:gd name="connsiteX27" fmla="*/ 2035021 w 3805132"/>
                  <a:gd name="connsiteY27" fmla="*/ 1858316 h 5285288"/>
                  <a:gd name="connsiteX28" fmla="*/ 2036878 w 3805132"/>
                  <a:gd name="connsiteY28" fmla="*/ 1861834 h 5285288"/>
                  <a:gd name="connsiteX29" fmla="*/ 2036211 w 3805132"/>
                  <a:gd name="connsiteY29" fmla="*/ 3038034 h 5285288"/>
                  <a:gd name="connsiteX30" fmla="*/ 2034071 w 3805132"/>
                  <a:gd name="connsiteY30" fmla="*/ 4802821 h 5285288"/>
                  <a:gd name="connsiteX31" fmla="*/ 1967273 w 3805132"/>
                  <a:gd name="connsiteY31" fmla="*/ 5061801 h 5285288"/>
                  <a:gd name="connsiteX32" fmla="*/ 1823305 w 3805132"/>
                  <a:gd name="connsiteY32" fmla="*/ 5216241 h 5285288"/>
                  <a:gd name="connsiteX33" fmla="*/ 1612669 w 3805132"/>
                  <a:gd name="connsiteY33" fmla="*/ 5284752 h 5285288"/>
                  <a:gd name="connsiteX34" fmla="*/ 1563115 w 3805132"/>
                  <a:gd name="connsiteY34"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556923 w 3803565"/>
                  <a:gd name="connsiteY5" fmla="*/ 4865745 h 5285288"/>
                  <a:gd name="connsiteX6" fmla="*/ 1578964 w 3803565"/>
                  <a:gd name="connsiteY6" fmla="*/ 4859558 h 5285288"/>
                  <a:gd name="connsiteX7" fmla="*/ 1625044 w 3803565"/>
                  <a:gd name="connsiteY7" fmla="*/ 4799004 h 5285288"/>
                  <a:gd name="connsiteX8" fmla="*/ 1626888 w 3803565"/>
                  <a:gd name="connsiteY8" fmla="*/ 4105978 h 5285288"/>
                  <a:gd name="connsiteX9" fmla="*/ 1629159 w 3803565"/>
                  <a:gd name="connsiteY9" fmla="*/ 1054770 h 5285288"/>
                  <a:gd name="connsiteX10" fmla="*/ 1627974 w 3803565"/>
                  <a:gd name="connsiteY10" fmla="*/ 1017192 h 5285288"/>
                  <a:gd name="connsiteX11" fmla="*/ 1625939 w 3803565"/>
                  <a:gd name="connsiteY11" fmla="*/ 494424 h 5285288"/>
                  <a:gd name="connsiteX12" fmla="*/ 1671430 w 3803565"/>
                  <a:gd name="connsiteY12" fmla="*/ 171698 h 5285288"/>
                  <a:gd name="connsiteX13" fmla="*/ 1836037 w 3803565"/>
                  <a:gd name="connsiteY13" fmla="*/ 25112 h 5285288"/>
                  <a:gd name="connsiteX14" fmla="*/ 2035683 w 3803565"/>
                  <a:gd name="connsiteY14" fmla="*/ 3326 h 5285288"/>
                  <a:gd name="connsiteX15" fmla="*/ 2211387 w 3803565"/>
                  <a:gd name="connsiteY15" fmla="*/ 37548 h 5285288"/>
                  <a:gd name="connsiteX16" fmla="*/ 3762540 w 3803565"/>
                  <a:gd name="connsiteY16" fmla="*/ 924343 h 5285288"/>
                  <a:gd name="connsiteX17" fmla="*/ 3763497 w 3803565"/>
                  <a:gd name="connsiteY17" fmla="*/ 1149844 h 5285288"/>
                  <a:gd name="connsiteX18" fmla="*/ 3589532 w 3803565"/>
                  <a:gd name="connsiteY18" fmla="*/ 1269783 h 5285288"/>
                  <a:gd name="connsiteX19" fmla="*/ 3569685 w 3803565"/>
                  <a:gd name="connsiteY19" fmla="*/ 1262485 h 5285288"/>
                  <a:gd name="connsiteX20" fmla="*/ 2104210 w 3803565"/>
                  <a:gd name="connsiteY20" fmla="*/ 431577 h 5285288"/>
                  <a:gd name="connsiteX21" fmla="*/ 2103867 w 3803565"/>
                  <a:gd name="connsiteY21" fmla="*/ 431184 h 5285288"/>
                  <a:gd name="connsiteX22" fmla="*/ 2081712 w 3803565"/>
                  <a:gd name="connsiteY22" fmla="*/ 437405 h 5285288"/>
                  <a:gd name="connsiteX23" fmla="*/ 2039062 w 3803565"/>
                  <a:gd name="connsiteY23" fmla="*/ 539231 h 5285288"/>
                  <a:gd name="connsiteX24" fmla="*/ 2039057 w 3803565"/>
                  <a:gd name="connsiteY24" fmla="*/ 1065628 h 5285288"/>
                  <a:gd name="connsiteX25" fmla="*/ 2036280 w 3803565"/>
                  <a:gd name="connsiteY25" fmla="*/ 1081825 h 5285288"/>
                  <a:gd name="connsiteX26" fmla="*/ 2033454 w 3803565"/>
                  <a:gd name="connsiteY26" fmla="*/ 1858316 h 5285288"/>
                  <a:gd name="connsiteX27" fmla="*/ 2035311 w 3803565"/>
                  <a:gd name="connsiteY27" fmla="*/ 1861834 h 5285288"/>
                  <a:gd name="connsiteX28" fmla="*/ 2034644 w 3803565"/>
                  <a:gd name="connsiteY28" fmla="*/ 3038034 h 5285288"/>
                  <a:gd name="connsiteX29" fmla="*/ 2032504 w 3803565"/>
                  <a:gd name="connsiteY29" fmla="*/ 4802821 h 5285288"/>
                  <a:gd name="connsiteX30" fmla="*/ 1965706 w 3803565"/>
                  <a:gd name="connsiteY30" fmla="*/ 5061801 h 5285288"/>
                  <a:gd name="connsiteX31" fmla="*/ 1821738 w 3803565"/>
                  <a:gd name="connsiteY31" fmla="*/ 5216241 h 5285288"/>
                  <a:gd name="connsiteX32" fmla="*/ 1611102 w 3803565"/>
                  <a:gd name="connsiteY32" fmla="*/ 5284752 h 5285288"/>
                  <a:gd name="connsiteX33" fmla="*/ 1561548 w 3803565"/>
                  <a:gd name="connsiteY33"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556923 w 3803565"/>
                  <a:gd name="connsiteY5" fmla="*/ 4865745 h 5285288"/>
                  <a:gd name="connsiteX6" fmla="*/ 1625044 w 3803565"/>
                  <a:gd name="connsiteY6" fmla="*/ 4799004 h 5285288"/>
                  <a:gd name="connsiteX7" fmla="*/ 1626888 w 3803565"/>
                  <a:gd name="connsiteY7" fmla="*/ 4105978 h 5285288"/>
                  <a:gd name="connsiteX8" fmla="*/ 1629159 w 3803565"/>
                  <a:gd name="connsiteY8" fmla="*/ 1054770 h 5285288"/>
                  <a:gd name="connsiteX9" fmla="*/ 1627974 w 3803565"/>
                  <a:gd name="connsiteY9" fmla="*/ 1017192 h 5285288"/>
                  <a:gd name="connsiteX10" fmla="*/ 1625939 w 3803565"/>
                  <a:gd name="connsiteY10" fmla="*/ 494424 h 5285288"/>
                  <a:gd name="connsiteX11" fmla="*/ 1671430 w 3803565"/>
                  <a:gd name="connsiteY11" fmla="*/ 171698 h 5285288"/>
                  <a:gd name="connsiteX12" fmla="*/ 1836037 w 3803565"/>
                  <a:gd name="connsiteY12" fmla="*/ 25112 h 5285288"/>
                  <a:gd name="connsiteX13" fmla="*/ 2035683 w 3803565"/>
                  <a:gd name="connsiteY13" fmla="*/ 3326 h 5285288"/>
                  <a:gd name="connsiteX14" fmla="*/ 2211387 w 3803565"/>
                  <a:gd name="connsiteY14" fmla="*/ 37548 h 5285288"/>
                  <a:gd name="connsiteX15" fmla="*/ 3762540 w 3803565"/>
                  <a:gd name="connsiteY15" fmla="*/ 924343 h 5285288"/>
                  <a:gd name="connsiteX16" fmla="*/ 3763497 w 3803565"/>
                  <a:gd name="connsiteY16" fmla="*/ 1149844 h 5285288"/>
                  <a:gd name="connsiteX17" fmla="*/ 3589532 w 3803565"/>
                  <a:gd name="connsiteY17" fmla="*/ 1269783 h 5285288"/>
                  <a:gd name="connsiteX18" fmla="*/ 3569685 w 3803565"/>
                  <a:gd name="connsiteY18" fmla="*/ 1262485 h 5285288"/>
                  <a:gd name="connsiteX19" fmla="*/ 2104210 w 3803565"/>
                  <a:gd name="connsiteY19" fmla="*/ 431577 h 5285288"/>
                  <a:gd name="connsiteX20" fmla="*/ 2103867 w 3803565"/>
                  <a:gd name="connsiteY20" fmla="*/ 431184 h 5285288"/>
                  <a:gd name="connsiteX21" fmla="*/ 2081712 w 3803565"/>
                  <a:gd name="connsiteY21" fmla="*/ 437405 h 5285288"/>
                  <a:gd name="connsiteX22" fmla="*/ 2039062 w 3803565"/>
                  <a:gd name="connsiteY22" fmla="*/ 539231 h 5285288"/>
                  <a:gd name="connsiteX23" fmla="*/ 2039057 w 3803565"/>
                  <a:gd name="connsiteY23" fmla="*/ 1065628 h 5285288"/>
                  <a:gd name="connsiteX24" fmla="*/ 2036280 w 3803565"/>
                  <a:gd name="connsiteY24" fmla="*/ 1081825 h 5285288"/>
                  <a:gd name="connsiteX25" fmla="*/ 2033454 w 3803565"/>
                  <a:gd name="connsiteY25" fmla="*/ 1858316 h 5285288"/>
                  <a:gd name="connsiteX26" fmla="*/ 2035311 w 3803565"/>
                  <a:gd name="connsiteY26" fmla="*/ 1861834 h 5285288"/>
                  <a:gd name="connsiteX27" fmla="*/ 2034644 w 3803565"/>
                  <a:gd name="connsiteY27" fmla="*/ 3038034 h 5285288"/>
                  <a:gd name="connsiteX28" fmla="*/ 2032504 w 3803565"/>
                  <a:gd name="connsiteY28" fmla="*/ 4802821 h 5285288"/>
                  <a:gd name="connsiteX29" fmla="*/ 1965706 w 3803565"/>
                  <a:gd name="connsiteY29" fmla="*/ 5061801 h 5285288"/>
                  <a:gd name="connsiteX30" fmla="*/ 1821738 w 3803565"/>
                  <a:gd name="connsiteY30" fmla="*/ 5216241 h 5285288"/>
                  <a:gd name="connsiteX31" fmla="*/ 1611102 w 3803565"/>
                  <a:gd name="connsiteY31" fmla="*/ 5284752 h 5285288"/>
                  <a:gd name="connsiteX32" fmla="*/ 1561548 w 3803565"/>
                  <a:gd name="connsiteY32"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625044 w 3803565"/>
                  <a:gd name="connsiteY5" fmla="*/ 4799004 h 5285288"/>
                  <a:gd name="connsiteX6" fmla="*/ 1626888 w 3803565"/>
                  <a:gd name="connsiteY6" fmla="*/ 4105978 h 5285288"/>
                  <a:gd name="connsiteX7" fmla="*/ 1629159 w 3803565"/>
                  <a:gd name="connsiteY7" fmla="*/ 1054770 h 5285288"/>
                  <a:gd name="connsiteX8" fmla="*/ 1627974 w 3803565"/>
                  <a:gd name="connsiteY8" fmla="*/ 1017192 h 5285288"/>
                  <a:gd name="connsiteX9" fmla="*/ 1625939 w 3803565"/>
                  <a:gd name="connsiteY9" fmla="*/ 494424 h 5285288"/>
                  <a:gd name="connsiteX10" fmla="*/ 1671430 w 3803565"/>
                  <a:gd name="connsiteY10" fmla="*/ 171698 h 5285288"/>
                  <a:gd name="connsiteX11" fmla="*/ 1836037 w 3803565"/>
                  <a:gd name="connsiteY11" fmla="*/ 25112 h 5285288"/>
                  <a:gd name="connsiteX12" fmla="*/ 2035683 w 3803565"/>
                  <a:gd name="connsiteY12" fmla="*/ 3326 h 5285288"/>
                  <a:gd name="connsiteX13" fmla="*/ 2211387 w 3803565"/>
                  <a:gd name="connsiteY13" fmla="*/ 37548 h 5285288"/>
                  <a:gd name="connsiteX14" fmla="*/ 3762540 w 3803565"/>
                  <a:gd name="connsiteY14" fmla="*/ 924343 h 5285288"/>
                  <a:gd name="connsiteX15" fmla="*/ 3763497 w 3803565"/>
                  <a:gd name="connsiteY15" fmla="*/ 1149844 h 5285288"/>
                  <a:gd name="connsiteX16" fmla="*/ 3589532 w 3803565"/>
                  <a:gd name="connsiteY16" fmla="*/ 1269783 h 5285288"/>
                  <a:gd name="connsiteX17" fmla="*/ 3569685 w 3803565"/>
                  <a:gd name="connsiteY17" fmla="*/ 1262485 h 5285288"/>
                  <a:gd name="connsiteX18" fmla="*/ 2104210 w 3803565"/>
                  <a:gd name="connsiteY18" fmla="*/ 431577 h 5285288"/>
                  <a:gd name="connsiteX19" fmla="*/ 2103867 w 3803565"/>
                  <a:gd name="connsiteY19" fmla="*/ 431184 h 5285288"/>
                  <a:gd name="connsiteX20" fmla="*/ 2081712 w 3803565"/>
                  <a:gd name="connsiteY20" fmla="*/ 437405 h 5285288"/>
                  <a:gd name="connsiteX21" fmla="*/ 2039062 w 3803565"/>
                  <a:gd name="connsiteY21" fmla="*/ 539231 h 5285288"/>
                  <a:gd name="connsiteX22" fmla="*/ 2039057 w 3803565"/>
                  <a:gd name="connsiteY22" fmla="*/ 1065628 h 5285288"/>
                  <a:gd name="connsiteX23" fmla="*/ 2036280 w 3803565"/>
                  <a:gd name="connsiteY23" fmla="*/ 1081825 h 5285288"/>
                  <a:gd name="connsiteX24" fmla="*/ 2033454 w 3803565"/>
                  <a:gd name="connsiteY24" fmla="*/ 1858316 h 5285288"/>
                  <a:gd name="connsiteX25" fmla="*/ 2035311 w 3803565"/>
                  <a:gd name="connsiteY25" fmla="*/ 1861834 h 5285288"/>
                  <a:gd name="connsiteX26" fmla="*/ 2034644 w 3803565"/>
                  <a:gd name="connsiteY26" fmla="*/ 3038034 h 5285288"/>
                  <a:gd name="connsiteX27" fmla="*/ 2032504 w 3803565"/>
                  <a:gd name="connsiteY27" fmla="*/ 4802821 h 5285288"/>
                  <a:gd name="connsiteX28" fmla="*/ 1965706 w 3803565"/>
                  <a:gd name="connsiteY28" fmla="*/ 5061801 h 5285288"/>
                  <a:gd name="connsiteX29" fmla="*/ 1821738 w 3803565"/>
                  <a:gd name="connsiteY29" fmla="*/ 5216241 h 5285288"/>
                  <a:gd name="connsiteX30" fmla="*/ 1611102 w 3803565"/>
                  <a:gd name="connsiteY30" fmla="*/ 5284752 h 5285288"/>
                  <a:gd name="connsiteX31" fmla="*/ 1561548 w 3803565"/>
                  <a:gd name="connsiteY31"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625044 w 3803565"/>
                  <a:gd name="connsiteY4" fmla="*/ 4799004 h 5285288"/>
                  <a:gd name="connsiteX5" fmla="*/ 1626888 w 3803565"/>
                  <a:gd name="connsiteY5" fmla="*/ 4105978 h 5285288"/>
                  <a:gd name="connsiteX6" fmla="*/ 1629159 w 3803565"/>
                  <a:gd name="connsiteY6" fmla="*/ 1054770 h 5285288"/>
                  <a:gd name="connsiteX7" fmla="*/ 1627974 w 3803565"/>
                  <a:gd name="connsiteY7" fmla="*/ 1017192 h 5285288"/>
                  <a:gd name="connsiteX8" fmla="*/ 1625939 w 3803565"/>
                  <a:gd name="connsiteY8" fmla="*/ 494424 h 5285288"/>
                  <a:gd name="connsiteX9" fmla="*/ 1671430 w 3803565"/>
                  <a:gd name="connsiteY9" fmla="*/ 171698 h 5285288"/>
                  <a:gd name="connsiteX10" fmla="*/ 1836037 w 3803565"/>
                  <a:gd name="connsiteY10" fmla="*/ 25112 h 5285288"/>
                  <a:gd name="connsiteX11" fmla="*/ 2035683 w 3803565"/>
                  <a:gd name="connsiteY11" fmla="*/ 3326 h 5285288"/>
                  <a:gd name="connsiteX12" fmla="*/ 2211387 w 3803565"/>
                  <a:gd name="connsiteY12" fmla="*/ 37548 h 5285288"/>
                  <a:gd name="connsiteX13" fmla="*/ 3762540 w 3803565"/>
                  <a:gd name="connsiteY13" fmla="*/ 924343 h 5285288"/>
                  <a:gd name="connsiteX14" fmla="*/ 3763497 w 3803565"/>
                  <a:gd name="connsiteY14" fmla="*/ 1149844 h 5285288"/>
                  <a:gd name="connsiteX15" fmla="*/ 3589532 w 3803565"/>
                  <a:gd name="connsiteY15" fmla="*/ 1269783 h 5285288"/>
                  <a:gd name="connsiteX16" fmla="*/ 3569685 w 3803565"/>
                  <a:gd name="connsiteY16" fmla="*/ 1262485 h 5285288"/>
                  <a:gd name="connsiteX17" fmla="*/ 2104210 w 3803565"/>
                  <a:gd name="connsiteY17" fmla="*/ 431577 h 5285288"/>
                  <a:gd name="connsiteX18" fmla="*/ 2103867 w 3803565"/>
                  <a:gd name="connsiteY18" fmla="*/ 431184 h 5285288"/>
                  <a:gd name="connsiteX19" fmla="*/ 2081712 w 3803565"/>
                  <a:gd name="connsiteY19" fmla="*/ 437405 h 5285288"/>
                  <a:gd name="connsiteX20" fmla="*/ 2039062 w 3803565"/>
                  <a:gd name="connsiteY20" fmla="*/ 539231 h 5285288"/>
                  <a:gd name="connsiteX21" fmla="*/ 2039057 w 3803565"/>
                  <a:gd name="connsiteY21" fmla="*/ 1065628 h 5285288"/>
                  <a:gd name="connsiteX22" fmla="*/ 2036280 w 3803565"/>
                  <a:gd name="connsiteY22" fmla="*/ 1081825 h 5285288"/>
                  <a:gd name="connsiteX23" fmla="*/ 2033454 w 3803565"/>
                  <a:gd name="connsiteY23" fmla="*/ 1858316 h 5285288"/>
                  <a:gd name="connsiteX24" fmla="*/ 2035311 w 3803565"/>
                  <a:gd name="connsiteY24" fmla="*/ 1861834 h 5285288"/>
                  <a:gd name="connsiteX25" fmla="*/ 2034644 w 3803565"/>
                  <a:gd name="connsiteY25" fmla="*/ 3038034 h 5285288"/>
                  <a:gd name="connsiteX26" fmla="*/ 2032504 w 3803565"/>
                  <a:gd name="connsiteY26" fmla="*/ 4802821 h 5285288"/>
                  <a:gd name="connsiteX27" fmla="*/ 1965706 w 3803565"/>
                  <a:gd name="connsiteY27" fmla="*/ 5061801 h 5285288"/>
                  <a:gd name="connsiteX28" fmla="*/ 1821738 w 3803565"/>
                  <a:gd name="connsiteY28" fmla="*/ 5216241 h 5285288"/>
                  <a:gd name="connsiteX29" fmla="*/ 1611102 w 3803565"/>
                  <a:gd name="connsiteY29" fmla="*/ 5284752 h 5285288"/>
                  <a:gd name="connsiteX30" fmla="*/ 1561548 w 3803565"/>
                  <a:gd name="connsiteY30" fmla="*/ 5285252 h 5285288"/>
                  <a:gd name="connsiteX0" fmla="*/ 171625 w 2413642"/>
                  <a:gd name="connsiteY0" fmla="*/ 5285252 h 5285288"/>
                  <a:gd name="connsiteX1" fmla="*/ 60001 w 2413642"/>
                  <a:gd name="connsiteY1" fmla="*/ 5257452 h 5285288"/>
                  <a:gd name="connsiteX2" fmla="*/ 0 w 2413642"/>
                  <a:gd name="connsiteY2" fmla="*/ 5227600 h 5285288"/>
                  <a:gd name="connsiteX3" fmla="*/ 235121 w 2413642"/>
                  <a:gd name="connsiteY3" fmla="*/ 4799004 h 5285288"/>
                  <a:gd name="connsiteX4" fmla="*/ 236965 w 2413642"/>
                  <a:gd name="connsiteY4" fmla="*/ 4105978 h 5285288"/>
                  <a:gd name="connsiteX5" fmla="*/ 239236 w 2413642"/>
                  <a:gd name="connsiteY5" fmla="*/ 1054770 h 5285288"/>
                  <a:gd name="connsiteX6" fmla="*/ 238051 w 2413642"/>
                  <a:gd name="connsiteY6" fmla="*/ 1017192 h 5285288"/>
                  <a:gd name="connsiteX7" fmla="*/ 236016 w 2413642"/>
                  <a:gd name="connsiteY7" fmla="*/ 494424 h 5285288"/>
                  <a:gd name="connsiteX8" fmla="*/ 281507 w 2413642"/>
                  <a:gd name="connsiteY8" fmla="*/ 171698 h 5285288"/>
                  <a:gd name="connsiteX9" fmla="*/ 446114 w 2413642"/>
                  <a:gd name="connsiteY9" fmla="*/ 25112 h 5285288"/>
                  <a:gd name="connsiteX10" fmla="*/ 645760 w 2413642"/>
                  <a:gd name="connsiteY10" fmla="*/ 3326 h 5285288"/>
                  <a:gd name="connsiteX11" fmla="*/ 821464 w 2413642"/>
                  <a:gd name="connsiteY11" fmla="*/ 37548 h 5285288"/>
                  <a:gd name="connsiteX12" fmla="*/ 2372617 w 2413642"/>
                  <a:gd name="connsiteY12" fmla="*/ 924343 h 5285288"/>
                  <a:gd name="connsiteX13" fmla="*/ 2373574 w 2413642"/>
                  <a:gd name="connsiteY13" fmla="*/ 1149844 h 5285288"/>
                  <a:gd name="connsiteX14" fmla="*/ 2199609 w 2413642"/>
                  <a:gd name="connsiteY14" fmla="*/ 1269783 h 5285288"/>
                  <a:gd name="connsiteX15" fmla="*/ 2179762 w 2413642"/>
                  <a:gd name="connsiteY15" fmla="*/ 1262485 h 5285288"/>
                  <a:gd name="connsiteX16" fmla="*/ 714287 w 2413642"/>
                  <a:gd name="connsiteY16" fmla="*/ 431577 h 5285288"/>
                  <a:gd name="connsiteX17" fmla="*/ 713944 w 2413642"/>
                  <a:gd name="connsiteY17" fmla="*/ 431184 h 5285288"/>
                  <a:gd name="connsiteX18" fmla="*/ 691789 w 2413642"/>
                  <a:gd name="connsiteY18" fmla="*/ 437405 h 5285288"/>
                  <a:gd name="connsiteX19" fmla="*/ 649139 w 2413642"/>
                  <a:gd name="connsiteY19" fmla="*/ 539231 h 5285288"/>
                  <a:gd name="connsiteX20" fmla="*/ 649134 w 2413642"/>
                  <a:gd name="connsiteY20" fmla="*/ 1065628 h 5285288"/>
                  <a:gd name="connsiteX21" fmla="*/ 646357 w 2413642"/>
                  <a:gd name="connsiteY21" fmla="*/ 1081825 h 5285288"/>
                  <a:gd name="connsiteX22" fmla="*/ 643531 w 2413642"/>
                  <a:gd name="connsiteY22" fmla="*/ 1858316 h 5285288"/>
                  <a:gd name="connsiteX23" fmla="*/ 645388 w 2413642"/>
                  <a:gd name="connsiteY23" fmla="*/ 1861834 h 5285288"/>
                  <a:gd name="connsiteX24" fmla="*/ 644721 w 2413642"/>
                  <a:gd name="connsiteY24" fmla="*/ 3038034 h 5285288"/>
                  <a:gd name="connsiteX25" fmla="*/ 642581 w 2413642"/>
                  <a:gd name="connsiteY25" fmla="*/ 4802821 h 5285288"/>
                  <a:gd name="connsiteX26" fmla="*/ 575783 w 2413642"/>
                  <a:gd name="connsiteY26" fmla="*/ 5061801 h 5285288"/>
                  <a:gd name="connsiteX27" fmla="*/ 431815 w 2413642"/>
                  <a:gd name="connsiteY27" fmla="*/ 5216241 h 5285288"/>
                  <a:gd name="connsiteX28" fmla="*/ 221179 w 2413642"/>
                  <a:gd name="connsiteY28" fmla="*/ 5284752 h 5285288"/>
                  <a:gd name="connsiteX29" fmla="*/ 171625 w 2413642"/>
                  <a:gd name="connsiteY29" fmla="*/ 5285252 h 5285288"/>
                  <a:gd name="connsiteX0" fmla="*/ 111624 w 2353641"/>
                  <a:gd name="connsiteY0" fmla="*/ 5285252 h 5285288"/>
                  <a:gd name="connsiteX1" fmla="*/ 0 w 2353641"/>
                  <a:gd name="connsiteY1" fmla="*/ 5257452 h 5285288"/>
                  <a:gd name="connsiteX2" fmla="*/ 175120 w 2353641"/>
                  <a:gd name="connsiteY2" fmla="*/ 4799004 h 5285288"/>
                  <a:gd name="connsiteX3" fmla="*/ 176964 w 2353641"/>
                  <a:gd name="connsiteY3" fmla="*/ 4105978 h 5285288"/>
                  <a:gd name="connsiteX4" fmla="*/ 179235 w 2353641"/>
                  <a:gd name="connsiteY4" fmla="*/ 1054770 h 5285288"/>
                  <a:gd name="connsiteX5" fmla="*/ 178050 w 2353641"/>
                  <a:gd name="connsiteY5" fmla="*/ 1017192 h 5285288"/>
                  <a:gd name="connsiteX6" fmla="*/ 176015 w 2353641"/>
                  <a:gd name="connsiteY6" fmla="*/ 494424 h 5285288"/>
                  <a:gd name="connsiteX7" fmla="*/ 221506 w 2353641"/>
                  <a:gd name="connsiteY7" fmla="*/ 171698 h 5285288"/>
                  <a:gd name="connsiteX8" fmla="*/ 386113 w 2353641"/>
                  <a:gd name="connsiteY8" fmla="*/ 25112 h 5285288"/>
                  <a:gd name="connsiteX9" fmla="*/ 585759 w 2353641"/>
                  <a:gd name="connsiteY9" fmla="*/ 3326 h 5285288"/>
                  <a:gd name="connsiteX10" fmla="*/ 761463 w 2353641"/>
                  <a:gd name="connsiteY10" fmla="*/ 37548 h 5285288"/>
                  <a:gd name="connsiteX11" fmla="*/ 2312616 w 2353641"/>
                  <a:gd name="connsiteY11" fmla="*/ 924343 h 5285288"/>
                  <a:gd name="connsiteX12" fmla="*/ 2313573 w 2353641"/>
                  <a:gd name="connsiteY12" fmla="*/ 1149844 h 5285288"/>
                  <a:gd name="connsiteX13" fmla="*/ 2139608 w 2353641"/>
                  <a:gd name="connsiteY13" fmla="*/ 1269783 h 5285288"/>
                  <a:gd name="connsiteX14" fmla="*/ 2119761 w 2353641"/>
                  <a:gd name="connsiteY14" fmla="*/ 1262485 h 5285288"/>
                  <a:gd name="connsiteX15" fmla="*/ 654286 w 2353641"/>
                  <a:gd name="connsiteY15" fmla="*/ 431577 h 5285288"/>
                  <a:gd name="connsiteX16" fmla="*/ 653943 w 2353641"/>
                  <a:gd name="connsiteY16" fmla="*/ 431184 h 5285288"/>
                  <a:gd name="connsiteX17" fmla="*/ 631788 w 2353641"/>
                  <a:gd name="connsiteY17" fmla="*/ 437405 h 5285288"/>
                  <a:gd name="connsiteX18" fmla="*/ 589138 w 2353641"/>
                  <a:gd name="connsiteY18" fmla="*/ 539231 h 5285288"/>
                  <a:gd name="connsiteX19" fmla="*/ 589133 w 2353641"/>
                  <a:gd name="connsiteY19" fmla="*/ 1065628 h 5285288"/>
                  <a:gd name="connsiteX20" fmla="*/ 586356 w 2353641"/>
                  <a:gd name="connsiteY20" fmla="*/ 1081825 h 5285288"/>
                  <a:gd name="connsiteX21" fmla="*/ 583530 w 2353641"/>
                  <a:gd name="connsiteY21" fmla="*/ 1858316 h 5285288"/>
                  <a:gd name="connsiteX22" fmla="*/ 585387 w 2353641"/>
                  <a:gd name="connsiteY22" fmla="*/ 1861834 h 5285288"/>
                  <a:gd name="connsiteX23" fmla="*/ 584720 w 2353641"/>
                  <a:gd name="connsiteY23" fmla="*/ 3038034 h 5285288"/>
                  <a:gd name="connsiteX24" fmla="*/ 582580 w 2353641"/>
                  <a:gd name="connsiteY24" fmla="*/ 4802821 h 5285288"/>
                  <a:gd name="connsiteX25" fmla="*/ 515782 w 2353641"/>
                  <a:gd name="connsiteY25" fmla="*/ 5061801 h 5285288"/>
                  <a:gd name="connsiteX26" fmla="*/ 371814 w 2353641"/>
                  <a:gd name="connsiteY26" fmla="*/ 5216241 h 5285288"/>
                  <a:gd name="connsiteX27" fmla="*/ 161178 w 2353641"/>
                  <a:gd name="connsiteY27" fmla="*/ 5284752 h 5285288"/>
                  <a:gd name="connsiteX28" fmla="*/ 111624 w 2353641"/>
                  <a:gd name="connsiteY28" fmla="*/ 5285252 h 5285288"/>
                  <a:gd name="connsiteX0" fmla="*/ 0 w 2242017"/>
                  <a:gd name="connsiteY0" fmla="*/ 5285252 h 5285252"/>
                  <a:gd name="connsiteX1" fmla="*/ 63496 w 2242017"/>
                  <a:gd name="connsiteY1" fmla="*/ 4799004 h 5285252"/>
                  <a:gd name="connsiteX2" fmla="*/ 65340 w 2242017"/>
                  <a:gd name="connsiteY2" fmla="*/ 4105978 h 5285252"/>
                  <a:gd name="connsiteX3" fmla="*/ 67611 w 2242017"/>
                  <a:gd name="connsiteY3" fmla="*/ 1054770 h 5285252"/>
                  <a:gd name="connsiteX4" fmla="*/ 66426 w 2242017"/>
                  <a:gd name="connsiteY4" fmla="*/ 1017192 h 5285252"/>
                  <a:gd name="connsiteX5" fmla="*/ 64391 w 2242017"/>
                  <a:gd name="connsiteY5" fmla="*/ 494424 h 5285252"/>
                  <a:gd name="connsiteX6" fmla="*/ 109882 w 2242017"/>
                  <a:gd name="connsiteY6" fmla="*/ 171698 h 5285252"/>
                  <a:gd name="connsiteX7" fmla="*/ 274489 w 2242017"/>
                  <a:gd name="connsiteY7" fmla="*/ 25112 h 5285252"/>
                  <a:gd name="connsiteX8" fmla="*/ 474135 w 2242017"/>
                  <a:gd name="connsiteY8" fmla="*/ 3326 h 5285252"/>
                  <a:gd name="connsiteX9" fmla="*/ 649839 w 2242017"/>
                  <a:gd name="connsiteY9" fmla="*/ 37548 h 5285252"/>
                  <a:gd name="connsiteX10" fmla="*/ 2200992 w 2242017"/>
                  <a:gd name="connsiteY10" fmla="*/ 924343 h 5285252"/>
                  <a:gd name="connsiteX11" fmla="*/ 2201949 w 2242017"/>
                  <a:gd name="connsiteY11" fmla="*/ 1149844 h 5285252"/>
                  <a:gd name="connsiteX12" fmla="*/ 2027984 w 2242017"/>
                  <a:gd name="connsiteY12" fmla="*/ 1269783 h 5285252"/>
                  <a:gd name="connsiteX13" fmla="*/ 2008137 w 2242017"/>
                  <a:gd name="connsiteY13" fmla="*/ 1262485 h 5285252"/>
                  <a:gd name="connsiteX14" fmla="*/ 542662 w 2242017"/>
                  <a:gd name="connsiteY14" fmla="*/ 431577 h 5285252"/>
                  <a:gd name="connsiteX15" fmla="*/ 542319 w 2242017"/>
                  <a:gd name="connsiteY15" fmla="*/ 431184 h 5285252"/>
                  <a:gd name="connsiteX16" fmla="*/ 520164 w 2242017"/>
                  <a:gd name="connsiteY16" fmla="*/ 437405 h 5285252"/>
                  <a:gd name="connsiteX17" fmla="*/ 477514 w 2242017"/>
                  <a:gd name="connsiteY17" fmla="*/ 539231 h 5285252"/>
                  <a:gd name="connsiteX18" fmla="*/ 477509 w 2242017"/>
                  <a:gd name="connsiteY18" fmla="*/ 1065628 h 5285252"/>
                  <a:gd name="connsiteX19" fmla="*/ 474732 w 2242017"/>
                  <a:gd name="connsiteY19" fmla="*/ 1081825 h 5285252"/>
                  <a:gd name="connsiteX20" fmla="*/ 471906 w 2242017"/>
                  <a:gd name="connsiteY20" fmla="*/ 1858316 h 5285252"/>
                  <a:gd name="connsiteX21" fmla="*/ 473763 w 2242017"/>
                  <a:gd name="connsiteY21" fmla="*/ 1861834 h 5285252"/>
                  <a:gd name="connsiteX22" fmla="*/ 473096 w 2242017"/>
                  <a:gd name="connsiteY22" fmla="*/ 3038034 h 5285252"/>
                  <a:gd name="connsiteX23" fmla="*/ 470956 w 2242017"/>
                  <a:gd name="connsiteY23" fmla="*/ 4802821 h 5285252"/>
                  <a:gd name="connsiteX24" fmla="*/ 404158 w 2242017"/>
                  <a:gd name="connsiteY24" fmla="*/ 5061801 h 5285252"/>
                  <a:gd name="connsiteX25" fmla="*/ 260190 w 2242017"/>
                  <a:gd name="connsiteY25" fmla="*/ 5216241 h 5285252"/>
                  <a:gd name="connsiteX26" fmla="*/ 49554 w 2242017"/>
                  <a:gd name="connsiteY26" fmla="*/ 5284752 h 5285252"/>
                  <a:gd name="connsiteX27" fmla="*/ 0 w 2242017"/>
                  <a:gd name="connsiteY27" fmla="*/ 5285252 h 5285252"/>
                  <a:gd name="connsiteX0" fmla="*/ 12071 w 2204534"/>
                  <a:gd name="connsiteY0" fmla="*/ 5284752 h 5284899"/>
                  <a:gd name="connsiteX1" fmla="*/ 26013 w 2204534"/>
                  <a:gd name="connsiteY1" fmla="*/ 4799004 h 5284899"/>
                  <a:gd name="connsiteX2" fmla="*/ 27857 w 2204534"/>
                  <a:gd name="connsiteY2" fmla="*/ 4105978 h 5284899"/>
                  <a:gd name="connsiteX3" fmla="*/ 30128 w 2204534"/>
                  <a:gd name="connsiteY3" fmla="*/ 1054770 h 5284899"/>
                  <a:gd name="connsiteX4" fmla="*/ 28943 w 2204534"/>
                  <a:gd name="connsiteY4" fmla="*/ 1017192 h 5284899"/>
                  <a:gd name="connsiteX5" fmla="*/ 26908 w 2204534"/>
                  <a:gd name="connsiteY5" fmla="*/ 494424 h 5284899"/>
                  <a:gd name="connsiteX6" fmla="*/ 72399 w 2204534"/>
                  <a:gd name="connsiteY6" fmla="*/ 171698 h 5284899"/>
                  <a:gd name="connsiteX7" fmla="*/ 237006 w 2204534"/>
                  <a:gd name="connsiteY7" fmla="*/ 25112 h 5284899"/>
                  <a:gd name="connsiteX8" fmla="*/ 436652 w 2204534"/>
                  <a:gd name="connsiteY8" fmla="*/ 3326 h 5284899"/>
                  <a:gd name="connsiteX9" fmla="*/ 612356 w 2204534"/>
                  <a:gd name="connsiteY9" fmla="*/ 37548 h 5284899"/>
                  <a:gd name="connsiteX10" fmla="*/ 2163509 w 2204534"/>
                  <a:gd name="connsiteY10" fmla="*/ 924343 h 5284899"/>
                  <a:gd name="connsiteX11" fmla="*/ 2164466 w 2204534"/>
                  <a:gd name="connsiteY11" fmla="*/ 1149844 h 5284899"/>
                  <a:gd name="connsiteX12" fmla="*/ 1990501 w 2204534"/>
                  <a:gd name="connsiteY12" fmla="*/ 1269783 h 5284899"/>
                  <a:gd name="connsiteX13" fmla="*/ 1970654 w 2204534"/>
                  <a:gd name="connsiteY13" fmla="*/ 1262485 h 5284899"/>
                  <a:gd name="connsiteX14" fmla="*/ 505179 w 2204534"/>
                  <a:gd name="connsiteY14" fmla="*/ 431577 h 5284899"/>
                  <a:gd name="connsiteX15" fmla="*/ 504836 w 2204534"/>
                  <a:gd name="connsiteY15" fmla="*/ 431184 h 5284899"/>
                  <a:gd name="connsiteX16" fmla="*/ 482681 w 2204534"/>
                  <a:gd name="connsiteY16" fmla="*/ 437405 h 5284899"/>
                  <a:gd name="connsiteX17" fmla="*/ 440031 w 2204534"/>
                  <a:gd name="connsiteY17" fmla="*/ 539231 h 5284899"/>
                  <a:gd name="connsiteX18" fmla="*/ 440026 w 2204534"/>
                  <a:gd name="connsiteY18" fmla="*/ 1065628 h 5284899"/>
                  <a:gd name="connsiteX19" fmla="*/ 437249 w 2204534"/>
                  <a:gd name="connsiteY19" fmla="*/ 1081825 h 5284899"/>
                  <a:gd name="connsiteX20" fmla="*/ 434423 w 2204534"/>
                  <a:gd name="connsiteY20" fmla="*/ 1858316 h 5284899"/>
                  <a:gd name="connsiteX21" fmla="*/ 436280 w 2204534"/>
                  <a:gd name="connsiteY21" fmla="*/ 1861834 h 5284899"/>
                  <a:gd name="connsiteX22" fmla="*/ 435613 w 2204534"/>
                  <a:gd name="connsiteY22" fmla="*/ 3038034 h 5284899"/>
                  <a:gd name="connsiteX23" fmla="*/ 433473 w 2204534"/>
                  <a:gd name="connsiteY23" fmla="*/ 4802821 h 5284899"/>
                  <a:gd name="connsiteX24" fmla="*/ 366675 w 2204534"/>
                  <a:gd name="connsiteY24" fmla="*/ 5061801 h 5284899"/>
                  <a:gd name="connsiteX25" fmla="*/ 222707 w 2204534"/>
                  <a:gd name="connsiteY25" fmla="*/ 5216241 h 5284899"/>
                  <a:gd name="connsiteX26" fmla="*/ 12071 w 2204534"/>
                  <a:gd name="connsiteY26" fmla="*/ 5284752 h 5284899"/>
                  <a:gd name="connsiteX0" fmla="*/ 197536 w 2179363"/>
                  <a:gd name="connsiteY0" fmla="*/ 5216241 h 5216241"/>
                  <a:gd name="connsiteX1" fmla="*/ 842 w 2179363"/>
                  <a:gd name="connsiteY1" fmla="*/ 4799004 h 5216241"/>
                  <a:gd name="connsiteX2" fmla="*/ 2686 w 2179363"/>
                  <a:gd name="connsiteY2" fmla="*/ 4105978 h 5216241"/>
                  <a:gd name="connsiteX3" fmla="*/ 4957 w 2179363"/>
                  <a:gd name="connsiteY3" fmla="*/ 1054770 h 5216241"/>
                  <a:gd name="connsiteX4" fmla="*/ 3772 w 2179363"/>
                  <a:gd name="connsiteY4" fmla="*/ 1017192 h 5216241"/>
                  <a:gd name="connsiteX5" fmla="*/ 1737 w 2179363"/>
                  <a:gd name="connsiteY5" fmla="*/ 494424 h 5216241"/>
                  <a:gd name="connsiteX6" fmla="*/ 47228 w 2179363"/>
                  <a:gd name="connsiteY6" fmla="*/ 171698 h 5216241"/>
                  <a:gd name="connsiteX7" fmla="*/ 211835 w 2179363"/>
                  <a:gd name="connsiteY7" fmla="*/ 25112 h 5216241"/>
                  <a:gd name="connsiteX8" fmla="*/ 411481 w 2179363"/>
                  <a:gd name="connsiteY8" fmla="*/ 3326 h 5216241"/>
                  <a:gd name="connsiteX9" fmla="*/ 587185 w 2179363"/>
                  <a:gd name="connsiteY9" fmla="*/ 37548 h 5216241"/>
                  <a:gd name="connsiteX10" fmla="*/ 2138338 w 2179363"/>
                  <a:gd name="connsiteY10" fmla="*/ 924343 h 5216241"/>
                  <a:gd name="connsiteX11" fmla="*/ 2139295 w 2179363"/>
                  <a:gd name="connsiteY11" fmla="*/ 1149844 h 5216241"/>
                  <a:gd name="connsiteX12" fmla="*/ 1965330 w 2179363"/>
                  <a:gd name="connsiteY12" fmla="*/ 1269783 h 5216241"/>
                  <a:gd name="connsiteX13" fmla="*/ 1945483 w 2179363"/>
                  <a:gd name="connsiteY13" fmla="*/ 1262485 h 5216241"/>
                  <a:gd name="connsiteX14" fmla="*/ 480008 w 2179363"/>
                  <a:gd name="connsiteY14" fmla="*/ 431577 h 5216241"/>
                  <a:gd name="connsiteX15" fmla="*/ 479665 w 2179363"/>
                  <a:gd name="connsiteY15" fmla="*/ 431184 h 5216241"/>
                  <a:gd name="connsiteX16" fmla="*/ 457510 w 2179363"/>
                  <a:gd name="connsiteY16" fmla="*/ 437405 h 5216241"/>
                  <a:gd name="connsiteX17" fmla="*/ 414860 w 2179363"/>
                  <a:gd name="connsiteY17" fmla="*/ 539231 h 5216241"/>
                  <a:gd name="connsiteX18" fmla="*/ 414855 w 2179363"/>
                  <a:gd name="connsiteY18" fmla="*/ 1065628 h 5216241"/>
                  <a:gd name="connsiteX19" fmla="*/ 412078 w 2179363"/>
                  <a:gd name="connsiteY19" fmla="*/ 1081825 h 5216241"/>
                  <a:gd name="connsiteX20" fmla="*/ 409252 w 2179363"/>
                  <a:gd name="connsiteY20" fmla="*/ 1858316 h 5216241"/>
                  <a:gd name="connsiteX21" fmla="*/ 411109 w 2179363"/>
                  <a:gd name="connsiteY21" fmla="*/ 1861834 h 5216241"/>
                  <a:gd name="connsiteX22" fmla="*/ 410442 w 2179363"/>
                  <a:gd name="connsiteY22" fmla="*/ 3038034 h 5216241"/>
                  <a:gd name="connsiteX23" fmla="*/ 408302 w 2179363"/>
                  <a:gd name="connsiteY23" fmla="*/ 4802821 h 5216241"/>
                  <a:gd name="connsiteX24" fmla="*/ 341504 w 2179363"/>
                  <a:gd name="connsiteY24" fmla="*/ 5061801 h 5216241"/>
                  <a:gd name="connsiteX25" fmla="*/ 197536 w 2179363"/>
                  <a:gd name="connsiteY25" fmla="*/ 5216241 h 5216241"/>
                  <a:gd name="connsiteX0" fmla="*/ 341504 w 2179363"/>
                  <a:gd name="connsiteY0" fmla="*/ 5061801 h 5061802"/>
                  <a:gd name="connsiteX1" fmla="*/ 842 w 2179363"/>
                  <a:gd name="connsiteY1" fmla="*/ 4799004 h 5061802"/>
                  <a:gd name="connsiteX2" fmla="*/ 2686 w 2179363"/>
                  <a:gd name="connsiteY2" fmla="*/ 4105978 h 5061802"/>
                  <a:gd name="connsiteX3" fmla="*/ 4957 w 2179363"/>
                  <a:gd name="connsiteY3" fmla="*/ 1054770 h 5061802"/>
                  <a:gd name="connsiteX4" fmla="*/ 3772 w 2179363"/>
                  <a:gd name="connsiteY4" fmla="*/ 1017192 h 5061802"/>
                  <a:gd name="connsiteX5" fmla="*/ 1737 w 2179363"/>
                  <a:gd name="connsiteY5" fmla="*/ 494424 h 5061802"/>
                  <a:gd name="connsiteX6" fmla="*/ 47228 w 2179363"/>
                  <a:gd name="connsiteY6" fmla="*/ 171698 h 5061802"/>
                  <a:gd name="connsiteX7" fmla="*/ 211835 w 2179363"/>
                  <a:gd name="connsiteY7" fmla="*/ 25112 h 5061802"/>
                  <a:gd name="connsiteX8" fmla="*/ 411481 w 2179363"/>
                  <a:gd name="connsiteY8" fmla="*/ 3326 h 5061802"/>
                  <a:gd name="connsiteX9" fmla="*/ 587185 w 2179363"/>
                  <a:gd name="connsiteY9" fmla="*/ 37548 h 5061802"/>
                  <a:gd name="connsiteX10" fmla="*/ 2138338 w 2179363"/>
                  <a:gd name="connsiteY10" fmla="*/ 924343 h 5061802"/>
                  <a:gd name="connsiteX11" fmla="*/ 2139295 w 2179363"/>
                  <a:gd name="connsiteY11" fmla="*/ 1149844 h 5061802"/>
                  <a:gd name="connsiteX12" fmla="*/ 1965330 w 2179363"/>
                  <a:gd name="connsiteY12" fmla="*/ 1269783 h 5061802"/>
                  <a:gd name="connsiteX13" fmla="*/ 1945483 w 2179363"/>
                  <a:gd name="connsiteY13" fmla="*/ 1262485 h 5061802"/>
                  <a:gd name="connsiteX14" fmla="*/ 480008 w 2179363"/>
                  <a:gd name="connsiteY14" fmla="*/ 431577 h 5061802"/>
                  <a:gd name="connsiteX15" fmla="*/ 479665 w 2179363"/>
                  <a:gd name="connsiteY15" fmla="*/ 431184 h 5061802"/>
                  <a:gd name="connsiteX16" fmla="*/ 457510 w 2179363"/>
                  <a:gd name="connsiteY16" fmla="*/ 437405 h 5061802"/>
                  <a:gd name="connsiteX17" fmla="*/ 414860 w 2179363"/>
                  <a:gd name="connsiteY17" fmla="*/ 539231 h 5061802"/>
                  <a:gd name="connsiteX18" fmla="*/ 414855 w 2179363"/>
                  <a:gd name="connsiteY18" fmla="*/ 1065628 h 5061802"/>
                  <a:gd name="connsiteX19" fmla="*/ 412078 w 2179363"/>
                  <a:gd name="connsiteY19" fmla="*/ 1081825 h 5061802"/>
                  <a:gd name="connsiteX20" fmla="*/ 409252 w 2179363"/>
                  <a:gd name="connsiteY20" fmla="*/ 1858316 h 5061802"/>
                  <a:gd name="connsiteX21" fmla="*/ 411109 w 2179363"/>
                  <a:gd name="connsiteY21" fmla="*/ 1861834 h 5061802"/>
                  <a:gd name="connsiteX22" fmla="*/ 410442 w 2179363"/>
                  <a:gd name="connsiteY22" fmla="*/ 3038034 h 5061802"/>
                  <a:gd name="connsiteX23" fmla="*/ 408302 w 2179363"/>
                  <a:gd name="connsiteY23" fmla="*/ 4802821 h 5061802"/>
                  <a:gd name="connsiteX24" fmla="*/ 341504 w 2179363"/>
                  <a:gd name="connsiteY24" fmla="*/ 5061801 h 5061802"/>
                  <a:gd name="connsiteX0" fmla="*/ 341504 w 2179363"/>
                  <a:gd name="connsiteY0" fmla="*/ 5061801 h 5061802"/>
                  <a:gd name="connsiteX1" fmla="*/ 2686 w 2179363"/>
                  <a:gd name="connsiteY1" fmla="*/ 4105978 h 5061802"/>
                  <a:gd name="connsiteX2" fmla="*/ 4957 w 2179363"/>
                  <a:gd name="connsiteY2" fmla="*/ 1054770 h 5061802"/>
                  <a:gd name="connsiteX3" fmla="*/ 3772 w 2179363"/>
                  <a:gd name="connsiteY3" fmla="*/ 1017192 h 5061802"/>
                  <a:gd name="connsiteX4" fmla="*/ 1737 w 2179363"/>
                  <a:gd name="connsiteY4" fmla="*/ 494424 h 5061802"/>
                  <a:gd name="connsiteX5" fmla="*/ 47228 w 2179363"/>
                  <a:gd name="connsiteY5" fmla="*/ 171698 h 5061802"/>
                  <a:gd name="connsiteX6" fmla="*/ 211835 w 2179363"/>
                  <a:gd name="connsiteY6" fmla="*/ 25112 h 5061802"/>
                  <a:gd name="connsiteX7" fmla="*/ 411481 w 2179363"/>
                  <a:gd name="connsiteY7" fmla="*/ 3326 h 5061802"/>
                  <a:gd name="connsiteX8" fmla="*/ 587185 w 2179363"/>
                  <a:gd name="connsiteY8" fmla="*/ 37548 h 5061802"/>
                  <a:gd name="connsiteX9" fmla="*/ 2138338 w 2179363"/>
                  <a:gd name="connsiteY9" fmla="*/ 924343 h 5061802"/>
                  <a:gd name="connsiteX10" fmla="*/ 2139295 w 2179363"/>
                  <a:gd name="connsiteY10" fmla="*/ 1149844 h 5061802"/>
                  <a:gd name="connsiteX11" fmla="*/ 1965330 w 2179363"/>
                  <a:gd name="connsiteY11" fmla="*/ 1269783 h 5061802"/>
                  <a:gd name="connsiteX12" fmla="*/ 1945483 w 2179363"/>
                  <a:gd name="connsiteY12" fmla="*/ 1262485 h 5061802"/>
                  <a:gd name="connsiteX13" fmla="*/ 480008 w 2179363"/>
                  <a:gd name="connsiteY13" fmla="*/ 431577 h 5061802"/>
                  <a:gd name="connsiteX14" fmla="*/ 479665 w 2179363"/>
                  <a:gd name="connsiteY14" fmla="*/ 431184 h 5061802"/>
                  <a:gd name="connsiteX15" fmla="*/ 457510 w 2179363"/>
                  <a:gd name="connsiteY15" fmla="*/ 437405 h 5061802"/>
                  <a:gd name="connsiteX16" fmla="*/ 414860 w 2179363"/>
                  <a:gd name="connsiteY16" fmla="*/ 539231 h 5061802"/>
                  <a:gd name="connsiteX17" fmla="*/ 414855 w 2179363"/>
                  <a:gd name="connsiteY17" fmla="*/ 1065628 h 5061802"/>
                  <a:gd name="connsiteX18" fmla="*/ 412078 w 2179363"/>
                  <a:gd name="connsiteY18" fmla="*/ 1081825 h 5061802"/>
                  <a:gd name="connsiteX19" fmla="*/ 409252 w 2179363"/>
                  <a:gd name="connsiteY19" fmla="*/ 1858316 h 5061802"/>
                  <a:gd name="connsiteX20" fmla="*/ 411109 w 2179363"/>
                  <a:gd name="connsiteY20" fmla="*/ 1861834 h 5061802"/>
                  <a:gd name="connsiteX21" fmla="*/ 410442 w 2179363"/>
                  <a:gd name="connsiteY21" fmla="*/ 3038034 h 5061802"/>
                  <a:gd name="connsiteX22" fmla="*/ 408302 w 2179363"/>
                  <a:gd name="connsiteY22" fmla="*/ 4802821 h 5061802"/>
                  <a:gd name="connsiteX23" fmla="*/ 341504 w 2179363"/>
                  <a:gd name="connsiteY23" fmla="*/ 5061801 h 5061802"/>
                  <a:gd name="connsiteX0" fmla="*/ 408302 w 2179363"/>
                  <a:gd name="connsiteY0" fmla="*/ 4802821 h 4858808"/>
                  <a:gd name="connsiteX1" fmla="*/ 2686 w 2179363"/>
                  <a:gd name="connsiteY1" fmla="*/ 4105978 h 4858808"/>
                  <a:gd name="connsiteX2" fmla="*/ 4957 w 2179363"/>
                  <a:gd name="connsiteY2" fmla="*/ 1054770 h 4858808"/>
                  <a:gd name="connsiteX3" fmla="*/ 3772 w 2179363"/>
                  <a:gd name="connsiteY3" fmla="*/ 1017192 h 4858808"/>
                  <a:gd name="connsiteX4" fmla="*/ 1737 w 2179363"/>
                  <a:gd name="connsiteY4" fmla="*/ 494424 h 4858808"/>
                  <a:gd name="connsiteX5" fmla="*/ 47228 w 2179363"/>
                  <a:gd name="connsiteY5" fmla="*/ 171698 h 4858808"/>
                  <a:gd name="connsiteX6" fmla="*/ 211835 w 2179363"/>
                  <a:gd name="connsiteY6" fmla="*/ 25112 h 4858808"/>
                  <a:gd name="connsiteX7" fmla="*/ 411481 w 2179363"/>
                  <a:gd name="connsiteY7" fmla="*/ 3326 h 4858808"/>
                  <a:gd name="connsiteX8" fmla="*/ 587185 w 2179363"/>
                  <a:gd name="connsiteY8" fmla="*/ 37548 h 4858808"/>
                  <a:gd name="connsiteX9" fmla="*/ 2138338 w 2179363"/>
                  <a:gd name="connsiteY9" fmla="*/ 924343 h 4858808"/>
                  <a:gd name="connsiteX10" fmla="*/ 2139295 w 2179363"/>
                  <a:gd name="connsiteY10" fmla="*/ 1149844 h 4858808"/>
                  <a:gd name="connsiteX11" fmla="*/ 1965330 w 2179363"/>
                  <a:gd name="connsiteY11" fmla="*/ 1269783 h 4858808"/>
                  <a:gd name="connsiteX12" fmla="*/ 1945483 w 2179363"/>
                  <a:gd name="connsiteY12" fmla="*/ 1262485 h 4858808"/>
                  <a:gd name="connsiteX13" fmla="*/ 480008 w 2179363"/>
                  <a:gd name="connsiteY13" fmla="*/ 431577 h 4858808"/>
                  <a:gd name="connsiteX14" fmla="*/ 479665 w 2179363"/>
                  <a:gd name="connsiteY14" fmla="*/ 431184 h 4858808"/>
                  <a:gd name="connsiteX15" fmla="*/ 457510 w 2179363"/>
                  <a:gd name="connsiteY15" fmla="*/ 437405 h 4858808"/>
                  <a:gd name="connsiteX16" fmla="*/ 414860 w 2179363"/>
                  <a:gd name="connsiteY16" fmla="*/ 539231 h 4858808"/>
                  <a:gd name="connsiteX17" fmla="*/ 414855 w 2179363"/>
                  <a:gd name="connsiteY17" fmla="*/ 1065628 h 4858808"/>
                  <a:gd name="connsiteX18" fmla="*/ 412078 w 2179363"/>
                  <a:gd name="connsiteY18" fmla="*/ 1081825 h 4858808"/>
                  <a:gd name="connsiteX19" fmla="*/ 409252 w 2179363"/>
                  <a:gd name="connsiteY19" fmla="*/ 1858316 h 4858808"/>
                  <a:gd name="connsiteX20" fmla="*/ 411109 w 2179363"/>
                  <a:gd name="connsiteY20" fmla="*/ 1861834 h 4858808"/>
                  <a:gd name="connsiteX21" fmla="*/ 410442 w 2179363"/>
                  <a:gd name="connsiteY21" fmla="*/ 3038034 h 4858808"/>
                  <a:gd name="connsiteX22" fmla="*/ 408302 w 2179363"/>
                  <a:gd name="connsiteY22" fmla="*/ 4802821 h 4858808"/>
                  <a:gd name="connsiteX0" fmla="*/ 410442 w 2179363"/>
                  <a:gd name="connsiteY0" fmla="*/ 3038034 h 4170698"/>
                  <a:gd name="connsiteX1" fmla="*/ 2686 w 2179363"/>
                  <a:gd name="connsiteY1" fmla="*/ 4105978 h 4170698"/>
                  <a:gd name="connsiteX2" fmla="*/ 4957 w 2179363"/>
                  <a:gd name="connsiteY2" fmla="*/ 1054770 h 4170698"/>
                  <a:gd name="connsiteX3" fmla="*/ 3772 w 2179363"/>
                  <a:gd name="connsiteY3" fmla="*/ 1017192 h 4170698"/>
                  <a:gd name="connsiteX4" fmla="*/ 1737 w 2179363"/>
                  <a:gd name="connsiteY4" fmla="*/ 494424 h 4170698"/>
                  <a:gd name="connsiteX5" fmla="*/ 47228 w 2179363"/>
                  <a:gd name="connsiteY5" fmla="*/ 171698 h 4170698"/>
                  <a:gd name="connsiteX6" fmla="*/ 211835 w 2179363"/>
                  <a:gd name="connsiteY6" fmla="*/ 25112 h 4170698"/>
                  <a:gd name="connsiteX7" fmla="*/ 411481 w 2179363"/>
                  <a:gd name="connsiteY7" fmla="*/ 3326 h 4170698"/>
                  <a:gd name="connsiteX8" fmla="*/ 587185 w 2179363"/>
                  <a:gd name="connsiteY8" fmla="*/ 37548 h 4170698"/>
                  <a:gd name="connsiteX9" fmla="*/ 2138338 w 2179363"/>
                  <a:gd name="connsiteY9" fmla="*/ 924343 h 4170698"/>
                  <a:gd name="connsiteX10" fmla="*/ 2139295 w 2179363"/>
                  <a:gd name="connsiteY10" fmla="*/ 1149844 h 4170698"/>
                  <a:gd name="connsiteX11" fmla="*/ 1965330 w 2179363"/>
                  <a:gd name="connsiteY11" fmla="*/ 1269783 h 4170698"/>
                  <a:gd name="connsiteX12" fmla="*/ 1945483 w 2179363"/>
                  <a:gd name="connsiteY12" fmla="*/ 1262485 h 4170698"/>
                  <a:gd name="connsiteX13" fmla="*/ 480008 w 2179363"/>
                  <a:gd name="connsiteY13" fmla="*/ 431577 h 4170698"/>
                  <a:gd name="connsiteX14" fmla="*/ 479665 w 2179363"/>
                  <a:gd name="connsiteY14" fmla="*/ 431184 h 4170698"/>
                  <a:gd name="connsiteX15" fmla="*/ 457510 w 2179363"/>
                  <a:gd name="connsiteY15" fmla="*/ 437405 h 4170698"/>
                  <a:gd name="connsiteX16" fmla="*/ 414860 w 2179363"/>
                  <a:gd name="connsiteY16" fmla="*/ 539231 h 4170698"/>
                  <a:gd name="connsiteX17" fmla="*/ 414855 w 2179363"/>
                  <a:gd name="connsiteY17" fmla="*/ 1065628 h 4170698"/>
                  <a:gd name="connsiteX18" fmla="*/ 412078 w 2179363"/>
                  <a:gd name="connsiteY18" fmla="*/ 1081825 h 4170698"/>
                  <a:gd name="connsiteX19" fmla="*/ 409252 w 2179363"/>
                  <a:gd name="connsiteY19" fmla="*/ 1858316 h 4170698"/>
                  <a:gd name="connsiteX20" fmla="*/ 411109 w 2179363"/>
                  <a:gd name="connsiteY20" fmla="*/ 1861834 h 4170698"/>
                  <a:gd name="connsiteX21" fmla="*/ 410442 w 2179363"/>
                  <a:gd name="connsiteY21" fmla="*/ 3038034 h 4170698"/>
                  <a:gd name="connsiteX0" fmla="*/ 410442 w 2179363"/>
                  <a:gd name="connsiteY0" fmla="*/ 3038034 h 3038034"/>
                  <a:gd name="connsiteX1" fmla="*/ 4957 w 2179363"/>
                  <a:gd name="connsiteY1" fmla="*/ 1054770 h 3038034"/>
                  <a:gd name="connsiteX2" fmla="*/ 3772 w 2179363"/>
                  <a:gd name="connsiteY2" fmla="*/ 1017192 h 3038034"/>
                  <a:gd name="connsiteX3" fmla="*/ 1737 w 2179363"/>
                  <a:gd name="connsiteY3" fmla="*/ 494424 h 3038034"/>
                  <a:gd name="connsiteX4" fmla="*/ 47228 w 2179363"/>
                  <a:gd name="connsiteY4" fmla="*/ 171698 h 3038034"/>
                  <a:gd name="connsiteX5" fmla="*/ 211835 w 2179363"/>
                  <a:gd name="connsiteY5" fmla="*/ 25112 h 3038034"/>
                  <a:gd name="connsiteX6" fmla="*/ 411481 w 2179363"/>
                  <a:gd name="connsiteY6" fmla="*/ 3326 h 3038034"/>
                  <a:gd name="connsiteX7" fmla="*/ 587185 w 2179363"/>
                  <a:gd name="connsiteY7" fmla="*/ 37548 h 3038034"/>
                  <a:gd name="connsiteX8" fmla="*/ 2138338 w 2179363"/>
                  <a:gd name="connsiteY8" fmla="*/ 924343 h 3038034"/>
                  <a:gd name="connsiteX9" fmla="*/ 2139295 w 2179363"/>
                  <a:gd name="connsiteY9" fmla="*/ 1149844 h 3038034"/>
                  <a:gd name="connsiteX10" fmla="*/ 1965330 w 2179363"/>
                  <a:gd name="connsiteY10" fmla="*/ 1269783 h 3038034"/>
                  <a:gd name="connsiteX11" fmla="*/ 1945483 w 2179363"/>
                  <a:gd name="connsiteY11" fmla="*/ 1262485 h 3038034"/>
                  <a:gd name="connsiteX12" fmla="*/ 480008 w 2179363"/>
                  <a:gd name="connsiteY12" fmla="*/ 431577 h 3038034"/>
                  <a:gd name="connsiteX13" fmla="*/ 479665 w 2179363"/>
                  <a:gd name="connsiteY13" fmla="*/ 431184 h 3038034"/>
                  <a:gd name="connsiteX14" fmla="*/ 457510 w 2179363"/>
                  <a:gd name="connsiteY14" fmla="*/ 437405 h 3038034"/>
                  <a:gd name="connsiteX15" fmla="*/ 414860 w 2179363"/>
                  <a:gd name="connsiteY15" fmla="*/ 539231 h 3038034"/>
                  <a:gd name="connsiteX16" fmla="*/ 414855 w 2179363"/>
                  <a:gd name="connsiteY16" fmla="*/ 1065628 h 3038034"/>
                  <a:gd name="connsiteX17" fmla="*/ 412078 w 2179363"/>
                  <a:gd name="connsiteY17" fmla="*/ 1081825 h 3038034"/>
                  <a:gd name="connsiteX18" fmla="*/ 409252 w 2179363"/>
                  <a:gd name="connsiteY18" fmla="*/ 1858316 h 3038034"/>
                  <a:gd name="connsiteX19" fmla="*/ 411109 w 2179363"/>
                  <a:gd name="connsiteY19" fmla="*/ 1861834 h 3038034"/>
                  <a:gd name="connsiteX20" fmla="*/ 410442 w 2179363"/>
                  <a:gd name="connsiteY20" fmla="*/ 3038034 h 3038034"/>
                  <a:gd name="connsiteX0" fmla="*/ 411109 w 2179363"/>
                  <a:gd name="connsiteY0" fmla="*/ 1861834 h 1861834"/>
                  <a:gd name="connsiteX1" fmla="*/ 4957 w 2179363"/>
                  <a:gd name="connsiteY1" fmla="*/ 1054770 h 1861834"/>
                  <a:gd name="connsiteX2" fmla="*/ 3772 w 2179363"/>
                  <a:gd name="connsiteY2" fmla="*/ 1017192 h 1861834"/>
                  <a:gd name="connsiteX3" fmla="*/ 1737 w 2179363"/>
                  <a:gd name="connsiteY3" fmla="*/ 494424 h 1861834"/>
                  <a:gd name="connsiteX4" fmla="*/ 47228 w 2179363"/>
                  <a:gd name="connsiteY4" fmla="*/ 171698 h 1861834"/>
                  <a:gd name="connsiteX5" fmla="*/ 211835 w 2179363"/>
                  <a:gd name="connsiteY5" fmla="*/ 25112 h 1861834"/>
                  <a:gd name="connsiteX6" fmla="*/ 411481 w 2179363"/>
                  <a:gd name="connsiteY6" fmla="*/ 3326 h 1861834"/>
                  <a:gd name="connsiteX7" fmla="*/ 587185 w 2179363"/>
                  <a:gd name="connsiteY7" fmla="*/ 37548 h 1861834"/>
                  <a:gd name="connsiteX8" fmla="*/ 2138338 w 2179363"/>
                  <a:gd name="connsiteY8" fmla="*/ 924343 h 1861834"/>
                  <a:gd name="connsiteX9" fmla="*/ 2139295 w 2179363"/>
                  <a:gd name="connsiteY9" fmla="*/ 1149844 h 1861834"/>
                  <a:gd name="connsiteX10" fmla="*/ 1965330 w 2179363"/>
                  <a:gd name="connsiteY10" fmla="*/ 1269783 h 1861834"/>
                  <a:gd name="connsiteX11" fmla="*/ 1945483 w 2179363"/>
                  <a:gd name="connsiteY11" fmla="*/ 1262485 h 1861834"/>
                  <a:gd name="connsiteX12" fmla="*/ 480008 w 2179363"/>
                  <a:gd name="connsiteY12" fmla="*/ 431577 h 1861834"/>
                  <a:gd name="connsiteX13" fmla="*/ 479665 w 2179363"/>
                  <a:gd name="connsiteY13" fmla="*/ 431184 h 1861834"/>
                  <a:gd name="connsiteX14" fmla="*/ 457510 w 2179363"/>
                  <a:gd name="connsiteY14" fmla="*/ 437405 h 1861834"/>
                  <a:gd name="connsiteX15" fmla="*/ 414860 w 2179363"/>
                  <a:gd name="connsiteY15" fmla="*/ 539231 h 1861834"/>
                  <a:gd name="connsiteX16" fmla="*/ 414855 w 2179363"/>
                  <a:gd name="connsiteY16" fmla="*/ 1065628 h 1861834"/>
                  <a:gd name="connsiteX17" fmla="*/ 412078 w 2179363"/>
                  <a:gd name="connsiteY17" fmla="*/ 1081825 h 1861834"/>
                  <a:gd name="connsiteX18" fmla="*/ 409252 w 2179363"/>
                  <a:gd name="connsiteY18" fmla="*/ 1858316 h 1861834"/>
                  <a:gd name="connsiteX19" fmla="*/ 411109 w 2179363"/>
                  <a:gd name="connsiteY19" fmla="*/ 1861834 h 1861834"/>
                  <a:gd name="connsiteX0" fmla="*/ 409252 w 2179363"/>
                  <a:gd name="connsiteY0" fmla="*/ 1858316 h 1858316"/>
                  <a:gd name="connsiteX1" fmla="*/ 4957 w 2179363"/>
                  <a:gd name="connsiteY1" fmla="*/ 1054770 h 1858316"/>
                  <a:gd name="connsiteX2" fmla="*/ 3772 w 2179363"/>
                  <a:gd name="connsiteY2" fmla="*/ 1017192 h 1858316"/>
                  <a:gd name="connsiteX3" fmla="*/ 1737 w 2179363"/>
                  <a:gd name="connsiteY3" fmla="*/ 494424 h 1858316"/>
                  <a:gd name="connsiteX4" fmla="*/ 47228 w 2179363"/>
                  <a:gd name="connsiteY4" fmla="*/ 171698 h 1858316"/>
                  <a:gd name="connsiteX5" fmla="*/ 211835 w 2179363"/>
                  <a:gd name="connsiteY5" fmla="*/ 25112 h 1858316"/>
                  <a:gd name="connsiteX6" fmla="*/ 411481 w 2179363"/>
                  <a:gd name="connsiteY6" fmla="*/ 3326 h 1858316"/>
                  <a:gd name="connsiteX7" fmla="*/ 587185 w 2179363"/>
                  <a:gd name="connsiteY7" fmla="*/ 37548 h 1858316"/>
                  <a:gd name="connsiteX8" fmla="*/ 2138338 w 2179363"/>
                  <a:gd name="connsiteY8" fmla="*/ 924343 h 1858316"/>
                  <a:gd name="connsiteX9" fmla="*/ 2139295 w 2179363"/>
                  <a:gd name="connsiteY9" fmla="*/ 1149844 h 1858316"/>
                  <a:gd name="connsiteX10" fmla="*/ 1965330 w 2179363"/>
                  <a:gd name="connsiteY10" fmla="*/ 1269783 h 1858316"/>
                  <a:gd name="connsiteX11" fmla="*/ 1945483 w 2179363"/>
                  <a:gd name="connsiteY11" fmla="*/ 1262485 h 1858316"/>
                  <a:gd name="connsiteX12" fmla="*/ 480008 w 2179363"/>
                  <a:gd name="connsiteY12" fmla="*/ 431577 h 1858316"/>
                  <a:gd name="connsiteX13" fmla="*/ 479665 w 2179363"/>
                  <a:gd name="connsiteY13" fmla="*/ 431184 h 1858316"/>
                  <a:gd name="connsiteX14" fmla="*/ 457510 w 2179363"/>
                  <a:gd name="connsiteY14" fmla="*/ 437405 h 1858316"/>
                  <a:gd name="connsiteX15" fmla="*/ 414860 w 2179363"/>
                  <a:gd name="connsiteY15" fmla="*/ 539231 h 1858316"/>
                  <a:gd name="connsiteX16" fmla="*/ 414855 w 2179363"/>
                  <a:gd name="connsiteY16" fmla="*/ 1065628 h 1858316"/>
                  <a:gd name="connsiteX17" fmla="*/ 412078 w 2179363"/>
                  <a:gd name="connsiteY17" fmla="*/ 1081825 h 1858316"/>
                  <a:gd name="connsiteX18" fmla="*/ 409252 w 2179363"/>
                  <a:gd name="connsiteY18" fmla="*/ 1858316 h 1858316"/>
                  <a:gd name="connsiteX0" fmla="*/ 407757 w 2177868"/>
                  <a:gd name="connsiteY0" fmla="*/ 1858316 h 1858316"/>
                  <a:gd name="connsiteX1" fmla="*/ 3462 w 2177868"/>
                  <a:gd name="connsiteY1" fmla="*/ 1054770 h 1858316"/>
                  <a:gd name="connsiteX2" fmla="*/ 242 w 2177868"/>
                  <a:gd name="connsiteY2" fmla="*/ 494424 h 1858316"/>
                  <a:gd name="connsiteX3" fmla="*/ 45733 w 2177868"/>
                  <a:gd name="connsiteY3" fmla="*/ 171698 h 1858316"/>
                  <a:gd name="connsiteX4" fmla="*/ 210340 w 2177868"/>
                  <a:gd name="connsiteY4" fmla="*/ 25112 h 1858316"/>
                  <a:gd name="connsiteX5" fmla="*/ 409986 w 2177868"/>
                  <a:gd name="connsiteY5" fmla="*/ 3326 h 1858316"/>
                  <a:gd name="connsiteX6" fmla="*/ 585690 w 2177868"/>
                  <a:gd name="connsiteY6" fmla="*/ 37548 h 1858316"/>
                  <a:gd name="connsiteX7" fmla="*/ 2136843 w 2177868"/>
                  <a:gd name="connsiteY7" fmla="*/ 924343 h 1858316"/>
                  <a:gd name="connsiteX8" fmla="*/ 2137800 w 2177868"/>
                  <a:gd name="connsiteY8" fmla="*/ 1149844 h 1858316"/>
                  <a:gd name="connsiteX9" fmla="*/ 1963835 w 2177868"/>
                  <a:gd name="connsiteY9" fmla="*/ 1269783 h 1858316"/>
                  <a:gd name="connsiteX10" fmla="*/ 1943988 w 2177868"/>
                  <a:gd name="connsiteY10" fmla="*/ 1262485 h 1858316"/>
                  <a:gd name="connsiteX11" fmla="*/ 478513 w 2177868"/>
                  <a:gd name="connsiteY11" fmla="*/ 431577 h 1858316"/>
                  <a:gd name="connsiteX12" fmla="*/ 478170 w 2177868"/>
                  <a:gd name="connsiteY12" fmla="*/ 431184 h 1858316"/>
                  <a:gd name="connsiteX13" fmla="*/ 456015 w 2177868"/>
                  <a:gd name="connsiteY13" fmla="*/ 437405 h 1858316"/>
                  <a:gd name="connsiteX14" fmla="*/ 413365 w 2177868"/>
                  <a:gd name="connsiteY14" fmla="*/ 539231 h 1858316"/>
                  <a:gd name="connsiteX15" fmla="*/ 413360 w 2177868"/>
                  <a:gd name="connsiteY15" fmla="*/ 1065628 h 1858316"/>
                  <a:gd name="connsiteX16" fmla="*/ 410583 w 2177868"/>
                  <a:gd name="connsiteY16" fmla="*/ 1081825 h 1858316"/>
                  <a:gd name="connsiteX17" fmla="*/ 407757 w 2177868"/>
                  <a:gd name="connsiteY17" fmla="*/ 1858316 h 1858316"/>
                  <a:gd name="connsiteX0" fmla="*/ 407757 w 2177868"/>
                  <a:gd name="connsiteY0" fmla="*/ 1858316 h 1858316"/>
                  <a:gd name="connsiteX1" fmla="*/ 242 w 2177868"/>
                  <a:gd name="connsiteY1" fmla="*/ 494424 h 1858316"/>
                  <a:gd name="connsiteX2" fmla="*/ 45733 w 2177868"/>
                  <a:gd name="connsiteY2" fmla="*/ 171698 h 1858316"/>
                  <a:gd name="connsiteX3" fmla="*/ 210340 w 2177868"/>
                  <a:gd name="connsiteY3" fmla="*/ 25112 h 1858316"/>
                  <a:gd name="connsiteX4" fmla="*/ 409986 w 2177868"/>
                  <a:gd name="connsiteY4" fmla="*/ 3326 h 1858316"/>
                  <a:gd name="connsiteX5" fmla="*/ 585690 w 2177868"/>
                  <a:gd name="connsiteY5" fmla="*/ 37548 h 1858316"/>
                  <a:gd name="connsiteX6" fmla="*/ 2136843 w 2177868"/>
                  <a:gd name="connsiteY6" fmla="*/ 924343 h 1858316"/>
                  <a:gd name="connsiteX7" fmla="*/ 2137800 w 2177868"/>
                  <a:gd name="connsiteY7" fmla="*/ 1149844 h 1858316"/>
                  <a:gd name="connsiteX8" fmla="*/ 1963835 w 2177868"/>
                  <a:gd name="connsiteY8" fmla="*/ 1269783 h 1858316"/>
                  <a:gd name="connsiteX9" fmla="*/ 1943988 w 2177868"/>
                  <a:gd name="connsiteY9" fmla="*/ 1262485 h 1858316"/>
                  <a:gd name="connsiteX10" fmla="*/ 478513 w 2177868"/>
                  <a:gd name="connsiteY10" fmla="*/ 431577 h 1858316"/>
                  <a:gd name="connsiteX11" fmla="*/ 478170 w 2177868"/>
                  <a:gd name="connsiteY11" fmla="*/ 431184 h 1858316"/>
                  <a:gd name="connsiteX12" fmla="*/ 456015 w 2177868"/>
                  <a:gd name="connsiteY12" fmla="*/ 437405 h 1858316"/>
                  <a:gd name="connsiteX13" fmla="*/ 413365 w 2177868"/>
                  <a:gd name="connsiteY13" fmla="*/ 539231 h 1858316"/>
                  <a:gd name="connsiteX14" fmla="*/ 413360 w 2177868"/>
                  <a:gd name="connsiteY14" fmla="*/ 1065628 h 1858316"/>
                  <a:gd name="connsiteX15" fmla="*/ 410583 w 2177868"/>
                  <a:gd name="connsiteY15" fmla="*/ 1081825 h 1858316"/>
                  <a:gd name="connsiteX16" fmla="*/ 407757 w 2177868"/>
                  <a:gd name="connsiteY16" fmla="*/ 1858316 h 1858316"/>
                  <a:gd name="connsiteX0" fmla="*/ 407757 w 2177868"/>
                  <a:gd name="connsiteY0" fmla="*/ 1858316 h 1858316"/>
                  <a:gd name="connsiteX1" fmla="*/ 242 w 2177868"/>
                  <a:gd name="connsiteY1" fmla="*/ 494424 h 1858316"/>
                  <a:gd name="connsiteX2" fmla="*/ 45733 w 2177868"/>
                  <a:gd name="connsiteY2" fmla="*/ 171698 h 1858316"/>
                  <a:gd name="connsiteX3" fmla="*/ 210340 w 2177868"/>
                  <a:gd name="connsiteY3" fmla="*/ 25112 h 1858316"/>
                  <a:gd name="connsiteX4" fmla="*/ 409986 w 2177868"/>
                  <a:gd name="connsiteY4" fmla="*/ 3326 h 1858316"/>
                  <a:gd name="connsiteX5" fmla="*/ 585690 w 2177868"/>
                  <a:gd name="connsiteY5" fmla="*/ 37548 h 1858316"/>
                  <a:gd name="connsiteX6" fmla="*/ 2136843 w 2177868"/>
                  <a:gd name="connsiteY6" fmla="*/ 924343 h 1858316"/>
                  <a:gd name="connsiteX7" fmla="*/ 2137800 w 2177868"/>
                  <a:gd name="connsiteY7" fmla="*/ 1149844 h 1858316"/>
                  <a:gd name="connsiteX8" fmla="*/ 1963835 w 2177868"/>
                  <a:gd name="connsiteY8" fmla="*/ 1269783 h 1858316"/>
                  <a:gd name="connsiteX9" fmla="*/ 1943988 w 2177868"/>
                  <a:gd name="connsiteY9" fmla="*/ 1262485 h 1858316"/>
                  <a:gd name="connsiteX10" fmla="*/ 478513 w 2177868"/>
                  <a:gd name="connsiteY10" fmla="*/ 431577 h 1858316"/>
                  <a:gd name="connsiteX11" fmla="*/ 478170 w 2177868"/>
                  <a:gd name="connsiteY11" fmla="*/ 431184 h 1858316"/>
                  <a:gd name="connsiteX12" fmla="*/ 456015 w 2177868"/>
                  <a:gd name="connsiteY12" fmla="*/ 437405 h 1858316"/>
                  <a:gd name="connsiteX13" fmla="*/ 413365 w 2177868"/>
                  <a:gd name="connsiteY13" fmla="*/ 539231 h 1858316"/>
                  <a:gd name="connsiteX14" fmla="*/ 413360 w 2177868"/>
                  <a:gd name="connsiteY14" fmla="*/ 1065628 h 1858316"/>
                  <a:gd name="connsiteX15" fmla="*/ 407757 w 2177868"/>
                  <a:gd name="connsiteY15" fmla="*/ 1858316 h 1858316"/>
                  <a:gd name="connsiteX0" fmla="*/ 437026 w 2201534"/>
                  <a:gd name="connsiteY0" fmla="*/ 1065628 h 1271115"/>
                  <a:gd name="connsiteX1" fmla="*/ 23908 w 2201534"/>
                  <a:gd name="connsiteY1" fmla="*/ 494424 h 1271115"/>
                  <a:gd name="connsiteX2" fmla="*/ 69399 w 2201534"/>
                  <a:gd name="connsiteY2" fmla="*/ 171698 h 1271115"/>
                  <a:gd name="connsiteX3" fmla="*/ 234006 w 2201534"/>
                  <a:gd name="connsiteY3" fmla="*/ 25112 h 1271115"/>
                  <a:gd name="connsiteX4" fmla="*/ 433652 w 2201534"/>
                  <a:gd name="connsiteY4" fmla="*/ 3326 h 1271115"/>
                  <a:gd name="connsiteX5" fmla="*/ 609356 w 2201534"/>
                  <a:gd name="connsiteY5" fmla="*/ 37548 h 1271115"/>
                  <a:gd name="connsiteX6" fmla="*/ 2160509 w 2201534"/>
                  <a:gd name="connsiteY6" fmla="*/ 924343 h 1271115"/>
                  <a:gd name="connsiteX7" fmla="*/ 2161466 w 2201534"/>
                  <a:gd name="connsiteY7" fmla="*/ 1149844 h 1271115"/>
                  <a:gd name="connsiteX8" fmla="*/ 1987501 w 2201534"/>
                  <a:gd name="connsiteY8" fmla="*/ 1269783 h 1271115"/>
                  <a:gd name="connsiteX9" fmla="*/ 1967654 w 2201534"/>
                  <a:gd name="connsiteY9" fmla="*/ 1262485 h 1271115"/>
                  <a:gd name="connsiteX10" fmla="*/ 502179 w 2201534"/>
                  <a:gd name="connsiteY10" fmla="*/ 431577 h 1271115"/>
                  <a:gd name="connsiteX11" fmla="*/ 501836 w 2201534"/>
                  <a:gd name="connsiteY11" fmla="*/ 431184 h 1271115"/>
                  <a:gd name="connsiteX12" fmla="*/ 479681 w 2201534"/>
                  <a:gd name="connsiteY12" fmla="*/ 437405 h 1271115"/>
                  <a:gd name="connsiteX13" fmla="*/ 437031 w 2201534"/>
                  <a:gd name="connsiteY13" fmla="*/ 539231 h 1271115"/>
                  <a:gd name="connsiteX14" fmla="*/ 437026 w 2201534"/>
                  <a:gd name="connsiteY14" fmla="*/ 1065628 h 1271115"/>
                  <a:gd name="connsiteX0" fmla="*/ 437031 w 2201534"/>
                  <a:gd name="connsiteY0" fmla="*/ 539231 h 1271115"/>
                  <a:gd name="connsiteX1" fmla="*/ 23908 w 2201534"/>
                  <a:gd name="connsiteY1" fmla="*/ 494424 h 1271115"/>
                  <a:gd name="connsiteX2" fmla="*/ 69399 w 2201534"/>
                  <a:gd name="connsiteY2" fmla="*/ 171698 h 1271115"/>
                  <a:gd name="connsiteX3" fmla="*/ 234006 w 2201534"/>
                  <a:gd name="connsiteY3" fmla="*/ 25112 h 1271115"/>
                  <a:gd name="connsiteX4" fmla="*/ 433652 w 2201534"/>
                  <a:gd name="connsiteY4" fmla="*/ 3326 h 1271115"/>
                  <a:gd name="connsiteX5" fmla="*/ 609356 w 2201534"/>
                  <a:gd name="connsiteY5" fmla="*/ 37548 h 1271115"/>
                  <a:gd name="connsiteX6" fmla="*/ 2160509 w 2201534"/>
                  <a:gd name="connsiteY6" fmla="*/ 924343 h 1271115"/>
                  <a:gd name="connsiteX7" fmla="*/ 2161466 w 2201534"/>
                  <a:gd name="connsiteY7" fmla="*/ 1149844 h 1271115"/>
                  <a:gd name="connsiteX8" fmla="*/ 1987501 w 2201534"/>
                  <a:gd name="connsiteY8" fmla="*/ 1269783 h 1271115"/>
                  <a:gd name="connsiteX9" fmla="*/ 1967654 w 2201534"/>
                  <a:gd name="connsiteY9" fmla="*/ 1262485 h 1271115"/>
                  <a:gd name="connsiteX10" fmla="*/ 502179 w 2201534"/>
                  <a:gd name="connsiteY10" fmla="*/ 431577 h 1271115"/>
                  <a:gd name="connsiteX11" fmla="*/ 501836 w 2201534"/>
                  <a:gd name="connsiteY11" fmla="*/ 431184 h 1271115"/>
                  <a:gd name="connsiteX12" fmla="*/ 479681 w 2201534"/>
                  <a:gd name="connsiteY12" fmla="*/ 437405 h 1271115"/>
                  <a:gd name="connsiteX13" fmla="*/ 437031 w 2201534"/>
                  <a:gd name="connsiteY13" fmla="*/ 539231 h 1271115"/>
                  <a:gd name="connsiteX0" fmla="*/ 372453 w 2136956"/>
                  <a:gd name="connsiteY0" fmla="*/ 539231 h 1271115"/>
                  <a:gd name="connsiteX1" fmla="*/ 4821 w 2136956"/>
                  <a:gd name="connsiteY1" fmla="*/ 171698 h 1271115"/>
                  <a:gd name="connsiteX2" fmla="*/ 169428 w 2136956"/>
                  <a:gd name="connsiteY2" fmla="*/ 25112 h 1271115"/>
                  <a:gd name="connsiteX3" fmla="*/ 369074 w 2136956"/>
                  <a:gd name="connsiteY3" fmla="*/ 3326 h 1271115"/>
                  <a:gd name="connsiteX4" fmla="*/ 544778 w 2136956"/>
                  <a:gd name="connsiteY4" fmla="*/ 37548 h 1271115"/>
                  <a:gd name="connsiteX5" fmla="*/ 2095931 w 2136956"/>
                  <a:gd name="connsiteY5" fmla="*/ 924343 h 1271115"/>
                  <a:gd name="connsiteX6" fmla="*/ 2096888 w 2136956"/>
                  <a:gd name="connsiteY6" fmla="*/ 1149844 h 1271115"/>
                  <a:gd name="connsiteX7" fmla="*/ 1922923 w 2136956"/>
                  <a:gd name="connsiteY7" fmla="*/ 1269783 h 1271115"/>
                  <a:gd name="connsiteX8" fmla="*/ 1903076 w 2136956"/>
                  <a:gd name="connsiteY8" fmla="*/ 1262485 h 1271115"/>
                  <a:gd name="connsiteX9" fmla="*/ 437601 w 2136956"/>
                  <a:gd name="connsiteY9" fmla="*/ 431577 h 1271115"/>
                  <a:gd name="connsiteX10" fmla="*/ 437258 w 2136956"/>
                  <a:gd name="connsiteY10" fmla="*/ 431184 h 1271115"/>
                  <a:gd name="connsiteX11" fmla="*/ 415103 w 2136956"/>
                  <a:gd name="connsiteY11" fmla="*/ 437405 h 1271115"/>
                  <a:gd name="connsiteX12" fmla="*/ 372453 w 2136956"/>
                  <a:gd name="connsiteY12" fmla="*/ 539231 h 1271115"/>
                  <a:gd name="connsiteX0" fmla="*/ 416889 w 2138742"/>
                  <a:gd name="connsiteY0" fmla="*/ 437405 h 1271115"/>
                  <a:gd name="connsiteX1" fmla="*/ 6607 w 2138742"/>
                  <a:gd name="connsiteY1" fmla="*/ 171698 h 1271115"/>
                  <a:gd name="connsiteX2" fmla="*/ 171214 w 2138742"/>
                  <a:gd name="connsiteY2" fmla="*/ 25112 h 1271115"/>
                  <a:gd name="connsiteX3" fmla="*/ 370860 w 2138742"/>
                  <a:gd name="connsiteY3" fmla="*/ 3326 h 1271115"/>
                  <a:gd name="connsiteX4" fmla="*/ 546564 w 2138742"/>
                  <a:gd name="connsiteY4" fmla="*/ 37548 h 1271115"/>
                  <a:gd name="connsiteX5" fmla="*/ 2097717 w 2138742"/>
                  <a:gd name="connsiteY5" fmla="*/ 924343 h 1271115"/>
                  <a:gd name="connsiteX6" fmla="*/ 2098674 w 2138742"/>
                  <a:gd name="connsiteY6" fmla="*/ 1149844 h 1271115"/>
                  <a:gd name="connsiteX7" fmla="*/ 1924709 w 2138742"/>
                  <a:gd name="connsiteY7" fmla="*/ 1269783 h 1271115"/>
                  <a:gd name="connsiteX8" fmla="*/ 1904862 w 2138742"/>
                  <a:gd name="connsiteY8" fmla="*/ 1262485 h 1271115"/>
                  <a:gd name="connsiteX9" fmla="*/ 439387 w 2138742"/>
                  <a:gd name="connsiteY9" fmla="*/ 431577 h 1271115"/>
                  <a:gd name="connsiteX10" fmla="*/ 439044 w 2138742"/>
                  <a:gd name="connsiteY10" fmla="*/ 431184 h 1271115"/>
                  <a:gd name="connsiteX11" fmla="*/ 416889 w 2138742"/>
                  <a:gd name="connsiteY11" fmla="*/ 437405 h 1271115"/>
                  <a:gd name="connsiteX0" fmla="*/ 245969 w 1967822"/>
                  <a:gd name="connsiteY0" fmla="*/ 451897 h 1285607"/>
                  <a:gd name="connsiteX1" fmla="*/ 294 w 1967822"/>
                  <a:gd name="connsiteY1" fmla="*/ 39604 h 1285607"/>
                  <a:gd name="connsiteX2" fmla="*/ 199940 w 1967822"/>
                  <a:gd name="connsiteY2" fmla="*/ 17818 h 1285607"/>
                  <a:gd name="connsiteX3" fmla="*/ 375644 w 1967822"/>
                  <a:gd name="connsiteY3" fmla="*/ 52040 h 1285607"/>
                  <a:gd name="connsiteX4" fmla="*/ 1926797 w 1967822"/>
                  <a:gd name="connsiteY4" fmla="*/ 938835 h 1285607"/>
                  <a:gd name="connsiteX5" fmla="*/ 1927754 w 1967822"/>
                  <a:gd name="connsiteY5" fmla="*/ 1164336 h 1285607"/>
                  <a:gd name="connsiteX6" fmla="*/ 1753789 w 1967822"/>
                  <a:gd name="connsiteY6" fmla="*/ 1284275 h 1285607"/>
                  <a:gd name="connsiteX7" fmla="*/ 1733942 w 1967822"/>
                  <a:gd name="connsiteY7" fmla="*/ 1276977 h 1285607"/>
                  <a:gd name="connsiteX8" fmla="*/ 268467 w 1967822"/>
                  <a:gd name="connsiteY8" fmla="*/ 446069 h 1285607"/>
                  <a:gd name="connsiteX9" fmla="*/ 268124 w 1967822"/>
                  <a:gd name="connsiteY9" fmla="*/ 445676 h 1285607"/>
                  <a:gd name="connsiteX10" fmla="*/ 245969 w 1967822"/>
                  <a:gd name="connsiteY10" fmla="*/ 451897 h 1285607"/>
                  <a:gd name="connsiteX0" fmla="*/ 245969 w 1967822"/>
                  <a:gd name="connsiteY0" fmla="*/ 451897 h 1285607"/>
                  <a:gd name="connsiteX1" fmla="*/ 294 w 1967822"/>
                  <a:gd name="connsiteY1" fmla="*/ 39604 h 1285607"/>
                  <a:gd name="connsiteX2" fmla="*/ 199940 w 1967822"/>
                  <a:gd name="connsiteY2" fmla="*/ 17818 h 1285607"/>
                  <a:gd name="connsiteX3" fmla="*/ 375644 w 1967822"/>
                  <a:gd name="connsiteY3" fmla="*/ 52040 h 1285607"/>
                  <a:gd name="connsiteX4" fmla="*/ 1926797 w 1967822"/>
                  <a:gd name="connsiteY4" fmla="*/ 938835 h 1285607"/>
                  <a:gd name="connsiteX5" fmla="*/ 1927754 w 1967822"/>
                  <a:gd name="connsiteY5" fmla="*/ 1164336 h 1285607"/>
                  <a:gd name="connsiteX6" fmla="*/ 1753789 w 1967822"/>
                  <a:gd name="connsiteY6" fmla="*/ 1284275 h 1285607"/>
                  <a:gd name="connsiteX7" fmla="*/ 1733942 w 1967822"/>
                  <a:gd name="connsiteY7" fmla="*/ 1276977 h 1285607"/>
                  <a:gd name="connsiteX8" fmla="*/ 268467 w 1967822"/>
                  <a:gd name="connsiteY8" fmla="*/ 446069 h 1285607"/>
                  <a:gd name="connsiteX9" fmla="*/ 268124 w 1967822"/>
                  <a:gd name="connsiteY9" fmla="*/ 445676 h 1285607"/>
                  <a:gd name="connsiteX10" fmla="*/ 245969 w 1967822"/>
                  <a:gd name="connsiteY10" fmla="*/ 451897 h 1285607"/>
                  <a:gd name="connsiteX0" fmla="*/ 50925 w 1772778"/>
                  <a:gd name="connsiteY0" fmla="*/ 434079 h 1267789"/>
                  <a:gd name="connsiteX1" fmla="*/ 4896 w 1772778"/>
                  <a:gd name="connsiteY1" fmla="*/ 0 h 1267789"/>
                  <a:gd name="connsiteX2" fmla="*/ 180600 w 1772778"/>
                  <a:gd name="connsiteY2" fmla="*/ 34222 h 1267789"/>
                  <a:gd name="connsiteX3" fmla="*/ 1731753 w 1772778"/>
                  <a:gd name="connsiteY3" fmla="*/ 921017 h 1267789"/>
                  <a:gd name="connsiteX4" fmla="*/ 1732710 w 1772778"/>
                  <a:gd name="connsiteY4" fmla="*/ 1146518 h 1267789"/>
                  <a:gd name="connsiteX5" fmla="*/ 1558745 w 1772778"/>
                  <a:gd name="connsiteY5" fmla="*/ 1266457 h 1267789"/>
                  <a:gd name="connsiteX6" fmla="*/ 1538898 w 1772778"/>
                  <a:gd name="connsiteY6" fmla="*/ 1259159 h 1267789"/>
                  <a:gd name="connsiteX7" fmla="*/ 73423 w 1772778"/>
                  <a:gd name="connsiteY7" fmla="*/ 428251 h 1267789"/>
                  <a:gd name="connsiteX8" fmla="*/ 73080 w 1772778"/>
                  <a:gd name="connsiteY8" fmla="*/ 427858 h 1267789"/>
                  <a:gd name="connsiteX9" fmla="*/ 50925 w 1772778"/>
                  <a:gd name="connsiteY9" fmla="*/ 434079 h 1267789"/>
                  <a:gd name="connsiteX0" fmla="*/ 68184 w 1767882"/>
                  <a:gd name="connsiteY0" fmla="*/ 427858 h 1267789"/>
                  <a:gd name="connsiteX1" fmla="*/ 0 w 1767882"/>
                  <a:gd name="connsiteY1" fmla="*/ 0 h 1267789"/>
                  <a:gd name="connsiteX2" fmla="*/ 175704 w 1767882"/>
                  <a:gd name="connsiteY2" fmla="*/ 34222 h 1267789"/>
                  <a:gd name="connsiteX3" fmla="*/ 1726857 w 1767882"/>
                  <a:gd name="connsiteY3" fmla="*/ 921017 h 1267789"/>
                  <a:gd name="connsiteX4" fmla="*/ 1727814 w 1767882"/>
                  <a:gd name="connsiteY4" fmla="*/ 1146518 h 1267789"/>
                  <a:gd name="connsiteX5" fmla="*/ 1553849 w 1767882"/>
                  <a:gd name="connsiteY5" fmla="*/ 1266457 h 1267789"/>
                  <a:gd name="connsiteX6" fmla="*/ 1534002 w 1767882"/>
                  <a:gd name="connsiteY6" fmla="*/ 1259159 h 1267789"/>
                  <a:gd name="connsiteX7" fmla="*/ 68527 w 1767882"/>
                  <a:gd name="connsiteY7" fmla="*/ 428251 h 1267789"/>
                  <a:gd name="connsiteX8" fmla="*/ 68184 w 1767882"/>
                  <a:gd name="connsiteY8" fmla="*/ 427858 h 1267789"/>
                  <a:gd name="connsiteX0" fmla="*/ 0 w 1823523"/>
                  <a:gd name="connsiteY0" fmla="*/ 412600 h 1290631"/>
                  <a:gd name="connsiteX1" fmla="*/ 55641 w 1823523"/>
                  <a:gd name="connsiteY1" fmla="*/ 22842 h 1290631"/>
                  <a:gd name="connsiteX2" fmla="*/ 231345 w 1823523"/>
                  <a:gd name="connsiteY2" fmla="*/ 57064 h 1290631"/>
                  <a:gd name="connsiteX3" fmla="*/ 1782498 w 1823523"/>
                  <a:gd name="connsiteY3" fmla="*/ 943859 h 1290631"/>
                  <a:gd name="connsiteX4" fmla="*/ 1783455 w 1823523"/>
                  <a:gd name="connsiteY4" fmla="*/ 1169360 h 1290631"/>
                  <a:gd name="connsiteX5" fmla="*/ 1609490 w 1823523"/>
                  <a:gd name="connsiteY5" fmla="*/ 1289299 h 1290631"/>
                  <a:gd name="connsiteX6" fmla="*/ 1589643 w 1823523"/>
                  <a:gd name="connsiteY6" fmla="*/ 1282001 h 1290631"/>
                  <a:gd name="connsiteX7" fmla="*/ 124168 w 1823523"/>
                  <a:gd name="connsiteY7" fmla="*/ 451093 h 1290631"/>
                  <a:gd name="connsiteX8" fmla="*/ 0 w 1823523"/>
                  <a:gd name="connsiteY8" fmla="*/ 412600 h 1290631"/>
                  <a:gd name="connsiteX0" fmla="*/ 121435 w 1944958"/>
                  <a:gd name="connsiteY0" fmla="*/ 388867 h 1266898"/>
                  <a:gd name="connsiteX1" fmla="*/ 5626 w 1944958"/>
                  <a:gd name="connsiteY1" fmla="*/ 30859 h 1266898"/>
                  <a:gd name="connsiteX2" fmla="*/ 352780 w 1944958"/>
                  <a:gd name="connsiteY2" fmla="*/ 33331 h 1266898"/>
                  <a:gd name="connsiteX3" fmla="*/ 1903933 w 1944958"/>
                  <a:gd name="connsiteY3" fmla="*/ 920126 h 1266898"/>
                  <a:gd name="connsiteX4" fmla="*/ 1904890 w 1944958"/>
                  <a:gd name="connsiteY4" fmla="*/ 1145627 h 1266898"/>
                  <a:gd name="connsiteX5" fmla="*/ 1730925 w 1944958"/>
                  <a:gd name="connsiteY5" fmla="*/ 1265566 h 1266898"/>
                  <a:gd name="connsiteX6" fmla="*/ 1711078 w 1944958"/>
                  <a:gd name="connsiteY6" fmla="*/ 1258268 h 1266898"/>
                  <a:gd name="connsiteX7" fmla="*/ 245603 w 1944958"/>
                  <a:gd name="connsiteY7" fmla="*/ 427360 h 1266898"/>
                  <a:gd name="connsiteX8" fmla="*/ 121435 w 1944958"/>
                  <a:gd name="connsiteY8" fmla="*/ 388867 h 1266898"/>
                  <a:gd name="connsiteX0" fmla="*/ 128564 w 1952087"/>
                  <a:gd name="connsiteY0" fmla="*/ 394429 h 1272460"/>
                  <a:gd name="connsiteX1" fmla="*/ 12755 w 1952087"/>
                  <a:gd name="connsiteY1" fmla="*/ 36421 h 1272460"/>
                  <a:gd name="connsiteX2" fmla="*/ 359909 w 1952087"/>
                  <a:gd name="connsiteY2" fmla="*/ 38893 h 1272460"/>
                  <a:gd name="connsiteX3" fmla="*/ 1911062 w 1952087"/>
                  <a:gd name="connsiteY3" fmla="*/ 925688 h 1272460"/>
                  <a:gd name="connsiteX4" fmla="*/ 1912019 w 1952087"/>
                  <a:gd name="connsiteY4" fmla="*/ 1151189 h 1272460"/>
                  <a:gd name="connsiteX5" fmla="*/ 1738054 w 1952087"/>
                  <a:gd name="connsiteY5" fmla="*/ 1271128 h 1272460"/>
                  <a:gd name="connsiteX6" fmla="*/ 1718207 w 1952087"/>
                  <a:gd name="connsiteY6" fmla="*/ 1263830 h 1272460"/>
                  <a:gd name="connsiteX7" fmla="*/ 252732 w 1952087"/>
                  <a:gd name="connsiteY7" fmla="*/ 432922 h 1272460"/>
                  <a:gd name="connsiteX8" fmla="*/ 128564 w 1952087"/>
                  <a:gd name="connsiteY8" fmla="*/ 394429 h 1272460"/>
                  <a:gd name="connsiteX0" fmla="*/ 109676 w 1945899"/>
                  <a:gd name="connsiteY0" fmla="*/ 443373 h 1270604"/>
                  <a:gd name="connsiteX1" fmla="*/ 6567 w 1945899"/>
                  <a:gd name="connsiteY1" fmla="*/ 34565 h 1270604"/>
                  <a:gd name="connsiteX2" fmla="*/ 353721 w 1945899"/>
                  <a:gd name="connsiteY2" fmla="*/ 37037 h 1270604"/>
                  <a:gd name="connsiteX3" fmla="*/ 1904874 w 1945899"/>
                  <a:gd name="connsiteY3" fmla="*/ 923832 h 1270604"/>
                  <a:gd name="connsiteX4" fmla="*/ 1905831 w 1945899"/>
                  <a:gd name="connsiteY4" fmla="*/ 1149333 h 1270604"/>
                  <a:gd name="connsiteX5" fmla="*/ 1731866 w 1945899"/>
                  <a:gd name="connsiteY5" fmla="*/ 1269272 h 1270604"/>
                  <a:gd name="connsiteX6" fmla="*/ 1712019 w 1945899"/>
                  <a:gd name="connsiteY6" fmla="*/ 1261974 h 1270604"/>
                  <a:gd name="connsiteX7" fmla="*/ 246544 w 1945899"/>
                  <a:gd name="connsiteY7" fmla="*/ 431066 h 1270604"/>
                  <a:gd name="connsiteX8" fmla="*/ 109676 w 1945899"/>
                  <a:gd name="connsiteY8" fmla="*/ 443373 h 1270604"/>
                  <a:gd name="connsiteX0" fmla="*/ 250037 w 1949392"/>
                  <a:gd name="connsiteY0" fmla="*/ 431066 h 1270604"/>
                  <a:gd name="connsiteX1" fmla="*/ 10060 w 1949392"/>
                  <a:gd name="connsiteY1" fmla="*/ 34565 h 1270604"/>
                  <a:gd name="connsiteX2" fmla="*/ 357214 w 1949392"/>
                  <a:gd name="connsiteY2" fmla="*/ 37037 h 1270604"/>
                  <a:gd name="connsiteX3" fmla="*/ 1908367 w 1949392"/>
                  <a:gd name="connsiteY3" fmla="*/ 923832 h 1270604"/>
                  <a:gd name="connsiteX4" fmla="*/ 1909324 w 1949392"/>
                  <a:gd name="connsiteY4" fmla="*/ 1149333 h 1270604"/>
                  <a:gd name="connsiteX5" fmla="*/ 1735359 w 1949392"/>
                  <a:gd name="connsiteY5" fmla="*/ 1269272 h 1270604"/>
                  <a:gd name="connsiteX6" fmla="*/ 1715512 w 1949392"/>
                  <a:gd name="connsiteY6" fmla="*/ 1261974 h 1270604"/>
                  <a:gd name="connsiteX7" fmla="*/ 250037 w 1949392"/>
                  <a:gd name="connsiteY7" fmla="*/ 431066 h 1270604"/>
                  <a:gd name="connsiteX0" fmla="*/ 246686 w 1946041"/>
                  <a:gd name="connsiteY0" fmla="*/ 431066 h 1270604"/>
                  <a:gd name="connsiteX1" fmla="*/ 133827 w 1946041"/>
                  <a:gd name="connsiteY1" fmla="*/ 324567 h 1270604"/>
                  <a:gd name="connsiteX2" fmla="*/ 6709 w 1946041"/>
                  <a:gd name="connsiteY2" fmla="*/ 34565 h 1270604"/>
                  <a:gd name="connsiteX3" fmla="*/ 353863 w 1946041"/>
                  <a:gd name="connsiteY3" fmla="*/ 37037 h 1270604"/>
                  <a:gd name="connsiteX4" fmla="*/ 1905016 w 1946041"/>
                  <a:gd name="connsiteY4" fmla="*/ 923832 h 1270604"/>
                  <a:gd name="connsiteX5" fmla="*/ 1905973 w 1946041"/>
                  <a:gd name="connsiteY5" fmla="*/ 1149333 h 1270604"/>
                  <a:gd name="connsiteX6" fmla="*/ 1732008 w 1946041"/>
                  <a:gd name="connsiteY6" fmla="*/ 1269272 h 1270604"/>
                  <a:gd name="connsiteX7" fmla="*/ 1712161 w 1946041"/>
                  <a:gd name="connsiteY7" fmla="*/ 1261974 h 1270604"/>
                  <a:gd name="connsiteX8" fmla="*/ 246686 w 1946041"/>
                  <a:gd name="connsiteY8" fmla="*/ 431066 h 1270604"/>
                  <a:gd name="connsiteX0" fmla="*/ 455481 w 2154836"/>
                  <a:gd name="connsiteY0" fmla="*/ 418337 h 1257875"/>
                  <a:gd name="connsiteX1" fmla="*/ 6416 w 2154836"/>
                  <a:gd name="connsiteY1" fmla="*/ 254688 h 1257875"/>
                  <a:gd name="connsiteX2" fmla="*/ 215504 w 2154836"/>
                  <a:gd name="connsiteY2" fmla="*/ 21836 h 1257875"/>
                  <a:gd name="connsiteX3" fmla="*/ 562658 w 2154836"/>
                  <a:gd name="connsiteY3" fmla="*/ 24308 h 1257875"/>
                  <a:gd name="connsiteX4" fmla="*/ 2113811 w 2154836"/>
                  <a:gd name="connsiteY4" fmla="*/ 911103 h 1257875"/>
                  <a:gd name="connsiteX5" fmla="*/ 2114768 w 2154836"/>
                  <a:gd name="connsiteY5" fmla="*/ 1136604 h 1257875"/>
                  <a:gd name="connsiteX6" fmla="*/ 1940803 w 2154836"/>
                  <a:gd name="connsiteY6" fmla="*/ 1256543 h 1257875"/>
                  <a:gd name="connsiteX7" fmla="*/ 1920956 w 2154836"/>
                  <a:gd name="connsiteY7" fmla="*/ 1249245 h 1257875"/>
                  <a:gd name="connsiteX8" fmla="*/ 455481 w 2154836"/>
                  <a:gd name="connsiteY8" fmla="*/ 418337 h 1257875"/>
                  <a:gd name="connsiteX0" fmla="*/ 458204 w 2157559"/>
                  <a:gd name="connsiteY0" fmla="*/ 439462 h 1279000"/>
                  <a:gd name="connsiteX1" fmla="*/ 9139 w 2157559"/>
                  <a:gd name="connsiteY1" fmla="*/ 275813 h 1279000"/>
                  <a:gd name="connsiteX2" fmla="*/ 160591 w 2157559"/>
                  <a:gd name="connsiteY2" fmla="*/ 14386 h 1279000"/>
                  <a:gd name="connsiteX3" fmla="*/ 565381 w 2157559"/>
                  <a:gd name="connsiteY3" fmla="*/ 45433 h 1279000"/>
                  <a:gd name="connsiteX4" fmla="*/ 2116534 w 2157559"/>
                  <a:gd name="connsiteY4" fmla="*/ 932228 h 1279000"/>
                  <a:gd name="connsiteX5" fmla="*/ 2117491 w 2157559"/>
                  <a:gd name="connsiteY5" fmla="*/ 1157729 h 1279000"/>
                  <a:gd name="connsiteX6" fmla="*/ 1943526 w 2157559"/>
                  <a:gd name="connsiteY6" fmla="*/ 1277668 h 1279000"/>
                  <a:gd name="connsiteX7" fmla="*/ 1923679 w 2157559"/>
                  <a:gd name="connsiteY7" fmla="*/ 1270370 h 1279000"/>
                  <a:gd name="connsiteX8" fmla="*/ 458204 w 2157559"/>
                  <a:gd name="connsiteY8" fmla="*/ 439462 h 1279000"/>
                  <a:gd name="connsiteX0" fmla="*/ 456399 w 2155754"/>
                  <a:gd name="connsiteY0" fmla="*/ 431843 h 1271381"/>
                  <a:gd name="connsiteX1" fmla="*/ 7334 w 2155754"/>
                  <a:gd name="connsiteY1" fmla="*/ 268194 h 1271381"/>
                  <a:gd name="connsiteX2" fmla="*/ 192407 w 2155754"/>
                  <a:gd name="connsiteY2" fmla="*/ 16292 h 1271381"/>
                  <a:gd name="connsiteX3" fmla="*/ 563576 w 2155754"/>
                  <a:gd name="connsiteY3" fmla="*/ 37814 h 1271381"/>
                  <a:gd name="connsiteX4" fmla="*/ 2114729 w 2155754"/>
                  <a:gd name="connsiteY4" fmla="*/ 924609 h 1271381"/>
                  <a:gd name="connsiteX5" fmla="*/ 2115686 w 2155754"/>
                  <a:gd name="connsiteY5" fmla="*/ 1150110 h 1271381"/>
                  <a:gd name="connsiteX6" fmla="*/ 1941721 w 2155754"/>
                  <a:gd name="connsiteY6" fmla="*/ 1270049 h 1271381"/>
                  <a:gd name="connsiteX7" fmla="*/ 1921874 w 2155754"/>
                  <a:gd name="connsiteY7" fmla="*/ 1262751 h 1271381"/>
                  <a:gd name="connsiteX8" fmla="*/ 456399 w 2155754"/>
                  <a:gd name="connsiteY8" fmla="*/ 431843 h 1271381"/>
                  <a:gd name="connsiteX0" fmla="*/ 456399 w 2155754"/>
                  <a:gd name="connsiteY0" fmla="*/ 429388 h 1268926"/>
                  <a:gd name="connsiteX1" fmla="*/ 7334 w 2155754"/>
                  <a:gd name="connsiteY1" fmla="*/ 232402 h 1268926"/>
                  <a:gd name="connsiteX2" fmla="*/ 192407 w 2155754"/>
                  <a:gd name="connsiteY2" fmla="*/ 13837 h 1268926"/>
                  <a:gd name="connsiteX3" fmla="*/ 563576 w 2155754"/>
                  <a:gd name="connsiteY3" fmla="*/ 35359 h 1268926"/>
                  <a:gd name="connsiteX4" fmla="*/ 2114729 w 2155754"/>
                  <a:gd name="connsiteY4" fmla="*/ 922154 h 1268926"/>
                  <a:gd name="connsiteX5" fmla="*/ 2115686 w 2155754"/>
                  <a:gd name="connsiteY5" fmla="*/ 1147655 h 1268926"/>
                  <a:gd name="connsiteX6" fmla="*/ 1941721 w 2155754"/>
                  <a:gd name="connsiteY6" fmla="*/ 1267594 h 1268926"/>
                  <a:gd name="connsiteX7" fmla="*/ 1921874 w 2155754"/>
                  <a:gd name="connsiteY7" fmla="*/ 1260296 h 1268926"/>
                  <a:gd name="connsiteX8" fmla="*/ 456399 w 2155754"/>
                  <a:gd name="connsiteY8" fmla="*/ 429388 h 1268926"/>
                  <a:gd name="connsiteX0" fmla="*/ 458374 w 2157729"/>
                  <a:gd name="connsiteY0" fmla="*/ 437817 h 1277355"/>
                  <a:gd name="connsiteX1" fmla="*/ 9309 w 2157729"/>
                  <a:gd name="connsiteY1" fmla="*/ 240831 h 1277355"/>
                  <a:gd name="connsiteX2" fmla="*/ 194382 w 2157729"/>
                  <a:gd name="connsiteY2" fmla="*/ 22266 h 1277355"/>
                  <a:gd name="connsiteX3" fmla="*/ 565551 w 2157729"/>
                  <a:gd name="connsiteY3" fmla="*/ 43788 h 1277355"/>
                  <a:gd name="connsiteX4" fmla="*/ 2116704 w 2157729"/>
                  <a:gd name="connsiteY4" fmla="*/ 930583 h 1277355"/>
                  <a:gd name="connsiteX5" fmla="*/ 2117661 w 2157729"/>
                  <a:gd name="connsiteY5" fmla="*/ 1156084 h 1277355"/>
                  <a:gd name="connsiteX6" fmla="*/ 1943696 w 2157729"/>
                  <a:gd name="connsiteY6" fmla="*/ 1276023 h 1277355"/>
                  <a:gd name="connsiteX7" fmla="*/ 1923849 w 2157729"/>
                  <a:gd name="connsiteY7" fmla="*/ 1268725 h 1277355"/>
                  <a:gd name="connsiteX8" fmla="*/ 458374 w 2157729"/>
                  <a:gd name="connsiteY8" fmla="*/ 437817 h 12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7729" h="1277355">
                    <a:moveTo>
                      <a:pt x="458374" y="437817"/>
                    </a:moveTo>
                    <a:cubicBezTo>
                      <a:pt x="195318" y="281583"/>
                      <a:pt x="49305" y="306914"/>
                      <a:pt x="9309" y="240831"/>
                    </a:cubicBezTo>
                    <a:cubicBezTo>
                      <a:pt x="-30687" y="174748"/>
                      <a:pt x="63252" y="74157"/>
                      <a:pt x="194382" y="22266"/>
                    </a:cubicBezTo>
                    <a:cubicBezTo>
                      <a:pt x="325512" y="-29625"/>
                      <a:pt x="507689" y="22617"/>
                      <a:pt x="565551" y="43788"/>
                    </a:cubicBezTo>
                    <a:lnTo>
                      <a:pt x="2116704" y="930583"/>
                    </a:lnTo>
                    <a:cubicBezTo>
                      <a:pt x="2171029" y="961947"/>
                      <a:pt x="2171457" y="1062907"/>
                      <a:pt x="2117661" y="1156084"/>
                    </a:cubicBezTo>
                    <a:cubicBezTo>
                      <a:pt x="2070590" y="1237614"/>
                      <a:pt x="1997601" y="1286169"/>
                      <a:pt x="1943696" y="1276023"/>
                    </a:cubicBezTo>
                    <a:lnTo>
                      <a:pt x="1923849" y="1268725"/>
                    </a:lnTo>
                    <a:lnTo>
                      <a:pt x="458374" y="437817"/>
                    </a:lnTo>
                    <a:close/>
                  </a:path>
                </a:pathLst>
              </a:custGeom>
              <a:gradFill flip="none" rotWithShape="1">
                <a:gsLst>
                  <a:gs pos="58000">
                    <a:schemeClr val="accent2">
                      <a:lumMod val="0"/>
                      <a:lumOff val="100000"/>
                      <a:alpha val="0"/>
                    </a:schemeClr>
                  </a:gs>
                  <a:gs pos="39000">
                    <a:schemeClr val="accent4"/>
                  </a:gs>
                </a:gsLst>
                <a:lin ang="72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74" name="Freeform: Shape 773">
                <a:extLst>
                  <a:ext uri="{FF2B5EF4-FFF2-40B4-BE49-F238E27FC236}">
                    <a16:creationId xmlns:a16="http://schemas.microsoft.com/office/drawing/2014/main" id="{84EC5A7F-1FB9-4A0D-95AC-C2E99CEDF4DD}"/>
                  </a:ext>
                </a:extLst>
              </p:cNvPr>
              <p:cNvSpPr/>
              <p:nvPr/>
            </p:nvSpPr>
            <p:spPr bwMode="gray">
              <a:xfrm flipH="1" flipV="1">
                <a:off x="328248" y="612531"/>
                <a:ext cx="409165" cy="1770376"/>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172662"/>
                  <a:gd name="connsiteY0" fmla="*/ 5285252 h 5285288"/>
                  <a:gd name="connsiteX1" fmla="*/ 1859089 w 4172662"/>
                  <a:gd name="connsiteY1" fmla="*/ 5257452 h 5285288"/>
                  <a:gd name="connsiteX2" fmla="*/ 1799088 w 4172662"/>
                  <a:gd name="connsiteY2" fmla="*/ 5227600 h 5285288"/>
                  <a:gd name="connsiteX3" fmla="*/ 257741 w 4172662"/>
                  <a:gd name="connsiteY3" fmla="*/ 4344402 h 5285288"/>
                  <a:gd name="connsiteX4" fmla="*/ 66855 w 4172662"/>
                  <a:gd name="connsiteY4" fmla="*/ 4157062 h 5285288"/>
                  <a:gd name="connsiteX5" fmla="*/ 5085 w 4172662"/>
                  <a:gd name="connsiteY5" fmla="*/ 3955159 h 5285288"/>
                  <a:gd name="connsiteX6" fmla="*/ 117 w 4172662"/>
                  <a:gd name="connsiteY6" fmla="*/ 3898769 h 5285288"/>
                  <a:gd name="connsiteX7" fmla="*/ 0 w 4172662"/>
                  <a:gd name="connsiteY7" fmla="*/ 3898107 h 5285288"/>
                  <a:gd name="connsiteX8" fmla="*/ 5920 w 4172662"/>
                  <a:gd name="connsiteY8" fmla="*/ 2513626 h 5285288"/>
                  <a:gd name="connsiteX9" fmla="*/ 9056 w 4172662"/>
                  <a:gd name="connsiteY9" fmla="*/ 2484766 h 5285288"/>
                  <a:gd name="connsiteX10" fmla="*/ 206180 w 4172662"/>
                  <a:gd name="connsiteY10" fmla="*/ 2392022 h 5285288"/>
                  <a:gd name="connsiteX11" fmla="*/ 407391 w 4172662"/>
                  <a:gd name="connsiteY11" fmla="*/ 2508175 h 5285288"/>
                  <a:gd name="connsiteX12" fmla="*/ 406100 w 4172662"/>
                  <a:gd name="connsiteY12" fmla="*/ 2572658 h 5285288"/>
                  <a:gd name="connsiteX13" fmla="*/ 409165 w 4172662"/>
                  <a:gd name="connsiteY13" fmla="*/ 3888049 h 5285288"/>
                  <a:gd name="connsiteX14" fmla="*/ 407598 w 4172662"/>
                  <a:gd name="connsiteY14" fmla="*/ 3881457 h 5285288"/>
                  <a:gd name="connsiteX15" fmla="*/ 407517 w 4172662"/>
                  <a:gd name="connsiteY15" fmla="*/ 3894265 h 5285288"/>
                  <a:gd name="connsiteX16" fmla="*/ 464772 w 4172662"/>
                  <a:gd name="connsiteY16" fmla="*/ 3993435 h 5285288"/>
                  <a:gd name="connsiteX17" fmla="*/ 1965744 w 4172662"/>
                  <a:gd name="connsiteY17" fmla="*/ 4865353 h 5285288"/>
                  <a:gd name="connsiteX18" fmla="*/ 1966088 w 4172662"/>
                  <a:gd name="connsiteY18" fmla="*/ 4865745 h 5285288"/>
                  <a:gd name="connsiteX19" fmla="*/ 1988129 w 4172662"/>
                  <a:gd name="connsiteY19" fmla="*/ 4859558 h 5285288"/>
                  <a:gd name="connsiteX20" fmla="*/ 2034209 w 4172662"/>
                  <a:gd name="connsiteY20" fmla="*/ 4799004 h 5285288"/>
                  <a:gd name="connsiteX21" fmla="*/ 2036053 w 4172662"/>
                  <a:gd name="connsiteY21" fmla="*/ 4105978 h 5285288"/>
                  <a:gd name="connsiteX22" fmla="*/ 2038324 w 4172662"/>
                  <a:gd name="connsiteY22" fmla="*/ 1054770 h 5285288"/>
                  <a:gd name="connsiteX23" fmla="*/ 2037139 w 4172662"/>
                  <a:gd name="connsiteY23" fmla="*/ 1017192 h 5285288"/>
                  <a:gd name="connsiteX24" fmla="*/ 2035104 w 4172662"/>
                  <a:gd name="connsiteY24" fmla="*/ 494424 h 5285288"/>
                  <a:gd name="connsiteX25" fmla="*/ 2080595 w 4172662"/>
                  <a:gd name="connsiteY25" fmla="*/ 171698 h 5285288"/>
                  <a:gd name="connsiteX26" fmla="*/ 2245202 w 4172662"/>
                  <a:gd name="connsiteY26" fmla="*/ 25112 h 5285288"/>
                  <a:gd name="connsiteX27" fmla="*/ 2444848 w 4172662"/>
                  <a:gd name="connsiteY27" fmla="*/ 3326 h 5285288"/>
                  <a:gd name="connsiteX28" fmla="*/ 2620552 w 4172662"/>
                  <a:gd name="connsiteY28" fmla="*/ 37548 h 5285288"/>
                  <a:gd name="connsiteX29" fmla="*/ 4172662 w 4172662"/>
                  <a:gd name="connsiteY29" fmla="*/ 1149844 h 5285288"/>
                  <a:gd name="connsiteX30" fmla="*/ 3998697 w 4172662"/>
                  <a:gd name="connsiteY30" fmla="*/ 1269783 h 5285288"/>
                  <a:gd name="connsiteX31" fmla="*/ 3978850 w 4172662"/>
                  <a:gd name="connsiteY31" fmla="*/ 1262485 h 5285288"/>
                  <a:gd name="connsiteX32" fmla="*/ 2513375 w 4172662"/>
                  <a:gd name="connsiteY32" fmla="*/ 431577 h 5285288"/>
                  <a:gd name="connsiteX33" fmla="*/ 2513032 w 4172662"/>
                  <a:gd name="connsiteY33" fmla="*/ 431184 h 5285288"/>
                  <a:gd name="connsiteX34" fmla="*/ 2490877 w 4172662"/>
                  <a:gd name="connsiteY34" fmla="*/ 437405 h 5285288"/>
                  <a:gd name="connsiteX35" fmla="*/ 2448227 w 4172662"/>
                  <a:gd name="connsiteY35" fmla="*/ 539231 h 5285288"/>
                  <a:gd name="connsiteX36" fmla="*/ 2448222 w 4172662"/>
                  <a:gd name="connsiteY36" fmla="*/ 1065628 h 5285288"/>
                  <a:gd name="connsiteX37" fmla="*/ 2445445 w 4172662"/>
                  <a:gd name="connsiteY37" fmla="*/ 1081825 h 5285288"/>
                  <a:gd name="connsiteX38" fmla="*/ 2442619 w 4172662"/>
                  <a:gd name="connsiteY38" fmla="*/ 1858316 h 5285288"/>
                  <a:gd name="connsiteX39" fmla="*/ 2444476 w 4172662"/>
                  <a:gd name="connsiteY39" fmla="*/ 1861834 h 5285288"/>
                  <a:gd name="connsiteX40" fmla="*/ 2443809 w 4172662"/>
                  <a:gd name="connsiteY40" fmla="*/ 3038034 h 5285288"/>
                  <a:gd name="connsiteX41" fmla="*/ 2441669 w 4172662"/>
                  <a:gd name="connsiteY41" fmla="*/ 4802821 h 5285288"/>
                  <a:gd name="connsiteX42" fmla="*/ 2374871 w 4172662"/>
                  <a:gd name="connsiteY42" fmla="*/ 5061801 h 5285288"/>
                  <a:gd name="connsiteX43" fmla="*/ 2230903 w 4172662"/>
                  <a:gd name="connsiteY43" fmla="*/ 5216241 h 5285288"/>
                  <a:gd name="connsiteX44" fmla="*/ 2020267 w 4172662"/>
                  <a:gd name="connsiteY44" fmla="*/ 5284752 h 5285288"/>
                  <a:gd name="connsiteX45" fmla="*/ 1970713 w 4172662"/>
                  <a:gd name="connsiteY45"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3978850 w 3998697"/>
                  <a:gd name="connsiteY30" fmla="*/ 1262485 h 5285288"/>
                  <a:gd name="connsiteX31" fmla="*/ 2513375 w 3998697"/>
                  <a:gd name="connsiteY31" fmla="*/ 431577 h 5285288"/>
                  <a:gd name="connsiteX32" fmla="*/ 2513032 w 3998697"/>
                  <a:gd name="connsiteY32" fmla="*/ 431184 h 5285288"/>
                  <a:gd name="connsiteX33" fmla="*/ 2490877 w 3998697"/>
                  <a:gd name="connsiteY33" fmla="*/ 437405 h 5285288"/>
                  <a:gd name="connsiteX34" fmla="*/ 2448227 w 3998697"/>
                  <a:gd name="connsiteY34" fmla="*/ 539231 h 5285288"/>
                  <a:gd name="connsiteX35" fmla="*/ 2448222 w 3998697"/>
                  <a:gd name="connsiteY35" fmla="*/ 1065628 h 5285288"/>
                  <a:gd name="connsiteX36" fmla="*/ 2445445 w 3998697"/>
                  <a:gd name="connsiteY36" fmla="*/ 1081825 h 5285288"/>
                  <a:gd name="connsiteX37" fmla="*/ 2442619 w 3998697"/>
                  <a:gd name="connsiteY37" fmla="*/ 1858316 h 5285288"/>
                  <a:gd name="connsiteX38" fmla="*/ 2444476 w 3998697"/>
                  <a:gd name="connsiteY38" fmla="*/ 1861834 h 5285288"/>
                  <a:gd name="connsiteX39" fmla="*/ 2443809 w 3998697"/>
                  <a:gd name="connsiteY39" fmla="*/ 3038034 h 5285288"/>
                  <a:gd name="connsiteX40" fmla="*/ 2441669 w 3998697"/>
                  <a:gd name="connsiteY40" fmla="*/ 4802821 h 5285288"/>
                  <a:gd name="connsiteX41" fmla="*/ 2374871 w 3998697"/>
                  <a:gd name="connsiteY41" fmla="*/ 5061801 h 5285288"/>
                  <a:gd name="connsiteX42" fmla="*/ 2230903 w 3998697"/>
                  <a:gd name="connsiteY42" fmla="*/ 5216241 h 5285288"/>
                  <a:gd name="connsiteX43" fmla="*/ 2020267 w 3998697"/>
                  <a:gd name="connsiteY43" fmla="*/ 5284752 h 5285288"/>
                  <a:gd name="connsiteX44" fmla="*/ 1970713 w 3998697"/>
                  <a:gd name="connsiteY44" fmla="*/ 5285252 h 5285288"/>
                  <a:gd name="connsiteX0" fmla="*/ 1970713 w 3998697"/>
                  <a:gd name="connsiteY0" fmla="*/ 5285252 h 5285288"/>
                  <a:gd name="connsiteX1" fmla="*/ 1859089 w 3998697"/>
                  <a:gd name="connsiteY1" fmla="*/ 5257452 h 5285288"/>
                  <a:gd name="connsiteX2" fmla="*/ 1799088 w 3998697"/>
                  <a:gd name="connsiteY2" fmla="*/ 5227600 h 5285288"/>
                  <a:gd name="connsiteX3" fmla="*/ 257741 w 3998697"/>
                  <a:gd name="connsiteY3" fmla="*/ 4344402 h 5285288"/>
                  <a:gd name="connsiteX4" fmla="*/ 66855 w 3998697"/>
                  <a:gd name="connsiteY4" fmla="*/ 4157062 h 5285288"/>
                  <a:gd name="connsiteX5" fmla="*/ 5085 w 3998697"/>
                  <a:gd name="connsiteY5" fmla="*/ 3955159 h 5285288"/>
                  <a:gd name="connsiteX6" fmla="*/ 117 w 3998697"/>
                  <a:gd name="connsiteY6" fmla="*/ 3898769 h 5285288"/>
                  <a:gd name="connsiteX7" fmla="*/ 0 w 3998697"/>
                  <a:gd name="connsiteY7" fmla="*/ 3898107 h 5285288"/>
                  <a:gd name="connsiteX8" fmla="*/ 5920 w 3998697"/>
                  <a:gd name="connsiteY8" fmla="*/ 2513626 h 5285288"/>
                  <a:gd name="connsiteX9" fmla="*/ 9056 w 3998697"/>
                  <a:gd name="connsiteY9" fmla="*/ 2484766 h 5285288"/>
                  <a:gd name="connsiteX10" fmla="*/ 206180 w 3998697"/>
                  <a:gd name="connsiteY10" fmla="*/ 2392022 h 5285288"/>
                  <a:gd name="connsiteX11" fmla="*/ 407391 w 3998697"/>
                  <a:gd name="connsiteY11" fmla="*/ 2508175 h 5285288"/>
                  <a:gd name="connsiteX12" fmla="*/ 406100 w 3998697"/>
                  <a:gd name="connsiteY12" fmla="*/ 2572658 h 5285288"/>
                  <a:gd name="connsiteX13" fmla="*/ 409165 w 3998697"/>
                  <a:gd name="connsiteY13" fmla="*/ 3888049 h 5285288"/>
                  <a:gd name="connsiteX14" fmla="*/ 407598 w 3998697"/>
                  <a:gd name="connsiteY14" fmla="*/ 3881457 h 5285288"/>
                  <a:gd name="connsiteX15" fmla="*/ 407517 w 3998697"/>
                  <a:gd name="connsiteY15" fmla="*/ 3894265 h 5285288"/>
                  <a:gd name="connsiteX16" fmla="*/ 464772 w 3998697"/>
                  <a:gd name="connsiteY16" fmla="*/ 3993435 h 5285288"/>
                  <a:gd name="connsiteX17" fmla="*/ 1965744 w 3998697"/>
                  <a:gd name="connsiteY17" fmla="*/ 4865353 h 5285288"/>
                  <a:gd name="connsiteX18" fmla="*/ 1966088 w 3998697"/>
                  <a:gd name="connsiteY18" fmla="*/ 4865745 h 5285288"/>
                  <a:gd name="connsiteX19" fmla="*/ 1988129 w 3998697"/>
                  <a:gd name="connsiteY19" fmla="*/ 4859558 h 5285288"/>
                  <a:gd name="connsiteX20" fmla="*/ 2034209 w 3998697"/>
                  <a:gd name="connsiteY20" fmla="*/ 4799004 h 5285288"/>
                  <a:gd name="connsiteX21" fmla="*/ 2036053 w 3998697"/>
                  <a:gd name="connsiteY21" fmla="*/ 4105978 h 5285288"/>
                  <a:gd name="connsiteX22" fmla="*/ 2038324 w 3998697"/>
                  <a:gd name="connsiteY22" fmla="*/ 1054770 h 5285288"/>
                  <a:gd name="connsiteX23" fmla="*/ 2037139 w 3998697"/>
                  <a:gd name="connsiteY23" fmla="*/ 1017192 h 5285288"/>
                  <a:gd name="connsiteX24" fmla="*/ 2035104 w 3998697"/>
                  <a:gd name="connsiteY24" fmla="*/ 494424 h 5285288"/>
                  <a:gd name="connsiteX25" fmla="*/ 2080595 w 3998697"/>
                  <a:gd name="connsiteY25" fmla="*/ 171698 h 5285288"/>
                  <a:gd name="connsiteX26" fmla="*/ 2245202 w 3998697"/>
                  <a:gd name="connsiteY26" fmla="*/ 25112 h 5285288"/>
                  <a:gd name="connsiteX27" fmla="*/ 2444848 w 3998697"/>
                  <a:gd name="connsiteY27" fmla="*/ 3326 h 5285288"/>
                  <a:gd name="connsiteX28" fmla="*/ 2620552 w 3998697"/>
                  <a:gd name="connsiteY28" fmla="*/ 37548 h 5285288"/>
                  <a:gd name="connsiteX29" fmla="*/ 3998697 w 3998697"/>
                  <a:gd name="connsiteY29" fmla="*/ 1269783 h 5285288"/>
                  <a:gd name="connsiteX30" fmla="*/ 2513375 w 3998697"/>
                  <a:gd name="connsiteY30" fmla="*/ 431577 h 5285288"/>
                  <a:gd name="connsiteX31" fmla="*/ 2513032 w 3998697"/>
                  <a:gd name="connsiteY31" fmla="*/ 431184 h 5285288"/>
                  <a:gd name="connsiteX32" fmla="*/ 2490877 w 3998697"/>
                  <a:gd name="connsiteY32" fmla="*/ 437405 h 5285288"/>
                  <a:gd name="connsiteX33" fmla="*/ 2448227 w 3998697"/>
                  <a:gd name="connsiteY33" fmla="*/ 539231 h 5285288"/>
                  <a:gd name="connsiteX34" fmla="*/ 2448222 w 3998697"/>
                  <a:gd name="connsiteY34" fmla="*/ 1065628 h 5285288"/>
                  <a:gd name="connsiteX35" fmla="*/ 2445445 w 3998697"/>
                  <a:gd name="connsiteY35" fmla="*/ 1081825 h 5285288"/>
                  <a:gd name="connsiteX36" fmla="*/ 2442619 w 3998697"/>
                  <a:gd name="connsiteY36" fmla="*/ 1858316 h 5285288"/>
                  <a:gd name="connsiteX37" fmla="*/ 2444476 w 3998697"/>
                  <a:gd name="connsiteY37" fmla="*/ 1861834 h 5285288"/>
                  <a:gd name="connsiteX38" fmla="*/ 2443809 w 3998697"/>
                  <a:gd name="connsiteY38" fmla="*/ 3038034 h 5285288"/>
                  <a:gd name="connsiteX39" fmla="*/ 2441669 w 3998697"/>
                  <a:gd name="connsiteY39" fmla="*/ 4802821 h 5285288"/>
                  <a:gd name="connsiteX40" fmla="*/ 2374871 w 3998697"/>
                  <a:gd name="connsiteY40" fmla="*/ 5061801 h 5285288"/>
                  <a:gd name="connsiteX41" fmla="*/ 2230903 w 3998697"/>
                  <a:gd name="connsiteY41" fmla="*/ 5216241 h 5285288"/>
                  <a:gd name="connsiteX42" fmla="*/ 2020267 w 3998697"/>
                  <a:gd name="connsiteY42" fmla="*/ 5284752 h 5285288"/>
                  <a:gd name="connsiteX43" fmla="*/ 1970713 w 3998697"/>
                  <a:gd name="connsiteY43" fmla="*/ 5285252 h 5285288"/>
                  <a:gd name="connsiteX0" fmla="*/ 1970713 w 3998697"/>
                  <a:gd name="connsiteY0" fmla="*/ 5376271 h 5376307"/>
                  <a:gd name="connsiteX1" fmla="*/ 1859089 w 3998697"/>
                  <a:gd name="connsiteY1" fmla="*/ 5348471 h 5376307"/>
                  <a:gd name="connsiteX2" fmla="*/ 1799088 w 3998697"/>
                  <a:gd name="connsiteY2" fmla="*/ 5318619 h 5376307"/>
                  <a:gd name="connsiteX3" fmla="*/ 257741 w 3998697"/>
                  <a:gd name="connsiteY3" fmla="*/ 4435421 h 5376307"/>
                  <a:gd name="connsiteX4" fmla="*/ 66855 w 3998697"/>
                  <a:gd name="connsiteY4" fmla="*/ 4248081 h 5376307"/>
                  <a:gd name="connsiteX5" fmla="*/ 5085 w 3998697"/>
                  <a:gd name="connsiteY5" fmla="*/ 4046178 h 5376307"/>
                  <a:gd name="connsiteX6" fmla="*/ 117 w 3998697"/>
                  <a:gd name="connsiteY6" fmla="*/ 3989788 h 5376307"/>
                  <a:gd name="connsiteX7" fmla="*/ 0 w 3998697"/>
                  <a:gd name="connsiteY7" fmla="*/ 3989126 h 5376307"/>
                  <a:gd name="connsiteX8" fmla="*/ 5920 w 3998697"/>
                  <a:gd name="connsiteY8" fmla="*/ 2604645 h 5376307"/>
                  <a:gd name="connsiteX9" fmla="*/ 9056 w 3998697"/>
                  <a:gd name="connsiteY9" fmla="*/ 2575785 h 5376307"/>
                  <a:gd name="connsiteX10" fmla="*/ 206180 w 3998697"/>
                  <a:gd name="connsiteY10" fmla="*/ 2483041 h 5376307"/>
                  <a:gd name="connsiteX11" fmla="*/ 407391 w 3998697"/>
                  <a:gd name="connsiteY11" fmla="*/ 2599194 h 5376307"/>
                  <a:gd name="connsiteX12" fmla="*/ 406100 w 3998697"/>
                  <a:gd name="connsiteY12" fmla="*/ 2663677 h 5376307"/>
                  <a:gd name="connsiteX13" fmla="*/ 409165 w 3998697"/>
                  <a:gd name="connsiteY13" fmla="*/ 3979068 h 5376307"/>
                  <a:gd name="connsiteX14" fmla="*/ 407598 w 3998697"/>
                  <a:gd name="connsiteY14" fmla="*/ 3972476 h 5376307"/>
                  <a:gd name="connsiteX15" fmla="*/ 407517 w 3998697"/>
                  <a:gd name="connsiteY15" fmla="*/ 3985284 h 5376307"/>
                  <a:gd name="connsiteX16" fmla="*/ 464772 w 3998697"/>
                  <a:gd name="connsiteY16" fmla="*/ 4084454 h 5376307"/>
                  <a:gd name="connsiteX17" fmla="*/ 1965744 w 3998697"/>
                  <a:gd name="connsiteY17" fmla="*/ 4956372 h 5376307"/>
                  <a:gd name="connsiteX18" fmla="*/ 1966088 w 3998697"/>
                  <a:gd name="connsiteY18" fmla="*/ 4956764 h 5376307"/>
                  <a:gd name="connsiteX19" fmla="*/ 1988129 w 3998697"/>
                  <a:gd name="connsiteY19" fmla="*/ 4950577 h 5376307"/>
                  <a:gd name="connsiteX20" fmla="*/ 2034209 w 3998697"/>
                  <a:gd name="connsiteY20" fmla="*/ 4890023 h 5376307"/>
                  <a:gd name="connsiteX21" fmla="*/ 2036053 w 3998697"/>
                  <a:gd name="connsiteY21" fmla="*/ 4196997 h 5376307"/>
                  <a:gd name="connsiteX22" fmla="*/ 2038324 w 3998697"/>
                  <a:gd name="connsiteY22" fmla="*/ 1145789 h 5376307"/>
                  <a:gd name="connsiteX23" fmla="*/ 2037139 w 3998697"/>
                  <a:gd name="connsiteY23" fmla="*/ 1108211 h 5376307"/>
                  <a:gd name="connsiteX24" fmla="*/ 2035104 w 3998697"/>
                  <a:gd name="connsiteY24" fmla="*/ 585443 h 5376307"/>
                  <a:gd name="connsiteX25" fmla="*/ 2080595 w 3998697"/>
                  <a:gd name="connsiteY25" fmla="*/ 262717 h 5376307"/>
                  <a:gd name="connsiteX26" fmla="*/ 2245202 w 3998697"/>
                  <a:gd name="connsiteY26" fmla="*/ 116131 h 5376307"/>
                  <a:gd name="connsiteX27" fmla="*/ 2444848 w 3998697"/>
                  <a:gd name="connsiteY27" fmla="*/ 94345 h 5376307"/>
                  <a:gd name="connsiteX28" fmla="*/ 3998697 w 3998697"/>
                  <a:gd name="connsiteY28" fmla="*/ 1360802 h 5376307"/>
                  <a:gd name="connsiteX29" fmla="*/ 2513375 w 3998697"/>
                  <a:gd name="connsiteY29" fmla="*/ 522596 h 5376307"/>
                  <a:gd name="connsiteX30" fmla="*/ 2513032 w 3998697"/>
                  <a:gd name="connsiteY30" fmla="*/ 522203 h 5376307"/>
                  <a:gd name="connsiteX31" fmla="*/ 2490877 w 3998697"/>
                  <a:gd name="connsiteY31" fmla="*/ 528424 h 5376307"/>
                  <a:gd name="connsiteX32" fmla="*/ 2448227 w 3998697"/>
                  <a:gd name="connsiteY32" fmla="*/ 630250 h 5376307"/>
                  <a:gd name="connsiteX33" fmla="*/ 2448222 w 3998697"/>
                  <a:gd name="connsiteY33" fmla="*/ 1156647 h 5376307"/>
                  <a:gd name="connsiteX34" fmla="*/ 2445445 w 3998697"/>
                  <a:gd name="connsiteY34" fmla="*/ 1172844 h 5376307"/>
                  <a:gd name="connsiteX35" fmla="*/ 2442619 w 3998697"/>
                  <a:gd name="connsiteY35" fmla="*/ 1949335 h 5376307"/>
                  <a:gd name="connsiteX36" fmla="*/ 2444476 w 3998697"/>
                  <a:gd name="connsiteY36" fmla="*/ 1952853 h 5376307"/>
                  <a:gd name="connsiteX37" fmla="*/ 2443809 w 3998697"/>
                  <a:gd name="connsiteY37" fmla="*/ 3129053 h 5376307"/>
                  <a:gd name="connsiteX38" fmla="*/ 2441669 w 3998697"/>
                  <a:gd name="connsiteY38" fmla="*/ 4893840 h 5376307"/>
                  <a:gd name="connsiteX39" fmla="*/ 2374871 w 3998697"/>
                  <a:gd name="connsiteY39" fmla="*/ 5152820 h 5376307"/>
                  <a:gd name="connsiteX40" fmla="*/ 2230903 w 3998697"/>
                  <a:gd name="connsiteY40" fmla="*/ 5307260 h 5376307"/>
                  <a:gd name="connsiteX41" fmla="*/ 2020267 w 3998697"/>
                  <a:gd name="connsiteY41" fmla="*/ 5375771 h 5376307"/>
                  <a:gd name="connsiteX42" fmla="*/ 1970713 w 3998697"/>
                  <a:gd name="connsiteY42" fmla="*/ 5376271 h 5376307"/>
                  <a:gd name="connsiteX0" fmla="*/ 1970713 w 2513375"/>
                  <a:gd name="connsiteY0" fmla="*/ 5314208 h 5314244"/>
                  <a:gd name="connsiteX1" fmla="*/ 1859089 w 2513375"/>
                  <a:gd name="connsiteY1" fmla="*/ 5286408 h 5314244"/>
                  <a:gd name="connsiteX2" fmla="*/ 1799088 w 2513375"/>
                  <a:gd name="connsiteY2" fmla="*/ 5256556 h 5314244"/>
                  <a:gd name="connsiteX3" fmla="*/ 257741 w 2513375"/>
                  <a:gd name="connsiteY3" fmla="*/ 4373358 h 5314244"/>
                  <a:gd name="connsiteX4" fmla="*/ 66855 w 2513375"/>
                  <a:gd name="connsiteY4" fmla="*/ 4186018 h 5314244"/>
                  <a:gd name="connsiteX5" fmla="*/ 5085 w 2513375"/>
                  <a:gd name="connsiteY5" fmla="*/ 3984115 h 5314244"/>
                  <a:gd name="connsiteX6" fmla="*/ 117 w 2513375"/>
                  <a:gd name="connsiteY6" fmla="*/ 3927725 h 5314244"/>
                  <a:gd name="connsiteX7" fmla="*/ 0 w 2513375"/>
                  <a:gd name="connsiteY7" fmla="*/ 3927063 h 5314244"/>
                  <a:gd name="connsiteX8" fmla="*/ 5920 w 2513375"/>
                  <a:gd name="connsiteY8" fmla="*/ 2542582 h 5314244"/>
                  <a:gd name="connsiteX9" fmla="*/ 9056 w 2513375"/>
                  <a:gd name="connsiteY9" fmla="*/ 2513722 h 5314244"/>
                  <a:gd name="connsiteX10" fmla="*/ 206180 w 2513375"/>
                  <a:gd name="connsiteY10" fmla="*/ 2420978 h 5314244"/>
                  <a:gd name="connsiteX11" fmla="*/ 407391 w 2513375"/>
                  <a:gd name="connsiteY11" fmla="*/ 2537131 h 5314244"/>
                  <a:gd name="connsiteX12" fmla="*/ 406100 w 2513375"/>
                  <a:gd name="connsiteY12" fmla="*/ 2601614 h 5314244"/>
                  <a:gd name="connsiteX13" fmla="*/ 409165 w 2513375"/>
                  <a:gd name="connsiteY13" fmla="*/ 3917005 h 5314244"/>
                  <a:gd name="connsiteX14" fmla="*/ 407598 w 2513375"/>
                  <a:gd name="connsiteY14" fmla="*/ 3910413 h 5314244"/>
                  <a:gd name="connsiteX15" fmla="*/ 407517 w 2513375"/>
                  <a:gd name="connsiteY15" fmla="*/ 3923221 h 5314244"/>
                  <a:gd name="connsiteX16" fmla="*/ 464772 w 2513375"/>
                  <a:gd name="connsiteY16" fmla="*/ 4022391 h 5314244"/>
                  <a:gd name="connsiteX17" fmla="*/ 1965744 w 2513375"/>
                  <a:gd name="connsiteY17" fmla="*/ 4894309 h 5314244"/>
                  <a:gd name="connsiteX18" fmla="*/ 1966088 w 2513375"/>
                  <a:gd name="connsiteY18" fmla="*/ 4894701 h 5314244"/>
                  <a:gd name="connsiteX19" fmla="*/ 1988129 w 2513375"/>
                  <a:gd name="connsiteY19" fmla="*/ 4888514 h 5314244"/>
                  <a:gd name="connsiteX20" fmla="*/ 2034209 w 2513375"/>
                  <a:gd name="connsiteY20" fmla="*/ 4827960 h 5314244"/>
                  <a:gd name="connsiteX21" fmla="*/ 2036053 w 2513375"/>
                  <a:gd name="connsiteY21" fmla="*/ 4134934 h 5314244"/>
                  <a:gd name="connsiteX22" fmla="*/ 2038324 w 2513375"/>
                  <a:gd name="connsiteY22" fmla="*/ 1083726 h 5314244"/>
                  <a:gd name="connsiteX23" fmla="*/ 2037139 w 2513375"/>
                  <a:gd name="connsiteY23" fmla="*/ 1046148 h 5314244"/>
                  <a:gd name="connsiteX24" fmla="*/ 2035104 w 2513375"/>
                  <a:gd name="connsiteY24" fmla="*/ 523380 h 5314244"/>
                  <a:gd name="connsiteX25" fmla="*/ 2080595 w 2513375"/>
                  <a:gd name="connsiteY25" fmla="*/ 200654 h 5314244"/>
                  <a:gd name="connsiteX26" fmla="*/ 2245202 w 2513375"/>
                  <a:gd name="connsiteY26" fmla="*/ 54068 h 5314244"/>
                  <a:gd name="connsiteX27" fmla="*/ 2444848 w 2513375"/>
                  <a:gd name="connsiteY27" fmla="*/ 32282 h 5314244"/>
                  <a:gd name="connsiteX28" fmla="*/ 2513375 w 2513375"/>
                  <a:gd name="connsiteY28" fmla="*/ 460533 h 5314244"/>
                  <a:gd name="connsiteX29" fmla="*/ 2513032 w 2513375"/>
                  <a:gd name="connsiteY29" fmla="*/ 460140 h 5314244"/>
                  <a:gd name="connsiteX30" fmla="*/ 2490877 w 2513375"/>
                  <a:gd name="connsiteY30" fmla="*/ 466361 h 5314244"/>
                  <a:gd name="connsiteX31" fmla="*/ 2448227 w 2513375"/>
                  <a:gd name="connsiteY31" fmla="*/ 568187 h 5314244"/>
                  <a:gd name="connsiteX32" fmla="*/ 2448222 w 2513375"/>
                  <a:gd name="connsiteY32" fmla="*/ 1094584 h 5314244"/>
                  <a:gd name="connsiteX33" fmla="*/ 2445445 w 2513375"/>
                  <a:gd name="connsiteY33" fmla="*/ 1110781 h 5314244"/>
                  <a:gd name="connsiteX34" fmla="*/ 2442619 w 2513375"/>
                  <a:gd name="connsiteY34" fmla="*/ 1887272 h 5314244"/>
                  <a:gd name="connsiteX35" fmla="*/ 2444476 w 2513375"/>
                  <a:gd name="connsiteY35" fmla="*/ 1890790 h 5314244"/>
                  <a:gd name="connsiteX36" fmla="*/ 2443809 w 2513375"/>
                  <a:gd name="connsiteY36" fmla="*/ 3066990 h 5314244"/>
                  <a:gd name="connsiteX37" fmla="*/ 2441669 w 2513375"/>
                  <a:gd name="connsiteY37" fmla="*/ 4831777 h 5314244"/>
                  <a:gd name="connsiteX38" fmla="*/ 2374871 w 2513375"/>
                  <a:gd name="connsiteY38" fmla="*/ 5090757 h 5314244"/>
                  <a:gd name="connsiteX39" fmla="*/ 2230903 w 2513375"/>
                  <a:gd name="connsiteY39" fmla="*/ 5245197 h 5314244"/>
                  <a:gd name="connsiteX40" fmla="*/ 2020267 w 2513375"/>
                  <a:gd name="connsiteY40" fmla="*/ 5313708 h 5314244"/>
                  <a:gd name="connsiteX41" fmla="*/ 1970713 w 2513375"/>
                  <a:gd name="connsiteY41" fmla="*/ 5314208 h 5314244"/>
                  <a:gd name="connsiteX0" fmla="*/ 1970713 w 2513375"/>
                  <a:gd name="connsiteY0" fmla="*/ 5314208 h 5314244"/>
                  <a:gd name="connsiteX1" fmla="*/ 1859089 w 2513375"/>
                  <a:gd name="connsiteY1" fmla="*/ 5286408 h 5314244"/>
                  <a:gd name="connsiteX2" fmla="*/ 1799088 w 2513375"/>
                  <a:gd name="connsiteY2" fmla="*/ 5256556 h 5314244"/>
                  <a:gd name="connsiteX3" fmla="*/ 257741 w 2513375"/>
                  <a:gd name="connsiteY3" fmla="*/ 4373358 h 5314244"/>
                  <a:gd name="connsiteX4" fmla="*/ 66855 w 2513375"/>
                  <a:gd name="connsiteY4" fmla="*/ 4186018 h 5314244"/>
                  <a:gd name="connsiteX5" fmla="*/ 5085 w 2513375"/>
                  <a:gd name="connsiteY5" fmla="*/ 3984115 h 5314244"/>
                  <a:gd name="connsiteX6" fmla="*/ 117 w 2513375"/>
                  <a:gd name="connsiteY6" fmla="*/ 3927725 h 5314244"/>
                  <a:gd name="connsiteX7" fmla="*/ 0 w 2513375"/>
                  <a:gd name="connsiteY7" fmla="*/ 3927063 h 5314244"/>
                  <a:gd name="connsiteX8" fmla="*/ 5920 w 2513375"/>
                  <a:gd name="connsiteY8" fmla="*/ 2542582 h 5314244"/>
                  <a:gd name="connsiteX9" fmla="*/ 9056 w 2513375"/>
                  <a:gd name="connsiteY9" fmla="*/ 2513722 h 5314244"/>
                  <a:gd name="connsiteX10" fmla="*/ 206180 w 2513375"/>
                  <a:gd name="connsiteY10" fmla="*/ 2420978 h 5314244"/>
                  <a:gd name="connsiteX11" fmla="*/ 407391 w 2513375"/>
                  <a:gd name="connsiteY11" fmla="*/ 2537131 h 5314244"/>
                  <a:gd name="connsiteX12" fmla="*/ 406100 w 2513375"/>
                  <a:gd name="connsiteY12" fmla="*/ 2601614 h 5314244"/>
                  <a:gd name="connsiteX13" fmla="*/ 409165 w 2513375"/>
                  <a:gd name="connsiteY13" fmla="*/ 3917005 h 5314244"/>
                  <a:gd name="connsiteX14" fmla="*/ 407598 w 2513375"/>
                  <a:gd name="connsiteY14" fmla="*/ 3910413 h 5314244"/>
                  <a:gd name="connsiteX15" fmla="*/ 407517 w 2513375"/>
                  <a:gd name="connsiteY15" fmla="*/ 3923221 h 5314244"/>
                  <a:gd name="connsiteX16" fmla="*/ 464772 w 2513375"/>
                  <a:gd name="connsiteY16" fmla="*/ 4022391 h 5314244"/>
                  <a:gd name="connsiteX17" fmla="*/ 1965744 w 2513375"/>
                  <a:gd name="connsiteY17" fmla="*/ 4894309 h 5314244"/>
                  <a:gd name="connsiteX18" fmla="*/ 1966088 w 2513375"/>
                  <a:gd name="connsiteY18" fmla="*/ 4894701 h 5314244"/>
                  <a:gd name="connsiteX19" fmla="*/ 1988129 w 2513375"/>
                  <a:gd name="connsiteY19" fmla="*/ 4888514 h 5314244"/>
                  <a:gd name="connsiteX20" fmla="*/ 2034209 w 2513375"/>
                  <a:gd name="connsiteY20" fmla="*/ 4827960 h 5314244"/>
                  <a:gd name="connsiteX21" fmla="*/ 2036053 w 2513375"/>
                  <a:gd name="connsiteY21" fmla="*/ 4134934 h 5314244"/>
                  <a:gd name="connsiteX22" fmla="*/ 2038324 w 2513375"/>
                  <a:gd name="connsiteY22" fmla="*/ 1083726 h 5314244"/>
                  <a:gd name="connsiteX23" fmla="*/ 2037139 w 2513375"/>
                  <a:gd name="connsiteY23" fmla="*/ 1046148 h 5314244"/>
                  <a:gd name="connsiteX24" fmla="*/ 2035104 w 2513375"/>
                  <a:gd name="connsiteY24" fmla="*/ 523380 h 5314244"/>
                  <a:gd name="connsiteX25" fmla="*/ 2080595 w 2513375"/>
                  <a:gd name="connsiteY25" fmla="*/ 200654 h 5314244"/>
                  <a:gd name="connsiteX26" fmla="*/ 2245202 w 2513375"/>
                  <a:gd name="connsiteY26" fmla="*/ 54068 h 5314244"/>
                  <a:gd name="connsiteX27" fmla="*/ 2444848 w 2513375"/>
                  <a:gd name="connsiteY27" fmla="*/ 32282 h 5314244"/>
                  <a:gd name="connsiteX28" fmla="*/ 2513375 w 2513375"/>
                  <a:gd name="connsiteY28" fmla="*/ 460533 h 5314244"/>
                  <a:gd name="connsiteX29" fmla="*/ 2513032 w 2513375"/>
                  <a:gd name="connsiteY29" fmla="*/ 460140 h 5314244"/>
                  <a:gd name="connsiteX30" fmla="*/ 2448227 w 2513375"/>
                  <a:gd name="connsiteY30" fmla="*/ 568187 h 5314244"/>
                  <a:gd name="connsiteX31" fmla="*/ 2448222 w 2513375"/>
                  <a:gd name="connsiteY31" fmla="*/ 1094584 h 5314244"/>
                  <a:gd name="connsiteX32" fmla="*/ 2445445 w 2513375"/>
                  <a:gd name="connsiteY32" fmla="*/ 1110781 h 5314244"/>
                  <a:gd name="connsiteX33" fmla="*/ 2442619 w 2513375"/>
                  <a:gd name="connsiteY33" fmla="*/ 1887272 h 5314244"/>
                  <a:gd name="connsiteX34" fmla="*/ 2444476 w 2513375"/>
                  <a:gd name="connsiteY34" fmla="*/ 1890790 h 5314244"/>
                  <a:gd name="connsiteX35" fmla="*/ 2443809 w 2513375"/>
                  <a:gd name="connsiteY35" fmla="*/ 3066990 h 5314244"/>
                  <a:gd name="connsiteX36" fmla="*/ 2441669 w 2513375"/>
                  <a:gd name="connsiteY36" fmla="*/ 4831777 h 5314244"/>
                  <a:gd name="connsiteX37" fmla="*/ 2374871 w 2513375"/>
                  <a:gd name="connsiteY37" fmla="*/ 5090757 h 5314244"/>
                  <a:gd name="connsiteX38" fmla="*/ 2230903 w 2513375"/>
                  <a:gd name="connsiteY38" fmla="*/ 5245197 h 5314244"/>
                  <a:gd name="connsiteX39" fmla="*/ 2020267 w 2513375"/>
                  <a:gd name="connsiteY39" fmla="*/ 5313708 h 5314244"/>
                  <a:gd name="connsiteX40" fmla="*/ 1970713 w 2513375"/>
                  <a:gd name="connsiteY40" fmla="*/ 5314208 h 5314244"/>
                  <a:gd name="connsiteX0" fmla="*/ 1970713 w 2513375"/>
                  <a:gd name="connsiteY0" fmla="*/ 5260140 h 5260176"/>
                  <a:gd name="connsiteX1" fmla="*/ 1859089 w 2513375"/>
                  <a:gd name="connsiteY1" fmla="*/ 5232340 h 5260176"/>
                  <a:gd name="connsiteX2" fmla="*/ 1799088 w 2513375"/>
                  <a:gd name="connsiteY2" fmla="*/ 5202488 h 5260176"/>
                  <a:gd name="connsiteX3" fmla="*/ 257741 w 2513375"/>
                  <a:gd name="connsiteY3" fmla="*/ 4319290 h 5260176"/>
                  <a:gd name="connsiteX4" fmla="*/ 66855 w 2513375"/>
                  <a:gd name="connsiteY4" fmla="*/ 4131950 h 5260176"/>
                  <a:gd name="connsiteX5" fmla="*/ 5085 w 2513375"/>
                  <a:gd name="connsiteY5" fmla="*/ 3930047 h 5260176"/>
                  <a:gd name="connsiteX6" fmla="*/ 117 w 2513375"/>
                  <a:gd name="connsiteY6" fmla="*/ 3873657 h 5260176"/>
                  <a:gd name="connsiteX7" fmla="*/ 0 w 2513375"/>
                  <a:gd name="connsiteY7" fmla="*/ 3872995 h 5260176"/>
                  <a:gd name="connsiteX8" fmla="*/ 5920 w 2513375"/>
                  <a:gd name="connsiteY8" fmla="*/ 2488514 h 5260176"/>
                  <a:gd name="connsiteX9" fmla="*/ 9056 w 2513375"/>
                  <a:gd name="connsiteY9" fmla="*/ 2459654 h 5260176"/>
                  <a:gd name="connsiteX10" fmla="*/ 206180 w 2513375"/>
                  <a:gd name="connsiteY10" fmla="*/ 2366910 h 5260176"/>
                  <a:gd name="connsiteX11" fmla="*/ 407391 w 2513375"/>
                  <a:gd name="connsiteY11" fmla="*/ 2483063 h 5260176"/>
                  <a:gd name="connsiteX12" fmla="*/ 406100 w 2513375"/>
                  <a:gd name="connsiteY12" fmla="*/ 2547546 h 5260176"/>
                  <a:gd name="connsiteX13" fmla="*/ 409165 w 2513375"/>
                  <a:gd name="connsiteY13" fmla="*/ 3862937 h 5260176"/>
                  <a:gd name="connsiteX14" fmla="*/ 407598 w 2513375"/>
                  <a:gd name="connsiteY14" fmla="*/ 3856345 h 5260176"/>
                  <a:gd name="connsiteX15" fmla="*/ 407517 w 2513375"/>
                  <a:gd name="connsiteY15" fmla="*/ 3869153 h 5260176"/>
                  <a:gd name="connsiteX16" fmla="*/ 464772 w 2513375"/>
                  <a:gd name="connsiteY16" fmla="*/ 3968323 h 5260176"/>
                  <a:gd name="connsiteX17" fmla="*/ 1965744 w 2513375"/>
                  <a:gd name="connsiteY17" fmla="*/ 4840241 h 5260176"/>
                  <a:gd name="connsiteX18" fmla="*/ 1966088 w 2513375"/>
                  <a:gd name="connsiteY18" fmla="*/ 4840633 h 5260176"/>
                  <a:gd name="connsiteX19" fmla="*/ 1988129 w 2513375"/>
                  <a:gd name="connsiteY19" fmla="*/ 4834446 h 5260176"/>
                  <a:gd name="connsiteX20" fmla="*/ 2034209 w 2513375"/>
                  <a:gd name="connsiteY20" fmla="*/ 4773892 h 5260176"/>
                  <a:gd name="connsiteX21" fmla="*/ 2036053 w 2513375"/>
                  <a:gd name="connsiteY21" fmla="*/ 4080866 h 5260176"/>
                  <a:gd name="connsiteX22" fmla="*/ 2038324 w 2513375"/>
                  <a:gd name="connsiteY22" fmla="*/ 1029658 h 5260176"/>
                  <a:gd name="connsiteX23" fmla="*/ 2037139 w 2513375"/>
                  <a:gd name="connsiteY23" fmla="*/ 992080 h 5260176"/>
                  <a:gd name="connsiteX24" fmla="*/ 2035104 w 2513375"/>
                  <a:gd name="connsiteY24" fmla="*/ 469312 h 5260176"/>
                  <a:gd name="connsiteX25" fmla="*/ 2080595 w 2513375"/>
                  <a:gd name="connsiteY25" fmla="*/ 146586 h 5260176"/>
                  <a:gd name="connsiteX26" fmla="*/ 2245202 w 2513375"/>
                  <a:gd name="connsiteY26" fmla="*/ 0 h 5260176"/>
                  <a:gd name="connsiteX27" fmla="*/ 2513375 w 2513375"/>
                  <a:gd name="connsiteY27" fmla="*/ 406465 h 5260176"/>
                  <a:gd name="connsiteX28" fmla="*/ 2513032 w 2513375"/>
                  <a:gd name="connsiteY28" fmla="*/ 406072 h 5260176"/>
                  <a:gd name="connsiteX29" fmla="*/ 2448227 w 2513375"/>
                  <a:gd name="connsiteY29" fmla="*/ 514119 h 5260176"/>
                  <a:gd name="connsiteX30" fmla="*/ 2448222 w 2513375"/>
                  <a:gd name="connsiteY30" fmla="*/ 1040516 h 5260176"/>
                  <a:gd name="connsiteX31" fmla="*/ 2445445 w 2513375"/>
                  <a:gd name="connsiteY31" fmla="*/ 1056713 h 5260176"/>
                  <a:gd name="connsiteX32" fmla="*/ 2442619 w 2513375"/>
                  <a:gd name="connsiteY32" fmla="*/ 1833204 h 5260176"/>
                  <a:gd name="connsiteX33" fmla="*/ 2444476 w 2513375"/>
                  <a:gd name="connsiteY33" fmla="*/ 1836722 h 5260176"/>
                  <a:gd name="connsiteX34" fmla="*/ 2443809 w 2513375"/>
                  <a:gd name="connsiteY34" fmla="*/ 3012922 h 5260176"/>
                  <a:gd name="connsiteX35" fmla="*/ 2441669 w 2513375"/>
                  <a:gd name="connsiteY35" fmla="*/ 4777709 h 5260176"/>
                  <a:gd name="connsiteX36" fmla="*/ 2374871 w 2513375"/>
                  <a:gd name="connsiteY36" fmla="*/ 5036689 h 5260176"/>
                  <a:gd name="connsiteX37" fmla="*/ 2230903 w 2513375"/>
                  <a:gd name="connsiteY37" fmla="*/ 5191129 h 5260176"/>
                  <a:gd name="connsiteX38" fmla="*/ 2020267 w 2513375"/>
                  <a:gd name="connsiteY38" fmla="*/ 5259640 h 5260176"/>
                  <a:gd name="connsiteX39" fmla="*/ 1970713 w 2513375"/>
                  <a:gd name="connsiteY39" fmla="*/ 5260140 h 5260176"/>
                  <a:gd name="connsiteX0" fmla="*/ 1970713 w 2513375"/>
                  <a:gd name="connsiteY0" fmla="*/ 5113905 h 5113941"/>
                  <a:gd name="connsiteX1" fmla="*/ 1859089 w 2513375"/>
                  <a:gd name="connsiteY1" fmla="*/ 5086105 h 5113941"/>
                  <a:gd name="connsiteX2" fmla="*/ 1799088 w 2513375"/>
                  <a:gd name="connsiteY2" fmla="*/ 5056253 h 5113941"/>
                  <a:gd name="connsiteX3" fmla="*/ 257741 w 2513375"/>
                  <a:gd name="connsiteY3" fmla="*/ 4173055 h 5113941"/>
                  <a:gd name="connsiteX4" fmla="*/ 66855 w 2513375"/>
                  <a:gd name="connsiteY4" fmla="*/ 3985715 h 5113941"/>
                  <a:gd name="connsiteX5" fmla="*/ 5085 w 2513375"/>
                  <a:gd name="connsiteY5" fmla="*/ 3783812 h 5113941"/>
                  <a:gd name="connsiteX6" fmla="*/ 117 w 2513375"/>
                  <a:gd name="connsiteY6" fmla="*/ 3727422 h 5113941"/>
                  <a:gd name="connsiteX7" fmla="*/ 0 w 2513375"/>
                  <a:gd name="connsiteY7" fmla="*/ 3726760 h 5113941"/>
                  <a:gd name="connsiteX8" fmla="*/ 5920 w 2513375"/>
                  <a:gd name="connsiteY8" fmla="*/ 2342279 h 5113941"/>
                  <a:gd name="connsiteX9" fmla="*/ 9056 w 2513375"/>
                  <a:gd name="connsiteY9" fmla="*/ 2313419 h 5113941"/>
                  <a:gd name="connsiteX10" fmla="*/ 206180 w 2513375"/>
                  <a:gd name="connsiteY10" fmla="*/ 2220675 h 5113941"/>
                  <a:gd name="connsiteX11" fmla="*/ 407391 w 2513375"/>
                  <a:gd name="connsiteY11" fmla="*/ 2336828 h 5113941"/>
                  <a:gd name="connsiteX12" fmla="*/ 406100 w 2513375"/>
                  <a:gd name="connsiteY12" fmla="*/ 2401311 h 5113941"/>
                  <a:gd name="connsiteX13" fmla="*/ 409165 w 2513375"/>
                  <a:gd name="connsiteY13" fmla="*/ 3716702 h 5113941"/>
                  <a:gd name="connsiteX14" fmla="*/ 407598 w 2513375"/>
                  <a:gd name="connsiteY14" fmla="*/ 3710110 h 5113941"/>
                  <a:gd name="connsiteX15" fmla="*/ 407517 w 2513375"/>
                  <a:gd name="connsiteY15" fmla="*/ 3722918 h 5113941"/>
                  <a:gd name="connsiteX16" fmla="*/ 464772 w 2513375"/>
                  <a:gd name="connsiteY16" fmla="*/ 3822088 h 5113941"/>
                  <a:gd name="connsiteX17" fmla="*/ 1965744 w 2513375"/>
                  <a:gd name="connsiteY17" fmla="*/ 4694006 h 5113941"/>
                  <a:gd name="connsiteX18" fmla="*/ 1966088 w 2513375"/>
                  <a:gd name="connsiteY18" fmla="*/ 4694398 h 5113941"/>
                  <a:gd name="connsiteX19" fmla="*/ 1988129 w 2513375"/>
                  <a:gd name="connsiteY19" fmla="*/ 4688211 h 5113941"/>
                  <a:gd name="connsiteX20" fmla="*/ 2034209 w 2513375"/>
                  <a:gd name="connsiteY20" fmla="*/ 4627657 h 5113941"/>
                  <a:gd name="connsiteX21" fmla="*/ 2036053 w 2513375"/>
                  <a:gd name="connsiteY21" fmla="*/ 3934631 h 5113941"/>
                  <a:gd name="connsiteX22" fmla="*/ 2038324 w 2513375"/>
                  <a:gd name="connsiteY22" fmla="*/ 883423 h 5113941"/>
                  <a:gd name="connsiteX23" fmla="*/ 2037139 w 2513375"/>
                  <a:gd name="connsiteY23" fmla="*/ 845845 h 5113941"/>
                  <a:gd name="connsiteX24" fmla="*/ 2035104 w 2513375"/>
                  <a:gd name="connsiteY24" fmla="*/ 323077 h 5113941"/>
                  <a:gd name="connsiteX25" fmla="*/ 2080595 w 2513375"/>
                  <a:gd name="connsiteY25" fmla="*/ 351 h 5113941"/>
                  <a:gd name="connsiteX26" fmla="*/ 2513375 w 2513375"/>
                  <a:gd name="connsiteY26" fmla="*/ 260230 h 5113941"/>
                  <a:gd name="connsiteX27" fmla="*/ 2513032 w 2513375"/>
                  <a:gd name="connsiteY27" fmla="*/ 259837 h 5113941"/>
                  <a:gd name="connsiteX28" fmla="*/ 2448227 w 2513375"/>
                  <a:gd name="connsiteY28" fmla="*/ 367884 h 5113941"/>
                  <a:gd name="connsiteX29" fmla="*/ 2448222 w 2513375"/>
                  <a:gd name="connsiteY29" fmla="*/ 894281 h 5113941"/>
                  <a:gd name="connsiteX30" fmla="*/ 2445445 w 2513375"/>
                  <a:gd name="connsiteY30" fmla="*/ 910478 h 5113941"/>
                  <a:gd name="connsiteX31" fmla="*/ 2442619 w 2513375"/>
                  <a:gd name="connsiteY31" fmla="*/ 1686969 h 5113941"/>
                  <a:gd name="connsiteX32" fmla="*/ 2444476 w 2513375"/>
                  <a:gd name="connsiteY32" fmla="*/ 1690487 h 5113941"/>
                  <a:gd name="connsiteX33" fmla="*/ 2443809 w 2513375"/>
                  <a:gd name="connsiteY33" fmla="*/ 2866687 h 5113941"/>
                  <a:gd name="connsiteX34" fmla="*/ 2441669 w 2513375"/>
                  <a:gd name="connsiteY34" fmla="*/ 4631474 h 5113941"/>
                  <a:gd name="connsiteX35" fmla="*/ 2374871 w 2513375"/>
                  <a:gd name="connsiteY35" fmla="*/ 4890454 h 5113941"/>
                  <a:gd name="connsiteX36" fmla="*/ 2230903 w 2513375"/>
                  <a:gd name="connsiteY36" fmla="*/ 5044894 h 5113941"/>
                  <a:gd name="connsiteX37" fmla="*/ 2020267 w 2513375"/>
                  <a:gd name="connsiteY37" fmla="*/ 5113405 h 5113941"/>
                  <a:gd name="connsiteX38" fmla="*/ 1970713 w 2513375"/>
                  <a:gd name="connsiteY38" fmla="*/ 5113905 h 5113941"/>
                  <a:gd name="connsiteX0" fmla="*/ 1970713 w 2513375"/>
                  <a:gd name="connsiteY0" fmla="*/ 4855263 h 4855299"/>
                  <a:gd name="connsiteX1" fmla="*/ 1859089 w 2513375"/>
                  <a:gd name="connsiteY1" fmla="*/ 4827463 h 4855299"/>
                  <a:gd name="connsiteX2" fmla="*/ 1799088 w 2513375"/>
                  <a:gd name="connsiteY2" fmla="*/ 4797611 h 4855299"/>
                  <a:gd name="connsiteX3" fmla="*/ 257741 w 2513375"/>
                  <a:gd name="connsiteY3" fmla="*/ 3914413 h 4855299"/>
                  <a:gd name="connsiteX4" fmla="*/ 66855 w 2513375"/>
                  <a:gd name="connsiteY4" fmla="*/ 3727073 h 4855299"/>
                  <a:gd name="connsiteX5" fmla="*/ 5085 w 2513375"/>
                  <a:gd name="connsiteY5" fmla="*/ 3525170 h 4855299"/>
                  <a:gd name="connsiteX6" fmla="*/ 117 w 2513375"/>
                  <a:gd name="connsiteY6" fmla="*/ 3468780 h 4855299"/>
                  <a:gd name="connsiteX7" fmla="*/ 0 w 2513375"/>
                  <a:gd name="connsiteY7" fmla="*/ 3468118 h 4855299"/>
                  <a:gd name="connsiteX8" fmla="*/ 5920 w 2513375"/>
                  <a:gd name="connsiteY8" fmla="*/ 2083637 h 4855299"/>
                  <a:gd name="connsiteX9" fmla="*/ 9056 w 2513375"/>
                  <a:gd name="connsiteY9" fmla="*/ 2054777 h 4855299"/>
                  <a:gd name="connsiteX10" fmla="*/ 206180 w 2513375"/>
                  <a:gd name="connsiteY10" fmla="*/ 1962033 h 4855299"/>
                  <a:gd name="connsiteX11" fmla="*/ 407391 w 2513375"/>
                  <a:gd name="connsiteY11" fmla="*/ 2078186 h 4855299"/>
                  <a:gd name="connsiteX12" fmla="*/ 406100 w 2513375"/>
                  <a:gd name="connsiteY12" fmla="*/ 2142669 h 4855299"/>
                  <a:gd name="connsiteX13" fmla="*/ 409165 w 2513375"/>
                  <a:gd name="connsiteY13" fmla="*/ 3458060 h 4855299"/>
                  <a:gd name="connsiteX14" fmla="*/ 407598 w 2513375"/>
                  <a:gd name="connsiteY14" fmla="*/ 3451468 h 4855299"/>
                  <a:gd name="connsiteX15" fmla="*/ 407517 w 2513375"/>
                  <a:gd name="connsiteY15" fmla="*/ 3464276 h 4855299"/>
                  <a:gd name="connsiteX16" fmla="*/ 464772 w 2513375"/>
                  <a:gd name="connsiteY16" fmla="*/ 3563446 h 4855299"/>
                  <a:gd name="connsiteX17" fmla="*/ 1965744 w 2513375"/>
                  <a:gd name="connsiteY17" fmla="*/ 4435364 h 4855299"/>
                  <a:gd name="connsiteX18" fmla="*/ 1966088 w 2513375"/>
                  <a:gd name="connsiteY18" fmla="*/ 4435756 h 4855299"/>
                  <a:gd name="connsiteX19" fmla="*/ 1988129 w 2513375"/>
                  <a:gd name="connsiteY19" fmla="*/ 4429569 h 4855299"/>
                  <a:gd name="connsiteX20" fmla="*/ 2034209 w 2513375"/>
                  <a:gd name="connsiteY20" fmla="*/ 4369015 h 4855299"/>
                  <a:gd name="connsiteX21" fmla="*/ 2036053 w 2513375"/>
                  <a:gd name="connsiteY21" fmla="*/ 3675989 h 4855299"/>
                  <a:gd name="connsiteX22" fmla="*/ 2038324 w 2513375"/>
                  <a:gd name="connsiteY22" fmla="*/ 624781 h 4855299"/>
                  <a:gd name="connsiteX23" fmla="*/ 2037139 w 2513375"/>
                  <a:gd name="connsiteY23" fmla="*/ 587203 h 4855299"/>
                  <a:gd name="connsiteX24" fmla="*/ 2035104 w 2513375"/>
                  <a:gd name="connsiteY24" fmla="*/ 64435 h 4855299"/>
                  <a:gd name="connsiteX25" fmla="*/ 2513375 w 2513375"/>
                  <a:gd name="connsiteY25" fmla="*/ 1588 h 4855299"/>
                  <a:gd name="connsiteX26" fmla="*/ 2513032 w 2513375"/>
                  <a:gd name="connsiteY26" fmla="*/ 1195 h 4855299"/>
                  <a:gd name="connsiteX27" fmla="*/ 2448227 w 2513375"/>
                  <a:gd name="connsiteY27" fmla="*/ 109242 h 4855299"/>
                  <a:gd name="connsiteX28" fmla="*/ 2448222 w 2513375"/>
                  <a:gd name="connsiteY28" fmla="*/ 635639 h 4855299"/>
                  <a:gd name="connsiteX29" fmla="*/ 2445445 w 2513375"/>
                  <a:gd name="connsiteY29" fmla="*/ 651836 h 4855299"/>
                  <a:gd name="connsiteX30" fmla="*/ 2442619 w 2513375"/>
                  <a:gd name="connsiteY30" fmla="*/ 1428327 h 4855299"/>
                  <a:gd name="connsiteX31" fmla="*/ 2444476 w 2513375"/>
                  <a:gd name="connsiteY31" fmla="*/ 1431845 h 4855299"/>
                  <a:gd name="connsiteX32" fmla="*/ 2443809 w 2513375"/>
                  <a:gd name="connsiteY32" fmla="*/ 2608045 h 4855299"/>
                  <a:gd name="connsiteX33" fmla="*/ 2441669 w 2513375"/>
                  <a:gd name="connsiteY33" fmla="*/ 4372832 h 4855299"/>
                  <a:gd name="connsiteX34" fmla="*/ 2374871 w 2513375"/>
                  <a:gd name="connsiteY34" fmla="*/ 4631812 h 4855299"/>
                  <a:gd name="connsiteX35" fmla="*/ 2230903 w 2513375"/>
                  <a:gd name="connsiteY35" fmla="*/ 4786252 h 4855299"/>
                  <a:gd name="connsiteX36" fmla="*/ 2020267 w 2513375"/>
                  <a:gd name="connsiteY36" fmla="*/ 4854763 h 4855299"/>
                  <a:gd name="connsiteX37" fmla="*/ 1970713 w 2513375"/>
                  <a:gd name="connsiteY37" fmla="*/ 4855263 h 4855299"/>
                  <a:gd name="connsiteX0" fmla="*/ 1970713 w 2513375"/>
                  <a:gd name="connsiteY0" fmla="*/ 4854068 h 4854104"/>
                  <a:gd name="connsiteX1" fmla="*/ 1859089 w 2513375"/>
                  <a:gd name="connsiteY1" fmla="*/ 4826268 h 4854104"/>
                  <a:gd name="connsiteX2" fmla="*/ 1799088 w 2513375"/>
                  <a:gd name="connsiteY2" fmla="*/ 4796416 h 4854104"/>
                  <a:gd name="connsiteX3" fmla="*/ 257741 w 2513375"/>
                  <a:gd name="connsiteY3" fmla="*/ 3913218 h 4854104"/>
                  <a:gd name="connsiteX4" fmla="*/ 66855 w 2513375"/>
                  <a:gd name="connsiteY4" fmla="*/ 3725878 h 4854104"/>
                  <a:gd name="connsiteX5" fmla="*/ 5085 w 2513375"/>
                  <a:gd name="connsiteY5" fmla="*/ 3523975 h 4854104"/>
                  <a:gd name="connsiteX6" fmla="*/ 117 w 2513375"/>
                  <a:gd name="connsiteY6" fmla="*/ 3467585 h 4854104"/>
                  <a:gd name="connsiteX7" fmla="*/ 0 w 2513375"/>
                  <a:gd name="connsiteY7" fmla="*/ 3466923 h 4854104"/>
                  <a:gd name="connsiteX8" fmla="*/ 5920 w 2513375"/>
                  <a:gd name="connsiteY8" fmla="*/ 2082442 h 4854104"/>
                  <a:gd name="connsiteX9" fmla="*/ 9056 w 2513375"/>
                  <a:gd name="connsiteY9" fmla="*/ 2053582 h 4854104"/>
                  <a:gd name="connsiteX10" fmla="*/ 206180 w 2513375"/>
                  <a:gd name="connsiteY10" fmla="*/ 1960838 h 4854104"/>
                  <a:gd name="connsiteX11" fmla="*/ 407391 w 2513375"/>
                  <a:gd name="connsiteY11" fmla="*/ 2076991 h 4854104"/>
                  <a:gd name="connsiteX12" fmla="*/ 406100 w 2513375"/>
                  <a:gd name="connsiteY12" fmla="*/ 2141474 h 4854104"/>
                  <a:gd name="connsiteX13" fmla="*/ 409165 w 2513375"/>
                  <a:gd name="connsiteY13" fmla="*/ 3456865 h 4854104"/>
                  <a:gd name="connsiteX14" fmla="*/ 407598 w 2513375"/>
                  <a:gd name="connsiteY14" fmla="*/ 3450273 h 4854104"/>
                  <a:gd name="connsiteX15" fmla="*/ 407517 w 2513375"/>
                  <a:gd name="connsiteY15" fmla="*/ 3463081 h 4854104"/>
                  <a:gd name="connsiteX16" fmla="*/ 464772 w 2513375"/>
                  <a:gd name="connsiteY16" fmla="*/ 3562251 h 4854104"/>
                  <a:gd name="connsiteX17" fmla="*/ 1965744 w 2513375"/>
                  <a:gd name="connsiteY17" fmla="*/ 4434169 h 4854104"/>
                  <a:gd name="connsiteX18" fmla="*/ 1966088 w 2513375"/>
                  <a:gd name="connsiteY18" fmla="*/ 4434561 h 4854104"/>
                  <a:gd name="connsiteX19" fmla="*/ 1988129 w 2513375"/>
                  <a:gd name="connsiteY19" fmla="*/ 4428374 h 4854104"/>
                  <a:gd name="connsiteX20" fmla="*/ 2034209 w 2513375"/>
                  <a:gd name="connsiteY20" fmla="*/ 4367820 h 4854104"/>
                  <a:gd name="connsiteX21" fmla="*/ 2036053 w 2513375"/>
                  <a:gd name="connsiteY21" fmla="*/ 3674794 h 4854104"/>
                  <a:gd name="connsiteX22" fmla="*/ 2038324 w 2513375"/>
                  <a:gd name="connsiteY22" fmla="*/ 623586 h 4854104"/>
                  <a:gd name="connsiteX23" fmla="*/ 2037139 w 2513375"/>
                  <a:gd name="connsiteY23" fmla="*/ 586008 h 4854104"/>
                  <a:gd name="connsiteX24" fmla="*/ 2513375 w 2513375"/>
                  <a:gd name="connsiteY24" fmla="*/ 393 h 4854104"/>
                  <a:gd name="connsiteX25" fmla="*/ 2513032 w 2513375"/>
                  <a:gd name="connsiteY25" fmla="*/ 0 h 4854104"/>
                  <a:gd name="connsiteX26" fmla="*/ 2448227 w 2513375"/>
                  <a:gd name="connsiteY26" fmla="*/ 108047 h 4854104"/>
                  <a:gd name="connsiteX27" fmla="*/ 2448222 w 2513375"/>
                  <a:gd name="connsiteY27" fmla="*/ 634444 h 4854104"/>
                  <a:gd name="connsiteX28" fmla="*/ 2445445 w 2513375"/>
                  <a:gd name="connsiteY28" fmla="*/ 650641 h 4854104"/>
                  <a:gd name="connsiteX29" fmla="*/ 2442619 w 2513375"/>
                  <a:gd name="connsiteY29" fmla="*/ 1427132 h 4854104"/>
                  <a:gd name="connsiteX30" fmla="*/ 2444476 w 2513375"/>
                  <a:gd name="connsiteY30" fmla="*/ 1430650 h 4854104"/>
                  <a:gd name="connsiteX31" fmla="*/ 2443809 w 2513375"/>
                  <a:gd name="connsiteY31" fmla="*/ 2606850 h 4854104"/>
                  <a:gd name="connsiteX32" fmla="*/ 2441669 w 2513375"/>
                  <a:gd name="connsiteY32" fmla="*/ 4371637 h 4854104"/>
                  <a:gd name="connsiteX33" fmla="*/ 2374871 w 2513375"/>
                  <a:gd name="connsiteY33" fmla="*/ 4630617 h 4854104"/>
                  <a:gd name="connsiteX34" fmla="*/ 2230903 w 2513375"/>
                  <a:gd name="connsiteY34" fmla="*/ 4785057 h 4854104"/>
                  <a:gd name="connsiteX35" fmla="*/ 2020267 w 2513375"/>
                  <a:gd name="connsiteY35" fmla="*/ 4853568 h 4854104"/>
                  <a:gd name="connsiteX36" fmla="*/ 1970713 w 2513375"/>
                  <a:gd name="connsiteY36" fmla="*/ 4854068 h 4854104"/>
                  <a:gd name="connsiteX0" fmla="*/ 1970713 w 2534050"/>
                  <a:gd name="connsiteY0" fmla="*/ 4885665 h 4885701"/>
                  <a:gd name="connsiteX1" fmla="*/ 1859089 w 2534050"/>
                  <a:gd name="connsiteY1" fmla="*/ 4857865 h 4885701"/>
                  <a:gd name="connsiteX2" fmla="*/ 1799088 w 2534050"/>
                  <a:gd name="connsiteY2" fmla="*/ 4828013 h 4885701"/>
                  <a:gd name="connsiteX3" fmla="*/ 257741 w 2534050"/>
                  <a:gd name="connsiteY3" fmla="*/ 3944815 h 4885701"/>
                  <a:gd name="connsiteX4" fmla="*/ 66855 w 2534050"/>
                  <a:gd name="connsiteY4" fmla="*/ 3757475 h 4885701"/>
                  <a:gd name="connsiteX5" fmla="*/ 5085 w 2534050"/>
                  <a:gd name="connsiteY5" fmla="*/ 3555572 h 4885701"/>
                  <a:gd name="connsiteX6" fmla="*/ 117 w 2534050"/>
                  <a:gd name="connsiteY6" fmla="*/ 3499182 h 4885701"/>
                  <a:gd name="connsiteX7" fmla="*/ 0 w 2534050"/>
                  <a:gd name="connsiteY7" fmla="*/ 3498520 h 4885701"/>
                  <a:gd name="connsiteX8" fmla="*/ 5920 w 2534050"/>
                  <a:gd name="connsiteY8" fmla="*/ 2114039 h 4885701"/>
                  <a:gd name="connsiteX9" fmla="*/ 9056 w 2534050"/>
                  <a:gd name="connsiteY9" fmla="*/ 2085179 h 4885701"/>
                  <a:gd name="connsiteX10" fmla="*/ 206180 w 2534050"/>
                  <a:gd name="connsiteY10" fmla="*/ 1992435 h 4885701"/>
                  <a:gd name="connsiteX11" fmla="*/ 407391 w 2534050"/>
                  <a:gd name="connsiteY11" fmla="*/ 2108588 h 4885701"/>
                  <a:gd name="connsiteX12" fmla="*/ 406100 w 2534050"/>
                  <a:gd name="connsiteY12" fmla="*/ 2173071 h 4885701"/>
                  <a:gd name="connsiteX13" fmla="*/ 409165 w 2534050"/>
                  <a:gd name="connsiteY13" fmla="*/ 3488462 h 4885701"/>
                  <a:gd name="connsiteX14" fmla="*/ 407598 w 2534050"/>
                  <a:gd name="connsiteY14" fmla="*/ 3481870 h 4885701"/>
                  <a:gd name="connsiteX15" fmla="*/ 407517 w 2534050"/>
                  <a:gd name="connsiteY15" fmla="*/ 3494678 h 4885701"/>
                  <a:gd name="connsiteX16" fmla="*/ 464772 w 2534050"/>
                  <a:gd name="connsiteY16" fmla="*/ 3593848 h 4885701"/>
                  <a:gd name="connsiteX17" fmla="*/ 1965744 w 2534050"/>
                  <a:gd name="connsiteY17" fmla="*/ 4465766 h 4885701"/>
                  <a:gd name="connsiteX18" fmla="*/ 1966088 w 2534050"/>
                  <a:gd name="connsiteY18" fmla="*/ 4466158 h 4885701"/>
                  <a:gd name="connsiteX19" fmla="*/ 1988129 w 2534050"/>
                  <a:gd name="connsiteY19" fmla="*/ 4459971 h 4885701"/>
                  <a:gd name="connsiteX20" fmla="*/ 2034209 w 2534050"/>
                  <a:gd name="connsiteY20" fmla="*/ 4399417 h 4885701"/>
                  <a:gd name="connsiteX21" fmla="*/ 2036053 w 2534050"/>
                  <a:gd name="connsiteY21" fmla="*/ 3706391 h 4885701"/>
                  <a:gd name="connsiteX22" fmla="*/ 2038324 w 2534050"/>
                  <a:gd name="connsiteY22" fmla="*/ 655183 h 4885701"/>
                  <a:gd name="connsiteX23" fmla="*/ 2037139 w 2534050"/>
                  <a:gd name="connsiteY23" fmla="*/ 617605 h 4885701"/>
                  <a:gd name="connsiteX24" fmla="*/ 2513375 w 2534050"/>
                  <a:gd name="connsiteY24" fmla="*/ 31990 h 4885701"/>
                  <a:gd name="connsiteX25" fmla="*/ 2448227 w 2534050"/>
                  <a:gd name="connsiteY25" fmla="*/ 139644 h 4885701"/>
                  <a:gd name="connsiteX26" fmla="*/ 2448222 w 2534050"/>
                  <a:gd name="connsiteY26" fmla="*/ 666041 h 4885701"/>
                  <a:gd name="connsiteX27" fmla="*/ 2445445 w 2534050"/>
                  <a:gd name="connsiteY27" fmla="*/ 682238 h 4885701"/>
                  <a:gd name="connsiteX28" fmla="*/ 2442619 w 2534050"/>
                  <a:gd name="connsiteY28" fmla="*/ 1458729 h 4885701"/>
                  <a:gd name="connsiteX29" fmla="*/ 2444476 w 2534050"/>
                  <a:gd name="connsiteY29" fmla="*/ 1462247 h 4885701"/>
                  <a:gd name="connsiteX30" fmla="*/ 2443809 w 2534050"/>
                  <a:gd name="connsiteY30" fmla="*/ 2638447 h 4885701"/>
                  <a:gd name="connsiteX31" fmla="*/ 2441669 w 2534050"/>
                  <a:gd name="connsiteY31" fmla="*/ 4403234 h 4885701"/>
                  <a:gd name="connsiteX32" fmla="*/ 2374871 w 2534050"/>
                  <a:gd name="connsiteY32" fmla="*/ 4662214 h 4885701"/>
                  <a:gd name="connsiteX33" fmla="*/ 2230903 w 2534050"/>
                  <a:gd name="connsiteY33" fmla="*/ 4816654 h 4885701"/>
                  <a:gd name="connsiteX34" fmla="*/ 2020267 w 2534050"/>
                  <a:gd name="connsiteY34" fmla="*/ 4885165 h 4885701"/>
                  <a:gd name="connsiteX35" fmla="*/ 1970713 w 2534050"/>
                  <a:gd name="connsiteY35" fmla="*/ 4885665 h 4885701"/>
                  <a:gd name="connsiteX0" fmla="*/ 1970713 w 2534100"/>
                  <a:gd name="connsiteY0" fmla="*/ 4853675 h 4853711"/>
                  <a:gd name="connsiteX1" fmla="*/ 1859089 w 2534100"/>
                  <a:gd name="connsiteY1" fmla="*/ 4825875 h 4853711"/>
                  <a:gd name="connsiteX2" fmla="*/ 1799088 w 2534100"/>
                  <a:gd name="connsiteY2" fmla="*/ 4796023 h 4853711"/>
                  <a:gd name="connsiteX3" fmla="*/ 257741 w 2534100"/>
                  <a:gd name="connsiteY3" fmla="*/ 3912825 h 4853711"/>
                  <a:gd name="connsiteX4" fmla="*/ 66855 w 2534100"/>
                  <a:gd name="connsiteY4" fmla="*/ 3725485 h 4853711"/>
                  <a:gd name="connsiteX5" fmla="*/ 5085 w 2534100"/>
                  <a:gd name="connsiteY5" fmla="*/ 3523582 h 4853711"/>
                  <a:gd name="connsiteX6" fmla="*/ 117 w 2534100"/>
                  <a:gd name="connsiteY6" fmla="*/ 3467192 h 4853711"/>
                  <a:gd name="connsiteX7" fmla="*/ 0 w 2534100"/>
                  <a:gd name="connsiteY7" fmla="*/ 3466530 h 4853711"/>
                  <a:gd name="connsiteX8" fmla="*/ 5920 w 2534100"/>
                  <a:gd name="connsiteY8" fmla="*/ 2082049 h 4853711"/>
                  <a:gd name="connsiteX9" fmla="*/ 9056 w 2534100"/>
                  <a:gd name="connsiteY9" fmla="*/ 2053189 h 4853711"/>
                  <a:gd name="connsiteX10" fmla="*/ 206180 w 2534100"/>
                  <a:gd name="connsiteY10" fmla="*/ 1960445 h 4853711"/>
                  <a:gd name="connsiteX11" fmla="*/ 407391 w 2534100"/>
                  <a:gd name="connsiteY11" fmla="*/ 2076598 h 4853711"/>
                  <a:gd name="connsiteX12" fmla="*/ 406100 w 2534100"/>
                  <a:gd name="connsiteY12" fmla="*/ 2141081 h 4853711"/>
                  <a:gd name="connsiteX13" fmla="*/ 409165 w 2534100"/>
                  <a:gd name="connsiteY13" fmla="*/ 3456472 h 4853711"/>
                  <a:gd name="connsiteX14" fmla="*/ 407598 w 2534100"/>
                  <a:gd name="connsiteY14" fmla="*/ 3449880 h 4853711"/>
                  <a:gd name="connsiteX15" fmla="*/ 407517 w 2534100"/>
                  <a:gd name="connsiteY15" fmla="*/ 3462688 h 4853711"/>
                  <a:gd name="connsiteX16" fmla="*/ 464772 w 2534100"/>
                  <a:gd name="connsiteY16" fmla="*/ 3561858 h 4853711"/>
                  <a:gd name="connsiteX17" fmla="*/ 1965744 w 2534100"/>
                  <a:gd name="connsiteY17" fmla="*/ 4433776 h 4853711"/>
                  <a:gd name="connsiteX18" fmla="*/ 1966088 w 2534100"/>
                  <a:gd name="connsiteY18" fmla="*/ 4434168 h 4853711"/>
                  <a:gd name="connsiteX19" fmla="*/ 1988129 w 2534100"/>
                  <a:gd name="connsiteY19" fmla="*/ 4427981 h 4853711"/>
                  <a:gd name="connsiteX20" fmla="*/ 2034209 w 2534100"/>
                  <a:gd name="connsiteY20" fmla="*/ 4367427 h 4853711"/>
                  <a:gd name="connsiteX21" fmla="*/ 2036053 w 2534100"/>
                  <a:gd name="connsiteY21" fmla="*/ 3674401 h 4853711"/>
                  <a:gd name="connsiteX22" fmla="*/ 2038324 w 2534100"/>
                  <a:gd name="connsiteY22" fmla="*/ 623193 h 4853711"/>
                  <a:gd name="connsiteX23" fmla="*/ 2037139 w 2534100"/>
                  <a:gd name="connsiteY23" fmla="*/ 585615 h 4853711"/>
                  <a:gd name="connsiteX24" fmla="*/ 2513375 w 2534100"/>
                  <a:gd name="connsiteY24" fmla="*/ 0 h 4853711"/>
                  <a:gd name="connsiteX25" fmla="*/ 2448222 w 2534100"/>
                  <a:gd name="connsiteY25" fmla="*/ 634051 h 4853711"/>
                  <a:gd name="connsiteX26" fmla="*/ 2445445 w 2534100"/>
                  <a:gd name="connsiteY26" fmla="*/ 650248 h 4853711"/>
                  <a:gd name="connsiteX27" fmla="*/ 2442619 w 2534100"/>
                  <a:gd name="connsiteY27" fmla="*/ 1426739 h 4853711"/>
                  <a:gd name="connsiteX28" fmla="*/ 2444476 w 2534100"/>
                  <a:gd name="connsiteY28" fmla="*/ 1430257 h 4853711"/>
                  <a:gd name="connsiteX29" fmla="*/ 2443809 w 2534100"/>
                  <a:gd name="connsiteY29" fmla="*/ 2606457 h 4853711"/>
                  <a:gd name="connsiteX30" fmla="*/ 2441669 w 2534100"/>
                  <a:gd name="connsiteY30" fmla="*/ 4371244 h 4853711"/>
                  <a:gd name="connsiteX31" fmla="*/ 2374871 w 2534100"/>
                  <a:gd name="connsiteY31" fmla="*/ 4630224 h 4853711"/>
                  <a:gd name="connsiteX32" fmla="*/ 2230903 w 2534100"/>
                  <a:gd name="connsiteY32" fmla="*/ 4784664 h 4853711"/>
                  <a:gd name="connsiteX33" fmla="*/ 2020267 w 2534100"/>
                  <a:gd name="connsiteY33" fmla="*/ 4853175 h 4853711"/>
                  <a:gd name="connsiteX34" fmla="*/ 1970713 w 2534100"/>
                  <a:gd name="connsiteY34" fmla="*/ 4853675 h 4853711"/>
                  <a:gd name="connsiteX0" fmla="*/ 1970713 w 2448222"/>
                  <a:gd name="connsiteY0" fmla="*/ 4268060 h 4268096"/>
                  <a:gd name="connsiteX1" fmla="*/ 1859089 w 2448222"/>
                  <a:gd name="connsiteY1" fmla="*/ 4240260 h 4268096"/>
                  <a:gd name="connsiteX2" fmla="*/ 1799088 w 2448222"/>
                  <a:gd name="connsiteY2" fmla="*/ 4210408 h 4268096"/>
                  <a:gd name="connsiteX3" fmla="*/ 257741 w 2448222"/>
                  <a:gd name="connsiteY3" fmla="*/ 3327210 h 4268096"/>
                  <a:gd name="connsiteX4" fmla="*/ 66855 w 2448222"/>
                  <a:gd name="connsiteY4" fmla="*/ 3139870 h 4268096"/>
                  <a:gd name="connsiteX5" fmla="*/ 5085 w 2448222"/>
                  <a:gd name="connsiteY5" fmla="*/ 2937967 h 4268096"/>
                  <a:gd name="connsiteX6" fmla="*/ 117 w 2448222"/>
                  <a:gd name="connsiteY6" fmla="*/ 2881577 h 4268096"/>
                  <a:gd name="connsiteX7" fmla="*/ 0 w 2448222"/>
                  <a:gd name="connsiteY7" fmla="*/ 2880915 h 4268096"/>
                  <a:gd name="connsiteX8" fmla="*/ 5920 w 2448222"/>
                  <a:gd name="connsiteY8" fmla="*/ 1496434 h 4268096"/>
                  <a:gd name="connsiteX9" fmla="*/ 9056 w 2448222"/>
                  <a:gd name="connsiteY9" fmla="*/ 1467574 h 4268096"/>
                  <a:gd name="connsiteX10" fmla="*/ 206180 w 2448222"/>
                  <a:gd name="connsiteY10" fmla="*/ 1374830 h 4268096"/>
                  <a:gd name="connsiteX11" fmla="*/ 407391 w 2448222"/>
                  <a:gd name="connsiteY11" fmla="*/ 1490983 h 4268096"/>
                  <a:gd name="connsiteX12" fmla="*/ 406100 w 2448222"/>
                  <a:gd name="connsiteY12" fmla="*/ 1555466 h 4268096"/>
                  <a:gd name="connsiteX13" fmla="*/ 409165 w 2448222"/>
                  <a:gd name="connsiteY13" fmla="*/ 2870857 h 4268096"/>
                  <a:gd name="connsiteX14" fmla="*/ 407598 w 2448222"/>
                  <a:gd name="connsiteY14" fmla="*/ 2864265 h 4268096"/>
                  <a:gd name="connsiteX15" fmla="*/ 407517 w 2448222"/>
                  <a:gd name="connsiteY15" fmla="*/ 2877073 h 4268096"/>
                  <a:gd name="connsiteX16" fmla="*/ 464772 w 2448222"/>
                  <a:gd name="connsiteY16" fmla="*/ 2976243 h 4268096"/>
                  <a:gd name="connsiteX17" fmla="*/ 1965744 w 2448222"/>
                  <a:gd name="connsiteY17" fmla="*/ 3848161 h 4268096"/>
                  <a:gd name="connsiteX18" fmla="*/ 1966088 w 2448222"/>
                  <a:gd name="connsiteY18" fmla="*/ 3848553 h 4268096"/>
                  <a:gd name="connsiteX19" fmla="*/ 1988129 w 2448222"/>
                  <a:gd name="connsiteY19" fmla="*/ 3842366 h 4268096"/>
                  <a:gd name="connsiteX20" fmla="*/ 2034209 w 2448222"/>
                  <a:gd name="connsiteY20" fmla="*/ 3781812 h 4268096"/>
                  <a:gd name="connsiteX21" fmla="*/ 2036053 w 2448222"/>
                  <a:gd name="connsiteY21" fmla="*/ 3088786 h 4268096"/>
                  <a:gd name="connsiteX22" fmla="*/ 2038324 w 2448222"/>
                  <a:gd name="connsiteY22" fmla="*/ 37578 h 4268096"/>
                  <a:gd name="connsiteX23" fmla="*/ 2037139 w 2448222"/>
                  <a:gd name="connsiteY23" fmla="*/ 0 h 4268096"/>
                  <a:gd name="connsiteX24" fmla="*/ 2448222 w 2448222"/>
                  <a:gd name="connsiteY24" fmla="*/ 48436 h 4268096"/>
                  <a:gd name="connsiteX25" fmla="*/ 2445445 w 2448222"/>
                  <a:gd name="connsiteY25" fmla="*/ 64633 h 4268096"/>
                  <a:gd name="connsiteX26" fmla="*/ 2442619 w 2448222"/>
                  <a:gd name="connsiteY26" fmla="*/ 841124 h 4268096"/>
                  <a:gd name="connsiteX27" fmla="*/ 2444476 w 2448222"/>
                  <a:gd name="connsiteY27" fmla="*/ 844642 h 4268096"/>
                  <a:gd name="connsiteX28" fmla="*/ 2443809 w 2448222"/>
                  <a:gd name="connsiteY28" fmla="*/ 2020842 h 4268096"/>
                  <a:gd name="connsiteX29" fmla="*/ 2441669 w 2448222"/>
                  <a:gd name="connsiteY29" fmla="*/ 3785629 h 4268096"/>
                  <a:gd name="connsiteX30" fmla="*/ 2374871 w 2448222"/>
                  <a:gd name="connsiteY30" fmla="*/ 4044609 h 4268096"/>
                  <a:gd name="connsiteX31" fmla="*/ 2230903 w 2448222"/>
                  <a:gd name="connsiteY31" fmla="*/ 4199049 h 4268096"/>
                  <a:gd name="connsiteX32" fmla="*/ 2020267 w 2448222"/>
                  <a:gd name="connsiteY32" fmla="*/ 4267560 h 4268096"/>
                  <a:gd name="connsiteX33" fmla="*/ 1970713 w 2448222"/>
                  <a:gd name="connsiteY33" fmla="*/ 4268060 h 4268096"/>
                  <a:gd name="connsiteX0" fmla="*/ 1970713 w 2448222"/>
                  <a:gd name="connsiteY0" fmla="*/ 4268060 h 4268096"/>
                  <a:gd name="connsiteX1" fmla="*/ 1859089 w 2448222"/>
                  <a:gd name="connsiteY1" fmla="*/ 4240260 h 4268096"/>
                  <a:gd name="connsiteX2" fmla="*/ 1799088 w 2448222"/>
                  <a:gd name="connsiteY2" fmla="*/ 4210408 h 4268096"/>
                  <a:gd name="connsiteX3" fmla="*/ 257741 w 2448222"/>
                  <a:gd name="connsiteY3" fmla="*/ 3327210 h 4268096"/>
                  <a:gd name="connsiteX4" fmla="*/ 66855 w 2448222"/>
                  <a:gd name="connsiteY4" fmla="*/ 3139870 h 4268096"/>
                  <a:gd name="connsiteX5" fmla="*/ 5085 w 2448222"/>
                  <a:gd name="connsiteY5" fmla="*/ 2937967 h 4268096"/>
                  <a:gd name="connsiteX6" fmla="*/ 117 w 2448222"/>
                  <a:gd name="connsiteY6" fmla="*/ 2881577 h 4268096"/>
                  <a:gd name="connsiteX7" fmla="*/ 0 w 2448222"/>
                  <a:gd name="connsiteY7" fmla="*/ 2880915 h 4268096"/>
                  <a:gd name="connsiteX8" fmla="*/ 5920 w 2448222"/>
                  <a:gd name="connsiteY8" fmla="*/ 1496434 h 4268096"/>
                  <a:gd name="connsiteX9" fmla="*/ 9056 w 2448222"/>
                  <a:gd name="connsiteY9" fmla="*/ 1467574 h 4268096"/>
                  <a:gd name="connsiteX10" fmla="*/ 206180 w 2448222"/>
                  <a:gd name="connsiteY10" fmla="*/ 1374830 h 4268096"/>
                  <a:gd name="connsiteX11" fmla="*/ 407391 w 2448222"/>
                  <a:gd name="connsiteY11" fmla="*/ 1490983 h 4268096"/>
                  <a:gd name="connsiteX12" fmla="*/ 406100 w 2448222"/>
                  <a:gd name="connsiteY12" fmla="*/ 1555466 h 4268096"/>
                  <a:gd name="connsiteX13" fmla="*/ 409165 w 2448222"/>
                  <a:gd name="connsiteY13" fmla="*/ 2870857 h 4268096"/>
                  <a:gd name="connsiteX14" fmla="*/ 407598 w 2448222"/>
                  <a:gd name="connsiteY14" fmla="*/ 2864265 h 4268096"/>
                  <a:gd name="connsiteX15" fmla="*/ 407517 w 2448222"/>
                  <a:gd name="connsiteY15" fmla="*/ 2877073 h 4268096"/>
                  <a:gd name="connsiteX16" fmla="*/ 464772 w 2448222"/>
                  <a:gd name="connsiteY16" fmla="*/ 2976243 h 4268096"/>
                  <a:gd name="connsiteX17" fmla="*/ 1965744 w 2448222"/>
                  <a:gd name="connsiteY17" fmla="*/ 3848161 h 4268096"/>
                  <a:gd name="connsiteX18" fmla="*/ 1966088 w 2448222"/>
                  <a:gd name="connsiteY18" fmla="*/ 3848553 h 4268096"/>
                  <a:gd name="connsiteX19" fmla="*/ 1988129 w 2448222"/>
                  <a:gd name="connsiteY19" fmla="*/ 3842366 h 4268096"/>
                  <a:gd name="connsiteX20" fmla="*/ 2034209 w 2448222"/>
                  <a:gd name="connsiteY20" fmla="*/ 3781812 h 4268096"/>
                  <a:gd name="connsiteX21" fmla="*/ 2036053 w 2448222"/>
                  <a:gd name="connsiteY21" fmla="*/ 3088786 h 4268096"/>
                  <a:gd name="connsiteX22" fmla="*/ 2038324 w 2448222"/>
                  <a:gd name="connsiteY22" fmla="*/ 37578 h 4268096"/>
                  <a:gd name="connsiteX23" fmla="*/ 2037139 w 2448222"/>
                  <a:gd name="connsiteY23" fmla="*/ 0 h 4268096"/>
                  <a:gd name="connsiteX24" fmla="*/ 2448222 w 2448222"/>
                  <a:gd name="connsiteY24" fmla="*/ 48436 h 4268096"/>
                  <a:gd name="connsiteX25" fmla="*/ 2442619 w 2448222"/>
                  <a:gd name="connsiteY25" fmla="*/ 841124 h 4268096"/>
                  <a:gd name="connsiteX26" fmla="*/ 2444476 w 2448222"/>
                  <a:gd name="connsiteY26" fmla="*/ 844642 h 4268096"/>
                  <a:gd name="connsiteX27" fmla="*/ 2443809 w 2448222"/>
                  <a:gd name="connsiteY27" fmla="*/ 2020842 h 4268096"/>
                  <a:gd name="connsiteX28" fmla="*/ 2441669 w 2448222"/>
                  <a:gd name="connsiteY28" fmla="*/ 3785629 h 4268096"/>
                  <a:gd name="connsiteX29" fmla="*/ 2374871 w 2448222"/>
                  <a:gd name="connsiteY29" fmla="*/ 4044609 h 4268096"/>
                  <a:gd name="connsiteX30" fmla="*/ 2230903 w 2448222"/>
                  <a:gd name="connsiteY30" fmla="*/ 4199049 h 4268096"/>
                  <a:gd name="connsiteX31" fmla="*/ 2020267 w 2448222"/>
                  <a:gd name="connsiteY31" fmla="*/ 4267560 h 4268096"/>
                  <a:gd name="connsiteX32" fmla="*/ 1970713 w 2448222"/>
                  <a:gd name="connsiteY32" fmla="*/ 4268060 h 4268096"/>
                  <a:gd name="connsiteX0" fmla="*/ 1970713 w 2448222"/>
                  <a:gd name="connsiteY0" fmla="*/ 4230482 h 4230518"/>
                  <a:gd name="connsiteX1" fmla="*/ 1859089 w 2448222"/>
                  <a:gd name="connsiteY1" fmla="*/ 4202682 h 4230518"/>
                  <a:gd name="connsiteX2" fmla="*/ 1799088 w 2448222"/>
                  <a:gd name="connsiteY2" fmla="*/ 4172830 h 4230518"/>
                  <a:gd name="connsiteX3" fmla="*/ 257741 w 2448222"/>
                  <a:gd name="connsiteY3" fmla="*/ 3289632 h 4230518"/>
                  <a:gd name="connsiteX4" fmla="*/ 66855 w 2448222"/>
                  <a:gd name="connsiteY4" fmla="*/ 3102292 h 4230518"/>
                  <a:gd name="connsiteX5" fmla="*/ 5085 w 2448222"/>
                  <a:gd name="connsiteY5" fmla="*/ 2900389 h 4230518"/>
                  <a:gd name="connsiteX6" fmla="*/ 117 w 2448222"/>
                  <a:gd name="connsiteY6" fmla="*/ 2843999 h 4230518"/>
                  <a:gd name="connsiteX7" fmla="*/ 0 w 2448222"/>
                  <a:gd name="connsiteY7" fmla="*/ 2843337 h 4230518"/>
                  <a:gd name="connsiteX8" fmla="*/ 5920 w 2448222"/>
                  <a:gd name="connsiteY8" fmla="*/ 1458856 h 4230518"/>
                  <a:gd name="connsiteX9" fmla="*/ 9056 w 2448222"/>
                  <a:gd name="connsiteY9" fmla="*/ 1429996 h 4230518"/>
                  <a:gd name="connsiteX10" fmla="*/ 206180 w 2448222"/>
                  <a:gd name="connsiteY10" fmla="*/ 1337252 h 4230518"/>
                  <a:gd name="connsiteX11" fmla="*/ 407391 w 2448222"/>
                  <a:gd name="connsiteY11" fmla="*/ 1453405 h 4230518"/>
                  <a:gd name="connsiteX12" fmla="*/ 406100 w 2448222"/>
                  <a:gd name="connsiteY12" fmla="*/ 1517888 h 4230518"/>
                  <a:gd name="connsiteX13" fmla="*/ 409165 w 2448222"/>
                  <a:gd name="connsiteY13" fmla="*/ 2833279 h 4230518"/>
                  <a:gd name="connsiteX14" fmla="*/ 407598 w 2448222"/>
                  <a:gd name="connsiteY14" fmla="*/ 2826687 h 4230518"/>
                  <a:gd name="connsiteX15" fmla="*/ 407517 w 2448222"/>
                  <a:gd name="connsiteY15" fmla="*/ 2839495 h 4230518"/>
                  <a:gd name="connsiteX16" fmla="*/ 464772 w 2448222"/>
                  <a:gd name="connsiteY16" fmla="*/ 2938665 h 4230518"/>
                  <a:gd name="connsiteX17" fmla="*/ 1965744 w 2448222"/>
                  <a:gd name="connsiteY17" fmla="*/ 3810583 h 4230518"/>
                  <a:gd name="connsiteX18" fmla="*/ 1966088 w 2448222"/>
                  <a:gd name="connsiteY18" fmla="*/ 3810975 h 4230518"/>
                  <a:gd name="connsiteX19" fmla="*/ 1988129 w 2448222"/>
                  <a:gd name="connsiteY19" fmla="*/ 3804788 h 4230518"/>
                  <a:gd name="connsiteX20" fmla="*/ 2034209 w 2448222"/>
                  <a:gd name="connsiteY20" fmla="*/ 3744234 h 4230518"/>
                  <a:gd name="connsiteX21" fmla="*/ 2036053 w 2448222"/>
                  <a:gd name="connsiteY21" fmla="*/ 3051208 h 4230518"/>
                  <a:gd name="connsiteX22" fmla="*/ 2038324 w 2448222"/>
                  <a:gd name="connsiteY22" fmla="*/ 0 h 4230518"/>
                  <a:gd name="connsiteX23" fmla="*/ 2448222 w 2448222"/>
                  <a:gd name="connsiteY23" fmla="*/ 10858 h 4230518"/>
                  <a:gd name="connsiteX24" fmla="*/ 2442619 w 2448222"/>
                  <a:gd name="connsiteY24" fmla="*/ 803546 h 4230518"/>
                  <a:gd name="connsiteX25" fmla="*/ 2444476 w 2448222"/>
                  <a:gd name="connsiteY25" fmla="*/ 807064 h 4230518"/>
                  <a:gd name="connsiteX26" fmla="*/ 2443809 w 2448222"/>
                  <a:gd name="connsiteY26" fmla="*/ 1983264 h 4230518"/>
                  <a:gd name="connsiteX27" fmla="*/ 2441669 w 2448222"/>
                  <a:gd name="connsiteY27" fmla="*/ 3748051 h 4230518"/>
                  <a:gd name="connsiteX28" fmla="*/ 2374871 w 2448222"/>
                  <a:gd name="connsiteY28" fmla="*/ 4007031 h 4230518"/>
                  <a:gd name="connsiteX29" fmla="*/ 2230903 w 2448222"/>
                  <a:gd name="connsiteY29" fmla="*/ 4161471 h 4230518"/>
                  <a:gd name="connsiteX30" fmla="*/ 2020267 w 2448222"/>
                  <a:gd name="connsiteY30" fmla="*/ 4229982 h 4230518"/>
                  <a:gd name="connsiteX31" fmla="*/ 1970713 w 2448222"/>
                  <a:gd name="connsiteY31" fmla="*/ 4230482 h 4230518"/>
                  <a:gd name="connsiteX0" fmla="*/ 1970713 w 2448222"/>
                  <a:gd name="connsiteY0" fmla="*/ 4219624 h 4219660"/>
                  <a:gd name="connsiteX1" fmla="*/ 1859089 w 2448222"/>
                  <a:gd name="connsiteY1" fmla="*/ 4191824 h 4219660"/>
                  <a:gd name="connsiteX2" fmla="*/ 1799088 w 2448222"/>
                  <a:gd name="connsiteY2" fmla="*/ 4161972 h 4219660"/>
                  <a:gd name="connsiteX3" fmla="*/ 257741 w 2448222"/>
                  <a:gd name="connsiteY3" fmla="*/ 3278774 h 4219660"/>
                  <a:gd name="connsiteX4" fmla="*/ 66855 w 2448222"/>
                  <a:gd name="connsiteY4" fmla="*/ 3091434 h 4219660"/>
                  <a:gd name="connsiteX5" fmla="*/ 5085 w 2448222"/>
                  <a:gd name="connsiteY5" fmla="*/ 2889531 h 4219660"/>
                  <a:gd name="connsiteX6" fmla="*/ 117 w 2448222"/>
                  <a:gd name="connsiteY6" fmla="*/ 2833141 h 4219660"/>
                  <a:gd name="connsiteX7" fmla="*/ 0 w 2448222"/>
                  <a:gd name="connsiteY7" fmla="*/ 2832479 h 4219660"/>
                  <a:gd name="connsiteX8" fmla="*/ 5920 w 2448222"/>
                  <a:gd name="connsiteY8" fmla="*/ 1447998 h 4219660"/>
                  <a:gd name="connsiteX9" fmla="*/ 9056 w 2448222"/>
                  <a:gd name="connsiteY9" fmla="*/ 1419138 h 4219660"/>
                  <a:gd name="connsiteX10" fmla="*/ 206180 w 2448222"/>
                  <a:gd name="connsiteY10" fmla="*/ 1326394 h 4219660"/>
                  <a:gd name="connsiteX11" fmla="*/ 407391 w 2448222"/>
                  <a:gd name="connsiteY11" fmla="*/ 1442547 h 4219660"/>
                  <a:gd name="connsiteX12" fmla="*/ 406100 w 2448222"/>
                  <a:gd name="connsiteY12" fmla="*/ 1507030 h 4219660"/>
                  <a:gd name="connsiteX13" fmla="*/ 409165 w 2448222"/>
                  <a:gd name="connsiteY13" fmla="*/ 2822421 h 4219660"/>
                  <a:gd name="connsiteX14" fmla="*/ 407598 w 2448222"/>
                  <a:gd name="connsiteY14" fmla="*/ 2815829 h 4219660"/>
                  <a:gd name="connsiteX15" fmla="*/ 407517 w 2448222"/>
                  <a:gd name="connsiteY15" fmla="*/ 2828637 h 4219660"/>
                  <a:gd name="connsiteX16" fmla="*/ 464772 w 2448222"/>
                  <a:gd name="connsiteY16" fmla="*/ 2927807 h 4219660"/>
                  <a:gd name="connsiteX17" fmla="*/ 1965744 w 2448222"/>
                  <a:gd name="connsiteY17" fmla="*/ 3799725 h 4219660"/>
                  <a:gd name="connsiteX18" fmla="*/ 1966088 w 2448222"/>
                  <a:gd name="connsiteY18" fmla="*/ 3800117 h 4219660"/>
                  <a:gd name="connsiteX19" fmla="*/ 1988129 w 2448222"/>
                  <a:gd name="connsiteY19" fmla="*/ 3793930 h 4219660"/>
                  <a:gd name="connsiteX20" fmla="*/ 2034209 w 2448222"/>
                  <a:gd name="connsiteY20" fmla="*/ 3733376 h 4219660"/>
                  <a:gd name="connsiteX21" fmla="*/ 2036053 w 2448222"/>
                  <a:gd name="connsiteY21" fmla="*/ 3040350 h 4219660"/>
                  <a:gd name="connsiteX22" fmla="*/ 2448222 w 2448222"/>
                  <a:gd name="connsiteY22" fmla="*/ 0 h 4219660"/>
                  <a:gd name="connsiteX23" fmla="*/ 2442619 w 2448222"/>
                  <a:gd name="connsiteY23" fmla="*/ 792688 h 4219660"/>
                  <a:gd name="connsiteX24" fmla="*/ 2444476 w 2448222"/>
                  <a:gd name="connsiteY24" fmla="*/ 796206 h 4219660"/>
                  <a:gd name="connsiteX25" fmla="*/ 2443809 w 2448222"/>
                  <a:gd name="connsiteY25" fmla="*/ 1972406 h 4219660"/>
                  <a:gd name="connsiteX26" fmla="*/ 2441669 w 2448222"/>
                  <a:gd name="connsiteY26" fmla="*/ 3737193 h 4219660"/>
                  <a:gd name="connsiteX27" fmla="*/ 2374871 w 2448222"/>
                  <a:gd name="connsiteY27" fmla="*/ 3996173 h 4219660"/>
                  <a:gd name="connsiteX28" fmla="*/ 2230903 w 2448222"/>
                  <a:gd name="connsiteY28" fmla="*/ 4150613 h 4219660"/>
                  <a:gd name="connsiteX29" fmla="*/ 2020267 w 2448222"/>
                  <a:gd name="connsiteY29" fmla="*/ 4219124 h 4219660"/>
                  <a:gd name="connsiteX30" fmla="*/ 1970713 w 2448222"/>
                  <a:gd name="connsiteY30" fmla="*/ 4219624 h 4219660"/>
                  <a:gd name="connsiteX0" fmla="*/ 1970713 w 2444505"/>
                  <a:gd name="connsiteY0" fmla="*/ 3426936 h 3426972"/>
                  <a:gd name="connsiteX1" fmla="*/ 1859089 w 2444505"/>
                  <a:gd name="connsiteY1" fmla="*/ 3399136 h 3426972"/>
                  <a:gd name="connsiteX2" fmla="*/ 1799088 w 2444505"/>
                  <a:gd name="connsiteY2" fmla="*/ 3369284 h 3426972"/>
                  <a:gd name="connsiteX3" fmla="*/ 257741 w 2444505"/>
                  <a:gd name="connsiteY3" fmla="*/ 2486086 h 3426972"/>
                  <a:gd name="connsiteX4" fmla="*/ 66855 w 2444505"/>
                  <a:gd name="connsiteY4" fmla="*/ 2298746 h 3426972"/>
                  <a:gd name="connsiteX5" fmla="*/ 5085 w 2444505"/>
                  <a:gd name="connsiteY5" fmla="*/ 2096843 h 3426972"/>
                  <a:gd name="connsiteX6" fmla="*/ 117 w 2444505"/>
                  <a:gd name="connsiteY6" fmla="*/ 2040453 h 3426972"/>
                  <a:gd name="connsiteX7" fmla="*/ 0 w 2444505"/>
                  <a:gd name="connsiteY7" fmla="*/ 2039791 h 3426972"/>
                  <a:gd name="connsiteX8" fmla="*/ 5920 w 2444505"/>
                  <a:gd name="connsiteY8" fmla="*/ 655310 h 3426972"/>
                  <a:gd name="connsiteX9" fmla="*/ 9056 w 2444505"/>
                  <a:gd name="connsiteY9" fmla="*/ 626450 h 3426972"/>
                  <a:gd name="connsiteX10" fmla="*/ 206180 w 2444505"/>
                  <a:gd name="connsiteY10" fmla="*/ 533706 h 3426972"/>
                  <a:gd name="connsiteX11" fmla="*/ 407391 w 2444505"/>
                  <a:gd name="connsiteY11" fmla="*/ 649859 h 3426972"/>
                  <a:gd name="connsiteX12" fmla="*/ 406100 w 2444505"/>
                  <a:gd name="connsiteY12" fmla="*/ 714342 h 3426972"/>
                  <a:gd name="connsiteX13" fmla="*/ 409165 w 2444505"/>
                  <a:gd name="connsiteY13" fmla="*/ 2029733 h 3426972"/>
                  <a:gd name="connsiteX14" fmla="*/ 407598 w 2444505"/>
                  <a:gd name="connsiteY14" fmla="*/ 2023141 h 3426972"/>
                  <a:gd name="connsiteX15" fmla="*/ 407517 w 2444505"/>
                  <a:gd name="connsiteY15" fmla="*/ 2035949 h 3426972"/>
                  <a:gd name="connsiteX16" fmla="*/ 464772 w 2444505"/>
                  <a:gd name="connsiteY16" fmla="*/ 2135119 h 3426972"/>
                  <a:gd name="connsiteX17" fmla="*/ 1965744 w 2444505"/>
                  <a:gd name="connsiteY17" fmla="*/ 3007037 h 3426972"/>
                  <a:gd name="connsiteX18" fmla="*/ 1966088 w 2444505"/>
                  <a:gd name="connsiteY18" fmla="*/ 3007429 h 3426972"/>
                  <a:gd name="connsiteX19" fmla="*/ 1988129 w 2444505"/>
                  <a:gd name="connsiteY19" fmla="*/ 3001242 h 3426972"/>
                  <a:gd name="connsiteX20" fmla="*/ 2034209 w 2444505"/>
                  <a:gd name="connsiteY20" fmla="*/ 2940688 h 3426972"/>
                  <a:gd name="connsiteX21" fmla="*/ 2036053 w 2444505"/>
                  <a:gd name="connsiteY21" fmla="*/ 2247662 h 3426972"/>
                  <a:gd name="connsiteX22" fmla="*/ 2442619 w 2444505"/>
                  <a:gd name="connsiteY22" fmla="*/ 0 h 3426972"/>
                  <a:gd name="connsiteX23" fmla="*/ 2444476 w 2444505"/>
                  <a:gd name="connsiteY23" fmla="*/ 3518 h 3426972"/>
                  <a:gd name="connsiteX24" fmla="*/ 2443809 w 2444505"/>
                  <a:gd name="connsiteY24" fmla="*/ 1179718 h 3426972"/>
                  <a:gd name="connsiteX25" fmla="*/ 2441669 w 2444505"/>
                  <a:gd name="connsiteY25" fmla="*/ 2944505 h 3426972"/>
                  <a:gd name="connsiteX26" fmla="*/ 2374871 w 2444505"/>
                  <a:gd name="connsiteY26" fmla="*/ 3203485 h 3426972"/>
                  <a:gd name="connsiteX27" fmla="*/ 2230903 w 2444505"/>
                  <a:gd name="connsiteY27" fmla="*/ 3357925 h 3426972"/>
                  <a:gd name="connsiteX28" fmla="*/ 2020267 w 2444505"/>
                  <a:gd name="connsiteY28" fmla="*/ 3426436 h 3426972"/>
                  <a:gd name="connsiteX29" fmla="*/ 1970713 w 2444505"/>
                  <a:gd name="connsiteY29" fmla="*/ 3426936 h 3426972"/>
                  <a:gd name="connsiteX0" fmla="*/ 1970713 w 2443809"/>
                  <a:gd name="connsiteY0" fmla="*/ 3426936 h 3426972"/>
                  <a:gd name="connsiteX1" fmla="*/ 1859089 w 2443809"/>
                  <a:gd name="connsiteY1" fmla="*/ 3399136 h 3426972"/>
                  <a:gd name="connsiteX2" fmla="*/ 1799088 w 2443809"/>
                  <a:gd name="connsiteY2" fmla="*/ 3369284 h 3426972"/>
                  <a:gd name="connsiteX3" fmla="*/ 257741 w 2443809"/>
                  <a:gd name="connsiteY3" fmla="*/ 2486086 h 3426972"/>
                  <a:gd name="connsiteX4" fmla="*/ 66855 w 2443809"/>
                  <a:gd name="connsiteY4" fmla="*/ 2298746 h 3426972"/>
                  <a:gd name="connsiteX5" fmla="*/ 5085 w 2443809"/>
                  <a:gd name="connsiteY5" fmla="*/ 2096843 h 3426972"/>
                  <a:gd name="connsiteX6" fmla="*/ 117 w 2443809"/>
                  <a:gd name="connsiteY6" fmla="*/ 2040453 h 3426972"/>
                  <a:gd name="connsiteX7" fmla="*/ 0 w 2443809"/>
                  <a:gd name="connsiteY7" fmla="*/ 2039791 h 3426972"/>
                  <a:gd name="connsiteX8" fmla="*/ 5920 w 2443809"/>
                  <a:gd name="connsiteY8" fmla="*/ 655310 h 3426972"/>
                  <a:gd name="connsiteX9" fmla="*/ 9056 w 2443809"/>
                  <a:gd name="connsiteY9" fmla="*/ 626450 h 3426972"/>
                  <a:gd name="connsiteX10" fmla="*/ 206180 w 2443809"/>
                  <a:gd name="connsiteY10" fmla="*/ 533706 h 3426972"/>
                  <a:gd name="connsiteX11" fmla="*/ 407391 w 2443809"/>
                  <a:gd name="connsiteY11" fmla="*/ 649859 h 3426972"/>
                  <a:gd name="connsiteX12" fmla="*/ 406100 w 2443809"/>
                  <a:gd name="connsiteY12" fmla="*/ 714342 h 3426972"/>
                  <a:gd name="connsiteX13" fmla="*/ 409165 w 2443809"/>
                  <a:gd name="connsiteY13" fmla="*/ 2029733 h 3426972"/>
                  <a:gd name="connsiteX14" fmla="*/ 407598 w 2443809"/>
                  <a:gd name="connsiteY14" fmla="*/ 2023141 h 3426972"/>
                  <a:gd name="connsiteX15" fmla="*/ 407517 w 2443809"/>
                  <a:gd name="connsiteY15" fmla="*/ 2035949 h 3426972"/>
                  <a:gd name="connsiteX16" fmla="*/ 464772 w 2443809"/>
                  <a:gd name="connsiteY16" fmla="*/ 2135119 h 3426972"/>
                  <a:gd name="connsiteX17" fmla="*/ 1965744 w 2443809"/>
                  <a:gd name="connsiteY17" fmla="*/ 3007037 h 3426972"/>
                  <a:gd name="connsiteX18" fmla="*/ 1966088 w 2443809"/>
                  <a:gd name="connsiteY18" fmla="*/ 3007429 h 3426972"/>
                  <a:gd name="connsiteX19" fmla="*/ 1988129 w 2443809"/>
                  <a:gd name="connsiteY19" fmla="*/ 3001242 h 3426972"/>
                  <a:gd name="connsiteX20" fmla="*/ 2034209 w 2443809"/>
                  <a:gd name="connsiteY20" fmla="*/ 2940688 h 3426972"/>
                  <a:gd name="connsiteX21" fmla="*/ 2036053 w 2443809"/>
                  <a:gd name="connsiteY21" fmla="*/ 2247662 h 3426972"/>
                  <a:gd name="connsiteX22" fmla="*/ 2442619 w 2443809"/>
                  <a:gd name="connsiteY22" fmla="*/ 0 h 3426972"/>
                  <a:gd name="connsiteX23" fmla="*/ 2443809 w 2443809"/>
                  <a:gd name="connsiteY23" fmla="*/ 1179718 h 3426972"/>
                  <a:gd name="connsiteX24" fmla="*/ 2441669 w 2443809"/>
                  <a:gd name="connsiteY24" fmla="*/ 2944505 h 3426972"/>
                  <a:gd name="connsiteX25" fmla="*/ 2374871 w 2443809"/>
                  <a:gd name="connsiteY25" fmla="*/ 3203485 h 3426972"/>
                  <a:gd name="connsiteX26" fmla="*/ 2230903 w 2443809"/>
                  <a:gd name="connsiteY26" fmla="*/ 3357925 h 3426972"/>
                  <a:gd name="connsiteX27" fmla="*/ 2020267 w 2443809"/>
                  <a:gd name="connsiteY27" fmla="*/ 3426436 h 3426972"/>
                  <a:gd name="connsiteX28" fmla="*/ 1970713 w 2443809"/>
                  <a:gd name="connsiteY28" fmla="*/ 3426936 h 3426972"/>
                  <a:gd name="connsiteX0" fmla="*/ 1970713 w 2475053"/>
                  <a:gd name="connsiteY0" fmla="*/ 3426936 h 3426972"/>
                  <a:gd name="connsiteX1" fmla="*/ 1859089 w 2475053"/>
                  <a:gd name="connsiteY1" fmla="*/ 3399136 h 3426972"/>
                  <a:gd name="connsiteX2" fmla="*/ 1799088 w 2475053"/>
                  <a:gd name="connsiteY2" fmla="*/ 3369284 h 3426972"/>
                  <a:gd name="connsiteX3" fmla="*/ 257741 w 2475053"/>
                  <a:gd name="connsiteY3" fmla="*/ 2486086 h 3426972"/>
                  <a:gd name="connsiteX4" fmla="*/ 66855 w 2475053"/>
                  <a:gd name="connsiteY4" fmla="*/ 2298746 h 3426972"/>
                  <a:gd name="connsiteX5" fmla="*/ 5085 w 2475053"/>
                  <a:gd name="connsiteY5" fmla="*/ 2096843 h 3426972"/>
                  <a:gd name="connsiteX6" fmla="*/ 117 w 2475053"/>
                  <a:gd name="connsiteY6" fmla="*/ 2040453 h 3426972"/>
                  <a:gd name="connsiteX7" fmla="*/ 0 w 2475053"/>
                  <a:gd name="connsiteY7" fmla="*/ 2039791 h 3426972"/>
                  <a:gd name="connsiteX8" fmla="*/ 5920 w 2475053"/>
                  <a:gd name="connsiteY8" fmla="*/ 655310 h 3426972"/>
                  <a:gd name="connsiteX9" fmla="*/ 9056 w 2475053"/>
                  <a:gd name="connsiteY9" fmla="*/ 626450 h 3426972"/>
                  <a:gd name="connsiteX10" fmla="*/ 206180 w 2475053"/>
                  <a:gd name="connsiteY10" fmla="*/ 533706 h 3426972"/>
                  <a:gd name="connsiteX11" fmla="*/ 407391 w 2475053"/>
                  <a:gd name="connsiteY11" fmla="*/ 649859 h 3426972"/>
                  <a:gd name="connsiteX12" fmla="*/ 406100 w 2475053"/>
                  <a:gd name="connsiteY12" fmla="*/ 714342 h 3426972"/>
                  <a:gd name="connsiteX13" fmla="*/ 409165 w 2475053"/>
                  <a:gd name="connsiteY13" fmla="*/ 2029733 h 3426972"/>
                  <a:gd name="connsiteX14" fmla="*/ 407598 w 2475053"/>
                  <a:gd name="connsiteY14" fmla="*/ 2023141 h 3426972"/>
                  <a:gd name="connsiteX15" fmla="*/ 407517 w 2475053"/>
                  <a:gd name="connsiteY15" fmla="*/ 2035949 h 3426972"/>
                  <a:gd name="connsiteX16" fmla="*/ 464772 w 2475053"/>
                  <a:gd name="connsiteY16" fmla="*/ 2135119 h 3426972"/>
                  <a:gd name="connsiteX17" fmla="*/ 1965744 w 2475053"/>
                  <a:gd name="connsiteY17" fmla="*/ 3007037 h 3426972"/>
                  <a:gd name="connsiteX18" fmla="*/ 1966088 w 2475053"/>
                  <a:gd name="connsiteY18" fmla="*/ 3007429 h 3426972"/>
                  <a:gd name="connsiteX19" fmla="*/ 1988129 w 2475053"/>
                  <a:gd name="connsiteY19" fmla="*/ 3001242 h 3426972"/>
                  <a:gd name="connsiteX20" fmla="*/ 2034209 w 2475053"/>
                  <a:gd name="connsiteY20" fmla="*/ 2940688 h 3426972"/>
                  <a:gd name="connsiteX21" fmla="*/ 2036053 w 2475053"/>
                  <a:gd name="connsiteY21" fmla="*/ 2247662 h 3426972"/>
                  <a:gd name="connsiteX22" fmla="*/ 2442619 w 2475053"/>
                  <a:gd name="connsiteY22" fmla="*/ 0 h 3426972"/>
                  <a:gd name="connsiteX23" fmla="*/ 2441669 w 2475053"/>
                  <a:gd name="connsiteY23" fmla="*/ 2944505 h 3426972"/>
                  <a:gd name="connsiteX24" fmla="*/ 2374871 w 2475053"/>
                  <a:gd name="connsiteY24" fmla="*/ 3203485 h 3426972"/>
                  <a:gd name="connsiteX25" fmla="*/ 2230903 w 2475053"/>
                  <a:gd name="connsiteY25" fmla="*/ 3357925 h 3426972"/>
                  <a:gd name="connsiteX26" fmla="*/ 2020267 w 2475053"/>
                  <a:gd name="connsiteY26" fmla="*/ 3426436 h 3426972"/>
                  <a:gd name="connsiteX27" fmla="*/ 1970713 w 2475053"/>
                  <a:gd name="connsiteY27" fmla="*/ 3426936 h 3426972"/>
                  <a:gd name="connsiteX0" fmla="*/ 1970713 w 2441669"/>
                  <a:gd name="connsiteY0" fmla="*/ 2893230 h 2893266"/>
                  <a:gd name="connsiteX1" fmla="*/ 1859089 w 2441669"/>
                  <a:gd name="connsiteY1" fmla="*/ 2865430 h 2893266"/>
                  <a:gd name="connsiteX2" fmla="*/ 1799088 w 2441669"/>
                  <a:gd name="connsiteY2" fmla="*/ 2835578 h 2893266"/>
                  <a:gd name="connsiteX3" fmla="*/ 257741 w 2441669"/>
                  <a:gd name="connsiteY3" fmla="*/ 1952380 h 2893266"/>
                  <a:gd name="connsiteX4" fmla="*/ 66855 w 2441669"/>
                  <a:gd name="connsiteY4" fmla="*/ 1765040 h 2893266"/>
                  <a:gd name="connsiteX5" fmla="*/ 5085 w 2441669"/>
                  <a:gd name="connsiteY5" fmla="*/ 1563137 h 2893266"/>
                  <a:gd name="connsiteX6" fmla="*/ 117 w 2441669"/>
                  <a:gd name="connsiteY6" fmla="*/ 1506747 h 2893266"/>
                  <a:gd name="connsiteX7" fmla="*/ 0 w 2441669"/>
                  <a:gd name="connsiteY7" fmla="*/ 1506085 h 2893266"/>
                  <a:gd name="connsiteX8" fmla="*/ 5920 w 2441669"/>
                  <a:gd name="connsiteY8" fmla="*/ 121604 h 2893266"/>
                  <a:gd name="connsiteX9" fmla="*/ 9056 w 2441669"/>
                  <a:gd name="connsiteY9" fmla="*/ 92744 h 2893266"/>
                  <a:gd name="connsiteX10" fmla="*/ 206180 w 2441669"/>
                  <a:gd name="connsiteY10" fmla="*/ 0 h 2893266"/>
                  <a:gd name="connsiteX11" fmla="*/ 407391 w 2441669"/>
                  <a:gd name="connsiteY11" fmla="*/ 116153 h 2893266"/>
                  <a:gd name="connsiteX12" fmla="*/ 406100 w 2441669"/>
                  <a:gd name="connsiteY12" fmla="*/ 180636 h 2893266"/>
                  <a:gd name="connsiteX13" fmla="*/ 409165 w 2441669"/>
                  <a:gd name="connsiteY13" fmla="*/ 1496027 h 2893266"/>
                  <a:gd name="connsiteX14" fmla="*/ 407598 w 2441669"/>
                  <a:gd name="connsiteY14" fmla="*/ 1489435 h 2893266"/>
                  <a:gd name="connsiteX15" fmla="*/ 407517 w 2441669"/>
                  <a:gd name="connsiteY15" fmla="*/ 1502243 h 2893266"/>
                  <a:gd name="connsiteX16" fmla="*/ 464772 w 2441669"/>
                  <a:gd name="connsiteY16" fmla="*/ 1601413 h 2893266"/>
                  <a:gd name="connsiteX17" fmla="*/ 1965744 w 2441669"/>
                  <a:gd name="connsiteY17" fmla="*/ 2473331 h 2893266"/>
                  <a:gd name="connsiteX18" fmla="*/ 1966088 w 2441669"/>
                  <a:gd name="connsiteY18" fmla="*/ 2473723 h 2893266"/>
                  <a:gd name="connsiteX19" fmla="*/ 1988129 w 2441669"/>
                  <a:gd name="connsiteY19" fmla="*/ 2467536 h 2893266"/>
                  <a:gd name="connsiteX20" fmla="*/ 2034209 w 2441669"/>
                  <a:gd name="connsiteY20" fmla="*/ 2406982 h 2893266"/>
                  <a:gd name="connsiteX21" fmla="*/ 2036053 w 2441669"/>
                  <a:gd name="connsiteY21" fmla="*/ 1713956 h 2893266"/>
                  <a:gd name="connsiteX22" fmla="*/ 2441669 w 2441669"/>
                  <a:gd name="connsiteY22" fmla="*/ 2410799 h 2893266"/>
                  <a:gd name="connsiteX23" fmla="*/ 2374871 w 2441669"/>
                  <a:gd name="connsiteY23" fmla="*/ 2669779 h 2893266"/>
                  <a:gd name="connsiteX24" fmla="*/ 2230903 w 2441669"/>
                  <a:gd name="connsiteY24" fmla="*/ 2824219 h 2893266"/>
                  <a:gd name="connsiteX25" fmla="*/ 2020267 w 2441669"/>
                  <a:gd name="connsiteY25" fmla="*/ 2892730 h 2893266"/>
                  <a:gd name="connsiteX26" fmla="*/ 1970713 w 2441669"/>
                  <a:gd name="connsiteY26" fmla="*/ 2893230 h 2893266"/>
                  <a:gd name="connsiteX0" fmla="*/ 1970713 w 2441669"/>
                  <a:gd name="connsiteY0" fmla="*/ 2893230 h 2893266"/>
                  <a:gd name="connsiteX1" fmla="*/ 1859089 w 2441669"/>
                  <a:gd name="connsiteY1" fmla="*/ 2865430 h 2893266"/>
                  <a:gd name="connsiteX2" fmla="*/ 1799088 w 2441669"/>
                  <a:gd name="connsiteY2" fmla="*/ 2835578 h 2893266"/>
                  <a:gd name="connsiteX3" fmla="*/ 257741 w 2441669"/>
                  <a:gd name="connsiteY3" fmla="*/ 1952380 h 2893266"/>
                  <a:gd name="connsiteX4" fmla="*/ 66855 w 2441669"/>
                  <a:gd name="connsiteY4" fmla="*/ 1765040 h 2893266"/>
                  <a:gd name="connsiteX5" fmla="*/ 5085 w 2441669"/>
                  <a:gd name="connsiteY5" fmla="*/ 1563137 h 2893266"/>
                  <a:gd name="connsiteX6" fmla="*/ 117 w 2441669"/>
                  <a:gd name="connsiteY6" fmla="*/ 1506747 h 2893266"/>
                  <a:gd name="connsiteX7" fmla="*/ 0 w 2441669"/>
                  <a:gd name="connsiteY7" fmla="*/ 1506085 h 2893266"/>
                  <a:gd name="connsiteX8" fmla="*/ 5920 w 2441669"/>
                  <a:gd name="connsiteY8" fmla="*/ 121604 h 2893266"/>
                  <a:gd name="connsiteX9" fmla="*/ 9056 w 2441669"/>
                  <a:gd name="connsiteY9" fmla="*/ 92744 h 2893266"/>
                  <a:gd name="connsiteX10" fmla="*/ 206180 w 2441669"/>
                  <a:gd name="connsiteY10" fmla="*/ 0 h 2893266"/>
                  <a:gd name="connsiteX11" fmla="*/ 407391 w 2441669"/>
                  <a:gd name="connsiteY11" fmla="*/ 116153 h 2893266"/>
                  <a:gd name="connsiteX12" fmla="*/ 406100 w 2441669"/>
                  <a:gd name="connsiteY12" fmla="*/ 180636 h 2893266"/>
                  <a:gd name="connsiteX13" fmla="*/ 409165 w 2441669"/>
                  <a:gd name="connsiteY13" fmla="*/ 1496027 h 2893266"/>
                  <a:gd name="connsiteX14" fmla="*/ 407598 w 2441669"/>
                  <a:gd name="connsiteY14" fmla="*/ 1489435 h 2893266"/>
                  <a:gd name="connsiteX15" fmla="*/ 407517 w 2441669"/>
                  <a:gd name="connsiteY15" fmla="*/ 1502243 h 2893266"/>
                  <a:gd name="connsiteX16" fmla="*/ 464772 w 2441669"/>
                  <a:gd name="connsiteY16" fmla="*/ 1601413 h 2893266"/>
                  <a:gd name="connsiteX17" fmla="*/ 1965744 w 2441669"/>
                  <a:gd name="connsiteY17" fmla="*/ 2473331 h 2893266"/>
                  <a:gd name="connsiteX18" fmla="*/ 1966088 w 2441669"/>
                  <a:gd name="connsiteY18" fmla="*/ 2473723 h 2893266"/>
                  <a:gd name="connsiteX19" fmla="*/ 1988129 w 2441669"/>
                  <a:gd name="connsiteY19" fmla="*/ 2467536 h 2893266"/>
                  <a:gd name="connsiteX20" fmla="*/ 2034209 w 2441669"/>
                  <a:gd name="connsiteY20" fmla="*/ 2406982 h 2893266"/>
                  <a:gd name="connsiteX21" fmla="*/ 2441669 w 2441669"/>
                  <a:gd name="connsiteY21" fmla="*/ 2410799 h 2893266"/>
                  <a:gd name="connsiteX22" fmla="*/ 2374871 w 2441669"/>
                  <a:gd name="connsiteY22" fmla="*/ 2669779 h 2893266"/>
                  <a:gd name="connsiteX23" fmla="*/ 2230903 w 2441669"/>
                  <a:gd name="connsiteY23" fmla="*/ 2824219 h 2893266"/>
                  <a:gd name="connsiteX24" fmla="*/ 2020267 w 2441669"/>
                  <a:gd name="connsiteY24" fmla="*/ 2892730 h 2893266"/>
                  <a:gd name="connsiteX25" fmla="*/ 1970713 w 2441669"/>
                  <a:gd name="connsiteY25" fmla="*/ 2893230 h 2893266"/>
                  <a:gd name="connsiteX0" fmla="*/ 1970713 w 2380032"/>
                  <a:gd name="connsiteY0" fmla="*/ 2893230 h 2893266"/>
                  <a:gd name="connsiteX1" fmla="*/ 1859089 w 2380032"/>
                  <a:gd name="connsiteY1" fmla="*/ 2865430 h 2893266"/>
                  <a:gd name="connsiteX2" fmla="*/ 1799088 w 2380032"/>
                  <a:gd name="connsiteY2" fmla="*/ 2835578 h 2893266"/>
                  <a:gd name="connsiteX3" fmla="*/ 257741 w 2380032"/>
                  <a:gd name="connsiteY3" fmla="*/ 1952380 h 2893266"/>
                  <a:gd name="connsiteX4" fmla="*/ 66855 w 2380032"/>
                  <a:gd name="connsiteY4" fmla="*/ 1765040 h 2893266"/>
                  <a:gd name="connsiteX5" fmla="*/ 5085 w 2380032"/>
                  <a:gd name="connsiteY5" fmla="*/ 1563137 h 2893266"/>
                  <a:gd name="connsiteX6" fmla="*/ 117 w 2380032"/>
                  <a:gd name="connsiteY6" fmla="*/ 1506747 h 2893266"/>
                  <a:gd name="connsiteX7" fmla="*/ 0 w 2380032"/>
                  <a:gd name="connsiteY7" fmla="*/ 1506085 h 2893266"/>
                  <a:gd name="connsiteX8" fmla="*/ 5920 w 2380032"/>
                  <a:gd name="connsiteY8" fmla="*/ 121604 h 2893266"/>
                  <a:gd name="connsiteX9" fmla="*/ 9056 w 2380032"/>
                  <a:gd name="connsiteY9" fmla="*/ 92744 h 2893266"/>
                  <a:gd name="connsiteX10" fmla="*/ 206180 w 2380032"/>
                  <a:gd name="connsiteY10" fmla="*/ 0 h 2893266"/>
                  <a:gd name="connsiteX11" fmla="*/ 407391 w 2380032"/>
                  <a:gd name="connsiteY11" fmla="*/ 116153 h 2893266"/>
                  <a:gd name="connsiteX12" fmla="*/ 406100 w 2380032"/>
                  <a:gd name="connsiteY12" fmla="*/ 180636 h 2893266"/>
                  <a:gd name="connsiteX13" fmla="*/ 409165 w 2380032"/>
                  <a:gd name="connsiteY13" fmla="*/ 1496027 h 2893266"/>
                  <a:gd name="connsiteX14" fmla="*/ 407598 w 2380032"/>
                  <a:gd name="connsiteY14" fmla="*/ 1489435 h 2893266"/>
                  <a:gd name="connsiteX15" fmla="*/ 407517 w 2380032"/>
                  <a:gd name="connsiteY15" fmla="*/ 1502243 h 2893266"/>
                  <a:gd name="connsiteX16" fmla="*/ 464772 w 2380032"/>
                  <a:gd name="connsiteY16" fmla="*/ 1601413 h 2893266"/>
                  <a:gd name="connsiteX17" fmla="*/ 1965744 w 2380032"/>
                  <a:gd name="connsiteY17" fmla="*/ 2473331 h 2893266"/>
                  <a:gd name="connsiteX18" fmla="*/ 1966088 w 2380032"/>
                  <a:gd name="connsiteY18" fmla="*/ 2473723 h 2893266"/>
                  <a:gd name="connsiteX19" fmla="*/ 1988129 w 2380032"/>
                  <a:gd name="connsiteY19" fmla="*/ 2467536 h 2893266"/>
                  <a:gd name="connsiteX20" fmla="*/ 2034209 w 2380032"/>
                  <a:gd name="connsiteY20" fmla="*/ 2406982 h 2893266"/>
                  <a:gd name="connsiteX21" fmla="*/ 2374871 w 2380032"/>
                  <a:gd name="connsiteY21" fmla="*/ 2669779 h 2893266"/>
                  <a:gd name="connsiteX22" fmla="*/ 2230903 w 2380032"/>
                  <a:gd name="connsiteY22" fmla="*/ 2824219 h 2893266"/>
                  <a:gd name="connsiteX23" fmla="*/ 2020267 w 2380032"/>
                  <a:gd name="connsiteY23" fmla="*/ 2892730 h 2893266"/>
                  <a:gd name="connsiteX24" fmla="*/ 1970713 w 2380032"/>
                  <a:gd name="connsiteY24"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1965744 w 2382123"/>
                  <a:gd name="connsiteY17" fmla="*/ 2473331 h 2893266"/>
                  <a:gd name="connsiteX18" fmla="*/ 1966088 w 2382123"/>
                  <a:gd name="connsiteY18" fmla="*/ 2473723 h 2893266"/>
                  <a:gd name="connsiteX19" fmla="*/ 1988129 w 2382123"/>
                  <a:gd name="connsiteY19" fmla="*/ 2467536 h 2893266"/>
                  <a:gd name="connsiteX20" fmla="*/ 2374871 w 2382123"/>
                  <a:gd name="connsiteY20" fmla="*/ 2669779 h 2893266"/>
                  <a:gd name="connsiteX21" fmla="*/ 2230903 w 2382123"/>
                  <a:gd name="connsiteY21" fmla="*/ 2824219 h 2893266"/>
                  <a:gd name="connsiteX22" fmla="*/ 2020267 w 2382123"/>
                  <a:gd name="connsiteY22" fmla="*/ 2892730 h 2893266"/>
                  <a:gd name="connsiteX23" fmla="*/ 1970713 w 2382123"/>
                  <a:gd name="connsiteY23"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1965744 w 2382123"/>
                  <a:gd name="connsiteY17" fmla="*/ 2473331 h 2893266"/>
                  <a:gd name="connsiteX18" fmla="*/ 1966088 w 2382123"/>
                  <a:gd name="connsiteY18" fmla="*/ 2473723 h 2893266"/>
                  <a:gd name="connsiteX19" fmla="*/ 2374871 w 2382123"/>
                  <a:gd name="connsiteY19" fmla="*/ 2669779 h 2893266"/>
                  <a:gd name="connsiteX20" fmla="*/ 2230903 w 2382123"/>
                  <a:gd name="connsiteY20" fmla="*/ 2824219 h 2893266"/>
                  <a:gd name="connsiteX21" fmla="*/ 2020267 w 2382123"/>
                  <a:gd name="connsiteY21" fmla="*/ 2892730 h 2893266"/>
                  <a:gd name="connsiteX22" fmla="*/ 1970713 w 2382123"/>
                  <a:gd name="connsiteY22"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1965744 w 2382123"/>
                  <a:gd name="connsiteY17" fmla="*/ 2473331 h 2893266"/>
                  <a:gd name="connsiteX18" fmla="*/ 2374871 w 2382123"/>
                  <a:gd name="connsiteY18" fmla="*/ 2669779 h 2893266"/>
                  <a:gd name="connsiteX19" fmla="*/ 2230903 w 2382123"/>
                  <a:gd name="connsiteY19" fmla="*/ 2824219 h 2893266"/>
                  <a:gd name="connsiteX20" fmla="*/ 2020267 w 2382123"/>
                  <a:gd name="connsiteY20" fmla="*/ 2892730 h 2893266"/>
                  <a:gd name="connsiteX21" fmla="*/ 1970713 w 2382123"/>
                  <a:gd name="connsiteY21" fmla="*/ 2893230 h 2893266"/>
                  <a:gd name="connsiteX0" fmla="*/ 1970713 w 2382123"/>
                  <a:gd name="connsiteY0" fmla="*/ 2893230 h 2893266"/>
                  <a:gd name="connsiteX1" fmla="*/ 1859089 w 2382123"/>
                  <a:gd name="connsiteY1" fmla="*/ 2865430 h 2893266"/>
                  <a:gd name="connsiteX2" fmla="*/ 1799088 w 2382123"/>
                  <a:gd name="connsiteY2" fmla="*/ 2835578 h 2893266"/>
                  <a:gd name="connsiteX3" fmla="*/ 257741 w 2382123"/>
                  <a:gd name="connsiteY3" fmla="*/ 1952380 h 2893266"/>
                  <a:gd name="connsiteX4" fmla="*/ 66855 w 2382123"/>
                  <a:gd name="connsiteY4" fmla="*/ 1765040 h 2893266"/>
                  <a:gd name="connsiteX5" fmla="*/ 5085 w 2382123"/>
                  <a:gd name="connsiteY5" fmla="*/ 1563137 h 2893266"/>
                  <a:gd name="connsiteX6" fmla="*/ 117 w 2382123"/>
                  <a:gd name="connsiteY6" fmla="*/ 1506747 h 2893266"/>
                  <a:gd name="connsiteX7" fmla="*/ 0 w 2382123"/>
                  <a:gd name="connsiteY7" fmla="*/ 1506085 h 2893266"/>
                  <a:gd name="connsiteX8" fmla="*/ 5920 w 2382123"/>
                  <a:gd name="connsiteY8" fmla="*/ 121604 h 2893266"/>
                  <a:gd name="connsiteX9" fmla="*/ 9056 w 2382123"/>
                  <a:gd name="connsiteY9" fmla="*/ 92744 h 2893266"/>
                  <a:gd name="connsiteX10" fmla="*/ 206180 w 2382123"/>
                  <a:gd name="connsiteY10" fmla="*/ 0 h 2893266"/>
                  <a:gd name="connsiteX11" fmla="*/ 407391 w 2382123"/>
                  <a:gd name="connsiteY11" fmla="*/ 116153 h 2893266"/>
                  <a:gd name="connsiteX12" fmla="*/ 406100 w 2382123"/>
                  <a:gd name="connsiteY12" fmla="*/ 180636 h 2893266"/>
                  <a:gd name="connsiteX13" fmla="*/ 409165 w 2382123"/>
                  <a:gd name="connsiteY13" fmla="*/ 1496027 h 2893266"/>
                  <a:gd name="connsiteX14" fmla="*/ 407598 w 2382123"/>
                  <a:gd name="connsiteY14" fmla="*/ 1489435 h 2893266"/>
                  <a:gd name="connsiteX15" fmla="*/ 407517 w 2382123"/>
                  <a:gd name="connsiteY15" fmla="*/ 1502243 h 2893266"/>
                  <a:gd name="connsiteX16" fmla="*/ 464772 w 2382123"/>
                  <a:gd name="connsiteY16" fmla="*/ 1601413 h 2893266"/>
                  <a:gd name="connsiteX17" fmla="*/ 2374871 w 2382123"/>
                  <a:gd name="connsiteY17" fmla="*/ 2669779 h 2893266"/>
                  <a:gd name="connsiteX18" fmla="*/ 2230903 w 2382123"/>
                  <a:gd name="connsiteY18" fmla="*/ 2824219 h 2893266"/>
                  <a:gd name="connsiteX19" fmla="*/ 2020267 w 2382123"/>
                  <a:gd name="connsiteY19" fmla="*/ 2892730 h 2893266"/>
                  <a:gd name="connsiteX20" fmla="*/ 1970713 w 2382123"/>
                  <a:gd name="connsiteY20" fmla="*/ 2893230 h 2893266"/>
                  <a:gd name="connsiteX0" fmla="*/ 1970713 w 2230903"/>
                  <a:gd name="connsiteY0" fmla="*/ 2893230 h 2893266"/>
                  <a:gd name="connsiteX1" fmla="*/ 1859089 w 2230903"/>
                  <a:gd name="connsiteY1" fmla="*/ 2865430 h 2893266"/>
                  <a:gd name="connsiteX2" fmla="*/ 1799088 w 2230903"/>
                  <a:gd name="connsiteY2" fmla="*/ 2835578 h 2893266"/>
                  <a:gd name="connsiteX3" fmla="*/ 257741 w 2230903"/>
                  <a:gd name="connsiteY3" fmla="*/ 1952380 h 2893266"/>
                  <a:gd name="connsiteX4" fmla="*/ 66855 w 2230903"/>
                  <a:gd name="connsiteY4" fmla="*/ 1765040 h 2893266"/>
                  <a:gd name="connsiteX5" fmla="*/ 5085 w 2230903"/>
                  <a:gd name="connsiteY5" fmla="*/ 1563137 h 2893266"/>
                  <a:gd name="connsiteX6" fmla="*/ 117 w 2230903"/>
                  <a:gd name="connsiteY6" fmla="*/ 1506747 h 2893266"/>
                  <a:gd name="connsiteX7" fmla="*/ 0 w 2230903"/>
                  <a:gd name="connsiteY7" fmla="*/ 1506085 h 2893266"/>
                  <a:gd name="connsiteX8" fmla="*/ 5920 w 2230903"/>
                  <a:gd name="connsiteY8" fmla="*/ 121604 h 2893266"/>
                  <a:gd name="connsiteX9" fmla="*/ 9056 w 2230903"/>
                  <a:gd name="connsiteY9" fmla="*/ 92744 h 2893266"/>
                  <a:gd name="connsiteX10" fmla="*/ 206180 w 2230903"/>
                  <a:gd name="connsiteY10" fmla="*/ 0 h 2893266"/>
                  <a:gd name="connsiteX11" fmla="*/ 407391 w 2230903"/>
                  <a:gd name="connsiteY11" fmla="*/ 116153 h 2893266"/>
                  <a:gd name="connsiteX12" fmla="*/ 406100 w 2230903"/>
                  <a:gd name="connsiteY12" fmla="*/ 180636 h 2893266"/>
                  <a:gd name="connsiteX13" fmla="*/ 409165 w 2230903"/>
                  <a:gd name="connsiteY13" fmla="*/ 1496027 h 2893266"/>
                  <a:gd name="connsiteX14" fmla="*/ 407598 w 2230903"/>
                  <a:gd name="connsiteY14" fmla="*/ 1489435 h 2893266"/>
                  <a:gd name="connsiteX15" fmla="*/ 407517 w 2230903"/>
                  <a:gd name="connsiteY15" fmla="*/ 1502243 h 2893266"/>
                  <a:gd name="connsiteX16" fmla="*/ 464772 w 2230903"/>
                  <a:gd name="connsiteY16" fmla="*/ 1601413 h 2893266"/>
                  <a:gd name="connsiteX17" fmla="*/ 2230903 w 2230903"/>
                  <a:gd name="connsiteY17" fmla="*/ 2824219 h 2893266"/>
                  <a:gd name="connsiteX18" fmla="*/ 2020267 w 2230903"/>
                  <a:gd name="connsiteY18" fmla="*/ 2892730 h 2893266"/>
                  <a:gd name="connsiteX19" fmla="*/ 1970713 w 2230903"/>
                  <a:gd name="connsiteY19" fmla="*/ 2893230 h 2893266"/>
                  <a:gd name="connsiteX0" fmla="*/ 1970713 w 2020267"/>
                  <a:gd name="connsiteY0" fmla="*/ 2893230 h 2893266"/>
                  <a:gd name="connsiteX1" fmla="*/ 1859089 w 2020267"/>
                  <a:gd name="connsiteY1" fmla="*/ 2865430 h 2893266"/>
                  <a:gd name="connsiteX2" fmla="*/ 1799088 w 2020267"/>
                  <a:gd name="connsiteY2" fmla="*/ 2835578 h 2893266"/>
                  <a:gd name="connsiteX3" fmla="*/ 257741 w 2020267"/>
                  <a:gd name="connsiteY3" fmla="*/ 1952380 h 2893266"/>
                  <a:gd name="connsiteX4" fmla="*/ 66855 w 2020267"/>
                  <a:gd name="connsiteY4" fmla="*/ 1765040 h 2893266"/>
                  <a:gd name="connsiteX5" fmla="*/ 5085 w 2020267"/>
                  <a:gd name="connsiteY5" fmla="*/ 1563137 h 2893266"/>
                  <a:gd name="connsiteX6" fmla="*/ 117 w 2020267"/>
                  <a:gd name="connsiteY6" fmla="*/ 1506747 h 2893266"/>
                  <a:gd name="connsiteX7" fmla="*/ 0 w 2020267"/>
                  <a:gd name="connsiteY7" fmla="*/ 1506085 h 2893266"/>
                  <a:gd name="connsiteX8" fmla="*/ 5920 w 2020267"/>
                  <a:gd name="connsiteY8" fmla="*/ 121604 h 2893266"/>
                  <a:gd name="connsiteX9" fmla="*/ 9056 w 2020267"/>
                  <a:gd name="connsiteY9" fmla="*/ 92744 h 2893266"/>
                  <a:gd name="connsiteX10" fmla="*/ 206180 w 2020267"/>
                  <a:gd name="connsiteY10" fmla="*/ 0 h 2893266"/>
                  <a:gd name="connsiteX11" fmla="*/ 407391 w 2020267"/>
                  <a:gd name="connsiteY11" fmla="*/ 116153 h 2893266"/>
                  <a:gd name="connsiteX12" fmla="*/ 406100 w 2020267"/>
                  <a:gd name="connsiteY12" fmla="*/ 180636 h 2893266"/>
                  <a:gd name="connsiteX13" fmla="*/ 409165 w 2020267"/>
                  <a:gd name="connsiteY13" fmla="*/ 1496027 h 2893266"/>
                  <a:gd name="connsiteX14" fmla="*/ 407598 w 2020267"/>
                  <a:gd name="connsiteY14" fmla="*/ 1489435 h 2893266"/>
                  <a:gd name="connsiteX15" fmla="*/ 407517 w 2020267"/>
                  <a:gd name="connsiteY15" fmla="*/ 1502243 h 2893266"/>
                  <a:gd name="connsiteX16" fmla="*/ 464772 w 2020267"/>
                  <a:gd name="connsiteY16" fmla="*/ 1601413 h 2893266"/>
                  <a:gd name="connsiteX17" fmla="*/ 2020267 w 2020267"/>
                  <a:gd name="connsiteY17" fmla="*/ 2892730 h 2893266"/>
                  <a:gd name="connsiteX18" fmla="*/ 1970713 w 2020267"/>
                  <a:gd name="connsiteY18" fmla="*/ 2893230 h 2893266"/>
                  <a:gd name="connsiteX0" fmla="*/ 2020267 w 2098363"/>
                  <a:gd name="connsiteY0" fmla="*/ 2892730 h 2981668"/>
                  <a:gd name="connsiteX1" fmla="*/ 1859089 w 2098363"/>
                  <a:gd name="connsiteY1" fmla="*/ 2865430 h 2981668"/>
                  <a:gd name="connsiteX2" fmla="*/ 1799088 w 2098363"/>
                  <a:gd name="connsiteY2" fmla="*/ 2835578 h 2981668"/>
                  <a:gd name="connsiteX3" fmla="*/ 257741 w 2098363"/>
                  <a:gd name="connsiteY3" fmla="*/ 1952380 h 2981668"/>
                  <a:gd name="connsiteX4" fmla="*/ 66855 w 2098363"/>
                  <a:gd name="connsiteY4" fmla="*/ 1765040 h 2981668"/>
                  <a:gd name="connsiteX5" fmla="*/ 5085 w 2098363"/>
                  <a:gd name="connsiteY5" fmla="*/ 1563137 h 2981668"/>
                  <a:gd name="connsiteX6" fmla="*/ 117 w 2098363"/>
                  <a:gd name="connsiteY6" fmla="*/ 1506747 h 2981668"/>
                  <a:gd name="connsiteX7" fmla="*/ 0 w 2098363"/>
                  <a:gd name="connsiteY7" fmla="*/ 1506085 h 2981668"/>
                  <a:gd name="connsiteX8" fmla="*/ 5920 w 2098363"/>
                  <a:gd name="connsiteY8" fmla="*/ 121604 h 2981668"/>
                  <a:gd name="connsiteX9" fmla="*/ 9056 w 2098363"/>
                  <a:gd name="connsiteY9" fmla="*/ 92744 h 2981668"/>
                  <a:gd name="connsiteX10" fmla="*/ 206180 w 2098363"/>
                  <a:gd name="connsiteY10" fmla="*/ 0 h 2981668"/>
                  <a:gd name="connsiteX11" fmla="*/ 407391 w 2098363"/>
                  <a:gd name="connsiteY11" fmla="*/ 116153 h 2981668"/>
                  <a:gd name="connsiteX12" fmla="*/ 406100 w 2098363"/>
                  <a:gd name="connsiteY12" fmla="*/ 180636 h 2981668"/>
                  <a:gd name="connsiteX13" fmla="*/ 409165 w 2098363"/>
                  <a:gd name="connsiteY13" fmla="*/ 1496027 h 2981668"/>
                  <a:gd name="connsiteX14" fmla="*/ 407598 w 2098363"/>
                  <a:gd name="connsiteY14" fmla="*/ 1489435 h 2981668"/>
                  <a:gd name="connsiteX15" fmla="*/ 407517 w 2098363"/>
                  <a:gd name="connsiteY15" fmla="*/ 1502243 h 2981668"/>
                  <a:gd name="connsiteX16" fmla="*/ 464772 w 2098363"/>
                  <a:gd name="connsiteY16" fmla="*/ 1601413 h 2981668"/>
                  <a:gd name="connsiteX17" fmla="*/ 2020267 w 2098363"/>
                  <a:gd name="connsiteY17" fmla="*/ 2892730 h 2981668"/>
                  <a:gd name="connsiteX0" fmla="*/ 464772 w 1859089"/>
                  <a:gd name="connsiteY0" fmla="*/ 1601413 h 2865430"/>
                  <a:gd name="connsiteX1" fmla="*/ 1859089 w 1859089"/>
                  <a:gd name="connsiteY1" fmla="*/ 2865430 h 2865430"/>
                  <a:gd name="connsiteX2" fmla="*/ 1799088 w 1859089"/>
                  <a:gd name="connsiteY2" fmla="*/ 2835578 h 2865430"/>
                  <a:gd name="connsiteX3" fmla="*/ 257741 w 1859089"/>
                  <a:gd name="connsiteY3" fmla="*/ 1952380 h 2865430"/>
                  <a:gd name="connsiteX4" fmla="*/ 66855 w 1859089"/>
                  <a:gd name="connsiteY4" fmla="*/ 1765040 h 2865430"/>
                  <a:gd name="connsiteX5" fmla="*/ 5085 w 1859089"/>
                  <a:gd name="connsiteY5" fmla="*/ 1563137 h 2865430"/>
                  <a:gd name="connsiteX6" fmla="*/ 117 w 1859089"/>
                  <a:gd name="connsiteY6" fmla="*/ 1506747 h 2865430"/>
                  <a:gd name="connsiteX7" fmla="*/ 0 w 1859089"/>
                  <a:gd name="connsiteY7" fmla="*/ 1506085 h 2865430"/>
                  <a:gd name="connsiteX8" fmla="*/ 5920 w 1859089"/>
                  <a:gd name="connsiteY8" fmla="*/ 121604 h 2865430"/>
                  <a:gd name="connsiteX9" fmla="*/ 9056 w 1859089"/>
                  <a:gd name="connsiteY9" fmla="*/ 92744 h 2865430"/>
                  <a:gd name="connsiteX10" fmla="*/ 206180 w 1859089"/>
                  <a:gd name="connsiteY10" fmla="*/ 0 h 2865430"/>
                  <a:gd name="connsiteX11" fmla="*/ 407391 w 1859089"/>
                  <a:gd name="connsiteY11" fmla="*/ 116153 h 2865430"/>
                  <a:gd name="connsiteX12" fmla="*/ 406100 w 1859089"/>
                  <a:gd name="connsiteY12" fmla="*/ 180636 h 2865430"/>
                  <a:gd name="connsiteX13" fmla="*/ 409165 w 1859089"/>
                  <a:gd name="connsiteY13" fmla="*/ 1496027 h 2865430"/>
                  <a:gd name="connsiteX14" fmla="*/ 407598 w 1859089"/>
                  <a:gd name="connsiteY14" fmla="*/ 1489435 h 2865430"/>
                  <a:gd name="connsiteX15" fmla="*/ 407517 w 1859089"/>
                  <a:gd name="connsiteY15" fmla="*/ 1502243 h 2865430"/>
                  <a:gd name="connsiteX16" fmla="*/ 464772 w 1859089"/>
                  <a:gd name="connsiteY16" fmla="*/ 1601413 h 2865430"/>
                  <a:gd name="connsiteX0" fmla="*/ 464772 w 1859089"/>
                  <a:gd name="connsiteY0" fmla="*/ 1601413 h 2865430"/>
                  <a:gd name="connsiteX1" fmla="*/ 1859089 w 1859089"/>
                  <a:gd name="connsiteY1" fmla="*/ 2865430 h 2865430"/>
                  <a:gd name="connsiteX2" fmla="*/ 257741 w 1859089"/>
                  <a:gd name="connsiteY2" fmla="*/ 1952380 h 2865430"/>
                  <a:gd name="connsiteX3" fmla="*/ 66855 w 1859089"/>
                  <a:gd name="connsiteY3" fmla="*/ 1765040 h 2865430"/>
                  <a:gd name="connsiteX4" fmla="*/ 5085 w 1859089"/>
                  <a:gd name="connsiteY4" fmla="*/ 1563137 h 2865430"/>
                  <a:gd name="connsiteX5" fmla="*/ 117 w 1859089"/>
                  <a:gd name="connsiteY5" fmla="*/ 1506747 h 2865430"/>
                  <a:gd name="connsiteX6" fmla="*/ 0 w 1859089"/>
                  <a:gd name="connsiteY6" fmla="*/ 1506085 h 2865430"/>
                  <a:gd name="connsiteX7" fmla="*/ 5920 w 1859089"/>
                  <a:gd name="connsiteY7" fmla="*/ 121604 h 2865430"/>
                  <a:gd name="connsiteX8" fmla="*/ 9056 w 1859089"/>
                  <a:gd name="connsiteY8" fmla="*/ 92744 h 2865430"/>
                  <a:gd name="connsiteX9" fmla="*/ 206180 w 1859089"/>
                  <a:gd name="connsiteY9" fmla="*/ 0 h 2865430"/>
                  <a:gd name="connsiteX10" fmla="*/ 407391 w 1859089"/>
                  <a:gd name="connsiteY10" fmla="*/ 116153 h 2865430"/>
                  <a:gd name="connsiteX11" fmla="*/ 406100 w 1859089"/>
                  <a:gd name="connsiteY11" fmla="*/ 180636 h 2865430"/>
                  <a:gd name="connsiteX12" fmla="*/ 409165 w 1859089"/>
                  <a:gd name="connsiteY12" fmla="*/ 1496027 h 2865430"/>
                  <a:gd name="connsiteX13" fmla="*/ 407598 w 1859089"/>
                  <a:gd name="connsiteY13" fmla="*/ 1489435 h 2865430"/>
                  <a:gd name="connsiteX14" fmla="*/ 407517 w 1859089"/>
                  <a:gd name="connsiteY14" fmla="*/ 1502243 h 2865430"/>
                  <a:gd name="connsiteX15" fmla="*/ 464772 w 1859089"/>
                  <a:gd name="connsiteY15" fmla="*/ 1601413 h 2865430"/>
                  <a:gd name="connsiteX0" fmla="*/ 464772 w 464772"/>
                  <a:gd name="connsiteY0" fmla="*/ 1601413 h 1952380"/>
                  <a:gd name="connsiteX1" fmla="*/ 257741 w 464772"/>
                  <a:gd name="connsiteY1" fmla="*/ 1952380 h 1952380"/>
                  <a:gd name="connsiteX2" fmla="*/ 66855 w 464772"/>
                  <a:gd name="connsiteY2" fmla="*/ 1765040 h 1952380"/>
                  <a:gd name="connsiteX3" fmla="*/ 5085 w 464772"/>
                  <a:gd name="connsiteY3" fmla="*/ 1563137 h 1952380"/>
                  <a:gd name="connsiteX4" fmla="*/ 117 w 464772"/>
                  <a:gd name="connsiteY4" fmla="*/ 1506747 h 1952380"/>
                  <a:gd name="connsiteX5" fmla="*/ 0 w 464772"/>
                  <a:gd name="connsiteY5" fmla="*/ 1506085 h 1952380"/>
                  <a:gd name="connsiteX6" fmla="*/ 5920 w 464772"/>
                  <a:gd name="connsiteY6" fmla="*/ 121604 h 1952380"/>
                  <a:gd name="connsiteX7" fmla="*/ 9056 w 464772"/>
                  <a:gd name="connsiteY7" fmla="*/ 92744 h 1952380"/>
                  <a:gd name="connsiteX8" fmla="*/ 206180 w 464772"/>
                  <a:gd name="connsiteY8" fmla="*/ 0 h 1952380"/>
                  <a:gd name="connsiteX9" fmla="*/ 407391 w 464772"/>
                  <a:gd name="connsiteY9" fmla="*/ 116153 h 1952380"/>
                  <a:gd name="connsiteX10" fmla="*/ 406100 w 464772"/>
                  <a:gd name="connsiteY10" fmla="*/ 180636 h 1952380"/>
                  <a:gd name="connsiteX11" fmla="*/ 409165 w 464772"/>
                  <a:gd name="connsiteY11" fmla="*/ 1496027 h 1952380"/>
                  <a:gd name="connsiteX12" fmla="*/ 407598 w 464772"/>
                  <a:gd name="connsiteY12" fmla="*/ 1489435 h 1952380"/>
                  <a:gd name="connsiteX13" fmla="*/ 407517 w 464772"/>
                  <a:gd name="connsiteY13" fmla="*/ 1502243 h 1952380"/>
                  <a:gd name="connsiteX14" fmla="*/ 464772 w 464772"/>
                  <a:gd name="connsiteY14" fmla="*/ 1601413 h 1952380"/>
                  <a:gd name="connsiteX0" fmla="*/ 464772 w 464772"/>
                  <a:gd name="connsiteY0" fmla="*/ 1601413 h 1765040"/>
                  <a:gd name="connsiteX1" fmla="*/ 66855 w 464772"/>
                  <a:gd name="connsiteY1" fmla="*/ 1765040 h 1765040"/>
                  <a:gd name="connsiteX2" fmla="*/ 5085 w 464772"/>
                  <a:gd name="connsiteY2" fmla="*/ 1563137 h 1765040"/>
                  <a:gd name="connsiteX3" fmla="*/ 117 w 464772"/>
                  <a:gd name="connsiteY3" fmla="*/ 1506747 h 1765040"/>
                  <a:gd name="connsiteX4" fmla="*/ 0 w 464772"/>
                  <a:gd name="connsiteY4" fmla="*/ 1506085 h 1765040"/>
                  <a:gd name="connsiteX5" fmla="*/ 5920 w 464772"/>
                  <a:gd name="connsiteY5" fmla="*/ 121604 h 1765040"/>
                  <a:gd name="connsiteX6" fmla="*/ 9056 w 464772"/>
                  <a:gd name="connsiteY6" fmla="*/ 92744 h 1765040"/>
                  <a:gd name="connsiteX7" fmla="*/ 206180 w 464772"/>
                  <a:gd name="connsiteY7" fmla="*/ 0 h 1765040"/>
                  <a:gd name="connsiteX8" fmla="*/ 407391 w 464772"/>
                  <a:gd name="connsiteY8" fmla="*/ 116153 h 1765040"/>
                  <a:gd name="connsiteX9" fmla="*/ 406100 w 464772"/>
                  <a:gd name="connsiteY9" fmla="*/ 180636 h 1765040"/>
                  <a:gd name="connsiteX10" fmla="*/ 409165 w 464772"/>
                  <a:gd name="connsiteY10" fmla="*/ 1496027 h 1765040"/>
                  <a:gd name="connsiteX11" fmla="*/ 407598 w 464772"/>
                  <a:gd name="connsiteY11" fmla="*/ 1489435 h 1765040"/>
                  <a:gd name="connsiteX12" fmla="*/ 407517 w 464772"/>
                  <a:gd name="connsiteY12" fmla="*/ 1502243 h 1765040"/>
                  <a:gd name="connsiteX13" fmla="*/ 464772 w 464772"/>
                  <a:gd name="connsiteY13" fmla="*/ 1601413 h 1765040"/>
                  <a:gd name="connsiteX0" fmla="*/ 407517 w 409165"/>
                  <a:gd name="connsiteY0" fmla="*/ 1502243 h 1765503"/>
                  <a:gd name="connsiteX1" fmla="*/ 66855 w 409165"/>
                  <a:gd name="connsiteY1" fmla="*/ 1765040 h 1765503"/>
                  <a:gd name="connsiteX2" fmla="*/ 5085 w 409165"/>
                  <a:gd name="connsiteY2" fmla="*/ 1563137 h 1765503"/>
                  <a:gd name="connsiteX3" fmla="*/ 117 w 409165"/>
                  <a:gd name="connsiteY3" fmla="*/ 1506747 h 1765503"/>
                  <a:gd name="connsiteX4" fmla="*/ 0 w 409165"/>
                  <a:gd name="connsiteY4" fmla="*/ 1506085 h 1765503"/>
                  <a:gd name="connsiteX5" fmla="*/ 5920 w 409165"/>
                  <a:gd name="connsiteY5" fmla="*/ 121604 h 1765503"/>
                  <a:gd name="connsiteX6" fmla="*/ 9056 w 409165"/>
                  <a:gd name="connsiteY6" fmla="*/ 92744 h 1765503"/>
                  <a:gd name="connsiteX7" fmla="*/ 206180 w 409165"/>
                  <a:gd name="connsiteY7" fmla="*/ 0 h 1765503"/>
                  <a:gd name="connsiteX8" fmla="*/ 407391 w 409165"/>
                  <a:gd name="connsiteY8" fmla="*/ 116153 h 1765503"/>
                  <a:gd name="connsiteX9" fmla="*/ 406100 w 409165"/>
                  <a:gd name="connsiteY9" fmla="*/ 180636 h 1765503"/>
                  <a:gd name="connsiteX10" fmla="*/ 409165 w 409165"/>
                  <a:gd name="connsiteY10" fmla="*/ 1496027 h 1765503"/>
                  <a:gd name="connsiteX11" fmla="*/ 407598 w 409165"/>
                  <a:gd name="connsiteY11" fmla="*/ 1489435 h 1765503"/>
                  <a:gd name="connsiteX12" fmla="*/ 407517 w 409165"/>
                  <a:gd name="connsiteY12" fmla="*/ 1502243 h 1765503"/>
                  <a:gd name="connsiteX0" fmla="*/ 344017 w 409165"/>
                  <a:gd name="connsiteY0" fmla="*/ 1692743 h 1770376"/>
                  <a:gd name="connsiteX1" fmla="*/ 66855 w 409165"/>
                  <a:gd name="connsiteY1" fmla="*/ 1765040 h 1770376"/>
                  <a:gd name="connsiteX2" fmla="*/ 5085 w 409165"/>
                  <a:gd name="connsiteY2" fmla="*/ 1563137 h 1770376"/>
                  <a:gd name="connsiteX3" fmla="*/ 117 w 409165"/>
                  <a:gd name="connsiteY3" fmla="*/ 1506747 h 1770376"/>
                  <a:gd name="connsiteX4" fmla="*/ 0 w 409165"/>
                  <a:gd name="connsiteY4" fmla="*/ 1506085 h 1770376"/>
                  <a:gd name="connsiteX5" fmla="*/ 5920 w 409165"/>
                  <a:gd name="connsiteY5" fmla="*/ 121604 h 1770376"/>
                  <a:gd name="connsiteX6" fmla="*/ 9056 w 409165"/>
                  <a:gd name="connsiteY6" fmla="*/ 92744 h 1770376"/>
                  <a:gd name="connsiteX7" fmla="*/ 206180 w 409165"/>
                  <a:gd name="connsiteY7" fmla="*/ 0 h 1770376"/>
                  <a:gd name="connsiteX8" fmla="*/ 407391 w 409165"/>
                  <a:gd name="connsiteY8" fmla="*/ 116153 h 1770376"/>
                  <a:gd name="connsiteX9" fmla="*/ 406100 w 409165"/>
                  <a:gd name="connsiteY9" fmla="*/ 180636 h 1770376"/>
                  <a:gd name="connsiteX10" fmla="*/ 409165 w 409165"/>
                  <a:gd name="connsiteY10" fmla="*/ 1496027 h 1770376"/>
                  <a:gd name="connsiteX11" fmla="*/ 407598 w 409165"/>
                  <a:gd name="connsiteY11" fmla="*/ 1489435 h 1770376"/>
                  <a:gd name="connsiteX12" fmla="*/ 344017 w 409165"/>
                  <a:gd name="connsiteY12" fmla="*/ 1692743 h 1770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9165" h="1770376">
                    <a:moveTo>
                      <a:pt x="344017" y="1692743"/>
                    </a:moveTo>
                    <a:cubicBezTo>
                      <a:pt x="287227" y="1738677"/>
                      <a:pt x="123344" y="1786641"/>
                      <a:pt x="66855" y="1765040"/>
                    </a:cubicBezTo>
                    <a:cubicBezTo>
                      <a:pt x="10366" y="1743439"/>
                      <a:pt x="7680" y="1615891"/>
                      <a:pt x="5085" y="1563137"/>
                    </a:cubicBezTo>
                    <a:lnTo>
                      <a:pt x="117" y="1506747"/>
                    </a:lnTo>
                    <a:cubicBezTo>
                      <a:pt x="78" y="1506527"/>
                      <a:pt x="39" y="1506304"/>
                      <a:pt x="0" y="1506085"/>
                    </a:cubicBezTo>
                    <a:cubicBezTo>
                      <a:pt x="1973" y="1044591"/>
                      <a:pt x="3947" y="583097"/>
                      <a:pt x="5920" y="121604"/>
                    </a:cubicBezTo>
                    <a:lnTo>
                      <a:pt x="9056" y="92744"/>
                    </a:lnTo>
                    <a:cubicBezTo>
                      <a:pt x="27818" y="39815"/>
                      <a:pt x="108945" y="0"/>
                      <a:pt x="206180" y="0"/>
                    </a:cubicBezTo>
                    <a:cubicBezTo>
                      <a:pt x="317306" y="0"/>
                      <a:pt x="407391" y="52003"/>
                      <a:pt x="407391" y="116153"/>
                    </a:cubicBezTo>
                    <a:cubicBezTo>
                      <a:pt x="406961" y="137647"/>
                      <a:pt x="406530" y="159142"/>
                      <a:pt x="406100" y="180636"/>
                    </a:cubicBezTo>
                    <a:cubicBezTo>
                      <a:pt x="405529" y="508740"/>
                      <a:pt x="408958" y="1282249"/>
                      <a:pt x="409165" y="1496027"/>
                    </a:cubicBezTo>
                    <a:lnTo>
                      <a:pt x="407598" y="1489435"/>
                    </a:lnTo>
                    <a:cubicBezTo>
                      <a:pt x="407570" y="1493705"/>
                      <a:pt x="344045" y="1688472"/>
                      <a:pt x="344017" y="1692743"/>
                    </a:cubicBezTo>
                    <a:close/>
                  </a:path>
                </a:pathLst>
              </a:custGeom>
              <a:gradFill flip="none" rotWithShape="1">
                <a:gsLst>
                  <a:gs pos="100000">
                    <a:schemeClr val="accent2">
                      <a:lumMod val="0"/>
                      <a:lumOff val="100000"/>
                      <a:alpha val="0"/>
                    </a:schemeClr>
                  </a:gs>
                  <a:gs pos="43000">
                    <a:schemeClr val="accent4"/>
                  </a:gs>
                </a:gsLst>
                <a:lin ang="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75" name="Freeform: Shape 774">
                <a:extLst>
                  <a:ext uri="{FF2B5EF4-FFF2-40B4-BE49-F238E27FC236}">
                    <a16:creationId xmlns:a16="http://schemas.microsoft.com/office/drawing/2014/main" id="{41D2D4E7-318B-487A-83D1-1D84B9E5F167}"/>
                  </a:ext>
                </a:extLst>
              </p:cNvPr>
              <p:cNvSpPr/>
              <p:nvPr/>
            </p:nvSpPr>
            <p:spPr bwMode="gray">
              <a:xfrm flipH="1" flipV="1">
                <a:off x="-3473355" y="3502137"/>
                <a:ext cx="2139562" cy="1277355"/>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206180 w 4212730"/>
                  <a:gd name="connsiteY9" fmla="*/ 2392022 h 5285288"/>
                  <a:gd name="connsiteX10" fmla="*/ 407391 w 4212730"/>
                  <a:gd name="connsiteY10" fmla="*/ 2508175 h 5285288"/>
                  <a:gd name="connsiteX11" fmla="*/ 406100 w 4212730"/>
                  <a:gd name="connsiteY11" fmla="*/ 2572658 h 5285288"/>
                  <a:gd name="connsiteX12" fmla="*/ 409165 w 4212730"/>
                  <a:gd name="connsiteY12" fmla="*/ 3888049 h 5285288"/>
                  <a:gd name="connsiteX13" fmla="*/ 407598 w 4212730"/>
                  <a:gd name="connsiteY13" fmla="*/ 3881457 h 5285288"/>
                  <a:gd name="connsiteX14" fmla="*/ 407517 w 4212730"/>
                  <a:gd name="connsiteY14" fmla="*/ 3894265 h 5285288"/>
                  <a:gd name="connsiteX15" fmla="*/ 464772 w 4212730"/>
                  <a:gd name="connsiteY15" fmla="*/ 3993435 h 5285288"/>
                  <a:gd name="connsiteX16" fmla="*/ 1965744 w 4212730"/>
                  <a:gd name="connsiteY16" fmla="*/ 4865353 h 5285288"/>
                  <a:gd name="connsiteX17" fmla="*/ 1966088 w 4212730"/>
                  <a:gd name="connsiteY17" fmla="*/ 4865745 h 5285288"/>
                  <a:gd name="connsiteX18" fmla="*/ 1988129 w 4212730"/>
                  <a:gd name="connsiteY18" fmla="*/ 4859558 h 5285288"/>
                  <a:gd name="connsiteX19" fmla="*/ 2034209 w 4212730"/>
                  <a:gd name="connsiteY19" fmla="*/ 4799004 h 5285288"/>
                  <a:gd name="connsiteX20" fmla="*/ 2036053 w 4212730"/>
                  <a:gd name="connsiteY20" fmla="*/ 4105978 h 5285288"/>
                  <a:gd name="connsiteX21" fmla="*/ 2038324 w 4212730"/>
                  <a:gd name="connsiteY21" fmla="*/ 1054770 h 5285288"/>
                  <a:gd name="connsiteX22" fmla="*/ 2037139 w 4212730"/>
                  <a:gd name="connsiteY22" fmla="*/ 1017192 h 5285288"/>
                  <a:gd name="connsiteX23" fmla="*/ 2035104 w 4212730"/>
                  <a:gd name="connsiteY23" fmla="*/ 494424 h 5285288"/>
                  <a:gd name="connsiteX24" fmla="*/ 2080595 w 4212730"/>
                  <a:gd name="connsiteY24" fmla="*/ 171698 h 5285288"/>
                  <a:gd name="connsiteX25" fmla="*/ 2245202 w 4212730"/>
                  <a:gd name="connsiteY25" fmla="*/ 25112 h 5285288"/>
                  <a:gd name="connsiteX26" fmla="*/ 2444848 w 4212730"/>
                  <a:gd name="connsiteY26" fmla="*/ 3326 h 5285288"/>
                  <a:gd name="connsiteX27" fmla="*/ 2620552 w 4212730"/>
                  <a:gd name="connsiteY27" fmla="*/ 37548 h 5285288"/>
                  <a:gd name="connsiteX28" fmla="*/ 4171705 w 4212730"/>
                  <a:gd name="connsiteY28" fmla="*/ 924343 h 5285288"/>
                  <a:gd name="connsiteX29" fmla="*/ 4172662 w 4212730"/>
                  <a:gd name="connsiteY29" fmla="*/ 1149844 h 5285288"/>
                  <a:gd name="connsiteX30" fmla="*/ 3998697 w 4212730"/>
                  <a:gd name="connsiteY30" fmla="*/ 1269783 h 5285288"/>
                  <a:gd name="connsiteX31" fmla="*/ 3978850 w 4212730"/>
                  <a:gd name="connsiteY31" fmla="*/ 1262485 h 5285288"/>
                  <a:gd name="connsiteX32" fmla="*/ 2513375 w 4212730"/>
                  <a:gd name="connsiteY32" fmla="*/ 431577 h 5285288"/>
                  <a:gd name="connsiteX33" fmla="*/ 2513032 w 4212730"/>
                  <a:gd name="connsiteY33" fmla="*/ 431184 h 5285288"/>
                  <a:gd name="connsiteX34" fmla="*/ 2490877 w 4212730"/>
                  <a:gd name="connsiteY34" fmla="*/ 437405 h 5285288"/>
                  <a:gd name="connsiteX35" fmla="*/ 2448227 w 4212730"/>
                  <a:gd name="connsiteY35" fmla="*/ 539231 h 5285288"/>
                  <a:gd name="connsiteX36" fmla="*/ 2448222 w 4212730"/>
                  <a:gd name="connsiteY36" fmla="*/ 1065628 h 5285288"/>
                  <a:gd name="connsiteX37" fmla="*/ 2445445 w 4212730"/>
                  <a:gd name="connsiteY37" fmla="*/ 1081825 h 5285288"/>
                  <a:gd name="connsiteX38" fmla="*/ 2442619 w 4212730"/>
                  <a:gd name="connsiteY38" fmla="*/ 1858316 h 5285288"/>
                  <a:gd name="connsiteX39" fmla="*/ 2444476 w 4212730"/>
                  <a:gd name="connsiteY39" fmla="*/ 1861834 h 5285288"/>
                  <a:gd name="connsiteX40" fmla="*/ 2443809 w 4212730"/>
                  <a:gd name="connsiteY40" fmla="*/ 3038034 h 5285288"/>
                  <a:gd name="connsiteX41" fmla="*/ 2441669 w 4212730"/>
                  <a:gd name="connsiteY41" fmla="*/ 4802821 h 5285288"/>
                  <a:gd name="connsiteX42" fmla="*/ 2374871 w 4212730"/>
                  <a:gd name="connsiteY42" fmla="*/ 5061801 h 5285288"/>
                  <a:gd name="connsiteX43" fmla="*/ 2230903 w 4212730"/>
                  <a:gd name="connsiteY43" fmla="*/ 5216241 h 5285288"/>
                  <a:gd name="connsiteX44" fmla="*/ 2020267 w 4212730"/>
                  <a:gd name="connsiteY44" fmla="*/ 5284752 h 5285288"/>
                  <a:gd name="connsiteX45" fmla="*/ 1970713 w 4212730"/>
                  <a:gd name="connsiteY45"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206180 w 4212730"/>
                  <a:gd name="connsiteY8" fmla="*/ 2392022 h 5285288"/>
                  <a:gd name="connsiteX9" fmla="*/ 407391 w 4212730"/>
                  <a:gd name="connsiteY9" fmla="*/ 2508175 h 5285288"/>
                  <a:gd name="connsiteX10" fmla="*/ 406100 w 4212730"/>
                  <a:gd name="connsiteY10" fmla="*/ 2572658 h 5285288"/>
                  <a:gd name="connsiteX11" fmla="*/ 409165 w 4212730"/>
                  <a:gd name="connsiteY11" fmla="*/ 3888049 h 5285288"/>
                  <a:gd name="connsiteX12" fmla="*/ 407598 w 4212730"/>
                  <a:gd name="connsiteY12" fmla="*/ 3881457 h 5285288"/>
                  <a:gd name="connsiteX13" fmla="*/ 407517 w 4212730"/>
                  <a:gd name="connsiteY13" fmla="*/ 3894265 h 5285288"/>
                  <a:gd name="connsiteX14" fmla="*/ 464772 w 4212730"/>
                  <a:gd name="connsiteY14" fmla="*/ 3993435 h 5285288"/>
                  <a:gd name="connsiteX15" fmla="*/ 1965744 w 4212730"/>
                  <a:gd name="connsiteY15" fmla="*/ 4865353 h 5285288"/>
                  <a:gd name="connsiteX16" fmla="*/ 1966088 w 4212730"/>
                  <a:gd name="connsiteY16" fmla="*/ 4865745 h 5285288"/>
                  <a:gd name="connsiteX17" fmla="*/ 1988129 w 4212730"/>
                  <a:gd name="connsiteY17" fmla="*/ 4859558 h 5285288"/>
                  <a:gd name="connsiteX18" fmla="*/ 2034209 w 4212730"/>
                  <a:gd name="connsiteY18" fmla="*/ 4799004 h 5285288"/>
                  <a:gd name="connsiteX19" fmla="*/ 2036053 w 4212730"/>
                  <a:gd name="connsiteY19" fmla="*/ 4105978 h 5285288"/>
                  <a:gd name="connsiteX20" fmla="*/ 2038324 w 4212730"/>
                  <a:gd name="connsiteY20" fmla="*/ 1054770 h 5285288"/>
                  <a:gd name="connsiteX21" fmla="*/ 2037139 w 4212730"/>
                  <a:gd name="connsiteY21" fmla="*/ 1017192 h 5285288"/>
                  <a:gd name="connsiteX22" fmla="*/ 2035104 w 4212730"/>
                  <a:gd name="connsiteY22" fmla="*/ 494424 h 5285288"/>
                  <a:gd name="connsiteX23" fmla="*/ 2080595 w 4212730"/>
                  <a:gd name="connsiteY23" fmla="*/ 171698 h 5285288"/>
                  <a:gd name="connsiteX24" fmla="*/ 2245202 w 4212730"/>
                  <a:gd name="connsiteY24" fmla="*/ 25112 h 5285288"/>
                  <a:gd name="connsiteX25" fmla="*/ 2444848 w 4212730"/>
                  <a:gd name="connsiteY25" fmla="*/ 3326 h 5285288"/>
                  <a:gd name="connsiteX26" fmla="*/ 2620552 w 4212730"/>
                  <a:gd name="connsiteY26" fmla="*/ 37548 h 5285288"/>
                  <a:gd name="connsiteX27" fmla="*/ 4171705 w 4212730"/>
                  <a:gd name="connsiteY27" fmla="*/ 924343 h 5285288"/>
                  <a:gd name="connsiteX28" fmla="*/ 4172662 w 4212730"/>
                  <a:gd name="connsiteY28" fmla="*/ 1149844 h 5285288"/>
                  <a:gd name="connsiteX29" fmla="*/ 3998697 w 4212730"/>
                  <a:gd name="connsiteY29" fmla="*/ 1269783 h 5285288"/>
                  <a:gd name="connsiteX30" fmla="*/ 3978850 w 4212730"/>
                  <a:gd name="connsiteY30" fmla="*/ 1262485 h 5285288"/>
                  <a:gd name="connsiteX31" fmla="*/ 2513375 w 4212730"/>
                  <a:gd name="connsiteY31" fmla="*/ 431577 h 5285288"/>
                  <a:gd name="connsiteX32" fmla="*/ 2513032 w 4212730"/>
                  <a:gd name="connsiteY32" fmla="*/ 431184 h 5285288"/>
                  <a:gd name="connsiteX33" fmla="*/ 2490877 w 4212730"/>
                  <a:gd name="connsiteY33" fmla="*/ 437405 h 5285288"/>
                  <a:gd name="connsiteX34" fmla="*/ 2448227 w 4212730"/>
                  <a:gd name="connsiteY34" fmla="*/ 539231 h 5285288"/>
                  <a:gd name="connsiteX35" fmla="*/ 2448222 w 4212730"/>
                  <a:gd name="connsiteY35" fmla="*/ 1065628 h 5285288"/>
                  <a:gd name="connsiteX36" fmla="*/ 2445445 w 4212730"/>
                  <a:gd name="connsiteY36" fmla="*/ 1081825 h 5285288"/>
                  <a:gd name="connsiteX37" fmla="*/ 2442619 w 4212730"/>
                  <a:gd name="connsiteY37" fmla="*/ 1858316 h 5285288"/>
                  <a:gd name="connsiteX38" fmla="*/ 2444476 w 4212730"/>
                  <a:gd name="connsiteY38" fmla="*/ 1861834 h 5285288"/>
                  <a:gd name="connsiteX39" fmla="*/ 2443809 w 4212730"/>
                  <a:gd name="connsiteY39" fmla="*/ 3038034 h 5285288"/>
                  <a:gd name="connsiteX40" fmla="*/ 2441669 w 4212730"/>
                  <a:gd name="connsiteY40" fmla="*/ 4802821 h 5285288"/>
                  <a:gd name="connsiteX41" fmla="*/ 2374871 w 4212730"/>
                  <a:gd name="connsiteY41" fmla="*/ 5061801 h 5285288"/>
                  <a:gd name="connsiteX42" fmla="*/ 2230903 w 4212730"/>
                  <a:gd name="connsiteY42" fmla="*/ 5216241 h 5285288"/>
                  <a:gd name="connsiteX43" fmla="*/ 2020267 w 4212730"/>
                  <a:gd name="connsiteY43" fmla="*/ 5284752 h 5285288"/>
                  <a:gd name="connsiteX44" fmla="*/ 1970713 w 4212730"/>
                  <a:gd name="connsiteY44"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7391 w 4212730"/>
                  <a:gd name="connsiteY8" fmla="*/ 2508175 h 5285288"/>
                  <a:gd name="connsiteX9" fmla="*/ 406100 w 4212730"/>
                  <a:gd name="connsiteY9" fmla="*/ 2572658 h 5285288"/>
                  <a:gd name="connsiteX10" fmla="*/ 409165 w 4212730"/>
                  <a:gd name="connsiteY10" fmla="*/ 3888049 h 5285288"/>
                  <a:gd name="connsiteX11" fmla="*/ 407598 w 4212730"/>
                  <a:gd name="connsiteY11" fmla="*/ 3881457 h 5285288"/>
                  <a:gd name="connsiteX12" fmla="*/ 407517 w 4212730"/>
                  <a:gd name="connsiteY12" fmla="*/ 3894265 h 5285288"/>
                  <a:gd name="connsiteX13" fmla="*/ 464772 w 4212730"/>
                  <a:gd name="connsiteY13" fmla="*/ 3993435 h 5285288"/>
                  <a:gd name="connsiteX14" fmla="*/ 1965744 w 4212730"/>
                  <a:gd name="connsiteY14" fmla="*/ 4865353 h 5285288"/>
                  <a:gd name="connsiteX15" fmla="*/ 1966088 w 4212730"/>
                  <a:gd name="connsiteY15" fmla="*/ 4865745 h 5285288"/>
                  <a:gd name="connsiteX16" fmla="*/ 1988129 w 4212730"/>
                  <a:gd name="connsiteY16" fmla="*/ 4859558 h 5285288"/>
                  <a:gd name="connsiteX17" fmla="*/ 2034209 w 4212730"/>
                  <a:gd name="connsiteY17" fmla="*/ 4799004 h 5285288"/>
                  <a:gd name="connsiteX18" fmla="*/ 2036053 w 4212730"/>
                  <a:gd name="connsiteY18" fmla="*/ 4105978 h 5285288"/>
                  <a:gd name="connsiteX19" fmla="*/ 2038324 w 4212730"/>
                  <a:gd name="connsiteY19" fmla="*/ 1054770 h 5285288"/>
                  <a:gd name="connsiteX20" fmla="*/ 2037139 w 4212730"/>
                  <a:gd name="connsiteY20" fmla="*/ 1017192 h 5285288"/>
                  <a:gd name="connsiteX21" fmla="*/ 2035104 w 4212730"/>
                  <a:gd name="connsiteY21" fmla="*/ 494424 h 5285288"/>
                  <a:gd name="connsiteX22" fmla="*/ 2080595 w 4212730"/>
                  <a:gd name="connsiteY22" fmla="*/ 171698 h 5285288"/>
                  <a:gd name="connsiteX23" fmla="*/ 2245202 w 4212730"/>
                  <a:gd name="connsiteY23" fmla="*/ 25112 h 5285288"/>
                  <a:gd name="connsiteX24" fmla="*/ 2444848 w 4212730"/>
                  <a:gd name="connsiteY24" fmla="*/ 3326 h 5285288"/>
                  <a:gd name="connsiteX25" fmla="*/ 2620552 w 4212730"/>
                  <a:gd name="connsiteY25" fmla="*/ 37548 h 5285288"/>
                  <a:gd name="connsiteX26" fmla="*/ 4171705 w 4212730"/>
                  <a:gd name="connsiteY26" fmla="*/ 924343 h 5285288"/>
                  <a:gd name="connsiteX27" fmla="*/ 4172662 w 4212730"/>
                  <a:gd name="connsiteY27" fmla="*/ 1149844 h 5285288"/>
                  <a:gd name="connsiteX28" fmla="*/ 3998697 w 4212730"/>
                  <a:gd name="connsiteY28" fmla="*/ 1269783 h 5285288"/>
                  <a:gd name="connsiteX29" fmla="*/ 3978850 w 4212730"/>
                  <a:gd name="connsiteY29" fmla="*/ 1262485 h 5285288"/>
                  <a:gd name="connsiteX30" fmla="*/ 2513375 w 4212730"/>
                  <a:gd name="connsiteY30" fmla="*/ 431577 h 5285288"/>
                  <a:gd name="connsiteX31" fmla="*/ 2513032 w 4212730"/>
                  <a:gd name="connsiteY31" fmla="*/ 431184 h 5285288"/>
                  <a:gd name="connsiteX32" fmla="*/ 2490877 w 4212730"/>
                  <a:gd name="connsiteY32" fmla="*/ 437405 h 5285288"/>
                  <a:gd name="connsiteX33" fmla="*/ 2448227 w 4212730"/>
                  <a:gd name="connsiteY33" fmla="*/ 539231 h 5285288"/>
                  <a:gd name="connsiteX34" fmla="*/ 2448222 w 4212730"/>
                  <a:gd name="connsiteY34" fmla="*/ 1065628 h 5285288"/>
                  <a:gd name="connsiteX35" fmla="*/ 2445445 w 4212730"/>
                  <a:gd name="connsiteY35" fmla="*/ 1081825 h 5285288"/>
                  <a:gd name="connsiteX36" fmla="*/ 2442619 w 4212730"/>
                  <a:gd name="connsiteY36" fmla="*/ 1858316 h 5285288"/>
                  <a:gd name="connsiteX37" fmla="*/ 2444476 w 4212730"/>
                  <a:gd name="connsiteY37" fmla="*/ 1861834 h 5285288"/>
                  <a:gd name="connsiteX38" fmla="*/ 2443809 w 4212730"/>
                  <a:gd name="connsiteY38" fmla="*/ 3038034 h 5285288"/>
                  <a:gd name="connsiteX39" fmla="*/ 2441669 w 4212730"/>
                  <a:gd name="connsiteY39" fmla="*/ 4802821 h 5285288"/>
                  <a:gd name="connsiteX40" fmla="*/ 2374871 w 4212730"/>
                  <a:gd name="connsiteY40" fmla="*/ 5061801 h 5285288"/>
                  <a:gd name="connsiteX41" fmla="*/ 2230903 w 4212730"/>
                  <a:gd name="connsiteY41" fmla="*/ 5216241 h 5285288"/>
                  <a:gd name="connsiteX42" fmla="*/ 2020267 w 4212730"/>
                  <a:gd name="connsiteY42" fmla="*/ 5284752 h 5285288"/>
                  <a:gd name="connsiteX43" fmla="*/ 1970713 w 4212730"/>
                  <a:gd name="connsiteY43"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6100 w 4212730"/>
                  <a:gd name="connsiteY8" fmla="*/ 2572658 h 5285288"/>
                  <a:gd name="connsiteX9" fmla="*/ 409165 w 4212730"/>
                  <a:gd name="connsiteY9" fmla="*/ 3888049 h 5285288"/>
                  <a:gd name="connsiteX10" fmla="*/ 407598 w 4212730"/>
                  <a:gd name="connsiteY10" fmla="*/ 3881457 h 5285288"/>
                  <a:gd name="connsiteX11" fmla="*/ 407517 w 4212730"/>
                  <a:gd name="connsiteY11" fmla="*/ 3894265 h 5285288"/>
                  <a:gd name="connsiteX12" fmla="*/ 464772 w 4212730"/>
                  <a:gd name="connsiteY12" fmla="*/ 3993435 h 5285288"/>
                  <a:gd name="connsiteX13" fmla="*/ 1965744 w 4212730"/>
                  <a:gd name="connsiteY13" fmla="*/ 4865353 h 5285288"/>
                  <a:gd name="connsiteX14" fmla="*/ 1966088 w 4212730"/>
                  <a:gd name="connsiteY14" fmla="*/ 4865745 h 5285288"/>
                  <a:gd name="connsiteX15" fmla="*/ 1988129 w 4212730"/>
                  <a:gd name="connsiteY15" fmla="*/ 4859558 h 5285288"/>
                  <a:gd name="connsiteX16" fmla="*/ 2034209 w 4212730"/>
                  <a:gd name="connsiteY16" fmla="*/ 4799004 h 5285288"/>
                  <a:gd name="connsiteX17" fmla="*/ 2036053 w 4212730"/>
                  <a:gd name="connsiteY17" fmla="*/ 4105978 h 5285288"/>
                  <a:gd name="connsiteX18" fmla="*/ 2038324 w 4212730"/>
                  <a:gd name="connsiteY18" fmla="*/ 1054770 h 5285288"/>
                  <a:gd name="connsiteX19" fmla="*/ 2037139 w 4212730"/>
                  <a:gd name="connsiteY19" fmla="*/ 1017192 h 5285288"/>
                  <a:gd name="connsiteX20" fmla="*/ 2035104 w 4212730"/>
                  <a:gd name="connsiteY20" fmla="*/ 494424 h 5285288"/>
                  <a:gd name="connsiteX21" fmla="*/ 2080595 w 4212730"/>
                  <a:gd name="connsiteY21" fmla="*/ 171698 h 5285288"/>
                  <a:gd name="connsiteX22" fmla="*/ 2245202 w 4212730"/>
                  <a:gd name="connsiteY22" fmla="*/ 25112 h 5285288"/>
                  <a:gd name="connsiteX23" fmla="*/ 2444848 w 4212730"/>
                  <a:gd name="connsiteY23" fmla="*/ 3326 h 5285288"/>
                  <a:gd name="connsiteX24" fmla="*/ 2620552 w 4212730"/>
                  <a:gd name="connsiteY24" fmla="*/ 37548 h 5285288"/>
                  <a:gd name="connsiteX25" fmla="*/ 4171705 w 4212730"/>
                  <a:gd name="connsiteY25" fmla="*/ 924343 h 5285288"/>
                  <a:gd name="connsiteX26" fmla="*/ 4172662 w 4212730"/>
                  <a:gd name="connsiteY26" fmla="*/ 1149844 h 5285288"/>
                  <a:gd name="connsiteX27" fmla="*/ 3998697 w 4212730"/>
                  <a:gd name="connsiteY27" fmla="*/ 1269783 h 5285288"/>
                  <a:gd name="connsiteX28" fmla="*/ 3978850 w 4212730"/>
                  <a:gd name="connsiteY28" fmla="*/ 1262485 h 5285288"/>
                  <a:gd name="connsiteX29" fmla="*/ 2513375 w 4212730"/>
                  <a:gd name="connsiteY29" fmla="*/ 431577 h 5285288"/>
                  <a:gd name="connsiteX30" fmla="*/ 2513032 w 4212730"/>
                  <a:gd name="connsiteY30" fmla="*/ 431184 h 5285288"/>
                  <a:gd name="connsiteX31" fmla="*/ 2490877 w 4212730"/>
                  <a:gd name="connsiteY31" fmla="*/ 437405 h 5285288"/>
                  <a:gd name="connsiteX32" fmla="*/ 2448227 w 4212730"/>
                  <a:gd name="connsiteY32" fmla="*/ 539231 h 5285288"/>
                  <a:gd name="connsiteX33" fmla="*/ 2448222 w 4212730"/>
                  <a:gd name="connsiteY33" fmla="*/ 1065628 h 5285288"/>
                  <a:gd name="connsiteX34" fmla="*/ 2445445 w 4212730"/>
                  <a:gd name="connsiteY34" fmla="*/ 1081825 h 5285288"/>
                  <a:gd name="connsiteX35" fmla="*/ 2442619 w 4212730"/>
                  <a:gd name="connsiteY35" fmla="*/ 1858316 h 5285288"/>
                  <a:gd name="connsiteX36" fmla="*/ 2444476 w 4212730"/>
                  <a:gd name="connsiteY36" fmla="*/ 1861834 h 5285288"/>
                  <a:gd name="connsiteX37" fmla="*/ 2443809 w 4212730"/>
                  <a:gd name="connsiteY37" fmla="*/ 3038034 h 5285288"/>
                  <a:gd name="connsiteX38" fmla="*/ 2441669 w 4212730"/>
                  <a:gd name="connsiteY38" fmla="*/ 4802821 h 5285288"/>
                  <a:gd name="connsiteX39" fmla="*/ 2374871 w 4212730"/>
                  <a:gd name="connsiteY39" fmla="*/ 5061801 h 5285288"/>
                  <a:gd name="connsiteX40" fmla="*/ 2230903 w 4212730"/>
                  <a:gd name="connsiteY40" fmla="*/ 5216241 h 5285288"/>
                  <a:gd name="connsiteX41" fmla="*/ 2020267 w 4212730"/>
                  <a:gd name="connsiteY41" fmla="*/ 5284752 h 5285288"/>
                  <a:gd name="connsiteX42" fmla="*/ 1970713 w 4212730"/>
                  <a:gd name="connsiteY42" fmla="*/ 5285252 h 5285288"/>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409165 w 4212730"/>
                  <a:gd name="connsiteY8" fmla="*/ 3888049 h 5285288"/>
                  <a:gd name="connsiteX9" fmla="*/ 407598 w 4212730"/>
                  <a:gd name="connsiteY9" fmla="*/ 3881457 h 5285288"/>
                  <a:gd name="connsiteX10" fmla="*/ 407517 w 4212730"/>
                  <a:gd name="connsiteY10" fmla="*/ 3894265 h 5285288"/>
                  <a:gd name="connsiteX11" fmla="*/ 464772 w 4212730"/>
                  <a:gd name="connsiteY11" fmla="*/ 3993435 h 5285288"/>
                  <a:gd name="connsiteX12" fmla="*/ 1965744 w 4212730"/>
                  <a:gd name="connsiteY12" fmla="*/ 4865353 h 5285288"/>
                  <a:gd name="connsiteX13" fmla="*/ 1966088 w 4212730"/>
                  <a:gd name="connsiteY13" fmla="*/ 4865745 h 5285288"/>
                  <a:gd name="connsiteX14" fmla="*/ 1988129 w 4212730"/>
                  <a:gd name="connsiteY14" fmla="*/ 4859558 h 5285288"/>
                  <a:gd name="connsiteX15" fmla="*/ 2034209 w 4212730"/>
                  <a:gd name="connsiteY15" fmla="*/ 4799004 h 5285288"/>
                  <a:gd name="connsiteX16" fmla="*/ 2036053 w 4212730"/>
                  <a:gd name="connsiteY16" fmla="*/ 4105978 h 5285288"/>
                  <a:gd name="connsiteX17" fmla="*/ 2038324 w 4212730"/>
                  <a:gd name="connsiteY17" fmla="*/ 1054770 h 5285288"/>
                  <a:gd name="connsiteX18" fmla="*/ 2037139 w 4212730"/>
                  <a:gd name="connsiteY18" fmla="*/ 1017192 h 5285288"/>
                  <a:gd name="connsiteX19" fmla="*/ 2035104 w 4212730"/>
                  <a:gd name="connsiteY19" fmla="*/ 494424 h 5285288"/>
                  <a:gd name="connsiteX20" fmla="*/ 2080595 w 4212730"/>
                  <a:gd name="connsiteY20" fmla="*/ 171698 h 5285288"/>
                  <a:gd name="connsiteX21" fmla="*/ 2245202 w 4212730"/>
                  <a:gd name="connsiteY21" fmla="*/ 25112 h 5285288"/>
                  <a:gd name="connsiteX22" fmla="*/ 2444848 w 4212730"/>
                  <a:gd name="connsiteY22" fmla="*/ 3326 h 5285288"/>
                  <a:gd name="connsiteX23" fmla="*/ 2620552 w 4212730"/>
                  <a:gd name="connsiteY23" fmla="*/ 37548 h 5285288"/>
                  <a:gd name="connsiteX24" fmla="*/ 4171705 w 4212730"/>
                  <a:gd name="connsiteY24" fmla="*/ 924343 h 5285288"/>
                  <a:gd name="connsiteX25" fmla="*/ 4172662 w 4212730"/>
                  <a:gd name="connsiteY25" fmla="*/ 1149844 h 5285288"/>
                  <a:gd name="connsiteX26" fmla="*/ 3998697 w 4212730"/>
                  <a:gd name="connsiteY26" fmla="*/ 1269783 h 5285288"/>
                  <a:gd name="connsiteX27" fmla="*/ 3978850 w 4212730"/>
                  <a:gd name="connsiteY27" fmla="*/ 1262485 h 5285288"/>
                  <a:gd name="connsiteX28" fmla="*/ 2513375 w 4212730"/>
                  <a:gd name="connsiteY28" fmla="*/ 431577 h 5285288"/>
                  <a:gd name="connsiteX29" fmla="*/ 2513032 w 4212730"/>
                  <a:gd name="connsiteY29" fmla="*/ 431184 h 5285288"/>
                  <a:gd name="connsiteX30" fmla="*/ 2490877 w 4212730"/>
                  <a:gd name="connsiteY30" fmla="*/ 437405 h 5285288"/>
                  <a:gd name="connsiteX31" fmla="*/ 2448227 w 4212730"/>
                  <a:gd name="connsiteY31" fmla="*/ 539231 h 5285288"/>
                  <a:gd name="connsiteX32" fmla="*/ 2448222 w 4212730"/>
                  <a:gd name="connsiteY32" fmla="*/ 1065628 h 5285288"/>
                  <a:gd name="connsiteX33" fmla="*/ 2445445 w 4212730"/>
                  <a:gd name="connsiteY33" fmla="*/ 1081825 h 5285288"/>
                  <a:gd name="connsiteX34" fmla="*/ 2442619 w 4212730"/>
                  <a:gd name="connsiteY34" fmla="*/ 1858316 h 5285288"/>
                  <a:gd name="connsiteX35" fmla="*/ 2444476 w 4212730"/>
                  <a:gd name="connsiteY35" fmla="*/ 1861834 h 5285288"/>
                  <a:gd name="connsiteX36" fmla="*/ 2443809 w 4212730"/>
                  <a:gd name="connsiteY36" fmla="*/ 3038034 h 5285288"/>
                  <a:gd name="connsiteX37" fmla="*/ 2441669 w 4212730"/>
                  <a:gd name="connsiteY37" fmla="*/ 4802821 h 5285288"/>
                  <a:gd name="connsiteX38" fmla="*/ 2374871 w 4212730"/>
                  <a:gd name="connsiteY38" fmla="*/ 5061801 h 5285288"/>
                  <a:gd name="connsiteX39" fmla="*/ 2230903 w 4212730"/>
                  <a:gd name="connsiteY39" fmla="*/ 5216241 h 5285288"/>
                  <a:gd name="connsiteX40" fmla="*/ 2020267 w 4212730"/>
                  <a:gd name="connsiteY40" fmla="*/ 5284752 h 5285288"/>
                  <a:gd name="connsiteX41" fmla="*/ 1970713 w 4212730"/>
                  <a:gd name="connsiteY41" fmla="*/ 5285252 h 5285288"/>
                  <a:gd name="connsiteX0" fmla="*/ 1970596 w 4212613"/>
                  <a:gd name="connsiteY0" fmla="*/ 5285252 h 5285288"/>
                  <a:gd name="connsiteX1" fmla="*/ 1858972 w 4212613"/>
                  <a:gd name="connsiteY1" fmla="*/ 5257452 h 5285288"/>
                  <a:gd name="connsiteX2" fmla="*/ 1798971 w 4212613"/>
                  <a:gd name="connsiteY2" fmla="*/ 5227600 h 5285288"/>
                  <a:gd name="connsiteX3" fmla="*/ 257624 w 4212613"/>
                  <a:gd name="connsiteY3" fmla="*/ 4344402 h 5285288"/>
                  <a:gd name="connsiteX4" fmla="*/ 66738 w 4212613"/>
                  <a:gd name="connsiteY4" fmla="*/ 4157062 h 5285288"/>
                  <a:gd name="connsiteX5" fmla="*/ 4968 w 4212613"/>
                  <a:gd name="connsiteY5" fmla="*/ 3955159 h 5285288"/>
                  <a:gd name="connsiteX6" fmla="*/ 0 w 4212613"/>
                  <a:gd name="connsiteY6" fmla="*/ 3898769 h 5285288"/>
                  <a:gd name="connsiteX7" fmla="*/ 409048 w 4212613"/>
                  <a:gd name="connsiteY7" fmla="*/ 3888049 h 5285288"/>
                  <a:gd name="connsiteX8" fmla="*/ 407481 w 4212613"/>
                  <a:gd name="connsiteY8" fmla="*/ 3881457 h 5285288"/>
                  <a:gd name="connsiteX9" fmla="*/ 407400 w 4212613"/>
                  <a:gd name="connsiteY9" fmla="*/ 3894265 h 5285288"/>
                  <a:gd name="connsiteX10" fmla="*/ 464655 w 4212613"/>
                  <a:gd name="connsiteY10" fmla="*/ 3993435 h 5285288"/>
                  <a:gd name="connsiteX11" fmla="*/ 1965627 w 4212613"/>
                  <a:gd name="connsiteY11" fmla="*/ 4865353 h 5285288"/>
                  <a:gd name="connsiteX12" fmla="*/ 1965971 w 4212613"/>
                  <a:gd name="connsiteY12" fmla="*/ 4865745 h 5285288"/>
                  <a:gd name="connsiteX13" fmla="*/ 1988012 w 4212613"/>
                  <a:gd name="connsiteY13" fmla="*/ 4859558 h 5285288"/>
                  <a:gd name="connsiteX14" fmla="*/ 2034092 w 4212613"/>
                  <a:gd name="connsiteY14" fmla="*/ 4799004 h 5285288"/>
                  <a:gd name="connsiteX15" fmla="*/ 2035936 w 4212613"/>
                  <a:gd name="connsiteY15" fmla="*/ 4105978 h 5285288"/>
                  <a:gd name="connsiteX16" fmla="*/ 2038207 w 4212613"/>
                  <a:gd name="connsiteY16" fmla="*/ 1054770 h 5285288"/>
                  <a:gd name="connsiteX17" fmla="*/ 2037022 w 4212613"/>
                  <a:gd name="connsiteY17" fmla="*/ 1017192 h 5285288"/>
                  <a:gd name="connsiteX18" fmla="*/ 2034987 w 4212613"/>
                  <a:gd name="connsiteY18" fmla="*/ 494424 h 5285288"/>
                  <a:gd name="connsiteX19" fmla="*/ 2080478 w 4212613"/>
                  <a:gd name="connsiteY19" fmla="*/ 171698 h 5285288"/>
                  <a:gd name="connsiteX20" fmla="*/ 2245085 w 4212613"/>
                  <a:gd name="connsiteY20" fmla="*/ 25112 h 5285288"/>
                  <a:gd name="connsiteX21" fmla="*/ 2444731 w 4212613"/>
                  <a:gd name="connsiteY21" fmla="*/ 3326 h 5285288"/>
                  <a:gd name="connsiteX22" fmla="*/ 2620435 w 4212613"/>
                  <a:gd name="connsiteY22" fmla="*/ 37548 h 5285288"/>
                  <a:gd name="connsiteX23" fmla="*/ 4171588 w 4212613"/>
                  <a:gd name="connsiteY23" fmla="*/ 924343 h 5285288"/>
                  <a:gd name="connsiteX24" fmla="*/ 4172545 w 4212613"/>
                  <a:gd name="connsiteY24" fmla="*/ 1149844 h 5285288"/>
                  <a:gd name="connsiteX25" fmla="*/ 3998580 w 4212613"/>
                  <a:gd name="connsiteY25" fmla="*/ 1269783 h 5285288"/>
                  <a:gd name="connsiteX26" fmla="*/ 3978733 w 4212613"/>
                  <a:gd name="connsiteY26" fmla="*/ 1262485 h 5285288"/>
                  <a:gd name="connsiteX27" fmla="*/ 2513258 w 4212613"/>
                  <a:gd name="connsiteY27" fmla="*/ 431577 h 5285288"/>
                  <a:gd name="connsiteX28" fmla="*/ 2512915 w 4212613"/>
                  <a:gd name="connsiteY28" fmla="*/ 431184 h 5285288"/>
                  <a:gd name="connsiteX29" fmla="*/ 2490760 w 4212613"/>
                  <a:gd name="connsiteY29" fmla="*/ 437405 h 5285288"/>
                  <a:gd name="connsiteX30" fmla="*/ 2448110 w 4212613"/>
                  <a:gd name="connsiteY30" fmla="*/ 539231 h 5285288"/>
                  <a:gd name="connsiteX31" fmla="*/ 2448105 w 4212613"/>
                  <a:gd name="connsiteY31" fmla="*/ 1065628 h 5285288"/>
                  <a:gd name="connsiteX32" fmla="*/ 2445328 w 4212613"/>
                  <a:gd name="connsiteY32" fmla="*/ 1081825 h 5285288"/>
                  <a:gd name="connsiteX33" fmla="*/ 2442502 w 4212613"/>
                  <a:gd name="connsiteY33" fmla="*/ 1858316 h 5285288"/>
                  <a:gd name="connsiteX34" fmla="*/ 2444359 w 4212613"/>
                  <a:gd name="connsiteY34" fmla="*/ 1861834 h 5285288"/>
                  <a:gd name="connsiteX35" fmla="*/ 2443692 w 4212613"/>
                  <a:gd name="connsiteY35" fmla="*/ 3038034 h 5285288"/>
                  <a:gd name="connsiteX36" fmla="*/ 2441552 w 4212613"/>
                  <a:gd name="connsiteY36" fmla="*/ 4802821 h 5285288"/>
                  <a:gd name="connsiteX37" fmla="*/ 2374754 w 4212613"/>
                  <a:gd name="connsiteY37" fmla="*/ 5061801 h 5285288"/>
                  <a:gd name="connsiteX38" fmla="*/ 2230786 w 4212613"/>
                  <a:gd name="connsiteY38" fmla="*/ 5216241 h 5285288"/>
                  <a:gd name="connsiteX39" fmla="*/ 2020150 w 4212613"/>
                  <a:gd name="connsiteY39" fmla="*/ 5284752 h 5285288"/>
                  <a:gd name="connsiteX40" fmla="*/ 1970596 w 4212613"/>
                  <a:gd name="connsiteY40" fmla="*/ 5285252 h 5285288"/>
                  <a:gd name="connsiteX0" fmla="*/ 1965628 w 4207645"/>
                  <a:gd name="connsiteY0" fmla="*/ 5285252 h 5285288"/>
                  <a:gd name="connsiteX1" fmla="*/ 1854004 w 4207645"/>
                  <a:gd name="connsiteY1" fmla="*/ 5257452 h 5285288"/>
                  <a:gd name="connsiteX2" fmla="*/ 1794003 w 4207645"/>
                  <a:gd name="connsiteY2" fmla="*/ 5227600 h 5285288"/>
                  <a:gd name="connsiteX3" fmla="*/ 252656 w 4207645"/>
                  <a:gd name="connsiteY3" fmla="*/ 4344402 h 5285288"/>
                  <a:gd name="connsiteX4" fmla="*/ 61770 w 4207645"/>
                  <a:gd name="connsiteY4" fmla="*/ 4157062 h 5285288"/>
                  <a:gd name="connsiteX5" fmla="*/ 0 w 4207645"/>
                  <a:gd name="connsiteY5" fmla="*/ 3955159 h 5285288"/>
                  <a:gd name="connsiteX6" fmla="*/ 404080 w 4207645"/>
                  <a:gd name="connsiteY6" fmla="*/ 3888049 h 5285288"/>
                  <a:gd name="connsiteX7" fmla="*/ 402513 w 4207645"/>
                  <a:gd name="connsiteY7" fmla="*/ 3881457 h 5285288"/>
                  <a:gd name="connsiteX8" fmla="*/ 402432 w 4207645"/>
                  <a:gd name="connsiteY8" fmla="*/ 3894265 h 5285288"/>
                  <a:gd name="connsiteX9" fmla="*/ 459687 w 4207645"/>
                  <a:gd name="connsiteY9" fmla="*/ 3993435 h 5285288"/>
                  <a:gd name="connsiteX10" fmla="*/ 1960659 w 4207645"/>
                  <a:gd name="connsiteY10" fmla="*/ 4865353 h 5285288"/>
                  <a:gd name="connsiteX11" fmla="*/ 1961003 w 4207645"/>
                  <a:gd name="connsiteY11" fmla="*/ 4865745 h 5285288"/>
                  <a:gd name="connsiteX12" fmla="*/ 1983044 w 4207645"/>
                  <a:gd name="connsiteY12" fmla="*/ 4859558 h 5285288"/>
                  <a:gd name="connsiteX13" fmla="*/ 2029124 w 4207645"/>
                  <a:gd name="connsiteY13" fmla="*/ 4799004 h 5285288"/>
                  <a:gd name="connsiteX14" fmla="*/ 2030968 w 4207645"/>
                  <a:gd name="connsiteY14" fmla="*/ 4105978 h 5285288"/>
                  <a:gd name="connsiteX15" fmla="*/ 2033239 w 4207645"/>
                  <a:gd name="connsiteY15" fmla="*/ 1054770 h 5285288"/>
                  <a:gd name="connsiteX16" fmla="*/ 2032054 w 4207645"/>
                  <a:gd name="connsiteY16" fmla="*/ 1017192 h 5285288"/>
                  <a:gd name="connsiteX17" fmla="*/ 2030019 w 4207645"/>
                  <a:gd name="connsiteY17" fmla="*/ 494424 h 5285288"/>
                  <a:gd name="connsiteX18" fmla="*/ 2075510 w 4207645"/>
                  <a:gd name="connsiteY18" fmla="*/ 171698 h 5285288"/>
                  <a:gd name="connsiteX19" fmla="*/ 2240117 w 4207645"/>
                  <a:gd name="connsiteY19" fmla="*/ 25112 h 5285288"/>
                  <a:gd name="connsiteX20" fmla="*/ 2439763 w 4207645"/>
                  <a:gd name="connsiteY20" fmla="*/ 3326 h 5285288"/>
                  <a:gd name="connsiteX21" fmla="*/ 2615467 w 4207645"/>
                  <a:gd name="connsiteY21" fmla="*/ 37548 h 5285288"/>
                  <a:gd name="connsiteX22" fmla="*/ 4166620 w 4207645"/>
                  <a:gd name="connsiteY22" fmla="*/ 924343 h 5285288"/>
                  <a:gd name="connsiteX23" fmla="*/ 4167577 w 4207645"/>
                  <a:gd name="connsiteY23" fmla="*/ 1149844 h 5285288"/>
                  <a:gd name="connsiteX24" fmla="*/ 3993612 w 4207645"/>
                  <a:gd name="connsiteY24" fmla="*/ 1269783 h 5285288"/>
                  <a:gd name="connsiteX25" fmla="*/ 3973765 w 4207645"/>
                  <a:gd name="connsiteY25" fmla="*/ 1262485 h 5285288"/>
                  <a:gd name="connsiteX26" fmla="*/ 2508290 w 4207645"/>
                  <a:gd name="connsiteY26" fmla="*/ 431577 h 5285288"/>
                  <a:gd name="connsiteX27" fmla="*/ 2507947 w 4207645"/>
                  <a:gd name="connsiteY27" fmla="*/ 431184 h 5285288"/>
                  <a:gd name="connsiteX28" fmla="*/ 2485792 w 4207645"/>
                  <a:gd name="connsiteY28" fmla="*/ 437405 h 5285288"/>
                  <a:gd name="connsiteX29" fmla="*/ 2443142 w 4207645"/>
                  <a:gd name="connsiteY29" fmla="*/ 539231 h 5285288"/>
                  <a:gd name="connsiteX30" fmla="*/ 2443137 w 4207645"/>
                  <a:gd name="connsiteY30" fmla="*/ 1065628 h 5285288"/>
                  <a:gd name="connsiteX31" fmla="*/ 2440360 w 4207645"/>
                  <a:gd name="connsiteY31" fmla="*/ 1081825 h 5285288"/>
                  <a:gd name="connsiteX32" fmla="*/ 2437534 w 4207645"/>
                  <a:gd name="connsiteY32" fmla="*/ 1858316 h 5285288"/>
                  <a:gd name="connsiteX33" fmla="*/ 2439391 w 4207645"/>
                  <a:gd name="connsiteY33" fmla="*/ 1861834 h 5285288"/>
                  <a:gd name="connsiteX34" fmla="*/ 2438724 w 4207645"/>
                  <a:gd name="connsiteY34" fmla="*/ 3038034 h 5285288"/>
                  <a:gd name="connsiteX35" fmla="*/ 2436584 w 4207645"/>
                  <a:gd name="connsiteY35" fmla="*/ 4802821 h 5285288"/>
                  <a:gd name="connsiteX36" fmla="*/ 2369786 w 4207645"/>
                  <a:gd name="connsiteY36" fmla="*/ 5061801 h 5285288"/>
                  <a:gd name="connsiteX37" fmla="*/ 2225818 w 4207645"/>
                  <a:gd name="connsiteY37" fmla="*/ 5216241 h 5285288"/>
                  <a:gd name="connsiteX38" fmla="*/ 2015182 w 4207645"/>
                  <a:gd name="connsiteY38" fmla="*/ 5284752 h 5285288"/>
                  <a:gd name="connsiteX39" fmla="*/ 1965628 w 4207645"/>
                  <a:gd name="connsiteY39" fmla="*/ 5285252 h 5285288"/>
                  <a:gd name="connsiteX0" fmla="*/ 1978947 w 4220964"/>
                  <a:gd name="connsiteY0" fmla="*/ 5285252 h 5285288"/>
                  <a:gd name="connsiteX1" fmla="*/ 1867323 w 4220964"/>
                  <a:gd name="connsiteY1" fmla="*/ 5257452 h 5285288"/>
                  <a:gd name="connsiteX2" fmla="*/ 1807322 w 4220964"/>
                  <a:gd name="connsiteY2" fmla="*/ 5227600 h 5285288"/>
                  <a:gd name="connsiteX3" fmla="*/ 265975 w 4220964"/>
                  <a:gd name="connsiteY3" fmla="*/ 4344402 h 5285288"/>
                  <a:gd name="connsiteX4" fmla="*/ 13319 w 4220964"/>
                  <a:gd name="connsiteY4" fmla="*/ 3955159 h 5285288"/>
                  <a:gd name="connsiteX5" fmla="*/ 417399 w 4220964"/>
                  <a:gd name="connsiteY5" fmla="*/ 3888049 h 5285288"/>
                  <a:gd name="connsiteX6" fmla="*/ 415832 w 4220964"/>
                  <a:gd name="connsiteY6" fmla="*/ 3881457 h 5285288"/>
                  <a:gd name="connsiteX7" fmla="*/ 415751 w 4220964"/>
                  <a:gd name="connsiteY7" fmla="*/ 3894265 h 5285288"/>
                  <a:gd name="connsiteX8" fmla="*/ 473006 w 4220964"/>
                  <a:gd name="connsiteY8" fmla="*/ 3993435 h 5285288"/>
                  <a:gd name="connsiteX9" fmla="*/ 1973978 w 4220964"/>
                  <a:gd name="connsiteY9" fmla="*/ 4865353 h 5285288"/>
                  <a:gd name="connsiteX10" fmla="*/ 1974322 w 4220964"/>
                  <a:gd name="connsiteY10" fmla="*/ 4865745 h 5285288"/>
                  <a:gd name="connsiteX11" fmla="*/ 1996363 w 4220964"/>
                  <a:gd name="connsiteY11" fmla="*/ 4859558 h 5285288"/>
                  <a:gd name="connsiteX12" fmla="*/ 2042443 w 4220964"/>
                  <a:gd name="connsiteY12" fmla="*/ 4799004 h 5285288"/>
                  <a:gd name="connsiteX13" fmla="*/ 2044287 w 4220964"/>
                  <a:gd name="connsiteY13" fmla="*/ 4105978 h 5285288"/>
                  <a:gd name="connsiteX14" fmla="*/ 2046558 w 4220964"/>
                  <a:gd name="connsiteY14" fmla="*/ 1054770 h 5285288"/>
                  <a:gd name="connsiteX15" fmla="*/ 2045373 w 4220964"/>
                  <a:gd name="connsiteY15" fmla="*/ 1017192 h 5285288"/>
                  <a:gd name="connsiteX16" fmla="*/ 2043338 w 4220964"/>
                  <a:gd name="connsiteY16" fmla="*/ 494424 h 5285288"/>
                  <a:gd name="connsiteX17" fmla="*/ 2088829 w 4220964"/>
                  <a:gd name="connsiteY17" fmla="*/ 171698 h 5285288"/>
                  <a:gd name="connsiteX18" fmla="*/ 2253436 w 4220964"/>
                  <a:gd name="connsiteY18" fmla="*/ 25112 h 5285288"/>
                  <a:gd name="connsiteX19" fmla="*/ 2453082 w 4220964"/>
                  <a:gd name="connsiteY19" fmla="*/ 3326 h 5285288"/>
                  <a:gd name="connsiteX20" fmla="*/ 2628786 w 4220964"/>
                  <a:gd name="connsiteY20" fmla="*/ 37548 h 5285288"/>
                  <a:gd name="connsiteX21" fmla="*/ 4179939 w 4220964"/>
                  <a:gd name="connsiteY21" fmla="*/ 924343 h 5285288"/>
                  <a:gd name="connsiteX22" fmla="*/ 4180896 w 4220964"/>
                  <a:gd name="connsiteY22" fmla="*/ 1149844 h 5285288"/>
                  <a:gd name="connsiteX23" fmla="*/ 4006931 w 4220964"/>
                  <a:gd name="connsiteY23" fmla="*/ 1269783 h 5285288"/>
                  <a:gd name="connsiteX24" fmla="*/ 3987084 w 4220964"/>
                  <a:gd name="connsiteY24" fmla="*/ 1262485 h 5285288"/>
                  <a:gd name="connsiteX25" fmla="*/ 2521609 w 4220964"/>
                  <a:gd name="connsiteY25" fmla="*/ 431577 h 5285288"/>
                  <a:gd name="connsiteX26" fmla="*/ 2521266 w 4220964"/>
                  <a:gd name="connsiteY26" fmla="*/ 431184 h 5285288"/>
                  <a:gd name="connsiteX27" fmla="*/ 2499111 w 4220964"/>
                  <a:gd name="connsiteY27" fmla="*/ 437405 h 5285288"/>
                  <a:gd name="connsiteX28" fmla="*/ 2456461 w 4220964"/>
                  <a:gd name="connsiteY28" fmla="*/ 539231 h 5285288"/>
                  <a:gd name="connsiteX29" fmla="*/ 2456456 w 4220964"/>
                  <a:gd name="connsiteY29" fmla="*/ 1065628 h 5285288"/>
                  <a:gd name="connsiteX30" fmla="*/ 2453679 w 4220964"/>
                  <a:gd name="connsiteY30" fmla="*/ 1081825 h 5285288"/>
                  <a:gd name="connsiteX31" fmla="*/ 2450853 w 4220964"/>
                  <a:gd name="connsiteY31" fmla="*/ 1858316 h 5285288"/>
                  <a:gd name="connsiteX32" fmla="*/ 2452710 w 4220964"/>
                  <a:gd name="connsiteY32" fmla="*/ 1861834 h 5285288"/>
                  <a:gd name="connsiteX33" fmla="*/ 2452043 w 4220964"/>
                  <a:gd name="connsiteY33" fmla="*/ 3038034 h 5285288"/>
                  <a:gd name="connsiteX34" fmla="*/ 2449903 w 4220964"/>
                  <a:gd name="connsiteY34" fmla="*/ 4802821 h 5285288"/>
                  <a:gd name="connsiteX35" fmla="*/ 2383105 w 4220964"/>
                  <a:gd name="connsiteY35" fmla="*/ 5061801 h 5285288"/>
                  <a:gd name="connsiteX36" fmla="*/ 2239137 w 4220964"/>
                  <a:gd name="connsiteY36" fmla="*/ 5216241 h 5285288"/>
                  <a:gd name="connsiteX37" fmla="*/ 2028501 w 4220964"/>
                  <a:gd name="connsiteY37" fmla="*/ 5284752 h 5285288"/>
                  <a:gd name="connsiteX38" fmla="*/ 1978947 w 4220964"/>
                  <a:gd name="connsiteY38" fmla="*/ 5285252 h 5285288"/>
                  <a:gd name="connsiteX0" fmla="*/ 1790618 w 4032635"/>
                  <a:gd name="connsiteY0" fmla="*/ 5285252 h 5285288"/>
                  <a:gd name="connsiteX1" fmla="*/ 1678994 w 4032635"/>
                  <a:gd name="connsiteY1" fmla="*/ 5257452 h 5285288"/>
                  <a:gd name="connsiteX2" fmla="*/ 1618993 w 4032635"/>
                  <a:gd name="connsiteY2" fmla="*/ 5227600 h 5285288"/>
                  <a:gd name="connsiteX3" fmla="*/ 77646 w 4032635"/>
                  <a:gd name="connsiteY3" fmla="*/ 4344402 h 5285288"/>
                  <a:gd name="connsiteX4" fmla="*/ 229070 w 4032635"/>
                  <a:gd name="connsiteY4" fmla="*/ 3888049 h 5285288"/>
                  <a:gd name="connsiteX5" fmla="*/ 227503 w 4032635"/>
                  <a:gd name="connsiteY5" fmla="*/ 3881457 h 5285288"/>
                  <a:gd name="connsiteX6" fmla="*/ 227422 w 4032635"/>
                  <a:gd name="connsiteY6" fmla="*/ 3894265 h 5285288"/>
                  <a:gd name="connsiteX7" fmla="*/ 284677 w 4032635"/>
                  <a:gd name="connsiteY7" fmla="*/ 3993435 h 5285288"/>
                  <a:gd name="connsiteX8" fmla="*/ 1785649 w 4032635"/>
                  <a:gd name="connsiteY8" fmla="*/ 4865353 h 5285288"/>
                  <a:gd name="connsiteX9" fmla="*/ 1785993 w 4032635"/>
                  <a:gd name="connsiteY9" fmla="*/ 4865745 h 5285288"/>
                  <a:gd name="connsiteX10" fmla="*/ 1808034 w 4032635"/>
                  <a:gd name="connsiteY10" fmla="*/ 4859558 h 5285288"/>
                  <a:gd name="connsiteX11" fmla="*/ 1854114 w 4032635"/>
                  <a:gd name="connsiteY11" fmla="*/ 4799004 h 5285288"/>
                  <a:gd name="connsiteX12" fmla="*/ 1855958 w 4032635"/>
                  <a:gd name="connsiteY12" fmla="*/ 4105978 h 5285288"/>
                  <a:gd name="connsiteX13" fmla="*/ 1858229 w 4032635"/>
                  <a:gd name="connsiteY13" fmla="*/ 1054770 h 5285288"/>
                  <a:gd name="connsiteX14" fmla="*/ 1857044 w 4032635"/>
                  <a:gd name="connsiteY14" fmla="*/ 1017192 h 5285288"/>
                  <a:gd name="connsiteX15" fmla="*/ 1855009 w 4032635"/>
                  <a:gd name="connsiteY15" fmla="*/ 494424 h 5285288"/>
                  <a:gd name="connsiteX16" fmla="*/ 1900500 w 4032635"/>
                  <a:gd name="connsiteY16" fmla="*/ 171698 h 5285288"/>
                  <a:gd name="connsiteX17" fmla="*/ 2065107 w 4032635"/>
                  <a:gd name="connsiteY17" fmla="*/ 25112 h 5285288"/>
                  <a:gd name="connsiteX18" fmla="*/ 2264753 w 4032635"/>
                  <a:gd name="connsiteY18" fmla="*/ 3326 h 5285288"/>
                  <a:gd name="connsiteX19" fmla="*/ 2440457 w 4032635"/>
                  <a:gd name="connsiteY19" fmla="*/ 37548 h 5285288"/>
                  <a:gd name="connsiteX20" fmla="*/ 3991610 w 4032635"/>
                  <a:gd name="connsiteY20" fmla="*/ 924343 h 5285288"/>
                  <a:gd name="connsiteX21" fmla="*/ 3992567 w 4032635"/>
                  <a:gd name="connsiteY21" fmla="*/ 1149844 h 5285288"/>
                  <a:gd name="connsiteX22" fmla="*/ 3818602 w 4032635"/>
                  <a:gd name="connsiteY22" fmla="*/ 1269783 h 5285288"/>
                  <a:gd name="connsiteX23" fmla="*/ 3798755 w 4032635"/>
                  <a:gd name="connsiteY23" fmla="*/ 1262485 h 5285288"/>
                  <a:gd name="connsiteX24" fmla="*/ 2333280 w 4032635"/>
                  <a:gd name="connsiteY24" fmla="*/ 431577 h 5285288"/>
                  <a:gd name="connsiteX25" fmla="*/ 2332937 w 4032635"/>
                  <a:gd name="connsiteY25" fmla="*/ 431184 h 5285288"/>
                  <a:gd name="connsiteX26" fmla="*/ 2310782 w 4032635"/>
                  <a:gd name="connsiteY26" fmla="*/ 437405 h 5285288"/>
                  <a:gd name="connsiteX27" fmla="*/ 2268132 w 4032635"/>
                  <a:gd name="connsiteY27" fmla="*/ 539231 h 5285288"/>
                  <a:gd name="connsiteX28" fmla="*/ 2268127 w 4032635"/>
                  <a:gd name="connsiteY28" fmla="*/ 1065628 h 5285288"/>
                  <a:gd name="connsiteX29" fmla="*/ 2265350 w 4032635"/>
                  <a:gd name="connsiteY29" fmla="*/ 1081825 h 5285288"/>
                  <a:gd name="connsiteX30" fmla="*/ 2262524 w 4032635"/>
                  <a:gd name="connsiteY30" fmla="*/ 1858316 h 5285288"/>
                  <a:gd name="connsiteX31" fmla="*/ 2264381 w 4032635"/>
                  <a:gd name="connsiteY31" fmla="*/ 1861834 h 5285288"/>
                  <a:gd name="connsiteX32" fmla="*/ 2263714 w 4032635"/>
                  <a:gd name="connsiteY32" fmla="*/ 3038034 h 5285288"/>
                  <a:gd name="connsiteX33" fmla="*/ 2261574 w 4032635"/>
                  <a:gd name="connsiteY33" fmla="*/ 4802821 h 5285288"/>
                  <a:gd name="connsiteX34" fmla="*/ 2194776 w 4032635"/>
                  <a:gd name="connsiteY34" fmla="*/ 5061801 h 5285288"/>
                  <a:gd name="connsiteX35" fmla="*/ 2050808 w 4032635"/>
                  <a:gd name="connsiteY35" fmla="*/ 5216241 h 5285288"/>
                  <a:gd name="connsiteX36" fmla="*/ 1840172 w 4032635"/>
                  <a:gd name="connsiteY36" fmla="*/ 5284752 h 5285288"/>
                  <a:gd name="connsiteX37" fmla="*/ 1790618 w 4032635"/>
                  <a:gd name="connsiteY37" fmla="*/ 5285252 h 5285288"/>
                  <a:gd name="connsiteX0" fmla="*/ 1563196 w 3805213"/>
                  <a:gd name="connsiteY0" fmla="*/ 5285252 h 5285288"/>
                  <a:gd name="connsiteX1" fmla="*/ 1451572 w 3805213"/>
                  <a:gd name="connsiteY1" fmla="*/ 5257452 h 5285288"/>
                  <a:gd name="connsiteX2" fmla="*/ 1391571 w 3805213"/>
                  <a:gd name="connsiteY2" fmla="*/ 5227600 h 5285288"/>
                  <a:gd name="connsiteX3" fmla="*/ 1648 w 3805213"/>
                  <a:gd name="connsiteY3" fmla="*/ 3888049 h 5285288"/>
                  <a:gd name="connsiteX4" fmla="*/ 81 w 3805213"/>
                  <a:gd name="connsiteY4" fmla="*/ 3881457 h 5285288"/>
                  <a:gd name="connsiteX5" fmla="*/ 0 w 3805213"/>
                  <a:gd name="connsiteY5" fmla="*/ 3894265 h 5285288"/>
                  <a:gd name="connsiteX6" fmla="*/ 57255 w 3805213"/>
                  <a:gd name="connsiteY6" fmla="*/ 3993435 h 5285288"/>
                  <a:gd name="connsiteX7" fmla="*/ 1558227 w 3805213"/>
                  <a:gd name="connsiteY7" fmla="*/ 4865353 h 5285288"/>
                  <a:gd name="connsiteX8" fmla="*/ 1558571 w 3805213"/>
                  <a:gd name="connsiteY8" fmla="*/ 4865745 h 5285288"/>
                  <a:gd name="connsiteX9" fmla="*/ 1580612 w 3805213"/>
                  <a:gd name="connsiteY9" fmla="*/ 4859558 h 5285288"/>
                  <a:gd name="connsiteX10" fmla="*/ 1626692 w 3805213"/>
                  <a:gd name="connsiteY10" fmla="*/ 4799004 h 5285288"/>
                  <a:gd name="connsiteX11" fmla="*/ 1628536 w 3805213"/>
                  <a:gd name="connsiteY11" fmla="*/ 4105978 h 5285288"/>
                  <a:gd name="connsiteX12" fmla="*/ 1630807 w 3805213"/>
                  <a:gd name="connsiteY12" fmla="*/ 1054770 h 5285288"/>
                  <a:gd name="connsiteX13" fmla="*/ 1629622 w 3805213"/>
                  <a:gd name="connsiteY13" fmla="*/ 1017192 h 5285288"/>
                  <a:gd name="connsiteX14" fmla="*/ 1627587 w 3805213"/>
                  <a:gd name="connsiteY14" fmla="*/ 494424 h 5285288"/>
                  <a:gd name="connsiteX15" fmla="*/ 1673078 w 3805213"/>
                  <a:gd name="connsiteY15" fmla="*/ 171698 h 5285288"/>
                  <a:gd name="connsiteX16" fmla="*/ 1837685 w 3805213"/>
                  <a:gd name="connsiteY16" fmla="*/ 25112 h 5285288"/>
                  <a:gd name="connsiteX17" fmla="*/ 2037331 w 3805213"/>
                  <a:gd name="connsiteY17" fmla="*/ 3326 h 5285288"/>
                  <a:gd name="connsiteX18" fmla="*/ 2213035 w 3805213"/>
                  <a:gd name="connsiteY18" fmla="*/ 37548 h 5285288"/>
                  <a:gd name="connsiteX19" fmla="*/ 3764188 w 3805213"/>
                  <a:gd name="connsiteY19" fmla="*/ 924343 h 5285288"/>
                  <a:gd name="connsiteX20" fmla="*/ 3765145 w 3805213"/>
                  <a:gd name="connsiteY20" fmla="*/ 1149844 h 5285288"/>
                  <a:gd name="connsiteX21" fmla="*/ 3591180 w 3805213"/>
                  <a:gd name="connsiteY21" fmla="*/ 1269783 h 5285288"/>
                  <a:gd name="connsiteX22" fmla="*/ 3571333 w 3805213"/>
                  <a:gd name="connsiteY22" fmla="*/ 1262485 h 5285288"/>
                  <a:gd name="connsiteX23" fmla="*/ 2105858 w 3805213"/>
                  <a:gd name="connsiteY23" fmla="*/ 431577 h 5285288"/>
                  <a:gd name="connsiteX24" fmla="*/ 2105515 w 3805213"/>
                  <a:gd name="connsiteY24" fmla="*/ 431184 h 5285288"/>
                  <a:gd name="connsiteX25" fmla="*/ 2083360 w 3805213"/>
                  <a:gd name="connsiteY25" fmla="*/ 437405 h 5285288"/>
                  <a:gd name="connsiteX26" fmla="*/ 2040710 w 3805213"/>
                  <a:gd name="connsiteY26" fmla="*/ 539231 h 5285288"/>
                  <a:gd name="connsiteX27" fmla="*/ 2040705 w 3805213"/>
                  <a:gd name="connsiteY27" fmla="*/ 1065628 h 5285288"/>
                  <a:gd name="connsiteX28" fmla="*/ 2037928 w 3805213"/>
                  <a:gd name="connsiteY28" fmla="*/ 1081825 h 5285288"/>
                  <a:gd name="connsiteX29" fmla="*/ 2035102 w 3805213"/>
                  <a:gd name="connsiteY29" fmla="*/ 1858316 h 5285288"/>
                  <a:gd name="connsiteX30" fmla="*/ 2036959 w 3805213"/>
                  <a:gd name="connsiteY30" fmla="*/ 1861834 h 5285288"/>
                  <a:gd name="connsiteX31" fmla="*/ 2036292 w 3805213"/>
                  <a:gd name="connsiteY31" fmla="*/ 3038034 h 5285288"/>
                  <a:gd name="connsiteX32" fmla="*/ 2034152 w 3805213"/>
                  <a:gd name="connsiteY32" fmla="*/ 4802821 h 5285288"/>
                  <a:gd name="connsiteX33" fmla="*/ 1967354 w 3805213"/>
                  <a:gd name="connsiteY33" fmla="*/ 5061801 h 5285288"/>
                  <a:gd name="connsiteX34" fmla="*/ 1823386 w 3805213"/>
                  <a:gd name="connsiteY34" fmla="*/ 5216241 h 5285288"/>
                  <a:gd name="connsiteX35" fmla="*/ 1612750 w 3805213"/>
                  <a:gd name="connsiteY35" fmla="*/ 5284752 h 5285288"/>
                  <a:gd name="connsiteX36" fmla="*/ 1563196 w 3805213"/>
                  <a:gd name="connsiteY36" fmla="*/ 5285252 h 5285288"/>
                  <a:gd name="connsiteX0" fmla="*/ 1635752 w 3877769"/>
                  <a:gd name="connsiteY0" fmla="*/ 5285252 h 5285288"/>
                  <a:gd name="connsiteX1" fmla="*/ 1524128 w 3877769"/>
                  <a:gd name="connsiteY1" fmla="*/ 5257452 h 5285288"/>
                  <a:gd name="connsiteX2" fmla="*/ 1464127 w 3877769"/>
                  <a:gd name="connsiteY2" fmla="*/ 5227600 h 5285288"/>
                  <a:gd name="connsiteX3" fmla="*/ 74204 w 3877769"/>
                  <a:gd name="connsiteY3" fmla="*/ 3888049 h 5285288"/>
                  <a:gd name="connsiteX4" fmla="*/ 72637 w 3877769"/>
                  <a:gd name="connsiteY4" fmla="*/ 3881457 h 5285288"/>
                  <a:gd name="connsiteX5" fmla="*/ 129811 w 3877769"/>
                  <a:gd name="connsiteY5" fmla="*/ 3993435 h 5285288"/>
                  <a:gd name="connsiteX6" fmla="*/ 1630783 w 3877769"/>
                  <a:gd name="connsiteY6" fmla="*/ 4865353 h 5285288"/>
                  <a:gd name="connsiteX7" fmla="*/ 1631127 w 3877769"/>
                  <a:gd name="connsiteY7" fmla="*/ 4865745 h 5285288"/>
                  <a:gd name="connsiteX8" fmla="*/ 1653168 w 3877769"/>
                  <a:gd name="connsiteY8" fmla="*/ 4859558 h 5285288"/>
                  <a:gd name="connsiteX9" fmla="*/ 1699248 w 3877769"/>
                  <a:gd name="connsiteY9" fmla="*/ 4799004 h 5285288"/>
                  <a:gd name="connsiteX10" fmla="*/ 1701092 w 3877769"/>
                  <a:gd name="connsiteY10" fmla="*/ 4105978 h 5285288"/>
                  <a:gd name="connsiteX11" fmla="*/ 1703363 w 3877769"/>
                  <a:gd name="connsiteY11" fmla="*/ 1054770 h 5285288"/>
                  <a:gd name="connsiteX12" fmla="*/ 1702178 w 3877769"/>
                  <a:gd name="connsiteY12" fmla="*/ 1017192 h 5285288"/>
                  <a:gd name="connsiteX13" fmla="*/ 1700143 w 3877769"/>
                  <a:gd name="connsiteY13" fmla="*/ 494424 h 5285288"/>
                  <a:gd name="connsiteX14" fmla="*/ 1745634 w 3877769"/>
                  <a:gd name="connsiteY14" fmla="*/ 171698 h 5285288"/>
                  <a:gd name="connsiteX15" fmla="*/ 1910241 w 3877769"/>
                  <a:gd name="connsiteY15" fmla="*/ 25112 h 5285288"/>
                  <a:gd name="connsiteX16" fmla="*/ 2109887 w 3877769"/>
                  <a:gd name="connsiteY16" fmla="*/ 3326 h 5285288"/>
                  <a:gd name="connsiteX17" fmla="*/ 2285591 w 3877769"/>
                  <a:gd name="connsiteY17" fmla="*/ 37548 h 5285288"/>
                  <a:gd name="connsiteX18" fmla="*/ 3836744 w 3877769"/>
                  <a:gd name="connsiteY18" fmla="*/ 924343 h 5285288"/>
                  <a:gd name="connsiteX19" fmla="*/ 3837701 w 3877769"/>
                  <a:gd name="connsiteY19" fmla="*/ 1149844 h 5285288"/>
                  <a:gd name="connsiteX20" fmla="*/ 3663736 w 3877769"/>
                  <a:gd name="connsiteY20" fmla="*/ 1269783 h 5285288"/>
                  <a:gd name="connsiteX21" fmla="*/ 3643889 w 3877769"/>
                  <a:gd name="connsiteY21" fmla="*/ 1262485 h 5285288"/>
                  <a:gd name="connsiteX22" fmla="*/ 2178414 w 3877769"/>
                  <a:gd name="connsiteY22" fmla="*/ 431577 h 5285288"/>
                  <a:gd name="connsiteX23" fmla="*/ 2178071 w 3877769"/>
                  <a:gd name="connsiteY23" fmla="*/ 431184 h 5285288"/>
                  <a:gd name="connsiteX24" fmla="*/ 2155916 w 3877769"/>
                  <a:gd name="connsiteY24" fmla="*/ 437405 h 5285288"/>
                  <a:gd name="connsiteX25" fmla="*/ 2113266 w 3877769"/>
                  <a:gd name="connsiteY25" fmla="*/ 539231 h 5285288"/>
                  <a:gd name="connsiteX26" fmla="*/ 2113261 w 3877769"/>
                  <a:gd name="connsiteY26" fmla="*/ 1065628 h 5285288"/>
                  <a:gd name="connsiteX27" fmla="*/ 2110484 w 3877769"/>
                  <a:gd name="connsiteY27" fmla="*/ 1081825 h 5285288"/>
                  <a:gd name="connsiteX28" fmla="*/ 2107658 w 3877769"/>
                  <a:gd name="connsiteY28" fmla="*/ 1858316 h 5285288"/>
                  <a:gd name="connsiteX29" fmla="*/ 2109515 w 3877769"/>
                  <a:gd name="connsiteY29" fmla="*/ 1861834 h 5285288"/>
                  <a:gd name="connsiteX30" fmla="*/ 2108848 w 3877769"/>
                  <a:gd name="connsiteY30" fmla="*/ 3038034 h 5285288"/>
                  <a:gd name="connsiteX31" fmla="*/ 2106708 w 3877769"/>
                  <a:gd name="connsiteY31" fmla="*/ 4802821 h 5285288"/>
                  <a:gd name="connsiteX32" fmla="*/ 2039910 w 3877769"/>
                  <a:gd name="connsiteY32" fmla="*/ 5061801 h 5285288"/>
                  <a:gd name="connsiteX33" fmla="*/ 1895942 w 3877769"/>
                  <a:gd name="connsiteY33" fmla="*/ 5216241 h 5285288"/>
                  <a:gd name="connsiteX34" fmla="*/ 1685306 w 3877769"/>
                  <a:gd name="connsiteY34" fmla="*/ 5284752 h 5285288"/>
                  <a:gd name="connsiteX35" fmla="*/ 1635752 w 3877769"/>
                  <a:gd name="connsiteY35" fmla="*/ 5285252 h 5285288"/>
                  <a:gd name="connsiteX0" fmla="*/ 1563115 w 3805132"/>
                  <a:gd name="connsiteY0" fmla="*/ 5285252 h 5285288"/>
                  <a:gd name="connsiteX1" fmla="*/ 1451491 w 3805132"/>
                  <a:gd name="connsiteY1" fmla="*/ 5257452 h 5285288"/>
                  <a:gd name="connsiteX2" fmla="*/ 1391490 w 3805132"/>
                  <a:gd name="connsiteY2" fmla="*/ 5227600 h 5285288"/>
                  <a:gd name="connsiteX3" fmla="*/ 1567 w 3805132"/>
                  <a:gd name="connsiteY3" fmla="*/ 3888049 h 5285288"/>
                  <a:gd name="connsiteX4" fmla="*/ 0 w 3805132"/>
                  <a:gd name="connsiteY4" fmla="*/ 3881457 h 5285288"/>
                  <a:gd name="connsiteX5" fmla="*/ 1558146 w 3805132"/>
                  <a:gd name="connsiteY5" fmla="*/ 4865353 h 5285288"/>
                  <a:gd name="connsiteX6" fmla="*/ 1558490 w 3805132"/>
                  <a:gd name="connsiteY6" fmla="*/ 4865745 h 5285288"/>
                  <a:gd name="connsiteX7" fmla="*/ 1580531 w 3805132"/>
                  <a:gd name="connsiteY7" fmla="*/ 4859558 h 5285288"/>
                  <a:gd name="connsiteX8" fmla="*/ 1626611 w 3805132"/>
                  <a:gd name="connsiteY8" fmla="*/ 4799004 h 5285288"/>
                  <a:gd name="connsiteX9" fmla="*/ 1628455 w 3805132"/>
                  <a:gd name="connsiteY9" fmla="*/ 4105978 h 5285288"/>
                  <a:gd name="connsiteX10" fmla="*/ 1630726 w 3805132"/>
                  <a:gd name="connsiteY10" fmla="*/ 1054770 h 5285288"/>
                  <a:gd name="connsiteX11" fmla="*/ 1629541 w 3805132"/>
                  <a:gd name="connsiteY11" fmla="*/ 1017192 h 5285288"/>
                  <a:gd name="connsiteX12" fmla="*/ 1627506 w 3805132"/>
                  <a:gd name="connsiteY12" fmla="*/ 494424 h 5285288"/>
                  <a:gd name="connsiteX13" fmla="*/ 1672997 w 3805132"/>
                  <a:gd name="connsiteY13" fmla="*/ 171698 h 5285288"/>
                  <a:gd name="connsiteX14" fmla="*/ 1837604 w 3805132"/>
                  <a:gd name="connsiteY14" fmla="*/ 25112 h 5285288"/>
                  <a:gd name="connsiteX15" fmla="*/ 2037250 w 3805132"/>
                  <a:gd name="connsiteY15" fmla="*/ 3326 h 5285288"/>
                  <a:gd name="connsiteX16" fmla="*/ 2212954 w 3805132"/>
                  <a:gd name="connsiteY16" fmla="*/ 37548 h 5285288"/>
                  <a:gd name="connsiteX17" fmla="*/ 3764107 w 3805132"/>
                  <a:gd name="connsiteY17" fmla="*/ 924343 h 5285288"/>
                  <a:gd name="connsiteX18" fmla="*/ 3765064 w 3805132"/>
                  <a:gd name="connsiteY18" fmla="*/ 1149844 h 5285288"/>
                  <a:gd name="connsiteX19" fmla="*/ 3591099 w 3805132"/>
                  <a:gd name="connsiteY19" fmla="*/ 1269783 h 5285288"/>
                  <a:gd name="connsiteX20" fmla="*/ 3571252 w 3805132"/>
                  <a:gd name="connsiteY20" fmla="*/ 1262485 h 5285288"/>
                  <a:gd name="connsiteX21" fmla="*/ 2105777 w 3805132"/>
                  <a:gd name="connsiteY21" fmla="*/ 431577 h 5285288"/>
                  <a:gd name="connsiteX22" fmla="*/ 2105434 w 3805132"/>
                  <a:gd name="connsiteY22" fmla="*/ 431184 h 5285288"/>
                  <a:gd name="connsiteX23" fmla="*/ 2083279 w 3805132"/>
                  <a:gd name="connsiteY23" fmla="*/ 437405 h 5285288"/>
                  <a:gd name="connsiteX24" fmla="*/ 2040629 w 3805132"/>
                  <a:gd name="connsiteY24" fmla="*/ 539231 h 5285288"/>
                  <a:gd name="connsiteX25" fmla="*/ 2040624 w 3805132"/>
                  <a:gd name="connsiteY25" fmla="*/ 1065628 h 5285288"/>
                  <a:gd name="connsiteX26" fmla="*/ 2037847 w 3805132"/>
                  <a:gd name="connsiteY26" fmla="*/ 1081825 h 5285288"/>
                  <a:gd name="connsiteX27" fmla="*/ 2035021 w 3805132"/>
                  <a:gd name="connsiteY27" fmla="*/ 1858316 h 5285288"/>
                  <a:gd name="connsiteX28" fmla="*/ 2036878 w 3805132"/>
                  <a:gd name="connsiteY28" fmla="*/ 1861834 h 5285288"/>
                  <a:gd name="connsiteX29" fmla="*/ 2036211 w 3805132"/>
                  <a:gd name="connsiteY29" fmla="*/ 3038034 h 5285288"/>
                  <a:gd name="connsiteX30" fmla="*/ 2034071 w 3805132"/>
                  <a:gd name="connsiteY30" fmla="*/ 4802821 h 5285288"/>
                  <a:gd name="connsiteX31" fmla="*/ 1967273 w 3805132"/>
                  <a:gd name="connsiteY31" fmla="*/ 5061801 h 5285288"/>
                  <a:gd name="connsiteX32" fmla="*/ 1823305 w 3805132"/>
                  <a:gd name="connsiteY32" fmla="*/ 5216241 h 5285288"/>
                  <a:gd name="connsiteX33" fmla="*/ 1612669 w 3805132"/>
                  <a:gd name="connsiteY33" fmla="*/ 5284752 h 5285288"/>
                  <a:gd name="connsiteX34" fmla="*/ 1563115 w 3805132"/>
                  <a:gd name="connsiteY34"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556923 w 3803565"/>
                  <a:gd name="connsiteY5" fmla="*/ 4865745 h 5285288"/>
                  <a:gd name="connsiteX6" fmla="*/ 1578964 w 3803565"/>
                  <a:gd name="connsiteY6" fmla="*/ 4859558 h 5285288"/>
                  <a:gd name="connsiteX7" fmla="*/ 1625044 w 3803565"/>
                  <a:gd name="connsiteY7" fmla="*/ 4799004 h 5285288"/>
                  <a:gd name="connsiteX8" fmla="*/ 1626888 w 3803565"/>
                  <a:gd name="connsiteY8" fmla="*/ 4105978 h 5285288"/>
                  <a:gd name="connsiteX9" fmla="*/ 1629159 w 3803565"/>
                  <a:gd name="connsiteY9" fmla="*/ 1054770 h 5285288"/>
                  <a:gd name="connsiteX10" fmla="*/ 1627974 w 3803565"/>
                  <a:gd name="connsiteY10" fmla="*/ 1017192 h 5285288"/>
                  <a:gd name="connsiteX11" fmla="*/ 1625939 w 3803565"/>
                  <a:gd name="connsiteY11" fmla="*/ 494424 h 5285288"/>
                  <a:gd name="connsiteX12" fmla="*/ 1671430 w 3803565"/>
                  <a:gd name="connsiteY12" fmla="*/ 171698 h 5285288"/>
                  <a:gd name="connsiteX13" fmla="*/ 1836037 w 3803565"/>
                  <a:gd name="connsiteY13" fmla="*/ 25112 h 5285288"/>
                  <a:gd name="connsiteX14" fmla="*/ 2035683 w 3803565"/>
                  <a:gd name="connsiteY14" fmla="*/ 3326 h 5285288"/>
                  <a:gd name="connsiteX15" fmla="*/ 2211387 w 3803565"/>
                  <a:gd name="connsiteY15" fmla="*/ 37548 h 5285288"/>
                  <a:gd name="connsiteX16" fmla="*/ 3762540 w 3803565"/>
                  <a:gd name="connsiteY16" fmla="*/ 924343 h 5285288"/>
                  <a:gd name="connsiteX17" fmla="*/ 3763497 w 3803565"/>
                  <a:gd name="connsiteY17" fmla="*/ 1149844 h 5285288"/>
                  <a:gd name="connsiteX18" fmla="*/ 3589532 w 3803565"/>
                  <a:gd name="connsiteY18" fmla="*/ 1269783 h 5285288"/>
                  <a:gd name="connsiteX19" fmla="*/ 3569685 w 3803565"/>
                  <a:gd name="connsiteY19" fmla="*/ 1262485 h 5285288"/>
                  <a:gd name="connsiteX20" fmla="*/ 2104210 w 3803565"/>
                  <a:gd name="connsiteY20" fmla="*/ 431577 h 5285288"/>
                  <a:gd name="connsiteX21" fmla="*/ 2103867 w 3803565"/>
                  <a:gd name="connsiteY21" fmla="*/ 431184 h 5285288"/>
                  <a:gd name="connsiteX22" fmla="*/ 2081712 w 3803565"/>
                  <a:gd name="connsiteY22" fmla="*/ 437405 h 5285288"/>
                  <a:gd name="connsiteX23" fmla="*/ 2039062 w 3803565"/>
                  <a:gd name="connsiteY23" fmla="*/ 539231 h 5285288"/>
                  <a:gd name="connsiteX24" fmla="*/ 2039057 w 3803565"/>
                  <a:gd name="connsiteY24" fmla="*/ 1065628 h 5285288"/>
                  <a:gd name="connsiteX25" fmla="*/ 2036280 w 3803565"/>
                  <a:gd name="connsiteY25" fmla="*/ 1081825 h 5285288"/>
                  <a:gd name="connsiteX26" fmla="*/ 2033454 w 3803565"/>
                  <a:gd name="connsiteY26" fmla="*/ 1858316 h 5285288"/>
                  <a:gd name="connsiteX27" fmla="*/ 2035311 w 3803565"/>
                  <a:gd name="connsiteY27" fmla="*/ 1861834 h 5285288"/>
                  <a:gd name="connsiteX28" fmla="*/ 2034644 w 3803565"/>
                  <a:gd name="connsiteY28" fmla="*/ 3038034 h 5285288"/>
                  <a:gd name="connsiteX29" fmla="*/ 2032504 w 3803565"/>
                  <a:gd name="connsiteY29" fmla="*/ 4802821 h 5285288"/>
                  <a:gd name="connsiteX30" fmla="*/ 1965706 w 3803565"/>
                  <a:gd name="connsiteY30" fmla="*/ 5061801 h 5285288"/>
                  <a:gd name="connsiteX31" fmla="*/ 1821738 w 3803565"/>
                  <a:gd name="connsiteY31" fmla="*/ 5216241 h 5285288"/>
                  <a:gd name="connsiteX32" fmla="*/ 1611102 w 3803565"/>
                  <a:gd name="connsiteY32" fmla="*/ 5284752 h 5285288"/>
                  <a:gd name="connsiteX33" fmla="*/ 1561548 w 3803565"/>
                  <a:gd name="connsiteY33"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556923 w 3803565"/>
                  <a:gd name="connsiteY5" fmla="*/ 4865745 h 5285288"/>
                  <a:gd name="connsiteX6" fmla="*/ 1625044 w 3803565"/>
                  <a:gd name="connsiteY6" fmla="*/ 4799004 h 5285288"/>
                  <a:gd name="connsiteX7" fmla="*/ 1626888 w 3803565"/>
                  <a:gd name="connsiteY7" fmla="*/ 4105978 h 5285288"/>
                  <a:gd name="connsiteX8" fmla="*/ 1629159 w 3803565"/>
                  <a:gd name="connsiteY8" fmla="*/ 1054770 h 5285288"/>
                  <a:gd name="connsiteX9" fmla="*/ 1627974 w 3803565"/>
                  <a:gd name="connsiteY9" fmla="*/ 1017192 h 5285288"/>
                  <a:gd name="connsiteX10" fmla="*/ 1625939 w 3803565"/>
                  <a:gd name="connsiteY10" fmla="*/ 494424 h 5285288"/>
                  <a:gd name="connsiteX11" fmla="*/ 1671430 w 3803565"/>
                  <a:gd name="connsiteY11" fmla="*/ 171698 h 5285288"/>
                  <a:gd name="connsiteX12" fmla="*/ 1836037 w 3803565"/>
                  <a:gd name="connsiteY12" fmla="*/ 25112 h 5285288"/>
                  <a:gd name="connsiteX13" fmla="*/ 2035683 w 3803565"/>
                  <a:gd name="connsiteY13" fmla="*/ 3326 h 5285288"/>
                  <a:gd name="connsiteX14" fmla="*/ 2211387 w 3803565"/>
                  <a:gd name="connsiteY14" fmla="*/ 37548 h 5285288"/>
                  <a:gd name="connsiteX15" fmla="*/ 3762540 w 3803565"/>
                  <a:gd name="connsiteY15" fmla="*/ 924343 h 5285288"/>
                  <a:gd name="connsiteX16" fmla="*/ 3763497 w 3803565"/>
                  <a:gd name="connsiteY16" fmla="*/ 1149844 h 5285288"/>
                  <a:gd name="connsiteX17" fmla="*/ 3589532 w 3803565"/>
                  <a:gd name="connsiteY17" fmla="*/ 1269783 h 5285288"/>
                  <a:gd name="connsiteX18" fmla="*/ 3569685 w 3803565"/>
                  <a:gd name="connsiteY18" fmla="*/ 1262485 h 5285288"/>
                  <a:gd name="connsiteX19" fmla="*/ 2104210 w 3803565"/>
                  <a:gd name="connsiteY19" fmla="*/ 431577 h 5285288"/>
                  <a:gd name="connsiteX20" fmla="*/ 2103867 w 3803565"/>
                  <a:gd name="connsiteY20" fmla="*/ 431184 h 5285288"/>
                  <a:gd name="connsiteX21" fmla="*/ 2081712 w 3803565"/>
                  <a:gd name="connsiteY21" fmla="*/ 437405 h 5285288"/>
                  <a:gd name="connsiteX22" fmla="*/ 2039062 w 3803565"/>
                  <a:gd name="connsiteY22" fmla="*/ 539231 h 5285288"/>
                  <a:gd name="connsiteX23" fmla="*/ 2039057 w 3803565"/>
                  <a:gd name="connsiteY23" fmla="*/ 1065628 h 5285288"/>
                  <a:gd name="connsiteX24" fmla="*/ 2036280 w 3803565"/>
                  <a:gd name="connsiteY24" fmla="*/ 1081825 h 5285288"/>
                  <a:gd name="connsiteX25" fmla="*/ 2033454 w 3803565"/>
                  <a:gd name="connsiteY25" fmla="*/ 1858316 h 5285288"/>
                  <a:gd name="connsiteX26" fmla="*/ 2035311 w 3803565"/>
                  <a:gd name="connsiteY26" fmla="*/ 1861834 h 5285288"/>
                  <a:gd name="connsiteX27" fmla="*/ 2034644 w 3803565"/>
                  <a:gd name="connsiteY27" fmla="*/ 3038034 h 5285288"/>
                  <a:gd name="connsiteX28" fmla="*/ 2032504 w 3803565"/>
                  <a:gd name="connsiteY28" fmla="*/ 4802821 h 5285288"/>
                  <a:gd name="connsiteX29" fmla="*/ 1965706 w 3803565"/>
                  <a:gd name="connsiteY29" fmla="*/ 5061801 h 5285288"/>
                  <a:gd name="connsiteX30" fmla="*/ 1821738 w 3803565"/>
                  <a:gd name="connsiteY30" fmla="*/ 5216241 h 5285288"/>
                  <a:gd name="connsiteX31" fmla="*/ 1611102 w 3803565"/>
                  <a:gd name="connsiteY31" fmla="*/ 5284752 h 5285288"/>
                  <a:gd name="connsiteX32" fmla="*/ 1561548 w 3803565"/>
                  <a:gd name="connsiteY32"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556579 w 3803565"/>
                  <a:gd name="connsiteY4" fmla="*/ 4865353 h 5285288"/>
                  <a:gd name="connsiteX5" fmla="*/ 1625044 w 3803565"/>
                  <a:gd name="connsiteY5" fmla="*/ 4799004 h 5285288"/>
                  <a:gd name="connsiteX6" fmla="*/ 1626888 w 3803565"/>
                  <a:gd name="connsiteY6" fmla="*/ 4105978 h 5285288"/>
                  <a:gd name="connsiteX7" fmla="*/ 1629159 w 3803565"/>
                  <a:gd name="connsiteY7" fmla="*/ 1054770 h 5285288"/>
                  <a:gd name="connsiteX8" fmla="*/ 1627974 w 3803565"/>
                  <a:gd name="connsiteY8" fmla="*/ 1017192 h 5285288"/>
                  <a:gd name="connsiteX9" fmla="*/ 1625939 w 3803565"/>
                  <a:gd name="connsiteY9" fmla="*/ 494424 h 5285288"/>
                  <a:gd name="connsiteX10" fmla="*/ 1671430 w 3803565"/>
                  <a:gd name="connsiteY10" fmla="*/ 171698 h 5285288"/>
                  <a:gd name="connsiteX11" fmla="*/ 1836037 w 3803565"/>
                  <a:gd name="connsiteY11" fmla="*/ 25112 h 5285288"/>
                  <a:gd name="connsiteX12" fmla="*/ 2035683 w 3803565"/>
                  <a:gd name="connsiteY12" fmla="*/ 3326 h 5285288"/>
                  <a:gd name="connsiteX13" fmla="*/ 2211387 w 3803565"/>
                  <a:gd name="connsiteY13" fmla="*/ 37548 h 5285288"/>
                  <a:gd name="connsiteX14" fmla="*/ 3762540 w 3803565"/>
                  <a:gd name="connsiteY14" fmla="*/ 924343 h 5285288"/>
                  <a:gd name="connsiteX15" fmla="*/ 3763497 w 3803565"/>
                  <a:gd name="connsiteY15" fmla="*/ 1149844 h 5285288"/>
                  <a:gd name="connsiteX16" fmla="*/ 3589532 w 3803565"/>
                  <a:gd name="connsiteY16" fmla="*/ 1269783 h 5285288"/>
                  <a:gd name="connsiteX17" fmla="*/ 3569685 w 3803565"/>
                  <a:gd name="connsiteY17" fmla="*/ 1262485 h 5285288"/>
                  <a:gd name="connsiteX18" fmla="*/ 2104210 w 3803565"/>
                  <a:gd name="connsiteY18" fmla="*/ 431577 h 5285288"/>
                  <a:gd name="connsiteX19" fmla="*/ 2103867 w 3803565"/>
                  <a:gd name="connsiteY19" fmla="*/ 431184 h 5285288"/>
                  <a:gd name="connsiteX20" fmla="*/ 2081712 w 3803565"/>
                  <a:gd name="connsiteY20" fmla="*/ 437405 h 5285288"/>
                  <a:gd name="connsiteX21" fmla="*/ 2039062 w 3803565"/>
                  <a:gd name="connsiteY21" fmla="*/ 539231 h 5285288"/>
                  <a:gd name="connsiteX22" fmla="*/ 2039057 w 3803565"/>
                  <a:gd name="connsiteY22" fmla="*/ 1065628 h 5285288"/>
                  <a:gd name="connsiteX23" fmla="*/ 2036280 w 3803565"/>
                  <a:gd name="connsiteY23" fmla="*/ 1081825 h 5285288"/>
                  <a:gd name="connsiteX24" fmla="*/ 2033454 w 3803565"/>
                  <a:gd name="connsiteY24" fmla="*/ 1858316 h 5285288"/>
                  <a:gd name="connsiteX25" fmla="*/ 2035311 w 3803565"/>
                  <a:gd name="connsiteY25" fmla="*/ 1861834 h 5285288"/>
                  <a:gd name="connsiteX26" fmla="*/ 2034644 w 3803565"/>
                  <a:gd name="connsiteY26" fmla="*/ 3038034 h 5285288"/>
                  <a:gd name="connsiteX27" fmla="*/ 2032504 w 3803565"/>
                  <a:gd name="connsiteY27" fmla="*/ 4802821 h 5285288"/>
                  <a:gd name="connsiteX28" fmla="*/ 1965706 w 3803565"/>
                  <a:gd name="connsiteY28" fmla="*/ 5061801 h 5285288"/>
                  <a:gd name="connsiteX29" fmla="*/ 1821738 w 3803565"/>
                  <a:gd name="connsiteY29" fmla="*/ 5216241 h 5285288"/>
                  <a:gd name="connsiteX30" fmla="*/ 1611102 w 3803565"/>
                  <a:gd name="connsiteY30" fmla="*/ 5284752 h 5285288"/>
                  <a:gd name="connsiteX31" fmla="*/ 1561548 w 3803565"/>
                  <a:gd name="connsiteY31" fmla="*/ 5285252 h 5285288"/>
                  <a:gd name="connsiteX0" fmla="*/ 1561548 w 3803565"/>
                  <a:gd name="connsiteY0" fmla="*/ 5285252 h 5285288"/>
                  <a:gd name="connsiteX1" fmla="*/ 1449924 w 3803565"/>
                  <a:gd name="connsiteY1" fmla="*/ 5257452 h 5285288"/>
                  <a:gd name="connsiteX2" fmla="*/ 1389923 w 3803565"/>
                  <a:gd name="connsiteY2" fmla="*/ 5227600 h 5285288"/>
                  <a:gd name="connsiteX3" fmla="*/ 0 w 3803565"/>
                  <a:gd name="connsiteY3" fmla="*/ 3888049 h 5285288"/>
                  <a:gd name="connsiteX4" fmla="*/ 1625044 w 3803565"/>
                  <a:gd name="connsiteY4" fmla="*/ 4799004 h 5285288"/>
                  <a:gd name="connsiteX5" fmla="*/ 1626888 w 3803565"/>
                  <a:gd name="connsiteY5" fmla="*/ 4105978 h 5285288"/>
                  <a:gd name="connsiteX6" fmla="*/ 1629159 w 3803565"/>
                  <a:gd name="connsiteY6" fmla="*/ 1054770 h 5285288"/>
                  <a:gd name="connsiteX7" fmla="*/ 1627974 w 3803565"/>
                  <a:gd name="connsiteY7" fmla="*/ 1017192 h 5285288"/>
                  <a:gd name="connsiteX8" fmla="*/ 1625939 w 3803565"/>
                  <a:gd name="connsiteY8" fmla="*/ 494424 h 5285288"/>
                  <a:gd name="connsiteX9" fmla="*/ 1671430 w 3803565"/>
                  <a:gd name="connsiteY9" fmla="*/ 171698 h 5285288"/>
                  <a:gd name="connsiteX10" fmla="*/ 1836037 w 3803565"/>
                  <a:gd name="connsiteY10" fmla="*/ 25112 h 5285288"/>
                  <a:gd name="connsiteX11" fmla="*/ 2035683 w 3803565"/>
                  <a:gd name="connsiteY11" fmla="*/ 3326 h 5285288"/>
                  <a:gd name="connsiteX12" fmla="*/ 2211387 w 3803565"/>
                  <a:gd name="connsiteY12" fmla="*/ 37548 h 5285288"/>
                  <a:gd name="connsiteX13" fmla="*/ 3762540 w 3803565"/>
                  <a:gd name="connsiteY13" fmla="*/ 924343 h 5285288"/>
                  <a:gd name="connsiteX14" fmla="*/ 3763497 w 3803565"/>
                  <a:gd name="connsiteY14" fmla="*/ 1149844 h 5285288"/>
                  <a:gd name="connsiteX15" fmla="*/ 3589532 w 3803565"/>
                  <a:gd name="connsiteY15" fmla="*/ 1269783 h 5285288"/>
                  <a:gd name="connsiteX16" fmla="*/ 3569685 w 3803565"/>
                  <a:gd name="connsiteY16" fmla="*/ 1262485 h 5285288"/>
                  <a:gd name="connsiteX17" fmla="*/ 2104210 w 3803565"/>
                  <a:gd name="connsiteY17" fmla="*/ 431577 h 5285288"/>
                  <a:gd name="connsiteX18" fmla="*/ 2103867 w 3803565"/>
                  <a:gd name="connsiteY18" fmla="*/ 431184 h 5285288"/>
                  <a:gd name="connsiteX19" fmla="*/ 2081712 w 3803565"/>
                  <a:gd name="connsiteY19" fmla="*/ 437405 h 5285288"/>
                  <a:gd name="connsiteX20" fmla="*/ 2039062 w 3803565"/>
                  <a:gd name="connsiteY20" fmla="*/ 539231 h 5285288"/>
                  <a:gd name="connsiteX21" fmla="*/ 2039057 w 3803565"/>
                  <a:gd name="connsiteY21" fmla="*/ 1065628 h 5285288"/>
                  <a:gd name="connsiteX22" fmla="*/ 2036280 w 3803565"/>
                  <a:gd name="connsiteY22" fmla="*/ 1081825 h 5285288"/>
                  <a:gd name="connsiteX23" fmla="*/ 2033454 w 3803565"/>
                  <a:gd name="connsiteY23" fmla="*/ 1858316 h 5285288"/>
                  <a:gd name="connsiteX24" fmla="*/ 2035311 w 3803565"/>
                  <a:gd name="connsiteY24" fmla="*/ 1861834 h 5285288"/>
                  <a:gd name="connsiteX25" fmla="*/ 2034644 w 3803565"/>
                  <a:gd name="connsiteY25" fmla="*/ 3038034 h 5285288"/>
                  <a:gd name="connsiteX26" fmla="*/ 2032504 w 3803565"/>
                  <a:gd name="connsiteY26" fmla="*/ 4802821 h 5285288"/>
                  <a:gd name="connsiteX27" fmla="*/ 1965706 w 3803565"/>
                  <a:gd name="connsiteY27" fmla="*/ 5061801 h 5285288"/>
                  <a:gd name="connsiteX28" fmla="*/ 1821738 w 3803565"/>
                  <a:gd name="connsiteY28" fmla="*/ 5216241 h 5285288"/>
                  <a:gd name="connsiteX29" fmla="*/ 1611102 w 3803565"/>
                  <a:gd name="connsiteY29" fmla="*/ 5284752 h 5285288"/>
                  <a:gd name="connsiteX30" fmla="*/ 1561548 w 3803565"/>
                  <a:gd name="connsiteY30" fmla="*/ 5285252 h 5285288"/>
                  <a:gd name="connsiteX0" fmla="*/ 171625 w 2413642"/>
                  <a:gd name="connsiteY0" fmla="*/ 5285252 h 5285288"/>
                  <a:gd name="connsiteX1" fmla="*/ 60001 w 2413642"/>
                  <a:gd name="connsiteY1" fmla="*/ 5257452 h 5285288"/>
                  <a:gd name="connsiteX2" fmla="*/ 0 w 2413642"/>
                  <a:gd name="connsiteY2" fmla="*/ 5227600 h 5285288"/>
                  <a:gd name="connsiteX3" fmla="*/ 235121 w 2413642"/>
                  <a:gd name="connsiteY3" fmla="*/ 4799004 h 5285288"/>
                  <a:gd name="connsiteX4" fmla="*/ 236965 w 2413642"/>
                  <a:gd name="connsiteY4" fmla="*/ 4105978 h 5285288"/>
                  <a:gd name="connsiteX5" fmla="*/ 239236 w 2413642"/>
                  <a:gd name="connsiteY5" fmla="*/ 1054770 h 5285288"/>
                  <a:gd name="connsiteX6" fmla="*/ 238051 w 2413642"/>
                  <a:gd name="connsiteY6" fmla="*/ 1017192 h 5285288"/>
                  <a:gd name="connsiteX7" fmla="*/ 236016 w 2413642"/>
                  <a:gd name="connsiteY7" fmla="*/ 494424 h 5285288"/>
                  <a:gd name="connsiteX8" fmla="*/ 281507 w 2413642"/>
                  <a:gd name="connsiteY8" fmla="*/ 171698 h 5285288"/>
                  <a:gd name="connsiteX9" fmla="*/ 446114 w 2413642"/>
                  <a:gd name="connsiteY9" fmla="*/ 25112 h 5285288"/>
                  <a:gd name="connsiteX10" fmla="*/ 645760 w 2413642"/>
                  <a:gd name="connsiteY10" fmla="*/ 3326 h 5285288"/>
                  <a:gd name="connsiteX11" fmla="*/ 821464 w 2413642"/>
                  <a:gd name="connsiteY11" fmla="*/ 37548 h 5285288"/>
                  <a:gd name="connsiteX12" fmla="*/ 2372617 w 2413642"/>
                  <a:gd name="connsiteY12" fmla="*/ 924343 h 5285288"/>
                  <a:gd name="connsiteX13" fmla="*/ 2373574 w 2413642"/>
                  <a:gd name="connsiteY13" fmla="*/ 1149844 h 5285288"/>
                  <a:gd name="connsiteX14" fmla="*/ 2199609 w 2413642"/>
                  <a:gd name="connsiteY14" fmla="*/ 1269783 h 5285288"/>
                  <a:gd name="connsiteX15" fmla="*/ 2179762 w 2413642"/>
                  <a:gd name="connsiteY15" fmla="*/ 1262485 h 5285288"/>
                  <a:gd name="connsiteX16" fmla="*/ 714287 w 2413642"/>
                  <a:gd name="connsiteY16" fmla="*/ 431577 h 5285288"/>
                  <a:gd name="connsiteX17" fmla="*/ 713944 w 2413642"/>
                  <a:gd name="connsiteY17" fmla="*/ 431184 h 5285288"/>
                  <a:gd name="connsiteX18" fmla="*/ 691789 w 2413642"/>
                  <a:gd name="connsiteY18" fmla="*/ 437405 h 5285288"/>
                  <a:gd name="connsiteX19" fmla="*/ 649139 w 2413642"/>
                  <a:gd name="connsiteY19" fmla="*/ 539231 h 5285288"/>
                  <a:gd name="connsiteX20" fmla="*/ 649134 w 2413642"/>
                  <a:gd name="connsiteY20" fmla="*/ 1065628 h 5285288"/>
                  <a:gd name="connsiteX21" fmla="*/ 646357 w 2413642"/>
                  <a:gd name="connsiteY21" fmla="*/ 1081825 h 5285288"/>
                  <a:gd name="connsiteX22" fmla="*/ 643531 w 2413642"/>
                  <a:gd name="connsiteY22" fmla="*/ 1858316 h 5285288"/>
                  <a:gd name="connsiteX23" fmla="*/ 645388 w 2413642"/>
                  <a:gd name="connsiteY23" fmla="*/ 1861834 h 5285288"/>
                  <a:gd name="connsiteX24" fmla="*/ 644721 w 2413642"/>
                  <a:gd name="connsiteY24" fmla="*/ 3038034 h 5285288"/>
                  <a:gd name="connsiteX25" fmla="*/ 642581 w 2413642"/>
                  <a:gd name="connsiteY25" fmla="*/ 4802821 h 5285288"/>
                  <a:gd name="connsiteX26" fmla="*/ 575783 w 2413642"/>
                  <a:gd name="connsiteY26" fmla="*/ 5061801 h 5285288"/>
                  <a:gd name="connsiteX27" fmla="*/ 431815 w 2413642"/>
                  <a:gd name="connsiteY27" fmla="*/ 5216241 h 5285288"/>
                  <a:gd name="connsiteX28" fmla="*/ 221179 w 2413642"/>
                  <a:gd name="connsiteY28" fmla="*/ 5284752 h 5285288"/>
                  <a:gd name="connsiteX29" fmla="*/ 171625 w 2413642"/>
                  <a:gd name="connsiteY29" fmla="*/ 5285252 h 5285288"/>
                  <a:gd name="connsiteX0" fmla="*/ 111624 w 2353641"/>
                  <a:gd name="connsiteY0" fmla="*/ 5285252 h 5285288"/>
                  <a:gd name="connsiteX1" fmla="*/ 0 w 2353641"/>
                  <a:gd name="connsiteY1" fmla="*/ 5257452 h 5285288"/>
                  <a:gd name="connsiteX2" fmla="*/ 175120 w 2353641"/>
                  <a:gd name="connsiteY2" fmla="*/ 4799004 h 5285288"/>
                  <a:gd name="connsiteX3" fmla="*/ 176964 w 2353641"/>
                  <a:gd name="connsiteY3" fmla="*/ 4105978 h 5285288"/>
                  <a:gd name="connsiteX4" fmla="*/ 179235 w 2353641"/>
                  <a:gd name="connsiteY4" fmla="*/ 1054770 h 5285288"/>
                  <a:gd name="connsiteX5" fmla="*/ 178050 w 2353641"/>
                  <a:gd name="connsiteY5" fmla="*/ 1017192 h 5285288"/>
                  <a:gd name="connsiteX6" fmla="*/ 176015 w 2353641"/>
                  <a:gd name="connsiteY6" fmla="*/ 494424 h 5285288"/>
                  <a:gd name="connsiteX7" fmla="*/ 221506 w 2353641"/>
                  <a:gd name="connsiteY7" fmla="*/ 171698 h 5285288"/>
                  <a:gd name="connsiteX8" fmla="*/ 386113 w 2353641"/>
                  <a:gd name="connsiteY8" fmla="*/ 25112 h 5285288"/>
                  <a:gd name="connsiteX9" fmla="*/ 585759 w 2353641"/>
                  <a:gd name="connsiteY9" fmla="*/ 3326 h 5285288"/>
                  <a:gd name="connsiteX10" fmla="*/ 761463 w 2353641"/>
                  <a:gd name="connsiteY10" fmla="*/ 37548 h 5285288"/>
                  <a:gd name="connsiteX11" fmla="*/ 2312616 w 2353641"/>
                  <a:gd name="connsiteY11" fmla="*/ 924343 h 5285288"/>
                  <a:gd name="connsiteX12" fmla="*/ 2313573 w 2353641"/>
                  <a:gd name="connsiteY12" fmla="*/ 1149844 h 5285288"/>
                  <a:gd name="connsiteX13" fmla="*/ 2139608 w 2353641"/>
                  <a:gd name="connsiteY13" fmla="*/ 1269783 h 5285288"/>
                  <a:gd name="connsiteX14" fmla="*/ 2119761 w 2353641"/>
                  <a:gd name="connsiteY14" fmla="*/ 1262485 h 5285288"/>
                  <a:gd name="connsiteX15" fmla="*/ 654286 w 2353641"/>
                  <a:gd name="connsiteY15" fmla="*/ 431577 h 5285288"/>
                  <a:gd name="connsiteX16" fmla="*/ 653943 w 2353641"/>
                  <a:gd name="connsiteY16" fmla="*/ 431184 h 5285288"/>
                  <a:gd name="connsiteX17" fmla="*/ 631788 w 2353641"/>
                  <a:gd name="connsiteY17" fmla="*/ 437405 h 5285288"/>
                  <a:gd name="connsiteX18" fmla="*/ 589138 w 2353641"/>
                  <a:gd name="connsiteY18" fmla="*/ 539231 h 5285288"/>
                  <a:gd name="connsiteX19" fmla="*/ 589133 w 2353641"/>
                  <a:gd name="connsiteY19" fmla="*/ 1065628 h 5285288"/>
                  <a:gd name="connsiteX20" fmla="*/ 586356 w 2353641"/>
                  <a:gd name="connsiteY20" fmla="*/ 1081825 h 5285288"/>
                  <a:gd name="connsiteX21" fmla="*/ 583530 w 2353641"/>
                  <a:gd name="connsiteY21" fmla="*/ 1858316 h 5285288"/>
                  <a:gd name="connsiteX22" fmla="*/ 585387 w 2353641"/>
                  <a:gd name="connsiteY22" fmla="*/ 1861834 h 5285288"/>
                  <a:gd name="connsiteX23" fmla="*/ 584720 w 2353641"/>
                  <a:gd name="connsiteY23" fmla="*/ 3038034 h 5285288"/>
                  <a:gd name="connsiteX24" fmla="*/ 582580 w 2353641"/>
                  <a:gd name="connsiteY24" fmla="*/ 4802821 h 5285288"/>
                  <a:gd name="connsiteX25" fmla="*/ 515782 w 2353641"/>
                  <a:gd name="connsiteY25" fmla="*/ 5061801 h 5285288"/>
                  <a:gd name="connsiteX26" fmla="*/ 371814 w 2353641"/>
                  <a:gd name="connsiteY26" fmla="*/ 5216241 h 5285288"/>
                  <a:gd name="connsiteX27" fmla="*/ 161178 w 2353641"/>
                  <a:gd name="connsiteY27" fmla="*/ 5284752 h 5285288"/>
                  <a:gd name="connsiteX28" fmla="*/ 111624 w 2353641"/>
                  <a:gd name="connsiteY28" fmla="*/ 5285252 h 5285288"/>
                  <a:gd name="connsiteX0" fmla="*/ 0 w 2242017"/>
                  <a:gd name="connsiteY0" fmla="*/ 5285252 h 5285252"/>
                  <a:gd name="connsiteX1" fmla="*/ 63496 w 2242017"/>
                  <a:gd name="connsiteY1" fmla="*/ 4799004 h 5285252"/>
                  <a:gd name="connsiteX2" fmla="*/ 65340 w 2242017"/>
                  <a:gd name="connsiteY2" fmla="*/ 4105978 h 5285252"/>
                  <a:gd name="connsiteX3" fmla="*/ 67611 w 2242017"/>
                  <a:gd name="connsiteY3" fmla="*/ 1054770 h 5285252"/>
                  <a:gd name="connsiteX4" fmla="*/ 66426 w 2242017"/>
                  <a:gd name="connsiteY4" fmla="*/ 1017192 h 5285252"/>
                  <a:gd name="connsiteX5" fmla="*/ 64391 w 2242017"/>
                  <a:gd name="connsiteY5" fmla="*/ 494424 h 5285252"/>
                  <a:gd name="connsiteX6" fmla="*/ 109882 w 2242017"/>
                  <a:gd name="connsiteY6" fmla="*/ 171698 h 5285252"/>
                  <a:gd name="connsiteX7" fmla="*/ 274489 w 2242017"/>
                  <a:gd name="connsiteY7" fmla="*/ 25112 h 5285252"/>
                  <a:gd name="connsiteX8" fmla="*/ 474135 w 2242017"/>
                  <a:gd name="connsiteY8" fmla="*/ 3326 h 5285252"/>
                  <a:gd name="connsiteX9" fmla="*/ 649839 w 2242017"/>
                  <a:gd name="connsiteY9" fmla="*/ 37548 h 5285252"/>
                  <a:gd name="connsiteX10" fmla="*/ 2200992 w 2242017"/>
                  <a:gd name="connsiteY10" fmla="*/ 924343 h 5285252"/>
                  <a:gd name="connsiteX11" fmla="*/ 2201949 w 2242017"/>
                  <a:gd name="connsiteY11" fmla="*/ 1149844 h 5285252"/>
                  <a:gd name="connsiteX12" fmla="*/ 2027984 w 2242017"/>
                  <a:gd name="connsiteY12" fmla="*/ 1269783 h 5285252"/>
                  <a:gd name="connsiteX13" fmla="*/ 2008137 w 2242017"/>
                  <a:gd name="connsiteY13" fmla="*/ 1262485 h 5285252"/>
                  <a:gd name="connsiteX14" fmla="*/ 542662 w 2242017"/>
                  <a:gd name="connsiteY14" fmla="*/ 431577 h 5285252"/>
                  <a:gd name="connsiteX15" fmla="*/ 542319 w 2242017"/>
                  <a:gd name="connsiteY15" fmla="*/ 431184 h 5285252"/>
                  <a:gd name="connsiteX16" fmla="*/ 520164 w 2242017"/>
                  <a:gd name="connsiteY16" fmla="*/ 437405 h 5285252"/>
                  <a:gd name="connsiteX17" fmla="*/ 477514 w 2242017"/>
                  <a:gd name="connsiteY17" fmla="*/ 539231 h 5285252"/>
                  <a:gd name="connsiteX18" fmla="*/ 477509 w 2242017"/>
                  <a:gd name="connsiteY18" fmla="*/ 1065628 h 5285252"/>
                  <a:gd name="connsiteX19" fmla="*/ 474732 w 2242017"/>
                  <a:gd name="connsiteY19" fmla="*/ 1081825 h 5285252"/>
                  <a:gd name="connsiteX20" fmla="*/ 471906 w 2242017"/>
                  <a:gd name="connsiteY20" fmla="*/ 1858316 h 5285252"/>
                  <a:gd name="connsiteX21" fmla="*/ 473763 w 2242017"/>
                  <a:gd name="connsiteY21" fmla="*/ 1861834 h 5285252"/>
                  <a:gd name="connsiteX22" fmla="*/ 473096 w 2242017"/>
                  <a:gd name="connsiteY22" fmla="*/ 3038034 h 5285252"/>
                  <a:gd name="connsiteX23" fmla="*/ 470956 w 2242017"/>
                  <a:gd name="connsiteY23" fmla="*/ 4802821 h 5285252"/>
                  <a:gd name="connsiteX24" fmla="*/ 404158 w 2242017"/>
                  <a:gd name="connsiteY24" fmla="*/ 5061801 h 5285252"/>
                  <a:gd name="connsiteX25" fmla="*/ 260190 w 2242017"/>
                  <a:gd name="connsiteY25" fmla="*/ 5216241 h 5285252"/>
                  <a:gd name="connsiteX26" fmla="*/ 49554 w 2242017"/>
                  <a:gd name="connsiteY26" fmla="*/ 5284752 h 5285252"/>
                  <a:gd name="connsiteX27" fmla="*/ 0 w 2242017"/>
                  <a:gd name="connsiteY27" fmla="*/ 5285252 h 5285252"/>
                  <a:gd name="connsiteX0" fmla="*/ 12071 w 2204534"/>
                  <a:gd name="connsiteY0" fmla="*/ 5284752 h 5284899"/>
                  <a:gd name="connsiteX1" fmla="*/ 26013 w 2204534"/>
                  <a:gd name="connsiteY1" fmla="*/ 4799004 h 5284899"/>
                  <a:gd name="connsiteX2" fmla="*/ 27857 w 2204534"/>
                  <a:gd name="connsiteY2" fmla="*/ 4105978 h 5284899"/>
                  <a:gd name="connsiteX3" fmla="*/ 30128 w 2204534"/>
                  <a:gd name="connsiteY3" fmla="*/ 1054770 h 5284899"/>
                  <a:gd name="connsiteX4" fmla="*/ 28943 w 2204534"/>
                  <a:gd name="connsiteY4" fmla="*/ 1017192 h 5284899"/>
                  <a:gd name="connsiteX5" fmla="*/ 26908 w 2204534"/>
                  <a:gd name="connsiteY5" fmla="*/ 494424 h 5284899"/>
                  <a:gd name="connsiteX6" fmla="*/ 72399 w 2204534"/>
                  <a:gd name="connsiteY6" fmla="*/ 171698 h 5284899"/>
                  <a:gd name="connsiteX7" fmla="*/ 237006 w 2204534"/>
                  <a:gd name="connsiteY7" fmla="*/ 25112 h 5284899"/>
                  <a:gd name="connsiteX8" fmla="*/ 436652 w 2204534"/>
                  <a:gd name="connsiteY8" fmla="*/ 3326 h 5284899"/>
                  <a:gd name="connsiteX9" fmla="*/ 612356 w 2204534"/>
                  <a:gd name="connsiteY9" fmla="*/ 37548 h 5284899"/>
                  <a:gd name="connsiteX10" fmla="*/ 2163509 w 2204534"/>
                  <a:gd name="connsiteY10" fmla="*/ 924343 h 5284899"/>
                  <a:gd name="connsiteX11" fmla="*/ 2164466 w 2204534"/>
                  <a:gd name="connsiteY11" fmla="*/ 1149844 h 5284899"/>
                  <a:gd name="connsiteX12" fmla="*/ 1990501 w 2204534"/>
                  <a:gd name="connsiteY12" fmla="*/ 1269783 h 5284899"/>
                  <a:gd name="connsiteX13" fmla="*/ 1970654 w 2204534"/>
                  <a:gd name="connsiteY13" fmla="*/ 1262485 h 5284899"/>
                  <a:gd name="connsiteX14" fmla="*/ 505179 w 2204534"/>
                  <a:gd name="connsiteY14" fmla="*/ 431577 h 5284899"/>
                  <a:gd name="connsiteX15" fmla="*/ 504836 w 2204534"/>
                  <a:gd name="connsiteY15" fmla="*/ 431184 h 5284899"/>
                  <a:gd name="connsiteX16" fmla="*/ 482681 w 2204534"/>
                  <a:gd name="connsiteY16" fmla="*/ 437405 h 5284899"/>
                  <a:gd name="connsiteX17" fmla="*/ 440031 w 2204534"/>
                  <a:gd name="connsiteY17" fmla="*/ 539231 h 5284899"/>
                  <a:gd name="connsiteX18" fmla="*/ 440026 w 2204534"/>
                  <a:gd name="connsiteY18" fmla="*/ 1065628 h 5284899"/>
                  <a:gd name="connsiteX19" fmla="*/ 437249 w 2204534"/>
                  <a:gd name="connsiteY19" fmla="*/ 1081825 h 5284899"/>
                  <a:gd name="connsiteX20" fmla="*/ 434423 w 2204534"/>
                  <a:gd name="connsiteY20" fmla="*/ 1858316 h 5284899"/>
                  <a:gd name="connsiteX21" fmla="*/ 436280 w 2204534"/>
                  <a:gd name="connsiteY21" fmla="*/ 1861834 h 5284899"/>
                  <a:gd name="connsiteX22" fmla="*/ 435613 w 2204534"/>
                  <a:gd name="connsiteY22" fmla="*/ 3038034 h 5284899"/>
                  <a:gd name="connsiteX23" fmla="*/ 433473 w 2204534"/>
                  <a:gd name="connsiteY23" fmla="*/ 4802821 h 5284899"/>
                  <a:gd name="connsiteX24" fmla="*/ 366675 w 2204534"/>
                  <a:gd name="connsiteY24" fmla="*/ 5061801 h 5284899"/>
                  <a:gd name="connsiteX25" fmla="*/ 222707 w 2204534"/>
                  <a:gd name="connsiteY25" fmla="*/ 5216241 h 5284899"/>
                  <a:gd name="connsiteX26" fmla="*/ 12071 w 2204534"/>
                  <a:gd name="connsiteY26" fmla="*/ 5284752 h 5284899"/>
                  <a:gd name="connsiteX0" fmla="*/ 197536 w 2179363"/>
                  <a:gd name="connsiteY0" fmla="*/ 5216241 h 5216241"/>
                  <a:gd name="connsiteX1" fmla="*/ 842 w 2179363"/>
                  <a:gd name="connsiteY1" fmla="*/ 4799004 h 5216241"/>
                  <a:gd name="connsiteX2" fmla="*/ 2686 w 2179363"/>
                  <a:gd name="connsiteY2" fmla="*/ 4105978 h 5216241"/>
                  <a:gd name="connsiteX3" fmla="*/ 4957 w 2179363"/>
                  <a:gd name="connsiteY3" fmla="*/ 1054770 h 5216241"/>
                  <a:gd name="connsiteX4" fmla="*/ 3772 w 2179363"/>
                  <a:gd name="connsiteY4" fmla="*/ 1017192 h 5216241"/>
                  <a:gd name="connsiteX5" fmla="*/ 1737 w 2179363"/>
                  <a:gd name="connsiteY5" fmla="*/ 494424 h 5216241"/>
                  <a:gd name="connsiteX6" fmla="*/ 47228 w 2179363"/>
                  <a:gd name="connsiteY6" fmla="*/ 171698 h 5216241"/>
                  <a:gd name="connsiteX7" fmla="*/ 211835 w 2179363"/>
                  <a:gd name="connsiteY7" fmla="*/ 25112 h 5216241"/>
                  <a:gd name="connsiteX8" fmla="*/ 411481 w 2179363"/>
                  <a:gd name="connsiteY8" fmla="*/ 3326 h 5216241"/>
                  <a:gd name="connsiteX9" fmla="*/ 587185 w 2179363"/>
                  <a:gd name="connsiteY9" fmla="*/ 37548 h 5216241"/>
                  <a:gd name="connsiteX10" fmla="*/ 2138338 w 2179363"/>
                  <a:gd name="connsiteY10" fmla="*/ 924343 h 5216241"/>
                  <a:gd name="connsiteX11" fmla="*/ 2139295 w 2179363"/>
                  <a:gd name="connsiteY11" fmla="*/ 1149844 h 5216241"/>
                  <a:gd name="connsiteX12" fmla="*/ 1965330 w 2179363"/>
                  <a:gd name="connsiteY12" fmla="*/ 1269783 h 5216241"/>
                  <a:gd name="connsiteX13" fmla="*/ 1945483 w 2179363"/>
                  <a:gd name="connsiteY13" fmla="*/ 1262485 h 5216241"/>
                  <a:gd name="connsiteX14" fmla="*/ 480008 w 2179363"/>
                  <a:gd name="connsiteY14" fmla="*/ 431577 h 5216241"/>
                  <a:gd name="connsiteX15" fmla="*/ 479665 w 2179363"/>
                  <a:gd name="connsiteY15" fmla="*/ 431184 h 5216241"/>
                  <a:gd name="connsiteX16" fmla="*/ 457510 w 2179363"/>
                  <a:gd name="connsiteY16" fmla="*/ 437405 h 5216241"/>
                  <a:gd name="connsiteX17" fmla="*/ 414860 w 2179363"/>
                  <a:gd name="connsiteY17" fmla="*/ 539231 h 5216241"/>
                  <a:gd name="connsiteX18" fmla="*/ 414855 w 2179363"/>
                  <a:gd name="connsiteY18" fmla="*/ 1065628 h 5216241"/>
                  <a:gd name="connsiteX19" fmla="*/ 412078 w 2179363"/>
                  <a:gd name="connsiteY19" fmla="*/ 1081825 h 5216241"/>
                  <a:gd name="connsiteX20" fmla="*/ 409252 w 2179363"/>
                  <a:gd name="connsiteY20" fmla="*/ 1858316 h 5216241"/>
                  <a:gd name="connsiteX21" fmla="*/ 411109 w 2179363"/>
                  <a:gd name="connsiteY21" fmla="*/ 1861834 h 5216241"/>
                  <a:gd name="connsiteX22" fmla="*/ 410442 w 2179363"/>
                  <a:gd name="connsiteY22" fmla="*/ 3038034 h 5216241"/>
                  <a:gd name="connsiteX23" fmla="*/ 408302 w 2179363"/>
                  <a:gd name="connsiteY23" fmla="*/ 4802821 h 5216241"/>
                  <a:gd name="connsiteX24" fmla="*/ 341504 w 2179363"/>
                  <a:gd name="connsiteY24" fmla="*/ 5061801 h 5216241"/>
                  <a:gd name="connsiteX25" fmla="*/ 197536 w 2179363"/>
                  <a:gd name="connsiteY25" fmla="*/ 5216241 h 5216241"/>
                  <a:gd name="connsiteX0" fmla="*/ 341504 w 2179363"/>
                  <a:gd name="connsiteY0" fmla="*/ 5061801 h 5061802"/>
                  <a:gd name="connsiteX1" fmla="*/ 842 w 2179363"/>
                  <a:gd name="connsiteY1" fmla="*/ 4799004 h 5061802"/>
                  <a:gd name="connsiteX2" fmla="*/ 2686 w 2179363"/>
                  <a:gd name="connsiteY2" fmla="*/ 4105978 h 5061802"/>
                  <a:gd name="connsiteX3" fmla="*/ 4957 w 2179363"/>
                  <a:gd name="connsiteY3" fmla="*/ 1054770 h 5061802"/>
                  <a:gd name="connsiteX4" fmla="*/ 3772 w 2179363"/>
                  <a:gd name="connsiteY4" fmla="*/ 1017192 h 5061802"/>
                  <a:gd name="connsiteX5" fmla="*/ 1737 w 2179363"/>
                  <a:gd name="connsiteY5" fmla="*/ 494424 h 5061802"/>
                  <a:gd name="connsiteX6" fmla="*/ 47228 w 2179363"/>
                  <a:gd name="connsiteY6" fmla="*/ 171698 h 5061802"/>
                  <a:gd name="connsiteX7" fmla="*/ 211835 w 2179363"/>
                  <a:gd name="connsiteY7" fmla="*/ 25112 h 5061802"/>
                  <a:gd name="connsiteX8" fmla="*/ 411481 w 2179363"/>
                  <a:gd name="connsiteY8" fmla="*/ 3326 h 5061802"/>
                  <a:gd name="connsiteX9" fmla="*/ 587185 w 2179363"/>
                  <a:gd name="connsiteY9" fmla="*/ 37548 h 5061802"/>
                  <a:gd name="connsiteX10" fmla="*/ 2138338 w 2179363"/>
                  <a:gd name="connsiteY10" fmla="*/ 924343 h 5061802"/>
                  <a:gd name="connsiteX11" fmla="*/ 2139295 w 2179363"/>
                  <a:gd name="connsiteY11" fmla="*/ 1149844 h 5061802"/>
                  <a:gd name="connsiteX12" fmla="*/ 1965330 w 2179363"/>
                  <a:gd name="connsiteY12" fmla="*/ 1269783 h 5061802"/>
                  <a:gd name="connsiteX13" fmla="*/ 1945483 w 2179363"/>
                  <a:gd name="connsiteY13" fmla="*/ 1262485 h 5061802"/>
                  <a:gd name="connsiteX14" fmla="*/ 480008 w 2179363"/>
                  <a:gd name="connsiteY14" fmla="*/ 431577 h 5061802"/>
                  <a:gd name="connsiteX15" fmla="*/ 479665 w 2179363"/>
                  <a:gd name="connsiteY15" fmla="*/ 431184 h 5061802"/>
                  <a:gd name="connsiteX16" fmla="*/ 457510 w 2179363"/>
                  <a:gd name="connsiteY16" fmla="*/ 437405 h 5061802"/>
                  <a:gd name="connsiteX17" fmla="*/ 414860 w 2179363"/>
                  <a:gd name="connsiteY17" fmla="*/ 539231 h 5061802"/>
                  <a:gd name="connsiteX18" fmla="*/ 414855 w 2179363"/>
                  <a:gd name="connsiteY18" fmla="*/ 1065628 h 5061802"/>
                  <a:gd name="connsiteX19" fmla="*/ 412078 w 2179363"/>
                  <a:gd name="connsiteY19" fmla="*/ 1081825 h 5061802"/>
                  <a:gd name="connsiteX20" fmla="*/ 409252 w 2179363"/>
                  <a:gd name="connsiteY20" fmla="*/ 1858316 h 5061802"/>
                  <a:gd name="connsiteX21" fmla="*/ 411109 w 2179363"/>
                  <a:gd name="connsiteY21" fmla="*/ 1861834 h 5061802"/>
                  <a:gd name="connsiteX22" fmla="*/ 410442 w 2179363"/>
                  <a:gd name="connsiteY22" fmla="*/ 3038034 h 5061802"/>
                  <a:gd name="connsiteX23" fmla="*/ 408302 w 2179363"/>
                  <a:gd name="connsiteY23" fmla="*/ 4802821 h 5061802"/>
                  <a:gd name="connsiteX24" fmla="*/ 341504 w 2179363"/>
                  <a:gd name="connsiteY24" fmla="*/ 5061801 h 5061802"/>
                  <a:gd name="connsiteX0" fmla="*/ 341504 w 2179363"/>
                  <a:gd name="connsiteY0" fmla="*/ 5061801 h 5061802"/>
                  <a:gd name="connsiteX1" fmla="*/ 2686 w 2179363"/>
                  <a:gd name="connsiteY1" fmla="*/ 4105978 h 5061802"/>
                  <a:gd name="connsiteX2" fmla="*/ 4957 w 2179363"/>
                  <a:gd name="connsiteY2" fmla="*/ 1054770 h 5061802"/>
                  <a:gd name="connsiteX3" fmla="*/ 3772 w 2179363"/>
                  <a:gd name="connsiteY3" fmla="*/ 1017192 h 5061802"/>
                  <a:gd name="connsiteX4" fmla="*/ 1737 w 2179363"/>
                  <a:gd name="connsiteY4" fmla="*/ 494424 h 5061802"/>
                  <a:gd name="connsiteX5" fmla="*/ 47228 w 2179363"/>
                  <a:gd name="connsiteY5" fmla="*/ 171698 h 5061802"/>
                  <a:gd name="connsiteX6" fmla="*/ 211835 w 2179363"/>
                  <a:gd name="connsiteY6" fmla="*/ 25112 h 5061802"/>
                  <a:gd name="connsiteX7" fmla="*/ 411481 w 2179363"/>
                  <a:gd name="connsiteY7" fmla="*/ 3326 h 5061802"/>
                  <a:gd name="connsiteX8" fmla="*/ 587185 w 2179363"/>
                  <a:gd name="connsiteY8" fmla="*/ 37548 h 5061802"/>
                  <a:gd name="connsiteX9" fmla="*/ 2138338 w 2179363"/>
                  <a:gd name="connsiteY9" fmla="*/ 924343 h 5061802"/>
                  <a:gd name="connsiteX10" fmla="*/ 2139295 w 2179363"/>
                  <a:gd name="connsiteY10" fmla="*/ 1149844 h 5061802"/>
                  <a:gd name="connsiteX11" fmla="*/ 1965330 w 2179363"/>
                  <a:gd name="connsiteY11" fmla="*/ 1269783 h 5061802"/>
                  <a:gd name="connsiteX12" fmla="*/ 1945483 w 2179363"/>
                  <a:gd name="connsiteY12" fmla="*/ 1262485 h 5061802"/>
                  <a:gd name="connsiteX13" fmla="*/ 480008 w 2179363"/>
                  <a:gd name="connsiteY13" fmla="*/ 431577 h 5061802"/>
                  <a:gd name="connsiteX14" fmla="*/ 479665 w 2179363"/>
                  <a:gd name="connsiteY14" fmla="*/ 431184 h 5061802"/>
                  <a:gd name="connsiteX15" fmla="*/ 457510 w 2179363"/>
                  <a:gd name="connsiteY15" fmla="*/ 437405 h 5061802"/>
                  <a:gd name="connsiteX16" fmla="*/ 414860 w 2179363"/>
                  <a:gd name="connsiteY16" fmla="*/ 539231 h 5061802"/>
                  <a:gd name="connsiteX17" fmla="*/ 414855 w 2179363"/>
                  <a:gd name="connsiteY17" fmla="*/ 1065628 h 5061802"/>
                  <a:gd name="connsiteX18" fmla="*/ 412078 w 2179363"/>
                  <a:gd name="connsiteY18" fmla="*/ 1081825 h 5061802"/>
                  <a:gd name="connsiteX19" fmla="*/ 409252 w 2179363"/>
                  <a:gd name="connsiteY19" fmla="*/ 1858316 h 5061802"/>
                  <a:gd name="connsiteX20" fmla="*/ 411109 w 2179363"/>
                  <a:gd name="connsiteY20" fmla="*/ 1861834 h 5061802"/>
                  <a:gd name="connsiteX21" fmla="*/ 410442 w 2179363"/>
                  <a:gd name="connsiteY21" fmla="*/ 3038034 h 5061802"/>
                  <a:gd name="connsiteX22" fmla="*/ 408302 w 2179363"/>
                  <a:gd name="connsiteY22" fmla="*/ 4802821 h 5061802"/>
                  <a:gd name="connsiteX23" fmla="*/ 341504 w 2179363"/>
                  <a:gd name="connsiteY23" fmla="*/ 5061801 h 5061802"/>
                  <a:gd name="connsiteX0" fmla="*/ 408302 w 2179363"/>
                  <a:gd name="connsiteY0" fmla="*/ 4802821 h 4858808"/>
                  <a:gd name="connsiteX1" fmla="*/ 2686 w 2179363"/>
                  <a:gd name="connsiteY1" fmla="*/ 4105978 h 4858808"/>
                  <a:gd name="connsiteX2" fmla="*/ 4957 w 2179363"/>
                  <a:gd name="connsiteY2" fmla="*/ 1054770 h 4858808"/>
                  <a:gd name="connsiteX3" fmla="*/ 3772 w 2179363"/>
                  <a:gd name="connsiteY3" fmla="*/ 1017192 h 4858808"/>
                  <a:gd name="connsiteX4" fmla="*/ 1737 w 2179363"/>
                  <a:gd name="connsiteY4" fmla="*/ 494424 h 4858808"/>
                  <a:gd name="connsiteX5" fmla="*/ 47228 w 2179363"/>
                  <a:gd name="connsiteY5" fmla="*/ 171698 h 4858808"/>
                  <a:gd name="connsiteX6" fmla="*/ 211835 w 2179363"/>
                  <a:gd name="connsiteY6" fmla="*/ 25112 h 4858808"/>
                  <a:gd name="connsiteX7" fmla="*/ 411481 w 2179363"/>
                  <a:gd name="connsiteY7" fmla="*/ 3326 h 4858808"/>
                  <a:gd name="connsiteX8" fmla="*/ 587185 w 2179363"/>
                  <a:gd name="connsiteY8" fmla="*/ 37548 h 4858808"/>
                  <a:gd name="connsiteX9" fmla="*/ 2138338 w 2179363"/>
                  <a:gd name="connsiteY9" fmla="*/ 924343 h 4858808"/>
                  <a:gd name="connsiteX10" fmla="*/ 2139295 w 2179363"/>
                  <a:gd name="connsiteY10" fmla="*/ 1149844 h 4858808"/>
                  <a:gd name="connsiteX11" fmla="*/ 1965330 w 2179363"/>
                  <a:gd name="connsiteY11" fmla="*/ 1269783 h 4858808"/>
                  <a:gd name="connsiteX12" fmla="*/ 1945483 w 2179363"/>
                  <a:gd name="connsiteY12" fmla="*/ 1262485 h 4858808"/>
                  <a:gd name="connsiteX13" fmla="*/ 480008 w 2179363"/>
                  <a:gd name="connsiteY13" fmla="*/ 431577 h 4858808"/>
                  <a:gd name="connsiteX14" fmla="*/ 479665 w 2179363"/>
                  <a:gd name="connsiteY14" fmla="*/ 431184 h 4858808"/>
                  <a:gd name="connsiteX15" fmla="*/ 457510 w 2179363"/>
                  <a:gd name="connsiteY15" fmla="*/ 437405 h 4858808"/>
                  <a:gd name="connsiteX16" fmla="*/ 414860 w 2179363"/>
                  <a:gd name="connsiteY16" fmla="*/ 539231 h 4858808"/>
                  <a:gd name="connsiteX17" fmla="*/ 414855 w 2179363"/>
                  <a:gd name="connsiteY17" fmla="*/ 1065628 h 4858808"/>
                  <a:gd name="connsiteX18" fmla="*/ 412078 w 2179363"/>
                  <a:gd name="connsiteY18" fmla="*/ 1081825 h 4858808"/>
                  <a:gd name="connsiteX19" fmla="*/ 409252 w 2179363"/>
                  <a:gd name="connsiteY19" fmla="*/ 1858316 h 4858808"/>
                  <a:gd name="connsiteX20" fmla="*/ 411109 w 2179363"/>
                  <a:gd name="connsiteY20" fmla="*/ 1861834 h 4858808"/>
                  <a:gd name="connsiteX21" fmla="*/ 410442 w 2179363"/>
                  <a:gd name="connsiteY21" fmla="*/ 3038034 h 4858808"/>
                  <a:gd name="connsiteX22" fmla="*/ 408302 w 2179363"/>
                  <a:gd name="connsiteY22" fmla="*/ 4802821 h 4858808"/>
                  <a:gd name="connsiteX0" fmla="*/ 410442 w 2179363"/>
                  <a:gd name="connsiteY0" fmla="*/ 3038034 h 4170698"/>
                  <a:gd name="connsiteX1" fmla="*/ 2686 w 2179363"/>
                  <a:gd name="connsiteY1" fmla="*/ 4105978 h 4170698"/>
                  <a:gd name="connsiteX2" fmla="*/ 4957 w 2179363"/>
                  <a:gd name="connsiteY2" fmla="*/ 1054770 h 4170698"/>
                  <a:gd name="connsiteX3" fmla="*/ 3772 w 2179363"/>
                  <a:gd name="connsiteY3" fmla="*/ 1017192 h 4170698"/>
                  <a:gd name="connsiteX4" fmla="*/ 1737 w 2179363"/>
                  <a:gd name="connsiteY4" fmla="*/ 494424 h 4170698"/>
                  <a:gd name="connsiteX5" fmla="*/ 47228 w 2179363"/>
                  <a:gd name="connsiteY5" fmla="*/ 171698 h 4170698"/>
                  <a:gd name="connsiteX6" fmla="*/ 211835 w 2179363"/>
                  <a:gd name="connsiteY6" fmla="*/ 25112 h 4170698"/>
                  <a:gd name="connsiteX7" fmla="*/ 411481 w 2179363"/>
                  <a:gd name="connsiteY7" fmla="*/ 3326 h 4170698"/>
                  <a:gd name="connsiteX8" fmla="*/ 587185 w 2179363"/>
                  <a:gd name="connsiteY8" fmla="*/ 37548 h 4170698"/>
                  <a:gd name="connsiteX9" fmla="*/ 2138338 w 2179363"/>
                  <a:gd name="connsiteY9" fmla="*/ 924343 h 4170698"/>
                  <a:gd name="connsiteX10" fmla="*/ 2139295 w 2179363"/>
                  <a:gd name="connsiteY10" fmla="*/ 1149844 h 4170698"/>
                  <a:gd name="connsiteX11" fmla="*/ 1965330 w 2179363"/>
                  <a:gd name="connsiteY11" fmla="*/ 1269783 h 4170698"/>
                  <a:gd name="connsiteX12" fmla="*/ 1945483 w 2179363"/>
                  <a:gd name="connsiteY12" fmla="*/ 1262485 h 4170698"/>
                  <a:gd name="connsiteX13" fmla="*/ 480008 w 2179363"/>
                  <a:gd name="connsiteY13" fmla="*/ 431577 h 4170698"/>
                  <a:gd name="connsiteX14" fmla="*/ 479665 w 2179363"/>
                  <a:gd name="connsiteY14" fmla="*/ 431184 h 4170698"/>
                  <a:gd name="connsiteX15" fmla="*/ 457510 w 2179363"/>
                  <a:gd name="connsiteY15" fmla="*/ 437405 h 4170698"/>
                  <a:gd name="connsiteX16" fmla="*/ 414860 w 2179363"/>
                  <a:gd name="connsiteY16" fmla="*/ 539231 h 4170698"/>
                  <a:gd name="connsiteX17" fmla="*/ 414855 w 2179363"/>
                  <a:gd name="connsiteY17" fmla="*/ 1065628 h 4170698"/>
                  <a:gd name="connsiteX18" fmla="*/ 412078 w 2179363"/>
                  <a:gd name="connsiteY18" fmla="*/ 1081825 h 4170698"/>
                  <a:gd name="connsiteX19" fmla="*/ 409252 w 2179363"/>
                  <a:gd name="connsiteY19" fmla="*/ 1858316 h 4170698"/>
                  <a:gd name="connsiteX20" fmla="*/ 411109 w 2179363"/>
                  <a:gd name="connsiteY20" fmla="*/ 1861834 h 4170698"/>
                  <a:gd name="connsiteX21" fmla="*/ 410442 w 2179363"/>
                  <a:gd name="connsiteY21" fmla="*/ 3038034 h 4170698"/>
                  <a:gd name="connsiteX0" fmla="*/ 410442 w 2179363"/>
                  <a:gd name="connsiteY0" fmla="*/ 3038034 h 3038034"/>
                  <a:gd name="connsiteX1" fmla="*/ 4957 w 2179363"/>
                  <a:gd name="connsiteY1" fmla="*/ 1054770 h 3038034"/>
                  <a:gd name="connsiteX2" fmla="*/ 3772 w 2179363"/>
                  <a:gd name="connsiteY2" fmla="*/ 1017192 h 3038034"/>
                  <a:gd name="connsiteX3" fmla="*/ 1737 w 2179363"/>
                  <a:gd name="connsiteY3" fmla="*/ 494424 h 3038034"/>
                  <a:gd name="connsiteX4" fmla="*/ 47228 w 2179363"/>
                  <a:gd name="connsiteY4" fmla="*/ 171698 h 3038034"/>
                  <a:gd name="connsiteX5" fmla="*/ 211835 w 2179363"/>
                  <a:gd name="connsiteY5" fmla="*/ 25112 h 3038034"/>
                  <a:gd name="connsiteX6" fmla="*/ 411481 w 2179363"/>
                  <a:gd name="connsiteY6" fmla="*/ 3326 h 3038034"/>
                  <a:gd name="connsiteX7" fmla="*/ 587185 w 2179363"/>
                  <a:gd name="connsiteY7" fmla="*/ 37548 h 3038034"/>
                  <a:gd name="connsiteX8" fmla="*/ 2138338 w 2179363"/>
                  <a:gd name="connsiteY8" fmla="*/ 924343 h 3038034"/>
                  <a:gd name="connsiteX9" fmla="*/ 2139295 w 2179363"/>
                  <a:gd name="connsiteY9" fmla="*/ 1149844 h 3038034"/>
                  <a:gd name="connsiteX10" fmla="*/ 1965330 w 2179363"/>
                  <a:gd name="connsiteY10" fmla="*/ 1269783 h 3038034"/>
                  <a:gd name="connsiteX11" fmla="*/ 1945483 w 2179363"/>
                  <a:gd name="connsiteY11" fmla="*/ 1262485 h 3038034"/>
                  <a:gd name="connsiteX12" fmla="*/ 480008 w 2179363"/>
                  <a:gd name="connsiteY12" fmla="*/ 431577 h 3038034"/>
                  <a:gd name="connsiteX13" fmla="*/ 479665 w 2179363"/>
                  <a:gd name="connsiteY13" fmla="*/ 431184 h 3038034"/>
                  <a:gd name="connsiteX14" fmla="*/ 457510 w 2179363"/>
                  <a:gd name="connsiteY14" fmla="*/ 437405 h 3038034"/>
                  <a:gd name="connsiteX15" fmla="*/ 414860 w 2179363"/>
                  <a:gd name="connsiteY15" fmla="*/ 539231 h 3038034"/>
                  <a:gd name="connsiteX16" fmla="*/ 414855 w 2179363"/>
                  <a:gd name="connsiteY16" fmla="*/ 1065628 h 3038034"/>
                  <a:gd name="connsiteX17" fmla="*/ 412078 w 2179363"/>
                  <a:gd name="connsiteY17" fmla="*/ 1081825 h 3038034"/>
                  <a:gd name="connsiteX18" fmla="*/ 409252 w 2179363"/>
                  <a:gd name="connsiteY18" fmla="*/ 1858316 h 3038034"/>
                  <a:gd name="connsiteX19" fmla="*/ 411109 w 2179363"/>
                  <a:gd name="connsiteY19" fmla="*/ 1861834 h 3038034"/>
                  <a:gd name="connsiteX20" fmla="*/ 410442 w 2179363"/>
                  <a:gd name="connsiteY20" fmla="*/ 3038034 h 3038034"/>
                  <a:gd name="connsiteX0" fmla="*/ 411109 w 2179363"/>
                  <a:gd name="connsiteY0" fmla="*/ 1861834 h 1861834"/>
                  <a:gd name="connsiteX1" fmla="*/ 4957 w 2179363"/>
                  <a:gd name="connsiteY1" fmla="*/ 1054770 h 1861834"/>
                  <a:gd name="connsiteX2" fmla="*/ 3772 w 2179363"/>
                  <a:gd name="connsiteY2" fmla="*/ 1017192 h 1861834"/>
                  <a:gd name="connsiteX3" fmla="*/ 1737 w 2179363"/>
                  <a:gd name="connsiteY3" fmla="*/ 494424 h 1861834"/>
                  <a:gd name="connsiteX4" fmla="*/ 47228 w 2179363"/>
                  <a:gd name="connsiteY4" fmla="*/ 171698 h 1861834"/>
                  <a:gd name="connsiteX5" fmla="*/ 211835 w 2179363"/>
                  <a:gd name="connsiteY5" fmla="*/ 25112 h 1861834"/>
                  <a:gd name="connsiteX6" fmla="*/ 411481 w 2179363"/>
                  <a:gd name="connsiteY6" fmla="*/ 3326 h 1861834"/>
                  <a:gd name="connsiteX7" fmla="*/ 587185 w 2179363"/>
                  <a:gd name="connsiteY7" fmla="*/ 37548 h 1861834"/>
                  <a:gd name="connsiteX8" fmla="*/ 2138338 w 2179363"/>
                  <a:gd name="connsiteY8" fmla="*/ 924343 h 1861834"/>
                  <a:gd name="connsiteX9" fmla="*/ 2139295 w 2179363"/>
                  <a:gd name="connsiteY9" fmla="*/ 1149844 h 1861834"/>
                  <a:gd name="connsiteX10" fmla="*/ 1965330 w 2179363"/>
                  <a:gd name="connsiteY10" fmla="*/ 1269783 h 1861834"/>
                  <a:gd name="connsiteX11" fmla="*/ 1945483 w 2179363"/>
                  <a:gd name="connsiteY11" fmla="*/ 1262485 h 1861834"/>
                  <a:gd name="connsiteX12" fmla="*/ 480008 w 2179363"/>
                  <a:gd name="connsiteY12" fmla="*/ 431577 h 1861834"/>
                  <a:gd name="connsiteX13" fmla="*/ 479665 w 2179363"/>
                  <a:gd name="connsiteY13" fmla="*/ 431184 h 1861834"/>
                  <a:gd name="connsiteX14" fmla="*/ 457510 w 2179363"/>
                  <a:gd name="connsiteY14" fmla="*/ 437405 h 1861834"/>
                  <a:gd name="connsiteX15" fmla="*/ 414860 w 2179363"/>
                  <a:gd name="connsiteY15" fmla="*/ 539231 h 1861834"/>
                  <a:gd name="connsiteX16" fmla="*/ 414855 w 2179363"/>
                  <a:gd name="connsiteY16" fmla="*/ 1065628 h 1861834"/>
                  <a:gd name="connsiteX17" fmla="*/ 412078 w 2179363"/>
                  <a:gd name="connsiteY17" fmla="*/ 1081825 h 1861834"/>
                  <a:gd name="connsiteX18" fmla="*/ 409252 w 2179363"/>
                  <a:gd name="connsiteY18" fmla="*/ 1858316 h 1861834"/>
                  <a:gd name="connsiteX19" fmla="*/ 411109 w 2179363"/>
                  <a:gd name="connsiteY19" fmla="*/ 1861834 h 1861834"/>
                  <a:gd name="connsiteX0" fmla="*/ 409252 w 2179363"/>
                  <a:gd name="connsiteY0" fmla="*/ 1858316 h 1858316"/>
                  <a:gd name="connsiteX1" fmla="*/ 4957 w 2179363"/>
                  <a:gd name="connsiteY1" fmla="*/ 1054770 h 1858316"/>
                  <a:gd name="connsiteX2" fmla="*/ 3772 w 2179363"/>
                  <a:gd name="connsiteY2" fmla="*/ 1017192 h 1858316"/>
                  <a:gd name="connsiteX3" fmla="*/ 1737 w 2179363"/>
                  <a:gd name="connsiteY3" fmla="*/ 494424 h 1858316"/>
                  <a:gd name="connsiteX4" fmla="*/ 47228 w 2179363"/>
                  <a:gd name="connsiteY4" fmla="*/ 171698 h 1858316"/>
                  <a:gd name="connsiteX5" fmla="*/ 211835 w 2179363"/>
                  <a:gd name="connsiteY5" fmla="*/ 25112 h 1858316"/>
                  <a:gd name="connsiteX6" fmla="*/ 411481 w 2179363"/>
                  <a:gd name="connsiteY6" fmla="*/ 3326 h 1858316"/>
                  <a:gd name="connsiteX7" fmla="*/ 587185 w 2179363"/>
                  <a:gd name="connsiteY7" fmla="*/ 37548 h 1858316"/>
                  <a:gd name="connsiteX8" fmla="*/ 2138338 w 2179363"/>
                  <a:gd name="connsiteY8" fmla="*/ 924343 h 1858316"/>
                  <a:gd name="connsiteX9" fmla="*/ 2139295 w 2179363"/>
                  <a:gd name="connsiteY9" fmla="*/ 1149844 h 1858316"/>
                  <a:gd name="connsiteX10" fmla="*/ 1965330 w 2179363"/>
                  <a:gd name="connsiteY10" fmla="*/ 1269783 h 1858316"/>
                  <a:gd name="connsiteX11" fmla="*/ 1945483 w 2179363"/>
                  <a:gd name="connsiteY11" fmla="*/ 1262485 h 1858316"/>
                  <a:gd name="connsiteX12" fmla="*/ 480008 w 2179363"/>
                  <a:gd name="connsiteY12" fmla="*/ 431577 h 1858316"/>
                  <a:gd name="connsiteX13" fmla="*/ 479665 w 2179363"/>
                  <a:gd name="connsiteY13" fmla="*/ 431184 h 1858316"/>
                  <a:gd name="connsiteX14" fmla="*/ 457510 w 2179363"/>
                  <a:gd name="connsiteY14" fmla="*/ 437405 h 1858316"/>
                  <a:gd name="connsiteX15" fmla="*/ 414860 w 2179363"/>
                  <a:gd name="connsiteY15" fmla="*/ 539231 h 1858316"/>
                  <a:gd name="connsiteX16" fmla="*/ 414855 w 2179363"/>
                  <a:gd name="connsiteY16" fmla="*/ 1065628 h 1858316"/>
                  <a:gd name="connsiteX17" fmla="*/ 412078 w 2179363"/>
                  <a:gd name="connsiteY17" fmla="*/ 1081825 h 1858316"/>
                  <a:gd name="connsiteX18" fmla="*/ 409252 w 2179363"/>
                  <a:gd name="connsiteY18" fmla="*/ 1858316 h 1858316"/>
                  <a:gd name="connsiteX0" fmla="*/ 407757 w 2177868"/>
                  <a:gd name="connsiteY0" fmla="*/ 1858316 h 1858316"/>
                  <a:gd name="connsiteX1" fmla="*/ 3462 w 2177868"/>
                  <a:gd name="connsiteY1" fmla="*/ 1054770 h 1858316"/>
                  <a:gd name="connsiteX2" fmla="*/ 242 w 2177868"/>
                  <a:gd name="connsiteY2" fmla="*/ 494424 h 1858316"/>
                  <a:gd name="connsiteX3" fmla="*/ 45733 w 2177868"/>
                  <a:gd name="connsiteY3" fmla="*/ 171698 h 1858316"/>
                  <a:gd name="connsiteX4" fmla="*/ 210340 w 2177868"/>
                  <a:gd name="connsiteY4" fmla="*/ 25112 h 1858316"/>
                  <a:gd name="connsiteX5" fmla="*/ 409986 w 2177868"/>
                  <a:gd name="connsiteY5" fmla="*/ 3326 h 1858316"/>
                  <a:gd name="connsiteX6" fmla="*/ 585690 w 2177868"/>
                  <a:gd name="connsiteY6" fmla="*/ 37548 h 1858316"/>
                  <a:gd name="connsiteX7" fmla="*/ 2136843 w 2177868"/>
                  <a:gd name="connsiteY7" fmla="*/ 924343 h 1858316"/>
                  <a:gd name="connsiteX8" fmla="*/ 2137800 w 2177868"/>
                  <a:gd name="connsiteY8" fmla="*/ 1149844 h 1858316"/>
                  <a:gd name="connsiteX9" fmla="*/ 1963835 w 2177868"/>
                  <a:gd name="connsiteY9" fmla="*/ 1269783 h 1858316"/>
                  <a:gd name="connsiteX10" fmla="*/ 1943988 w 2177868"/>
                  <a:gd name="connsiteY10" fmla="*/ 1262485 h 1858316"/>
                  <a:gd name="connsiteX11" fmla="*/ 478513 w 2177868"/>
                  <a:gd name="connsiteY11" fmla="*/ 431577 h 1858316"/>
                  <a:gd name="connsiteX12" fmla="*/ 478170 w 2177868"/>
                  <a:gd name="connsiteY12" fmla="*/ 431184 h 1858316"/>
                  <a:gd name="connsiteX13" fmla="*/ 456015 w 2177868"/>
                  <a:gd name="connsiteY13" fmla="*/ 437405 h 1858316"/>
                  <a:gd name="connsiteX14" fmla="*/ 413365 w 2177868"/>
                  <a:gd name="connsiteY14" fmla="*/ 539231 h 1858316"/>
                  <a:gd name="connsiteX15" fmla="*/ 413360 w 2177868"/>
                  <a:gd name="connsiteY15" fmla="*/ 1065628 h 1858316"/>
                  <a:gd name="connsiteX16" fmla="*/ 410583 w 2177868"/>
                  <a:gd name="connsiteY16" fmla="*/ 1081825 h 1858316"/>
                  <a:gd name="connsiteX17" fmla="*/ 407757 w 2177868"/>
                  <a:gd name="connsiteY17" fmla="*/ 1858316 h 1858316"/>
                  <a:gd name="connsiteX0" fmla="*/ 407757 w 2177868"/>
                  <a:gd name="connsiteY0" fmla="*/ 1858316 h 1858316"/>
                  <a:gd name="connsiteX1" fmla="*/ 242 w 2177868"/>
                  <a:gd name="connsiteY1" fmla="*/ 494424 h 1858316"/>
                  <a:gd name="connsiteX2" fmla="*/ 45733 w 2177868"/>
                  <a:gd name="connsiteY2" fmla="*/ 171698 h 1858316"/>
                  <a:gd name="connsiteX3" fmla="*/ 210340 w 2177868"/>
                  <a:gd name="connsiteY3" fmla="*/ 25112 h 1858316"/>
                  <a:gd name="connsiteX4" fmla="*/ 409986 w 2177868"/>
                  <a:gd name="connsiteY4" fmla="*/ 3326 h 1858316"/>
                  <a:gd name="connsiteX5" fmla="*/ 585690 w 2177868"/>
                  <a:gd name="connsiteY5" fmla="*/ 37548 h 1858316"/>
                  <a:gd name="connsiteX6" fmla="*/ 2136843 w 2177868"/>
                  <a:gd name="connsiteY6" fmla="*/ 924343 h 1858316"/>
                  <a:gd name="connsiteX7" fmla="*/ 2137800 w 2177868"/>
                  <a:gd name="connsiteY7" fmla="*/ 1149844 h 1858316"/>
                  <a:gd name="connsiteX8" fmla="*/ 1963835 w 2177868"/>
                  <a:gd name="connsiteY8" fmla="*/ 1269783 h 1858316"/>
                  <a:gd name="connsiteX9" fmla="*/ 1943988 w 2177868"/>
                  <a:gd name="connsiteY9" fmla="*/ 1262485 h 1858316"/>
                  <a:gd name="connsiteX10" fmla="*/ 478513 w 2177868"/>
                  <a:gd name="connsiteY10" fmla="*/ 431577 h 1858316"/>
                  <a:gd name="connsiteX11" fmla="*/ 478170 w 2177868"/>
                  <a:gd name="connsiteY11" fmla="*/ 431184 h 1858316"/>
                  <a:gd name="connsiteX12" fmla="*/ 456015 w 2177868"/>
                  <a:gd name="connsiteY12" fmla="*/ 437405 h 1858316"/>
                  <a:gd name="connsiteX13" fmla="*/ 413365 w 2177868"/>
                  <a:gd name="connsiteY13" fmla="*/ 539231 h 1858316"/>
                  <a:gd name="connsiteX14" fmla="*/ 413360 w 2177868"/>
                  <a:gd name="connsiteY14" fmla="*/ 1065628 h 1858316"/>
                  <a:gd name="connsiteX15" fmla="*/ 410583 w 2177868"/>
                  <a:gd name="connsiteY15" fmla="*/ 1081825 h 1858316"/>
                  <a:gd name="connsiteX16" fmla="*/ 407757 w 2177868"/>
                  <a:gd name="connsiteY16" fmla="*/ 1858316 h 1858316"/>
                  <a:gd name="connsiteX0" fmla="*/ 407757 w 2177868"/>
                  <a:gd name="connsiteY0" fmla="*/ 1858316 h 1858316"/>
                  <a:gd name="connsiteX1" fmla="*/ 242 w 2177868"/>
                  <a:gd name="connsiteY1" fmla="*/ 494424 h 1858316"/>
                  <a:gd name="connsiteX2" fmla="*/ 45733 w 2177868"/>
                  <a:gd name="connsiteY2" fmla="*/ 171698 h 1858316"/>
                  <a:gd name="connsiteX3" fmla="*/ 210340 w 2177868"/>
                  <a:gd name="connsiteY3" fmla="*/ 25112 h 1858316"/>
                  <a:gd name="connsiteX4" fmla="*/ 409986 w 2177868"/>
                  <a:gd name="connsiteY4" fmla="*/ 3326 h 1858316"/>
                  <a:gd name="connsiteX5" fmla="*/ 585690 w 2177868"/>
                  <a:gd name="connsiteY5" fmla="*/ 37548 h 1858316"/>
                  <a:gd name="connsiteX6" fmla="*/ 2136843 w 2177868"/>
                  <a:gd name="connsiteY6" fmla="*/ 924343 h 1858316"/>
                  <a:gd name="connsiteX7" fmla="*/ 2137800 w 2177868"/>
                  <a:gd name="connsiteY7" fmla="*/ 1149844 h 1858316"/>
                  <a:gd name="connsiteX8" fmla="*/ 1963835 w 2177868"/>
                  <a:gd name="connsiteY8" fmla="*/ 1269783 h 1858316"/>
                  <a:gd name="connsiteX9" fmla="*/ 1943988 w 2177868"/>
                  <a:gd name="connsiteY9" fmla="*/ 1262485 h 1858316"/>
                  <a:gd name="connsiteX10" fmla="*/ 478513 w 2177868"/>
                  <a:gd name="connsiteY10" fmla="*/ 431577 h 1858316"/>
                  <a:gd name="connsiteX11" fmla="*/ 478170 w 2177868"/>
                  <a:gd name="connsiteY11" fmla="*/ 431184 h 1858316"/>
                  <a:gd name="connsiteX12" fmla="*/ 456015 w 2177868"/>
                  <a:gd name="connsiteY12" fmla="*/ 437405 h 1858316"/>
                  <a:gd name="connsiteX13" fmla="*/ 413365 w 2177868"/>
                  <a:gd name="connsiteY13" fmla="*/ 539231 h 1858316"/>
                  <a:gd name="connsiteX14" fmla="*/ 413360 w 2177868"/>
                  <a:gd name="connsiteY14" fmla="*/ 1065628 h 1858316"/>
                  <a:gd name="connsiteX15" fmla="*/ 407757 w 2177868"/>
                  <a:gd name="connsiteY15" fmla="*/ 1858316 h 1858316"/>
                  <a:gd name="connsiteX0" fmla="*/ 437026 w 2201534"/>
                  <a:gd name="connsiteY0" fmla="*/ 1065628 h 1271115"/>
                  <a:gd name="connsiteX1" fmla="*/ 23908 w 2201534"/>
                  <a:gd name="connsiteY1" fmla="*/ 494424 h 1271115"/>
                  <a:gd name="connsiteX2" fmla="*/ 69399 w 2201534"/>
                  <a:gd name="connsiteY2" fmla="*/ 171698 h 1271115"/>
                  <a:gd name="connsiteX3" fmla="*/ 234006 w 2201534"/>
                  <a:gd name="connsiteY3" fmla="*/ 25112 h 1271115"/>
                  <a:gd name="connsiteX4" fmla="*/ 433652 w 2201534"/>
                  <a:gd name="connsiteY4" fmla="*/ 3326 h 1271115"/>
                  <a:gd name="connsiteX5" fmla="*/ 609356 w 2201534"/>
                  <a:gd name="connsiteY5" fmla="*/ 37548 h 1271115"/>
                  <a:gd name="connsiteX6" fmla="*/ 2160509 w 2201534"/>
                  <a:gd name="connsiteY6" fmla="*/ 924343 h 1271115"/>
                  <a:gd name="connsiteX7" fmla="*/ 2161466 w 2201534"/>
                  <a:gd name="connsiteY7" fmla="*/ 1149844 h 1271115"/>
                  <a:gd name="connsiteX8" fmla="*/ 1987501 w 2201534"/>
                  <a:gd name="connsiteY8" fmla="*/ 1269783 h 1271115"/>
                  <a:gd name="connsiteX9" fmla="*/ 1967654 w 2201534"/>
                  <a:gd name="connsiteY9" fmla="*/ 1262485 h 1271115"/>
                  <a:gd name="connsiteX10" fmla="*/ 502179 w 2201534"/>
                  <a:gd name="connsiteY10" fmla="*/ 431577 h 1271115"/>
                  <a:gd name="connsiteX11" fmla="*/ 501836 w 2201534"/>
                  <a:gd name="connsiteY11" fmla="*/ 431184 h 1271115"/>
                  <a:gd name="connsiteX12" fmla="*/ 479681 w 2201534"/>
                  <a:gd name="connsiteY12" fmla="*/ 437405 h 1271115"/>
                  <a:gd name="connsiteX13" fmla="*/ 437031 w 2201534"/>
                  <a:gd name="connsiteY13" fmla="*/ 539231 h 1271115"/>
                  <a:gd name="connsiteX14" fmla="*/ 437026 w 2201534"/>
                  <a:gd name="connsiteY14" fmla="*/ 1065628 h 1271115"/>
                  <a:gd name="connsiteX0" fmla="*/ 437031 w 2201534"/>
                  <a:gd name="connsiteY0" fmla="*/ 539231 h 1271115"/>
                  <a:gd name="connsiteX1" fmla="*/ 23908 w 2201534"/>
                  <a:gd name="connsiteY1" fmla="*/ 494424 h 1271115"/>
                  <a:gd name="connsiteX2" fmla="*/ 69399 w 2201534"/>
                  <a:gd name="connsiteY2" fmla="*/ 171698 h 1271115"/>
                  <a:gd name="connsiteX3" fmla="*/ 234006 w 2201534"/>
                  <a:gd name="connsiteY3" fmla="*/ 25112 h 1271115"/>
                  <a:gd name="connsiteX4" fmla="*/ 433652 w 2201534"/>
                  <a:gd name="connsiteY4" fmla="*/ 3326 h 1271115"/>
                  <a:gd name="connsiteX5" fmla="*/ 609356 w 2201534"/>
                  <a:gd name="connsiteY5" fmla="*/ 37548 h 1271115"/>
                  <a:gd name="connsiteX6" fmla="*/ 2160509 w 2201534"/>
                  <a:gd name="connsiteY6" fmla="*/ 924343 h 1271115"/>
                  <a:gd name="connsiteX7" fmla="*/ 2161466 w 2201534"/>
                  <a:gd name="connsiteY7" fmla="*/ 1149844 h 1271115"/>
                  <a:gd name="connsiteX8" fmla="*/ 1987501 w 2201534"/>
                  <a:gd name="connsiteY8" fmla="*/ 1269783 h 1271115"/>
                  <a:gd name="connsiteX9" fmla="*/ 1967654 w 2201534"/>
                  <a:gd name="connsiteY9" fmla="*/ 1262485 h 1271115"/>
                  <a:gd name="connsiteX10" fmla="*/ 502179 w 2201534"/>
                  <a:gd name="connsiteY10" fmla="*/ 431577 h 1271115"/>
                  <a:gd name="connsiteX11" fmla="*/ 501836 w 2201534"/>
                  <a:gd name="connsiteY11" fmla="*/ 431184 h 1271115"/>
                  <a:gd name="connsiteX12" fmla="*/ 479681 w 2201534"/>
                  <a:gd name="connsiteY12" fmla="*/ 437405 h 1271115"/>
                  <a:gd name="connsiteX13" fmla="*/ 437031 w 2201534"/>
                  <a:gd name="connsiteY13" fmla="*/ 539231 h 1271115"/>
                  <a:gd name="connsiteX0" fmla="*/ 372453 w 2136956"/>
                  <a:gd name="connsiteY0" fmla="*/ 539231 h 1271115"/>
                  <a:gd name="connsiteX1" fmla="*/ 4821 w 2136956"/>
                  <a:gd name="connsiteY1" fmla="*/ 171698 h 1271115"/>
                  <a:gd name="connsiteX2" fmla="*/ 169428 w 2136956"/>
                  <a:gd name="connsiteY2" fmla="*/ 25112 h 1271115"/>
                  <a:gd name="connsiteX3" fmla="*/ 369074 w 2136956"/>
                  <a:gd name="connsiteY3" fmla="*/ 3326 h 1271115"/>
                  <a:gd name="connsiteX4" fmla="*/ 544778 w 2136956"/>
                  <a:gd name="connsiteY4" fmla="*/ 37548 h 1271115"/>
                  <a:gd name="connsiteX5" fmla="*/ 2095931 w 2136956"/>
                  <a:gd name="connsiteY5" fmla="*/ 924343 h 1271115"/>
                  <a:gd name="connsiteX6" fmla="*/ 2096888 w 2136956"/>
                  <a:gd name="connsiteY6" fmla="*/ 1149844 h 1271115"/>
                  <a:gd name="connsiteX7" fmla="*/ 1922923 w 2136956"/>
                  <a:gd name="connsiteY7" fmla="*/ 1269783 h 1271115"/>
                  <a:gd name="connsiteX8" fmla="*/ 1903076 w 2136956"/>
                  <a:gd name="connsiteY8" fmla="*/ 1262485 h 1271115"/>
                  <a:gd name="connsiteX9" fmla="*/ 437601 w 2136956"/>
                  <a:gd name="connsiteY9" fmla="*/ 431577 h 1271115"/>
                  <a:gd name="connsiteX10" fmla="*/ 437258 w 2136956"/>
                  <a:gd name="connsiteY10" fmla="*/ 431184 h 1271115"/>
                  <a:gd name="connsiteX11" fmla="*/ 415103 w 2136956"/>
                  <a:gd name="connsiteY11" fmla="*/ 437405 h 1271115"/>
                  <a:gd name="connsiteX12" fmla="*/ 372453 w 2136956"/>
                  <a:gd name="connsiteY12" fmla="*/ 539231 h 1271115"/>
                  <a:gd name="connsiteX0" fmla="*/ 416889 w 2138742"/>
                  <a:gd name="connsiteY0" fmla="*/ 437405 h 1271115"/>
                  <a:gd name="connsiteX1" fmla="*/ 6607 w 2138742"/>
                  <a:gd name="connsiteY1" fmla="*/ 171698 h 1271115"/>
                  <a:gd name="connsiteX2" fmla="*/ 171214 w 2138742"/>
                  <a:gd name="connsiteY2" fmla="*/ 25112 h 1271115"/>
                  <a:gd name="connsiteX3" fmla="*/ 370860 w 2138742"/>
                  <a:gd name="connsiteY3" fmla="*/ 3326 h 1271115"/>
                  <a:gd name="connsiteX4" fmla="*/ 546564 w 2138742"/>
                  <a:gd name="connsiteY4" fmla="*/ 37548 h 1271115"/>
                  <a:gd name="connsiteX5" fmla="*/ 2097717 w 2138742"/>
                  <a:gd name="connsiteY5" fmla="*/ 924343 h 1271115"/>
                  <a:gd name="connsiteX6" fmla="*/ 2098674 w 2138742"/>
                  <a:gd name="connsiteY6" fmla="*/ 1149844 h 1271115"/>
                  <a:gd name="connsiteX7" fmla="*/ 1924709 w 2138742"/>
                  <a:gd name="connsiteY7" fmla="*/ 1269783 h 1271115"/>
                  <a:gd name="connsiteX8" fmla="*/ 1904862 w 2138742"/>
                  <a:gd name="connsiteY8" fmla="*/ 1262485 h 1271115"/>
                  <a:gd name="connsiteX9" fmla="*/ 439387 w 2138742"/>
                  <a:gd name="connsiteY9" fmla="*/ 431577 h 1271115"/>
                  <a:gd name="connsiteX10" fmla="*/ 439044 w 2138742"/>
                  <a:gd name="connsiteY10" fmla="*/ 431184 h 1271115"/>
                  <a:gd name="connsiteX11" fmla="*/ 416889 w 2138742"/>
                  <a:gd name="connsiteY11" fmla="*/ 437405 h 1271115"/>
                  <a:gd name="connsiteX0" fmla="*/ 245969 w 1967822"/>
                  <a:gd name="connsiteY0" fmla="*/ 451897 h 1285607"/>
                  <a:gd name="connsiteX1" fmla="*/ 294 w 1967822"/>
                  <a:gd name="connsiteY1" fmla="*/ 39604 h 1285607"/>
                  <a:gd name="connsiteX2" fmla="*/ 199940 w 1967822"/>
                  <a:gd name="connsiteY2" fmla="*/ 17818 h 1285607"/>
                  <a:gd name="connsiteX3" fmla="*/ 375644 w 1967822"/>
                  <a:gd name="connsiteY3" fmla="*/ 52040 h 1285607"/>
                  <a:gd name="connsiteX4" fmla="*/ 1926797 w 1967822"/>
                  <a:gd name="connsiteY4" fmla="*/ 938835 h 1285607"/>
                  <a:gd name="connsiteX5" fmla="*/ 1927754 w 1967822"/>
                  <a:gd name="connsiteY5" fmla="*/ 1164336 h 1285607"/>
                  <a:gd name="connsiteX6" fmla="*/ 1753789 w 1967822"/>
                  <a:gd name="connsiteY6" fmla="*/ 1284275 h 1285607"/>
                  <a:gd name="connsiteX7" fmla="*/ 1733942 w 1967822"/>
                  <a:gd name="connsiteY7" fmla="*/ 1276977 h 1285607"/>
                  <a:gd name="connsiteX8" fmla="*/ 268467 w 1967822"/>
                  <a:gd name="connsiteY8" fmla="*/ 446069 h 1285607"/>
                  <a:gd name="connsiteX9" fmla="*/ 268124 w 1967822"/>
                  <a:gd name="connsiteY9" fmla="*/ 445676 h 1285607"/>
                  <a:gd name="connsiteX10" fmla="*/ 245969 w 1967822"/>
                  <a:gd name="connsiteY10" fmla="*/ 451897 h 1285607"/>
                  <a:gd name="connsiteX0" fmla="*/ 245969 w 1967822"/>
                  <a:gd name="connsiteY0" fmla="*/ 451897 h 1285607"/>
                  <a:gd name="connsiteX1" fmla="*/ 294 w 1967822"/>
                  <a:gd name="connsiteY1" fmla="*/ 39604 h 1285607"/>
                  <a:gd name="connsiteX2" fmla="*/ 199940 w 1967822"/>
                  <a:gd name="connsiteY2" fmla="*/ 17818 h 1285607"/>
                  <a:gd name="connsiteX3" fmla="*/ 375644 w 1967822"/>
                  <a:gd name="connsiteY3" fmla="*/ 52040 h 1285607"/>
                  <a:gd name="connsiteX4" fmla="*/ 1926797 w 1967822"/>
                  <a:gd name="connsiteY4" fmla="*/ 938835 h 1285607"/>
                  <a:gd name="connsiteX5" fmla="*/ 1927754 w 1967822"/>
                  <a:gd name="connsiteY5" fmla="*/ 1164336 h 1285607"/>
                  <a:gd name="connsiteX6" fmla="*/ 1753789 w 1967822"/>
                  <a:gd name="connsiteY6" fmla="*/ 1284275 h 1285607"/>
                  <a:gd name="connsiteX7" fmla="*/ 1733942 w 1967822"/>
                  <a:gd name="connsiteY7" fmla="*/ 1276977 h 1285607"/>
                  <a:gd name="connsiteX8" fmla="*/ 268467 w 1967822"/>
                  <a:gd name="connsiteY8" fmla="*/ 446069 h 1285607"/>
                  <a:gd name="connsiteX9" fmla="*/ 268124 w 1967822"/>
                  <a:gd name="connsiteY9" fmla="*/ 445676 h 1285607"/>
                  <a:gd name="connsiteX10" fmla="*/ 245969 w 1967822"/>
                  <a:gd name="connsiteY10" fmla="*/ 451897 h 1285607"/>
                  <a:gd name="connsiteX0" fmla="*/ 50925 w 1772778"/>
                  <a:gd name="connsiteY0" fmla="*/ 434079 h 1267789"/>
                  <a:gd name="connsiteX1" fmla="*/ 4896 w 1772778"/>
                  <a:gd name="connsiteY1" fmla="*/ 0 h 1267789"/>
                  <a:gd name="connsiteX2" fmla="*/ 180600 w 1772778"/>
                  <a:gd name="connsiteY2" fmla="*/ 34222 h 1267789"/>
                  <a:gd name="connsiteX3" fmla="*/ 1731753 w 1772778"/>
                  <a:gd name="connsiteY3" fmla="*/ 921017 h 1267789"/>
                  <a:gd name="connsiteX4" fmla="*/ 1732710 w 1772778"/>
                  <a:gd name="connsiteY4" fmla="*/ 1146518 h 1267789"/>
                  <a:gd name="connsiteX5" fmla="*/ 1558745 w 1772778"/>
                  <a:gd name="connsiteY5" fmla="*/ 1266457 h 1267789"/>
                  <a:gd name="connsiteX6" fmla="*/ 1538898 w 1772778"/>
                  <a:gd name="connsiteY6" fmla="*/ 1259159 h 1267789"/>
                  <a:gd name="connsiteX7" fmla="*/ 73423 w 1772778"/>
                  <a:gd name="connsiteY7" fmla="*/ 428251 h 1267789"/>
                  <a:gd name="connsiteX8" fmla="*/ 73080 w 1772778"/>
                  <a:gd name="connsiteY8" fmla="*/ 427858 h 1267789"/>
                  <a:gd name="connsiteX9" fmla="*/ 50925 w 1772778"/>
                  <a:gd name="connsiteY9" fmla="*/ 434079 h 1267789"/>
                  <a:gd name="connsiteX0" fmla="*/ 68184 w 1767882"/>
                  <a:gd name="connsiteY0" fmla="*/ 427858 h 1267789"/>
                  <a:gd name="connsiteX1" fmla="*/ 0 w 1767882"/>
                  <a:gd name="connsiteY1" fmla="*/ 0 h 1267789"/>
                  <a:gd name="connsiteX2" fmla="*/ 175704 w 1767882"/>
                  <a:gd name="connsiteY2" fmla="*/ 34222 h 1267789"/>
                  <a:gd name="connsiteX3" fmla="*/ 1726857 w 1767882"/>
                  <a:gd name="connsiteY3" fmla="*/ 921017 h 1267789"/>
                  <a:gd name="connsiteX4" fmla="*/ 1727814 w 1767882"/>
                  <a:gd name="connsiteY4" fmla="*/ 1146518 h 1267789"/>
                  <a:gd name="connsiteX5" fmla="*/ 1553849 w 1767882"/>
                  <a:gd name="connsiteY5" fmla="*/ 1266457 h 1267789"/>
                  <a:gd name="connsiteX6" fmla="*/ 1534002 w 1767882"/>
                  <a:gd name="connsiteY6" fmla="*/ 1259159 h 1267789"/>
                  <a:gd name="connsiteX7" fmla="*/ 68527 w 1767882"/>
                  <a:gd name="connsiteY7" fmla="*/ 428251 h 1267789"/>
                  <a:gd name="connsiteX8" fmla="*/ 68184 w 1767882"/>
                  <a:gd name="connsiteY8" fmla="*/ 427858 h 1267789"/>
                  <a:gd name="connsiteX0" fmla="*/ 0 w 1823523"/>
                  <a:gd name="connsiteY0" fmla="*/ 412600 h 1290631"/>
                  <a:gd name="connsiteX1" fmla="*/ 55641 w 1823523"/>
                  <a:gd name="connsiteY1" fmla="*/ 22842 h 1290631"/>
                  <a:gd name="connsiteX2" fmla="*/ 231345 w 1823523"/>
                  <a:gd name="connsiteY2" fmla="*/ 57064 h 1290631"/>
                  <a:gd name="connsiteX3" fmla="*/ 1782498 w 1823523"/>
                  <a:gd name="connsiteY3" fmla="*/ 943859 h 1290631"/>
                  <a:gd name="connsiteX4" fmla="*/ 1783455 w 1823523"/>
                  <a:gd name="connsiteY4" fmla="*/ 1169360 h 1290631"/>
                  <a:gd name="connsiteX5" fmla="*/ 1609490 w 1823523"/>
                  <a:gd name="connsiteY5" fmla="*/ 1289299 h 1290631"/>
                  <a:gd name="connsiteX6" fmla="*/ 1589643 w 1823523"/>
                  <a:gd name="connsiteY6" fmla="*/ 1282001 h 1290631"/>
                  <a:gd name="connsiteX7" fmla="*/ 124168 w 1823523"/>
                  <a:gd name="connsiteY7" fmla="*/ 451093 h 1290631"/>
                  <a:gd name="connsiteX8" fmla="*/ 0 w 1823523"/>
                  <a:gd name="connsiteY8" fmla="*/ 412600 h 1290631"/>
                  <a:gd name="connsiteX0" fmla="*/ 121435 w 1944958"/>
                  <a:gd name="connsiteY0" fmla="*/ 388867 h 1266898"/>
                  <a:gd name="connsiteX1" fmla="*/ 5626 w 1944958"/>
                  <a:gd name="connsiteY1" fmla="*/ 30859 h 1266898"/>
                  <a:gd name="connsiteX2" fmla="*/ 352780 w 1944958"/>
                  <a:gd name="connsiteY2" fmla="*/ 33331 h 1266898"/>
                  <a:gd name="connsiteX3" fmla="*/ 1903933 w 1944958"/>
                  <a:gd name="connsiteY3" fmla="*/ 920126 h 1266898"/>
                  <a:gd name="connsiteX4" fmla="*/ 1904890 w 1944958"/>
                  <a:gd name="connsiteY4" fmla="*/ 1145627 h 1266898"/>
                  <a:gd name="connsiteX5" fmla="*/ 1730925 w 1944958"/>
                  <a:gd name="connsiteY5" fmla="*/ 1265566 h 1266898"/>
                  <a:gd name="connsiteX6" fmla="*/ 1711078 w 1944958"/>
                  <a:gd name="connsiteY6" fmla="*/ 1258268 h 1266898"/>
                  <a:gd name="connsiteX7" fmla="*/ 245603 w 1944958"/>
                  <a:gd name="connsiteY7" fmla="*/ 427360 h 1266898"/>
                  <a:gd name="connsiteX8" fmla="*/ 121435 w 1944958"/>
                  <a:gd name="connsiteY8" fmla="*/ 388867 h 1266898"/>
                  <a:gd name="connsiteX0" fmla="*/ 128564 w 1952087"/>
                  <a:gd name="connsiteY0" fmla="*/ 394429 h 1272460"/>
                  <a:gd name="connsiteX1" fmla="*/ 12755 w 1952087"/>
                  <a:gd name="connsiteY1" fmla="*/ 36421 h 1272460"/>
                  <a:gd name="connsiteX2" fmla="*/ 359909 w 1952087"/>
                  <a:gd name="connsiteY2" fmla="*/ 38893 h 1272460"/>
                  <a:gd name="connsiteX3" fmla="*/ 1911062 w 1952087"/>
                  <a:gd name="connsiteY3" fmla="*/ 925688 h 1272460"/>
                  <a:gd name="connsiteX4" fmla="*/ 1912019 w 1952087"/>
                  <a:gd name="connsiteY4" fmla="*/ 1151189 h 1272460"/>
                  <a:gd name="connsiteX5" fmla="*/ 1738054 w 1952087"/>
                  <a:gd name="connsiteY5" fmla="*/ 1271128 h 1272460"/>
                  <a:gd name="connsiteX6" fmla="*/ 1718207 w 1952087"/>
                  <a:gd name="connsiteY6" fmla="*/ 1263830 h 1272460"/>
                  <a:gd name="connsiteX7" fmla="*/ 252732 w 1952087"/>
                  <a:gd name="connsiteY7" fmla="*/ 432922 h 1272460"/>
                  <a:gd name="connsiteX8" fmla="*/ 128564 w 1952087"/>
                  <a:gd name="connsiteY8" fmla="*/ 394429 h 1272460"/>
                  <a:gd name="connsiteX0" fmla="*/ 109676 w 1945899"/>
                  <a:gd name="connsiteY0" fmla="*/ 443373 h 1270604"/>
                  <a:gd name="connsiteX1" fmla="*/ 6567 w 1945899"/>
                  <a:gd name="connsiteY1" fmla="*/ 34565 h 1270604"/>
                  <a:gd name="connsiteX2" fmla="*/ 353721 w 1945899"/>
                  <a:gd name="connsiteY2" fmla="*/ 37037 h 1270604"/>
                  <a:gd name="connsiteX3" fmla="*/ 1904874 w 1945899"/>
                  <a:gd name="connsiteY3" fmla="*/ 923832 h 1270604"/>
                  <a:gd name="connsiteX4" fmla="*/ 1905831 w 1945899"/>
                  <a:gd name="connsiteY4" fmla="*/ 1149333 h 1270604"/>
                  <a:gd name="connsiteX5" fmla="*/ 1731866 w 1945899"/>
                  <a:gd name="connsiteY5" fmla="*/ 1269272 h 1270604"/>
                  <a:gd name="connsiteX6" fmla="*/ 1712019 w 1945899"/>
                  <a:gd name="connsiteY6" fmla="*/ 1261974 h 1270604"/>
                  <a:gd name="connsiteX7" fmla="*/ 246544 w 1945899"/>
                  <a:gd name="connsiteY7" fmla="*/ 431066 h 1270604"/>
                  <a:gd name="connsiteX8" fmla="*/ 109676 w 1945899"/>
                  <a:gd name="connsiteY8" fmla="*/ 443373 h 1270604"/>
                  <a:gd name="connsiteX0" fmla="*/ 250037 w 1949392"/>
                  <a:gd name="connsiteY0" fmla="*/ 431066 h 1270604"/>
                  <a:gd name="connsiteX1" fmla="*/ 10060 w 1949392"/>
                  <a:gd name="connsiteY1" fmla="*/ 34565 h 1270604"/>
                  <a:gd name="connsiteX2" fmla="*/ 357214 w 1949392"/>
                  <a:gd name="connsiteY2" fmla="*/ 37037 h 1270604"/>
                  <a:gd name="connsiteX3" fmla="*/ 1908367 w 1949392"/>
                  <a:gd name="connsiteY3" fmla="*/ 923832 h 1270604"/>
                  <a:gd name="connsiteX4" fmla="*/ 1909324 w 1949392"/>
                  <a:gd name="connsiteY4" fmla="*/ 1149333 h 1270604"/>
                  <a:gd name="connsiteX5" fmla="*/ 1735359 w 1949392"/>
                  <a:gd name="connsiteY5" fmla="*/ 1269272 h 1270604"/>
                  <a:gd name="connsiteX6" fmla="*/ 1715512 w 1949392"/>
                  <a:gd name="connsiteY6" fmla="*/ 1261974 h 1270604"/>
                  <a:gd name="connsiteX7" fmla="*/ 250037 w 1949392"/>
                  <a:gd name="connsiteY7" fmla="*/ 431066 h 1270604"/>
                  <a:gd name="connsiteX0" fmla="*/ 246686 w 1946041"/>
                  <a:gd name="connsiteY0" fmla="*/ 431066 h 1270604"/>
                  <a:gd name="connsiteX1" fmla="*/ 133827 w 1946041"/>
                  <a:gd name="connsiteY1" fmla="*/ 324567 h 1270604"/>
                  <a:gd name="connsiteX2" fmla="*/ 6709 w 1946041"/>
                  <a:gd name="connsiteY2" fmla="*/ 34565 h 1270604"/>
                  <a:gd name="connsiteX3" fmla="*/ 353863 w 1946041"/>
                  <a:gd name="connsiteY3" fmla="*/ 37037 h 1270604"/>
                  <a:gd name="connsiteX4" fmla="*/ 1905016 w 1946041"/>
                  <a:gd name="connsiteY4" fmla="*/ 923832 h 1270604"/>
                  <a:gd name="connsiteX5" fmla="*/ 1905973 w 1946041"/>
                  <a:gd name="connsiteY5" fmla="*/ 1149333 h 1270604"/>
                  <a:gd name="connsiteX6" fmla="*/ 1732008 w 1946041"/>
                  <a:gd name="connsiteY6" fmla="*/ 1269272 h 1270604"/>
                  <a:gd name="connsiteX7" fmla="*/ 1712161 w 1946041"/>
                  <a:gd name="connsiteY7" fmla="*/ 1261974 h 1270604"/>
                  <a:gd name="connsiteX8" fmla="*/ 246686 w 1946041"/>
                  <a:gd name="connsiteY8" fmla="*/ 431066 h 1270604"/>
                  <a:gd name="connsiteX0" fmla="*/ 455481 w 2154836"/>
                  <a:gd name="connsiteY0" fmla="*/ 418337 h 1257875"/>
                  <a:gd name="connsiteX1" fmla="*/ 6416 w 2154836"/>
                  <a:gd name="connsiteY1" fmla="*/ 254688 h 1257875"/>
                  <a:gd name="connsiteX2" fmla="*/ 215504 w 2154836"/>
                  <a:gd name="connsiteY2" fmla="*/ 21836 h 1257875"/>
                  <a:gd name="connsiteX3" fmla="*/ 562658 w 2154836"/>
                  <a:gd name="connsiteY3" fmla="*/ 24308 h 1257875"/>
                  <a:gd name="connsiteX4" fmla="*/ 2113811 w 2154836"/>
                  <a:gd name="connsiteY4" fmla="*/ 911103 h 1257875"/>
                  <a:gd name="connsiteX5" fmla="*/ 2114768 w 2154836"/>
                  <a:gd name="connsiteY5" fmla="*/ 1136604 h 1257875"/>
                  <a:gd name="connsiteX6" fmla="*/ 1940803 w 2154836"/>
                  <a:gd name="connsiteY6" fmla="*/ 1256543 h 1257875"/>
                  <a:gd name="connsiteX7" fmla="*/ 1920956 w 2154836"/>
                  <a:gd name="connsiteY7" fmla="*/ 1249245 h 1257875"/>
                  <a:gd name="connsiteX8" fmla="*/ 455481 w 2154836"/>
                  <a:gd name="connsiteY8" fmla="*/ 418337 h 1257875"/>
                  <a:gd name="connsiteX0" fmla="*/ 458204 w 2157559"/>
                  <a:gd name="connsiteY0" fmla="*/ 439462 h 1279000"/>
                  <a:gd name="connsiteX1" fmla="*/ 9139 w 2157559"/>
                  <a:gd name="connsiteY1" fmla="*/ 275813 h 1279000"/>
                  <a:gd name="connsiteX2" fmla="*/ 160591 w 2157559"/>
                  <a:gd name="connsiteY2" fmla="*/ 14386 h 1279000"/>
                  <a:gd name="connsiteX3" fmla="*/ 565381 w 2157559"/>
                  <a:gd name="connsiteY3" fmla="*/ 45433 h 1279000"/>
                  <a:gd name="connsiteX4" fmla="*/ 2116534 w 2157559"/>
                  <a:gd name="connsiteY4" fmla="*/ 932228 h 1279000"/>
                  <a:gd name="connsiteX5" fmla="*/ 2117491 w 2157559"/>
                  <a:gd name="connsiteY5" fmla="*/ 1157729 h 1279000"/>
                  <a:gd name="connsiteX6" fmla="*/ 1943526 w 2157559"/>
                  <a:gd name="connsiteY6" fmla="*/ 1277668 h 1279000"/>
                  <a:gd name="connsiteX7" fmla="*/ 1923679 w 2157559"/>
                  <a:gd name="connsiteY7" fmla="*/ 1270370 h 1279000"/>
                  <a:gd name="connsiteX8" fmla="*/ 458204 w 2157559"/>
                  <a:gd name="connsiteY8" fmla="*/ 439462 h 1279000"/>
                  <a:gd name="connsiteX0" fmla="*/ 456399 w 2155754"/>
                  <a:gd name="connsiteY0" fmla="*/ 431843 h 1271381"/>
                  <a:gd name="connsiteX1" fmla="*/ 7334 w 2155754"/>
                  <a:gd name="connsiteY1" fmla="*/ 268194 h 1271381"/>
                  <a:gd name="connsiteX2" fmla="*/ 192407 w 2155754"/>
                  <a:gd name="connsiteY2" fmla="*/ 16292 h 1271381"/>
                  <a:gd name="connsiteX3" fmla="*/ 563576 w 2155754"/>
                  <a:gd name="connsiteY3" fmla="*/ 37814 h 1271381"/>
                  <a:gd name="connsiteX4" fmla="*/ 2114729 w 2155754"/>
                  <a:gd name="connsiteY4" fmla="*/ 924609 h 1271381"/>
                  <a:gd name="connsiteX5" fmla="*/ 2115686 w 2155754"/>
                  <a:gd name="connsiteY5" fmla="*/ 1150110 h 1271381"/>
                  <a:gd name="connsiteX6" fmla="*/ 1941721 w 2155754"/>
                  <a:gd name="connsiteY6" fmla="*/ 1270049 h 1271381"/>
                  <a:gd name="connsiteX7" fmla="*/ 1921874 w 2155754"/>
                  <a:gd name="connsiteY7" fmla="*/ 1262751 h 1271381"/>
                  <a:gd name="connsiteX8" fmla="*/ 456399 w 2155754"/>
                  <a:gd name="connsiteY8" fmla="*/ 431843 h 1271381"/>
                  <a:gd name="connsiteX0" fmla="*/ 456399 w 2155754"/>
                  <a:gd name="connsiteY0" fmla="*/ 429388 h 1268926"/>
                  <a:gd name="connsiteX1" fmla="*/ 7334 w 2155754"/>
                  <a:gd name="connsiteY1" fmla="*/ 232402 h 1268926"/>
                  <a:gd name="connsiteX2" fmla="*/ 192407 w 2155754"/>
                  <a:gd name="connsiteY2" fmla="*/ 13837 h 1268926"/>
                  <a:gd name="connsiteX3" fmla="*/ 563576 w 2155754"/>
                  <a:gd name="connsiteY3" fmla="*/ 35359 h 1268926"/>
                  <a:gd name="connsiteX4" fmla="*/ 2114729 w 2155754"/>
                  <a:gd name="connsiteY4" fmla="*/ 922154 h 1268926"/>
                  <a:gd name="connsiteX5" fmla="*/ 2115686 w 2155754"/>
                  <a:gd name="connsiteY5" fmla="*/ 1147655 h 1268926"/>
                  <a:gd name="connsiteX6" fmla="*/ 1941721 w 2155754"/>
                  <a:gd name="connsiteY6" fmla="*/ 1267594 h 1268926"/>
                  <a:gd name="connsiteX7" fmla="*/ 1921874 w 2155754"/>
                  <a:gd name="connsiteY7" fmla="*/ 1260296 h 1268926"/>
                  <a:gd name="connsiteX8" fmla="*/ 456399 w 2155754"/>
                  <a:gd name="connsiteY8" fmla="*/ 429388 h 1268926"/>
                  <a:gd name="connsiteX0" fmla="*/ 458374 w 2157729"/>
                  <a:gd name="connsiteY0" fmla="*/ 437817 h 1277355"/>
                  <a:gd name="connsiteX1" fmla="*/ 9309 w 2157729"/>
                  <a:gd name="connsiteY1" fmla="*/ 240831 h 1277355"/>
                  <a:gd name="connsiteX2" fmla="*/ 194382 w 2157729"/>
                  <a:gd name="connsiteY2" fmla="*/ 22266 h 1277355"/>
                  <a:gd name="connsiteX3" fmla="*/ 565551 w 2157729"/>
                  <a:gd name="connsiteY3" fmla="*/ 43788 h 1277355"/>
                  <a:gd name="connsiteX4" fmla="*/ 2116704 w 2157729"/>
                  <a:gd name="connsiteY4" fmla="*/ 930583 h 1277355"/>
                  <a:gd name="connsiteX5" fmla="*/ 2117661 w 2157729"/>
                  <a:gd name="connsiteY5" fmla="*/ 1156084 h 1277355"/>
                  <a:gd name="connsiteX6" fmla="*/ 1943696 w 2157729"/>
                  <a:gd name="connsiteY6" fmla="*/ 1276023 h 1277355"/>
                  <a:gd name="connsiteX7" fmla="*/ 1923849 w 2157729"/>
                  <a:gd name="connsiteY7" fmla="*/ 1268725 h 1277355"/>
                  <a:gd name="connsiteX8" fmla="*/ 458374 w 2157729"/>
                  <a:gd name="connsiteY8" fmla="*/ 437817 h 1277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7729" h="1277355">
                    <a:moveTo>
                      <a:pt x="458374" y="437817"/>
                    </a:moveTo>
                    <a:cubicBezTo>
                      <a:pt x="195318" y="281583"/>
                      <a:pt x="49305" y="306914"/>
                      <a:pt x="9309" y="240831"/>
                    </a:cubicBezTo>
                    <a:cubicBezTo>
                      <a:pt x="-30687" y="174748"/>
                      <a:pt x="63252" y="74157"/>
                      <a:pt x="194382" y="22266"/>
                    </a:cubicBezTo>
                    <a:cubicBezTo>
                      <a:pt x="325512" y="-29625"/>
                      <a:pt x="507689" y="22617"/>
                      <a:pt x="565551" y="43788"/>
                    </a:cubicBezTo>
                    <a:lnTo>
                      <a:pt x="2116704" y="930583"/>
                    </a:lnTo>
                    <a:cubicBezTo>
                      <a:pt x="2171029" y="961947"/>
                      <a:pt x="2171457" y="1062907"/>
                      <a:pt x="2117661" y="1156084"/>
                    </a:cubicBezTo>
                    <a:cubicBezTo>
                      <a:pt x="2070590" y="1237614"/>
                      <a:pt x="1997601" y="1286169"/>
                      <a:pt x="1943696" y="1276023"/>
                    </a:cubicBezTo>
                    <a:lnTo>
                      <a:pt x="1923849" y="1268725"/>
                    </a:lnTo>
                    <a:lnTo>
                      <a:pt x="458374" y="437817"/>
                    </a:lnTo>
                    <a:close/>
                  </a:path>
                </a:pathLst>
              </a:custGeom>
              <a:gradFill flip="none" rotWithShape="1">
                <a:gsLst>
                  <a:gs pos="13000">
                    <a:srgbClr val="D8D8D8"/>
                  </a:gs>
                  <a:gs pos="30000">
                    <a:schemeClr val="accent2">
                      <a:lumMod val="0"/>
                      <a:lumOff val="100000"/>
                      <a:alpha val="0"/>
                    </a:schemeClr>
                  </a:gs>
                </a:gsLst>
                <a:lin ang="4200000" scaled="0"/>
                <a:tileRect/>
              </a:gradFill>
              <a:ln w="12700" cap="rnd">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sp>
            <p:nvSpPr>
              <p:cNvPr id="776" name="Freeform: Shape 775">
                <a:extLst>
                  <a:ext uri="{FF2B5EF4-FFF2-40B4-BE49-F238E27FC236}">
                    <a16:creationId xmlns:a16="http://schemas.microsoft.com/office/drawing/2014/main" id="{DAD3EB3E-6CB0-4AFB-85AE-D5C74E2394DB}"/>
                  </a:ext>
                </a:extLst>
              </p:cNvPr>
              <p:cNvSpPr/>
              <p:nvPr/>
            </p:nvSpPr>
            <p:spPr bwMode="gray">
              <a:xfrm flipH="1" flipV="1">
                <a:off x="-3475317" y="-510357"/>
                <a:ext cx="4212730" cy="5285288"/>
              </a:xfrm>
              <a:custGeom>
                <a:avLst/>
                <a:gdLst>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69818 w 4212730"/>
                  <a:gd name="connsiteY29" fmla="*/ 275392 h 5282167"/>
                  <a:gd name="connsiteX30" fmla="*/ 2091612 w 4212730"/>
                  <a:gd name="connsiteY30" fmla="*/ 212644 h 5282167"/>
                  <a:gd name="connsiteX31" fmla="*/ 2245202 w 4212730"/>
                  <a:gd name="connsiteY31" fmla="*/ 47391 h 5282167"/>
                  <a:gd name="connsiteX32" fmla="*/ 2444848 w 4212730"/>
                  <a:gd name="connsiteY32" fmla="*/ 205 h 5282167"/>
                  <a:gd name="connsiteX33" fmla="*/ 2620552 w 4212730"/>
                  <a:gd name="connsiteY33" fmla="*/ 34427 h 5282167"/>
                  <a:gd name="connsiteX34" fmla="*/ 4171705 w 4212730"/>
                  <a:gd name="connsiteY34" fmla="*/ 921222 h 5282167"/>
                  <a:gd name="connsiteX35" fmla="*/ 4172662 w 4212730"/>
                  <a:gd name="connsiteY35" fmla="*/ 1146723 h 5282167"/>
                  <a:gd name="connsiteX36" fmla="*/ 3998697 w 4212730"/>
                  <a:gd name="connsiteY36" fmla="*/ 1266662 h 5282167"/>
                  <a:gd name="connsiteX37" fmla="*/ 3978850 w 4212730"/>
                  <a:gd name="connsiteY37" fmla="*/ 1259364 h 5282167"/>
                  <a:gd name="connsiteX38" fmla="*/ 2513375 w 4212730"/>
                  <a:gd name="connsiteY38" fmla="*/ 428456 h 5282167"/>
                  <a:gd name="connsiteX39" fmla="*/ 2513032 w 4212730"/>
                  <a:gd name="connsiteY39" fmla="*/ 428063 h 5282167"/>
                  <a:gd name="connsiteX40" fmla="*/ 2490877 w 4212730"/>
                  <a:gd name="connsiteY40" fmla="*/ 434284 h 5282167"/>
                  <a:gd name="connsiteX41" fmla="*/ 2448227 w 4212730"/>
                  <a:gd name="connsiteY41" fmla="*/ 536110 h 5282167"/>
                  <a:gd name="connsiteX42" fmla="*/ 2448222 w 4212730"/>
                  <a:gd name="connsiteY42" fmla="*/ 1062507 h 5282167"/>
                  <a:gd name="connsiteX43" fmla="*/ 2445445 w 4212730"/>
                  <a:gd name="connsiteY43" fmla="*/ 1078704 h 5282167"/>
                  <a:gd name="connsiteX44" fmla="*/ 2442619 w 4212730"/>
                  <a:gd name="connsiteY44" fmla="*/ 1855195 h 5282167"/>
                  <a:gd name="connsiteX45" fmla="*/ 2444476 w 4212730"/>
                  <a:gd name="connsiteY45" fmla="*/ 1858713 h 5282167"/>
                  <a:gd name="connsiteX46" fmla="*/ 2443809 w 4212730"/>
                  <a:gd name="connsiteY46" fmla="*/ 3034913 h 5282167"/>
                  <a:gd name="connsiteX47" fmla="*/ 2441669 w 4212730"/>
                  <a:gd name="connsiteY47" fmla="*/ 4799700 h 5282167"/>
                  <a:gd name="connsiteX48" fmla="*/ 2374871 w 4212730"/>
                  <a:gd name="connsiteY48" fmla="*/ 5058680 h 5282167"/>
                  <a:gd name="connsiteX49" fmla="*/ 2230903 w 4212730"/>
                  <a:gd name="connsiteY49" fmla="*/ 5213120 h 5282167"/>
                  <a:gd name="connsiteX50" fmla="*/ 2020267 w 4212730"/>
                  <a:gd name="connsiteY50" fmla="*/ 5281631 h 5282167"/>
                  <a:gd name="connsiteX51" fmla="*/ 1970713 w 4212730"/>
                  <a:gd name="connsiteY51"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59696 w 4212730"/>
                  <a:gd name="connsiteY28" fmla="*/ 324945 h 5282167"/>
                  <a:gd name="connsiteX29" fmla="*/ 2091612 w 4212730"/>
                  <a:gd name="connsiteY29" fmla="*/ 212644 h 5282167"/>
                  <a:gd name="connsiteX30" fmla="*/ 2245202 w 4212730"/>
                  <a:gd name="connsiteY30" fmla="*/ 47391 h 5282167"/>
                  <a:gd name="connsiteX31" fmla="*/ 2444848 w 4212730"/>
                  <a:gd name="connsiteY31" fmla="*/ 205 h 5282167"/>
                  <a:gd name="connsiteX32" fmla="*/ 2620552 w 4212730"/>
                  <a:gd name="connsiteY32" fmla="*/ 34427 h 5282167"/>
                  <a:gd name="connsiteX33" fmla="*/ 4171705 w 4212730"/>
                  <a:gd name="connsiteY33" fmla="*/ 921222 h 5282167"/>
                  <a:gd name="connsiteX34" fmla="*/ 4172662 w 4212730"/>
                  <a:gd name="connsiteY34" fmla="*/ 1146723 h 5282167"/>
                  <a:gd name="connsiteX35" fmla="*/ 3998697 w 4212730"/>
                  <a:gd name="connsiteY35" fmla="*/ 1266662 h 5282167"/>
                  <a:gd name="connsiteX36" fmla="*/ 3978850 w 4212730"/>
                  <a:gd name="connsiteY36" fmla="*/ 1259364 h 5282167"/>
                  <a:gd name="connsiteX37" fmla="*/ 2513375 w 4212730"/>
                  <a:gd name="connsiteY37" fmla="*/ 428456 h 5282167"/>
                  <a:gd name="connsiteX38" fmla="*/ 2513032 w 4212730"/>
                  <a:gd name="connsiteY38" fmla="*/ 428063 h 5282167"/>
                  <a:gd name="connsiteX39" fmla="*/ 2490877 w 4212730"/>
                  <a:gd name="connsiteY39" fmla="*/ 434284 h 5282167"/>
                  <a:gd name="connsiteX40" fmla="*/ 2448227 w 4212730"/>
                  <a:gd name="connsiteY40" fmla="*/ 536110 h 5282167"/>
                  <a:gd name="connsiteX41" fmla="*/ 2448222 w 4212730"/>
                  <a:gd name="connsiteY41" fmla="*/ 1062507 h 5282167"/>
                  <a:gd name="connsiteX42" fmla="*/ 2445445 w 4212730"/>
                  <a:gd name="connsiteY42" fmla="*/ 1078704 h 5282167"/>
                  <a:gd name="connsiteX43" fmla="*/ 2442619 w 4212730"/>
                  <a:gd name="connsiteY43" fmla="*/ 1855195 h 5282167"/>
                  <a:gd name="connsiteX44" fmla="*/ 2444476 w 4212730"/>
                  <a:gd name="connsiteY44" fmla="*/ 1858713 h 5282167"/>
                  <a:gd name="connsiteX45" fmla="*/ 2443809 w 4212730"/>
                  <a:gd name="connsiteY45" fmla="*/ 3034913 h 5282167"/>
                  <a:gd name="connsiteX46" fmla="*/ 2441669 w 4212730"/>
                  <a:gd name="connsiteY46" fmla="*/ 4799700 h 5282167"/>
                  <a:gd name="connsiteX47" fmla="*/ 2374871 w 4212730"/>
                  <a:gd name="connsiteY47" fmla="*/ 5058680 h 5282167"/>
                  <a:gd name="connsiteX48" fmla="*/ 2230903 w 4212730"/>
                  <a:gd name="connsiteY48" fmla="*/ 5213120 h 5282167"/>
                  <a:gd name="connsiteX49" fmla="*/ 2020267 w 4212730"/>
                  <a:gd name="connsiteY49" fmla="*/ 5281631 h 5282167"/>
                  <a:gd name="connsiteX50" fmla="*/ 1970713 w 4212730"/>
                  <a:gd name="connsiteY50"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54904 w 4212730"/>
                  <a:gd name="connsiteY27" fmla="*/ 329126 h 5282167"/>
                  <a:gd name="connsiteX28" fmla="*/ 2091612 w 4212730"/>
                  <a:gd name="connsiteY28" fmla="*/ 212644 h 5282167"/>
                  <a:gd name="connsiteX29" fmla="*/ 2245202 w 4212730"/>
                  <a:gd name="connsiteY29" fmla="*/ 47391 h 5282167"/>
                  <a:gd name="connsiteX30" fmla="*/ 2444848 w 4212730"/>
                  <a:gd name="connsiteY30" fmla="*/ 205 h 5282167"/>
                  <a:gd name="connsiteX31" fmla="*/ 2620552 w 4212730"/>
                  <a:gd name="connsiteY31" fmla="*/ 34427 h 5282167"/>
                  <a:gd name="connsiteX32" fmla="*/ 4171705 w 4212730"/>
                  <a:gd name="connsiteY32" fmla="*/ 921222 h 5282167"/>
                  <a:gd name="connsiteX33" fmla="*/ 4172662 w 4212730"/>
                  <a:gd name="connsiteY33" fmla="*/ 1146723 h 5282167"/>
                  <a:gd name="connsiteX34" fmla="*/ 3998697 w 4212730"/>
                  <a:gd name="connsiteY34" fmla="*/ 1266662 h 5282167"/>
                  <a:gd name="connsiteX35" fmla="*/ 3978850 w 4212730"/>
                  <a:gd name="connsiteY35" fmla="*/ 1259364 h 5282167"/>
                  <a:gd name="connsiteX36" fmla="*/ 2513375 w 4212730"/>
                  <a:gd name="connsiteY36" fmla="*/ 428456 h 5282167"/>
                  <a:gd name="connsiteX37" fmla="*/ 2513032 w 4212730"/>
                  <a:gd name="connsiteY37" fmla="*/ 428063 h 5282167"/>
                  <a:gd name="connsiteX38" fmla="*/ 2490877 w 4212730"/>
                  <a:gd name="connsiteY38" fmla="*/ 434284 h 5282167"/>
                  <a:gd name="connsiteX39" fmla="*/ 2448227 w 4212730"/>
                  <a:gd name="connsiteY39" fmla="*/ 536110 h 5282167"/>
                  <a:gd name="connsiteX40" fmla="*/ 2448222 w 4212730"/>
                  <a:gd name="connsiteY40" fmla="*/ 1062507 h 5282167"/>
                  <a:gd name="connsiteX41" fmla="*/ 2445445 w 4212730"/>
                  <a:gd name="connsiteY41" fmla="*/ 1078704 h 5282167"/>
                  <a:gd name="connsiteX42" fmla="*/ 2442619 w 4212730"/>
                  <a:gd name="connsiteY42" fmla="*/ 1855195 h 5282167"/>
                  <a:gd name="connsiteX43" fmla="*/ 2444476 w 4212730"/>
                  <a:gd name="connsiteY43" fmla="*/ 1858713 h 5282167"/>
                  <a:gd name="connsiteX44" fmla="*/ 2443809 w 4212730"/>
                  <a:gd name="connsiteY44" fmla="*/ 3034913 h 5282167"/>
                  <a:gd name="connsiteX45" fmla="*/ 2441669 w 4212730"/>
                  <a:gd name="connsiteY45" fmla="*/ 4799700 h 5282167"/>
                  <a:gd name="connsiteX46" fmla="*/ 2374871 w 4212730"/>
                  <a:gd name="connsiteY46" fmla="*/ 5058680 h 5282167"/>
                  <a:gd name="connsiteX47" fmla="*/ 2230903 w 4212730"/>
                  <a:gd name="connsiteY47" fmla="*/ 5213120 h 5282167"/>
                  <a:gd name="connsiteX48" fmla="*/ 2020267 w 4212730"/>
                  <a:gd name="connsiteY48" fmla="*/ 5281631 h 5282167"/>
                  <a:gd name="connsiteX49" fmla="*/ 1970713 w 4212730"/>
                  <a:gd name="connsiteY49"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38827 w 4212730"/>
                  <a:gd name="connsiteY26" fmla="*/ 375950 h 5282167"/>
                  <a:gd name="connsiteX27" fmla="*/ 2091612 w 4212730"/>
                  <a:gd name="connsiteY27" fmla="*/ 212644 h 5282167"/>
                  <a:gd name="connsiteX28" fmla="*/ 2245202 w 4212730"/>
                  <a:gd name="connsiteY28" fmla="*/ 47391 h 5282167"/>
                  <a:gd name="connsiteX29" fmla="*/ 2444848 w 4212730"/>
                  <a:gd name="connsiteY29" fmla="*/ 205 h 5282167"/>
                  <a:gd name="connsiteX30" fmla="*/ 2620552 w 4212730"/>
                  <a:gd name="connsiteY30" fmla="*/ 34427 h 5282167"/>
                  <a:gd name="connsiteX31" fmla="*/ 4171705 w 4212730"/>
                  <a:gd name="connsiteY31" fmla="*/ 921222 h 5282167"/>
                  <a:gd name="connsiteX32" fmla="*/ 4172662 w 4212730"/>
                  <a:gd name="connsiteY32" fmla="*/ 1146723 h 5282167"/>
                  <a:gd name="connsiteX33" fmla="*/ 3998697 w 4212730"/>
                  <a:gd name="connsiteY33" fmla="*/ 1266662 h 5282167"/>
                  <a:gd name="connsiteX34" fmla="*/ 3978850 w 4212730"/>
                  <a:gd name="connsiteY34" fmla="*/ 1259364 h 5282167"/>
                  <a:gd name="connsiteX35" fmla="*/ 2513375 w 4212730"/>
                  <a:gd name="connsiteY35" fmla="*/ 428456 h 5282167"/>
                  <a:gd name="connsiteX36" fmla="*/ 2513032 w 4212730"/>
                  <a:gd name="connsiteY36" fmla="*/ 428063 h 5282167"/>
                  <a:gd name="connsiteX37" fmla="*/ 2490877 w 4212730"/>
                  <a:gd name="connsiteY37" fmla="*/ 434284 h 5282167"/>
                  <a:gd name="connsiteX38" fmla="*/ 2448227 w 4212730"/>
                  <a:gd name="connsiteY38" fmla="*/ 536110 h 5282167"/>
                  <a:gd name="connsiteX39" fmla="*/ 2448222 w 4212730"/>
                  <a:gd name="connsiteY39" fmla="*/ 1062507 h 5282167"/>
                  <a:gd name="connsiteX40" fmla="*/ 2445445 w 4212730"/>
                  <a:gd name="connsiteY40" fmla="*/ 1078704 h 5282167"/>
                  <a:gd name="connsiteX41" fmla="*/ 2442619 w 4212730"/>
                  <a:gd name="connsiteY41" fmla="*/ 1855195 h 5282167"/>
                  <a:gd name="connsiteX42" fmla="*/ 2444476 w 4212730"/>
                  <a:gd name="connsiteY42" fmla="*/ 1858713 h 5282167"/>
                  <a:gd name="connsiteX43" fmla="*/ 2443809 w 4212730"/>
                  <a:gd name="connsiteY43" fmla="*/ 3034913 h 5282167"/>
                  <a:gd name="connsiteX44" fmla="*/ 2441669 w 4212730"/>
                  <a:gd name="connsiteY44" fmla="*/ 4799700 h 5282167"/>
                  <a:gd name="connsiteX45" fmla="*/ 2374871 w 4212730"/>
                  <a:gd name="connsiteY45" fmla="*/ 5058680 h 5282167"/>
                  <a:gd name="connsiteX46" fmla="*/ 2230903 w 4212730"/>
                  <a:gd name="connsiteY46" fmla="*/ 5213120 h 5282167"/>
                  <a:gd name="connsiteX47" fmla="*/ 2020267 w 4212730"/>
                  <a:gd name="connsiteY47" fmla="*/ 5281631 h 5282167"/>
                  <a:gd name="connsiteX48" fmla="*/ 1970713 w 4212730"/>
                  <a:gd name="connsiteY48"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38762 w 4212730"/>
                  <a:gd name="connsiteY25" fmla="*/ 464189 h 5282167"/>
                  <a:gd name="connsiteX26" fmla="*/ 2091612 w 4212730"/>
                  <a:gd name="connsiteY26" fmla="*/ 212644 h 5282167"/>
                  <a:gd name="connsiteX27" fmla="*/ 2245202 w 4212730"/>
                  <a:gd name="connsiteY27" fmla="*/ 47391 h 5282167"/>
                  <a:gd name="connsiteX28" fmla="*/ 2444848 w 4212730"/>
                  <a:gd name="connsiteY28" fmla="*/ 205 h 5282167"/>
                  <a:gd name="connsiteX29" fmla="*/ 2620552 w 4212730"/>
                  <a:gd name="connsiteY29" fmla="*/ 34427 h 5282167"/>
                  <a:gd name="connsiteX30" fmla="*/ 4171705 w 4212730"/>
                  <a:gd name="connsiteY30" fmla="*/ 921222 h 5282167"/>
                  <a:gd name="connsiteX31" fmla="*/ 4172662 w 4212730"/>
                  <a:gd name="connsiteY31" fmla="*/ 1146723 h 5282167"/>
                  <a:gd name="connsiteX32" fmla="*/ 3998697 w 4212730"/>
                  <a:gd name="connsiteY32" fmla="*/ 1266662 h 5282167"/>
                  <a:gd name="connsiteX33" fmla="*/ 3978850 w 4212730"/>
                  <a:gd name="connsiteY33" fmla="*/ 1259364 h 5282167"/>
                  <a:gd name="connsiteX34" fmla="*/ 2513375 w 4212730"/>
                  <a:gd name="connsiteY34" fmla="*/ 428456 h 5282167"/>
                  <a:gd name="connsiteX35" fmla="*/ 2513032 w 4212730"/>
                  <a:gd name="connsiteY35" fmla="*/ 428063 h 5282167"/>
                  <a:gd name="connsiteX36" fmla="*/ 2490877 w 4212730"/>
                  <a:gd name="connsiteY36" fmla="*/ 434284 h 5282167"/>
                  <a:gd name="connsiteX37" fmla="*/ 2448227 w 4212730"/>
                  <a:gd name="connsiteY37" fmla="*/ 536110 h 5282167"/>
                  <a:gd name="connsiteX38" fmla="*/ 2448222 w 4212730"/>
                  <a:gd name="connsiteY38" fmla="*/ 1062507 h 5282167"/>
                  <a:gd name="connsiteX39" fmla="*/ 2445445 w 4212730"/>
                  <a:gd name="connsiteY39" fmla="*/ 1078704 h 5282167"/>
                  <a:gd name="connsiteX40" fmla="*/ 2442619 w 4212730"/>
                  <a:gd name="connsiteY40" fmla="*/ 1855195 h 5282167"/>
                  <a:gd name="connsiteX41" fmla="*/ 2444476 w 4212730"/>
                  <a:gd name="connsiteY41" fmla="*/ 1858713 h 5282167"/>
                  <a:gd name="connsiteX42" fmla="*/ 2443809 w 4212730"/>
                  <a:gd name="connsiteY42" fmla="*/ 3034913 h 5282167"/>
                  <a:gd name="connsiteX43" fmla="*/ 2441669 w 4212730"/>
                  <a:gd name="connsiteY43" fmla="*/ 4799700 h 5282167"/>
                  <a:gd name="connsiteX44" fmla="*/ 2374871 w 4212730"/>
                  <a:gd name="connsiteY44" fmla="*/ 5058680 h 5282167"/>
                  <a:gd name="connsiteX45" fmla="*/ 2230903 w 4212730"/>
                  <a:gd name="connsiteY45" fmla="*/ 5213120 h 5282167"/>
                  <a:gd name="connsiteX46" fmla="*/ 2020267 w 4212730"/>
                  <a:gd name="connsiteY46" fmla="*/ 5281631 h 5282167"/>
                  <a:gd name="connsiteX47" fmla="*/ 1970713 w 4212730"/>
                  <a:gd name="connsiteY47"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91612 w 4212730"/>
                  <a:gd name="connsiteY25" fmla="*/ 212644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2131 h 5282167"/>
                  <a:gd name="connsiteX1" fmla="*/ 1859089 w 4212730"/>
                  <a:gd name="connsiteY1" fmla="*/ 5254331 h 5282167"/>
                  <a:gd name="connsiteX2" fmla="*/ 1799088 w 4212730"/>
                  <a:gd name="connsiteY2" fmla="*/ 5224479 h 5282167"/>
                  <a:gd name="connsiteX3" fmla="*/ 257741 w 4212730"/>
                  <a:gd name="connsiteY3" fmla="*/ 4341281 h 5282167"/>
                  <a:gd name="connsiteX4" fmla="*/ 66855 w 4212730"/>
                  <a:gd name="connsiteY4" fmla="*/ 4153941 h 5282167"/>
                  <a:gd name="connsiteX5" fmla="*/ 5085 w 4212730"/>
                  <a:gd name="connsiteY5" fmla="*/ 3952038 h 5282167"/>
                  <a:gd name="connsiteX6" fmla="*/ 117 w 4212730"/>
                  <a:gd name="connsiteY6" fmla="*/ 3895648 h 5282167"/>
                  <a:gd name="connsiteX7" fmla="*/ 0 w 4212730"/>
                  <a:gd name="connsiteY7" fmla="*/ 3894986 h 5282167"/>
                  <a:gd name="connsiteX8" fmla="*/ 5920 w 4212730"/>
                  <a:gd name="connsiteY8" fmla="*/ 2510505 h 5282167"/>
                  <a:gd name="connsiteX9" fmla="*/ 9056 w 4212730"/>
                  <a:gd name="connsiteY9" fmla="*/ 2481645 h 5282167"/>
                  <a:gd name="connsiteX10" fmla="*/ 206180 w 4212730"/>
                  <a:gd name="connsiteY10" fmla="*/ 2388901 h 5282167"/>
                  <a:gd name="connsiteX11" fmla="*/ 407391 w 4212730"/>
                  <a:gd name="connsiteY11" fmla="*/ 2505054 h 5282167"/>
                  <a:gd name="connsiteX12" fmla="*/ 406100 w 4212730"/>
                  <a:gd name="connsiteY12" fmla="*/ 2569537 h 5282167"/>
                  <a:gd name="connsiteX13" fmla="*/ 409165 w 4212730"/>
                  <a:gd name="connsiteY13" fmla="*/ 3884928 h 5282167"/>
                  <a:gd name="connsiteX14" fmla="*/ 407598 w 4212730"/>
                  <a:gd name="connsiteY14" fmla="*/ 3878336 h 5282167"/>
                  <a:gd name="connsiteX15" fmla="*/ 407517 w 4212730"/>
                  <a:gd name="connsiteY15" fmla="*/ 3891144 h 5282167"/>
                  <a:gd name="connsiteX16" fmla="*/ 464772 w 4212730"/>
                  <a:gd name="connsiteY16" fmla="*/ 3990314 h 5282167"/>
                  <a:gd name="connsiteX17" fmla="*/ 1965744 w 4212730"/>
                  <a:gd name="connsiteY17" fmla="*/ 4862232 h 5282167"/>
                  <a:gd name="connsiteX18" fmla="*/ 1966088 w 4212730"/>
                  <a:gd name="connsiteY18" fmla="*/ 4862624 h 5282167"/>
                  <a:gd name="connsiteX19" fmla="*/ 1988129 w 4212730"/>
                  <a:gd name="connsiteY19" fmla="*/ 4856437 h 5282167"/>
                  <a:gd name="connsiteX20" fmla="*/ 2034209 w 4212730"/>
                  <a:gd name="connsiteY20" fmla="*/ 4795883 h 5282167"/>
                  <a:gd name="connsiteX21" fmla="*/ 2036053 w 4212730"/>
                  <a:gd name="connsiteY21" fmla="*/ 4102857 h 5282167"/>
                  <a:gd name="connsiteX22" fmla="*/ 2038324 w 4212730"/>
                  <a:gd name="connsiteY22" fmla="*/ 1051649 h 5282167"/>
                  <a:gd name="connsiteX23" fmla="*/ 2037139 w 4212730"/>
                  <a:gd name="connsiteY23" fmla="*/ 1014071 h 5282167"/>
                  <a:gd name="connsiteX24" fmla="*/ 2035104 w 4212730"/>
                  <a:gd name="connsiteY24" fmla="*/ 491303 h 5282167"/>
                  <a:gd name="connsiteX25" fmla="*/ 2080595 w 4212730"/>
                  <a:gd name="connsiteY25" fmla="*/ 168577 h 5282167"/>
                  <a:gd name="connsiteX26" fmla="*/ 2245202 w 4212730"/>
                  <a:gd name="connsiteY26" fmla="*/ 47391 h 5282167"/>
                  <a:gd name="connsiteX27" fmla="*/ 2444848 w 4212730"/>
                  <a:gd name="connsiteY27" fmla="*/ 205 h 5282167"/>
                  <a:gd name="connsiteX28" fmla="*/ 2620552 w 4212730"/>
                  <a:gd name="connsiteY28" fmla="*/ 34427 h 5282167"/>
                  <a:gd name="connsiteX29" fmla="*/ 4171705 w 4212730"/>
                  <a:gd name="connsiteY29" fmla="*/ 921222 h 5282167"/>
                  <a:gd name="connsiteX30" fmla="*/ 4172662 w 4212730"/>
                  <a:gd name="connsiteY30" fmla="*/ 1146723 h 5282167"/>
                  <a:gd name="connsiteX31" fmla="*/ 3998697 w 4212730"/>
                  <a:gd name="connsiteY31" fmla="*/ 1266662 h 5282167"/>
                  <a:gd name="connsiteX32" fmla="*/ 3978850 w 4212730"/>
                  <a:gd name="connsiteY32" fmla="*/ 1259364 h 5282167"/>
                  <a:gd name="connsiteX33" fmla="*/ 2513375 w 4212730"/>
                  <a:gd name="connsiteY33" fmla="*/ 428456 h 5282167"/>
                  <a:gd name="connsiteX34" fmla="*/ 2513032 w 4212730"/>
                  <a:gd name="connsiteY34" fmla="*/ 428063 h 5282167"/>
                  <a:gd name="connsiteX35" fmla="*/ 2490877 w 4212730"/>
                  <a:gd name="connsiteY35" fmla="*/ 434284 h 5282167"/>
                  <a:gd name="connsiteX36" fmla="*/ 2448227 w 4212730"/>
                  <a:gd name="connsiteY36" fmla="*/ 536110 h 5282167"/>
                  <a:gd name="connsiteX37" fmla="*/ 2448222 w 4212730"/>
                  <a:gd name="connsiteY37" fmla="*/ 1062507 h 5282167"/>
                  <a:gd name="connsiteX38" fmla="*/ 2445445 w 4212730"/>
                  <a:gd name="connsiteY38" fmla="*/ 1078704 h 5282167"/>
                  <a:gd name="connsiteX39" fmla="*/ 2442619 w 4212730"/>
                  <a:gd name="connsiteY39" fmla="*/ 1855195 h 5282167"/>
                  <a:gd name="connsiteX40" fmla="*/ 2444476 w 4212730"/>
                  <a:gd name="connsiteY40" fmla="*/ 1858713 h 5282167"/>
                  <a:gd name="connsiteX41" fmla="*/ 2443809 w 4212730"/>
                  <a:gd name="connsiteY41" fmla="*/ 3034913 h 5282167"/>
                  <a:gd name="connsiteX42" fmla="*/ 2441669 w 4212730"/>
                  <a:gd name="connsiteY42" fmla="*/ 4799700 h 5282167"/>
                  <a:gd name="connsiteX43" fmla="*/ 2374871 w 4212730"/>
                  <a:gd name="connsiteY43" fmla="*/ 5058680 h 5282167"/>
                  <a:gd name="connsiteX44" fmla="*/ 2230903 w 4212730"/>
                  <a:gd name="connsiteY44" fmla="*/ 5213120 h 5282167"/>
                  <a:gd name="connsiteX45" fmla="*/ 2020267 w 4212730"/>
                  <a:gd name="connsiteY45" fmla="*/ 5281631 h 5282167"/>
                  <a:gd name="connsiteX46" fmla="*/ 1970713 w 4212730"/>
                  <a:gd name="connsiteY46" fmla="*/ 5282131 h 5282167"/>
                  <a:gd name="connsiteX0" fmla="*/ 1970713 w 4212730"/>
                  <a:gd name="connsiteY0" fmla="*/ 5285252 h 5285288"/>
                  <a:gd name="connsiteX1" fmla="*/ 1859089 w 4212730"/>
                  <a:gd name="connsiteY1" fmla="*/ 5257452 h 5285288"/>
                  <a:gd name="connsiteX2" fmla="*/ 1799088 w 4212730"/>
                  <a:gd name="connsiteY2" fmla="*/ 5227600 h 5285288"/>
                  <a:gd name="connsiteX3" fmla="*/ 257741 w 4212730"/>
                  <a:gd name="connsiteY3" fmla="*/ 4344402 h 5285288"/>
                  <a:gd name="connsiteX4" fmla="*/ 66855 w 4212730"/>
                  <a:gd name="connsiteY4" fmla="*/ 4157062 h 5285288"/>
                  <a:gd name="connsiteX5" fmla="*/ 5085 w 4212730"/>
                  <a:gd name="connsiteY5" fmla="*/ 3955159 h 5285288"/>
                  <a:gd name="connsiteX6" fmla="*/ 117 w 4212730"/>
                  <a:gd name="connsiteY6" fmla="*/ 3898769 h 5285288"/>
                  <a:gd name="connsiteX7" fmla="*/ 0 w 4212730"/>
                  <a:gd name="connsiteY7" fmla="*/ 3898107 h 5285288"/>
                  <a:gd name="connsiteX8" fmla="*/ 5920 w 4212730"/>
                  <a:gd name="connsiteY8" fmla="*/ 2513626 h 5285288"/>
                  <a:gd name="connsiteX9" fmla="*/ 9056 w 4212730"/>
                  <a:gd name="connsiteY9" fmla="*/ 2484766 h 5285288"/>
                  <a:gd name="connsiteX10" fmla="*/ 206180 w 4212730"/>
                  <a:gd name="connsiteY10" fmla="*/ 2392022 h 5285288"/>
                  <a:gd name="connsiteX11" fmla="*/ 407391 w 4212730"/>
                  <a:gd name="connsiteY11" fmla="*/ 2508175 h 5285288"/>
                  <a:gd name="connsiteX12" fmla="*/ 406100 w 4212730"/>
                  <a:gd name="connsiteY12" fmla="*/ 2572658 h 5285288"/>
                  <a:gd name="connsiteX13" fmla="*/ 409165 w 4212730"/>
                  <a:gd name="connsiteY13" fmla="*/ 3888049 h 5285288"/>
                  <a:gd name="connsiteX14" fmla="*/ 407598 w 4212730"/>
                  <a:gd name="connsiteY14" fmla="*/ 3881457 h 5285288"/>
                  <a:gd name="connsiteX15" fmla="*/ 407517 w 4212730"/>
                  <a:gd name="connsiteY15" fmla="*/ 3894265 h 5285288"/>
                  <a:gd name="connsiteX16" fmla="*/ 464772 w 4212730"/>
                  <a:gd name="connsiteY16" fmla="*/ 3993435 h 5285288"/>
                  <a:gd name="connsiteX17" fmla="*/ 1965744 w 4212730"/>
                  <a:gd name="connsiteY17" fmla="*/ 4865353 h 5285288"/>
                  <a:gd name="connsiteX18" fmla="*/ 1966088 w 4212730"/>
                  <a:gd name="connsiteY18" fmla="*/ 4865745 h 5285288"/>
                  <a:gd name="connsiteX19" fmla="*/ 1988129 w 4212730"/>
                  <a:gd name="connsiteY19" fmla="*/ 4859558 h 5285288"/>
                  <a:gd name="connsiteX20" fmla="*/ 2034209 w 4212730"/>
                  <a:gd name="connsiteY20" fmla="*/ 4799004 h 5285288"/>
                  <a:gd name="connsiteX21" fmla="*/ 2036053 w 4212730"/>
                  <a:gd name="connsiteY21" fmla="*/ 4105978 h 5285288"/>
                  <a:gd name="connsiteX22" fmla="*/ 2038324 w 4212730"/>
                  <a:gd name="connsiteY22" fmla="*/ 1054770 h 5285288"/>
                  <a:gd name="connsiteX23" fmla="*/ 2037139 w 4212730"/>
                  <a:gd name="connsiteY23" fmla="*/ 1017192 h 5285288"/>
                  <a:gd name="connsiteX24" fmla="*/ 2035104 w 4212730"/>
                  <a:gd name="connsiteY24" fmla="*/ 494424 h 5285288"/>
                  <a:gd name="connsiteX25" fmla="*/ 2080595 w 4212730"/>
                  <a:gd name="connsiteY25" fmla="*/ 171698 h 5285288"/>
                  <a:gd name="connsiteX26" fmla="*/ 2245202 w 4212730"/>
                  <a:gd name="connsiteY26" fmla="*/ 25112 h 5285288"/>
                  <a:gd name="connsiteX27" fmla="*/ 2444848 w 4212730"/>
                  <a:gd name="connsiteY27" fmla="*/ 3326 h 5285288"/>
                  <a:gd name="connsiteX28" fmla="*/ 2620552 w 4212730"/>
                  <a:gd name="connsiteY28" fmla="*/ 37548 h 5285288"/>
                  <a:gd name="connsiteX29" fmla="*/ 4171705 w 4212730"/>
                  <a:gd name="connsiteY29" fmla="*/ 924343 h 5285288"/>
                  <a:gd name="connsiteX30" fmla="*/ 4172662 w 4212730"/>
                  <a:gd name="connsiteY30" fmla="*/ 1149844 h 5285288"/>
                  <a:gd name="connsiteX31" fmla="*/ 3998697 w 4212730"/>
                  <a:gd name="connsiteY31" fmla="*/ 1269783 h 5285288"/>
                  <a:gd name="connsiteX32" fmla="*/ 3978850 w 4212730"/>
                  <a:gd name="connsiteY32" fmla="*/ 1262485 h 5285288"/>
                  <a:gd name="connsiteX33" fmla="*/ 2513375 w 4212730"/>
                  <a:gd name="connsiteY33" fmla="*/ 431577 h 5285288"/>
                  <a:gd name="connsiteX34" fmla="*/ 2513032 w 4212730"/>
                  <a:gd name="connsiteY34" fmla="*/ 431184 h 5285288"/>
                  <a:gd name="connsiteX35" fmla="*/ 2490877 w 4212730"/>
                  <a:gd name="connsiteY35" fmla="*/ 437405 h 5285288"/>
                  <a:gd name="connsiteX36" fmla="*/ 2448227 w 4212730"/>
                  <a:gd name="connsiteY36" fmla="*/ 539231 h 5285288"/>
                  <a:gd name="connsiteX37" fmla="*/ 2448222 w 4212730"/>
                  <a:gd name="connsiteY37" fmla="*/ 1065628 h 5285288"/>
                  <a:gd name="connsiteX38" fmla="*/ 2445445 w 4212730"/>
                  <a:gd name="connsiteY38" fmla="*/ 1081825 h 5285288"/>
                  <a:gd name="connsiteX39" fmla="*/ 2442619 w 4212730"/>
                  <a:gd name="connsiteY39" fmla="*/ 1858316 h 5285288"/>
                  <a:gd name="connsiteX40" fmla="*/ 2444476 w 4212730"/>
                  <a:gd name="connsiteY40" fmla="*/ 1861834 h 5285288"/>
                  <a:gd name="connsiteX41" fmla="*/ 2443809 w 4212730"/>
                  <a:gd name="connsiteY41" fmla="*/ 3038034 h 5285288"/>
                  <a:gd name="connsiteX42" fmla="*/ 2441669 w 4212730"/>
                  <a:gd name="connsiteY42" fmla="*/ 4802821 h 5285288"/>
                  <a:gd name="connsiteX43" fmla="*/ 2374871 w 4212730"/>
                  <a:gd name="connsiteY43" fmla="*/ 5061801 h 5285288"/>
                  <a:gd name="connsiteX44" fmla="*/ 2230903 w 4212730"/>
                  <a:gd name="connsiteY44" fmla="*/ 5216241 h 5285288"/>
                  <a:gd name="connsiteX45" fmla="*/ 2020267 w 4212730"/>
                  <a:gd name="connsiteY45" fmla="*/ 5284752 h 5285288"/>
                  <a:gd name="connsiteX46" fmla="*/ 1970713 w 4212730"/>
                  <a:gd name="connsiteY46" fmla="*/ 5285252 h 5285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212730" h="5285288">
                    <a:moveTo>
                      <a:pt x="1970713" y="5285252"/>
                    </a:moveTo>
                    <a:cubicBezTo>
                      <a:pt x="1942294" y="5285662"/>
                      <a:pt x="1917105" y="5282948"/>
                      <a:pt x="1859089" y="5257452"/>
                    </a:cubicBezTo>
                    <a:lnTo>
                      <a:pt x="1799088" y="5227600"/>
                    </a:lnTo>
                    <a:lnTo>
                      <a:pt x="257741" y="4344402"/>
                    </a:lnTo>
                    <a:cubicBezTo>
                      <a:pt x="190572" y="4290851"/>
                      <a:pt x="143642" y="4293725"/>
                      <a:pt x="66855" y="4157062"/>
                    </a:cubicBezTo>
                    <a:cubicBezTo>
                      <a:pt x="9264" y="4054564"/>
                      <a:pt x="7680" y="4007913"/>
                      <a:pt x="5085" y="3955159"/>
                    </a:cubicBezTo>
                    <a:lnTo>
                      <a:pt x="117" y="3898769"/>
                    </a:lnTo>
                    <a:cubicBezTo>
                      <a:pt x="78" y="3898549"/>
                      <a:pt x="39" y="3898326"/>
                      <a:pt x="0" y="3898107"/>
                    </a:cubicBezTo>
                    <a:cubicBezTo>
                      <a:pt x="1973" y="3436613"/>
                      <a:pt x="3947" y="2975119"/>
                      <a:pt x="5920" y="2513626"/>
                    </a:cubicBezTo>
                    <a:lnTo>
                      <a:pt x="9056" y="2484766"/>
                    </a:lnTo>
                    <a:cubicBezTo>
                      <a:pt x="27818" y="2431837"/>
                      <a:pt x="108945" y="2392022"/>
                      <a:pt x="206180" y="2392022"/>
                    </a:cubicBezTo>
                    <a:cubicBezTo>
                      <a:pt x="317306" y="2392022"/>
                      <a:pt x="407391" y="2444025"/>
                      <a:pt x="407391" y="2508175"/>
                    </a:cubicBezTo>
                    <a:cubicBezTo>
                      <a:pt x="406961" y="2529669"/>
                      <a:pt x="406530" y="2551164"/>
                      <a:pt x="406100" y="2572658"/>
                    </a:cubicBezTo>
                    <a:cubicBezTo>
                      <a:pt x="405529" y="2900762"/>
                      <a:pt x="408958" y="3674271"/>
                      <a:pt x="409165" y="3888049"/>
                    </a:cubicBezTo>
                    <a:lnTo>
                      <a:pt x="407598" y="3881457"/>
                    </a:lnTo>
                    <a:cubicBezTo>
                      <a:pt x="407570" y="3885727"/>
                      <a:pt x="407545" y="3889994"/>
                      <a:pt x="407517" y="3894265"/>
                    </a:cubicBezTo>
                    <a:cubicBezTo>
                      <a:pt x="416777" y="3952895"/>
                      <a:pt x="418624" y="3956102"/>
                      <a:pt x="464772" y="3993435"/>
                    </a:cubicBezTo>
                    <a:lnTo>
                      <a:pt x="1965744" y="4865353"/>
                    </a:lnTo>
                    <a:lnTo>
                      <a:pt x="1966088" y="4865745"/>
                    </a:lnTo>
                    <a:lnTo>
                      <a:pt x="1988129" y="4859558"/>
                    </a:lnTo>
                    <a:cubicBezTo>
                      <a:pt x="2011931" y="4852878"/>
                      <a:pt x="2031508" y="4839446"/>
                      <a:pt x="2034209" y="4799004"/>
                    </a:cubicBezTo>
                    <a:cubicBezTo>
                      <a:pt x="2034824" y="4567995"/>
                      <a:pt x="2035438" y="4336987"/>
                      <a:pt x="2036053" y="4105978"/>
                    </a:cubicBezTo>
                    <a:lnTo>
                      <a:pt x="2038324" y="1054770"/>
                    </a:lnTo>
                    <a:lnTo>
                      <a:pt x="2037139" y="1017192"/>
                    </a:lnTo>
                    <a:cubicBezTo>
                      <a:pt x="2033007" y="883195"/>
                      <a:pt x="2032181" y="685526"/>
                      <a:pt x="2035104" y="494424"/>
                    </a:cubicBezTo>
                    <a:cubicBezTo>
                      <a:pt x="2032901" y="341098"/>
                      <a:pt x="2045579" y="249917"/>
                      <a:pt x="2080595" y="171698"/>
                    </a:cubicBezTo>
                    <a:cubicBezTo>
                      <a:pt x="2115611" y="93479"/>
                      <a:pt x="2200593" y="53875"/>
                      <a:pt x="2245202" y="25112"/>
                    </a:cubicBezTo>
                    <a:cubicBezTo>
                      <a:pt x="2327069" y="-9906"/>
                      <a:pt x="2382290" y="1253"/>
                      <a:pt x="2444848" y="3326"/>
                    </a:cubicBezTo>
                    <a:cubicBezTo>
                      <a:pt x="2507406" y="5399"/>
                      <a:pt x="2562690" y="16377"/>
                      <a:pt x="2620552" y="37548"/>
                    </a:cubicBezTo>
                    <a:lnTo>
                      <a:pt x="4171705" y="924343"/>
                    </a:lnTo>
                    <a:cubicBezTo>
                      <a:pt x="4226030" y="955707"/>
                      <a:pt x="4226458" y="1056667"/>
                      <a:pt x="4172662" y="1149844"/>
                    </a:cubicBezTo>
                    <a:cubicBezTo>
                      <a:pt x="4125591" y="1231374"/>
                      <a:pt x="4052602" y="1279929"/>
                      <a:pt x="3998697" y="1269783"/>
                    </a:cubicBezTo>
                    <a:lnTo>
                      <a:pt x="3978850" y="1262485"/>
                    </a:lnTo>
                    <a:lnTo>
                      <a:pt x="2513375" y="431577"/>
                    </a:lnTo>
                    <a:cubicBezTo>
                      <a:pt x="2513261" y="431448"/>
                      <a:pt x="2513146" y="431313"/>
                      <a:pt x="2513032" y="431184"/>
                    </a:cubicBezTo>
                    <a:lnTo>
                      <a:pt x="2490877" y="437405"/>
                    </a:lnTo>
                    <a:cubicBezTo>
                      <a:pt x="2480076" y="455412"/>
                      <a:pt x="2455336" y="434527"/>
                      <a:pt x="2448227" y="539231"/>
                    </a:cubicBezTo>
                    <a:cubicBezTo>
                      <a:pt x="2448227" y="714697"/>
                      <a:pt x="2448222" y="890162"/>
                      <a:pt x="2448222" y="1065628"/>
                    </a:cubicBezTo>
                    <a:lnTo>
                      <a:pt x="2445445" y="1081825"/>
                    </a:lnTo>
                    <a:lnTo>
                      <a:pt x="2442619" y="1858316"/>
                    </a:lnTo>
                    <a:lnTo>
                      <a:pt x="2444476" y="1861834"/>
                    </a:lnTo>
                    <a:cubicBezTo>
                      <a:pt x="2444674" y="2058454"/>
                      <a:pt x="2443809" y="2841791"/>
                      <a:pt x="2443809" y="3038034"/>
                    </a:cubicBezTo>
                    <a:cubicBezTo>
                      <a:pt x="2443095" y="3626297"/>
                      <a:pt x="2442381" y="4214559"/>
                      <a:pt x="2441669" y="4802821"/>
                    </a:cubicBezTo>
                    <a:cubicBezTo>
                      <a:pt x="2428878" y="4887762"/>
                      <a:pt x="2454832" y="4926970"/>
                      <a:pt x="2374871" y="5061801"/>
                    </a:cubicBezTo>
                    <a:cubicBezTo>
                      <a:pt x="2314901" y="5162924"/>
                      <a:pt x="2275295" y="5187619"/>
                      <a:pt x="2230903" y="5216241"/>
                    </a:cubicBezTo>
                    <a:cubicBezTo>
                      <a:pt x="2149434" y="5251083"/>
                      <a:pt x="2101599" y="5287513"/>
                      <a:pt x="2020267" y="5284752"/>
                    </a:cubicBezTo>
                    <a:cubicBezTo>
                      <a:pt x="1999938" y="5284061"/>
                      <a:pt x="1984921" y="5285046"/>
                      <a:pt x="1970713" y="5285252"/>
                    </a:cubicBezTo>
                    <a:close/>
                  </a:path>
                </a:pathLst>
              </a:custGeom>
              <a:noFill/>
              <a:ln w="12700"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400"/>
              </a:p>
            </p:txBody>
          </p:sp>
        </p:grpSp>
      </p:grpSp>
      <p:sp>
        <p:nvSpPr>
          <p:cNvPr id="1732" name="Rechteck 87">
            <a:extLst>
              <a:ext uri="{FF2B5EF4-FFF2-40B4-BE49-F238E27FC236}">
                <a16:creationId xmlns:a16="http://schemas.microsoft.com/office/drawing/2014/main" id="{5D5E3FD8-C32B-4882-8BE1-E613C81CC8D7}"/>
              </a:ext>
            </a:extLst>
          </p:cNvPr>
          <p:cNvSpPr/>
          <p:nvPr/>
        </p:nvSpPr>
        <p:spPr bwMode="gray">
          <a:xfrm>
            <a:off x="3048033" y="4265148"/>
            <a:ext cx="1220507" cy="168934"/>
          </a:xfrm>
          <a:prstGeom prst="rect">
            <a:avLst/>
          </a:prstGeom>
          <a:noFill/>
          <a:ln w="12700">
            <a:noFill/>
          </a:ln>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nchorCtr="0"/>
          <a:lstStyle/>
          <a:p>
            <a:pPr algn="r">
              <a:spcBef>
                <a:spcPts val="300"/>
              </a:spcBef>
              <a:buClr>
                <a:srgbClr val="002897"/>
              </a:buClr>
              <a:buSzPct val="70000"/>
            </a:pPr>
            <a:r>
              <a:rPr lang="de-DE" sz="1400" dirty="0">
                <a:solidFill>
                  <a:schemeClr val="tx1"/>
                </a:solidFill>
              </a:rPr>
              <a:t>Natural </a:t>
            </a:r>
            <a:br>
              <a:rPr lang="de-DE" sz="1400" dirty="0">
                <a:solidFill>
                  <a:schemeClr val="tx1"/>
                </a:solidFill>
              </a:rPr>
            </a:br>
            <a:r>
              <a:rPr lang="de-DE" sz="1400" dirty="0">
                <a:solidFill>
                  <a:schemeClr val="tx1"/>
                </a:solidFill>
              </a:rPr>
              <a:t>gas</a:t>
            </a:r>
          </a:p>
        </p:txBody>
      </p:sp>
      <p:cxnSp>
        <p:nvCxnSpPr>
          <p:cNvPr id="1733" name="Straight Arrow Connector 1732">
            <a:extLst>
              <a:ext uri="{FF2B5EF4-FFF2-40B4-BE49-F238E27FC236}">
                <a16:creationId xmlns:a16="http://schemas.microsoft.com/office/drawing/2014/main" id="{39319A52-EE0A-4960-A87B-2535E6F3C05A}"/>
              </a:ext>
            </a:extLst>
          </p:cNvPr>
          <p:cNvCxnSpPr>
            <a:cxnSpLocks/>
          </p:cNvCxnSpPr>
          <p:nvPr/>
        </p:nvCxnSpPr>
        <p:spPr bwMode="gray">
          <a:xfrm>
            <a:off x="4087586" y="4603020"/>
            <a:ext cx="148651" cy="82417"/>
          </a:xfrm>
          <a:prstGeom prst="straightConnector1">
            <a:avLst/>
          </a:prstGeom>
          <a:ln w="12700" cap="rnd">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64" name="Straight Arrow Connector 1763">
            <a:extLst>
              <a:ext uri="{FF2B5EF4-FFF2-40B4-BE49-F238E27FC236}">
                <a16:creationId xmlns:a16="http://schemas.microsoft.com/office/drawing/2014/main" id="{6DFD063F-47FD-4B33-B8AF-D4C63F65CCCC}"/>
              </a:ext>
            </a:extLst>
          </p:cNvPr>
          <p:cNvCxnSpPr>
            <a:cxnSpLocks/>
          </p:cNvCxnSpPr>
          <p:nvPr/>
        </p:nvCxnSpPr>
        <p:spPr bwMode="gray">
          <a:xfrm>
            <a:off x="5060985" y="4276503"/>
            <a:ext cx="0" cy="140401"/>
          </a:xfrm>
          <a:prstGeom prst="straightConnector1">
            <a:avLst/>
          </a:prstGeom>
          <a:ln w="12700" cap="rnd">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238" name="Straight Arrow Connector 2237">
            <a:extLst>
              <a:ext uri="{FF2B5EF4-FFF2-40B4-BE49-F238E27FC236}">
                <a16:creationId xmlns:a16="http://schemas.microsoft.com/office/drawing/2014/main" id="{1B511BED-1A66-4B0D-A576-8C05CA5BC543}"/>
              </a:ext>
            </a:extLst>
          </p:cNvPr>
          <p:cNvCxnSpPr>
            <a:cxnSpLocks/>
          </p:cNvCxnSpPr>
          <p:nvPr/>
        </p:nvCxnSpPr>
        <p:spPr bwMode="gray">
          <a:xfrm flipH="1" flipV="1">
            <a:off x="8980863" y="2944024"/>
            <a:ext cx="180852" cy="105668"/>
          </a:xfrm>
          <a:prstGeom prst="straightConnector1">
            <a:avLst/>
          </a:prstGeom>
          <a:ln w="12700" cap="rnd">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2239" name="Straight Arrow Connector 2238">
            <a:extLst>
              <a:ext uri="{FF2B5EF4-FFF2-40B4-BE49-F238E27FC236}">
                <a16:creationId xmlns:a16="http://schemas.microsoft.com/office/drawing/2014/main" id="{6B98F44C-EBEC-46D5-9911-4167144852E2}"/>
              </a:ext>
            </a:extLst>
          </p:cNvPr>
          <p:cNvCxnSpPr>
            <a:cxnSpLocks/>
          </p:cNvCxnSpPr>
          <p:nvPr/>
        </p:nvCxnSpPr>
        <p:spPr bwMode="gray">
          <a:xfrm>
            <a:off x="5060985" y="2081334"/>
            <a:ext cx="0" cy="243880"/>
          </a:xfrm>
          <a:prstGeom prst="straightConnector1">
            <a:avLst/>
          </a:prstGeom>
          <a:ln w="12700" cap="rnd">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02715393"/>
      </p:ext>
    </p:extLst>
  </p:cSld>
  <p:clrMapOvr>
    <a:masterClrMapping/>
  </p:clrMapOvr>
  <mc:AlternateContent xmlns:mc="http://schemas.openxmlformats.org/markup-compatibility/2006" xmlns:p14="http://schemas.microsoft.com/office/powerpoint/2010/main">
    <mc:Choice Requires="p14">
      <p:transition spd="med" p14:dur="700" advTm="133737">
        <p:fade/>
      </p:transition>
    </mc:Choice>
    <mc:Fallback xmlns="">
      <p:transition spd="med" advTm="133737">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2" name="Rechteck 87">
            <a:extLst>
              <a:ext uri="{FF2B5EF4-FFF2-40B4-BE49-F238E27FC236}">
                <a16:creationId xmlns:a16="http://schemas.microsoft.com/office/drawing/2014/main" id="{D44F8F5A-673C-449C-9625-1D5070486B55}"/>
              </a:ext>
            </a:extLst>
          </p:cNvPr>
          <p:cNvSpPr/>
          <p:nvPr/>
        </p:nvSpPr>
        <p:spPr bwMode="gray">
          <a:xfrm>
            <a:off x="336550" y="1936750"/>
            <a:ext cx="11520488" cy="3978275"/>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400" dirty="0">
              <a:solidFill>
                <a:schemeClr val="bg1"/>
              </a:solidFill>
            </a:endParaRPr>
          </a:p>
        </p:txBody>
      </p:sp>
      <p:sp>
        <p:nvSpPr>
          <p:cNvPr id="3" name="Title 2">
            <a:extLst>
              <a:ext uri="{FF2B5EF4-FFF2-40B4-BE49-F238E27FC236}">
                <a16:creationId xmlns:a16="http://schemas.microsoft.com/office/drawing/2014/main" id="{9567B261-29DB-4A49-9E9B-0E8E67770887}"/>
              </a:ext>
            </a:extLst>
          </p:cNvPr>
          <p:cNvSpPr>
            <a:spLocks noGrp="1"/>
          </p:cNvSpPr>
          <p:nvPr>
            <p:ph type="title"/>
          </p:nvPr>
        </p:nvSpPr>
        <p:spPr bwMode="gray"/>
        <p:txBody>
          <a:bodyPr/>
          <a:lstStyle/>
          <a:p>
            <a:r>
              <a:rPr lang="de-DE" dirty="0"/>
              <a:t>Hydrogen, </a:t>
            </a:r>
            <a:r>
              <a:rPr lang="de-DE" dirty="0" err="1"/>
              <a:t>carbon</a:t>
            </a:r>
            <a:r>
              <a:rPr lang="de-DE" dirty="0"/>
              <a:t> </a:t>
            </a:r>
            <a:r>
              <a:rPr lang="de-DE" dirty="0" err="1"/>
              <a:t>monoxide</a:t>
            </a:r>
            <a:r>
              <a:rPr lang="de-DE" dirty="0"/>
              <a:t> &amp; </a:t>
            </a:r>
            <a:r>
              <a:rPr lang="de-DE" dirty="0" err="1"/>
              <a:t>syngas</a:t>
            </a:r>
            <a:r>
              <a:rPr lang="de-DE" dirty="0"/>
              <a:t> </a:t>
            </a:r>
            <a:r>
              <a:rPr lang="de-DE" dirty="0" err="1"/>
              <a:t>production</a:t>
            </a:r>
            <a:endParaRPr lang="de-DE" dirty="0"/>
          </a:p>
        </p:txBody>
      </p:sp>
      <p:sp>
        <p:nvSpPr>
          <p:cNvPr id="7" name="Subtitle 6">
            <a:extLst>
              <a:ext uri="{FF2B5EF4-FFF2-40B4-BE49-F238E27FC236}">
                <a16:creationId xmlns:a16="http://schemas.microsoft.com/office/drawing/2014/main" id="{2EDACCE9-6D86-4F58-AEDB-5122048EFA96}"/>
              </a:ext>
            </a:extLst>
          </p:cNvPr>
          <p:cNvSpPr>
            <a:spLocks noGrp="1"/>
          </p:cNvSpPr>
          <p:nvPr>
            <p:ph type="subTitle" idx="13"/>
          </p:nvPr>
        </p:nvSpPr>
        <p:spPr bwMode="gray"/>
        <p:txBody>
          <a:bodyPr/>
          <a:lstStyle/>
          <a:p>
            <a:r>
              <a:rPr lang="de-DE" dirty="0" err="1"/>
              <a:t>Typical</a:t>
            </a:r>
            <a:r>
              <a:rPr lang="de-DE" dirty="0"/>
              <a:t> </a:t>
            </a:r>
            <a:r>
              <a:rPr lang="de-DE" dirty="0" err="1"/>
              <a:t>process</a:t>
            </a:r>
            <a:r>
              <a:rPr lang="de-DE" dirty="0"/>
              <a:t> </a:t>
            </a:r>
            <a:r>
              <a:rPr lang="de-DE" dirty="0" err="1"/>
              <a:t>flow</a:t>
            </a:r>
            <a:r>
              <a:rPr lang="de-DE" dirty="0"/>
              <a:t> / </a:t>
            </a:r>
            <a:r>
              <a:rPr lang="de-DE" dirty="0" err="1"/>
              <a:t>measuring</a:t>
            </a:r>
            <a:r>
              <a:rPr lang="de-DE" dirty="0"/>
              <a:t> </a:t>
            </a:r>
            <a:r>
              <a:rPr lang="de-DE" dirty="0" err="1"/>
              <a:t>points</a:t>
            </a:r>
            <a:endParaRPr lang="de-DE" dirty="0"/>
          </a:p>
        </p:txBody>
      </p:sp>
      <p:grpSp>
        <p:nvGrpSpPr>
          <p:cNvPr id="412" name="Group 411">
            <a:extLst>
              <a:ext uri="{FF2B5EF4-FFF2-40B4-BE49-F238E27FC236}">
                <a16:creationId xmlns:a16="http://schemas.microsoft.com/office/drawing/2014/main" id="{887A9748-CC68-4A57-B28D-7711BBDD97F4}"/>
              </a:ext>
            </a:extLst>
          </p:cNvPr>
          <p:cNvGrpSpPr/>
          <p:nvPr/>
        </p:nvGrpSpPr>
        <p:grpSpPr bwMode="gray">
          <a:xfrm>
            <a:off x="7524049" y="3908258"/>
            <a:ext cx="519252" cy="670502"/>
            <a:chOff x="4639488" y="5016313"/>
            <a:chExt cx="519252" cy="670502"/>
          </a:xfrm>
        </p:grpSpPr>
        <p:sp>
          <p:nvSpPr>
            <p:cNvPr id="413" name="Rectangle: Top Corners Snipped 412">
              <a:extLst>
                <a:ext uri="{FF2B5EF4-FFF2-40B4-BE49-F238E27FC236}">
                  <a16:creationId xmlns:a16="http://schemas.microsoft.com/office/drawing/2014/main" id="{550FA381-12D0-49F0-B0B8-C764C39F40EE}"/>
                </a:ext>
              </a:extLst>
            </p:cNvPr>
            <p:cNvSpPr/>
            <p:nvPr/>
          </p:nvSpPr>
          <p:spPr bwMode="gray">
            <a:xfrm>
              <a:off x="4693197" y="5016313"/>
              <a:ext cx="411835" cy="293946"/>
            </a:xfrm>
            <a:prstGeom prst="snip2SameRect">
              <a:avLst>
                <a:gd name="adj1" fmla="val 33168"/>
                <a:gd name="adj2" fmla="val 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err="1"/>
            </a:p>
          </p:txBody>
        </p:sp>
        <p:sp>
          <p:nvSpPr>
            <p:cNvPr id="414" name="Rectangle 413">
              <a:extLst>
                <a:ext uri="{FF2B5EF4-FFF2-40B4-BE49-F238E27FC236}">
                  <a16:creationId xmlns:a16="http://schemas.microsoft.com/office/drawing/2014/main" id="{3F39ACF8-AA8F-4C3B-A89B-665101CEBAC2}"/>
                </a:ext>
              </a:extLst>
            </p:cNvPr>
            <p:cNvSpPr/>
            <p:nvPr/>
          </p:nvSpPr>
          <p:spPr bwMode="gray">
            <a:xfrm>
              <a:off x="4639488" y="5314676"/>
              <a:ext cx="519252" cy="37213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Drying</a:t>
              </a:r>
            </a:p>
            <a:p>
              <a:pPr algn="ctr">
                <a:spcBef>
                  <a:spcPts val="300"/>
                </a:spcBef>
                <a:buClr>
                  <a:srgbClr val="002897"/>
                </a:buClr>
                <a:buSzPct val="70000"/>
              </a:pPr>
              <a:r>
                <a:rPr lang="de-DE" sz="1000" dirty="0">
                  <a:solidFill>
                    <a:schemeClr val="tx1"/>
                  </a:solidFill>
                </a:rPr>
                <a:t>station</a:t>
              </a:r>
            </a:p>
          </p:txBody>
        </p:sp>
      </p:grpSp>
      <p:sp>
        <p:nvSpPr>
          <p:cNvPr id="424" name="Freeform: Shape 423">
            <a:extLst>
              <a:ext uri="{FF2B5EF4-FFF2-40B4-BE49-F238E27FC236}">
                <a16:creationId xmlns:a16="http://schemas.microsoft.com/office/drawing/2014/main" id="{3CBF2444-1964-4358-A684-FE52212904AD}"/>
              </a:ext>
            </a:extLst>
          </p:cNvPr>
          <p:cNvSpPr/>
          <p:nvPr/>
        </p:nvSpPr>
        <p:spPr bwMode="gray">
          <a:xfrm flipH="1">
            <a:off x="7410900" y="2233864"/>
            <a:ext cx="745550" cy="1501843"/>
          </a:xfrm>
          <a:custGeom>
            <a:avLst/>
            <a:gdLst>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30300 h 1501843"/>
              <a:gd name="connsiteX17" fmla="*/ 683710 w 683710"/>
              <a:gd name="connsiteY17" fmla="*/ 1159988 h 1501843"/>
              <a:gd name="connsiteX18" fmla="*/ 341855 w 683710"/>
              <a:gd name="connsiteY18" fmla="*/ 1501843 h 1501843"/>
              <a:gd name="connsiteX19" fmla="*/ 0 w 683710"/>
              <a:gd name="connsiteY19" fmla="*/ 1159988 h 1501843"/>
              <a:gd name="connsiteX20" fmla="*/ 0 w 683710"/>
              <a:gd name="connsiteY20" fmla="*/ 1130300 h 1501843"/>
              <a:gd name="connsiteX21" fmla="*/ 0 w 683710"/>
              <a:gd name="connsiteY21" fmla="*/ 1035456 h 1501843"/>
              <a:gd name="connsiteX22" fmla="*/ 0 w 683710"/>
              <a:gd name="connsiteY22" fmla="*/ 1035455 h 1501843"/>
              <a:gd name="connsiteX23" fmla="*/ 0 w 683710"/>
              <a:gd name="connsiteY23" fmla="*/ 940612 h 1501843"/>
              <a:gd name="connsiteX24" fmla="*/ 0 w 683710"/>
              <a:gd name="connsiteY24" fmla="*/ 940611 h 1501843"/>
              <a:gd name="connsiteX25" fmla="*/ 0 w 683710"/>
              <a:gd name="connsiteY25" fmla="*/ 845767 h 1501843"/>
              <a:gd name="connsiteX26" fmla="*/ 0 w 683710"/>
              <a:gd name="connsiteY26" fmla="*/ 750923 h 1501843"/>
              <a:gd name="connsiteX27" fmla="*/ 0 w 683710"/>
              <a:gd name="connsiteY27" fmla="*/ 750922 h 1501843"/>
              <a:gd name="connsiteX28" fmla="*/ 0 w 683710"/>
              <a:gd name="connsiteY28" fmla="*/ 656079 h 1501843"/>
              <a:gd name="connsiteX29" fmla="*/ 0 w 683710"/>
              <a:gd name="connsiteY29" fmla="*/ 656078 h 1501843"/>
              <a:gd name="connsiteX30" fmla="*/ 0 w 683710"/>
              <a:gd name="connsiteY30" fmla="*/ 561235 h 1501843"/>
              <a:gd name="connsiteX31" fmla="*/ 0 w 683710"/>
              <a:gd name="connsiteY31" fmla="*/ 561234 h 1501843"/>
              <a:gd name="connsiteX32" fmla="*/ 0 w 683710"/>
              <a:gd name="connsiteY32" fmla="*/ 466391 h 1501843"/>
              <a:gd name="connsiteX33" fmla="*/ 0 w 683710"/>
              <a:gd name="connsiteY33" fmla="*/ 466390 h 1501843"/>
              <a:gd name="connsiteX34" fmla="*/ 0 w 683710"/>
              <a:gd name="connsiteY34" fmla="*/ 371546 h 1501843"/>
              <a:gd name="connsiteX35" fmla="*/ 0 w 683710"/>
              <a:gd name="connsiteY35" fmla="*/ 341855 h 1501843"/>
              <a:gd name="connsiteX36" fmla="*/ 341855 w 683710"/>
              <a:gd name="connsiteY36" fmla="*/ 0 h 1501843"/>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30300 h 1501843"/>
              <a:gd name="connsiteX17" fmla="*/ 683710 w 683710"/>
              <a:gd name="connsiteY17" fmla="*/ 1159988 h 1501843"/>
              <a:gd name="connsiteX18" fmla="*/ 341855 w 683710"/>
              <a:gd name="connsiteY18" fmla="*/ 1501843 h 1501843"/>
              <a:gd name="connsiteX19" fmla="*/ 0 w 683710"/>
              <a:gd name="connsiteY19" fmla="*/ 1159988 h 1501843"/>
              <a:gd name="connsiteX20" fmla="*/ 0 w 683710"/>
              <a:gd name="connsiteY20" fmla="*/ 1035456 h 1501843"/>
              <a:gd name="connsiteX21" fmla="*/ 0 w 683710"/>
              <a:gd name="connsiteY21" fmla="*/ 1035455 h 1501843"/>
              <a:gd name="connsiteX22" fmla="*/ 0 w 683710"/>
              <a:gd name="connsiteY22" fmla="*/ 940612 h 1501843"/>
              <a:gd name="connsiteX23" fmla="*/ 0 w 683710"/>
              <a:gd name="connsiteY23" fmla="*/ 940611 h 1501843"/>
              <a:gd name="connsiteX24" fmla="*/ 0 w 683710"/>
              <a:gd name="connsiteY24" fmla="*/ 845767 h 1501843"/>
              <a:gd name="connsiteX25" fmla="*/ 0 w 683710"/>
              <a:gd name="connsiteY25" fmla="*/ 750923 h 1501843"/>
              <a:gd name="connsiteX26" fmla="*/ 0 w 683710"/>
              <a:gd name="connsiteY26" fmla="*/ 750922 h 1501843"/>
              <a:gd name="connsiteX27" fmla="*/ 0 w 683710"/>
              <a:gd name="connsiteY27" fmla="*/ 656079 h 1501843"/>
              <a:gd name="connsiteX28" fmla="*/ 0 w 683710"/>
              <a:gd name="connsiteY28" fmla="*/ 656078 h 1501843"/>
              <a:gd name="connsiteX29" fmla="*/ 0 w 683710"/>
              <a:gd name="connsiteY29" fmla="*/ 561235 h 1501843"/>
              <a:gd name="connsiteX30" fmla="*/ 0 w 683710"/>
              <a:gd name="connsiteY30" fmla="*/ 561234 h 1501843"/>
              <a:gd name="connsiteX31" fmla="*/ 0 w 683710"/>
              <a:gd name="connsiteY31" fmla="*/ 466391 h 1501843"/>
              <a:gd name="connsiteX32" fmla="*/ 0 w 683710"/>
              <a:gd name="connsiteY32" fmla="*/ 466390 h 1501843"/>
              <a:gd name="connsiteX33" fmla="*/ 0 w 683710"/>
              <a:gd name="connsiteY33" fmla="*/ 371546 h 1501843"/>
              <a:gd name="connsiteX34" fmla="*/ 0 w 683710"/>
              <a:gd name="connsiteY34" fmla="*/ 341855 h 1501843"/>
              <a:gd name="connsiteX35" fmla="*/ 341855 w 683710"/>
              <a:gd name="connsiteY35" fmla="*/ 0 h 1501843"/>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59988 h 1501843"/>
              <a:gd name="connsiteX17" fmla="*/ 341855 w 683710"/>
              <a:gd name="connsiteY17" fmla="*/ 1501843 h 1501843"/>
              <a:gd name="connsiteX18" fmla="*/ 0 w 683710"/>
              <a:gd name="connsiteY18" fmla="*/ 1159988 h 1501843"/>
              <a:gd name="connsiteX19" fmla="*/ 0 w 683710"/>
              <a:gd name="connsiteY19" fmla="*/ 1035456 h 1501843"/>
              <a:gd name="connsiteX20" fmla="*/ 0 w 683710"/>
              <a:gd name="connsiteY20" fmla="*/ 1035455 h 1501843"/>
              <a:gd name="connsiteX21" fmla="*/ 0 w 683710"/>
              <a:gd name="connsiteY21" fmla="*/ 940612 h 1501843"/>
              <a:gd name="connsiteX22" fmla="*/ 0 w 683710"/>
              <a:gd name="connsiteY22" fmla="*/ 940611 h 1501843"/>
              <a:gd name="connsiteX23" fmla="*/ 0 w 683710"/>
              <a:gd name="connsiteY23" fmla="*/ 845767 h 1501843"/>
              <a:gd name="connsiteX24" fmla="*/ 0 w 683710"/>
              <a:gd name="connsiteY24" fmla="*/ 750923 h 1501843"/>
              <a:gd name="connsiteX25" fmla="*/ 0 w 683710"/>
              <a:gd name="connsiteY25" fmla="*/ 750922 h 1501843"/>
              <a:gd name="connsiteX26" fmla="*/ 0 w 683710"/>
              <a:gd name="connsiteY26" fmla="*/ 656079 h 1501843"/>
              <a:gd name="connsiteX27" fmla="*/ 0 w 683710"/>
              <a:gd name="connsiteY27" fmla="*/ 656078 h 1501843"/>
              <a:gd name="connsiteX28" fmla="*/ 0 w 683710"/>
              <a:gd name="connsiteY28" fmla="*/ 561235 h 1501843"/>
              <a:gd name="connsiteX29" fmla="*/ 0 w 683710"/>
              <a:gd name="connsiteY29" fmla="*/ 561234 h 1501843"/>
              <a:gd name="connsiteX30" fmla="*/ 0 w 683710"/>
              <a:gd name="connsiteY30" fmla="*/ 466391 h 1501843"/>
              <a:gd name="connsiteX31" fmla="*/ 0 w 683710"/>
              <a:gd name="connsiteY31" fmla="*/ 466390 h 1501843"/>
              <a:gd name="connsiteX32" fmla="*/ 0 w 683710"/>
              <a:gd name="connsiteY32" fmla="*/ 371546 h 1501843"/>
              <a:gd name="connsiteX33" fmla="*/ 0 w 683710"/>
              <a:gd name="connsiteY33" fmla="*/ 341855 h 1501843"/>
              <a:gd name="connsiteX34" fmla="*/ 341855 w 683710"/>
              <a:gd name="connsiteY34" fmla="*/ 0 h 1501843"/>
              <a:gd name="connsiteX0" fmla="*/ 341855 w 683710"/>
              <a:gd name="connsiteY0" fmla="*/ 0 h 1501843"/>
              <a:gd name="connsiteX1" fmla="*/ 683710 w 683710"/>
              <a:gd name="connsiteY1" fmla="*/ 341855 h 1501843"/>
              <a:gd name="connsiteX2" fmla="*/ 683710 w 683710"/>
              <a:gd name="connsiteY2" fmla="*/ 466390 h 1501843"/>
              <a:gd name="connsiteX3" fmla="*/ 683710 w 683710"/>
              <a:gd name="connsiteY3" fmla="*/ 466391 h 1501843"/>
              <a:gd name="connsiteX4" fmla="*/ 683710 w 683710"/>
              <a:gd name="connsiteY4" fmla="*/ 561234 h 1501843"/>
              <a:gd name="connsiteX5" fmla="*/ 683710 w 683710"/>
              <a:gd name="connsiteY5" fmla="*/ 561235 h 1501843"/>
              <a:gd name="connsiteX6" fmla="*/ 683710 w 683710"/>
              <a:gd name="connsiteY6" fmla="*/ 656078 h 1501843"/>
              <a:gd name="connsiteX7" fmla="*/ 683710 w 683710"/>
              <a:gd name="connsiteY7" fmla="*/ 656079 h 1501843"/>
              <a:gd name="connsiteX8" fmla="*/ 683710 w 683710"/>
              <a:gd name="connsiteY8" fmla="*/ 750922 h 1501843"/>
              <a:gd name="connsiteX9" fmla="*/ 683710 w 683710"/>
              <a:gd name="connsiteY9" fmla="*/ 750923 h 1501843"/>
              <a:gd name="connsiteX10" fmla="*/ 683710 w 683710"/>
              <a:gd name="connsiteY10" fmla="*/ 845767 h 1501843"/>
              <a:gd name="connsiteX11" fmla="*/ 683710 w 683710"/>
              <a:gd name="connsiteY11" fmla="*/ 940611 h 1501843"/>
              <a:gd name="connsiteX12" fmla="*/ 683710 w 683710"/>
              <a:gd name="connsiteY12" fmla="*/ 940612 h 1501843"/>
              <a:gd name="connsiteX13" fmla="*/ 683710 w 683710"/>
              <a:gd name="connsiteY13" fmla="*/ 1035455 h 1501843"/>
              <a:gd name="connsiteX14" fmla="*/ 683710 w 683710"/>
              <a:gd name="connsiteY14" fmla="*/ 1035456 h 1501843"/>
              <a:gd name="connsiteX15" fmla="*/ 683710 w 683710"/>
              <a:gd name="connsiteY15" fmla="*/ 1159988 h 1501843"/>
              <a:gd name="connsiteX16" fmla="*/ 341855 w 683710"/>
              <a:gd name="connsiteY16" fmla="*/ 1501843 h 1501843"/>
              <a:gd name="connsiteX17" fmla="*/ 0 w 683710"/>
              <a:gd name="connsiteY17" fmla="*/ 1159988 h 1501843"/>
              <a:gd name="connsiteX18" fmla="*/ 0 w 683710"/>
              <a:gd name="connsiteY18" fmla="*/ 1035456 h 1501843"/>
              <a:gd name="connsiteX19" fmla="*/ 0 w 683710"/>
              <a:gd name="connsiteY19" fmla="*/ 1035455 h 1501843"/>
              <a:gd name="connsiteX20" fmla="*/ 0 w 683710"/>
              <a:gd name="connsiteY20" fmla="*/ 940612 h 1501843"/>
              <a:gd name="connsiteX21" fmla="*/ 0 w 683710"/>
              <a:gd name="connsiteY21" fmla="*/ 940611 h 1501843"/>
              <a:gd name="connsiteX22" fmla="*/ 0 w 683710"/>
              <a:gd name="connsiteY22" fmla="*/ 845767 h 1501843"/>
              <a:gd name="connsiteX23" fmla="*/ 0 w 683710"/>
              <a:gd name="connsiteY23" fmla="*/ 750923 h 1501843"/>
              <a:gd name="connsiteX24" fmla="*/ 0 w 683710"/>
              <a:gd name="connsiteY24" fmla="*/ 750922 h 1501843"/>
              <a:gd name="connsiteX25" fmla="*/ 0 w 683710"/>
              <a:gd name="connsiteY25" fmla="*/ 656079 h 1501843"/>
              <a:gd name="connsiteX26" fmla="*/ 0 w 683710"/>
              <a:gd name="connsiteY26" fmla="*/ 656078 h 1501843"/>
              <a:gd name="connsiteX27" fmla="*/ 0 w 683710"/>
              <a:gd name="connsiteY27" fmla="*/ 561235 h 1501843"/>
              <a:gd name="connsiteX28" fmla="*/ 0 w 683710"/>
              <a:gd name="connsiteY28" fmla="*/ 561234 h 1501843"/>
              <a:gd name="connsiteX29" fmla="*/ 0 w 683710"/>
              <a:gd name="connsiteY29" fmla="*/ 466391 h 1501843"/>
              <a:gd name="connsiteX30" fmla="*/ 0 w 683710"/>
              <a:gd name="connsiteY30" fmla="*/ 466390 h 1501843"/>
              <a:gd name="connsiteX31" fmla="*/ 0 w 683710"/>
              <a:gd name="connsiteY31" fmla="*/ 371546 h 1501843"/>
              <a:gd name="connsiteX32" fmla="*/ 0 w 683710"/>
              <a:gd name="connsiteY32" fmla="*/ 341855 h 1501843"/>
              <a:gd name="connsiteX33" fmla="*/ 341855 w 683710"/>
              <a:gd name="connsiteY33" fmla="*/ 0 h 1501843"/>
              <a:gd name="connsiteX0" fmla="*/ 341855 w 683710"/>
              <a:gd name="connsiteY0" fmla="*/ 0 h 1501843"/>
              <a:gd name="connsiteX1" fmla="*/ 683710 w 683710"/>
              <a:gd name="connsiteY1" fmla="*/ 341855 h 1501843"/>
              <a:gd name="connsiteX2" fmla="*/ 683710 w 683710"/>
              <a:gd name="connsiteY2" fmla="*/ 466390 h 1501843"/>
              <a:gd name="connsiteX3" fmla="*/ 683710 w 683710"/>
              <a:gd name="connsiteY3" fmla="*/ 466391 h 1501843"/>
              <a:gd name="connsiteX4" fmla="*/ 683710 w 683710"/>
              <a:gd name="connsiteY4" fmla="*/ 561234 h 1501843"/>
              <a:gd name="connsiteX5" fmla="*/ 683710 w 683710"/>
              <a:gd name="connsiteY5" fmla="*/ 561235 h 1501843"/>
              <a:gd name="connsiteX6" fmla="*/ 683710 w 683710"/>
              <a:gd name="connsiteY6" fmla="*/ 656078 h 1501843"/>
              <a:gd name="connsiteX7" fmla="*/ 683710 w 683710"/>
              <a:gd name="connsiteY7" fmla="*/ 656079 h 1501843"/>
              <a:gd name="connsiteX8" fmla="*/ 683710 w 683710"/>
              <a:gd name="connsiteY8" fmla="*/ 750922 h 1501843"/>
              <a:gd name="connsiteX9" fmla="*/ 683710 w 683710"/>
              <a:gd name="connsiteY9" fmla="*/ 750923 h 1501843"/>
              <a:gd name="connsiteX10" fmla="*/ 683710 w 683710"/>
              <a:gd name="connsiteY10" fmla="*/ 845767 h 1501843"/>
              <a:gd name="connsiteX11" fmla="*/ 683710 w 683710"/>
              <a:gd name="connsiteY11" fmla="*/ 940611 h 1501843"/>
              <a:gd name="connsiteX12" fmla="*/ 683710 w 683710"/>
              <a:gd name="connsiteY12" fmla="*/ 940612 h 1501843"/>
              <a:gd name="connsiteX13" fmla="*/ 683710 w 683710"/>
              <a:gd name="connsiteY13" fmla="*/ 1035455 h 1501843"/>
              <a:gd name="connsiteX14" fmla="*/ 683710 w 683710"/>
              <a:gd name="connsiteY14" fmla="*/ 1035456 h 1501843"/>
              <a:gd name="connsiteX15" fmla="*/ 683710 w 683710"/>
              <a:gd name="connsiteY15" fmla="*/ 1159988 h 1501843"/>
              <a:gd name="connsiteX16" fmla="*/ 341855 w 683710"/>
              <a:gd name="connsiteY16" fmla="*/ 1501843 h 1501843"/>
              <a:gd name="connsiteX17" fmla="*/ 0 w 683710"/>
              <a:gd name="connsiteY17" fmla="*/ 1159988 h 1501843"/>
              <a:gd name="connsiteX18" fmla="*/ 0 w 683710"/>
              <a:gd name="connsiteY18" fmla="*/ 1035456 h 1501843"/>
              <a:gd name="connsiteX19" fmla="*/ 0 w 683710"/>
              <a:gd name="connsiteY19" fmla="*/ 1035455 h 1501843"/>
              <a:gd name="connsiteX20" fmla="*/ 0 w 683710"/>
              <a:gd name="connsiteY20" fmla="*/ 940612 h 1501843"/>
              <a:gd name="connsiteX21" fmla="*/ 0 w 683710"/>
              <a:gd name="connsiteY21" fmla="*/ 940611 h 1501843"/>
              <a:gd name="connsiteX22" fmla="*/ 0 w 683710"/>
              <a:gd name="connsiteY22" fmla="*/ 845767 h 1501843"/>
              <a:gd name="connsiteX23" fmla="*/ 0 w 683710"/>
              <a:gd name="connsiteY23" fmla="*/ 750923 h 1501843"/>
              <a:gd name="connsiteX24" fmla="*/ 0 w 683710"/>
              <a:gd name="connsiteY24" fmla="*/ 750922 h 1501843"/>
              <a:gd name="connsiteX25" fmla="*/ 0 w 683710"/>
              <a:gd name="connsiteY25" fmla="*/ 656079 h 1501843"/>
              <a:gd name="connsiteX26" fmla="*/ 0 w 683710"/>
              <a:gd name="connsiteY26" fmla="*/ 656078 h 1501843"/>
              <a:gd name="connsiteX27" fmla="*/ 0 w 683710"/>
              <a:gd name="connsiteY27" fmla="*/ 561235 h 1501843"/>
              <a:gd name="connsiteX28" fmla="*/ 0 w 683710"/>
              <a:gd name="connsiteY28" fmla="*/ 561234 h 1501843"/>
              <a:gd name="connsiteX29" fmla="*/ 0 w 683710"/>
              <a:gd name="connsiteY29" fmla="*/ 466391 h 1501843"/>
              <a:gd name="connsiteX30" fmla="*/ 0 w 683710"/>
              <a:gd name="connsiteY30" fmla="*/ 466390 h 1501843"/>
              <a:gd name="connsiteX31" fmla="*/ 0 w 683710"/>
              <a:gd name="connsiteY31" fmla="*/ 341855 h 1501843"/>
              <a:gd name="connsiteX32" fmla="*/ 341855 w 683710"/>
              <a:gd name="connsiteY32" fmla="*/ 0 h 150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83710" h="1501843">
                <a:moveTo>
                  <a:pt x="341855" y="0"/>
                </a:moveTo>
                <a:cubicBezTo>
                  <a:pt x="530656" y="0"/>
                  <a:pt x="683710" y="153054"/>
                  <a:pt x="683710" y="341855"/>
                </a:cubicBezTo>
                <a:lnTo>
                  <a:pt x="683710" y="466390"/>
                </a:lnTo>
                <a:lnTo>
                  <a:pt x="683710" y="466391"/>
                </a:lnTo>
                <a:lnTo>
                  <a:pt x="683710" y="561234"/>
                </a:lnTo>
                <a:lnTo>
                  <a:pt x="683710" y="561235"/>
                </a:lnTo>
                <a:lnTo>
                  <a:pt x="683710" y="656078"/>
                </a:lnTo>
                <a:lnTo>
                  <a:pt x="683710" y="656079"/>
                </a:lnTo>
                <a:lnTo>
                  <a:pt x="683710" y="750922"/>
                </a:lnTo>
                <a:lnTo>
                  <a:pt x="683710" y="750923"/>
                </a:lnTo>
                <a:lnTo>
                  <a:pt x="683710" y="845767"/>
                </a:lnTo>
                <a:lnTo>
                  <a:pt x="683710" y="940611"/>
                </a:lnTo>
                <a:lnTo>
                  <a:pt x="683710" y="940612"/>
                </a:lnTo>
                <a:lnTo>
                  <a:pt x="683710" y="1035455"/>
                </a:lnTo>
                <a:lnTo>
                  <a:pt x="683710" y="1035456"/>
                </a:lnTo>
                <a:lnTo>
                  <a:pt x="683710" y="1159988"/>
                </a:lnTo>
                <a:cubicBezTo>
                  <a:pt x="683710" y="1348789"/>
                  <a:pt x="530656" y="1501843"/>
                  <a:pt x="341855" y="1501843"/>
                </a:cubicBezTo>
                <a:cubicBezTo>
                  <a:pt x="153054" y="1501843"/>
                  <a:pt x="0" y="1348789"/>
                  <a:pt x="0" y="1159988"/>
                </a:cubicBezTo>
                <a:lnTo>
                  <a:pt x="0" y="1035456"/>
                </a:lnTo>
                <a:lnTo>
                  <a:pt x="0" y="1035455"/>
                </a:lnTo>
                <a:lnTo>
                  <a:pt x="0" y="940612"/>
                </a:lnTo>
                <a:lnTo>
                  <a:pt x="0" y="940611"/>
                </a:lnTo>
                <a:lnTo>
                  <a:pt x="0" y="845767"/>
                </a:lnTo>
                <a:lnTo>
                  <a:pt x="0" y="750923"/>
                </a:lnTo>
                <a:lnTo>
                  <a:pt x="0" y="750922"/>
                </a:lnTo>
                <a:lnTo>
                  <a:pt x="0" y="656079"/>
                </a:lnTo>
                <a:lnTo>
                  <a:pt x="0" y="656078"/>
                </a:lnTo>
                <a:lnTo>
                  <a:pt x="0" y="561235"/>
                </a:lnTo>
                <a:lnTo>
                  <a:pt x="0" y="561234"/>
                </a:lnTo>
                <a:lnTo>
                  <a:pt x="0" y="466391"/>
                </a:lnTo>
                <a:lnTo>
                  <a:pt x="0" y="466390"/>
                </a:lnTo>
                <a:lnTo>
                  <a:pt x="0" y="341855"/>
                </a:lnTo>
                <a:cubicBezTo>
                  <a:pt x="0" y="153054"/>
                  <a:pt x="153054" y="0"/>
                  <a:pt x="341855" y="0"/>
                </a:cubicBez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r>
              <a:rPr lang="de-DE" sz="1000" dirty="0">
                <a:solidFill>
                  <a:schemeClr val="tx1"/>
                </a:solidFill>
              </a:rPr>
              <a:t>Cold-Box</a:t>
            </a:r>
          </a:p>
          <a:p>
            <a:pPr algn="ctr">
              <a:spcBef>
                <a:spcPts val="300"/>
              </a:spcBef>
              <a:buClr>
                <a:srgbClr val="002897"/>
              </a:buClr>
              <a:buSzPct val="70000"/>
            </a:pPr>
            <a:r>
              <a:rPr lang="de-DE" sz="1000" dirty="0">
                <a:solidFill>
                  <a:schemeClr val="tx1"/>
                </a:solidFill>
              </a:rPr>
              <a:t>separation</a:t>
            </a:r>
          </a:p>
          <a:p>
            <a:pPr algn="ctr">
              <a:spcBef>
                <a:spcPts val="300"/>
              </a:spcBef>
              <a:buClr>
                <a:srgbClr val="002897"/>
              </a:buClr>
              <a:buSzPct val="70000"/>
            </a:pPr>
            <a:r>
              <a:rPr lang="de-DE" sz="1000" dirty="0">
                <a:solidFill>
                  <a:schemeClr val="tx1"/>
                </a:solidFill>
              </a:rPr>
              <a:t>column</a:t>
            </a:r>
          </a:p>
        </p:txBody>
      </p:sp>
      <p:grpSp>
        <p:nvGrpSpPr>
          <p:cNvPr id="426" name="Group 425">
            <a:extLst>
              <a:ext uri="{FF2B5EF4-FFF2-40B4-BE49-F238E27FC236}">
                <a16:creationId xmlns:a16="http://schemas.microsoft.com/office/drawing/2014/main" id="{829BDB74-8BC9-4CB9-A071-BF8888C9853D}"/>
              </a:ext>
            </a:extLst>
          </p:cNvPr>
          <p:cNvGrpSpPr/>
          <p:nvPr/>
        </p:nvGrpSpPr>
        <p:grpSpPr bwMode="gray">
          <a:xfrm>
            <a:off x="6406074" y="4735940"/>
            <a:ext cx="825328" cy="664219"/>
            <a:chOff x="2624385" y="5029996"/>
            <a:chExt cx="825328" cy="664219"/>
          </a:xfrm>
        </p:grpSpPr>
        <p:sp>
          <p:nvSpPr>
            <p:cNvPr id="427" name="Rectangle 426">
              <a:extLst>
                <a:ext uri="{FF2B5EF4-FFF2-40B4-BE49-F238E27FC236}">
                  <a16:creationId xmlns:a16="http://schemas.microsoft.com/office/drawing/2014/main" id="{9A90C235-A870-47E6-A1BD-96F2181319FA}"/>
                </a:ext>
              </a:extLst>
            </p:cNvPr>
            <p:cNvSpPr/>
            <p:nvPr/>
          </p:nvSpPr>
          <p:spPr bwMode="gray">
            <a:xfrm>
              <a:off x="2624385" y="5340733"/>
              <a:ext cx="825328"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hilling unit package</a:t>
              </a:r>
            </a:p>
          </p:txBody>
        </p:sp>
        <p:grpSp>
          <p:nvGrpSpPr>
            <p:cNvPr id="428" name="Group 427">
              <a:extLst>
                <a:ext uri="{FF2B5EF4-FFF2-40B4-BE49-F238E27FC236}">
                  <a16:creationId xmlns:a16="http://schemas.microsoft.com/office/drawing/2014/main" id="{3397E12D-A8CC-4E43-9791-06E9CBE0F660}"/>
                </a:ext>
              </a:extLst>
            </p:cNvPr>
            <p:cNvGrpSpPr/>
            <p:nvPr/>
          </p:nvGrpSpPr>
          <p:grpSpPr bwMode="gray">
            <a:xfrm>
              <a:off x="2882249" y="5029996"/>
              <a:ext cx="309600" cy="310736"/>
              <a:chOff x="2882249" y="5029996"/>
              <a:chExt cx="309600" cy="310736"/>
            </a:xfrm>
          </p:grpSpPr>
          <p:sp>
            <p:nvSpPr>
              <p:cNvPr id="429" name="Oval 428">
                <a:extLst>
                  <a:ext uri="{FF2B5EF4-FFF2-40B4-BE49-F238E27FC236}">
                    <a16:creationId xmlns:a16="http://schemas.microsoft.com/office/drawing/2014/main" id="{1D7FBE3A-42CD-4249-A913-3AD275CE9AE2}"/>
                  </a:ext>
                </a:extLst>
              </p:cNvPr>
              <p:cNvSpPr/>
              <p:nvPr/>
            </p:nvSpPr>
            <p:spPr bwMode="gray">
              <a:xfrm flipH="1">
                <a:off x="2882249" y="5029996"/>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430" name="Freeform: Shape 429">
                <a:extLst>
                  <a:ext uri="{FF2B5EF4-FFF2-40B4-BE49-F238E27FC236}">
                    <a16:creationId xmlns:a16="http://schemas.microsoft.com/office/drawing/2014/main" id="{7886F4FF-E07B-48C8-B8A4-8DA3D6EA3286}"/>
                  </a:ext>
                </a:extLst>
              </p:cNvPr>
              <p:cNvSpPr/>
              <p:nvPr/>
            </p:nvSpPr>
            <p:spPr bwMode="gray">
              <a:xfrm rot="5400000">
                <a:off x="2944530" y="5077710"/>
                <a:ext cx="128873" cy="215306"/>
              </a:xfrm>
              <a:custGeom>
                <a:avLst/>
                <a:gdLst>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67715 w 128873"/>
                  <a:gd name="connsiteY4" fmla="*/ 5651 h 243834"/>
                  <a:gd name="connsiteX5" fmla="*/ 128873 w 128873"/>
                  <a:gd name="connsiteY5" fmla="*/ 5651 h 243834"/>
                  <a:gd name="connsiteX6" fmla="*/ 128873 w 128873"/>
                  <a:gd name="connsiteY6" fmla="*/ 243834 h 243834"/>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128873 w 128873"/>
                  <a:gd name="connsiteY4" fmla="*/ 5651 h 243834"/>
                  <a:gd name="connsiteX5" fmla="*/ 128873 w 128873"/>
                  <a:gd name="connsiteY5" fmla="*/ 243834 h 243834"/>
                  <a:gd name="connsiteX6" fmla="*/ 0 w 128873"/>
                  <a:gd name="connsiteY6" fmla="*/ 243834 h 243834"/>
                  <a:gd name="connsiteX0" fmla="*/ 0 w 128873"/>
                  <a:gd name="connsiteY0" fmla="*/ 238183 h 238183"/>
                  <a:gd name="connsiteX1" fmla="*/ 0 w 128873"/>
                  <a:gd name="connsiteY1" fmla="*/ 0 h 238183"/>
                  <a:gd name="connsiteX2" fmla="*/ 61160 w 128873"/>
                  <a:gd name="connsiteY2" fmla="*/ 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40289"/>
                  <a:gd name="connsiteX1" fmla="*/ 0 w 128873"/>
                  <a:gd name="connsiteY1" fmla="*/ 0 h 240289"/>
                  <a:gd name="connsiteX2" fmla="*/ 63065 w 128873"/>
                  <a:gd name="connsiteY2" fmla="*/ 87630 h 240289"/>
                  <a:gd name="connsiteX3" fmla="*/ 128873 w 128873"/>
                  <a:gd name="connsiteY3" fmla="*/ 0 h 240289"/>
                  <a:gd name="connsiteX4" fmla="*/ 128873 w 128873"/>
                  <a:gd name="connsiteY4" fmla="*/ 238183 h 240289"/>
                  <a:gd name="connsiteX5" fmla="*/ 56864 w 128873"/>
                  <a:gd name="connsiteY5" fmla="*/ 240289 h 240289"/>
                  <a:gd name="connsiteX6" fmla="*/ 0 w 128873"/>
                  <a:gd name="connsiteY6" fmla="*/ 238183 h 240289"/>
                  <a:gd name="connsiteX0" fmla="*/ 56864 w 148304"/>
                  <a:gd name="connsiteY0" fmla="*/ 240289 h 341445"/>
                  <a:gd name="connsiteX1" fmla="*/ 0 w 148304"/>
                  <a:gd name="connsiteY1" fmla="*/ 238183 h 341445"/>
                  <a:gd name="connsiteX2" fmla="*/ 0 w 148304"/>
                  <a:gd name="connsiteY2" fmla="*/ 0 h 341445"/>
                  <a:gd name="connsiteX3" fmla="*/ 63065 w 148304"/>
                  <a:gd name="connsiteY3" fmla="*/ 87630 h 341445"/>
                  <a:gd name="connsiteX4" fmla="*/ 128873 w 148304"/>
                  <a:gd name="connsiteY4" fmla="*/ 0 h 341445"/>
                  <a:gd name="connsiteX5" fmla="*/ 128873 w 148304"/>
                  <a:gd name="connsiteY5" fmla="*/ 238183 h 341445"/>
                  <a:gd name="connsiteX6" fmla="*/ 148304 w 148304"/>
                  <a:gd name="connsiteY6" fmla="*/ 341445 h 341445"/>
                  <a:gd name="connsiteX0" fmla="*/ 0 w 148304"/>
                  <a:gd name="connsiteY0" fmla="*/ 238183 h 341445"/>
                  <a:gd name="connsiteX1" fmla="*/ 0 w 148304"/>
                  <a:gd name="connsiteY1" fmla="*/ 0 h 341445"/>
                  <a:gd name="connsiteX2" fmla="*/ 63065 w 148304"/>
                  <a:gd name="connsiteY2" fmla="*/ 87630 h 341445"/>
                  <a:gd name="connsiteX3" fmla="*/ 128873 w 148304"/>
                  <a:gd name="connsiteY3" fmla="*/ 0 h 341445"/>
                  <a:gd name="connsiteX4" fmla="*/ 128873 w 148304"/>
                  <a:gd name="connsiteY4" fmla="*/ 238183 h 341445"/>
                  <a:gd name="connsiteX5" fmla="*/ 148304 w 148304"/>
                  <a:gd name="connsiteY5" fmla="*/ 341445 h 341445"/>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73" h="238183">
                    <a:moveTo>
                      <a:pt x="0" y="238183"/>
                    </a:moveTo>
                    <a:lnTo>
                      <a:pt x="0" y="0"/>
                    </a:lnTo>
                    <a:lnTo>
                      <a:pt x="63065" y="87630"/>
                    </a:lnTo>
                    <a:lnTo>
                      <a:pt x="128873" y="0"/>
                    </a:lnTo>
                    <a:lnTo>
                      <a:pt x="128873" y="238183"/>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grpSp>
      </p:grpSp>
      <p:grpSp>
        <p:nvGrpSpPr>
          <p:cNvPr id="431" name="Group 430">
            <a:extLst>
              <a:ext uri="{FF2B5EF4-FFF2-40B4-BE49-F238E27FC236}">
                <a16:creationId xmlns:a16="http://schemas.microsoft.com/office/drawing/2014/main" id="{318C2C80-5EE2-484F-B892-B5B91DBFEAB3}"/>
              </a:ext>
            </a:extLst>
          </p:cNvPr>
          <p:cNvGrpSpPr/>
          <p:nvPr/>
        </p:nvGrpSpPr>
        <p:grpSpPr bwMode="gray">
          <a:xfrm>
            <a:off x="7368143" y="4735940"/>
            <a:ext cx="831064" cy="664219"/>
            <a:chOff x="13470299" y="3811749"/>
            <a:chExt cx="831064" cy="664219"/>
          </a:xfrm>
        </p:grpSpPr>
        <p:sp>
          <p:nvSpPr>
            <p:cNvPr id="432" name="Oval 431">
              <a:extLst>
                <a:ext uri="{FF2B5EF4-FFF2-40B4-BE49-F238E27FC236}">
                  <a16:creationId xmlns:a16="http://schemas.microsoft.com/office/drawing/2014/main" id="{7A76B38D-F7FE-4CE2-B09F-61534D63D76A}"/>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433" name="Freeform: Shape 432">
              <a:extLst>
                <a:ext uri="{FF2B5EF4-FFF2-40B4-BE49-F238E27FC236}">
                  <a16:creationId xmlns:a16="http://schemas.microsoft.com/office/drawing/2014/main" id="{05887070-3D9D-4F55-9C15-54584DBA658F}"/>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a:solidFill>
                  <a:schemeClr val="tx1"/>
                </a:solidFill>
              </a:endParaRPr>
            </a:p>
          </p:txBody>
        </p:sp>
        <p:sp>
          <p:nvSpPr>
            <p:cNvPr id="434" name="Rectangle 433">
              <a:extLst>
                <a:ext uri="{FF2B5EF4-FFF2-40B4-BE49-F238E27FC236}">
                  <a16:creationId xmlns:a16="http://schemas.microsoft.com/office/drawing/2014/main" id="{44E51A0B-1512-469D-9D51-29439AD32013}"/>
                </a:ext>
              </a:extLst>
            </p:cNvPr>
            <p:cNvSpPr/>
            <p:nvPr/>
          </p:nvSpPr>
          <p:spPr bwMode="gray">
            <a:xfrm>
              <a:off x="13470299" y="4122486"/>
              <a:ext cx="831064"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Process-gas cooling</a:t>
              </a:r>
            </a:p>
          </p:txBody>
        </p:sp>
      </p:grpSp>
      <p:grpSp>
        <p:nvGrpSpPr>
          <p:cNvPr id="435" name="Group 434">
            <a:extLst>
              <a:ext uri="{FF2B5EF4-FFF2-40B4-BE49-F238E27FC236}">
                <a16:creationId xmlns:a16="http://schemas.microsoft.com/office/drawing/2014/main" id="{C1467DE8-40E4-44BC-81EF-9ED00B355081}"/>
              </a:ext>
            </a:extLst>
          </p:cNvPr>
          <p:cNvGrpSpPr/>
          <p:nvPr/>
        </p:nvGrpSpPr>
        <p:grpSpPr bwMode="gray">
          <a:xfrm>
            <a:off x="6406074" y="2772317"/>
            <a:ext cx="825328" cy="664219"/>
            <a:chOff x="2624385" y="5029996"/>
            <a:chExt cx="825328" cy="664219"/>
          </a:xfrm>
        </p:grpSpPr>
        <p:sp>
          <p:nvSpPr>
            <p:cNvPr id="436" name="Rectangle 435">
              <a:extLst>
                <a:ext uri="{FF2B5EF4-FFF2-40B4-BE49-F238E27FC236}">
                  <a16:creationId xmlns:a16="http://schemas.microsoft.com/office/drawing/2014/main" id="{82F87814-8795-420E-BFA0-B88DDB6EEE93}"/>
                </a:ext>
              </a:extLst>
            </p:cNvPr>
            <p:cNvSpPr/>
            <p:nvPr/>
          </p:nvSpPr>
          <p:spPr bwMode="gray">
            <a:xfrm>
              <a:off x="2624385" y="5340733"/>
              <a:ext cx="825328"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hilling unit package</a:t>
              </a:r>
            </a:p>
          </p:txBody>
        </p:sp>
        <p:grpSp>
          <p:nvGrpSpPr>
            <p:cNvPr id="437" name="Group 436">
              <a:extLst>
                <a:ext uri="{FF2B5EF4-FFF2-40B4-BE49-F238E27FC236}">
                  <a16:creationId xmlns:a16="http://schemas.microsoft.com/office/drawing/2014/main" id="{AB75E5EE-2EB0-4045-A5E6-12E299D10FC0}"/>
                </a:ext>
              </a:extLst>
            </p:cNvPr>
            <p:cNvGrpSpPr/>
            <p:nvPr/>
          </p:nvGrpSpPr>
          <p:grpSpPr bwMode="gray">
            <a:xfrm>
              <a:off x="2882249" y="5029996"/>
              <a:ext cx="309600" cy="310736"/>
              <a:chOff x="2882249" y="5029996"/>
              <a:chExt cx="309600" cy="310736"/>
            </a:xfrm>
          </p:grpSpPr>
          <p:sp>
            <p:nvSpPr>
              <p:cNvPr id="438" name="Oval 437">
                <a:extLst>
                  <a:ext uri="{FF2B5EF4-FFF2-40B4-BE49-F238E27FC236}">
                    <a16:creationId xmlns:a16="http://schemas.microsoft.com/office/drawing/2014/main" id="{2DF8B9F0-9829-452B-9BA1-431084F3A01A}"/>
                  </a:ext>
                </a:extLst>
              </p:cNvPr>
              <p:cNvSpPr/>
              <p:nvPr/>
            </p:nvSpPr>
            <p:spPr bwMode="gray">
              <a:xfrm flipH="1">
                <a:off x="2882249" y="5029996"/>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439" name="Freeform: Shape 438">
                <a:extLst>
                  <a:ext uri="{FF2B5EF4-FFF2-40B4-BE49-F238E27FC236}">
                    <a16:creationId xmlns:a16="http://schemas.microsoft.com/office/drawing/2014/main" id="{7F3DFE9A-FBA2-44AE-BF2E-3373BB915CC1}"/>
                  </a:ext>
                </a:extLst>
              </p:cNvPr>
              <p:cNvSpPr/>
              <p:nvPr/>
            </p:nvSpPr>
            <p:spPr bwMode="gray">
              <a:xfrm rot="5400000">
                <a:off x="2944530" y="5077710"/>
                <a:ext cx="128873" cy="215306"/>
              </a:xfrm>
              <a:custGeom>
                <a:avLst/>
                <a:gdLst>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67715 w 128873"/>
                  <a:gd name="connsiteY4" fmla="*/ 5651 h 243834"/>
                  <a:gd name="connsiteX5" fmla="*/ 128873 w 128873"/>
                  <a:gd name="connsiteY5" fmla="*/ 5651 h 243834"/>
                  <a:gd name="connsiteX6" fmla="*/ 128873 w 128873"/>
                  <a:gd name="connsiteY6" fmla="*/ 243834 h 243834"/>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128873 w 128873"/>
                  <a:gd name="connsiteY4" fmla="*/ 5651 h 243834"/>
                  <a:gd name="connsiteX5" fmla="*/ 128873 w 128873"/>
                  <a:gd name="connsiteY5" fmla="*/ 243834 h 243834"/>
                  <a:gd name="connsiteX6" fmla="*/ 0 w 128873"/>
                  <a:gd name="connsiteY6" fmla="*/ 243834 h 243834"/>
                  <a:gd name="connsiteX0" fmla="*/ 0 w 128873"/>
                  <a:gd name="connsiteY0" fmla="*/ 238183 h 238183"/>
                  <a:gd name="connsiteX1" fmla="*/ 0 w 128873"/>
                  <a:gd name="connsiteY1" fmla="*/ 0 h 238183"/>
                  <a:gd name="connsiteX2" fmla="*/ 61160 w 128873"/>
                  <a:gd name="connsiteY2" fmla="*/ 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40289"/>
                  <a:gd name="connsiteX1" fmla="*/ 0 w 128873"/>
                  <a:gd name="connsiteY1" fmla="*/ 0 h 240289"/>
                  <a:gd name="connsiteX2" fmla="*/ 63065 w 128873"/>
                  <a:gd name="connsiteY2" fmla="*/ 87630 h 240289"/>
                  <a:gd name="connsiteX3" fmla="*/ 128873 w 128873"/>
                  <a:gd name="connsiteY3" fmla="*/ 0 h 240289"/>
                  <a:gd name="connsiteX4" fmla="*/ 128873 w 128873"/>
                  <a:gd name="connsiteY4" fmla="*/ 238183 h 240289"/>
                  <a:gd name="connsiteX5" fmla="*/ 56864 w 128873"/>
                  <a:gd name="connsiteY5" fmla="*/ 240289 h 240289"/>
                  <a:gd name="connsiteX6" fmla="*/ 0 w 128873"/>
                  <a:gd name="connsiteY6" fmla="*/ 238183 h 240289"/>
                  <a:gd name="connsiteX0" fmla="*/ 56864 w 148304"/>
                  <a:gd name="connsiteY0" fmla="*/ 240289 h 341445"/>
                  <a:gd name="connsiteX1" fmla="*/ 0 w 148304"/>
                  <a:gd name="connsiteY1" fmla="*/ 238183 h 341445"/>
                  <a:gd name="connsiteX2" fmla="*/ 0 w 148304"/>
                  <a:gd name="connsiteY2" fmla="*/ 0 h 341445"/>
                  <a:gd name="connsiteX3" fmla="*/ 63065 w 148304"/>
                  <a:gd name="connsiteY3" fmla="*/ 87630 h 341445"/>
                  <a:gd name="connsiteX4" fmla="*/ 128873 w 148304"/>
                  <a:gd name="connsiteY4" fmla="*/ 0 h 341445"/>
                  <a:gd name="connsiteX5" fmla="*/ 128873 w 148304"/>
                  <a:gd name="connsiteY5" fmla="*/ 238183 h 341445"/>
                  <a:gd name="connsiteX6" fmla="*/ 148304 w 148304"/>
                  <a:gd name="connsiteY6" fmla="*/ 341445 h 341445"/>
                  <a:gd name="connsiteX0" fmla="*/ 0 w 148304"/>
                  <a:gd name="connsiteY0" fmla="*/ 238183 h 341445"/>
                  <a:gd name="connsiteX1" fmla="*/ 0 w 148304"/>
                  <a:gd name="connsiteY1" fmla="*/ 0 h 341445"/>
                  <a:gd name="connsiteX2" fmla="*/ 63065 w 148304"/>
                  <a:gd name="connsiteY2" fmla="*/ 87630 h 341445"/>
                  <a:gd name="connsiteX3" fmla="*/ 128873 w 148304"/>
                  <a:gd name="connsiteY3" fmla="*/ 0 h 341445"/>
                  <a:gd name="connsiteX4" fmla="*/ 128873 w 148304"/>
                  <a:gd name="connsiteY4" fmla="*/ 238183 h 341445"/>
                  <a:gd name="connsiteX5" fmla="*/ 148304 w 148304"/>
                  <a:gd name="connsiteY5" fmla="*/ 341445 h 341445"/>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73" h="238183">
                    <a:moveTo>
                      <a:pt x="0" y="238183"/>
                    </a:moveTo>
                    <a:lnTo>
                      <a:pt x="0" y="0"/>
                    </a:lnTo>
                    <a:lnTo>
                      <a:pt x="63065" y="87630"/>
                    </a:lnTo>
                    <a:lnTo>
                      <a:pt x="128873" y="0"/>
                    </a:lnTo>
                    <a:lnTo>
                      <a:pt x="128873" y="238183"/>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grpSp>
      </p:grpSp>
      <p:grpSp>
        <p:nvGrpSpPr>
          <p:cNvPr id="621" name="Group 620">
            <a:extLst>
              <a:ext uri="{FF2B5EF4-FFF2-40B4-BE49-F238E27FC236}">
                <a16:creationId xmlns:a16="http://schemas.microsoft.com/office/drawing/2014/main" id="{13BD04B0-0C25-42EC-B50F-E592E78579C7}"/>
              </a:ext>
            </a:extLst>
          </p:cNvPr>
          <p:cNvGrpSpPr/>
          <p:nvPr/>
        </p:nvGrpSpPr>
        <p:grpSpPr bwMode="gray">
          <a:xfrm>
            <a:off x="5105115" y="4154892"/>
            <a:ext cx="842400" cy="827159"/>
            <a:chOff x="3496037" y="4559133"/>
            <a:chExt cx="842400" cy="827159"/>
          </a:xfrm>
        </p:grpSpPr>
        <p:sp>
          <p:nvSpPr>
            <p:cNvPr id="622" name="Rectangle 621">
              <a:extLst>
                <a:ext uri="{FF2B5EF4-FFF2-40B4-BE49-F238E27FC236}">
                  <a16:creationId xmlns:a16="http://schemas.microsoft.com/office/drawing/2014/main" id="{E745D2B5-D08A-4BE2-8CA6-A0FFC7D025BD}"/>
                </a:ext>
              </a:extLst>
            </p:cNvPr>
            <p:cNvSpPr/>
            <p:nvPr/>
          </p:nvSpPr>
          <p:spPr bwMode="gray">
            <a:xfrm>
              <a:off x="3496037" y="5221262"/>
              <a:ext cx="84240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a:t>
              </a:r>
              <a:r>
                <a:rPr lang="de-DE" sz="1000" baseline="-25000" dirty="0">
                  <a:solidFill>
                    <a:schemeClr val="tx1"/>
                  </a:solidFill>
                </a:rPr>
                <a:t>2</a:t>
              </a:r>
              <a:r>
                <a:rPr lang="de-DE" sz="1000" dirty="0">
                  <a:solidFill>
                    <a:schemeClr val="tx1"/>
                  </a:solidFill>
                </a:rPr>
                <a:t> </a:t>
              </a:r>
              <a:br>
                <a:rPr lang="de-DE" sz="1000" dirty="0">
                  <a:solidFill>
                    <a:schemeClr val="tx1"/>
                  </a:solidFill>
                </a:rPr>
              </a:br>
              <a:r>
                <a:rPr lang="de-DE" sz="1000" dirty="0">
                  <a:solidFill>
                    <a:schemeClr val="tx1"/>
                  </a:solidFill>
                </a:rPr>
                <a:t>removal</a:t>
              </a:r>
            </a:p>
          </p:txBody>
        </p:sp>
        <p:sp>
          <p:nvSpPr>
            <p:cNvPr id="623" name="Rectangle: Rounded Corners 622">
              <a:extLst>
                <a:ext uri="{FF2B5EF4-FFF2-40B4-BE49-F238E27FC236}">
                  <a16:creationId xmlns:a16="http://schemas.microsoft.com/office/drawing/2014/main" id="{13FD73E9-E5C7-4CB3-96D8-51A0034F8676}"/>
                </a:ext>
              </a:extLst>
            </p:cNvPr>
            <p:cNvSpPr/>
            <p:nvPr/>
          </p:nvSpPr>
          <p:spPr bwMode="gray">
            <a:xfrm rot="5400000">
              <a:off x="3587672" y="4734829"/>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grpSp>
      <p:grpSp>
        <p:nvGrpSpPr>
          <p:cNvPr id="624" name="Group 623">
            <a:extLst>
              <a:ext uri="{FF2B5EF4-FFF2-40B4-BE49-F238E27FC236}">
                <a16:creationId xmlns:a16="http://schemas.microsoft.com/office/drawing/2014/main" id="{7D052E60-101A-4965-B86A-622C9F5D386A}"/>
              </a:ext>
            </a:extLst>
          </p:cNvPr>
          <p:cNvGrpSpPr/>
          <p:nvPr/>
        </p:nvGrpSpPr>
        <p:grpSpPr bwMode="gray">
          <a:xfrm>
            <a:off x="3234166" y="3544493"/>
            <a:ext cx="842400" cy="827159"/>
            <a:chOff x="3496037" y="4559133"/>
            <a:chExt cx="842400" cy="827159"/>
          </a:xfrm>
        </p:grpSpPr>
        <p:sp>
          <p:nvSpPr>
            <p:cNvPr id="625" name="Rectangle 624">
              <a:extLst>
                <a:ext uri="{FF2B5EF4-FFF2-40B4-BE49-F238E27FC236}">
                  <a16:creationId xmlns:a16="http://schemas.microsoft.com/office/drawing/2014/main" id="{7B4E8A64-9E4B-42EC-B983-6FA87A907298}"/>
                </a:ext>
              </a:extLst>
            </p:cNvPr>
            <p:cNvSpPr/>
            <p:nvPr/>
          </p:nvSpPr>
          <p:spPr bwMode="gray">
            <a:xfrm>
              <a:off x="3496037" y="5221262"/>
              <a:ext cx="84240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De-sulfuration</a:t>
              </a:r>
            </a:p>
          </p:txBody>
        </p:sp>
        <p:sp>
          <p:nvSpPr>
            <p:cNvPr id="626" name="Rectangle: Rounded Corners 625">
              <a:extLst>
                <a:ext uri="{FF2B5EF4-FFF2-40B4-BE49-F238E27FC236}">
                  <a16:creationId xmlns:a16="http://schemas.microsoft.com/office/drawing/2014/main" id="{77F27A91-777C-4BB2-B68D-7A45BBAA9AC4}"/>
                </a:ext>
              </a:extLst>
            </p:cNvPr>
            <p:cNvSpPr/>
            <p:nvPr/>
          </p:nvSpPr>
          <p:spPr bwMode="gray">
            <a:xfrm rot="5400000">
              <a:off x="3587672" y="4734829"/>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grpSp>
      <p:grpSp>
        <p:nvGrpSpPr>
          <p:cNvPr id="694" name="Group 693">
            <a:extLst>
              <a:ext uri="{FF2B5EF4-FFF2-40B4-BE49-F238E27FC236}">
                <a16:creationId xmlns:a16="http://schemas.microsoft.com/office/drawing/2014/main" id="{7DE3C7A0-99C6-43A9-9EBB-7E980F924570}"/>
              </a:ext>
            </a:extLst>
          </p:cNvPr>
          <p:cNvGrpSpPr/>
          <p:nvPr/>
        </p:nvGrpSpPr>
        <p:grpSpPr bwMode="gray">
          <a:xfrm>
            <a:off x="8353960" y="3182334"/>
            <a:ext cx="1216828" cy="1021289"/>
            <a:chOff x="9345532" y="2734008"/>
            <a:chExt cx="933731" cy="1501843"/>
          </a:xfrm>
        </p:grpSpPr>
        <p:grpSp>
          <p:nvGrpSpPr>
            <p:cNvPr id="693" name="Group 692">
              <a:extLst>
                <a:ext uri="{FF2B5EF4-FFF2-40B4-BE49-F238E27FC236}">
                  <a16:creationId xmlns:a16="http://schemas.microsoft.com/office/drawing/2014/main" id="{E8E3369A-ACDB-4C7D-99AA-A1354B8813F7}"/>
                </a:ext>
              </a:extLst>
            </p:cNvPr>
            <p:cNvGrpSpPr/>
            <p:nvPr/>
          </p:nvGrpSpPr>
          <p:grpSpPr bwMode="gray">
            <a:xfrm>
              <a:off x="9345682" y="2734008"/>
              <a:ext cx="928618" cy="1501843"/>
              <a:chOff x="9345682" y="2734008"/>
              <a:chExt cx="928618" cy="1501843"/>
            </a:xfrm>
          </p:grpSpPr>
          <p:sp>
            <p:nvSpPr>
              <p:cNvPr id="654" name="Rectangle: Rounded Corners 653">
                <a:extLst>
                  <a:ext uri="{FF2B5EF4-FFF2-40B4-BE49-F238E27FC236}">
                    <a16:creationId xmlns:a16="http://schemas.microsoft.com/office/drawing/2014/main" id="{D6188260-BAEC-4EBA-AD2A-0823917E5D8F}"/>
                  </a:ext>
                </a:extLst>
              </p:cNvPr>
              <p:cNvSpPr/>
              <p:nvPr/>
            </p:nvSpPr>
            <p:spPr bwMode="gray">
              <a:xfrm>
                <a:off x="9345682" y="2734008"/>
                <a:ext cx="309943" cy="1501843"/>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sp>
            <p:nvSpPr>
              <p:cNvPr id="667" name="Rectangle: Rounded Corners 666">
                <a:extLst>
                  <a:ext uri="{FF2B5EF4-FFF2-40B4-BE49-F238E27FC236}">
                    <a16:creationId xmlns:a16="http://schemas.microsoft.com/office/drawing/2014/main" id="{A4E38FCA-BF85-4535-9170-7A62B8BDC761}"/>
                  </a:ext>
                </a:extLst>
              </p:cNvPr>
              <p:cNvSpPr/>
              <p:nvPr/>
            </p:nvSpPr>
            <p:spPr bwMode="gray">
              <a:xfrm>
                <a:off x="9655020" y="2734008"/>
                <a:ext cx="309943" cy="1501843"/>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sp>
            <p:nvSpPr>
              <p:cNvPr id="680" name="Rectangle: Rounded Corners 679">
                <a:extLst>
                  <a:ext uri="{FF2B5EF4-FFF2-40B4-BE49-F238E27FC236}">
                    <a16:creationId xmlns:a16="http://schemas.microsoft.com/office/drawing/2014/main" id="{03538151-8A67-4CDF-AFBC-89F6DDBEEAC4}"/>
                  </a:ext>
                </a:extLst>
              </p:cNvPr>
              <p:cNvSpPr/>
              <p:nvPr/>
            </p:nvSpPr>
            <p:spPr bwMode="gray">
              <a:xfrm>
                <a:off x="9964357" y="2734008"/>
                <a:ext cx="309943" cy="1501843"/>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grpSp>
        <p:sp>
          <p:nvSpPr>
            <p:cNvPr id="655" name="Rectangle 654">
              <a:extLst>
                <a:ext uri="{FF2B5EF4-FFF2-40B4-BE49-F238E27FC236}">
                  <a16:creationId xmlns:a16="http://schemas.microsoft.com/office/drawing/2014/main" id="{784B34D5-3CD7-4AE0-AED5-1BD8CECB2A78}"/>
                </a:ext>
              </a:extLst>
            </p:cNvPr>
            <p:cNvSpPr/>
            <p:nvPr/>
          </p:nvSpPr>
          <p:spPr bwMode="gray">
            <a:xfrm>
              <a:off x="9345532" y="3010710"/>
              <a:ext cx="928768"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656" name="Rectangle 655">
              <a:extLst>
                <a:ext uri="{FF2B5EF4-FFF2-40B4-BE49-F238E27FC236}">
                  <a16:creationId xmlns:a16="http://schemas.microsoft.com/office/drawing/2014/main" id="{EDA0AC81-7C2B-47D6-8CE8-05461710727D}"/>
                </a:ext>
              </a:extLst>
            </p:cNvPr>
            <p:cNvSpPr/>
            <p:nvPr/>
          </p:nvSpPr>
          <p:spPr bwMode="gray">
            <a:xfrm>
              <a:off x="9345532" y="3105554"/>
              <a:ext cx="928768"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657" name="Rectangle 656">
              <a:extLst>
                <a:ext uri="{FF2B5EF4-FFF2-40B4-BE49-F238E27FC236}">
                  <a16:creationId xmlns:a16="http://schemas.microsoft.com/office/drawing/2014/main" id="{B62A95A0-2A17-47F0-85A2-E4550DAA72C6}"/>
                </a:ext>
              </a:extLst>
            </p:cNvPr>
            <p:cNvSpPr/>
            <p:nvPr/>
          </p:nvSpPr>
          <p:spPr bwMode="gray">
            <a:xfrm>
              <a:off x="9345532" y="3200398"/>
              <a:ext cx="928768"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658" name="Rectangle 657">
              <a:extLst>
                <a:ext uri="{FF2B5EF4-FFF2-40B4-BE49-F238E27FC236}">
                  <a16:creationId xmlns:a16="http://schemas.microsoft.com/office/drawing/2014/main" id="{85896F61-1E95-4D1C-A1A5-F99F143A27F6}"/>
                </a:ext>
              </a:extLst>
            </p:cNvPr>
            <p:cNvSpPr/>
            <p:nvPr/>
          </p:nvSpPr>
          <p:spPr bwMode="gray">
            <a:xfrm>
              <a:off x="9345532" y="3295242"/>
              <a:ext cx="928768"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659" name="Rectangle 658">
              <a:extLst>
                <a:ext uri="{FF2B5EF4-FFF2-40B4-BE49-F238E27FC236}">
                  <a16:creationId xmlns:a16="http://schemas.microsoft.com/office/drawing/2014/main" id="{84AC920B-5E45-4D6A-AD8E-93F64CA706B8}"/>
                </a:ext>
              </a:extLst>
            </p:cNvPr>
            <p:cNvSpPr/>
            <p:nvPr/>
          </p:nvSpPr>
          <p:spPr bwMode="gray">
            <a:xfrm>
              <a:off x="9345532" y="3390086"/>
              <a:ext cx="928768"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660" name="Rectangle 659">
              <a:extLst>
                <a:ext uri="{FF2B5EF4-FFF2-40B4-BE49-F238E27FC236}">
                  <a16:creationId xmlns:a16="http://schemas.microsoft.com/office/drawing/2014/main" id="{D67C4560-BDD9-4502-9B4D-F9B6BFC0DEE5}"/>
                </a:ext>
              </a:extLst>
            </p:cNvPr>
            <p:cNvSpPr/>
            <p:nvPr/>
          </p:nvSpPr>
          <p:spPr bwMode="gray">
            <a:xfrm>
              <a:off x="9345532" y="3484930"/>
              <a:ext cx="928768"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661" name="Rectangle 660">
              <a:extLst>
                <a:ext uri="{FF2B5EF4-FFF2-40B4-BE49-F238E27FC236}">
                  <a16:creationId xmlns:a16="http://schemas.microsoft.com/office/drawing/2014/main" id="{66CA5D10-EF0C-44CC-855E-EB0F34EE67D9}"/>
                </a:ext>
              </a:extLst>
            </p:cNvPr>
            <p:cNvSpPr/>
            <p:nvPr/>
          </p:nvSpPr>
          <p:spPr bwMode="gray">
            <a:xfrm>
              <a:off x="9345532" y="3579775"/>
              <a:ext cx="928768"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662" name="Rectangle 661">
              <a:extLst>
                <a:ext uri="{FF2B5EF4-FFF2-40B4-BE49-F238E27FC236}">
                  <a16:creationId xmlns:a16="http://schemas.microsoft.com/office/drawing/2014/main" id="{9337E46B-C656-473A-AE69-566D20997A5E}"/>
                </a:ext>
              </a:extLst>
            </p:cNvPr>
            <p:cNvSpPr/>
            <p:nvPr/>
          </p:nvSpPr>
          <p:spPr bwMode="gray">
            <a:xfrm>
              <a:off x="9345532" y="3674619"/>
              <a:ext cx="928768"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663" name="Rectangle 662">
              <a:extLst>
                <a:ext uri="{FF2B5EF4-FFF2-40B4-BE49-F238E27FC236}">
                  <a16:creationId xmlns:a16="http://schemas.microsoft.com/office/drawing/2014/main" id="{F7E74B42-33EC-45DF-BA15-031FEDA61F72}"/>
                </a:ext>
              </a:extLst>
            </p:cNvPr>
            <p:cNvSpPr/>
            <p:nvPr/>
          </p:nvSpPr>
          <p:spPr bwMode="gray">
            <a:xfrm>
              <a:off x="9345532" y="3769463"/>
              <a:ext cx="928768"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664" name="Rectangle 663">
              <a:extLst>
                <a:ext uri="{FF2B5EF4-FFF2-40B4-BE49-F238E27FC236}">
                  <a16:creationId xmlns:a16="http://schemas.microsoft.com/office/drawing/2014/main" id="{9AD26652-CA62-42BD-9231-BCA601861FB6}"/>
                </a:ext>
              </a:extLst>
            </p:cNvPr>
            <p:cNvSpPr/>
            <p:nvPr/>
          </p:nvSpPr>
          <p:spPr bwMode="gray">
            <a:xfrm>
              <a:off x="9345532" y="3864307"/>
              <a:ext cx="928768"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678" name="Rectangle 677">
              <a:extLst>
                <a:ext uri="{FF2B5EF4-FFF2-40B4-BE49-F238E27FC236}">
                  <a16:creationId xmlns:a16="http://schemas.microsoft.com/office/drawing/2014/main" id="{2BC5A083-D253-44F9-9F16-738ED2E325F3}"/>
                </a:ext>
              </a:extLst>
            </p:cNvPr>
            <p:cNvSpPr/>
            <p:nvPr/>
          </p:nvSpPr>
          <p:spPr bwMode="gray">
            <a:xfrm>
              <a:off x="9350463" y="3295242"/>
              <a:ext cx="928800" cy="37937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r>
                <a:rPr lang="de-DE" sz="1000" dirty="0">
                  <a:solidFill>
                    <a:schemeClr val="tx1"/>
                  </a:solidFill>
                </a:rPr>
                <a:t>H</a:t>
              </a:r>
              <a:r>
                <a:rPr lang="de-DE" sz="1000" baseline="-25000" dirty="0">
                  <a:solidFill>
                    <a:schemeClr val="tx1"/>
                  </a:solidFill>
                </a:rPr>
                <a:t>2</a:t>
              </a:r>
              <a:r>
                <a:rPr lang="de-DE" sz="1000" dirty="0">
                  <a:solidFill>
                    <a:schemeClr val="tx1"/>
                  </a:solidFill>
                </a:rPr>
                <a:t>- Purifier </a:t>
              </a:r>
              <a:br>
                <a:rPr lang="de-DE" sz="1000" dirty="0">
                  <a:solidFill>
                    <a:schemeClr val="tx1"/>
                  </a:solidFill>
                </a:rPr>
              </a:br>
              <a:r>
                <a:rPr lang="de-DE" sz="1000" dirty="0">
                  <a:solidFill>
                    <a:schemeClr val="tx1"/>
                  </a:solidFill>
                </a:rPr>
                <a:t>(PSA-technic) (Pressure Swing Absorption)</a:t>
              </a:r>
            </a:p>
          </p:txBody>
        </p:sp>
      </p:grpSp>
      <p:cxnSp>
        <p:nvCxnSpPr>
          <p:cNvPr id="696" name="Connector: Elbow 695">
            <a:extLst>
              <a:ext uri="{FF2B5EF4-FFF2-40B4-BE49-F238E27FC236}">
                <a16:creationId xmlns:a16="http://schemas.microsoft.com/office/drawing/2014/main" id="{9FCDAC0D-1575-409D-9825-5DE1F7272D17}"/>
              </a:ext>
            </a:extLst>
          </p:cNvPr>
          <p:cNvCxnSpPr>
            <a:cxnSpLocks/>
            <a:stCxn id="715" idx="3"/>
            <a:endCxn id="640" idx="9"/>
          </p:cNvCxnSpPr>
          <p:nvPr/>
        </p:nvCxnSpPr>
        <p:spPr bwMode="gray">
          <a:xfrm flipV="1">
            <a:off x="2907344" y="3426666"/>
            <a:ext cx="1667129" cy="187514"/>
          </a:xfrm>
          <a:prstGeom prst="bentConnector3">
            <a:avLst>
              <a:gd name="adj1" fmla="val 13205"/>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710" name="Connector: Elbow 709">
            <a:extLst>
              <a:ext uri="{FF2B5EF4-FFF2-40B4-BE49-F238E27FC236}">
                <a16:creationId xmlns:a16="http://schemas.microsoft.com/office/drawing/2014/main" id="{71CEFEF5-6481-4F92-B70D-0CCC023EC108}"/>
              </a:ext>
            </a:extLst>
          </p:cNvPr>
          <p:cNvCxnSpPr>
            <a:cxnSpLocks/>
            <a:stCxn id="715" idx="3"/>
            <a:endCxn id="626" idx="2"/>
          </p:cNvCxnSpPr>
          <p:nvPr/>
        </p:nvCxnSpPr>
        <p:spPr bwMode="gray">
          <a:xfrm>
            <a:off x="2907344" y="3614180"/>
            <a:ext cx="594153" cy="259878"/>
          </a:xfrm>
          <a:prstGeom prst="bentConnector3">
            <a:avLst>
              <a:gd name="adj1" fmla="val 37175"/>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715" name="TextBox 714">
            <a:extLst>
              <a:ext uri="{FF2B5EF4-FFF2-40B4-BE49-F238E27FC236}">
                <a16:creationId xmlns:a16="http://schemas.microsoft.com/office/drawing/2014/main" id="{0D70C27B-609E-4E4B-BCFB-25647856C40B}"/>
              </a:ext>
            </a:extLst>
          </p:cNvPr>
          <p:cNvSpPr txBox="1"/>
          <p:nvPr/>
        </p:nvSpPr>
        <p:spPr bwMode="gray">
          <a:xfrm>
            <a:off x="1992944" y="3544493"/>
            <a:ext cx="914400" cy="139374"/>
          </a:xfrm>
          <a:prstGeom prst="rect">
            <a:avLst/>
          </a:prstGeom>
          <a:noFill/>
        </p:spPr>
        <p:txBody>
          <a:bodyPr wrap="none" lIns="36000" tIns="36000" rIns="36000" bIns="36000" rtlCol="0" anchor="ctr" anchorCtr="0">
            <a:noAutofit/>
          </a:bodyPr>
          <a:lstStyle/>
          <a:p>
            <a:pPr algn="ctr">
              <a:spcBef>
                <a:spcPts val="300"/>
              </a:spcBef>
              <a:buClr>
                <a:srgbClr val="002897"/>
              </a:buClr>
              <a:buSzPct val="70000"/>
            </a:pPr>
            <a:r>
              <a:rPr lang="de-DE" sz="1000" dirty="0"/>
              <a:t>Natural gas </a:t>
            </a:r>
            <a:br>
              <a:rPr lang="de-DE" sz="1000" dirty="0"/>
            </a:br>
            <a:r>
              <a:rPr lang="de-DE" sz="1000" dirty="0"/>
              <a:t>ca. 90% CH</a:t>
            </a:r>
            <a:r>
              <a:rPr lang="de-DE" sz="1000" baseline="-25000" dirty="0"/>
              <a:t>4</a:t>
            </a:r>
          </a:p>
        </p:txBody>
      </p:sp>
      <p:cxnSp>
        <p:nvCxnSpPr>
          <p:cNvPr id="720" name="Connector: Elbow 719">
            <a:extLst>
              <a:ext uri="{FF2B5EF4-FFF2-40B4-BE49-F238E27FC236}">
                <a16:creationId xmlns:a16="http://schemas.microsoft.com/office/drawing/2014/main" id="{6582EC4F-7790-4447-A392-CCB61A87F100}"/>
              </a:ext>
            </a:extLst>
          </p:cNvPr>
          <p:cNvCxnSpPr>
            <a:cxnSpLocks/>
            <a:stCxn id="640" idx="5"/>
            <a:endCxn id="623" idx="2"/>
          </p:cNvCxnSpPr>
          <p:nvPr/>
        </p:nvCxnSpPr>
        <p:spPr bwMode="gray">
          <a:xfrm rot="10800000" flipH="1" flipV="1">
            <a:off x="5108222" y="3604743"/>
            <a:ext cx="264223" cy="879713"/>
          </a:xfrm>
          <a:prstGeom prst="bentConnector3">
            <a:avLst>
              <a:gd name="adj1" fmla="val 42755"/>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725" name="Connector: Elbow 724">
            <a:extLst>
              <a:ext uri="{FF2B5EF4-FFF2-40B4-BE49-F238E27FC236}">
                <a16:creationId xmlns:a16="http://schemas.microsoft.com/office/drawing/2014/main" id="{DDECCAEF-6488-4D0F-A505-744D01B62828}"/>
              </a:ext>
            </a:extLst>
          </p:cNvPr>
          <p:cNvCxnSpPr>
            <a:cxnSpLocks/>
            <a:stCxn id="623" idx="0"/>
            <a:endCxn id="434" idx="2"/>
          </p:cNvCxnSpPr>
          <p:nvPr/>
        </p:nvCxnSpPr>
        <p:spPr bwMode="gray">
          <a:xfrm>
            <a:off x="5680184" y="4484457"/>
            <a:ext cx="2103491" cy="915702"/>
          </a:xfrm>
          <a:prstGeom prst="bentConnector4">
            <a:avLst>
              <a:gd name="adj1" fmla="val 28411"/>
              <a:gd name="adj2" fmla="val 115644"/>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729" name="Connector: Elbow 728">
            <a:extLst>
              <a:ext uri="{FF2B5EF4-FFF2-40B4-BE49-F238E27FC236}">
                <a16:creationId xmlns:a16="http://schemas.microsoft.com/office/drawing/2014/main" id="{3DE6480E-9FE9-466E-90DC-26616708EA48}"/>
              </a:ext>
            </a:extLst>
          </p:cNvPr>
          <p:cNvCxnSpPr>
            <a:cxnSpLocks/>
            <a:stCxn id="424" idx="19"/>
            <a:endCxn id="654" idx="2"/>
          </p:cNvCxnSpPr>
          <p:nvPr/>
        </p:nvCxnSpPr>
        <p:spPr bwMode="gray">
          <a:xfrm rot="10800000" flipH="1" flipV="1">
            <a:off x="8156450" y="3269319"/>
            <a:ext cx="399662" cy="934304"/>
          </a:xfrm>
          <a:prstGeom prst="bentConnector4">
            <a:avLst>
              <a:gd name="adj1" fmla="val 23183"/>
              <a:gd name="adj2" fmla="val 124467"/>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733" name="Connector: Elbow 732">
            <a:extLst>
              <a:ext uri="{FF2B5EF4-FFF2-40B4-BE49-F238E27FC236}">
                <a16:creationId xmlns:a16="http://schemas.microsoft.com/office/drawing/2014/main" id="{4464571D-2D9A-4AC0-8C43-1C29D3558B9D}"/>
              </a:ext>
            </a:extLst>
          </p:cNvPr>
          <p:cNvCxnSpPr>
            <a:cxnSpLocks/>
            <a:stCxn id="424" idx="19"/>
            <a:endCxn id="667" idx="2"/>
          </p:cNvCxnSpPr>
          <p:nvPr/>
        </p:nvCxnSpPr>
        <p:spPr bwMode="gray">
          <a:xfrm rot="10800000" flipH="1" flipV="1">
            <a:off x="8156450" y="3269319"/>
            <a:ext cx="802788" cy="934304"/>
          </a:xfrm>
          <a:prstGeom prst="bentConnector4">
            <a:avLst>
              <a:gd name="adj1" fmla="val 11541"/>
              <a:gd name="adj2" fmla="val 124467"/>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737" name="Connector: Elbow 736">
            <a:extLst>
              <a:ext uri="{FF2B5EF4-FFF2-40B4-BE49-F238E27FC236}">
                <a16:creationId xmlns:a16="http://schemas.microsoft.com/office/drawing/2014/main" id="{73FD6508-9249-4B17-B61D-63AD919C8838}"/>
              </a:ext>
            </a:extLst>
          </p:cNvPr>
          <p:cNvCxnSpPr>
            <a:cxnSpLocks/>
            <a:stCxn id="424" idx="19"/>
            <a:endCxn id="680" idx="2"/>
          </p:cNvCxnSpPr>
          <p:nvPr/>
        </p:nvCxnSpPr>
        <p:spPr bwMode="gray">
          <a:xfrm rot="10800000" flipH="1" flipV="1">
            <a:off x="8156449" y="3269319"/>
            <a:ext cx="1205913" cy="934304"/>
          </a:xfrm>
          <a:prstGeom prst="bentConnector4">
            <a:avLst>
              <a:gd name="adj1" fmla="val 7683"/>
              <a:gd name="adj2" fmla="val 124467"/>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746" name="TextBox 745">
            <a:extLst>
              <a:ext uri="{FF2B5EF4-FFF2-40B4-BE49-F238E27FC236}">
                <a16:creationId xmlns:a16="http://schemas.microsoft.com/office/drawing/2014/main" id="{9AED5391-97BB-4BD8-BC13-C4ABEFA1F23D}"/>
              </a:ext>
            </a:extLst>
          </p:cNvPr>
          <p:cNvSpPr txBox="1"/>
          <p:nvPr/>
        </p:nvSpPr>
        <p:spPr bwMode="gray">
          <a:xfrm>
            <a:off x="9956663" y="2900480"/>
            <a:ext cx="242394" cy="139374"/>
          </a:xfrm>
          <a:prstGeom prst="rect">
            <a:avLst/>
          </a:prstGeom>
          <a:noFill/>
        </p:spPr>
        <p:txBody>
          <a:bodyPr wrap="none" lIns="36000" tIns="36000" rIns="36000" bIns="36000" rtlCol="0" anchor="ctr" anchorCtr="0">
            <a:noAutofit/>
          </a:bodyPr>
          <a:lstStyle/>
          <a:p>
            <a:pPr algn="ctr">
              <a:spcBef>
                <a:spcPts val="300"/>
              </a:spcBef>
              <a:buClr>
                <a:srgbClr val="002897"/>
              </a:buClr>
              <a:buSzPct val="70000"/>
            </a:pPr>
            <a:r>
              <a:rPr lang="de-DE" sz="1000" dirty="0"/>
              <a:t>H</a:t>
            </a:r>
            <a:r>
              <a:rPr lang="de-DE" sz="1000" baseline="-25000" dirty="0"/>
              <a:t>2</a:t>
            </a:r>
          </a:p>
        </p:txBody>
      </p:sp>
      <p:cxnSp>
        <p:nvCxnSpPr>
          <p:cNvPr id="747" name="Connector: Elbow 746">
            <a:extLst>
              <a:ext uri="{FF2B5EF4-FFF2-40B4-BE49-F238E27FC236}">
                <a16:creationId xmlns:a16="http://schemas.microsoft.com/office/drawing/2014/main" id="{5E5FBAE7-A5AD-4D8D-BD2A-A306B1D9C673}"/>
              </a:ext>
            </a:extLst>
          </p:cNvPr>
          <p:cNvCxnSpPr>
            <a:cxnSpLocks/>
            <a:stCxn id="654" idx="0"/>
            <a:endCxn id="746" idx="1"/>
          </p:cNvCxnSpPr>
          <p:nvPr/>
        </p:nvCxnSpPr>
        <p:spPr bwMode="gray">
          <a:xfrm rot="5400000" flipH="1" flipV="1">
            <a:off x="9150304" y="2375976"/>
            <a:ext cx="212167" cy="1400551"/>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750" name="Connector: Elbow 749">
            <a:extLst>
              <a:ext uri="{FF2B5EF4-FFF2-40B4-BE49-F238E27FC236}">
                <a16:creationId xmlns:a16="http://schemas.microsoft.com/office/drawing/2014/main" id="{38C20C99-DA34-413E-A8BC-0020ADE395D3}"/>
              </a:ext>
            </a:extLst>
          </p:cNvPr>
          <p:cNvCxnSpPr>
            <a:cxnSpLocks/>
            <a:stCxn id="667" idx="0"/>
            <a:endCxn id="746" idx="1"/>
          </p:cNvCxnSpPr>
          <p:nvPr/>
        </p:nvCxnSpPr>
        <p:spPr bwMode="gray">
          <a:xfrm rot="5400000" flipH="1" flipV="1">
            <a:off x="9351867" y="2577539"/>
            <a:ext cx="212167" cy="997425"/>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753" name="Connector: Elbow 752">
            <a:extLst>
              <a:ext uri="{FF2B5EF4-FFF2-40B4-BE49-F238E27FC236}">
                <a16:creationId xmlns:a16="http://schemas.microsoft.com/office/drawing/2014/main" id="{D67C242C-BC5B-4971-8CB9-A3C528E8F896}"/>
              </a:ext>
            </a:extLst>
          </p:cNvPr>
          <p:cNvCxnSpPr>
            <a:cxnSpLocks/>
            <a:stCxn id="680" idx="0"/>
            <a:endCxn id="746" idx="1"/>
          </p:cNvCxnSpPr>
          <p:nvPr/>
        </p:nvCxnSpPr>
        <p:spPr bwMode="gray">
          <a:xfrm rot="5400000" flipH="1" flipV="1">
            <a:off x="9553430" y="2779101"/>
            <a:ext cx="212167" cy="594300"/>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762" name="TextBox 761">
            <a:extLst>
              <a:ext uri="{FF2B5EF4-FFF2-40B4-BE49-F238E27FC236}">
                <a16:creationId xmlns:a16="http://schemas.microsoft.com/office/drawing/2014/main" id="{EDB8D3F8-6D10-4094-831C-C3649FC7EE4A}"/>
              </a:ext>
            </a:extLst>
          </p:cNvPr>
          <p:cNvSpPr txBox="1"/>
          <p:nvPr/>
        </p:nvSpPr>
        <p:spPr bwMode="gray">
          <a:xfrm>
            <a:off x="9956663" y="2575360"/>
            <a:ext cx="242394" cy="139374"/>
          </a:xfrm>
          <a:prstGeom prst="rect">
            <a:avLst/>
          </a:prstGeom>
          <a:noFill/>
        </p:spPr>
        <p:txBody>
          <a:bodyPr wrap="none" lIns="36000" tIns="36000" rIns="36000" bIns="36000" rtlCol="0" anchor="ctr" anchorCtr="0">
            <a:noAutofit/>
          </a:bodyPr>
          <a:lstStyle/>
          <a:p>
            <a:pPr algn="ctr">
              <a:spcBef>
                <a:spcPts val="300"/>
              </a:spcBef>
              <a:buClr>
                <a:srgbClr val="002897"/>
              </a:buClr>
              <a:buSzPct val="70000"/>
            </a:pPr>
            <a:r>
              <a:rPr lang="de-DE" sz="1000" dirty="0"/>
              <a:t>CO</a:t>
            </a:r>
            <a:endParaRPr lang="de-DE" sz="1000" baseline="-25000" dirty="0"/>
          </a:p>
        </p:txBody>
      </p:sp>
      <p:cxnSp>
        <p:nvCxnSpPr>
          <p:cNvPr id="764" name="Straight Connector 763">
            <a:extLst>
              <a:ext uri="{FF2B5EF4-FFF2-40B4-BE49-F238E27FC236}">
                <a16:creationId xmlns:a16="http://schemas.microsoft.com/office/drawing/2014/main" id="{B44AE425-BF28-4562-B8DE-0F7C0701E587}"/>
              </a:ext>
            </a:extLst>
          </p:cNvPr>
          <p:cNvCxnSpPr>
            <a:cxnSpLocks/>
            <a:stCxn id="762" idx="1"/>
          </p:cNvCxnSpPr>
          <p:nvPr/>
        </p:nvCxnSpPr>
        <p:spPr bwMode="gray">
          <a:xfrm flipH="1" flipV="1">
            <a:off x="8148081" y="2634313"/>
            <a:ext cx="1808582" cy="10734"/>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69" name="Straight Connector 768">
            <a:extLst>
              <a:ext uri="{FF2B5EF4-FFF2-40B4-BE49-F238E27FC236}">
                <a16:creationId xmlns:a16="http://schemas.microsoft.com/office/drawing/2014/main" id="{811D90A4-1CC0-45CC-A98F-C7E7960ABFB6}"/>
              </a:ext>
            </a:extLst>
          </p:cNvPr>
          <p:cNvCxnSpPr>
            <a:cxnSpLocks/>
            <a:stCxn id="424" idx="7"/>
          </p:cNvCxnSpPr>
          <p:nvPr/>
        </p:nvCxnSpPr>
        <p:spPr bwMode="gray">
          <a:xfrm flipH="1">
            <a:off x="6973538" y="2889943"/>
            <a:ext cx="437362"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776" name="Straight Connector 775">
            <a:extLst>
              <a:ext uri="{FF2B5EF4-FFF2-40B4-BE49-F238E27FC236}">
                <a16:creationId xmlns:a16="http://schemas.microsoft.com/office/drawing/2014/main" id="{2B467B54-7278-40FA-B7EC-32278DBAE626}"/>
              </a:ext>
            </a:extLst>
          </p:cNvPr>
          <p:cNvCxnSpPr>
            <a:cxnSpLocks/>
          </p:cNvCxnSpPr>
          <p:nvPr/>
        </p:nvCxnSpPr>
        <p:spPr bwMode="gray">
          <a:xfrm flipH="1">
            <a:off x="6973538" y="2984787"/>
            <a:ext cx="437362"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77" name="Straight Connector 776">
            <a:extLst>
              <a:ext uri="{FF2B5EF4-FFF2-40B4-BE49-F238E27FC236}">
                <a16:creationId xmlns:a16="http://schemas.microsoft.com/office/drawing/2014/main" id="{9202AED9-B4A7-4841-8550-252126E3E9A9}"/>
              </a:ext>
            </a:extLst>
          </p:cNvPr>
          <p:cNvCxnSpPr>
            <a:cxnSpLocks/>
          </p:cNvCxnSpPr>
          <p:nvPr/>
        </p:nvCxnSpPr>
        <p:spPr bwMode="gray">
          <a:xfrm flipH="1">
            <a:off x="6973537" y="4842568"/>
            <a:ext cx="655337"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778" name="Straight Connector 777">
            <a:extLst>
              <a:ext uri="{FF2B5EF4-FFF2-40B4-BE49-F238E27FC236}">
                <a16:creationId xmlns:a16="http://schemas.microsoft.com/office/drawing/2014/main" id="{7AAE5E71-DCE6-494B-96D6-143700B7F1E5}"/>
              </a:ext>
            </a:extLst>
          </p:cNvPr>
          <p:cNvCxnSpPr>
            <a:cxnSpLocks/>
          </p:cNvCxnSpPr>
          <p:nvPr/>
        </p:nvCxnSpPr>
        <p:spPr bwMode="gray">
          <a:xfrm flipH="1">
            <a:off x="6973537" y="4937412"/>
            <a:ext cx="655337"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83" name="Straight Connector 782">
            <a:extLst>
              <a:ext uri="{FF2B5EF4-FFF2-40B4-BE49-F238E27FC236}">
                <a16:creationId xmlns:a16="http://schemas.microsoft.com/office/drawing/2014/main" id="{427F55A9-F894-43B6-8595-A9EA494C7E56}"/>
              </a:ext>
            </a:extLst>
          </p:cNvPr>
          <p:cNvCxnSpPr>
            <a:cxnSpLocks/>
            <a:stCxn id="414" idx="2"/>
            <a:endCxn id="432" idx="0"/>
          </p:cNvCxnSpPr>
          <p:nvPr/>
        </p:nvCxnSpPr>
        <p:spPr bwMode="gray">
          <a:xfrm>
            <a:off x="7783675" y="4578760"/>
            <a:ext cx="0" cy="15718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87" name="Straight Connector 786">
            <a:extLst>
              <a:ext uri="{FF2B5EF4-FFF2-40B4-BE49-F238E27FC236}">
                <a16:creationId xmlns:a16="http://schemas.microsoft.com/office/drawing/2014/main" id="{28297395-B446-4671-ADA2-E78844C72F87}"/>
              </a:ext>
            </a:extLst>
          </p:cNvPr>
          <p:cNvCxnSpPr>
            <a:cxnSpLocks/>
            <a:stCxn id="424" idx="16"/>
            <a:endCxn id="413" idx="3"/>
          </p:cNvCxnSpPr>
          <p:nvPr/>
        </p:nvCxnSpPr>
        <p:spPr bwMode="gray">
          <a:xfrm>
            <a:off x="7783675" y="3735707"/>
            <a:ext cx="1" cy="172551"/>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93" name="Straight Connector 792">
            <a:extLst>
              <a:ext uri="{FF2B5EF4-FFF2-40B4-BE49-F238E27FC236}">
                <a16:creationId xmlns:a16="http://schemas.microsoft.com/office/drawing/2014/main" id="{038C27FE-C660-45B7-B001-06987C9646B2}"/>
              </a:ext>
            </a:extLst>
          </p:cNvPr>
          <p:cNvCxnSpPr>
            <a:cxnSpLocks/>
          </p:cNvCxnSpPr>
          <p:nvPr/>
        </p:nvCxnSpPr>
        <p:spPr bwMode="gray">
          <a:xfrm flipV="1">
            <a:off x="5526315" y="5179721"/>
            <a:ext cx="0" cy="13165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800" name="Rectangle 799">
            <a:extLst>
              <a:ext uri="{FF2B5EF4-FFF2-40B4-BE49-F238E27FC236}">
                <a16:creationId xmlns:a16="http://schemas.microsoft.com/office/drawing/2014/main" id="{5DD19F01-8ADD-40B6-8A0C-9349BAB50299}"/>
              </a:ext>
            </a:extLst>
          </p:cNvPr>
          <p:cNvSpPr/>
          <p:nvPr/>
        </p:nvSpPr>
        <p:spPr bwMode="gray">
          <a:xfrm>
            <a:off x="4348664" y="4817021"/>
            <a:ext cx="773568"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Steam</a:t>
            </a:r>
          </a:p>
        </p:txBody>
      </p:sp>
      <p:cxnSp>
        <p:nvCxnSpPr>
          <p:cNvPr id="806" name="Straight Connector 805">
            <a:extLst>
              <a:ext uri="{FF2B5EF4-FFF2-40B4-BE49-F238E27FC236}">
                <a16:creationId xmlns:a16="http://schemas.microsoft.com/office/drawing/2014/main" id="{C7965119-BE54-4BFF-B849-4E049F86748F}"/>
              </a:ext>
            </a:extLst>
          </p:cNvPr>
          <p:cNvCxnSpPr>
            <a:cxnSpLocks/>
            <a:endCxn id="800" idx="0"/>
          </p:cNvCxnSpPr>
          <p:nvPr/>
        </p:nvCxnSpPr>
        <p:spPr bwMode="gray">
          <a:xfrm>
            <a:off x="4735448" y="4383348"/>
            <a:ext cx="0" cy="433673"/>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820" name="Rectangle 819">
            <a:extLst>
              <a:ext uri="{FF2B5EF4-FFF2-40B4-BE49-F238E27FC236}">
                <a16:creationId xmlns:a16="http://schemas.microsoft.com/office/drawing/2014/main" id="{D801D559-B5ED-4A2F-A45F-095C4E950477}"/>
              </a:ext>
            </a:extLst>
          </p:cNvPr>
          <p:cNvSpPr/>
          <p:nvPr/>
        </p:nvSpPr>
        <p:spPr bwMode="gray">
          <a:xfrm>
            <a:off x="3381593" y="4817021"/>
            <a:ext cx="577968"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H</a:t>
            </a:r>
            <a:r>
              <a:rPr lang="de-DE" sz="1000" baseline="-25000" dirty="0">
                <a:solidFill>
                  <a:schemeClr val="tx1"/>
                </a:solidFill>
              </a:rPr>
              <a:t>2 </a:t>
            </a:r>
            <a:br>
              <a:rPr lang="de-DE" sz="1000" baseline="-25000" dirty="0">
                <a:solidFill>
                  <a:schemeClr val="tx1"/>
                </a:solidFill>
              </a:rPr>
            </a:br>
            <a:r>
              <a:rPr lang="de-DE" sz="1000" dirty="0">
                <a:solidFill>
                  <a:schemeClr val="tx1"/>
                </a:solidFill>
              </a:rPr>
              <a:t>(1.. 2%)</a:t>
            </a:r>
          </a:p>
        </p:txBody>
      </p:sp>
      <p:cxnSp>
        <p:nvCxnSpPr>
          <p:cNvPr id="821" name="Straight Connector 820">
            <a:extLst>
              <a:ext uri="{FF2B5EF4-FFF2-40B4-BE49-F238E27FC236}">
                <a16:creationId xmlns:a16="http://schemas.microsoft.com/office/drawing/2014/main" id="{3F2D345F-3B8A-41F8-99CD-A25989978C2A}"/>
              </a:ext>
            </a:extLst>
          </p:cNvPr>
          <p:cNvCxnSpPr>
            <a:cxnSpLocks/>
            <a:endCxn id="820" idx="0"/>
          </p:cNvCxnSpPr>
          <p:nvPr/>
        </p:nvCxnSpPr>
        <p:spPr bwMode="gray">
          <a:xfrm>
            <a:off x="3670577" y="4539285"/>
            <a:ext cx="0" cy="277736"/>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834" name="TextBox 833">
            <a:extLst>
              <a:ext uri="{FF2B5EF4-FFF2-40B4-BE49-F238E27FC236}">
                <a16:creationId xmlns:a16="http://schemas.microsoft.com/office/drawing/2014/main" id="{E94C4029-A855-48ED-9DCD-0F5D641CE8A4}"/>
              </a:ext>
            </a:extLst>
          </p:cNvPr>
          <p:cNvSpPr txBox="1"/>
          <p:nvPr/>
        </p:nvSpPr>
        <p:spPr bwMode="gray">
          <a:xfrm>
            <a:off x="3535335" y="3098318"/>
            <a:ext cx="240062" cy="139374"/>
          </a:xfrm>
          <a:prstGeom prst="rect">
            <a:avLst/>
          </a:prstGeom>
          <a:noFill/>
        </p:spPr>
        <p:txBody>
          <a:bodyPr wrap="none" lIns="36000" tIns="36000" rIns="36000" bIns="36000" rtlCol="0" anchor="ctr" anchorCtr="0">
            <a:noAutofit/>
          </a:bodyPr>
          <a:lstStyle/>
          <a:p>
            <a:pPr algn="ctr">
              <a:spcBef>
                <a:spcPts val="300"/>
              </a:spcBef>
              <a:buClr>
                <a:srgbClr val="002897"/>
              </a:buClr>
              <a:buSzPct val="70000"/>
            </a:pPr>
            <a:r>
              <a:rPr lang="de-DE" sz="1000" dirty="0"/>
              <a:t>O</a:t>
            </a:r>
            <a:r>
              <a:rPr lang="de-DE" sz="1000" baseline="-25000" dirty="0"/>
              <a:t>2</a:t>
            </a:r>
          </a:p>
        </p:txBody>
      </p:sp>
      <p:cxnSp>
        <p:nvCxnSpPr>
          <p:cNvPr id="846" name="Straight Connector 845">
            <a:extLst>
              <a:ext uri="{FF2B5EF4-FFF2-40B4-BE49-F238E27FC236}">
                <a16:creationId xmlns:a16="http://schemas.microsoft.com/office/drawing/2014/main" id="{BE525DC6-47F9-42A5-B2F9-357A72D27919}"/>
              </a:ext>
            </a:extLst>
          </p:cNvPr>
          <p:cNvCxnSpPr>
            <a:cxnSpLocks/>
            <a:stCxn id="649" idx="6"/>
            <a:endCxn id="834" idx="3"/>
          </p:cNvCxnSpPr>
          <p:nvPr/>
        </p:nvCxnSpPr>
        <p:spPr bwMode="gray">
          <a:xfrm flipH="1" flipV="1">
            <a:off x="3775397" y="3168005"/>
            <a:ext cx="805251" cy="1507"/>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858" name="Rectangle 857">
            <a:extLst>
              <a:ext uri="{FF2B5EF4-FFF2-40B4-BE49-F238E27FC236}">
                <a16:creationId xmlns:a16="http://schemas.microsoft.com/office/drawing/2014/main" id="{9C3223B0-FE66-4D61-9506-03B53AA0C1FD}"/>
              </a:ext>
            </a:extLst>
          </p:cNvPr>
          <p:cNvSpPr/>
          <p:nvPr/>
        </p:nvSpPr>
        <p:spPr bwMode="gray">
          <a:xfrm>
            <a:off x="5236492" y="3537819"/>
            <a:ext cx="949374"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Synthesis gas</a:t>
            </a:r>
            <a:endParaRPr lang="de-DE" sz="1000" baseline="-25000" dirty="0">
              <a:solidFill>
                <a:schemeClr val="tx1"/>
              </a:solidFill>
            </a:endParaRPr>
          </a:p>
        </p:txBody>
      </p:sp>
      <p:grpSp>
        <p:nvGrpSpPr>
          <p:cNvPr id="576" name="Group 575">
            <a:extLst>
              <a:ext uri="{FF2B5EF4-FFF2-40B4-BE49-F238E27FC236}">
                <a16:creationId xmlns:a16="http://schemas.microsoft.com/office/drawing/2014/main" id="{2C244B22-6B7E-47DE-AD56-22BA8B114455}"/>
              </a:ext>
            </a:extLst>
          </p:cNvPr>
          <p:cNvGrpSpPr/>
          <p:nvPr/>
        </p:nvGrpSpPr>
        <p:grpSpPr bwMode="gray">
          <a:xfrm>
            <a:off x="4362673" y="2869809"/>
            <a:ext cx="745550" cy="1501843"/>
            <a:chOff x="4362673" y="2666617"/>
            <a:chExt cx="745550" cy="1501843"/>
          </a:xfrm>
        </p:grpSpPr>
        <p:sp>
          <p:nvSpPr>
            <p:cNvPr id="640" name="Freeform: Shape 639">
              <a:extLst>
                <a:ext uri="{FF2B5EF4-FFF2-40B4-BE49-F238E27FC236}">
                  <a16:creationId xmlns:a16="http://schemas.microsoft.com/office/drawing/2014/main" id="{0B6E0817-EF26-46F1-BB80-B3B64E420D6E}"/>
                </a:ext>
              </a:extLst>
            </p:cNvPr>
            <p:cNvSpPr/>
            <p:nvPr/>
          </p:nvSpPr>
          <p:spPr bwMode="gray">
            <a:xfrm flipH="1">
              <a:off x="4362673" y="2666617"/>
              <a:ext cx="745550" cy="1501843"/>
            </a:xfrm>
            <a:custGeom>
              <a:avLst/>
              <a:gdLst>
                <a:gd name="connsiteX0" fmla="*/ 482725 w 745550"/>
                <a:gd name="connsiteY0" fmla="*/ 0 h 1501843"/>
                <a:gd name="connsiteX1" fmla="*/ 262825 w 745550"/>
                <a:gd name="connsiteY1" fmla="*/ 0 h 1501843"/>
                <a:gd name="connsiteX2" fmla="*/ 262825 w 745550"/>
                <a:gd name="connsiteY2" fmla="*/ 1 h 1501843"/>
                <a:gd name="connsiteX3" fmla="*/ 211800 w 745550"/>
                <a:gd name="connsiteY3" fmla="*/ 1 h 1501843"/>
                <a:gd name="connsiteX4" fmla="*/ 211800 w 745550"/>
                <a:gd name="connsiteY4" fmla="*/ 556857 h 1501843"/>
                <a:gd name="connsiteX5" fmla="*/ 0 w 745550"/>
                <a:gd name="connsiteY5" fmla="*/ 734935 h 1501843"/>
                <a:gd name="connsiteX6" fmla="*/ 0 w 745550"/>
                <a:gd name="connsiteY6" fmla="*/ 1501843 h 1501843"/>
                <a:gd name="connsiteX7" fmla="*/ 745550 w 745550"/>
                <a:gd name="connsiteY7" fmla="*/ 1501843 h 1501843"/>
                <a:gd name="connsiteX8" fmla="*/ 745550 w 745550"/>
                <a:gd name="connsiteY8" fmla="*/ 734935 h 1501843"/>
                <a:gd name="connsiteX9" fmla="*/ 533750 w 745550"/>
                <a:gd name="connsiteY9" fmla="*/ 556857 h 1501843"/>
                <a:gd name="connsiteX10" fmla="*/ 533750 w 745550"/>
                <a:gd name="connsiteY10" fmla="*/ 1 h 1501843"/>
                <a:gd name="connsiteX11" fmla="*/ 482725 w 745550"/>
                <a:gd name="connsiteY11" fmla="*/ 1 h 150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5550" h="1501843">
                  <a:moveTo>
                    <a:pt x="482725" y="0"/>
                  </a:moveTo>
                  <a:lnTo>
                    <a:pt x="262825" y="0"/>
                  </a:lnTo>
                  <a:lnTo>
                    <a:pt x="262825" y="1"/>
                  </a:lnTo>
                  <a:lnTo>
                    <a:pt x="211800" y="1"/>
                  </a:lnTo>
                  <a:lnTo>
                    <a:pt x="211800" y="556857"/>
                  </a:lnTo>
                  <a:lnTo>
                    <a:pt x="0" y="734935"/>
                  </a:lnTo>
                  <a:lnTo>
                    <a:pt x="0" y="1501843"/>
                  </a:lnTo>
                  <a:lnTo>
                    <a:pt x="745550" y="1501843"/>
                  </a:lnTo>
                  <a:lnTo>
                    <a:pt x="745550" y="734935"/>
                  </a:lnTo>
                  <a:lnTo>
                    <a:pt x="533750" y="556857"/>
                  </a:lnTo>
                  <a:lnTo>
                    <a:pt x="533750" y="1"/>
                  </a:lnTo>
                  <a:lnTo>
                    <a:pt x="482725" y="1"/>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endParaRPr lang="de-DE" sz="1000" dirty="0">
                <a:solidFill>
                  <a:schemeClr val="tx1"/>
                </a:solidFill>
              </a:endParaRPr>
            </a:p>
          </p:txBody>
        </p:sp>
        <p:grpSp>
          <p:nvGrpSpPr>
            <p:cNvPr id="645" name="Group 644">
              <a:extLst>
                <a:ext uri="{FF2B5EF4-FFF2-40B4-BE49-F238E27FC236}">
                  <a16:creationId xmlns:a16="http://schemas.microsoft.com/office/drawing/2014/main" id="{FE6704A0-AF32-48B0-B131-3A3F88B68FA3}"/>
                </a:ext>
              </a:extLst>
            </p:cNvPr>
            <p:cNvGrpSpPr/>
            <p:nvPr/>
          </p:nvGrpSpPr>
          <p:grpSpPr bwMode="gray">
            <a:xfrm>
              <a:off x="4362673" y="3486378"/>
              <a:ext cx="745550" cy="570785"/>
              <a:chOff x="8596910" y="2237608"/>
              <a:chExt cx="511395" cy="570785"/>
            </a:xfrm>
          </p:grpSpPr>
          <p:sp>
            <p:nvSpPr>
              <p:cNvPr id="641" name="Freeform: Shape 640">
                <a:extLst>
                  <a:ext uri="{FF2B5EF4-FFF2-40B4-BE49-F238E27FC236}">
                    <a16:creationId xmlns:a16="http://schemas.microsoft.com/office/drawing/2014/main" id="{99C9EC40-8FAD-4E3A-8A81-148FD388608E}"/>
                  </a:ext>
                </a:extLst>
              </p:cNvPr>
              <p:cNvSpPr/>
              <p:nvPr/>
            </p:nvSpPr>
            <p:spPr bwMode="gray">
              <a:xfrm flipH="1">
                <a:off x="8596910" y="2237608"/>
                <a:ext cx="130395" cy="570785"/>
              </a:xfrm>
              <a:custGeom>
                <a:avLst/>
                <a:gdLst>
                  <a:gd name="connsiteX0" fmla="*/ 482725 w 745550"/>
                  <a:gd name="connsiteY0" fmla="*/ 0 h 1501843"/>
                  <a:gd name="connsiteX1" fmla="*/ 262825 w 745550"/>
                  <a:gd name="connsiteY1" fmla="*/ 0 h 1501843"/>
                  <a:gd name="connsiteX2" fmla="*/ 262825 w 745550"/>
                  <a:gd name="connsiteY2" fmla="*/ 1 h 1501843"/>
                  <a:gd name="connsiteX3" fmla="*/ 211800 w 745550"/>
                  <a:gd name="connsiteY3" fmla="*/ 1 h 1501843"/>
                  <a:gd name="connsiteX4" fmla="*/ 211800 w 745550"/>
                  <a:gd name="connsiteY4" fmla="*/ 556857 h 1501843"/>
                  <a:gd name="connsiteX5" fmla="*/ 0 w 745550"/>
                  <a:gd name="connsiteY5" fmla="*/ 734935 h 1501843"/>
                  <a:gd name="connsiteX6" fmla="*/ 0 w 745550"/>
                  <a:gd name="connsiteY6" fmla="*/ 1501843 h 1501843"/>
                  <a:gd name="connsiteX7" fmla="*/ 745550 w 745550"/>
                  <a:gd name="connsiteY7" fmla="*/ 1501843 h 1501843"/>
                  <a:gd name="connsiteX8" fmla="*/ 745550 w 745550"/>
                  <a:gd name="connsiteY8" fmla="*/ 734935 h 1501843"/>
                  <a:gd name="connsiteX9" fmla="*/ 533750 w 745550"/>
                  <a:gd name="connsiteY9" fmla="*/ 556857 h 1501843"/>
                  <a:gd name="connsiteX10" fmla="*/ 533750 w 745550"/>
                  <a:gd name="connsiteY10" fmla="*/ 1 h 1501843"/>
                  <a:gd name="connsiteX11" fmla="*/ 482725 w 745550"/>
                  <a:gd name="connsiteY11" fmla="*/ 1 h 1501843"/>
                  <a:gd name="connsiteX0" fmla="*/ 482725 w 745550"/>
                  <a:gd name="connsiteY0" fmla="*/ 0 h 1501843"/>
                  <a:gd name="connsiteX1" fmla="*/ 262825 w 745550"/>
                  <a:gd name="connsiteY1" fmla="*/ 0 h 1501843"/>
                  <a:gd name="connsiteX2" fmla="*/ 262825 w 745550"/>
                  <a:gd name="connsiteY2" fmla="*/ 1 h 1501843"/>
                  <a:gd name="connsiteX3" fmla="*/ 211800 w 745550"/>
                  <a:gd name="connsiteY3" fmla="*/ 556857 h 1501843"/>
                  <a:gd name="connsiteX4" fmla="*/ 0 w 745550"/>
                  <a:gd name="connsiteY4" fmla="*/ 734935 h 1501843"/>
                  <a:gd name="connsiteX5" fmla="*/ 0 w 745550"/>
                  <a:gd name="connsiteY5" fmla="*/ 1501843 h 1501843"/>
                  <a:gd name="connsiteX6" fmla="*/ 745550 w 745550"/>
                  <a:gd name="connsiteY6" fmla="*/ 1501843 h 1501843"/>
                  <a:gd name="connsiteX7" fmla="*/ 745550 w 745550"/>
                  <a:gd name="connsiteY7" fmla="*/ 734935 h 1501843"/>
                  <a:gd name="connsiteX8" fmla="*/ 533750 w 745550"/>
                  <a:gd name="connsiteY8" fmla="*/ 556857 h 1501843"/>
                  <a:gd name="connsiteX9" fmla="*/ 533750 w 745550"/>
                  <a:gd name="connsiteY9" fmla="*/ 1 h 1501843"/>
                  <a:gd name="connsiteX10" fmla="*/ 482725 w 745550"/>
                  <a:gd name="connsiteY10" fmla="*/ 1 h 1501843"/>
                  <a:gd name="connsiteX11" fmla="*/ 482725 w 745550"/>
                  <a:gd name="connsiteY11" fmla="*/ 0 h 1501843"/>
                  <a:gd name="connsiteX0" fmla="*/ 482725 w 745550"/>
                  <a:gd name="connsiteY0" fmla="*/ 0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8" fmla="*/ 533750 w 745550"/>
                  <a:gd name="connsiteY8" fmla="*/ 1 h 1501843"/>
                  <a:gd name="connsiteX9" fmla="*/ 482725 w 745550"/>
                  <a:gd name="connsiteY9" fmla="*/ 1 h 1501843"/>
                  <a:gd name="connsiteX10" fmla="*/ 482725 w 745550"/>
                  <a:gd name="connsiteY10" fmla="*/ 0 h 1501843"/>
                  <a:gd name="connsiteX0" fmla="*/ 482725 w 745550"/>
                  <a:gd name="connsiteY0" fmla="*/ 1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8" fmla="*/ 533750 w 745550"/>
                  <a:gd name="connsiteY8" fmla="*/ 1 h 1501843"/>
                  <a:gd name="connsiteX9" fmla="*/ 482725 w 745550"/>
                  <a:gd name="connsiteY9" fmla="*/ 1 h 1501843"/>
                  <a:gd name="connsiteX0" fmla="*/ 533750 w 745550"/>
                  <a:gd name="connsiteY0" fmla="*/ 1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8" fmla="*/ 533750 w 745550"/>
                  <a:gd name="connsiteY8" fmla="*/ 1 h 1501843"/>
                  <a:gd name="connsiteX0" fmla="*/ 533750 w 745550"/>
                  <a:gd name="connsiteY0" fmla="*/ 556857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0" fmla="*/ 533750 w 745550"/>
                  <a:gd name="connsiteY0" fmla="*/ 0 h 944986"/>
                  <a:gd name="connsiteX1" fmla="*/ 211800 w 745550"/>
                  <a:gd name="connsiteY1" fmla="*/ 0 h 944986"/>
                  <a:gd name="connsiteX2" fmla="*/ 0 w 745550"/>
                  <a:gd name="connsiteY2" fmla="*/ 178078 h 944986"/>
                  <a:gd name="connsiteX3" fmla="*/ 0 w 745550"/>
                  <a:gd name="connsiteY3" fmla="*/ 944986 h 944986"/>
                  <a:gd name="connsiteX4" fmla="*/ 745550 w 745550"/>
                  <a:gd name="connsiteY4" fmla="*/ 944986 h 944986"/>
                  <a:gd name="connsiteX5" fmla="*/ 745550 w 745550"/>
                  <a:gd name="connsiteY5" fmla="*/ 178078 h 944986"/>
                  <a:gd name="connsiteX6" fmla="*/ 533750 w 745550"/>
                  <a:gd name="connsiteY6" fmla="*/ 0 h 944986"/>
                  <a:gd name="connsiteX0" fmla="*/ 533750 w 745550"/>
                  <a:gd name="connsiteY0" fmla="*/ 0 h 944986"/>
                  <a:gd name="connsiteX1" fmla="*/ 0 w 745550"/>
                  <a:gd name="connsiteY1" fmla="*/ 178078 h 944986"/>
                  <a:gd name="connsiteX2" fmla="*/ 0 w 745550"/>
                  <a:gd name="connsiteY2" fmla="*/ 944986 h 944986"/>
                  <a:gd name="connsiteX3" fmla="*/ 745550 w 745550"/>
                  <a:gd name="connsiteY3" fmla="*/ 944986 h 944986"/>
                  <a:gd name="connsiteX4" fmla="*/ 745550 w 745550"/>
                  <a:gd name="connsiteY4" fmla="*/ 178078 h 944986"/>
                  <a:gd name="connsiteX5" fmla="*/ 533750 w 745550"/>
                  <a:gd name="connsiteY5" fmla="*/ 0 h 944986"/>
                  <a:gd name="connsiteX0" fmla="*/ 745550 w 745550"/>
                  <a:gd name="connsiteY0" fmla="*/ 0 h 766908"/>
                  <a:gd name="connsiteX1" fmla="*/ 0 w 745550"/>
                  <a:gd name="connsiteY1" fmla="*/ 0 h 766908"/>
                  <a:gd name="connsiteX2" fmla="*/ 0 w 745550"/>
                  <a:gd name="connsiteY2" fmla="*/ 766908 h 766908"/>
                  <a:gd name="connsiteX3" fmla="*/ 745550 w 745550"/>
                  <a:gd name="connsiteY3" fmla="*/ 766908 h 766908"/>
                  <a:gd name="connsiteX4" fmla="*/ 745550 w 745550"/>
                  <a:gd name="connsiteY4" fmla="*/ 0 h 766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550" h="766908">
                    <a:moveTo>
                      <a:pt x="745550" y="0"/>
                    </a:moveTo>
                    <a:lnTo>
                      <a:pt x="0" y="0"/>
                    </a:lnTo>
                    <a:lnTo>
                      <a:pt x="0" y="766908"/>
                    </a:lnTo>
                    <a:lnTo>
                      <a:pt x="745550" y="766908"/>
                    </a:lnTo>
                    <a:lnTo>
                      <a:pt x="745550" y="0"/>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endParaRPr lang="de-DE" sz="1000" dirty="0">
                  <a:solidFill>
                    <a:schemeClr val="tx1"/>
                  </a:solidFill>
                </a:endParaRPr>
              </a:p>
            </p:txBody>
          </p:sp>
          <p:sp>
            <p:nvSpPr>
              <p:cNvPr id="642" name="Freeform: Shape 641">
                <a:extLst>
                  <a:ext uri="{FF2B5EF4-FFF2-40B4-BE49-F238E27FC236}">
                    <a16:creationId xmlns:a16="http://schemas.microsoft.com/office/drawing/2014/main" id="{A7ED703E-26A9-4F67-A0F8-BF507616FB90}"/>
                  </a:ext>
                </a:extLst>
              </p:cNvPr>
              <p:cNvSpPr/>
              <p:nvPr/>
            </p:nvSpPr>
            <p:spPr bwMode="gray">
              <a:xfrm flipH="1">
                <a:off x="8723910" y="2237608"/>
                <a:ext cx="130395" cy="570785"/>
              </a:xfrm>
              <a:custGeom>
                <a:avLst/>
                <a:gdLst>
                  <a:gd name="connsiteX0" fmla="*/ 482725 w 745550"/>
                  <a:gd name="connsiteY0" fmla="*/ 0 h 1501843"/>
                  <a:gd name="connsiteX1" fmla="*/ 262825 w 745550"/>
                  <a:gd name="connsiteY1" fmla="*/ 0 h 1501843"/>
                  <a:gd name="connsiteX2" fmla="*/ 262825 w 745550"/>
                  <a:gd name="connsiteY2" fmla="*/ 1 h 1501843"/>
                  <a:gd name="connsiteX3" fmla="*/ 211800 w 745550"/>
                  <a:gd name="connsiteY3" fmla="*/ 1 h 1501843"/>
                  <a:gd name="connsiteX4" fmla="*/ 211800 w 745550"/>
                  <a:gd name="connsiteY4" fmla="*/ 556857 h 1501843"/>
                  <a:gd name="connsiteX5" fmla="*/ 0 w 745550"/>
                  <a:gd name="connsiteY5" fmla="*/ 734935 h 1501843"/>
                  <a:gd name="connsiteX6" fmla="*/ 0 w 745550"/>
                  <a:gd name="connsiteY6" fmla="*/ 1501843 h 1501843"/>
                  <a:gd name="connsiteX7" fmla="*/ 745550 w 745550"/>
                  <a:gd name="connsiteY7" fmla="*/ 1501843 h 1501843"/>
                  <a:gd name="connsiteX8" fmla="*/ 745550 w 745550"/>
                  <a:gd name="connsiteY8" fmla="*/ 734935 h 1501843"/>
                  <a:gd name="connsiteX9" fmla="*/ 533750 w 745550"/>
                  <a:gd name="connsiteY9" fmla="*/ 556857 h 1501843"/>
                  <a:gd name="connsiteX10" fmla="*/ 533750 w 745550"/>
                  <a:gd name="connsiteY10" fmla="*/ 1 h 1501843"/>
                  <a:gd name="connsiteX11" fmla="*/ 482725 w 745550"/>
                  <a:gd name="connsiteY11" fmla="*/ 1 h 1501843"/>
                  <a:gd name="connsiteX0" fmla="*/ 482725 w 745550"/>
                  <a:gd name="connsiteY0" fmla="*/ 0 h 1501843"/>
                  <a:gd name="connsiteX1" fmla="*/ 262825 w 745550"/>
                  <a:gd name="connsiteY1" fmla="*/ 0 h 1501843"/>
                  <a:gd name="connsiteX2" fmla="*/ 262825 w 745550"/>
                  <a:gd name="connsiteY2" fmla="*/ 1 h 1501843"/>
                  <a:gd name="connsiteX3" fmla="*/ 211800 w 745550"/>
                  <a:gd name="connsiteY3" fmla="*/ 556857 h 1501843"/>
                  <a:gd name="connsiteX4" fmla="*/ 0 w 745550"/>
                  <a:gd name="connsiteY4" fmla="*/ 734935 h 1501843"/>
                  <a:gd name="connsiteX5" fmla="*/ 0 w 745550"/>
                  <a:gd name="connsiteY5" fmla="*/ 1501843 h 1501843"/>
                  <a:gd name="connsiteX6" fmla="*/ 745550 w 745550"/>
                  <a:gd name="connsiteY6" fmla="*/ 1501843 h 1501843"/>
                  <a:gd name="connsiteX7" fmla="*/ 745550 w 745550"/>
                  <a:gd name="connsiteY7" fmla="*/ 734935 h 1501843"/>
                  <a:gd name="connsiteX8" fmla="*/ 533750 w 745550"/>
                  <a:gd name="connsiteY8" fmla="*/ 556857 h 1501843"/>
                  <a:gd name="connsiteX9" fmla="*/ 533750 w 745550"/>
                  <a:gd name="connsiteY9" fmla="*/ 1 h 1501843"/>
                  <a:gd name="connsiteX10" fmla="*/ 482725 w 745550"/>
                  <a:gd name="connsiteY10" fmla="*/ 1 h 1501843"/>
                  <a:gd name="connsiteX11" fmla="*/ 482725 w 745550"/>
                  <a:gd name="connsiteY11" fmla="*/ 0 h 1501843"/>
                  <a:gd name="connsiteX0" fmla="*/ 482725 w 745550"/>
                  <a:gd name="connsiteY0" fmla="*/ 0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8" fmla="*/ 533750 w 745550"/>
                  <a:gd name="connsiteY8" fmla="*/ 1 h 1501843"/>
                  <a:gd name="connsiteX9" fmla="*/ 482725 w 745550"/>
                  <a:gd name="connsiteY9" fmla="*/ 1 h 1501843"/>
                  <a:gd name="connsiteX10" fmla="*/ 482725 w 745550"/>
                  <a:gd name="connsiteY10" fmla="*/ 0 h 1501843"/>
                  <a:gd name="connsiteX0" fmla="*/ 482725 w 745550"/>
                  <a:gd name="connsiteY0" fmla="*/ 1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8" fmla="*/ 533750 w 745550"/>
                  <a:gd name="connsiteY8" fmla="*/ 1 h 1501843"/>
                  <a:gd name="connsiteX9" fmla="*/ 482725 w 745550"/>
                  <a:gd name="connsiteY9" fmla="*/ 1 h 1501843"/>
                  <a:gd name="connsiteX0" fmla="*/ 533750 w 745550"/>
                  <a:gd name="connsiteY0" fmla="*/ 1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8" fmla="*/ 533750 w 745550"/>
                  <a:gd name="connsiteY8" fmla="*/ 1 h 1501843"/>
                  <a:gd name="connsiteX0" fmla="*/ 533750 w 745550"/>
                  <a:gd name="connsiteY0" fmla="*/ 556857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0" fmla="*/ 533750 w 745550"/>
                  <a:gd name="connsiteY0" fmla="*/ 0 h 944986"/>
                  <a:gd name="connsiteX1" fmla="*/ 211800 w 745550"/>
                  <a:gd name="connsiteY1" fmla="*/ 0 h 944986"/>
                  <a:gd name="connsiteX2" fmla="*/ 0 w 745550"/>
                  <a:gd name="connsiteY2" fmla="*/ 178078 h 944986"/>
                  <a:gd name="connsiteX3" fmla="*/ 0 w 745550"/>
                  <a:gd name="connsiteY3" fmla="*/ 944986 h 944986"/>
                  <a:gd name="connsiteX4" fmla="*/ 745550 w 745550"/>
                  <a:gd name="connsiteY4" fmla="*/ 944986 h 944986"/>
                  <a:gd name="connsiteX5" fmla="*/ 745550 w 745550"/>
                  <a:gd name="connsiteY5" fmla="*/ 178078 h 944986"/>
                  <a:gd name="connsiteX6" fmla="*/ 533750 w 745550"/>
                  <a:gd name="connsiteY6" fmla="*/ 0 h 944986"/>
                  <a:gd name="connsiteX0" fmla="*/ 533750 w 745550"/>
                  <a:gd name="connsiteY0" fmla="*/ 0 h 944986"/>
                  <a:gd name="connsiteX1" fmla="*/ 0 w 745550"/>
                  <a:gd name="connsiteY1" fmla="*/ 178078 h 944986"/>
                  <a:gd name="connsiteX2" fmla="*/ 0 w 745550"/>
                  <a:gd name="connsiteY2" fmla="*/ 944986 h 944986"/>
                  <a:gd name="connsiteX3" fmla="*/ 745550 w 745550"/>
                  <a:gd name="connsiteY3" fmla="*/ 944986 h 944986"/>
                  <a:gd name="connsiteX4" fmla="*/ 745550 w 745550"/>
                  <a:gd name="connsiteY4" fmla="*/ 178078 h 944986"/>
                  <a:gd name="connsiteX5" fmla="*/ 533750 w 745550"/>
                  <a:gd name="connsiteY5" fmla="*/ 0 h 944986"/>
                  <a:gd name="connsiteX0" fmla="*/ 745550 w 745550"/>
                  <a:gd name="connsiteY0" fmla="*/ 0 h 766908"/>
                  <a:gd name="connsiteX1" fmla="*/ 0 w 745550"/>
                  <a:gd name="connsiteY1" fmla="*/ 0 h 766908"/>
                  <a:gd name="connsiteX2" fmla="*/ 0 w 745550"/>
                  <a:gd name="connsiteY2" fmla="*/ 766908 h 766908"/>
                  <a:gd name="connsiteX3" fmla="*/ 745550 w 745550"/>
                  <a:gd name="connsiteY3" fmla="*/ 766908 h 766908"/>
                  <a:gd name="connsiteX4" fmla="*/ 745550 w 745550"/>
                  <a:gd name="connsiteY4" fmla="*/ 0 h 766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550" h="766908">
                    <a:moveTo>
                      <a:pt x="745550" y="0"/>
                    </a:moveTo>
                    <a:lnTo>
                      <a:pt x="0" y="0"/>
                    </a:lnTo>
                    <a:lnTo>
                      <a:pt x="0" y="766908"/>
                    </a:lnTo>
                    <a:lnTo>
                      <a:pt x="745550" y="766908"/>
                    </a:lnTo>
                    <a:lnTo>
                      <a:pt x="745550" y="0"/>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endParaRPr lang="de-DE" sz="1000" dirty="0">
                  <a:solidFill>
                    <a:schemeClr val="tx1"/>
                  </a:solidFill>
                </a:endParaRPr>
              </a:p>
            </p:txBody>
          </p:sp>
          <p:sp>
            <p:nvSpPr>
              <p:cNvPr id="643" name="Freeform: Shape 642">
                <a:extLst>
                  <a:ext uri="{FF2B5EF4-FFF2-40B4-BE49-F238E27FC236}">
                    <a16:creationId xmlns:a16="http://schemas.microsoft.com/office/drawing/2014/main" id="{0755E699-3E50-4793-9F87-07A86131A85B}"/>
                  </a:ext>
                </a:extLst>
              </p:cNvPr>
              <p:cNvSpPr/>
              <p:nvPr/>
            </p:nvSpPr>
            <p:spPr bwMode="gray">
              <a:xfrm flipH="1">
                <a:off x="8850910" y="2237608"/>
                <a:ext cx="130395" cy="570785"/>
              </a:xfrm>
              <a:custGeom>
                <a:avLst/>
                <a:gdLst>
                  <a:gd name="connsiteX0" fmla="*/ 482725 w 745550"/>
                  <a:gd name="connsiteY0" fmla="*/ 0 h 1501843"/>
                  <a:gd name="connsiteX1" fmla="*/ 262825 w 745550"/>
                  <a:gd name="connsiteY1" fmla="*/ 0 h 1501843"/>
                  <a:gd name="connsiteX2" fmla="*/ 262825 w 745550"/>
                  <a:gd name="connsiteY2" fmla="*/ 1 h 1501843"/>
                  <a:gd name="connsiteX3" fmla="*/ 211800 w 745550"/>
                  <a:gd name="connsiteY3" fmla="*/ 1 h 1501843"/>
                  <a:gd name="connsiteX4" fmla="*/ 211800 w 745550"/>
                  <a:gd name="connsiteY4" fmla="*/ 556857 h 1501843"/>
                  <a:gd name="connsiteX5" fmla="*/ 0 w 745550"/>
                  <a:gd name="connsiteY5" fmla="*/ 734935 h 1501843"/>
                  <a:gd name="connsiteX6" fmla="*/ 0 w 745550"/>
                  <a:gd name="connsiteY6" fmla="*/ 1501843 h 1501843"/>
                  <a:gd name="connsiteX7" fmla="*/ 745550 w 745550"/>
                  <a:gd name="connsiteY7" fmla="*/ 1501843 h 1501843"/>
                  <a:gd name="connsiteX8" fmla="*/ 745550 w 745550"/>
                  <a:gd name="connsiteY8" fmla="*/ 734935 h 1501843"/>
                  <a:gd name="connsiteX9" fmla="*/ 533750 w 745550"/>
                  <a:gd name="connsiteY9" fmla="*/ 556857 h 1501843"/>
                  <a:gd name="connsiteX10" fmla="*/ 533750 w 745550"/>
                  <a:gd name="connsiteY10" fmla="*/ 1 h 1501843"/>
                  <a:gd name="connsiteX11" fmla="*/ 482725 w 745550"/>
                  <a:gd name="connsiteY11" fmla="*/ 1 h 1501843"/>
                  <a:gd name="connsiteX0" fmla="*/ 482725 w 745550"/>
                  <a:gd name="connsiteY0" fmla="*/ 0 h 1501843"/>
                  <a:gd name="connsiteX1" fmla="*/ 262825 w 745550"/>
                  <a:gd name="connsiteY1" fmla="*/ 0 h 1501843"/>
                  <a:gd name="connsiteX2" fmla="*/ 262825 w 745550"/>
                  <a:gd name="connsiteY2" fmla="*/ 1 h 1501843"/>
                  <a:gd name="connsiteX3" fmla="*/ 211800 w 745550"/>
                  <a:gd name="connsiteY3" fmla="*/ 556857 h 1501843"/>
                  <a:gd name="connsiteX4" fmla="*/ 0 w 745550"/>
                  <a:gd name="connsiteY4" fmla="*/ 734935 h 1501843"/>
                  <a:gd name="connsiteX5" fmla="*/ 0 w 745550"/>
                  <a:gd name="connsiteY5" fmla="*/ 1501843 h 1501843"/>
                  <a:gd name="connsiteX6" fmla="*/ 745550 w 745550"/>
                  <a:gd name="connsiteY6" fmla="*/ 1501843 h 1501843"/>
                  <a:gd name="connsiteX7" fmla="*/ 745550 w 745550"/>
                  <a:gd name="connsiteY7" fmla="*/ 734935 h 1501843"/>
                  <a:gd name="connsiteX8" fmla="*/ 533750 w 745550"/>
                  <a:gd name="connsiteY8" fmla="*/ 556857 h 1501843"/>
                  <a:gd name="connsiteX9" fmla="*/ 533750 w 745550"/>
                  <a:gd name="connsiteY9" fmla="*/ 1 h 1501843"/>
                  <a:gd name="connsiteX10" fmla="*/ 482725 w 745550"/>
                  <a:gd name="connsiteY10" fmla="*/ 1 h 1501843"/>
                  <a:gd name="connsiteX11" fmla="*/ 482725 w 745550"/>
                  <a:gd name="connsiteY11" fmla="*/ 0 h 1501843"/>
                  <a:gd name="connsiteX0" fmla="*/ 482725 w 745550"/>
                  <a:gd name="connsiteY0" fmla="*/ 0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8" fmla="*/ 533750 w 745550"/>
                  <a:gd name="connsiteY8" fmla="*/ 1 h 1501843"/>
                  <a:gd name="connsiteX9" fmla="*/ 482725 w 745550"/>
                  <a:gd name="connsiteY9" fmla="*/ 1 h 1501843"/>
                  <a:gd name="connsiteX10" fmla="*/ 482725 w 745550"/>
                  <a:gd name="connsiteY10" fmla="*/ 0 h 1501843"/>
                  <a:gd name="connsiteX0" fmla="*/ 482725 w 745550"/>
                  <a:gd name="connsiteY0" fmla="*/ 1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8" fmla="*/ 533750 w 745550"/>
                  <a:gd name="connsiteY8" fmla="*/ 1 h 1501843"/>
                  <a:gd name="connsiteX9" fmla="*/ 482725 w 745550"/>
                  <a:gd name="connsiteY9" fmla="*/ 1 h 1501843"/>
                  <a:gd name="connsiteX0" fmla="*/ 533750 w 745550"/>
                  <a:gd name="connsiteY0" fmla="*/ 1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8" fmla="*/ 533750 w 745550"/>
                  <a:gd name="connsiteY8" fmla="*/ 1 h 1501843"/>
                  <a:gd name="connsiteX0" fmla="*/ 533750 w 745550"/>
                  <a:gd name="connsiteY0" fmla="*/ 556857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0" fmla="*/ 533750 w 745550"/>
                  <a:gd name="connsiteY0" fmla="*/ 0 h 944986"/>
                  <a:gd name="connsiteX1" fmla="*/ 211800 w 745550"/>
                  <a:gd name="connsiteY1" fmla="*/ 0 h 944986"/>
                  <a:gd name="connsiteX2" fmla="*/ 0 w 745550"/>
                  <a:gd name="connsiteY2" fmla="*/ 178078 h 944986"/>
                  <a:gd name="connsiteX3" fmla="*/ 0 w 745550"/>
                  <a:gd name="connsiteY3" fmla="*/ 944986 h 944986"/>
                  <a:gd name="connsiteX4" fmla="*/ 745550 w 745550"/>
                  <a:gd name="connsiteY4" fmla="*/ 944986 h 944986"/>
                  <a:gd name="connsiteX5" fmla="*/ 745550 w 745550"/>
                  <a:gd name="connsiteY5" fmla="*/ 178078 h 944986"/>
                  <a:gd name="connsiteX6" fmla="*/ 533750 w 745550"/>
                  <a:gd name="connsiteY6" fmla="*/ 0 h 944986"/>
                  <a:gd name="connsiteX0" fmla="*/ 533750 w 745550"/>
                  <a:gd name="connsiteY0" fmla="*/ 0 h 944986"/>
                  <a:gd name="connsiteX1" fmla="*/ 0 w 745550"/>
                  <a:gd name="connsiteY1" fmla="*/ 178078 h 944986"/>
                  <a:gd name="connsiteX2" fmla="*/ 0 w 745550"/>
                  <a:gd name="connsiteY2" fmla="*/ 944986 h 944986"/>
                  <a:gd name="connsiteX3" fmla="*/ 745550 w 745550"/>
                  <a:gd name="connsiteY3" fmla="*/ 944986 h 944986"/>
                  <a:gd name="connsiteX4" fmla="*/ 745550 w 745550"/>
                  <a:gd name="connsiteY4" fmla="*/ 178078 h 944986"/>
                  <a:gd name="connsiteX5" fmla="*/ 533750 w 745550"/>
                  <a:gd name="connsiteY5" fmla="*/ 0 h 944986"/>
                  <a:gd name="connsiteX0" fmla="*/ 745550 w 745550"/>
                  <a:gd name="connsiteY0" fmla="*/ 0 h 766908"/>
                  <a:gd name="connsiteX1" fmla="*/ 0 w 745550"/>
                  <a:gd name="connsiteY1" fmla="*/ 0 h 766908"/>
                  <a:gd name="connsiteX2" fmla="*/ 0 w 745550"/>
                  <a:gd name="connsiteY2" fmla="*/ 766908 h 766908"/>
                  <a:gd name="connsiteX3" fmla="*/ 745550 w 745550"/>
                  <a:gd name="connsiteY3" fmla="*/ 766908 h 766908"/>
                  <a:gd name="connsiteX4" fmla="*/ 745550 w 745550"/>
                  <a:gd name="connsiteY4" fmla="*/ 0 h 766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550" h="766908">
                    <a:moveTo>
                      <a:pt x="745550" y="0"/>
                    </a:moveTo>
                    <a:lnTo>
                      <a:pt x="0" y="0"/>
                    </a:lnTo>
                    <a:lnTo>
                      <a:pt x="0" y="766908"/>
                    </a:lnTo>
                    <a:lnTo>
                      <a:pt x="745550" y="766908"/>
                    </a:lnTo>
                    <a:lnTo>
                      <a:pt x="745550" y="0"/>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endParaRPr lang="de-DE" sz="1000" dirty="0">
                  <a:solidFill>
                    <a:schemeClr val="tx1"/>
                  </a:solidFill>
                </a:endParaRPr>
              </a:p>
            </p:txBody>
          </p:sp>
          <p:sp>
            <p:nvSpPr>
              <p:cNvPr id="644" name="Freeform: Shape 643">
                <a:extLst>
                  <a:ext uri="{FF2B5EF4-FFF2-40B4-BE49-F238E27FC236}">
                    <a16:creationId xmlns:a16="http://schemas.microsoft.com/office/drawing/2014/main" id="{008F822A-9160-437D-A6EF-48C3B419618A}"/>
                  </a:ext>
                </a:extLst>
              </p:cNvPr>
              <p:cNvSpPr/>
              <p:nvPr/>
            </p:nvSpPr>
            <p:spPr bwMode="gray">
              <a:xfrm flipH="1">
                <a:off x="8977910" y="2237608"/>
                <a:ext cx="130395" cy="570785"/>
              </a:xfrm>
              <a:custGeom>
                <a:avLst/>
                <a:gdLst>
                  <a:gd name="connsiteX0" fmla="*/ 482725 w 745550"/>
                  <a:gd name="connsiteY0" fmla="*/ 0 h 1501843"/>
                  <a:gd name="connsiteX1" fmla="*/ 262825 w 745550"/>
                  <a:gd name="connsiteY1" fmla="*/ 0 h 1501843"/>
                  <a:gd name="connsiteX2" fmla="*/ 262825 w 745550"/>
                  <a:gd name="connsiteY2" fmla="*/ 1 h 1501843"/>
                  <a:gd name="connsiteX3" fmla="*/ 211800 w 745550"/>
                  <a:gd name="connsiteY3" fmla="*/ 1 h 1501843"/>
                  <a:gd name="connsiteX4" fmla="*/ 211800 w 745550"/>
                  <a:gd name="connsiteY4" fmla="*/ 556857 h 1501843"/>
                  <a:gd name="connsiteX5" fmla="*/ 0 w 745550"/>
                  <a:gd name="connsiteY5" fmla="*/ 734935 h 1501843"/>
                  <a:gd name="connsiteX6" fmla="*/ 0 w 745550"/>
                  <a:gd name="connsiteY6" fmla="*/ 1501843 h 1501843"/>
                  <a:gd name="connsiteX7" fmla="*/ 745550 w 745550"/>
                  <a:gd name="connsiteY7" fmla="*/ 1501843 h 1501843"/>
                  <a:gd name="connsiteX8" fmla="*/ 745550 w 745550"/>
                  <a:gd name="connsiteY8" fmla="*/ 734935 h 1501843"/>
                  <a:gd name="connsiteX9" fmla="*/ 533750 w 745550"/>
                  <a:gd name="connsiteY9" fmla="*/ 556857 h 1501843"/>
                  <a:gd name="connsiteX10" fmla="*/ 533750 w 745550"/>
                  <a:gd name="connsiteY10" fmla="*/ 1 h 1501843"/>
                  <a:gd name="connsiteX11" fmla="*/ 482725 w 745550"/>
                  <a:gd name="connsiteY11" fmla="*/ 1 h 1501843"/>
                  <a:gd name="connsiteX0" fmla="*/ 482725 w 745550"/>
                  <a:gd name="connsiteY0" fmla="*/ 0 h 1501843"/>
                  <a:gd name="connsiteX1" fmla="*/ 262825 w 745550"/>
                  <a:gd name="connsiteY1" fmla="*/ 0 h 1501843"/>
                  <a:gd name="connsiteX2" fmla="*/ 262825 w 745550"/>
                  <a:gd name="connsiteY2" fmla="*/ 1 h 1501843"/>
                  <a:gd name="connsiteX3" fmla="*/ 211800 w 745550"/>
                  <a:gd name="connsiteY3" fmla="*/ 556857 h 1501843"/>
                  <a:gd name="connsiteX4" fmla="*/ 0 w 745550"/>
                  <a:gd name="connsiteY4" fmla="*/ 734935 h 1501843"/>
                  <a:gd name="connsiteX5" fmla="*/ 0 w 745550"/>
                  <a:gd name="connsiteY5" fmla="*/ 1501843 h 1501843"/>
                  <a:gd name="connsiteX6" fmla="*/ 745550 w 745550"/>
                  <a:gd name="connsiteY6" fmla="*/ 1501843 h 1501843"/>
                  <a:gd name="connsiteX7" fmla="*/ 745550 w 745550"/>
                  <a:gd name="connsiteY7" fmla="*/ 734935 h 1501843"/>
                  <a:gd name="connsiteX8" fmla="*/ 533750 w 745550"/>
                  <a:gd name="connsiteY8" fmla="*/ 556857 h 1501843"/>
                  <a:gd name="connsiteX9" fmla="*/ 533750 w 745550"/>
                  <a:gd name="connsiteY9" fmla="*/ 1 h 1501843"/>
                  <a:gd name="connsiteX10" fmla="*/ 482725 w 745550"/>
                  <a:gd name="connsiteY10" fmla="*/ 1 h 1501843"/>
                  <a:gd name="connsiteX11" fmla="*/ 482725 w 745550"/>
                  <a:gd name="connsiteY11" fmla="*/ 0 h 1501843"/>
                  <a:gd name="connsiteX0" fmla="*/ 482725 w 745550"/>
                  <a:gd name="connsiteY0" fmla="*/ 0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8" fmla="*/ 533750 w 745550"/>
                  <a:gd name="connsiteY8" fmla="*/ 1 h 1501843"/>
                  <a:gd name="connsiteX9" fmla="*/ 482725 w 745550"/>
                  <a:gd name="connsiteY9" fmla="*/ 1 h 1501843"/>
                  <a:gd name="connsiteX10" fmla="*/ 482725 w 745550"/>
                  <a:gd name="connsiteY10" fmla="*/ 0 h 1501843"/>
                  <a:gd name="connsiteX0" fmla="*/ 482725 w 745550"/>
                  <a:gd name="connsiteY0" fmla="*/ 1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8" fmla="*/ 533750 w 745550"/>
                  <a:gd name="connsiteY8" fmla="*/ 1 h 1501843"/>
                  <a:gd name="connsiteX9" fmla="*/ 482725 w 745550"/>
                  <a:gd name="connsiteY9" fmla="*/ 1 h 1501843"/>
                  <a:gd name="connsiteX0" fmla="*/ 533750 w 745550"/>
                  <a:gd name="connsiteY0" fmla="*/ 1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8" fmla="*/ 533750 w 745550"/>
                  <a:gd name="connsiteY8" fmla="*/ 1 h 1501843"/>
                  <a:gd name="connsiteX0" fmla="*/ 533750 w 745550"/>
                  <a:gd name="connsiteY0" fmla="*/ 556857 h 1501843"/>
                  <a:gd name="connsiteX1" fmla="*/ 262825 w 745550"/>
                  <a:gd name="connsiteY1" fmla="*/ 0 h 1501843"/>
                  <a:gd name="connsiteX2" fmla="*/ 211800 w 745550"/>
                  <a:gd name="connsiteY2" fmla="*/ 556857 h 1501843"/>
                  <a:gd name="connsiteX3" fmla="*/ 0 w 745550"/>
                  <a:gd name="connsiteY3" fmla="*/ 734935 h 1501843"/>
                  <a:gd name="connsiteX4" fmla="*/ 0 w 745550"/>
                  <a:gd name="connsiteY4" fmla="*/ 1501843 h 1501843"/>
                  <a:gd name="connsiteX5" fmla="*/ 745550 w 745550"/>
                  <a:gd name="connsiteY5" fmla="*/ 1501843 h 1501843"/>
                  <a:gd name="connsiteX6" fmla="*/ 745550 w 745550"/>
                  <a:gd name="connsiteY6" fmla="*/ 734935 h 1501843"/>
                  <a:gd name="connsiteX7" fmla="*/ 533750 w 745550"/>
                  <a:gd name="connsiteY7" fmla="*/ 556857 h 1501843"/>
                  <a:gd name="connsiteX0" fmla="*/ 533750 w 745550"/>
                  <a:gd name="connsiteY0" fmla="*/ 0 h 944986"/>
                  <a:gd name="connsiteX1" fmla="*/ 211800 w 745550"/>
                  <a:gd name="connsiteY1" fmla="*/ 0 h 944986"/>
                  <a:gd name="connsiteX2" fmla="*/ 0 w 745550"/>
                  <a:gd name="connsiteY2" fmla="*/ 178078 h 944986"/>
                  <a:gd name="connsiteX3" fmla="*/ 0 w 745550"/>
                  <a:gd name="connsiteY3" fmla="*/ 944986 h 944986"/>
                  <a:gd name="connsiteX4" fmla="*/ 745550 w 745550"/>
                  <a:gd name="connsiteY4" fmla="*/ 944986 h 944986"/>
                  <a:gd name="connsiteX5" fmla="*/ 745550 w 745550"/>
                  <a:gd name="connsiteY5" fmla="*/ 178078 h 944986"/>
                  <a:gd name="connsiteX6" fmla="*/ 533750 w 745550"/>
                  <a:gd name="connsiteY6" fmla="*/ 0 h 944986"/>
                  <a:gd name="connsiteX0" fmla="*/ 533750 w 745550"/>
                  <a:gd name="connsiteY0" fmla="*/ 0 h 944986"/>
                  <a:gd name="connsiteX1" fmla="*/ 0 w 745550"/>
                  <a:gd name="connsiteY1" fmla="*/ 178078 h 944986"/>
                  <a:gd name="connsiteX2" fmla="*/ 0 w 745550"/>
                  <a:gd name="connsiteY2" fmla="*/ 944986 h 944986"/>
                  <a:gd name="connsiteX3" fmla="*/ 745550 w 745550"/>
                  <a:gd name="connsiteY3" fmla="*/ 944986 h 944986"/>
                  <a:gd name="connsiteX4" fmla="*/ 745550 w 745550"/>
                  <a:gd name="connsiteY4" fmla="*/ 178078 h 944986"/>
                  <a:gd name="connsiteX5" fmla="*/ 533750 w 745550"/>
                  <a:gd name="connsiteY5" fmla="*/ 0 h 944986"/>
                  <a:gd name="connsiteX0" fmla="*/ 745550 w 745550"/>
                  <a:gd name="connsiteY0" fmla="*/ 0 h 766908"/>
                  <a:gd name="connsiteX1" fmla="*/ 0 w 745550"/>
                  <a:gd name="connsiteY1" fmla="*/ 0 h 766908"/>
                  <a:gd name="connsiteX2" fmla="*/ 0 w 745550"/>
                  <a:gd name="connsiteY2" fmla="*/ 766908 h 766908"/>
                  <a:gd name="connsiteX3" fmla="*/ 745550 w 745550"/>
                  <a:gd name="connsiteY3" fmla="*/ 766908 h 766908"/>
                  <a:gd name="connsiteX4" fmla="*/ 745550 w 745550"/>
                  <a:gd name="connsiteY4" fmla="*/ 0 h 766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5550" h="766908">
                    <a:moveTo>
                      <a:pt x="745550" y="0"/>
                    </a:moveTo>
                    <a:lnTo>
                      <a:pt x="0" y="0"/>
                    </a:lnTo>
                    <a:lnTo>
                      <a:pt x="0" y="766908"/>
                    </a:lnTo>
                    <a:lnTo>
                      <a:pt x="745550" y="766908"/>
                    </a:lnTo>
                    <a:lnTo>
                      <a:pt x="745550" y="0"/>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endParaRPr lang="de-DE" sz="1000" dirty="0">
                  <a:solidFill>
                    <a:schemeClr val="tx1"/>
                  </a:solidFill>
                </a:endParaRPr>
              </a:p>
            </p:txBody>
          </p:sp>
        </p:grpSp>
        <p:grpSp>
          <p:nvGrpSpPr>
            <p:cNvPr id="648" name="Group 647">
              <a:extLst>
                <a:ext uri="{FF2B5EF4-FFF2-40B4-BE49-F238E27FC236}">
                  <a16:creationId xmlns:a16="http://schemas.microsoft.com/office/drawing/2014/main" id="{9F6FAD85-4823-44E6-AFC4-0CEB5C808180}"/>
                </a:ext>
              </a:extLst>
            </p:cNvPr>
            <p:cNvGrpSpPr/>
            <p:nvPr/>
          </p:nvGrpSpPr>
          <p:grpSpPr bwMode="gray">
            <a:xfrm>
              <a:off x="4580648" y="2810952"/>
              <a:ext cx="309600" cy="310736"/>
              <a:chOff x="2882249" y="5029996"/>
              <a:chExt cx="309600" cy="310736"/>
            </a:xfrm>
          </p:grpSpPr>
          <p:sp>
            <p:nvSpPr>
              <p:cNvPr id="649" name="Oval 648">
                <a:extLst>
                  <a:ext uri="{FF2B5EF4-FFF2-40B4-BE49-F238E27FC236}">
                    <a16:creationId xmlns:a16="http://schemas.microsoft.com/office/drawing/2014/main" id="{62321555-4566-4CFF-A77E-4F245A04F3C7}"/>
                  </a:ext>
                </a:extLst>
              </p:cNvPr>
              <p:cNvSpPr/>
              <p:nvPr/>
            </p:nvSpPr>
            <p:spPr bwMode="gray">
              <a:xfrm flipH="1">
                <a:off x="2882249" y="5029996"/>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650" name="Freeform: Shape 649">
                <a:extLst>
                  <a:ext uri="{FF2B5EF4-FFF2-40B4-BE49-F238E27FC236}">
                    <a16:creationId xmlns:a16="http://schemas.microsoft.com/office/drawing/2014/main" id="{A84D05D2-50CC-4989-983D-8AF6F424CAA6}"/>
                  </a:ext>
                </a:extLst>
              </p:cNvPr>
              <p:cNvSpPr/>
              <p:nvPr/>
            </p:nvSpPr>
            <p:spPr bwMode="gray">
              <a:xfrm rot="5400000">
                <a:off x="2944530" y="5077710"/>
                <a:ext cx="128873" cy="215306"/>
              </a:xfrm>
              <a:custGeom>
                <a:avLst/>
                <a:gdLst>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67715 w 128873"/>
                  <a:gd name="connsiteY4" fmla="*/ 5651 h 243834"/>
                  <a:gd name="connsiteX5" fmla="*/ 128873 w 128873"/>
                  <a:gd name="connsiteY5" fmla="*/ 5651 h 243834"/>
                  <a:gd name="connsiteX6" fmla="*/ 128873 w 128873"/>
                  <a:gd name="connsiteY6" fmla="*/ 243834 h 243834"/>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128873 w 128873"/>
                  <a:gd name="connsiteY4" fmla="*/ 5651 h 243834"/>
                  <a:gd name="connsiteX5" fmla="*/ 128873 w 128873"/>
                  <a:gd name="connsiteY5" fmla="*/ 243834 h 243834"/>
                  <a:gd name="connsiteX6" fmla="*/ 0 w 128873"/>
                  <a:gd name="connsiteY6" fmla="*/ 243834 h 243834"/>
                  <a:gd name="connsiteX0" fmla="*/ 0 w 128873"/>
                  <a:gd name="connsiteY0" fmla="*/ 238183 h 238183"/>
                  <a:gd name="connsiteX1" fmla="*/ 0 w 128873"/>
                  <a:gd name="connsiteY1" fmla="*/ 0 h 238183"/>
                  <a:gd name="connsiteX2" fmla="*/ 61160 w 128873"/>
                  <a:gd name="connsiteY2" fmla="*/ 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40289"/>
                  <a:gd name="connsiteX1" fmla="*/ 0 w 128873"/>
                  <a:gd name="connsiteY1" fmla="*/ 0 h 240289"/>
                  <a:gd name="connsiteX2" fmla="*/ 63065 w 128873"/>
                  <a:gd name="connsiteY2" fmla="*/ 87630 h 240289"/>
                  <a:gd name="connsiteX3" fmla="*/ 128873 w 128873"/>
                  <a:gd name="connsiteY3" fmla="*/ 0 h 240289"/>
                  <a:gd name="connsiteX4" fmla="*/ 128873 w 128873"/>
                  <a:gd name="connsiteY4" fmla="*/ 238183 h 240289"/>
                  <a:gd name="connsiteX5" fmla="*/ 56864 w 128873"/>
                  <a:gd name="connsiteY5" fmla="*/ 240289 h 240289"/>
                  <a:gd name="connsiteX6" fmla="*/ 0 w 128873"/>
                  <a:gd name="connsiteY6" fmla="*/ 238183 h 240289"/>
                  <a:gd name="connsiteX0" fmla="*/ 56864 w 148304"/>
                  <a:gd name="connsiteY0" fmla="*/ 240289 h 341445"/>
                  <a:gd name="connsiteX1" fmla="*/ 0 w 148304"/>
                  <a:gd name="connsiteY1" fmla="*/ 238183 h 341445"/>
                  <a:gd name="connsiteX2" fmla="*/ 0 w 148304"/>
                  <a:gd name="connsiteY2" fmla="*/ 0 h 341445"/>
                  <a:gd name="connsiteX3" fmla="*/ 63065 w 148304"/>
                  <a:gd name="connsiteY3" fmla="*/ 87630 h 341445"/>
                  <a:gd name="connsiteX4" fmla="*/ 128873 w 148304"/>
                  <a:gd name="connsiteY4" fmla="*/ 0 h 341445"/>
                  <a:gd name="connsiteX5" fmla="*/ 128873 w 148304"/>
                  <a:gd name="connsiteY5" fmla="*/ 238183 h 341445"/>
                  <a:gd name="connsiteX6" fmla="*/ 148304 w 148304"/>
                  <a:gd name="connsiteY6" fmla="*/ 341445 h 341445"/>
                  <a:gd name="connsiteX0" fmla="*/ 0 w 148304"/>
                  <a:gd name="connsiteY0" fmla="*/ 238183 h 341445"/>
                  <a:gd name="connsiteX1" fmla="*/ 0 w 148304"/>
                  <a:gd name="connsiteY1" fmla="*/ 0 h 341445"/>
                  <a:gd name="connsiteX2" fmla="*/ 63065 w 148304"/>
                  <a:gd name="connsiteY2" fmla="*/ 87630 h 341445"/>
                  <a:gd name="connsiteX3" fmla="*/ 128873 w 148304"/>
                  <a:gd name="connsiteY3" fmla="*/ 0 h 341445"/>
                  <a:gd name="connsiteX4" fmla="*/ 128873 w 148304"/>
                  <a:gd name="connsiteY4" fmla="*/ 238183 h 341445"/>
                  <a:gd name="connsiteX5" fmla="*/ 148304 w 148304"/>
                  <a:gd name="connsiteY5" fmla="*/ 341445 h 341445"/>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73" h="238183">
                    <a:moveTo>
                      <a:pt x="0" y="238183"/>
                    </a:moveTo>
                    <a:lnTo>
                      <a:pt x="0" y="0"/>
                    </a:lnTo>
                    <a:lnTo>
                      <a:pt x="63065" y="87630"/>
                    </a:lnTo>
                    <a:lnTo>
                      <a:pt x="128873" y="0"/>
                    </a:lnTo>
                    <a:lnTo>
                      <a:pt x="128873" y="238183"/>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grpSp>
        <p:sp>
          <p:nvSpPr>
            <p:cNvPr id="875" name="Rectangle 874">
              <a:extLst>
                <a:ext uri="{FF2B5EF4-FFF2-40B4-BE49-F238E27FC236}">
                  <a16:creationId xmlns:a16="http://schemas.microsoft.com/office/drawing/2014/main" id="{CEABFC92-C584-4823-86C9-8BD955F42762}"/>
                </a:ext>
              </a:extLst>
            </p:cNvPr>
            <p:cNvSpPr/>
            <p:nvPr/>
          </p:nvSpPr>
          <p:spPr bwMode="gray">
            <a:xfrm>
              <a:off x="4362673" y="3486378"/>
              <a:ext cx="745200" cy="572400"/>
            </a:xfrm>
            <a:prstGeom prst="rect">
              <a:avLst/>
            </a:prstGeom>
          </p:spPr>
          <p:txBody>
            <a:bodyPr wrap="square" lIns="36000" tIns="36000" rIns="36000" bIns="36000" anchor="ctr" anchorCtr="0">
              <a:noAutofit/>
            </a:bodyPr>
            <a:lstStyle/>
            <a:p>
              <a:pPr algn="ctr">
                <a:spcBef>
                  <a:spcPts val="300"/>
                </a:spcBef>
                <a:buClr>
                  <a:srgbClr val="002897"/>
                </a:buClr>
                <a:buSzPct val="70000"/>
              </a:pPr>
              <a:r>
                <a:rPr lang="de-DE" sz="1000" dirty="0"/>
                <a:t>Steam reformer</a:t>
              </a:r>
            </a:p>
          </p:txBody>
        </p:sp>
      </p:grpSp>
      <p:cxnSp>
        <p:nvCxnSpPr>
          <p:cNvPr id="790" name="Connector: Elbow 789">
            <a:extLst>
              <a:ext uri="{FF2B5EF4-FFF2-40B4-BE49-F238E27FC236}">
                <a16:creationId xmlns:a16="http://schemas.microsoft.com/office/drawing/2014/main" id="{3B3A97FD-C29F-47E3-B00F-0358E415E568}"/>
              </a:ext>
            </a:extLst>
          </p:cNvPr>
          <p:cNvCxnSpPr>
            <a:cxnSpLocks/>
            <a:stCxn id="626" idx="0"/>
            <a:endCxn id="640" idx="8"/>
          </p:cNvCxnSpPr>
          <p:nvPr/>
        </p:nvCxnSpPr>
        <p:spPr bwMode="gray">
          <a:xfrm flipV="1">
            <a:off x="3809235" y="3604744"/>
            <a:ext cx="553438" cy="269314"/>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582" name="Date Placeholder 581">
            <a:extLst>
              <a:ext uri="{FF2B5EF4-FFF2-40B4-BE49-F238E27FC236}">
                <a16:creationId xmlns:a16="http://schemas.microsoft.com/office/drawing/2014/main" id="{7F4531EF-2E41-4794-9F49-0041941332F6}"/>
              </a:ext>
            </a:extLst>
          </p:cNvPr>
          <p:cNvSpPr>
            <a:spLocks noGrp="1"/>
          </p:cNvSpPr>
          <p:nvPr>
            <p:ph type="dt" sz="half" idx="14"/>
          </p:nvPr>
        </p:nvSpPr>
        <p:spPr bwMode="gray"/>
        <p:txBody>
          <a:bodyPr/>
          <a:lstStyle/>
          <a:p>
            <a:fld id="{D718CDDE-0AFA-4D67-A765-79A82A644085}" type="datetime4">
              <a:rPr lang="en-US" smtClean="0"/>
              <a:t>September 8, 2019</a:t>
            </a:fld>
            <a:endParaRPr lang="en-US" dirty="0"/>
          </a:p>
        </p:txBody>
      </p:sp>
      <p:sp>
        <p:nvSpPr>
          <p:cNvPr id="583" name="Footer Placeholder 582">
            <a:extLst>
              <a:ext uri="{FF2B5EF4-FFF2-40B4-BE49-F238E27FC236}">
                <a16:creationId xmlns:a16="http://schemas.microsoft.com/office/drawing/2014/main" id="{7B319E35-9BBE-465E-A0FE-7A4C9B79B453}"/>
              </a:ext>
            </a:extLst>
          </p:cNvPr>
          <p:cNvSpPr>
            <a:spLocks noGrp="1"/>
          </p:cNvSpPr>
          <p:nvPr>
            <p:ph type="ftr" sz="quarter" idx="15"/>
          </p:nvPr>
        </p:nvSpPr>
        <p:spPr bwMode="gray"/>
        <p:txBody>
          <a:bodyPr/>
          <a:lstStyle/>
          <a:p>
            <a:pPr lvl="8"/>
            <a:endParaRPr lang="en-US" dirty="0"/>
          </a:p>
        </p:txBody>
      </p:sp>
      <p:sp>
        <p:nvSpPr>
          <p:cNvPr id="584" name="Slide Number Placeholder 583">
            <a:extLst>
              <a:ext uri="{FF2B5EF4-FFF2-40B4-BE49-F238E27FC236}">
                <a16:creationId xmlns:a16="http://schemas.microsoft.com/office/drawing/2014/main" id="{C0225E2E-B97B-4763-87CF-6BA1BFAE91A3}"/>
              </a:ext>
            </a:extLst>
          </p:cNvPr>
          <p:cNvSpPr>
            <a:spLocks noGrp="1"/>
          </p:cNvSpPr>
          <p:nvPr>
            <p:ph type="sldNum" sz="quarter" idx="16"/>
          </p:nvPr>
        </p:nvSpPr>
        <p:spPr bwMode="gray"/>
        <p:txBody>
          <a:bodyPr/>
          <a:lstStyle/>
          <a:p>
            <a:r>
              <a:rPr lang="en-US"/>
              <a:t>Slide </a:t>
            </a:r>
            <a:fld id="{619F89D8-7AE3-494A-97F3-03D680869632}" type="slidenum">
              <a:rPr lang="en-US" smtClean="0"/>
              <a:pPr/>
              <a:t>43</a:t>
            </a:fld>
            <a:endParaRPr lang="en-US" dirty="0"/>
          </a:p>
        </p:txBody>
      </p:sp>
      <p:sp>
        <p:nvSpPr>
          <p:cNvPr id="91" name="Oval 90">
            <a:extLst>
              <a:ext uri="{FF2B5EF4-FFF2-40B4-BE49-F238E27FC236}">
                <a16:creationId xmlns:a16="http://schemas.microsoft.com/office/drawing/2014/main" id="{F1A4C5C6-B526-48A4-B42A-8D6921EE2F66}"/>
              </a:ext>
            </a:extLst>
          </p:cNvPr>
          <p:cNvSpPr/>
          <p:nvPr/>
        </p:nvSpPr>
        <p:spPr bwMode="gray">
          <a:xfrm>
            <a:off x="4643490" y="2679668"/>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bg1"/>
                </a:solidFill>
              </a:rPr>
              <a:t>2</a:t>
            </a:r>
          </a:p>
        </p:txBody>
      </p:sp>
      <p:sp>
        <p:nvSpPr>
          <p:cNvPr id="92" name="Oval 91">
            <a:extLst>
              <a:ext uri="{FF2B5EF4-FFF2-40B4-BE49-F238E27FC236}">
                <a16:creationId xmlns:a16="http://schemas.microsoft.com/office/drawing/2014/main" id="{8A2A02C5-73A5-4B48-92E7-E08A09C54527}"/>
              </a:ext>
            </a:extLst>
          </p:cNvPr>
          <p:cNvSpPr/>
          <p:nvPr/>
        </p:nvSpPr>
        <p:spPr bwMode="gray">
          <a:xfrm>
            <a:off x="3148428" y="3523883"/>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bg1"/>
                </a:solidFill>
              </a:rPr>
              <a:t>1</a:t>
            </a:r>
          </a:p>
        </p:txBody>
      </p:sp>
      <p:sp>
        <p:nvSpPr>
          <p:cNvPr id="93" name="Oval 92">
            <a:extLst>
              <a:ext uri="{FF2B5EF4-FFF2-40B4-BE49-F238E27FC236}">
                <a16:creationId xmlns:a16="http://schemas.microsoft.com/office/drawing/2014/main" id="{4008B508-BBBD-4328-97C6-D907811BD36F}"/>
              </a:ext>
            </a:extLst>
          </p:cNvPr>
          <p:cNvSpPr/>
          <p:nvPr/>
        </p:nvSpPr>
        <p:spPr bwMode="gray">
          <a:xfrm>
            <a:off x="4479500" y="4295449"/>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bg1"/>
                </a:solidFill>
              </a:rPr>
              <a:t>3</a:t>
            </a:r>
          </a:p>
        </p:txBody>
      </p:sp>
      <p:sp>
        <p:nvSpPr>
          <p:cNvPr id="94" name="Oval 93">
            <a:extLst>
              <a:ext uri="{FF2B5EF4-FFF2-40B4-BE49-F238E27FC236}">
                <a16:creationId xmlns:a16="http://schemas.microsoft.com/office/drawing/2014/main" id="{E54EE720-0DD0-4ABE-8A36-035AC2380709}"/>
              </a:ext>
            </a:extLst>
          </p:cNvPr>
          <p:cNvSpPr/>
          <p:nvPr/>
        </p:nvSpPr>
        <p:spPr bwMode="gray">
          <a:xfrm>
            <a:off x="5252579" y="3757476"/>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bg1"/>
                </a:solidFill>
              </a:rPr>
              <a:t>4</a:t>
            </a:r>
          </a:p>
        </p:txBody>
      </p:sp>
      <p:sp>
        <p:nvSpPr>
          <p:cNvPr id="95" name="Oval 94">
            <a:extLst>
              <a:ext uri="{FF2B5EF4-FFF2-40B4-BE49-F238E27FC236}">
                <a16:creationId xmlns:a16="http://schemas.microsoft.com/office/drawing/2014/main" id="{0355971F-3673-46AB-B79F-3EE40155CC18}"/>
              </a:ext>
            </a:extLst>
          </p:cNvPr>
          <p:cNvSpPr/>
          <p:nvPr/>
        </p:nvSpPr>
        <p:spPr bwMode="gray">
          <a:xfrm>
            <a:off x="7864335" y="3726857"/>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bg1"/>
                </a:solidFill>
              </a:rPr>
              <a:t>6</a:t>
            </a:r>
          </a:p>
        </p:txBody>
      </p:sp>
      <p:sp>
        <p:nvSpPr>
          <p:cNvPr id="96" name="Oval 95">
            <a:extLst>
              <a:ext uri="{FF2B5EF4-FFF2-40B4-BE49-F238E27FC236}">
                <a16:creationId xmlns:a16="http://schemas.microsoft.com/office/drawing/2014/main" id="{7167E96C-691A-407B-BF38-555F28C898E8}"/>
              </a:ext>
            </a:extLst>
          </p:cNvPr>
          <p:cNvSpPr/>
          <p:nvPr/>
        </p:nvSpPr>
        <p:spPr bwMode="gray">
          <a:xfrm>
            <a:off x="7848992" y="5416977"/>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bg1"/>
                </a:solidFill>
              </a:rPr>
              <a:t>5</a:t>
            </a:r>
          </a:p>
        </p:txBody>
      </p:sp>
      <p:sp>
        <p:nvSpPr>
          <p:cNvPr id="97" name="Oval 96">
            <a:extLst>
              <a:ext uri="{FF2B5EF4-FFF2-40B4-BE49-F238E27FC236}">
                <a16:creationId xmlns:a16="http://schemas.microsoft.com/office/drawing/2014/main" id="{2CD7F949-51E5-4288-B91F-F429550801AC}"/>
              </a:ext>
            </a:extLst>
          </p:cNvPr>
          <p:cNvSpPr/>
          <p:nvPr/>
        </p:nvSpPr>
        <p:spPr bwMode="gray">
          <a:xfrm>
            <a:off x="9564320" y="2446581"/>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bg1"/>
                </a:solidFill>
              </a:rPr>
              <a:t>7</a:t>
            </a:r>
          </a:p>
        </p:txBody>
      </p:sp>
      <p:sp>
        <p:nvSpPr>
          <p:cNvPr id="98" name="Oval 97">
            <a:extLst>
              <a:ext uri="{FF2B5EF4-FFF2-40B4-BE49-F238E27FC236}">
                <a16:creationId xmlns:a16="http://schemas.microsoft.com/office/drawing/2014/main" id="{A463C75E-4FCC-407A-8FCA-40324226D75E}"/>
              </a:ext>
            </a:extLst>
          </p:cNvPr>
          <p:cNvSpPr/>
          <p:nvPr/>
        </p:nvSpPr>
        <p:spPr bwMode="gray">
          <a:xfrm>
            <a:off x="9564320" y="2771702"/>
            <a:ext cx="178966" cy="178966"/>
          </a:xfrm>
          <a:prstGeom prst="ellipse">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bg1"/>
                </a:solidFill>
              </a:rPr>
              <a:t>8</a:t>
            </a:r>
          </a:p>
        </p:txBody>
      </p:sp>
    </p:spTree>
    <p:custDataLst>
      <p:tags r:id="rId1"/>
    </p:custDataLst>
    <p:extLst>
      <p:ext uri="{BB962C8B-B14F-4D97-AF65-F5344CB8AC3E}">
        <p14:creationId xmlns:p14="http://schemas.microsoft.com/office/powerpoint/2010/main" val="1466215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168447-CD78-4F8A-AB4E-AC87144E559D}"/>
              </a:ext>
            </a:extLst>
          </p:cNvPr>
          <p:cNvSpPr>
            <a:spLocks noGrp="1"/>
          </p:cNvSpPr>
          <p:nvPr>
            <p:ph type="title"/>
          </p:nvPr>
        </p:nvSpPr>
        <p:spPr bwMode="gray">
          <a:xfrm>
            <a:off x="333264" y="682313"/>
            <a:ext cx="11520000" cy="396000"/>
          </a:xfrm>
        </p:spPr>
        <p:txBody>
          <a:bodyPr/>
          <a:lstStyle/>
          <a:p>
            <a:r>
              <a:rPr lang="en-US"/>
              <a:t>Hydrogen, carbon monoxide &amp; syngas production</a:t>
            </a:r>
          </a:p>
        </p:txBody>
      </p:sp>
      <p:sp>
        <p:nvSpPr>
          <p:cNvPr id="7" name="Subtitle 6">
            <a:extLst>
              <a:ext uri="{FF2B5EF4-FFF2-40B4-BE49-F238E27FC236}">
                <a16:creationId xmlns:a16="http://schemas.microsoft.com/office/drawing/2014/main" id="{09CF7B58-7315-43E5-8590-7A47B8C7E10E}"/>
              </a:ext>
            </a:extLst>
          </p:cNvPr>
          <p:cNvSpPr>
            <a:spLocks noGrp="1"/>
          </p:cNvSpPr>
          <p:nvPr>
            <p:ph type="subTitle" idx="13"/>
          </p:nvPr>
        </p:nvSpPr>
        <p:spPr bwMode="gray"/>
        <p:txBody>
          <a:bodyPr/>
          <a:lstStyle/>
          <a:p>
            <a:r>
              <a:rPr lang="en-US"/>
              <a:t>Measuring points and ABB offering</a:t>
            </a:r>
          </a:p>
        </p:txBody>
      </p:sp>
      <p:graphicFrame>
        <p:nvGraphicFramePr>
          <p:cNvPr id="8" name="Group 324">
            <a:extLst>
              <a:ext uri="{FF2B5EF4-FFF2-40B4-BE49-F238E27FC236}">
                <a16:creationId xmlns:a16="http://schemas.microsoft.com/office/drawing/2014/main" id="{DC6804CB-0604-42F3-9226-1A6ADDF3BDDA}"/>
              </a:ext>
            </a:extLst>
          </p:cNvPr>
          <p:cNvGraphicFramePr>
            <a:graphicFrameLocks noGrp="1"/>
          </p:cNvGraphicFramePr>
          <p:nvPr>
            <p:ph sz="quarter" idx="4294967295"/>
            <p:extLst>
              <p:ext uri="{D42A27DB-BD31-4B8C-83A1-F6EECF244321}">
                <p14:modId xmlns:p14="http://schemas.microsoft.com/office/powerpoint/2010/main" val="1666641838"/>
              </p:ext>
            </p:extLst>
          </p:nvPr>
        </p:nvGraphicFramePr>
        <p:xfrm>
          <a:off x="333264" y="1933575"/>
          <a:ext cx="11544001" cy="4001693"/>
        </p:xfrm>
        <a:graphic>
          <a:graphicData uri="http://schemas.openxmlformats.org/drawingml/2006/table">
            <a:tbl>
              <a:tblPr/>
              <a:tblGrid>
                <a:gridCol w="324000">
                  <a:extLst>
                    <a:ext uri="{9D8B030D-6E8A-4147-A177-3AD203B41FA5}">
                      <a16:colId xmlns:a16="http://schemas.microsoft.com/office/drawing/2014/main" val="3252492988"/>
                    </a:ext>
                  </a:extLst>
                </a:gridCol>
                <a:gridCol w="899393">
                  <a:extLst>
                    <a:ext uri="{9D8B030D-6E8A-4147-A177-3AD203B41FA5}">
                      <a16:colId xmlns:a16="http://schemas.microsoft.com/office/drawing/2014/main" val="3417312483"/>
                    </a:ext>
                  </a:extLst>
                </a:gridCol>
                <a:gridCol w="2304607">
                  <a:extLst>
                    <a:ext uri="{9D8B030D-6E8A-4147-A177-3AD203B41FA5}">
                      <a16:colId xmlns:a16="http://schemas.microsoft.com/office/drawing/2014/main" val="1152078815"/>
                    </a:ext>
                  </a:extLst>
                </a:gridCol>
                <a:gridCol w="1296000">
                  <a:extLst>
                    <a:ext uri="{9D8B030D-6E8A-4147-A177-3AD203B41FA5}">
                      <a16:colId xmlns:a16="http://schemas.microsoft.com/office/drawing/2014/main" val="2636926498"/>
                    </a:ext>
                  </a:extLst>
                </a:gridCol>
                <a:gridCol w="1368000">
                  <a:extLst>
                    <a:ext uri="{9D8B030D-6E8A-4147-A177-3AD203B41FA5}">
                      <a16:colId xmlns:a16="http://schemas.microsoft.com/office/drawing/2014/main" val="2883535249"/>
                    </a:ext>
                  </a:extLst>
                </a:gridCol>
                <a:gridCol w="504000">
                  <a:extLst>
                    <a:ext uri="{9D8B030D-6E8A-4147-A177-3AD203B41FA5}">
                      <a16:colId xmlns:a16="http://schemas.microsoft.com/office/drawing/2014/main" val="824351"/>
                    </a:ext>
                  </a:extLst>
                </a:gridCol>
                <a:gridCol w="755906">
                  <a:extLst>
                    <a:ext uri="{9D8B030D-6E8A-4147-A177-3AD203B41FA5}">
                      <a16:colId xmlns:a16="http://schemas.microsoft.com/office/drawing/2014/main" val="777153526"/>
                    </a:ext>
                  </a:extLst>
                </a:gridCol>
                <a:gridCol w="504000">
                  <a:extLst>
                    <a:ext uri="{9D8B030D-6E8A-4147-A177-3AD203B41FA5}">
                      <a16:colId xmlns:a16="http://schemas.microsoft.com/office/drawing/2014/main" val="982511522"/>
                    </a:ext>
                  </a:extLst>
                </a:gridCol>
                <a:gridCol w="755906">
                  <a:extLst>
                    <a:ext uri="{9D8B030D-6E8A-4147-A177-3AD203B41FA5}">
                      <a16:colId xmlns:a16="http://schemas.microsoft.com/office/drawing/2014/main" val="3615050244"/>
                    </a:ext>
                  </a:extLst>
                </a:gridCol>
                <a:gridCol w="504000">
                  <a:extLst>
                    <a:ext uri="{9D8B030D-6E8A-4147-A177-3AD203B41FA5}">
                      <a16:colId xmlns:a16="http://schemas.microsoft.com/office/drawing/2014/main" val="3683230069"/>
                    </a:ext>
                  </a:extLst>
                </a:gridCol>
                <a:gridCol w="755906">
                  <a:extLst>
                    <a:ext uri="{9D8B030D-6E8A-4147-A177-3AD203B41FA5}">
                      <a16:colId xmlns:a16="http://schemas.microsoft.com/office/drawing/2014/main" val="1784338821"/>
                    </a:ext>
                  </a:extLst>
                </a:gridCol>
                <a:gridCol w="1572283">
                  <a:extLst>
                    <a:ext uri="{9D8B030D-6E8A-4147-A177-3AD203B41FA5}">
                      <a16:colId xmlns:a16="http://schemas.microsoft.com/office/drawing/2014/main" val="3567483753"/>
                    </a:ext>
                  </a:extLst>
                </a:gridCol>
              </a:tblGrid>
              <a:tr h="252000">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t>
                      </a:r>
                    </a:p>
                  </a:txBody>
                  <a:tcPr marL="0" marR="0" marT="36000" marB="36000" horzOverflow="overflow">
                    <a:lnL cap="flat">
                      <a:noFill/>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Purpose</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pplication</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Components</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Ranges</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gridSpan="6">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Principles</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tc>
                <a:tc hMerge="1">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CH" altLang="en-US" sz="1400" b="0" i="0" u="none" strike="noStrike" cap="none" normalizeH="0" baseline="0" dirty="0">
                        <a:ln>
                          <a:noFill/>
                        </a:ln>
                        <a:solidFill>
                          <a:schemeClr val="bg2"/>
                        </a:solidFill>
                        <a:effectLst/>
                        <a:latin typeface="Times New Roman" panose="02020603050405020304" pitchFamily="18" charset="0"/>
                        <a:cs typeface="Arial" panose="020B0604020202020204" pitchFamily="34" charset="0"/>
                      </a:endParaRPr>
                    </a:p>
                  </a:txBody>
                  <a:tcPr marL="0" marR="0" marT="36000" marB="36000"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de-CH" altLang="en-US" sz="1400" b="0" i="0" u="none" strike="noStrike" cap="none" normalizeH="0" baseline="0" dirty="0">
                        <a:ln>
                          <a:noFill/>
                        </a:ln>
                        <a:solidFill>
                          <a:schemeClr val="bg2"/>
                        </a:solidFill>
                        <a:effectLst/>
                        <a:latin typeface="Times New Roman" panose="02020603050405020304" pitchFamily="18" charset="0"/>
                        <a:cs typeface="Arial" panose="020B0604020202020204" pitchFamily="34" charset="0"/>
                      </a:endParaRPr>
                    </a:p>
                  </a:txBody>
                  <a:tcPr marL="0" marR="0" marT="36000" marB="36000"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nalyzers</a:t>
                      </a:r>
                    </a:p>
                  </a:txBody>
                  <a:tcPr marL="0" marR="0" marT="36000" marB="36000"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70671138"/>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1</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Natural Gas feed</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H</a:t>
                      </a:r>
                      <a:r>
                        <a:rPr kumimoji="0" lang="en-US" altLang="en-US" sz="1200" b="0" i="0" u="none" strike="noStrike" kern="1200" cap="none" normalizeH="0" baseline="-2500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4</a:t>
                      </a: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NG</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kern="1200" cap="none" normalizeH="0" baseline="-2500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NG</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WI, Density, S</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0 vol%</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 vol%</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NDIR</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PMD</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r>
                        <a:rPr kumimoji="0" lang="en-US" sz="1200" b="0" i="0" u="none" strike="noStrike" kern="1200"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GC-TCD</a:t>
                      </a:r>
                    </a:p>
                    <a:p>
                      <a:r>
                        <a:rPr kumimoji="0" lang="en-US" sz="1200" b="0" i="0" u="none" strike="noStrike" kern="1200"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GC-FPD</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Uras26</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Magnos28</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GC1000/PGC5000</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3254574409"/>
                  </a:ext>
                </a:extLst>
              </a:tr>
              <a:tr h="453258">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Emission</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Emission 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NO in flue gas</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 in flue gas</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kern="1200" cap="none" normalizeH="0" baseline="-2500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flue gas</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250 ppm</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0 ppm</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25 v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NDIR</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PMD</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Uras26</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Magnos28</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32769597"/>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3</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mbustion optimization</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O</a:t>
                      </a:r>
                      <a:r>
                        <a:rPr kumimoji="0" lang="en-US" altLang="en-US" sz="1200" b="0" i="0" u="none" strike="noStrike" kern="1200" cap="none" normalizeH="0" baseline="-2500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flue gas</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 v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Zirconia</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AZ series</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898803511"/>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4</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Reformer efficienc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 in syngas</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H</a:t>
                      </a:r>
                      <a:r>
                        <a:rPr kumimoji="0" lang="en-US" altLang="en-US" sz="1200" b="0" i="0" u="none" strike="noStrike" kern="1200" cap="none" normalizeH="0" baseline="-2500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4</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syngas</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 vol%</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50 v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NDIR</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0"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Uras26</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99789432"/>
                  </a:ext>
                </a:extLst>
              </a:tr>
              <a:tr h="324000">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5</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Absorber inlet</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H</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5 / 5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rPr>
                        <a:t>NDIR</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Uras26</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18023465"/>
                  </a:ext>
                </a:extLst>
              </a:tr>
              <a:tr h="324000">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6</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Absorber outlet</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H</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5 / 5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rPr>
                        <a:t>NDIR</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Uras26</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40310977"/>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7</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Qual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 product qual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H</a:t>
                      </a:r>
                      <a:r>
                        <a:rPr kumimoji="0" lang="en-US" altLang="en-US" sz="1200" b="0" i="0" u="none" strike="noStrike" kern="1200" cap="none" normalizeH="0" baseline="-2500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4</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CO</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H</a:t>
                      </a:r>
                      <a:r>
                        <a:rPr kumimoji="0" lang="en-US" altLang="en-US" sz="1200" b="0" i="0" u="none" strike="noStrike" cap="none" normalizeH="0" baseline="-2500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in CO</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 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00 ppm</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5000 ppm*</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mposition</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rPr>
                        <a:t>NDIR</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rPr>
                        <a:t>TCD</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r>
                        <a:rPr kumimoji="0" lang="en-US" sz="1200" b="0" i="0" u="none" strike="noStrike" kern="1200"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GC-TCD</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Uras26</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aldos27</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GC5000</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3819933144"/>
                  </a:ext>
                </a:extLst>
              </a:tr>
              <a:tr h="18834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8</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Qual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H</a:t>
                      </a:r>
                      <a:r>
                        <a:rPr kumimoji="0" lang="en-US" altLang="en-US" sz="1200" b="0" i="0" u="none" strike="noStrike" cap="none" normalizeH="0" baseline="-2500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 product qual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 in H</a:t>
                      </a:r>
                      <a:r>
                        <a:rPr kumimoji="0" lang="en-US" altLang="en-US" sz="1200" b="0" i="0" u="none" strike="noStrike" kern="1200" cap="none" normalizeH="0" baseline="-2500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200" b="0" i="0" u="none" strike="noStrike" kern="1200"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kern="1200"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H</a:t>
                      </a:r>
                      <a:r>
                        <a:rPr kumimoji="0" lang="en-US" altLang="en-US" sz="1200" b="0" i="0" u="none" strike="noStrike" kern="1200" cap="none" normalizeH="0" baseline="-2500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r>
                        <a:rPr kumimoji="0" lang="en-US" altLang="en-US" sz="1200" b="0" i="0" u="none" strike="noStrike" kern="1200"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 purity</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 ppm</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mposition</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rPr>
                        <a:t>NDIR</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endParaRPr kumimoji="0" lang="en-US" altLang="en-US" sz="1200" b="1"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chemeClr val="bg2"/>
                          </a:solidFill>
                          <a:effectLst/>
                          <a:uLnTx/>
                          <a:uFillTx/>
                          <a:latin typeface="ABBvoice" panose="020D0603020503020204" pitchFamily="34" charset="0"/>
                          <a:ea typeface="ABBvoice" panose="020D0603020503020204" pitchFamily="34" charset="0"/>
                          <a:cs typeface="ABBvoice" panose="020D0603020503020204" pitchFamily="34" charset="0"/>
                        </a:rPr>
                        <a:t>GC-FID</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endParaRPr lang="en-US" noProof="0">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Uras26</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GC5000</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06841893"/>
                  </a:ext>
                </a:extLst>
              </a:tr>
            </a:tbl>
          </a:graphicData>
        </a:graphic>
      </p:graphicFrame>
      <p:grpSp>
        <p:nvGrpSpPr>
          <p:cNvPr id="23" name="Group 22">
            <a:extLst>
              <a:ext uri="{FF2B5EF4-FFF2-40B4-BE49-F238E27FC236}">
                <a16:creationId xmlns:a16="http://schemas.microsoft.com/office/drawing/2014/main" id="{C48B2949-E647-4C81-8A07-8DDED96D4D44}"/>
              </a:ext>
            </a:extLst>
          </p:cNvPr>
          <p:cNvGrpSpPr/>
          <p:nvPr/>
        </p:nvGrpSpPr>
        <p:grpSpPr bwMode="gray">
          <a:xfrm>
            <a:off x="6509367" y="2372434"/>
            <a:ext cx="310194" cy="293095"/>
            <a:chOff x="-640260" y="1957916"/>
            <a:chExt cx="355290" cy="335706"/>
          </a:xfrm>
          <a:noFill/>
        </p:grpSpPr>
        <p:sp>
          <p:nvSpPr>
            <p:cNvPr id="24" name="Rectangle 17">
              <a:extLst>
                <a:ext uri="{FF2B5EF4-FFF2-40B4-BE49-F238E27FC236}">
                  <a16:creationId xmlns:a16="http://schemas.microsoft.com/office/drawing/2014/main" id="{B7BC8C4F-E134-4D20-8630-0FF8C0BB4345}"/>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5" name="Rectangle 16">
              <a:extLst>
                <a:ext uri="{FF2B5EF4-FFF2-40B4-BE49-F238E27FC236}">
                  <a16:creationId xmlns:a16="http://schemas.microsoft.com/office/drawing/2014/main" id="{AEC7A76B-1402-47FC-AC02-AB2B64F9F6D2}"/>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26" name="Straight Connector 25">
              <a:extLst>
                <a:ext uri="{FF2B5EF4-FFF2-40B4-BE49-F238E27FC236}">
                  <a16:creationId xmlns:a16="http://schemas.microsoft.com/office/drawing/2014/main" id="{78528004-7DA1-4F05-90D1-B4E109931D6C}"/>
                </a:ext>
              </a:extLst>
            </p:cNvPr>
            <p:cNvCxnSpPr/>
            <p:nvPr/>
          </p:nvCxnSpPr>
          <p:spPr bwMode="gray">
            <a:xfrm rot="5400000" flipH="1">
              <a:off x="-481603" y="1981616"/>
              <a:ext cx="47400" cy="0"/>
            </a:xfrm>
            <a:prstGeom prst="line">
              <a:avLst/>
            </a:prstGeom>
            <a:grpFill/>
            <a:ln w="12700">
              <a:solidFill>
                <a:schemeClr val="bg2"/>
              </a:solidFill>
              <a:prstDash val="solid"/>
              <a:round/>
              <a:headEnd/>
              <a:tailEnd/>
            </a:ln>
            <a:extLst/>
          </p:spPr>
        </p:cxnSp>
        <p:cxnSp>
          <p:nvCxnSpPr>
            <p:cNvPr id="27" name="Straight Connector 26">
              <a:extLst>
                <a:ext uri="{FF2B5EF4-FFF2-40B4-BE49-F238E27FC236}">
                  <a16:creationId xmlns:a16="http://schemas.microsoft.com/office/drawing/2014/main" id="{40FD7A0B-7936-461F-96C6-3470BD75A71F}"/>
                </a:ext>
              </a:extLst>
            </p:cNvPr>
            <p:cNvCxnSpPr/>
            <p:nvPr/>
          </p:nvCxnSpPr>
          <p:spPr bwMode="gray">
            <a:xfrm rot="5400000" flipH="1">
              <a:off x="-481603" y="2269922"/>
              <a:ext cx="47400" cy="0"/>
            </a:xfrm>
            <a:prstGeom prst="line">
              <a:avLst/>
            </a:prstGeom>
            <a:grpFill/>
            <a:ln w="12700">
              <a:solidFill>
                <a:schemeClr val="bg2"/>
              </a:solidFill>
              <a:prstDash val="solid"/>
              <a:round/>
              <a:headEnd/>
              <a:tailEnd/>
            </a:ln>
            <a:extLst/>
          </p:spPr>
        </p:cxnSp>
        <p:cxnSp>
          <p:nvCxnSpPr>
            <p:cNvPr id="28" name="Straight Connector 27">
              <a:extLst>
                <a:ext uri="{FF2B5EF4-FFF2-40B4-BE49-F238E27FC236}">
                  <a16:creationId xmlns:a16="http://schemas.microsoft.com/office/drawing/2014/main" id="{60337418-E685-4AAD-9487-889C59DE8535}"/>
                </a:ext>
              </a:extLst>
            </p:cNvPr>
            <p:cNvCxnSpPr/>
            <p:nvPr/>
          </p:nvCxnSpPr>
          <p:spPr bwMode="gray">
            <a:xfrm rot="2503489" flipH="1">
              <a:off x="-370223" y="2225091"/>
              <a:ext cx="47400" cy="0"/>
            </a:xfrm>
            <a:prstGeom prst="line">
              <a:avLst/>
            </a:prstGeom>
            <a:grpFill/>
            <a:ln w="12700">
              <a:solidFill>
                <a:schemeClr val="bg2"/>
              </a:solidFill>
              <a:prstDash val="solid"/>
              <a:round/>
              <a:headEnd/>
              <a:tailEnd/>
            </a:ln>
            <a:extLst/>
          </p:spPr>
        </p:cxnSp>
        <p:cxnSp>
          <p:nvCxnSpPr>
            <p:cNvPr id="29" name="Straight Connector 28">
              <a:extLst>
                <a:ext uri="{FF2B5EF4-FFF2-40B4-BE49-F238E27FC236}">
                  <a16:creationId xmlns:a16="http://schemas.microsoft.com/office/drawing/2014/main" id="{8B4AE9FE-FD4B-4B61-9335-154E81AF3A49}"/>
                </a:ext>
              </a:extLst>
            </p:cNvPr>
            <p:cNvCxnSpPr/>
            <p:nvPr/>
          </p:nvCxnSpPr>
          <p:spPr bwMode="gray">
            <a:xfrm rot="8296511">
              <a:off x="-370223" y="2026447"/>
              <a:ext cx="47400" cy="0"/>
            </a:xfrm>
            <a:prstGeom prst="line">
              <a:avLst/>
            </a:prstGeom>
            <a:grpFill/>
            <a:ln w="12700">
              <a:solidFill>
                <a:schemeClr val="bg2"/>
              </a:solidFill>
              <a:prstDash val="solid"/>
              <a:round/>
              <a:headEnd/>
              <a:tailEnd/>
            </a:ln>
            <a:extLst/>
          </p:spPr>
        </p:cxnSp>
        <p:cxnSp>
          <p:nvCxnSpPr>
            <p:cNvPr id="30" name="Straight Connector 29">
              <a:extLst>
                <a:ext uri="{FF2B5EF4-FFF2-40B4-BE49-F238E27FC236}">
                  <a16:creationId xmlns:a16="http://schemas.microsoft.com/office/drawing/2014/main" id="{40FF7B8F-6DAC-4353-B71C-9234E853FFF1}"/>
                </a:ext>
              </a:extLst>
            </p:cNvPr>
            <p:cNvCxnSpPr/>
            <p:nvPr/>
          </p:nvCxnSpPr>
          <p:spPr bwMode="gray">
            <a:xfrm rot="10800000">
              <a:off x="-332370" y="2125769"/>
              <a:ext cx="47400" cy="0"/>
            </a:xfrm>
            <a:prstGeom prst="line">
              <a:avLst/>
            </a:prstGeom>
            <a:grpFill/>
            <a:ln w="12700">
              <a:solidFill>
                <a:schemeClr val="bg2"/>
              </a:solidFill>
              <a:prstDash val="solid"/>
              <a:round/>
              <a:headEnd/>
              <a:tailEnd/>
            </a:ln>
            <a:extLst/>
          </p:spPr>
        </p:cxnSp>
        <p:grpSp>
          <p:nvGrpSpPr>
            <p:cNvPr id="31" name="Group 30">
              <a:extLst>
                <a:ext uri="{FF2B5EF4-FFF2-40B4-BE49-F238E27FC236}">
                  <a16:creationId xmlns:a16="http://schemas.microsoft.com/office/drawing/2014/main" id="{3CB09CE4-0B32-4C05-A8B6-A0ED7FC2ACC2}"/>
                </a:ext>
              </a:extLst>
            </p:cNvPr>
            <p:cNvGrpSpPr/>
            <p:nvPr/>
          </p:nvGrpSpPr>
          <p:grpSpPr bwMode="gray">
            <a:xfrm>
              <a:off x="-507951" y="2088033"/>
              <a:ext cx="84957" cy="65573"/>
              <a:chOff x="-2412348" y="2111699"/>
              <a:chExt cx="717156" cy="553527"/>
            </a:xfrm>
            <a:grpFill/>
          </p:grpSpPr>
          <p:sp>
            <p:nvSpPr>
              <p:cNvPr id="32" name="Parallelogram 1029">
                <a:extLst>
                  <a:ext uri="{FF2B5EF4-FFF2-40B4-BE49-F238E27FC236}">
                    <a16:creationId xmlns:a16="http://schemas.microsoft.com/office/drawing/2014/main" id="{528EBDCC-138D-4264-B8DD-7717F20279C6}"/>
                  </a:ext>
                </a:extLst>
              </p:cNvPr>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33" name="Rectangle 32">
                <a:extLst>
                  <a:ext uri="{FF2B5EF4-FFF2-40B4-BE49-F238E27FC236}">
                    <a16:creationId xmlns:a16="http://schemas.microsoft.com/office/drawing/2014/main" id="{5A651FC0-123B-4F20-B8B0-DA521616040B}"/>
                  </a:ext>
                </a:extLst>
              </p:cNvPr>
              <p:cNvSpPr/>
              <p:nvPr/>
            </p:nvSpPr>
            <p:spPr bwMode="gray">
              <a:xfrm>
                <a:off x="-2412348" y="2111699"/>
                <a:ext cx="83823" cy="553527"/>
              </a:xfrm>
              <a:prstGeom prst="rect">
                <a:avLst/>
              </a:pr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sp>
        <p:nvSpPr>
          <p:cNvPr id="48" name="Rectangle 2">
            <a:extLst>
              <a:ext uri="{FF2B5EF4-FFF2-40B4-BE49-F238E27FC236}">
                <a16:creationId xmlns:a16="http://schemas.microsoft.com/office/drawing/2014/main" id="{A7D6BB0A-0323-46A2-AB63-5CB413C20A2E}"/>
              </a:ext>
            </a:extLst>
          </p:cNvPr>
          <p:cNvSpPr/>
          <p:nvPr/>
        </p:nvSpPr>
        <p:spPr bwMode="gray">
          <a:xfrm rot="10800000" flipH="1">
            <a:off x="6494475" y="3511006"/>
            <a:ext cx="306725" cy="173762"/>
          </a:xfrm>
          <a:custGeom>
            <a:avLst/>
            <a:gdLst/>
            <a:ahLst/>
            <a:cxnLst/>
            <a:rect l="l" t="t" r="r" b="b"/>
            <a:pathLst>
              <a:path w="420238" h="218437">
                <a:moveTo>
                  <a:pt x="0" y="218437"/>
                </a:moveTo>
                <a:lnTo>
                  <a:pt x="420238" y="218437"/>
                </a:lnTo>
                <a:lnTo>
                  <a:pt x="420238" y="0"/>
                </a:lnTo>
                <a:lnTo>
                  <a:pt x="0" y="0"/>
                </a:lnTo>
                <a:lnTo>
                  <a:pt x="0" y="49819"/>
                </a:lnTo>
                <a:lnTo>
                  <a:pt x="360926" y="49819"/>
                </a:lnTo>
                <a:lnTo>
                  <a:pt x="360926" y="168619"/>
                </a:lnTo>
                <a:lnTo>
                  <a:pt x="0" y="168619"/>
                </a:lnTo>
                <a:close/>
              </a:path>
            </a:pathLst>
          </a:custGeom>
          <a:noFill/>
          <a:ln w="12700">
            <a:solidFill>
              <a:schemeClr val="bg2"/>
            </a:solidFill>
            <a:prstDash val="sysDash"/>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A33D8556-BB43-471A-B444-EF673DCC1B03}"/>
              </a:ext>
            </a:extLst>
          </p:cNvPr>
          <p:cNvSpPr>
            <a:spLocks noGrp="1"/>
          </p:cNvSpPr>
          <p:nvPr>
            <p:ph type="dt" sz="half" idx="14"/>
          </p:nvPr>
        </p:nvSpPr>
        <p:spPr bwMode="gray"/>
        <p:txBody>
          <a:bodyPr/>
          <a:lstStyle/>
          <a:p>
            <a:fld id="{25150489-AA4E-4345-9853-598A514D4B7E}" type="datetime4">
              <a:rPr lang="en-US" smtClean="0"/>
              <a:t>September 8, 2019</a:t>
            </a:fld>
            <a:endParaRPr lang="en-US"/>
          </a:p>
        </p:txBody>
      </p:sp>
      <p:sp>
        <p:nvSpPr>
          <p:cNvPr id="77" name="Slide Number Placeholder 76">
            <a:extLst>
              <a:ext uri="{FF2B5EF4-FFF2-40B4-BE49-F238E27FC236}">
                <a16:creationId xmlns:a16="http://schemas.microsoft.com/office/drawing/2014/main" id="{80837501-02ED-401C-AEF4-932D0EC1A8FD}"/>
              </a:ext>
            </a:extLst>
          </p:cNvPr>
          <p:cNvSpPr>
            <a:spLocks noGrp="1"/>
          </p:cNvSpPr>
          <p:nvPr>
            <p:ph type="sldNum" sz="quarter" idx="16"/>
          </p:nvPr>
        </p:nvSpPr>
        <p:spPr bwMode="gray"/>
        <p:txBody>
          <a:bodyPr/>
          <a:lstStyle/>
          <a:p>
            <a:r>
              <a:rPr lang="en-US"/>
              <a:t>Slide </a:t>
            </a:r>
            <a:fld id="{619F89D8-7AE3-494A-97F3-03D680869632}" type="slidenum">
              <a:rPr lang="en-US" smtClean="0"/>
              <a:pPr/>
              <a:t>44</a:t>
            </a:fld>
            <a:endParaRPr lang="en-US"/>
          </a:p>
        </p:txBody>
      </p:sp>
      <p:sp>
        <p:nvSpPr>
          <p:cNvPr id="78" name="Footer Placeholder 77">
            <a:extLst>
              <a:ext uri="{FF2B5EF4-FFF2-40B4-BE49-F238E27FC236}">
                <a16:creationId xmlns:a16="http://schemas.microsoft.com/office/drawing/2014/main" id="{FF3B893F-4E82-4EC2-B899-A02D7304B9C9}"/>
              </a:ext>
            </a:extLst>
          </p:cNvPr>
          <p:cNvSpPr>
            <a:spLocks noGrp="1"/>
          </p:cNvSpPr>
          <p:nvPr>
            <p:ph type="ftr" sz="quarter" idx="15"/>
          </p:nvPr>
        </p:nvSpPr>
        <p:spPr bwMode="gray"/>
        <p:txBody>
          <a:bodyPr/>
          <a:lstStyle/>
          <a:p>
            <a:pPr lvl="8"/>
            <a:r>
              <a:rPr lang="en-US"/>
              <a:t>* H</a:t>
            </a:r>
            <a:r>
              <a:rPr lang="en-US" baseline="-25000"/>
              <a:t>2</a:t>
            </a:r>
            <a:r>
              <a:rPr lang="en-US"/>
              <a:t> in pure CO with Caldos27 is limited to 0-5000ppm range – Important: check if really suitable for customer needs!</a:t>
            </a:r>
          </a:p>
        </p:txBody>
      </p:sp>
      <p:grpSp>
        <p:nvGrpSpPr>
          <p:cNvPr id="133" name="Group 132">
            <a:extLst>
              <a:ext uri="{FF2B5EF4-FFF2-40B4-BE49-F238E27FC236}">
                <a16:creationId xmlns:a16="http://schemas.microsoft.com/office/drawing/2014/main" id="{9CD52AC0-6C56-41EA-80C7-6F8EED7DC17D}"/>
              </a:ext>
            </a:extLst>
          </p:cNvPr>
          <p:cNvGrpSpPr/>
          <p:nvPr/>
        </p:nvGrpSpPr>
        <p:grpSpPr bwMode="gray">
          <a:xfrm>
            <a:off x="7802498" y="2447108"/>
            <a:ext cx="369623" cy="113826"/>
            <a:chOff x="5561561" y="3580012"/>
            <a:chExt cx="1068879" cy="329166"/>
          </a:xfrm>
          <a:noFill/>
        </p:grpSpPr>
        <p:sp>
          <p:nvSpPr>
            <p:cNvPr id="134" name="Oval 133">
              <a:extLst>
                <a:ext uri="{FF2B5EF4-FFF2-40B4-BE49-F238E27FC236}">
                  <a16:creationId xmlns:a16="http://schemas.microsoft.com/office/drawing/2014/main" id="{29532D9C-8012-4A42-91C7-B2FFF9C2B27B}"/>
                </a:ext>
              </a:extLst>
            </p:cNvPr>
            <p:cNvSpPr/>
            <p:nvPr/>
          </p:nvSpPr>
          <p:spPr bwMode="gray">
            <a:xfrm>
              <a:off x="5561561" y="3580012"/>
              <a:ext cx="329166" cy="329166"/>
            </a:xfrm>
            <a:prstGeom prst="ellipse">
              <a:avLst/>
            </a:pr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35" name="Oval 134">
              <a:extLst>
                <a:ext uri="{FF2B5EF4-FFF2-40B4-BE49-F238E27FC236}">
                  <a16:creationId xmlns:a16="http://schemas.microsoft.com/office/drawing/2014/main" id="{38571EA6-2D87-4F46-879F-3592992991CE}"/>
                </a:ext>
              </a:extLst>
            </p:cNvPr>
            <p:cNvSpPr/>
            <p:nvPr/>
          </p:nvSpPr>
          <p:spPr bwMode="gray">
            <a:xfrm>
              <a:off x="6301274" y="3580012"/>
              <a:ext cx="329166" cy="329166"/>
            </a:xfrm>
            <a:prstGeom prst="ellipse">
              <a:avLst/>
            </a:pr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136" name="Straight Connector 135">
              <a:extLst>
                <a:ext uri="{FF2B5EF4-FFF2-40B4-BE49-F238E27FC236}">
                  <a16:creationId xmlns:a16="http://schemas.microsoft.com/office/drawing/2014/main" id="{AD2B8405-BF5C-448D-BB5D-31AC47066328}"/>
                </a:ext>
              </a:extLst>
            </p:cNvPr>
            <p:cNvCxnSpPr>
              <a:stCxn id="134" idx="6"/>
              <a:endCxn id="135" idx="2"/>
            </p:cNvCxnSpPr>
            <p:nvPr/>
          </p:nvCxnSpPr>
          <p:spPr bwMode="gray">
            <a:xfrm>
              <a:off x="5890727" y="3744595"/>
              <a:ext cx="410547" cy="0"/>
            </a:xfrm>
            <a:prstGeom prst="line">
              <a:avLst/>
            </a:prstGeom>
            <a:grpFill/>
            <a:ln w="12700">
              <a:solidFill>
                <a:schemeClr val="bg2"/>
              </a:solidFill>
              <a:prstDash val="solid"/>
              <a:round/>
              <a:headEnd/>
              <a:tailEnd/>
            </a:ln>
            <a:extLst/>
          </p:spPr>
        </p:cxnSp>
        <p:cxnSp>
          <p:nvCxnSpPr>
            <p:cNvPr id="137" name="Straight Connector 136">
              <a:extLst>
                <a:ext uri="{FF2B5EF4-FFF2-40B4-BE49-F238E27FC236}">
                  <a16:creationId xmlns:a16="http://schemas.microsoft.com/office/drawing/2014/main" id="{429B13F5-E88F-4AD4-9319-A5CD452A55C0}"/>
                </a:ext>
              </a:extLst>
            </p:cNvPr>
            <p:cNvCxnSpPr/>
            <p:nvPr/>
          </p:nvCxnSpPr>
          <p:spPr bwMode="gray">
            <a:xfrm>
              <a:off x="6062617" y="3669857"/>
              <a:ext cx="66766" cy="149477"/>
            </a:xfrm>
            <a:prstGeom prst="line">
              <a:avLst/>
            </a:prstGeom>
            <a:grpFill/>
            <a:ln w="12700">
              <a:solidFill>
                <a:schemeClr val="bg2"/>
              </a:solidFill>
              <a:prstDash val="solid"/>
              <a:round/>
              <a:headEnd/>
              <a:tailEnd/>
            </a:ln>
            <a:extLst/>
          </p:spPr>
        </p:cxnSp>
      </p:grpSp>
      <p:grpSp>
        <p:nvGrpSpPr>
          <p:cNvPr id="138" name="Group 137">
            <a:extLst>
              <a:ext uri="{FF2B5EF4-FFF2-40B4-BE49-F238E27FC236}">
                <a16:creationId xmlns:a16="http://schemas.microsoft.com/office/drawing/2014/main" id="{430455AD-2C97-4AF3-A828-2F07369E5678}"/>
              </a:ext>
            </a:extLst>
          </p:cNvPr>
          <p:cNvGrpSpPr/>
          <p:nvPr/>
        </p:nvGrpSpPr>
        <p:grpSpPr bwMode="gray">
          <a:xfrm>
            <a:off x="6509367" y="2981144"/>
            <a:ext cx="310194" cy="293095"/>
            <a:chOff x="-640260" y="1957916"/>
            <a:chExt cx="355290" cy="335706"/>
          </a:xfrm>
          <a:noFill/>
        </p:grpSpPr>
        <p:sp>
          <p:nvSpPr>
            <p:cNvPr id="139" name="Rectangle 17">
              <a:extLst>
                <a:ext uri="{FF2B5EF4-FFF2-40B4-BE49-F238E27FC236}">
                  <a16:creationId xmlns:a16="http://schemas.microsoft.com/office/drawing/2014/main" id="{2D840CCF-BD86-424E-B6FD-0F34110C66C9}"/>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40" name="Rectangle 16">
              <a:extLst>
                <a:ext uri="{FF2B5EF4-FFF2-40B4-BE49-F238E27FC236}">
                  <a16:creationId xmlns:a16="http://schemas.microsoft.com/office/drawing/2014/main" id="{153BE9E3-3247-4E7A-9D1F-60F6E22A295B}"/>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141" name="Straight Connector 140">
              <a:extLst>
                <a:ext uri="{FF2B5EF4-FFF2-40B4-BE49-F238E27FC236}">
                  <a16:creationId xmlns:a16="http://schemas.microsoft.com/office/drawing/2014/main" id="{847D9BCA-D2C5-4592-B21A-92EC4AD8CD50}"/>
                </a:ext>
              </a:extLst>
            </p:cNvPr>
            <p:cNvCxnSpPr/>
            <p:nvPr/>
          </p:nvCxnSpPr>
          <p:spPr bwMode="gray">
            <a:xfrm rot="5400000" flipH="1">
              <a:off x="-481603" y="1981616"/>
              <a:ext cx="47400" cy="0"/>
            </a:xfrm>
            <a:prstGeom prst="line">
              <a:avLst/>
            </a:prstGeom>
            <a:grpFill/>
            <a:ln w="12700">
              <a:solidFill>
                <a:schemeClr val="bg2"/>
              </a:solidFill>
              <a:prstDash val="solid"/>
              <a:round/>
              <a:headEnd/>
              <a:tailEnd/>
            </a:ln>
            <a:extLst/>
          </p:spPr>
        </p:cxnSp>
        <p:cxnSp>
          <p:nvCxnSpPr>
            <p:cNvPr id="142" name="Straight Connector 141">
              <a:extLst>
                <a:ext uri="{FF2B5EF4-FFF2-40B4-BE49-F238E27FC236}">
                  <a16:creationId xmlns:a16="http://schemas.microsoft.com/office/drawing/2014/main" id="{5311F425-E162-46A2-9CC7-61351A0FC6E7}"/>
                </a:ext>
              </a:extLst>
            </p:cNvPr>
            <p:cNvCxnSpPr/>
            <p:nvPr/>
          </p:nvCxnSpPr>
          <p:spPr bwMode="gray">
            <a:xfrm rot="5400000" flipH="1">
              <a:off x="-481603" y="2269922"/>
              <a:ext cx="47400" cy="0"/>
            </a:xfrm>
            <a:prstGeom prst="line">
              <a:avLst/>
            </a:prstGeom>
            <a:grpFill/>
            <a:ln w="12700">
              <a:solidFill>
                <a:schemeClr val="bg2"/>
              </a:solidFill>
              <a:prstDash val="solid"/>
              <a:round/>
              <a:headEnd/>
              <a:tailEnd/>
            </a:ln>
            <a:extLst/>
          </p:spPr>
        </p:cxnSp>
        <p:cxnSp>
          <p:nvCxnSpPr>
            <p:cNvPr id="143" name="Straight Connector 142">
              <a:extLst>
                <a:ext uri="{FF2B5EF4-FFF2-40B4-BE49-F238E27FC236}">
                  <a16:creationId xmlns:a16="http://schemas.microsoft.com/office/drawing/2014/main" id="{95C542DF-4CD8-4469-A02C-B6BD8AF469E9}"/>
                </a:ext>
              </a:extLst>
            </p:cNvPr>
            <p:cNvCxnSpPr/>
            <p:nvPr/>
          </p:nvCxnSpPr>
          <p:spPr bwMode="gray">
            <a:xfrm rot="2503489" flipH="1">
              <a:off x="-370223" y="2225091"/>
              <a:ext cx="47400" cy="0"/>
            </a:xfrm>
            <a:prstGeom prst="line">
              <a:avLst/>
            </a:prstGeom>
            <a:grpFill/>
            <a:ln w="12700">
              <a:solidFill>
                <a:schemeClr val="bg2"/>
              </a:solidFill>
              <a:prstDash val="solid"/>
              <a:round/>
              <a:headEnd/>
              <a:tailEnd/>
            </a:ln>
            <a:extLst/>
          </p:spPr>
        </p:cxnSp>
        <p:cxnSp>
          <p:nvCxnSpPr>
            <p:cNvPr id="144" name="Straight Connector 143">
              <a:extLst>
                <a:ext uri="{FF2B5EF4-FFF2-40B4-BE49-F238E27FC236}">
                  <a16:creationId xmlns:a16="http://schemas.microsoft.com/office/drawing/2014/main" id="{AD769B24-76AB-4243-8D2D-37902C526F44}"/>
                </a:ext>
              </a:extLst>
            </p:cNvPr>
            <p:cNvCxnSpPr/>
            <p:nvPr/>
          </p:nvCxnSpPr>
          <p:spPr bwMode="gray">
            <a:xfrm rot="8296511">
              <a:off x="-370223" y="2026447"/>
              <a:ext cx="47400" cy="0"/>
            </a:xfrm>
            <a:prstGeom prst="line">
              <a:avLst/>
            </a:prstGeom>
            <a:grpFill/>
            <a:ln w="12700">
              <a:solidFill>
                <a:schemeClr val="bg2"/>
              </a:solidFill>
              <a:prstDash val="solid"/>
              <a:round/>
              <a:headEnd/>
              <a:tailEnd/>
            </a:ln>
            <a:extLst/>
          </p:spPr>
        </p:cxnSp>
        <p:cxnSp>
          <p:nvCxnSpPr>
            <p:cNvPr id="145" name="Straight Connector 144">
              <a:extLst>
                <a:ext uri="{FF2B5EF4-FFF2-40B4-BE49-F238E27FC236}">
                  <a16:creationId xmlns:a16="http://schemas.microsoft.com/office/drawing/2014/main" id="{DFE6EA77-214B-494E-8807-1819F6AD33C8}"/>
                </a:ext>
              </a:extLst>
            </p:cNvPr>
            <p:cNvCxnSpPr/>
            <p:nvPr/>
          </p:nvCxnSpPr>
          <p:spPr bwMode="gray">
            <a:xfrm rot="10800000">
              <a:off x="-332370" y="2125769"/>
              <a:ext cx="47400" cy="0"/>
            </a:xfrm>
            <a:prstGeom prst="line">
              <a:avLst/>
            </a:prstGeom>
            <a:grpFill/>
            <a:ln w="12700">
              <a:solidFill>
                <a:schemeClr val="bg2"/>
              </a:solidFill>
              <a:prstDash val="solid"/>
              <a:round/>
              <a:headEnd/>
              <a:tailEnd/>
            </a:ln>
            <a:extLst/>
          </p:spPr>
        </p:cxnSp>
        <p:grpSp>
          <p:nvGrpSpPr>
            <p:cNvPr id="146" name="Group 145">
              <a:extLst>
                <a:ext uri="{FF2B5EF4-FFF2-40B4-BE49-F238E27FC236}">
                  <a16:creationId xmlns:a16="http://schemas.microsoft.com/office/drawing/2014/main" id="{ACAE22B0-377E-4E64-88ED-1E3CA5C3768E}"/>
                </a:ext>
              </a:extLst>
            </p:cNvPr>
            <p:cNvGrpSpPr/>
            <p:nvPr/>
          </p:nvGrpSpPr>
          <p:grpSpPr bwMode="gray">
            <a:xfrm>
              <a:off x="-507951" y="2088033"/>
              <a:ext cx="84957" cy="65573"/>
              <a:chOff x="-2412348" y="2111699"/>
              <a:chExt cx="717156" cy="553527"/>
            </a:xfrm>
            <a:grpFill/>
          </p:grpSpPr>
          <p:sp>
            <p:nvSpPr>
              <p:cNvPr id="147" name="Parallelogram 1029">
                <a:extLst>
                  <a:ext uri="{FF2B5EF4-FFF2-40B4-BE49-F238E27FC236}">
                    <a16:creationId xmlns:a16="http://schemas.microsoft.com/office/drawing/2014/main" id="{0756196B-2371-442E-989F-A658C6DB1266}"/>
                  </a:ext>
                </a:extLst>
              </p:cNvPr>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48" name="Rectangle 147">
                <a:extLst>
                  <a:ext uri="{FF2B5EF4-FFF2-40B4-BE49-F238E27FC236}">
                    <a16:creationId xmlns:a16="http://schemas.microsoft.com/office/drawing/2014/main" id="{52AFE827-644A-44CC-8431-B8C45288B9CB}"/>
                  </a:ext>
                </a:extLst>
              </p:cNvPr>
              <p:cNvSpPr/>
              <p:nvPr/>
            </p:nvSpPr>
            <p:spPr bwMode="gray">
              <a:xfrm>
                <a:off x="-2412348" y="2111699"/>
                <a:ext cx="83823" cy="553527"/>
              </a:xfrm>
              <a:prstGeom prst="rect">
                <a:avLst/>
              </a:pr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149" name="Group 148">
            <a:extLst>
              <a:ext uri="{FF2B5EF4-FFF2-40B4-BE49-F238E27FC236}">
                <a16:creationId xmlns:a16="http://schemas.microsoft.com/office/drawing/2014/main" id="{8A73962D-A471-4AFB-B70B-9373BB26C959}"/>
              </a:ext>
            </a:extLst>
          </p:cNvPr>
          <p:cNvGrpSpPr/>
          <p:nvPr/>
        </p:nvGrpSpPr>
        <p:grpSpPr bwMode="gray">
          <a:xfrm>
            <a:off x="7802498" y="3076569"/>
            <a:ext cx="369623" cy="113826"/>
            <a:chOff x="5561561" y="3580012"/>
            <a:chExt cx="1068879" cy="329166"/>
          </a:xfrm>
          <a:noFill/>
        </p:grpSpPr>
        <p:sp>
          <p:nvSpPr>
            <p:cNvPr id="150" name="Oval 149">
              <a:extLst>
                <a:ext uri="{FF2B5EF4-FFF2-40B4-BE49-F238E27FC236}">
                  <a16:creationId xmlns:a16="http://schemas.microsoft.com/office/drawing/2014/main" id="{DEEF99AE-0FE3-4A5E-9B73-B36F13234235}"/>
                </a:ext>
              </a:extLst>
            </p:cNvPr>
            <p:cNvSpPr/>
            <p:nvPr/>
          </p:nvSpPr>
          <p:spPr bwMode="gray">
            <a:xfrm>
              <a:off x="5561561" y="3580012"/>
              <a:ext cx="329166" cy="329166"/>
            </a:xfrm>
            <a:prstGeom prst="ellipse">
              <a:avLst/>
            </a:pr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51" name="Oval 150">
              <a:extLst>
                <a:ext uri="{FF2B5EF4-FFF2-40B4-BE49-F238E27FC236}">
                  <a16:creationId xmlns:a16="http://schemas.microsoft.com/office/drawing/2014/main" id="{95A40D58-4B16-4C8F-8F98-C6947D28DA01}"/>
                </a:ext>
              </a:extLst>
            </p:cNvPr>
            <p:cNvSpPr/>
            <p:nvPr/>
          </p:nvSpPr>
          <p:spPr bwMode="gray">
            <a:xfrm>
              <a:off x="6301274" y="3580012"/>
              <a:ext cx="329166" cy="329166"/>
            </a:xfrm>
            <a:prstGeom prst="ellipse">
              <a:avLst/>
            </a:pr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152" name="Straight Connector 151">
              <a:extLst>
                <a:ext uri="{FF2B5EF4-FFF2-40B4-BE49-F238E27FC236}">
                  <a16:creationId xmlns:a16="http://schemas.microsoft.com/office/drawing/2014/main" id="{0841CFF4-0328-4806-BB73-22868A52FD23}"/>
                </a:ext>
              </a:extLst>
            </p:cNvPr>
            <p:cNvCxnSpPr>
              <a:stCxn id="150" idx="6"/>
              <a:endCxn id="151" idx="2"/>
            </p:cNvCxnSpPr>
            <p:nvPr/>
          </p:nvCxnSpPr>
          <p:spPr bwMode="gray">
            <a:xfrm>
              <a:off x="5890727" y="3744595"/>
              <a:ext cx="410547" cy="0"/>
            </a:xfrm>
            <a:prstGeom prst="line">
              <a:avLst/>
            </a:prstGeom>
            <a:grpFill/>
            <a:ln w="12700">
              <a:solidFill>
                <a:schemeClr val="bg2"/>
              </a:solidFill>
              <a:prstDash val="solid"/>
              <a:round/>
              <a:headEnd/>
              <a:tailEnd/>
            </a:ln>
            <a:extLst/>
          </p:spPr>
        </p:cxnSp>
        <p:cxnSp>
          <p:nvCxnSpPr>
            <p:cNvPr id="153" name="Straight Connector 152">
              <a:extLst>
                <a:ext uri="{FF2B5EF4-FFF2-40B4-BE49-F238E27FC236}">
                  <a16:creationId xmlns:a16="http://schemas.microsoft.com/office/drawing/2014/main" id="{32C37E57-B503-4A2A-B3C3-7B72914541F5}"/>
                </a:ext>
              </a:extLst>
            </p:cNvPr>
            <p:cNvCxnSpPr/>
            <p:nvPr/>
          </p:nvCxnSpPr>
          <p:spPr bwMode="gray">
            <a:xfrm>
              <a:off x="6062617" y="3669857"/>
              <a:ext cx="66766" cy="149477"/>
            </a:xfrm>
            <a:prstGeom prst="line">
              <a:avLst/>
            </a:prstGeom>
            <a:grpFill/>
            <a:ln w="12700">
              <a:solidFill>
                <a:schemeClr val="bg2"/>
              </a:solidFill>
              <a:prstDash val="solid"/>
              <a:round/>
              <a:headEnd/>
              <a:tailEnd/>
            </a:ln>
            <a:extLst/>
          </p:spPr>
        </p:cxnSp>
      </p:grpSp>
      <p:grpSp>
        <p:nvGrpSpPr>
          <p:cNvPr id="154" name="Group 153">
            <a:extLst>
              <a:ext uri="{FF2B5EF4-FFF2-40B4-BE49-F238E27FC236}">
                <a16:creationId xmlns:a16="http://schemas.microsoft.com/office/drawing/2014/main" id="{35A4AA9C-B093-48FE-A688-A6B25EB45FBA}"/>
              </a:ext>
            </a:extLst>
          </p:cNvPr>
          <p:cNvGrpSpPr/>
          <p:nvPr/>
        </p:nvGrpSpPr>
        <p:grpSpPr bwMode="gray">
          <a:xfrm>
            <a:off x="6509367" y="3812954"/>
            <a:ext cx="310194" cy="293095"/>
            <a:chOff x="-640260" y="1957916"/>
            <a:chExt cx="355290" cy="335706"/>
          </a:xfrm>
          <a:noFill/>
        </p:grpSpPr>
        <p:sp>
          <p:nvSpPr>
            <p:cNvPr id="155" name="Rectangle 17">
              <a:extLst>
                <a:ext uri="{FF2B5EF4-FFF2-40B4-BE49-F238E27FC236}">
                  <a16:creationId xmlns:a16="http://schemas.microsoft.com/office/drawing/2014/main" id="{D5ADC0B7-40CC-44D5-B682-8DF80DCCCB47}"/>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56" name="Rectangle 16">
              <a:extLst>
                <a:ext uri="{FF2B5EF4-FFF2-40B4-BE49-F238E27FC236}">
                  <a16:creationId xmlns:a16="http://schemas.microsoft.com/office/drawing/2014/main" id="{49D75A9C-EF4F-48AC-974B-36B5225C3180}"/>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157" name="Straight Connector 156">
              <a:extLst>
                <a:ext uri="{FF2B5EF4-FFF2-40B4-BE49-F238E27FC236}">
                  <a16:creationId xmlns:a16="http://schemas.microsoft.com/office/drawing/2014/main" id="{95980A72-5E7B-46DC-8650-42AE5BEA93FF}"/>
                </a:ext>
              </a:extLst>
            </p:cNvPr>
            <p:cNvCxnSpPr/>
            <p:nvPr/>
          </p:nvCxnSpPr>
          <p:spPr bwMode="gray">
            <a:xfrm rot="5400000" flipH="1">
              <a:off x="-481603" y="1981616"/>
              <a:ext cx="47400" cy="0"/>
            </a:xfrm>
            <a:prstGeom prst="line">
              <a:avLst/>
            </a:prstGeom>
            <a:grpFill/>
            <a:ln w="12700">
              <a:solidFill>
                <a:schemeClr val="bg2"/>
              </a:solidFill>
              <a:prstDash val="solid"/>
              <a:round/>
              <a:headEnd/>
              <a:tailEnd/>
            </a:ln>
            <a:extLst/>
          </p:spPr>
        </p:cxnSp>
        <p:cxnSp>
          <p:nvCxnSpPr>
            <p:cNvPr id="158" name="Straight Connector 157">
              <a:extLst>
                <a:ext uri="{FF2B5EF4-FFF2-40B4-BE49-F238E27FC236}">
                  <a16:creationId xmlns:a16="http://schemas.microsoft.com/office/drawing/2014/main" id="{81C33E3A-C3BA-4C5C-AFB8-742B8032332C}"/>
                </a:ext>
              </a:extLst>
            </p:cNvPr>
            <p:cNvCxnSpPr/>
            <p:nvPr/>
          </p:nvCxnSpPr>
          <p:spPr bwMode="gray">
            <a:xfrm rot="5400000" flipH="1">
              <a:off x="-481603" y="2269922"/>
              <a:ext cx="47400" cy="0"/>
            </a:xfrm>
            <a:prstGeom prst="line">
              <a:avLst/>
            </a:prstGeom>
            <a:grpFill/>
            <a:ln w="12700">
              <a:solidFill>
                <a:schemeClr val="bg2"/>
              </a:solidFill>
              <a:prstDash val="solid"/>
              <a:round/>
              <a:headEnd/>
              <a:tailEnd/>
            </a:ln>
            <a:extLst/>
          </p:spPr>
        </p:cxnSp>
        <p:cxnSp>
          <p:nvCxnSpPr>
            <p:cNvPr id="159" name="Straight Connector 158">
              <a:extLst>
                <a:ext uri="{FF2B5EF4-FFF2-40B4-BE49-F238E27FC236}">
                  <a16:creationId xmlns:a16="http://schemas.microsoft.com/office/drawing/2014/main" id="{7AF5D12C-662D-4735-9E62-DB35711CFD96}"/>
                </a:ext>
              </a:extLst>
            </p:cNvPr>
            <p:cNvCxnSpPr/>
            <p:nvPr/>
          </p:nvCxnSpPr>
          <p:spPr bwMode="gray">
            <a:xfrm rot="2503489" flipH="1">
              <a:off x="-370223" y="2225091"/>
              <a:ext cx="47400" cy="0"/>
            </a:xfrm>
            <a:prstGeom prst="line">
              <a:avLst/>
            </a:prstGeom>
            <a:grpFill/>
            <a:ln w="12700">
              <a:solidFill>
                <a:schemeClr val="bg2"/>
              </a:solidFill>
              <a:prstDash val="solid"/>
              <a:round/>
              <a:headEnd/>
              <a:tailEnd/>
            </a:ln>
            <a:extLst/>
          </p:spPr>
        </p:cxnSp>
        <p:cxnSp>
          <p:nvCxnSpPr>
            <p:cNvPr id="160" name="Straight Connector 159">
              <a:extLst>
                <a:ext uri="{FF2B5EF4-FFF2-40B4-BE49-F238E27FC236}">
                  <a16:creationId xmlns:a16="http://schemas.microsoft.com/office/drawing/2014/main" id="{B1B6DD3C-2DBA-4E05-A908-BCEE5BFE474C}"/>
                </a:ext>
              </a:extLst>
            </p:cNvPr>
            <p:cNvCxnSpPr/>
            <p:nvPr/>
          </p:nvCxnSpPr>
          <p:spPr bwMode="gray">
            <a:xfrm rot="8296511">
              <a:off x="-370223" y="2026447"/>
              <a:ext cx="47400" cy="0"/>
            </a:xfrm>
            <a:prstGeom prst="line">
              <a:avLst/>
            </a:prstGeom>
            <a:grpFill/>
            <a:ln w="12700">
              <a:solidFill>
                <a:schemeClr val="bg2"/>
              </a:solidFill>
              <a:prstDash val="solid"/>
              <a:round/>
              <a:headEnd/>
              <a:tailEnd/>
            </a:ln>
            <a:extLst/>
          </p:spPr>
        </p:cxnSp>
        <p:cxnSp>
          <p:nvCxnSpPr>
            <p:cNvPr id="161" name="Straight Connector 160">
              <a:extLst>
                <a:ext uri="{FF2B5EF4-FFF2-40B4-BE49-F238E27FC236}">
                  <a16:creationId xmlns:a16="http://schemas.microsoft.com/office/drawing/2014/main" id="{74540B7C-1675-4811-A318-BAE60E19735C}"/>
                </a:ext>
              </a:extLst>
            </p:cNvPr>
            <p:cNvCxnSpPr/>
            <p:nvPr/>
          </p:nvCxnSpPr>
          <p:spPr bwMode="gray">
            <a:xfrm rot="10800000">
              <a:off x="-332370" y="2125769"/>
              <a:ext cx="47400" cy="0"/>
            </a:xfrm>
            <a:prstGeom prst="line">
              <a:avLst/>
            </a:prstGeom>
            <a:grpFill/>
            <a:ln w="12700">
              <a:solidFill>
                <a:schemeClr val="bg2"/>
              </a:solidFill>
              <a:prstDash val="solid"/>
              <a:round/>
              <a:headEnd/>
              <a:tailEnd/>
            </a:ln>
            <a:extLst/>
          </p:spPr>
        </p:cxnSp>
        <p:grpSp>
          <p:nvGrpSpPr>
            <p:cNvPr id="162" name="Group 161">
              <a:extLst>
                <a:ext uri="{FF2B5EF4-FFF2-40B4-BE49-F238E27FC236}">
                  <a16:creationId xmlns:a16="http://schemas.microsoft.com/office/drawing/2014/main" id="{DA6187AB-5C08-412E-81B6-4FEBBA66F7A4}"/>
                </a:ext>
              </a:extLst>
            </p:cNvPr>
            <p:cNvGrpSpPr/>
            <p:nvPr/>
          </p:nvGrpSpPr>
          <p:grpSpPr bwMode="gray">
            <a:xfrm>
              <a:off x="-507951" y="2088033"/>
              <a:ext cx="84957" cy="65573"/>
              <a:chOff x="-2412348" y="2111699"/>
              <a:chExt cx="717156" cy="553527"/>
            </a:xfrm>
            <a:grpFill/>
          </p:grpSpPr>
          <p:sp>
            <p:nvSpPr>
              <p:cNvPr id="163" name="Parallelogram 1029">
                <a:extLst>
                  <a:ext uri="{FF2B5EF4-FFF2-40B4-BE49-F238E27FC236}">
                    <a16:creationId xmlns:a16="http://schemas.microsoft.com/office/drawing/2014/main" id="{E867B647-4A88-4594-BBD9-EBDB9127C12C}"/>
                  </a:ext>
                </a:extLst>
              </p:cNvPr>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64" name="Rectangle 163">
                <a:extLst>
                  <a:ext uri="{FF2B5EF4-FFF2-40B4-BE49-F238E27FC236}">
                    <a16:creationId xmlns:a16="http://schemas.microsoft.com/office/drawing/2014/main" id="{4D0213FC-1971-41D8-B779-313609966D18}"/>
                  </a:ext>
                </a:extLst>
              </p:cNvPr>
              <p:cNvSpPr/>
              <p:nvPr/>
            </p:nvSpPr>
            <p:spPr bwMode="gray">
              <a:xfrm>
                <a:off x="-2412348" y="2111699"/>
                <a:ext cx="83823" cy="553527"/>
              </a:xfrm>
              <a:prstGeom prst="rect">
                <a:avLst/>
              </a:pr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165" name="Group 164">
            <a:extLst>
              <a:ext uri="{FF2B5EF4-FFF2-40B4-BE49-F238E27FC236}">
                <a16:creationId xmlns:a16="http://schemas.microsoft.com/office/drawing/2014/main" id="{D526A690-E20C-4576-898A-BEE41923B420}"/>
              </a:ext>
            </a:extLst>
          </p:cNvPr>
          <p:cNvGrpSpPr/>
          <p:nvPr/>
        </p:nvGrpSpPr>
        <p:grpSpPr bwMode="gray">
          <a:xfrm>
            <a:off x="6499187" y="4197956"/>
            <a:ext cx="310194" cy="293095"/>
            <a:chOff x="-640260" y="1957916"/>
            <a:chExt cx="355290" cy="335706"/>
          </a:xfrm>
          <a:noFill/>
        </p:grpSpPr>
        <p:sp>
          <p:nvSpPr>
            <p:cNvPr id="166" name="Rectangle 17">
              <a:extLst>
                <a:ext uri="{FF2B5EF4-FFF2-40B4-BE49-F238E27FC236}">
                  <a16:creationId xmlns:a16="http://schemas.microsoft.com/office/drawing/2014/main" id="{F91359EA-118E-44F9-B324-C915F18C5388}"/>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67" name="Rectangle 16">
              <a:extLst>
                <a:ext uri="{FF2B5EF4-FFF2-40B4-BE49-F238E27FC236}">
                  <a16:creationId xmlns:a16="http://schemas.microsoft.com/office/drawing/2014/main" id="{C0FAF61B-A786-4207-B16A-ADE31DCD2E6A}"/>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168" name="Straight Connector 167">
              <a:extLst>
                <a:ext uri="{FF2B5EF4-FFF2-40B4-BE49-F238E27FC236}">
                  <a16:creationId xmlns:a16="http://schemas.microsoft.com/office/drawing/2014/main" id="{2824F9DE-5F22-4A31-913B-B43C5859FE19}"/>
                </a:ext>
              </a:extLst>
            </p:cNvPr>
            <p:cNvCxnSpPr/>
            <p:nvPr/>
          </p:nvCxnSpPr>
          <p:spPr bwMode="gray">
            <a:xfrm rot="5400000" flipH="1">
              <a:off x="-481603" y="1981616"/>
              <a:ext cx="47400" cy="0"/>
            </a:xfrm>
            <a:prstGeom prst="line">
              <a:avLst/>
            </a:prstGeom>
            <a:grpFill/>
            <a:ln w="12700">
              <a:solidFill>
                <a:schemeClr val="bg2"/>
              </a:solidFill>
              <a:prstDash val="solid"/>
              <a:round/>
              <a:headEnd/>
              <a:tailEnd/>
            </a:ln>
            <a:extLst/>
          </p:spPr>
        </p:cxnSp>
        <p:cxnSp>
          <p:nvCxnSpPr>
            <p:cNvPr id="169" name="Straight Connector 168">
              <a:extLst>
                <a:ext uri="{FF2B5EF4-FFF2-40B4-BE49-F238E27FC236}">
                  <a16:creationId xmlns:a16="http://schemas.microsoft.com/office/drawing/2014/main" id="{4A6C7E66-8AA4-43A5-9004-0B4DF7E83C91}"/>
                </a:ext>
              </a:extLst>
            </p:cNvPr>
            <p:cNvCxnSpPr/>
            <p:nvPr/>
          </p:nvCxnSpPr>
          <p:spPr bwMode="gray">
            <a:xfrm rot="5400000" flipH="1">
              <a:off x="-481603" y="2269922"/>
              <a:ext cx="47400" cy="0"/>
            </a:xfrm>
            <a:prstGeom prst="line">
              <a:avLst/>
            </a:prstGeom>
            <a:grpFill/>
            <a:ln w="12700">
              <a:solidFill>
                <a:schemeClr val="bg2"/>
              </a:solidFill>
              <a:prstDash val="solid"/>
              <a:round/>
              <a:headEnd/>
              <a:tailEnd/>
            </a:ln>
            <a:extLst/>
          </p:spPr>
        </p:cxnSp>
        <p:cxnSp>
          <p:nvCxnSpPr>
            <p:cNvPr id="170" name="Straight Connector 169">
              <a:extLst>
                <a:ext uri="{FF2B5EF4-FFF2-40B4-BE49-F238E27FC236}">
                  <a16:creationId xmlns:a16="http://schemas.microsoft.com/office/drawing/2014/main" id="{B97F8154-F655-42F0-9C5A-907F0E4CA830}"/>
                </a:ext>
              </a:extLst>
            </p:cNvPr>
            <p:cNvCxnSpPr/>
            <p:nvPr/>
          </p:nvCxnSpPr>
          <p:spPr bwMode="gray">
            <a:xfrm rot="2503489" flipH="1">
              <a:off x="-370223" y="2225091"/>
              <a:ext cx="47400" cy="0"/>
            </a:xfrm>
            <a:prstGeom prst="line">
              <a:avLst/>
            </a:prstGeom>
            <a:grpFill/>
            <a:ln w="12700">
              <a:solidFill>
                <a:schemeClr val="bg2"/>
              </a:solidFill>
              <a:prstDash val="solid"/>
              <a:round/>
              <a:headEnd/>
              <a:tailEnd/>
            </a:ln>
            <a:extLst/>
          </p:spPr>
        </p:cxnSp>
        <p:cxnSp>
          <p:nvCxnSpPr>
            <p:cNvPr id="171" name="Straight Connector 170">
              <a:extLst>
                <a:ext uri="{FF2B5EF4-FFF2-40B4-BE49-F238E27FC236}">
                  <a16:creationId xmlns:a16="http://schemas.microsoft.com/office/drawing/2014/main" id="{25D35BD9-A534-4026-A145-E4DDBB569D99}"/>
                </a:ext>
              </a:extLst>
            </p:cNvPr>
            <p:cNvCxnSpPr/>
            <p:nvPr/>
          </p:nvCxnSpPr>
          <p:spPr bwMode="gray">
            <a:xfrm rot="8296511">
              <a:off x="-370223" y="2026447"/>
              <a:ext cx="47400" cy="0"/>
            </a:xfrm>
            <a:prstGeom prst="line">
              <a:avLst/>
            </a:prstGeom>
            <a:grpFill/>
            <a:ln w="12700">
              <a:solidFill>
                <a:schemeClr val="bg2"/>
              </a:solidFill>
              <a:prstDash val="solid"/>
              <a:round/>
              <a:headEnd/>
              <a:tailEnd/>
            </a:ln>
            <a:extLst/>
          </p:spPr>
        </p:cxnSp>
        <p:cxnSp>
          <p:nvCxnSpPr>
            <p:cNvPr id="172" name="Straight Connector 171">
              <a:extLst>
                <a:ext uri="{FF2B5EF4-FFF2-40B4-BE49-F238E27FC236}">
                  <a16:creationId xmlns:a16="http://schemas.microsoft.com/office/drawing/2014/main" id="{7A376FAD-9AFA-4301-8B0D-5E0ACEE6BEC1}"/>
                </a:ext>
              </a:extLst>
            </p:cNvPr>
            <p:cNvCxnSpPr/>
            <p:nvPr/>
          </p:nvCxnSpPr>
          <p:spPr bwMode="gray">
            <a:xfrm rot="10800000">
              <a:off x="-332370" y="2125769"/>
              <a:ext cx="47400" cy="0"/>
            </a:xfrm>
            <a:prstGeom prst="line">
              <a:avLst/>
            </a:prstGeom>
            <a:grpFill/>
            <a:ln w="12700">
              <a:solidFill>
                <a:schemeClr val="bg2"/>
              </a:solidFill>
              <a:prstDash val="solid"/>
              <a:round/>
              <a:headEnd/>
              <a:tailEnd/>
            </a:ln>
            <a:extLst/>
          </p:spPr>
        </p:cxnSp>
        <p:grpSp>
          <p:nvGrpSpPr>
            <p:cNvPr id="173" name="Group 172">
              <a:extLst>
                <a:ext uri="{FF2B5EF4-FFF2-40B4-BE49-F238E27FC236}">
                  <a16:creationId xmlns:a16="http://schemas.microsoft.com/office/drawing/2014/main" id="{AC8CEE39-D06A-4731-931D-B5FFB83C2C2E}"/>
                </a:ext>
              </a:extLst>
            </p:cNvPr>
            <p:cNvGrpSpPr/>
            <p:nvPr/>
          </p:nvGrpSpPr>
          <p:grpSpPr bwMode="gray">
            <a:xfrm>
              <a:off x="-507951" y="2088033"/>
              <a:ext cx="84957" cy="65573"/>
              <a:chOff x="-2412348" y="2111699"/>
              <a:chExt cx="717156" cy="553527"/>
            </a:xfrm>
            <a:grpFill/>
          </p:grpSpPr>
          <p:sp>
            <p:nvSpPr>
              <p:cNvPr id="174" name="Parallelogram 1029">
                <a:extLst>
                  <a:ext uri="{FF2B5EF4-FFF2-40B4-BE49-F238E27FC236}">
                    <a16:creationId xmlns:a16="http://schemas.microsoft.com/office/drawing/2014/main" id="{52546688-0744-481B-98F1-0BB622F3883B}"/>
                  </a:ext>
                </a:extLst>
              </p:cNvPr>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75" name="Rectangle 174">
                <a:extLst>
                  <a:ext uri="{FF2B5EF4-FFF2-40B4-BE49-F238E27FC236}">
                    <a16:creationId xmlns:a16="http://schemas.microsoft.com/office/drawing/2014/main" id="{3FB12FAD-F93C-4CD7-ADF5-3CB139A1FD93}"/>
                  </a:ext>
                </a:extLst>
              </p:cNvPr>
              <p:cNvSpPr/>
              <p:nvPr/>
            </p:nvSpPr>
            <p:spPr bwMode="gray">
              <a:xfrm>
                <a:off x="-2412348" y="2111699"/>
                <a:ext cx="83823" cy="553527"/>
              </a:xfrm>
              <a:prstGeom prst="rect">
                <a:avLst/>
              </a:pr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176" name="Group 175">
            <a:extLst>
              <a:ext uri="{FF2B5EF4-FFF2-40B4-BE49-F238E27FC236}">
                <a16:creationId xmlns:a16="http://schemas.microsoft.com/office/drawing/2014/main" id="{3CC0804A-4C55-4154-B21E-20F06CC5E5F9}"/>
              </a:ext>
            </a:extLst>
          </p:cNvPr>
          <p:cNvGrpSpPr/>
          <p:nvPr/>
        </p:nvGrpSpPr>
        <p:grpSpPr bwMode="gray">
          <a:xfrm>
            <a:off x="6499187" y="4544057"/>
            <a:ext cx="310194" cy="293095"/>
            <a:chOff x="-640260" y="1957916"/>
            <a:chExt cx="355290" cy="335706"/>
          </a:xfrm>
          <a:noFill/>
        </p:grpSpPr>
        <p:sp>
          <p:nvSpPr>
            <p:cNvPr id="177" name="Rectangle 17">
              <a:extLst>
                <a:ext uri="{FF2B5EF4-FFF2-40B4-BE49-F238E27FC236}">
                  <a16:creationId xmlns:a16="http://schemas.microsoft.com/office/drawing/2014/main" id="{0B9DFD1B-9D51-4B3E-8316-F5AA3246F001}"/>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78" name="Rectangle 16">
              <a:extLst>
                <a:ext uri="{FF2B5EF4-FFF2-40B4-BE49-F238E27FC236}">
                  <a16:creationId xmlns:a16="http://schemas.microsoft.com/office/drawing/2014/main" id="{06DD586C-BFF9-4575-AA11-B94BEB028DE4}"/>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179" name="Straight Connector 178">
              <a:extLst>
                <a:ext uri="{FF2B5EF4-FFF2-40B4-BE49-F238E27FC236}">
                  <a16:creationId xmlns:a16="http://schemas.microsoft.com/office/drawing/2014/main" id="{3187346B-13E0-4F90-9024-D97311A2A66A}"/>
                </a:ext>
              </a:extLst>
            </p:cNvPr>
            <p:cNvCxnSpPr/>
            <p:nvPr/>
          </p:nvCxnSpPr>
          <p:spPr bwMode="gray">
            <a:xfrm rot="5400000" flipH="1">
              <a:off x="-481603" y="1981616"/>
              <a:ext cx="47400" cy="0"/>
            </a:xfrm>
            <a:prstGeom prst="line">
              <a:avLst/>
            </a:prstGeom>
            <a:grpFill/>
            <a:ln w="12700">
              <a:solidFill>
                <a:schemeClr val="bg2"/>
              </a:solidFill>
              <a:prstDash val="solid"/>
              <a:round/>
              <a:headEnd/>
              <a:tailEnd/>
            </a:ln>
            <a:extLst/>
          </p:spPr>
        </p:cxnSp>
        <p:cxnSp>
          <p:nvCxnSpPr>
            <p:cNvPr id="180" name="Straight Connector 179">
              <a:extLst>
                <a:ext uri="{FF2B5EF4-FFF2-40B4-BE49-F238E27FC236}">
                  <a16:creationId xmlns:a16="http://schemas.microsoft.com/office/drawing/2014/main" id="{388FC4F9-6C35-4E98-B6DC-A74AC29AC431}"/>
                </a:ext>
              </a:extLst>
            </p:cNvPr>
            <p:cNvCxnSpPr/>
            <p:nvPr/>
          </p:nvCxnSpPr>
          <p:spPr bwMode="gray">
            <a:xfrm rot="5400000" flipH="1">
              <a:off x="-481603" y="2269922"/>
              <a:ext cx="47400" cy="0"/>
            </a:xfrm>
            <a:prstGeom prst="line">
              <a:avLst/>
            </a:prstGeom>
            <a:grpFill/>
            <a:ln w="12700">
              <a:solidFill>
                <a:schemeClr val="bg2"/>
              </a:solidFill>
              <a:prstDash val="solid"/>
              <a:round/>
              <a:headEnd/>
              <a:tailEnd/>
            </a:ln>
            <a:extLst/>
          </p:spPr>
        </p:cxnSp>
        <p:cxnSp>
          <p:nvCxnSpPr>
            <p:cNvPr id="181" name="Straight Connector 180">
              <a:extLst>
                <a:ext uri="{FF2B5EF4-FFF2-40B4-BE49-F238E27FC236}">
                  <a16:creationId xmlns:a16="http://schemas.microsoft.com/office/drawing/2014/main" id="{68A3C8B9-7721-4AB4-BC91-630F06F19C5A}"/>
                </a:ext>
              </a:extLst>
            </p:cNvPr>
            <p:cNvCxnSpPr/>
            <p:nvPr/>
          </p:nvCxnSpPr>
          <p:spPr bwMode="gray">
            <a:xfrm rot="2503489" flipH="1">
              <a:off x="-370223" y="2225091"/>
              <a:ext cx="47400" cy="0"/>
            </a:xfrm>
            <a:prstGeom prst="line">
              <a:avLst/>
            </a:prstGeom>
            <a:grpFill/>
            <a:ln w="12700">
              <a:solidFill>
                <a:schemeClr val="bg2"/>
              </a:solidFill>
              <a:prstDash val="solid"/>
              <a:round/>
              <a:headEnd/>
              <a:tailEnd/>
            </a:ln>
            <a:extLst/>
          </p:spPr>
        </p:cxnSp>
        <p:cxnSp>
          <p:nvCxnSpPr>
            <p:cNvPr id="182" name="Straight Connector 181">
              <a:extLst>
                <a:ext uri="{FF2B5EF4-FFF2-40B4-BE49-F238E27FC236}">
                  <a16:creationId xmlns:a16="http://schemas.microsoft.com/office/drawing/2014/main" id="{5D433C2B-DFBE-4E9C-AB53-CE44F880577D}"/>
                </a:ext>
              </a:extLst>
            </p:cNvPr>
            <p:cNvCxnSpPr/>
            <p:nvPr/>
          </p:nvCxnSpPr>
          <p:spPr bwMode="gray">
            <a:xfrm rot="8296511">
              <a:off x="-370223" y="2026447"/>
              <a:ext cx="47400" cy="0"/>
            </a:xfrm>
            <a:prstGeom prst="line">
              <a:avLst/>
            </a:prstGeom>
            <a:grpFill/>
            <a:ln w="12700">
              <a:solidFill>
                <a:schemeClr val="bg2"/>
              </a:solidFill>
              <a:prstDash val="solid"/>
              <a:round/>
              <a:headEnd/>
              <a:tailEnd/>
            </a:ln>
            <a:extLst/>
          </p:spPr>
        </p:cxnSp>
        <p:cxnSp>
          <p:nvCxnSpPr>
            <p:cNvPr id="183" name="Straight Connector 182">
              <a:extLst>
                <a:ext uri="{FF2B5EF4-FFF2-40B4-BE49-F238E27FC236}">
                  <a16:creationId xmlns:a16="http://schemas.microsoft.com/office/drawing/2014/main" id="{C0456C26-DB0E-4EA0-8A83-F07478476B45}"/>
                </a:ext>
              </a:extLst>
            </p:cNvPr>
            <p:cNvCxnSpPr/>
            <p:nvPr/>
          </p:nvCxnSpPr>
          <p:spPr bwMode="gray">
            <a:xfrm rot="10800000">
              <a:off x="-332370" y="2125769"/>
              <a:ext cx="47400" cy="0"/>
            </a:xfrm>
            <a:prstGeom prst="line">
              <a:avLst/>
            </a:prstGeom>
            <a:grpFill/>
            <a:ln w="12700">
              <a:solidFill>
                <a:schemeClr val="bg2"/>
              </a:solidFill>
              <a:prstDash val="solid"/>
              <a:round/>
              <a:headEnd/>
              <a:tailEnd/>
            </a:ln>
            <a:extLst/>
          </p:spPr>
        </p:cxnSp>
        <p:grpSp>
          <p:nvGrpSpPr>
            <p:cNvPr id="184" name="Group 183">
              <a:extLst>
                <a:ext uri="{FF2B5EF4-FFF2-40B4-BE49-F238E27FC236}">
                  <a16:creationId xmlns:a16="http://schemas.microsoft.com/office/drawing/2014/main" id="{E0BCA0F1-408A-4F14-9848-51C710CA5F86}"/>
                </a:ext>
              </a:extLst>
            </p:cNvPr>
            <p:cNvGrpSpPr/>
            <p:nvPr/>
          </p:nvGrpSpPr>
          <p:grpSpPr bwMode="gray">
            <a:xfrm>
              <a:off x="-507951" y="2088033"/>
              <a:ext cx="84957" cy="65573"/>
              <a:chOff x="-2412348" y="2111699"/>
              <a:chExt cx="717156" cy="553527"/>
            </a:xfrm>
            <a:grpFill/>
          </p:grpSpPr>
          <p:sp>
            <p:nvSpPr>
              <p:cNvPr id="185" name="Parallelogram 1029">
                <a:extLst>
                  <a:ext uri="{FF2B5EF4-FFF2-40B4-BE49-F238E27FC236}">
                    <a16:creationId xmlns:a16="http://schemas.microsoft.com/office/drawing/2014/main" id="{4635AE2E-044F-4060-9380-47C884DD1F43}"/>
                  </a:ext>
                </a:extLst>
              </p:cNvPr>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6" name="Rectangle 185">
                <a:extLst>
                  <a:ext uri="{FF2B5EF4-FFF2-40B4-BE49-F238E27FC236}">
                    <a16:creationId xmlns:a16="http://schemas.microsoft.com/office/drawing/2014/main" id="{008BBDA4-433C-432C-8F8A-BF7F290189AE}"/>
                  </a:ext>
                </a:extLst>
              </p:cNvPr>
              <p:cNvSpPr/>
              <p:nvPr/>
            </p:nvSpPr>
            <p:spPr bwMode="gray">
              <a:xfrm>
                <a:off x="-2412348" y="2111699"/>
                <a:ext cx="83823" cy="553527"/>
              </a:xfrm>
              <a:prstGeom prst="rect">
                <a:avLst/>
              </a:pr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187" name="Group 186">
            <a:extLst>
              <a:ext uri="{FF2B5EF4-FFF2-40B4-BE49-F238E27FC236}">
                <a16:creationId xmlns:a16="http://schemas.microsoft.com/office/drawing/2014/main" id="{E7E54F6F-FD17-4654-8630-0EFA3CCC3E98}"/>
              </a:ext>
            </a:extLst>
          </p:cNvPr>
          <p:cNvGrpSpPr/>
          <p:nvPr/>
        </p:nvGrpSpPr>
        <p:grpSpPr bwMode="gray">
          <a:xfrm>
            <a:off x="6499187" y="5039788"/>
            <a:ext cx="310194" cy="293095"/>
            <a:chOff x="-640260" y="1957916"/>
            <a:chExt cx="355290" cy="335706"/>
          </a:xfrm>
          <a:noFill/>
        </p:grpSpPr>
        <p:sp>
          <p:nvSpPr>
            <p:cNvPr id="188" name="Rectangle 17">
              <a:extLst>
                <a:ext uri="{FF2B5EF4-FFF2-40B4-BE49-F238E27FC236}">
                  <a16:creationId xmlns:a16="http://schemas.microsoft.com/office/drawing/2014/main" id="{7D66E39F-8637-4D40-A12C-E655DBDB883D}"/>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89" name="Rectangle 16">
              <a:extLst>
                <a:ext uri="{FF2B5EF4-FFF2-40B4-BE49-F238E27FC236}">
                  <a16:creationId xmlns:a16="http://schemas.microsoft.com/office/drawing/2014/main" id="{BF1DD4CA-5B65-44D4-9151-1AA4A1009656}"/>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190" name="Straight Connector 189">
              <a:extLst>
                <a:ext uri="{FF2B5EF4-FFF2-40B4-BE49-F238E27FC236}">
                  <a16:creationId xmlns:a16="http://schemas.microsoft.com/office/drawing/2014/main" id="{C2B6FD21-234C-4796-9936-FEF5AE4FD267}"/>
                </a:ext>
              </a:extLst>
            </p:cNvPr>
            <p:cNvCxnSpPr/>
            <p:nvPr/>
          </p:nvCxnSpPr>
          <p:spPr bwMode="gray">
            <a:xfrm rot="5400000" flipH="1">
              <a:off x="-481603" y="1981616"/>
              <a:ext cx="47400" cy="0"/>
            </a:xfrm>
            <a:prstGeom prst="line">
              <a:avLst/>
            </a:prstGeom>
            <a:grpFill/>
            <a:ln w="12700">
              <a:solidFill>
                <a:schemeClr val="bg2"/>
              </a:solidFill>
              <a:prstDash val="solid"/>
              <a:round/>
              <a:headEnd/>
              <a:tailEnd/>
            </a:ln>
            <a:extLst/>
          </p:spPr>
        </p:cxnSp>
        <p:cxnSp>
          <p:nvCxnSpPr>
            <p:cNvPr id="191" name="Straight Connector 190">
              <a:extLst>
                <a:ext uri="{FF2B5EF4-FFF2-40B4-BE49-F238E27FC236}">
                  <a16:creationId xmlns:a16="http://schemas.microsoft.com/office/drawing/2014/main" id="{DAB47899-369F-4C12-BF04-ADEE2E942333}"/>
                </a:ext>
              </a:extLst>
            </p:cNvPr>
            <p:cNvCxnSpPr/>
            <p:nvPr/>
          </p:nvCxnSpPr>
          <p:spPr bwMode="gray">
            <a:xfrm rot="5400000" flipH="1">
              <a:off x="-481603" y="2269922"/>
              <a:ext cx="47400" cy="0"/>
            </a:xfrm>
            <a:prstGeom prst="line">
              <a:avLst/>
            </a:prstGeom>
            <a:grpFill/>
            <a:ln w="12700">
              <a:solidFill>
                <a:schemeClr val="bg2"/>
              </a:solidFill>
              <a:prstDash val="solid"/>
              <a:round/>
              <a:headEnd/>
              <a:tailEnd/>
            </a:ln>
            <a:extLst/>
          </p:spPr>
        </p:cxnSp>
        <p:cxnSp>
          <p:nvCxnSpPr>
            <p:cNvPr id="192" name="Straight Connector 191">
              <a:extLst>
                <a:ext uri="{FF2B5EF4-FFF2-40B4-BE49-F238E27FC236}">
                  <a16:creationId xmlns:a16="http://schemas.microsoft.com/office/drawing/2014/main" id="{B31D6026-DCC1-4638-903F-5266C35F7153}"/>
                </a:ext>
              </a:extLst>
            </p:cNvPr>
            <p:cNvCxnSpPr/>
            <p:nvPr/>
          </p:nvCxnSpPr>
          <p:spPr bwMode="gray">
            <a:xfrm rot="2503489" flipH="1">
              <a:off x="-370223" y="2225091"/>
              <a:ext cx="47400" cy="0"/>
            </a:xfrm>
            <a:prstGeom prst="line">
              <a:avLst/>
            </a:prstGeom>
            <a:grpFill/>
            <a:ln w="12700">
              <a:solidFill>
                <a:schemeClr val="bg2"/>
              </a:solidFill>
              <a:prstDash val="solid"/>
              <a:round/>
              <a:headEnd/>
              <a:tailEnd/>
            </a:ln>
            <a:extLst/>
          </p:spPr>
        </p:cxnSp>
        <p:cxnSp>
          <p:nvCxnSpPr>
            <p:cNvPr id="193" name="Straight Connector 192">
              <a:extLst>
                <a:ext uri="{FF2B5EF4-FFF2-40B4-BE49-F238E27FC236}">
                  <a16:creationId xmlns:a16="http://schemas.microsoft.com/office/drawing/2014/main" id="{C3263E57-7505-4CEB-BF2E-517F49D2DA4E}"/>
                </a:ext>
              </a:extLst>
            </p:cNvPr>
            <p:cNvCxnSpPr/>
            <p:nvPr/>
          </p:nvCxnSpPr>
          <p:spPr bwMode="gray">
            <a:xfrm rot="8296511">
              <a:off x="-370223" y="2026447"/>
              <a:ext cx="47400" cy="0"/>
            </a:xfrm>
            <a:prstGeom prst="line">
              <a:avLst/>
            </a:prstGeom>
            <a:grpFill/>
            <a:ln w="12700">
              <a:solidFill>
                <a:schemeClr val="bg2"/>
              </a:solidFill>
              <a:prstDash val="solid"/>
              <a:round/>
              <a:headEnd/>
              <a:tailEnd/>
            </a:ln>
            <a:extLst/>
          </p:spPr>
        </p:cxnSp>
        <p:cxnSp>
          <p:nvCxnSpPr>
            <p:cNvPr id="194" name="Straight Connector 193">
              <a:extLst>
                <a:ext uri="{FF2B5EF4-FFF2-40B4-BE49-F238E27FC236}">
                  <a16:creationId xmlns:a16="http://schemas.microsoft.com/office/drawing/2014/main" id="{128279BF-5E07-4044-9BBF-2E5D0D147EE9}"/>
                </a:ext>
              </a:extLst>
            </p:cNvPr>
            <p:cNvCxnSpPr/>
            <p:nvPr/>
          </p:nvCxnSpPr>
          <p:spPr bwMode="gray">
            <a:xfrm rot="10800000">
              <a:off x="-332370" y="2125769"/>
              <a:ext cx="47400" cy="0"/>
            </a:xfrm>
            <a:prstGeom prst="line">
              <a:avLst/>
            </a:prstGeom>
            <a:grpFill/>
            <a:ln w="12700">
              <a:solidFill>
                <a:schemeClr val="bg2"/>
              </a:solidFill>
              <a:prstDash val="solid"/>
              <a:round/>
              <a:headEnd/>
              <a:tailEnd/>
            </a:ln>
            <a:extLst/>
          </p:spPr>
        </p:cxnSp>
        <p:grpSp>
          <p:nvGrpSpPr>
            <p:cNvPr id="195" name="Group 194">
              <a:extLst>
                <a:ext uri="{FF2B5EF4-FFF2-40B4-BE49-F238E27FC236}">
                  <a16:creationId xmlns:a16="http://schemas.microsoft.com/office/drawing/2014/main" id="{BFB8D622-E70E-42CD-A48C-A000E478817F}"/>
                </a:ext>
              </a:extLst>
            </p:cNvPr>
            <p:cNvGrpSpPr/>
            <p:nvPr/>
          </p:nvGrpSpPr>
          <p:grpSpPr bwMode="gray">
            <a:xfrm>
              <a:off x="-507951" y="2088033"/>
              <a:ext cx="84957" cy="65573"/>
              <a:chOff x="-2412348" y="2111699"/>
              <a:chExt cx="717156" cy="553527"/>
            </a:xfrm>
            <a:grpFill/>
          </p:grpSpPr>
          <p:sp>
            <p:nvSpPr>
              <p:cNvPr id="196" name="Parallelogram 1029">
                <a:extLst>
                  <a:ext uri="{FF2B5EF4-FFF2-40B4-BE49-F238E27FC236}">
                    <a16:creationId xmlns:a16="http://schemas.microsoft.com/office/drawing/2014/main" id="{39ECF1CB-6E1A-4DDC-8393-547052187695}"/>
                  </a:ext>
                </a:extLst>
              </p:cNvPr>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7" name="Rectangle 196">
                <a:extLst>
                  <a:ext uri="{FF2B5EF4-FFF2-40B4-BE49-F238E27FC236}">
                    <a16:creationId xmlns:a16="http://schemas.microsoft.com/office/drawing/2014/main" id="{94C137CD-6B66-4216-8059-458809D193D7}"/>
                  </a:ext>
                </a:extLst>
              </p:cNvPr>
              <p:cNvSpPr/>
              <p:nvPr/>
            </p:nvSpPr>
            <p:spPr bwMode="gray">
              <a:xfrm>
                <a:off x="-2412348" y="2111699"/>
                <a:ext cx="83823" cy="553527"/>
              </a:xfrm>
              <a:prstGeom prst="rect">
                <a:avLst/>
              </a:pr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grpSp>
        <p:nvGrpSpPr>
          <p:cNvPr id="198" name="Group 197">
            <a:extLst>
              <a:ext uri="{FF2B5EF4-FFF2-40B4-BE49-F238E27FC236}">
                <a16:creationId xmlns:a16="http://schemas.microsoft.com/office/drawing/2014/main" id="{15AE6891-A7C2-4009-B876-4CA4E2EB1BA5}"/>
              </a:ext>
            </a:extLst>
          </p:cNvPr>
          <p:cNvGrpSpPr/>
          <p:nvPr/>
        </p:nvGrpSpPr>
        <p:grpSpPr bwMode="gray">
          <a:xfrm>
            <a:off x="6499187" y="5568338"/>
            <a:ext cx="310194" cy="293095"/>
            <a:chOff x="-640260" y="1957916"/>
            <a:chExt cx="355290" cy="335706"/>
          </a:xfrm>
          <a:noFill/>
        </p:grpSpPr>
        <p:sp>
          <p:nvSpPr>
            <p:cNvPr id="199" name="Rectangle 17">
              <a:extLst>
                <a:ext uri="{FF2B5EF4-FFF2-40B4-BE49-F238E27FC236}">
                  <a16:creationId xmlns:a16="http://schemas.microsoft.com/office/drawing/2014/main" id="{F875151A-DEB9-400E-8BC5-4D1DAC002888}"/>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00" name="Rectangle 16">
              <a:extLst>
                <a:ext uri="{FF2B5EF4-FFF2-40B4-BE49-F238E27FC236}">
                  <a16:creationId xmlns:a16="http://schemas.microsoft.com/office/drawing/2014/main" id="{8C5F4F64-50D3-4DD1-9941-2F756F1E38A4}"/>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201" name="Straight Connector 200">
              <a:extLst>
                <a:ext uri="{FF2B5EF4-FFF2-40B4-BE49-F238E27FC236}">
                  <a16:creationId xmlns:a16="http://schemas.microsoft.com/office/drawing/2014/main" id="{97E3AB9A-FEEE-4975-ACB9-DADB59BE2B03}"/>
                </a:ext>
              </a:extLst>
            </p:cNvPr>
            <p:cNvCxnSpPr/>
            <p:nvPr/>
          </p:nvCxnSpPr>
          <p:spPr bwMode="gray">
            <a:xfrm rot="5400000" flipH="1">
              <a:off x="-481603" y="1981616"/>
              <a:ext cx="47400" cy="0"/>
            </a:xfrm>
            <a:prstGeom prst="line">
              <a:avLst/>
            </a:prstGeom>
            <a:grpFill/>
            <a:ln w="12700">
              <a:solidFill>
                <a:schemeClr val="bg2"/>
              </a:solidFill>
              <a:prstDash val="solid"/>
              <a:round/>
              <a:headEnd/>
              <a:tailEnd/>
            </a:ln>
            <a:extLst/>
          </p:spPr>
        </p:cxnSp>
        <p:cxnSp>
          <p:nvCxnSpPr>
            <p:cNvPr id="202" name="Straight Connector 201">
              <a:extLst>
                <a:ext uri="{FF2B5EF4-FFF2-40B4-BE49-F238E27FC236}">
                  <a16:creationId xmlns:a16="http://schemas.microsoft.com/office/drawing/2014/main" id="{1BF27FF7-0339-44D3-983C-3D9414CFC232}"/>
                </a:ext>
              </a:extLst>
            </p:cNvPr>
            <p:cNvCxnSpPr/>
            <p:nvPr/>
          </p:nvCxnSpPr>
          <p:spPr bwMode="gray">
            <a:xfrm rot="5400000" flipH="1">
              <a:off x="-481603" y="2269922"/>
              <a:ext cx="47400" cy="0"/>
            </a:xfrm>
            <a:prstGeom prst="line">
              <a:avLst/>
            </a:prstGeom>
            <a:grpFill/>
            <a:ln w="12700">
              <a:solidFill>
                <a:schemeClr val="bg2"/>
              </a:solidFill>
              <a:prstDash val="solid"/>
              <a:round/>
              <a:headEnd/>
              <a:tailEnd/>
            </a:ln>
            <a:extLst/>
          </p:spPr>
        </p:cxnSp>
        <p:cxnSp>
          <p:nvCxnSpPr>
            <p:cNvPr id="203" name="Straight Connector 202">
              <a:extLst>
                <a:ext uri="{FF2B5EF4-FFF2-40B4-BE49-F238E27FC236}">
                  <a16:creationId xmlns:a16="http://schemas.microsoft.com/office/drawing/2014/main" id="{56DE5A45-7A41-4A62-9CAA-BAB66A057451}"/>
                </a:ext>
              </a:extLst>
            </p:cNvPr>
            <p:cNvCxnSpPr/>
            <p:nvPr/>
          </p:nvCxnSpPr>
          <p:spPr bwMode="gray">
            <a:xfrm rot="2503489" flipH="1">
              <a:off x="-370223" y="2225091"/>
              <a:ext cx="47400" cy="0"/>
            </a:xfrm>
            <a:prstGeom prst="line">
              <a:avLst/>
            </a:prstGeom>
            <a:grpFill/>
            <a:ln w="12700">
              <a:solidFill>
                <a:schemeClr val="bg2"/>
              </a:solidFill>
              <a:prstDash val="solid"/>
              <a:round/>
              <a:headEnd/>
              <a:tailEnd/>
            </a:ln>
            <a:extLst/>
          </p:spPr>
        </p:cxnSp>
        <p:cxnSp>
          <p:nvCxnSpPr>
            <p:cNvPr id="204" name="Straight Connector 203">
              <a:extLst>
                <a:ext uri="{FF2B5EF4-FFF2-40B4-BE49-F238E27FC236}">
                  <a16:creationId xmlns:a16="http://schemas.microsoft.com/office/drawing/2014/main" id="{8894A9F5-0DFE-431A-A22A-56303E232C82}"/>
                </a:ext>
              </a:extLst>
            </p:cNvPr>
            <p:cNvCxnSpPr/>
            <p:nvPr/>
          </p:nvCxnSpPr>
          <p:spPr bwMode="gray">
            <a:xfrm rot="8296511">
              <a:off x="-370223" y="2026447"/>
              <a:ext cx="47400" cy="0"/>
            </a:xfrm>
            <a:prstGeom prst="line">
              <a:avLst/>
            </a:prstGeom>
            <a:grpFill/>
            <a:ln w="12700">
              <a:solidFill>
                <a:schemeClr val="bg2"/>
              </a:solidFill>
              <a:prstDash val="solid"/>
              <a:round/>
              <a:headEnd/>
              <a:tailEnd/>
            </a:ln>
            <a:extLst/>
          </p:spPr>
        </p:cxnSp>
        <p:cxnSp>
          <p:nvCxnSpPr>
            <p:cNvPr id="205" name="Straight Connector 204">
              <a:extLst>
                <a:ext uri="{FF2B5EF4-FFF2-40B4-BE49-F238E27FC236}">
                  <a16:creationId xmlns:a16="http://schemas.microsoft.com/office/drawing/2014/main" id="{6C977D32-A09A-4140-8A65-D4976027FB81}"/>
                </a:ext>
              </a:extLst>
            </p:cNvPr>
            <p:cNvCxnSpPr/>
            <p:nvPr/>
          </p:nvCxnSpPr>
          <p:spPr bwMode="gray">
            <a:xfrm rot="10800000">
              <a:off x="-332370" y="2125769"/>
              <a:ext cx="47400" cy="0"/>
            </a:xfrm>
            <a:prstGeom prst="line">
              <a:avLst/>
            </a:prstGeom>
            <a:grpFill/>
            <a:ln w="12700">
              <a:solidFill>
                <a:schemeClr val="bg2"/>
              </a:solidFill>
              <a:prstDash val="solid"/>
              <a:round/>
              <a:headEnd/>
              <a:tailEnd/>
            </a:ln>
            <a:extLst/>
          </p:spPr>
        </p:cxnSp>
        <p:grpSp>
          <p:nvGrpSpPr>
            <p:cNvPr id="206" name="Group 205">
              <a:extLst>
                <a:ext uri="{FF2B5EF4-FFF2-40B4-BE49-F238E27FC236}">
                  <a16:creationId xmlns:a16="http://schemas.microsoft.com/office/drawing/2014/main" id="{31F35DC2-3CDB-4859-827D-E20827A89EB6}"/>
                </a:ext>
              </a:extLst>
            </p:cNvPr>
            <p:cNvGrpSpPr/>
            <p:nvPr/>
          </p:nvGrpSpPr>
          <p:grpSpPr bwMode="gray">
            <a:xfrm>
              <a:off x="-507951" y="2088033"/>
              <a:ext cx="84957" cy="65573"/>
              <a:chOff x="-2412348" y="2111699"/>
              <a:chExt cx="717156" cy="553527"/>
            </a:xfrm>
            <a:grpFill/>
          </p:grpSpPr>
          <p:sp>
            <p:nvSpPr>
              <p:cNvPr id="207" name="Parallelogram 1029">
                <a:extLst>
                  <a:ext uri="{FF2B5EF4-FFF2-40B4-BE49-F238E27FC236}">
                    <a16:creationId xmlns:a16="http://schemas.microsoft.com/office/drawing/2014/main" id="{E4563805-750F-4CF1-9A49-5985A01D4934}"/>
                  </a:ext>
                </a:extLst>
              </p:cNvPr>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08" name="Rectangle 207">
                <a:extLst>
                  <a:ext uri="{FF2B5EF4-FFF2-40B4-BE49-F238E27FC236}">
                    <a16:creationId xmlns:a16="http://schemas.microsoft.com/office/drawing/2014/main" id="{1D1A5710-839E-4FEE-AF44-BE1F4AE5DA50}"/>
                  </a:ext>
                </a:extLst>
              </p:cNvPr>
              <p:cNvSpPr/>
              <p:nvPr/>
            </p:nvSpPr>
            <p:spPr bwMode="gray">
              <a:xfrm>
                <a:off x="-2412348" y="2111699"/>
                <a:ext cx="83823" cy="553527"/>
              </a:xfrm>
              <a:prstGeom prst="rect">
                <a:avLst/>
              </a:pr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grpSp>
      <p:sp>
        <p:nvSpPr>
          <p:cNvPr id="211" name="Rectangle 77">
            <a:extLst>
              <a:ext uri="{FF2B5EF4-FFF2-40B4-BE49-F238E27FC236}">
                <a16:creationId xmlns:a16="http://schemas.microsoft.com/office/drawing/2014/main" id="{F87F6391-F42E-4F60-83DC-E26426CF3A43}"/>
              </a:ext>
            </a:extLst>
          </p:cNvPr>
          <p:cNvSpPr/>
          <p:nvPr/>
        </p:nvSpPr>
        <p:spPr bwMode="gray">
          <a:xfrm>
            <a:off x="8994591" y="2296967"/>
            <a:ext cx="373922" cy="191125"/>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no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212" name="Group 211">
            <a:extLst>
              <a:ext uri="{FF2B5EF4-FFF2-40B4-BE49-F238E27FC236}">
                <a16:creationId xmlns:a16="http://schemas.microsoft.com/office/drawing/2014/main" id="{11059F1B-B508-4C25-8525-993522F3A2A8}"/>
              </a:ext>
            </a:extLst>
          </p:cNvPr>
          <p:cNvGrpSpPr/>
          <p:nvPr/>
        </p:nvGrpSpPr>
        <p:grpSpPr bwMode="gray">
          <a:xfrm>
            <a:off x="7872318" y="5606745"/>
            <a:ext cx="229982" cy="210020"/>
            <a:chOff x="-967926" y="3169597"/>
            <a:chExt cx="575910" cy="644168"/>
          </a:xfrm>
          <a:noFill/>
        </p:grpSpPr>
        <p:sp>
          <p:nvSpPr>
            <p:cNvPr id="213" name="Freeform 67">
              <a:extLst>
                <a:ext uri="{FF2B5EF4-FFF2-40B4-BE49-F238E27FC236}">
                  <a16:creationId xmlns:a16="http://schemas.microsoft.com/office/drawing/2014/main" id="{BEC690B1-BEC1-4676-B894-C779DFED5AE3}"/>
                </a:ext>
              </a:extLst>
            </p:cNvPr>
            <p:cNvSpPr/>
            <p:nvPr/>
          </p:nvSpPr>
          <p:spPr bwMode="gray">
            <a:xfrm>
              <a:off x="-967926" y="3169597"/>
              <a:ext cx="575910" cy="644168"/>
            </a:xfrm>
            <a:custGeom>
              <a:avLst/>
              <a:gdLst>
                <a:gd name="connsiteX0" fmla="*/ 394445 w 915582"/>
                <a:gd name="connsiteY0" fmla="*/ 1530534 h 1530534"/>
                <a:gd name="connsiteX1" fmla="*/ 2559 w 915582"/>
                <a:gd name="connsiteY1" fmla="*/ 937681 h 1530534"/>
                <a:gd name="connsiteX2" fmla="*/ 223623 w 915582"/>
                <a:gd name="connsiteY2" fmla="*/ 596037 h 1530534"/>
                <a:gd name="connsiteX3" fmla="*/ 193478 w 915582"/>
                <a:gd name="connsiteY3" fmla="*/ 3184 h 1530534"/>
                <a:gd name="connsiteX4" fmla="*/ 906911 w 915582"/>
                <a:gd name="connsiteY4" fmla="*/ 877391 h 1530534"/>
                <a:gd name="connsiteX5" fmla="*/ 525073 w 915582"/>
                <a:gd name="connsiteY5" fmla="*/ 1530534 h 1530534"/>
                <a:gd name="connsiteX0" fmla="*/ 63771 w 1112883"/>
                <a:gd name="connsiteY0" fmla="*/ 1460487 h 1530534"/>
                <a:gd name="connsiteX1" fmla="*/ 199860 w 1112883"/>
                <a:gd name="connsiteY1" fmla="*/ 937681 h 1530534"/>
                <a:gd name="connsiteX2" fmla="*/ 420924 w 1112883"/>
                <a:gd name="connsiteY2" fmla="*/ 596037 h 1530534"/>
                <a:gd name="connsiteX3" fmla="*/ 390779 w 1112883"/>
                <a:gd name="connsiteY3" fmla="*/ 3184 h 1530534"/>
                <a:gd name="connsiteX4" fmla="*/ 1104212 w 1112883"/>
                <a:gd name="connsiteY4" fmla="*/ 877391 h 1530534"/>
                <a:gd name="connsiteX5" fmla="*/ 722374 w 1112883"/>
                <a:gd name="connsiteY5" fmla="*/ 1530534 h 1530534"/>
                <a:gd name="connsiteX0" fmla="*/ 63772 w 1109482"/>
                <a:gd name="connsiteY0" fmla="*/ 1460487 h 1514369"/>
                <a:gd name="connsiteX1" fmla="*/ 199861 w 1109482"/>
                <a:gd name="connsiteY1" fmla="*/ 937681 h 1514369"/>
                <a:gd name="connsiteX2" fmla="*/ 420925 w 1109482"/>
                <a:gd name="connsiteY2" fmla="*/ 596037 h 1514369"/>
                <a:gd name="connsiteX3" fmla="*/ 390780 w 1109482"/>
                <a:gd name="connsiteY3" fmla="*/ 3184 h 1514369"/>
                <a:gd name="connsiteX4" fmla="*/ 1104213 w 1109482"/>
                <a:gd name="connsiteY4" fmla="*/ 877391 h 1514369"/>
                <a:gd name="connsiteX5" fmla="*/ 548092 w 1109482"/>
                <a:gd name="connsiteY5" fmla="*/ 1514369 h 1514369"/>
                <a:gd name="connsiteX0" fmla="*/ 63772 w 874709"/>
                <a:gd name="connsiteY0" fmla="*/ 1460715 h 1514597"/>
                <a:gd name="connsiteX1" fmla="*/ 199861 w 874709"/>
                <a:gd name="connsiteY1" fmla="*/ 937909 h 1514597"/>
                <a:gd name="connsiteX2" fmla="*/ 420925 w 874709"/>
                <a:gd name="connsiteY2" fmla="*/ 596265 h 1514597"/>
                <a:gd name="connsiteX3" fmla="*/ 390780 w 874709"/>
                <a:gd name="connsiteY3" fmla="*/ 3412 h 1514597"/>
                <a:gd name="connsiteX4" fmla="*/ 863293 w 874709"/>
                <a:gd name="connsiteY4" fmla="*/ 888395 h 1514597"/>
                <a:gd name="connsiteX5" fmla="*/ 548092 w 874709"/>
                <a:gd name="connsiteY5" fmla="*/ 1514597 h 1514597"/>
                <a:gd name="connsiteX0" fmla="*/ 191224 w 1002160"/>
                <a:gd name="connsiteY0" fmla="*/ 1460745 h 1514627"/>
                <a:gd name="connsiteX1" fmla="*/ 24880 w 1002160"/>
                <a:gd name="connsiteY1" fmla="*/ 964881 h 1514627"/>
                <a:gd name="connsiteX2" fmla="*/ 548377 w 1002160"/>
                <a:gd name="connsiteY2" fmla="*/ 596295 h 1514627"/>
                <a:gd name="connsiteX3" fmla="*/ 518232 w 1002160"/>
                <a:gd name="connsiteY3" fmla="*/ 3442 h 1514627"/>
                <a:gd name="connsiteX4" fmla="*/ 990745 w 1002160"/>
                <a:gd name="connsiteY4" fmla="*/ 888425 h 1514627"/>
                <a:gd name="connsiteX5" fmla="*/ 675544 w 1002160"/>
                <a:gd name="connsiteY5" fmla="*/ 1514627 h 1514627"/>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72063 h 1525945"/>
                <a:gd name="connsiteX1" fmla="*/ 6383 w 983663"/>
                <a:gd name="connsiteY1" fmla="*/ 976199 h 1525945"/>
                <a:gd name="connsiteX2" fmla="*/ 268455 w 983663"/>
                <a:gd name="connsiteY2" fmla="*/ 532179 h 1525945"/>
                <a:gd name="connsiteX3" fmla="*/ 499735 w 983663"/>
                <a:gd name="connsiteY3" fmla="*/ 14760 h 1525945"/>
                <a:gd name="connsiteX4" fmla="*/ 972248 w 983663"/>
                <a:gd name="connsiteY4" fmla="*/ 899743 h 1525945"/>
                <a:gd name="connsiteX5" fmla="*/ 657047 w 983663"/>
                <a:gd name="connsiteY5" fmla="*/ 1525945 h 1525945"/>
                <a:gd name="connsiteX0" fmla="*/ 172727 w 983663"/>
                <a:gd name="connsiteY0" fmla="*/ 1456181 h 1510063"/>
                <a:gd name="connsiteX1" fmla="*/ 6383 w 983663"/>
                <a:gd name="connsiteY1" fmla="*/ 960317 h 1510063"/>
                <a:gd name="connsiteX2" fmla="*/ 268455 w 983663"/>
                <a:gd name="connsiteY2" fmla="*/ 516297 h 1510063"/>
                <a:gd name="connsiteX3" fmla="*/ 443349 w 983663"/>
                <a:gd name="connsiteY3" fmla="*/ 15043 h 1510063"/>
                <a:gd name="connsiteX4" fmla="*/ 972248 w 983663"/>
                <a:gd name="connsiteY4" fmla="*/ 883861 h 1510063"/>
                <a:gd name="connsiteX5" fmla="*/ 657047 w 983663"/>
                <a:gd name="connsiteY5" fmla="*/ 1510063 h 1510063"/>
                <a:gd name="connsiteX0" fmla="*/ 171348 w 982284"/>
                <a:gd name="connsiteY0" fmla="*/ 1447162 h 1501044"/>
                <a:gd name="connsiteX1" fmla="*/ 5004 w 982284"/>
                <a:gd name="connsiteY1" fmla="*/ 951298 h 1501044"/>
                <a:gd name="connsiteX2" fmla="*/ 246573 w 982284"/>
                <a:gd name="connsiteY2" fmla="*/ 512666 h 1501044"/>
                <a:gd name="connsiteX3" fmla="*/ 441970 w 982284"/>
                <a:gd name="connsiteY3" fmla="*/ 6024 h 1501044"/>
                <a:gd name="connsiteX4" fmla="*/ 970869 w 982284"/>
                <a:gd name="connsiteY4" fmla="*/ 874842 h 1501044"/>
                <a:gd name="connsiteX5" fmla="*/ 655668 w 982284"/>
                <a:gd name="connsiteY5" fmla="*/ 1501044 h 1501044"/>
                <a:gd name="connsiteX0" fmla="*/ 171348 w 982284"/>
                <a:gd name="connsiteY0" fmla="*/ 1457131 h 1511013"/>
                <a:gd name="connsiteX1" fmla="*/ 5004 w 982284"/>
                <a:gd name="connsiteY1" fmla="*/ 961267 h 1511013"/>
                <a:gd name="connsiteX2" fmla="*/ 246573 w 982284"/>
                <a:gd name="connsiteY2" fmla="*/ 522635 h 1511013"/>
                <a:gd name="connsiteX3" fmla="*/ 441970 w 982284"/>
                <a:gd name="connsiteY3" fmla="*/ 15993 h 1511013"/>
                <a:gd name="connsiteX4" fmla="*/ 970869 w 982284"/>
                <a:gd name="connsiteY4" fmla="*/ 884811 h 1511013"/>
                <a:gd name="connsiteX5" fmla="*/ 655668 w 982284"/>
                <a:gd name="connsiteY5" fmla="*/ 1511013 h 1511013"/>
                <a:gd name="connsiteX0" fmla="*/ 184998 w 995934"/>
                <a:gd name="connsiteY0" fmla="*/ 1441330 h 1495212"/>
                <a:gd name="connsiteX1" fmla="*/ 18654 w 995934"/>
                <a:gd name="connsiteY1" fmla="*/ 945466 h 1495212"/>
                <a:gd name="connsiteX2" fmla="*/ 455620 w 995934"/>
                <a:gd name="connsiteY2" fmla="*/ 192 h 1495212"/>
                <a:gd name="connsiteX3" fmla="*/ 984519 w 995934"/>
                <a:gd name="connsiteY3" fmla="*/ 869010 h 1495212"/>
                <a:gd name="connsiteX4" fmla="*/ 669318 w 995934"/>
                <a:gd name="connsiteY4" fmla="*/ 1495212 h 1495212"/>
                <a:gd name="connsiteX0" fmla="*/ 184998 w 995934"/>
                <a:gd name="connsiteY0" fmla="*/ 1462589 h 1516471"/>
                <a:gd name="connsiteX1" fmla="*/ 18654 w 995934"/>
                <a:gd name="connsiteY1" fmla="*/ 966725 h 1516471"/>
                <a:gd name="connsiteX2" fmla="*/ 455620 w 995934"/>
                <a:gd name="connsiteY2" fmla="*/ 21451 h 1516471"/>
                <a:gd name="connsiteX3" fmla="*/ 984519 w 995934"/>
                <a:gd name="connsiteY3" fmla="*/ 890269 h 1516471"/>
                <a:gd name="connsiteX4" fmla="*/ 669318 w 995934"/>
                <a:gd name="connsiteY4" fmla="*/ 1516471 h 1516471"/>
                <a:gd name="connsiteX0" fmla="*/ 178447 w 989383"/>
                <a:gd name="connsiteY0" fmla="*/ 1462589 h 1516471"/>
                <a:gd name="connsiteX1" fmla="*/ 12103 w 989383"/>
                <a:gd name="connsiteY1" fmla="*/ 966725 h 1516471"/>
                <a:gd name="connsiteX2" fmla="*/ 449069 w 989383"/>
                <a:gd name="connsiteY2" fmla="*/ 21451 h 1516471"/>
                <a:gd name="connsiteX3" fmla="*/ 977968 w 989383"/>
                <a:gd name="connsiteY3" fmla="*/ 890269 h 1516471"/>
                <a:gd name="connsiteX4" fmla="*/ 662767 w 989383"/>
                <a:gd name="connsiteY4" fmla="*/ 1516471 h 1516471"/>
                <a:gd name="connsiteX0" fmla="*/ 172077 w 983013"/>
                <a:gd name="connsiteY0" fmla="*/ 1462589 h 1516471"/>
                <a:gd name="connsiteX1" fmla="*/ 5733 w 983013"/>
                <a:gd name="connsiteY1" fmla="*/ 966725 h 1516471"/>
                <a:gd name="connsiteX2" fmla="*/ 442699 w 983013"/>
                <a:gd name="connsiteY2" fmla="*/ 21451 h 1516471"/>
                <a:gd name="connsiteX3" fmla="*/ 971598 w 983013"/>
                <a:gd name="connsiteY3" fmla="*/ 890269 h 1516471"/>
                <a:gd name="connsiteX4" fmla="*/ 656397 w 983013"/>
                <a:gd name="connsiteY4" fmla="*/ 1516471 h 1516471"/>
                <a:gd name="connsiteX0" fmla="*/ 167713 w 978649"/>
                <a:gd name="connsiteY0" fmla="*/ 1462589 h 1516471"/>
                <a:gd name="connsiteX1" fmla="*/ 1369 w 978649"/>
                <a:gd name="connsiteY1" fmla="*/ 966725 h 1516471"/>
                <a:gd name="connsiteX2" fmla="*/ 438335 w 978649"/>
                <a:gd name="connsiteY2" fmla="*/ 21451 h 1516471"/>
                <a:gd name="connsiteX3" fmla="*/ 967234 w 978649"/>
                <a:gd name="connsiteY3" fmla="*/ 890269 h 1516471"/>
                <a:gd name="connsiteX4" fmla="*/ 652033 w 978649"/>
                <a:gd name="connsiteY4" fmla="*/ 1516471 h 1516471"/>
                <a:gd name="connsiteX0" fmla="*/ 194053 w 984485"/>
                <a:gd name="connsiteY0" fmla="*/ 1489530 h 1516471"/>
                <a:gd name="connsiteX1" fmla="*/ 7205 w 984485"/>
                <a:gd name="connsiteY1" fmla="*/ 966725 h 1516471"/>
                <a:gd name="connsiteX2" fmla="*/ 444171 w 984485"/>
                <a:gd name="connsiteY2" fmla="*/ 21451 h 1516471"/>
                <a:gd name="connsiteX3" fmla="*/ 973070 w 984485"/>
                <a:gd name="connsiteY3" fmla="*/ 890269 h 1516471"/>
                <a:gd name="connsiteX4" fmla="*/ 657869 w 984485"/>
                <a:gd name="connsiteY4" fmla="*/ 1516471 h 1516471"/>
                <a:gd name="connsiteX0" fmla="*/ 194054 w 983258"/>
                <a:gd name="connsiteY0" fmla="*/ 1489530 h 1489530"/>
                <a:gd name="connsiteX1" fmla="*/ 7206 w 983258"/>
                <a:gd name="connsiteY1" fmla="*/ 966725 h 1489530"/>
                <a:gd name="connsiteX2" fmla="*/ 444172 w 983258"/>
                <a:gd name="connsiteY2" fmla="*/ 21451 h 1489530"/>
                <a:gd name="connsiteX3" fmla="*/ 973071 w 983258"/>
                <a:gd name="connsiteY3" fmla="*/ 890269 h 1489530"/>
                <a:gd name="connsiteX4" fmla="*/ 632240 w 983258"/>
                <a:gd name="connsiteY4" fmla="*/ 1489530 h 1489530"/>
                <a:gd name="connsiteX0" fmla="*/ 194054 w 958856"/>
                <a:gd name="connsiteY0" fmla="*/ 1468401 h 1468401"/>
                <a:gd name="connsiteX1" fmla="*/ 7206 w 958856"/>
                <a:gd name="connsiteY1" fmla="*/ 945596 h 1468401"/>
                <a:gd name="connsiteX2" fmla="*/ 444172 w 958856"/>
                <a:gd name="connsiteY2" fmla="*/ 322 h 1468401"/>
                <a:gd name="connsiteX3" fmla="*/ 947441 w 958856"/>
                <a:gd name="connsiteY3" fmla="*/ 847587 h 1468401"/>
                <a:gd name="connsiteX4" fmla="*/ 632240 w 958856"/>
                <a:gd name="connsiteY4" fmla="*/ 1468401 h 1468401"/>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466 h 1473466"/>
                <a:gd name="connsiteX1" fmla="*/ 6054 w 957704"/>
                <a:gd name="connsiteY1" fmla="*/ 950661 h 1473466"/>
                <a:gd name="connsiteX2" fmla="*/ 417391 w 957704"/>
                <a:gd name="connsiteY2" fmla="*/ -1 h 1473466"/>
                <a:gd name="connsiteX3" fmla="*/ 946289 w 957704"/>
                <a:gd name="connsiteY3" fmla="*/ 852652 h 1473466"/>
                <a:gd name="connsiteX4" fmla="*/ 631088 w 957704"/>
                <a:gd name="connsiteY4" fmla="*/ 1473466 h 1473466"/>
                <a:gd name="connsiteX0" fmla="*/ 192902 w 943205"/>
                <a:gd name="connsiteY0" fmla="*/ 1473467 h 1473467"/>
                <a:gd name="connsiteX1" fmla="*/ 6054 w 943205"/>
                <a:gd name="connsiteY1" fmla="*/ 950662 h 1473467"/>
                <a:gd name="connsiteX2" fmla="*/ 417391 w 943205"/>
                <a:gd name="connsiteY2" fmla="*/ 0 h 1473467"/>
                <a:gd name="connsiteX3" fmla="*/ 930912 w 943205"/>
                <a:gd name="connsiteY3" fmla="*/ 852653 h 1473467"/>
                <a:gd name="connsiteX4" fmla="*/ 631088 w 943205"/>
                <a:gd name="connsiteY4" fmla="*/ 1473467 h 1473467"/>
                <a:gd name="connsiteX0" fmla="*/ 190405 w 940708"/>
                <a:gd name="connsiteY0" fmla="*/ 1495020 h 1495020"/>
                <a:gd name="connsiteX1" fmla="*/ 3557 w 940708"/>
                <a:gd name="connsiteY1" fmla="*/ 972215 h 1495020"/>
                <a:gd name="connsiteX2" fmla="*/ 353382 w 940708"/>
                <a:gd name="connsiteY2" fmla="*/ 0 h 1495020"/>
                <a:gd name="connsiteX3" fmla="*/ 928415 w 940708"/>
                <a:gd name="connsiteY3" fmla="*/ 874206 h 1495020"/>
                <a:gd name="connsiteX4" fmla="*/ 628591 w 940708"/>
                <a:gd name="connsiteY4" fmla="*/ 1495020 h 1495020"/>
                <a:gd name="connsiteX0" fmla="*/ 281357 w 1031660"/>
                <a:gd name="connsiteY0" fmla="*/ 1495020 h 1495020"/>
                <a:gd name="connsiteX1" fmla="*/ 2242 w 1031660"/>
                <a:gd name="connsiteY1" fmla="*/ 934498 h 1495020"/>
                <a:gd name="connsiteX2" fmla="*/ 444334 w 1031660"/>
                <a:gd name="connsiteY2" fmla="*/ 0 h 1495020"/>
                <a:gd name="connsiteX3" fmla="*/ 1019367 w 1031660"/>
                <a:gd name="connsiteY3" fmla="*/ 874206 h 1495020"/>
                <a:gd name="connsiteX4" fmla="*/ 719543 w 1031660"/>
                <a:gd name="connsiteY4" fmla="*/ 1495020 h 1495020"/>
                <a:gd name="connsiteX0" fmla="*/ 280647 w 1030950"/>
                <a:gd name="connsiteY0" fmla="*/ 1495020 h 1495020"/>
                <a:gd name="connsiteX1" fmla="*/ 1532 w 1030950"/>
                <a:gd name="connsiteY1" fmla="*/ 934498 h 1495020"/>
                <a:gd name="connsiteX2" fmla="*/ 443624 w 1030950"/>
                <a:gd name="connsiteY2" fmla="*/ 0 h 1495020"/>
                <a:gd name="connsiteX3" fmla="*/ 1018657 w 1030950"/>
                <a:gd name="connsiteY3" fmla="*/ 874206 h 1495020"/>
                <a:gd name="connsiteX4" fmla="*/ 718833 w 1030950"/>
                <a:gd name="connsiteY4" fmla="*/ 1495020 h 1495020"/>
                <a:gd name="connsiteX0" fmla="*/ 298745 w 1031106"/>
                <a:gd name="connsiteY0" fmla="*/ 1503102 h 1503102"/>
                <a:gd name="connsiteX1" fmla="*/ 1688 w 1031106"/>
                <a:gd name="connsiteY1" fmla="*/ 934498 h 1503102"/>
                <a:gd name="connsiteX2" fmla="*/ 443780 w 1031106"/>
                <a:gd name="connsiteY2" fmla="*/ 0 h 1503102"/>
                <a:gd name="connsiteX3" fmla="*/ 1018813 w 1031106"/>
                <a:gd name="connsiteY3" fmla="*/ 874206 h 1503102"/>
                <a:gd name="connsiteX4" fmla="*/ 718989 w 1031106"/>
                <a:gd name="connsiteY4" fmla="*/ 1495020 h 1503102"/>
                <a:gd name="connsiteX0" fmla="*/ 299147 w 1031508"/>
                <a:gd name="connsiteY0" fmla="*/ 1503102 h 1503102"/>
                <a:gd name="connsiteX1" fmla="*/ 2090 w 1031508"/>
                <a:gd name="connsiteY1" fmla="*/ 934498 h 1503102"/>
                <a:gd name="connsiteX2" fmla="*/ 444182 w 1031508"/>
                <a:gd name="connsiteY2" fmla="*/ 0 h 1503102"/>
                <a:gd name="connsiteX3" fmla="*/ 1019215 w 1031508"/>
                <a:gd name="connsiteY3" fmla="*/ 874206 h 1503102"/>
                <a:gd name="connsiteX4" fmla="*/ 719391 w 1031508"/>
                <a:gd name="connsiteY4" fmla="*/ 1495020 h 1503102"/>
                <a:gd name="connsiteX0" fmla="*/ 301686 w 1034047"/>
                <a:gd name="connsiteY0" fmla="*/ 1503102 h 1503102"/>
                <a:gd name="connsiteX1" fmla="*/ 2065 w 1034047"/>
                <a:gd name="connsiteY1" fmla="*/ 972215 h 1503102"/>
                <a:gd name="connsiteX2" fmla="*/ 446721 w 1034047"/>
                <a:gd name="connsiteY2" fmla="*/ 0 h 1503102"/>
                <a:gd name="connsiteX3" fmla="*/ 1021754 w 1034047"/>
                <a:gd name="connsiteY3" fmla="*/ 874206 h 1503102"/>
                <a:gd name="connsiteX4" fmla="*/ 721930 w 1034047"/>
                <a:gd name="connsiteY4" fmla="*/ 1495020 h 1503102"/>
                <a:gd name="connsiteX0" fmla="*/ 316925 w 1049286"/>
                <a:gd name="connsiteY0" fmla="*/ 1503102 h 1503102"/>
                <a:gd name="connsiteX1" fmla="*/ 1926 w 1049286"/>
                <a:gd name="connsiteY1" fmla="*/ 988380 h 1503102"/>
                <a:gd name="connsiteX2" fmla="*/ 461960 w 1049286"/>
                <a:gd name="connsiteY2" fmla="*/ 0 h 1503102"/>
                <a:gd name="connsiteX3" fmla="*/ 1036993 w 1049286"/>
                <a:gd name="connsiteY3" fmla="*/ 874206 h 1503102"/>
                <a:gd name="connsiteX4" fmla="*/ 737169 w 1049286"/>
                <a:gd name="connsiteY4" fmla="*/ 1495020 h 1503102"/>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936" h="1434920">
                  <a:moveTo>
                    <a:pt x="316575" y="1434920"/>
                  </a:moveTo>
                  <a:cubicBezTo>
                    <a:pt x="186127" y="1313356"/>
                    <a:pt x="-20068" y="1159351"/>
                    <a:pt x="1576" y="920198"/>
                  </a:cubicBezTo>
                  <a:cubicBezTo>
                    <a:pt x="23220" y="681045"/>
                    <a:pt x="453766" y="420451"/>
                    <a:pt x="446440" y="0"/>
                  </a:cubicBezTo>
                  <a:cubicBezTo>
                    <a:pt x="674910" y="255427"/>
                    <a:pt x="981377" y="551466"/>
                    <a:pt x="1036643" y="806024"/>
                  </a:cubicBezTo>
                  <a:cubicBezTo>
                    <a:pt x="1091909" y="1060582"/>
                    <a:pt x="955371" y="1227545"/>
                    <a:pt x="736819" y="1426838"/>
                  </a:cubicBezTo>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14" name="Freeform 68">
              <a:extLst>
                <a:ext uri="{FF2B5EF4-FFF2-40B4-BE49-F238E27FC236}">
                  <a16:creationId xmlns:a16="http://schemas.microsoft.com/office/drawing/2014/main" id="{627FD196-EB6C-48B7-8C68-CEC35244442E}"/>
                </a:ext>
              </a:extLst>
            </p:cNvPr>
            <p:cNvSpPr/>
            <p:nvPr/>
          </p:nvSpPr>
          <p:spPr bwMode="gray">
            <a:xfrm>
              <a:off x="-886112" y="3346900"/>
              <a:ext cx="408180" cy="466865"/>
            </a:xfrm>
            <a:custGeom>
              <a:avLst/>
              <a:gdLst>
                <a:gd name="connsiteX0" fmla="*/ 312344 w 730519"/>
                <a:gd name="connsiteY0" fmla="*/ 1257698 h 1257698"/>
                <a:gd name="connsiteX1" fmla="*/ 845 w 730519"/>
                <a:gd name="connsiteY1" fmla="*/ 745232 h 1257698"/>
                <a:gd name="connsiteX2" fmla="*/ 221909 w 730519"/>
                <a:gd name="connsiteY2" fmla="*/ 443782 h 1257698"/>
                <a:gd name="connsiteX3" fmla="*/ 272151 w 730519"/>
                <a:gd name="connsiteY3" fmla="*/ 1654 h 1257698"/>
                <a:gd name="connsiteX4" fmla="*/ 724326 w 730519"/>
                <a:gd name="connsiteY4" fmla="*/ 614604 h 1257698"/>
                <a:gd name="connsiteX5" fmla="*/ 493214 w 730519"/>
                <a:gd name="connsiteY5" fmla="*/ 1257698 h 1257698"/>
                <a:gd name="connsiteX0" fmla="*/ 236291 w 654466"/>
                <a:gd name="connsiteY0" fmla="*/ 1257760 h 1257760"/>
                <a:gd name="connsiteX1" fmla="*/ 1236 w 654466"/>
                <a:gd name="connsiteY1" fmla="*/ 826117 h 1257760"/>
                <a:gd name="connsiteX2" fmla="*/ 145856 w 654466"/>
                <a:gd name="connsiteY2" fmla="*/ 443844 h 1257760"/>
                <a:gd name="connsiteX3" fmla="*/ 196098 w 654466"/>
                <a:gd name="connsiteY3" fmla="*/ 1716 h 1257760"/>
                <a:gd name="connsiteX4" fmla="*/ 648273 w 654466"/>
                <a:gd name="connsiteY4" fmla="*/ 614666 h 1257760"/>
                <a:gd name="connsiteX5" fmla="*/ 417161 w 654466"/>
                <a:gd name="connsiteY5" fmla="*/ 1257760 h 1257760"/>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2938 h 1212938"/>
                <a:gd name="connsiteX1" fmla="*/ 1566 w 654796"/>
                <a:gd name="connsiteY1" fmla="*/ 781295 h 1212938"/>
                <a:gd name="connsiteX2" fmla="*/ 146186 w 654796"/>
                <a:gd name="connsiteY2" fmla="*/ 399022 h 1212938"/>
                <a:gd name="connsiteX3" fmla="*/ 376615 w 654796"/>
                <a:gd name="connsiteY3" fmla="*/ -1 h 1212938"/>
                <a:gd name="connsiteX4" fmla="*/ 648603 w 654796"/>
                <a:gd name="connsiteY4" fmla="*/ 569844 h 1212938"/>
                <a:gd name="connsiteX5" fmla="*/ 417491 w 654796"/>
                <a:gd name="connsiteY5" fmla="*/ 1212938 h 1212938"/>
                <a:gd name="connsiteX0" fmla="*/ 236621 w 654796"/>
                <a:gd name="connsiteY0" fmla="*/ 1212939 h 1212939"/>
                <a:gd name="connsiteX1" fmla="*/ 1566 w 654796"/>
                <a:gd name="connsiteY1" fmla="*/ 781296 h 1212939"/>
                <a:gd name="connsiteX2" fmla="*/ 146186 w 654796"/>
                <a:gd name="connsiteY2" fmla="*/ 399023 h 1212939"/>
                <a:gd name="connsiteX3" fmla="*/ 376615 w 654796"/>
                <a:gd name="connsiteY3" fmla="*/ 0 h 1212939"/>
                <a:gd name="connsiteX4" fmla="*/ 648603 w 654796"/>
                <a:gd name="connsiteY4" fmla="*/ 569845 h 1212939"/>
                <a:gd name="connsiteX5" fmla="*/ 417491 w 654796"/>
                <a:gd name="connsiteY5" fmla="*/ 1212939 h 1212939"/>
                <a:gd name="connsiteX0" fmla="*/ 236621 w 691880"/>
                <a:gd name="connsiteY0" fmla="*/ 1212939 h 1212939"/>
                <a:gd name="connsiteX1" fmla="*/ 1566 w 691880"/>
                <a:gd name="connsiteY1" fmla="*/ 781296 h 1212939"/>
                <a:gd name="connsiteX2" fmla="*/ 146186 w 691880"/>
                <a:gd name="connsiteY2" fmla="*/ 399023 h 1212939"/>
                <a:gd name="connsiteX3" fmla="*/ 376615 w 691880"/>
                <a:gd name="connsiteY3" fmla="*/ 0 h 1212939"/>
                <a:gd name="connsiteX4" fmla="*/ 686825 w 691880"/>
                <a:gd name="connsiteY4" fmla="*/ 666832 h 1212939"/>
                <a:gd name="connsiteX5" fmla="*/ 417491 w 691880"/>
                <a:gd name="connsiteY5" fmla="*/ 1212939 h 1212939"/>
                <a:gd name="connsiteX0" fmla="*/ 236621 w 701317"/>
                <a:gd name="connsiteY0" fmla="*/ 1212939 h 1212939"/>
                <a:gd name="connsiteX1" fmla="*/ 1566 w 701317"/>
                <a:gd name="connsiteY1" fmla="*/ 781296 h 1212939"/>
                <a:gd name="connsiteX2" fmla="*/ 146186 w 701317"/>
                <a:gd name="connsiteY2" fmla="*/ 399023 h 1212939"/>
                <a:gd name="connsiteX3" fmla="*/ 376615 w 701317"/>
                <a:gd name="connsiteY3" fmla="*/ 0 h 1212939"/>
                <a:gd name="connsiteX4" fmla="*/ 686825 w 701317"/>
                <a:gd name="connsiteY4" fmla="*/ 666832 h 1212939"/>
                <a:gd name="connsiteX5" fmla="*/ 559456 w 701317"/>
                <a:gd name="connsiteY5" fmla="*/ 1185998 h 1212939"/>
                <a:gd name="connsiteX0" fmla="*/ 236621 w 739946"/>
                <a:gd name="connsiteY0" fmla="*/ 1212939 h 1212939"/>
                <a:gd name="connsiteX1" fmla="*/ 1566 w 739946"/>
                <a:gd name="connsiteY1" fmla="*/ 781296 h 1212939"/>
                <a:gd name="connsiteX2" fmla="*/ 146186 w 739946"/>
                <a:gd name="connsiteY2" fmla="*/ 399023 h 1212939"/>
                <a:gd name="connsiteX3" fmla="*/ 376615 w 739946"/>
                <a:gd name="connsiteY3" fmla="*/ 0 h 1212939"/>
                <a:gd name="connsiteX4" fmla="*/ 730507 w 739946"/>
                <a:gd name="connsiteY4" fmla="*/ 634503 h 1212939"/>
                <a:gd name="connsiteX5" fmla="*/ 559456 w 739946"/>
                <a:gd name="connsiteY5" fmla="*/ 1185998 h 1212939"/>
                <a:gd name="connsiteX0" fmla="*/ 236572 w 739897"/>
                <a:gd name="connsiteY0" fmla="*/ 1164445 h 1164445"/>
                <a:gd name="connsiteX1" fmla="*/ 1517 w 739897"/>
                <a:gd name="connsiteY1" fmla="*/ 732802 h 1164445"/>
                <a:gd name="connsiteX2" fmla="*/ 146137 w 739897"/>
                <a:gd name="connsiteY2" fmla="*/ 350529 h 1164445"/>
                <a:gd name="connsiteX3" fmla="*/ 354725 w 739897"/>
                <a:gd name="connsiteY3" fmla="*/ 0 h 1164445"/>
                <a:gd name="connsiteX4" fmla="*/ 730458 w 739897"/>
                <a:gd name="connsiteY4" fmla="*/ 586009 h 1164445"/>
                <a:gd name="connsiteX5" fmla="*/ 559407 w 739897"/>
                <a:gd name="connsiteY5"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42766 w 746091"/>
                <a:gd name="connsiteY0" fmla="*/ 1164445 h 1164445"/>
                <a:gd name="connsiteX1" fmla="*/ 2250 w 746091"/>
                <a:gd name="connsiteY1" fmla="*/ 700472 h 1164445"/>
                <a:gd name="connsiteX2" fmla="*/ 360919 w 746091"/>
                <a:gd name="connsiteY2" fmla="*/ 0 h 1164445"/>
                <a:gd name="connsiteX3" fmla="*/ 736652 w 746091"/>
                <a:gd name="connsiteY3" fmla="*/ 586009 h 1164445"/>
                <a:gd name="connsiteX4" fmla="*/ 565601 w 746091"/>
                <a:gd name="connsiteY4" fmla="*/ 1137504 h 1164445"/>
                <a:gd name="connsiteX0" fmla="*/ 182965 w 751812"/>
                <a:gd name="connsiteY0" fmla="*/ 1148280 h 1148280"/>
                <a:gd name="connsiteX1" fmla="*/ 7971 w 751812"/>
                <a:gd name="connsiteY1" fmla="*/ 700472 h 1148280"/>
                <a:gd name="connsiteX2" fmla="*/ 366640 w 751812"/>
                <a:gd name="connsiteY2" fmla="*/ 0 h 1148280"/>
                <a:gd name="connsiteX3" fmla="*/ 742373 w 751812"/>
                <a:gd name="connsiteY3" fmla="*/ 586009 h 1148280"/>
                <a:gd name="connsiteX4" fmla="*/ 571322 w 751812"/>
                <a:gd name="connsiteY4" fmla="*/ 1137504 h 1148280"/>
                <a:gd name="connsiteX0" fmla="*/ 205889 w 748841"/>
                <a:gd name="connsiteY0" fmla="*/ 1142892 h 1142892"/>
                <a:gd name="connsiteX1" fmla="*/ 5000 w 748841"/>
                <a:gd name="connsiteY1" fmla="*/ 700472 h 1142892"/>
                <a:gd name="connsiteX2" fmla="*/ 363669 w 748841"/>
                <a:gd name="connsiteY2" fmla="*/ 0 h 1142892"/>
                <a:gd name="connsiteX3" fmla="*/ 739402 w 748841"/>
                <a:gd name="connsiteY3" fmla="*/ 586009 h 1142892"/>
                <a:gd name="connsiteX4" fmla="*/ 568351 w 748841"/>
                <a:gd name="connsiteY4" fmla="*/ 1137504 h 1142892"/>
                <a:gd name="connsiteX0" fmla="*/ 187451 w 751119"/>
                <a:gd name="connsiteY0" fmla="*/ 1142892 h 1142892"/>
                <a:gd name="connsiteX1" fmla="*/ 7278 w 751119"/>
                <a:gd name="connsiteY1" fmla="*/ 700472 h 1142892"/>
                <a:gd name="connsiteX2" fmla="*/ 365947 w 751119"/>
                <a:gd name="connsiteY2" fmla="*/ 0 h 1142892"/>
                <a:gd name="connsiteX3" fmla="*/ 741680 w 751119"/>
                <a:gd name="connsiteY3" fmla="*/ 586009 h 1142892"/>
                <a:gd name="connsiteX4" fmla="*/ 570629 w 751119"/>
                <a:gd name="connsiteY4" fmla="*/ 1137504 h 1142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119" h="1142892">
                  <a:moveTo>
                    <a:pt x="187451" y="1142892"/>
                  </a:moveTo>
                  <a:cubicBezTo>
                    <a:pt x="39237" y="954485"/>
                    <a:pt x="-22471" y="890954"/>
                    <a:pt x="7278" y="700472"/>
                  </a:cubicBezTo>
                  <a:cubicBezTo>
                    <a:pt x="37027" y="509990"/>
                    <a:pt x="320900" y="272324"/>
                    <a:pt x="365947" y="0"/>
                  </a:cubicBezTo>
                  <a:cubicBezTo>
                    <a:pt x="504285" y="195504"/>
                    <a:pt x="704836" y="376668"/>
                    <a:pt x="741680" y="586009"/>
                  </a:cubicBezTo>
                  <a:cubicBezTo>
                    <a:pt x="778524" y="795350"/>
                    <a:pt x="704607" y="920627"/>
                    <a:pt x="570629" y="1137504"/>
                  </a:cubicBezTo>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15" name="Freeform 69">
              <a:extLst>
                <a:ext uri="{FF2B5EF4-FFF2-40B4-BE49-F238E27FC236}">
                  <a16:creationId xmlns:a16="http://schemas.microsoft.com/office/drawing/2014/main" id="{E9F38CBC-E1C8-428E-A4EF-31F365B21D07}"/>
                </a:ext>
              </a:extLst>
            </p:cNvPr>
            <p:cNvSpPr/>
            <p:nvPr/>
          </p:nvSpPr>
          <p:spPr bwMode="gray">
            <a:xfrm>
              <a:off x="-820606" y="3535648"/>
              <a:ext cx="273691" cy="278112"/>
            </a:xfrm>
            <a:custGeom>
              <a:avLst/>
              <a:gdLst>
                <a:gd name="connsiteX0" fmla="*/ 95316 w 319358"/>
                <a:gd name="connsiteY0" fmla="*/ 870562 h 870562"/>
                <a:gd name="connsiteX1" fmla="*/ 66 w 319358"/>
                <a:gd name="connsiteY1" fmla="*/ 483212 h 870562"/>
                <a:gd name="connsiteX2" fmla="*/ 108016 w 319358"/>
                <a:gd name="connsiteY2" fmla="*/ 324462 h 870562"/>
                <a:gd name="connsiteX3" fmla="*/ 165166 w 319358"/>
                <a:gd name="connsiteY3" fmla="*/ 612 h 870562"/>
                <a:gd name="connsiteX4" fmla="*/ 317566 w 319358"/>
                <a:gd name="connsiteY4" fmla="*/ 413362 h 870562"/>
                <a:gd name="connsiteX5" fmla="*/ 235016 w 319358"/>
                <a:gd name="connsiteY5" fmla="*/ 864212 h 870562"/>
                <a:gd name="connsiteX0" fmla="*/ 95316 w 342347"/>
                <a:gd name="connsiteY0" fmla="*/ 870562 h 870562"/>
                <a:gd name="connsiteX1" fmla="*/ 66 w 342347"/>
                <a:gd name="connsiteY1" fmla="*/ 483212 h 870562"/>
                <a:gd name="connsiteX2" fmla="*/ 108016 w 342347"/>
                <a:gd name="connsiteY2" fmla="*/ 324462 h 870562"/>
                <a:gd name="connsiteX3" fmla="*/ 165166 w 342347"/>
                <a:gd name="connsiteY3" fmla="*/ 612 h 870562"/>
                <a:gd name="connsiteX4" fmla="*/ 317566 w 342347"/>
                <a:gd name="connsiteY4" fmla="*/ 413362 h 870562"/>
                <a:gd name="connsiteX5" fmla="*/ 319044 w 342347"/>
                <a:gd name="connsiteY5" fmla="*/ 842659 h 870562"/>
                <a:gd name="connsiteX0" fmla="*/ 95316 w 371927"/>
                <a:gd name="connsiteY0" fmla="*/ 870562 h 870562"/>
                <a:gd name="connsiteX1" fmla="*/ 66 w 371927"/>
                <a:gd name="connsiteY1" fmla="*/ 483212 h 870562"/>
                <a:gd name="connsiteX2" fmla="*/ 108016 w 371927"/>
                <a:gd name="connsiteY2" fmla="*/ 324462 h 870562"/>
                <a:gd name="connsiteX3" fmla="*/ 165166 w 371927"/>
                <a:gd name="connsiteY3" fmla="*/ 612 h 870562"/>
                <a:gd name="connsiteX4" fmla="*/ 367982 w 371927"/>
                <a:gd name="connsiteY4" fmla="*/ 413363 h 870562"/>
                <a:gd name="connsiteX5" fmla="*/ 319044 w 371927"/>
                <a:gd name="connsiteY5" fmla="*/ 842659 h 870562"/>
                <a:gd name="connsiteX0" fmla="*/ 95316 w 371927"/>
                <a:gd name="connsiteY0" fmla="*/ 827551 h 827551"/>
                <a:gd name="connsiteX1" fmla="*/ 66 w 371927"/>
                <a:gd name="connsiteY1" fmla="*/ 440201 h 827551"/>
                <a:gd name="connsiteX2" fmla="*/ 108016 w 371927"/>
                <a:gd name="connsiteY2" fmla="*/ 281451 h 827551"/>
                <a:gd name="connsiteX3" fmla="*/ 205499 w 371927"/>
                <a:gd name="connsiteY3" fmla="*/ 707 h 827551"/>
                <a:gd name="connsiteX4" fmla="*/ 367982 w 371927"/>
                <a:gd name="connsiteY4" fmla="*/ 370352 h 827551"/>
                <a:gd name="connsiteX5" fmla="*/ 319044 w 371927"/>
                <a:gd name="connsiteY5" fmla="*/ 799648 h 827551"/>
                <a:gd name="connsiteX0" fmla="*/ 98435 w 375046"/>
                <a:gd name="connsiteY0" fmla="*/ 826844 h 826844"/>
                <a:gd name="connsiteX1" fmla="*/ 3185 w 375046"/>
                <a:gd name="connsiteY1" fmla="*/ 439494 h 826844"/>
                <a:gd name="connsiteX2" fmla="*/ 208618 w 375046"/>
                <a:gd name="connsiteY2" fmla="*/ 0 h 826844"/>
                <a:gd name="connsiteX3" fmla="*/ 371101 w 375046"/>
                <a:gd name="connsiteY3" fmla="*/ 369645 h 826844"/>
                <a:gd name="connsiteX4" fmla="*/ 322163 w 375046"/>
                <a:gd name="connsiteY4" fmla="*/ 798941 h 826844"/>
                <a:gd name="connsiteX0" fmla="*/ 47224 w 323835"/>
                <a:gd name="connsiteY0" fmla="*/ 826845 h 826845"/>
                <a:gd name="connsiteX1" fmla="*/ 9112 w 323835"/>
                <a:gd name="connsiteY1" fmla="*/ 374836 h 826845"/>
                <a:gd name="connsiteX2" fmla="*/ 157407 w 323835"/>
                <a:gd name="connsiteY2" fmla="*/ 1 h 826845"/>
                <a:gd name="connsiteX3" fmla="*/ 319890 w 323835"/>
                <a:gd name="connsiteY3" fmla="*/ 369646 h 826845"/>
                <a:gd name="connsiteX4" fmla="*/ 270952 w 323835"/>
                <a:gd name="connsiteY4" fmla="*/ 798942 h 826845"/>
                <a:gd name="connsiteX0" fmla="*/ 48467 w 325078"/>
                <a:gd name="connsiteY0" fmla="*/ 810682 h 810682"/>
                <a:gd name="connsiteX1" fmla="*/ 10355 w 325078"/>
                <a:gd name="connsiteY1" fmla="*/ 358673 h 810682"/>
                <a:gd name="connsiteX2" fmla="*/ 175456 w 325078"/>
                <a:gd name="connsiteY2" fmla="*/ 3 h 810682"/>
                <a:gd name="connsiteX3" fmla="*/ 321133 w 325078"/>
                <a:gd name="connsiteY3" fmla="*/ 353483 h 810682"/>
                <a:gd name="connsiteX4" fmla="*/ 272195 w 325078"/>
                <a:gd name="connsiteY4" fmla="*/ 782779 h 810682"/>
                <a:gd name="connsiteX0" fmla="*/ 55744 w 322272"/>
                <a:gd name="connsiteY0" fmla="*/ 805294 h 805294"/>
                <a:gd name="connsiteX1" fmla="*/ 7549 w 322272"/>
                <a:gd name="connsiteY1" fmla="*/ 358673 h 805294"/>
                <a:gd name="connsiteX2" fmla="*/ 172650 w 322272"/>
                <a:gd name="connsiteY2" fmla="*/ 3 h 805294"/>
                <a:gd name="connsiteX3" fmla="*/ 318327 w 322272"/>
                <a:gd name="connsiteY3" fmla="*/ 353483 h 805294"/>
                <a:gd name="connsiteX4" fmla="*/ 269389 w 322272"/>
                <a:gd name="connsiteY4" fmla="*/ 782779 h 805294"/>
                <a:gd name="connsiteX0" fmla="*/ 55744 w 321540"/>
                <a:gd name="connsiteY0" fmla="*/ 805294 h 805294"/>
                <a:gd name="connsiteX1" fmla="*/ 7549 w 321540"/>
                <a:gd name="connsiteY1" fmla="*/ 358673 h 805294"/>
                <a:gd name="connsiteX2" fmla="*/ 172650 w 321540"/>
                <a:gd name="connsiteY2" fmla="*/ 3 h 805294"/>
                <a:gd name="connsiteX3" fmla="*/ 318327 w 321540"/>
                <a:gd name="connsiteY3" fmla="*/ 353483 h 805294"/>
                <a:gd name="connsiteX4" fmla="*/ 262564 w 321540"/>
                <a:gd name="connsiteY4" fmla="*/ 798944 h 805294"/>
                <a:gd name="connsiteX0" fmla="*/ 55744 w 321540"/>
                <a:gd name="connsiteY0" fmla="*/ 789129 h 798944"/>
                <a:gd name="connsiteX1" fmla="*/ 7549 w 321540"/>
                <a:gd name="connsiteY1" fmla="*/ 358673 h 798944"/>
                <a:gd name="connsiteX2" fmla="*/ 172650 w 321540"/>
                <a:gd name="connsiteY2" fmla="*/ 3 h 798944"/>
                <a:gd name="connsiteX3" fmla="*/ 318327 w 321540"/>
                <a:gd name="connsiteY3" fmla="*/ 353483 h 798944"/>
                <a:gd name="connsiteX4" fmla="*/ 262564 w 321540"/>
                <a:gd name="connsiteY4" fmla="*/ 798944 h 798944"/>
                <a:gd name="connsiteX0" fmla="*/ 55744 w 322748"/>
                <a:gd name="connsiteY0" fmla="*/ 789129 h 789129"/>
                <a:gd name="connsiteX1" fmla="*/ 7549 w 322748"/>
                <a:gd name="connsiteY1" fmla="*/ 358673 h 789129"/>
                <a:gd name="connsiteX2" fmla="*/ 172650 w 322748"/>
                <a:gd name="connsiteY2" fmla="*/ 3 h 789129"/>
                <a:gd name="connsiteX3" fmla="*/ 318327 w 322748"/>
                <a:gd name="connsiteY3" fmla="*/ 353483 h 789129"/>
                <a:gd name="connsiteX4" fmla="*/ 272801 w 322748"/>
                <a:gd name="connsiteY4" fmla="*/ 782779 h 789129"/>
                <a:gd name="connsiteX0" fmla="*/ 61546 w 328550"/>
                <a:gd name="connsiteY0" fmla="*/ 789600 h 789600"/>
                <a:gd name="connsiteX1" fmla="*/ 6527 w 328550"/>
                <a:gd name="connsiteY1" fmla="*/ 426496 h 789600"/>
                <a:gd name="connsiteX2" fmla="*/ 178452 w 328550"/>
                <a:gd name="connsiteY2" fmla="*/ 474 h 789600"/>
                <a:gd name="connsiteX3" fmla="*/ 324129 w 328550"/>
                <a:gd name="connsiteY3" fmla="*/ 353954 h 789600"/>
                <a:gd name="connsiteX4" fmla="*/ 278603 w 328550"/>
                <a:gd name="connsiteY4" fmla="*/ 783250 h 789600"/>
                <a:gd name="connsiteX0" fmla="*/ 61546 w 331487"/>
                <a:gd name="connsiteY0" fmla="*/ 789171 h 789171"/>
                <a:gd name="connsiteX1" fmla="*/ 6527 w 331487"/>
                <a:gd name="connsiteY1" fmla="*/ 426067 h 789171"/>
                <a:gd name="connsiteX2" fmla="*/ 178452 w 331487"/>
                <a:gd name="connsiteY2" fmla="*/ 45 h 789171"/>
                <a:gd name="connsiteX3" fmla="*/ 327542 w 331487"/>
                <a:gd name="connsiteY3" fmla="*/ 402018 h 789171"/>
                <a:gd name="connsiteX4" fmla="*/ 278603 w 331487"/>
                <a:gd name="connsiteY4" fmla="*/ 782821 h 789171"/>
                <a:gd name="connsiteX0" fmla="*/ 61895 w 331836"/>
                <a:gd name="connsiteY0" fmla="*/ 724528 h 724528"/>
                <a:gd name="connsiteX1" fmla="*/ 6876 w 331836"/>
                <a:gd name="connsiteY1" fmla="*/ 361424 h 724528"/>
                <a:gd name="connsiteX2" fmla="*/ 183919 w 331836"/>
                <a:gd name="connsiteY2" fmla="*/ 61 h 724528"/>
                <a:gd name="connsiteX3" fmla="*/ 327891 w 331836"/>
                <a:gd name="connsiteY3" fmla="*/ 337375 h 724528"/>
                <a:gd name="connsiteX4" fmla="*/ 278952 w 331836"/>
                <a:gd name="connsiteY4" fmla="*/ 718178 h 72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36" h="724528">
                  <a:moveTo>
                    <a:pt x="61895" y="724528"/>
                  </a:moveTo>
                  <a:cubicBezTo>
                    <a:pt x="13211" y="576361"/>
                    <a:pt x="-13461" y="482169"/>
                    <a:pt x="6876" y="361424"/>
                  </a:cubicBezTo>
                  <a:cubicBezTo>
                    <a:pt x="27213" y="240680"/>
                    <a:pt x="130417" y="4069"/>
                    <a:pt x="183919" y="61"/>
                  </a:cubicBezTo>
                  <a:cubicBezTo>
                    <a:pt x="237422" y="-3947"/>
                    <a:pt x="316249" y="193442"/>
                    <a:pt x="327891" y="337375"/>
                  </a:cubicBezTo>
                  <a:cubicBezTo>
                    <a:pt x="339533" y="481308"/>
                    <a:pt x="326048" y="564719"/>
                    <a:pt x="278952" y="718178"/>
                  </a:cubicBezTo>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216" name="Rectangle 77">
            <a:extLst>
              <a:ext uri="{FF2B5EF4-FFF2-40B4-BE49-F238E27FC236}">
                <a16:creationId xmlns:a16="http://schemas.microsoft.com/office/drawing/2014/main" id="{700F8223-6755-4577-A2EC-D88046556B95}"/>
              </a:ext>
            </a:extLst>
          </p:cNvPr>
          <p:cNvSpPr/>
          <p:nvPr/>
        </p:nvSpPr>
        <p:spPr bwMode="gray">
          <a:xfrm>
            <a:off x="7798199" y="5100374"/>
            <a:ext cx="373922" cy="191125"/>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no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217" name="Rectangle 77">
            <a:extLst>
              <a:ext uri="{FF2B5EF4-FFF2-40B4-BE49-F238E27FC236}">
                <a16:creationId xmlns:a16="http://schemas.microsoft.com/office/drawing/2014/main" id="{E3389EA3-610A-4473-9F3F-8E64D0F6E5A8}"/>
              </a:ext>
            </a:extLst>
          </p:cNvPr>
          <p:cNvSpPr/>
          <p:nvPr/>
        </p:nvSpPr>
        <p:spPr bwMode="gray">
          <a:xfrm>
            <a:off x="8989501" y="5090773"/>
            <a:ext cx="373922" cy="191125"/>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no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03" name="Group 102">
            <a:extLst>
              <a:ext uri="{FF2B5EF4-FFF2-40B4-BE49-F238E27FC236}">
                <a16:creationId xmlns:a16="http://schemas.microsoft.com/office/drawing/2014/main" id="{FEE46901-B991-45C0-B33D-0783C2650669}"/>
              </a:ext>
            </a:extLst>
          </p:cNvPr>
          <p:cNvGrpSpPr/>
          <p:nvPr/>
        </p:nvGrpSpPr>
        <p:grpSpPr bwMode="gray">
          <a:xfrm>
            <a:off x="9082716" y="2534708"/>
            <a:ext cx="229982" cy="210020"/>
            <a:chOff x="-967926" y="3169597"/>
            <a:chExt cx="575910" cy="644168"/>
          </a:xfrm>
          <a:noFill/>
        </p:grpSpPr>
        <p:sp>
          <p:nvSpPr>
            <p:cNvPr id="104" name="Freeform 67">
              <a:extLst>
                <a:ext uri="{FF2B5EF4-FFF2-40B4-BE49-F238E27FC236}">
                  <a16:creationId xmlns:a16="http://schemas.microsoft.com/office/drawing/2014/main" id="{E577B148-DC52-436D-BDDF-1D941151841D}"/>
                </a:ext>
              </a:extLst>
            </p:cNvPr>
            <p:cNvSpPr/>
            <p:nvPr/>
          </p:nvSpPr>
          <p:spPr bwMode="gray">
            <a:xfrm>
              <a:off x="-967926" y="3169597"/>
              <a:ext cx="575910" cy="644168"/>
            </a:xfrm>
            <a:custGeom>
              <a:avLst/>
              <a:gdLst>
                <a:gd name="connsiteX0" fmla="*/ 394445 w 915582"/>
                <a:gd name="connsiteY0" fmla="*/ 1530534 h 1530534"/>
                <a:gd name="connsiteX1" fmla="*/ 2559 w 915582"/>
                <a:gd name="connsiteY1" fmla="*/ 937681 h 1530534"/>
                <a:gd name="connsiteX2" fmla="*/ 223623 w 915582"/>
                <a:gd name="connsiteY2" fmla="*/ 596037 h 1530534"/>
                <a:gd name="connsiteX3" fmla="*/ 193478 w 915582"/>
                <a:gd name="connsiteY3" fmla="*/ 3184 h 1530534"/>
                <a:gd name="connsiteX4" fmla="*/ 906911 w 915582"/>
                <a:gd name="connsiteY4" fmla="*/ 877391 h 1530534"/>
                <a:gd name="connsiteX5" fmla="*/ 525073 w 915582"/>
                <a:gd name="connsiteY5" fmla="*/ 1530534 h 1530534"/>
                <a:gd name="connsiteX0" fmla="*/ 63771 w 1112883"/>
                <a:gd name="connsiteY0" fmla="*/ 1460487 h 1530534"/>
                <a:gd name="connsiteX1" fmla="*/ 199860 w 1112883"/>
                <a:gd name="connsiteY1" fmla="*/ 937681 h 1530534"/>
                <a:gd name="connsiteX2" fmla="*/ 420924 w 1112883"/>
                <a:gd name="connsiteY2" fmla="*/ 596037 h 1530534"/>
                <a:gd name="connsiteX3" fmla="*/ 390779 w 1112883"/>
                <a:gd name="connsiteY3" fmla="*/ 3184 h 1530534"/>
                <a:gd name="connsiteX4" fmla="*/ 1104212 w 1112883"/>
                <a:gd name="connsiteY4" fmla="*/ 877391 h 1530534"/>
                <a:gd name="connsiteX5" fmla="*/ 722374 w 1112883"/>
                <a:gd name="connsiteY5" fmla="*/ 1530534 h 1530534"/>
                <a:gd name="connsiteX0" fmla="*/ 63772 w 1109482"/>
                <a:gd name="connsiteY0" fmla="*/ 1460487 h 1514369"/>
                <a:gd name="connsiteX1" fmla="*/ 199861 w 1109482"/>
                <a:gd name="connsiteY1" fmla="*/ 937681 h 1514369"/>
                <a:gd name="connsiteX2" fmla="*/ 420925 w 1109482"/>
                <a:gd name="connsiteY2" fmla="*/ 596037 h 1514369"/>
                <a:gd name="connsiteX3" fmla="*/ 390780 w 1109482"/>
                <a:gd name="connsiteY3" fmla="*/ 3184 h 1514369"/>
                <a:gd name="connsiteX4" fmla="*/ 1104213 w 1109482"/>
                <a:gd name="connsiteY4" fmla="*/ 877391 h 1514369"/>
                <a:gd name="connsiteX5" fmla="*/ 548092 w 1109482"/>
                <a:gd name="connsiteY5" fmla="*/ 1514369 h 1514369"/>
                <a:gd name="connsiteX0" fmla="*/ 63772 w 874709"/>
                <a:gd name="connsiteY0" fmla="*/ 1460715 h 1514597"/>
                <a:gd name="connsiteX1" fmla="*/ 199861 w 874709"/>
                <a:gd name="connsiteY1" fmla="*/ 937909 h 1514597"/>
                <a:gd name="connsiteX2" fmla="*/ 420925 w 874709"/>
                <a:gd name="connsiteY2" fmla="*/ 596265 h 1514597"/>
                <a:gd name="connsiteX3" fmla="*/ 390780 w 874709"/>
                <a:gd name="connsiteY3" fmla="*/ 3412 h 1514597"/>
                <a:gd name="connsiteX4" fmla="*/ 863293 w 874709"/>
                <a:gd name="connsiteY4" fmla="*/ 888395 h 1514597"/>
                <a:gd name="connsiteX5" fmla="*/ 548092 w 874709"/>
                <a:gd name="connsiteY5" fmla="*/ 1514597 h 1514597"/>
                <a:gd name="connsiteX0" fmla="*/ 191224 w 1002160"/>
                <a:gd name="connsiteY0" fmla="*/ 1460745 h 1514627"/>
                <a:gd name="connsiteX1" fmla="*/ 24880 w 1002160"/>
                <a:gd name="connsiteY1" fmla="*/ 964881 h 1514627"/>
                <a:gd name="connsiteX2" fmla="*/ 548377 w 1002160"/>
                <a:gd name="connsiteY2" fmla="*/ 596295 h 1514627"/>
                <a:gd name="connsiteX3" fmla="*/ 518232 w 1002160"/>
                <a:gd name="connsiteY3" fmla="*/ 3442 h 1514627"/>
                <a:gd name="connsiteX4" fmla="*/ 990745 w 1002160"/>
                <a:gd name="connsiteY4" fmla="*/ 888425 h 1514627"/>
                <a:gd name="connsiteX5" fmla="*/ 675544 w 1002160"/>
                <a:gd name="connsiteY5" fmla="*/ 1514627 h 1514627"/>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72063 h 1525945"/>
                <a:gd name="connsiteX1" fmla="*/ 6383 w 983663"/>
                <a:gd name="connsiteY1" fmla="*/ 976199 h 1525945"/>
                <a:gd name="connsiteX2" fmla="*/ 268455 w 983663"/>
                <a:gd name="connsiteY2" fmla="*/ 532179 h 1525945"/>
                <a:gd name="connsiteX3" fmla="*/ 499735 w 983663"/>
                <a:gd name="connsiteY3" fmla="*/ 14760 h 1525945"/>
                <a:gd name="connsiteX4" fmla="*/ 972248 w 983663"/>
                <a:gd name="connsiteY4" fmla="*/ 899743 h 1525945"/>
                <a:gd name="connsiteX5" fmla="*/ 657047 w 983663"/>
                <a:gd name="connsiteY5" fmla="*/ 1525945 h 1525945"/>
                <a:gd name="connsiteX0" fmla="*/ 172727 w 983663"/>
                <a:gd name="connsiteY0" fmla="*/ 1456181 h 1510063"/>
                <a:gd name="connsiteX1" fmla="*/ 6383 w 983663"/>
                <a:gd name="connsiteY1" fmla="*/ 960317 h 1510063"/>
                <a:gd name="connsiteX2" fmla="*/ 268455 w 983663"/>
                <a:gd name="connsiteY2" fmla="*/ 516297 h 1510063"/>
                <a:gd name="connsiteX3" fmla="*/ 443349 w 983663"/>
                <a:gd name="connsiteY3" fmla="*/ 15043 h 1510063"/>
                <a:gd name="connsiteX4" fmla="*/ 972248 w 983663"/>
                <a:gd name="connsiteY4" fmla="*/ 883861 h 1510063"/>
                <a:gd name="connsiteX5" fmla="*/ 657047 w 983663"/>
                <a:gd name="connsiteY5" fmla="*/ 1510063 h 1510063"/>
                <a:gd name="connsiteX0" fmla="*/ 171348 w 982284"/>
                <a:gd name="connsiteY0" fmla="*/ 1447162 h 1501044"/>
                <a:gd name="connsiteX1" fmla="*/ 5004 w 982284"/>
                <a:gd name="connsiteY1" fmla="*/ 951298 h 1501044"/>
                <a:gd name="connsiteX2" fmla="*/ 246573 w 982284"/>
                <a:gd name="connsiteY2" fmla="*/ 512666 h 1501044"/>
                <a:gd name="connsiteX3" fmla="*/ 441970 w 982284"/>
                <a:gd name="connsiteY3" fmla="*/ 6024 h 1501044"/>
                <a:gd name="connsiteX4" fmla="*/ 970869 w 982284"/>
                <a:gd name="connsiteY4" fmla="*/ 874842 h 1501044"/>
                <a:gd name="connsiteX5" fmla="*/ 655668 w 982284"/>
                <a:gd name="connsiteY5" fmla="*/ 1501044 h 1501044"/>
                <a:gd name="connsiteX0" fmla="*/ 171348 w 982284"/>
                <a:gd name="connsiteY0" fmla="*/ 1457131 h 1511013"/>
                <a:gd name="connsiteX1" fmla="*/ 5004 w 982284"/>
                <a:gd name="connsiteY1" fmla="*/ 961267 h 1511013"/>
                <a:gd name="connsiteX2" fmla="*/ 246573 w 982284"/>
                <a:gd name="connsiteY2" fmla="*/ 522635 h 1511013"/>
                <a:gd name="connsiteX3" fmla="*/ 441970 w 982284"/>
                <a:gd name="connsiteY3" fmla="*/ 15993 h 1511013"/>
                <a:gd name="connsiteX4" fmla="*/ 970869 w 982284"/>
                <a:gd name="connsiteY4" fmla="*/ 884811 h 1511013"/>
                <a:gd name="connsiteX5" fmla="*/ 655668 w 982284"/>
                <a:gd name="connsiteY5" fmla="*/ 1511013 h 1511013"/>
                <a:gd name="connsiteX0" fmla="*/ 184998 w 995934"/>
                <a:gd name="connsiteY0" fmla="*/ 1441330 h 1495212"/>
                <a:gd name="connsiteX1" fmla="*/ 18654 w 995934"/>
                <a:gd name="connsiteY1" fmla="*/ 945466 h 1495212"/>
                <a:gd name="connsiteX2" fmla="*/ 455620 w 995934"/>
                <a:gd name="connsiteY2" fmla="*/ 192 h 1495212"/>
                <a:gd name="connsiteX3" fmla="*/ 984519 w 995934"/>
                <a:gd name="connsiteY3" fmla="*/ 869010 h 1495212"/>
                <a:gd name="connsiteX4" fmla="*/ 669318 w 995934"/>
                <a:gd name="connsiteY4" fmla="*/ 1495212 h 1495212"/>
                <a:gd name="connsiteX0" fmla="*/ 184998 w 995934"/>
                <a:gd name="connsiteY0" fmla="*/ 1462589 h 1516471"/>
                <a:gd name="connsiteX1" fmla="*/ 18654 w 995934"/>
                <a:gd name="connsiteY1" fmla="*/ 966725 h 1516471"/>
                <a:gd name="connsiteX2" fmla="*/ 455620 w 995934"/>
                <a:gd name="connsiteY2" fmla="*/ 21451 h 1516471"/>
                <a:gd name="connsiteX3" fmla="*/ 984519 w 995934"/>
                <a:gd name="connsiteY3" fmla="*/ 890269 h 1516471"/>
                <a:gd name="connsiteX4" fmla="*/ 669318 w 995934"/>
                <a:gd name="connsiteY4" fmla="*/ 1516471 h 1516471"/>
                <a:gd name="connsiteX0" fmla="*/ 178447 w 989383"/>
                <a:gd name="connsiteY0" fmla="*/ 1462589 h 1516471"/>
                <a:gd name="connsiteX1" fmla="*/ 12103 w 989383"/>
                <a:gd name="connsiteY1" fmla="*/ 966725 h 1516471"/>
                <a:gd name="connsiteX2" fmla="*/ 449069 w 989383"/>
                <a:gd name="connsiteY2" fmla="*/ 21451 h 1516471"/>
                <a:gd name="connsiteX3" fmla="*/ 977968 w 989383"/>
                <a:gd name="connsiteY3" fmla="*/ 890269 h 1516471"/>
                <a:gd name="connsiteX4" fmla="*/ 662767 w 989383"/>
                <a:gd name="connsiteY4" fmla="*/ 1516471 h 1516471"/>
                <a:gd name="connsiteX0" fmla="*/ 172077 w 983013"/>
                <a:gd name="connsiteY0" fmla="*/ 1462589 h 1516471"/>
                <a:gd name="connsiteX1" fmla="*/ 5733 w 983013"/>
                <a:gd name="connsiteY1" fmla="*/ 966725 h 1516471"/>
                <a:gd name="connsiteX2" fmla="*/ 442699 w 983013"/>
                <a:gd name="connsiteY2" fmla="*/ 21451 h 1516471"/>
                <a:gd name="connsiteX3" fmla="*/ 971598 w 983013"/>
                <a:gd name="connsiteY3" fmla="*/ 890269 h 1516471"/>
                <a:gd name="connsiteX4" fmla="*/ 656397 w 983013"/>
                <a:gd name="connsiteY4" fmla="*/ 1516471 h 1516471"/>
                <a:gd name="connsiteX0" fmla="*/ 167713 w 978649"/>
                <a:gd name="connsiteY0" fmla="*/ 1462589 h 1516471"/>
                <a:gd name="connsiteX1" fmla="*/ 1369 w 978649"/>
                <a:gd name="connsiteY1" fmla="*/ 966725 h 1516471"/>
                <a:gd name="connsiteX2" fmla="*/ 438335 w 978649"/>
                <a:gd name="connsiteY2" fmla="*/ 21451 h 1516471"/>
                <a:gd name="connsiteX3" fmla="*/ 967234 w 978649"/>
                <a:gd name="connsiteY3" fmla="*/ 890269 h 1516471"/>
                <a:gd name="connsiteX4" fmla="*/ 652033 w 978649"/>
                <a:gd name="connsiteY4" fmla="*/ 1516471 h 1516471"/>
                <a:gd name="connsiteX0" fmla="*/ 194053 w 984485"/>
                <a:gd name="connsiteY0" fmla="*/ 1489530 h 1516471"/>
                <a:gd name="connsiteX1" fmla="*/ 7205 w 984485"/>
                <a:gd name="connsiteY1" fmla="*/ 966725 h 1516471"/>
                <a:gd name="connsiteX2" fmla="*/ 444171 w 984485"/>
                <a:gd name="connsiteY2" fmla="*/ 21451 h 1516471"/>
                <a:gd name="connsiteX3" fmla="*/ 973070 w 984485"/>
                <a:gd name="connsiteY3" fmla="*/ 890269 h 1516471"/>
                <a:gd name="connsiteX4" fmla="*/ 657869 w 984485"/>
                <a:gd name="connsiteY4" fmla="*/ 1516471 h 1516471"/>
                <a:gd name="connsiteX0" fmla="*/ 194054 w 983258"/>
                <a:gd name="connsiteY0" fmla="*/ 1489530 h 1489530"/>
                <a:gd name="connsiteX1" fmla="*/ 7206 w 983258"/>
                <a:gd name="connsiteY1" fmla="*/ 966725 h 1489530"/>
                <a:gd name="connsiteX2" fmla="*/ 444172 w 983258"/>
                <a:gd name="connsiteY2" fmla="*/ 21451 h 1489530"/>
                <a:gd name="connsiteX3" fmla="*/ 973071 w 983258"/>
                <a:gd name="connsiteY3" fmla="*/ 890269 h 1489530"/>
                <a:gd name="connsiteX4" fmla="*/ 632240 w 983258"/>
                <a:gd name="connsiteY4" fmla="*/ 1489530 h 1489530"/>
                <a:gd name="connsiteX0" fmla="*/ 194054 w 958856"/>
                <a:gd name="connsiteY0" fmla="*/ 1468401 h 1468401"/>
                <a:gd name="connsiteX1" fmla="*/ 7206 w 958856"/>
                <a:gd name="connsiteY1" fmla="*/ 945596 h 1468401"/>
                <a:gd name="connsiteX2" fmla="*/ 444172 w 958856"/>
                <a:gd name="connsiteY2" fmla="*/ 322 h 1468401"/>
                <a:gd name="connsiteX3" fmla="*/ 947441 w 958856"/>
                <a:gd name="connsiteY3" fmla="*/ 847587 h 1468401"/>
                <a:gd name="connsiteX4" fmla="*/ 632240 w 958856"/>
                <a:gd name="connsiteY4" fmla="*/ 1468401 h 1468401"/>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466 h 1473466"/>
                <a:gd name="connsiteX1" fmla="*/ 6054 w 957704"/>
                <a:gd name="connsiteY1" fmla="*/ 950661 h 1473466"/>
                <a:gd name="connsiteX2" fmla="*/ 417391 w 957704"/>
                <a:gd name="connsiteY2" fmla="*/ -1 h 1473466"/>
                <a:gd name="connsiteX3" fmla="*/ 946289 w 957704"/>
                <a:gd name="connsiteY3" fmla="*/ 852652 h 1473466"/>
                <a:gd name="connsiteX4" fmla="*/ 631088 w 957704"/>
                <a:gd name="connsiteY4" fmla="*/ 1473466 h 1473466"/>
                <a:gd name="connsiteX0" fmla="*/ 192902 w 943205"/>
                <a:gd name="connsiteY0" fmla="*/ 1473467 h 1473467"/>
                <a:gd name="connsiteX1" fmla="*/ 6054 w 943205"/>
                <a:gd name="connsiteY1" fmla="*/ 950662 h 1473467"/>
                <a:gd name="connsiteX2" fmla="*/ 417391 w 943205"/>
                <a:gd name="connsiteY2" fmla="*/ 0 h 1473467"/>
                <a:gd name="connsiteX3" fmla="*/ 930912 w 943205"/>
                <a:gd name="connsiteY3" fmla="*/ 852653 h 1473467"/>
                <a:gd name="connsiteX4" fmla="*/ 631088 w 943205"/>
                <a:gd name="connsiteY4" fmla="*/ 1473467 h 1473467"/>
                <a:gd name="connsiteX0" fmla="*/ 190405 w 940708"/>
                <a:gd name="connsiteY0" fmla="*/ 1495020 h 1495020"/>
                <a:gd name="connsiteX1" fmla="*/ 3557 w 940708"/>
                <a:gd name="connsiteY1" fmla="*/ 972215 h 1495020"/>
                <a:gd name="connsiteX2" fmla="*/ 353382 w 940708"/>
                <a:gd name="connsiteY2" fmla="*/ 0 h 1495020"/>
                <a:gd name="connsiteX3" fmla="*/ 928415 w 940708"/>
                <a:gd name="connsiteY3" fmla="*/ 874206 h 1495020"/>
                <a:gd name="connsiteX4" fmla="*/ 628591 w 940708"/>
                <a:gd name="connsiteY4" fmla="*/ 1495020 h 1495020"/>
                <a:gd name="connsiteX0" fmla="*/ 281357 w 1031660"/>
                <a:gd name="connsiteY0" fmla="*/ 1495020 h 1495020"/>
                <a:gd name="connsiteX1" fmla="*/ 2242 w 1031660"/>
                <a:gd name="connsiteY1" fmla="*/ 934498 h 1495020"/>
                <a:gd name="connsiteX2" fmla="*/ 444334 w 1031660"/>
                <a:gd name="connsiteY2" fmla="*/ 0 h 1495020"/>
                <a:gd name="connsiteX3" fmla="*/ 1019367 w 1031660"/>
                <a:gd name="connsiteY3" fmla="*/ 874206 h 1495020"/>
                <a:gd name="connsiteX4" fmla="*/ 719543 w 1031660"/>
                <a:gd name="connsiteY4" fmla="*/ 1495020 h 1495020"/>
                <a:gd name="connsiteX0" fmla="*/ 280647 w 1030950"/>
                <a:gd name="connsiteY0" fmla="*/ 1495020 h 1495020"/>
                <a:gd name="connsiteX1" fmla="*/ 1532 w 1030950"/>
                <a:gd name="connsiteY1" fmla="*/ 934498 h 1495020"/>
                <a:gd name="connsiteX2" fmla="*/ 443624 w 1030950"/>
                <a:gd name="connsiteY2" fmla="*/ 0 h 1495020"/>
                <a:gd name="connsiteX3" fmla="*/ 1018657 w 1030950"/>
                <a:gd name="connsiteY3" fmla="*/ 874206 h 1495020"/>
                <a:gd name="connsiteX4" fmla="*/ 718833 w 1030950"/>
                <a:gd name="connsiteY4" fmla="*/ 1495020 h 1495020"/>
                <a:gd name="connsiteX0" fmla="*/ 298745 w 1031106"/>
                <a:gd name="connsiteY0" fmla="*/ 1503102 h 1503102"/>
                <a:gd name="connsiteX1" fmla="*/ 1688 w 1031106"/>
                <a:gd name="connsiteY1" fmla="*/ 934498 h 1503102"/>
                <a:gd name="connsiteX2" fmla="*/ 443780 w 1031106"/>
                <a:gd name="connsiteY2" fmla="*/ 0 h 1503102"/>
                <a:gd name="connsiteX3" fmla="*/ 1018813 w 1031106"/>
                <a:gd name="connsiteY3" fmla="*/ 874206 h 1503102"/>
                <a:gd name="connsiteX4" fmla="*/ 718989 w 1031106"/>
                <a:gd name="connsiteY4" fmla="*/ 1495020 h 1503102"/>
                <a:gd name="connsiteX0" fmla="*/ 299147 w 1031508"/>
                <a:gd name="connsiteY0" fmla="*/ 1503102 h 1503102"/>
                <a:gd name="connsiteX1" fmla="*/ 2090 w 1031508"/>
                <a:gd name="connsiteY1" fmla="*/ 934498 h 1503102"/>
                <a:gd name="connsiteX2" fmla="*/ 444182 w 1031508"/>
                <a:gd name="connsiteY2" fmla="*/ 0 h 1503102"/>
                <a:gd name="connsiteX3" fmla="*/ 1019215 w 1031508"/>
                <a:gd name="connsiteY3" fmla="*/ 874206 h 1503102"/>
                <a:gd name="connsiteX4" fmla="*/ 719391 w 1031508"/>
                <a:gd name="connsiteY4" fmla="*/ 1495020 h 1503102"/>
                <a:gd name="connsiteX0" fmla="*/ 301686 w 1034047"/>
                <a:gd name="connsiteY0" fmla="*/ 1503102 h 1503102"/>
                <a:gd name="connsiteX1" fmla="*/ 2065 w 1034047"/>
                <a:gd name="connsiteY1" fmla="*/ 972215 h 1503102"/>
                <a:gd name="connsiteX2" fmla="*/ 446721 w 1034047"/>
                <a:gd name="connsiteY2" fmla="*/ 0 h 1503102"/>
                <a:gd name="connsiteX3" fmla="*/ 1021754 w 1034047"/>
                <a:gd name="connsiteY3" fmla="*/ 874206 h 1503102"/>
                <a:gd name="connsiteX4" fmla="*/ 721930 w 1034047"/>
                <a:gd name="connsiteY4" fmla="*/ 1495020 h 1503102"/>
                <a:gd name="connsiteX0" fmla="*/ 316925 w 1049286"/>
                <a:gd name="connsiteY0" fmla="*/ 1503102 h 1503102"/>
                <a:gd name="connsiteX1" fmla="*/ 1926 w 1049286"/>
                <a:gd name="connsiteY1" fmla="*/ 988380 h 1503102"/>
                <a:gd name="connsiteX2" fmla="*/ 461960 w 1049286"/>
                <a:gd name="connsiteY2" fmla="*/ 0 h 1503102"/>
                <a:gd name="connsiteX3" fmla="*/ 1036993 w 1049286"/>
                <a:gd name="connsiteY3" fmla="*/ 874206 h 1503102"/>
                <a:gd name="connsiteX4" fmla="*/ 737169 w 1049286"/>
                <a:gd name="connsiteY4" fmla="*/ 1495020 h 1503102"/>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936" h="1434920">
                  <a:moveTo>
                    <a:pt x="316575" y="1434920"/>
                  </a:moveTo>
                  <a:cubicBezTo>
                    <a:pt x="186127" y="1313356"/>
                    <a:pt x="-20068" y="1159351"/>
                    <a:pt x="1576" y="920198"/>
                  </a:cubicBezTo>
                  <a:cubicBezTo>
                    <a:pt x="23220" y="681045"/>
                    <a:pt x="453766" y="420451"/>
                    <a:pt x="446440" y="0"/>
                  </a:cubicBezTo>
                  <a:cubicBezTo>
                    <a:pt x="674910" y="255427"/>
                    <a:pt x="981377" y="551466"/>
                    <a:pt x="1036643" y="806024"/>
                  </a:cubicBezTo>
                  <a:cubicBezTo>
                    <a:pt x="1091909" y="1060582"/>
                    <a:pt x="955371" y="1227545"/>
                    <a:pt x="736819" y="1426838"/>
                  </a:cubicBezTo>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05" name="Freeform 68">
              <a:extLst>
                <a:ext uri="{FF2B5EF4-FFF2-40B4-BE49-F238E27FC236}">
                  <a16:creationId xmlns:a16="http://schemas.microsoft.com/office/drawing/2014/main" id="{53A5B227-EA84-4274-BE8B-06F387C353C8}"/>
                </a:ext>
              </a:extLst>
            </p:cNvPr>
            <p:cNvSpPr/>
            <p:nvPr/>
          </p:nvSpPr>
          <p:spPr bwMode="gray">
            <a:xfrm>
              <a:off x="-886112" y="3346900"/>
              <a:ext cx="408180" cy="466865"/>
            </a:xfrm>
            <a:custGeom>
              <a:avLst/>
              <a:gdLst>
                <a:gd name="connsiteX0" fmla="*/ 312344 w 730519"/>
                <a:gd name="connsiteY0" fmla="*/ 1257698 h 1257698"/>
                <a:gd name="connsiteX1" fmla="*/ 845 w 730519"/>
                <a:gd name="connsiteY1" fmla="*/ 745232 h 1257698"/>
                <a:gd name="connsiteX2" fmla="*/ 221909 w 730519"/>
                <a:gd name="connsiteY2" fmla="*/ 443782 h 1257698"/>
                <a:gd name="connsiteX3" fmla="*/ 272151 w 730519"/>
                <a:gd name="connsiteY3" fmla="*/ 1654 h 1257698"/>
                <a:gd name="connsiteX4" fmla="*/ 724326 w 730519"/>
                <a:gd name="connsiteY4" fmla="*/ 614604 h 1257698"/>
                <a:gd name="connsiteX5" fmla="*/ 493214 w 730519"/>
                <a:gd name="connsiteY5" fmla="*/ 1257698 h 1257698"/>
                <a:gd name="connsiteX0" fmla="*/ 236291 w 654466"/>
                <a:gd name="connsiteY0" fmla="*/ 1257760 h 1257760"/>
                <a:gd name="connsiteX1" fmla="*/ 1236 w 654466"/>
                <a:gd name="connsiteY1" fmla="*/ 826117 h 1257760"/>
                <a:gd name="connsiteX2" fmla="*/ 145856 w 654466"/>
                <a:gd name="connsiteY2" fmla="*/ 443844 h 1257760"/>
                <a:gd name="connsiteX3" fmla="*/ 196098 w 654466"/>
                <a:gd name="connsiteY3" fmla="*/ 1716 h 1257760"/>
                <a:gd name="connsiteX4" fmla="*/ 648273 w 654466"/>
                <a:gd name="connsiteY4" fmla="*/ 614666 h 1257760"/>
                <a:gd name="connsiteX5" fmla="*/ 417161 w 654466"/>
                <a:gd name="connsiteY5" fmla="*/ 1257760 h 1257760"/>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2938 h 1212938"/>
                <a:gd name="connsiteX1" fmla="*/ 1566 w 654796"/>
                <a:gd name="connsiteY1" fmla="*/ 781295 h 1212938"/>
                <a:gd name="connsiteX2" fmla="*/ 146186 w 654796"/>
                <a:gd name="connsiteY2" fmla="*/ 399022 h 1212938"/>
                <a:gd name="connsiteX3" fmla="*/ 376615 w 654796"/>
                <a:gd name="connsiteY3" fmla="*/ -1 h 1212938"/>
                <a:gd name="connsiteX4" fmla="*/ 648603 w 654796"/>
                <a:gd name="connsiteY4" fmla="*/ 569844 h 1212938"/>
                <a:gd name="connsiteX5" fmla="*/ 417491 w 654796"/>
                <a:gd name="connsiteY5" fmla="*/ 1212938 h 1212938"/>
                <a:gd name="connsiteX0" fmla="*/ 236621 w 654796"/>
                <a:gd name="connsiteY0" fmla="*/ 1212939 h 1212939"/>
                <a:gd name="connsiteX1" fmla="*/ 1566 w 654796"/>
                <a:gd name="connsiteY1" fmla="*/ 781296 h 1212939"/>
                <a:gd name="connsiteX2" fmla="*/ 146186 w 654796"/>
                <a:gd name="connsiteY2" fmla="*/ 399023 h 1212939"/>
                <a:gd name="connsiteX3" fmla="*/ 376615 w 654796"/>
                <a:gd name="connsiteY3" fmla="*/ 0 h 1212939"/>
                <a:gd name="connsiteX4" fmla="*/ 648603 w 654796"/>
                <a:gd name="connsiteY4" fmla="*/ 569845 h 1212939"/>
                <a:gd name="connsiteX5" fmla="*/ 417491 w 654796"/>
                <a:gd name="connsiteY5" fmla="*/ 1212939 h 1212939"/>
                <a:gd name="connsiteX0" fmla="*/ 236621 w 691880"/>
                <a:gd name="connsiteY0" fmla="*/ 1212939 h 1212939"/>
                <a:gd name="connsiteX1" fmla="*/ 1566 w 691880"/>
                <a:gd name="connsiteY1" fmla="*/ 781296 h 1212939"/>
                <a:gd name="connsiteX2" fmla="*/ 146186 w 691880"/>
                <a:gd name="connsiteY2" fmla="*/ 399023 h 1212939"/>
                <a:gd name="connsiteX3" fmla="*/ 376615 w 691880"/>
                <a:gd name="connsiteY3" fmla="*/ 0 h 1212939"/>
                <a:gd name="connsiteX4" fmla="*/ 686825 w 691880"/>
                <a:gd name="connsiteY4" fmla="*/ 666832 h 1212939"/>
                <a:gd name="connsiteX5" fmla="*/ 417491 w 691880"/>
                <a:gd name="connsiteY5" fmla="*/ 1212939 h 1212939"/>
                <a:gd name="connsiteX0" fmla="*/ 236621 w 701317"/>
                <a:gd name="connsiteY0" fmla="*/ 1212939 h 1212939"/>
                <a:gd name="connsiteX1" fmla="*/ 1566 w 701317"/>
                <a:gd name="connsiteY1" fmla="*/ 781296 h 1212939"/>
                <a:gd name="connsiteX2" fmla="*/ 146186 w 701317"/>
                <a:gd name="connsiteY2" fmla="*/ 399023 h 1212939"/>
                <a:gd name="connsiteX3" fmla="*/ 376615 w 701317"/>
                <a:gd name="connsiteY3" fmla="*/ 0 h 1212939"/>
                <a:gd name="connsiteX4" fmla="*/ 686825 w 701317"/>
                <a:gd name="connsiteY4" fmla="*/ 666832 h 1212939"/>
                <a:gd name="connsiteX5" fmla="*/ 559456 w 701317"/>
                <a:gd name="connsiteY5" fmla="*/ 1185998 h 1212939"/>
                <a:gd name="connsiteX0" fmla="*/ 236621 w 739946"/>
                <a:gd name="connsiteY0" fmla="*/ 1212939 h 1212939"/>
                <a:gd name="connsiteX1" fmla="*/ 1566 w 739946"/>
                <a:gd name="connsiteY1" fmla="*/ 781296 h 1212939"/>
                <a:gd name="connsiteX2" fmla="*/ 146186 w 739946"/>
                <a:gd name="connsiteY2" fmla="*/ 399023 h 1212939"/>
                <a:gd name="connsiteX3" fmla="*/ 376615 w 739946"/>
                <a:gd name="connsiteY3" fmla="*/ 0 h 1212939"/>
                <a:gd name="connsiteX4" fmla="*/ 730507 w 739946"/>
                <a:gd name="connsiteY4" fmla="*/ 634503 h 1212939"/>
                <a:gd name="connsiteX5" fmla="*/ 559456 w 739946"/>
                <a:gd name="connsiteY5" fmla="*/ 1185998 h 1212939"/>
                <a:gd name="connsiteX0" fmla="*/ 236572 w 739897"/>
                <a:gd name="connsiteY0" fmla="*/ 1164445 h 1164445"/>
                <a:gd name="connsiteX1" fmla="*/ 1517 w 739897"/>
                <a:gd name="connsiteY1" fmla="*/ 732802 h 1164445"/>
                <a:gd name="connsiteX2" fmla="*/ 146137 w 739897"/>
                <a:gd name="connsiteY2" fmla="*/ 350529 h 1164445"/>
                <a:gd name="connsiteX3" fmla="*/ 354725 w 739897"/>
                <a:gd name="connsiteY3" fmla="*/ 0 h 1164445"/>
                <a:gd name="connsiteX4" fmla="*/ 730458 w 739897"/>
                <a:gd name="connsiteY4" fmla="*/ 586009 h 1164445"/>
                <a:gd name="connsiteX5" fmla="*/ 559407 w 739897"/>
                <a:gd name="connsiteY5"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42766 w 746091"/>
                <a:gd name="connsiteY0" fmla="*/ 1164445 h 1164445"/>
                <a:gd name="connsiteX1" fmla="*/ 2250 w 746091"/>
                <a:gd name="connsiteY1" fmla="*/ 700472 h 1164445"/>
                <a:gd name="connsiteX2" fmla="*/ 360919 w 746091"/>
                <a:gd name="connsiteY2" fmla="*/ 0 h 1164445"/>
                <a:gd name="connsiteX3" fmla="*/ 736652 w 746091"/>
                <a:gd name="connsiteY3" fmla="*/ 586009 h 1164445"/>
                <a:gd name="connsiteX4" fmla="*/ 565601 w 746091"/>
                <a:gd name="connsiteY4" fmla="*/ 1137504 h 1164445"/>
                <a:gd name="connsiteX0" fmla="*/ 182965 w 751812"/>
                <a:gd name="connsiteY0" fmla="*/ 1148280 h 1148280"/>
                <a:gd name="connsiteX1" fmla="*/ 7971 w 751812"/>
                <a:gd name="connsiteY1" fmla="*/ 700472 h 1148280"/>
                <a:gd name="connsiteX2" fmla="*/ 366640 w 751812"/>
                <a:gd name="connsiteY2" fmla="*/ 0 h 1148280"/>
                <a:gd name="connsiteX3" fmla="*/ 742373 w 751812"/>
                <a:gd name="connsiteY3" fmla="*/ 586009 h 1148280"/>
                <a:gd name="connsiteX4" fmla="*/ 571322 w 751812"/>
                <a:gd name="connsiteY4" fmla="*/ 1137504 h 1148280"/>
                <a:gd name="connsiteX0" fmla="*/ 205889 w 748841"/>
                <a:gd name="connsiteY0" fmla="*/ 1142892 h 1142892"/>
                <a:gd name="connsiteX1" fmla="*/ 5000 w 748841"/>
                <a:gd name="connsiteY1" fmla="*/ 700472 h 1142892"/>
                <a:gd name="connsiteX2" fmla="*/ 363669 w 748841"/>
                <a:gd name="connsiteY2" fmla="*/ 0 h 1142892"/>
                <a:gd name="connsiteX3" fmla="*/ 739402 w 748841"/>
                <a:gd name="connsiteY3" fmla="*/ 586009 h 1142892"/>
                <a:gd name="connsiteX4" fmla="*/ 568351 w 748841"/>
                <a:gd name="connsiteY4" fmla="*/ 1137504 h 1142892"/>
                <a:gd name="connsiteX0" fmla="*/ 187451 w 751119"/>
                <a:gd name="connsiteY0" fmla="*/ 1142892 h 1142892"/>
                <a:gd name="connsiteX1" fmla="*/ 7278 w 751119"/>
                <a:gd name="connsiteY1" fmla="*/ 700472 h 1142892"/>
                <a:gd name="connsiteX2" fmla="*/ 365947 w 751119"/>
                <a:gd name="connsiteY2" fmla="*/ 0 h 1142892"/>
                <a:gd name="connsiteX3" fmla="*/ 741680 w 751119"/>
                <a:gd name="connsiteY3" fmla="*/ 586009 h 1142892"/>
                <a:gd name="connsiteX4" fmla="*/ 570629 w 751119"/>
                <a:gd name="connsiteY4" fmla="*/ 1137504 h 1142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119" h="1142892">
                  <a:moveTo>
                    <a:pt x="187451" y="1142892"/>
                  </a:moveTo>
                  <a:cubicBezTo>
                    <a:pt x="39237" y="954485"/>
                    <a:pt x="-22471" y="890954"/>
                    <a:pt x="7278" y="700472"/>
                  </a:cubicBezTo>
                  <a:cubicBezTo>
                    <a:pt x="37027" y="509990"/>
                    <a:pt x="320900" y="272324"/>
                    <a:pt x="365947" y="0"/>
                  </a:cubicBezTo>
                  <a:cubicBezTo>
                    <a:pt x="504285" y="195504"/>
                    <a:pt x="704836" y="376668"/>
                    <a:pt x="741680" y="586009"/>
                  </a:cubicBezTo>
                  <a:cubicBezTo>
                    <a:pt x="778524" y="795350"/>
                    <a:pt x="704607" y="920627"/>
                    <a:pt x="570629" y="1137504"/>
                  </a:cubicBezTo>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06" name="Freeform 69">
              <a:extLst>
                <a:ext uri="{FF2B5EF4-FFF2-40B4-BE49-F238E27FC236}">
                  <a16:creationId xmlns:a16="http://schemas.microsoft.com/office/drawing/2014/main" id="{87A4195F-4BB3-4A01-A8D3-B9388B695292}"/>
                </a:ext>
              </a:extLst>
            </p:cNvPr>
            <p:cNvSpPr/>
            <p:nvPr/>
          </p:nvSpPr>
          <p:spPr bwMode="gray">
            <a:xfrm>
              <a:off x="-820606" y="3535648"/>
              <a:ext cx="273691" cy="278112"/>
            </a:xfrm>
            <a:custGeom>
              <a:avLst/>
              <a:gdLst>
                <a:gd name="connsiteX0" fmla="*/ 95316 w 319358"/>
                <a:gd name="connsiteY0" fmla="*/ 870562 h 870562"/>
                <a:gd name="connsiteX1" fmla="*/ 66 w 319358"/>
                <a:gd name="connsiteY1" fmla="*/ 483212 h 870562"/>
                <a:gd name="connsiteX2" fmla="*/ 108016 w 319358"/>
                <a:gd name="connsiteY2" fmla="*/ 324462 h 870562"/>
                <a:gd name="connsiteX3" fmla="*/ 165166 w 319358"/>
                <a:gd name="connsiteY3" fmla="*/ 612 h 870562"/>
                <a:gd name="connsiteX4" fmla="*/ 317566 w 319358"/>
                <a:gd name="connsiteY4" fmla="*/ 413362 h 870562"/>
                <a:gd name="connsiteX5" fmla="*/ 235016 w 319358"/>
                <a:gd name="connsiteY5" fmla="*/ 864212 h 870562"/>
                <a:gd name="connsiteX0" fmla="*/ 95316 w 342347"/>
                <a:gd name="connsiteY0" fmla="*/ 870562 h 870562"/>
                <a:gd name="connsiteX1" fmla="*/ 66 w 342347"/>
                <a:gd name="connsiteY1" fmla="*/ 483212 h 870562"/>
                <a:gd name="connsiteX2" fmla="*/ 108016 w 342347"/>
                <a:gd name="connsiteY2" fmla="*/ 324462 h 870562"/>
                <a:gd name="connsiteX3" fmla="*/ 165166 w 342347"/>
                <a:gd name="connsiteY3" fmla="*/ 612 h 870562"/>
                <a:gd name="connsiteX4" fmla="*/ 317566 w 342347"/>
                <a:gd name="connsiteY4" fmla="*/ 413362 h 870562"/>
                <a:gd name="connsiteX5" fmla="*/ 319044 w 342347"/>
                <a:gd name="connsiteY5" fmla="*/ 842659 h 870562"/>
                <a:gd name="connsiteX0" fmla="*/ 95316 w 371927"/>
                <a:gd name="connsiteY0" fmla="*/ 870562 h 870562"/>
                <a:gd name="connsiteX1" fmla="*/ 66 w 371927"/>
                <a:gd name="connsiteY1" fmla="*/ 483212 h 870562"/>
                <a:gd name="connsiteX2" fmla="*/ 108016 w 371927"/>
                <a:gd name="connsiteY2" fmla="*/ 324462 h 870562"/>
                <a:gd name="connsiteX3" fmla="*/ 165166 w 371927"/>
                <a:gd name="connsiteY3" fmla="*/ 612 h 870562"/>
                <a:gd name="connsiteX4" fmla="*/ 367982 w 371927"/>
                <a:gd name="connsiteY4" fmla="*/ 413363 h 870562"/>
                <a:gd name="connsiteX5" fmla="*/ 319044 w 371927"/>
                <a:gd name="connsiteY5" fmla="*/ 842659 h 870562"/>
                <a:gd name="connsiteX0" fmla="*/ 95316 w 371927"/>
                <a:gd name="connsiteY0" fmla="*/ 827551 h 827551"/>
                <a:gd name="connsiteX1" fmla="*/ 66 w 371927"/>
                <a:gd name="connsiteY1" fmla="*/ 440201 h 827551"/>
                <a:gd name="connsiteX2" fmla="*/ 108016 w 371927"/>
                <a:gd name="connsiteY2" fmla="*/ 281451 h 827551"/>
                <a:gd name="connsiteX3" fmla="*/ 205499 w 371927"/>
                <a:gd name="connsiteY3" fmla="*/ 707 h 827551"/>
                <a:gd name="connsiteX4" fmla="*/ 367982 w 371927"/>
                <a:gd name="connsiteY4" fmla="*/ 370352 h 827551"/>
                <a:gd name="connsiteX5" fmla="*/ 319044 w 371927"/>
                <a:gd name="connsiteY5" fmla="*/ 799648 h 827551"/>
                <a:gd name="connsiteX0" fmla="*/ 98435 w 375046"/>
                <a:gd name="connsiteY0" fmla="*/ 826844 h 826844"/>
                <a:gd name="connsiteX1" fmla="*/ 3185 w 375046"/>
                <a:gd name="connsiteY1" fmla="*/ 439494 h 826844"/>
                <a:gd name="connsiteX2" fmla="*/ 208618 w 375046"/>
                <a:gd name="connsiteY2" fmla="*/ 0 h 826844"/>
                <a:gd name="connsiteX3" fmla="*/ 371101 w 375046"/>
                <a:gd name="connsiteY3" fmla="*/ 369645 h 826844"/>
                <a:gd name="connsiteX4" fmla="*/ 322163 w 375046"/>
                <a:gd name="connsiteY4" fmla="*/ 798941 h 826844"/>
                <a:gd name="connsiteX0" fmla="*/ 47224 w 323835"/>
                <a:gd name="connsiteY0" fmla="*/ 826845 h 826845"/>
                <a:gd name="connsiteX1" fmla="*/ 9112 w 323835"/>
                <a:gd name="connsiteY1" fmla="*/ 374836 h 826845"/>
                <a:gd name="connsiteX2" fmla="*/ 157407 w 323835"/>
                <a:gd name="connsiteY2" fmla="*/ 1 h 826845"/>
                <a:gd name="connsiteX3" fmla="*/ 319890 w 323835"/>
                <a:gd name="connsiteY3" fmla="*/ 369646 h 826845"/>
                <a:gd name="connsiteX4" fmla="*/ 270952 w 323835"/>
                <a:gd name="connsiteY4" fmla="*/ 798942 h 826845"/>
                <a:gd name="connsiteX0" fmla="*/ 48467 w 325078"/>
                <a:gd name="connsiteY0" fmla="*/ 810682 h 810682"/>
                <a:gd name="connsiteX1" fmla="*/ 10355 w 325078"/>
                <a:gd name="connsiteY1" fmla="*/ 358673 h 810682"/>
                <a:gd name="connsiteX2" fmla="*/ 175456 w 325078"/>
                <a:gd name="connsiteY2" fmla="*/ 3 h 810682"/>
                <a:gd name="connsiteX3" fmla="*/ 321133 w 325078"/>
                <a:gd name="connsiteY3" fmla="*/ 353483 h 810682"/>
                <a:gd name="connsiteX4" fmla="*/ 272195 w 325078"/>
                <a:gd name="connsiteY4" fmla="*/ 782779 h 810682"/>
                <a:gd name="connsiteX0" fmla="*/ 55744 w 322272"/>
                <a:gd name="connsiteY0" fmla="*/ 805294 h 805294"/>
                <a:gd name="connsiteX1" fmla="*/ 7549 w 322272"/>
                <a:gd name="connsiteY1" fmla="*/ 358673 h 805294"/>
                <a:gd name="connsiteX2" fmla="*/ 172650 w 322272"/>
                <a:gd name="connsiteY2" fmla="*/ 3 h 805294"/>
                <a:gd name="connsiteX3" fmla="*/ 318327 w 322272"/>
                <a:gd name="connsiteY3" fmla="*/ 353483 h 805294"/>
                <a:gd name="connsiteX4" fmla="*/ 269389 w 322272"/>
                <a:gd name="connsiteY4" fmla="*/ 782779 h 805294"/>
                <a:gd name="connsiteX0" fmla="*/ 55744 w 321540"/>
                <a:gd name="connsiteY0" fmla="*/ 805294 h 805294"/>
                <a:gd name="connsiteX1" fmla="*/ 7549 w 321540"/>
                <a:gd name="connsiteY1" fmla="*/ 358673 h 805294"/>
                <a:gd name="connsiteX2" fmla="*/ 172650 w 321540"/>
                <a:gd name="connsiteY2" fmla="*/ 3 h 805294"/>
                <a:gd name="connsiteX3" fmla="*/ 318327 w 321540"/>
                <a:gd name="connsiteY3" fmla="*/ 353483 h 805294"/>
                <a:gd name="connsiteX4" fmla="*/ 262564 w 321540"/>
                <a:gd name="connsiteY4" fmla="*/ 798944 h 805294"/>
                <a:gd name="connsiteX0" fmla="*/ 55744 w 321540"/>
                <a:gd name="connsiteY0" fmla="*/ 789129 h 798944"/>
                <a:gd name="connsiteX1" fmla="*/ 7549 w 321540"/>
                <a:gd name="connsiteY1" fmla="*/ 358673 h 798944"/>
                <a:gd name="connsiteX2" fmla="*/ 172650 w 321540"/>
                <a:gd name="connsiteY2" fmla="*/ 3 h 798944"/>
                <a:gd name="connsiteX3" fmla="*/ 318327 w 321540"/>
                <a:gd name="connsiteY3" fmla="*/ 353483 h 798944"/>
                <a:gd name="connsiteX4" fmla="*/ 262564 w 321540"/>
                <a:gd name="connsiteY4" fmla="*/ 798944 h 798944"/>
                <a:gd name="connsiteX0" fmla="*/ 55744 w 322748"/>
                <a:gd name="connsiteY0" fmla="*/ 789129 h 789129"/>
                <a:gd name="connsiteX1" fmla="*/ 7549 w 322748"/>
                <a:gd name="connsiteY1" fmla="*/ 358673 h 789129"/>
                <a:gd name="connsiteX2" fmla="*/ 172650 w 322748"/>
                <a:gd name="connsiteY2" fmla="*/ 3 h 789129"/>
                <a:gd name="connsiteX3" fmla="*/ 318327 w 322748"/>
                <a:gd name="connsiteY3" fmla="*/ 353483 h 789129"/>
                <a:gd name="connsiteX4" fmla="*/ 272801 w 322748"/>
                <a:gd name="connsiteY4" fmla="*/ 782779 h 789129"/>
                <a:gd name="connsiteX0" fmla="*/ 61546 w 328550"/>
                <a:gd name="connsiteY0" fmla="*/ 789600 h 789600"/>
                <a:gd name="connsiteX1" fmla="*/ 6527 w 328550"/>
                <a:gd name="connsiteY1" fmla="*/ 426496 h 789600"/>
                <a:gd name="connsiteX2" fmla="*/ 178452 w 328550"/>
                <a:gd name="connsiteY2" fmla="*/ 474 h 789600"/>
                <a:gd name="connsiteX3" fmla="*/ 324129 w 328550"/>
                <a:gd name="connsiteY3" fmla="*/ 353954 h 789600"/>
                <a:gd name="connsiteX4" fmla="*/ 278603 w 328550"/>
                <a:gd name="connsiteY4" fmla="*/ 783250 h 789600"/>
                <a:gd name="connsiteX0" fmla="*/ 61546 w 331487"/>
                <a:gd name="connsiteY0" fmla="*/ 789171 h 789171"/>
                <a:gd name="connsiteX1" fmla="*/ 6527 w 331487"/>
                <a:gd name="connsiteY1" fmla="*/ 426067 h 789171"/>
                <a:gd name="connsiteX2" fmla="*/ 178452 w 331487"/>
                <a:gd name="connsiteY2" fmla="*/ 45 h 789171"/>
                <a:gd name="connsiteX3" fmla="*/ 327542 w 331487"/>
                <a:gd name="connsiteY3" fmla="*/ 402018 h 789171"/>
                <a:gd name="connsiteX4" fmla="*/ 278603 w 331487"/>
                <a:gd name="connsiteY4" fmla="*/ 782821 h 789171"/>
                <a:gd name="connsiteX0" fmla="*/ 61895 w 331836"/>
                <a:gd name="connsiteY0" fmla="*/ 724528 h 724528"/>
                <a:gd name="connsiteX1" fmla="*/ 6876 w 331836"/>
                <a:gd name="connsiteY1" fmla="*/ 361424 h 724528"/>
                <a:gd name="connsiteX2" fmla="*/ 183919 w 331836"/>
                <a:gd name="connsiteY2" fmla="*/ 61 h 724528"/>
                <a:gd name="connsiteX3" fmla="*/ 327891 w 331836"/>
                <a:gd name="connsiteY3" fmla="*/ 337375 h 724528"/>
                <a:gd name="connsiteX4" fmla="*/ 278952 w 331836"/>
                <a:gd name="connsiteY4" fmla="*/ 718178 h 72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36" h="724528">
                  <a:moveTo>
                    <a:pt x="61895" y="724528"/>
                  </a:moveTo>
                  <a:cubicBezTo>
                    <a:pt x="13211" y="576361"/>
                    <a:pt x="-13461" y="482169"/>
                    <a:pt x="6876" y="361424"/>
                  </a:cubicBezTo>
                  <a:cubicBezTo>
                    <a:pt x="27213" y="240680"/>
                    <a:pt x="130417" y="4069"/>
                    <a:pt x="183919" y="61"/>
                  </a:cubicBezTo>
                  <a:cubicBezTo>
                    <a:pt x="237422" y="-3947"/>
                    <a:pt x="316249" y="193442"/>
                    <a:pt x="327891" y="337375"/>
                  </a:cubicBezTo>
                  <a:cubicBezTo>
                    <a:pt x="339533" y="481308"/>
                    <a:pt x="326048" y="564719"/>
                    <a:pt x="278952" y="718178"/>
                  </a:cubicBezTo>
                </a:path>
              </a:pathLst>
            </a:custGeom>
            <a:grpFill/>
            <a:ln w="12700">
              <a:solidFill>
                <a:schemeClr val="bg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Tree>
    <p:custDataLst>
      <p:tags r:id="rId1"/>
    </p:custDataLst>
    <p:extLst>
      <p:ext uri="{BB962C8B-B14F-4D97-AF65-F5344CB8AC3E}">
        <p14:creationId xmlns:p14="http://schemas.microsoft.com/office/powerpoint/2010/main" val="64663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7" name="Group 166">
            <a:extLst>
              <a:ext uri="{FF2B5EF4-FFF2-40B4-BE49-F238E27FC236}">
                <a16:creationId xmlns:a16="http://schemas.microsoft.com/office/drawing/2014/main" id="{07132207-3A28-45B3-9503-4DC46D08F467}"/>
              </a:ext>
            </a:extLst>
          </p:cNvPr>
          <p:cNvGrpSpPr/>
          <p:nvPr/>
        </p:nvGrpSpPr>
        <p:grpSpPr bwMode="gray">
          <a:xfrm>
            <a:off x="317548" y="3928878"/>
            <a:ext cx="282527" cy="232992"/>
            <a:chOff x="-671208" y="4012193"/>
            <a:chExt cx="449115" cy="370372"/>
          </a:xfrm>
        </p:grpSpPr>
        <p:sp>
          <p:nvSpPr>
            <p:cNvPr id="121" name="Rectangle: Rounded Corners 120">
              <a:extLst>
                <a:ext uri="{FF2B5EF4-FFF2-40B4-BE49-F238E27FC236}">
                  <a16:creationId xmlns:a16="http://schemas.microsoft.com/office/drawing/2014/main" id="{DE3CC322-FA07-4E0C-812E-BAF529B06262}"/>
                </a:ext>
              </a:extLst>
            </p:cNvPr>
            <p:cNvSpPr/>
            <p:nvPr/>
          </p:nvSpPr>
          <p:spPr bwMode="gray">
            <a:xfrm>
              <a:off x="-355014" y="4075429"/>
              <a:ext cx="93712" cy="243900"/>
            </a:xfrm>
            <a:prstGeom prst="roundRect">
              <a:avLst>
                <a:gd name="adj" fmla="val 43902"/>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29" name="Rectangle: Rounded Corners 128">
              <a:extLst>
                <a:ext uri="{FF2B5EF4-FFF2-40B4-BE49-F238E27FC236}">
                  <a16:creationId xmlns:a16="http://schemas.microsoft.com/office/drawing/2014/main" id="{25D84BDA-6219-4173-A100-9175916B2555}"/>
                </a:ext>
              </a:extLst>
            </p:cNvPr>
            <p:cNvSpPr/>
            <p:nvPr/>
          </p:nvSpPr>
          <p:spPr bwMode="gray">
            <a:xfrm>
              <a:off x="-495508" y="4075429"/>
              <a:ext cx="93712" cy="243900"/>
            </a:xfrm>
            <a:prstGeom prst="roundRect">
              <a:avLst>
                <a:gd name="adj" fmla="val 43902"/>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30" name="Rectangle: Rounded Corners 129">
              <a:extLst>
                <a:ext uri="{FF2B5EF4-FFF2-40B4-BE49-F238E27FC236}">
                  <a16:creationId xmlns:a16="http://schemas.microsoft.com/office/drawing/2014/main" id="{269CA1E3-BFD0-4BF8-A385-A0C30839AE2B}"/>
                </a:ext>
              </a:extLst>
            </p:cNvPr>
            <p:cNvSpPr/>
            <p:nvPr/>
          </p:nvSpPr>
          <p:spPr bwMode="gray">
            <a:xfrm>
              <a:off x="-632033" y="4075429"/>
              <a:ext cx="93712" cy="243900"/>
            </a:xfrm>
            <a:prstGeom prst="roundRect">
              <a:avLst>
                <a:gd name="adj" fmla="val 43902"/>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grpSp>
          <p:nvGrpSpPr>
            <p:cNvPr id="143" name="Group 142">
              <a:extLst>
                <a:ext uri="{FF2B5EF4-FFF2-40B4-BE49-F238E27FC236}">
                  <a16:creationId xmlns:a16="http://schemas.microsoft.com/office/drawing/2014/main" id="{0098360D-7F2C-432C-A75A-72A400E78B0B}"/>
                </a:ext>
              </a:extLst>
            </p:cNvPr>
            <p:cNvGrpSpPr/>
            <p:nvPr/>
          </p:nvGrpSpPr>
          <p:grpSpPr bwMode="gray">
            <a:xfrm>
              <a:off x="-585177" y="4012193"/>
              <a:ext cx="363084" cy="63236"/>
              <a:chOff x="-585177" y="4012193"/>
              <a:chExt cx="363084" cy="63236"/>
            </a:xfrm>
          </p:grpSpPr>
          <p:grpSp>
            <p:nvGrpSpPr>
              <p:cNvPr id="131" name="Group 130">
                <a:extLst>
                  <a:ext uri="{FF2B5EF4-FFF2-40B4-BE49-F238E27FC236}">
                    <a16:creationId xmlns:a16="http://schemas.microsoft.com/office/drawing/2014/main" id="{120A2764-DE7C-48D5-91C3-F213BA396DD2}"/>
                  </a:ext>
                </a:extLst>
              </p:cNvPr>
              <p:cNvGrpSpPr/>
              <p:nvPr/>
            </p:nvGrpSpPr>
            <p:grpSpPr bwMode="gray">
              <a:xfrm>
                <a:off x="-585177" y="4012193"/>
                <a:ext cx="363084" cy="63236"/>
                <a:chOff x="-588578" y="4012193"/>
                <a:chExt cx="363084" cy="63236"/>
              </a:xfrm>
            </p:grpSpPr>
            <p:grpSp>
              <p:nvGrpSpPr>
                <p:cNvPr id="123" name="Group 122">
                  <a:extLst>
                    <a:ext uri="{FF2B5EF4-FFF2-40B4-BE49-F238E27FC236}">
                      <a16:creationId xmlns:a16="http://schemas.microsoft.com/office/drawing/2014/main" id="{B4DF8BE2-88EB-463F-B960-ED0CE67B6E0F}"/>
                    </a:ext>
                  </a:extLst>
                </p:cNvPr>
                <p:cNvGrpSpPr/>
                <p:nvPr/>
              </p:nvGrpSpPr>
              <p:grpSpPr bwMode="gray">
                <a:xfrm>
                  <a:off x="-588540" y="4012193"/>
                  <a:ext cx="363046" cy="25594"/>
                  <a:chOff x="10831038" y="4082947"/>
                  <a:chExt cx="2348277" cy="165549"/>
                </a:xfrm>
              </p:grpSpPr>
              <p:sp>
                <p:nvSpPr>
                  <p:cNvPr id="127" name="Arc 126">
                    <a:extLst>
                      <a:ext uri="{FF2B5EF4-FFF2-40B4-BE49-F238E27FC236}">
                        <a16:creationId xmlns:a16="http://schemas.microsoft.com/office/drawing/2014/main" id="{CA0C3360-1AFB-4860-8BA1-4A00DF228576}"/>
                      </a:ext>
                    </a:extLst>
                  </p:cNvPr>
                  <p:cNvSpPr/>
                  <p:nvPr/>
                </p:nvSpPr>
                <p:spPr bwMode="gray">
                  <a:xfrm>
                    <a:off x="10831038" y="4082947"/>
                    <a:ext cx="165549" cy="165549"/>
                  </a:xfrm>
                  <a:prstGeom prst="arc">
                    <a:avLst>
                      <a:gd name="adj1" fmla="val 11037066"/>
                      <a:gd name="adj2" fmla="val 16279283"/>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128" name="Straight Connector 127">
                    <a:extLst>
                      <a:ext uri="{FF2B5EF4-FFF2-40B4-BE49-F238E27FC236}">
                        <a16:creationId xmlns:a16="http://schemas.microsoft.com/office/drawing/2014/main" id="{C5150B19-CC06-4DB1-8C45-1D8B207C51CB}"/>
                      </a:ext>
                    </a:extLst>
                  </p:cNvPr>
                  <p:cNvCxnSpPr>
                    <a:cxnSpLocks/>
                  </p:cNvCxnSpPr>
                  <p:nvPr/>
                </p:nvCxnSpPr>
                <p:spPr bwMode="gray">
                  <a:xfrm>
                    <a:off x="10912849" y="4082947"/>
                    <a:ext cx="2266466"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cxnSp>
              <p:nvCxnSpPr>
                <p:cNvPr id="125" name="Straight Connector 124">
                  <a:extLst>
                    <a:ext uri="{FF2B5EF4-FFF2-40B4-BE49-F238E27FC236}">
                      <a16:creationId xmlns:a16="http://schemas.microsoft.com/office/drawing/2014/main" id="{F18590A9-D3B0-4587-BC17-F8BB6EF94351}"/>
                    </a:ext>
                  </a:extLst>
                </p:cNvPr>
                <p:cNvCxnSpPr>
                  <a:cxnSpLocks/>
                  <a:stCxn id="130" idx="0"/>
                  <a:endCxn id="127" idx="0"/>
                </p:cNvCxnSpPr>
                <p:nvPr/>
              </p:nvCxnSpPr>
              <p:spPr bwMode="gray">
                <a:xfrm flipV="1">
                  <a:off x="-588578" y="4024108"/>
                  <a:ext cx="68" cy="51321"/>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cxnSp>
            <p:nvCxnSpPr>
              <p:cNvPr id="133" name="Straight Connector 132">
                <a:extLst>
                  <a:ext uri="{FF2B5EF4-FFF2-40B4-BE49-F238E27FC236}">
                    <a16:creationId xmlns:a16="http://schemas.microsoft.com/office/drawing/2014/main" id="{646D0F4D-310F-48D5-875E-7BAFCB826567}"/>
                  </a:ext>
                </a:extLst>
              </p:cNvPr>
              <p:cNvCxnSpPr>
                <a:cxnSpLocks/>
              </p:cNvCxnSpPr>
              <p:nvPr/>
            </p:nvCxnSpPr>
            <p:spPr bwMode="gray">
              <a:xfrm>
                <a:off x="-448652" y="4012193"/>
                <a:ext cx="0" cy="61829"/>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34" name="Straight Connector 133">
                <a:extLst>
                  <a:ext uri="{FF2B5EF4-FFF2-40B4-BE49-F238E27FC236}">
                    <a16:creationId xmlns:a16="http://schemas.microsoft.com/office/drawing/2014/main" id="{620CB6A9-46F8-42E7-9F64-9DAA80F8AB5F}"/>
                  </a:ext>
                </a:extLst>
              </p:cNvPr>
              <p:cNvCxnSpPr>
                <a:cxnSpLocks/>
              </p:cNvCxnSpPr>
              <p:nvPr/>
            </p:nvCxnSpPr>
            <p:spPr bwMode="gray">
              <a:xfrm flipH="1">
                <a:off x="-308158" y="4012193"/>
                <a:ext cx="34" cy="61829"/>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grpSp>
          <p:nvGrpSpPr>
            <p:cNvPr id="159" name="Group 158">
              <a:extLst>
                <a:ext uri="{FF2B5EF4-FFF2-40B4-BE49-F238E27FC236}">
                  <a16:creationId xmlns:a16="http://schemas.microsoft.com/office/drawing/2014/main" id="{B1161CCC-0F9E-450F-B7CD-ADD336EF4457}"/>
                </a:ext>
              </a:extLst>
            </p:cNvPr>
            <p:cNvGrpSpPr/>
            <p:nvPr/>
          </p:nvGrpSpPr>
          <p:grpSpPr bwMode="gray">
            <a:xfrm rot="10800000">
              <a:off x="-671208" y="4319329"/>
              <a:ext cx="363084" cy="63236"/>
              <a:chOff x="-585177" y="4012193"/>
              <a:chExt cx="363084" cy="63236"/>
            </a:xfrm>
          </p:grpSpPr>
          <p:grpSp>
            <p:nvGrpSpPr>
              <p:cNvPr id="160" name="Group 159">
                <a:extLst>
                  <a:ext uri="{FF2B5EF4-FFF2-40B4-BE49-F238E27FC236}">
                    <a16:creationId xmlns:a16="http://schemas.microsoft.com/office/drawing/2014/main" id="{F82DE523-7B76-4D12-AA4C-84FAF110EE8E}"/>
                  </a:ext>
                </a:extLst>
              </p:cNvPr>
              <p:cNvGrpSpPr/>
              <p:nvPr/>
            </p:nvGrpSpPr>
            <p:grpSpPr bwMode="gray">
              <a:xfrm>
                <a:off x="-585177" y="4012193"/>
                <a:ext cx="363084" cy="63236"/>
                <a:chOff x="-588578" y="4012193"/>
                <a:chExt cx="363084" cy="63236"/>
              </a:xfrm>
            </p:grpSpPr>
            <p:grpSp>
              <p:nvGrpSpPr>
                <p:cNvPr id="163" name="Group 162">
                  <a:extLst>
                    <a:ext uri="{FF2B5EF4-FFF2-40B4-BE49-F238E27FC236}">
                      <a16:creationId xmlns:a16="http://schemas.microsoft.com/office/drawing/2014/main" id="{1CAB81A2-0E96-4302-9C6C-29FC266EDD3F}"/>
                    </a:ext>
                  </a:extLst>
                </p:cNvPr>
                <p:cNvGrpSpPr/>
                <p:nvPr/>
              </p:nvGrpSpPr>
              <p:grpSpPr bwMode="gray">
                <a:xfrm>
                  <a:off x="-588540" y="4012193"/>
                  <a:ext cx="363046" cy="25594"/>
                  <a:chOff x="10831038" y="4082947"/>
                  <a:chExt cx="2348277" cy="165549"/>
                </a:xfrm>
              </p:grpSpPr>
              <p:sp>
                <p:nvSpPr>
                  <p:cNvPr id="165" name="Arc 164">
                    <a:extLst>
                      <a:ext uri="{FF2B5EF4-FFF2-40B4-BE49-F238E27FC236}">
                        <a16:creationId xmlns:a16="http://schemas.microsoft.com/office/drawing/2014/main" id="{FBA28250-63E3-4217-8803-022CD9CB885C}"/>
                      </a:ext>
                    </a:extLst>
                  </p:cNvPr>
                  <p:cNvSpPr/>
                  <p:nvPr/>
                </p:nvSpPr>
                <p:spPr bwMode="gray">
                  <a:xfrm>
                    <a:off x="10831038" y="4082947"/>
                    <a:ext cx="165549" cy="165549"/>
                  </a:xfrm>
                  <a:prstGeom prst="arc">
                    <a:avLst>
                      <a:gd name="adj1" fmla="val 11037066"/>
                      <a:gd name="adj2" fmla="val 16279283"/>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166" name="Straight Connector 165">
                    <a:extLst>
                      <a:ext uri="{FF2B5EF4-FFF2-40B4-BE49-F238E27FC236}">
                        <a16:creationId xmlns:a16="http://schemas.microsoft.com/office/drawing/2014/main" id="{AE0459A7-7B76-42EA-8801-1EAFD7EEB812}"/>
                      </a:ext>
                    </a:extLst>
                  </p:cNvPr>
                  <p:cNvCxnSpPr>
                    <a:cxnSpLocks/>
                  </p:cNvCxnSpPr>
                  <p:nvPr/>
                </p:nvCxnSpPr>
                <p:spPr bwMode="gray">
                  <a:xfrm>
                    <a:off x="10912849" y="4082947"/>
                    <a:ext cx="2266466"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cxnSp>
              <p:nvCxnSpPr>
                <p:cNvPr id="164" name="Straight Connector 163">
                  <a:extLst>
                    <a:ext uri="{FF2B5EF4-FFF2-40B4-BE49-F238E27FC236}">
                      <a16:creationId xmlns:a16="http://schemas.microsoft.com/office/drawing/2014/main" id="{CDD3ABC1-1031-4E98-8ADD-988CCE5F28ED}"/>
                    </a:ext>
                  </a:extLst>
                </p:cNvPr>
                <p:cNvCxnSpPr>
                  <a:cxnSpLocks/>
                  <a:endCxn id="165" idx="0"/>
                </p:cNvCxnSpPr>
                <p:nvPr/>
              </p:nvCxnSpPr>
              <p:spPr bwMode="gray">
                <a:xfrm flipV="1">
                  <a:off x="-588578" y="4024108"/>
                  <a:ext cx="68" cy="51321"/>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cxnSp>
            <p:nvCxnSpPr>
              <p:cNvPr id="161" name="Straight Connector 160">
                <a:extLst>
                  <a:ext uri="{FF2B5EF4-FFF2-40B4-BE49-F238E27FC236}">
                    <a16:creationId xmlns:a16="http://schemas.microsoft.com/office/drawing/2014/main" id="{FD1511AB-053A-4CC4-96E6-50A63CF877BA}"/>
                  </a:ext>
                </a:extLst>
              </p:cNvPr>
              <p:cNvCxnSpPr>
                <a:cxnSpLocks/>
              </p:cNvCxnSpPr>
              <p:nvPr/>
            </p:nvCxnSpPr>
            <p:spPr bwMode="gray">
              <a:xfrm>
                <a:off x="-448652" y="4012193"/>
                <a:ext cx="0" cy="61829"/>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62" name="Straight Connector 161">
                <a:extLst>
                  <a:ext uri="{FF2B5EF4-FFF2-40B4-BE49-F238E27FC236}">
                    <a16:creationId xmlns:a16="http://schemas.microsoft.com/office/drawing/2014/main" id="{321D3C16-034D-47FA-B033-E53C67EF50C3}"/>
                  </a:ext>
                </a:extLst>
              </p:cNvPr>
              <p:cNvCxnSpPr>
                <a:cxnSpLocks/>
              </p:cNvCxnSpPr>
              <p:nvPr/>
            </p:nvCxnSpPr>
            <p:spPr bwMode="gray">
              <a:xfrm flipH="1">
                <a:off x="-308158" y="4012193"/>
                <a:ext cx="34" cy="61829"/>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grpSp>
      <p:sp>
        <p:nvSpPr>
          <p:cNvPr id="2" name="Title 1">
            <a:extLst>
              <a:ext uri="{FF2B5EF4-FFF2-40B4-BE49-F238E27FC236}">
                <a16:creationId xmlns:a16="http://schemas.microsoft.com/office/drawing/2014/main" id="{09E294C0-2AA2-4336-9C8A-A79A2F9AF378}"/>
              </a:ext>
            </a:extLst>
          </p:cNvPr>
          <p:cNvSpPr>
            <a:spLocks noGrp="1"/>
          </p:cNvSpPr>
          <p:nvPr>
            <p:ph type="title"/>
          </p:nvPr>
        </p:nvSpPr>
        <p:spPr bwMode="gray"/>
        <p:txBody>
          <a:bodyPr/>
          <a:lstStyle/>
          <a:p>
            <a:r>
              <a:rPr lang="de-DE" dirty="0"/>
              <a:t>Hydrogen, </a:t>
            </a:r>
            <a:r>
              <a:rPr lang="de-DE" dirty="0" err="1"/>
              <a:t>carbon</a:t>
            </a:r>
            <a:r>
              <a:rPr lang="de-DE" dirty="0"/>
              <a:t> </a:t>
            </a:r>
            <a:r>
              <a:rPr lang="de-DE" dirty="0" err="1"/>
              <a:t>monoxide</a:t>
            </a:r>
            <a:r>
              <a:rPr lang="de-DE" dirty="0"/>
              <a:t> &amp; </a:t>
            </a:r>
            <a:r>
              <a:rPr lang="de-DE" dirty="0" err="1"/>
              <a:t>syngas</a:t>
            </a:r>
            <a:r>
              <a:rPr lang="de-DE" dirty="0"/>
              <a:t> </a:t>
            </a:r>
            <a:r>
              <a:rPr lang="de-DE" dirty="0" err="1"/>
              <a:t>production</a:t>
            </a:r>
            <a:endParaRPr lang="en-US" dirty="0"/>
          </a:p>
        </p:txBody>
      </p:sp>
      <p:sp>
        <p:nvSpPr>
          <p:cNvPr id="12" name="Date Placeholder 11">
            <a:extLst>
              <a:ext uri="{FF2B5EF4-FFF2-40B4-BE49-F238E27FC236}">
                <a16:creationId xmlns:a16="http://schemas.microsoft.com/office/drawing/2014/main" id="{562D7E5D-AD67-473F-B6DC-9773FD7DB2AA}"/>
              </a:ext>
            </a:extLst>
          </p:cNvPr>
          <p:cNvSpPr>
            <a:spLocks noGrp="1"/>
          </p:cNvSpPr>
          <p:nvPr>
            <p:ph type="dt" sz="half" idx="14"/>
          </p:nvPr>
        </p:nvSpPr>
        <p:spPr bwMode="gray"/>
        <p:txBody>
          <a:bodyPr/>
          <a:lstStyle/>
          <a:p>
            <a:fld id="{ED4418A7-E8E0-42C3-AC0C-9BF91949BA0B}" type="datetime4">
              <a:rPr lang="en-US" smtClean="0"/>
              <a:t>September 8, 2019</a:t>
            </a:fld>
            <a:endParaRPr lang="en-US"/>
          </a:p>
        </p:txBody>
      </p:sp>
      <p:sp>
        <p:nvSpPr>
          <p:cNvPr id="13" name="Footer Placeholder 12">
            <a:extLst>
              <a:ext uri="{FF2B5EF4-FFF2-40B4-BE49-F238E27FC236}">
                <a16:creationId xmlns:a16="http://schemas.microsoft.com/office/drawing/2014/main" id="{37AA1FCA-EAB2-4196-BC86-5901772B5D79}"/>
              </a:ext>
            </a:extLst>
          </p:cNvPr>
          <p:cNvSpPr>
            <a:spLocks noGrp="1"/>
          </p:cNvSpPr>
          <p:nvPr>
            <p:ph type="ftr" sz="quarter" idx="15"/>
          </p:nvPr>
        </p:nvSpPr>
        <p:spPr bwMode="gray"/>
        <p:txBody>
          <a:bodyPr/>
          <a:lstStyle/>
          <a:p>
            <a:pPr lvl="8"/>
            <a:endParaRPr lang="en-US"/>
          </a:p>
        </p:txBody>
      </p:sp>
      <p:sp>
        <p:nvSpPr>
          <p:cNvPr id="14" name="Slide Number Placeholder 13">
            <a:extLst>
              <a:ext uri="{FF2B5EF4-FFF2-40B4-BE49-F238E27FC236}">
                <a16:creationId xmlns:a16="http://schemas.microsoft.com/office/drawing/2014/main" id="{1C064040-85D2-4D92-A886-994C011766E0}"/>
              </a:ext>
            </a:extLst>
          </p:cNvPr>
          <p:cNvSpPr>
            <a:spLocks noGrp="1"/>
          </p:cNvSpPr>
          <p:nvPr>
            <p:ph type="sldNum" sz="quarter" idx="16"/>
          </p:nvPr>
        </p:nvSpPr>
        <p:spPr bwMode="gray"/>
        <p:txBody>
          <a:bodyPr/>
          <a:lstStyle/>
          <a:p>
            <a:r>
              <a:rPr lang="en-US"/>
              <a:t>Slide </a:t>
            </a:r>
            <a:fld id="{619F89D8-7AE3-494A-97F3-03D680869632}" type="slidenum">
              <a:rPr lang="en-US" smtClean="0"/>
              <a:pPr/>
              <a:t>45</a:t>
            </a:fld>
            <a:endParaRPr lang="en-US"/>
          </a:p>
        </p:txBody>
      </p:sp>
      <p:sp>
        <p:nvSpPr>
          <p:cNvPr id="15" name="Subtitle 14">
            <a:extLst>
              <a:ext uri="{FF2B5EF4-FFF2-40B4-BE49-F238E27FC236}">
                <a16:creationId xmlns:a16="http://schemas.microsoft.com/office/drawing/2014/main" id="{847F1449-65DF-4129-AFEC-044C1AA4D4D5}"/>
              </a:ext>
            </a:extLst>
          </p:cNvPr>
          <p:cNvSpPr>
            <a:spLocks noGrp="1"/>
          </p:cNvSpPr>
          <p:nvPr>
            <p:ph type="subTitle" idx="13"/>
          </p:nvPr>
        </p:nvSpPr>
        <p:spPr bwMode="gray"/>
        <p:txBody>
          <a:bodyPr/>
          <a:lstStyle/>
          <a:p>
            <a:pPr>
              <a:spcBef>
                <a:spcPts val="0"/>
              </a:spcBef>
            </a:pPr>
            <a:r>
              <a:rPr lang="en-US" dirty="0"/>
              <a:t>Continuous and accurate measurements critical for efficient </a:t>
            </a:r>
            <a:r>
              <a:rPr lang="en-US" dirty="0" err="1"/>
              <a:t>HyCO</a:t>
            </a:r>
            <a:r>
              <a:rPr lang="en-US" dirty="0"/>
              <a:t> operations</a:t>
            </a:r>
          </a:p>
        </p:txBody>
      </p:sp>
      <p:sp>
        <p:nvSpPr>
          <p:cNvPr id="38" name="Content Placeholder 3">
            <a:extLst>
              <a:ext uri="{FF2B5EF4-FFF2-40B4-BE49-F238E27FC236}">
                <a16:creationId xmlns:a16="http://schemas.microsoft.com/office/drawing/2014/main" id="{366BF64A-1EA0-40E2-9A04-42B57134B00F}"/>
              </a:ext>
            </a:extLst>
          </p:cNvPr>
          <p:cNvSpPr txBox="1">
            <a:spLocks/>
          </p:cNvSpPr>
          <p:nvPr/>
        </p:nvSpPr>
        <p:spPr bwMode="gray">
          <a:xfrm>
            <a:off x="2818583" y="1931198"/>
            <a:ext cx="9034681" cy="726353"/>
          </a:xfrm>
          <a:prstGeom prst="rect">
            <a:avLst/>
          </a:prstGeom>
        </p:spPr>
        <p:txBody>
          <a:bodyPr lIns="0" tIns="0" rIns="0" bIns="0" anchor="ctr" anchorCtr="0"/>
          <a:lstStyle>
            <a:lvl1pPr marL="0" indent="0" algn="l" defTabSz="914491" rtl="0" eaLnBrk="1" latinLnBrk="0" hangingPunct="1">
              <a:spcBef>
                <a:spcPts val="600"/>
              </a:spcBef>
              <a:buFont typeface="Arial" panose="020B0604020202020204" pitchFamily="34" charset="0"/>
              <a:buNone/>
              <a:defRPr lang="en-US" sz="1600" b="1" kern="1200" dirty="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0"/>
              </a:spcBef>
            </a:pPr>
            <a:r>
              <a:rPr lang="en-US" sz="1400" dirty="0"/>
              <a:t>Incoming natural gas or hydrocarbon feedstock must not poison the SMR catalyst</a:t>
            </a:r>
          </a:p>
          <a:p>
            <a:pPr lvl="1">
              <a:spcBef>
                <a:spcPts val="0"/>
              </a:spcBef>
            </a:pPr>
            <a:r>
              <a:rPr lang="en-US" sz="1400" dirty="0"/>
              <a:t>Essential to detect sulfur compounds and other known catalyst poisons</a:t>
            </a:r>
          </a:p>
          <a:p>
            <a:pPr lvl="1">
              <a:spcBef>
                <a:spcPts val="0"/>
              </a:spcBef>
            </a:pPr>
            <a:r>
              <a:rPr lang="en-US" sz="1400" dirty="0"/>
              <a:t>Measurements highly critical for process integrity and would initiate a plant-trip to protect catalyst</a:t>
            </a:r>
          </a:p>
        </p:txBody>
      </p:sp>
      <p:sp>
        <p:nvSpPr>
          <p:cNvPr id="39" name="Content Placeholder 3">
            <a:extLst>
              <a:ext uri="{FF2B5EF4-FFF2-40B4-BE49-F238E27FC236}">
                <a16:creationId xmlns:a16="http://schemas.microsoft.com/office/drawing/2014/main" id="{49F80700-DEDD-4EF8-B4F0-76EF519E8402}"/>
              </a:ext>
            </a:extLst>
          </p:cNvPr>
          <p:cNvSpPr txBox="1">
            <a:spLocks/>
          </p:cNvSpPr>
          <p:nvPr/>
        </p:nvSpPr>
        <p:spPr bwMode="gray">
          <a:xfrm>
            <a:off x="2818583" y="2801554"/>
            <a:ext cx="9034681" cy="726353"/>
          </a:xfrm>
          <a:prstGeom prst="rect">
            <a:avLst/>
          </a:prstGeom>
        </p:spPr>
        <p:txBody>
          <a:bodyPr lIns="0" tIns="0" rIns="0" bIns="0" anchor="ctr" anchorCtr="0"/>
          <a:lstStyle>
            <a:lvl1pPr marL="0" indent="0" algn="l" defTabSz="914491" rtl="0" eaLnBrk="1" latinLnBrk="0" hangingPunct="1">
              <a:spcBef>
                <a:spcPts val="600"/>
              </a:spcBef>
              <a:buFont typeface="Arial" panose="020B0604020202020204" pitchFamily="34" charset="0"/>
              <a:buNone/>
              <a:defRPr lang="en-US" sz="1600" b="1" kern="1200" dirty="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0"/>
              </a:spcBef>
            </a:pPr>
            <a:r>
              <a:rPr lang="en-US" sz="1400" dirty="0"/>
              <a:t>SMR relies on catalytic conversion of methane to H</a:t>
            </a:r>
            <a:r>
              <a:rPr lang="en-US" sz="1400" baseline="-25000" dirty="0"/>
              <a:t>2</a:t>
            </a:r>
            <a:r>
              <a:rPr lang="en-US" sz="1400" dirty="0"/>
              <a:t> and CO</a:t>
            </a:r>
          </a:p>
          <a:p>
            <a:pPr lvl="1">
              <a:spcBef>
                <a:spcPts val="0"/>
              </a:spcBef>
            </a:pPr>
            <a:r>
              <a:rPr lang="en-US" sz="1400" dirty="0"/>
              <a:t>If damaged, reaction will not take place properly</a:t>
            </a:r>
          </a:p>
          <a:p>
            <a:pPr lvl="1">
              <a:spcBef>
                <a:spcPts val="0"/>
              </a:spcBef>
            </a:pPr>
            <a:r>
              <a:rPr lang="en-US" sz="1400" dirty="0"/>
              <a:t>Essential to measure products coming out of SMR to check reaction selectivity, conversion and yield</a:t>
            </a:r>
          </a:p>
        </p:txBody>
      </p:sp>
      <p:sp>
        <p:nvSpPr>
          <p:cNvPr id="40" name="Content Placeholder 3">
            <a:extLst>
              <a:ext uri="{FF2B5EF4-FFF2-40B4-BE49-F238E27FC236}">
                <a16:creationId xmlns:a16="http://schemas.microsoft.com/office/drawing/2014/main" id="{8EC2C448-8FA8-4018-8DC1-5CED65618FB0}"/>
              </a:ext>
            </a:extLst>
          </p:cNvPr>
          <p:cNvSpPr txBox="1">
            <a:spLocks/>
          </p:cNvSpPr>
          <p:nvPr/>
        </p:nvSpPr>
        <p:spPr bwMode="gray">
          <a:xfrm>
            <a:off x="2818583" y="3671910"/>
            <a:ext cx="9034681" cy="726353"/>
          </a:xfrm>
          <a:prstGeom prst="rect">
            <a:avLst/>
          </a:prstGeom>
        </p:spPr>
        <p:txBody>
          <a:bodyPr lIns="0" tIns="0" rIns="0" bIns="0" anchor="ctr" anchorCtr="0"/>
          <a:lstStyle>
            <a:lvl1pPr marL="0" indent="0" algn="l" defTabSz="914491" rtl="0" eaLnBrk="1" latinLnBrk="0" hangingPunct="1">
              <a:spcBef>
                <a:spcPts val="600"/>
              </a:spcBef>
              <a:buFont typeface="Arial" panose="020B0604020202020204" pitchFamily="34" charset="0"/>
              <a:buNone/>
              <a:defRPr lang="en-US" sz="1600" b="1" kern="1200" dirty="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0"/>
              </a:spcBef>
            </a:pPr>
            <a:r>
              <a:rPr lang="en-US" sz="1400" dirty="0"/>
              <a:t>Purification stage after SMR with Pressure Swing Adsorption (PSA) unit – semi-batch cyclical process</a:t>
            </a:r>
          </a:p>
          <a:p>
            <a:pPr lvl="1">
              <a:spcBef>
                <a:spcPts val="0"/>
              </a:spcBef>
            </a:pPr>
            <a:r>
              <a:rPr lang="en-US" sz="1400" dirty="0"/>
              <a:t>Switch to new </a:t>
            </a:r>
            <a:r>
              <a:rPr lang="en-US" sz="1400" dirty="0" err="1"/>
              <a:t>adsorber</a:t>
            </a:r>
            <a:r>
              <a:rPr lang="en-US" sz="1400" dirty="0"/>
              <a:t> bed takes place when it is near-fully saturated with a gas (cannot adsorb)</a:t>
            </a:r>
          </a:p>
          <a:p>
            <a:pPr lvl="1">
              <a:spcBef>
                <a:spcPts val="0"/>
              </a:spcBef>
            </a:pPr>
            <a:r>
              <a:rPr lang="en-US" sz="1400" dirty="0"/>
              <a:t>Monitoring “break-through” essential – indicates </a:t>
            </a:r>
            <a:r>
              <a:rPr lang="en-US" sz="1400" dirty="0" err="1"/>
              <a:t>adsorber</a:t>
            </a:r>
            <a:r>
              <a:rPr lang="en-US" sz="1400" dirty="0"/>
              <a:t> material aging or incomplete regeneration</a:t>
            </a:r>
          </a:p>
        </p:txBody>
      </p:sp>
      <p:sp>
        <p:nvSpPr>
          <p:cNvPr id="42" name="Content Placeholder 3">
            <a:extLst>
              <a:ext uri="{FF2B5EF4-FFF2-40B4-BE49-F238E27FC236}">
                <a16:creationId xmlns:a16="http://schemas.microsoft.com/office/drawing/2014/main" id="{00C13043-0F1A-4EEB-9BC6-D4DBF739C757}"/>
              </a:ext>
            </a:extLst>
          </p:cNvPr>
          <p:cNvSpPr txBox="1">
            <a:spLocks/>
          </p:cNvSpPr>
          <p:nvPr/>
        </p:nvSpPr>
        <p:spPr bwMode="gray">
          <a:xfrm>
            <a:off x="652251" y="1931198"/>
            <a:ext cx="1195752" cy="726353"/>
          </a:xfrm>
          <a:prstGeom prst="rect">
            <a:avLst/>
          </a:prstGeom>
        </p:spPr>
        <p:txBody>
          <a:bodyPr lIns="0" tIns="0" rIns="0" bIns="0" anchor="ctr"/>
          <a:lstStyle>
            <a:lvl1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1pPr>
            <a:lvl2pPr marL="1588" indent="0" algn="l" defTabSz="914491" rtl="0" eaLnBrk="1" latinLnBrk="0" hangingPunct="1">
              <a:spcBef>
                <a:spcPts val="600"/>
              </a:spcBef>
              <a:buFont typeface="ABBvoiceOffice" panose="020D0603020503020204" pitchFamily="34" charset="0"/>
              <a:buNone/>
              <a:defRPr sz="1400" b="1" kern="1200">
                <a:solidFill>
                  <a:schemeClr val="tx2"/>
                </a:solidFill>
                <a:latin typeface="+mn-lt"/>
                <a:ea typeface="+mn-ea"/>
                <a:cs typeface="+mn-cs"/>
              </a:defRPr>
            </a:lvl2pPr>
            <a:lvl3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3pPr>
            <a:lvl4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4pPr>
            <a:lvl5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5pPr>
            <a:lvl6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6pPr>
            <a:lvl7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7pPr>
            <a:lvl8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8pPr>
            <a:lvl9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9pPr>
          </a:lstStyle>
          <a:p>
            <a:r>
              <a:rPr lang="en-US" dirty="0"/>
              <a:t>Input gas quality</a:t>
            </a:r>
          </a:p>
        </p:txBody>
      </p:sp>
      <p:sp>
        <p:nvSpPr>
          <p:cNvPr id="43" name="Content Placeholder 3">
            <a:extLst>
              <a:ext uri="{FF2B5EF4-FFF2-40B4-BE49-F238E27FC236}">
                <a16:creationId xmlns:a16="http://schemas.microsoft.com/office/drawing/2014/main" id="{7D7062FE-7A58-4A3F-8508-CE9C989BB947}"/>
              </a:ext>
            </a:extLst>
          </p:cNvPr>
          <p:cNvSpPr txBox="1">
            <a:spLocks/>
          </p:cNvSpPr>
          <p:nvPr/>
        </p:nvSpPr>
        <p:spPr bwMode="gray">
          <a:xfrm>
            <a:off x="652251" y="2801554"/>
            <a:ext cx="1195752" cy="726353"/>
          </a:xfrm>
          <a:prstGeom prst="rect">
            <a:avLst/>
          </a:prstGeom>
        </p:spPr>
        <p:txBody>
          <a:bodyPr lIns="0" tIns="0" rIns="0" bIns="0" anchor="ctr"/>
          <a:lstStyle>
            <a:lvl1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1pPr>
            <a:lvl2pPr marL="1588" indent="0" algn="l" defTabSz="914491" rtl="0" eaLnBrk="1" latinLnBrk="0" hangingPunct="1">
              <a:spcBef>
                <a:spcPts val="600"/>
              </a:spcBef>
              <a:buFont typeface="ABBvoiceOffice" panose="020D0603020503020204" pitchFamily="34" charset="0"/>
              <a:buNone/>
              <a:defRPr sz="1400" b="1" kern="1200">
                <a:solidFill>
                  <a:schemeClr val="tx2"/>
                </a:solidFill>
                <a:latin typeface="+mn-lt"/>
                <a:ea typeface="+mn-ea"/>
                <a:cs typeface="+mn-cs"/>
              </a:defRPr>
            </a:lvl2pPr>
            <a:lvl3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3pPr>
            <a:lvl4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4pPr>
            <a:lvl5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5pPr>
            <a:lvl6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6pPr>
            <a:lvl7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7pPr>
            <a:lvl8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8pPr>
            <a:lvl9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9pPr>
          </a:lstStyle>
          <a:p>
            <a:r>
              <a:rPr lang="en-US" dirty="0"/>
              <a:t>Selectivity, conversion &amp; yield</a:t>
            </a:r>
          </a:p>
        </p:txBody>
      </p:sp>
      <p:sp>
        <p:nvSpPr>
          <p:cNvPr id="44" name="Content Placeholder 3">
            <a:extLst>
              <a:ext uri="{FF2B5EF4-FFF2-40B4-BE49-F238E27FC236}">
                <a16:creationId xmlns:a16="http://schemas.microsoft.com/office/drawing/2014/main" id="{E3B800CC-20D9-4E7F-AC3B-86D13C550084}"/>
              </a:ext>
            </a:extLst>
          </p:cNvPr>
          <p:cNvSpPr txBox="1">
            <a:spLocks/>
          </p:cNvSpPr>
          <p:nvPr/>
        </p:nvSpPr>
        <p:spPr bwMode="gray">
          <a:xfrm>
            <a:off x="652251" y="3671910"/>
            <a:ext cx="1195752" cy="726353"/>
          </a:xfrm>
          <a:prstGeom prst="rect">
            <a:avLst/>
          </a:prstGeom>
        </p:spPr>
        <p:txBody>
          <a:bodyPr lIns="0" tIns="0" rIns="0" bIns="0" anchor="ctr"/>
          <a:lstStyle>
            <a:lvl1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1pPr>
            <a:lvl2pPr marL="1588" indent="0" algn="l" defTabSz="914491" rtl="0" eaLnBrk="1" latinLnBrk="0" hangingPunct="1">
              <a:spcBef>
                <a:spcPts val="600"/>
              </a:spcBef>
              <a:buFont typeface="ABBvoiceOffice" panose="020D0603020503020204" pitchFamily="34" charset="0"/>
              <a:buNone/>
              <a:defRPr sz="1400" b="1" kern="1200">
                <a:solidFill>
                  <a:schemeClr val="tx2"/>
                </a:solidFill>
                <a:latin typeface="+mn-lt"/>
                <a:ea typeface="+mn-ea"/>
                <a:cs typeface="+mn-cs"/>
              </a:defRPr>
            </a:lvl2pPr>
            <a:lvl3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3pPr>
            <a:lvl4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4pPr>
            <a:lvl5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5pPr>
            <a:lvl6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6pPr>
            <a:lvl7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7pPr>
            <a:lvl8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8pPr>
            <a:lvl9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9pPr>
          </a:lstStyle>
          <a:p>
            <a:r>
              <a:rPr lang="en-US" dirty="0"/>
              <a:t>PSA breakthrough</a:t>
            </a:r>
          </a:p>
        </p:txBody>
      </p:sp>
      <p:sp>
        <p:nvSpPr>
          <p:cNvPr id="45" name="Content Placeholder 3">
            <a:extLst>
              <a:ext uri="{FF2B5EF4-FFF2-40B4-BE49-F238E27FC236}">
                <a16:creationId xmlns:a16="http://schemas.microsoft.com/office/drawing/2014/main" id="{8CE90CF7-2905-4496-B0EA-0B0C5DBC82F9}"/>
              </a:ext>
            </a:extLst>
          </p:cNvPr>
          <p:cNvSpPr txBox="1">
            <a:spLocks/>
          </p:cNvSpPr>
          <p:nvPr/>
        </p:nvSpPr>
        <p:spPr bwMode="gray">
          <a:xfrm>
            <a:off x="2818583" y="4542265"/>
            <a:ext cx="9034681" cy="726353"/>
          </a:xfrm>
          <a:prstGeom prst="rect">
            <a:avLst/>
          </a:prstGeom>
        </p:spPr>
        <p:txBody>
          <a:bodyPr lIns="0" tIns="0" rIns="0" bIns="0" anchor="ctr" anchorCtr="0"/>
          <a:lstStyle>
            <a:lvl1pPr marL="0" indent="0" algn="l" defTabSz="914491" rtl="0" eaLnBrk="1" latinLnBrk="0" hangingPunct="1">
              <a:spcBef>
                <a:spcPts val="600"/>
              </a:spcBef>
              <a:buFont typeface="Arial" panose="020B0604020202020204" pitchFamily="34" charset="0"/>
              <a:buNone/>
              <a:defRPr lang="en-US" sz="1600" b="1" kern="1200" dirty="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0"/>
              </a:spcBef>
            </a:pPr>
            <a:r>
              <a:rPr lang="en-US" sz="1400" dirty="0"/>
              <a:t>Syngas or hydrogen final product purity must be monitored</a:t>
            </a:r>
          </a:p>
          <a:p>
            <a:pPr lvl="1">
              <a:spcBef>
                <a:spcPts val="0"/>
              </a:spcBef>
            </a:pPr>
            <a:r>
              <a:rPr lang="en-US" sz="1400" dirty="0"/>
              <a:t>Excess CO</a:t>
            </a:r>
            <a:r>
              <a:rPr lang="en-US" sz="1400" baseline="-25000" dirty="0"/>
              <a:t>2</a:t>
            </a:r>
            <a:r>
              <a:rPr lang="en-US" sz="1400" dirty="0"/>
              <a:t> would represent non-conformance in either case</a:t>
            </a:r>
          </a:p>
          <a:p>
            <a:pPr lvl="1">
              <a:spcBef>
                <a:spcPts val="0"/>
              </a:spcBef>
            </a:pPr>
            <a:r>
              <a:rPr lang="en-US" sz="1400" dirty="0"/>
              <a:t>If hydrogen is the target (not syngas) then excess CO would also represent a non-conformance</a:t>
            </a:r>
          </a:p>
        </p:txBody>
      </p:sp>
      <p:sp>
        <p:nvSpPr>
          <p:cNvPr id="46" name="Content Placeholder 3">
            <a:extLst>
              <a:ext uri="{FF2B5EF4-FFF2-40B4-BE49-F238E27FC236}">
                <a16:creationId xmlns:a16="http://schemas.microsoft.com/office/drawing/2014/main" id="{90F7B196-AE3A-4F73-970F-40D68F56E335}"/>
              </a:ext>
            </a:extLst>
          </p:cNvPr>
          <p:cNvSpPr txBox="1">
            <a:spLocks/>
          </p:cNvSpPr>
          <p:nvPr/>
        </p:nvSpPr>
        <p:spPr bwMode="gray">
          <a:xfrm>
            <a:off x="652251" y="4542265"/>
            <a:ext cx="1195752" cy="726353"/>
          </a:xfrm>
          <a:prstGeom prst="rect">
            <a:avLst/>
          </a:prstGeom>
        </p:spPr>
        <p:txBody>
          <a:bodyPr lIns="0" tIns="0" rIns="0" bIns="0" anchor="ctr"/>
          <a:lstStyle>
            <a:lvl1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1pPr>
            <a:lvl2pPr marL="1588" indent="0" algn="l" defTabSz="914491" rtl="0" eaLnBrk="1" latinLnBrk="0" hangingPunct="1">
              <a:spcBef>
                <a:spcPts val="600"/>
              </a:spcBef>
              <a:buFont typeface="ABBvoiceOffice" panose="020D0603020503020204" pitchFamily="34" charset="0"/>
              <a:buNone/>
              <a:defRPr sz="1400" b="1" kern="1200">
                <a:solidFill>
                  <a:schemeClr val="tx2"/>
                </a:solidFill>
                <a:latin typeface="+mn-lt"/>
                <a:ea typeface="+mn-ea"/>
                <a:cs typeface="+mn-cs"/>
              </a:defRPr>
            </a:lvl2pPr>
            <a:lvl3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3pPr>
            <a:lvl4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4pPr>
            <a:lvl5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5pPr>
            <a:lvl6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6pPr>
            <a:lvl7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7pPr>
            <a:lvl8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8pPr>
            <a:lvl9pPr marL="1588" indent="0" algn="l" defTabSz="914491" rtl="0" eaLnBrk="1" latinLnBrk="0" hangingPunct="1">
              <a:spcBef>
                <a:spcPts val="600"/>
              </a:spcBef>
              <a:buFont typeface="Arial" panose="020B0604020202020204" pitchFamily="34" charset="0"/>
              <a:buNone/>
              <a:defRPr sz="1400" b="1" kern="1200">
                <a:solidFill>
                  <a:schemeClr val="tx2"/>
                </a:solidFill>
                <a:latin typeface="+mn-lt"/>
                <a:ea typeface="+mn-ea"/>
                <a:cs typeface="+mn-cs"/>
              </a:defRPr>
            </a:lvl9pPr>
          </a:lstStyle>
          <a:p>
            <a:r>
              <a:rPr lang="en-US" dirty="0"/>
              <a:t>Final product purity</a:t>
            </a:r>
          </a:p>
        </p:txBody>
      </p:sp>
      <p:cxnSp>
        <p:nvCxnSpPr>
          <p:cNvPr id="47" name="Straight Connector 13">
            <a:extLst>
              <a:ext uri="{FF2B5EF4-FFF2-40B4-BE49-F238E27FC236}">
                <a16:creationId xmlns:a16="http://schemas.microsoft.com/office/drawing/2014/main" id="{B46B5B2D-6BEA-4380-8828-3800F8C1C0BD}"/>
              </a:ext>
            </a:extLst>
          </p:cNvPr>
          <p:cNvCxnSpPr/>
          <p:nvPr/>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4">
            <a:extLst>
              <a:ext uri="{FF2B5EF4-FFF2-40B4-BE49-F238E27FC236}">
                <a16:creationId xmlns:a16="http://schemas.microsoft.com/office/drawing/2014/main" id="{642B43BF-6C17-4008-88DB-978BECF628CF}"/>
              </a:ext>
            </a:extLst>
          </p:cNvPr>
          <p:cNvCxnSpPr/>
          <p:nvPr/>
        </p:nvCxnSpPr>
        <p:spPr bwMode="gray">
          <a:xfrm>
            <a:off x="1851054" y="3164586"/>
            <a:ext cx="144000"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3">
            <a:extLst>
              <a:ext uri="{FF2B5EF4-FFF2-40B4-BE49-F238E27FC236}">
                <a16:creationId xmlns:a16="http://schemas.microsoft.com/office/drawing/2014/main" id="{4CF4C8E5-A48E-44D1-9DA4-FE840C3AF2DA}"/>
              </a:ext>
            </a:extLst>
          </p:cNvPr>
          <p:cNvCxnSpPr/>
          <p:nvPr/>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14">
            <a:extLst>
              <a:ext uri="{FF2B5EF4-FFF2-40B4-BE49-F238E27FC236}">
                <a16:creationId xmlns:a16="http://schemas.microsoft.com/office/drawing/2014/main" id="{417E47FB-B65F-42B5-BAC7-DA898491E828}"/>
              </a:ext>
            </a:extLst>
          </p:cNvPr>
          <p:cNvCxnSpPr/>
          <p:nvPr/>
        </p:nvCxnSpPr>
        <p:spPr bwMode="gray">
          <a:xfrm>
            <a:off x="1850487" y="4905862"/>
            <a:ext cx="144000"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13">
            <a:extLst>
              <a:ext uri="{FF2B5EF4-FFF2-40B4-BE49-F238E27FC236}">
                <a16:creationId xmlns:a16="http://schemas.microsoft.com/office/drawing/2014/main" id="{60712A4D-147D-4FD9-B3A4-87ADC62B2CE8}"/>
              </a:ext>
            </a:extLst>
          </p:cNvPr>
          <p:cNvCxnSpPr/>
          <p:nvPr/>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14">
            <a:extLst>
              <a:ext uri="{FF2B5EF4-FFF2-40B4-BE49-F238E27FC236}">
                <a16:creationId xmlns:a16="http://schemas.microsoft.com/office/drawing/2014/main" id="{6F0010CB-3D10-4AD5-ACCB-04C66E23C144}"/>
              </a:ext>
            </a:extLst>
          </p:cNvPr>
          <p:cNvCxnSpPr/>
          <p:nvPr/>
        </p:nvCxnSpPr>
        <p:spPr bwMode="gray">
          <a:xfrm>
            <a:off x="1851502" y="2293948"/>
            <a:ext cx="144000"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13">
            <a:extLst>
              <a:ext uri="{FF2B5EF4-FFF2-40B4-BE49-F238E27FC236}">
                <a16:creationId xmlns:a16="http://schemas.microsoft.com/office/drawing/2014/main" id="{5CD81A78-D04C-4C2F-93A7-FD40CF04C10B}"/>
              </a:ext>
            </a:extLst>
          </p:cNvPr>
          <p:cNvCxnSpPr/>
          <p:nvPr/>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14">
            <a:extLst>
              <a:ext uri="{FF2B5EF4-FFF2-40B4-BE49-F238E27FC236}">
                <a16:creationId xmlns:a16="http://schemas.microsoft.com/office/drawing/2014/main" id="{014C256D-60BF-4CF3-99FE-ED2A402A360D}"/>
              </a:ext>
            </a:extLst>
          </p:cNvPr>
          <p:cNvCxnSpPr/>
          <p:nvPr/>
        </p:nvCxnSpPr>
        <p:spPr bwMode="gray">
          <a:xfrm>
            <a:off x="1850487" y="4035224"/>
            <a:ext cx="144000"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a:extLst>
              <a:ext uri="{FF2B5EF4-FFF2-40B4-BE49-F238E27FC236}">
                <a16:creationId xmlns:a16="http://schemas.microsoft.com/office/drawing/2014/main" id="{FF5F9D81-BF5C-4327-A91F-1CBC33BF9A66}"/>
              </a:ext>
            </a:extLst>
          </p:cNvPr>
          <p:cNvCxnSpPr/>
          <p:nvPr/>
        </p:nvCxnSpPr>
        <p:spPr bwMode="gray">
          <a:xfrm>
            <a:off x="2072427"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6" name="Straight Connector 55">
            <a:extLst>
              <a:ext uri="{FF2B5EF4-FFF2-40B4-BE49-F238E27FC236}">
                <a16:creationId xmlns:a16="http://schemas.microsoft.com/office/drawing/2014/main" id="{AAAC2BAD-30B5-4800-A413-D383C1D4D268}"/>
              </a:ext>
            </a:extLst>
          </p:cNvPr>
          <p:cNvCxnSpPr/>
          <p:nvPr/>
        </p:nvCxnSpPr>
        <p:spPr bwMode="gray">
          <a:xfrm>
            <a:off x="2072427"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7" name="Straight Connector 56">
            <a:extLst>
              <a:ext uri="{FF2B5EF4-FFF2-40B4-BE49-F238E27FC236}">
                <a16:creationId xmlns:a16="http://schemas.microsoft.com/office/drawing/2014/main" id="{C215FBB6-028E-4B95-B325-27DD4C3EB966}"/>
              </a:ext>
            </a:extLst>
          </p:cNvPr>
          <p:cNvCxnSpPr/>
          <p:nvPr/>
        </p:nvCxnSpPr>
        <p:spPr bwMode="gray">
          <a:xfrm>
            <a:off x="2072427"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Content Placeholder 6">
            <a:extLst>
              <a:ext uri="{FF2B5EF4-FFF2-40B4-BE49-F238E27FC236}">
                <a16:creationId xmlns:a16="http://schemas.microsoft.com/office/drawing/2014/main" id="{58D8CB70-2612-4E61-B1CF-A130FE6BC770}"/>
              </a:ext>
            </a:extLst>
          </p:cNvPr>
          <p:cNvSpPr txBox="1">
            <a:spLocks/>
          </p:cNvSpPr>
          <p:nvPr/>
        </p:nvSpPr>
        <p:spPr bwMode="gray">
          <a:xfrm>
            <a:off x="2218077" y="2100061"/>
            <a:ext cx="385200" cy="385200"/>
          </a:xfrm>
          <a:prstGeom prst="ellipse">
            <a:avLst/>
          </a:prstGeom>
          <a:solidFill>
            <a:schemeClr val="tx2"/>
          </a:solidFill>
        </p:spPr>
        <p:txBody>
          <a:bodyPr anchor="ctr" anchorCtr="0"/>
          <a:lstStyle>
            <a:lvl1pPr marL="0" indent="0" algn="ctr" defTabSz="914491" rtl="0" eaLnBrk="1" latinLnBrk="0" hangingPunct="1">
              <a:spcBef>
                <a:spcPts val="0"/>
              </a:spcBef>
              <a:buFont typeface="Arial" panose="020B0604020202020204" pitchFamily="34" charset="0"/>
              <a:buNone/>
              <a:defRPr sz="2000" b="1" kern="1200">
                <a:solidFill>
                  <a:schemeClr val="bg1"/>
                </a:solidFill>
                <a:latin typeface="ABBvoice" panose="020D0603020503020204" pitchFamily="34" charset="0"/>
                <a:ea typeface="ABBvoice" panose="020D0603020503020204" pitchFamily="34" charset="0"/>
                <a:cs typeface="ABBvoice" panose="020D0603020503020204" pitchFamily="34" charset="0"/>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pl-PL"/>
              <a:t>1</a:t>
            </a:r>
            <a:endParaRPr lang="en-GB" dirty="0"/>
          </a:p>
        </p:txBody>
      </p:sp>
      <p:sp>
        <p:nvSpPr>
          <p:cNvPr id="59" name="Content Placeholder 6">
            <a:extLst>
              <a:ext uri="{FF2B5EF4-FFF2-40B4-BE49-F238E27FC236}">
                <a16:creationId xmlns:a16="http://schemas.microsoft.com/office/drawing/2014/main" id="{AC557EA1-1269-4F4B-BD01-AD34BBE9FEF1}"/>
              </a:ext>
            </a:extLst>
          </p:cNvPr>
          <p:cNvSpPr txBox="1">
            <a:spLocks/>
          </p:cNvSpPr>
          <p:nvPr/>
        </p:nvSpPr>
        <p:spPr bwMode="gray">
          <a:xfrm>
            <a:off x="2218077" y="2971986"/>
            <a:ext cx="385200" cy="385200"/>
          </a:xfrm>
          <a:prstGeom prst="ellipse">
            <a:avLst/>
          </a:prstGeom>
          <a:solidFill>
            <a:schemeClr val="tx2"/>
          </a:solidFill>
        </p:spPr>
        <p:txBody>
          <a:bodyPr anchor="ctr" anchorCtr="0"/>
          <a:lstStyle>
            <a:lvl1pPr marL="0" indent="0" algn="ctr" defTabSz="914491" rtl="0" eaLnBrk="1" latinLnBrk="0" hangingPunct="1">
              <a:spcBef>
                <a:spcPts val="0"/>
              </a:spcBef>
              <a:buFont typeface="Arial" panose="020B0604020202020204" pitchFamily="34" charset="0"/>
              <a:buNone/>
              <a:defRPr sz="2000" b="1" kern="1200">
                <a:solidFill>
                  <a:schemeClr val="bg1"/>
                </a:solidFill>
                <a:latin typeface="ABBvoice" panose="020D0603020503020204" pitchFamily="34" charset="0"/>
                <a:ea typeface="ABBvoice" panose="020D0603020503020204" pitchFamily="34" charset="0"/>
                <a:cs typeface="ABBvoice" panose="020D0603020503020204" pitchFamily="34" charset="0"/>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pl-PL"/>
              <a:t>2</a:t>
            </a:r>
            <a:endParaRPr lang="en-GB" dirty="0"/>
          </a:p>
        </p:txBody>
      </p:sp>
      <p:sp>
        <p:nvSpPr>
          <p:cNvPr id="60" name="Content Placeholder 6">
            <a:extLst>
              <a:ext uri="{FF2B5EF4-FFF2-40B4-BE49-F238E27FC236}">
                <a16:creationId xmlns:a16="http://schemas.microsoft.com/office/drawing/2014/main" id="{16954E9A-237E-454F-991F-CBE85ED523B4}"/>
              </a:ext>
            </a:extLst>
          </p:cNvPr>
          <p:cNvSpPr txBox="1">
            <a:spLocks/>
          </p:cNvSpPr>
          <p:nvPr/>
        </p:nvSpPr>
        <p:spPr bwMode="gray">
          <a:xfrm>
            <a:off x="2218077" y="3843416"/>
            <a:ext cx="385200" cy="385200"/>
          </a:xfrm>
          <a:prstGeom prst="ellipse">
            <a:avLst/>
          </a:prstGeom>
          <a:solidFill>
            <a:schemeClr val="tx2"/>
          </a:solidFill>
        </p:spPr>
        <p:txBody>
          <a:bodyPr anchor="ctr" anchorCtr="0"/>
          <a:lstStyle>
            <a:lvl1pPr marL="0" indent="0" algn="ctr" defTabSz="914491" rtl="0" eaLnBrk="1" latinLnBrk="0" hangingPunct="1">
              <a:spcBef>
                <a:spcPts val="0"/>
              </a:spcBef>
              <a:buFont typeface="Arial" panose="020B0604020202020204" pitchFamily="34" charset="0"/>
              <a:buNone/>
              <a:defRPr sz="2000" b="1" kern="1200">
                <a:solidFill>
                  <a:schemeClr val="bg1"/>
                </a:solidFill>
                <a:latin typeface="ABBvoice" panose="020D0603020503020204" pitchFamily="34" charset="0"/>
                <a:ea typeface="ABBvoice" panose="020D0603020503020204" pitchFamily="34" charset="0"/>
                <a:cs typeface="ABBvoice" panose="020D0603020503020204" pitchFamily="34" charset="0"/>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pl-PL"/>
              <a:t>3</a:t>
            </a:r>
            <a:endParaRPr lang="en-GB" dirty="0"/>
          </a:p>
        </p:txBody>
      </p:sp>
      <p:sp>
        <p:nvSpPr>
          <p:cNvPr id="61" name="Content Placeholder 6">
            <a:extLst>
              <a:ext uri="{FF2B5EF4-FFF2-40B4-BE49-F238E27FC236}">
                <a16:creationId xmlns:a16="http://schemas.microsoft.com/office/drawing/2014/main" id="{9D1207C4-53F3-4A89-ABAE-41EA3DB4CF47}"/>
              </a:ext>
            </a:extLst>
          </p:cNvPr>
          <p:cNvSpPr txBox="1">
            <a:spLocks/>
          </p:cNvSpPr>
          <p:nvPr/>
        </p:nvSpPr>
        <p:spPr bwMode="gray">
          <a:xfrm>
            <a:off x="2218077" y="4708172"/>
            <a:ext cx="385200" cy="385200"/>
          </a:xfrm>
          <a:prstGeom prst="ellipse">
            <a:avLst/>
          </a:prstGeom>
          <a:solidFill>
            <a:schemeClr val="tx2"/>
          </a:solidFill>
        </p:spPr>
        <p:txBody>
          <a:bodyPr anchor="ctr" anchorCtr="0"/>
          <a:lstStyle>
            <a:lvl1pPr marL="0" indent="0" algn="ctr" defTabSz="914491" rtl="0" eaLnBrk="1" latinLnBrk="0" hangingPunct="1">
              <a:spcBef>
                <a:spcPts val="0"/>
              </a:spcBef>
              <a:buFont typeface="Arial" panose="020B0604020202020204" pitchFamily="34" charset="0"/>
              <a:buNone/>
              <a:defRPr sz="2000" b="1" kern="1200">
                <a:solidFill>
                  <a:schemeClr val="bg1"/>
                </a:solidFill>
                <a:latin typeface="ABBvoice" panose="020D0603020503020204" pitchFamily="34" charset="0"/>
                <a:ea typeface="ABBvoice" panose="020D0603020503020204" pitchFamily="34" charset="0"/>
                <a:cs typeface="ABBvoice" panose="020D0603020503020204" pitchFamily="34" charset="0"/>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pl-PL"/>
              <a:t>4</a:t>
            </a:r>
            <a:endParaRPr lang="en-GB" dirty="0"/>
          </a:p>
        </p:txBody>
      </p:sp>
      <p:grpSp>
        <p:nvGrpSpPr>
          <p:cNvPr id="98" name="Group 97">
            <a:extLst>
              <a:ext uri="{FF2B5EF4-FFF2-40B4-BE49-F238E27FC236}">
                <a16:creationId xmlns:a16="http://schemas.microsoft.com/office/drawing/2014/main" id="{CDC1A523-2FE0-46B1-9A27-2802001B6128}"/>
              </a:ext>
            </a:extLst>
          </p:cNvPr>
          <p:cNvGrpSpPr/>
          <p:nvPr/>
        </p:nvGrpSpPr>
        <p:grpSpPr bwMode="gray">
          <a:xfrm flipH="1">
            <a:off x="365650" y="2162784"/>
            <a:ext cx="186323" cy="263181"/>
            <a:chOff x="726165" y="2121572"/>
            <a:chExt cx="194048" cy="274093"/>
          </a:xfrm>
        </p:grpSpPr>
        <p:sp>
          <p:nvSpPr>
            <p:cNvPr id="99" name="Freeform: Shape 98">
              <a:extLst>
                <a:ext uri="{FF2B5EF4-FFF2-40B4-BE49-F238E27FC236}">
                  <a16:creationId xmlns:a16="http://schemas.microsoft.com/office/drawing/2014/main" id="{099BA1CE-1AD9-4A32-AD34-1BC1C099B253}"/>
                </a:ext>
              </a:extLst>
            </p:cNvPr>
            <p:cNvSpPr>
              <a:spLocks/>
            </p:cNvSpPr>
            <p:nvPr/>
          </p:nvSpPr>
          <p:spPr bwMode="gray">
            <a:xfrm>
              <a:off x="726165" y="2121572"/>
              <a:ext cx="194048" cy="273156"/>
            </a:xfrm>
            <a:custGeom>
              <a:avLst/>
              <a:gdLst>
                <a:gd name="connsiteX0" fmla="*/ 61195 w 165948"/>
                <a:gd name="connsiteY0" fmla="*/ 0 h 234947"/>
                <a:gd name="connsiteX1" fmla="*/ 164814 w 165948"/>
                <a:gd name="connsiteY1" fmla="*/ 134555 h 234947"/>
                <a:gd name="connsiteX2" fmla="*/ 113008 w 165948"/>
                <a:gd name="connsiteY2" fmla="*/ 233601 h 234947"/>
                <a:gd name="connsiteX3" fmla="*/ 106774 w 165948"/>
                <a:gd name="connsiteY3" fmla="*/ 234947 h 234947"/>
                <a:gd name="connsiteX4" fmla="*/ 105654 w 165948"/>
                <a:gd name="connsiteY4" fmla="*/ 227360 h 234947"/>
                <a:gd name="connsiteX5" fmla="*/ 82973 w 165948"/>
                <a:gd name="connsiteY5" fmla="*/ 200993 h 234947"/>
                <a:gd name="connsiteX6" fmla="*/ 60292 w 165948"/>
                <a:gd name="connsiteY6" fmla="*/ 227360 h 234947"/>
                <a:gd name="connsiteX7" fmla="*/ 59296 w 165948"/>
                <a:gd name="connsiteY7" fmla="*/ 234106 h 234947"/>
                <a:gd name="connsiteX8" fmla="*/ 52447 w 165948"/>
                <a:gd name="connsiteY8" fmla="*/ 232390 h 234947"/>
                <a:gd name="connsiteX9" fmla="*/ 2790 w 165948"/>
                <a:gd name="connsiteY9" fmla="*/ 133595 h 234947"/>
                <a:gd name="connsiteX10" fmla="*/ 61195 w 165948"/>
                <a:gd name="connsiteY10" fmla="*/ 0 h 234947"/>
                <a:gd name="connsiteX0" fmla="*/ 82973 w 174413"/>
                <a:gd name="connsiteY0" fmla="*/ 200993 h 292433"/>
                <a:gd name="connsiteX1" fmla="*/ 60292 w 174413"/>
                <a:gd name="connsiteY1" fmla="*/ 227360 h 292433"/>
                <a:gd name="connsiteX2" fmla="*/ 59296 w 174413"/>
                <a:gd name="connsiteY2" fmla="*/ 234106 h 292433"/>
                <a:gd name="connsiteX3" fmla="*/ 52447 w 174413"/>
                <a:gd name="connsiteY3" fmla="*/ 232390 h 292433"/>
                <a:gd name="connsiteX4" fmla="*/ 2790 w 174413"/>
                <a:gd name="connsiteY4" fmla="*/ 133595 h 292433"/>
                <a:gd name="connsiteX5" fmla="*/ 61195 w 174413"/>
                <a:gd name="connsiteY5" fmla="*/ 0 h 292433"/>
                <a:gd name="connsiteX6" fmla="*/ 164814 w 174413"/>
                <a:gd name="connsiteY6" fmla="*/ 134555 h 292433"/>
                <a:gd name="connsiteX7" fmla="*/ 113008 w 174413"/>
                <a:gd name="connsiteY7" fmla="*/ 233601 h 292433"/>
                <a:gd name="connsiteX8" fmla="*/ 106774 w 174413"/>
                <a:gd name="connsiteY8" fmla="*/ 234947 h 292433"/>
                <a:gd name="connsiteX9" fmla="*/ 105654 w 174413"/>
                <a:gd name="connsiteY9" fmla="*/ 227360 h 292433"/>
                <a:gd name="connsiteX10" fmla="*/ 174413 w 174413"/>
                <a:gd name="connsiteY10" fmla="*/ 292433 h 292433"/>
                <a:gd name="connsiteX0" fmla="*/ 60292 w 174413"/>
                <a:gd name="connsiteY0" fmla="*/ 227360 h 292433"/>
                <a:gd name="connsiteX1" fmla="*/ 59296 w 174413"/>
                <a:gd name="connsiteY1" fmla="*/ 234106 h 292433"/>
                <a:gd name="connsiteX2" fmla="*/ 52447 w 174413"/>
                <a:gd name="connsiteY2" fmla="*/ 232390 h 292433"/>
                <a:gd name="connsiteX3" fmla="*/ 2790 w 174413"/>
                <a:gd name="connsiteY3" fmla="*/ 133595 h 292433"/>
                <a:gd name="connsiteX4" fmla="*/ 61195 w 174413"/>
                <a:gd name="connsiteY4" fmla="*/ 0 h 292433"/>
                <a:gd name="connsiteX5" fmla="*/ 164814 w 174413"/>
                <a:gd name="connsiteY5" fmla="*/ 134555 h 292433"/>
                <a:gd name="connsiteX6" fmla="*/ 113008 w 174413"/>
                <a:gd name="connsiteY6" fmla="*/ 233601 h 292433"/>
                <a:gd name="connsiteX7" fmla="*/ 106774 w 174413"/>
                <a:gd name="connsiteY7" fmla="*/ 234947 h 292433"/>
                <a:gd name="connsiteX8" fmla="*/ 105654 w 174413"/>
                <a:gd name="connsiteY8" fmla="*/ 227360 h 292433"/>
                <a:gd name="connsiteX9" fmla="*/ 174413 w 174413"/>
                <a:gd name="connsiteY9" fmla="*/ 292433 h 292433"/>
                <a:gd name="connsiteX0" fmla="*/ 60292 w 165948"/>
                <a:gd name="connsiteY0" fmla="*/ 227360 h 234947"/>
                <a:gd name="connsiteX1" fmla="*/ 59296 w 165948"/>
                <a:gd name="connsiteY1" fmla="*/ 234106 h 234947"/>
                <a:gd name="connsiteX2" fmla="*/ 52447 w 165948"/>
                <a:gd name="connsiteY2" fmla="*/ 232390 h 234947"/>
                <a:gd name="connsiteX3" fmla="*/ 2790 w 165948"/>
                <a:gd name="connsiteY3" fmla="*/ 133595 h 234947"/>
                <a:gd name="connsiteX4" fmla="*/ 61195 w 165948"/>
                <a:gd name="connsiteY4" fmla="*/ 0 h 234947"/>
                <a:gd name="connsiteX5" fmla="*/ 164814 w 165948"/>
                <a:gd name="connsiteY5" fmla="*/ 134555 h 234947"/>
                <a:gd name="connsiteX6" fmla="*/ 113008 w 165948"/>
                <a:gd name="connsiteY6" fmla="*/ 233601 h 234947"/>
                <a:gd name="connsiteX7" fmla="*/ 106774 w 165948"/>
                <a:gd name="connsiteY7" fmla="*/ 234947 h 234947"/>
                <a:gd name="connsiteX8" fmla="*/ 105654 w 165948"/>
                <a:gd name="connsiteY8" fmla="*/ 227360 h 234947"/>
                <a:gd name="connsiteX0" fmla="*/ 60292 w 165948"/>
                <a:gd name="connsiteY0" fmla="*/ 227360 h 234947"/>
                <a:gd name="connsiteX1" fmla="*/ 59296 w 165948"/>
                <a:gd name="connsiteY1" fmla="*/ 234106 h 234947"/>
                <a:gd name="connsiteX2" fmla="*/ 52447 w 165948"/>
                <a:gd name="connsiteY2" fmla="*/ 232390 h 234947"/>
                <a:gd name="connsiteX3" fmla="*/ 2790 w 165948"/>
                <a:gd name="connsiteY3" fmla="*/ 133595 h 234947"/>
                <a:gd name="connsiteX4" fmla="*/ 61195 w 165948"/>
                <a:gd name="connsiteY4" fmla="*/ 0 h 234947"/>
                <a:gd name="connsiteX5" fmla="*/ 164814 w 165948"/>
                <a:gd name="connsiteY5" fmla="*/ 134555 h 234947"/>
                <a:gd name="connsiteX6" fmla="*/ 113008 w 165948"/>
                <a:gd name="connsiteY6" fmla="*/ 233601 h 234947"/>
                <a:gd name="connsiteX7" fmla="*/ 106774 w 165948"/>
                <a:gd name="connsiteY7" fmla="*/ 234947 h 234947"/>
                <a:gd name="connsiteX0" fmla="*/ 60292 w 165948"/>
                <a:gd name="connsiteY0" fmla="*/ 227360 h 234947"/>
                <a:gd name="connsiteX1" fmla="*/ 52447 w 165948"/>
                <a:gd name="connsiteY1" fmla="*/ 232390 h 234947"/>
                <a:gd name="connsiteX2" fmla="*/ 2790 w 165948"/>
                <a:gd name="connsiteY2" fmla="*/ 133595 h 234947"/>
                <a:gd name="connsiteX3" fmla="*/ 61195 w 165948"/>
                <a:gd name="connsiteY3" fmla="*/ 0 h 234947"/>
                <a:gd name="connsiteX4" fmla="*/ 164814 w 165948"/>
                <a:gd name="connsiteY4" fmla="*/ 134555 h 234947"/>
                <a:gd name="connsiteX5" fmla="*/ 113008 w 165948"/>
                <a:gd name="connsiteY5" fmla="*/ 233601 h 234947"/>
                <a:gd name="connsiteX6" fmla="*/ 106774 w 165948"/>
                <a:gd name="connsiteY6" fmla="*/ 234947 h 234947"/>
                <a:gd name="connsiteX0" fmla="*/ 52447 w 165948"/>
                <a:gd name="connsiteY0" fmla="*/ 232390 h 234947"/>
                <a:gd name="connsiteX1" fmla="*/ 2790 w 165948"/>
                <a:gd name="connsiteY1" fmla="*/ 133595 h 234947"/>
                <a:gd name="connsiteX2" fmla="*/ 61195 w 165948"/>
                <a:gd name="connsiteY2" fmla="*/ 0 h 234947"/>
                <a:gd name="connsiteX3" fmla="*/ 164814 w 165948"/>
                <a:gd name="connsiteY3" fmla="*/ 134555 h 234947"/>
                <a:gd name="connsiteX4" fmla="*/ 113008 w 165948"/>
                <a:gd name="connsiteY4" fmla="*/ 233601 h 234947"/>
                <a:gd name="connsiteX5" fmla="*/ 106774 w 165948"/>
                <a:gd name="connsiteY5" fmla="*/ 234947 h 234947"/>
                <a:gd name="connsiteX0" fmla="*/ 52447 w 165948"/>
                <a:gd name="connsiteY0" fmla="*/ 232390 h 233601"/>
                <a:gd name="connsiteX1" fmla="*/ 2790 w 165948"/>
                <a:gd name="connsiteY1" fmla="*/ 133595 h 233601"/>
                <a:gd name="connsiteX2" fmla="*/ 61195 w 165948"/>
                <a:gd name="connsiteY2" fmla="*/ 0 h 233601"/>
                <a:gd name="connsiteX3" fmla="*/ 164814 w 165948"/>
                <a:gd name="connsiteY3" fmla="*/ 134555 h 233601"/>
                <a:gd name="connsiteX4" fmla="*/ 113008 w 165948"/>
                <a:gd name="connsiteY4" fmla="*/ 233601 h 233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948" h="233601">
                  <a:moveTo>
                    <a:pt x="52447" y="232390"/>
                  </a:moveTo>
                  <a:cubicBezTo>
                    <a:pt x="20767" y="216831"/>
                    <a:pt x="-9469" y="179183"/>
                    <a:pt x="2790" y="133595"/>
                  </a:cubicBezTo>
                  <a:cubicBezTo>
                    <a:pt x="19136" y="72811"/>
                    <a:pt x="65684" y="75860"/>
                    <a:pt x="61195" y="0"/>
                  </a:cubicBezTo>
                  <a:cubicBezTo>
                    <a:pt x="108491" y="32481"/>
                    <a:pt x="155169" y="60328"/>
                    <a:pt x="164814" y="134555"/>
                  </a:cubicBezTo>
                  <a:cubicBezTo>
                    <a:pt x="172047" y="190226"/>
                    <a:pt x="143519" y="221185"/>
                    <a:pt x="113008" y="233601"/>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de-DE" sz="1400" dirty="0"/>
            </a:p>
          </p:txBody>
        </p:sp>
        <p:sp>
          <p:nvSpPr>
            <p:cNvPr id="100" name="Freeform: Shape 99">
              <a:extLst>
                <a:ext uri="{FF2B5EF4-FFF2-40B4-BE49-F238E27FC236}">
                  <a16:creationId xmlns:a16="http://schemas.microsoft.com/office/drawing/2014/main" id="{5E46AB38-A9A0-46EF-ADE8-7D2AF83ADD56}"/>
                </a:ext>
              </a:extLst>
            </p:cNvPr>
            <p:cNvSpPr>
              <a:spLocks/>
            </p:cNvSpPr>
            <p:nvPr/>
          </p:nvSpPr>
          <p:spPr bwMode="gray">
            <a:xfrm>
              <a:off x="774027" y="2268409"/>
              <a:ext cx="98324" cy="127256"/>
            </a:xfrm>
            <a:custGeom>
              <a:avLst/>
              <a:gdLst>
                <a:gd name="connsiteX0" fmla="*/ 31007 w 84086"/>
                <a:gd name="connsiteY0" fmla="*/ 0 h 111685"/>
                <a:gd name="connsiteX1" fmla="*/ 83511 w 84086"/>
                <a:gd name="connsiteY1" fmla="*/ 68180 h 111685"/>
                <a:gd name="connsiteX2" fmla="*/ 71752 w 84086"/>
                <a:gd name="connsiteY2" fmla="*/ 108828 h 111685"/>
                <a:gd name="connsiteX3" fmla="*/ 65141 w 84086"/>
                <a:gd name="connsiteY3" fmla="*/ 111685 h 111685"/>
                <a:gd name="connsiteX4" fmla="*/ 64724 w 84086"/>
                <a:gd name="connsiteY4" fmla="*/ 108860 h 111685"/>
                <a:gd name="connsiteX5" fmla="*/ 42043 w 84086"/>
                <a:gd name="connsiteY5" fmla="*/ 82492 h 111685"/>
                <a:gd name="connsiteX6" fmla="*/ 19362 w 84086"/>
                <a:gd name="connsiteY6" fmla="*/ 108860 h 111685"/>
                <a:gd name="connsiteX7" fmla="*/ 19163 w 84086"/>
                <a:gd name="connsiteY7" fmla="*/ 110206 h 111685"/>
                <a:gd name="connsiteX8" fmla="*/ 11537 w 84086"/>
                <a:gd name="connsiteY8" fmla="*/ 106404 h 111685"/>
                <a:gd name="connsiteX9" fmla="*/ 1413 w 84086"/>
                <a:gd name="connsiteY9" fmla="*/ 67693 h 111685"/>
                <a:gd name="connsiteX10" fmla="*/ 31007 w 84086"/>
                <a:gd name="connsiteY10" fmla="*/ 0 h 111685"/>
                <a:gd name="connsiteX0" fmla="*/ 42043 w 133483"/>
                <a:gd name="connsiteY0" fmla="*/ 82492 h 173932"/>
                <a:gd name="connsiteX1" fmla="*/ 19362 w 133483"/>
                <a:gd name="connsiteY1" fmla="*/ 108860 h 173932"/>
                <a:gd name="connsiteX2" fmla="*/ 19163 w 133483"/>
                <a:gd name="connsiteY2" fmla="*/ 110206 h 173932"/>
                <a:gd name="connsiteX3" fmla="*/ 11537 w 133483"/>
                <a:gd name="connsiteY3" fmla="*/ 106404 h 173932"/>
                <a:gd name="connsiteX4" fmla="*/ 1413 w 133483"/>
                <a:gd name="connsiteY4" fmla="*/ 67693 h 173932"/>
                <a:gd name="connsiteX5" fmla="*/ 31007 w 133483"/>
                <a:gd name="connsiteY5" fmla="*/ 0 h 173932"/>
                <a:gd name="connsiteX6" fmla="*/ 83511 w 133483"/>
                <a:gd name="connsiteY6" fmla="*/ 68180 h 173932"/>
                <a:gd name="connsiteX7" fmla="*/ 71752 w 133483"/>
                <a:gd name="connsiteY7" fmla="*/ 108828 h 173932"/>
                <a:gd name="connsiteX8" fmla="*/ 65141 w 133483"/>
                <a:gd name="connsiteY8" fmla="*/ 111685 h 173932"/>
                <a:gd name="connsiteX9" fmla="*/ 64724 w 133483"/>
                <a:gd name="connsiteY9" fmla="*/ 108860 h 173932"/>
                <a:gd name="connsiteX10" fmla="*/ 133483 w 133483"/>
                <a:gd name="connsiteY10" fmla="*/ 173932 h 173932"/>
                <a:gd name="connsiteX0" fmla="*/ 42043 w 84086"/>
                <a:gd name="connsiteY0" fmla="*/ 82492 h 111685"/>
                <a:gd name="connsiteX1" fmla="*/ 19362 w 84086"/>
                <a:gd name="connsiteY1" fmla="*/ 108860 h 111685"/>
                <a:gd name="connsiteX2" fmla="*/ 19163 w 84086"/>
                <a:gd name="connsiteY2" fmla="*/ 110206 h 111685"/>
                <a:gd name="connsiteX3" fmla="*/ 11537 w 84086"/>
                <a:gd name="connsiteY3" fmla="*/ 106404 h 111685"/>
                <a:gd name="connsiteX4" fmla="*/ 1413 w 84086"/>
                <a:gd name="connsiteY4" fmla="*/ 67693 h 111685"/>
                <a:gd name="connsiteX5" fmla="*/ 31007 w 84086"/>
                <a:gd name="connsiteY5" fmla="*/ 0 h 111685"/>
                <a:gd name="connsiteX6" fmla="*/ 83511 w 84086"/>
                <a:gd name="connsiteY6" fmla="*/ 68180 h 111685"/>
                <a:gd name="connsiteX7" fmla="*/ 71752 w 84086"/>
                <a:gd name="connsiteY7" fmla="*/ 108828 h 111685"/>
                <a:gd name="connsiteX8" fmla="*/ 65141 w 84086"/>
                <a:gd name="connsiteY8" fmla="*/ 111685 h 111685"/>
                <a:gd name="connsiteX9" fmla="*/ 64724 w 84086"/>
                <a:gd name="connsiteY9" fmla="*/ 108860 h 111685"/>
                <a:gd name="connsiteX0" fmla="*/ 19362 w 84086"/>
                <a:gd name="connsiteY0" fmla="*/ 108860 h 111685"/>
                <a:gd name="connsiteX1" fmla="*/ 19163 w 84086"/>
                <a:gd name="connsiteY1" fmla="*/ 110206 h 111685"/>
                <a:gd name="connsiteX2" fmla="*/ 11537 w 84086"/>
                <a:gd name="connsiteY2" fmla="*/ 106404 h 111685"/>
                <a:gd name="connsiteX3" fmla="*/ 1413 w 84086"/>
                <a:gd name="connsiteY3" fmla="*/ 67693 h 111685"/>
                <a:gd name="connsiteX4" fmla="*/ 31007 w 84086"/>
                <a:gd name="connsiteY4" fmla="*/ 0 h 111685"/>
                <a:gd name="connsiteX5" fmla="*/ 83511 w 84086"/>
                <a:gd name="connsiteY5" fmla="*/ 68180 h 111685"/>
                <a:gd name="connsiteX6" fmla="*/ 71752 w 84086"/>
                <a:gd name="connsiteY6" fmla="*/ 108828 h 111685"/>
                <a:gd name="connsiteX7" fmla="*/ 65141 w 84086"/>
                <a:gd name="connsiteY7" fmla="*/ 111685 h 111685"/>
                <a:gd name="connsiteX8" fmla="*/ 64724 w 84086"/>
                <a:gd name="connsiteY8" fmla="*/ 108860 h 111685"/>
                <a:gd name="connsiteX0" fmla="*/ 19362 w 84086"/>
                <a:gd name="connsiteY0" fmla="*/ 108860 h 111685"/>
                <a:gd name="connsiteX1" fmla="*/ 19163 w 84086"/>
                <a:gd name="connsiteY1" fmla="*/ 110206 h 111685"/>
                <a:gd name="connsiteX2" fmla="*/ 11537 w 84086"/>
                <a:gd name="connsiteY2" fmla="*/ 106404 h 111685"/>
                <a:gd name="connsiteX3" fmla="*/ 1413 w 84086"/>
                <a:gd name="connsiteY3" fmla="*/ 67693 h 111685"/>
                <a:gd name="connsiteX4" fmla="*/ 31007 w 84086"/>
                <a:gd name="connsiteY4" fmla="*/ 0 h 111685"/>
                <a:gd name="connsiteX5" fmla="*/ 83511 w 84086"/>
                <a:gd name="connsiteY5" fmla="*/ 68180 h 111685"/>
                <a:gd name="connsiteX6" fmla="*/ 71752 w 84086"/>
                <a:gd name="connsiteY6" fmla="*/ 108828 h 111685"/>
                <a:gd name="connsiteX7" fmla="*/ 65141 w 84086"/>
                <a:gd name="connsiteY7" fmla="*/ 111685 h 111685"/>
                <a:gd name="connsiteX0" fmla="*/ 19362 w 84086"/>
                <a:gd name="connsiteY0" fmla="*/ 108860 h 111685"/>
                <a:gd name="connsiteX1" fmla="*/ 11537 w 84086"/>
                <a:gd name="connsiteY1" fmla="*/ 106404 h 111685"/>
                <a:gd name="connsiteX2" fmla="*/ 1413 w 84086"/>
                <a:gd name="connsiteY2" fmla="*/ 67693 h 111685"/>
                <a:gd name="connsiteX3" fmla="*/ 31007 w 84086"/>
                <a:gd name="connsiteY3" fmla="*/ 0 h 111685"/>
                <a:gd name="connsiteX4" fmla="*/ 83511 w 84086"/>
                <a:gd name="connsiteY4" fmla="*/ 68180 h 111685"/>
                <a:gd name="connsiteX5" fmla="*/ 71752 w 84086"/>
                <a:gd name="connsiteY5" fmla="*/ 108828 h 111685"/>
                <a:gd name="connsiteX6" fmla="*/ 65141 w 84086"/>
                <a:gd name="connsiteY6" fmla="*/ 111685 h 111685"/>
                <a:gd name="connsiteX0" fmla="*/ 11537 w 84086"/>
                <a:gd name="connsiteY0" fmla="*/ 106404 h 111685"/>
                <a:gd name="connsiteX1" fmla="*/ 1413 w 84086"/>
                <a:gd name="connsiteY1" fmla="*/ 67693 h 111685"/>
                <a:gd name="connsiteX2" fmla="*/ 31007 w 84086"/>
                <a:gd name="connsiteY2" fmla="*/ 0 h 111685"/>
                <a:gd name="connsiteX3" fmla="*/ 83511 w 84086"/>
                <a:gd name="connsiteY3" fmla="*/ 68180 h 111685"/>
                <a:gd name="connsiteX4" fmla="*/ 71752 w 84086"/>
                <a:gd name="connsiteY4" fmla="*/ 108828 h 111685"/>
                <a:gd name="connsiteX5" fmla="*/ 65141 w 84086"/>
                <a:gd name="connsiteY5" fmla="*/ 111685 h 111685"/>
                <a:gd name="connsiteX0" fmla="*/ 11537 w 84086"/>
                <a:gd name="connsiteY0" fmla="*/ 106404 h 108828"/>
                <a:gd name="connsiteX1" fmla="*/ 1413 w 84086"/>
                <a:gd name="connsiteY1" fmla="*/ 67693 h 108828"/>
                <a:gd name="connsiteX2" fmla="*/ 31007 w 84086"/>
                <a:gd name="connsiteY2" fmla="*/ 0 h 108828"/>
                <a:gd name="connsiteX3" fmla="*/ 83511 w 84086"/>
                <a:gd name="connsiteY3" fmla="*/ 68180 h 108828"/>
                <a:gd name="connsiteX4" fmla="*/ 71752 w 84086"/>
                <a:gd name="connsiteY4" fmla="*/ 108828 h 108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86" h="108828">
                  <a:moveTo>
                    <a:pt x="11537" y="106404"/>
                  </a:moveTo>
                  <a:cubicBezTo>
                    <a:pt x="2701" y="96705"/>
                    <a:pt x="-2728" y="83093"/>
                    <a:pt x="1413" y="67693"/>
                  </a:cubicBezTo>
                  <a:cubicBezTo>
                    <a:pt x="9696" y="36894"/>
                    <a:pt x="33282" y="38439"/>
                    <a:pt x="31007" y="0"/>
                  </a:cubicBezTo>
                  <a:cubicBezTo>
                    <a:pt x="54972" y="16458"/>
                    <a:pt x="78625" y="30569"/>
                    <a:pt x="83511" y="68180"/>
                  </a:cubicBezTo>
                  <a:cubicBezTo>
                    <a:pt x="85955" y="86986"/>
                    <a:pt x="80345" y="100226"/>
                    <a:pt x="71752" y="108828"/>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de-DE" sz="1400" dirty="0"/>
            </a:p>
          </p:txBody>
        </p:sp>
      </p:grpSp>
      <p:grpSp>
        <p:nvGrpSpPr>
          <p:cNvPr id="168" name="Group 167">
            <a:extLst>
              <a:ext uri="{FF2B5EF4-FFF2-40B4-BE49-F238E27FC236}">
                <a16:creationId xmlns:a16="http://schemas.microsoft.com/office/drawing/2014/main" id="{D837AC52-8987-45CA-8BD5-982583D5DC31}"/>
              </a:ext>
            </a:extLst>
          </p:cNvPr>
          <p:cNvGrpSpPr/>
          <p:nvPr/>
        </p:nvGrpSpPr>
        <p:grpSpPr bwMode="gray">
          <a:xfrm>
            <a:off x="329870" y="4812937"/>
            <a:ext cx="257883" cy="185008"/>
            <a:chOff x="455178" y="2728270"/>
            <a:chExt cx="410542" cy="294526"/>
          </a:xfrm>
        </p:grpSpPr>
        <p:sp>
          <p:nvSpPr>
            <p:cNvPr id="169" name="Oval 28">
              <a:extLst>
                <a:ext uri="{FF2B5EF4-FFF2-40B4-BE49-F238E27FC236}">
                  <a16:creationId xmlns:a16="http://schemas.microsoft.com/office/drawing/2014/main" id="{DF01AC43-6A65-4D5E-827E-494DA555F0CD}"/>
                </a:ext>
              </a:extLst>
            </p:cNvPr>
            <p:cNvSpPr/>
            <p:nvPr/>
          </p:nvSpPr>
          <p:spPr bwMode="gray">
            <a:xfrm>
              <a:off x="455178" y="2728270"/>
              <a:ext cx="164715" cy="72483"/>
            </a:xfrm>
            <a:custGeom>
              <a:avLst/>
              <a:gdLst/>
              <a:ahLst/>
              <a:cxnLst/>
              <a:rect l="l" t="t" r="r" b="b"/>
              <a:pathLst>
                <a:path w="440842" h="193992">
                  <a:moveTo>
                    <a:pt x="220421" y="0"/>
                  </a:moveTo>
                  <a:cubicBezTo>
                    <a:pt x="253725" y="0"/>
                    <a:pt x="285304" y="3250"/>
                    <a:pt x="313465" y="9772"/>
                  </a:cubicBezTo>
                  <a:cubicBezTo>
                    <a:pt x="331415" y="13121"/>
                    <a:pt x="347902" y="18060"/>
                    <a:pt x="362477" y="24314"/>
                  </a:cubicBezTo>
                  <a:cubicBezTo>
                    <a:pt x="399375" y="36607"/>
                    <a:pt x="425619" y="55316"/>
                    <a:pt x="435827" y="76686"/>
                  </a:cubicBezTo>
                  <a:lnTo>
                    <a:pt x="435827" y="76686"/>
                  </a:lnTo>
                  <a:lnTo>
                    <a:pt x="435828" y="76688"/>
                  </a:lnTo>
                  <a:cubicBezTo>
                    <a:pt x="439162" y="83189"/>
                    <a:pt x="440842" y="90006"/>
                    <a:pt x="440842" y="96996"/>
                  </a:cubicBezTo>
                  <a:cubicBezTo>
                    <a:pt x="440842" y="115122"/>
                    <a:pt x="429543" y="132088"/>
                    <a:pt x="408408" y="144614"/>
                  </a:cubicBezTo>
                  <a:lnTo>
                    <a:pt x="402009" y="129165"/>
                  </a:lnTo>
                  <a:cubicBezTo>
                    <a:pt x="414505" y="119836"/>
                    <a:pt x="421199" y="108722"/>
                    <a:pt x="421199" y="96997"/>
                  </a:cubicBezTo>
                  <a:lnTo>
                    <a:pt x="419233" y="89384"/>
                  </a:lnTo>
                  <a:cubicBezTo>
                    <a:pt x="416379" y="74433"/>
                    <a:pt x="402003" y="60947"/>
                    <a:pt x="379180" y="51612"/>
                  </a:cubicBezTo>
                  <a:lnTo>
                    <a:pt x="351360" y="39262"/>
                  </a:lnTo>
                  <a:lnTo>
                    <a:pt x="307685" y="27768"/>
                  </a:lnTo>
                  <a:cubicBezTo>
                    <a:pt x="282236" y="22420"/>
                    <a:pt x="253589" y="19773"/>
                    <a:pt x="223358" y="19773"/>
                  </a:cubicBezTo>
                  <a:lnTo>
                    <a:pt x="146349" y="25842"/>
                  </a:lnTo>
                  <a:lnTo>
                    <a:pt x="83463" y="42391"/>
                  </a:lnTo>
                  <a:lnTo>
                    <a:pt x="41065" y="66938"/>
                  </a:lnTo>
                  <a:lnTo>
                    <a:pt x="29537" y="81434"/>
                  </a:lnTo>
                  <a:lnTo>
                    <a:pt x="25517" y="96997"/>
                  </a:lnTo>
                  <a:lnTo>
                    <a:pt x="29537" y="112560"/>
                  </a:lnTo>
                  <a:lnTo>
                    <a:pt x="41065" y="127056"/>
                  </a:lnTo>
                  <a:lnTo>
                    <a:pt x="83463" y="151603"/>
                  </a:lnTo>
                  <a:lnTo>
                    <a:pt x="146349" y="168152"/>
                  </a:lnTo>
                  <a:cubicBezTo>
                    <a:pt x="170019" y="172060"/>
                    <a:pt x="196042" y="174221"/>
                    <a:pt x="223358" y="174221"/>
                  </a:cubicBezTo>
                  <a:lnTo>
                    <a:pt x="283068" y="170388"/>
                  </a:lnTo>
                  <a:lnTo>
                    <a:pt x="313106" y="163841"/>
                  </a:lnTo>
                  <a:cubicBezTo>
                    <a:pt x="321436" y="163174"/>
                    <a:pt x="329152" y="161052"/>
                    <a:pt x="336471" y="158651"/>
                  </a:cubicBezTo>
                  <a:lnTo>
                    <a:pt x="336471" y="177394"/>
                  </a:lnTo>
                  <a:lnTo>
                    <a:pt x="334294" y="177894"/>
                  </a:lnTo>
                  <a:lnTo>
                    <a:pt x="334294" y="178040"/>
                  </a:lnTo>
                  <a:lnTo>
                    <a:pt x="305383" y="184536"/>
                  </a:lnTo>
                  <a:cubicBezTo>
                    <a:pt x="297763" y="187433"/>
                    <a:pt x="289629" y="188848"/>
                    <a:pt x="281272" y="189953"/>
                  </a:cubicBezTo>
                  <a:cubicBezTo>
                    <a:pt x="261994" y="192683"/>
                    <a:pt x="241555" y="193992"/>
                    <a:pt x="220421" y="193992"/>
                  </a:cubicBezTo>
                  <a:cubicBezTo>
                    <a:pt x="159554" y="193992"/>
                    <a:pt x="104449" y="183135"/>
                    <a:pt x="64560" y="165582"/>
                  </a:cubicBezTo>
                  <a:cubicBezTo>
                    <a:pt x="24672" y="148030"/>
                    <a:pt x="0" y="123781"/>
                    <a:pt x="0" y="96996"/>
                  </a:cubicBezTo>
                  <a:cubicBezTo>
                    <a:pt x="0" y="83604"/>
                    <a:pt x="6168" y="70845"/>
                    <a:pt x="17322" y="59241"/>
                  </a:cubicBezTo>
                  <a:cubicBezTo>
                    <a:pt x="28476" y="47637"/>
                    <a:pt x="44616" y="37186"/>
                    <a:pt x="64560" y="28410"/>
                  </a:cubicBezTo>
                  <a:cubicBezTo>
                    <a:pt x="104448" y="10857"/>
                    <a:pt x="159554" y="0"/>
                    <a:pt x="220421" y="0"/>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sp>
          <p:nvSpPr>
            <p:cNvPr id="170" name="Freeform: Shape 169">
              <a:extLst>
                <a:ext uri="{FF2B5EF4-FFF2-40B4-BE49-F238E27FC236}">
                  <a16:creationId xmlns:a16="http://schemas.microsoft.com/office/drawing/2014/main" id="{41CCD7EB-EE5B-4312-B071-80B5424797E4}"/>
                </a:ext>
              </a:extLst>
            </p:cNvPr>
            <p:cNvSpPr/>
            <p:nvPr/>
          </p:nvSpPr>
          <p:spPr bwMode="gray">
            <a:xfrm>
              <a:off x="582487" y="2739562"/>
              <a:ext cx="283233" cy="283234"/>
            </a:xfrm>
            <a:custGeom>
              <a:avLst/>
              <a:gdLst>
                <a:gd name="connsiteX0" fmla="*/ 36147 w 283233"/>
                <a:gd name="connsiteY0" fmla="*/ 21141 h 283234"/>
                <a:gd name="connsiteX1" fmla="*/ 25536 w 283233"/>
                <a:gd name="connsiteY1" fmla="*/ 25536 h 283234"/>
                <a:gd name="connsiteX2" fmla="*/ 25536 w 283233"/>
                <a:gd name="connsiteY2" fmla="*/ 46758 h 283234"/>
                <a:gd name="connsiteX3" fmla="*/ 46759 w 283233"/>
                <a:gd name="connsiteY3" fmla="*/ 46758 h 283234"/>
                <a:gd name="connsiteX4" fmla="*/ 46759 w 283233"/>
                <a:gd name="connsiteY4" fmla="*/ 25536 h 283234"/>
                <a:gd name="connsiteX5" fmla="*/ 36147 w 283233"/>
                <a:gd name="connsiteY5" fmla="*/ 21141 h 283234"/>
                <a:gd name="connsiteX6" fmla="*/ 28703 w 283233"/>
                <a:gd name="connsiteY6" fmla="*/ 0 h 283234"/>
                <a:gd name="connsiteX7" fmla="*/ 111052 w 283233"/>
                <a:gd name="connsiteY7" fmla="*/ 0 h 283234"/>
                <a:gd name="connsiteX8" fmla="*/ 283233 w 283233"/>
                <a:gd name="connsiteY8" fmla="*/ 172182 h 283234"/>
                <a:gd name="connsiteX9" fmla="*/ 172182 w 283233"/>
                <a:gd name="connsiteY9" fmla="*/ 283234 h 283234"/>
                <a:gd name="connsiteX10" fmla="*/ 0 w 283233"/>
                <a:gd name="connsiteY10" fmla="*/ 111052 h 283234"/>
                <a:gd name="connsiteX11" fmla="*/ 0 w 283233"/>
                <a:gd name="connsiteY11" fmla="*/ 28703 h 28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3233" h="283234">
                  <a:moveTo>
                    <a:pt x="36147" y="21141"/>
                  </a:moveTo>
                  <a:cubicBezTo>
                    <a:pt x="32307" y="21141"/>
                    <a:pt x="28466" y="22606"/>
                    <a:pt x="25536" y="25536"/>
                  </a:cubicBezTo>
                  <a:cubicBezTo>
                    <a:pt x="19676" y="31396"/>
                    <a:pt x="19676" y="40898"/>
                    <a:pt x="25536" y="46758"/>
                  </a:cubicBezTo>
                  <a:cubicBezTo>
                    <a:pt x="31397" y="52619"/>
                    <a:pt x="40898" y="52619"/>
                    <a:pt x="46759" y="46758"/>
                  </a:cubicBezTo>
                  <a:cubicBezTo>
                    <a:pt x="52619" y="40898"/>
                    <a:pt x="52619" y="31396"/>
                    <a:pt x="46759" y="25536"/>
                  </a:cubicBezTo>
                  <a:cubicBezTo>
                    <a:pt x="43829" y="22606"/>
                    <a:pt x="39988" y="21141"/>
                    <a:pt x="36147" y="21141"/>
                  </a:cubicBezTo>
                  <a:close/>
                  <a:moveTo>
                    <a:pt x="28703" y="0"/>
                  </a:moveTo>
                  <a:lnTo>
                    <a:pt x="111052" y="0"/>
                  </a:lnTo>
                  <a:lnTo>
                    <a:pt x="283233" y="172182"/>
                  </a:lnTo>
                  <a:lnTo>
                    <a:pt x="172182" y="283234"/>
                  </a:lnTo>
                  <a:lnTo>
                    <a:pt x="0" y="111052"/>
                  </a:lnTo>
                  <a:lnTo>
                    <a:pt x="0" y="28703"/>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grpSp>
      <p:grpSp>
        <p:nvGrpSpPr>
          <p:cNvPr id="171" name="Group 170">
            <a:extLst>
              <a:ext uri="{FF2B5EF4-FFF2-40B4-BE49-F238E27FC236}">
                <a16:creationId xmlns:a16="http://schemas.microsoft.com/office/drawing/2014/main" id="{44BEC18A-1B94-4E70-AB8D-71C4958DD02A}"/>
              </a:ext>
            </a:extLst>
          </p:cNvPr>
          <p:cNvGrpSpPr/>
          <p:nvPr/>
        </p:nvGrpSpPr>
        <p:grpSpPr bwMode="gray">
          <a:xfrm>
            <a:off x="340461" y="3022313"/>
            <a:ext cx="236701" cy="284834"/>
            <a:chOff x="1173940" y="2927540"/>
            <a:chExt cx="262629" cy="316036"/>
          </a:xfrm>
        </p:grpSpPr>
        <p:sp>
          <p:nvSpPr>
            <p:cNvPr id="172" name="Freeform: Shape 171">
              <a:extLst>
                <a:ext uri="{FF2B5EF4-FFF2-40B4-BE49-F238E27FC236}">
                  <a16:creationId xmlns:a16="http://schemas.microsoft.com/office/drawing/2014/main" id="{61EDEB40-6D2D-4F87-A67E-4D0473065EE9}"/>
                </a:ext>
              </a:extLst>
            </p:cNvPr>
            <p:cNvSpPr/>
            <p:nvPr/>
          </p:nvSpPr>
          <p:spPr bwMode="gray">
            <a:xfrm flipH="1">
              <a:off x="1332174" y="3069160"/>
              <a:ext cx="101951" cy="41204"/>
            </a:xfrm>
            <a:custGeom>
              <a:avLst/>
              <a:gdLst>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8708 w 297254"/>
                <a:gd name="connsiteY12" fmla="*/ 257973 h 921450"/>
                <a:gd name="connsiteX13" fmla="*/ 226749 w 297254"/>
                <a:gd name="connsiteY13" fmla="*/ 254635 h 921450"/>
                <a:gd name="connsiteX14" fmla="*/ 226749 w 297254"/>
                <a:gd name="connsiteY14" fmla="*/ 76034 h 921450"/>
                <a:gd name="connsiteX15" fmla="*/ 150714 w 297254"/>
                <a:gd name="connsiteY15"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6749 w 297254"/>
                <a:gd name="connsiteY12" fmla="*/ 254635 h 921450"/>
                <a:gd name="connsiteX13" fmla="*/ 226749 w 297254"/>
                <a:gd name="connsiteY13" fmla="*/ 76034 h 921450"/>
                <a:gd name="connsiteX14" fmla="*/ 150714 w 297254"/>
                <a:gd name="connsiteY14"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0 w 297254"/>
                <a:gd name="connsiteY7" fmla="*/ 921450 h 921450"/>
                <a:gd name="connsiteX8" fmla="*/ 297254 w 297254"/>
                <a:gd name="connsiteY8" fmla="*/ 921450 h 921450"/>
                <a:gd name="connsiteX9" fmla="*/ 297254 w 297254"/>
                <a:gd name="connsiteY9" fmla="*/ 374772 h 921450"/>
                <a:gd name="connsiteX10" fmla="*/ 297254 w 297254"/>
                <a:gd name="connsiteY10" fmla="*/ 372716 h 921450"/>
                <a:gd name="connsiteX11" fmla="*/ 226749 w 297254"/>
                <a:gd name="connsiteY11" fmla="*/ 254635 h 921450"/>
                <a:gd name="connsiteX12" fmla="*/ 226749 w 297254"/>
                <a:gd name="connsiteY12" fmla="*/ 76034 h 921450"/>
                <a:gd name="connsiteX13" fmla="*/ 150714 w 297254"/>
                <a:gd name="connsiteY13"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11" fmla="*/ 226749 w 297254"/>
                <a:gd name="connsiteY11" fmla="*/ 76034 h 921450"/>
                <a:gd name="connsiteX12" fmla="*/ 150714 w 297254"/>
                <a:gd name="connsiteY12" fmla="*/ 0 h 921450"/>
                <a:gd name="connsiteX0" fmla="*/ 150714 w 297254"/>
                <a:gd name="connsiteY0" fmla="*/ 0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10" fmla="*/ 226749 w 297254"/>
                <a:gd name="connsiteY10" fmla="*/ 76034 h 374772"/>
                <a:gd name="connsiteX11" fmla="*/ 150714 w 297254"/>
                <a:gd name="connsiteY11" fmla="*/ 0 h 374772"/>
                <a:gd name="connsiteX0" fmla="*/ 150714 w 297254"/>
                <a:gd name="connsiteY0" fmla="*/ 0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10" fmla="*/ 150714 w 297254"/>
                <a:gd name="connsiteY10" fmla="*/ 0 h 374772"/>
                <a:gd name="connsiteX0" fmla="*/ 226749 w 297254"/>
                <a:gd name="connsiteY0" fmla="*/ 254635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0" fmla="*/ 226749 w 297254"/>
                <a:gd name="connsiteY0" fmla="*/ 254635 h 374772"/>
                <a:gd name="connsiteX1" fmla="*/ 148627 w 297254"/>
                <a:gd name="connsiteY1" fmla="*/ 421 h 374772"/>
                <a:gd name="connsiteX2" fmla="*/ 146540 w 297254"/>
                <a:gd name="connsiteY2" fmla="*/ 0 h 374772"/>
                <a:gd name="connsiteX3" fmla="*/ 70505 w 297254"/>
                <a:gd name="connsiteY3" fmla="*/ 254635 h 374772"/>
                <a:gd name="connsiteX4" fmla="*/ 0 w 297254"/>
                <a:gd name="connsiteY4" fmla="*/ 372716 h 374772"/>
                <a:gd name="connsiteX5" fmla="*/ 0 w 297254"/>
                <a:gd name="connsiteY5" fmla="*/ 374772 h 374772"/>
                <a:gd name="connsiteX6" fmla="*/ 297254 w 297254"/>
                <a:gd name="connsiteY6" fmla="*/ 374772 h 374772"/>
                <a:gd name="connsiteX7" fmla="*/ 297254 w 297254"/>
                <a:gd name="connsiteY7" fmla="*/ 372716 h 374772"/>
                <a:gd name="connsiteX8" fmla="*/ 226749 w 297254"/>
                <a:gd name="connsiteY8" fmla="*/ 254635 h 374772"/>
                <a:gd name="connsiteX0" fmla="*/ 226749 w 297254"/>
                <a:gd name="connsiteY0" fmla="*/ 254215 h 374352"/>
                <a:gd name="connsiteX1" fmla="*/ 148627 w 297254"/>
                <a:gd name="connsiteY1" fmla="*/ 1 h 374352"/>
                <a:gd name="connsiteX2" fmla="*/ 70505 w 297254"/>
                <a:gd name="connsiteY2" fmla="*/ 254215 h 374352"/>
                <a:gd name="connsiteX3" fmla="*/ 0 w 297254"/>
                <a:gd name="connsiteY3" fmla="*/ 372296 h 374352"/>
                <a:gd name="connsiteX4" fmla="*/ 0 w 297254"/>
                <a:gd name="connsiteY4" fmla="*/ 374352 h 374352"/>
                <a:gd name="connsiteX5" fmla="*/ 297254 w 297254"/>
                <a:gd name="connsiteY5" fmla="*/ 374352 h 374352"/>
                <a:gd name="connsiteX6" fmla="*/ 297254 w 297254"/>
                <a:gd name="connsiteY6" fmla="*/ 372296 h 374352"/>
                <a:gd name="connsiteX7" fmla="*/ 226749 w 297254"/>
                <a:gd name="connsiteY7" fmla="*/ 254215 h 374352"/>
                <a:gd name="connsiteX0" fmla="*/ 226749 w 297254"/>
                <a:gd name="connsiteY0" fmla="*/ -1 h 120136"/>
                <a:gd name="connsiteX1" fmla="*/ 70505 w 297254"/>
                <a:gd name="connsiteY1" fmla="*/ -1 h 120136"/>
                <a:gd name="connsiteX2" fmla="*/ 0 w 297254"/>
                <a:gd name="connsiteY2" fmla="*/ 118080 h 120136"/>
                <a:gd name="connsiteX3" fmla="*/ 0 w 297254"/>
                <a:gd name="connsiteY3" fmla="*/ 120136 h 120136"/>
                <a:gd name="connsiteX4" fmla="*/ 297254 w 297254"/>
                <a:gd name="connsiteY4" fmla="*/ 120136 h 120136"/>
                <a:gd name="connsiteX5" fmla="*/ 297254 w 297254"/>
                <a:gd name="connsiteY5" fmla="*/ 118080 h 120136"/>
                <a:gd name="connsiteX6" fmla="*/ 226749 w 297254"/>
                <a:gd name="connsiteY6" fmla="*/ -1 h 120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54" h="120136">
                  <a:moveTo>
                    <a:pt x="226749" y="-1"/>
                  </a:moveTo>
                  <a:lnTo>
                    <a:pt x="70505" y="-1"/>
                  </a:lnTo>
                  <a:lnTo>
                    <a:pt x="0" y="118080"/>
                  </a:lnTo>
                  <a:lnTo>
                    <a:pt x="0" y="120136"/>
                  </a:lnTo>
                  <a:lnTo>
                    <a:pt x="297254" y="120136"/>
                  </a:lnTo>
                  <a:lnTo>
                    <a:pt x="297254" y="118080"/>
                  </a:lnTo>
                  <a:lnTo>
                    <a:pt x="226749" y="-1"/>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73" name="Freeform: Shape 172">
              <a:extLst>
                <a:ext uri="{FF2B5EF4-FFF2-40B4-BE49-F238E27FC236}">
                  <a16:creationId xmlns:a16="http://schemas.microsoft.com/office/drawing/2014/main" id="{3451F402-C3F0-4910-9449-D75396CEAB53}"/>
                </a:ext>
              </a:extLst>
            </p:cNvPr>
            <p:cNvSpPr/>
            <p:nvPr/>
          </p:nvSpPr>
          <p:spPr bwMode="gray">
            <a:xfrm flipH="1">
              <a:off x="1356355" y="2927540"/>
              <a:ext cx="53588" cy="144484"/>
            </a:xfrm>
            <a:custGeom>
              <a:avLst/>
              <a:gdLst>
                <a:gd name="connsiteX0" fmla="*/ 27510 w 53588"/>
                <a:gd name="connsiteY0" fmla="*/ 0 h 144484"/>
                <a:gd name="connsiteX1" fmla="*/ 26794 w 53588"/>
                <a:gd name="connsiteY1" fmla="*/ 145 h 144484"/>
                <a:gd name="connsiteX2" fmla="*/ 26078 w 53588"/>
                <a:gd name="connsiteY2" fmla="*/ 0 h 144484"/>
                <a:gd name="connsiteX3" fmla="*/ 0 w 53588"/>
                <a:gd name="connsiteY3" fmla="*/ 26078 h 144484"/>
                <a:gd name="connsiteX4" fmla="*/ 0 w 53588"/>
                <a:gd name="connsiteY4" fmla="*/ 83228 h 144484"/>
                <a:gd name="connsiteX5" fmla="*/ 0 w 53588"/>
                <a:gd name="connsiteY5" fmla="*/ 87334 h 144484"/>
                <a:gd name="connsiteX6" fmla="*/ 0 w 53588"/>
                <a:gd name="connsiteY6" fmla="*/ 144484 h 144484"/>
                <a:gd name="connsiteX7" fmla="*/ 53588 w 53588"/>
                <a:gd name="connsiteY7" fmla="*/ 144484 h 144484"/>
                <a:gd name="connsiteX8" fmla="*/ 53588 w 53588"/>
                <a:gd name="connsiteY8" fmla="*/ 87334 h 144484"/>
                <a:gd name="connsiteX9" fmla="*/ 53588 w 53588"/>
                <a:gd name="connsiteY9" fmla="*/ 83228 h 144484"/>
                <a:gd name="connsiteX10" fmla="*/ 53588 w 53588"/>
                <a:gd name="connsiteY10" fmla="*/ 26078 h 144484"/>
                <a:gd name="connsiteX11" fmla="*/ 27510 w 53588"/>
                <a:gd name="connsiteY11" fmla="*/ 0 h 14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588" h="144484">
                  <a:moveTo>
                    <a:pt x="27510" y="0"/>
                  </a:moveTo>
                  <a:lnTo>
                    <a:pt x="26794" y="145"/>
                  </a:lnTo>
                  <a:lnTo>
                    <a:pt x="26078" y="0"/>
                  </a:lnTo>
                  <a:cubicBezTo>
                    <a:pt x="11675" y="0"/>
                    <a:pt x="0" y="11676"/>
                    <a:pt x="0" y="26078"/>
                  </a:cubicBezTo>
                  <a:lnTo>
                    <a:pt x="0" y="83228"/>
                  </a:lnTo>
                  <a:lnTo>
                    <a:pt x="0" y="87334"/>
                  </a:lnTo>
                  <a:lnTo>
                    <a:pt x="0" y="144484"/>
                  </a:lnTo>
                  <a:lnTo>
                    <a:pt x="53588" y="144484"/>
                  </a:lnTo>
                  <a:lnTo>
                    <a:pt x="53588" y="87334"/>
                  </a:lnTo>
                  <a:lnTo>
                    <a:pt x="53588" y="83228"/>
                  </a:lnTo>
                  <a:lnTo>
                    <a:pt x="53588" y="26078"/>
                  </a:lnTo>
                  <a:cubicBezTo>
                    <a:pt x="53588" y="11676"/>
                    <a:pt x="41912" y="0"/>
                    <a:pt x="27510" y="0"/>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74" name="Freeform: Shape 173">
              <a:extLst>
                <a:ext uri="{FF2B5EF4-FFF2-40B4-BE49-F238E27FC236}">
                  <a16:creationId xmlns:a16="http://schemas.microsoft.com/office/drawing/2014/main" id="{C62330BE-05DC-441A-A4B1-DF7B737A37DD}"/>
                </a:ext>
              </a:extLst>
            </p:cNvPr>
            <p:cNvSpPr/>
            <p:nvPr/>
          </p:nvSpPr>
          <p:spPr bwMode="gray">
            <a:xfrm flipH="1">
              <a:off x="1329729" y="3111496"/>
              <a:ext cx="106840" cy="56114"/>
            </a:xfrm>
            <a:custGeom>
              <a:avLst/>
              <a:gdLst>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8708 w 297254"/>
                <a:gd name="connsiteY12" fmla="*/ 257973 h 921450"/>
                <a:gd name="connsiteX13" fmla="*/ 226749 w 297254"/>
                <a:gd name="connsiteY13" fmla="*/ 254635 h 921450"/>
                <a:gd name="connsiteX14" fmla="*/ 226749 w 297254"/>
                <a:gd name="connsiteY14" fmla="*/ 76034 h 921450"/>
                <a:gd name="connsiteX15" fmla="*/ 150714 w 297254"/>
                <a:gd name="connsiteY15"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6749 w 297254"/>
                <a:gd name="connsiteY12" fmla="*/ 254635 h 921450"/>
                <a:gd name="connsiteX13" fmla="*/ 226749 w 297254"/>
                <a:gd name="connsiteY13" fmla="*/ 76034 h 921450"/>
                <a:gd name="connsiteX14" fmla="*/ 150714 w 297254"/>
                <a:gd name="connsiteY14"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0 w 297254"/>
                <a:gd name="connsiteY7" fmla="*/ 921450 h 921450"/>
                <a:gd name="connsiteX8" fmla="*/ 297254 w 297254"/>
                <a:gd name="connsiteY8" fmla="*/ 921450 h 921450"/>
                <a:gd name="connsiteX9" fmla="*/ 297254 w 297254"/>
                <a:gd name="connsiteY9" fmla="*/ 374772 h 921450"/>
                <a:gd name="connsiteX10" fmla="*/ 297254 w 297254"/>
                <a:gd name="connsiteY10" fmla="*/ 372716 h 921450"/>
                <a:gd name="connsiteX11" fmla="*/ 226749 w 297254"/>
                <a:gd name="connsiteY11" fmla="*/ 254635 h 921450"/>
                <a:gd name="connsiteX12" fmla="*/ 226749 w 297254"/>
                <a:gd name="connsiteY12" fmla="*/ 76034 h 921450"/>
                <a:gd name="connsiteX13" fmla="*/ 150714 w 297254"/>
                <a:gd name="connsiteY13"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254635 h 921450"/>
                <a:gd name="connsiteX4" fmla="*/ 0 w 297254"/>
                <a:gd name="connsiteY4" fmla="*/ 372716 h 921450"/>
                <a:gd name="connsiteX5" fmla="*/ 0 w 297254"/>
                <a:gd name="connsiteY5" fmla="*/ 374772 h 921450"/>
                <a:gd name="connsiteX6" fmla="*/ 0 w 297254"/>
                <a:gd name="connsiteY6" fmla="*/ 921450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11" fmla="*/ 226749 w 297254"/>
                <a:gd name="connsiteY11" fmla="*/ 76034 h 921450"/>
                <a:gd name="connsiteX12" fmla="*/ 150714 w 297254"/>
                <a:gd name="connsiteY12" fmla="*/ 0 h 921450"/>
                <a:gd name="connsiteX0" fmla="*/ 226749 w 297254"/>
                <a:gd name="connsiteY0" fmla="*/ 76034 h 921450"/>
                <a:gd name="connsiteX1" fmla="*/ 148627 w 297254"/>
                <a:gd name="connsiteY1" fmla="*/ 421 h 921450"/>
                <a:gd name="connsiteX2" fmla="*/ 146540 w 297254"/>
                <a:gd name="connsiteY2" fmla="*/ 0 h 921450"/>
                <a:gd name="connsiteX3" fmla="*/ 70505 w 297254"/>
                <a:gd name="connsiteY3" fmla="*/ 254635 h 921450"/>
                <a:gd name="connsiteX4" fmla="*/ 0 w 297254"/>
                <a:gd name="connsiteY4" fmla="*/ 372716 h 921450"/>
                <a:gd name="connsiteX5" fmla="*/ 0 w 297254"/>
                <a:gd name="connsiteY5" fmla="*/ 374772 h 921450"/>
                <a:gd name="connsiteX6" fmla="*/ 0 w 297254"/>
                <a:gd name="connsiteY6" fmla="*/ 921450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11" fmla="*/ 226749 w 297254"/>
                <a:gd name="connsiteY11" fmla="*/ 76034 h 921450"/>
                <a:gd name="connsiteX0" fmla="*/ 226749 w 297254"/>
                <a:gd name="connsiteY0" fmla="*/ 254635 h 921450"/>
                <a:gd name="connsiteX1" fmla="*/ 148627 w 297254"/>
                <a:gd name="connsiteY1" fmla="*/ 421 h 921450"/>
                <a:gd name="connsiteX2" fmla="*/ 146540 w 297254"/>
                <a:gd name="connsiteY2" fmla="*/ 0 h 921450"/>
                <a:gd name="connsiteX3" fmla="*/ 70505 w 297254"/>
                <a:gd name="connsiteY3" fmla="*/ 254635 h 921450"/>
                <a:gd name="connsiteX4" fmla="*/ 0 w 297254"/>
                <a:gd name="connsiteY4" fmla="*/ 372716 h 921450"/>
                <a:gd name="connsiteX5" fmla="*/ 0 w 297254"/>
                <a:gd name="connsiteY5" fmla="*/ 374772 h 921450"/>
                <a:gd name="connsiteX6" fmla="*/ 0 w 297254"/>
                <a:gd name="connsiteY6" fmla="*/ 921450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0" fmla="*/ 226749 w 297254"/>
                <a:gd name="connsiteY0" fmla="*/ 254215 h 921030"/>
                <a:gd name="connsiteX1" fmla="*/ 148627 w 297254"/>
                <a:gd name="connsiteY1" fmla="*/ 1 h 921030"/>
                <a:gd name="connsiteX2" fmla="*/ 70505 w 297254"/>
                <a:gd name="connsiteY2" fmla="*/ 254215 h 921030"/>
                <a:gd name="connsiteX3" fmla="*/ 0 w 297254"/>
                <a:gd name="connsiteY3" fmla="*/ 372296 h 921030"/>
                <a:gd name="connsiteX4" fmla="*/ 0 w 297254"/>
                <a:gd name="connsiteY4" fmla="*/ 374352 h 921030"/>
                <a:gd name="connsiteX5" fmla="*/ 0 w 297254"/>
                <a:gd name="connsiteY5" fmla="*/ 921030 h 921030"/>
                <a:gd name="connsiteX6" fmla="*/ 297254 w 297254"/>
                <a:gd name="connsiteY6" fmla="*/ 921030 h 921030"/>
                <a:gd name="connsiteX7" fmla="*/ 297254 w 297254"/>
                <a:gd name="connsiteY7" fmla="*/ 374352 h 921030"/>
                <a:gd name="connsiteX8" fmla="*/ 297254 w 297254"/>
                <a:gd name="connsiteY8" fmla="*/ 372296 h 921030"/>
                <a:gd name="connsiteX9" fmla="*/ 226749 w 297254"/>
                <a:gd name="connsiteY9" fmla="*/ 254215 h 921030"/>
                <a:gd name="connsiteX0" fmla="*/ 226749 w 297254"/>
                <a:gd name="connsiteY0" fmla="*/ 0 h 666815"/>
                <a:gd name="connsiteX1" fmla="*/ 70505 w 297254"/>
                <a:gd name="connsiteY1" fmla="*/ 0 h 666815"/>
                <a:gd name="connsiteX2" fmla="*/ 0 w 297254"/>
                <a:gd name="connsiteY2" fmla="*/ 118081 h 666815"/>
                <a:gd name="connsiteX3" fmla="*/ 0 w 297254"/>
                <a:gd name="connsiteY3" fmla="*/ 120137 h 666815"/>
                <a:gd name="connsiteX4" fmla="*/ 0 w 297254"/>
                <a:gd name="connsiteY4" fmla="*/ 666815 h 666815"/>
                <a:gd name="connsiteX5" fmla="*/ 297254 w 297254"/>
                <a:gd name="connsiteY5" fmla="*/ 666815 h 666815"/>
                <a:gd name="connsiteX6" fmla="*/ 297254 w 297254"/>
                <a:gd name="connsiteY6" fmla="*/ 120137 h 666815"/>
                <a:gd name="connsiteX7" fmla="*/ 297254 w 297254"/>
                <a:gd name="connsiteY7" fmla="*/ 118081 h 666815"/>
                <a:gd name="connsiteX8" fmla="*/ 226749 w 297254"/>
                <a:gd name="connsiteY8" fmla="*/ 0 h 666815"/>
                <a:gd name="connsiteX0" fmla="*/ 226749 w 297254"/>
                <a:gd name="connsiteY0" fmla="*/ 0 h 666815"/>
                <a:gd name="connsiteX1" fmla="*/ 0 w 297254"/>
                <a:gd name="connsiteY1" fmla="*/ 118081 h 666815"/>
                <a:gd name="connsiteX2" fmla="*/ 0 w 297254"/>
                <a:gd name="connsiteY2" fmla="*/ 120137 h 666815"/>
                <a:gd name="connsiteX3" fmla="*/ 0 w 297254"/>
                <a:gd name="connsiteY3" fmla="*/ 666815 h 666815"/>
                <a:gd name="connsiteX4" fmla="*/ 297254 w 297254"/>
                <a:gd name="connsiteY4" fmla="*/ 666815 h 666815"/>
                <a:gd name="connsiteX5" fmla="*/ 297254 w 297254"/>
                <a:gd name="connsiteY5" fmla="*/ 120137 h 666815"/>
                <a:gd name="connsiteX6" fmla="*/ 297254 w 297254"/>
                <a:gd name="connsiteY6" fmla="*/ 118081 h 666815"/>
                <a:gd name="connsiteX7" fmla="*/ 226749 w 297254"/>
                <a:gd name="connsiteY7" fmla="*/ 0 h 666815"/>
                <a:gd name="connsiteX0" fmla="*/ 297254 w 297254"/>
                <a:gd name="connsiteY0" fmla="*/ 0 h 548734"/>
                <a:gd name="connsiteX1" fmla="*/ 0 w 297254"/>
                <a:gd name="connsiteY1" fmla="*/ 0 h 548734"/>
                <a:gd name="connsiteX2" fmla="*/ 0 w 297254"/>
                <a:gd name="connsiteY2" fmla="*/ 2056 h 548734"/>
                <a:gd name="connsiteX3" fmla="*/ 0 w 297254"/>
                <a:gd name="connsiteY3" fmla="*/ 548734 h 548734"/>
                <a:gd name="connsiteX4" fmla="*/ 297254 w 297254"/>
                <a:gd name="connsiteY4" fmla="*/ 548734 h 548734"/>
                <a:gd name="connsiteX5" fmla="*/ 297254 w 297254"/>
                <a:gd name="connsiteY5" fmla="*/ 2056 h 548734"/>
                <a:gd name="connsiteX6" fmla="*/ 297254 w 297254"/>
                <a:gd name="connsiteY6" fmla="*/ 0 h 548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54" h="548734">
                  <a:moveTo>
                    <a:pt x="297254" y="0"/>
                  </a:moveTo>
                  <a:lnTo>
                    <a:pt x="0" y="0"/>
                  </a:lnTo>
                  <a:lnTo>
                    <a:pt x="0" y="2056"/>
                  </a:lnTo>
                  <a:lnTo>
                    <a:pt x="0" y="548734"/>
                  </a:lnTo>
                  <a:lnTo>
                    <a:pt x="297254" y="548734"/>
                  </a:lnTo>
                  <a:lnTo>
                    <a:pt x="297254" y="2056"/>
                  </a:lnTo>
                  <a:lnTo>
                    <a:pt x="297254" y="0"/>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75" name="Freeform: Shape 174">
              <a:extLst>
                <a:ext uri="{FF2B5EF4-FFF2-40B4-BE49-F238E27FC236}">
                  <a16:creationId xmlns:a16="http://schemas.microsoft.com/office/drawing/2014/main" id="{A1FF03AD-C0FC-4487-9B85-7D4FE139CDF0}"/>
                </a:ext>
              </a:extLst>
            </p:cNvPr>
            <p:cNvSpPr/>
            <p:nvPr/>
          </p:nvSpPr>
          <p:spPr bwMode="gray">
            <a:xfrm rot="10800000" flipH="1">
              <a:off x="1356355" y="3203087"/>
              <a:ext cx="53588" cy="40489"/>
            </a:xfrm>
            <a:custGeom>
              <a:avLst/>
              <a:gdLst>
                <a:gd name="connsiteX0" fmla="*/ 0 w 53588"/>
                <a:gd name="connsiteY0" fmla="*/ 40489 h 40489"/>
                <a:gd name="connsiteX1" fmla="*/ 53588 w 53588"/>
                <a:gd name="connsiteY1" fmla="*/ 40489 h 40489"/>
                <a:gd name="connsiteX2" fmla="*/ 53588 w 53588"/>
                <a:gd name="connsiteY2" fmla="*/ 26078 h 40489"/>
                <a:gd name="connsiteX3" fmla="*/ 27510 w 53588"/>
                <a:gd name="connsiteY3" fmla="*/ 0 h 40489"/>
                <a:gd name="connsiteX4" fmla="*/ 26794 w 53588"/>
                <a:gd name="connsiteY4" fmla="*/ 145 h 40489"/>
                <a:gd name="connsiteX5" fmla="*/ 26078 w 53588"/>
                <a:gd name="connsiteY5" fmla="*/ 0 h 40489"/>
                <a:gd name="connsiteX6" fmla="*/ 0 w 53588"/>
                <a:gd name="connsiteY6" fmla="*/ 26078 h 4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588" h="40489">
                  <a:moveTo>
                    <a:pt x="0" y="40489"/>
                  </a:moveTo>
                  <a:lnTo>
                    <a:pt x="53588" y="40489"/>
                  </a:lnTo>
                  <a:lnTo>
                    <a:pt x="53588" y="26078"/>
                  </a:lnTo>
                  <a:cubicBezTo>
                    <a:pt x="53588" y="11676"/>
                    <a:pt x="41912" y="0"/>
                    <a:pt x="27510" y="0"/>
                  </a:cubicBezTo>
                  <a:lnTo>
                    <a:pt x="26794" y="145"/>
                  </a:lnTo>
                  <a:lnTo>
                    <a:pt x="26078" y="0"/>
                  </a:lnTo>
                  <a:cubicBezTo>
                    <a:pt x="11675" y="0"/>
                    <a:pt x="0" y="11676"/>
                    <a:pt x="0" y="26078"/>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76" name="Freeform: Shape 175">
              <a:extLst>
                <a:ext uri="{FF2B5EF4-FFF2-40B4-BE49-F238E27FC236}">
                  <a16:creationId xmlns:a16="http://schemas.microsoft.com/office/drawing/2014/main" id="{FE59FE6B-F436-42D7-B4A2-C85DC06223CE}"/>
                </a:ext>
              </a:extLst>
            </p:cNvPr>
            <p:cNvSpPr/>
            <p:nvPr/>
          </p:nvSpPr>
          <p:spPr bwMode="gray">
            <a:xfrm rot="10800000" flipH="1">
              <a:off x="1332174" y="3164746"/>
              <a:ext cx="101951" cy="41204"/>
            </a:xfrm>
            <a:custGeom>
              <a:avLst/>
              <a:gdLst>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8708 w 297254"/>
                <a:gd name="connsiteY12" fmla="*/ 257973 h 921450"/>
                <a:gd name="connsiteX13" fmla="*/ 226749 w 297254"/>
                <a:gd name="connsiteY13" fmla="*/ 254635 h 921450"/>
                <a:gd name="connsiteX14" fmla="*/ 226749 w 297254"/>
                <a:gd name="connsiteY14" fmla="*/ 76034 h 921450"/>
                <a:gd name="connsiteX15" fmla="*/ 150714 w 297254"/>
                <a:gd name="connsiteY15"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6749 w 297254"/>
                <a:gd name="connsiteY12" fmla="*/ 254635 h 921450"/>
                <a:gd name="connsiteX13" fmla="*/ 226749 w 297254"/>
                <a:gd name="connsiteY13" fmla="*/ 76034 h 921450"/>
                <a:gd name="connsiteX14" fmla="*/ 150714 w 297254"/>
                <a:gd name="connsiteY14"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0 w 297254"/>
                <a:gd name="connsiteY7" fmla="*/ 921450 h 921450"/>
                <a:gd name="connsiteX8" fmla="*/ 297254 w 297254"/>
                <a:gd name="connsiteY8" fmla="*/ 921450 h 921450"/>
                <a:gd name="connsiteX9" fmla="*/ 297254 w 297254"/>
                <a:gd name="connsiteY9" fmla="*/ 374772 h 921450"/>
                <a:gd name="connsiteX10" fmla="*/ 297254 w 297254"/>
                <a:gd name="connsiteY10" fmla="*/ 372716 h 921450"/>
                <a:gd name="connsiteX11" fmla="*/ 226749 w 297254"/>
                <a:gd name="connsiteY11" fmla="*/ 254635 h 921450"/>
                <a:gd name="connsiteX12" fmla="*/ 226749 w 297254"/>
                <a:gd name="connsiteY12" fmla="*/ 76034 h 921450"/>
                <a:gd name="connsiteX13" fmla="*/ 150714 w 297254"/>
                <a:gd name="connsiteY13"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11" fmla="*/ 226749 w 297254"/>
                <a:gd name="connsiteY11" fmla="*/ 76034 h 921450"/>
                <a:gd name="connsiteX12" fmla="*/ 150714 w 297254"/>
                <a:gd name="connsiteY12" fmla="*/ 0 h 921450"/>
                <a:gd name="connsiteX0" fmla="*/ 150714 w 297254"/>
                <a:gd name="connsiteY0" fmla="*/ 0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10" fmla="*/ 226749 w 297254"/>
                <a:gd name="connsiteY10" fmla="*/ 76034 h 374772"/>
                <a:gd name="connsiteX11" fmla="*/ 150714 w 297254"/>
                <a:gd name="connsiteY11" fmla="*/ 0 h 374772"/>
                <a:gd name="connsiteX0" fmla="*/ 150714 w 297254"/>
                <a:gd name="connsiteY0" fmla="*/ 0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10" fmla="*/ 150714 w 297254"/>
                <a:gd name="connsiteY10" fmla="*/ 0 h 374772"/>
                <a:gd name="connsiteX0" fmla="*/ 226749 w 297254"/>
                <a:gd name="connsiteY0" fmla="*/ 254635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0" fmla="*/ 226749 w 297254"/>
                <a:gd name="connsiteY0" fmla="*/ 254635 h 374772"/>
                <a:gd name="connsiteX1" fmla="*/ 148627 w 297254"/>
                <a:gd name="connsiteY1" fmla="*/ 421 h 374772"/>
                <a:gd name="connsiteX2" fmla="*/ 146540 w 297254"/>
                <a:gd name="connsiteY2" fmla="*/ 0 h 374772"/>
                <a:gd name="connsiteX3" fmla="*/ 70505 w 297254"/>
                <a:gd name="connsiteY3" fmla="*/ 254635 h 374772"/>
                <a:gd name="connsiteX4" fmla="*/ 0 w 297254"/>
                <a:gd name="connsiteY4" fmla="*/ 372716 h 374772"/>
                <a:gd name="connsiteX5" fmla="*/ 0 w 297254"/>
                <a:gd name="connsiteY5" fmla="*/ 374772 h 374772"/>
                <a:gd name="connsiteX6" fmla="*/ 297254 w 297254"/>
                <a:gd name="connsiteY6" fmla="*/ 374772 h 374772"/>
                <a:gd name="connsiteX7" fmla="*/ 297254 w 297254"/>
                <a:gd name="connsiteY7" fmla="*/ 372716 h 374772"/>
                <a:gd name="connsiteX8" fmla="*/ 226749 w 297254"/>
                <a:gd name="connsiteY8" fmla="*/ 254635 h 374772"/>
                <a:gd name="connsiteX0" fmla="*/ 226749 w 297254"/>
                <a:gd name="connsiteY0" fmla="*/ 254215 h 374352"/>
                <a:gd name="connsiteX1" fmla="*/ 148627 w 297254"/>
                <a:gd name="connsiteY1" fmla="*/ 1 h 374352"/>
                <a:gd name="connsiteX2" fmla="*/ 70505 w 297254"/>
                <a:gd name="connsiteY2" fmla="*/ 254215 h 374352"/>
                <a:gd name="connsiteX3" fmla="*/ 0 w 297254"/>
                <a:gd name="connsiteY3" fmla="*/ 372296 h 374352"/>
                <a:gd name="connsiteX4" fmla="*/ 0 w 297254"/>
                <a:gd name="connsiteY4" fmla="*/ 374352 h 374352"/>
                <a:gd name="connsiteX5" fmla="*/ 297254 w 297254"/>
                <a:gd name="connsiteY5" fmla="*/ 374352 h 374352"/>
                <a:gd name="connsiteX6" fmla="*/ 297254 w 297254"/>
                <a:gd name="connsiteY6" fmla="*/ 372296 h 374352"/>
                <a:gd name="connsiteX7" fmla="*/ 226749 w 297254"/>
                <a:gd name="connsiteY7" fmla="*/ 254215 h 374352"/>
                <a:gd name="connsiteX0" fmla="*/ 226749 w 297254"/>
                <a:gd name="connsiteY0" fmla="*/ -1 h 120136"/>
                <a:gd name="connsiteX1" fmla="*/ 70505 w 297254"/>
                <a:gd name="connsiteY1" fmla="*/ -1 h 120136"/>
                <a:gd name="connsiteX2" fmla="*/ 0 w 297254"/>
                <a:gd name="connsiteY2" fmla="*/ 118080 h 120136"/>
                <a:gd name="connsiteX3" fmla="*/ 0 w 297254"/>
                <a:gd name="connsiteY3" fmla="*/ 120136 h 120136"/>
                <a:gd name="connsiteX4" fmla="*/ 297254 w 297254"/>
                <a:gd name="connsiteY4" fmla="*/ 120136 h 120136"/>
                <a:gd name="connsiteX5" fmla="*/ 297254 w 297254"/>
                <a:gd name="connsiteY5" fmla="*/ 118080 h 120136"/>
                <a:gd name="connsiteX6" fmla="*/ 226749 w 297254"/>
                <a:gd name="connsiteY6" fmla="*/ -1 h 120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54" h="120136">
                  <a:moveTo>
                    <a:pt x="226749" y="-1"/>
                  </a:moveTo>
                  <a:lnTo>
                    <a:pt x="70505" y="-1"/>
                  </a:lnTo>
                  <a:lnTo>
                    <a:pt x="0" y="118080"/>
                  </a:lnTo>
                  <a:lnTo>
                    <a:pt x="0" y="120136"/>
                  </a:lnTo>
                  <a:lnTo>
                    <a:pt x="297254" y="120136"/>
                  </a:lnTo>
                  <a:lnTo>
                    <a:pt x="297254" y="118080"/>
                  </a:lnTo>
                  <a:lnTo>
                    <a:pt x="226749" y="-1"/>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77" name="Rectangle: Rounded Corners 176">
              <a:extLst>
                <a:ext uri="{FF2B5EF4-FFF2-40B4-BE49-F238E27FC236}">
                  <a16:creationId xmlns:a16="http://schemas.microsoft.com/office/drawing/2014/main" id="{0B28CB2D-08CB-4AE8-8215-CDBF9B6EA22D}"/>
                </a:ext>
              </a:extLst>
            </p:cNvPr>
            <p:cNvSpPr/>
            <p:nvPr/>
          </p:nvSpPr>
          <p:spPr bwMode="gray">
            <a:xfrm>
              <a:off x="1173940" y="2927540"/>
              <a:ext cx="93712" cy="316036"/>
            </a:xfrm>
            <a:prstGeom prst="roundRect">
              <a:avLst>
                <a:gd name="adj" fmla="val 43902"/>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178" name="Straight Connector 177">
              <a:extLst>
                <a:ext uri="{FF2B5EF4-FFF2-40B4-BE49-F238E27FC236}">
                  <a16:creationId xmlns:a16="http://schemas.microsoft.com/office/drawing/2014/main" id="{F0A38E3D-55EA-4667-8EA5-3EB53814B44D}"/>
                </a:ext>
              </a:extLst>
            </p:cNvPr>
            <p:cNvCxnSpPr>
              <a:cxnSpLocks/>
            </p:cNvCxnSpPr>
            <p:nvPr/>
          </p:nvCxnSpPr>
          <p:spPr bwMode="gray">
            <a:xfrm>
              <a:off x="1273219" y="3213899"/>
              <a:ext cx="83136"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nvGrpSpPr>
            <p:cNvPr id="179" name="Group 178">
              <a:extLst>
                <a:ext uri="{FF2B5EF4-FFF2-40B4-BE49-F238E27FC236}">
                  <a16:creationId xmlns:a16="http://schemas.microsoft.com/office/drawing/2014/main" id="{0610C1F8-B5A9-4945-9560-5BF39141645A}"/>
                </a:ext>
              </a:extLst>
            </p:cNvPr>
            <p:cNvGrpSpPr/>
            <p:nvPr/>
          </p:nvGrpSpPr>
          <p:grpSpPr bwMode="gray">
            <a:xfrm>
              <a:off x="1303940" y="2975429"/>
              <a:ext cx="49167" cy="25594"/>
              <a:chOff x="10831038" y="4082947"/>
              <a:chExt cx="318025" cy="165549"/>
            </a:xfrm>
          </p:grpSpPr>
          <p:sp>
            <p:nvSpPr>
              <p:cNvPr id="183" name="Arc 182">
                <a:extLst>
                  <a:ext uri="{FF2B5EF4-FFF2-40B4-BE49-F238E27FC236}">
                    <a16:creationId xmlns:a16="http://schemas.microsoft.com/office/drawing/2014/main" id="{DB97A1B8-83EB-46D6-BA6E-9E6718900BBB}"/>
                  </a:ext>
                </a:extLst>
              </p:cNvPr>
              <p:cNvSpPr/>
              <p:nvPr/>
            </p:nvSpPr>
            <p:spPr bwMode="gray">
              <a:xfrm>
                <a:off x="10831038" y="4082947"/>
                <a:ext cx="165549" cy="165549"/>
              </a:xfrm>
              <a:prstGeom prst="arc">
                <a:avLst>
                  <a:gd name="adj1" fmla="val 11037066"/>
                  <a:gd name="adj2" fmla="val 16279283"/>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184" name="Straight Connector 183">
                <a:extLst>
                  <a:ext uri="{FF2B5EF4-FFF2-40B4-BE49-F238E27FC236}">
                    <a16:creationId xmlns:a16="http://schemas.microsoft.com/office/drawing/2014/main" id="{6E238CFE-C330-4070-85A5-0D9DA87D985A}"/>
                  </a:ext>
                </a:extLst>
              </p:cNvPr>
              <p:cNvCxnSpPr>
                <a:cxnSpLocks/>
              </p:cNvCxnSpPr>
              <p:nvPr/>
            </p:nvCxnSpPr>
            <p:spPr bwMode="gray">
              <a:xfrm>
                <a:off x="10912849" y="4082947"/>
                <a:ext cx="236214"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sp>
          <p:nvSpPr>
            <p:cNvPr id="180" name="Arc 179">
              <a:extLst>
                <a:ext uri="{FF2B5EF4-FFF2-40B4-BE49-F238E27FC236}">
                  <a16:creationId xmlns:a16="http://schemas.microsoft.com/office/drawing/2014/main" id="{36073068-EEB7-4025-9766-10C77A46CD12}"/>
                </a:ext>
              </a:extLst>
            </p:cNvPr>
            <p:cNvSpPr/>
            <p:nvPr/>
          </p:nvSpPr>
          <p:spPr bwMode="gray">
            <a:xfrm rot="10800000">
              <a:off x="1278338" y="3157022"/>
              <a:ext cx="25594" cy="25594"/>
            </a:xfrm>
            <a:prstGeom prst="arc">
              <a:avLst>
                <a:gd name="adj1" fmla="val 11037066"/>
                <a:gd name="adj2" fmla="val 16279283"/>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181" name="Straight Connector 180">
              <a:extLst>
                <a:ext uri="{FF2B5EF4-FFF2-40B4-BE49-F238E27FC236}">
                  <a16:creationId xmlns:a16="http://schemas.microsoft.com/office/drawing/2014/main" id="{C6B8B738-7F82-4374-AB39-9D2B2A32BEE8}"/>
                </a:ext>
              </a:extLst>
            </p:cNvPr>
            <p:cNvCxnSpPr>
              <a:cxnSpLocks/>
              <a:stCxn id="180" idx="0"/>
              <a:endCxn id="183" idx="0"/>
            </p:cNvCxnSpPr>
            <p:nvPr/>
          </p:nvCxnSpPr>
          <p:spPr bwMode="gray">
            <a:xfrm flipV="1">
              <a:off x="1303902" y="2987344"/>
              <a:ext cx="68" cy="183357"/>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82" name="Straight Connector 181">
              <a:extLst>
                <a:ext uri="{FF2B5EF4-FFF2-40B4-BE49-F238E27FC236}">
                  <a16:creationId xmlns:a16="http://schemas.microsoft.com/office/drawing/2014/main" id="{106BD535-1D0D-402A-8EE8-69F3B0051FAA}"/>
                </a:ext>
              </a:extLst>
            </p:cNvPr>
            <p:cNvCxnSpPr>
              <a:cxnSpLocks/>
            </p:cNvCxnSpPr>
            <p:nvPr/>
          </p:nvCxnSpPr>
          <p:spPr bwMode="gray">
            <a:xfrm flipH="1">
              <a:off x="1267782" y="3182616"/>
              <a:ext cx="23503"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spTree>
    <p:custDataLst>
      <p:tags r:id="rId1"/>
    </p:custDataLst>
    <p:extLst>
      <p:ext uri="{BB962C8B-B14F-4D97-AF65-F5344CB8AC3E}">
        <p14:creationId xmlns:p14="http://schemas.microsoft.com/office/powerpoint/2010/main" val="7329470"/>
      </p:ext>
    </p:extLst>
  </p:cSld>
  <p:clrMapOvr>
    <a:masterClrMapping/>
  </p:clrMapOvr>
  <mc:AlternateContent xmlns:mc="http://schemas.openxmlformats.org/markup-compatibility/2006" xmlns:p14="http://schemas.microsoft.com/office/powerpoint/2010/main">
    <mc:Choice Requires="p14">
      <p:transition spd="med" p14:dur="700" advTm="218065">
        <p:fade/>
      </p:transition>
    </mc:Choice>
    <mc:Fallback xmlns="">
      <p:transition spd="med" advTm="21806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1000"/>
                                        <p:tgtEl>
                                          <p:spTgt spid="38"/>
                                        </p:tgtEl>
                                      </p:cBhvr>
                                    </p:animEffect>
                                    <p:anim calcmode="lin" valueType="num">
                                      <p:cBhvr>
                                        <p:cTn id="8" dur="1000" fill="hold"/>
                                        <p:tgtEl>
                                          <p:spTgt spid="38"/>
                                        </p:tgtEl>
                                        <p:attrNameLst>
                                          <p:attrName>ppt_x</p:attrName>
                                        </p:attrNameLst>
                                      </p:cBhvr>
                                      <p:tavLst>
                                        <p:tav tm="0">
                                          <p:val>
                                            <p:strVal val="#ppt_x"/>
                                          </p:val>
                                        </p:tav>
                                        <p:tav tm="100000">
                                          <p:val>
                                            <p:strVal val="#ppt_x"/>
                                          </p:val>
                                        </p:tav>
                                      </p:tavLst>
                                    </p:anim>
                                    <p:anim calcmode="lin" valueType="num">
                                      <p:cBhvr>
                                        <p:cTn id="9" dur="1000" fill="hold"/>
                                        <p:tgtEl>
                                          <p:spTgt spid="3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1000"/>
                                        <p:tgtEl>
                                          <p:spTgt spid="42"/>
                                        </p:tgtEl>
                                      </p:cBhvr>
                                    </p:animEffect>
                                    <p:anim calcmode="lin" valueType="num">
                                      <p:cBhvr>
                                        <p:cTn id="13" dur="1000" fill="hold"/>
                                        <p:tgtEl>
                                          <p:spTgt spid="42"/>
                                        </p:tgtEl>
                                        <p:attrNameLst>
                                          <p:attrName>ppt_x</p:attrName>
                                        </p:attrNameLst>
                                      </p:cBhvr>
                                      <p:tavLst>
                                        <p:tav tm="0">
                                          <p:val>
                                            <p:strVal val="#ppt_x"/>
                                          </p:val>
                                        </p:tav>
                                        <p:tav tm="100000">
                                          <p:val>
                                            <p:strVal val="#ppt_x"/>
                                          </p:val>
                                        </p:tav>
                                      </p:tavLst>
                                    </p:anim>
                                    <p:anim calcmode="lin" valueType="num">
                                      <p:cBhvr>
                                        <p:cTn id="14" dur="1000" fill="hold"/>
                                        <p:tgtEl>
                                          <p:spTgt spid="42"/>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1000"/>
                                        <p:tgtEl>
                                          <p:spTgt spid="51"/>
                                        </p:tgtEl>
                                      </p:cBhvr>
                                    </p:animEffect>
                                    <p:anim calcmode="lin" valueType="num">
                                      <p:cBhvr>
                                        <p:cTn id="18" dur="1000" fill="hold"/>
                                        <p:tgtEl>
                                          <p:spTgt spid="51"/>
                                        </p:tgtEl>
                                        <p:attrNameLst>
                                          <p:attrName>ppt_x</p:attrName>
                                        </p:attrNameLst>
                                      </p:cBhvr>
                                      <p:tavLst>
                                        <p:tav tm="0">
                                          <p:val>
                                            <p:strVal val="#ppt_x"/>
                                          </p:val>
                                        </p:tav>
                                        <p:tav tm="100000">
                                          <p:val>
                                            <p:strVal val="#ppt_x"/>
                                          </p:val>
                                        </p:tav>
                                      </p:tavLst>
                                    </p:anim>
                                    <p:anim calcmode="lin" valueType="num">
                                      <p:cBhvr>
                                        <p:cTn id="19" dur="1000" fill="hold"/>
                                        <p:tgtEl>
                                          <p:spTgt spid="5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1000"/>
                                        <p:tgtEl>
                                          <p:spTgt spid="52"/>
                                        </p:tgtEl>
                                      </p:cBhvr>
                                    </p:animEffect>
                                    <p:anim calcmode="lin" valueType="num">
                                      <p:cBhvr>
                                        <p:cTn id="23" dur="1000" fill="hold"/>
                                        <p:tgtEl>
                                          <p:spTgt spid="52"/>
                                        </p:tgtEl>
                                        <p:attrNameLst>
                                          <p:attrName>ppt_x</p:attrName>
                                        </p:attrNameLst>
                                      </p:cBhvr>
                                      <p:tavLst>
                                        <p:tav tm="0">
                                          <p:val>
                                            <p:strVal val="#ppt_x"/>
                                          </p:val>
                                        </p:tav>
                                        <p:tav tm="100000">
                                          <p:val>
                                            <p:strVal val="#ppt_x"/>
                                          </p:val>
                                        </p:tav>
                                      </p:tavLst>
                                    </p:anim>
                                    <p:anim calcmode="lin" valueType="num">
                                      <p:cBhvr>
                                        <p:cTn id="24" dur="1000" fill="hold"/>
                                        <p:tgtEl>
                                          <p:spTgt spid="52"/>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58"/>
                                        </p:tgtEl>
                                        <p:attrNameLst>
                                          <p:attrName>style.visibility</p:attrName>
                                        </p:attrNameLst>
                                      </p:cBhvr>
                                      <p:to>
                                        <p:strVal val="visible"/>
                                      </p:to>
                                    </p:set>
                                    <p:animEffect transition="in" filter="fade">
                                      <p:cBhvr>
                                        <p:cTn id="27" dur="1000"/>
                                        <p:tgtEl>
                                          <p:spTgt spid="58"/>
                                        </p:tgtEl>
                                      </p:cBhvr>
                                    </p:animEffect>
                                    <p:anim calcmode="lin" valueType="num">
                                      <p:cBhvr>
                                        <p:cTn id="28" dur="1000" fill="hold"/>
                                        <p:tgtEl>
                                          <p:spTgt spid="58"/>
                                        </p:tgtEl>
                                        <p:attrNameLst>
                                          <p:attrName>ppt_x</p:attrName>
                                        </p:attrNameLst>
                                      </p:cBhvr>
                                      <p:tavLst>
                                        <p:tav tm="0">
                                          <p:val>
                                            <p:strVal val="#ppt_x"/>
                                          </p:val>
                                        </p:tav>
                                        <p:tav tm="100000">
                                          <p:val>
                                            <p:strVal val="#ppt_x"/>
                                          </p:val>
                                        </p:tav>
                                      </p:tavLst>
                                    </p:anim>
                                    <p:anim calcmode="lin" valueType="num">
                                      <p:cBhvr>
                                        <p:cTn id="29" dur="1000" fill="hold"/>
                                        <p:tgtEl>
                                          <p:spTgt spid="58"/>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98"/>
                                        </p:tgtEl>
                                        <p:attrNameLst>
                                          <p:attrName>style.visibility</p:attrName>
                                        </p:attrNameLst>
                                      </p:cBhvr>
                                      <p:to>
                                        <p:strVal val="visible"/>
                                      </p:to>
                                    </p:set>
                                    <p:animEffect transition="in" filter="fade">
                                      <p:cBhvr>
                                        <p:cTn id="32" dur="1000"/>
                                        <p:tgtEl>
                                          <p:spTgt spid="98"/>
                                        </p:tgtEl>
                                      </p:cBhvr>
                                    </p:animEffect>
                                    <p:anim calcmode="lin" valueType="num">
                                      <p:cBhvr>
                                        <p:cTn id="33" dur="1000" fill="hold"/>
                                        <p:tgtEl>
                                          <p:spTgt spid="98"/>
                                        </p:tgtEl>
                                        <p:attrNameLst>
                                          <p:attrName>ppt_x</p:attrName>
                                        </p:attrNameLst>
                                      </p:cBhvr>
                                      <p:tavLst>
                                        <p:tav tm="0">
                                          <p:val>
                                            <p:strVal val="#ppt_x"/>
                                          </p:val>
                                        </p:tav>
                                        <p:tav tm="100000">
                                          <p:val>
                                            <p:strVal val="#ppt_x"/>
                                          </p:val>
                                        </p:tav>
                                      </p:tavLst>
                                    </p:anim>
                                    <p:anim calcmode="lin" valueType="num">
                                      <p:cBhvr>
                                        <p:cTn id="34" dur="1000" fill="hold"/>
                                        <p:tgtEl>
                                          <p:spTgt spid="98"/>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grpId="0" nodeType="clickEffect">
                                  <p:stCondLst>
                                    <p:cond delay="0"/>
                                  </p:stCondLst>
                                  <p:childTnLst>
                                    <p:set>
                                      <p:cBhvr>
                                        <p:cTn id="38" dur="1" fill="hold">
                                          <p:stCondLst>
                                            <p:cond delay="0"/>
                                          </p:stCondLst>
                                        </p:cTn>
                                        <p:tgtEl>
                                          <p:spTgt spid="43"/>
                                        </p:tgtEl>
                                        <p:attrNameLst>
                                          <p:attrName>style.visibility</p:attrName>
                                        </p:attrNameLst>
                                      </p:cBhvr>
                                      <p:to>
                                        <p:strVal val="visible"/>
                                      </p:to>
                                    </p:set>
                                    <p:animEffect transition="in" filter="fade">
                                      <p:cBhvr>
                                        <p:cTn id="39" dur="1000"/>
                                        <p:tgtEl>
                                          <p:spTgt spid="43"/>
                                        </p:tgtEl>
                                      </p:cBhvr>
                                    </p:animEffect>
                                    <p:anim calcmode="lin" valueType="num">
                                      <p:cBhvr>
                                        <p:cTn id="40" dur="1000" fill="hold"/>
                                        <p:tgtEl>
                                          <p:spTgt spid="43"/>
                                        </p:tgtEl>
                                        <p:attrNameLst>
                                          <p:attrName>ppt_x</p:attrName>
                                        </p:attrNameLst>
                                      </p:cBhvr>
                                      <p:tavLst>
                                        <p:tav tm="0">
                                          <p:val>
                                            <p:strVal val="#ppt_x"/>
                                          </p:val>
                                        </p:tav>
                                        <p:tav tm="100000">
                                          <p:val>
                                            <p:strVal val="#ppt_x"/>
                                          </p:val>
                                        </p:tav>
                                      </p:tavLst>
                                    </p:anim>
                                    <p:anim calcmode="lin" valueType="num">
                                      <p:cBhvr>
                                        <p:cTn id="41" dur="1000" fill="hold"/>
                                        <p:tgtEl>
                                          <p:spTgt spid="43"/>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47"/>
                                        </p:tgtEl>
                                        <p:attrNameLst>
                                          <p:attrName>style.visibility</p:attrName>
                                        </p:attrNameLst>
                                      </p:cBhvr>
                                      <p:to>
                                        <p:strVal val="visible"/>
                                      </p:to>
                                    </p:set>
                                    <p:animEffect transition="in" filter="fade">
                                      <p:cBhvr>
                                        <p:cTn id="44" dur="1000"/>
                                        <p:tgtEl>
                                          <p:spTgt spid="47"/>
                                        </p:tgtEl>
                                      </p:cBhvr>
                                    </p:animEffect>
                                    <p:anim calcmode="lin" valueType="num">
                                      <p:cBhvr>
                                        <p:cTn id="45" dur="1000" fill="hold"/>
                                        <p:tgtEl>
                                          <p:spTgt spid="47"/>
                                        </p:tgtEl>
                                        <p:attrNameLst>
                                          <p:attrName>ppt_x</p:attrName>
                                        </p:attrNameLst>
                                      </p:cBhvr>
                                      <p:tavLst>
                                        <p:tav tm="0">
                                          <p:val>
                                            <p:strVal val="#ppt_x"/>
                                          </p:val>
                                        </p:tav>
                                        <p:tav tm="100000">
                                          <p:val>
                                            <p:strVal val="#ppt_x"/>
                                          </p:val>
                                        </p:tav>
                                      </p:tavLst>
                                    </p:anim>
                                    <p:anim calcmode="lin" valueType="num">
                                      <p:cBhvr>
                                        <p:cTn id="46" dur="1000" fill="hold"/>
                                        <p:tgtEl>
                                          <p:spTgt spid="47"/>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48"/>
                                        </p:tgtEl>
                                        <p:attrNameLst>
                                          <p:attrName>style.visibility</p:attrName>
                                        </p:attrNameLst>
                                      </p:cBhvr>
                                      <p:to>
                                        <p:strVal val="visible"/>
                                      </p:to>
                                    </p:set>
                                    <p:animEffect transition="in" filter="fade">
                                      <p:cBhvr>
                                        <p:cTn id="49" dur="1000"/>
                                        <p:tgtEl>
                                          <p:spTgt spid="48"/>
                                        </p:tgtEl>
                                      </p:cBhvr>
                                    </p:animEffect>
                                    <p:anim calcmode="lin" valueType="num">
                                      <p:cBhvr>
                                        <p:cTn id="50" dur="1000" fill="hold"/>
                                        <p:tgtEl>
                                          <p:spTgt spid="48"/>
                                        </p:tgtEl>
                                        <p:attrNameLst>
                                          <p:attrName>ppt_x</p:attrName>
                                        </p:attrNameLst>
                                      </p:cBhvr>
                                      <p:tavLst>
                                        <p:tav tm="0">
                                          <p:val>
                                            <p:strVal val="#ppt_x"/>
                                          </p:val>
                                        </p:tav>
                                        <p:tav tm="100000">
                                          <p:val>
                                            <p:strVal val="#ppt_x"/>
                                          </p:val>
                                        </p:tav>
                                      </p:tavLst>
                                    </p:anim>
                                    <p:anim calcmode="lin" valueType="num">
                                      <p:cBhvr>
                                        <p:cTn id="51" dur="1000" fill="hold"/>
                                        <p:tgtEl>
                                          <p:spTgt spid="48"/>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59"/>
                                        </p:tgtEl>
                                        <p:attrNameLst>
                                          <p:attrName>style.visibility</p:attrName>
                                        </p:attrNameLst>
                                      </p:cBhvr>
                                      <p:to>
                                        <p:strVal val="visible"/>
                                      </p:to>
                                    </p:set>
                                    <p:animEffect transition="in" filter="fade">
                                      <p:cBhvr>
                                        <p:cTn id="54" dur="1000"/>
                                        <p:tgtEl>
                                          <p:spTgt spid="59"/>
                                        </p:tgtEl>
                                      </p:cBhvr>
                                    </p:animEffect>
                                    <p:anim calcmode="lin" valueType="num">
                                      <p:cBhvr>
                                        <p:cTn id="55" dur="1000" fill="hold"/>
                                        <p:tgtEl>
                                          <p:spTgt spid="59"/>
                                        </p:tgtEl>
                                        <p:attrNameLst>
                                          <p:attrName>ppt_x</p:attrName>
                                        </p:attrNameLst>
                                      </p:cBhvr>
                                      <p:tavLst>
                                        <p:tav tm="0">
                                          <p:val>
                                            <p:strVal val="#ppt_x"/>
                                          </p:val>
                                        </p:tav>
                                        <p:tav tm="100000">
                                          <p:val>
                                            <p:strVal val="#ppt_x"/>
                                          </p:val>
                                        </p:tav>
                                      </p:tavLst>
                                    </p:anim>
                                    <p:anim calcmode="lin" valueType="num">
                                      <p:cBhvr>
                                        <p:cTn id="56" dur="1000" fill="hold"/>
                                        <p:tgtEl>
                                          <p:spTgt spid="59"/>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55"/>
                                        </p:tgtEl>
                                        <p:attrNameLst>
                                          <p:attrName>style.visibility</p:attrName>
                                        </p:attrNameLst>
                                      </p:cBhvr>
                                      <p:to>
                                        <p:strVal val="visible"/>
                                      </p:to>
                                    </p:set>
                                    <p:animEffect transition="in" filter="fade">
                                      <p:cBhvr>
                                        <p:cTn id="59" dur="1000"/>
                                        <p:tgtEl>
                                          <p:spTgt spid="55"/>
                                        </p:tgtEl>
                                      </p:cBhvr>
                                    </p:animEffect>
                                    <p:anim calcmode="lin" valueType="num">
                                      <p:cBhvr>
                                        <p:cTn id="60" dur="1000" fill="hold"/>
                                        <p:tgtEl>
                                          <p:spTgt spid="55"/>
                                        </p:tgtEl>
                                        <p:attrNameLst>
                                          <p:attrName>ppt_x</p:attrName>
                                        </p:attrNameLst>
                                      </p:cBhvr>
                                      <p:tavLst>
                                        <p:tav tm="0">
                                          <p:val>
                                            <p:strVal val="#ppt_x"/>
                                          </p:val>
                                        </p:tav>
                                        <p:tav tm="100000">
                                          <p:val>
                                            <p:strVal val="#ppt_x"/>
                                          </p:val>
                                        </p:tav>
                                      </p:tavLst>
                                    </p:anim>
                                    <p:anim calcmode="lin" valueType="num">
                                      <p:cBhvr>
                                        <p:cTn id="61" dur="1000" fill="hold"/>
                                        <p:tgtEl>
                                          <p:spTgt spid="55"/>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39"/>
                                        </p:tgtEl>
                                        <p:attrNameLst>
                                          <p:attrName>style.visibility</p:attrName>
                                        </p:attrNameLst>
                                      </p:cBhvr>
                                      <p:to>
                                        <p:strVal val="visible"/>
                                      </p:to>
                                    </p:set>
                                    <p:animEffect transition="in" filter="fade">
                                      <p:cBhvr>
                                        <p:cTn id="64" dur="1000"/>
                                        <p:tgtEl>
                                          <p:spTgt spid="39"/>
                                        </p:tgtEl>
                                      </p:cBhvr>
                                    </p:animEffect>
                                    <p:anim calcmode="lin" valueType="num">
                                      <p:cBhvr>
                                        <p:cTn id="65" dur="1000" fill="hold"/>
                                        <p:tgtEl>
                                          <p:spTgt spid="39"/>
                                        </p:tgtEl>
                                        <p:attrNameLst>
                                          <p:attrName>ppt_x</p:attrName>
                                        </p:attrNameLst>
                                      </p:cBhvr>
                                      <p:tavLst>
                                        <p:tav tm="0">
                                          <p:val>
                                            <p:strVal val="#ppt_x"/>
                                          </p:val>
                                        </p:tav>
                                        <p:tav tm="100000">
                                          <p:val>
                                            <p:strVal val="#ppt_x"/>
                                          </p:val>
                                        </p:tav>
                                      </p:tavLst>
                                    </p:anim>
                                    <p:anim calcmode="lin" valueType="num">
                                      <p:cBhvr>
                                        <p:cTn id="66" dur="1000" fill="hold"/>
                                        <p:tgtEl>
                                          <p:spTgt spid="39"/>
                                        </p:tgtEl>
                                        <p:attrNameLst>
                                          <p:attrName>ppt_y</p:attrName>
                                        </p:attrNameLst>
                                      </p:cBhvr>
                                      <p:tavLst>
                                        <p:tav tm="0">
                                          <p:val>
                                            <p:strVal val="#ppt_y+.1"/>
                                          </p:val>
                                        </p:tav>
                                        <p:tav tm="100000">
                                          <p:val>
                                            <p:strVal val="#ppt_y"/>
                                          </p:val>
                                        </p:tav>
                                      </p:tavLst>
                                    </p:anim>
                                  </p:childTnLst>
                                </p:cTn>
                              </p:par>
                              <p:par>
                                <p:cTn id="67" presetID="42" presetClass="entr" presetSubtype="0" fill="hold" nodeType="withEffect">
                                  <p:stCondLst>
                                    <p:cond delay="0"/>
                                  </p:stCondLst>
                                  <p:childTnLst>
                                    <p:set>
                                      <p:cBhvr>
                                        <p:cTn id="68" dur="1" fill="hold">
                                          <p:stCondLst>
                                            <p:cond delay="0"/>
                                          </p:stCondLst>
                                        </p:cTn>
                                        <p:tgtEl>
                                          <p:spTgt spid="171"/>
                                        </p:tgtEl>
                                        <p:attrNameLst>
                                          <p:attrName>style.visibility</p:attrName>
                                        </p:attrNameLst>
                                      </p:cBhvr>
                                      <p:to>
                                        <p:strVal val="visible"/>
                                      </p:to>
                                    </p:set>
                                    <p:animEffect transition="in" filter="fade">
                                      <p:cBhvr>
                                        <p:cTn id="69" dur="1000"/>
                                        <p:tgtEl>
                                          <p:spTgt spid="171"/>
                                        </p:tgtEl>
                                      </p:cBhvr>
                                    </p:animEffect>
                                    <p:anim calcmode="lin" valueType="num">
                                      <p:cBhvr>
                                        <p:cTn id="70" dur="1000" fill="hold"/>
                                        <p:tgtEl>
                                          <p:spTgt spid="171"/>
                                        </p:tgtEl>
                                        <p:attrNameLst>
                                          <p:attrName>ppt_x</p:attrName>
                                        </p:attrNameLst>
                                      </p:cBhvr>
                                      <p:tavLst>
                                        <p:tav tm="0">
                                          <p:val>
                                            <p:strVal val="#ppt_x"/>
                                          </p:val>
                                        </p:tav>
                                        <p:tav tm="100000">
                                          <p:val>
                                            <p:strVal val="#ppt_x"/>
                                          </p:val>
                                        </p:tav>
                                      </p:tavLst>
                                    </p:anim>
                                    <p:anim calcmode="lin" valueType="num">
                                      <p:cBhvr>
                                        <p:cTn id="71" dur="1000" fill="hold"/>
                                        <p:tgtEl>
                                          <p:spTgt spid="171"/>
                                        </p:tgtEl>
                                        <p:attrNameLst>
                                          <p:attrName>ppt_y</p:attrName>
                                        </p:attrNameLst>
                                      </p:cBhvr>
                                      <p:tavLst>
                                        <p:tav tm="0">
                                          <p:val>
                                            <p:strVal val="#ppt_y+.1"/>
                                          </p:val>
                                        </p:tav>
                                        <p:tav tm="100000">
                                          <p:val>
                                            <p:strVal val="#ppt_y"/>
                                          </p:val>
                                        </p:tav>
                                      </p:tavLst>
                                    </p:anim>
                                  </p:childTnLst>
                                </p:cTn>
                              </p:par>
                            </p:childTnLst>
                          </p:cTn>
                        </p:par>
                      </p:childTnLst>
                    </p:cTn>
                  </p:par>
                  <p:par>
                    <p:cTn id="72" fill="hold">
                      <p:stCondLst>
                        <p:cond delay="indefinite"/>
                      </p:stCondLst>
                      <p:childTnLst>
                        <p:par>
                          <p:cTn id="73" fill="hold">
                            <p:stCondLst>
                              <p:cond delay="0"/>
                            </p:stCondLst>
                            <p:childTnLst>
                              <p:par>
                                <p:cTn id="74" presetID="42" presetClass="entr" presetSubtype="0" fill="hold" grpId="0" nodeType="clickEffect">
                                  <p:stCondLst>
                                    <p:cond delay="0"/>
                                  </p:stCondLst>
                                  <p:childTnLst>
                                    <p:set>
                                      <p:cBhvr>
                                        <p:cTn id="75" dur="1" fill="hold">
                                          <p:stCondLst>
                                            <p:cond delay="0"/>
                                          </p:stCondLst>
                                        </p:cTn>
                                        <p:tgtEl>
                                          <p:spTgt spid="40"/>
                                        </p:tgtEl>
                                        <p:attrNameLst>
                                          <p:attrName>style.visibility</p:attrName>
                                        </p:attrNameLst>
                                      </p:cBhvr>
                                      <p:to>
                                        <p:strVal val="visible"/>
                                      </p:to>
                                    </p:set>
                                    <p:animEffect transition="in" filter="fade">
                                      <p:cBhvr>
                                        <p:cTn id="76" dur="1000"/>
                                        <p:tgtEl>
                                          <p:spTgt spid="40"/>
                                        </p:tgtEl>
                                      </p:cBhvr>
                                    </p:animEffect>
                                    <p:anim calcmode="lin" valueType="num">
                                      <p:cBhvr>
                                        <p:cTn id="77" dur="1000" fill="hold"/>
                                        <p:tgtEl>
                                          <p:spTgt spid="40"/>
                                        </p:tgtEl>
                                        <p:attrNameLst>
                                          <p:attrName>ppt_x</p:attrName>
                                        </p:attrNameLst>
                                      </p:cBhvr>
                                      <p:tavLst>
                                        <p:tav tm="0">
                                          <p:val>
                                            <p:strVal val="#ppt_x"/>
                                          </p:val>
                                        </p:tav>
                                        <p:tav tm="100000">
                                          <p:val>
                                            <p:strVal val="#ppt_x"/>
                                          </p:val>
                                        </p:tav>
                                      </p:tavLst>
                                    </p:anim>
                                    <p:anim calcmode="lin" valueType="num">
                                      <p:cBhvr>
                                        <p:cTn id="78" dur="1000" fill="hold"/>
                                        <p:tgtEl>
                                          <p:spTgt spid="40"/>
                                        </p:tgtEl>
                                        <p:attrNameLst>
                                          <p:attrName>ppt_y</p:attrName>
                                        </p:attrNameLst>
                                      </p:cBhvr>
                                      <p:tavLst>
                                        <p:tav tm="0">
                                          <p:val>
                                            <p:strVal val="#ppt_y+.1"/>
                                          </p:val>
                                        </p:tav>
                                        <p:tav tm="100000">
                                          <p:val>
                                            <p:strVal val="#ppt_y"/>
                                          </p:val>
                                        </p:tav>
                                      </p:tavLst>
                                    </p:anim>
                                  </p:childTnLst>
                                </p:cTn>
                              </p:par>
                              <p:par>
                                <p:cTn id="79" presetID="42" presetClass="entr" presetSubtype="0" fill="hold" grpId="0" nodeType="withEffect">
                                  <p:stCondLst>
                                    <p:cond delay="0"/>
                                  </p:stCondLst>
                                  <p:childTnLst>
                                    <p:set>
                                      <p:cBhvr>
                                        <p:cTn id="80" dur="1" fill="hold">
                                          <p:stCondLst>
                                            <p:cond delay="0"/>
                                          </p:stCondLst>
                                        </p:cTn>
                                        <p:tgtEl>
                                          <p:spTgt spid="44"/>
                                        </p:tgtEl>
                                        <p:attrNameLst>
                                          <p:attrName>style.visibility</p:attrName>
                                        </p:attrNameLst>
                                      </p:cBhvr>
                                      <p:to>
                                        <p:strVal val="visible"/>
                                      </p:to>
                                    </p:set>
                                    <p:animEffect transition="in" filter="fade">
                                      <p:cBhvr>
                                        <p:cTn id="81" dur="1000"/>
                                        <p:tgtEl>
                                          <p:spTgt spid="44"/>
                                        </p:tgtEl>
                                      </p:cBhvr>
                                    </p:animEffect>
                                    <p:anim calcmode="lin" valueType="num">
                                      <p:cBhvr>
                                        <p:cTn id="82" dur="1000" fill="hold"/>
                                        <p:tgtEl>
                                          <p:spTgt spid="44"/>
                                        </p:tgtEl>
                                        <p:attrNameLst>
                                          <p:attrName>ppt_x</p:attrName>
                                        </p:attrNameLst>
                                      </p:cBhvr>
                                      <p:tavLst>
                                        <p:tav tm="0">
                                          <p:val>
                                            <p:strVal val="#ppt_x"/>
                                          </p:val>
                                        </p:tav>
                                        <p:tav tm="100000">
                                          <p:val>
                                            <p:strVal val="#ppt_x"/>
                                          </p:val>
                                        </p:tav>
                                      </p:tavLst>
                                    </p:anim>
                                    <p:anim calcmode="lin" valueType="num">
                                      <p:cBhvr>
                                        <p:cTn id="83" dur="1000" fill="hold"/>
                                        <p:tgtEl>
                                          <p:spTgt spid="44"/>
                                        </p:tgtEl>
                                        <p:attrNameLst>
                                          <p:attrName>ppt_y</p:attrName>
                                        </p:attrNameLst>
                                      </p:cBhvr>
                                      <p:tavLst>
                                        <p:tav tm="0">
                                          <p:val>
                                            <p:strVal val="#ppt_y+.1"/>
                                          </p:val>
                                        </p:tav>
                                        <p:tav tm="100000">
                                          <p:val>
                                            <p:strVal val="#ppt_y"/>
                                          </p:val>
                                        </p:tav>
                                      </p:tavLst>
                                    </p:anim>
                                  </p:childTnLst>
                                </p:cTn>
                              </p:par>
                              <p:par>
                                <p:cTn id="84" presetID="42" presetClass="entr" presetSubtype="0" fill="hold" nodeType="withEffect">
                                  <p:stCondLst>
                                    <p:cond delay="0"/>
                                  </p:stCondLst>
                                  <p:childTnLst>
                                    <p:set>
                                      <p:cBhvr>
                                        <p:cTn id="85" dur="1" fill="hold">
                                          <p:stCondLst>
                                            <p:cond delay="0"/>
                                          </p:stCondLst>
                                        </p:cTn>
                                        <p:tgtEl>
                                          <p:spTgt spid="53"/>
                                        </p:tgtEl>
                                        <p:attrNameLst>
                                          <p:attrName>style.visibility</p:attrName>
                                        </p:attrNameLst>
                                      </p:cBhvr>
                                      <p:to>
                                        <p:strVal val="visible"/>
                                      </p:to>
                                    </p:set>
                                    <p:animEffect transition="in" filter="fade">
                                      <p:cBhvr>
                                        <p:cTn id="86" dur="1000"/>
                                        <p:tgtEl>
                                          <p:spTgt spid="53"/>
                                        </p:tgtEl>
                                      </p:cBhvr>
                                    </p:animEffect>
                                    <p:anim calcmode="lin" valueType="num">
                                      <p:cBhvr>
                                        <p:cTn id="87" dur="1000" fill="hold"/>
                                        <p:tgtEl>
                                          <p:spTgt spid="53"/>
                                        </p:tgtEl>
                                        <p:attrNameLst>
                                          <p:attrName>ppt_x</p:attrName>
                                        </p:attrNameLst>
                                      </p:cBhvr>
                                      <p:tavLst>
                                        <p:tav tm="0">
                                          <p:val>
                                            <p:strVal val="#ppt_x"/>
                                          </p:val>
                                        </p:tav>
                                        <p:tav tm="100000">
                                          <p:val>
                                            <p:strVal val="#ppt_x"/>
                                          </p:val>
                                        </p:tav>
                                      </p:tavLst>
                                    </p:anim>
                                    <p:anim calcmode="lin" valueType="num">
                                      <p:cBhvr>
                                        <p:cTn id="88" dur="1000" fill="hold"/>
                                        <p:tgtEl>
                                          <p:spTgt spid="53"/>
                                        </p:tgtEl>
                                        <p:attrNameLst>
                                          <p:attrName>ppt_y</p:attrName>
                                        </p:attrNameLst>
                                      </p:cBhvr>
                                      <p:tavLst>
                                        <p:tav tm="0">
                                          <p:val>
                                            <p:strVal val="#ppt_y+.1"/>
                                          </p:val>
                                        </p:tav>
                                        <p:tav tm="100000">
                                          <p:val>
                                            <p:strVal val="#ppt_y"/>
                                          </p:val>
                                        </p:tav>
                                      </p:tavLst>
                                    </p:anim>
                                  </p:childTnLst>
                                </p:cTn>
                              </p:par>
                              <p:par>
                                <p:cTn id="89" presetID="42" presetClass="entr" presetSubtype="0" fill="hold" nodeType="withEffect">
                                  <p:stCondLst>
                                    <p:cond delay="0"/>
                                  </p:stCondLst>
                                  <p:childTnLst>
                                    <p:set>
                                      <p:cBhvr>
                                        <p:cTn id="90" dur="1" fill="hold">
                                          <p:stCondLst>
                                            <p:cond delay="0"/>
                                          </p:stCondLst>
                                        </p:cTn>
                                        <p:tgtEl>
                                          <p:spTgt spid="54"/>
                                        </p:tgtEl>
                                        <p:attrNameLst>
                                          <p:attrName>style.visibility</p:attrName>
                                        </p:attrNameLst>
                                      </p:cBhvr>
                                      <p:to>
                                        <p:strVal val="visible"/>
                                      </p:to>
                                    </p:set>
                                    <p:animEffect transition="in" filter="fade">
                                      <p:cBhvr>
                                        <p:cTn id="91" dur="1000"/>
                                        <p:tgtEl>
                                          <p:spTgt spid="54"/>
                                        </p:tgtEl>
                                      </p:cBhvr>
                                    </p:animEffect>
                                    <p:anim calcmode="lin" valueType="num">
                                      <p:cBhvr>
                                        <p:cTn id="92" dur="1000" fill="hold"/>
                                        <p:tgtEl>
                                          <p:spTgt spid="54"/>
                                        </p:tgtEl>
                                        <p:attrNameLst>
                                          <p:attrName>ppt_x</p:attrName>
                                        </p:attrNameLst>
                                      </p:cBhvr>
                                      <p:tavLst>
                                        <p:tav tm="0">
                                          <p:val>
                                            <p:strVal val="#ppt_x"/>
                                          </p:val>
                                        </p:tav>
                                        <p:tav tm="100000">
                                          <p:val>
                                            <p:strVal val="#ppt_x"/>
                                          </p:val>
                                        </p:tav>
                                      </p:tavLst>
                                    </p:anim>
                                    <p:anim calcmode="lin" valueType="num">
                                      <p:cBhvr>
                                        <p:cTn id="93" dur="1000" fill="hold"/>
                                        <p:tgtEl>
                                          <p:spTgt spid="54"/>
                                        </p:tgtEl>
                                        <p:attrNameLst>
                                          <p:attrName>ppt_y</p:attrName>
                                        </p:attrNameLst>
                                      </p:cBhvr>
                                      <p:tavLst>
                                        <p:tav tm="0">
                                          <p:val>
                                            <p:strVal val="#ppt_y+.1"/>
                                          </p:val>
                                        </p:tav>
                                        <p:tav tm="100000">
                                          <p:val>
                                            <p:strVal val="#ppt_y"/>
                                          </p:val>
                                        </p:tav>
                                      </p:tavLst>
                                    </p:anim>
                                  </p:childTnLst>
                                </p:cTn>
                              </p:par>
                              <p:par>
                                <p:cTn id="94" presetID="42" presetClass="entr" presetSubtype="0" fill="hold" nodeType="withEffect">
                                  <p:stCondLst>
                                    <p:cond delay="0"/>
                                  </p:stCondLst>
                                  <p:childTnLst>
                                    <p:set>
                                      <p:cBhvr>
                                        <p:cTn id="95" dur="1" fill="hold">
                                          <p:stCondLst>
                                            <p:cond delay="0"/>
                                          </p:stCondLst>
                                        </p:cTn>
                                        <p:tgtEl>
                                          <p:spTgt spid="56"/>
                                        </p:tgtEl>
                                        <p:attrNameLst>
                                          <p:attrName>style.visibility</p:attrName>
                                        </p:attrNameLst>
                                      </p:cBhvr>
                                      <p:to>
                                        <p:strVal val="visible"/>
                                      </p:to>
                                    </p:set>
                                    <p:animEffect transition="in" filter="fade">
                                      <p:cBhvr>
                                        <p:cTn id="96" dur="1000"/>
                                        <p:tgtEl>
                                          <p:spTgt spid="56"/>
                                        </p:tgtEl>
                                      </p:cBhvr>
                                    </p:animEffect>
                                    <p:anim calcmode="lin" valueType="num">
                                      <p:cBhvr>
                                        <p:cTn id="97" dur="1000" fill="hold"/>
                                        <p:tgtEl>
                                          <p:spTgt spid="56"/>
                                        </p:tgtEl>
                                        <p:attrNameLst>
                                          <p:attrName>ppt_x</p:attrName>
                                        </p:attrNameLst>
                                      </p:cBhvr>
                                      <p:tavLst>
                                        <p:tav tm="0">
                                          <p:val>
                                            <p:strVal val="#ppt_x"/>
                                          </p:val>
                                        </p:tav>
                                        <p:tav tm="100000">
                                          <p:val>
                                            <p:strVal val="#ppt_x"/>
                                          </p:val>
                                        </p:tav>
                                      </p:tavLst>
                                    </p:anim>
                                    <p:anim calcmode="lin" valueType="num">
                                      <p:cBhvr>
                                        <p:cTn id="98" dur="1000" fill="hold"/>
                                        <p:tgtEl>
                                          <p:spTgt spid="56"/>
                                        </p:tgtEl>
                                        <p:attrNameLst>
                                          <p:attrName>ppt_y</p:attrName>
                                        </p:attrNameLst>
                                      </p:cBhvr>
                                      <p:tavLst>
                                        <p:tav tm="0">
                                          <p:val>
                                            <p:strVal val="#ppt_y+.1"/>
                                          </p:val>
                                        </p:tav>
                                        <p:tav tm="100000">
                                          <p:val>
                                            <p:strVal val="#ppt_y"/>
                                          </p:val>
                                        </p:tav>
                                      </p:tavLst>
                                    </p:anim>
                                  </p:childTnLst>
                                </p:cTn>
                              </p:par>
                              <p:par>
                                <p:cTn id="99" presetID="42" presetClass="entr" presetSubtype="0" fill="hold" grpId="0" nodeType="withEffect">
                                  <p:stCondLst>
                                    <p:cond delay="0"/>
                                  </p:stCondLst>
                                  <p:childTnLst>
                                    <p:set>
                                      <p:cBhvr>
                                        <p:cTn id="100" dur="1" fill="hold">
                                          <p:stCondLst>
                                            <p:cond delay="0"/>
                                          </p:stCondLst>
                                        </p:cTn>
                                        <p:tgtEl>
                                          <p:spTgt spid="60"/>
                                        </p:tgtEl>
                                        <p:attrNameLst>
                                          <p:attrName>style.visibility</p:attrName>
                                        </p:attrNameLst>
                                      </p:cBhvr>
                                      <p:to>
                                        <p:strVal val="visible"/>
                                      </p:to>
                                    </p:set>
                                    <p:animEffect transition="in" filter="fade">
                                      <p:cBhvr>
                                        <p:cTn id="101" dur="1000"/>
                                        <p:tgtEl>
                                          <p:spTgt spid="60"/>
                                        </p:tgtEl>
                                      </p:cBhvr>
                                    </p:animEffect>
                                    <p:anim calcmode="lin" valueType="num">
                                      <p:cBhvr>
                                        <p:cTn id="102" dur="1000" fill="hold"/>
                                        <p:tgtEl>
                                          <p:spTgt spid="60"/>
                                        </p:tgtEl>
                                        <p:attrNameLst>
                                          <p:attrName>ppt_x</p:attrName>
                                        </p:attrNameLst>
                                      </p:cBhvr>
                                      <p:tavLst>
                                        <p:tav tm="0">
                                          <p:val>
                                            <p:strVal val="#ppt_x"/>
                                          </p:val>
                                        </p:tav>
                                        <p:tav tm="100000">
                                          <p:val>
                                            <p:strVal val="#ppt_x"/>
                                          </p:val>
                                        </p:tav>
                                      </p:tavLst>
                                    </p:anim>
                                    <p:anim calcmode="lin" valueType="num">
                                      <p:cBhvr>
                                        <p:cTn id="103" dur="1000" fill="hold"/>
                                        <p:tgtEl>
                                          <p:spTgt spid="60"/>
                                        </p:tgtEl>
                                        <p:attrNameLst>
                                          <p:attrName>ppt_y</p:attrName>
                                        </p:attrNameLst>
                                      </p:cBhvr>
                                      <p:tavLst>
                                        <p:tav tm="0">
                                          <p:val>
                                            <p:strVal val="#ppt_y+.1"/>
                                          </p:val>
                                        </p:tav>
                                        <p:tav tm="100000">
                                          <p:val>
                                            <p:strVal val="#ppt_y"/>
                                          </p:val>
                                        </p:tav>
                                      </p:tavLst>
                                    </p:anim>
                                  </p:childTnLst>
                                </p:cTn>
                              </p:par>
                              <p:par>
                                <p:cTn id="104" presetID="42" presetClass="entr" presetSubtype="0" fill="hold" nodeType="withEffect">
                                  <p:stCondLst>
                                    <p:cond delay="0"/>
                                  </p:stCondLst>
                                  <p:childTnLst>
                                    <p:set>
                                      <p:cBhvr>
                                        <p:cTn id="105" dur="1" fill="hold">
                                          <p:stCondLst>
                                            <p:cond delay="0"/>
                                          </p:stCondLst>
                                        </p:cTn>
                                        <p:tgtEl>
                                          <p:spTgt spid="167"/>
                                        </p:tgtEl>
                                        <p:attrNameLst>
                                          <p:attrName>style.visibility</p:attrName>
                                        </p:attrNameLst>
                                      </p:cBhvr>
                                      <p:to>
                                        <p:strVal val="visible"/>
                                      </p:to>
                                    </p:set>
                                    <p:animEffect transition="in" filter="fade">
                                      <p:cBhvr>
                                        <p:cTn id="106" dur="1000"/>
                                        <p:tgtEl>
                                          <p:spTgt spid="167"/>
                                        </p:tgtEl>
                                      </p:cBhvr>
                                    </p:animEffect>
                                    <p:anim calcmode="lin" valueType="num">
                                      <p:cBhvr>
                                        <p:cTn id="107" dur="1000" fill="hold"/>
                                        <p:tgtEl>
                                          <p:spTgt spid="167"/>
                                        </p:tgtEl>
                                        <p:attrNameLst>
                                          <p:attrName>ppt_x</p:attrName>
                                        </p:attrNameLst>
                                      </p:cBhvr>
                                      <p:tavLst>
                                        <p:tav tm="0">
                                          <p:val>
                                            <p:strVal val="#ppt_x"/>
                                          </p:val>
                                        </p:tav>
                                        <p:tav tm="100000">
                                          <p:val>
                                            <p:strVal val="#ppt_x"/>
                                          </p:val>
                                        </p:tav>
                                      </p:tavLst>
                                    </p:anim>
                                    <p:anim calcmode="lin" valueType="num">
                                      <p:cBhvr>
                                        <p:cTn id="108" dur="1000" fill="hold"/>
                                        <p:tgtEl>
                                          <p:spTgt spid="167"/>
                                        </p:tgtEl>
                                        <p:attrNameLst>
                                          <p:attrName>ppt_y</p:attrName>
                                        </p:attrNameLst>
                                      </p:cBhvr>
                                      <p:tavLst>
                                        <p:tav tm="0">
                                          <p:val>
                                            <p:strVal val="#ppt_y+.1"/>
                                          </p:val>
                                        </p:tav>
                                        <p:tav tm="100000">
                                          <p:val>
                                            <p:strVal val="#ppt_y"/>
                                          </p:val>
                                        </p:tav>
                                      </p:tavLst>
                                    </p:anim>
                                  </p:childTnLst>
                                </p:cTn>
                              </p:par>
                            </p:childTnLst>
                          </p:cTn>
                        </p:par>
                      </p:childTnLst>
                    </p:cTn>
                  </p:par>
                  <p:par>
                    <p:cTn id="109" fill="hold">
                      <p:stCondLst>
                        <p:cond delay="indefinite"/>
                      </p:stCondLst>
                      <p:childTnLst>
                        <p:par>
                          <p:cTn id="110" fill="hold">
                            <p:stCondLst>
                              <p:cond delay="0"/>
                            </p:stCondLst>
                            <p:childTnLst>
                              <p:par>
                                <p:cTn id="111" presetID="42" presetClass="entr" presetSubtype="0" fill="hold" grpId="0" nodeType="clickEffect">
                                  <p:stCondLst>
                                    <p:cond delay="0"/>
                                  </p:stCondLst>
                                  <p:childTnLst>
                                    <p:set>
                                      <p:cBhvr>
                                        <p:cTn id="112" dur="1" fill="hold">
                                          <p:stCondLst>
                                            <p:cond delay="0"/>
                                          </p:stCondLst>
                                        </p:cTn>
                                        <p:tgtEl>
                                          <p:spTgt spid="45"/>
                                        </p:tgtEl>
                                        <p:attrNameLst>
                                          <p:attrName>style.visibility</p:attrName>
                                        </p:attrNameLst>
                                      </p:cBhvr>
                                      <p:to>
                                        <p:strVal val="visible"/>
                                      </p:to>
                                    </p:set>
                                    <p:animEffect transition="in" filter="fade">
                                      <p:cBhvr>
                                        <p:cTn id="113" dur="1000"/>
                                        <p:tgtEl>
                                          <p:spTgt spid="45"/>
                                        </p:tgtEl>
                                      </p:cBhvr>
                                    </p:animEffect>
                                    <p:anim calcmode="lin" valueType="num">
                                      <p:cBhvr>
                                        <p:cTn id="114" dur="1000" fill="hold"/>
                                        <p:tgtEl>
                                          <p:spTgt spid="45"/>
                                        </p:tgtEl>
                                        <p:attrNameLst>
                                          <p:attrName>ppt_x</p:attrName>
                                        </p:attrNameLst>
                                      </p:cBhvr>
                                      <p:tavLst>
                                        <p:tav tm="0">
                                          <p:val>
                                            <p:strVal val="#ppt_x"/>
                                          </p:val>
                                        </p:tav>
                                        <p:tav tm="100000">
                                          <p:val>
                                            <p:strVal val="#ppt_x"/>
                                          </p:val>
                                        </p:tav>
                                      </p:tavLst>
                                    </p:anim>
                                    <p:anim calcmode="lin" valueType="num">
                                      <p:cBhvr>
                                        <p:cTn id="115" dur="1000" fill="hold"/>
                                        <p:tgtEl>
                                          <p:spTgt spid="45"/>
                                        </p:tgtEl>
                                        <p:attrNameLst>
                                          <p:attrName>ppt_y</p:attrName>
                                        </p:attrNameLst>
                                      </p:cBhvr>
                                      <p:tavLst>
                                        <p:tav tm="0">
                                          <p:val>
                                            <p:strVal val="#ppt_y+.1"/>
                                          </p:val>
                                        </p:tav>
                                        <p:tav tm="100000">
                                          <p:val>
                                            <p:strVal val="#ppt_y"/>
                                          </p:val>
                                        </p:tav>
                                      </p:tavLst>
                                    </p:anim>
                                  </p:childTnLst>
                                </p:cTn>
                              </p:par>
                              <p:par>
                                <p:cTn id="116" presetID="42" presetClass="entr" presetSubtype="0" fill="hold" grpId="0" nodeType="withEffect">
                                  <p:stCondLst>
                                    <p:cond delay="0"/>
                                  </p:stCondLst>
                                  <p:childTnLst>
                                    <p:set>
                                      <p:cBhvr>
                                        <p:cTn id="117" dur="1" fill="hold">
                                          <p:stCondLst>
                                            <p:cond delay="0"/>
                                          </p:stCondLst>
                                        </p:cTn>
                                        <p:tgtEl>
                                          <p:spTgt spid="46"/>
                                        </p:tgtEl>
                                        <p:attrNameLst>
                                          <p:attrName>style.visibility</p:attrName>
                                        </p:attrNameLst>
                                      </p:cBhvr>
                                      <p:to>
                                        <p:strVal val="visible"/>
                                      </p:to>
                                    </p:set>
                                    <p:animEffect transition="in" filter="fade">
                                      <p:cBhvr>
                                        <p:cTn id="118" dur="1000"/>
                                        <p:tgtEl>
                                          <p:spTgt spid="46"/>
                                        </p:tgtEl>
                                      </p:cBhvr>
                                    </p:animEffect>
                                    <p:anim calcmode="lin" valueType="num">
                                      <p:cBhvr>
                                        <p:cTn id="119" dur="1000" fill="hold"/>
                                        <p:tgtEl>
                                          <p:spTgt spid="46"/>
                                        </p:tgtEl>
                                        <p:attrNameLst>
                                          <p:attrName>ppt_x</p:attrName>
                                        </p:attrNameLst>
                                      </p:cBhvr>
                                      <p:tavLst>
                                        <p:tav tm="0">
                                          <p:val>
                                            <p:strVal val="#ppt_x"/>
                                          </p:val>
                                        </p:tav>
                                        <p:tav tm="100000">
                                          <p:val>
                                            <p:strVal val="#ppt_x"/>
                                          </p:val>
                                        </p:tav>
                                      </p:tavLst>
                                    </p:anim>
                                    <p:anim calcmode="lin" valueType="num">
                                      <p:cBhvr>
                                        <p:cTn id="120" dur="1000" fill="hold"/>
                                        <p:tgtEl>
                                          <p:spTgt spid="46"/>
                                        </p:tgtEl>
                                        <p:attrNameLst>
                                          <p:attrName>ppt_y</p:attrName>
                                        </p:attrNameLst>
                                      </p:cBhvr>
                                      <p:tavLst>
                                        <p:tav tm="0">
                                          <p:val>
                                            <p:strVal val="#ppt_y+.1"/>
                                          </p:val>
                                        </p:tav>
                                        <p:tav tm="100000">
                                          <p:val>
                                            <p:strVal val="#ppt_y"/>
                                          </p:val>
                                        </p:tav>
                                      </p:tavLst>
                                    </p:anim>
                                  </p:childTnLst>
                                </p:cTn>
                              </p:par>
                              <p:par>
                                <p:cTn id="121" presetID="42" presetClass="entr" presetSubtype="0" fill="hold" nodeType="withEffect">
                                  <p:stCondLst>
                                    <p:cond delay="0"/>
                                  </p:stCondLst>
                                  <p:childTnLst>
                                    <p:set>
                                      <p:cBhvr>
                                        <p:cTn id="122" dur="1" fill="hold">
                                          <p:stCondLst>
                                            <p:cond delay="0"/>
                                          </p:stCondLst>
                                        </p:cTn>
                                        <p:tgtEl>
                                          <p:spTgt spid="49"/>
                                        </p:tgtEl>
                                        <p:attrNameLst>
                                          <p:attrName>style.visibility</p:attrName>
                                        </p:attrNameLst>
                                      </p:cBhvr>
                                      <p:to>
                                        <p:strVal val="visible"/>
                                      </p:to>
                                    </p:set>
                                    <p:animEffect transition="in" filter="fade">
                                      <p:cBhvr>
                                        <p:cTn id="123" dur="1000"/>
                                        <p:tgtEl>
                                          <p:spTgt spid="49"/>
                                        </p:tgtEl>
                                      </p:cBhvr>
                                    </p:animEffect>
                                    <p:anim calcmode="lin" valueType="num">
                                      <p:cBhvr>
                                        <p:cTn id="124" dur="1000" fill="hold"/>
                                        <p:tgtEl>
                                          <p:spTgt spid="49"/>
                                        </p:tgtEl>
                                        <p:attrNameLst>
                                          <p:attrName>ppt_x</p:attrName>
                                        </p:attrNameLst>
                                      </p:cBhvr>
                                      <p:tavLst>
                                        <p:tav tm="0">
                                          <p:val>
                                            <p:strVal val="#ppt_x"/>
                                          </p:val>
                                        </p:tav>
                                        <p:tav tm="100000">
                                          <p:val>
                                            <p:strVal val="#ppt_x"/>
                                          </p:val>
                                        </p:tav>
                                      </p:tavLst>
                                    </p:anim>
                                    <p:anim calcmode="lin" valueType="num">
                                      <p:cBhvr>
                                        <p:cTn id="125" dur="1000" fill="hold"/>
                                        <p:tgtEl>
                                          <p:spTgt spid="49"/>
                                        </p:tgtEl>
                                        <p:attrNameLst>
                                          <p:attrName>ppt_y</p:attrName>
                                        </p:attrNameLst>
                                      </p:cBhvr>
                                      <p:tavLst>
                                        <p:tav tm="0">
                                          <p:val>
                                            <p:strVal val="#ppt_y+.1"/>
                                          </p:val>
                                        </p:tav>
                                        <p:tav tm="100000">
                                          <p:val>
                                            <p:strVal val="#ppt_y"/>
                                          </p:val>
                                        </p:tav>
                                      </p:tavLst>
                                    </p:anim>
                                  </p:childTnLst>
                                </p:cTn>
                              </p:par>
                              <p:par>
                                <p:cTn id="126" presetID="42" presetClass="entr" presetSubtype="0" fill="hold" nodeType="withEffect">
                                  <p:stCondLst>
                                    <p:cond delay="0"/>
                                  </p:stCondLst>
                                  <p:childTnLst>
                                    <p:set>
                                      <p:cBhvr>
                                        <p:cTn id="127" dur="1" fill="hold">
                                          <p:stCondLst>
                                            <p:cond delay="0"/>
                                          </p:stCondLst>
                                        </p:cTn>
                                        <p:tgtEl>
                                          <p:spTgt spid="50"/>
                                        </p:tgtEl>
                                        <p:attrNameLst>
                                          <p:attrName>style.visibility</p:attrName>
                                        </p:attrNameLst>
                                      </p:cBhvr>
                                      <p:to>
                                        <p:strVal val="visible"/>
                                      </p:to>
                                    </p:set>
                                    <p:animEffect transition="in" filter="fade">
                                      <p:cBhvr>
                                        <p:cTn id="128" dur="1000"/>
                                        <p:tgtEl>
                                          <p:spTgt spid="50"/>
                                        </p:tgtEl>
                                      </p:cBhvr>
                                    </p:animEffect>
                                    <p:anim calcmode="lin" valueType="num">
                                      <p:cBhvr>
                                        <p:cTn id="129" dur="1000" fill="hold"/>
                                        <p:tgtEl>
                                          <p:spTgt spid="50"/>
                                        </p:tgtEl>
                                        <p:attrNameLst>
                                          <p:attrName>ppt_x</p:attrName>
                                        </p:attrNameLst>
                                      </p:cBhvr>
                                      <p:tavLst>
                                        <p:tav tm="0">
                                          <p:val>
                                            <p:strVal val="#ppt_x"/>
                                          </p:val>
                                        </p:tav>
                                        <p:tav tm="100000">
                                          <p:val>
                                            <p:strVal val="#ppt_x"/>
                                          </p:val>
                                        </p:tav>
                                      </p:tavLst>
                                    </p:anim>
                                    <p:anim calcmode="lin" valueType="num">
                                      <p:cBhvr>
                                        <p:cTn id="130" dur="1000" fill="hold"/>
                                        <p:tgtEl>
                                          <p:spTgt spid="50"/>
                                        </p:tgtEl>
                                        <p:attrNameLst>
                                          <p:attrName>ppt_y</p:attrName>
                                        </p:attrNameLst>
                                      </p:cBhvr>
                                      <p:tavLst>
                                        <p:tav tm="0">
                                          <p:val>
                                            <p:strVal val="#ppt_y+.1"/>
                                          </p:val>
                                        </p:tav>
                                        <p:tav tm="100000">
                                          <p:val>
                                            <p:strVal val="#ppt_y"/>
                                          </p:val>
                                        </p:tav>
                                      </p:tavLst>
                                    </p:anim>
                                  </p:childTnLst>
                                </p:cTn>
                              </p:par>
                              <p:par>
                                <p:cTn id="131" presetID="42" presetClass="entr" presetSubtype="0" fill="hold" nodeType="withEffect">
                                  <p:stCondLst>
                                    <p:cond delay="0"/>
                                  </p:stCondLst>
                                  <p:childTnLst>
                                    <p:set>
                                      <p:cBhvr>
                                        <p:cTn id="132" dur="1" fill="hold">
                                          <p:stCondLst>
                                            <p:cond delay="0"/>
                                          </p:stCondLst>
                                        </p:cTn>
                                        <p:tgtEl>
                                          <p:spTgt spid="57"/>
                                        </p:tgtEl>
                                        <p:attrNameLst>
                                          <p:attrName>style.visibility</p:attrName>
                                        </p:attrNameLst>
                                      </p:cBhvr>
                                      <p:to>
                                        <p:strVal val="visible"/>
                                      </p:to>
                                    </p:set>
                                    <p:animEffect transition="in" filter="fade">
                                      <p:cBhvr>
                                        <p:cTn id="133" dur="1000"/>
                                        <p:tgtEl>
                                          <p:spTgt spid="57"/>
                                        </p:tgtEl>
                                      </p:cBhvr>
                                    </p:animEffect>
                                    <p:anim calcmode="lin" valueType="num">
                                      <p:cBhvr>
                                        <p:cTn id="134" dur="1000" fill="hold"/>
                                        <p:tgtEl>
                                          <p:spTgt spid="57"/>
                                        </p:tgtEl>
                                        <p:attrNameLst>
                                          <p:attrName>ppt_x</p:attrName>
                                        </p:attrNameLst>
                                      </p:cBhvr>
                                      <p:tavLst>
                                        <p:tav tm="0">
                                          <p:val>
                                            <p:strVal val="#ppt_x"/>
                                          </p:val>
                                        </p:tav>
                                        <p:tav tm="100000">
                                          <p:val>
                                            <p:strVal val="#ppt_x"/>
                                          </p:val>
                                        </p:tav>
                                      </p:tavLst>
                                    </p:anim>
                                    <p:anim calcmode="lin" valueType="num">
                                      <p:cBhvr>
                                        <p:cTn id="135" dur="1000" fill="hold"/>
                                        <p:tgtEl>
                                          <p:spTgt spid="57"/>
                                        </p:tgtEl>
                                        <p:attrNameLst>
                                          <p:attrName>ppt_y</p:attrName>
                                        </p:attrNameLst>
                                      </p:cBhvr>
                                      <p:tavLst>
                                        <p:tav tm="0">
                                          <p:val>
                                            <p:strVal val="#ppt_y+.1"/>
                                          </p:val>
                                        </p:tav>
                                        <p:tav tm="100000">
                                          <p:val>
                                            <p:strVal val="#ppt_y"/>
                                          </p:val>
                                        </p:tav>
                                      </p:tavLst>
                                    </p:anim>
                                  </p:childTnLst>
                                </p:cTn>
                              </p:par>
                              <p:par>
                                <p:cTn id="136" presetID="42" presetClass="entr" presetSubtype="0" fill="hold" grpId="0" nodeType="withEffect">
                                  <p:stCondLst>
                                    <p:cond delay="0"/>
                                  </p:stCondLst>
                                  <p:childTnLst>
                                    <p:set>
                                      <p:cBhvr>
                                        <p:cTn id="137" dur="1" fill="hold">
                                          <p:stCondLst>
                                            <p:cond delay="0"/>
                                          </p:stCondLst>
                                        </p:cTn>
                                        <p:tgtEl>
                                          <p:spTgt spid="61"/>
                                        </p:tgtEl>
                                        <p:attrNameLst>
                                          <p:attrName>style.visibility</p:attrName>
                                        </p:attrNameLst>
                                      </p:cBhvr>
                                      <p:to>
                                        <p:strVal val="visible"/>
                                      </p:to>
                                    </p:set>
                                    <p:animEffect transition="in" filter="fade">
                                      <p:cBhvr>
                                        <p:cTn id="138" dur="1000"/>
                                        <p:tgtEl>
                                          <p:spTgt spid="61"/>
                                        </p:tgtEl>
                                      </p:cBhvr>
                                    </p:animEffect>
                                    <p:anim calcmode="lin" valueType="num">
                                      <p:cBhvr>
                                        <p:cTn id="139" dur="1000" fill="hold"/>
                                        <p:tgtEl>
                                          <p:spTgt spid="61"/>
                                        </p:tgtEl>
                                        <p:attrNameLst>
                                          <p:attrName>ppt_x</p:attrName>
                                        </p:attrNameLst>
                                      </p:cBhvr>
                                      <p:tavLst>
                                        <p:tav tm="0">
                                          <p:val>
                                            <p:strVal val="#ppt_x"/>
                                          </p:val>
                                        </p:tav>
                                        <p:tav tm="100000">
                                          <p:val>
                                            <p:strVal val="#ppt_x"/>
                                          </p:val>
                                        </p:tav>
                                      </p:tavLst>
                                    </p:anim>
                                    <p:anim calcmode="lin" valueType="num">
                                      <p:cBhvr>
                                        <p:cTn id="140" dur="1000" fill="hold"/>
                                        <p:tgtEl>
                                          <p:spTgt spid="61"/>
                                        </p:tgtEl>
                                        <p:attrNameLst>
                                          <p:attrName>ppt_y</p:attrName>
                                        </p:attrNameLst>
                                      </p:cBhvr>
                                      <p:tavLst>
                                        <p:tav tm="0">
                                          <p:val>
                                            <p:strVal val="#ppt_y+.1"/>
                                          </p:val>
                                        </p:tav>
                                        <p:tav tm="100000">
                                          <p:val>
                                            <p:strVal val="#ppt_y"/>
                                          </p:val>
                                        </p:tav>
                                      </p:tavLst>
                                    </p:anim>
                                  </p:childTnLst>
                                </p:cTn>
                              </p:par>
                              <p:par>
                                <p:cTn id="141" presetID="42" presetClass="entr" presetSubtype="0" fill="hold" nodeType="withEffect">
                                  <p:stCondLst>
                                    <p:cond delay="0"/>
                                  </p:stCondLst>
                                  <p:childTnLst>
                                    <p:set>
                                      <p:cBhvr>
                                        <p:cTn id="142" dur="1" fill="hold">
                                          <p:stCondLst>
                                            <p:cond delay="0"/>
                                          </p:stCondLst>
                                        </p:cTn>
                                        <p:tgtEl>
                                          <p:spTgt spid="168"/>
                                        </p:tgtEl>
                                        <p:attrNameLst>
                                          <p:attrName>style.visibility</p:attrName>
                                        </p:attrNameLst>
                                      </p:cBhvr>
                                      <p:to>
                                        <p:strVal val="visible"/>
                                      </p:to>
                                    </p:set>
                                    <p:animEffect transition="in" filter="fade">
                                      <p:cBhvr>
                                        <p:cTn id="143" dur="1000"/>
                                        <p:tgtEl>
                                          <p:spTgt spid="168"/>
                                        </p:tgtEl>
                                      </p:cBhvr>
                                    </p:animEffect>
                                    <p:anim calcmode="lin" valueType="num">
                                      <p:cBhvr>
                                        <p:cTn id="144" dur="1000" fill="hold"/>
                                        <p:tgtEl>
                                          <p:spTgt spid="168"/>
                                        </p:tgtEl>
                                        <p:attrNameLst>
                                          <p:attrName>ppt_x</p:attrName>
                                        </p:attrNameLst>
                                      </p:cBhvr>
                                      <p:tavLst>
                                        <p:tav tm="0">
                                          <p:val>
                                            <p:strVal val="#ppt_x"/>
                                          </p:val>
                                        </p:tav>
                                        <p:tav tm="100000">
                                          <p:val>
                                            <p:strVal val="#ppt_x"/>
                                          </p:val>
                                        </p:tav>
                                      </p:tavLst>
                                    </p:anim>
                                    <p:anim calcmode="lin" valueType="num">
                                      <p:cBhvr>
                                        <p:cTn id="145" dur="1000" fill="hold"/>
                                        <p:tgtEl>
                                          <p:spTgt spid="16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40" grpId="0"/>
      <p:bldP spid="42" grpId="0"/>
      <p:bldP spid="43" grpId="0"/>
      <p:bldP spid="44" grpId="0"/>
      <p:bldP spid="45" grpId="0"/>
      <p:bldP spid="46" grpId="0"/>
      <p:bldP spid="58" grpId="0" animBg="1"/>
      <p:bldP spid="59" grpId="0" animBg="1"/>
      <p:bldP spid="60" grpId="0" animBg="1"/>
      <p:bldP spid="6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F4F7D-2CCB-4CA7-AFFD-55D74038827F}"/>
              </a:ext>
            </a:extLst>
          </p:cNvPr>
          <p:cNvSpPr>
            <a:spLocks noGrp="1"/>
          </p:cNvSpPr>
          <p:nvPr>
            <p:ph type="title"/>
          </p:nvPr>
        </p:nvSpPr>
        <p:spPr/>
        <p:txBody>
          <a:bodyPr/>
          <a:lstStyle/>
          <a:p>
            <a:r>
              <a:rPr lang="de-DE" dirty="0"/>
              <a:t>Air </a:t>
            </a:r>
            <a:r>
              <a:rPr lang="de-DE" dirty="0" err="1"/>
              <a:t>separation</a:t>
            </a:r>
            <a:r>
              <a:rPr lang="de-DE" dirty="0"/>
              <a:t> </a:t>
            </a:r>
            <a:r>
              <a:rPr lang="de-DE" dirty="0" err="1"/>
              <a:t>unit</a:t>
            </a:r>
            <a:r>
              <a:rPr lang="de-DE" dirty="0"/>
              <a:t> (ASU)</a:t>
            </a:r>
            <a:endParaRPr lang="en-US" dirty="0"/>
          </a:p>
        </p:txBody>
      </p:sp>
      <p:sp>
        <p:nvSpPr>
          <p:cNvPr id="3" name="Footer Placeholder 2">
            <a:extLst>
              <a:ext uri="{FF2B5EF4-FFF2-40B4-BE49-F238E27FC236}">
                <a16:creationId xmlns:a16="http://schemas.microsoft.com/office/drawing/2014/main" id="{5732E45B-BD86-4BEE-AD59-D40AE9AD6F0C}"/>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DAB82839-24AC-4EDE-B3AE-EACC7C6C64C5}"/>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8B603ECC-BDFC-4497-8CD2-ED191CEC041F}"/>
              </a:ext>
            </a:extLst>
          </p:cNvPr>
          <p:cNvSpPr>
            <a:spLocks noGrp="1"/>
          </p:cNvSpPr>
          <p:nvPr>
            <p:ph type="sldNum" sz="quarter" idx="12"/>
          </p:nvPr>
        </p:nvSpPr>
        <p:spPr/>
        <p:txBody>
          <a:bodyPr/>
          <a:lstStyle/>
          <a:p>
            <a:r>
              <a:rPr lang="en-US"/>
              <a:t>Slide </a:t>
            </a:r>
            <a:fld id="{619F89D8-7AE3-494A-97F3-03D680869632}" type="slidenum">
              <a:rPr lang="en-US" smtClean="0"/>
              <a:pPr/>
              <a:t>46</a:t>
            </a:fld>
            <a:endParaRPr lang="en-US" dirty="0"/>
          </a:p>
        </p:txBody>
      </p:sp>
      <p:sp>
        <p:nvSpPr>
          <p:cNvPr id="6" name="Content Placeholder 5">
            <a:extLst>
              <a:ext uri="{FF2B5EF4-FFF2-40B4-BE49-F238E27FC236}">
                <a16:creationId xmlns:a16="http://schemas.microsoft.com/office/drawing/2014/main" id="{7EC1AF45-CE34-4000-B1D3-C095586E07CA}"/>
              </a:ext>
            </a:extLst>
          </p:cNvPr>
          <p:cNvSpPr>
            <a:spLocks noGrp="1"/>
          </p:cNvSpPr>
          <p:nvPr>
            <p:ph sz="quarter" idx="20"/>
          </p:nvPr>
        </p:nvSpPr>
        <p:spPr/>
        <p:txBody>
          <a:bodyPr/>
          <a:lstStyle/>
          <a:p>
            <a:pPr>
              <a:spcBef>
                <a:spcPts val="0"/>
              </a:spcBef>
            </a:pPr>
            <a:r>
              <a:rPr lang="de-DE" dirty="0"/>
              <a:t>PGC5007B</a:t>
            </a:r>
          </a:p>
          <a:p>
            <a:pPr>
              <a:spcBef>
                <a:spcPts val="0"/>
              </a:spcBef>
            </a:pPr>
            <a:r>
              <a:rPr lang="de-DE" dirty="0">
                <a:solidFill>
                  <a:schemeClr val="tx1"/>
                </a:solidFill>
              </a:rPr>
              <a:t>Gas </a:t>
            </a:r>
            <a:r>
              <a:rPr lang="de-DE" dirty="0" err="1">
                <a:solidFill>
                  <a:schemeClr val="tx1"/>
                </a:solidFill>
              </a:rPr>
              <a:t>Chromatograph</a:t>
            </a:r>
            <a:r>
              <a:rPr lang="de-DE" dirty="0">
                <a:solidFill>
                  <a:schemeClr val="tx1"/>
                </a:solidFill>
              </a:rPr>
              <a:t> </a:t>
            </a:r>
            <a:r>
              <a:rPr lang="de-DE" dirty="0" err="1">
                <a:solidFill>
                  <a:schemeClr val="tx1"/>
                </a:solidFill>
              </a:rPr>
              <a:t>with</a:t>
            </a:r>
            <a:r>
              <a:rPr lang="de-DE" dirty="0">
                <a:solidFill>
                  <a:schemeClr val="tx1"/>
                </a:solidFill>
              </a:rPr>
              <a:t> FPD </a:t>
            </a:r>
            <a:r>
              <a:rPr lang="de-DE" dirty="0" err="1">
                <a:solidFill>
                  <a:schemeClr val="tx1"/>
                </a:solidFill>
              </a:rPr>
              <a:t>detector</a:t>
            </a:r>
            <a:r>
              <a:rPr lang="de-DE" dirty="0">
                <a:solidFill>
                  <a:schemeClr val="tx1"/>
                </a:solidFill>
              </a:rPr>
              <a:t> – Total Sulfur</a:t>
            </a:r>
            <a:endParaRPr lang="de-DE" baseline="-25000" dirty="0">
              <a:solidFill>
                <a:schemeClr val="tx1"/>
              </a:solidFill>
            </a:endParaRPr>
          </a:p>
          <a:p>
            <a:pPr lvl="1">
              <a:spcBef>
                <a:spcPts val="0"/>
              </a:spcBef>
            </a:pPr>
            <a:endParaRPr lang="de-DE" dirty="0"/>
          </a:p>
          <a:p>
            <a:pPr lvl="1">
              <a:spcBef>
                <a:spcPts val="0"/>
              </a:spcBef>
            </a:pPr>
            <a:r>
              <a:rPr lang="en-US" dirty="0"/>
              <a:t>Liquid and vapor, from natural gas to gasoline and diesel</a:t>
            </a:r>
          </a:p>
          <a:p>
            <a:pPr lvl="1">
              <a:spcBef>
                <a:spcPts val="0"/>
              </a:spcBef>
            </a:pPr>
            <a:r>
              <a:rPr lang="de-DE" dirty="0"/>
              <a:t>Measurement in </a:t>
            </a:r>
            <a:r>
              <a:rPr lang="de-DE" dirty="0" err="1"/>
              <a:t>accordance</a:t>
            </a:r>
            <a:r>
              <a:rPr lang="de-DE" dirty="0"/>
              <a:t> </a:t>
            </a:r>
            <a:r>
              <a:rPr lang="de-DE" dirty="0" err="1"/>
              <a:t>with</a:t>
            </a:r>
            <a:r>
              <a:rPr lang="de-DE" dirty="0"/>
              <a:t> ASTM Method D7041-04</a:t>
            </a:r>
          </a:p>
          <a:p>
            <a:pPr lvl="1">
              <a:spcBef>
                <a:spcPts val="0"/>
              </a:spcBef>
            </a:pPr>
            <a:r>
              <a:rPr lang="de-DE" dirty="0"/>
              <a:t>Precision and </a:t>
            </a:r>
            <a:r>
              <a:rPr lang="de-DE" dirty="0" err="1"/>
              <a:t>bias</a:t>
            </a:r>
            <a:r>
              <a:rPr lang="de-DE" dirty="0"/>
              <a:t> </a:t>
            </a:r>
            <a:r>
              <a:rPr lang="de-DE" dirty="0" err="1"/>
              <a:t>data</a:t>
            </a:r>
            <a:r>
              <a:rPr lang="de-DE" dirty="0"/>
              <a:t> 2-5 </a:t>
            </a:r>
            <a:r>
              <a:rPr lang="de-DE" dirty="0" err="1"/>
              <a:t>times</a:t>
            </a:r>
            <a:r>
              <a:rPr lang="de-DE" dirty="0"/>
              <a:t> </a:t>
            </a:r>
            <a:r>
              <a:rPr lang="de-DE" dirty="0" err="1"/>
              <a:t>better</a:t>
            </a:r>
            <a:r>
              <a:rPr lang="de-DE" dirty="0"/>
              <a:t> </a:t>
            </a:r>
            <a:r>
              <a:rPr lang="de-DE" dirty="0" err="1"/>
              <a:t>than</a:t>
            </a:r>
            <a:r>
              <a:rPr lang="de-DE" dirty="0"/>
              <a:t> all </a:t>
            </a:r>
            <a:r>
              <a:rPr lang="de-DE" dirty="0" err="1"/>
              <a:t>other</a:t>
            </a:r>
            <a:r>
              <a:rPr lang="de-DE" dirty="0"/>
              <a:t> </a:t>
            </a:r>
            <a:r>
              <a:rPr lang="de-DE" dirty="0" err="1"/>
              <a:t>sulfur</a:t>
            </a:r>
            <a:r>
              <a:rPr lang="de-DE" dirty="0"/>
              <a:t> </a:t>
            </a:r>
            <a:r>
              <a:rPr lang="de-DE" dirty="0" err="1"/>
              <a:t>methods</a:t>
            </a:r>
            <a:endParaRPr lang="de-DE" dirty="0"/>
          </a:p>
          <a:p>
            <a:pPr lvl="1">
              <a:spcBef>
                <a:spcPts val="0"/>
              </a:spcBef>
            </a:pPr>
            <a:r>
              <a:rPr lang="de-DE" dirty="0" err="1"/>
              <a:t>Only</a:t>
            </a:r>
            <a:r>
              <a:rPr lang="de-DE" dirty="0"/>
              <a:t> </a:t>
            </a:r>
            <a:r>
              <a:rPr lang="de-DE" dirty="0" err="1"/>
              <a:t>method</a:t>
            </a:r>
            <a:r>
              <a:rPr lang="de-DE" dirty="0"/>
              <a:t> </a:t>
            </a:r>
            <a:r>
              <a:rPr lang="de-DE" dirty="0" err="1"/>
              <a:t>that</a:t>
            </a:r>
            <a:r>
              <a:rPr lang="de-DE" dirty="0"/>
              <a:t> </a:t>
            </a:r>
            <a:r>
              <a:rPr lang="de-DE" dirty="0" err="1"/>
              <a:t>meets</a:t>
            </a:r>
            <a:r>
              <a:rPr lang="de-DE" dirty="0"/>
              <a:t> </a:t>
            </a:r>
            <a:r>
              <a:rPr lang="de-DE" dirty="0" err="1"/>
              <a:t>requirements</a:t>
            </a:r>
            <a:r>
              <a:rPr lang="de-DE" dirty="0"/>
              <a:t> </a:t>
            </a:r>
            <a:r>
              <a:rPr lang="de-DE" dirty="0" err="1"/>
              <a:t>for</a:t>
            </a:r>
            <a:r>
              <a:rPr lang="de-DE" dirty="0"/>
              <a:t> </a:t>
            </a:r>
            <a:r>
              <a:rPr lang="de-DE" dirty="0" err="1"/>
              <a:t>low</a:t>
            </a:r>
            <a:r>
              <a:rPr lang="de-DE" dirty="0"/>
              <a:t> </a:t>
            </a:r>
            <a:r>
              <a:rPr lang="de-DE" dirty="0" err="1"/>
              <a:t>range</a:t>
            </a:r>
            <a:r>
              <a:rPr lang="de-DE" dirty="0"/>
              <a:t> (0-15 ppm) </a:t>
            </a:r>
            <a:r>
              <a:rPr lang="de-DE" dirty="0" err="1"/>
              <a:t>diesel</a:t>
            </a:r>
            <a:endParaRPr lang="de-DE" dirty="0"/>
          </a:p>
          <a:p>
            <a:pPr marL="0" lvl="1" indent="0">
              <a:spcBef>
                <a:spcPts val="300"/>
              </a:spcBef>
              <a:buNone/>
            </a:pPr>
            <a:endParaRPr lang="de-DE" dirty="0"/>
          </a:p>
          <a:p>
            <a:pPr marL="0" lvl="1" indent="0">
              <a:spcBef>
                <a:spcPts val="300"/>
              </a:spcBef>
              <a:buNone/>
            </a:pPr>
            <a:endParaRPr lang="en-US" b="1" dirty="0"/>
          </a:p>
          <a:p>
            <a:pPr marL="0" lvl="1" indent="0">
              <a:spcBef>
                <a:spcPts val="300"/>
              </a:spcBef>
              <a:buNone/>
            </a:pPr>
            <a:r>
              <a:rPr lang="en-US" b="1" dirty="0"/>
              <a:t>ASTM 7041-04, "Standard Test Method for Determination of Total Sulfur in Light Hydrocarbons, Motor Fuels, and Oils by Online Gas Chromatography with Flame Photometric Detection," ASTM International</a:t>
            </a:r>
            <a:endParaRPr lang="en-US" dirty="0"/>
          </a:p>
        </p:txBody>
      </p:sp>
      <p:sp>
        <p:nvSpPr>
          <p:cNvPr id="7" name="Content Placeholder 6">
            <a:extLst>
              <a:ext uri="{FF2B5EF4-FFF2-40B4-BE49-F238E27FC236}">
                <a16:creationId xmlns:a16="http://schemas.microsoft.com/office/drawing/2014/main" id="{2ADDC11F-5D49-4BCD-922D-04728BABF3FE}"/>
              </a:ext>
            </a:extLst>
          </p:cNvPr>
          <p:cNvSpPr>
            <a:spLocks noGrp="1"/>
          </p:cNvSpPr>
          <p:nvPr>
            <p:ph sz="quarter" idx="19"/>
          </p:nvPr>
        </p:nvSpPr>
        <p:spPr>
          <a:xfrm>
            <a:off x="793629" y="1975498"/>
            <a:ext cx="3074985" cy="3936613"/>
          </a:xfrm>
        </p:spPr>
        <p:txBody>
          <a:bodyPr/>
          <a:lstStyle/>
          <a:p>
            <a:pPr>
              <a:tabLst>
                <a:tab pos="452438" algn="l"/>
              </a:tabLst>
            </a:pPr>
            <a:r>
              <a:rPr lang="en-US" dirty="0"/>
              <a:t>Input gas quality</a:t>
            </a:r>
          </a:p>
          <a:p>
            <a:pPr lvl="1">
              <a:spcBef>
                <a:spcPts val="0"/>
              </a:spcBef>
            </a:pPr>
            <a:endParaRPr lang="en-US" dirty="0"/>
          </a:p>
          <a:p>
            <a:pPr lvl="1">
              <a:spcBef>
                <a:spcPts val="0"/>
              </a:spcBef>
            </a:pPr>
            <a:r>
              <a:rPr lang="en-US" dirty="0"/>
              <a:t>Incoming natural gas or hydrocarbon feedstock must not poison the SMR catalyst</a:t>
            </a:r>
          </a:p>
          <a:p>
            <a:pPr lvl="1">
              <a:spcBef>
                <a:spcPts val="0"/>
              </a:spcBef>
            </a:pPr>
            <a:r>
              <a:rPr lang="en-US" dirty="0"/>
              <a:t>Essential to detect sulfur compounds and other known catalyst poisons</a:t>
            </a:r>
          </a:p>
          <a:p>
            <a:pPr lvl="1">
              <a:spcBef>
                <a:spcPts val="0"/>
              </a:spcBef>
            </a:pPr>
            <a:r>
              <a:rPr lang="en-US" dirty="0"/>
              <a:t>Measurements highly critical for process integrity and would initiate a plant-trip to protect catalyst</a:t>
            </a:r>
          </a:p>
        </p:txBody>
      </p:sp>
      <p:sp>
        <p:nvSpPr>
          <p:cNvPr id="8" name="Subtitle 7">
            <a:extLst>
              <a:ext uri="{FF2B5EF4-FFF2-40B4-BE49-F238E27FC236}">
                <a16:creationId xmlns:a16="http://schemas.microsoft.com/office/drawing/2014/main" id="{8716F94D-E2ED-4522-BA19-0B094F971306}"/>
              </a:ext>
            </a:extLst>
          </p:cNvPr>
          <p:cNvSpPr>
            <a:spLocks noGrp="1"/>
          </p:cNvSpPr>
          <p:nvPr>
            <p:ph type="subTitle" idx="13"/>
          </p:nvPr>
        </p:nvSpPr>
        <p:spPr/>
        <p:txBody>
          <a:bodyPr/>
          <a:lstStyle/>
          <a:p>
            <a:r>
              <a:rPr lang="de-DE" dirty="0"/>
              <a:t>Pain </a:t>
            </a:r>
            <a:r>
              <a:rPr lang="de-DE" dirty="0" err="1"/>
              <a:t>points</a:t>
            </a:r>
            <a:r>
              <a:rPr lang="de-DE" dirty="0"/>
              <a:t> and ABB </a:t>
            </a:r>
            <a:r>
              <a:rPr lang="de-DE" dirty="0" err="1"/>
              <a:t>solution</a:t>
            </a:r>
            <a:endParaRPr lang="en-US" dirty="0"/>
          </a:p>
        </p:txBody>
      </p:sp>
      <p:grpSp>
        <p:nvGrpSpPr>
          <p:cNvPr id="11" name="Group 10">
            <a:extLst>
              <a:ext uri="{FF2B5EF4-FFF2-40B4-BE49-F238E27FC236}">
                <a16:creationId xmlns:a16="http://schemas.microsoft.com/office/drawing/2014/main" id="{7E15D3EF-A6B0-4376-B872-7DEFF36100D3}"/>
              </a:ext>
            </a:extLst>
          </p:cNvPr>
          <p:cNvGrpSpPr/>
          <p:nvPr/>
        </p:nvGrpSpPr>
        <p:grpSpPr bwMode="gray">
          <a:xfrm flipH="1">
            <a:off x="498197" y="1975498"/>
            <a:ext cx="186323" cy="263181"/>
            <a:chOff x="726165" y="2121572"/>
            <a:chExt cx="194048" cy="274093"/>
          </a:xfrm>
        </p:grpSpPr>
        <p:sp>
          <p:nvSpPr>
            <p:cNvPr id="12" name="Freeform: Shape 11">
              <a:extLst>
                <a:ext uri="{FF2B5EF4-FFF2-40B4-BE49-F238E27FC236}">
                  <a16:creationId xmlns:a16="http://schemas.microsoft.com/office/drawing/2014/main" id="{2EE356D7-39C8-4C1E-8FF2-242B8F1A3149}"/>
                </a:ext>
              </a:extLst>
            </p:cNvPr>
            <p:cNvSpPr>
              <a:spLocks/>
            </p:cNvSpPr>
            <p:nvPr/>
          </p:nvSpPr>
          <p:spPr bwMode="gray">
            <a:xfrm>
              <a:off x="726165" y="2121572"/>
              <a:ext cx="194048" cy="273156"/>
            </a:xfrm>
            <a:custGeom>
              <a:avLst/>
              <a:gdLst>
                <a:gd name="connsiteX0" fmla="*/ 61195 w 165948"/>
                <a:gd name="connsiteY0" fmla="*/ 0 h 234947"/>
                <a:gd name="connsiteX1" fmla="*/ 164814 w 165948"/>
                <a:gd name="connsiteY1" fmla="*/ 134555 h 234947"/>
                <a:gd name="connsiteX2" fmla="*/ 113008 w 165948"/>
                <a:gd name="connsiteY2" fmla="*/ 233601 h 234947"/>
                <a:gd name="connsiteX3" fmla="*/ 106774 w 165948"/>
                <a:gd name="connsiteY3" fmla="*/ 234947 h 234947"/>
                <a:gd name="connsiteX4" fmla="*/ 105654 w 165948"/>
                <a:gd name="connsiteY4" fmla="*/ 227360 h 234947"/>
                <a:gd name="connsiteX5" fmla="*/ 82973 w 165948"/>
                <a:gd name="connsiteY5" fmla="*/ 200993 h 234947"/>
                <a:gd name="connsiteX6" fmla="*/ 60292 w 165948"/>
                <a:gd name="connsiteY6" fmla="*/ 227360 h 234947"/>
                <a:gd name="connsiteX7" fmla="*/ 59296 w 165948"/>
                <a:gd name="connsiteY7" fmla="*/ 234106 h 234947"/>
                <a:gd name="connsiteX8" fmla="*/ 52447 w 165948"/>
                <a:gd name="connsiteY8" fmla="*/ 232390 h 234947"/>
                <a:gd name="connsiteX9" fmla="*/ 2790 w 165948"/>
                <a:gd name="connsiteY9" fmla="*/ 133595 h 234947"/>
                <a:gd name="connsiteX10" fmla="*/ 61195 w 165948"/>
                <a:gd name="connsiteY10" fmla="*/ 0 h 234947"/>
                <a:gd name="connsiteX0" fmla="*/ 82973 w 174413"/>
                <a:gd name="connsiteY0" fmla="*/ 200993 h 292433"/>
                <a:gd name="connsiteX1" fmla="*/ 60292 w 174413"/>
                <a:gd name="connsiteY1" fmla="*/ 227360 h 292433"/>
                <a:gd name="connsiteX2" fmla="*/ 59296 w 174413"/>
                <a:gd name="connsiteY2" fmla="*/ 234106 h 292433"/>
                <a:gd name="connsiteX3" fmla="*/ 52447 w 174413"/>
                <a:gd name="connsiteY3" fmla="*/ 232390 h 292433"/>
                <a:gd name="connsiteX4" fmla="*/ 2790 w 174413"/>
                <a:gd name="connsiteY4" fmla="*/ 133595 h 292433"/>
                <a:gd name="connsiteX5" fmla="*/ 61195 w 174413"/>
                <a:gd name="connsiteY5" fmla="*/ 0 h 292433"/>
                <a:gd name="connsiteX6" fmla="*/ 164814 w 174413"/>
                <a:gd name="connsiteY6" fmla="*/ 134555 h 292433"/>
                <a:gd name="connsiteX7" fmla="*/ 113008 w 174413"/>
                <a:gd name="connsiteY7" fmla="*/ 233601 h 292433"/>
                <a:gd name="connsiteX8" fmla="*/ 106774 w 174413"/>
                <a:gd name="connsiteY8" fmla="*/ 234947 h 292433"/>
                <a:gd name="connsiteX9" fmla="*/ 105654 w 174413"/>
                <a:gd name="connsiteY9" fmla="*/ 227360 h 292433"/>
                <a:gd name="connsiteX10" fmla="*/ 174413 w 174413"/>
                <a:gd name="connsiteY10" fmla="*/ 292433 h 292433"/>
                <a:gd name="connsiteX0" fmla="*/ 60292 w 174413"/>
                <a:gd name="connsiteY0" fmla="*/ 227360 h 292433"/>
                <a:gd name="connsiteX1" fmla="*/ 59296 w 174413"/>
                <a:gd name="connsiteY1" fmla="*/ 234106 h 292433"/>
                <a:gd name="connsiteX2" fmla="*/ 52447 w 174413"/>
                <a:gd name="connsiteY2" fmla="*/ 232390 h 292433"/>
                <a:gd name="connsiteX3" fmla="*/ 2790 w 174413"/>
                <a:gd name="connsiteY3" fmla="*/ 133595 h 292433"/>
                <a:gd name="connsiteX4" fmla="*/ 61195 w 174413"/>
                <a:gd name="connsiteY4" fmla="*/ 0 h 292433"/>
                <a:gd name="connsiteX5" fmla="*/ 164814 w 174413"/>
                <a:gd name="connsiteY5" fmla="*/ 134555 h 292433"/>
                <a:gd name="connsiteX6" fmla="*/ 113008 w 174413"/>
                <a:gd name="connsiteY6" fmla="*/ 233601 h 292433"/>
                <a:gd name="connsiteX7" fmla="*/ 106774 w 174413"/>
                <a:gd name="connsiteY7" fmla="*/ 234947 h 292433"/>
                <a:gd name="connsiteX8" fmla="*/ 105654 w 174413"/>
                <a:gd name="connsiteY8" fmla="*/ 227360 h 292433"/>
                <a:gd name="connsiteX9" fmla="*/ 174413 w 174413"/>
                <a:gd name="connsiteY9" fmla="*/ 292433 h 292433"/>
                <a:gd name="connsiteX0" fmla="*/ 60292 w 165948"/>
                <a:gd name="connsiteY0" fmla="*/ 227360 h 234947"/>
                <a:gd name="connsiteX1" fmla="*/ 59296 w 165948"/>
                <a:gd name="connsiteY1" fmla="*/ 234106 h 234947"/>
                <a:gd name="connsiteX2" fmla="*/ 52447 w 165948"/>
                <a:gd name="connsiteY2" fmla="*/ 232390 h 234947"/>
                <a:gd name="connsiteX3" fmla="*/ 2790 w 165948"/>
                <a:gd name="connsiteY3" fmla="*/ 133595 h 234947"/>
                <a:gd name="connsiteX4" fmla="*/ 61195 w 165948"/>
                <a:gd name="connsiteY4" fmla="*/ 0 h 234947"/>
                <a:gd name="connsiteX5" fmla="*/ 164814 w 165948"/>
                <a:gd name="connsiteY5" fmla="*/ 134555 h 234947"/>
                <a:gd name="connsiteX6" fmla="*/ 113008 w 165948"/>
                <a:gd name="connsiteY6" fmla="*/ 233601 h 234947"/>
                <a:gd name="connsiteX7" fmla="*/ 106774 w 165948"/>
                <a:gd name="connsiteY7" fmla="*/ 234947 h 234947"/>
                <a:gd name="connsiteX8" fmla="*/ 105654 w 165948"/>
                <a:gd name="connsiteY8" fmla="*/ 227360 h 234947"/>
                <a:gd name="connsiteX0" fmla="*/ 60292 w 165948"/>
                <a:gd name="connsiteY0" fmla="*/ 227360 h 234947"/>
                <a:gd name="connsiteX1" fmla="*/ 59296 w 165948"/>
                <a:gd name="connsiteY1" fmla="*/ 234106 h 234947"/>
                <a:gd name="connsiteX2" fmla="*/ 52447 w 165948"/>
                <a:gd name="connsiteY2" fmla="*/ 232390 h 234947"/>
                <a:gd name="connsiteX3" fmla="*/ 2790 w 165948"/>
                <a:gd name="connsiteY3" fmla="*/ 133595 h 234947"/>
                <a:gd name="connsiteX4" fmla="*/ 61195 w 165948"/>
                <a:gd name="connsiteY4" fmla="*/ 0 h 234947"/>
                <a:gd name="connsiteX5" fmla="*/ 164814 w 165948"/>
                <a:gd name="connsiteY5" fmla="*/ 134555 h 234947"/>
                <a:gd name="connsiteX6" fmla="*/ 113008 w 165948"/>
                <a:gd name="connsiteY6" fmla="*/ 233601 h 234947"/>
                <a:gd name="connsiteX7" fmla="*/ 106774 w 165948"/>
                <a:gd name="connsiteY7" fmla="*/ 234947 h 234947"/>
                <a:gd name="connsiteX0" fmla="*/ 60292 w 165948"/>
                <a:gd name="connsiteY0" fmla="*/ 227360 h 234947"/>
                <a:gd name="connsiteX1" fmla="*/ 52447 w 165948"/>
                <a:gd name="connsiteY1" fmla="*/ 232390 h 234947"/>
                <a:gd name="connsiteX2" fmla="*/ 2790 w 165948"/>
                <a:gd name="connsiteY2" fmla="*/ 133595 h 234947"/>
                <a:gd name="connsiteX3" fmla="*/ 61195 w 165948"/>
                <a:gd name="connsiteY3" fmla="*/ 0 h 234947"/>
                <a:gd name="connsiteX4" fmla="*/ 164814 w 165948"/>
                <a:gd name="connsiteY4" fmla="*/ 134555 h 234947"/>
                <a:gd name="connsiteX5" fmla="*/ 113008 w 165948"/>
                <a:gd name="connsiteY5" fmla="*/ 233601 h 234947"/>
                <a:gd name="connsiteX6" fmla="*/ 106774 w 165948"/>
                <a:gd name="connsiteY6" fmla="*/ 234947 h 234947"/>
                <a:gd name="connsiteX0" fmla="*/ 52447 w 165948"/>
                <a:gd name="connsiteY0" fmla="*/ 232390 h 234947"/>
                <a:gd name="connsiteX1" fmla="*/ 2790 w 165948"/>
                <a:gd name="connsiteY1" fmla="*/ 133595 h 234947"/>
                <a:gd name="connsiteX2" fmla="*/ 61195 w 165948"/>
                <a:gd name="connsiteY2" fmla="*/ 0 h 234947"/>
                <a:gd name="connsiteX3" fmla="*/ 164814 w 165948"/>
                <a:gd name="connsiteY3" fmla="*/ 134555 h 234947"/>
                <a:gd name="connsiteX4" fmla="*/ 113008 w 165948"/>
                <a:gd name="connsiteY4" fmla="*/ 233601 h 234947"/>
                <a:gd name="connsiteX5" fmla="*/ 106774 w 165948"/>
                <a:gd name="connsiteY5" fmla="*/ 234947 h 234947"/>
                <a:gd name="connsiteX0" fmla="*/ 52447 w 165948"/>
                <a:gd name="connsiteY0" fmla="*/ 232390 h 233601"/>
                <a:gd name="connsiteX1" fmla="*/ 2790 w 165948"/>
                <a:gd name="connsiteY1" fmla="*/ 133595 h 233601"/>
                <a:gd name="connsiteX2" fmla="*/ 61195 w 165948"/>
                <a:gd name="connsiteY2" fmla="*/ 0 h 233601"/>
                <a:gd name="connsiteX3" fmla="*/ 164814 w 165948"/>
                <a:gd name="connsiteY3" fmla="*/ 134555 h 233601"/>
                <a:gd name="connsiteX4" fmla="*/ 113008 w 165948"/>
                <a:gd name="connsiteY4" fmla="*/ 233601 h 233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948" h="233601">
                  <a:moveTo>
                    <a:pt x="52447" y="232390"/>
                  </a:moveTo>
                  <a:cubicBezTo>
                    <a:pt x="20767" y="216831"/>
                    <a:pt x="-9469" y="179183"/>
                    <a:pt x="2790" y="133595"/>
                  </a:cubicBezTo>
                  <a:cubicBezTo>
                    <a:pt x="19136" y="72811"/>
                    <a:pt x="65684" y="75860"/>
                    <a:pt x="61195" y="0"/>
                  </a:cubicBezTo>
                  <a:cubicBezTo>
                    <a:pt x="108491" y="32481"/>
                    <a:pt x="155169" y="60328"/>
                    <a:pt x="164814" y="134555"/>
                  </a:cubicBezTo>
                  <a:cubicBezTo>
                    <a:pt x="172047" y="190226"/>
                    <a:pt x="143519" y="221185"/>
                    <a:pt x="113008" y="233601"/>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de-DE" sz="1400" dirty="0"/>
            </a:p>
          </p:txBody>
        </p:sp>
        <p:sp>
          <p:nvSpPr>
            <p:cNvPr id="13" name="Freeform: Shape 12">
              <a:extLst>
                <a:ext uri="{FF2B5EF4-FFF2-40B4-BE49-F238E27FC236}">
                  <a16:creationId xmlns:a16="http://schemas.microsoft.com/office/drawing/2014/main" id="{5B6CA499-3D67-43F8-858F-0FAA2BB9581C}"/>
                </a:ext>
              </a:extLst>
            </p:cNvPr>
            <p:cNvSpPr>
              <a:spLocks/>
            </p:cNvSpPr>
            <p:nvPr/>
          </p:nvSpPr>
          <p:spPr bwMode="gray">
            <a:xfrm>
              <a:off x="774027" y="2268409"/>
              <a:ext cx="98324" cy="127256"/>
            </a:xfrm>
            <a:custGeom>
              <a:avLst/>
              <a:gdLst>
                <a:gd name="connsiteX0" fmla="*/ 31007 w 84086"/>
                <a:gd name="connsiteY0" fmla="*/ 0 h 111685"/>
                <a:gd name="connsiteX1" fmla="*/ 83511 w 84086"/>
                <a:gd name="connsiteY1" fmla="*/ 68180 h 111685"/>
                <a:gd name="connsiteX2" fmla="*/ 71752 w 84086"/>
                <a:gd name="connsiteY2" fmla="*/ 108828 h 111685"/>
                <a:gd name="connsiteX3" fmla="*/ 65141 w 84086"/>
                <a:gd name="connsiteY3" fmla="*/ 111685 h 111685"/>
                <a:gd name="connsiteX4" fmla="*/ 64724 w 84086"/>
                <a:gd name="connsiteY4" fmla="*/ 108860 h 111685"/>
                <a:gd name="connsiteX5" fmla="*/ 42043 w 84086"/>
                <a:gd name="connsiteY5" fmla="*/ 82492 h 111685"/>
                <a:gd name="connsiteX6" fmla="*/ 19362 w 84086"/>
                <a:gd name="connsiteY6" fmla="*/ 108860 h 111685"/>
                <a:gd name="connsiteX7" fmla="*/ 19163 w 84086"/>
                <a:gd name="connsiteY7" fmla="*/ 110206 h 111685"/>
                <a:gd name="connsiteX8" fmla="*/ 11537 w 84086"/>
                <a:gd name="connsiteY8" fmla="*/ 106404 h 111685"/>
                <a:gd name="connsiteX9" fmla="*/ 1413 w 84086"/>
                <a:gd name="connsiteY9" fmla="*/ 67693 h 111685"/>
                <a:gd name="connsiteX10" fmla="*/ 31007 w 84086"/>
                <a:gd name="connsiteY10" fmla="*/ 0 h 111685"/>
                <a:gd name="connsiteX0" fmla="*/ 42043 w 133483"/>
                <a:gd name="connsiteY0" fmla="*/ 82492 h 173932"/>
                <a:gd name="connsiteX1" fmla="*/ 19362 w 133483"/>
                <a:gd name="connsiteY1" fmla="*/ 108860 h 173932"/>
                <a:gd name="connsiteX2" fmla="*/ 19163 w 133483"/>
                <a:gd name="connsiteY2" fmla="*/ 110206 h 173932"/>
                <a:gd name="connsiteX3" fmla="*/ 11537 w 133483"/>
                <a:gd name="connsiteY3" fmla="*/ 106404 h 173932"/>
                <a:gd name="connsiteX4" fmla="*/ 1413 w 133483"/>
                <a:gd name="connsiteY4" fmla="*/ 67693 h 173932"/>
                <a:gd name="connsiteX5" fmla="*/ 31007 w 133483"/>
                <a:gd name="connsiteY5" fmla="*/ 0 h 173932"/>
                <a:gd name="connsiteX6" fmla="*/ 83511 w 133483"/>
                <a:gd name="connsiteY6" fmla="*/ 68180 h 173932"/>
                <a:gd name="connsiteX7" fmla="*/ 71752 w 133483"/>
                <a:gd name="connsiteY7" fmla="*/ 108828 h 173932"/>
                <a:gd name="connsiteX8" fmla="*/ 65141 w 133483"/>
                <a:gd name="connsiteY8" fmla="*/ 111685 h 173932"/>
                <a:gd name="connsiteX9" fmla="*/ 64724 w 133483"/>
                <a:gd name="connsiteY9" fmla="*/ 108860 h 173932"/>
                <a:gd name="connsiteX10" fmla="*/ 133483 w 133483"/>
                <a:gd name="connsiteY10" fmla="*/ 173932 h 173932"/>
                <a:gd name="connsiteX0" fmla="*/ 42043 w 84086"/>
                <a:gd name="connsiteY0" fmla="*/ 82492 h 111685"/>
                <a:gd name="connsiteX1" fmla="*/ 19362 w 84086"/>
                <a:gd name="connsiteY1" fmla="*/ 108860 h 111685"/>
                <a:gd name="connsiteX2" fmla="*/ 19163 w 84086"/>
                <a:gd name="connsiteY2" fmla="*/ 110206 h 111685"/>
                <a:gd name="connsiteX3" fmla="*/ 11537 w 84086"/>
                <a:gd name="connsiteY3" fmla="*/ 106404 h 111685"/>
                <a:gd name="connsiteX4" fmla="*/ 1413 w 84086"/>
                <a:gd name="connsiteY4" fmla="*/ 67693 h 111685"/>
                <a:gd name="connsiteX5" fmla="*/ 31007 w 84086"/>
                <a:gd name="connsiteY5" fmla="*/ 0 h 111685"/>
                <a:gd name="connsiteX6" fmla="*/ 83511 w 84086"/>
                <a:gd name="connsiteY6" fmla="*/ 68180 h 111685"/>
                <a:gd name="connsiteX7" fmla="*/ 71752 w 84086"/>
                <a:gd name="connsiteY7" fmla="*/ 108828 h 111685"/>
                <a:gd name="connsiteX8" fmla="*/ 65141 w 84086"/>
                <a:gd name="connsiteY8" fmla="*/ 111685 h 111685"/>
                <a:gd name="connsiteX9" fmla="*/ 64724 w 84086"/>
                <a:gd name="connsiteY9" fmla="*/ 108860 h 111685"/>
                <a:gd name="connsiteX0" fmla="*/ 19362 w 84086"/>
                <a:gd name="connsiteY0" fmla="*/ 108860 h 111685"/>
                <a:gd name="connsiteX1" fmla="*/ 19163 w 84086"/>
                <a:gd name="connsiteY1" fmla="*/ 110206 h 111685"/>
                <a:gd name="connsiteX2" fmla="*/ 11537 w 84086"/>
                <a:gd name="connsiteY2" fmla="*/ 106404 h 111685"/>
                <a:gd name="connsiteX3" fmla="*/ 1413 w 84086"/>
                <a:gd name="connsiteY3" fmla="*/ 67693 h 111685"/>
                <a:gd name="connsiteX4" fmla="*/ 31007 w 84086"/>
                <a:gd name="connsiteY4" fmla="*/ 0 h 111685"/>
                <a:gd name="connsiteX5" fmla="*/ 83511 w 84086"/>
                <a:gd name="connsiteY5" fmla="*/ 68180 h 111685"/>
                <a:gd name="connsiteX6" fmla="*/ 71752 w 84086"/>
                <a:gd name="connsiteY6" fmla="*/ 108828 h 111685"/>
                <a:gd name="connsiteX7" fmla="*/ 65141 w 84086"/>
                <a:gd name="connsiteY7" fmla="*/ 111685 h 111685"/>
                <a:gd name="connsiteX8" fmla="*/ 64724 w 84086"/>
                <a:gd name="connsiteY8" fmla="*/ 108860 h 111685"/>
                <a:gd name="connsiteX0" fmla="*/ 19362 w 84086"/>
                <a:gd name="connsiteY0" fmla="*/ 108860 h 111685"/>
                <a:gd name="connsiteX1" fmla="*/ 19163 w 84086"/>
                <a:gd name="connsiteY1" fmla="*/ 110206 h 111685"/>
                <a:gd name="connsiteX2" fmla="*/ 11537 w 84086"/>
                <a:gd name="connsiteY2" fmla="*/ 106404 h 111685"/>
                <a:gd name="connsiteX3" fmla="*/ 1413 w 84086"/>
                <a:gd name="connsiteY3" fmla="*/ 67693 h 111685"/>
                <a:gd name="connsiteX4" fmla="*/ 31007 w 84086"/>
                <a:gd name="connsiteY4" fmla="*/ 0 h 111685"/>
                <a:gd name="connsiteX5" fmla="*/ 83511 w 84086"/>
                <a:gd name="connsiteY5" fmla="*/ 68180 h 111685"/>
                <a:gd name="connsiteX6" fmla="*/ 71752 w 84086"/>
                <a:gd name="connsiteY6" fmla="*/ 108828 h 111685"/>
                <a:gd name="connsiteX7" fmla="*/ 65141 w 84086"/>
                <a:gd name="connsiteY7" fmla="*/ 111685 h 111685"/>
                <a:gd name="connsiteX0" fmla="*/ 19362 w 84086"/>
                <a:gd name="connsiteY0" fmla="*/ 108860 h 111685"/>
                <a:gd name="connsiteX1" fmla="*/ 11537 w 84086"/>
                <a:gd name="connsiteY1" fmla="*/ 106404 h 111685"/>
                <a:gd name="connsiteX2" fmla="*/ 1413 w 84086"/>
                <a:gd name="connsiteY2" fmla="*/ 67693 h 111685"/>
                <a:gd name="connsiteX3" fmla="*/ 31007 w 84086"/>
                <a:gd name="connsiteY3" fmla="*/ 0 h 111685"/>
                <a:gd name="connsiteX4" fmla="*/ 83511 w 84086"/>
                <a:gd name="connsiteY4" fmla="*/ 68180 h 111685"/>
                <a:gd name="connsiteX5" fmla="*/ 71752 w 84086"/>
                <a:gd name="connsiteY5" fmla="*/ 108828 h 111685"/>
                <a:gd name="connsiteX6" fmla="*/ 65141 w 84086"/>
                <a:gd name="connsiteY6" fmla="*/ 111685 h 111685"/>
                <a:gd name="connsiteX0" fmla="*/ 11537 w 84086"/>
                <a:gd name="connsiteY0" fmla="*/ 106404 h 111685"/>
                <a:gd name="connsiteX1" fmla="*/ 1413 w 84086"/>
                <a:gd name="connsiteY1" fmla="*/ 67693 h 111685"/>
                <a:gd name="connsiteX2" fmla="*/ 31007 w 84086"/>
                <a:gd name="connsiteY2" fmla="*/ 0 h 111685"/>
                <a:gd name="connsiteX3" fmla="*/ 83511 w 84086"/>
                <a:gd name="connsiteY3" fmla="*/ 68180 h 111685"/>
                <a:gd name="connsiteX4" fmla="*/ 71752 w 84086"/>
                <a:gd name="connsiteY4" fmla="*/ 108828 h 111685"/>
                <a:gd name="connsiteX5" fmla="*/ 65141 w 84086"/>
                <a:gd name="connsiteY5" fmla="*/ 111685 h 111685"/>
                <a:gd name="connsiteX0" fmla="*/ 11537 w 84086"/>
                <a:gd name="connsiteY0" fmla="*/ 106404 h 108828"/>
                <a:gd name="connsiteX1" fmla="*/ 1413 w 84086"/>
                <a:gd name="connsiteY1" fmla="*/ 67693 h 108828"/>
                <a:gd name="connsiteX2" fmla="*/ 31007 w 84086"/>
                <a:gd name="connsiteY2" fmla="*/ 0 h 108828"/>
                <a:gd name="connsiteX3" fmla="*/ 83511 w 84086"/>
                <a:gd name="connsiteY3" fmla="*/ 68180 h 108828"/>
                <a:gd name="connsiteX4" fmla="*/ 71752 w 84086"/>
                <a:gd name="connsiteY4" fmla="*/ 108828 h 108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86" h="108828">
                  <a:moveTo>
                    <a:pt x="11537" y="106404"/>
                  </a:moveTo>
                  <a:cubicBezTo>
                    <a:pt x="2701" y="96705"/>
                    <a:pt x="-2728" y="83093"/>
                    <a:pt x="1413" y="67693"/>
                  </a:cubicBezTo>
                  <a:cubicBezTo>
                    <a:pt x="9696" y="36894"/>
                    <a:pt x="33282" y="38439"/>
                    <a:pt x="31007" y="0"/>
                  </a:cubicBezTo>
                  <a:cubicBezTo>
                    <a:pt x="54972" y="16458"/>
                    <a:pt x="78625" y="30569"/>
                    <a:pt x="83511" y="68180"/>
                  </a:cubicBezTo>
                  <a:cubicBezTo>
                    <a:pt x="85955" y="86986"/>
                    <a:pt x="80345" y="100226"/>
                    <a:pt x="71752" y="108828"/>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de-DE" sz="1400" dirty="0"/>
            </a:p>
          </p:txBody>
        </p:sp>
      </p:grpSp>
    </p:spTree>
    <p:extLst>
      <p:ext uri="{BB962C8B-B14F-4D97-AF65-F5344CB8AC3E}">
        <p14:creationId xmlns:p14="http://schemas.microsoft.com/office/powerpoint/2010/main" val="2840408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F4F7D-2CCB-4CA7-AFFD-55D74038827F}"/>
              </a:ext>
            </a:extLst>
          </p:cNvPr>
          <p:cNvSpPr>
            <a:spLocks noGrp="1"/>
          </p:cNvSpPr>
          <p:nvPr>
            <p:ph type="title"/>
          </p:nvPr>
        </p:nvSpPr>
        <p:spPr/>
        <p:txBody>
          <a:bodyPr/>
          <a:lstStyle/>
          <a:p>
            <a:r>
              <a:rPr lang="de-DE" dirty="0"/>
              <a:t>Air </a:t>
            </a:r>
            <a:r>
              <a:rPr lang="de-DE" dirty="0" err="1"/>
              <a:t>separation</a:t>
            </a:r>
            <a:r>
              <a:rPr lang="de-DE" dirty="0"/>
              <a:t> </a:t>
            </a:r>
            <a:r>
              <a:rPr lang="de-DE" dirty="0" err="1"/>
              <a:t>unit</a:t>
            </a:r>
            <a:r>
              <a:rPr lang="de-DE" dirty="0"/>
              <a:t> (ASU)</a:t>
            </a:r>
            <a:endParaRPr lang="en-US" dirty="0"/>
          </a:p>
        </p:txBody>
      </p:sp>
      <p:sp>
        <p:nvSpPr>
          <p:cNvPr id="3" name="Footer Placeholder 2">
            <a:extLst>
              <a:ext uri="{FF2B5EF4-FFF2-40B4-BE49-F238E27FC236}">
                <a16:creationId xmlns:a16="http://schemas.microsoft.com/office/drawing/2014/main" id="{5732E45B-BD86-4BEE-AD59-D40AE9AD6F0C}"/>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DAB82839-24AC-4EDE-B3AE-EACC7C6C64C5}"/>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8B603ECC-BDFC-4497-8CD2-ED191CEC041F}"/>
              </a:ext>
            </a:extLst>
          </p:cNvPr>
          <p:cNvSpPr>
            <a:spLocks noGrp="1"/>
          </p:cNvSpPr>
          <p:nvPr>
            <p:ph type="sldNum" sz="quarter" idx="12"/>
          </p:nvPr>
        </p:nvSpPr>
        <p:spPr/>
        <p:txBody>
          <a:bodyPr/>
          <a:lstStyle/>
          <a:p>
            <a:r>
              <a:rPr lang="en-US"/>
              <a:t>Slide </a:t>
            </a:r>
            <a:fld id="{619F89D8-7AE3-494A-97F3-03D680869632}" type="slidenum">
              <a:rPr lang="en-US" smtClean="0"/>
              <a:pPr/>
              <a:t>47</a:t>
            </a:fld>
            <a:endParaRPr lang="en-US" dirty="0"/>
          </a:p>
        </p:txBody>
      </p:sp>
      <p:sp>
        <p:nvSpPr>
          <p:cNvPr id="6" name="Content Placeholder 5">
            <a:extLst>
              <a:ext uri="{FF2B5EF4-FFF2-40B4-BE49-F238E27FC236}">
                <a16:creationId xmlns:a16="http://schemas.microsoft.com/office/drawing/2014/main" id="{7EC1AF45-CE34-4000-B1D3-C095586E07CA}"/>
              </a:ext>
            </a:extLst>
          </p:cNvPr>
          <p:cNvSpPr>
            <a:spLocks noGrp="1"/>
          </p:cNvSpPr>
          <p:nvPr>
            <p:ph sz="quarter" idx="20"/>
          </p:nvPr>
        </p:nvSpPr>
        <p:spPr/>
        <p:txBody>
          <a:bodyPr/>
          <a:lstStyle/>
          <a:p>
            <a:pPr>
              <a:spcBef>
                <a:spcPts val="0"/>
              </a:spcBef>
            </a:pPr>
            <a:r>
              <a:rPr lang="de-DE" dirty="0"/>
              <a:t>Uras26</a:t>
            </a:r>
          </a:p>
          <a:p>
            <a:pPr>
              <a:spcBef>
                <a:spcPts val="0"/>
              </a:spcBef>
            </a:pPr>
            <a:r>
              <a:rPr lang="de-DE" dirty="0">
                <a:solidFill>
                  <a:schemeClr val="tx1"/>
                </a:solidFill>
              </a:rPr>
              <a:t>Infrared </a:t>
            </a:r>
            <a:r>
              <a:rPr lang="de-DE" dirty="0" err="1">
                <a:solidFill>
                  <a:schemeClr val="tx1"/>
                </a:solidFill>
              </a:rPr>
              <a:t>photometer</a:t>
            </a:r>
            <a:r>
              <a:rPr lang="de-DE" dirty="0">
                <a:solidFill>
                  <a:schemeClr val="tx1"/>
                </a:solidFill>
              </a:rPr>
              <a:t> – 0 </a:t>
            </a:r>
            <a:r>
              <a:rPr lang="de-DE" dirty="0" err="1">
                <a:solidFill>
                  <a:schemeClr val="tx1"/>
                </a:solidFill>
              </a:rPr>
              <a:t>to</a:t>
            </a:r>
            <a:r>
              <a:rPr lang="de-DE" dirty="0">
                <a:solidFill>
                  <a:schemeClr val="tx1"/>
                </a:solidFill>
              </a:rPr>
              <a:t> 10 vol% CO / 0 </a:t>
            </a:r>
            <a:r>
              <a:rPr lang="de-DE" dirty="0" err="1">
                <a:solidFill>
                  <a:schemeClr val="tx1"/>
                </a:solidFill>
              </a:rPr>
              <a:t>to</a:t>
            </a:r>
            <a:r>
              <a:rPr lang="de-DE" dirty="0">
                <a:solidFill>
                  <a:schemeClr val="tx1"/>
                </a:solidFill>
              </a:rPr>
              <a:t> 50 vol% CH</a:t>
            </a:r>
            <a:r>
              <a:rPr lang="de-DE" baseline="-25000" dirty="0">
                <a:solidFill>
                  <a:schemeClr val="tx1"/>
                </a:solidFill>
              </a:rPr>
              <a:t>4</a:t>
            </a:r>
            <a:r>
              <a:rPr lang="de-DE" dirty="0">
                <a:solidFill>
                  <a:schemeClr val="tx1"/>
                </a:solidFill>
              </a:rPr>
              <a:t> </a:t>
            </a:r>
            <a:endParaRPr lang="de-DE" baseline="-25000" dirty="0">
              <a:solidFill>
                <a:schemeClr val="tx1"/>
              </a:solidFill>
            </a:endParaRPr>
          </a:p>
          <a:p>
            <a:pPr lvl="1">
              <a:spcBef>
                <a:spcPts val="0"/>
              </a:spcBef>
            </a:pPr>
            <a:endParaRPr lang="de-DE" dirty="0"/>
          </a:p>
          <a:p>
            <a:pPr lvl="1">
              <a:spcBef>
                <a:spcPts val="300"/>
              </a:spcBef>
            </a:pPr>
            <a:r>
              <a:rPr lang="de-DE" dirty="0" err="1"/>
              <a:t>Measure</a:t>
            </a:r>
            <a:r>
              <a:rPr lang="de-DE" dirty="0"/>
              <a:t> </a:t>
            </a:r>
            <a:r>
              <a:rPr lang="de-DE" dirty="0" err="1"/>
              <a:t>up</a:t>
            </a:r>
            <a:r>
              <a:rPr lang="de-DE" dirty="0"/>
              <a:t> </a:t>
            </a:r>
            <a:r>
              <a:rPr lang="de-DE" dirty="0" err="1"/>
              <a:t>to</a:t>
            </a:r>
            <a:r>
              <a:rPr lang="de-DE" dirty="0"/>
              <a:t> 4 </a:t>
            </a:r>
            <a:r>
              <a:rPr lang="de-DE" dirty="0" err="1"/>
              <a:t>components</a:t>
            </a:r>
            <a:r>
              <a:rPr lang="de-DE" dirty="0"/>
              <a:t> </a:t>
            </a:r>
            <a:r>
              <a:rPr lang="de-DE" dirty="0" err="1"/>
              <a:t>simultaneously</a:t>
            </a:r>
            <a:endParaRPr lang="de-DE" dirty="0"/>
          </a:p>
          <a:p>
            <a:pPr lvl="1">
              <a:spcBef>
                <a:spcPts val="300"/>
              </a:spcBef>
            </a:pPr>
            <a:r>
              <a:rPr lang="de-DE" dirty="0"/>
              <a:t>Gas-</a:t>
            </a:r>
            <a:r>
              <a:rPr lang="de-DE" dirty="0" err="1"/>
              <a:t>filled</a:t>
            </a:r>
            <a:r>
              <a:rPr lang="de-DE" dirty="0"/>
              <a:t> </a:t>
            </a:r>
            <a:r>
              <a:rPr lang="de-DE" dirty="0" err="1"/>
              <a:t>detectors</a:t>
            </a:r>
            <a:r>
              <a:rPr lang="de-DE" dirty="0"/>
              <a:t> </a:t>
            </a:r>
            <a:r>
              <a:rPr lang="de-DE" dirty="0" err="1"/>
              <a:t>for</a:t>
            </a:r>
            <a:r>
              <a:rPr lang="de-DE" dirty="0"/>
              <a:t> </a:t>
            </a:r>
            <a:r>
              <a:rPr lang="de-DE" dirty="0" err="1"/>
              <a:t>highly</a:t>
            </a:r>
            <a:r>
              <a:rPr lang="de-DE" dirty="0"/>
              <a:t> </a:t>
            </a:r>
            <a:r>
              <a:rPr lang="de-DE" dirty="0" err="1"/>
              <a:t>selective</a:t>
            </a:r>
            <a:r>
              <a:rPr lang="de-DE" dirty="0"/>
              <a:t> </a:t>
            </a:r>
            <a:r>
              <a:rPr lang="de-DE" dirty="0" err="1"/>
              <a:t>measurement</a:t>
            </a:r>
            <a:endParaRPr lang="de-DE" dirty="0"/>
          </a:p>
          <a:p>
            <a:pPr lvl="1">
              <a:spcBef>
                <a:spcPts val="300"/>
              </a:spcBef>
            </a:pPr>
            <a:r>
              <a:rPr lang="de-DE" dirty="0"/>
              <a:t>Easy </a:t>
            </a:r>
            <a:r>
              <a:rPr lang="de-DE" dirty="0" err="1"/>
              <a:t>to</a:t>
            </a:r>
            <a:r>
              <a:rPr lang="de-DE" dirty="0"/>
              <a:t> </a:t>
            </a:r>
            <a:r>
              <a:rPr lang="de-DE" dirty="0" err="1"/>
              <a:t>add</a:t>
            </a:r>
            <a:r>
              <a:rPr lang="de-DE" dirty="0"/>
              <a:t> and </a:t>
            </a:r>
            <a:r>
              <a:rPr lang="de-DE" dirty="0" err="1"/>
              <a:t>change</a:t>
            </a:r>
            <a:r>
              <a:rPr lang="de-DE" dirty="0"/>
              <a:t> </a:t>
            </a:r>
            <a:r>
              <a:rPr lang="de-DE" dirty="0" err="1"/>
              <a:t>measuring</a:t>
            </a:r>
            <a:r>
              <a:rPr lang="de-DE" dirty="0"/>
              <a:t> </a:t>
            </a:r>
            <a:r>
              <a:rPr lang="de-DE" dirty="0" err="1"/>
              <a:t>components</a:t>
            </a:r>
            <a:r>
              <a:rPr lang="de-DE" dirty="0"/>
              <a:t> in </a:t>
            </a:r>
            <a:r>
              <a:rPr lang="de-DE" dirty="0" err="1"/>
              <a:t>field</a:t>
            </a:r>
            <a:endParaRPr lang="de-DE" dirty="0"/>
          </a:p>
          <a:p>
            <a:pPr lvl="1">
              <a:spcBef>
                <a:spcPts val="300"/>
              </a:spcBef>
            </a:pPr>
            <a:r>
              <a:rPr lang="de-DE" dirty="0"/>
              <a:t>Internal </a:t>
            </a:r>
            <a:r>
              <a:rPr lang="de-DE" dirty="0" err="1"/>
              <a:t>calibration</a:t>
            </a:r>
            <a:r>
              <a:rPr lang="de-DE" dirty="0"/>
              <a:t> </a:t>
            </a:r>
            <a:r>
              <a:rPr lang="de-DE" dirty="0" err="1"/>
              <a:t>cells</a:t>
            </a:r>
            <a:r>
              <a:rPr lang="de-DE" dirty="0"/>
              <a:t> </a:t>
            </a:r>
            <a:r>
              <a:rPr lang="de-DE" dirty="0" err="1"/>
              <a:t>minimize</a:t>
            </a:r>
            <a:r>
              <a:rPr lang="de-DE" dirty="0"/>
              <a:t> </a:t>
            </a:r>
            <a:r>
              <a:rPr lang="de-DE" dirty="0" err="1"/>
              <a:t>cost</a:t>
            </a:r>
            <a:r>
              <a:rPr lang="de-DE" dirty="0"/>
              <a:t> </a:t>
            </a:r>
            <a:r>
              <a:rPr lang="de-DE" dirty="0" err="1"/>
              <a:t>of</a:t>
            </a:r>
            <a:r>
              <a:rPr lang="de-DE" dirty="0"/>
              <a:t> </a:t>
            </a:r>
            <a:r>
              <a:rPr lang="de-DE" dirty="0" err="1"/>
              <a:t>ownership</a:t>
            </a:r>
            <a:endParaRPr lang="de-DE" dirty="0"/>
          </a:p>
          <a:p>
            <a:pPr lvl="1">
              <a:spcBef>
                <a:spcPts val="300"/>
              </a:spcBef>
            </a:pPr>
            <a:r>
              <a:rPr lang="de-DE" dirty="0" err="1"/>
              <a:t>Available</a:t>
            </a:r>
            <a:r>
              <a:rPr lang="de-DE" dirty="0"/>
              <a:t> in EL3000 and AO2000 </a:t>
            </a:r>
            <a:r>
              <a:rPr lang="de-DE" dirty="0" err="1"/>
              <a:t>series</a:t>
            </a:r>
            <a:endParaRPr lang="de-DE" dirty="0"/>
          </a:p>
        </p:txBody>
      </p:sp>
      <p:sp>
        <p:nvSpPr>
          <p:cNvPr id="7" name="Content Placeholder 6">
            <a:extLst>
              <a:ext uri="{FF2B5EF4-FFF2-40B4-BE49-F238E27FC236}">
                <a16:creationId xmlns:a16="http://schemas.microsoft.com/office/drawing/2014/main" id="{2ADDC11F-5D49-4BCD-922D-04728BABF3FE}"/>
              </a:ext>
            </a:extLst>
          </p:cNvPr>
          <p:cNvSpPr>
            <a:spLocks noGrp="1"/>
          </p:cNvSpPr>
          <p:nvPr>
            <p:ph sz="quarter" idx="19"/>
          </p:nvPr>
        </p:nvSpPr>
        <p:spPr>
          <a:xfrm>
            <a:off x="793629" y="1931194"/>
            <a:ext cx="3074985" cy="3980917"/>
          </a:xfrm>
        </p:spPr>
        <p:txBody>
          <a:bodyPr/>
          <a:lstStyle/>
          <a:p>
            <a:r>
              <a:rPr lang="en-US" dirty="0"/>
              <a:t>Selectivity, conversion &amp; yield</a:t>
            </a:r>
          </a:p>
          <a:p>
            <a:pPr lvl="1">
              <a:spcBef>
                <a:spcPts val="0"/>
              </a:spcBef>
            </a:pPr>
            <a:endParaRPr lang="en-US" dirty="0"/>
          </a:p>
          <a:p>
            <a:pPr lvl="1">
              <a:spcBef>
                <a:spcPts val="0"/>
              </a:spcBef>
            </a:pPr>
            <a:r>
              <a:rPr lang="en-US" dirty="0"/>
              <a:t>SMR relies on catalytic conversion of methane to H</a:t>
            </a:r>
            <a:r>
              <a:rPr lang="en-US" baseline="-25000" dirty="0"/>
              <a:t>2</a:t>
            </a:r>
            <a:r>
              <a:rPr lang="en-US" dirty="0"/>
              <a:t> and CO</a:t>
            </a:r>
          </a:p>
          <a:p>
            <a:pPr lvl="1">
              <a:spcBef>
                <a:spcPts val="0"/>
              </a:spcBef>
            </a:pPr>
            <a:r>
              <a:rPr lang="en-US" dirty="0"/>
              <a:t>If damaged, reaction will not take place properly</a:t>
            </a:r>
          </a:p>
          <a:p>
            <a:pPr lvl="1">
              <a:spcBef>
                <a:spcPts val="0"/>
              </a:spcBef>
            </a:pPr>
            <a:r>
              <a:rPr lang="en-US" dirty="0"/>
              <a:t>Essential to measure products coming out of SMR to check reaction selectivity, conversion and yield</a:t>
            </a:r>
          </a:p>
        </p:txBody>
      </p:sp>
      <p:sp>
        <p:nvSpPr>
          <p:cNvPr id="8" name="Subtitle 7">
            <a:extLst>
              <a:ext uri="{FF2B5EF4-FFF2-40B4-BE49-F238E27FC236}">
                <a16:creationId xmlns:a16="http://schemas.microsoft.com/office/drawing/2014/main" id="{8716F94D-E2ED-4522-BA19-0B094F971306}"/>
              </a:ext>
            </a:extLst>
          </p:cNvPr>
          <p:cNvSpPr>
            <a:spLocks noGrp="1"/>
          </p:cNvSpPr>
          <p:nvPr>
            <p:ph type="subTitle" idx="13"/>
          </p:nvPr>
        </p:nvSpPr>
        <p:spPr/>
        <p:txBody>
          <a:bodyPr/>
          <a:lstStyle/>
          <a:p>
            <a:r>
              <a:rPr lang="de-DE" dirty="0"/>
              <a:t>Pain </a:t>
            </a:r>
            <a:r>
              <a:rPr lang="de-DE" dirty="0" err="1"/>
              <a:t>points</a:t>
            </a:r>
            <a:r>
              <a:rPr lang="de-DE" dirty="0"/>
              <a:t> and ABB </a:t>
            </a:r>
            <a:r>
              <a:rPr lang="de-DE" dirty="0" err="1"/>
              <a:t>solution</a:t>
            </a:r>
            <a:endParaRPr lang="en-US" dirty="0"/>
          </a:p>
        </p:txBody>
      </p:sp>
      <p:grpSp>
        <p:nvGrpSpPr>
          <p:cNvPr id="20" name="Group 19">
            <a:extLst>
              <a:ext uri="{FF2B5EF4-FFF2-40B4-BE49-F238E27FC236}">
                <a16:creationId xmlns:a16="http://schemas.microsoft.com/office/drawing/2014/main" id="{9001D2E9-5476-4698-8FDD-6D98B5D674EB}"/>
              </a:ext>
            </a:extLst>
          </p:cNvPr>
          <p:cNvGrpSpPr/>
          <p:nvPr/>
        </p:nvGrpSpPr>
        <p:grpSpPr bwMode="gray">
          <a:xfrm>
            <a:off x="461687" y="2024026"/>
            <a:ext cx="236701" cy="284834"/>
            <a:chOff x="1173940" y="2927540"/>
            <a:chExt cx="262629" cy="316036"/>
          </a:xfrm>
        </p:grpSpPr>
        <p:sp>
          <p:nvSpPr>
            <p:cNvPr id="22" name="Freeform: Shape 21">
              <a:extLst>
                <a:ext uri="{FF2B5EF4-FFF2-40B4-BE49-F238E27FC236}">
                  <a16:creationId xmlns:a16="http://schemas.microsoft.com/office/drawing/2014/main" id="{E13974E6-66C8-4631-9809-7C28A2F2FB26}"/>
                </a:ext>
              </a:extLst>
            </p:cNvPr>
            <p:cNvSpPr/>
            <p:nvPr/>
          </p:nvSpPr>
          <p:spPr bwMode="gray">
            <a:xfrm flipH="1">
              <a:off x="1332174" y="3069160"/>
              <a:ext cx="101951" cy="41204"/>
            </a:xfrm>
            <a:custGeom>
              <a:avLst/>
              <a:gdLst>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8708 w 297254"/>
                <a:gd name="connsiteY12" fmla="*/ 257973 h 921450"/>
                <a:gd name="connsiteX13" fmla="*/ 226749 w 297254"/>
                <a:gd name="connsiteY13" fmla="*/ 254635 h 921450"/>
                <a:gd name="connsiteX14" fmla="*/ 226749 w 297254"/>
                <a:gd name="connsiteY14" fmla="*/ 76034 h 921450"/>
                <a:gd name="connsiteX15" fmla="*/ 150714 w 297254"/>
                <a:gd name="connsiteY15"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6749 w 297254"/>
                <a:gd name="connsiteY12" fmla="*/ 254635 h 921450"/>
                <a:gd name="connsiteX13" fmla="*/ 226749 w 297254"/>
                <a:gd name="connsiteY13" fmla="*/ 76034 h 921450"/>
                <a:gd name="connsiteX14" fmla="*/ 150714 w 297254"/>
                <a:gd name="connsiteY14"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0 w 297254"/>
                <a:gd name="connsiteY7" fmla="*/ 921450 h 921450"/>
                <a:gd name="connsiteX8" fmla="*/ 297254 w 297254"/>
                <a:gd name="connsiteY8" fmla="*/ 921450 h 921450"/>
                <a:gd name="connsiteX9" fmla="*/ 297254 w 297254"/>
                <a:gd name="connsiteY9" fmla="*/ 374772 h 921450"/>
                <a:gd name="connsiteX10" fmla="*/ 297254 w 297254"/>
                <a:gd name="connsiteY10" fmla="*/ 372716 h 921450"/>
                <a:gd name="connsiteX11" fmla="*/ 226749 w 297254"/>
                <a:gd name="connsiteY11" fmla="*/ 254635 h 921450"/>
                <a:gd name="connsiteX12" fmla="*/ 226749 w 297254"/>
                <a:gd name="connsiteY12" fmla="*/ 76034 h 921450"/>
                <a:gd name="connsiteX13" fmla="*/ 150714 w 297254"/>
                <a:gd name="connsiteY13"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11" fmla="*/ 226749 w 297254"/>
                <a:gd name="connsiteY11" fmla="*/ 76034 h 921450"/>
                <a:gd name="connsiteX12" fmla="*/ 150714 w 297254"/>
                <a:gd name="connsiteY12" fmla="*/ 0 h 921450"/>
                <a:gd name="connsiteX0" fmla="*/ 150714 w 297254"/>
                <a:gd name="connsiteY0" fmla="*/ 0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10" fmla="*/ 226749 w 297254"/>
                <a:gd name="connsiteY10" fmla="*/ 76034 h 374772"/>
                <a:gd name="connsiteX11" fmla="*/ 150714 w 297254"/>
                <a:gd name="connsiteY11" fmla="*/ 0 h 374772"/>
                <a:gd name="connsiteX0" fmla="*/ 150714 w 297254"/>
                <a:gd name="connsiteY0" fmla="*/ 0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10" fmla="*/ 150714 w 297254"/>
                <a:gd name="connsiteY10" fmla="*/ 0 h 374772"/>
                <a:gd name="connsiteX0" fmla="*/ 226749 w 297254"/>
                <a:gd name="connsiteY0" fmla="*/ 254635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0" fmla="*/ 226749 w 297254"/>
                <a:gd name="connsiteY0" fmla="*/ 254635 h 374772"/>
                <a:gd name="connsiteX1" fmla="*/ 148627 w 297254"/>
                <a:gd name="connsiteY1" fmla="*/ 421 h 374772"/>
                <a:gd name="connsiteX2" fmla="*/ 146540 w 297254"/>
                <a:gd name="connsiteY2" fmla="*/ 0 h 374772"/>
                <a:gd name="connsiteX3" fmla="*/ 70505 w 297254"/>
                <a:gd name="connsiteY3" fmla="*/ 254635 h 374772"/>
                <a:gd name="connsiteX4" fmla="*/ 0 w 297254"/>
                <a:gd name="connsiteY4" fmla="*/ 372716 h 374772"/>
                <a:gd name="connsiteX5" fmla="*/ 0 w 297254"/>
                <a:gd name="connsiteY5" fmla="*/ 374772 h 374772"/>
                <a:gd name="connsiteX6" fmla="*/ 297254 w 297254"/>
                <a:gd name="connsiteY6" fmla="*/ 374772 h 374772"/>
                <a:gd name="connsiteX7" fmla="*/ 297254 w 297254"/>
                <a:gd name="connsiteY7" fmla="*/ 372716 h 374772"/>
                <a:gd name="connsiteX8" fmla="*/ 226749 w 297254"/>
                <a:gd name="connsiteY8" fmla="*/ 254635 h 374772"/>
                <a:gd name="connsiteX0" fmla="*/ 226749 w 297254"/>
                <a:gd name="connsiteY0" fmla="*/ 254215 h 374352"/>
                <a:gd name="connsiteX1" fmla="*/ 148627 w 297254"/>
                <a:gd name="connsiteY1" fmla="*/ 1 h 374352"/>
                <a:gd name="connsiteX2" fmla="*/ 70505 w 297254"/>
                <a:gd name="connsiteY2" fmla="*/ 254215 h 374352"/>
                <a:gd name="connsiteX3" fmla="*/ 0 w 297254"/>
                <a:gd name="connsiteY3" fmla="*/ 372296 h 374352"/>
                <a:gd name="connsiteX4" fmla="*/ 0 w 297254"/>
                <a:gd name="connsiteY4" fmla="*/ 374352 h 374352"/>
                <a:gd name="connsiteX5" fmla="*/ 297254 w 297254"/>
                <a:gd name="connsiteY5" fmla="*/ 374352 h 374352"/>
                <a:gd name="connsiteX6" fmla="*/ 297254 w 297254"/>
                <a:gd name="connsiteY6" fmla="*/ 372296 h 374352"/>
                <a:gd name="connsiteX7" fmla="*/ 226749 w 297254"/>
                <a:gd name="connsiteY7" fmla="*/ 254215 h 374352"/>
                <a:gd name="connsiteX0" fmla="*/ 226749 w 297254"/>
                <a:gd name="connsiteY0" fmla="*/ -1 h 120136"/>
                <a:gd name="connsiteX1" fmla="*/ 70505 w 297254"/>
                <a:gd name="connsiteY1" fmla="*/ -1 h 120136"/>
                <a:gd name="connsiteX2" fmla="*/ 0 w 297254"/>
                <a:gd name="connsiteY2" fmla="*/ 118080 h 120136"/>
                <a:gd name="connsiteX3" fmla="*/ 0 w 297254"/>
                <a:gd name="connsiteY3" fmla="*/ 120136 h 120136"/>
                <a:gd name="connsiteX4" fmla="*/ 297254 w 297254"/>
                <a:gd name="connsiteY4" fmla="*/ 120136 h 120136"/>
                <a:gd name="connsiteX5" fmla="*/ 297254 w 297254"/>
                <a:gd name="connsiteY5" fmla="*/ 118080 h 120136"/>
                <a:gd name="connsiteX6" fmla="*/ 226749 w 297254"/>
                <a:gd name="connsiteY6" fmla="*/ -1 h 120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54" h="120136">
                  <a:moveTo>
                    <a:pt x="226749" y="-1"/>
                  </a:moveTo>
                  <a:lnTo>
                    <a:pt x="70505" y="-1"/>
                  </a:lnTo>
                  <a:lnTo>
                    <a:pt x="0" y="118080"/>
                  </a:lnTo>
                  <a:lnTo>
                    <a:pt x="0" y="120136"/>
                  </a:lnTo>
                  <a:lnTo>
                    <a:pt x="297254" y="120136"/>
                  </a:lnTo>
                  <a:lnTo>
                    <a:pt x="297254" y="118080"/>
                  </a:lnTo>
                  <a:lnTo>
                    <a:pt x="226749" y="-1"/>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23" name="Freeform: Shape 22">
              <a:extLst>
                <a:ext uri="{FF2B5EF4-FFF2-40B4-BE49-F238E27FC236}">
                  <a16:creationId xmlns:a16="http://schemas.microsoft.com/office/drawing/2014/main" id="{26AF0764-912F-4215-AA83-7E2140E97181}"/>
                </a:ext>
              </a:extLst>
            </p:cNvPr>
            <p:cNvSpPr/>
            <p:nvPr/>
          </p:nvSpPr>
          <p:spPr bwMode="gray">
            <a:xfrm flipH="1">
              <a:off x="1356355" y="2927540"/>
              <a:ext cx="53588" cy="144484"/>
            </a:xfrm>
            <a:custGeom>
              <a:avLst/>
              <a:gdLst>
                <a:gd name="connsiteX0" fmla="*/ 27510 w 53588"/>
                <a:gd name="connsiteY0" fmla="*/ 0 h 144484"/>
                <a:gd name="connsiteX1" fmla="*/ 26794 w 53588"/>
                <a:gd name="connsiteY1" fmla="*/ 145 h 144484"/>
                <a:gd name="connsiteX2" fmla="*/ 26078 w 53588"/>
                <a:gd name="connsiteY2" fmla="*/ 0 h 144484"/>
                <a:gd name="connsiteX3" fmla="*/ 0 w 53588"/>
                <a:gd name="connsiteY3" fmla="*/ 26078 h 144484"/>
                <a:gd name="connsiteX4" fmla="*/ 0 w 53588"/>
                <a:gd name="connsiteY4" fmla="*/ 83228 h 144484"/>
                <a:gd name="connsiteX5" fmla="*/ 0 w 53588"/>
                <a:gd name="connsiteY5" fmla="*/ 87334 h 144484"/>
                <a:gd name="connsiteX6" fmla="*/ 0 w 53588"/>
                <a:gd name="connsiteY6" fmla="*/ 144484 h 144484"/>
                <a:gd name="connsiteX7" fmla="*/ 53588 w 53588"/>
                <a:gd name="connsiteY7" fmla="*/ 144484 h 144484"/>
                <a:gd name="connsiteX8" fmla="*/ 53588 w 53588"/>
                <a:gd name="connsiteY8" fmla="*/ 87334 h 144484"/>
                <a:gd name="connsiteX9" fmla="*/ 53588 w 53588"/>
                <a:gd name="connsiteY9" fmla="*/ 83228 h 144484"/>
                <a:gd name="connsiteX10" fmla="*/ 53588 w 53588"/>
                <a:gd name="connsiteY10" fmla="*/ 26078 h 144484"/>
                <a:gd name="connsiteX11" fmla="*/ 27510 w 53588"/>
                <a:gd name="connsiteY11" fmla="*/ 0 h 14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588" h="144484">
                  <a:moveTo>
                    <a:pt x="27510" y="0"/>
                  </a:moveTo>
                  <a:lnTo>
                    <a:pt x="26794" y="145"/>
                  </a:lnTo>
                  <a:lnTo>
                    <a:pt x="26078" y="0"/>
                  </a:lnTo>
                  <a:cubicBezTo>
                    <a:pt x="11675" y="0"/>
                    <a:pt x="0" y="11676"/>
                    <a:pt x="0" y="26078"/>
                  </a:cubicBezTo>
                  <a:lnTo>
                    <a:pt x="0" y="83228"/>
                  </a:lnTo>
                  <a:lnTo>
                    <a:pt x="0" y="87334"/>
                  </a:lnTo>
                  <a:lnTo>
                    <a:pt x="0" y="144484"/>
                  </a:lnTo>
                  <a:lnTo>
                    <a:pt x="53588" y="144484"/>
                  </a:lnTo>
                  <a:lnTo>
                    <a:pt x="53588" y="87334"/>
                  </a:lnTo>
                  <a:lnTo>
                    <a:pt x="53588" y="83228"/>
                  </a:lnTo>
                  <a:lnTo>
                    <a:pt x="53588" y="26078"/>
                  </a:lnTo>
                  <a:cubicBezTo>
                    <a:pt x="53588" y="11676"/>
                    <a:pt x="41912" y="0"/>
                    <a:pt x="27510" y="0"/>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24" name="Freeform: Shape 23">
              <a:extLst>
                <a:ext uri="{FF2B5EF4-FFF2-40B4-BE49-F238E27FC236}">
                  <a16:creationId xmlns:a16="http://schemas.microsoft.com/office/drawing/2014/main" id="{D134158F-8209-431A-85A8-4826263723A3}"/>
                </a:ext>
              </a:extLst>
            </p:cNvPr>
            <p:cNvSpPr/>
            <p:nvPr/>
          </p:nvSpPr>
          <p:spPr bwMode="gray">
            <a:xfrm flipH="1">
              <a:off x="1329729" y="3111496"/>
              <a:ext cx="106840" cy="56114"/>
            </a:xfrm>
            <a:custGeom>
              <a:avLst/>
              <a:gdLst>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8708 w 297254"/>
                <a:gd name="connsiteY12" fmla="*/ 257973 h 921450"/>
                <a:gd name="connsiteX13" fmla="*/ 226749 w 297254"/>
                <a:gd name="connsiteY13" fmla="*/ 254635 h 921450"/>
                <a:gd name="connsiteX14" fmla="*/ 226749 w 297254"/>
                <a:gd name="connsiteY14" fmla="*/ 76034 h 921450"/>
                <a:gd name="connsiteX15" fmla="*/ 150714 w 297254"/>
                <a:gd name="connsiteY15"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6749 w 297254"/>
                <a:gd name="connsiteY12" fmla="*/ 254635 h 921450"/>
                <a:gd name="connsiteX13" fmla="*/ 226749 w 297254"/>
                <a:gd name="connsiteY13" fmla="*/ 76034 h 921450"/>
                <a:gd name="connsiteX14" fmla="*/ 150714 w 297254"/>
                <a:gd name="connsiteY14"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0 w 297254"/>
                <a:gd name="connsiteY7" fmla="*/ 921450 h 921450"/>
                <a:gd name="connsiteX8" fmla="*/ 297254 w 297254"/>
                <a:gd name="connsiteY8" fmla="*/ 921450 h 921450"/>
                <a:gd name="connsiteX9" fmla="*/ 297254 w 297254"/>
                <a:gd name="connsiteY9" fmla="*/ 374772 h 921450"/>
                <a:gd name="connsiteX10" fmla="*/ 297254 w 297254"/>
                <a:gd name="connsiteY10" fmla="*/ 372716 h 921450"/>
                <a:gd name="connsiteX11" fmla="*/ 226749 w 297254"/>
                <a:gd name="connsiteY11" fmla="*/ 254635 h 921450"/>
                <a:gd name="connsiteX12" fmla="*/ 226749 w 297254"/>
                <a:gd name="connsiteY12" fmla="*/ 76034 h 921450"/>
                <a:gd name="connsiteX13" fmla="*/ 150714 w 297254"/>
                <a:gd name="connsiteY13"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254635 h 921450"/>
                <a:gd name="connsiteX4" fmla="*/ 0 w 297254"/>
                <a:gd name="connsiteY4" fmla="*/ 372716 h 921450"/>
                <a:gd name="connsiteX5" fmla="*/ 0 w 297254"/>
                <a:gd name="connsiteY5" fmla="*/ 374772 h 921450"/>
                <a:gd name="connsiteX6" fmla="*/ 0 w 297254"/>
                <a:gd name="connsiteY6" fmla="*/ 921450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11" fmla="*/ 226749 w 297254"/>
                <a:gd name="connsiteY11" fmla="*/ 76034 h 921450"/>
                <a:gd name="connsiteX12" fmla="*/ 150714 w 297254"/>
                <a:gd name="connsiteY12" fmla="*/ 0 h 921450"/>
                <a:gd name="connsiteX0" fmla="*/ 226749 w 297254"/>
                <a:gd name="connsiteY0" fmla="*/ 76034 h 921450"/>
                <a:gd name="connsiteX1" fmla="*/ 148627 w 297254"/>
                <a:gd name="connsiteY1" fmla="*/ 421 h 921450"/>
                <a:gd name="connsiteX2" fmla="*/ 146540 w 297254"/>
                <a:gd name="connsiteY2" fmla="*/ 0 h 921450"/>
                <a:gd name="connsiteX3" fmla="*/ 70505 w 297254"/>
                <a:gd name="connsiteY3" fmla="*/ 254635 h 921450"/>
                <a:gd name="connsiteX4" fmla="*/ 0 w 297254"/>
                <a:gd name="connsiteY4" fmla="*/ 372716 h 921450"/>
                <a:gd name="connsiteX5" fmla="*/ 0 w 297254"/>
                <a:gd name="connsiteY5" fmla="*/ 374772 h 921450"/>
                <a:gd name="connsiteX6" fmla="*/ 0 w 297254"/>
                <a:gd name="connsiteY6" fmla="*/ 921450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11" fmla="*/ 226749 w 297254"/>
                <a:gd name="connsiteY11" fmla="*/ 76034 h 921450"/>
                <a:gd name="connsiteX0" fmla="*/ 226749 w 297254"/>
                <a:gd name="connsiteY0" fmla="*/ 254635 h 921450"/>
                <a:gd name="connsiteX1" fmla="*/ 148627 w 297254"/>
                <a:gd name="connsiteY1" fmla="*/ 421 h 921450"/>
                <a:gd name="connsiteX2" fmla="*/ 146540 w 297254"/>
                <a:gd name="connsiteY2" fmla="*/ 0 h 921450"/>
                <a:gd name="connsiteX3" fmla="*/ 70505 w 297254"/>
                <a:gd name="connsiteY3" fmla="*/ 254635 h 921450"/>
                <a:gd name="connsiteX4" fmla="*/ 0 w 297254"/>
                <a:gd name="connsiteY4" fmla="*/ 372716 h 921450"/>
                <a:gd name="connsiteX5" fmla="*/ 0 w 297254"/>
                <a:gd name="connsiteY5" fmla="*/ 374772 h 921450"/>
                <a:gd name="connsiteX6" fmla="*/ 0 w 297254"/>
                <a:gd name="connsiteY6" fmla="*/ 921450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0" fmla="*/ 226749 w 297254"/>
                <a:gd name="connsiteY0" fmla="*/ 254215 h 921030"/>
                <a:gd name="connsiteX1" fmla="*/ 148627 w 297254"/>
                <a:gd name="connsiteY1" fmla="*/ 1 h 921030"/>
                <a:gd name="connsiteX2" fmla="*/ 70505 w 297254"/>
                <a:gd name="connsiteY2" fmla="*/ 254215 h 921030"/>
                <a:gd name="connsiteX3" fmla="*/ 0 w 297254"/>
                <a:gd name="connsiteY3" fmla="*/ 372296 h 921030"/>
                <a:gd name="connsiteX4" fmla="*/ 0 w 297254"/>
                <a:gd name="connsiteY4" fmla="*/ 374352 h 921030"/>
                <a:gd name="connsiteX5" fmla="*/ 0 w 297254"/>
                <a:gd name="connsiteY5" fmla="*/ 921030 h 921030"/>
                <a:gd name="connsiteX6" fmla="*/ 297254 w 297254"/>
                <a:gd name="connsiteY6" fmla="*/ 921030 h 921030"/>
                <a:gd name="connsiteX7" fmla="*/ 297254 w 297254"/>
                <a:gd name="connsiteY7" fmla="*/ 374352 h 921030"/>
                <a:gd name="connsiteX8" fmla="*/ 297254 w 297254"/>
                <a:gd name="connsiteY8" fmla="*/ 372296 h 921030"/>
                <a:gd name="connsiteX9" fmla="*/ 226749 w 297254"/>
                <a:gd name="connsiteY9" fmla="*/ 254215 h 921030"/>
                <a:gd name="connsiteX0" fmla="*/ 226749 w 297254"/>
                <a:gd name="connsiteY0" fmla="*/ 0 h 666815"/>
                <a:gd name="connsiteX1" fmla="*/ 70505 w 297254"/>
                <a:gd name="connsiteY1" fmla="*/ 0 h 666815"/>
                <a:gd name="connsiteX2" fmla="*/ 0 w 297254"/>
                <a:gd name="connsiteY2" fmla="*/ 118081 h 666815"/>
                <a:gd name="connsiteX3" fmla="*/ 0 w 297254"/>
                <a:gd name="connsiteY3" fmla="*/ 120137 h 666815"/>
                <a:gd name="connsiteX4" fmla="*/ 0 w 297254"/>
                <a:gd name="connsiteY4" fmla="*/ 666815 h 666815"/>
                <a:gd name="connsiteX5" fmla="*/ 297254 w 297254"/>
                <a:gd name="connsiteY5" fmla="*/ 666815 h 666815"/>
                <a:gd name="connsiteX6" fmla="*/ 297254 w 297254"/>
                <a:gd name="connsiteY6" fmla="*/ 120137 h 666815"/>
                <a:gd name="connsiteX7" fmla="*/ 297254 w 297254"/>
                <a:gd name="connsiteY7" fmla="*/ 118081 h 666815"/>
                <a:gd name="connsiteX8" fmla="*/ 226749 w 297254"/>
                <a:gd name="connsiteY8" fmla="*/ 0 h 666815"/>
                <a:gd name="connsiteX0" fmla="*/ 226749 w 297254"/>
                <a:gd name="connsiteY0" fmla="*/ 0 h 666815"/>
                <a:gd name="connsiteX1" fmla="*/ 0 w 297254"/>
                <a:gd name="connsiteY1" fmla="*/ 118081 h 666815"/>
                <a:gd name="connsiteX2" fmla="*/ 0 w 297254"/>
                <a:gd name="connsiteY2" fmla="*/ 120137 h 666815"/>
                <a:gd name="connsiteX3" fmla="*/ 0 w 297254"/>
                <a:gd name="connsiteY3" fmla="*/ 666815 h 666815"/>
                <a:gd name="connsiteX4" fmla="*/ 297254 w 297254"/>
                <a:gd name="connsiteY4" fmla="*/ 666815 h 666815"/>
                <a:gd name="connsiteX5" fmla="*/ 297254 w 297254"/>
                <a:gd name="connsiteY5" fmla="*/ 120137 h 666815"/>
                <a:gd name="connsiteX6" fmla="*/ 297254 w 297254"/>
                <a:gd name="connsiteY6" fmla="*/ 118081 h 666815"/>
                <a:gd name="connsiteX7" fmla="*/ 226749 w 297254"/>
                <a:gd name="connsiteY7" fmla="*/ 0 h 666815"/>
                <a:gd name="connsiteX0" fmla="*/ 297254 w 297254"/>
                <a:gd name="connsiteY0" fmla="*/ 0 h 548734"/>
                <a:gd name="connsiteX1" fmla="*/ 0 w 297254"/>
                <a:gd name="connsiteY1" fmla="*/ 0 h 548734"/>
                <a:gd name="connsiteX2" fmla="*/ 0 w 297254"/>
                <a:gd name="connsiteY2" fmla="*/ 2056 h 548734"/>
                <a:gd name="connsiteX3" fmla="*/ 0 w 297254"/>
                <a:gd name="connsiteY3" fmla="*/ 548734 h 548734"/>
                <a:gd name="connsiteX4" fmla="*/ 297254 w 297254"/>
                <a:gd name="connsiteY4" fmla="*/ 548734 h 548734"/>
                <a:gd name="connsiteX5" fmla="*/ 297254 w 297254"/>
                <a:gd name="connsiteY5" fmla="*/ 2056 h 548734"/>
                <a:gd name="connsiteX6" fmla="*/ 297254 w 297254"/>
                <a:gd name="connsiteY6" fmla="*/ 0 h 548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54" h="548734">
                  <a:moveTo>
                    <a:pt x="297254" y="0"/>
                  </a:moveTo>
                  <a:lnTo>
                    <a:pt x="0" y="0"/>
                  </a:lnTo>
                  <a:lnTo>
                    <a:pt x="0" y="2056"/>
                  </a:lnTo>
                  <a:lnTo>
                    <a:pt x="0" y="548734"/>
                  </a:lnTo>
                  <a:lnTo>
                    <a:pt x="297254" y="548734"/>
                  </a:lnTo>
                  <a:lnTo>
                    <a:pt x="297254" y="2056"/>
                  </a:lnTo>
                  <a:lnTo>
                    <a:pt x="297254" y="0"/>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25" name="Freeform: Shape 24">
              <a:extLst>
                <a:ext uri="{FF2B5EF4-FFF2-40B4-BE49-F238E27FC236}">
                  <a16:creationId xmlns:a16="http://schemas.microsoft.com/office/drawing/2014/main" id="{40C27FA7-E168-4DCE-9115-C90F8BBDFCD2}"/>
                </a:ext>
              </a:extLst>
            </p:cNvPr>
            <p:cNvSpPr/>
            <p:nvPr/>
          </p:nvSpPr>
          <p:spPr bwMode="gray">
            <a:xfrm rot="10800000" flipH="1">
              <a:off x="1356355" y="3203087"/>
              <a:ext cx="53588" cy="40489"/>
            </a:xfrm>
            <a:custGeom>
              <a:avLst/>
              <a:gdLst>
                <a:gd name="connsiteX0" fmla="*/ 0 w 53588"/>
                <a:gd name="connsiteY0" fmla="*/ 40489 h 40489"/>
                <a:gd name="connsiteX1" fmla="*/ 53588 w 53588"/>
                <a:gd name="connsiteY1" fmla="*/ 40489 h 40489"/>
                <a:gd name="connsiteX2" fmla="*/ 53588 w 53588"/>
                <a:gd name="connsiteY2" fmla="*/ 26078 h 40489"/>
                <a:gd name="connsiteX3" fmla="*/ 27510 w 53588"/>
                <a:gd name="connsiteY3" fmla="*/ 0 h 40489"/>
                <a:gd name="connsiteX4" fmla="*/ 26794 w 53588"/>
                <a:gd name="connsiteY4" fmla="*/ 145 h 40489"/>
                <a:gd name="connsiteX5" fmla="*/ 26078 w 53588"/>
                <a:gd name="connsiteY5" fmla="*/ 0 h 40489"/>
                <a:gd name="connsiteX6" fmla="*/ 0 w 53588"/>
                <a:gd name="connsiteY6" fmla="*/ 26078 h 40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588" h="40489">
                  <a:moveTo>
                    <a:pt x="0" y="40489"/>
                  </a:moveTo>
                  <a:lnTo>
                    <a:pt x="53588" y="40489"/>
                  </a:lnTo>
                  <a:lnTo>
                    <a:pt x="53588" y="26078"/>
                  </a:lnTo>
                  <a:cubicBezTo>
                    <a:pt x="53588" y="11676"/>
                    <a:pt x="41912" y="0"/>
                    <a:pt x="27510" y="0"/>
                  </a:cubicBezTo>
                  <a:lnTo>
                    <a:pt x="26794" y="145"/>
                  </a:lnTo>
                  <a:lnTo>
                    <a:pt x="26078" y="0"/>
                  </a:lnTo>
                  <a:cubicBezTo>
                    <a:pt x="11675" y="0"/>
                    <a:pt x="0" y="11676"/>
                    <a:pt x="0" y="26078"/>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26" name="Freeform: Shape 25">
              <a:extLst>
                <a:ext uri="{FF2B5EF4-FFF2-40B4-BE49-F238E27FC236}">
                  <a16:creationId xmlns:a16="http://schemas.microsoft.com/office/drawing/2014/main" id="{B4F6386F-A2DF-4676-B313-055805846D25}"/>
                </a:ext>
              </a:extLst>
            </p:cNvPr>
            <p:cNvSpPr/>
            <p:nvPr/>
          </p:nvSpPr>
          <p:spPr bwMode="gray">
            <a:xfrm rot="10800000" flipH="1">
              <a:off x="1332174" y="3164746"/>
              <a:ext cx="101951" cy="41204"/>
            </a:xfrm>
            <a:custGeom>
              <a:avLst/>
              <a:gdLst>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8708 w 297254"/>
                <a:gd name="connsiteY12" fmla="*/ 257973 h 921450"/>
                <a:gd name="connsiteX13" fmla="*/ 226749 w 297254"/>
                <a:gd name="connsiteY13" fmla="*/ 254635 h 921450"/>
                <a:gd name="connsiteX14" fmla="*/ 226749 w 297254"/>
                <a:gd name="connsiteY14" fmla="*/ 76034 h 921450"/>
                <a:gd name="connsiteX15" fmla="*/ 150714 w 297254"/>
                <a:gd name="connsiteY15"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68546 w 297254"/>
                <a:gd name="connsiteY5" fmla="*/ 257973 h 921450"/>
                <a:gd name="connsiteX6" fmla="*/ 0 w 297254"/>
                <a:gd name="connsiteY6" fmla="*/ 372716 h 921450"/>
                <a:gd name="connsiteX7" fmla="*/ 0 w 297254"/>
                <a:gd name="connsiteY7" fmla="*/ 374772 h 921450"/>
                <a:gd name="connsiteX8" fmla="*/ 0 w 297254"/>
                <a:gd name="connsiteY8" fmla="*/ 921450 h 921450"/>
                <a:gd name="connsiteX9" fmla="*/ 297254 w 297254"/>
                <a:gd name="connsiteY9" fmla="*/ 921450 h 921450"/>
                <a:gd name="connsiteX10" fmla="*/ 297254 w 297254"/>
                <a:gd name="connsiteY10" fmla="*/ 374772 h 921450"/>
                <a:gd name="connsiteX11" fmla="*/ 297254 w 297254"/>
                <a:gd name="connsiteY11" fmla="*/ 372716 h 921450"/>
                <a:gd name="connsiteX12" fmla="*/ 226749 w 297254"/>
                <a:gd name="connsiteY12" fmla="*/ 254635 h 921450"/>
                <a:gd name="connsiteX13" fmla="*/ 226749 w 297254"/>
                <a:gd name="connsiteY13" fmla="*/ 76034 h 921450"/>
                <a:gd name="connsiteX14" fmla="*/ 150714 w 297254"/>
                <a:gd name="connsiteY14"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0 w 297254"/>
                <a:gd name="connsiteY7" fmla="*/ 921450 h 921450"/>
                <a:gd name="connsiteX8" fmla="*/ 297254 w 297254"/>
                <a:gd name="connsiteY8" fmla="*/ 921450 h 921450"/>
                <a:gd name="connsiteX9" fmla="*/ 297254 w 297254"/>
                <a:gd name="connsiteY9" fmla="*/ 374772 h 921450"/>
                <a:gd name="connsiteX10" fmla="*/ 297254 w 297254"/>
                <a:gd name="connsiteY10" fmla="*/ 372716 h 921450"/>
                <a:gd name="connsiteX11" fmla="*/ 226749 w 297254"/>
                <a:gd name="connsiteY11" fmla="*/ 254635 h 921450"/>
                <a:gd name="connsiteX12" fmla="*/ 226749 w 297254"/>
                <a:gd name="connsiteY12" fmla="*/ 76034 h 921450"/>
                <a:gd name="connsiteX13" fmla="*/ 150714 w 297254"/>
                <a:gd name="connsiteY13" fmla="*/ 0 h 921450"/>
                <a:gd name="connsiteX0" fmla="*/ 150714 w 297254"/>
                <a:gd name="connsiteY0" fmla="*/ 0 h 921450"/>
                <a:gd name="connsiteX1" fmla="*/ 148627 w 297254"/>
                <a:gd name="connsiteY1" fmla="*/ 421 h 921450"/>
                <a:gd name="connsiteX2" fmla="*/ 146540 w 297254"/>
                <a:gd name="connsiteY2" fmla="*/ 0 h 921450"/>
                <a:gd name="connsiteX3" fmla="*/ 70505 w 297254"/>
                <a:gd name="connsiteY3" fmla="*/ 76034 h 921450"/>
                <a:gd name="connsiteX4" fmla="*/ 70505 w 297254"/>
                <a:gd name="connsiteY4" fmla="*/ 254635 h 921450"/>
                <a:gd name="connsiteX5" fmla="*/ 0 w 297254"/>
                <a:gd name="connsiteY5" fmla="*/ 372716 h 921450"/>
                <a:gd name="connsiteX6" fmla="*/ 0 w 297254"/>
                <a:gd name="connsiteY6" fmla="*/ 374772 h 921450"/>
                <a:gd name="connsiteX7" fmla="*/ 297254 w 297254"/>
                <a:gd name="connsiteY7" fmla="*/ 921450 h 921450"/>
                <a:gd name="connsiteX8" fmla="*/ 297254 w 297254"/>
                <a:gd name="connsiteY8" fmla="*/ 374772 h 921450"/>
                <a:gd name="connsiteX9" fmla="*/ 297254 w 297254"/>
                <a:gd name="connsiteY9" fmla="*/ 372716 h 921450"/>
                <a:gd name="connsiteX10" fmla="*/ 226749 w 297254"/>
                <a:gd name="connsiteY10" fmla="*/ 254635 h 921450"/>
                <a:gd name="connsiteX11" fmla="*/ 226749 w 297254"/>
                <a:gd name="connsiteY11" fmla="*/ 76034 h 921450"/>
                <a:gd name="connsiteX12" fmla="*/ 150714 w 297254"/>
                <a:gd name="connsiteY12" fmla="*/ 0 h 921450"/>
                <a:gd name="connsiteX0" fmla="*/ 150714 w 297254"/>
                <a:gd name="connsiteY0" fmla="*/ 0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10" fmla="*/ 226749 w 297254"/>
                <a:gd name="connsiteY10" fmla="*/ 76034 h 374772"/>
                <a:gd name="connsiteX11" fmla="*/ 150714 w 297254"/>
                <a:gd name="connsiteY11" fmla="*/ 0 h 374772"/>
                <a:gd name="connsiteX0" fmla="*/ 150714 w 297254"/>
                <a:gd name="connsiteY0" fmla="*/ 0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10" fmla="*/ 150714 w 297254"/>
                <a:gd name="connsiteY10" fmla="*/ 0 h 374772"/>
                <a:gd name="connsiteX0" fmla="*/ 226749 w 297254"/>
                <a:gd name="connsiteY0" fmla="*/ 254635 h 374772"/>
                <a:gd name="connsiteX1" fmla="*/ 148627 w 297254"/>
                <a:gd name="connsiteY1" fmla="*/ 421 h 374772"/>
                <a:gd name="connsiteX2" fmla="*/ 146540 w 297254"/>
                <a:gd name="connsiteY2" fmla="*/ 0 h 374772"/>
                <a:gd name="connsiteX3" fmla="*/ 70505 w 297254"/>
                <a:gd name="connsiteY3" fmla="*/ 76034 h 374772"/>
                <a:gd name="connsiteX4" fmla="*/ 70505 w 297254"/>
                <a:gd name="connsiteY4" fmla="*/ 254635 h 374772"/>
                <a:gd name="connsiteX5" fmla="*/ 0 w 297254"/>
                <a:gd name="connsiteY5" fmla="*/ 372716 h 374772"/>
                <a:gd name="connsiteX6" fmla="*/ 0 w 297254"/>
                <a:gd name="connsiteY6" fmla="*/ 374772 h 374772"/>
                <a:gd name="connsiteX7" fmla="*/ 297254 w 297254"/>
                <a:gd name="connsiteY7" fmla="*/ 374772 h 374772"/>
                <a:gd name="connsiteX8" fmla="*/ 297254 w 297254"/>
                <a:gd name="connsiteY8" fmla="*/ 372716 h 374772"/>
                <a:gd name="connsiteX9" fmla="*/ 226749 w 297254"/>
                <a:gd name="connsiteY9" fmla="*/ 254635 h 374772"/>
                <a:gd name="connsiteX0" fmla="*/ 226749 w 297254"/>
                <a:gd name="connsiteY0" fmla="*/ 254635 h 374772"/>
                <a:gd name="connsiteX1" fmla="*/ 148627 w 297254"/>
                <a:gd name="connsiteY1" fmla="*/ 421 h 374772"/>
                <a:gd name="connsiteX2" fmla="*/ 146540 w 297254"/>
                <a:gd name="connsiteY2" fmla="*/ 0 h 374772"/>
                <a:gd name="connsiteX3" fmla="*/ 70505 w 297254"/>
                <a:gd name="connsiteY3" fmla="*/ 254635 h 374772"/>
                <a:gd name="connsiteX4" fmla="*/ 0 w 297254"/>
                <a:gd name="connsiteY4" fmla="*/ 372716 h 374772"/>
                <a:gd name="connsiteX5" fmla="*/ 0 w 297254"/>
                <a:gd name="connsiteY5" fmla="*/ 374772 h 374772"/>
                <a:gd name="connsiteX6" fmla="*/ 297254 w 297254"/>
                <a:gd name="connsiteY6" fmla="*/ 374772 h 374772"/>
                <a:gd name="connsiteX7" fmla="*/ 297254 w 297254"/>
                <a:gd name="connsiteY7" fmla="*/ 372716 h 374772"/>
                <a:gd name="connsiteX8" fmla="*/ 226749 w 297254"/>
                <a:gd name="connsiteY8" fmla="*/ 254635 h 374772"/>
                <a:gd name="connsiteX0" fmla="*/ 226749 w 297254"/>
                <a:gd name="connsiteY0" fmla="*/ 254215 h 374352"/>
                <a:gd name="connsiteX1" fmla="*/ 148627 w 297254"/>
                <a:gd name="connsiteY1" fmla="*/ 1 h 374352"/>
                <a:gd name="connsiteX2" fmla="*/ 70505 w 297254"/>
                <a:gd name="connsiteY2" fmla="*/ 254215 h 374352"/>
                <a:gd name="connsiteX3" fmla="*/ 0 w 297254"/>
                <a:gd name="connsiteY3" fmla="*/ 372296 h 374352"/>
                <a:gd name="connsiteX4" fmla="*/ 0 w 297254"/>
                <a:gd name="connsiteY4" fmla="*/ 374352 h 374352"/>
                <a:gd name="connsiteX5" fmla="*/ 297254 w 297254"/>
                <a:gd name="connsiteY5" fmla="*/ 374352 h 374352"/>
                <a:gd name="connsiteX6" fmla="*/ 297254 w 297254"/>
                <a:gd name="connsiteY6" fmla="*/ 372296 h 374352"/>
                <a:gd name="connsiteX7" fmla="*/ 226749 w 297254"/>
                <a:gd name="connsiteY7" fmla="*/ 254215 h 374352"/>
                <a:gd name="connsiteX0" fmla="*/ 226749 w 297254"/>
                <a:gd name="connsiteY0" fmla="*/ -1 h 120136"/>
                <a:gd name="connsiteX1" fmla="*/ 70505 w 297254"/>
                <a:gd name="connsiteY1" fmla="*/ -1 h 120136"/>
                <a:gd name="connsiteX2" fmla="*/ 0 w 297254"/>
                <a:gd name="connsiteY2" fmla="*/ 118080 h 120136"/>
                <a:gd name="connsiteX3" fmla="*/ 0 w 297254"/>
                <a:gd name="connsiteY3" fmla="*/ 120136 h 120136"/>
                <a:gd name="connsiteX4" fmla="*/ 297254 w 297254"/>
                <a:gd name="connsiteY4" fmla="*/ 120136 h 120136"/>
                <a:gd name="connsiteX5" fmla="*/ 297254 w 297254"/>
                <a:gd name="connsiteY5" fmla="*/ 118080 h 120136"/>
                <a:gd name="connsiteX6" fmla="*/ 226749 w 297254"/>
                <a:gd name="connsiteY6" fmla="*/ -1 h 120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254" h="120136">
                  <a:moveTo>
                    <a:pt x="226749" y="-1"/>
                  </a:moveTo>
                  <a:lnTo>
                    <a:pt x="70505" y="-1"/>
                  </a:lnTo>
                  <a:lnTo>
                    <a:pt x="0" y="118080"/>
                  </a:lnTo>
                  <a:lnTo>
                    <a:pt x="0" y="120136"/>
                  </a:lnTo>
                  <a:lnTo>
                    <a:pt x="297254" y="120136"/>
                  </a:lnTo>
                  <a:lnTo>
                    <a:pt x="297254" y="118080"/>
                  </a:lnTo>
                  <a:lnTo>
                    <a:pt x="226749" y="-1"/>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27" name="Rectangle: Rounded Corners 26">
              <a:extLst>
                <a:ext uri="{FF2B5EF4-FFF2-40B4-BE49-F238E27FC236}">
                  <a16:creationId xmlns:a16="http://schemas.microsoft.com/office/drawing/2014/main" id="{0F2A0885-F09B-436C-80FD-D4323CB1B7EE}"/>
                </a:ext>
              </a:extLst>
            </p:cNvPr>
            <p:cNvSpPr/>
            <p:nvPr/>
          </p:nvSpPr>
          <p:spPr bwMode="gray">
            <a:xfrm>
              <a:off x="1173940" y="2927540"/>
              <a:ext cx="93712" cy="316036"/>
            </a:xfrm>
            <a:prstGeom prst="roundRect">
              <a:avLst>
                <a:gd name="adj" fmla="val 43902"/>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28" name="Straight Connector 27">
              <a:extLst>
                <a:ext uri="{FF2B5EF4-FFF2-40B4-BE49-F238E27FC236}">
                  <a16:creationId xmlns:a16="http://schemas.microsoft.com/office/drawing/2014/main" id="{81C50B1F-F189-42BF-A767-7F09939007F5}"/>
                </a:ext>
              </a:extLst>
            </p:cNvPr>
            <p:cNvCxnSpPr>
              <a:cxnSpLocks/>
            </p:cNvCxnSpPr>
            <p:nvPr/>
          </p:nvCxnSpPr>
          <p:spPr bwMode="gray">
            <a:xfrm>
              <a:off x="1273219" y="3213899"/>
              <a:ext cx="83136"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nvGrpSpPr>
            <p:cNvPr id="29" name="Group 28">
              <a:extLst>
                <a:ext uri="{FF2B5EF4-FFF2-40B4-BE49-F238E27FC236}">
                  <a16:creationId xmlns:a16="http://schemas.microsoft.com/office/drawing/2014/main" id="{23109EA8-4992-4C3C-8896-B0E7A380991B}"/>
                </a:ext>
              </a:extLst>
            </p:cNvPr>
            <p:cNvGrpSpPr/>
            <p:nvPr/>
          </p:nvGrpSpPr>
          <p:grpSpPr bwMode="gray">
            <a:xfrm>
              <a:off x="1303940" y="2975429"/>
              <a:ext cx="49167" cy="25594"/>
              <a:chOff x="10831038" y="4082947"/>
              <a:chExt cx="318025" cy="165549"/>
            </a:xfrm>
          </p:grpSpPr>
          <p:sp>
            <p:nvSpPr>
              <p:cNvPr id="33" name="Arc 32">
                <a:extLst>
                  <a:ext uri="{FF2B5EF4-FFF2-40B4-BE49-F238E27FC236}">
                    <a16:creationId xmlns:a16="http://schemas.microsoft.com/office/drawing/2014/main" id="{84B7128E-24E5-441B-BC75-D0F2303A659C}"/>
                  </a:ext>
                </a:extLst>
              </p:cNvPr>
              <p:cNvSpPr/>
              <p:nvPr/>
            </p:nvSpPr>
            <p:spPr bwMode="gray">
              <a:xfrm>
                <a:off x="10831038" y="4082947"/>
                <a:ext cx="165549" cy="165549"/>
              </a:xfrm>
              <a:prstGeom prst="arc">
                <a:avLst>
                  <a:gd name="adj1" fmla="val 11037066"/>
                  <a:gd name="adj2" fmla="val 16279283"/>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44" name="Straight Connector 43">
                <a:extLst>
                  <a:ext uri="{FF2B5EF4-FFF2-40B4-BE49-F238E27FC236}">
                    <a16:creationId xmlns:a16="http://schemas.microsoft.com/office/drawing/2014/main" id="{CF524471-77AE-4675-AE95-E43252E5ACE1}"/>
                  </a:ext>
                </a:extLst>
              </p:cNvPr>
              <p:cNvCxnSpPr>
                <a:cxnSpLocks/>
              </p:cNvCxnSpPr>
              <p:nvPr/>
            </p:nvCxnSpPr>
            <p:spPr bwMode="gray">
              <a:xfrm>
                <a:off x="10912849" y="4082947"/>
                <a:ext cx="236214"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sp>
          <p:nvSpPr>
            <p:cNvPr id="30" name="Arc 29">
              <a:extLst>
                <a:ext uri="{FF2B5EF4-FFF2-40B4-BE49-F238E27FC236}">
                  <a16:creationId xmlns:a16="http://schemas.microsoft.com/office/drawing/2014/main" id="{A863B799-5505-4599-A1A5-149516A858BE}"/>
                </a:ext>
              </a:extLst>
            </p:cNvPr>
            <p:cNvSpPr/>
            <p:nvPr/>
          </p:nvSpPr>
          <p:spPr bwMode="gray">
            <a:xfrm rot="10800000">
              <a:off x="1278338" y="3157022"/>
              <a:ext cx="25594" cy="25594"/>
            </a:xfrm>
            <a:prstGeom prst="arc">
              <a:avLst>
                <a:gd name="adj1" fmla="val 11037066"/>
                <a:gd name="adj2" fmla="val 16279283"/>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31" name="Straight Connector 30">
              <a:extLst>
                <a:ext uri="{FF2B5EF4-FFF2-40B4-BE49-F238E27FC236}">
                  <a16:creationId xmlns:a16="http://schemas.microsoft.com/office/drawing/2014/main" id="{C008373C-E190-4DED-91FF-6FF1B078C2E0}"/>
                </a:ext>
              </a:extLst>
            </p:cNvPr>
            <p:cNvCxnSpPr>
              <a:cxnSpLocks/>
              <a:stCxn id="30" idx="0"/>
              <a:endCxn id="33" idx="0"/>
            </p:cNvCxnSpPr>
            <p:nvPr/>
          </p:nvCxnSpPr>
          <p:spPr bwMode="gray">
            <a:xfrm flipV="1">
              <a:off x="1303902" y="2987344"/>
              <a:ext cx="68" cy="183357"/>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32" name="Straight Connector 31">
              <a:extLst>
                <a:ext uri="{FF2B5EF4-FFF2-40B4-BE49-F238E27FC236}">
                  <a16:creationId xmlns:a16="http://schemas.microsoft.com/office/drawing/2014/main" id="{3DDFF1CF-AFE8-4F37-8451-773BF770D663}"/>
                </a:ext>
              </a:extLst>
            </p:cNvPr>
            <p:cNvCxnSpPr>
              <a:cxnSpLocks/>
            </p:cNvCxnSpPr>
            <p:nvPr/>
          </p:nvCxnSpPr>
          <p:spPr bwMode="gray">
            <a:xfrm flipH="1">
              <a:off x="1267782" y="3182616"/>
              <a:ext cx="23503"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spTree>
    <p:extLst>
      <p:ext uri="{BB962C8B-B14F-4D97-AF65-F5344CB8AC3E}">
        <p14:creationId xmlns:p14="http://schemas.microsoft.com/office/powerpoint/2010/main" val="111809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F4F7D-2CCB-4CA7-AFFD-55D74038827F}"/>
              </a:ext>
            </a:extLst>
          </p:cNvPr>
          <p:cNvSpPr>
            <a:spLocks noGrp="1"/>
          </p:cNvSpPr>
          <p:nvPr>
            <p:ph type="title"/>
          </p:nvPr>
        </p:nvSpPr>
        <p:spPr/>
        <p:txBody>
          <a:bodyPr/>
          <a:lstStyle/>
          <a:p>
            <a:r>
              <a:rPr lang="de-DE" dirty="0"/>
              <a:t>Air </a:t>
            </a:r>
            <a:r>
              <a:rPr lang="de-DE" dirty="0" err="1"/>
              <a:t>separation</a:t>
            </a:r>
            <a:r>
              <a:rPr lang="de-DE" dirty="0"/>
              <a:t> </a:t>
            </a:r>
            <a:r>
              <a:rPr lang="de-DE" dirty="0" err="1"/>
              <a:t>unit</a:t>
            </a:r>
            <a:r>
              <a:rPr lang="de-DE" dirty="0"/>
              <a:t> (ASU)</a:t>
            </a:r>
            <a:endParaRPr lang="en-US" dirty="0"/>
          </a:p>
        </p:txBody>
      </p:sp>
      <p:sp>
        <p:nvSpPr>
          <p:cNvPr id="3" name="Footer Placeholder 2">
            <a:extLst>
              <a:ext uri="{FF2B5EF4-FFF2-40B4-BE49-F238E27FC236}">
                <a16:creationId xmlns:a16="http://schemas.microsoft.com/office/drawing/2014/main" id="{5732E45B-BD86-4BEE-AD59-D40AE9AD6F0C}"/>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DAB82839-24AC-4EDE-B3AE-EACC7C6C64C5}"/>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8B603ECC-BDFC-4497-8CD2-ED191CEC041F}"/>
              </a:ext>
            </a:extLst>
          </p:cNvPr>
          <p:cNvSpPr>
            <a:spLocks noGrp="1"/>
          </p:cNvSpPr>
          <p:nvPr>
            <p:ph type="sldNum" sz="quarter" idx="12"/>
          </p:nvPr>
        </p:nvSpPr>
        <p:spPr/>
        <p:txBody>
          <a:bodyPr/>
          <a:lstStyle/>
          <a:p>
            <a:r>
              <a:rPr lang="en-US"/>
              <a:t>Slide </a:t>
            </a:r>
            <a:fld id="{619F89D8-7AE3-494A-97F3-03D680869632}" type="slidenum">
              <a:rPr lang="en-US" smtClean="0"/>
              <a:pPr/>
              <a:t>48</a:t>
            </a:fld>
            <a:endParaRPr lang="en-US" dirty="0"/>
          </a:p>
        </p:txBody>
      </p:sp>
      <p:sp>
        <p:nvSpPr>
          <p:cNvPr id="6" name="Content Placeholder 5">
            <a:extLst>
              <a:ext uri="{FF2B5EF4-FFF2-40B4-BE49-F238E27FC236}">
                <a16:creationId xmlns:a16="http://schemas.microsoft.com/office/drawing/2014/main" id="{7EC1AF45-CE34-4000-B1D3-C095586E07CA}"/>
              </a:ext>
            </a:extLst>
          </p:cNvPr>
          <p:cNvSpPr>
            <a:spLocks noGrp="1"/>
          </p:cNvSpPr>
          <p:nvPr>
            <p:ph sz="quarter" idx="20"/>
          </p:nvPr>
        </p:nvSpPr>
        <p:spPr/>
        <p:txBody>
          <a:bodyPr/>
          <a:lstStyle/>
          <a:p>
            <a:pPr>
              <a:spcBef>
                <a:spcPts val="0"/>
              </a:spcBef>
            </a:pPr>
            <a:r>
              <a:rPr lang="de-DE" dirty="0"/>
              <a:t>Uras26</a:t>
            </a:r>
          </a:p>
          <a:p>
            <a:pPr>
              <a:spcBef>
                <a:spcPts val="0"/>
              </a:spcBef>
            </a:pPr>
            <a:r>
              <a:rPr lang="de-DE" dirty="0">
                <a:solidFill>
                  <a:schemeClr val="tx1"/>
                </a:solidFill>
              </a:rPr>
              <a:t>Infrared </a:t>
            </a:r>
            <a:r>
              <a:rPr lang="de-DE" dirty="0" err="1">
                <a:solidFill>
                  <a:schemeClr val="tx1"/>
                </a:solidFill>
              </a:rPr>
              <a:t>photometer</a:t>
            </a:r>
            <a:r>
              <a:rPr lang="de-DE" dirty="0">
                <a:solidFill>
                  <a:schemeClr val="tx1"/>
                </a:solidFill>
              </a:rPr>
              <a:t> – 0 </a:t>
            </a:r>
            <a:r>
              <a:rPr lang="de-DE" dirty="0" err="1">
                <a:solidFill>
                  <a:schemeClr val="tx1"/>
                </a:solidFill>
              </a:rPr>
              <a:t>to</a:t>
            </a:r>
            <a:r>
              <a:rPr lang="de-DE" dirty="0">
                <a:solidFill>
                  <a:schemeClr val="tx1"/>
                </a:solidFill>
              </a:rPr>
              <a:t> 10 ppm CO</a:t>
            </a:r>
            <a:endParaRPr lang="de-DE" baseline="-25000" dirty="0">
              <a:solidFill>
                <a:schemeClr val="tx1"/>
              </a:solidFill>
            </a:endParaRPr>
          </a:p>
          <a:p>
            <a:pPr lvl="1">
              <a:spcBef>
                <a:spcPts val="0"/>
              </a:spcBef>
            </a:pPr>
            <a:endParaRPr lang="de-DE" dirty="0"/>
          </a:p>
          <a:p>
            <a:pPr lvl="1">
              <a:spcBef>
                <a:spcPts val="300"/>
              </a:spcBef>
            </a:pPr>
            <a:r>
              <a:rPr lang="de-DE" dirty="0"/>
              <a:t>Gas-</a:t>
            </a:r>
            <a:r>
              <a:rPr lang="de-DE" dirty="0" err="1"/>
              <a:t>filled</a:t>
            </a:r>
            <a:r>
              <a:rPr lang="de-DE" dirty="0"/>
              <a:t> </a:t>
            </a:r>
            <a:r>
              <a:rPr lang="de-DE" dirty="0" err="1"/>
              <a:t>detectors</a:t>
            </a:r>
            <a:r>
              <a:rPr lang="de-DE" dirty="0"/>
              <a:t> </a:t>
            </a:r>
            <a:r>
              <a:rPr lang="de-DE" dirty="0" err="1"/>
              <a:t>for</a:t>
            </a:r>
            <a:r>
              <a:rPr lang="de-DE" dirty="0"/>
              <a:t> </a:t>
            </a:r>
            <a:r>
              <a:rPr lang="de-DE" dirty="0" err="1"/>
              <a:t>highly</a:t>
            </a:r>
            <a:r>
              <a:rPr lang="de-DE" dirty="0"/>
              <a:t> </a:t>
            </a:r>
            <a:r>
              <a:rPr lang="de-DE" dirty="0" err="1"/>
              <a:t>selective</a:t>
            </a:r>
            <a:r>
              <a:rPr lang="de-DE" dirty="0"/>
              <a:t> </a:t>
            </a:r>
            <a:r>
              <a:rPr lang="de-DE" dirty="0" err="1"/>
              <a:t>measurement</a:t>
            </a:r>
            <a:endParaRPr lang="de-DE" dirty="0"/>
          </a:p>
          <a:p>
            <a:pPr lvl="1">
              <a:spcBef>
                <a:spcPts val="300"/>
              </a:spcBef>
            </a:pPr>
            <a:r>
              <a:rPr lang="de-DE" dirty="0"/>
              <a:t>Internal </a:t>
            </a:r>
            <a:r>
              <a:rPr lang="de-DE" dirty="0" err="1"/>
              <a:t>calibration</a:t>
            </a:r>
            <a:r>
              <a:rPr lang="de-DE" dirty="0"/>
              <a:t> </a:t>
            </a:r>
            <a:r>
              <a:rPr lang="de-DE" dirty="0" err="1"/>
              <a:t>cells</a:t>
            </a:r>
            <a:r>
              <a:rPr lang="de-DE" dirty="0"/>
              <a:t> </a:t>
            </a:r>
            <a:r>
              <a:rPr lang="de-DE" dirty="0" err="1"/>
              <a:t>minimize</a:t>
            </a:r>
            <a:r>
              <a:rPr lang="de-DE" dirty="0"/>
              <a:t> </a:t>
            </a:r>
            <a:r>
              <a:rPr lang="de-DE" dirty="0" err="1"/>
              <a:t>cost</a:t>
            </a:r>
            <a:r>
              <a:rPr lang="de-DE" dirty="0"/>
              <a:t> </a:t>
            </a:r>
            <a:r>
              <a:rPr lang="de-DE" dirty="0" err="1"/>
              <a:t>of</a:t>
            </a:r>
            <a:r>
              <a:rPr lang="de-DE" dirty="0"/>
              <a:t> </a:t>
            </a:r>
            <a:r>
              <a:rPr lang="de-DE" dirty="0" err="1"/>
              <a:t>ownership</a:t>
            </a:r>
            <a:endParaRPr lang="de-DE" dirty="0"/>
          </a:p>
          <a:p>
            <a:pPr lvl="1">
              <a:spcBef>
                <a:spcPts val="300"/>
              </a:spcBef>
            </a:pPr>
            <a:r>
              <a:rPr lang="de-DE" dirty="0" err="1"/>
              <a:t>Available</a:t>
            </a:r>
            <a:r>
              <a:rPr lang="de-DE" dirty="0"/>
              <a:t> in EL3000 and AO2000 </a:t>
            </a:r>
            <a:r>
              <a:rPr lang="de-DE" dirty="0" err="1"/>
              <a:t>series</a:t>
            </a:r>
            <a:endParaRPr lang="de-DE" dirty="0"/>
          </a:p>
          <a:p>
            <a:pPr lvl="1">
              <a:spcBef>
                <a:spcPts val="300"/>
              </a:spcBef>
            </a:pPr>
            <a:endParaRPr lang="de-DE" dirty="0"/>
          </a:p>
          <a:p>
            <a:pPr>
              <a:spcBef>
                <a:spcPts val="0"/>
              </a:spcBef>
            </a:pPr>
            <a:r>
              <a:rPr lang="de-DE" dirty="0"/>
              <a:t>PGC5000</a:t>
            </a:r>
          </a:p>
          <a:p>
            <a:pPr>
              <a:spcBef>
                <a:spcPts val="0"/>
              </a:spcBef>
            </a:pPr>
            <a:r>
              <a:rPr lang="de-DE" dirty="0">
                <a:solidFill>
                  <a:schemeClr val="tx1"/>
                </a:solidFill>
              </a:rPr>
              <a:t>Gas </a:t>
            </a:r>
            <a:r>
              <a:rPr lang="de-DE" dirty="0" err="1">
                <a:solidFill>
                  <a:schemeClr val="tx1"/>
                </a:solidFill>
              </a:rPr>
              <a:t>Chromatograph</a:t>
            </a:r>
            <a:r>
              <a:rPr lang="de-DE" dirty="0">
                <a:solidFill>
                  <a:schemeClr val="tx1"/>
                </a:solidFill>
              </a:rPr>
              <a:t> </a:t>
            </a:r>
            <a:r>
              <a:rPr lang="de-DE" dirty="0" err="1">
                <a:solidFill>
                  <a:schemeClr val="tx1"/>
                </a:solidFill>
              </a:rPr>
              <a:t>with</a:t>
            </a:r>
            <a:r>
              <a:rPr lang="de-DE" dirty="0">
                <a:solidFill>
                  <a:schemeClr val="tx1"/>
                </a:solidFill>
              </a:rPr>
              <a:t> TCD </a:t>
            </a:r>
            <a:r>
              <a:rPr lang="de-DE" dirty="0" err="1">
                <a:solidFill>
                  <a:schemeClr val="tx1"/>
                </a:solidFill>
              </a:rPr>
              <a:t>detector</a:t>
            </a:r>
            <a:r>
              <a:rPr lang="de-DE" dirty="0">
                <a:solidFill>
                  <a:schemeClr val="tx1"/>
                </a:solidFill>
              </a:rPr>
              <a:t> – </a:t>
            </a:r>
            <a:r>
              <a:rPr lang="de-DE" dirty="0" err="1">
                <a:solidFill>
                  <a:schemeClr val="tx1"/>
                </a:solidFill>
              </a:rPr>
              <a:t>Composition</a:t>
            </a:r>
            <a:endParaRPr lang="de-DE" baseline="-25000" dirty="0">
              <a:solidFill>
                <a:schemeClr val="tx1"/>
              </a:solidFill>
            </a:endParaRPr>
          </a:p>
          <a:p>
            <a:pPr lvl="1">
              <a:spcBef>
                <a:spcPts val="0"/>
              </a:spcBef>
            </a:pPr>
            <a:endParaRPr lang="de-DE" dirty="0"/>
          </a:p>
          <a:p>
            <a:pPr lvl="1">
              <a:spcBef>
                <a:spcPts val="0"/>
              </a:spcBef>
            </a:pPr>
            <a:r>
              <a:rPr lang="en-US" dirty="0"/>
              <a:t>Modular process GC series – FID, </a:t>
            </a:r>
            <a:r>
              <a:rPr lang="en-US" i="1" dirty="0"/>
              <a:t>s</a:t>
            </a:r>
            <a:r>
              <a:rPr lang="en-US" dirty="0"/>
              <a:t>TCD, </a:t>
            </a:r>
            <a:r>
              <a:rPr lang="en-US" i="1" dirty="0" err="1"/>
              <a:t>m</a:t>
            </a:r>
            <a:r>
              <a:rPr lang="en-US" dirty="0" err="1"/>
              <a:t>TCD</a:t>
            </a:r>
            <a:r>
              <a:rPr lang="en-US" dirty="0"/>
              <a:t>, FPD, DID detectors</a:t>
            </a:r>
          </a:p>
          <a:p>
            <a:pPr lvl="1">
              <a:spcBef>
                <a:spcPts val="0"/>
              </a:spcBef>
            </a:pPr>
            <a:r>
              <a:rPr lang="en-US" dirty="0"/>
              <a:t>Airless oven option for significant utility savings</a:t>
            </a:r>
          </a:p>
          <a:p>
            <a:pPr lvl="1">
              <a:spcBef>
                <a:spcPts val="0"/>
              </a:spcBef>
            </a:pPr>
            <a:r>
              <a:rPr lang="en-US" dirty="0"/>
              <a:t>Easy to use graphical, touch screen User Interface (UI)</a:t>
            </a:r>
          </a:p>
          <a:p>
            <a:pPr lvl="1">
              <a:spcBef>
                <a:spcPts val="0"/>
              </a:spcBef>
            </a:pPr>
            <a:r>
              <a:rPr lang="en-US" dirty="0"/>
              <a:t>Industry standard communication protocols</a:t>
            </a:r>
          </a:p>
        </p:txBody>
      </p:sp>
      <p:sp>
        <p:nvSpPr>
          <p:cNvPr id="7" name="Content Placeholder 6">
            <a:extLst>
              <a:ext uri="{FF2B5EF4-FFF2-40B4-BE49-F238E27FC236}">
                <a16:creationId xmlns:a16="http://schemas.microsoft.com/office/drawing/2014/main" id="{2ADDC11F-5D49-4BCD-922D-04728BABF3FE}"/>
              </a:ext>
            </a:extLst>
          </p:cNvPr>
          <p:cNvSpPr>
            <a:spLocks noGrp="1"/>
          </p:cNvSpPr>
          <p:nvPr>
            <p:ph sz="quarter" idx="19"/>
          </p:nvPr>
        </p:nvSpPr>
        <p:spPr>
          <a:xfrm>
            <a:off x="793629" y="1991598"/>
            <a:ext cx="3074985" cy="3920513"/>
          </a:xfrm>
        </p:spPr>
        <p:txBody>
          <a:bodyPr/>
          <a:lstStyle/>
          <a:p>
            <a:r>
              <a:rPr lang="en-US" dirty="0"/>
              <a:t>PSA breakthrough</a:t>
            </a:r>
          </a:p>
          <a:p>
            <a:pPr lvl="1">
              <a:spcBef>
                <a:spcPts val="0"/>
              </a:spcBef>
            </a:pPr>
            <a:endParaRPr lang="en-US" dirty="0"/>
          </a:p>
          <a:p>
            <a:pPr lvl="1">
              <a:spcBef>
                <a:spcPts val="0"/>
              </a:spcBef>
            </a:pPr>
            <a:r>
              <a:rPr lang="en-US" dirty="0"/>
              <a:t>Purification stage after SMR with Pressure Swing Adsorption (PSA) unit – semi-batch cyclical process</a:t>
            </a:r>
          </a:p>
          <a:p>
            <a:pPr lvl="1">
              <a:spcBef>
                <a:spcPts val="0"/>
              </a:spcBef>
            </a:pPr>
            <a:r>
              <a:rPr lang="en-US" dirty="0"/>
              <a:t>Switch to new </a:t>
            </a:r>
            <a:r>
              <a:rPr lang="en-US" dirty="0" err="1"/>
              <a:t>adsorber</a:t>
            </a:r>
            <a:r>
              <a:rPr lang="en-US" dirty="0"/>
              <a:t> bed takes place when it is near-fully saturated with a gas (cannot adsorb)</a:t>
            </a:r>
          </a:p>
          <a:p>
            <a:pPr lvl="1">
              <a:spcBef>
                <a:spcPts val="0"/>
              </a:spcBef>
            </a:pPr>
            <a:r>
              <a:rPr lang="en-US" dirty="0"/>
              <a:t>Monitoring “break-through” essential – indicates </a:t>
            </a:r>
            <a:r>
              <a:rPr lang="en-US" dirty="0" err="1"/>
              <a:t>adsorber</a:t>
            </a:r>
            <a:r>
              <a:rPr lang="en-US" dirty="0"/>
              <a:t> material aging or incomplete regeneration</a:t>
            </a:r>
          </a:p>
        </p:txBody>
      </p:sp>
      <p:sp>
        <p:nvSpPr>
          <p:cNvPr id="8" name="Subtitle 7">
            <a:extLst>
              <a:ext uri="{FF2B5EF4-FFF2-40B4-BE49-F238E27FC236}">
                <a16:creationId xmlns:a16="http://schemas.microsoft.com/office/drawing/2014/main" id="{8716F94D-E2ED-4522-BA19-0B094F971306}"/>
              </a:ext>
            </a:extLst>
          </p:cNvPr>
          <p:cNvSpPr>
            <a:spLocks noGrp="1"/>
          </p:cNvSpPr>
          <p:nvPr>
            <p:ph type="subTitle" idx="13"/>
          </p:nvPr>
        </p:nvSpPr>
        <p:spPr/>
        <p:txBody>
          <a:bodyPr/>
          <a:lstStyle/>
          <a:p>
            <a:r>
              <a:rPr lang="de-DE" dirty="0"/>
              <a:t>Pain </a:t>
            </a:r>
            <a:r>
              <a:rPr lang="de-DE" dirty="0" err="1"/>
              <a:t>points</a:t>
            </a:r>
            <a:r>
              <a:rPr lang="de-DE" dirty="0"/>
              <a:t> and ABB </a:t>
            </a:r>
            <a:r>
              <a:rPr lang="de-DE" dirty="0" err="1"/>
              <a:t>solution</a:t>
            </a:r>
            <a:endParaRPr lang="en-US" dirty="0"/>
          </a:p>
        </p:txBody>
      </p:sp>
      <p:grpSp>
        <p:nvGrpSpPr>
          <p:cNvPr id="34" name="Group 33">
            <a:extLst>
              <a:ext uri="{FF2B5EF4-FFF2-40B4-BE49-F238E27FC236}">
                <a16:creationId xmlns:a16="http://schemas.microsoft.com/office/drawing/2014/main" id="{738AA2DF-A897-467D-8880-27A6B0B3082B}"/>
              </a:ext>
            </a:extLst>
          </p:cNvPr>
          <p:cNvGrpSpPr/>
          <p:nvPr/>
        </p:nvGrpSpPr>
        <p:grpSpPr bwMode="gray">
          <a:xfrm>
            <a:off x="424069" y="2021980"/>
            <a:ext cx="282527" cy="232992"/>
            <a:chOff x="-671208" y="4012193"/>
            <a:chExt cx="449115" cy="370372"/>
          </a:xfrm>
        </p:grpSpPr>
        <p:sp>
          <p:nvSpPr>
            <p:cNvPr id="35" name="Rectangle: Rounded Corners 34">
              <a:extLst>
                <a:ext uri="{FF2B5EF4-FFF2-40B4-BE49-F238E27FC236}">
                  <a16:creationId xmlns:a16="http://schemas.microsoft.com/office/drawing/2014/main" id="{AE88BEC0-B926-4FA9-9AFF-76DFC730ABBD}"/>
                </a:ext>
              </a:extLst>
            </p:cNvPr>
            <p:cNvSpPr/>
            <p:nvPr/>
          </p:nvSpPr>
          <p:spPr bwMode="gray">
            <a:xfrm>
              <a:off x="-355014" y="4075429"/>
              <a:ext cx="93712" cy="243900"/>
            </a:xfrm>
            <a:prstGeom prst="roundRect">
              <a:avLst>
                <a:gd name="adj" fmla="val 43902"/>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36" name="Rectangle: Rounded Corners 35">
              <a:extLst>
                <a:ext uri="{FF2B5EF4-FFF2-40B4-BE49-F238E27FC236}">
                  <a16:creationId xmlns:a16="http://schemas.microsoft.com/office/drawing/2014/main" id="{FDC9FE99-9740-460F-8E4E-ECC3E8178487}"/>
                </a:ext>
              </a:extLst>
            </p:cNvPr>
            <p:cNvSpPr/>
            <p:nvPr/>
          </p:nvSpPr>
          <p:spPr bwMode="gray">
            <a:xfrm>
              <a:off x="-495508" y="4075429"/>
              <a:ext cx="93712" cy="243900"/>
            </a:xfrm>
            <a:prstGeom prst="roundRect">
              <a:avLst>
                <a:gd name="adj" fmla="val 43902"/>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37" name="Rectangle: Rounded Corners 36">
              <a:extLst>
                <a:ext uri="{FF2B5EF4-FFF2-40B4-BE49-F238E27FC236}">
                  <a16:creationId xmlns:a16="http://schemas.microsoft.com/office/drawing/2014/main" id="{4398F96C-DBD8-4044-BBE0-2C250FFEC219}"/>
                </a:ext>
              </a:extLst>
            </p:cNvPr>
            <p:cNvSpPr/>
            <p:nvPr/>
          </p:nvSpPr>
          <p:spPr bwMode="gray">
            <a:xfrm>
              <a:off x="-632033" y="4075429"/>
              <a:ext cx="93712" cy="243900"/>
            </a:xfrm>
            <a:prstGeom prst="roundRect">
              <a:avLst>
                <a:gd name="adj" fmla="val 43902"/>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grpSp>
          <p:nvGrpSpPr>
            <p:cNvPr id="38" name="Group 37">
              <a:extLst>
                <a:ext uri="{FF2B5EF4-FFF2-40B4-BE49-F238E27FC236}">
                  <a16:creationId xmlns:a16="http://schemas.microsoft.com/office/drawing/2014/main" id="{AA44C330-4BA8-495F-9EF1-9CF59896CD07}"/>
                </a:ext>
              </a:extLst>
            </p:cNvPr>
            <p:cNvGrpSpPr/>
            <p:nvPr/>
          </p:nvGrpSpPr>
          <p:grpSpPr bwMode="gray">
            <a:xfrm>
              <a:off x="-585177" y="4012193"/>
              <a:ext cx="363084" cy="63236"/>
              <a:chOff x="-585177" y="4012193"/>
              <a:chExt cx="363084" cy="63236"/>
            </a:xfrm>
          </p:grpSpPr>
          <p:grpSp>
            <p:nvGrpSpPr>
              <p:cNvPr id="48" name="Group 47">
                <a:extLst>
                  <a:ext uri="{FF2B5EF4-FFF2-40B4-BE49-F238E27FC236}">
                    <a16:creationId xmlns:a16="http://schemas.microsoft.com/office/drawing/2014/main" id="{C43263B8-977F-4C0B-A0BA-487D517E3C17}"/>
                  </a:ext>
                </a:extLst>
              </p:cNvPr>
              <p:cNvGrpSpPr/>
              <p:nvPr/>
            </p:nvGrpSpPr>
            <p:grpSpPr bwMode="gray">
              <a:xfrm>
                <a:off x="-585177" y="4012193"/>
                <a:ext cx="363084" cy="63236"/>
                <a:chOff x="-588578" y="4012193"/>
                <a:chExt cx="363084" cy="63236"/>
              </a:xfrm>
            </p:grpSpPr>
            <p:grpSp>
              <p:nvGrpSpPr>
                <p:cNvPr id="51" name="Group 50">
                  <a:extLst>
                    <a:ext uri="{FF2B5EF4-FFF2-40B4-BE49-F238E27FC236}">
                      <a16:creationId xmlns:a16="http://schemas.microsoft.com/office/drawing/2014/main" id="{613F8D4E-FFAD-444C-8447-35C3F316955E}"/>
                    </a:ext>
                  </a:extLst>
                </p:cNvPr>
                <p:cNvGrpSpPr/>
                <p:nvPr/>
              </p:nvGrpSpPr>
              <p:grpSpPr bwMode="gray">
                <a:xfrm>
                  <a:off x="-588540" y="4012193"/>
                  <a:ext cx="363046" cy="25594"/>
                  <a:chOff x="10831038" y="4082947"/>
                  <a:chExt cx="2348277" cy="165549"/>
                </a:xfrm>
              </p:grpSpPr>
              <p:sp>
                <p:nvSpPr>
                  <p:cNvPr id="53" name="Arc 52">
                    <a:extLst>
                      <a:ext uri="{FF2B5EF4-FFF2-40B4-BE49-F238E27FC236}">
                        <a16:creationId xmlns:a16="http://schemas.microsoft.com/office/drawing/2014/main" id="{C6D617CA-97BB-4B25-AA45-C8437DA65B36}"/>
                      </a:ext>
                    </a:extLst>
                  </p:cNvPr>
                  <p:cNvSpPr/>
                  <p:nvPr/>
                </p:nvSpPr>
                <p:spPr bwMode="gray">
                  <a:xfrm>
                    <a:off x="10831038" y="4082947"/>
                    <a:ext cx="165549" cy="165549"/>
                  </a:xfrm>
                  <a:prstGeom prst="arc">
                    <a:avLst>
                      <a:gd name="adj1" fmla="val 11037066"/>
                      <a:gd name="adj2" fmla="val 16279283"/>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54" name="Straight Connector 53">
                    <a:extLst>
                      <a:ext uri="{FF2B5EF4-FFF2-40B4-BE49-F238E27FC236}">
                        <a16:creationId xmlns:a16="http://schemas.microsoft.com/office/drawing/2014/main" id="{DCBE1880-81B8-4C1E-9C27-6CDB0F2ECC28}"/>
                      </a:ext>
                    </a:extLst>
                  </p:cNvPr>
                  <p:cNvCxnSpPr>
                    <a:cxnSpLocks/>
                  </p:cNvCxnSpPr>
                  <p:nvPr/>
                </p:nvCxnSpPr>
                <p:spPr bwMode="gray">
                  <a:xfrm>
                    <a:off x="10912849" y="4082947"/>
                    <a:ext cx="2266466"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cxnSp>
              <p:nvCxnSpPr>
                <p:cNvPr id="52" name="Straight Connector 51">
                  <a:extLst>
                    <a:ext uri="{FF2B5EF4-FFF2-40B4-BE49-F238E27FC236}">
                      <a16:creationId xmlns:a16="http://schemas.microsoft.com/office/drawing/2014/main" id="{739C513D-85EB-400A-99AD-010889CF964D}"/>
                    </a:ext>
                  </a:extLst>
                </p:cNvPr>
                <p:cNvCxnSpPr>
                  <a:cxnSpLocks/>
                  <a:stCxn id="37" idx="0"/>
                  <a:endCxn id="53" idx="0"/>
                </p:cNvCxnSpPr>
                <p:nvPr/>
              </p:nvCxnSpPr>
              <p:spPr bwMode="gray">
                <a:xfrm flipV="1">
                  <a:off x="-588578" y="4024108"/>
                  <a:ext cx="68" cy="51321"/>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cxnSp>
            <p:nvCxnSpPr>
              <p:cNvPr id="49" name="Straight Connector 48">
                <a:extLst>
                  <a:ext uri="{FF2B5EF4-FFF2-40B4-BE49-F238E27FC236}">
                    <a16:creationId xmlns:a16="http://schemas.microsoft.com/office/drawing/2014/main" id="{4E929E36-992B-46C8-B51C-807EEF538A6C}"/>
                  </a:ext>
                </a:extLst>
              </p:cNvPr>
              <p:cNvCxnSpPr>
                <a:cxnSpLocks/>
              </p:cNvCxnSpPr>
              <p:nvPr/>
            </p:nvCxnSpPr>
            <p:spPr bwMode="gray">
              <a:xfrm>
                <a:off x="-448652" y="4012193"/>
                <a:ext cx="0" cy="61829"/>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50" name="Straight Connector 49">
                <a:extLst>
                  <a:ext uri="{FF2B5EF4-FFF2-40B4-BE49-F238E27FC236}">
                    <a16:creationId xmlns:a16="http://schemas.microsoft.com/office/drawing/2014/main" id="{6C3D1016-ED6B-4563-8C79-47FB42148697}"/>
                  </a:ext>
                </a:extLst>
              </p:cNvPr>
              <p:cNvCxnSpPr>
                <a:cxnSpLocks/>
              </p:cNvCxnSpPr>
              <p:nvPr/>
            </p:nvCxnSpPr>
            <p:spPr bwMode="gray">
              <a:xfrm flipH="1">
                <a:off x="-308158" y="4012193"/>
                <a:ext cx="34" cy="61829"/>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grpSp>
          <p:nvGrpSpPr>
            <p:cNvPr id="39" name="Group 38">
              <a:extLst>
                <a:ext uri="{FF2B5EF4-FFF2-40B4-BE49-F238E27FC236}">
                  <a16:creationId xmlns:a16="http://schemas.microsoft.com/office/drawing/2014/main" id="{9CC5CF0A-4F1D-4717-A105-93D810EE9081}"/>
                </a:ext>
              </a:extLst>
            </p:cNvPr>
            <p:cNvGrpSpPr/>
            <p:nvPr/>
          </p:nvGrpSpPr>
          <p:grpSpPr bwMode="gray">
            <a:xfrm rot="10800000">
              <a:off x="-671208" y="4319329"/>
              <a:ext cx="363084" cy="63236"/>
              <a:chOff x="-585177" y="4012193"/>
              <a:chExt cx="363084" cy="63236"/>
            </a:xfrm>
          </p:grpSpPr>
          <p:grpSp>
            <p:nvGrpSpPr>
              <p:cNvPr id="40" name="Group 39">
                <a:extLst>
                  <a:ext uri="{FF2B5EF4-FFF2-40B4-BE49-F238E27FC236}">
                    <a16:creationId xmlns:a16="http://schemas.microsoft.com/office/drawing/2014/main" id="{320B8321-AA02-469B-8A46-8866CE722AB0}"/>
                  </a:ext>
                </a:extLst>
              </p:cNvPr>
              <p:cNvGrpSpPr/>
              <p:nvPr/>
            </p:nvGrpSpPr>
            <p:grpSpPr bwMode="gray">
              <a:xfrm>
                <a:off x="-585177" y="4012193"/>
                <a:ext cx="363084" cy="63236"/>
                <a:chOff x="-588578" y="4012193"/>
                <a:chExt cx="363084" cy="63236"/>
              </a:xfrm>
            </p:grpSpPr>
            <p:grpSp>
              <p:nvGrpSpPr>
                <p:cNvPr id="43" name="Group 42">
                  <a:extLst>
                    <a:ext uri="{FF2B5EF4-FFF2-40B4-BE49-F238E27FC236}">
                      <a16:creationId xmlns:a16="http://schemas.microsoft.com/office/drawing/2014/main" id="{65184560-90F1-4BDD-99A1-BC5167944750}"/>
                    </a:ext>
                  </a:extLst>
                </p:cNvPr>
                <p:cNvGrpSpPr/>
                <p:nvPr/>
              </p:nvGrpSpPr>
              <p:grpSpPr bwMode="gray">
                <a:xfrm>
                  <a:off x="-588540" y="4012193"/>
                  <a:ext cx="363046" cy="25594"/>
                  <a:chOff x="10831038" y="4082947"/>
                  <a:chExt cx="2348277" cy="165549"/>
                </a:xfrm>
              </p:grpSpPr>
              <p:sp>
                <p:nvSpPr>
                  <p:cNvPr id="46" name="Arc 45">
                    <a:extLst>
                      <a:ext uri="{FF2B5EF4-FFF2-40B4-BE49-F238E27FC236}">
                        <a16:creationId xmlns:a16="http://schemas.microsoft.com/office/drawing/2014/main" id="{DF15264B-428A-407D-B8FF-0C97ED2EEF7C}"/>
                      </a:ext>
                    </a:extLst>
                  </p:cNvPr>
                  <p:cNvSpPr/>
                  <p:nvPr/>
                </p:nvSpPr>
                <p:spPr bwMode="gray">
                  <a:xfrm>
                    <a:off x="10831038" y="4082947"/>
                    <a:ext cx="165549" cy="165549"/>
                  </a:xfrm>
                  <a:prstGeom prst="arc">
                    <a:avLst>
                      <a:gd name="adj1" fmla="val 11037066"/>
                      <a:gd name="adj2" fmla="val 16279283"/>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cxnSp>
                <p:nvCxnSpPr>
                  <p:cNvPr id="47" name="Straight Connector 46">
                    <a:extLst>
                      <a:ext uri="{FF2B5EF4-FFF2-40B4-BE49-F238E27FC236}">
                        <a16:creationId xmlns:a16="http://schemas.microsoft.com/office/drawing/2014/main" id="{733A9183-A7C5-4534-991D-AB1D9217FF57}"/>
                      </a:ext>
                    </a:extLst>
                  </p:cNvPr>
                  <p:cNvCxnSpPr>
                    <a:cxnSpLocks/>
                  </p:cNvCxnSpPr>
                  <p:nvPr/>
                </p:nvCxnSpPr>
                <p:spPr bwMode="gray">
                  <a:xfrm>
                    <a:off x="10912849" y="4082947"/>
                    <a:ext cx="2266466"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cxnSp>
              <p:nvCxnSpPr>
                <p:cNvPr id="45" name="Straight Connector 44">
                  <a:extLst>
                    <a:ext uri="{FF2B5EF4-FFF2-40B4-BE49-F238E27FC236}">
                      <a16:creationId xmlns:a16="http://schemas.microsoft.com/office/drawing/2014/main" id="{D840C68A-1E20-4387-AA96-F3CB076CF640}"/>
                    </a:ext>
                  </a:extLst>
                </p:cNvPr>
                <p:cNvCxnSpPr>
                  <a:cxnSpLocks/>
                  <a:endCxn id="46" idx="0"/>
                </p:cNvCxnSpPr>
                <p:nvPr/>
              </p:nvCxnSpPr>
              <p:spPr bwMode="gray">
                <a:xfrm flipV="1">
                  <a:off x="-588578" y="4024108"/>
                  <a:ext cx="68" cy="51321"/>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cxnSp>
            <p:nvCxnSpPr>
              <p:cNvPr id="41" name="Straight Connector 40">
                <a:extLst>
                  <a:ext uri="{FF2B5EF4-FFF2-40B4-BE49-F238E27FC236}">
                    <a16:creationId xmlns:a16="http://schemas.microsoft.com/office/drawing/2014/main" id="{4B5E4D31-C787-4CA9-9796-E87259A9D16C}"/>
                  </a:ext>
                </a:extLst>
              </p:cNvPr>
              <p:cNvCxnSpPr>
                <a:cxnSpLocks/>
              </p:cNvCxnSpPr>
              <p:nvPr/>
            </p:nvCxnSpPr>
            <p:spPr bwMode="gray">
              <a:xfrm>
                <a:off x="-448652" y="4012193"/>
                <a:ext cx="0" cy="61829"/>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42" name="Straight Connector 41">
                <a:extLst>
                  <a:ext uri="{FF2B5EF4-FFF2-40B4-BE49-F238E27FC236}">
                    <a16:creationId xmlns:a16="http://schemas.microsoft.com/office/drawing/2014/main" id="{E33DFCAF-0A1A-4B68-AD59-61FADF3A47DC}"/>
                  </a:ext>
                </a:extLst>
              </p:cNvPr>
              <p:cNvCxnSpPr>
                <a:cxnSpLocks/>
              </p:cNvCxnSpPr>
              <p:nvPr/>
            </p:nvCxnSpPr>
            <p:spPr bwMode="gray">
              <a:xfrm flipH="1">
                <a:off x="-308158" y="4012193"/>
                <a:ext cx="34" cy="61829"/>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grpSp>
    </p:spTree>
    <p:extLst>
      <p:ext uri="{BB962C8B-B14F-4D97-AF65-F5344CB8AC3E}">
        <p14:creationId xmlns:p14="http://schemas.microsoft.com/office/powerpoint/2010/main" val="1712494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EF4F7D-2CCB-4CA7-AFFD-55D74038827F}"/>
              </a:ext>
            </a:extLst>
          </p:cNvPr>
          <p:cNvSpPr>
            <a:spLocks noGrp="1"/>
          </p:cNvSpPr>
          <p:nvPr>
            <p:ph type="title"/>
          </p:nvPr>
        </p:nvSpPr>
        <p:spPr/>
        <p:txBody>
          <a:bodyPr/>
          <a:lstStyle/>
          <a:p>
            <a:r>
              <a:rPr lang="de-DE" dirty="0"/>
              <a:t>Air </a:t>
            </a:r>
            <a:r>
              <a:rPr lang="de-DE" dirty="0" err="1"/>
              <a:t>separation</a:t>
            </a:r>
            <a:r>
              <a:rPr lang="de-DE" dirty="0"/>
              <a:t> </a:t>
            </a:r>
            <a:r>
              <a:rPr lang="de-DE" dirty="0" err="1"/>
              <a:t>unit</a:t>
            </a:r>
            <a:r>
              <a:rPr lang="de-DE" dirty="0"/>
              <a:t> (ASU)</a:t>
            </a:r>
            <a:endParaRPr lang="en-US" dirty="0"/>
          </a:p>
        </p:txBody>
      </p:sp>
      <p:sp>
        <p:nvSpPr>
          <p:cNvPr id="3" name="Footer Placeholder 2">
            <a:extLst>
              <a:ext uri="{FF2B5EF4-FFF2-40B4-BE49-F238E27FC236}">
                <a16:creationId xmlns:a16="http://schemas.microsoft.com/office/drawing/2014/main" id="{5732E45B-BD86-4BEE-AD59-D40AE9AD6F0C}"/>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DAB82839-24AC-4EDE-B3AE-EACC7C6C64C5}"/>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8B603ECC-BDFC-4497-8CD2-ED191CEC041F}"/>
              </a:ext>
            </a:extLst>
          </p:cNvPr>
          <p:cNvSpPr>
            <a:spLocks noGrp="1"/>
          </p:cNvSpPr>
          <p:nvPr>
            <p:ph type="sldNum" sz="quarter" idx="12"/>
          </p:nvPr>
        </p:nvSpPr>
        <p:spPr/>
        <p:txBody>
          <a:bodyPr/>
          <a:lstStyle/>
          <a:p>
            <a:r>
              <a:rPr lang="en-US"/>
              <a:t>Slide </a:t>
            </a:r>
            <a:fld id="{619F89D8-7AE3-494A-97F3-03D680869632}" type="slidenum">
              <a:rPr lang="en-US" smtClean="0"/>
              <a:pPr/>
              <a:t>49</a:t>
            </a:fld>
            <a:endParaRPr lang="en-US" dirty="0"/>
          </a:p>
        </p:txBody>
      </p:sp>
      <p:sp>
        <p:nvSpPr>
          <p:cNvPr id="6" name="Content Placeholder 5">
            <a:extLst>
              <a:ext uri="{FF2B5EF4-FFF2-40B4-BE49-F238E27FC236}">
                <a16:creationId xmlns:a16="http://schemas.microsoft.com/office/drawing/2014/main" id="{7EC1AF45-CE34-4000-B1D3-C095586E07CA}"/>
              </a:ext>
            </a:extLst>
          </p:cNvPr>
          <p:cNvSpPr>
            <a:spLocks noGrp="1"/>
          </p:cNvSpPr>
          <p:nvPr>
            <p:ph sz="quarter" idx="20"/>
          </p:nvPr>
        </p:nvSpPr>
        <p:spPr/>
        <p:txBody>
          <a:bodyPr/>
          <a:lstStyle/>
          <a:p>
            <a:pPr>
              <a:spcBef>
                <a:spcPts val="0"/>
              </a:spcBef>
            </a:pPr>
            <a:r>
              <a:rPr lang="de-DE" dirty="0"/>
              <a:t>Uras26</a:t>
            </a:r>
          </a:p>
          <a:p>
            <a:pPr>
              <a:spcBef>
                <a:spcPts val="0"/>
              </a:spcBef>
            </a:pPr>
            <a:r>
              <a:rPr lang="de-DE" dirty="0">
                <a:solidFill>
                  <a:schemeClr val="tx1"/>
                </a:solidFill>
              </a:rPr>
              <a:t>Infrared </a:t>
            </a:r>
            <a:r>
              <a:rPr lang="de-DE" dirty="0" err="1">
                <a:solidFill>
                  <a:schemeClr val="tx1"/>
                </a:solidFill>
              </a:rPr>
              <a:t>photometer</a:t>
            </a:r>
            <a:r>
              <a:rPr lang="de-DE" dirty="0">
                <a:solidFill>
                  <a:schemeClr val="tx1"/>
                </a:solidFill>
              </a:rPr>
              <a:t> – 0 </a:t>
            </a:r>
            <a:r>
              <a:rPr lang="de-DE" dirty="0" err="1">
                <a:solidFill>
                  <a:schemeClr val="tx1"/>
                </a:solidFill>
              </a:rPr>
              <a:t>to</a:t>
            </a:r>
            <a:r>
              <a:rPr lang="de-DE" dirty="0">
                <a:solidFill>
                  <a:schemeClr val="tx1"/>
                </a:solidFill>
              </a:rPr>
              <a:t> 10 ppm CO</a:t>
            </a:r>
            <a:r>
              <a:rPr lang="de-DE" baseline="-25000" dirty="0">
                <a:solidFill>
                  <a:schemeClr val="tx1"/>
                </a:solidFill>
              </a:rPr>
              <a:t>2</a:t>
            </a:r>
            <a:r>
              <a:rPr lang="de-DE" dirty="0">
                <a:solidFill>
                  <a:schemeClr val="tx1"/>
                </a:solidFill>
              </a:rPr>
              <a:t> / 0 </a:t>
            </a:r>
            <a:r>
              <a:rPr lang="de-DE" dirty="0" err="1">
                <a:solidFill>
                  <a:schemeClr val="tx1"/>
                </a:solidFill>
              </a:rPr>
              <a:t>to</a:t>
            </a:r>
            <a:r>
              <a:rPr lang="de-DE" dirty="0">
                <a:solidFill>
                  <a:schemeClr val="tx1"/>
                </a:solidFill>
              </a:rPr>
              <a:t> 10 ppm CO</a:t>
            </a:r>
            <a:endParaRPr lang="de-DE" baseline="-25000" dirty="0">
              <a:solidFill>
                <a:schemeClr val="tx1"/>
              </a:solidFill>
            </a:endParaRPr>
          </a:p>
          <a:p>
            <a:pPr lvl="1">
              <a:spcBef>
                <a:spcPts val="0"/>
              </a:spcBef>
            </a:pPr>
            <a:endParaRPr lang="de-DE" dirty="0"/>
          </a:p>
          <a:p>
            <a:pPr lvl="1">
              <a:spcBef>
                <a:spcPts val="300"/>
              </a:spcBef>
            </a:pPr>
            <a:r>
              <a:rPr lang="de-DE" dirty="0" err="1"/>
              <a:t>Measure</a:t>
            </a:r>
            <a:r>
              <a:rPr lang="de-DE" dirty="0"/>
              <a:t> </a:t>
            </a:r>
            <a:r>
              <a:rPr lang="de-DE" dirty="0" err="1"/>
              <a:t>up</a:t>
            </a:r>
            <a:r>
              <a:rPr lang="de-DE" dirty="0"/>
              <a:t> </a:t>
            </a:r>
            <a:r>
              <a:rPr lang="de-DE" dirty="0" err="1"/>
              <a:t>to</a:t>
            </a:r>
            <a:r>
              <a:rPr lang="de-DE" dirty="0"/>
              <a:t> 4 </a:t>
            </a:r>
            <a:r>
              <a:rPr lang="de-DE" dirty="0" err="1"/>
              <a:t>components</a:t>
            </a:r>
            <a:r>
              <a:rPr lang="de-DE" dirty="0"/>
              <a:t> </a:t>
            </a:r>
            <a:r>
              <a:rPr lang="de-DE" dirty="0" err="1"/>
              <a:t>simultaneously</a:t>
            </a:r>
            <a:endParaRPr lang="de-DE" dirty="0"/>
          </a:p>
          <a:p>
            <a:pPr lvl="1">
              <a:spcBef>
                <a:spcPts val="300"/>
              </a:spcBef>
            </a:pPr>
            <a:r>
              <a:rPr lang="de-DE" dirty="0"/>
              <a:t>Gas-</a:t>
            </a:r>
            <a:r>
              <a:rPr lang="de-DE" dirty="0" err="1"/>
              <a:t>filled</a:t>
            </a:r>
            <a:r>
              <a:rPr lang="de-DE" dirty="0"/>
              <a:t> </a:t>
            </a:r>
            <a:r>
              <a:rPr lang="de-DE" dirty="0" err="1"/>
              <a:t>detectors</a:t>
            </a:r>
            <a:r>
              <a:rPr lang="de-DE" dirty="0"/>
              <a:t> </a:t>
            </a:r>
            <a:r>
              <a:rPr lang="de-DE" dirty="0" err="1"/>
              <a:t>for</a:t>
            </a:r>
            <a:r>
              <a:rPr lang="de-DE" dirty="0"/>
              <a:t> </a:t>
            </a:r>
            <a:r>
              <a:rPr lang="de-DE" dirty="0" err="1"/>
              <a:t>highly</a:t>
            </a:r>
            <a:r>
              <a:rPr lang="de-DE" dirty="0"/>
              <a:t> </a:t>
            </a:r>
            <a:r>
              <a:rPr lang="de-DE" dirty="0" err="1"/>
              <a:t>selective</a:t>
            </a:r>
            <a:r>
              <a:rPr lang="de-DE" dirty="0"/>
              <a:t> </a:t>
            </a:r>
            <a:r>
              <a:rPr lang="de-DE" dirty="0" err="1"/>
              <a:t>measurement</a:t>
            </a:r>
            <a:endParaRPr lang="de-DE" dirty="0"/>
          </a:p>
          <a:p>
            <a:pPr lvl="1">
              <a:spcBef>
                <a:spcPts val="300"/>
              </a:spcBef>
            </a:pPr>
            <a:r>
              <a:rPr lang="de-DE" dirty="0"/>
              <a:t>Internal </a:t>
            </a:r>
            <a:r>
              <a:rPr lang="de-DE" dirty="0" err="1"/>
              <a:t>calibration</a:t>
            </a:r>
            <a:r>
              <a:rPr lang="de-DE" dirty="0"/>
              <a:t> </a:t>
            </a:r>
            <a:r>
              <a:rPr lang="de-DE" dirty="0" err="1"/>
              <a:t>cells</a:t>
            </a:r>
            <a:r>
              <a:rPr lang="de-DE" dirty="0"/>
              <a:t> </a:t>
            </a:r>
            <a:r>
              <a:rPr lang="de-DE" dirty="0" err="1"/>
              <a:t>minimize</a:t>
            </a:r>
            <a:r>
              <a:rPr lang="de-DE" dirty="0"/>
              <a:t> </a:t>
            </a:r>
            <a:r>
              <a:rPr lang="de-DE" dirty="0" err="1"/>
              <a:t>cost</a:t>
            </a:r>
            <a:r>
              <a:rPr lang="de-DE" dirty="0"/>
              <a:t> </a:t>
            </a:r>
            <a:r>
              <a:rPr lang="de-DE" dirty="0" err="1"/>
              <a:t>of</a:t>
            </a:r>
            <a:r>
              <a:rPr lang="de-DE" dirty="0"/>
              <a:t> </a:t>
            </a:r>
            <a:r>
              <a:rPr lang="de-DE" dirty="0" err="1"/>
              <a:t>ownership</a:t>
            </a:r>
            <a:endParaRPr lang="de-DE" dirty="0"/>
          </a:p>
          <a:p>
            <a:pPr lvl="1">
              <a:spcBef>
                <a:spcPts val="300"/>
              </a:spcBef>
            </a:pPr>
            <a:r>
              <a:rPr lang="de-DE" dirty="0" err="1"/>
              <a:t>Available</a:t>
            </a:r>
            <a:r>
              <a:rPr lang="de-DE" dirty="0"/>
              <a:t> in EL3000 and AO2000 </a:t>
            </a:r>
            <a:r>
              <a:rPr lang="de-DE" dirty="0" err="1"/>
              <a:t>series</a:t>
            </a:r>
            <a:endParaRPr lang="de-DE" dirty="0"/>
          </a:p>
          <a:p>
            <a:pPr lvl="1">
              <a:spcBef>
                <a:spcPts val="300"/>
              </a:spcBef>
            </a:pPr>
            <a:endParaRPr lang="de-DE" dirty="0"/>
          </a:p>
          <a:p>
            <a:pPr>
              <a:spcBef>
                <a:spcPts val="0"/>
              </a:spcBef>
            </a:pPr>
            <a:r>
              <a:rPr lang="de-DE" dirty="0"/>
              <a:t>PGC5000</a:t>
            </a:r>
          </a:p>
          <a:p>
            <a:pPr>
              <a:spcBef>
                <a:spcPts val="0"/>
              </a:spcBef>
            </a:pPr>
            <a:r>
              <a:rPr lang="de-DE" dirty="0">
                <a:solidFill>
                  <a:schemeClr val="tx1"/>
                </a:solidFill>
              </a:rPr>
              <a:t>Gas </a:t>
            </a:r>
            <a:r>
              <a:rPr lang="de-DE" dirty="0" err="1">
                <a:solidFill>
                  <a:schemeClr val="tx1"/>
                </a:solidFill>
              </a:rPr>
              <a:t>Chromatograph</a:t>
            </a:r>
            <a:r>
              <a:rPr lang="de-DE" dirty="0">
                <a:solidFill>
                  <a:schemeClr val="tx1"/>
                </a:solidFill>
              </a:rPr>
              <a:t> </a:t>
            </a:r>
            <a:r>
              <a:rPr lang="de-DE" dirty="0" err="1">
                <a:solidFill>
                  <a:schemeClr val="tx1"/>
                </a:solidFill>
              </a:rPr>
              <a:t>with</a:t>
            </a:r>
            <a:r>
              <a:rPr lang="de-DE" dirty="0">
                <a:solidFill>
                  <a:schemeClr val="tx1"/>
                </a:solidFill>
              </a:rPr>
              <a:t> TCD/FID </a:t>
            </a:r>
            <a:r>
              <a:rPr lang="de-DE" dirty="0" err="1">
                <a:solidFill>
                  <a:schemeClr val="tx1"/>
                </a:solidFill>
              </a:rPr>
              <a:t>detector</a:t>
            </a:r>
            <a:r>
              <a:rPr lang="de-DE" dirty="0">
                <a:solidFill>
                  <a:schemeClr val="tx1"/>
                </a:solidFill>
              </a:rPr>
              <a:t> – </a:t>
            </a:r>
            <a:r>
              <a:rPr lang="de-DE" dirty="0" err="1">
                <a:solidFill>
                  <a:schemeClr val="tx1"/>
                </a:solidFill>
              </a:rPr>
              <a:t>Composition</a:t>
            </a:r>
            <a:endParaRPr lang="de-DE" baseline="-25000" dirty="0">
              <a:solidFill>
                <a:schemeClr val="tx1"/>
              </a:solidFill>
            </a:endParaRPr>
          </a:p>
          <a:p>
            <a:pPr lvl="1">
              <a:spcBef>
                <a:spcPts val="0"/>
              </a:spcBef>
            </a:pPr>
            <a:endParaRPr lang="de-DE" dirty="0"/>
          </a:p>
          <a:p>
            <a:pPr lvl="1">
              <a:spcBef>
                <a:spcPts val="0"/>
              </a:spcBef>
            </a:pPr>
            <a:r>
              <a:rPr lang="en-US" dirty="0"/>
              <a:t>Modular process GC series – FID, </a:t>
            </a:r>
            <a:r>
              <a:rPr lang="en-US" i="1" dirty="0"/>
              <a:t>s</a:t>
            </a:r>
            <a:r>
              <a:rPr lang="en-US" dirty="0"/>
              <a:t>TCD, </a:t>
            </a:r>
            <a:r>
              <a:rPr lang="en-US" i="1" dirty="0" err="1"/>
              <a:t>m</a:t>
            </a:r>
            <a:r>
              <a:rPr lang="en-US" dirty="0" err="1"/>
              <a:t>TCD</a:t>
            </a:r>
            <a:r>
              <a:rPr lang="en-US" dirty="0"/>
              <a:t>, FPD, DID detectors</a:t>
            </a:r>
          </a:p>
          <a:p>
            <a:pPr lvl="1">
              <a:spcBef>
                <a:spcPts val="0"/>
              </a:spcBef>
            </a:pPr>
            <a:r>
              <a:rPr lang="en-US" dirty="0"/>
              <a:t>Airless oven option for significant utility savings</a:t>
            </a:r>
          </a:p>
          <a:p>
            <a:pPr lvl="1">
              <a:spcBef>
                <a:spcPts val="0"/>
              </a:spcBef>
            </a:pPr>
            <a:r>
              <a:rPr lang="en-US" dirty="0"/>
              <a:t>Easy to use graphical, touch screen User Interface (UI)</a:t>
            </a:r>
          </a:p>
          <a:p>
            <a:pPr lvl="1">
              <a:spcBef>
                <a:spcPts val="0"/>
              </a:spcBef>
            </a:pPr>
            <a:r>
              <a:rPr lang="en-US" dirty="0"/>
              <a:t>Industry standard communication protocols</a:t>
            </a:r>
          </a:p>
        </p:txBody>
      </p:sp>
      <p:sp>
        <p:nvSpPr>
          <p:cNvPr id="7" name="Content Placeholder 6">
            <a:extLst>
              <a:ext uri="{FF2B5EF4-FFF2-40B4-BE49-F238E27FC236}">
                <a16:creationId xmlns:a16="http://schemas.microsoft.com/office/drawing/2014/main" id="{2ADDC11F-5D49-4BCD-922D-04728BABF3FE}"/>
              </a:ext>
            </a:extLst>
          </p:cNvPr>
          <p:cNvSpPr>
            <a:spLocks noGrp="1"/>
          </p:cNvSpPr>
          <p:nvPr>
            <p:ph sz="quarter" idx="19"/>
          </p:nvPr>
        </p:nvSpPr>
        <p:spPr>
          <a:xfrm>
            <a:off x="793629" y="1991598"/>
            <a:ext cx="3074985" cy="3920513"/>
          </a:xfrm>
        </p:spPr>
        <p:txBody>
          <a:bodyPr/>
          <a:lstStyle/>
          <a:p>
            <a:r>
              <a:rPr lang="en-US" dirty="0"/>
              <a:t>Final product quality</a:t>
            </a:r>
          </a:p>
          <a:p>
            <a:pPr lvl="1">
              <a:spcBef>
                <a:spcPts val="0"/>
              </a:spcBef>
            </a:pPr>
            <a:endParaRPr lang="en-US" dirty="0"/>
          </a:p>
          <a:p>
            <a:pPr lvl="1">
              <a:spcBef>
                <a:spcPts val="0"/>
              </a:spcBef>
            </a:pPr>
            <a:r>
              <a:rPr lang="en-US" dirty="0"/>
              <a:t>Syngas or hydrogen final product purity must be monitored</a:t>
            </a:r>
          </a:p>
          <a:p>
            <a:pPr lvl="1">
              <a:spcBef>
                <a:spcPts val="0"/>
              </a:spcBef>
            </a:pPr>
            <a:r>
              <a:rPr lang="en-US" dirty="0"/>
              <a:t>Excess CO</a:t>
            </a:r>
            <a:r>
              <a:rPr lang="en-US" baseline="-25000" dirty="0"/>
              <a:t>2</a:t>
            </a:r>
            <a:r>
              <a:rPr lang="en-US" dirty="0"/>
              <a:t> would represent non-conformance in either case</a:t>
            </a:r>
          </a:p>
          <a:p>
            <a:pPr lvl="1">
              <a:spcBef>
                <a:spcPts val="0"/>
              </a:spcBef>
            </a:pPr>
            <a:r>
              <a:rPr lang="en-US" dirty="0"/>
              <a:t>If hydrogen is the target (not syngas) then excess CO would also represent a non-conformance</a:t>
            </a:r>
          </a:p>
        </p:txBody>
      </p:sp>
      <p:sp>
        <p:nvSpPr>
          <p:cNvPr id="8" name="Subtitle 7">
            <a:extLst>
              <a:ext uri="{FF2B5EF4-FFF2-40B4-BE49-F238E27FC236}">
                <a16:creationId xmlns:a16="http://schemas.microsoft.com/office/drawing/2014/main" id="{8716F94D-E2ED-4522-BA19-0B094F971306}"/>
              </a:ext>
            </a:extLst>
          </p:cNvPr>
          <p:cNvSpPr>
            <a:spLocks noGrp="1"/>
          </p:cNvSpPr>
          <p:nvPr>
            <p:ph type="subTitle" idx="13"/>
          </p:nvPr>
        </p:nvSpPr>
        <p:spPr/>
        <p:txBody>
          <a:bodyPr/>
          <a:lstStyle/>
          <a:p>
            <a:r>
              <a:rPr lang="de-DE" dirty="0"/>
              <a:t>Pain </a:t>
            </a:r>
            <a:r>
              <a:rPr lang="de-DE" dirty="0" err="1"/>
              <a:t>points</a:t>
            </a:r>
            <a:r>
              <a:rPr lang="de-DE" dirty="0"/>
              <a:t> and ABB </a:t>
            </a:r>
            <a:r>
              <a:rPr lang="de-DE" dirty="0" err="1"/>
              <a:t>solution</a:t>
            </a:r>
            <a:endParaRPr lang="en-US" dirty="0"/>
          </a:p>
        </p:txBody>
      </p:sp>
      <p:grpSp>
        <p:nvGrpSpPr>
          <p:cNvPr id="29" name="Group 28">
            <a:extLst>
              <a:ext uri="{FF2B5EF4-FFF2-40B4-BE49-F238E27FC236}">
                <a16:creationId xmlns:a16="http://schemas.microsoft.com/office/drawing/2014/main" id="{57E1A6A8-A5C8-4678-B834-87961F991BC3}"/>
              </a:ext>
            </a:extLst>
          </p:cNvPr>
          <p:cNvGrpSpPr/>
          <p:nvPr/>
        </p:nvGrpSpPr>
        <p:grpSpPr bwMode="gray">
          <a:xfrm>
            <a:off x="433336" y="2073939"/>
            <a:ext cx="257883" cy="185008"/>
            <a:chOff x="455178" y="2728270"/>
            <a:chExt cx="410542" cy="294526"/>
          </a:xfrm>
        </p:grpSpPr>
        <p:sp>
          <p:nvSpPr>
            <p:cNvPr id="30" name="Oval 28">
              <a:extLst>
                <a:ext uri="{FF2B5EF4-FFF2-40B4-BE49-F238E27FC236}">
                  <a16:creationId xmlns:a16="http://schemas.microsoft.com/office/drawing/2014/main" id="{DDE1B07D-B5FE-4672-BD98-4BB4AD0A65B6}"/>
                </a:ext>
              </a:extLst>
            </p:cNvPr>
            <p:cNvSpPr/>
            <p:nvPr/>
          </p:nvSpPr>
          <p:spPr bwMode="gray">
            <a:xfrm>
              <a:off x="455178" y="2728270"/>
              <a:ext cx="164715" cy="72483"/>
            </a:xfrm>
            <a:custGeom>
              <a:avLst/>
              <a:gdLst/>
              <a:ahLst/>
              <a:cxnLst/>
              <a:rect l="l" t="t" r="r" b="b"/>
              <a:pathLst>
                <a:path w="440842" h="193992">
                  <a:moveTo>
                    <a:pt x="220421" y="0"/>
                  </a:moveTo>
                  <a:cubicBezTo>
                    <a:pt x="253725" y="0"/>
                    <a:pt x="285304" y="3250"/>
                    <a:pt x="313465" y="9772"/>
                  </a:cubicBezTo>
                  <a:cubicBezTo>
                    <a:pt x="331415" y="13121"/>
                    <a:pt x="347902" y="18060"/>
                    <a:pt x="362477" y="24314"/>
                  </a:cubicBezTo>
                  <a:cubicBezTo>
                    <a:pt x="399375" y="36607"/>
                    <a:pt x="425619" y="55316"/>
                    <a:pt x="435827" y="76686"/>
                  </a:cubicBezTo>
                  <a:lnTo>
                    <a:pt x="435827" y="76686"/>
                  </a:lnTo>
                  <a:lnTo>
                    <a:pt x="435828" y="76688"/>
                  </a:lnTo>
                  <a:cubicBezTo>
                    <a:pt x="439162" y="83189"/>
                    <a:pt x="440842" y="90006"/>
                    <a:pt x="440842" y="96996"/>
                  </a:cubicBezTo>
                  <a:cubicBezTo>
                    <a:pt x="440842" y="115122"/>
                    <a:pt x="429543" y="132088"/>
                    <a:pt x="408408" y="144614"/>
                  </a:cubicBezTo>
                  <a:lnTo>
                    <a:pt x="402009" y="129165"/>
                  </a:lnTo>
                  <a:cubicBezTo>
                    <a:pt x="414505" y="119836"/>
                    <a:pt x="421199" y="108722"/>
                    <a:pt x="421199" y="96997"/>
                  </a:cubicBezTo>
                  <a:lnTo>
                    <a:pt x="419233" y="89384"/>
                  </a:lnTo>
                  <a:cubicBezTo>
                    <a:pt x="416379" y="74433"/>
                    <a:pt x="402003" y="60947"/>
                    <a:pt x="379180" y="51612"/>
                  </a:cubicBezTo>
                  <a:lnTo>
                    <a:pt x="351360" y="39262"/>
                  </a:lnTo>
                  <a:lnTo>
                    <a:pt x="307685" y="27768"/>
                  </a:lnTo>
                  <a:cubicBezTo>
                    <a:pt x="282236" y="22420"/>
                    <a:pt x="253589" y="19773"/>
                    <a:pt x="223358" y="19773"/>
                  </a:cubicBezTo>
                  <a:lnTo>
                    <a:pt x="146349" y="25842"/>
                  </a:lnTo>
                  <a:lnTo>
                    <a:pt x="83463" y="42391"/>
                  </a:lnTo>
                  <a:lnTo>
                    <a:pt x="41065" y="66938"/>
                  </a:lnTo>
                  <a:lnTo>
                    <a:pt x="29537" y="81434"/>
                  </a:lnTo>
                  <a:lnTo>
                    <a:pt x="25517" y="96997"/>
                  </a:lnTo>
                  <a:lnTo>
                    <a:pt x="29537" y="112560"/>
                  </a:lnTo>
                  <a:lnTo>
                    <a:pt x="41065" y="127056"/>
                  </a:lnTo>
                  <a:lnTo>
                    <a:pt x="83463" y="151603"/>
                  </a:lnTo>
                  <a:lnTo>
                    <a:pt x="146349" y="168152"/>
                  </a:lnTo>
                  <a:cubicBezTo>
                    <a:pt x="170019" y="172060"/>
                    <a:pt x="196042" y="174221"/>
                    <a:pt x="223358" y="174221"/>
                  </a:cubicBezTo>
                  <a:lnTo>
                    <a:pt x="283068" y="170388"/>
                  </a:lnTo>
                  <a:lnTo>
                    <a:pt x="313106" y="163841"/>
                  </a:lnTo>
                  <a:cubicBezTo>
                    <a:pt x="321436" y="163174"/>
                    <a:pt x="329152" y="161052"/>
                    <a:pt x="336471" y="158651"/>
                  </a:cubicBezTo>
                  <a:lnTo>
                    <a:pt x="336471" y="177394"/>
                  </a:lnTo>
                  <a:lnTo>
                    <a:pt x="334294" y="177894"/>
                  </a:lnTo>
                  <a:lnTo>
                    <a:pt x="334294" y="178040"/>
                  </a:lnTo>
                  <a:lnTo>
                    <a:pt x="305383" y="184536"/>
                  </a:lnTo>
                  <a:cubicBezTo>
                    <a:pt x="297763" y="187433"/>
                    <a:pt x="289629" y="188848"/>
                    <a:pt x="281272" y="189953"/>
                  </a:cubicBezTo>
                  <a:cubicBezTo>
                    <a:pt x="261994" y="192683"/>
                    <a:pt x="241555" y="193992"/>
                    <a:pt x="220421" y="193992"/>
                  </a:cubicBezTo>
                  <a:cubicBezTo>
                    <a:pt x="159554" y="193992"/>
                    <a:pt x="104449" y="183135"/>
                    <a:pt x="64560" y="165582"/>
                  </a:cubicBezTo>
                  <a:cubicBezTo>
                    <a:pt x="24672" y="148030"/>
                    <a:pt x="0" y="123781"/>
                    <a:pt x="0" y="96996"/>
                  </a:cubicBezTo>
                  <a:cubicBezTo>
                    <a:pt x="0" y="83604"/>
                    <a:pt x="6168" y="70845"/>
                    <a:pt x="17322" y="59241"/>
                  </a:cubicBezTo>
                  <a:cubicBezTo>
                    <a:pt x="28476" y="47637"/>
                    <a:pt x="44616" y="37186"/>
                    <a:pt x="64560" y="28410"/>
                  </a:cubicBezTo>
                  <a:cubicBezTo>
                    <a:pt x="104448" y="10857"/>
                    <a:pt x="159554" y="0"/>
                    <a:pt x="220421" y="0"/>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sp>
          <p:nvSpPr>
            <p:cNvPr id="31" name="Freeform: Shape 30">
              <a:extLst>
                <a:ext uri="{FF2B5EF4-FFF2-40B4-BE49-F238E27FC236}">
                  <a16:creationId xmlns:a16="http://schemas.microsoft.com/office/drawing/2014/main" id="{4CC6731C-025B-4AC5-986C-1AE5A63851B8}"/>
                </a:ext>
              </a:extLst>
            </p:cNvPr>
            <p:cNvSpPr/>
            <p:nvPr/>
          </p:nvSpPr>
          <p:spPr bwMode="gray">
            <a:xfrm>
              <a:off x="582487" y="2739562"/>
              <a:ext cx="283233" cy="283234"/>
            </a:xfrm>
            <a:custGeom>
              <a:avLst/>
              <a:gdLst>
                <a:gd name="connsiteX0" fmla="*/ 36147 w 283233"/>
                <a:gd name="connsiteY0" fmla="*/ 21141 h 283234"/>
                <a:gd name="connsiteX1" fmla="*/ 25536 w 283233"/>
                <a:gd name="connsiteY1" fmla="*/ 25536 h 283234"/>
                <a:gd name="connsiteX2" fmla="*/ 25536 w 283233"/>
                <a:gd name="connsiteY2" fmla="*/ 46758 h 283234"/>
                <a:gd name="connsiteX3" fmla="*/ 46759 w 283233"/>
                <a:gd name="connsiteY3" fmla="*/ 46758 h 283234"/>
                <a:gd name="connsiteX4" fmla="*/ 46759 w 283233"/>
                <a:gd name="connsiteY4" fmla="*/ 25536 h 283234"/>
                <a:gd name="connsiteX5" fmla="*/ 36147 w 283233"/>
                <a:gd name="connsiteY5" fmla="*/ 21141 h 283234"/>
                <a:gd name="connsiteX6" fmla="*/ 28703 w 283233"/>
                <a:gd name="connsiteY6" fmla="*/ 0 h 283234"/>
                <a:gd name="connsiteX7" fmla="*/ 111052 w 283233"/>
                <a:gd name="connsiteY7" fmla="*/ 0 h 283234"/>
                <a:gd name="connsiteX8" fmla="*/ 283233 w 283233"/>
                <a:gd name="connsiteY8" fmla="*/ 172182 h 283234"/>
                <a:gd name="connsiteX9" fmla="*/ 172182 w 283233"/>
                <a:gd name="connsiteY9" fmla="*/ 283234 h 283234"/>
                <a:gd name="connsiteX10" fmla="*/ 0 w 283233"/>
                <a:gd name="connsiteY10" fmla="*/ 111052 h 283234"/>
                <a:gd name="connsiteX11" fmla="*/ 0 w 283233"/>
                <a:gd name="connsiteY11" fmla="*/ 28703 h 28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3233" h="283234">
                  <a:moveTo>
                    <a:pt x="36147" y="21141"/>
                  </a:moveTo>
                  <a:cubicBezTo>
                    <a:pt x="32307" y="21141"/>
                    <a:pt x="28466" y="22606"/>
                    <a:pt x="25536" y="25536"/>
                  </a:cubicBezTo>
                  <a:cubicBezTo>
                    <a:pt x="19676" y="31396"/>
                    <a:pt x="19676" y="40898"/>
                    <a:pt x="25536" y="46758"/>
                  </a:cubicBezTo>
                  <a:cubicBezTo>
                    <a:pt x="31397" y="52619"/>
                    <a:pt x="40898" y="52619"/>
                    <a:pt x="46759" y="46758"/>
                  </a:cubicBezTo>
                  <a:cubicBezTo>
                    <a:pt x="52619" y="40898"/>
                    <a:pt x="52619" y="31396"/>
                    <a:pt x="46759" y="25536"/>
                  </a:cubicBezTo>
                  <a:cubicBezTo>
                    <a:pt x="43829" y="22606"/>
                    <a:pt x="39988" y="21141"/>
                    <a:pt x="36147" y="21141"/>
                  </a:cubicBezTo>
                  <a:close/>
                  <a:moveTo>
                    <a:pt x="28703" y="0"/>
                  </a:moveTo>
                  <a:lnTo>
                    <a:pt x="111052" y="0"/>
                  </a:lnTo>
                  <a:lnTo>
                    <a:pt x="283233" y="172182"/>
                  </a:lnTo>
                  <a:lnTo>
                    <a:pt x="172182" y="283234"/>
                  </a:lnTo>
                  <a:lnTo>
                    <a:pt x="0" y="111052"/>
                  </a:lnTo>
                  <a:lnTo>
                    <a:pt x="0" y="28703"/>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grpSp>
    </p:spTree>
    <p:extLst>
      <p:ext uri="{BB962C8B-B14F-4D97-AF65-F5344CB8AC3E}">
        <p14:creationId xmlns:p14="http://schemas.microsoft.com/office/powerpoint/2010/main" val="353428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7792" t="3199" r="13372" b="16703"/>
          <a:stretch/>
        </p:blipFill>
        <p:spPr>
          <a:xfrm>
            <a:off x="2542337" y="1598368"/>
            <a:ext cx="6693877" cy="4384430"/>
          </a:xfrm>
          <a:prstGeom prst="rect">
            <a:avLst/>
          </a:prstGeom>
        </p:spPr>
      </p:pic>
      <p:sp>
        <p:nvSpPr>
          <p:cNvPr id="3" name="Title 2"/>
          <p:cNvSpPr>
            <a:spLocks noGrp="1"/>
          </p:cNvSpPr>
          <p:nvPr>
            <p:ph type="title"/>
          </p:nvPr>
        </p:nvSpPr>
        <p:spPr bwMode="gray"/>
        <p:txBody>
          <a:bodyPr/>
          <a:lstStyle/>
          <a:p>
            <a:r>
              <a:rPr lang="en-US" dirty="0"/>
              <a:t>Continuous Gas Analyzers (CGA)</a:t>
            </a:r>
          </a:p>
        </p:txBody>
      </p:sp>
      <p:sp>
        <p:nvSpPr>
          <p:cNvPr id="7" name="Subtitle 6"/>
          <p:cNvSpPr>
            <a:spLocks noGrp="1"/>
          </p:cNvSpPr>
          <p:nvPr>
            <p:ph type="subTitle" idx="13"/>
          </p:nvPr>
        </p:nvSpPr>
        <p:spPr bwMode="gray"/>
        <p:txBody>
          <a:bodyPr/>
          <a:lstStyle/>
          <a:p>
            <a:r>
              <a:rPr lang="en-US" dirty="0"/>
              <a:t>Most complete portfolio in the industry</a:t>
            </a:r>
          </a:p>
        </p:txBody>
      </p:sp>
      <p:sp>
        <p:nvSpPr>
          <p:cNvPr id="34" name="Rectangle 33"/>
          <p:cNvSpPr/>
          <p:nvPr/>
        </p:nvSpPr>
        <p:spPr bwMode="gray">
          <a:xfrm>
            <a:off x="0" y="5913439"/>
            <a:ext cx="12192000" cy="944561"/>
          </a:xfrm>
          <a:prstGeom prst="rect">
            <a:avLst/>
          </a:prstGeom>
          <a:gradFill>
            <a:gsLst>
              <a:gs pos="0">
                <a:schemeClr val="bg1">
                  <a:alpha val="0"/>
                </a:schemeClr>
              </a:gs>
              <a:gs pos="32000">
                <a:schemeClr val="bg1"/>
              </a:gs>
              <a:gs pos="10000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35" name="Date Placeholder 8"/>
          <p:cNvSpPr txBox="1">
            <a:spLocks/>
          </p:cNvSpPr>
          <p:nvPr/>
        </p:nvSpPr>
        <p:spPr bwMode="gray">
          <a:xfrm>
            <a:off x="332367" y="6489341"/>
            <a:ext cx="1162951" cy="118192"/>
          </a:xfrm>
          <a:prstGeom prst="rect">
            <a:avLst/>
          </a:prstGeom>
        </p:spPr>
        <p:txBody>
          <a:bodyPr vert="horz" lIns="0" tIns="0" rIns="0" bIns="0" rtlCol="0" anchor="ctr">
            <a:noAutofit/>
          </a:bodyPr>
          <a:lstStyle>
            <a:defPPr>
              <a:defRPr lang="en-US"/>
            </a:defPPr>
            <a:lvl1pPr marL="0" algn="l" defTabSz="914400" rtl="0" eaLnBrk="1" latinLnBrk="0" hangingPunct="1">
              <a:defRPr sz="1000" kern="1200">
                <a:solidFill>
                  <a:schemeClr val="accent3"/>
                </a:solidFill>
                <a:latin typeface="+mn-lt"/>
                <a:ea typeface="+mn-ea"/>
                <a:cs typeface="+mn-cs"/>
              </a:defRPr>
            </a:lvl1pPr>
            <a:lvl2pPr marL="0" indent="0" algn="l" defTabSz="914400" rtl="0" eaLnBrk="1" latinLnBrk="0" hangingPunct="1">
              <a:defRPr sz="1000" kern="1200">
                <a:solidFill>
                  <a:schemeClr val="accent3"/>
                </a:solidFill>
                <a:latin typeface="+mn-lt"/>
                <a:ea typeface="+mn-ea"/>
                <a:cs typeface="+mn-cs"/>
              </a:defRPr>
            </a:lvl2pPr>
            <a:lvl3pPr marL="0" indent="0" algn="l" defTabSz="914400" rtl="0" eaLnBrk="1" latinLnBrk="0" hangingPunct="1">
              <a:defRPr sz="1000" kern="1200">
                <a:solidFill>
                  <a:schemeClr val="accent3"/>
                </a:solidFill>
                <a:latin typeface="+mn-lt"/>
                <a:ea typeface="+mn-ea"/>
                <a:cs typeface="+mn-cs"/>
              </a:defRPr>
            </a:lvl3pPr>
            <a:lvl4pPr marL="0" indent="0" algn="l" defTabSz="914400" rtl="0" eaLnBrk="1" latinLnBrk="0" hangingPunct="1">
              <a:defRPr sz="1000" kern="1200">
                <a:solidFill>
                  <a:schemeClr val="accent3"/>
                </a:solidFill>
                <a:latin typeface="+mn-lt"/>
                <a:ea typeface="+mn-ea"/>
                <a:cs typeface="+mn-cs"/>
              </a:defRPr>
            </a:lvl4pPr>
            <a:lvl5pPr marL="0" indent="0" algn="l" defTabSz="914400" rtl="0" eaLnBrk="1" latinLnBrk="0" hangingPunct="1">
              <a:defRPr sz="1000" kern="1200">
                <a:solidFill>
                  <a:schemeClr val="accent3"/>
                </a:solidFill>
                <a:latin typeface="+mn-lt"/>
                <a:ea typeface="+mn-ea"/>
                <a:cs typeface="+mn-cs"/>
              </a:defRPr>
            </a:lvl5pPr>
            <a:lvl6pPr marL="0" indent="0" algn="l" defTabSz="914400" rtl="0" eaLnBrk="1" latinLnBrk="0" hangingPunct="1">
              <a:defRPr sz="1000" kern="1200">
                <a:solidFill>
                  <a:schemeClr val="accent3"/>
                </a:solidFill>
                <a:latin typeface="+mn-lt"/>
                <a:ea typeface="+mn-ea"/>
                <a:cs typeface="+mn-cs"/>
              </a:defRPr>
            </a:lvl6pPr>
            <a:lvl7pPr marL="0" indent="0" algn="l" defTabSz="914400" rtl="0" eaLnBrk="1" latinLnBrk="0" hangingPunct="1">
              <a:defRPr sz="1000" kern="1200">
                <a:solidFill>
                  <a:schemeClr val="accent3"/>
                </a:solidFill>
                <a:latin typeface="+mn-lt"/>
                <a:ea typeface="+mn-ea"/>
                <a:cs typeface="+mn-cs"/>
              </a:defRPr>
            </a:lvl7pPr>
            <a:lvl8pPr marL="0" indent="0" algn="l" defTabSz="914400" rtl="0" eaLnBrk="1" latinLnBrk="0" hangingPunct="1">
              <a:defRPr sz="1000" kern="1200">
                <a:solidFill>
                  <a:schemeClr val="accent3"/>
                </a:solidFill>
                <a:latin typeface="+mn-lt"/>
                <a:ea typeface="+mn-ea"/>
                <a:cs typeface="+mn-cs"/>
              </a:defRPr>
            </a:lvl8pPr>
            <a:lvl9pPr marL="0" indent="0" algn="l" defTabSz="914400" rtl="0" eaLnBrk="1" latinLnBrk="0" hangingPunct="1">
              <a:defRPr sz="1000" kern="1200">
                <a:solidFill>
                  <a:schemeClr val="accent3"/>
                </a:solidFill>
                <a:latin typeface="+mn-lt"/>
                <a:ea typeface="+mn-ea"/>
                <a:cs typeface="+mn-cs"/>
              </a:defRPr>
            </a:lvl9pPr>
          </a:lstStyle>
          <a:p>
            <a:fld id="{75ACC3D8-F658-404B-AC58-DFDEB860C833}" type="datetime4">
              <a:rPr lang="en-US" smtClean="0"/>
              <a:pPr/>
              <a:t>September 8, 2019</a:t>
            </a:fld>
            <a:endParaRPr lang="en-US" dirty="0"/>
          </a:p>
        </p:txBody>
      </p:sp>
      <p:sp>
        <p:nvSpPr>
          <p:cNvPr id="36" name="Slide Number Placeholder 9"/>
          <p:cNvSpPr txBox="1">
            <a:spLocks/>
          </p:cNvSpPr>
          <p:nvPr/>
        </p:nvSpPr>
        <p:spPr bwMode="gray">
          <a:xfrm>
            <a:off x="1798114" y="6488733"/>
            <a:ext cx="676888" cy="118800"/>
          </a:xfrm>
          <a:prstGeom prst="rect">
            <a:avLst/>
          </a:prstGeom>
        </p:spPr>
        <p:txBody>
          <a:bodyPr vert="horz" lIns="0" tIns="0" rIns="0" bIns="0" rtlCol="0" anchor="ctr">
            <a:noAutofit/>
          </a:bodyPr>
          <a:lstStyle>
            <a:defPPr>
              <a:defRPr lang="en-US"/>
            </a:defPPr>
            <a:lvl1pPr marL="0" algn="l" defTabSz="914400" rtl="0" eaLnBrk="1" latinLnBrk="0" hangingPunct="1">
              <a:defRPr sz="1000" kern="1200">
                <a:solidFill>
                  <a:schemeClr val="accent3"/>
                </a:solidFill>
                <a:latin typeface="+mn-lt"/>
                <a:ea typeface="+mn-ea"/>
                <a:cs typeface="+mn-cs"/>
              </a:defRPr>
            </a:lvl1pPr>
            <a:lvl2pPr marL="0" indent="0" algn="l" defTabSz="914400" rtl="0" eaLnBrk="1" latinLnBrk="0" hangingPunct="1">
              <a:defRPr sz="1000" kern="1200">
                <a:solidFill>
                  <a:schemeClr val="accent3"/>
                </a:solidFill>
                <a:latin typeface="+mn-lt"/>
                <a:ea typeface="+mn-ea"/>
                <a:cs typeface="+mn-cs"/>
              </a:defRPr>
            </a:lvl2pPr>
            <a:lvl3pPr marL="0" indent="0" algn="l" defTabSz="914400" rtl="0" eaLnBrk="1" latinLnBrk="0" hangingPunct="1">
              <a:defRPr sz="1000" kern="1200">
                <a:solidFill>
                  <a:schemeClr val="accent3"/>
                </a:solidFill>
                <a:latin typeface="+mn-lt"/>
                <a:ea typeface="+mn-ea"/>
                <a:cs typeface="+mn-cs"/>
              </a:defRPr>
            </a:lvl3pPr>
            <a:lvl4pPr marL="0" indent="0" algn="l" defTabSz="914400" rtl="0" eaLnBrk="1" latinLnBrk="0" hangingPunct="1">
              <a:defRPr sz="1000" kern="1200">
                <a:solidFill>
                  <a:schemeClr val="accent3"/>
                </a:solidFill>
                <a:latin typeface="+mn-lt"/>
                <a:ea typeface="+mn-ea"/>
                <a:cs typeface="+mn-cs"/>
              </a:defRPr>
            </a:lvl4pPr>
            <a:lvl5pPr marL="0" indent="0" algn="l" defTabSz="914400" rtl="0" eaLnBrk="1" latinLnBrk="0" hangingPunct="1">
              <a:defRPr sz="1000" kern="1200">
                <a:solidFill>
                  <a:schemeClr val="accent3"/>
                </a:solidFill>
                <a:latin typeface="+mn-lt"/>
                <a:ea typeface="+mn-ea"/>
                <a:cs typeface="+mn-cs"/>
              </a:defRPr>
            </a:lvl5pPr>
            <a:lvl6pPr marL="0" indent="0" algn="l" defTabSz="914400" rtl="0" eaLnBrk="1" latinLnBrk="0" hangingPunct="1">
              <a:defRPr sz="1000" kern="1200">
                <a:solidFill>
                  <a:schemeClr val="accent3"/>
                </a:solidFill>
                <a:latin typeface="+mn-lt"/>
                <a:ea typeface="+mn-ea"/>
                <a:cs typeface="+mn-cs"/>
              </a:defRPr>
            </a:lvl6pPr>
            <a:lvl7pPr marL="0" indent="0" algn="l" defTabSz="914400" rtl="0" eaLnBrk="1" latinLnBrk="0" hangingPunct="1">
              <a:defRPr sz="1000" kern="1200">
                <a:solidFill>
                  <a:schemeClr val="accent3"/>
                </a:solidFill>
                <a:latin typeface="+mn-lt"/>
                <a:ea typeface="+mn-ea"/>
                <a:cs typeface="+mn-cs"/>
              </a:defRPr>
            </a:lvl7pPr>
            <a:lvl8pPr marL="0" indent="0" algn="l" defTabSz="914400" rtl="0" eaLnBrk="1" latinLnBrk="0" hangingPunct="1">
              <a:defRPr sz="1000" kern="1200">
                <a:solidFill>
                  <a:schemeClr val="accent3"/>
                </a:solidFill>
                <a:latin typeface="+mn-lt"/>
                <a:ea typeface="+mn-ea"/>
                <a:cs typeface="+mn-cs"/>
              </a:defRPr>
            </a:lvl8pPr>
            <a:lvl9pPr marL="0" indent="0" algn="l" defTabSz="914400" rtl="0" eaLnBrk="1" latinLnBrk="0" hangingPunct="1">
              <a:defRPr sz="1000" kern="1200">
                <a:solidFill>
                  <a:schemeClr val="accent3"/>
                </a:solidFill>
                <a:latin typeface="+mn-lt"/>
                <a:ea typeface="+mn-ea"/>
                <a:cs typeface="+mn-cs"/>
              </a:defRPr>
            </a:lvl9pPr>
          </a:lstStyle>
          <a:p>
            <a:r>
              <a:rPr lang="en-US"/>
              <a:t>Slide </a:t>
            </a:r>
            <a:fld id="{619F89D8-7AE3-494A-97F3-03D680869632}" type="slidenum">
              <a:rPr lang="en-US" smtClean="0"/>
              <a:pPr/>
              <a:t>5</a:t>
            </a:fld>
            <a:endParaRPr lang="en-US" dirty="0"/>
          </a:p>
        </p:txBody>
      </p:sp>
      <p:grpSp>
        <p:nvGrpSpPr>
          <p:cNvPr id="37" name="Group 36"/>
          <p:cNvGrpSpPr/>
          <p:nvPr/>
        </p:nvGrpSpPr>
        <p:grpSpPr bwMode="gray">
          <a:xfrm>
            <a:off x="334271" y="6327549"/>
            <a:ext cx="337946" cy="88364"/>
            <a:chOff x="61913" y="5218113"/>
            <a:chExt cx="3138487" cy="820737"/>
          </a:xfrm>
          <a:solidFill>
            <a:schemeClr val="accent3"/>
          </a:solidFill>
        </p:grpSpPr>
        <p:sp>
          <p:nvSpPr>
            <p:cNvPr id="38"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9"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0"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1"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cxnSp>
        <p:nvCxnSpPr>
          <p:cNvPr id="42" name="Straight Connector 41"/>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pic>
        <p:nvPicPr>
          <p:cNvPr id="43" name="Picture 19"/>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gray">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
        <p:nvSpPr>
          <p:cNvPr id="44" name="Footer Placeholder 4"/>
          <p:cNvSpPr>
            <a:spLocks noGrp="1"/>
          </p:cNvSpPr>
          <p:nvPr>
            <p:ph type="ftr" sz="quarter" idx="15"/>
          </p:nvPr>
        </p:nvSpPr>
        <p:spPr bwMode="gray">
          <a:xfrm>
            <a:off x="2499782" y="6298397"/>
            <a:ext cx="8490250" cy="500072"/>
          </a:xfrm>
        </p:spPr>
        <p:txBody>
          <a:bodyPr/>
          <a:lstStyle/>
          <a:p>
            <a:pPr lvl="8"/>
            <a:endParaRPr lang="en-US" dirty="0"/>
          </a:p>
        </p:txBody>
      </p:sp>
      <p:sp>
        <p:nvSpPr>
          <p:cNvPr id="45" name="Text Placeholder 5"/>
          <p:cNvSpPr txBox="1">
            <a:spLocks/>
          </p:cNvSpPr>
          <p:nvPr/>
        </p:nvSpPr>
        <p:spPr bwMode="gray">
          <a:xfrm>
            <a:off x="277495" y="2186113"/>
            <a:ext cx="2089187" cy="1667577"/>
          </a:xfrm>
          <a:prstGeom prst="rect">
            <a:avLst/>
          </a:prstGeom>
        </p:spPr>
        <p:txBody>
          <a:bodyPr lIns="72000" tIns="72000" rIns="72000" bIns="72000"/>
          <a:lstStyle>
            <a:lvl1pPr marL="0" indent="0" algn="l" defTabSz="914400"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spcBef>
                <a:spcPct val="20000"/>
              </a:spcBef>
              <a:buFont typeface="ABBvoiceOffice" panose="020D0603020503020204" pitchFamily="34" charset="0"/>
              <a:buChar char="–"/>
              <a:defRPr sz="1400" kern="1200">
                <a:solidFill>
                  <a:schemeClr val="tx1"/>
                </a:solidFill>
                <a:latin typeface="+mn-lt"/>
                <a:ea typeface="+mn-ea"/>
                <a:cs typeface="+mn-cs"/>
              </a:defRPr>
            </a:lvl2pPr>
            <a:lvl3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9pPr>
          </a:lstStyle>
          <a:p>
            <a:pPr>
              <a:spcBef>
                <a:spcPts val="600"/>
              </a:spcBef>
            </a:pPr>
            <a:r>
              <a:rPr lang="en-US" b="1" dirty="0"/>
              <a:t>AO2000 </a:t>
            </a:r>
            <a:br>
              <a:rPr lang="en-US" dirty="0"/>
            </a:br>
            <a:r>
              <a:rPr lang="en-US" dirty="0"/>
              <a:t>High-end product line</a:t>
            </a:r>
          </a:p>
          <a:p>
            <a:pPr>
              <a:spcBef>
                <a:spcPts val="600"/>
              </a:spcBef>
            </a:pPr>
            <a:r>
              <a:rPr lang="en-US" b="1" dirty="0"/>
              <a:t>EL3000</a:t>
            </a:r>
            <a:r>
              <a:rPr lang="en-US" dirty="0"/>
              <a:t> </a:t>
            </a:r>
            <a:br>
              <a:rPr lang="en-US" dirty="0"/>
            </a:br>
            <a:r>
              <a:rPr lang="en-US" dirty="0"/>
              <a:t>Entry level product line</a:t>
            </a:r>
          </a:p>
          <a:p>
            <a:pPr>
              <a:spcBef>
                <a:spcPts val="600"/>
              </a:spcBef>
            </a:pPr>
            <a:r>
              <a:rPr lang="en-US" b="1" dirty="0"/>
              <a:t>EL3060</a:t>
            </a:r>
            <a:r>
              <a:rPr lang="en-US" dirty="0"/>
              <a:t> </a:t>
            </a:r>
            <a:br>
              <a:rPr lang="en-US" dirty="0"/>
            </a:br>
            <a:r>
              <a:rPr lang="en-US" dirty="0"/>
              <a:t>Ex-d product line</a:t>
            </a:r>
          </a:p>
        </p:txBody>
      </p:sp>
      <p:cxnSp>
        <p:nvCxnSpPr>
          <p:cNvPr id="46" name="Straight Connector 45"/>
          <p:cNvCxnSpPr/>
          <p:nvPr/>
        </p:nvCxnSpPr>
        <p:spPr bwMode="gray">
          <a:xfrm>
            <a:off x="279400" y="2186113"/>
            <a:ext cx="20878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7" name="Text Placeholder 7"/>
          <p:cNvSpPr txBox="1">
            <a:spLocks/>
          </p:cNvSpPr>
          <p:nvPr/>
        </p:nvSpPr>
        <p:spPr bwMode="gray">
          <a:xfrm>
            <a:off x="279401" y="1816571"/>
            <a:ext cx="2087869"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600"/>
              </a:spcBef>
            </a:pPr>
            <a:r>
              <a:rPr lang="en-US" dirty="0"/>
              <a:t>Extractive</a:t>
            </a:r>
          </a:p>
        </p:txBody>
      </p:sp>
      <p:sp>
        <p:nvSpPr>
          <p:cNvPr id="48" name="Text Placeholder 5"/>
          <p:cNvSpPr txBox="1">
            <a:spLocks/>
          </p:cNvSpPr>
          <p:nvPr/>
        </p:nvSpPr>
        <p:spPr bwMode="gray">
          <a:xfrm>
            <a:off x="277495" y="4379505"/>
            <a:ext cx="2222288" cy="1061500"/>
          </a:xfrm>
          <a:prstGeom prst="rect">
            <a:avLst/>
          </a:prstGeom>
        </p:spPr>
        <p:txBody>
          <a:bodyPr lIns="72000" tIns="72000" rIns="72000" bIns="72000"/>
          <a:lstStyle>
            <a:lvl1pPr marL="0" indent="0" algn="l" defTabSz="914400"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spcBef>
                <a:spcPct val="20000"/>
              </a:spcBef>
              <a:buFont typeface="ABBvoiceOffice" panose="020D0603020503020204" pitchFamily="34" charset="0"/>
              <a:buChar char="–"/>
              <a:defRPr sz="1400" kern="1200">
                <a:solidFill>
                  <a:schemeClr val="tx1"/>
                </a:solidFill>
                <a:latin typeface="+mn-lt"/>
                <a:ea typeface="+mn-ea"/>
                <a:cs typeface="+mn-cs"/>
              </a:defRPr>
            </a:lvl2pPr>
            <a:lvl3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9pPr>
          </a:lstStyle>
          <a:p>
            <a:pPr>
              <a:spcBef>
                <a:spcPts val="600"/>
              </a:spcBef>
            </a:pPr>
            <a:r>
              <a:rPr lang="en-US" b="1" dirty="0"/>
              <a:t>LS4000 / LS25 </a:t>
            </a:r>
            <a:br>
              <a:rPr lang="en-US" dirty="0"/>
            </a:br>
            <a:r>
              <a:rPr lang="en-US" dirty="0"/>
              <a:t>Tunable diode laser</a:t>
            </a:r>
          </a:p>
          <a:p>
            <a:pPr>
              <a:spcBef>
                <a:spcPts val="600"/>
              </a:spcBef>
            </a:pPr>
            <a:r>
              <a:rPr lang="en-US" b="1" dirty="0"/>
              <a:t>AZ Series</a:t>
            </a:r>
            <a:br>
              <a:rPr lang="en-US" dirty="0"/>
            </a:br>
            <a:r>
              <a:rPr lang="en-US" dirty="0"/>
              <a:t>Zirconia O</a:t>
            </a:r>
            <a:r>
              <a:rPr lang="en-US" baseline="-25000" dirty="0"/>
              <a:t>2</a:t>
            </a:r>
            <a:r>
              <a:rPr lang="en-US" dirty="0"/>
              <a:t>/</a:t>
            </a:r>
            <a:r>
              <a:rPr lang="en-US" dirty="0" err="1"/>
              <a:t>CO</a:t>
            </a:r>
            <a:r>
              <a:rPr lang="en-US" baseline="-25000" dirty="0" err="1"/>
              <a:t>e</a:t>
            </a:r>
            <a:endParaRPr lang="en-US" baseline="-25000" dirty="0"/>
          </a:p>
        </p:txBody>
      </p:sp>
      <p:cxnSp>
        <p:nvCxnSpPr>
          <p:cNvPr id="49" name="Straight Connector 48"/>
          <p:cNvCxnSpPr/>
          <p:nvPr/>
        </p:nvCxnSpPr>
        <p:spPr bwMode="gray">
          <a:xfrm>
            <a:off x="279400" y="4379504"/>
            <a:ext cx="20878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50" name="Text Placeholder 7"/>
          <p:cNvSpPr txBox="1">
            <a:spLocks/>
          </p:cNvSpPr>
          <p:nvPr/>
        </p:nvSpPr>
        <p:spPr bwMode="gray">
          <a:xfrm>
            <a:off x="279401" y="4009962"/>
            <a:ext cx="2087869"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600"/>
              </a:spcBef>
            </a:pPr>
            <a:r>
              <a:rPr lang="en-US" dirty="0"/>
              <a:t>In-situ</a:t>
            </a:r>
          </a:p>
        </p:txBody>
      </p:sp>
      <p:sp>
        <p:nvSpPr>
          <p:cNvPr id="51" name="Text Placeholder 5"/>
          <p:cNvSpPr txBox="1">
            <a:spLocks/>
          </p:cNvSpPr>
          <p:nvPr/>
        </p:nvSpPr>
        <p:spPr bwMode="gray">
          <a:xfrm>
            <a:off x="9630296" y="2186113"/>
            <a:ext cx="2364854" cy="1667577"/>
          </a:xfrm>
          <a:prstGeom prst="rect">
            <a:avLst/>
          </a:prstGeom>
        </p:spPr>
        <p:txBody>
          <a:bodyPr lIns="72000" tIns="72000" rIns="72000" bIns="72000"/>
          <a:lstStyle>
            <a:lvl1pPr marL="0" indent="0" algn="l" defTabSz="914400"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spcBef>
                <a:spcPct val="20000"/>
              </a:spcBef>
              <a:buFont typeface="ABBvoiceOffice" panose="020D0603020503020204" pitchFamily="34" charset="0"/>
              <a:buChar char="–"/>
              <a:defRPr sz="1400" kern="1200">
                <a:solidFill>
                  <a:schemeClr val="tx1"/>
                </a:solidFill>
                <a:latin typeface="+mn-lt"/>
                <a:ea typeface="+mn-ea"/>
                <a:cs typeface="+mn-cs"/>
              </a:defRPr>
            </a:lvl2pPr>
            <a:lvl3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9pPr>
          </a:lstStyle>
          <a:p>
            <a:pPr>
              <a:spcBef>
                <a:spcPts val="600"/>
              </a:spcBef>
            </a:pPr>
            <a:r>
              <a:rPr lang="en-US" b="1" dirty="0"/>
              <a:t>ACF5000 </a:t>
            </a:r>
            <a:br>
              <a:rPr lang="en-US" dirty="0"/>
            </a:br>
            <a:r>
              <a:rPr lang="en-US" dirty="0"/>
              <a:t>Hot/wet extractive</a:t>
            </a:r>
          </a:p>
          <a:p>
            <a:pPr>
              <a:spcBef>
                <a:spcPts val="600"/>
              </a:spcBef>
            </a:pPr>
            <a:r>
              <a:rPr lang="en-US" b="1" dirty="0"/>
              <a:t>ACX </a:t>
            </a:r>
            <a:br>
              <a:rPr lang="en-US" dirty="0"/>
            </a:br>
            <a:r>
              <a:rPr lang="en-US" dirty="0"/>
              <a:t>Cold/dry extractive</a:t>
            </a:r>
          </a:p>
          <a:p>
            <a:pPr>
              <a:spcBef>
                <a:spcPts val="600"/>
              </a:spcBef>
            </a:pPr>
            <a:r>
              <a:rPr lang="en-US" b="1" dirty="0"/>
              <a:t>Easy System      </a:t>
            </a:r>
            <a:r>
              <a:rPr lang="en-US" dirty="0"/>
              <a:t>                          Cold/dry extractive</a:t>
            </a:r>
          </a:p>
        </p:txBody>
      </p:sp>
      <p:cxnSp>
        <p:nvCxnSpPr>
          <p:cNvPr id="52" name="Straight Connector 51"/>
          <p:cNvCxnSpPr/>
          <p:nvPr/>
        </p:nvCxnSpPr>
        <p:spPr bwMode="gray">
          <a:xfrm>
            <a:off x="9632201" y="2186113"/>
            <a:ext cx="2220886"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53" name="Text Placeholder 7"/>
          <p:cNvSpPr txBox="1">
            <a:spLocks/>
          </p:cNvSpPr>
          <p:nvPr/>
        </p:nvSpPr>
        <p:spPr bwMode="gray">
          <a:xfrm>
            <a:off x="9632202" y="1816571"/>
            <a:ext cx="2220886"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600"/>
              </a:spcBef>
            </a:pPr>
            <a:r>
              <a:rPr lang="en-US" dirty="0"/>
              <a:t>Standard Systems</a:t>
            </a:r>
          </a:p>
        </p:txBody>
      </p:sp>
      <p:sp>
        <p:nvSpPr>
          <p:cNvPr id="54" name="Line Callout 2 (Accent Bar) 53"/>
          <p:cNvSpPr/>
          <p:nvPr/>
        </p:nvSpPr>
        <p:spPr bwMode="gray">
          <a:xfrm flipH="1">
            <a:off x="335577" y="2308859"/>
            <a:ext cx="720520" cy="118111"/>
          </a:xfrm>
          <a:prstGeom prst="accentCallout2">
            <a:avLst>
              <a:gd name="adj1" fmla="val 49395"/>
              <a:gd name="adj2" fmla="val -8333"/>
              <a:gd name="adj3" fmla="val 47050"/>
              <a:gd name="adj4" fmla="val -794186"/>
              <a:gd name="adj5" fmla="val 1458371"/>
              <a:gd name="adj6" fmla="val -793964"/>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5" name="Line Callout 2 (Accent Bar) 54"/>
          <p:cNvSpPr/>
          <p:nvPr/>
        </p:nvSpPr>
        <p:spPr bwMode="gray">
          <a:xfrm flipH="1">
            <a:off x="335577" y="2810836"/>
            <a:ext cx="720520" cy="118111"/>
          </a:xfrm>
          <a:prstGeom prst="accentCallout2">
            <a:avLst>
              <a:gd name="adj1" fmla="val 49395"/>
              <a:gd name="adj2" fmla="val -8333"/>
              <a:gd name="adj3" fmla="val 48663"/>
              <a:gd name="adj4" fmla="val -561838"/>
              <a:gd name="adj5" fmla="val 357734"/>
              <a:gd name="adj6" fmla="val -561651"/>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 name="Line Callout 2 (Accent Bar) 55"/>
          <p:cNvSpPr/>
          <p:nvPr/>
        </p:nvSpPr>
        <p:spPr bwMode="gray">
          <a:xfrm flipH="1">
            <a:off x="335577" y="3309368"/>
            <a:ext cx="720520" cy="118111"/>
          </a:xfrm>
          <a:prstGeom prst="accentCallout2">
            <a:avLst>
              <a:gd name="adj1" fmla="val 49395"/>
              <a:gd name="adj2" fmla="val -8333"/>
              <a:gd name="adj3" fmla="val 50275"/>
              <a:gd name="adj4" fmla="val -641897"/>
              <a:gd name="adj5" fmla="val 550960"/>
              <a:gd name="adj6" fmla="val -642079"/>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7" name="Line Callout 2 (Accent Bar) 56"/>
          <p:cNvSpPr/>
          <p:nvPr/>
        </p:nvSpPr>
        <p:spPr bwMode="gray">
          <a:xfrm flipH="1">
            <a:off x="952797" y="4501824"/>
            <a:ext cx="720520" cy="118111"/>
          </a:xfrm>
          <a:prstGeom prst="accentCallout2">
            <a:avLst>
              <a:gd name="adj1" fmla="val 49395"/>
              <a:gd name="adj2" fmla="val -8333"/>
              <a:gd name="adj3" fmla="val 50275"/>
              <a:gd name="adj4" fmla="val -792600"/>
              <a:gd name="adj5" fmla="val 698054"/>
              <a:gd name="adj6" fmla="val -792783"/>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58" name="Straight Connector 57"/>
          <p:cNvCxnSpPr/>
          <p:nvPr/>
        </p:nvCxnSpPr>
        <p:spPr bwMode="gray">
          <a:xfrm>
            <a:off x="2930267" y="4564357"/>
            <a:ext cx="0" cy="345898"/>
          </a:xfrm>
          <a:prstGeom prst="line">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59" name="Line Callout 1 (Accent Bar) 58"/>
          <p:cNvSpPr/>
          <p:nvPr/>
        </p:nvSpPr>
        <p:spPr bwMode="gray">
          <a:xfrm>
            <a:off x="9619502" y="2308859"/>
            <a:ext cx="322252" cy="118111"/>
          </a:xfrm>
          <a:prstGeom prst="accentCallout1">
            <a:avLst>
              <a:gd name="adj1" fmla="val 49395"/>
              <a:gd name="adj2" fmla="val -6560"/>
              <a:gd name="adj3" fmla="val 49598"/>
              <a:gd name="adj4" fmla="val -465934"/>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0" name="Line Callout 1 (Accent Bar) 59"/>
          <p:cNvSpPr/>
          <p:nvPr/>
        </p:nvSpPr>
        <p:spPr bwMode="gray">
          <a:xfrm>
            <a:off x="9619502" y="2813948"/>
            <a:ext cx="322252" cy="118111"/>
          </a:xfrm>
          <a:prstGeom prst="accentCallout1">
            <a:avLst>
              <a:gd name="adj1" fmla="val 49395"/>
              <a:gd name="adj2" fmla="val -6560"/>
              <a:gd name="adj3" fmla="val 49598"/>
              <a:gd name="adj4" fmla="val -817669"/>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2" name="Rectangle 61"/>
          <p:cNvSpPr/>
          <p:nvPr/>
        </p:nvSpPr>
        <p:spPr bwMode="gray">
          <a:xfrm>
            <a:off x="9613682" y="4379505"/>
            <a:ext cx="2252881" cy="1086434"/>
          </a:xfrm>
          <a:prstGeom prst="rect">
            <a:avLst/>
          </a:prstGeom>
          <a:noFill/>
        </p:spPr>
        <p:txBody>
          <a:bodyPr vert="horz" lIns="72000" tIns="72000" rIns="72000" bIns="72000" rtlCol="0" anchor="t">
            <a:noAutofit/>
          </a:bodyPr>
          <a:lstStyle/>
          <a:p>
            <a:pPr>
              <a:spcBef>
                <a:spcPts val="600"/>
              </a:spcBef>
            </a:pPr>
            <a:r>
              <a:rPr lang="en-US" sz="1400" b="1" dirty="0" err="1"/>
              <a:t>AnalyzeIT</a:t>
            </a:r>
            <a:r>
              <a:rPr lang="en-US" sz="1400" b="1" dirty="0"/>
              <a:t> Explorer</a:t>
            </a:r>
            <a:r>
              <a:rPr lang="en-US" sz="1400" dirty="0"/>
              <a:t>                               Asset management</a:t>
            </a:r>
          </a:p>
          <a:p>
            <a:pPr>
              <a:spcBef>
                <a:spcPts val="600"/>
              </a:spcBef>
            </a:pPr>
            <a:r>
              <a:rPr lang="en-US" sz="1400" b="1" dirty="0"/>
              <a:t>CEM-DAS                          </a:t>
            </a:r>
            <a:r>
              <a:rPr lang="en-US" sz="1400" dirty="0"/>
              <a:t>CEMS Data Acquisition</a:t>
            </a:r>
          </a:p>
        </p:txBody>
      </p:sp>
      <p:cxnSp>
        <p:nvCxnSpPr>
          <p:cNvPr id="63" name="Straight Connector 62"/>
          <p:cNvCxnSpPr/>
          <p:nvPr/>
        </p:nvCxnSpPr>
        <p:spPr bwMode="gray">
          <a:xfrm>
            <a:off x="9641151" y="4379504"/>
            <a:ext cx="2220886"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4" name="Text Placeholder 7"/>
          <p:cNvSpPr txBox="1">
            <a:spLocks/>
          </p:cNvSpPr>
          <p:nvPr/>
        </p:nvSpPr>
        <p:spPr bwMode="gray">
          <a:xfrm>
            <a:off x="9641152" y="4009962"/>
            <a:ext cx="2220886"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spcBef>
                <a:spcPts val="600"/>
              </a:spcBef>
            </a:pPr>
            <a:r>
              <a:rPr lang="en-US" dirty="0"/>
              <a:t>Software</a:t>
            </a:r>
          </a:p>
        </p:txBody>
      </p:sp>
      <p:cxnSp>
        <p:nvCxnSpPr>
          <p:cNvPr id="69" name="Straight Connector 68"/>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61" name="Line Callout 1 (Accent Bar) 60"/>
          <p:cNvSpPr/>
          <p:nvPr/>
        </p:nvSpPr>
        <p:spPr bwMode="gray">
          <a:xfrm>
            <a:off x="9619502" y="4140438"/>
            <a:ext cx="322252" cy="118111"/>
          </a:xfrm>
          <a:prstGeom prst="accentCallout1">
            <a:avLst>
              <a:gd name="adj1" fmla="val 49395"/>
              <a:gd name="adj2" fmla="val -6560"/>
              <a:gd name="adj3" fmla="val 49598"/>
              <a:gd name="adj4" fmla="val -400830"/>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Tree>
    <p:custDataLst>
      <p:tags r:id="rId1"/>
    </p:custDataLst>
    <p:extLst>
      <p:ext uri="{BB962C8B-B14F-4D97-AF65-F5344CB8AC3E}">
        <p14:creationId xmlns:p14="http://schemas.microsoft.com/office/powerpoint/2010/main" val="3652407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D260E-D3B3-4907-8EE4-2167B22C38D4}"/>
              </a:ext>
            </a:extLst>
          </p:cNvPr>
          <p:cNvSpPr>
            <a:spLocks noGrp="1"/>
          </p:cNvSpPr>
          <p:nvPr>
            <p:ph type="ctrTitle"/>
          </p:nvPr>
        </p:nvSpPr>
        <p:spPr bwMode="gray"/>
        <p:txBody>
          <a:bodyPr/>
          <a:lstStyle/>
          <a:p>
            <a:r>
              <a:rPr lang="de-DE" dirty="0"/>
              <a:t>Interlinks </a:t>
            </a:r>
            <a:r>
              <a:rPr lang="de-DE" dirty="0" err="1"/>
              <a:t>with</a:t>
            </a:r>
            <a:r>
              <a:rPr lang="de-DE" dirty="0"/>
              <a:t> </a:t>
            </a:r>
            <a:r>
              <a:rPr lang="de-DE" dirty="0" err="1"/>
              <a:t>petrochemical</a:t>
            </a:r>
            <a:r>
              <a:rPr lang="de-DE" dirty="0"/>
              <a:t> </a:t>
            </a:r>
            <a:r>
              <a:rPr lang="de-DE" dirty="0" err="1"/>
              <a:t>industry</a:t>
            </a:r>
            <a:endParaRPr lang="de-DE" dirty="0"/>
          </a:p>
        </p:txBody>
      </p:sp>
      <p:sp>
        <p:nvSpPr>
          <p:cNvPr id="4" name="Subtitle 3">
            <a:extLst>
              <a:ext uri="{FF2B5EF4-FFF2-40B4-BE49-F238E27FC236}">
                <a16:creationId xmlns:a16="http://schemas.microsoft.com/office/drawing/2014/main" id="{56738A1D-85D8-4E34-9FDE-11823F23C658}"/>
              </a:ext>
            </a:extLst>
          </p:cNvPr>
          <p:cNvSpPr>
            <a:spLocks noGrp="1"/>
          </p:cNvSpPr>
          <p:nvPr>
            <p:ph type="subTitle" idx="1"/>
          </p:nvPr>
        </p:nvSpPr>
        <p:spPr bwMode="gray"/>
        <p:txBody>
          <a:bodyPr/>
          <a:lstStyle/>
          <a:p>
            <a:endParaRPr lang="de-DE"/>
          </a:p>
        </p:txBody>
      </p:sp>
    </p:spTree>
    <p:custDataLst>
      <p:tags r:id="rId1"/>
    </p:custDataLst>
    <p:extLst>
      <p:ext uri="{BB962C8B-B14F-4D97-AF65-F5344CB8AC3E}">
        <p14:creationId xmlns:p14="http://schemas.microsoft.com/office/powerpoint/2010/main" val="708035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hteck 87">
            <a:extLst>
              <a:ext uri="{FF2B5EF4-FFF2-40B4-BE49-F238E27FC236}">
                <a16:creationId xmlns:a16="http://schemas.microsoft.com/office/drawing/2014/main" id="{0EAD8145-B1C6-4D38-A2C1-F989672300B7}"/>
              </a:ext>
            </a:extLst>
          </p:cNvPr>
          <p:cNvSpPr/>
          <p:nvPr/>
        </p:nvSpPr>
        <p:spPr bwMode="gray">
          <a:xfrm>
            <a:off x="336550" y="1936346"/>
            <a:ext cx="11516714" cy="3976369"/>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000" dirty="0">
              <a:solidFill>
                <a:schemeClr val="bg1"/>
              </a:solidFill>
            </a:endParaRPr>
          </a:p>
        </p:txBody>
      </p:sp>
      <p:sp>
        <p:nvSpPr>
          <p:cNvPr id="3" name="Title 2">
            <a:extLst>
              <a:ext uri="{FF2B5EF4-FFF2-40B4-BE49-F238E27FC236}">
                <a16:creationId xmlns:a16="http://schemas.microsoft.com/office/drawing/2014/main" id="{61F0C871-CDDB-4135-A6B6-FA9C73B7F77A}"/>
              </a:ext>
            </a:extLst>
          </p:cNvPr>
          <p:cNvSpPr>
            <a:spLocks noGrp="1"/>
          </p:cNvSpPr>
          <p:nvPr>
            <p:ph type="title"/>
          </p:nvPr>
        </p:nvSpPr>
        <p:spPr bwMode="gray"/>
        <p:txBody>
          <a:bodyPr/>
          <a:lstStyle/>
          <a:p>
            <a:r>
              <a:rPr lang="de-DE" dirty="0"/>
              <a:t>Methanol </a:t>
            </a:r>
            <a:r>
              <a:rPr lang="de-DE" dirty="0" err="1"/>
              <a:t>production</a:t>
            </a:r>
            <a:endParaRPr lang="de-DE" dirty="0"/>
          </a:p>
        </p:txBody>
      </p:sp>
      <p:sp>
        <p:nvSpPr>
          <p:cNvPr id="7" name="Subtitle 6">
            <a:extLst>
              <a:ext uri="{FF2B5EF4-FFF2-40B4-BE49-F238E27FC236}">
                <a16:creationId xmlns:a16="http://schemas.microsoft.com/office/drawing/2014/main" id="{4CA70EB7-6B0E-45DA-B424-4BF48EEC481F}"/>
              </a:ext>
            </a:extLst>
          </p:cNvPr>
          <p:cNvSpPr>
            <a:spLocks noGrp="1"/>
          </p:cNvSpPr>
          <p:nvPr>
            <p:ph type="subTitle" idx="13"/>
          </p:nvPr>
        </p:nvSpPr>
        <p:spPr bwMode="gray"/>
        <p:txBody>
          <a:bodyPr/>
          <a:lstStyle/>
          <a:p>
            <a:r>
              <a:rPr lang="de-DE" dirty="0"/>
              <a:t>ASU </a:t>
            </a:r>
            <a:r>
              <a:rPr lang="de-DE" dirty="0" err="1"/>
              <a:t>for</a:t>
            </a:r>
            <a:r>
              <a:rPr lang="de-DE" dirty="0"/>
              <a:t> Oxygen and SMR </a:t>
            </a:r>
            <a:r>
              <a:rPr lang="de-DE" dirty="0" err="1"/>
              <a:t>for</a:t>
            </a:r>
            <a:r>
              <a:rPr lang="de-DE" dirty="0"/>
              <a:t> Hydrogen</a:t>
            </a:r>
          </a:p>
        </p:txBody>
      </p:sp>
      <p:sp>
        <p:nvSpPr>
          <p:cNvPr id="12" name="Date Placeholder 11">
            <a:extLst>
              <a:ext uri="{FF2B5EF4-FFF2-40B4-BE49-F238E27FC236}">
                <a16:creationId xmlns:a16="http://schemas.microsoft.com/office/drawing/2014/main" id="{15C6B706-E2E2-419B-B437-9245CE3E059B}"/>
              </a:ext>
            </a:extLst>
          </p:cNvPr>
          <p:cNvSpPr>
            <a:spLocks noGrp="1"/>
          </p:cNvSpPr>
          <p:nvPr>
            <p:ph type="dt" sz="half" idx="14"/>
          </p:nvPr>
        </p:nvSpPr>
        <p:spPr bwMode="gray"/>
        <p:txBody>
          <a:bodyPr/>
          <a:lstStyle/>
          <a:p>
            <a:fld id="{180C77C8-5146-408C-84D8-377D846BB8AE}" type="datetime4">
              <a:rPr lang="en-US" smtClean="0"/>
              <a:t>September 8, 2019</a:t>
            </a:fld>
            <a:endParaRPr lang="en-US" dirty="0"/>
          </a:p>
        </p:txBody>
      </p:sp>
      <p:sp>
        <p:nvSpPr>
          <p:cNvPr id="13" name="Footer Placeholder 12">
            <a:extLst>
              <a:ext uri="{FF2B5EF4-FFF2-40B4-BE49-F238E27FC236}">
                <a16:creationId xmlns:a16="http://schemas.microsoft.com/office/drawing/2014/main" id="{80B9794C-43B5-4F6B-B495-ED7DB9C3B972}"/>
              </a:ext>
            </a:extLst>
          </p:cNvPr>
          <p:cNvSpPr>
            <a:spLocks noGrp="1"/>
          </p:cNvSpPr>
          <p:nvPr>
            <p:ph type="ftr" sz="quarter" idx="15"/>
          </p:nvPr>
        </p:nvSpPr>
        <p:spPr bwMode="gray"/>
        <p:txBody>
          <a:bodyPr/>
          <a:lstStyle/>
          <a:p>
            <a:pPr lvl="8"/>
            <a:endParaRPr lang="en-US" dirty="0"/>
          </a:p>
        </p:txBody>
      </p:sp>
      <p:sp>
        <p:nvSpPr>
          <p:cNvPr id="14" name="Slide Number Placeholder 13">
            <a:extLst>
              <a:ext uri="{FF2B5EF4-FFF2-40B4-BE49-F238E27FC236}">
                <a16:creationId xmlns:a16="http://schemas.microsoft.com/office/drawing/2014/main" id="{EB6DDDD8-1B2B-4FEB-AFD8-B9846AE05166}"/>
              </a:ext>
            </a:extLst>
          </p:cNvPr>
          <p:cNvSpPr>
            <a:spLocks noGrp="1"/>
          </p:cNvSpPr>
          <p:nvPr>
            <p:ph type="sldNum" sz="quarter" idx="16"/>
          </p:nvPr>
        </p:nvSpPr>
        <p:spPr bwMode="gray"/>
        <p:txBody>
          <a:bodyPr/>
          <a:lstStyle/>
          <a:p>
            <a:r>
              <a:rPr lang="en-US"/>
              <a:t>Slide </a:t>
            </a:r>
            <a:fld id="{619F89D8-7AE3-494A-97F3-03D680869632}" type="slidenum">
              <a:rPr lang="en-US" smtClean="0"/>
              <a:pPr/>
              <a:t>51</a:t>
            </a:fld>
            <a:endParaRPr lang="en-US" dirty="0"/>
          </a:p>
        </p:txBody>
      </p:sp>
      <p:grpSp>
        <p:nvGrpSpPr>
          <p:cNvPr id="2" name="Group 1">
            <a:extLst>
              <a:ext uri="{FF2B5EF4-FFF2-40B4-BE49-F238E27FC236}">
                <a16:creationId xmlns:a16="http://schemas.microsoft.com/office/drawing/2014/main" id="{AA569167-4DD6-4651-B2DC-1B0324D662F5}"/>
              </a:ext>
            </a:extLst>
          </p:cNvPr>
          <p:cNvGrpSpPr/>
          <p:nvPr/>
        </p:nvGrpSpPr>
        <p:grpSpPr>
          <a:xfrm>
            <a:off x="396867" y="2869108"/>
            <a:ext cx="11396080" cy="2110844"/>
            <a:chOff x="381091" y="2869108"/>
            <a:chExt cx="11396080" cy="2110844"/>
          </a:xfrm>
        </p:grpSpPr>
        <p:sp>
          <p:nvSpPr>
            <p:cNvPr id="114" name="Rechteck 87">
              <a:extLst>
                <a:ext uri="{FF2B5EF4-FFF2-40B4-BE49-F238E27FC236}">
                  <a16:creationId xmlns:a16="http://schemas.microsoft.com/office/drawing/2014/main" id="{8B674F8B-BC37-434B-A62C-A4ACC4008AEF}"/>
                </a:ext>
              </a:extLst>
            </p:cNvPr>
            <p:cNvSpPr/>
            <p:nvPr/>
          </p:nvSpPr>
          <p:spPr bwMode="gray">
            <a:xfrm>
              <a:off x="4500239" y="4574439"/>
              <a:ext cx="1422322" cy="40551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Oxygen</a:t>
              </a:r>
            </a:p>
          </p:txBody>
        </p:sp>
        <p:sp>
          <p:nvSpPr>
            <p:cNvPr id="101" name="Rectangle 100">
              <a:extLst>
                <a:ext uri="{FF2B5EF4-FFF2-40B4-BE49-F238E27FC236}">
                  <a16:creationId xmlns:a16="http://schemas.microsoft.com/office/drawing/2014/main" id="{2A96C290-4830-418A-BA99-AB5EC8A253E3}"/>
                </a:ext>
              </a:extLst>
            </p:cNvPr>
            <p:cNvSpPr/>
            <p:nvPr/>
          </p:nvSpPr>
          <p:spPr bwMode="gray">
            <a:xfrm>
              <a:off x="3237134" y="3105873"/>
              <a:ext cx="180000" cy="18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endParaRPr lang="de-DE" sz="1400" dirty="0" err="1"/>
            </a:p>
          </p:txBody>
        </p:sp>
        <p:sp>
          <p:nvSpPr>
            <p:cNvPr id="102" name="Rectangle 101">
              <a:extLst>
                <a:ext uri="{FF2B5EF4-FFF2-40B4-BE49-F238E27FC236}">
                  <a16:creationId xmlns:a16="http://schemas.microsoft.com/office/drawing/2014/main" id="{461FABE2-F123-46C0-BFF2-8EB0AA992D57}"/>
                </a:ext>
              </a:extLst>
            </p:cNvPr>
            <p:cNvSpPr/>
            <p:nvPr/>
          </p:nvSpPr>
          <p:spPr bwMode="gray">
            <a:xfrm>
              <a:off x="7190004" y="3105873"/>
              <a:ext cx="180000" cy="18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endParaRPr lang="de-DE" sz="1400" dirty="0" err="1"/>
            </a:p>
          </p:txBody>
        </p:sp>
        <p:sp>
          <p:nvSpPr>
            <p:cNvPr id="108" name="Rectangle 107">
              <a:extLst>
                <a:ext uri="{FF2B5EF4-FFF2-40B4-BE49-F238E27FC236}">
                  <a16:creationId xmlns:a16="http://schemas.microsoft.com/office/drawing/2014/main" id="{2B51DF87-BF09-4EB6-A4B9-EB3B74A07017}"/>
                </a:ext>
              </a:extLst>
            </p:cNvPr>
            <p:cNvSpPr/>
            <p:nvPr/>
          </p:nvSpPr>
          <p:spPr bwMode="gray">
            <a:xfrm>
              <a:off x="8757649" y="3496828"/>
              <a:ext cx="180000" cy="18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endParaRPr lang="de-DE" sz="1400" dirty="0" err="1"/>
            </a:p>
          </p:txBody>
        </p:sp>
        <p:sp>
          <p:nvSpPr>
            <p:cNvPr id="16" name="Rechteck 87">
              <a:extLst>
                <a:ext uri="{FF2B5EF4-FFF2-40B4-BE49-F238E27FC236}">
                  <a16:creationId xmlns:a16="http://schemas.microsoft.com/office/drawing/2014/main" id="{18D97B22-F90C-461B-BAB7-496C333E7977}"/>
                </a:ext>
              </a:extLst>
            </p:cNvPr>
            <p:cNvSpPr/>
            <p:nvPr/>
          </p:nvSpPr>
          <p:spPr bwMode="gray">
            <a:xfrm>
              <a:off x="1680308" y="2870760"/>
              <a:ext cx="1422322" cy="804416"/>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Desulfurization</a:t>
              </a:r>
            </a:p>
          </p:txBody>
        </p:sp>
        <p:sp>
          <p:nvSpPr>
            <p:cNvPr id="17" name="Rechteck 87">
              <a:extLst>
                <a:ext uri="{FF2B5EF4-FFF2-40B4-BE49-F238E27FC236}">
                  <a16:creationId xmlns:a16="http://schemas.microsoft.com/office/drawing/2014/main" id="{8AFF2353-EE21-4922-A955-345B7D82E33E}"/>
                </a:ext>
              </a:extLst>
            </p:cNvPr>
            <p:cNvSpPr/>
            <p:nvPr/>
          </p:nvSpPr>
          <p:spPr bwMode="gray">
            <a:xfrm>
              <a:off x="3630466" y="2869108"/>
              <a:ext cx="1422322" cy="8077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Pre-reformer</a:t>
              </a:r>
            </a:p>
          </p:txBody>
        </p:sp>
        <p:sp>
          <p:nvSpPr>
            <p:cNvPr id="18" name="Rechteck 87">
              <a:extLst>
                <a:ext uri="{FF2B5EF4-FFF2-40B4-BE49-F238E27FC236}">
                  <a16:creationId xmlns:a16="http://schemas.microsoft.com/office/drawing/2014/main" id="{5400A08A-A353-4DA6-8E5D-878D11FCD188}"/>
                </a:ext>
              </a:extLst>
            </p:cNvPr>
            <p:cNvSpPr/>
            <p:nvPr/>
          </p:nvSpPr>
          <p:spPr bwMode="gray">
            <a:xfrm>
              <a:off x="5580624" y="2869108"/>
              <a:ext cx="1422322" cy="8077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Autothermal reformer</a:t>
              </a:r>
            </a:p>
          </p:txBody>
        </p:sp>
        <p:sp>
          <p:nvSpPr>
            <p:cNvPr id="19" name="Rechteck 87">
              <a:extLst>
                <a:ext uri="{FF2B5EF4-FFF2-40B4-BE49-F238E27FC236}">
                  <a16:creationId xmlns:a16="http://schemas.microsoft.com/office/drawing/2014/main" id="{AA56496A-13A4-4D18-8EC1-2251E7B66F88}"/>
                </a:ext>
              </a:extLst>
            </p:cNvPr>
            <p:cNvSpPr/>
            <p:nvPr/>
          </p:nvSpPr>
          <p:spPr bwMode="gray">
            <a:xfrm>
              <a:off x="8404690" y="2869108"/>
              <a:ext cx="1422322" cy="8077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Methanol synthesis</a:t>
              </a:r>
            </a:p>
          </p:txBody>
        </p:sp>
        <p:cxnSp>
          <p:nvCxnSpPr>
            <p:cNvPr id="20" name="Straight Connector 19">
              <a:extLst>
                <a:ext uri="{FF2B5EF4-FFF2-40B4-BE49-F238E27FC236}">
                  <a16:creationId xmlns:a16="http://schemas.microsoft.com/office/drawing/2014/main" id="{3A7FE7FE-B45A-4752-82C2-C4219D09E40F}"/>
                </a:ext>
              </a:extLst>
            </p:cNvPr>
            <p:cNvCxnSpPr>
              <a:cxnSpLocks/>
              <a:stCxn id="17" idx="1"/>
              <a:endCxn id="16" idx="3"/>
            </p:cNvCxnSpPr>
            <p:nvPr/>
          </p:nvCxnSpPr>
          <p:spPr bwMode="gray">
            <a:xfrm flipH="1">
              <a:off x="3102630" y="3272968"/>
              <a:ext cx="527836"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715BFB-E2E0-4016-8DA9-CFEB2B8812F8}"/>
                </a:ext>
              </a:extLst>
            </p:cNvPr>
            <p:cNvCxnSpPr>
              <a:cxnSpLocks/>
              <a:stCxn id="18" idx="1"/>
              <a:endCxn id="17" idx="3"/>
            </p:cNvCxnSpPr>
            <p:nvPr/>
          </p:nvCxnSpPr>
          <p:spPr bwMode="gray">
            <a:xfrm flipH="1">
              <a:off x="5052788" y="3272968"/>
              <a:ext cx="527836"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23" name="Rechteck 87">
              <a:extLst>
                <a:ext uri="{FF2B5EF4-FFF2-40B4-BE49-F238E27FC236}">
                  <a16:creationId xmlns:a16="http://schemas.microsoft.com/office/drawing/2014/main" id="{F584EF98-09C6-436E-A5E1-0EEB2E15A26F}"/>
                </a:ext>
              </a:extLst>
            </p:cNvPr>
            <p:cNvSpPr/>
            <p:nvPr/>
          </p:nvSpPr>
          <p:spPr bwMode="gray">
            <a:xfrm>
              <a:off x="381091" y="2870760"/>
              <a:ext cx="635000" cy="80441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72000" rIns="72000" bIns="72000" anchor="ctr" anchorCtr="0"/>
            <a:lstStyle/>
            <a:p>
              <a:pPr algn="r">
                <a:spcBef>
                  <a:spcPts val="300"/>
                </a:spcBef>
                <a:buClr>
                  <a:srgbClr val="002897"/>
                </a:buClr>
                <a:buSzPct val="70000"/>
              </a:pPr>
              <a:r>
                <a:rPr lang="de-DE" sz="1200" dirty="0">
                  <a:solidFill>
                    <a:schemeClr val="tx1"/>
                  </a:solidFill>
                </a:rPr>
                <a:t>Natural </a:t>
              </a:r>
              <a:br>
                <a:rPr lang="de-DE" sz="1200" dirty="0">
                  <a:solidFill>
                    <a:schemeClr val="tx1"/>
                  </a:solidFill>
                </a:rPr>
              </a:br>
              <a:r>
                <a:rPr lang="de-DE" sz="1200" dirty="0">
                  <a:solidFill>
                    <a:schemeClr val="tx1"/>
                  </a:solidFill>
                </a:rPr>
                <a:t>gas</a:t>
              </a:r>
            </a:p>
          </p:txBody>
        </p:sp>
        <p:sp>
          <p:nvSpPr>
            <p:cNvPr id="24" name="Rechteck 87">
              <a:extLst>
                <a:ext uri="{FF2B5EF4-FFF2-40B4-BE49-F238E27FC236}">
                  <a16:creationId xmlns:a16="http://schemas.microsoft.com/office/drawing/2014/main" id="{5E0F49E8-152A-48A5-AAC7-C38BF68ECB9D}"/>
                </a:ext>
              </a:extLst>
            </p:cNvPr>
            <p:cNvSpPr/>
            <p:nvPr/>
          </p:nvSpPr>
          <p:spPr bwMode="gray">
            <a:xfrm>
              <a:off x="10354849" y="2870760"/>
              <a:ext cx="1422322" cy="804416"/>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Methanol distillation</a:t>
              </a:r>
            </a:p>
          </p:txBody>
        </p:sp>
        <p:cxnSp>
          <p:nvCxnSpPr>
            <p:cNvPr id="25" name="Straight Connector 24">
              <a:extLst>
                <a:ext uri="{FF2B5EF4-FFF2-40B4-BE49-F238E27FC236}">
                  <a16:creationId xmlns:a16="http://schemas.microsoft.com/office/drawing/2014/main" id="{3E6B5185-9203-4683-A470-0B6EF2BCB706}"/>
                </a:ext>
              </a:extLst>
            </p:cNvPr>
            <p:cNvCxnSpPr>
              <a:cxnSpLocks/>
              <a:stCxn id="75" idx="2"/>
              <a:endCxn id="124" idx="3"/>
            </p:cNvCxnSpPr>
            <p:nvPr/>
          </p:nvCxnSpPr>
          <p:spPr bwMode="gray">
            <a:xfrm flipH="1">
              <a:off x="7002946" y="3272968"/>
              <a:ext cx="527836" cy="254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3C4E469-CF80-4F3B-8268-24EFFF121799}"/>
                </a:ext>
              </a:extLst>
            </p:cNvPr>
            <p:cNvCxnSpPr>
              <a:cxnSpLocks/>
              <a:stCxn id="16" idx="1"/>
              <a:endCxn id="52" idx="6"/>
            </p:cNvCxnSpPr>
            <p:nvPr/>
          </p:nvCxnSpPr>
          <p:spPr bwMode="gray">
            <a:xfrm flipH="1">
              <a:off x="1152472" y="3272968"/>
              <a:ext cx="527836" cy="1"/>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75C319A-9721-4F3F-936D-F1DCB05DE2BC}"/>
                </a:ext>
              </a:extLst>
            </p:cNvPr>
            <p:cNvCxnSpPr>
              <a:cxnSpLocks/>
              <a:stCxn id="24" idx="1"/>
              <a:endCxn id="19" idx="3"/>
            </p:cNvCxnSpPr>
            <p:nvPr/>
          </p:nvCxnSpPr>
          <p:spPr bwMode="gray">
            <a:xfrm flipH="1">
              <a:off x="9827012" y="3272968"/>
              <a:ext cx="527837"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35" name="Rechteck 87">
              <a:extLst>
                <a:ext uri="{FF2B5EF4-FFF2-40B4-BE49-F238E27FC236}">
                  <a16:creationId xmlns:a16="http://schemas.microsoft.com/office/drawing/2014/main" id="{B9D63C29-82C0-4F86-8069-AC8B25996919}"/>
                </a:ext>
              </a:extLst>
            </p:cNvPr>
            <p:cNvSpPr/>
            <p:nvPr/>
          </p:nvSpPr>
          <p:spPr bwMode="gray">
            <a:xfrm>
              <a:off x="10354849" y="4574439"/>
              <a:ext cx="1422322" cy="40551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Pure </a:t>
              </a:r>
              <a:br>
                <a:rPr lang="de-DE" sz="1200" dirty="0">
                  <a:solidFill>
                    <a:schemeClr val="tx1"/>
                  </a:solidFill>
                </a:rPr>
              </a:br>
              <a:r>
                <a:rPr lang="de-DE" sz="1200" dirty="0">
                  <a:solidFill>
                    <a:schemeClr val="tx1"/>
                  </a:solidFill>
                </a:rPr>
                <a:t>methanol</a:t>
              </a:r>
            </a:p>
          </p:txBody>
        </p:sp>
        <p:sp>
          <p:nvSpPr>
            <p:cNvPr id="38" name="Rechteck 87">
              <a:extLst>
                <a:ext uri="{FF2B5EF4-FFF2-40B4-BE49-F238E27FC236}">
                  <a16:creationId xmlns:a16="http://schemas.microsoft.com/office/drawing/2014/main" id="{A857722D-03DF-43BA-B631-AC9DA0AEB048}"/>
                </a:ext>
              </a:extLst>
            </p:cNvPr>
            <p:cNvSpPr/>
            <p:nvPr/>
          </p:nvSpPr>
          <p:spPr bwMode="gray">
            <a:xfrm>
              <a:off x="2655387" y="4172231"/>
              <a:ext cx="1422322" cy="8077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Air </a:t>
              </a:r>
              <a:br>
                <a:rPr lang="de-DE" sz="1200" dirty="0">
                  <a:solidFill>
                    <a:schemeClr val="tx1"/>
                  </a:solidFill>
                </a:rPr>
              </a:br>
              <a:r>
                <a:rPr lang="de-DE" sz="1200" dirty="0">
                  <a:solidFill>
                    <a:schemeClr val="tx1"/>
                  </a:solidFill>
                </a:rPr>
                <a:t>separation</a:t>
              </a:r>
            </a:p>
          </p:txBody>
        </p:sp>
        <p:sp>
          <p:nvSpPr>
            <p:cNvPr id="39" name="Rechteck 87">
              <a:extLst>
                <a:ext uri="{FF2B5EF4-FFF2-40B4-BE49-F238E27FC236}">
                  <a16:creationId xmlns:a16="http://schemas.microsoft.com/office/drawing/2014/main" id="{BF092A3C-E8DF-4A00-BA4F-B78DC76F0BD9}"/>
                </a:ext>
              </a:extLst>
            </p:cNvPr>
            <p:cNvSpPr/>
            <p:nvPr/>
          </p:nvSpPr>
          <p:spPr bwMode="gray">
            <a:xfrm>
              <a:off x="8404690" y="4172231"/>
              <a:ext cx="1422322" cy="8077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Hydrogen recovery unit</a:t>
              </a:r>
            </a:p>
          </p:txBody>
        </p:sp>
        <p:sp>
          <p:nvSpPr>
            <p:cNvPr id="42" name="Trapezoid 41">
              <a:extLst>
                <a:ext uri="{FF2B5EF4-FFF2-40B4-BE49-F238E27FC236}">
                  <a16:creationId xmlns:a16="http://schemas.microsoft.com/office/drawing/2014/main" id="{434A0A38-84EC-49C5-8E31-2A5447A2D08B}"/>
                </a:ext>
              </a:extLst>
            </p:cNvPr>
            <p:cNvSpPr/>
            <p:nvPr/>
          </p:nvSpPr>
          <p:spPr bwMode="gray">
            <a:xfrm rot="5400000">
              <a:off x="1730309" y="4403055"/>
              <a:ext cx="347240" cy="346072"/>
            </a:xfrm>
            <a:prstGeom prst="trapezoid">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endParaRPr lang="de-DE" sz="1200" dirty="0" err="1">
                <a:solidFill>
                  <a:schemeClr val="tx1"/>
                </a:solidFill>
              </a:endParaRPr>
            </a:p>
          </p:txBody>
        </p:sp>
        <p:cxnSp>
          <p:nvCxnSpPr>
            <p:cNvPr id="43" name="Straight Connector 42">
              <a:extLst>
                <a:ext uri="{FF2B5EF4-FFF2-40B4-BE49-F238E27FC236}">
                  <a16:creationId xmlns:a16="http://schemas.microsoft.com/office/drawing/2014/main" id="{14AB54A7-2E22-44CE-840C-BEED2C03E96F}"/>
                </a:ext>
              </a:extLst>
            </p:cNvPr>
            <p:cNvCxnSpPr>
              <a:cxnSpLocks/>
              <a:stCxn id="42" idx="2"/>
              <a:endCxn id="61" idx="6"/>
            </p:cNvCxnSpPr>
            <p:nvPr/>
          </p:nvCxnSpPr>
          <p:spPr bwMode="gray">
            <a:xfrm flipH="1" flipV="1">
              <a:off x="1152472" y="4574440"/>
              <a:ext cx="578421" cy="1651"/>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67374EF8-DCBF-4BED-8375-CBA5D69CFC7B}"/>
                </a:ext>
              </a:extLst>
            </p:cNvPr>
            <p:cNvGrpSpPr/>
            <p:nvPr/>
          </p:nvGrpSpPr>
          <p:grpSpPr bwMode="gray">
            <a:xfrm>
              <a:off x="1020553" y="3207009"/>
              <a:ext cx="131919" cy="131919"/>
              <a:chOff x="1573056" y="2182368"/>
              <a:chExt cx="170688" cy="170688"/>
            </a:xfrm>
          </p:grpSpPr>
          <p:sp>
            <p:nvSpPr>
              <p:cNvPr id="52" name="Oval 51">
                <a:extLst>
                  <a:ext uri="{FF2B5EF4-FFF2-40B4-BE49-F238E27FC236}">
                    <a16:creationId xmlns:a16="http://schemas.microsoft.com/office/drawing/2014/main" id="{27D43AC5-29C1-4D4C-A825-42CFBDD7AA88}"/>
                  </a:ext>
                </a:extLst>
              </p:cNvPr>
              <p:cNvSpPr/>
              <p:nvPr/>
            </p:nvSpPr>
            <p:spPr bwMode="gray">
              <a:xfrm>
                <a:off x="1573056" y="2182368"/>
                <a:ext cx="170688" cy="170688"/>
              </a:xfrm>
              <a:prstGeom prst="ellipse">
                <a:avLst/>
              </a:prstGeom>
              <a:ln w="12700">
                <a:solidFill>
                  <a:schemeClr val="accent3"/>
                </a:solidFill>
                <a:headEnd type="arrow"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err="1"/>
              </a:p>
            </p:txBody>
          </p:sp>
          <p:sp>
            <p:nvSpPr>
              <p:cNvPr id="53" name="Oval 52">
                <a:extLst>
                  <a:ext uri="{FF2B5EF4-FFF2-40B4-BE49-F238E27FC236}">
                    <a16:creationId xmlns:a16="http://schemas.microsoft.com/office/drawing/2014/main" id="{54F9B3E9-4526-4C06-989A-30B2FDB5D969}"/>
                  </a:ext>
                </a:extLst>
              </p:cNvPr>
              <p:cNvSpPr/>
              <p:nvPr/>
            </p:nvSpPr>
            <p:spPr bwMode="gray">
              <a:xfrm>
                <a:off x="1611825" y="2221137"/>
                <a:ext cx="93150" cy="93150"/>
              </a:xfrm>
              <a:prstGeom prst="ellipse">
                <a:avLst/>
              </a:prstGeom>
              <a:solidFill>
                <a:schemeClr val="accent3"/>
              </a:solidFill>
              <a:ln w="12700">
                <a:solidFill>
                  <a:schemeClr val="accent3"/>
                </a:solidFill>
                <a:headEnd type="arrow"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err="1"/>
              </a:p>
            </p:txBody>
          </p:sp>
        </p:grpSp>
        <p:sp>
          <p:nvSpPr>
            <p:cNvPr id="56" name="Rechteck 87">
              <a:extLst>
                <a:ext uri="{FF2B5EF4-FFF2-40B4-BE49-F238E27FC236}">
                  <a16:creationId xmlns:a16="http://schemas.microsoft.com/office/drawing/2014/main" id="{9747F4B3-8DA6-43BE-A0F8-6893D412E8C5}"/>
                </a:ext>
              </a:extLst>
            </p:cNvPr>
            <p:cNvSpPr/>
            <p:nvPr/>
          </p:nvSpPr>
          <p:spPr bwMode="gray">
            <a:xfrm>
              <a:off x="381091" y="4172231"/>
              <a:ext cx="635000" cy="80441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72000" rIns="72000" bIns="72000" anchor="ctr" anchorCtr="0"/>
            <a:lstStyle/>
            <a:p>
              <a:pPr algn="r">
                <a:spcBef>
                  <a:spcPts val="300"/>
                </a:spcBef>
                <a:buClr>
                  <a:srgbClr val="002897"/>
                </a:buClr>
                <a:buSzPct val="70000"/>
              </a:pPr>
              <a:r>
                <a:rPr lang="de-DE" sz="1200" dirty="0">
                  <a:solidFill>
                    <a:schemeClr val="tx1"/>
                  </a:solidFill>
                </a:rPr>
                <a:t>Air</a:t>
              </a:r>
            </a:p>
          </p:txBody>
        </p:sp>
        <p:grpSp>
          <p:nvGrpSpPr>
            <p:cNvPr id="60" name="Group 59">
              <a:extLst>
                <a:ext uri="{FF2B5EF4-FFF2-40B4-BE49-F238E27FC236}">
                  <a16:creationId xmlns:a16="http://schemas.microsoft.com/office/drawing/2014/main" id="{FC75D944-3410-4B85-BCC6-A639746802C4}"/>
                </a:ext>
              </a:extLst>
            </p:cNvPr>
            <p:cNvGrpSpPr/>
            <p:nvPr/>
          </p:nvGrpSpPr>
          <p:grpSpPr bwMode="gray">
            <a:xfrm>
              <a:off x="1020553" y="4508480"/>
              <a:ext cx="131919" cy="131919"/>
              <a:chOff x="1573056" y="2182368"/>
              <a:chExt cx="170688" cy="170688"/>
            </a:xfrm>
          </p:grpSpPr>
          <p:sp>
            <p:nvSpPr>
              <p:cNvPr id="61" name="Oval 60">
                <a:extLst>
                  <a:ext uri="{FF2B5EF4-FFF2-40B4-BE49-F238E27FC236}">
                    <a16:creationId xmlns:a16="http://schemas.microsoft.com/office/drawing/2014/main" id="{18C2AD89-B886-4624-A0DA-8EBDDEEC50F6}"/>
                  </a:ext>
                </a:extLst>
              </p:cNvPr>
              <p:cNvSpPr/>
              <p:nvPr/>
            </p:nvSpPr>
            <p:spPr bwMode="gray">
              <a:xfrm>
                <a:off x="1573056" y="2182368"/>
                <a:ext cx="170688" cy="170688"/>
              </a:xfrm>
              <a:prstGeom prst="ellipse">
                <a:avLst/>
              </a:prstGeom>
              <a:ln w="12700">
                <a:solidFill>
                  <a:schemeClr val="accent3"/>
                </a:solidFill>
                <a:headEnd type="arrow"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err="1"/>
              </a:p>
            </p:txBody>
          </p:sp>
          <p:sp>
            <p:nvSpPr>
              <p:cNvPr id="62" name="Oval 61">
                <a:extLst>
                  <a:ext uri="{FF2B5EF4-FFF2-40B4-BE49-F238E27FC236}">
                    <a16:creationId xmlns:a16="http://schemas.microsoft.com/office/drawing/2014/main" id="{DDEFA793-0438-4B80-B24A-A33B6A159868}"/>
                  </a:ext>
                </a:extLst>
              </p:cNvPr>
              <p:cNvSpPr/>
              <p:nvPr/>
            </p:nvSpPr>
            <p:spPr bwMode="gray">
              <a:xfrm>
                <a:off x="1611825" y="2221137"/>
                <a:ext cx="93150" cy="93150"/>
              </a:xfrm>
              <a:prstGeom prst="ellipse">
                <a:avLst/>
              </a:prstGeom>
              <a:solidFill>
                <a:schemeClr val="accent3"/>
              </a:solidFill>
              <a:ln w="12700">
                <a:solidFill>
                  <a:schemeClr val="accent3"/>
                </a:solidFill>
                <a:headEnd type="arrow" w="sm" len="sm"/>
                <a:tailEnd type="none" w="sm"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400" dirty="0" err="1"/>
              </a:p>
            </p:txBody>
          </p:sp>
        </p:grpSp>
        <p:cxnSp>
          <p:nvCxnSpPr>
            <p:cNvPr id="66" name="Straight Connector 65">
              <a:extLst>
                <a:ext uri="{FF2B5EF4-FFF2-40B4-BE49-F238E27FC236}">
                  <a16:creationId xmlns:a16="http://schemas.microsoft.com/office/drawing/2014/main" id="{2D258968-DCF0-4251-BC96-121C9C47F9DB}"/>
                </a:ext>
              </a:extLst>
            </p:cNvPr>
            <p:cNvCxnSpPr>
              <a:cxnSpLocks/>
              <a:stCxn id="38" idx="1"/>
              <a:endCxn id="42" idx="0"/>
            </p:cNvCxnSpPr>
            <p:nvPr/>
          </p:nvCxnSpPr>
          <p:spPr bwMode="gray">
            <a:xfrm flipH="1">
              <a:off x="2076965" y="4576091"/>
              <a:ext cx="578422"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75" name="Trapezoid 74">
              <a:extLst>
                <a:ext uri="{FF2B5EF4-FFF2-40B4-BE49-F238E27FC236}">
                  <a16:creationId xmlns:a16="http://schemas.microsoft.com/office/drawing/2014/main" id="{18100347-A331-4198-A944-97C5F7C31057}"/>
                </a:ext>
              </a:extLst>
            </p:cNvPr>
            <p:cNvSpPr/>
            <p:nvPr/>
          </p:nvSpPr>
          <p:spPr bwMode="gray">
            <a:xfrm rot="5400000">
              <a:off x="7530198" y="3099932"/>
              <a:ext cx="347240" cy="346072"/>
            </a:xfrm>
            <a:prstGeom prst="trapezoid">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endParaRPr lang="de-DE" sz="1200" dirty="0" err="1">
                <a:solidFill>
                  <a:schemeClr val="tx1"/>
                </a:solidFill>
              </a:endParaRPr>
            </a:p>
          </p:txBody>
        </p:sp>
        <p:cxnSp>
          <p:nvCxnSpPr>
            <p:cNvPr id="79" name="Straight Connector 78">
              <a:extLst>
                <a:ext uri="{FF2B5EF4-FFF2-40B4-BE49-F238E27FC236}">
                  <a16:creationId xmlns:a16="http://schemas.microsoft.com/office/drawing/2014/main" id="{BC8614D8-6F18-4D2B-99AC-FFC44A83FCA7}"/>
                </a:ext>
              </a:extLst>
            </p:cNvPr>
            <p:cNvCxnSpPr>
              <a:cxnSpLocks/>
              <a:stCxn id="19" idx="1"/>
              <a:endCxn id="75" idx="0"/>
            </p:cNvCxnSpPr>
            <p:nvPr/>
          </p:nvCxnSpPr>
          <p:spPr bwMode="gray">
            <a:xfrm flipH="1">
              <a:off x="7876854" y="3272968"/>
              <a:ext cx="527836"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F4BDB3B-B21E-42BE-81A2-326EF1D0083A}"/>
                </a:ext>
              </a:extLst>
            </p:cNvPr>
            <p:cNvCxnSpPr>
              <a:cxnSpLocks/>
              <a:stCxn id="35" idx="0"/>
              <a:endCxn id="24" idx="2"/>
            </p:cNvCxnSpPr>
            <p:nvPr/>
          </p:nvCxnSpPr>
          <p:spPr bwMode="gray">
            <a:xfrm flipV="1">
              <a:off x="11066010" y="3675176"/>
              <a:ext cx="0" cy="899263"/>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4E096886-6250-4D37-8533-FEB551FF2AD4}"/>
                </a:ext>
              </a:extLst>
            </p:cNvPr>
            <p:cNvCxnSpPr>
              <a:cxnSpLocks/>
              <a:stCxn id="39" idx="0"/>
              <a:endCxn id="19" idx="2"/>
            </p:cNvCxnSpPr>
            <p:nvPr/>
          </p:nvCxnSpPr>
          <p:spPr bwMode="gray">
            <a:xfrm flipV="1">
              <a:off x="9115851" y="3676828"/>
              <a:ext cx="0" cy="495403"/>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104" name="Connector: Elbow 103">
              <a:extLst>
                <a:ext uri="{FF2B5EF4-FFF2-40B4-BE49-F238E27FC236}">
                  <a16:creationId xmlns:a16="http://schemas.microsoft.com/office/drawing/2014/main" id="{9EB1C31C-B33B-460F-90B0-2B42974B0212}"/>
                </a:ext>
              </a:extLst>
            </p:cNvPr>
            <p:cNvCxnSpPr>
              <a:cxnSpLocks/>
              <a:stCxn id="101" idx="2"/>
              <a:endCxn id="108" idx="2"/>
            </p:cNvCxnSpPr>
            <p:nvPr/>
          </p:nvCxnSpPr>
          <p:spPr bwMode="gray">
            <a:xfrm rot="16200000" flipH="1">
              <a:off x="5891914" y="721092"/>
              <a:ext cx="390955" cy="5520515"/>
            </a:xfrm>
            <a:prstGeom prst="bentConnector3">
              <a:avLst>
                <a:gd name="adj1" fmla="val 183902"/>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116" name="Rechteck 87">
              <a:extLst>
                <a:ext uri="{FF2B5EF4-FFF2-40B4-BE49-F238E27FC236}">
                  <a16:creationId xmlns:a16="http://schemas.microsoft.com/office/drawing/2014/main" id="{35F8AB61-3EF4-4CDB-897C-3AD57AFA5BA6}"/>
                </a:ext>
              </a:extLst>
            </p:cNvPr>
            <p:cNvSpPr/>
            <p:nvPr/>
          </p:nvSpPr>
          <p:spPr bwMode="gray">
            <a:xfrm>
              <a:off x="7424716" y="3740079"/>
              <a:ext cx="1422322" cy="26516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Process Steam</a:t>
              </a:r>
            </a:p>
          </p:txBody>
        </p:sp>
        <p:sp>
          <p:nvSpPr>
            <p:cNvPr id="118" name="Rectangle 117">
              <a:extLst>
                <a:ext uri="{FF2B5EF4-FFF2-40B4-BE49-F238E27FC236}">
                  <a16:creationId xmlns:a16="http://schemas.microsoft.com/office/drawing/2014/main" id="{71A05C15-7959-4C8A-B169-E7D09DFE6A0B}"/>
                </a:ext>
              </a:extLst>
            </p:cNvPr>
            <p:cNvSpPr/>
            <p:nvPr/>
          </p:nvSpPr>
          <p:spPr bwMode="gray">
            <a:xfrm>
              <a:off x="6199416" y="3916031"/>
              <a:ext cx="180000" cy="18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endParaRPr lang="de-DE" sz="1400" dirty="0" err="1"/>
            </a:p>
          </p:txBody>
        </p:sp>
        <p:sp>
          <p:nvSpPr>
            <p:cNvPr id="119" name="Rectangle 118">
              <a:extLst>
                <a:ext uri="{FF2B5EF4-FFF2-40B4-BE49-F238E27FC236}">
                  <a16:creationId xmlns:a16="http://schemas.microsoft.com/office/drawing/2014/main" id="{605550A9-5271-4DE8-B6B4-412D62F49D25}"/>
                </a:ext>
              </a:extLst>
            </p:cNvPr>
            <p:cNvSpPr/>
            <p:nvPr/>
          </p:nvSpPr>
          <p:spPr bwMode="gray">
            <a:xfrm>
              <a:off x="7191921" y="3916031"/>
              <a:ext cx="180000" cy="18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endParaRPr lang="de-DE" sz="1400" dirty="0" err="1"/>
            </a:p>
          </p:txBody>
        </p:sp>
        <p:cxnSp>
          <p:nvCxnSpPr>
            <p:cNvPr id="30" name="Connector: Elbow 29">
              <a:extLst>
                <a:ext uri="{FF2B5EF4-FFF2-40B4-BE49-F238E27FC236}">
                  <a16:creationId xmlns:a16="http://schemas.microsoft.com/office/drawing/2014/main" id="{091241B0-CCD7-4B54-B39D-A3B6E028CCD3}"/>
                </a:ext>
              </a:extLst>
            </p:cNvPr>
            <p:cNvCxnSpPr>
              <a:cxnSpLocks/>
              <a:stCxn id="124" idx="2"/>
              <a:endCxn id="38" idx="3"/>
            </p:cNvCxnSpPr>
            <p:nvPr/>
          </p:nvCxnSpPr>
          <p:spPr bwMode="gray">
            <a:xfrm rot="5400000">
              <a:off x="4737657" y="3021961"/>
              <a:ext cx="894183" cy="2214077"/>
            </a:xfrm>
            <a:prstGeom prst="bentConnector2">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15984941-66D3-4713-A2CE-0D47B8216769}"/>
                </a:ext>
              </a:extLst>
            </p:cNvPr>
            <p:cNvCxnSpPr>
              <a:cxnSpLocks/>
              <a:stCxn id="102" idx="2"/>
              <a:endCxn id="39" idx="1"/>
            </p:cNvCxnSpPr>
            <p:nvPr/>
          </p:nvCxnSpPr>
          <p:spPr bwMode="gray">
            <a:xfrm rot="16200000" flipH="1">
              <a:off x="7197238" y="3368639"/>
              <a:ext cx="1290218" cy="1124686"/>
            </a:xfrm>
            <a:prstGeom prst="bentConnector2">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123" name="Rechteck 87">
              <a:extLst>
                <a:ext uri="{FF2B5EF4-FFF2-40B4-BE49-F238E27FC236}">
                  <a16:creationId xmlns:a16="http://schemas.microsoft.com/office/drawing/2014/main" id="{DF0B9668-165F-455F-B798-81A1CE2DAF5E}"/>
                </a:ext>
              </a:extLst>
            </p:cNvPr>
            <p:cNvSpPr/>
            <p:nvPr/>
          </p:nvSpPr>
          <p:spPr bwMode="gray">
            <a:xfrm>
              <a:off x="2655388" y="4167152"/>
              <a:ext cx="1422321" cy="812800"/>
            </a:xfrm>
            <a:prstGeom prst="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endParaRPr lang="de-DE" sz="1200" baseline="-25000" dirty="0">
                <a:solidFill>
                  <a:schemeClr val="tx1"/>
                </a:solidFill>
              </a:endParaRPr>
            </a:p>
          </p:txBody>
        </p:sp>
        <p:sp>
          <p:nvSpPr>
            <p:cNvPr id="124" name="Rechteck 87">
              <a:extLst>
                <a:ext uri="{FF2B5EF4-FFF2-40B4-BE49-F238E27FC236}">
                  <a16:creationId xmlns:a16="http://schemas.microsoft.com/office/drawing/2014/main" id="{57E24371-BD4B-4091-9244-DC6F4CD5BE0C}"/>
                </a:ext>
              </a:extLst>
            </p:cNvPr>
            <p:cNvSpPr/>
            <p:nvPr/>
          </p:nvSpPr>
          <p:spPr bwMode="gray">
            <a:xfrm>
              <a:off x="5580625" y="2869108"/>
              <a:ext cx="1422321" cy="812800"/>
            </a:xfrm>
            <a:prstGeom prst="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endParaRPr lang="de-DE" sz="1200" baseline="-25000" dirty="0">
                <a:solidFill>
                  <a:schemeClr val="tx1"/>
                </a:solidFill>
              </a:endParaRPr>
            </a:p>
          </p:txBody>
        </p:sp>
      </p:grpSp>
    </p:spTree>
    <p:custDataLst>
      <p:tags r:id="rId1"/>
    </p:custDataLst>
    <p:extLst>
      <p:ext uri="{BB962C8B-B14F-4D97-AF65-F5344CB8AC3E}">
        <p14:creationId xmlns:p14="http://schemas.microsoft.com/office/powerpoint/2010/main" val="2136260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87">
            <a:extLst>
              <a:ext uri="{FF2B5EF4-FFF2-40B4-BE49-F238E27FC236}">
                <a16:creationId xmlns:a16="http://schemas.microsoft.com/office/drawing/2014/main" id="{F39E0CC4-FB42-4D37-AB51-E638C5D795E5}"/>
              </a:ext>
            </a:extLst>
          </p:cNvPr>
          <p:cNvSpPr/>
          <p:nvPr/>
        </p:nvSpPr>
        <p:spPr bwMode="gray">
          <a:xfrm>
            <a:off x="336550" y="1936346"/>
            <a:ext cx="11516714" cy="3976369"/>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000" dirty="0">
              <a:solidFill>
                <a:schemeClr val="bg1"/>
              </a:solidFill>
            </a:endParaRPr>
          </a:p>
        </p:txBody>
      </p:sp>
      <p:sp>
        <p:nvSpPr>
          <p:cNvPr id="3" name="Title 2">
            <a:extLst>
              <a:ext uri="{FF2B5EF4-FFF2-40B4-BE49-F238E27FC236}">
                <a16:creationId xmlns:a16="http://schemas.microsoft.com/office/drawing/2014/main" id="{61F0C871-CDDB-4135-A6B6-FA9C73B7F77A}"/>
              </a:ext>
            </a:extLst>
          </p:cNvPr>
          <p:cNvSpPr>
            <a:spLocks noGrp="1"/>
          </p:cNvSpPr>
          <p:nvPr>
            <p:ph type="title"/>
          </p:nvPr>
        </p:nvSpPr>
        <p:spPr bwMode="gray">
          <a:xfrm>
            <a:off x="333264" y="682313"/>
            <a:ext cx="11520000" cy="396000"/>
          </a:xfrm>
        </p:spPr>
        <p:txBody>
          <a:bodyPr/>
          <a:lstStyle/>
          <a:p>
            <a:r>
              <a:rPr lang="de-DE" dirty="0" err="1"/>
              <a:t>Ammonia</a:t>
            </a:r>
            <a:r>
              <a:rPr lang="de-DE" dirty="0"/>
              <a:t> </a:t>
            </a:r>
            <a:r>
              <a:rPr lang="de-DE" dirty="0" err="1"/>
              <a:t>production</a:t>
            </a:r>
            <a:r>
              <a:rPr lang="de-DE" dirty="0"/>
              <a:t> </a:t>
            </a:r>
          </a:p>
        </p:txBody>
      </p:sp>
      <p:sp>
        <p:nvSpPr>
          <p:cNvPr id="7" name="Subtitle 6">
            <a:extLst>
              <a:ext uri="{FF2B5EF4-FFF2-40B4-BE49-F238E27FC236}">
                <a16:creationId xmlns:a16="http://schemas.microsoft.com/office/drawing/2014/main" id="{4CA70EB7-6B0E-45DA-B424-4BF48EEC481F}"/>
              </a:ext>
            </a:extLst>
          </p:cNvPr>
          <p:cNvSpPr>
            <a:spLocks noGrp="1"/>
          </p:cNvSpPr>
          <p:nvPr>
            <p:ph type="subTitle" idx="13"/>
          </p:nvPr>
        </p:nvSpPr>
        <p:spPr bwMode="gray"/>
        <p:txBody>
          <a:bodyPr/>
          <a:lstStyle/>
          <a:p>
            <a:r>
              <a:rPr lang="da-DK" dirty="0"/>
              <a:t>SMR for Hydrogen &amp; ASU for Nitrogen (Oxygen </a:t>
            </a:r>
            <a:r>
              <a:rPr lang="da-DK" dirty="0" err="1"/>
              <a:t>can</a:t>
            </a:r>
            <a:r>
              <a:rPr lang="da-DK" dirty="0"/>
              <a:t> </a:t>
            </a:r>
            <a:r>
              <a:rPr lang="da-DK" dirty="0" err="1"/>
              <a:t>be</a:t>
            </a:r>
            <a:r>
              <a:rPr lang="da-DK" dirty="0"/>
              <a:t> </a:t>
            </a:r>
            <a:r>
              <a:rPr lang="da-DK" dirty="0" err="1"/>
              <a:t>used</a:t>
            </a:r>
            <a:r>
              <a:rPr lang="da-DK" dirty="0"/>
              <a:t> in </a:t>
            </a:r>
            <a:r>
              <a:rPr lang="da-DK" dirty="0" err="1"/>
              <a:t>other</a:t>
            </a:r>
            <a:r>
              <a:rPr lang="da-DK" dirty="0"/>
              <a:t> processes)</a:t>
            </a:r>
            <a:endParaRPr lang="de-DE" dirty="0"/>
          </a:p>
        </p:txBody>
      </p:sp>
      <p:sp>
        <p:nvSpPr>
          <p:cNvPr id="11" name="Date Placeholder 10">
            <a:extLst>
              <a:ext uri="{FF2B5EF4-FFF2-40B4-BE49-F238E27FC236}">
                <a16:creationId xmlns:a16="http://schemas.microsoft.com/office/drawing/2014/main" id="{682262D1-F1AB-43C8-82FC-86D4FA8FD56F}"/>
              </a:ext>
            </a:extLst>
          </p:cNvPr>
          <p:cNvSpPr>
            <a:spLocks noGrp="1"/>
          </p:cNvSpPr>
          <p:nvPr>
            <p:ph type="dt" sz="half" idx="14"/>
          </p:nvPr>
        </p:nvSpPr>
        <p:spPr bwMode="gray"/>
        <p:txBody>
          <a:bodyPr/>
          <a:lstStyle/>
          <a:p>
            <a:fld id="{4A24FD54-324A-4640-ADD3-2A87E41112C2}" type="datetime4">
              <a:rPr lang="en-US" smtClean="0"/>
              <a:t>September 8, 2019</a:t>
            </a:fld>
            <a:endParaRPr lang="en-US" dirty="0"/>
          </a:p>
        </p:txBody>
      </p:sp>
      <p:sp>
        <p:nvSpPr>
          <p:cNvPr id="12" name="Footer Placeholder 11">
            <a:extLst>
              <a:ext uri="{FF2B5EF4-FFF2-40B4-BE49-F238E27FC236}">
                <a16:creationId xmlns:a16="http://schemas.microsoft.com/office/drawing/2014/main" id="{3650A363-1143-414A-B1ED-E1D1F6E39934}"/>
              </a:ext>
            </a:extLst>
          </p:cNvPr>
          <p:cNvSpPr>
            <a:spLocks noGrp="1"/>
          </p:cNvSpPr>
          <p:nvPr>
            <p:ph type="ftr" sz="quarter" idx="15"/>
          </p:nvPr>
        </p:nvSpPr>
        <p:spPr bwMode="gray"/>
        <p:txBody>
          <a:bodyPr/>
          <a:lstStyle/>
          <a:p>
            <a:pPr lvl="8"/>
            <a:endParaRPr lang="en-US" dirty="0"/>
          </a:p>
        </p:txBody>
      </p:sp>
      <p:sp>
        <p:nvSpPr>
          <p:cNvPr id="13" name="Slide Number Placeholder 12">
            <a:extLst>
              <a:ext uri="{FF2B5EF4-FFF2-40B4-BE49-F238E27FC236}">
                <a16:creationId xmlns:a16="http://schemas.microsoft.com/office/drawing/2014/main" id="{D512F3DF-2DE1-4AD3-8CD2-4DD09E1E5C01}"/>
              </a:ext>
            </a:extLst>
          </p:cNvPr>
          <p:cNvSpPr>
            <a:spLocks noGrp="1"/>
          </p:cNvSpPr>
          <p:nvPr>
            <p:ph type="sldNum" sz="quarter" idx="16"/>
          </p:nvPr>
        </p:nvSpPr>
        <p:spPr bwMode="gray"/>
        <p:txBody>
          <a:bodyPr/>
          <a:lstStyle/>
          <a:p>
            <a:r>
              <a:rPr lang="en-US"/>
              <a:t>Slide </a:t>
            </a:r>
            <a:fld id="{619F89D8-7AE3-494A-97F3-03D680869632}" type="slidenum">
              <a:rPr lang="en-US" smtClean="0"/>
              <a:pPr/>
              <a:t>52</a:t>
            </a:fld>
            <a:endParaRPr lang="en-US" dirty="0"/>
          </a:p>
        </p:txBody>
      </p:sp>
      <p:grpSp>
        <p:nvGrpSpPr>
          <p:cNvPr id="104" name="Group 103">
            <a:extLst>
              <a:ext uri="{FF2B5EF4-FFF2-40B4-BE49-F238E27FC236}">
                <a16:creationId xmlns:a16="http://schemas.microsoft.com/office/drawing/2014/main" id="{FB16494F-0677-4BBD-A074-A3452B65907E}"/>
              </a:ext>
            </a:extLst>
          </p:cNvPr>
          <p:cNvGrpSpPr/>
          <p:nvPr/>
        </p:nvGrpSpPr>
        <p:grpSpPr bwMode="gray">
          <a:xfrm>
            <a:off x="336000" y="2056326"/>
            <a:ext cx="11520001" cy="2745349"/>
            <a:chOff x="333264" y="2323522"/>
            <a:chExt cx="11520001" cy="2745349"/>
          </a:xfrm>
        </p:grpSpPr>
        <p:sp>
          <p:nvSpPr>
            <p:cNvPr id="20" name="Rechteck 87">
              <a:extLst>
                <a:ext uri="{FF2B5EF4-FFF2-40B4-BE49-F238E27FC236}">
                  <a16:creationId xmlns:a16="http://schemas.microsoft.com/office/drawing/2014/main" id="{A2562886-D419-464E-9C36-7DF9E18B015A}"/>
                </a:ext>
              </a:extLst>
            </p:cNvPr>
            <p:cNvSpPr/>
            <p:nvPr/>
          </p:nvSpPr>
          <p:spPr bwMode="gray">
            <a:xfrm>
              <a:off x="2352800" y="3127938"/>
              <a:ext cx="1422322" cy="804416"/>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PSA</a:t>
              </a:r>
            </a:p>
          </p:txBody>
        </p:sp>
        <p:sp>
          <p:nvSpPr>
            <p:cNvPr id="21" name="Rechteck 87">
              <a:extLst>
                <a:ext uri="{FF2B5EF4-FFF2-40B4-BE49-F238E27FC236}">
                  <a16:creationId xmlns:a16="http://schemas.microsoft.com/office/drawing/2014/main" id="{1EF89934-91C9-4548-98FA-A9D59DA27E9F}"/>
                </a:ext>
              </a:extLst>
            </p:cNvPr>
            <p:cNvSpPr/>
            <p:nvPr/>
          </p:nvSpPr>
          <p:spPr bwMode="gray">
            <a:xfrm>
              <a:off x="4372336" y="3127661"/>
              <a:ext cx="1422322" cy="8077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Hydrogen compression</a:t>
              </a:r>
            </a:p>
          </p:txBody>
        </p:sp>
        <p:sp>
          <p:nvSpPr>
            <p:cNvPr id="23" name="Rechteck 87">
              <a:extLst>
                <a:ext uri="{FF2B5EF4-FFF2-40B4-BE49-F238E27FC236}">
                  <a16:creationId xmlns:a16="http://schemas.microsoft.com/office/drawing/2014/main" id="{01EA2519-8509-4CF3-B564-D6F173C6C928}"/>
                </a:ext>
              </a:extLst>
            </p:cNvPr>
            <p:cNvSpPr/>
            <p:nvPr/>
          </p:nvSpPr>
          <p:spPr bwMode="gray">
            <a:xfrm>
              <a:off x="6391872" y="3127661"/>
              <a:ext cx="1422322" cy="8077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PSA</a:t>
              </a:r>
            </a:p>
          </p:txBody>
        </p:sp>
        <p:sp>
          <p:nvSpPr>
            <p:cNvPr id="25" name="Rechteck 87">
              <a:extLst>
                <a:ext uri="{FF2B5EF4-FFF2-40B4-BE49-F238E27FC236}">
                  <a16:creationId xmlns:a16="http://schemas.microsoft.com/office/drawing/2014/main" id="{A36E06D6-8035-4D1E-B986-6119AB9468C1}"/>
                </a:ext>
              </a:extLst>
            </p:cNvPr>
            <p:cNvSpPr/>
            <p:nvPr/>
          </p:nvSpPr>
          <p:spPr bwMode="gray">
            <a:xfrm>
              <a:off x="8411408" y="3127661"/>
              <a:ext cx="1422322" cy="807720"/>
            </a:xfrm>
            <a:prstGeom prst="rect">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bg1"/>
                  </a:solidFill>
                </a:rPr>
                <a:t>Ammonia synthesis</a:t>
              </a:r>
            </a:p>
          </p:txBody>
        </p:sp>
        <p:cxnSp>
          <p:nvCxnSpPr>
            <p:cNvPr id="32" name="Straight Connector 31">
              <a:extLst>
                <a:ext uri="{FF2B5EF4-FFF2-40B4-BE49-F238E27FC236}">
                  <a16:creationId xmlns:a16="http://schemas.microsoft.com/office/drawing/2014/main" id="{4D9976F1-A7AE-421E-A86B-AA35CFB8A1AF}"/>
                </a:ext>
              </a:extLst>
            </p:cNvPr>
            <p:cNvCxnSpPr>
              <a:cxnSpLocks/>
              <a:stCxn id="21" idx="1"/>
              <a:endCxn id="20" idx="3"/>
            </p:cNvCxnSpPr>
            <p:nvPr/>
          </p:nvCxnSpPr>
          <p:spPr bwMode="gray">
            <a:xfrm flipH="1" flipV="1">
              <a:off x="3775122" y="3530146"/>
              <a:ext cx="597214" cy="1375"/>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9D51851-FA5E-4C9E-AF19-8A68E88E7766}"/>
                </a:ext>
              </a:extLst>
            </p:cNvPr>
            <p:cNvCxnSpPr>
              <a:cxnSpLocks/>
              <a:stCxn id="23" idx="1"/>
              <a:endCxn id="21" idx="3"/>
            </p:cNvCxnSpPr>
            <p:nvPr/>
          </p:nvCxnSpPr>
          <p:spPr bwMode="gray">
            <a:xfrm flipH="1">
              <a:off x="5794658" y="3531521"/>
              <a:ext cx="597214"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97E58059-9EFE-4FCB-A0B8-3E6F9C9C8211}"/>
                </a:ext>
              </a:extLst>
            </p:cNvPr>
            <p:cNvCxnSpPr>
              <a:cxnSpLocks/>
              <a:stCxn id="94" idx="0"/>
              <a:endCxn id="82" idx="3"/>
            </p:cNvCxnSpPr>
            <p:nvPr/>
          </p:nvCxnSpPr>
          <p:spPr bwMode="gray">
            <a:xfrm rot="16200000" flipV="1">
              <a:off x="2506725" y="1974592"/>
              <a:ext cx="815867" cy="2318143"/>
            </a:xfrm>
            <a:prstGeom prst="bentConnector2">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70" name="Rechteck 87">
              <a:extLst>
                <a:ext uri="{FF2B5EF4-FFF2-40B4-BE49-F238E27FC236}">
                  <a16:creationId xmlns:a16="http://schemas.microsoft.com/office/drawing/2014/main" id="{6578A32D-E7B3-4124-A225-C97952A36CF3}"/>
                </a:ext>
              </a:extLst>
            </p:cNvPr>
            <p:cNvSpPr/>
            <p:nvPr/>
          </p:nvSpPr>
          <p:spPr bwMode="gray">
            <a:xfrm>
              <a:off x="333264" y="3127938"/>
              <a:ext cx="1422322" cy="80441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r">
                <a:spcBef>
                  <a:spcPts val="300"/>
                </a:spcBef>
                <a:buClr>
                  <a:srgbClr val="002897"/>
                </a:buClr>
                <a:buSzPct val="70000"/>
              </a:pPr>
              <a:r>
                <a:rPr lang="de-DE" sz="1400" dirty="0">
                  <a:solidFill>
                    <a:schemeClr val="tx1"/>
                  </a:solidFill>
                </a:rPr>
                <a:t>HP H</a:t>
              </a:r>
              <a:r>
                <a:rPr lang="de-DE" sz="1400" baseline="-25000" dirty="0">
                  <a:solidFill>
                    <a:schemeClr val="tx1"/>
                  </a:solidFill>
                </a:rPr>
                <a:t>2</a:t>
              </a:r>
            </a:p>
          </p:txBody>
        </p:sp>
        <p:sp>
          <p:nvSpPr>
            <p:cNvPr id="71" name="Rechteck 87">
              <a:extLst>
                <a:ext uri="{FF2B5EF4-FFF2-40B4-BE49-F238E27FC236}">
                  <a16:creationId xmlns:a16="http://schemas.microsoft.com/office/drawing/2014/main" id="{2DB61A16-AD42-4B52-9BA7-2C644AAD9AC9}"/>
                </a:ext>
              </a:extLst>
            </p:cNvPr>
            <p:cNvSpPr/>
            <p:nvPr/>
          </p:nvSpPr>
          <p:spPr bwMode="gray">
            <a:xfrm>
              <a:off x="10430943" y="3127938"/>
              <a:ext cx="1422322" cy="80441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r>
                <a:rPr lang="de-DE" sz="1400" dirty="0">
                  <a:solidFill>
                    <a:schemeClr val="tx1"/>
                  </a:solidFill>
                </a:rPr>
                <a:t>NH</a:t>
              </a:r>
              <a:r>
                <a:rPr lang="de-DE" sz="1400" baseline="-25000" dirty="0">
                  <a:solidFill>
                    <a:schemeClr val="tx1"/>
                  </a:solidFill>
                </a:rPr>
                <a:t>3</a:t>
              </a:r>
            </a:p>
          </p:txBody>
        </p:sp>
        <p:cxnSp>
          <p:nvCxnSpPr>
            <p:cNvPr id="72" name="Straight Connector 71">
              <a:extLst>
                <a:ext uri="{FF2B5EF4-FFF2-40B4-BE49-F238E27FC236}">
                  <a16:creationId xmlns:a16="http://schemas.microsoft.com/office/drawing/2014/main" id="{F6E4FE0B-8563-4D5E-A4C9-E5CF1F384632}"/>
                </a:ext>
              </a:extLst>
            </p:cNvPr>
            <p:cNvCxnSpPr>
              <a:cxnSpLocks/>
              <a:stCxn id="25" idx="1"/>
              <a:endCxn id="23" idx="3"/>
            </p:cNvCxnSpPr>
            <p:nvPr/>
          </p:nvCxnSpPr>
          <p:spPr bwMode="gray">
            <a:xfrm flipH="1">
              <a:off x="7814194" y="3531521"/>
              <a:ext cx="597214"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71AC6F93-7AA8-4F41-9A1B-A370495D06FA}"/>
                </a:ext>
              </a:extLst>
            </p:cNvPr>
            <p:cNvCxnSpPr>
              <a:cxnSpLocks/>
              <a:stCxn id="20" idx="1"/>
              <a:endCxn id="70" idx="3"/>
            </p:cNvCxnSpPr>
            <p:nvPr/>
          </p:nvCxnSpPr>
          <p:spPr bwMode="gray">
            <a:xfrm flipH="1">
              <a:off x="1755586" y="3530146"/>
              <a:ext cx="597214"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52C2382-DF22-4BBB-A962-0A1F2674FADD}"/>
                </a:ext>
              </a:extLst>
            </p:cNvPr>
            <p:cNvCxnSpPr>
              <a:cxnSpLocks/>
              <a:stCxn id="71" idx="1"/>
            </p:cNvCxnSpPr>
            <p:nvPr/>
          </p:nvCxnSpPr>
          <p:spPr bwMode="gray">
            <a:xfrm flipH="1">
              <a:off x="9833730" y="3530146"/>
              <a:ext cx="597213" cy="1375"/>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82" name="Rechteck 87">
              <a:extLst>
                <a:ext uri="{FF2B5EF4-FFF2-40B4-BE49-F238E27FC236}">
                  <a16:creationId xmlns:a16="http://schemas.microsoft.com/office/drawing/2014/main" id="{3B7F7566-C39D-451D-859F-B47583E683BA}"/>
                </a:ext>
              </a:extLst>
            </p:cNvPr>
            <p:cNvSpPr/>
            <p:nvPr/>
          </p:nvSpPr>
          <p:spPr bwMode="gray">
            <a:xfrm>
              <a:off x="333264" y="2323522"/>
              <a:ext cx="1422322" cy="80441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r">
                <a:spcBef>
                  <a:spcPts val="300"/>
                </a:spcBef>
                <a:buClr>
                  <a:srgbClr val="002897"/>
                </a:buClr>
                <a:buSzPct val="70000"/>
              </a:pPr>
              <a:r>
                <a:rPr lang="de-DE" sz="1400" dirty="0">
                  <a:solidFill>
                    <a:schemeClr val="tx1"/>
                  </a:solidFill>
                </a:rPr>
                <a:t>LP H</a:t>
              </a:r>
              <a:r>
                <a:rPr lang="de-DE" sz="1400" baseline="-25000" dirty="0">
                  <a:solidFill>
                    <a:schemeClr val="tx1"/>
                  </a:solidFill>
                </a:rPr>
                <a:t>2</a:t>
              </a:r>
            </a:p>
          </p:txBody>
        </p:sp>
        <p:sp>
          <p:nvSpPr>
            <p:cNvPr id="90" name="Rechteck 87">
              <a:extLst>
                <a:ext uri="{FF2B5EF4-FFF2-40B4-BE49-F238E27FC236}">
                  <a16:creationId xmlns:a16="http://schemas.microsoft.com/office/drawing/2014/main" id="{DCAE2F71-33F9-4F08-B2FD-D9B874FE6C9F}"/>
                </a:ext>
              </a:extLst>
            </p:cNvPr>
            <p:cNvSpPr/>
            <p:nvPr/>
          </p:nvSpPr>
          <p:spPr bwMode="gray">
            <a:xfrm>
              <a:off x="2352800" y="4264455"/>
              <a:ext cx="1422322" cy="804416"/>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ASU</a:t>
              </a:r>
            </a:p>
          </p:txBody>
        </p:sp>
        <p:cxnSp>
          <p:nvCxnSpPr>
            <p:cNvPr id="91" name="Connector: Elbow 90">
              <a:extLst>
                <a:ext uri="{FF2B5EF4-FFF2-40B4-BE49-F238E27FC236}">
                  <a16:creationId xmlns:a16="http://schemas.microsoft.com/office/drawing/2014/main" id="{C78CA630-EE78-4ECE-9434-B0D134095A8E}"/>
                </a:ext>
              </a:extLst>
            </p:cNvPr>
            <p:cNvCxnSpPr>
              <a:cxnSpLocks/>
              <a:stCxn id="25" idx="2"/>
              <a:endCxn id="90" idx="3"/>
            </p:cNvCxnSpPr>
            <p:nvPr/>
          </p:nvCxnSpPr>
          <p:spPr bwMode="gray">
            <a:xfrm rot="5400000">
              <a:off x="6083205" y="1627299"/>
              <a:ext cx="731282" cy="5347447"/>
            </a:xfrm>
            <a:prstGeom prst="bentConnector2">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26B1BAF4-7940-4659-8F84-289669D21040}"/>
                </a:ext>
              </a:extLst>
            </p:cNvPr>
            <p:cNvSpPr/>
            <p:nvPr/>
          </p:nvSpPr>
          <p:spPr bwMode="gray">
            <a:xfrm>
              <a:off x="3983729" y="3541597"/>
              <a:ext cx="180000" cy="180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ctr"/>
            <a:lstStyle/>
            <a:p>
              <a:pPr algn="ctr"/>
              <a:endParaRPr lang="de-DE" sz="1400" dirty="0" err="1"/>
            </a:p>
          </p:txBody>
        </p:sp>
        <p:sp>
          <p:nvSpPr>
            <p:cNvPr id="101" name="Rechteck 87">
              <a:extLst>
                <a:ext uri="{FF2B5EF4-FFF2-40B4-BE49-F238E27FC236}">
                  <a16:creationId xmlns:a16="http://schemas.microsoft.com/office/drawing/2014/main" id="{DDDE262C-DAED-4F21-8EA5-2501DE7C8C1E}"/>
                </a:ext>
              </a:extLst>
            </p:cNvPr>
            <p:cNvSpPr/>
            <p:nvPr/>
          </p:nvSpPr>
          <p:spPr bwMode="gray">
            <a:xfrm>
              <a:off x="4372336" y="4666663"/>
              <a:ext cx="3441858" cy="402207"/>
            </a:xfrm>
            <a:prstGeom prst="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N</a:t>
              </a:r>
              <a:r>
                <a:rPr lang="de-DE" sz="1400" baseline="-25000" dirty="0">
                  <a:solidFill>
                    <a:schemeClr val="tx1"/>
                  </a:solidFill>
                </a:rPr>
                <a:t>2</a:t>
              </a:r>
              <a:r>
                <a:rPr lang="de-DE" sz="1400" dirty="0">
                  <a:solidFill>
                    <a:schemeClr val="tx1"/>
                  </a:solidFill>
                </a:rPr>
                <a:t> (from ASU or pipeline)</a:t>
              </a:r>
              <a:endParaRPr lang="de-DE" sz="1400" baseline="-25000" dirty="0">
                <a:solidFill>
                  <a:schemeClr val="tx1"/>
                </a:solidFill>
              </a:endParaRPr>
            </a:p>
          </p:txBody>
        </p:sp>
      </p:grpSp>
    </p:spTree>
    <p:custDataLst>
      <p:tags r:id="rId1"/>
    </p:custDataLst>
    <p:extLst>
      <p:ext uri="{BB962C8B-B14F-4D97-AF65-F5344CB8AC3E}">
        <p14:creationId xmlns:p14="http://schemas.microsoft.com/office/powerpoint/2010/main" val="68948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9" name="Rechteck 87">
            <a:extLst>
              <a:ext uri="{FF2B5EF4-FFF2-40B4-BE49-F238E27FC236}">
                <a16:creationId xmlns:a16="http://schemas.microsoft.com/office/drawing/2014/main" id="{B060FE68-4EE8-40D2-969B-8EC0511D5E4E}"/>
              </a:ext>
            </a:extLst>
          </p:cNvPr>
          <p:cNvSpPr/>
          <p:nvPr/>
        </p:nvSpPr>
        <p:spPr bwMode="gray">
          <a:xfrm>
            <a:off x="336000" y="1938122"/>
            <a:ext cx="11520000" cy="3981449"/>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900" dirty="0">
              <a:solidFill>
                <a:schemeClr val="bg1"/>
              </a:solidFill>
            </a:endParaRPr>
          </a:p>
        </p:txBody>
      </p:sp>
      <p:sp>
        <p:nvSpPr>
          <p:cNvPr id="1334" name="Rectangle 1333">
            <a:extLst>
              <a:ext uri="{FF2B5EF4-FFF2-40B4-BE49-F238E27FC236}">
                <a16:creationId xmlns:a16="http://schemas.microsoft.com/office/drawing/2014/main" id="{3526693B-0316-4544-BD53-9F9B81B9C6B0}"/>
              </a:ext>
            </a:extLst>
          </p:cNvPr>
          <p:cNvSpPr/>
          <p:nvPr/>
        </p:nvSpPr>
        <p:spPr bwMode="gray">
          <a:xfrm>
            <a:off x="6490955" y="5195062"/>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338" name="Rectangle 1337">
            <a:extLst>
              <a:ext uri="{FF2B5EF4-FFF2-40B4-BE49-F238E27FC236}">
                <a16:creationId xmlns:a16="http://schemas.microsoft.com/office/drawing/2014/main" id="{7C402B0A-95DD-42AE-82B2-F927223C10FC}"/>
              </a:ext>
            </a:extLst>
          </p:cNvPr>
          <p:cNvSpPr/>
          <p:nvPr/>
        </p:nvSpPr>
        <p:spPr bwMode="gray">
          <a:xfrm>
            <a:off x="4283718" y="5195062"/>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329" name="Rectangle 1328">
            <a:extLst>
              <a:ext uri="{FF2B5EF4-FFF2-40B4-BE49-F238E27FC236}">
                <a16:creationId xmlns:a16="http://schemas.microsoft.com/office/drawing/2014/main" id="{6693F30B-A6B2-43D4-B9F5-B15689589E93}"/>
              </a:ext>
            </a:extLst>
          </p:cNvPr>
          <p:cNvSpPr/>
          <p:nvPr/>
        </p:nvSpPr>
        <p:spPr bwMode="gray">
          <a:xfrm>
            <a:off x="7193517" y="3618481"/>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084" name="Rectangle 1083">
            <a:extLst>
              <a:ext uri="{FF2B5EF4-FFF2-40B4-BE49-F238E27FC236}">
                <a16:creationId xmlns:a16="http://schemas.microsoft.com/office/drawing/2014/main" id="{AD1FDDFE-D575-40A4-B4E8-FF6C4592B1F2}"/>
              </a:ext>
            </a:extLst>
          </p:cNvPr>
          <p:cNvSpPr/>
          <p:nvPr/>
        </p:nvSpPr>
        <p:spPr bwMode="gray">
          <a:xfrm>
            <a:off x="6746623" y="3371306"/>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896" name="Rectangle 895">
            <a:extLst>
              <a:ext uri="{FF2B5EF4-FFF2-40B4-BE49-F238E27FC236}">
                <a16:creationId xmlns:a16="http://schemas.microsoft.com/office/drawing/2014/main" id="{1FF0B4FC-D5DF-4962-B764-D55792ACD154}"/>
              </a:ext>
            </a:extLst>
          </p:cNvPr>
          <p:cNvSpPr/>
          <p:nvPr/>
        </p:nvSpPr>
        <p:spPr bwMode="gray">
          <a:xfrm>
            <a:off x="4283718" y="4187179"/>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905" name="Rectangle 904">
            <a:extLst>
              <a:ext uri="{FF2B5EF4-FFF2-40B4-BE49-F238E27FC236}">
                <a16:creationId xmlns:a16="http://schemas.microsoft.com/office/drawing/2014/main" id="{054C099E-2E25-424A-A52C-6E0619FC68F8}"/>
              </a:ext>
            </a:extLst>
          </p:cNvPr>
          <p:cNvSpPr/>
          <p:nvPr/>
        </p:nvSpPr>
        <p:spPr bwMode="gray">
          <a:xfrm>
            <a:off x="4801859" y="3927696"/>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873" name="Rectangle 872">
            <a:extLst>
              <a:ext uri="{FF2B5EF4-FFF2-40B4-BE49-F238E27FC236}">
                <a16:creationId xmlns:a16="http://schemas.microsoft.com/office/drawing/2014/main" id="{E6426392-51CF-4689-8594-8D9F149DBC40}"/>
              </a:ext>
            </a:extLst>
          </p:cNvPr>
          <p:cNvSpPr/>
          <p:nvPr/>
        </p:nvSpPr>
        <p:spPr bwMode="gray">
          <a:xfrm>
            <a:off x="5363800" y="3927696"/>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877" name="Rectangle 876">
            <a:extLst>
              <a:ext uri="{FF2B5EF4-FFF2-40B4-BE49-F238E27FC236}">
                <a16:creationId xmlns:a16="http://schemas.microsoft.com/office/drawing/2014/main" id="{671AF72D-EBBC-405D-BF88-02F67335125C}"/>
              </a:ext>
            </a:extLst>
          </p:cNvPr>
          <p:cNvSpPr/>
          <p:nvPr/>
        </p:nvSpPr>
        <p:spPr bwMode="gray">
          <a:xfrm>
            <a:off x="2644776" y="3863933"/>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913" name="Rectangle 912">
            <a:extLst>
              <a:ext uri="{FF2B5EF4-FFF2-40B4-BE49-F238E27FC236}">
                <a16:creationId xmlns:a16="http://schemas.microsoft.com/office/drawing/2014/main" id="{8E304E7B-D542-41D6-B325-1822806ED628}"/>
              </a:ext>
            </a:extLst>
          </p:cNvPr>
          <p:cNvSpPr/>
          <p:nvPr/>
        </p:nvSpPr>
        <p:spPr bwMode="gray">
          <a:xfrm>
            <a:off x="2366001" y="5527516"/>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938" name="Rectangle 937">
            <a:extLst>
              <a:ext uri="{FF2B5EF4-FFF2-40B4-BE49-F238E27FC236}">
                <a16:creationId xmlns:a16="http://schemas.microsoft.com/office/drawing/2014/main" id="{65493C74-52A3-4FAF-BF32-5691BFF0A36A}"/>
              </a:ext>
            </a:extLst>
          </p:cNvPr>
          <p:cNvSpPr/>
          <p:nvPr/>
        </p:nvSpPr>
        <p:spPr bwMode="gray">
          <a:xfrm>
            <a:off x="2644776" y="3927696"/>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962" name="Rectangle 961">
            <a:extLst>
              <a:ext uri="{FF2B5EF4-FFF2-40B4-BE49-F238E27FC236}">
                <a16:creationId xmlns:a16="http://schemas.microsoft.com/office/drawing/2014/main" id="{69B7667F-60EA-4AAA-AF8A-1046FB2AB103}"/>
              </a:ext>
            </a:extLst>
          </p:cNvPr>
          <p:cNvSpPr/>
          <p:nvPr/>
        </p:nvSpPr>
        <p:spPr bwMode="gray">
          <a:xfrm>
            <a:off x="4283718" y="2359380"/>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963" name="Rectangle 962">
            <a:extLst>
              <a:ext uri="{FF2B5EF4-FFF2-40B4-BE49-F238E27FC236}">
                <a16:creationId xmlns:a16="http://schemas.microsoft.com/office/drawing/2014/main" id="{30CA28DC-17EF-4433-8F68-9EDA854009CC}"/>
              </a:ext>
            </a:extLst>
          </p:cNvPr>
          <p:cNvSpPr/>
          <p:nvPr/>
        </p:nvSpPr>
        <p:spPr bwMode="gray">
          <a:xfrm>
            <a:off x="4283718" y="2189239"/>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012" name="Rectangle 1011">
            <a:extLst>
              <a:ext uri="{FF2B5EF4-FFF2-40B4-BE49-F238E27FC236}">
                <a16:creationId xmlns:a16="http://schemas.microsoft.com/office/drawing/2014/main" id="{9F1E7662-7ACB-4AFD-8454-7CA5786DF8D9}"/>
              </a:ext>
            </a:extLst>
          </p:cNvPr>
          <p:cNvSpPr/>
          <p:nvPr/>
        </p:nvSpPr>
        <p:spPr bwMode="gray">
          <a:xfrm>
            <a:off x="2939182" y="3541257"/>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025" name="Rectangle 1024">
            <a:extLst>
              <a:ext uri="{FF2B5EF4-FFF2-40B4-BE49-F238E27FC236}">
                <a16:creationId xmlns:a16="http://schemas.microsoft.com/office/drawing/2014/main" id="{4EF73F41-0A3C-4A56-8C0D-C0FE4BDEFDB2}"/>
              </a:ext>
            </a:extLst>
          </p:cNvPr>
          <p:cNvSpPr/>
          <p:nvPr/>
        </p:nvSpPr>
        <p:spPr bwMode="gray">
          <a:xfrm>
            <a:off x="1745071" y="2257676"/>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090" name="Rectangle 1089">
            <a:extLst>
              <a:ext uri="{FF2B5EF4-FFF2-40B4-BE49-F238E27FC236}">
                <a16:creationId xmlns:a16="http://schemas.microsoft.com/office/drawing/2014/main" id="{08A1A263-245D-4DCF-87CF-68DD23B0868A}"/>
              </a:ext>
            </a:extLst>
          </p:cNvPr>
          <p:cNvSpPr/>
          <p:nvPr/>
        </p:nvSpPr>
        <p:spPr bwMode="gray">
          <a:xfrm>
            <a:off x="5109180" y="3371306"/>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21" name="Rectangle 1120">
            <a:extLst>
              <a:ext uri="{FF2B5EF4-FFF2-40B4-BE49-F238E27FC236}">
                <a16:creationId xmlns:a16="http://schemas.microsoft.com/office/drawing/2014/main" id="{D1CF977E-2F10-4138-817F-ABA0A8A3C954}"/>
              </a:ext>
            </a:extLst>
          </p:cNvPr>
          <p:cNvSpPr/>
          <p:nvPr/>
        </p:nvSpPr>
        <p:spPr bwMode="gray">
          <a:xfrm>
            <a:off x="3982548" y="5002519"/>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925" name="Rectangle 924">
            <a:extLst>
              <a:ext uri="{FF2B5EF4-FFF2-40B4-BE49-F238E27FC236}">
                <a16:creationId xmlns:a16="http://schemas.microsoft.com/office/drawing/2014/main" id="{480E468A-FD84-4CA7-9720-B60BFAE19F86}"/>
              </a:ext>
            </a:extLst>
          </p:cNvPr>
          <p:cNvSpPr/>
          <p:nvPr/>
        </p:nvSpPr>
        <p:spPr bwMode="gray">
          <a:xfrm>
            <a:off x="6490955" y="4187179"/>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17" name="Rectangle 1116">
            <a:extLst>
              <a:ext uri="{FF2B5EF4-FFF2-40B4-BE49-F238E27FC236}">
                <a16:creationId xmlns:a16="http://schemas.microsoft.com/office/drawing/2014/main" id="{A5F56D4E-F289-4233-BB5B-8CB8BB3F0D33}"/>
              </a:ext>
            </a:extLst>
          </p:cNvPr>
          <p:cNvSpPr/>
          <p:nvPr/>
        </p:nvSpPr>
        <p:spPr bwMode="gray">
          <a:xfrm>
            <a:off x="6189785" y="5002519"/>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32" name="Rectangle 1131">
            <a:extLst>
              <a:ext uri="{FF2B5EF4-FFF2-40B4-BE49-F238E27FC236}">
                <a16:creationId xmlns:a16="http://schemas.microsoft.com/office/drawing/2014/main" id="{12E29B1D-9442-4DBF-9987-44D5488D7A91}"/>
              </a:ext>
            </a:extLst>
          </p:cNvPr>
          <p:cNvSpPr/>
          <p:nvPr/>
        </p:nvSpPr>
        <p:spPr bwMode="gray">
          <a:xfrm>
            <a:off x="8262575" y="4418840"/>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34" name="Rectangle 1133">
            <a:extLst>
              <a:ext uri="{FF2B5EF4-FFF2-40B4-BE49-F238E27FC236}">
                <a16:creationId xmlns:a16="http://schemas.microsoft.com/office/drawing/2014/main" id="{AC501CCD-FB9C-4B54-A8A9-F687FC4EED8C}"/>
              </a:ext>
            </a:extLst>
          </p:cNvPr>
          <p:cNvSpPr/>
          <p:nvPr/>
        </p:nvSpPr>
        <p:spPr bwMode="gray">
          <a:xfrm>
            <a:off x="8247335" y="3399300"/>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65" name="Rectangle 1164">
            <a:extLst>
              <a:ext uri="{FF2B5EF4-FFF2-40B4-BE49-F238E27FC236}">
                <a16:creationId xmlns:a16="http://schemas.microsoft.com/office/drawing/2014/main" id="{6C9B76F8-971A-40D4-B3C1-DB6E9AEB01FC}"/>
              </a:ext>
            </a:extLst>
          </p:cNvPr>
          <p:cNvSpPr/>
          <p:nvPr/>
        </p:nvSpPr>
        <p:spPr bwMode="gray">
          <a:xfrm>
            <a:off x="8476926" y="3657223"/>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81" name="Rectangle 1180">
            <a:extLst>
              <a:ext uri="{FF2B5EF4-FFF2-40B4-BE49-F238E27FC236}">
                <a16:creationId xmlns:a16="http://schemas.microsoft.com/office/drawing/2014/main" id="{EF9EFA0C-36B4-4E09-A2F0-F43FB0C28958}"/>
              </a:ext>
            </a:extLst>
          </p:cNvPr>
          <p:cNvSpPr/>
          <p:nvPr/>
        </p:nvSpPr>
        <p:spPr bwMode="gray">
          <a:xfrm>
            <a:off x="8214950" y="4418840"/>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202" name="Rectangle 1201">
            <a:extLst>
              <a:ext uri="{FF2B5EF4-FFF2-40B4-BE49-F238E27FC236}">
                <a16:creationId xmlns:a16="http://schemas.microsoft.com/office/drawing/2014/main" id="{C6ACCA44-88C0-468F-A9EB-CAB48B8F362F}"/>
              </a:ext>
            </a:extLst>
          </p:cNvPr>
          <p:cNvSpPr/>
          <p:nvPr/>
        </p:nvSpPr>
        <p:spPr bwMode="gray">
          <a:xfrm>
            <a:off x="9559185" y="4418840"/>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234" name="Rectangle 1233">
            <a:extLst>
              <a:ext uri="{FF2B5EF4-FFF2-40B4-BE49-F238E27FC236}">
                <a16:creationId xmlns:a16="http://schemas.microsoft.com/office/drawing/2014/main" id="{EF16BFE7-76C8-4717-975F-0DEE12D2379A}"/>
              </a:ext>
            </a:extLst>
          </p:cNvPr>
          <p:cNvSpPr/>
          <p:nvPr/>
        </p:nvSpPr>
        <p:spPr bwMode="gray">
          <a:xfrm>
            <a:off x="9968654" y="4916099"/>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239" name="Rectangle 1238">
            <a:extLst>
              <a:ext uri="{FF2B5EF4-FFF2-40B4-BE49-F238E27FC236}">
                <a16:creationId xmlns:a16="http://schemas.microsoft.com/office/drawing/2014/main" id="{3D22D6B9-0298-4175-B421-7368A566B382}"/>
              </a:ext>
            </a:extLst>
          </p:cNvPr>
          <p:cNvSpPr/>
          <p:nvPr/>
        </p:nvSpPr>
        <p:spPr bwMode="gray">
          <a:xfrm>
            <a:off x="10525694" y="4916099"/>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10" name="Rectangle 1109">
            <a:extLst>
              <a:ext uri="{FF2B5EF4-FFF2-40B4-BE49-F238E27FC236}">
                <a16:creationId xmlns:a16="http://schemas.microsoft.com/office/drawing/2014/main" id="{8A99E83C-F4FF-4463-9111-2EC475D00EF9}"/>
              </a:ext>
            </a:extLst>
          </p:cNvPr>
          <p:cNvSpPr/>
          <p:nvPr/>
        </p:nvSpPr>
        <p:spPr bwMode="gray">
          <a:xfrm>
            <a:off x="336550" y="1936345"/>
            <a:ext cx="7009130" cy="1773697"/>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3" name="Title 2">
            <a:extLst>
              <a:ext uri="{FF2B5EF4-FFF2-40B4-BE49-F238E27FC236}">
                <a16:creationId xmlns:a16="http://schemas.microsoft.com/office/drawing/2014/main" id="{61F0C871-CDDB-4135-A6B6-FA9C73B7F77A}"/>
              </a:ext>
            </a:extLst>
          </p:cNvPr>
          <p:cNvSpPr>
            <a:spLocks noGrp="1"/>
          </p:cNvSpPr>
          <p:nvPr>
            <p:ph type="title"/>
          </p:nvPr>
        </p:nvSpPr>
        <p:spPr bwMode="gray"/>
        <p:txBody>
          <a:bodyPr/>
          <a:lstStyle/>
          <a:p>
            <a:r>
              <a:rPr lang="de-DE" dirty="0" err="1"/>
              <a:t>Ethylene</a:t>
            </a:r>
            <a:r>
              <a:rPr lang="de-DE" dirty="0"/>
              <a:t> Oxide </a:t>
            </a:r>
            <a:r>
              <a:rPr lang="de-DE" dirty="0" err="1"/>
              <a:t>production</a:t>
            </a:r>
            <a:r>
              <a:rPr lang="de-DE" dirty="0"/>
              <a:t> (</a:t>
            </a:r>
            <a:r>
              <a:rPr lang="de-DE" dirty="0" err="1"/>
              <a:t>feed</a:t>
            </a:r>
            <a:r>
              <a:rPr lang="de-DE" dirty="0"/>
              <a:t> </a:t>
            </a:r>
            <a:r>
              <a:rPr lang="de-DE" dirty="0" err="1"/>
              <a:t>to</a:t>
            </a:r>
            <a:r>
              <a:rPr lang="de-DE" dirty="0"/>
              <a:t> MEG, PET/Polyester etc.)</a:t>
            </a:r>
          </a:p>
        </p:txBody>
      </p:sp>
      <p:sp>
        <p:nvSpPr>
          <p:cNvPr id="7" name="Subtitle 6">
            <a:extLst>
              <a:ext uri="{FF2B5EF4-FFF2-40B4-BE49-F238E27FC236}">
                <a16:creationId xmlns:a16="http://schemas.microsoft.com/office/drawing/2014/main" id="{4CA70EB7-6B0E-45DA-B424-4BF48EEC481F}"/>
              </a:ext>
            </a:extLst>
          </p:cNvPr>
          <p:cNvSpPr>
            <a:spLocks noGrp="1"/>
          </p:cNvSpPr>
          <p:nvPr>
            <p:ph type="subTitle" idx="13"/>
          </p:nvPr>
        </p:nvSpPr>
        <p:spPr bwMode="gray"/>
        <p:txBody>
          <a:bodyPr/>
          <a:lstStyle/>
          <a:p>
            <a:r>
              <a:rPr lang="de-DE" dirty="0"/>
              <a:t>ASU </a:t>
            </a:r>
            <a:r>
              <a:rPr lang="de-DE" dirty="0" err="1"/>
              <a:t>for</a:t>
            </a:r>
            <a:r>
              <a:rPr lang="de-DE" dirty="0"/>
              <a:t> Oxygen</a:t>
            </a:r>
          </a:p>
        </p:txBody>
      </p:sp>
      <p:sp>
        <p:nvSpPr>
          <p:cNvPr id="2" name="Date Placeholder 1">
            <a:extLst>
              <a:ext uri="{FF2B5EF4-FFF2-40B4-BE49-F238E27FC236}">
                <a16:creationId xmlns:a16="http://schemas.microsoft.com/office/drawing/2014/main" id="{4FE29634-2EEF-4E60-93D7-25CF3B681C68}"/>
              </a:ext>
            </a:extLst>
          </p:cNvPr>
          <p:cNvSpPr>
            <a:spLocks noGrp="1"/>
          </p:cNvSpPr>
          <p:nvPr>
            <p:ph type="dt" sz="half" idx="14"/>
          </p:nvPr>
        </p:nvSpPr>
        <p:spPr bwMode="gray"/>
        <p:txBody>
          <a:bodyPr/>
          <a:lstStyle/>
          <a:p>
            <a:fld id="{1D68B909-804C-4BF4-BA8F-9F342057A2A9}" type="datetime4">
              <a:rPr lang="en-US" smtClean="0"/>
              <a:t>September 8, 2019</a:t>
            </a:fld>
            <a:endParaRPr lang="en-US" dirty="0"/>
          </a:p>
        </p:txBody>
      </p:sp>
      <p:sp>
        <p:nvSpPr>
          <p:cNvPr id="389" name="Footer Placeholder 388">
            <a:extLst>
              <a:ext uri="{FF2B5EF4-FFF2-40B4-BE49-F238E27FC236}">
                <a16:creationId xmlns:a16="http://schemas.microsoft.com/office/drawing/2014/main" id="{8F64BF5A-F102-47F4-9E76-4305668DBA90}"/>
              </a:ext>
            </a:extLst>
          </p:cNvPr>
          <p:cNvSpPr>
            <a:spLocks noGrp="1"/>
          </p:cNvSpPr>
          <p:nvPr>
            <p:ph type="ftr" sz="quarter" idx="15"/>
          </p:nvPr>
        </p:nvSpPr>
        <p:spPr bwMode="gray"/>
        <p:txBody>
          <a:bodyPr/>
          <a:lstStyle/>
          <a:p>
            <a:pPr lvl="8"/>
            <a:endParaRPr lang="en-US" dirty="0"/>
          </a:p>
        </p:txBody>
      </p:sp>
      <p:sp>
        <p:nvSpPr>
          <p:cNvPr id="390" name="Slide Number Placeholder 389">
            <a:extLst>
              <a:ext uri="{FF2B5EF4-FFF2-40B4-BE49-F238E27FC236}">
                <a16:creationId xmlns:a16="http://schemas.microsoft.com/office/drawing/2014/main" id="{C56C1595-A296-4576-9D0E-C83C8DE4F5FD}"/>
              </a:ext>
            </a:extLst>
          </p:cNvPr>
          <p:cNvSpPr>
            <a:spLocks noGrp="1"/>
          </p:cNvSpPr>
          <p:nvPr>
            <p:ph type="sldNum" sz="quarter" idx="16"/>
          </p:nvPr>
        </p:nvSpPr>
        <p:spPr bwMode="gray"/>
        <p:txBody>
          <a:bodyPr/>
          <a:lstStyle/>
          <a:p>
            <a:r>
              <a:rPr lang="en-US"/>
              <a:t>Slide </a:t>
            </a:r>
            <a:fld id="{619F89D8-7AE3-494A-97F3-03D680869632}" type="slidenum">
              <a:rPr lang="en-US" smtClean="0"/>
              <a:pPr/>
              <a:t>53</a:t>
            </a:fld>
            <a:endParaRPr lang="en-US" dirty="0"/>
          </a:p>
        </p:txBody>
      </p:sp>
      <p:grpSp>
        <p:nvGrpSpPr>
          <p:cNvPr id="391" name="Group 390">
            <a:extLst>
              <a:ext uri="{FF2B5EF4-FFF2-40B4-BE49-F238E27FC236}">
                <a16:creationId xmlns:a16="http://schemas.microsoft.com/office/drawing/2014/main" id="{C2B874DF-03B2-4AC9-AE66-46398B0B1F59}"/>
              </a:ext>
            </a:extLst>
          </p:cNvPr>
          <p:cNvGrpSpPr/>
          <p:nvPr/>
        </p:nvGrpSpPr>
        <p:grpSpPr bwMode="gray">
          <a:xfrm>
            <a:off x="2872340" y="4236720"/>
            <a:ext cx="651520" cy="940900"/>
            <a:chOff x="3833047" y="2969533"/>
            <a:chExt cx="967802" cy="2125881"/>
          </a:xfrm>
        </p:grpSpPr>
        <p:sp>
          <p:nvSpPr>
            <p:cNvPr id="392" name="Rectangle: Rounded Corners 391">
              <a:extLst>
                <a:ext uri="{FF2B5EF4-FFF2-40B4-BE49-F238E27FC236}">
                  <a16:creationId xmlns:a16="http://schemas.microsoft.com/office/drawing/2014/main" id="{0CF58F0F-2F57-43AE-B866-C8A9E85587B5}"/>
                </a:ext>
              </a:extLst>
            </p:cNvPr>
            <p:cNvSpPr/>
            <p:nvPr/>
          </p:nvSpPr>
          <p:spPr bwMode="gray">
            <a:xfrm>
              <a:off x="3833047" y="2969533"/>
              <a:ext cx="967802" cy="2125881"/>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900" dirty="0">
                <a:solidFill>
                  <a:schemeClr val="tx1"/>
                </a:solidFill>
              </a:endParaRPr>
            </a:p>
          </p:txBody>
        </p:sp>
        <p:cxnSp>
          <p:nvCxnSpPr>
            <p:cNvPr id="393" name="Straight Connector 392">
              <a:extLst>
                <a:ext uri="{FF2B5EF4-FFF2-40B4-BE49-F238E27FC236}">
                  <a16:creationId xmlns:a16="http://schemas.microsoft.com/office/drawing/2014/main" id="{ADC8D2CF-2F4B-4D99-AFC0-8C329B29A347}"/>
                </a:ext>
              </a:extLst>
            </p:cNvPr>
            <p:cNvCxnSpPr>
              <a:cxnSpLocks/>
            </p:cNvCxnSpPr>
            <p:nvPr/>
          </p:nvCxnSpPr>
          <p:spPr bwMode="gray">
            <a:xfrm flipH="1"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94EA91C7-48D7-4151-A6BC-25724E86DEA7}"/>
                </a:ext>
              </a:extLst>
            </p:cNvPr>
            <p:cNvCxnSpPr>
              <a:cxnSpLocks/>
            </p:cNvCxnSpPr>
            <p:nvPr/>
          </p:nvCxnSpPr>
          <p:spPr bwMode="gray">
            <a:xfrm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95" name="Rectangle 394">
              <a:extLst>
                <a:ext uri="{FF2B5EF4-FFF2-40B4-BE49-F238E27FC236}">
                  <a16:creationId xmlns:a16="http://schemas.microsoft.com/office/drawing/2014/main" id="{DDEED06A-FA18-4E20-AA18-39C46C6B64D7}"/>
                </a:ext>
              </a:extLst>
            </p:cNvPr>
            <p:cNvSpPr/>
            <p:nvPr/>
          </p:nvSpPr>
          <p:spPr bwMode="gray">
            <a:xfrm>
              <a:off x="3833047" y="3414210"/>
              <a:ext cx="967802" cy="1236529"/>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r>
                <a:rPr lang="de-DE" sz="900" dirty="0">
                  <a:solidFill>
                    <a:schemeClr val="tx1"/>
                  </a:solidFill>
                </a:rPr>
                <a:t>Primary reactor</a:t>
              </a:r>
            </a:p>
          </p:txBody>
        </p:sp>
      </p:grpSp>
      <p:grpSp>
        <p:nvGrpSpPr>
          <p:cNvPr id="396" name="Group 395">
            <a:extLst>
              <a:ext uri="{FF2B5EF4-FFF2-40B4-BE49-F238E27FC236}">
                <a16:creationId xmlns:a16="http://schemas.microsoft.com/office/drawing/2014/main" id="{3B0A272E-B2B3-457C-9639-57887A08574E}"/>
              </a:ext>
            </a:extLst>
          </p:cNvPr>
          <p:cNvGrpSpPr/>
          <p:nvPr/>
        </p:nvGrpSpPr>
        <p:grpSpPr bwMode="gray">
          <a:xfrm>
            <a:off x="1437312" y="2409086"/>
            <a:ext cx="651520" cy="940900"/>
            <a:chOff x="3833047" y="2969533"/>
            <a:chExt cx="967802" cy="2125881"/>
          </a:xfrm>
        </p:grpSpPr>
        <p:sp>
          <p:nvSpPr>
            <p:cNvPr id="397" name="Rectangle: Rounded Corners 396">
              <a:extLst>
                <a:ext uri="{FF2B5EF4-FFF2-40B4-BE49-F238E27FC236}">
                  <a16:creationId xmlns:a16="http://schemas.microsoft.com/office/drawing/2014/main" id="{6AEFEA42-B103-43CB-AE27-2BB09E6FD67B}"/>
                </a:ext>
              </a:extLst>
            </p:cNvPr>
            <p:cNvSpPr/>
            <p:nvPr/>
          </p:nvSpPr>
          <p:spPr bwMode="gray">
            <a:xfrm>
              <a:off x="3833047" y="2969533"/>
              <a:ext cx="967802" cy="2125881"/>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900" dirty="0">
                <a:solidFill>
                  <a:schemeClr val="tx1"/>
                </a:solidFill>
              </a:endParaRPr>
            </a:p>
          </p:txBody>
        </p:sp>
        <p:cxnSp>
          <p:nvCxnSpPr>
            <p:cNvPr id="398" name="Straight Connector 397">
              <a:extLst>
                <a:ext uri="{FF2B5EF4-FFF2-40B4-BE49-F238E27FC236}">
                  <a16:creationId xmlns:a16="http://schemas.microsoft.com/office/drawing/2014/main" id="{59033224-069B-4D1E-ACC7-33D91E81D1C5}"/>
                </a:ext>
              </a:extLst>
            </p:cNvPr>
            <p:cNvCxnSpPr>
              <a:cxnSpLocks/>
            </p:cNvCxnSpPr>
            <p:nvPr/>
          </p:nvCxnSpPr>
          <p:spPr bwMode="gray">
            <a:xfrm flipH="1"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9937F65D-DE65-4CCE-8DA8-CDC1E7FBD2A6}"/>
                </a:ext>
              </a:extLst>
            </p:cNvPr>
            <p:cNvCxnSpPr>
              <a:cxnSpLocks/>
            </p:cNvCxnSpPr>
            <p:nvPr/>
          </p:nvCxnSpPr>
          <p:spPr bwMode="gray">
            <a:xfrm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00" name="Rectangle 399">
              <a:extLst>
                <a:ext uri="{FF2B5EF4-FFF2-40B4-BE49-F238E27FC236}">
                  <a16:creationId xmlns:a16="http://schemas.microsoft.com/office/drawing/2014/main" id="{2374B344-522B-4F39-AAD9-F6A6ADB09E7D}"/>
                </a:ext>
              </a:extLst>
            </p:cNvPr>
            <p:cNvSpPr/>
            <p:nvPr/>
          </p:nvSpPr>
          <p:spPr bwMode="gray">
            <a:xfrm>
              <a:off x="3833047" y="3414210"/>
              <a:ext cx="967802" cy="1236529"/>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r>
                <a:rPr lang="de-DE" sz="900" dirty="0">
                  <a:solidFill>
                    <a:schemeClr val="tx1"/>
                  </a:solidFill>
                </a:rPr>
                <a:t>Reactor</a:t>
              </a:r>
            </a:p>
          </p:txBody>
        </p:sp>
      </p:grpSp>
      <p:grpSp>
        <p:nvGrpSpPr>
          <p:cNvPr id="401" name="Group 400">
            <a:extLst>
              <a:ext uri="{FF2B5EF4-FFF2-40B4-BE49-F238E27FC236}">
                <a16:creationId xmlns:a16="http://schemas.microsoft.com/office/drawing/2014/main" id="{A02A50F6-35C3-4924-9416-CFFFEF9477DD}"/>
              </a:ext>
            </a:extLst>
          </p:cNvPr>
          <p:cNvGrpSpPr/>
          <p:nvPr/>
        </p:nvGrpSpPr>
        <p:grpSpPr bwMode="gray">
          <a:xfrm>
            <a:off x="5055861" y="4179394"/>
            <a:ext cx="651520" cy="940900"/>
            <a:chOff x="3833047" y="2969533"/>
            <a:chExt cx="967802" cy="2125881"/>
          </a:xfrm>
        </p:grpSpPr>
        <p:sp>
          <p:nvSpPr>
            <p:cNvPr id="402" name="Rectangle: Rounded Corners 401">
              <a:extLst>
                <a:ext uri="{FF2B5EF4-FFF2-40B4-BE49-F238E27FC236}">
                  <a16:creationId xmlns:a16="http://schemas.microsoft.com/office/drawing/2014/main" id="{28725C39-B146-4586-961E-F9730639EDA4}"/>
                </a:ext>
              </a:extLst>
            </p:cNvPr>
            <p:cNvSpPr/>
            <p:nvPr/>
          </p:nvSpPr>
          <p:spPr bwMode="gray">
            <a:xfrm>
              <a:off x="3833047" y="2969533"/>
              <a:ext cx="967802" cy="2125881"/>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900" dirty="0">
                <a:solidFill>
                  <a:schemeClr val="tx1"/>
                </a:solidFill>
              </a:endParaRPr>
            </a:p>
          </p:txBody>
        </p:sp>
        <p:cxnSp>
          <p:nvCxnSpPr>
            <p:cNvPr id="403" name="Straight Connector 402">
              <a:extLst>
                <a:ext uri="{FF2B5EF4-FFF2-40B4-BE49-F238E27FC236}">
                  <a16:creationId xmlns:a16="http://schemas.microsoft.com/office/drawing/2014/main" id="{0C96776F-5767-443B-9D77-EB4E23A7CB3B}"/>
                </a:ext>
              </a:extLst>
            </p:cNvPr>
            <p:cNvCxnSpPr>
              <a:cxnSpLocks/>
            </p:cNvCxnSpPr>
            <p:nvPr/>
          </p:nvCxnSpPr>
          <p:spPr bwMode="gray">
            <a:xfrm flipH="1"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CF885977-5125-4CC6-88B7-481E49A670AD}"/>
                </a:ext>
              </a:extLst>
            </p:cNvPr>
            <p:cNvCxnSpPr>
              <a:cxnSpLocks/>
            </p:cNvCxnSpPr>
            <p:nvPr/>
          </p:nvCxnSpPr>
          <p:spPr bwMode="gray">
            <a:xfrm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05" name="Rectangle 404">
              <a:extLst>
                <a:ext uri="{FF2B5EF4-FFF2-40B4-BE49-F238E27FC236}">
                  <a16:creationId xmlns:a16="http://schemas.microsoft.com/office/drawing/2014/main" id="{B29CE334-F74A-44F7-83C1-C322B094BAC9}"/>
                </a:ext>
              </a:extLst>
            </p:cNvPr>
            <p:cNvSpPr/>
            <p:nvPr/>
          </p:nvSpPr>
          <p:spPr bwMode="gray">
            <a:xfrm>
              <a:off x="3833047" y="3414210"/>
              <a:ext cx="967802" cy="1236529"/>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r>
                <a:rPr lang="de-DE" sz="900" dirty="0">
                  <a:solidFill>
                    <a:schemeClr val="tx1"/>
                  </a:solidFill>
                </a:rPr>
                <a:t>Secondary reactor</a:t>
              </a:r>
            </a:p>
          </p:txBody>
        </p:sp>
      </p:grpSp>
      <p:grpSp>
        <p:nvGrpSpPr>
          <p:cNvPr id="406" name="Group 405">
            <a:extLst>
              <a:ext uri="{FF2B5EF4-FFF2-40B4-BE49-F238E27FC236}">
                <a16:creationId xmlns:a16="http://schemas.microsoft.com/office/drawing/2014/main" id="{BF10EA25-CFA0-4842-8A53-A4BE78FFF971}"/>
              </a:ext>
            </a:extLst>
          </p:cNvPr>
          <p:cNvGrpSpPr/>
          <p:nvPr/>
        </p:nvGrpSpPr>
        <p:grpSpPr bwMode="gray">
          <a:xfrm flipH="1">
            <a:off x="6446078" y="2351766"/>
            <a:ext cx="637091" cy="1055540"/>
            <a:chOff x="7949893" y="2381817"/>
            <a:chExt cx="683855" cy="1501843"/>
          </a:xfrm>
        </p:grpSpPr>
        <p:sp>
          <p:nvSpPr>
            <p:cNvPr id="407" name="Freeform: Shape 406">
              <a:extLst>
                <a:ext uri="{FF2B5EF4-FFF2-40B4-BE49-F238E27FC236}">
                  <a16:creationId xmlns:a16="http://schemas.microsoft.com/office/drawing/2014/main" id="{A0E94524-DE0B-4B75-91B8-C68BA5494725}"/>
                </a:ext>
              </a:extLst>
            </p:cNvPr>
            <p:cNvSpPr/>
            <p:nvPr/>
          </p:nvSpPr>
          <p:spPr bwMode="gray">
            <a:xfrm>
              <a:off x="7950038" y="2381817"/>
              <a:ext cx="683710" cy="1501843"/>
            </a:xfrm>
            <a:custGeom>
              <a:avLst/>
              <a:gdLst>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30300 h 1501843"/>
                <a:gd name="connsiteX17" fmla="*/ 683710 w 683710"/>
                <a:gd name="connsiteY17" fmla="*/ 1159988 h 1501843"/>
                <a:gd name="connsiteX18" fmla="*/ 341855 w 683710"/>
                <a:gd name="connsiteY18" fmla="*/ 1501843 h 1501843"/>
                <a:gd name="connsiteX19" fmla="*/ 0 w 683710"/>
                <a:gd name="connsiteY19" fmla="*/ 1159988 h 1501843"/>
                <a:gd name="connsiteX20" fmla="*/ 0 w 683710"/>
                <a:gd name="connsiteY20" fmla="*/ 1130300 h 1501843"/>
                <a:gd name="connsiteX21" fmla="*/ 0 w 683710"/>
                <a:gd name="connsiteY21" fmla="*/ 1035456 h 1501843"/>
                <a:gd name="connsiteX22" fmla="*/ 0 w 683710"/>
                <a:gd name="connsiteY22" fmla="*/ 1035455 h 1501843"/>
                <a:gd name="connsiteX23" fmla="*/ 0 w 683710"/>
                <a:gd name="connsiteY23" fmla="*/ 940612 h 1501843"/>
                <a:gd name="connsiteX24" fmla="*/ 0 w 683710"/>
                <a:gd name="connsiteY24" fmla="*/ 940611 h 1501843"/>
                <a:gd name="connsiteX25" fmla="*/ 0 w 683710"/>
                <a:gd name="connsiteY25" fmla="*/ 845767 h 1501843"/>
                <a:gd name="connsiteX26" fmla="*/ 0 w 683710"/>
                <a:gd name="connsiteY26" fmla="*/ 750923 h 1501843"/>
                <a:gd name="connsiteX27" fmla="*/ 0 w 683710"/>
                <a:gd name="connsiteY27" fmla="*/ 750922 h 1501843"/>
                <a:gd name="connsiteX28" fmla="*/ 0 w 683710"/>
                <a:gd name="connsiteY28" fmla="*/ 656079 h 1501843"/>
                <a:gd name="connsiteX29" fmla="*/ 0 w 683710"/>
                <a:gd name="connsiteY29" fmla="*/ 656078 h 1501843"/>
                <a:gd name="connsiteX30" fmla="*/ 0 w 683710"/>
                <a:gd name="connsiteY30" fmla="*/ 561235 h 1501843"/>
                <a:gd name="connsiteX31" fmla="*/ 0 w 683710"/>
                <a:gd name="connsiteY31" fmla="*/ 561234 h 1501843"/>
                <a:gd name="connsiteX32" fmla="*/ 0 w 683710"/>
                <a:gd name="connsiteY32" fmla="*/ 466391 h 1501843"/>
                <a:gd name="connsiteX33" fmla="*/ 0 w 683710"/>
                <a:gd name="connsiteY33" fmla="*/ 466390 h 1501843"/>
                <a:gd name="connsiteX34" fmla="*/ 0 w 683710"/>
                <a:gd name="connsiteY34" fmla="*/ 371546 h 1501843"/>
                <a:gd name="connsiteX35" fmla="*/ 0 w 683710"/>
                <a:gd name="connsiteY35" fmla="*/ 341855 h 1501843"/>
                <a:gd name="connsiteX36" fmla="*/ 341855 w 683710"/>
                <a:gd name="connsiteY36" fmla="*/ 0 h 1501843"/>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30300 h 1501843"/>
                <a:gd name="connsiteX17" fmla="*/ 683710 w 683710"/>
                <a:gd name="connsiteY17" fmla="*/ 1159988 h 1501843"/>
                <a:gd name="connsiteX18" fmla="*/ 341855 w 683710"/>
                <a:gd name="connsiteY18" fmla="*/ 1501843 h 1501843"/>
                <a:gd name="connsiteX19" fmla="*/ 0 w 683710"/>
                <a:gd name="connsiteY19" fmla="*/ 1159988 h 1501843"/>
                <a:gd name="connsiteX20" fmla="*/ 0 w 683710"/>
                <a:gd name="connsiteY20" fmla="*/ 1035456 h 1501843"/>
                <a:gd name="connsiteX21" fmla="*/ 0 w 683710"/>
                <a:gd name="connsiteY21" fmla="*/ 1035455 h 1501843"/>
                <a:gd name="connsiteX22" fmla="*/ 0 w 683710"/>
                <a:gd name="connsiteY22" fmla="*/ 940612 h 1501843"/>
                <a:gd name="connsiteX23" fmla="*/ 0 w 683710"/>
                <a:gd name="connsiteY23" fmla="*/ 940611 h 1501843"/>
                <a:gd name="connsiteX24" fmla="*/ 0 w 683710"/>
                <a:gd name="connsiteY24" fmla="*/ 845767 h 1501843"/>
                <a:gd name="connsiteX25" fmla="*/ 0 w 683710"/>
                <a:gd name="connsiteY25" fmla="*/ 750923 h 1501843"/>
                <a:gd name="connsiteX26" fmla="*/ 0 w 683710"/>
                <a:gd name="connsiteY26" fmla="*/ 750922 h 1501843"/>
                <a:gd name="connsiteX27" fmla="*/ 0 w 683710"/>
                <a:gd name="connsiteY27" fmla="*/ 656079 h 1501843"/>
                <a:gd name="connsiteX28" fmla="*/ 0 w 683710"/>
                <a:gd name="connsiteY28" fmla="*/ 656078 h 1501843"/>
                <a:gd name="connsiteX29" fmla="*/ 0 w 683710"/>
                <a:gd name="connsiteY29" fmla="*/ 561235 h 1501843"/>
                <a:gd name="connsiteX30" fmla="*/ 0 w 683710"/>
                <a:gd name="connsiteY30" fmla="*/ 561234 h 1501843"/>
                <a:gd name="connsiteX31" fmla="*/ 0 w 683710"/>
                <a:gd name="connsiteY31" fmla="*/ 466391 h 1501843"/>
                <a:gd name="connsiteX32" fmla="*/ 0 w 683710"/>
                <a:gd name="connsiteY32" fmla="*/ 466390 h 1501843"/>
                <a:gd name="connsiteX33" fmla="*/ 0 w 683710"/>
                <a:gd name="connsiteY33" fmla="*/ 371546 h 1501843"/>
                <a:gd name="connsiteX34" fmla="*/ 0 w 683710"/>
                <a:gd name="connsiteY34" fmla="*/ 341855 h 1501843"/>
                <a:gd name="connsiteX35" fmla="*/ 341855 w 683710"/>
                <a:gd name="connsiteY35" fmla="*/ 0 h 1501843"/>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59988 h 1501843"/>
                <a:gd name="connsiteX17" fmla="*/ 341855 w 683710"/>
                <a:gd name="connsiteY17" fmla="*/ 1501843 h 1501843"/>
                <a:gd name="connsiteX18" fmla="*/ 0 w 683710"/>
                <a:gd name="connsiteY18" fmla="*/ 1159988 h 1501843"/>
                <a:gd name="connsiteX19" fmla="*/ 0 w 683710"/>
                <a:gd name="connsiteY19" fmla="*/ 1035456 h 1501843"/>
                <a:gd name="connsiteX20" fmla="*/ 0 w 683710"/>
                <a:gd name="connsiteY20" fmla="*/ 1035455 h 1501843"/>
                <a:gd name="connsiteX21" fmla="*/ 0 w 683710"/>
                <a:gd name="connsiteY21" fmla="*/ 940612 h 1501843"/>
                <a:gd name="connsiteX22" fmla="*/ 0 w 683710"/>
                <a:gd name="connsiteY22" fmla="*/ 940611 h 1501843"/>
                <a:gd name="connsiteX23" fmla="*/ 0 w 683710"/>
                <a:gd name="connsiteY23" fmla="*/ 845767 h 1501843"/>
                <a:gd name="connsiteX24" fmla="*/ 0 w 683710"/>
                <a:gd name="connsiteY24" fmla="*/ 750923 h 1501843"/>
                <a:gd name="connsiteX25" fmla="*/ 0 w 683710"/>
                <a:gd name="connsiteY25" fmla="*/ 750922 h 1501843"/>
                <a:gd name="connsiteX26" fmla="*/ 0 w 683710"/>
                <a:gd name="connsiteY26" fmla="*/ 656079 h 1501843"/>
                <a:gd name="connsiteX27" fmla="*/ 0 w 683710"/>
                <a:gd name="connsiteY27" fmla="*/ 656078 h 1501843"/>
                <a:gd name="connsiteX28" fmla="*/ 0 w 683710"/>
                <a:gd name="connsiteY28" fmla="*/ 561235 h 1501843"/>
                <a:gd name="connsiteX29" fmla="*/ 0 w 683710"/>
                <a:gd name="connsiteY29" fmla="*/ 561234 h 1501843"/>
                <a:gd name="connsiteX30" fmla="*/ 0 w 683710"/>
                <a:gd name="connsiteY30" fmla="*/ 466391 h 1501843"/>
                <a:gd name="connsiteX31" fmla="*/ 0 w 683710"/>
                <a:gd name="connsiteY31" fmla="*/ 466390 h 1501843"/>
                <a:gd name="connsiteX32" fmla="*/ 0 w 683710"/>
                <a:gd name="connsiteY32" fmla="*/ 371546 h 1501843"/>
                <a:gd name="connsiteX33" fmla="*/ 0 w 683710"/>
                <a:gd name="connsiteY33" fmla="*/ 341855 h 1501843"/>
                <a:gd name="connsiteX34" fmla="*/ 341855 w 683710"/>
                <a:gd name="connsiteY34" fmla="*/ 0 h 1501843"/>
                <a:gd name="connsiteX0" fmla="*/ 341855 w 683710"/>
                <a:gd name="connsiteY0" fmla="*/ 0 h 1501843"/>
                <a:gd name="connsiteX1" fmla="*/ 683710 w 683710"/>
                <a:gd name="connsiteY1" fmla="*/ 341855 h 1501843"/>
                <a:gd name="connsiteX2" fmla="*/ 683710 w 683710"/>
                <a:gd name="connsiteY2" fmla="*/ 466390 h 1501843"/>
                <a:gd name="connsiteX3" fmla="*/ 683710 w 683710"/>
                <a:gd name="connsiteY3" fmla="*/ 466391 h 1501843"/>
                <a:gd name="connsiteX4" fmla="*/ 683710 w 683710"/>
                <a:gd name="connsiteY4" fmla="*/ 561234 h 1501843"/>
                <a:gd name="connsiteX5" fmla="*/ 683710 w 683710"/>
                <a:gd name="connsiteY5" fmla="*/ 561235 h 1501843"/>
                <a:gd name="connsiteX6" fmla="*/ 683710 w 683710"/>
                <a:gd name="connsiteY6" fmla="*/ 656078 h 1501843"/>
                <a:gd name="connsiteX7" fmla="*/ 683710 w 683710"/>
                <a:gd name="connsiteY7" fmla="*/ 656079 h 1501843"/>
                <a:gd name="connsiteX8" fmla="*/ 683710 w 683710"/>
                <a:gd name="connsiteY8" fmla="*/ 750922 h 1501843"/>
                <a:gd name="connsiteX9" fmla="*/ 683710 w 683710"/>
                <a:gd name="connsiteY9" fmla="*/ 750923 h 1501843"/>
                <a:gd name="connsiteX10" fmla="*/ 683710 w 683710"/>
                <a:gd name="connsiteY10" fmla="*/ 845767 h 1501843"/>
                <a:gd name="connsiteX11" fmla="*/ 683710 w 683710"/>
                <a:gd name="connsiteY11" fmla="*/ 940611 h 1501843"/>
                <a:gd name="connsiteX12" fmla="*/ 683710 w 683710"/>
                <a:gd name="connsiteY12" fmla="*/ 940612 h 1501843"/>
                <a:gd name="connsiteX13" fmla="*/ 683710 w 683710"/>
                <a:gd name="connsiteY13" fmla="*/ 1035455 h 1501843"/>
                <a:gd name="connsiteX14" fmla="*/ 683710 w 683710"/>
                <a:gd name="connsiteY14" fmla="*/ 1035456 h 1501843"/>
                <a:gd name="connsiteX15" fmla="*/ 683710 w 683710"/>
                <a:gd name="connsiteY15" fmla="*/ 1159988 h 1501843"/>
                <a:gd name="connsiteX16" fmla="*/ 341855 w 683710"/>
                <a:gd name="connsiteY16" fmla="*/ 1501843 h 1501843"/>
                <a:gd name="connsiteX17" fmla="*/ 0 w 683710"/>
                <a:gd name="connsiteY17" fmla="*/ 1159988 h 1501843"/>
                <a:gd name="connsiteX18" fmla="*/ 0 w 683710"/>
                <a:gd name="connsiteY18" fmla="*/ 1035456 h 1501843"/>
                <a:gd name="connsiteX19" fmla="*/ 0 w 683710"/>
                <a:gd name="connsiteY19" fmla="*/ 1035455 h 1501843"/>
                <a:gd name="connsiteX20" fmla="*/ 0 w 683710"/>
                <a:gd name="connsiteY20" fmla="*/ 940612 h 1501843"/>
                <a:gd name="connsiteX21" fmla="*/ 0 w 683710"/>
                <a:gd name="connsiteY21" fmla="*/ 940611 h 1501843"/>
                <a:gd name="connsiteX22" fmla="*/ 0 w 683710"/>
                <a:gd name="connsiteY22" fmla="*/ 845767 h 1501843"/>
                <a:gd name="connsiteX23" fmla="*/ 0 w 683710"/>
                <a:gd name="connsiteY23" fmla="*/ 750923 h 1501843"/>
                <a:gd name="connsiteX24" fmla="*/ 0 w 683710"/>
                <a:gd name="connsiteY24" fmla="*/ 750922 h 1501843"/>
                <a:gd name="connsiteX25" fmla="*/ 0 w 683710"/>
                <a:gd name="connsiteY25" fmla="*/ 656079 h 1501843"/>
                <a:gd name="connsiteX26" fmla="*/ 0 w 683710"/>
                <a:gd name="connsiteY26" fmla="*/ 656078 h 1501843"/>
                <a:gd name="connsiteX27" fmla="*/ 0 w 683710"/>
                <a:gd name="connsiteY27" fmla="*/ 561235 h 1501843"/>
                <a:gd name="connsiteX28" fmla="*/ 0 w 683710"/>
                <a:gd name="connsiteY28" fmla="*/ 561234 h 1501843"/>
                <a:gd name="connsiteX29" fmla="*/ 0 w 683710"/>
                <a:gd name="connsiteY29" fmla="*/ 466391 h 1501843"/>
                <a:gd name="connsiteX30" fmla="*/ 0 w 683710"/>
                <a:gd name="connsiteY30" fmla="*/ 466390 h 1501843"/>
                <a:gd name="connsiteX31" fmla="*/ 0 w 683710"/>
                <a:gd name="connsiteY31" fmla="*/ 371546 h 1501843"/>
                <a:gd name="connsiteX32" fmla="*/ 0 w 683710"/>
                <a:gd name="connsiteY32" fmla="*/ 341855 h 1501843"/>
                <a:gd name="connsiteX33" fmla="*/ 341855 w 683710"/>
                <a:gd name="connsiteY33" fmla="*/ 0 h 1501843"/>
                <a:gd name="connsiteX0" fmla="*/ 341855 w 683710"/>
                <a:gd name="connsiteY0" fmla="*/ 0 h 1501843"/>
                <a:gd name="connsiteX1" fmla="*/ 683710 w 683710"/>
                <a:gd name="connsiteY1" fmla="*/ 341855 h 1501843"/>
                <a:gd name="connsiteX2" fmla="*/ 683710 w 683710"/>
                <a:gd name="connsiteY2" fmla="*/ 466390 h 1501843"/>
                <a:gd name="connsiteX3" fmla="*/ 683710 w 683710"/>
                <a:gd name="connsiteY3" fmla="*/ 466391 h 1501843"/>
                <a:gd name="connsiteX4" fmla="*/ 683710 w 683710"/>
                <a:gd name="connsiteY4" fmla="*/ 561234 h 1501843"/>
                <a:gd name="connsiteX5" fmla="*/ 683710 w 683710"/>
                <a:gd name="connsiteY5" fmla="*/ 561235 h 1501843"/>
                <a:gd name="connsiteX6" fmla="*/ 683710 w 683710"/>
                <a:gd name="connsiteY6" fmla="*/ 656078 h 1501843"/>
                <a:gd name="connsiteX7" fmla="*/ 683710 w 683710"/>
                <a:gd name="connsiteY7" fmla="*/ 656079 h 1501843"/>
                <a:gd name="connsiteX8" fmla="*/ 683710 w 683710"/>
                <a:gd name="connsiteY8" fmla="*/ 750922 h 1501843"/>
                <a:gd name="connsiteX9" fmla="*/ 683710 w 683710"/>
                <a:gd name="connsiteY9" fmla="*/ 750923 h 1501843"/>
                <a:gd name="connsiteX10" fmla="*/ 683710 w 683710"/>
                <a:gd name="connsiteY10" fmla="*/ 845767 h 1501843"/>
                <a:gd name="connsiteX11" fmla="*/ 683710 w 683710"/>
                <a:gd name="connsiteY11" fmla="*/ 940611 h 1501843"/>
                <a:gd name="connsiteX12" fmla="*/ 683710 w 683710"/>
                <a:gd name="connsiteY12" fmla="*/ 940612 h 1501843"/>
                <a:gd name="connsiteX13" fmla="*/ 683710 w 683710"/>
                <a:gd name="connsiteY13" fmla="*/ 1035455 h 1501843"/>
                <a:gd name="connsiteX14" fmla="*/ 683710 w 683710"/>
                <a:gd name="connsiteY14" fmla="*/ 1035456 h 1501843"/>
                <a:gd name="connsiteX15" fmla="*/ 683710 w 683710"/>
                <a:gd name="connsiteY15" fmla="*/ 1159988 h 1501843"/>
                <a:gd name="connsiteX16" fmla="*/ 341855 w 683710"/>
                <a:gd name="connsiteY16" fmla="*/ 1501843 h 1501843"/>
                <a:gd name="connsiteX17" fmla="*/ 0 w 683710"/>
                <a:gd name="connsiteY17" fmla="*/ 1159988 h 1501843"/>
                <a:gd name="connsiteX18" fmla="*/ 0 w 683710"/>
                <a:gd name="connsiteY18" fmla="*/ 1035456 h 1501843"/>
                <a:gd name="connsiteX19" fmla="*/ 0 w 683710"/>
                <a:gd name="connsiteY19" fmla="*/ 1035455 h 1501843"/>
                <a:gd name="connsiteX20" fmla="*/ 0 w 683710"/>
                <a:gd name="connsiteY20" fmla="*/ 940612 h 1501843"/>
                <a:gd name="connsiteX21" fmla="*/ 0 w 683710"/>
                <a:gd name="connsiteY21" fmla="*/ 940611 h 1501843"/>
                <a:gd name="connsiteX22" fmla="*/ 0 w 683710"/>
                <a:gd name="connsiteY22" fmla="*/ 845767 h 1501843"/>
                <a:gd name="connsiteX23" fmla="*/ 0 w 683710"/>
                <a:gd name="connsiteY23" fmla="*/ 750923 h 1501843"/>
                <a:gd name="connsiteX24" fmla="*/ 0 w 683710"/>
                <a:gd name="connsiteY24" fmla="*/ 750922 h 1501843"/>
                <a:gd name="connsiteX25" fmla="*/ 0 w 683710"/>
                <a:gd name="connsiteY25" fmla="*/ 656079 h 1501843"/>
                <a:gd name="connsiteX26" fmla="*/ 0 w 683710"/>
                <a:gd name="connsiteY26" fmla="*/ 656078 h 1501843"/>
                <a:gd name="connsiteX27" fmla="*/ 0 w 683710"/>
                <a:gd name="connsiteY27" fmla="*/ 561235 h 1501843"/>
                <a:gd name="connsiteX28" fmla="*/ 0 w 683710"/>
                <a:gd name="connsiteY28" fmla="*/ 561234 h 1501843"/>
                <a:gd name="connsiteX29" fmla="*/ 0 w 683710"/>
                <a:gd name="connsiteY29" fmla="*/ 466391 h 1501843"/>
                <a:gd name="connsiteX30" fmla="*/ 0 w 683710"/>
                <a:gd name="connsiteY30" fmla="*/ 466390 h 1501843"/>
                <a:gd name="connsiteX31" fmla="*/ 0 w 683710"/>
                <a:gd name="connsiteY31" fmla="*/ 341855 h 1501843"/>
                <a:gd name="connsiteX32" fmla="*/ 341855 w 683710"/>
                <a:gd name="connsiteY32" fmla="*/ 0 h 150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83710" h="1501843">
                  <a:moveTo>
                    <a:pt x="341855" y="0"/>
                  </a:moveTo>
                  <a:cubicBezTo>
                    <a:pt x="530656" y="0"/>
                    <a:pt x="683710" y="153054"/>
                    <a:pt x="683710" y="341855"/>
                  </a:cubicBezTo>
                  <a:lnTo>
                    <a:pt x="683710" y="466390"/>
                  </a:lnTo>
                  <a:lnTo>
                    <a:pt x="683710" y="466391"/>
                  </a:lnTo>
                  <a:lnTo>
                    <a:pt x="683710" y="561234"/>
                  </a:lnTo>
                  <a:lnTo>
                    <a:pt x="683710" y="561235"/>
                  </a:lnTo>
                  <a:lnTo>
                    <a:pt x="683710" y="656078"/>
                  </a:lnTo>
                  <a:lnTo>
                    <a:pt x="683710" y="656079"/>
                  </a:lnTo>
                  <a:lnTo>
                    <a:pt x="683710" y="750922"/>
                  </a:lnTo>
                  <a:lnTo>
                    <a:pt x="683710" y="750923"/>
                  </a:lnTo>
                  <a:lnTo>
                    <a:pt x="683710" y="845767"/>
                  </a:lnTo>
                  <a:lnTo>
                    <a:pt x="683710" y="940611"/>
                  </a:lnTo>
                  <a:lnTo>
                    <a:pt x="683710" y="940612"/>
                  </a:lnTo>
                  <a:lnTo>
                    <a:pt x="683710" y="1035455"/>
                  </a:lnTo>
                  <a:lnTo>
                    <a:pt x="683710" y="1035456"/>
                  </a:lnTo>
                  <a:lnTo>
                    <a:pt x="683710" y="1159988"/>
                  </a:lnTo>
                  <a:cubicBezTo>
                    <a:pt x="683710" y="1348789"/>
                    <a:pt x="530656" y="1501843"/>
                    <a:pt x="341855" y="1501843"/>
                  </a:cubicBezTo>
                  <a:cubicBezTo>
                    <a:pt x="153054" y="1501843"/>
                    <a:pt x="0" y="1348789"/>
                    <a:pt x="0" y="1159988"/>
                  </a:cubicBezTo>
                  <a:lnTo>
                    <a:pt x="0" y="1035456"/>
                  </a:lnTo>
                  <a:lnTo>
                    <a:pt x="0" y="1035455"/>
                  </a:lnTo>
                  <a:lnTo>
                    <a:pt x="0" y="940612"/>
                  </a:lnTo>
                  <a:lnTo>
                    <a:pt x="0" y="940611"/>
                  </a:lnTo>
                  <a:lnTo>
                    <a:pt x="0" y="845767"/>
                  </a:lnTo>
                  <a:lnTo>
                    <a:pt x="0" y="750923"/>
                  </a:lnTo>
                  <a:lnTo>
                    <a:pt x="0" y="750922"/>
                  </a:lnTo>
                  <a:lnTo>
                    <a:pt x="0" y="656079"/>
                  </a:lnTo>
                  <a:lnTo>
                    <a:pt x="0" y="656078"/>
                  </a:lnTo>
                  <a:lnTo>
                    <a:pt x="0" y="561235"/>
                  </a:lnTo>
                  <a:lnTo>
                    <a:pt x="0" y="561234"/>
                  </a:lnTo>
                  <a:lnTo>
                    <a:pt x="0" y="466391"/>
                  </a:lnTo>
                  <a:lnTo>
                    <a:pt x="0" y="466390"/>
                  </a:lnTo>
                  <a:lnTo>
                    <a:pt x="0" y="341855"/>
                  </a:lnTo>
                  <a:cubicBezTo>
                    <a:pt x="0" y="153054"/>
                    <a:pt x="153054" y="0"/>
                    <a:pt x="341855" y="0"/>
                  </a:cubicBez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endParaRPr lang="de-DE" sz="900" dirty="0">
                <a:solidFill>
                  <a:schemeClr val="tx1"/>
                </a:solidFill>
              </a:endParaRPr>
            </a:p>
          </p:txBody>
        </p:sp>
        <p:sp>
          <p:nvSpPr>
            <p:cNvPr id="408" name="Rectangle 407">
              <a:extLst>
                <a:ext uri="{FF2B5EF4-FFF2-40B4-BE49-F238E27FC236}">
                  <a16:creationId xmlns:a16="http://schemas.microsoft.com/office/drawing/2014/main" id="{8B4B9738-A4C3-4D2D-955A-2CC21693FB52}"/>
                </a:ext>
              </a:extLst>
            </p:cNvPr>
            <p:cNvSpPr/>
            <p:nvPr/>
          </p:nvSpPr>
          <p:spPr bwMode="gray">
            <a:xfrm>
              <a:off x="7949893" y="2742337"/>
              <a:ext cx="683855" cy="780803"/>
            </a:xfrm>
            <a:prstGeom prst="rect">
              <a:avLst/>
            </a:prstGeom>
            <a:pattFill prst="openDmnd">
              <a:fgClr>
                <a:schemeClr val="accent3"/>
              </a:fgClr>
              <a:bgClr>
                <a:schemeClr val="bg1"/>
              </a:bgClr>
            </a:patt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Stripping </a:t>
              </a:r>
              <a:br>
                <a:rPr lang="de-DE" sz="900" dirty="0">
                  <a:solidFill>
                    <a:schemeClr val="tx1"/>
                  </a:solidFill>
                </a:rPr>
              </a:br>
              <a:r>
                <a:rPr lang="de-DE" sz="900" dirty="0">
                  <a:solidFill>
                    <a:schemeClr val="tx1"/>
                  </a:solidFill>
                </a:rPr>
                <a:t>column</a:t>
              </a:r>
            </a:p>
          </p:txBody>
        </p:sp>
      </p:grpSp>
      <p:sp>
        <p:nvSpPr>
          <p:cNvPr id="440" name="Freeform: Shape 439">
            <a:extLst>
              <a:ext uri="{FF2B5EF4-FFF2-40B4-BE49-F238E27FC236}">
                <a16:creationId xmlns:a16="http://schemas.microsoft.com/office/drawing/2014/main" id="{88B5D7E4-BB57-4BA6-9B51-E1B39D080012}"/>
              </a:ext>
            </a:extLst>
          </p:cNvPr>
          <p:cNvSpPr/>
          <p:nvPr/>
        </p:nvSpPr>
        <p:spPr bwMode="gray">
          <a:xfrm>
            <a:off x="3982548" y="2351760"/>
            <a:ext cx="638340" cy="1055478"/>
          </a:xfrm>
          <a:custGeom>
            <a:avLst/>
            <a:gdLst>
              <a:gd name="connsiteX0" fmla="*/ 0 w 835200"/>
              <a:gd name="connsiteY0" fmla="*/ 0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417600 w 835200"/>
              <a:gd name="connsiteY1" fmla="*/ 0 h 1973608"/>
              <a:gd name="connsiteX2" fmla="*/ 626400 w 835200"/>
              <a:gd name="connsiteY2" fmla="*/ 0 h 1973608"/>
              <a:gd name="connsiteX3" fmla="*/ 835200 w 835200"/>
              <a:gd name="connsiteY3" fmla="*/ 0 h 1973608"/>
              <a:gd name="connsiteX4" fmla="*/ 835200 w 835200"/>
              <a:gd name="connsiteY4" fmla="*/ 197361 h 1973608"/>
              <a:gd name="connsiteX5" fmla="*/ 835200 w 835200"/>
              <a:gd name="connsiteY5" fmla="*/ 197362 h 1973608"/>
              <a:gd name="connsiteX6" fmla="*/ 835200 w 835200"/>
              <a:gd name="connsiteY6" fmla="*/ 394723 h 1973608"/>
              <a:gd name="connsiteX7" fmla="*/ 835200 w 835200"/>
              <a:gd name="connsiteY7" fmla="*/ 592083 h 1973608"/>
              <a:gd name="connsiteX8" fmla="*/ 835200 w 835200"/>
              <a:gd name="connsiteY8" fmla="*/ 592085 h 1973608"/>
              <a:gd name="connsiteX9" fmla="*/ 835200 w 835200"/>
              <a:gd name="connsiteY9" fmla="*/ 789444 h 1973608"/>
              <a:gd name="connsiteX10" fmla="*/ 835200 w 835200"/>
              <a:gd name="connsiteY10" fmla="*/ 789445 h 1973608"/>
              <a:gd name="connsiteX11" fmla="*/ 835200 w 835200"/>
              <a:gd name="connsiteY11" fmla="*/ 986804 h 1973608"/>
              <a:gd name="connsiteX12" fmla="*/ 835200 w 835200"/>
              <a:gd name="connsiteY12" fmla="*/ 986806 h 1973608"/>
              <a:gd name="connsiteX13" fmla="*/ 835200 w 835200"/>
              <a:gd name="connsiteY13" fmla="*/ 1184165 h 1973608"/>
              <a:gd name="connsiteX14" fmla="*/ 835200 w 835200"/>
              <a:gd name="connsiteY14" fmla="*/ 1184166 h 1973608"/>
              <a:gd name="connsiteX15" fmla="*/ 835200 w 835200"/>
              <a:gd name="connsiteY15" fmla="*/ 1381525 h 1973608"/>
              <a:gd name="connsiteX16" fmla="*/ 835200 w 835200"/>
              <a:gd name="connsiteY16" fmla="*/ 1381527 h 1973608"/>
              <a:gd name="connsiteX17" fmla="*/ 835200 w 835200"/>
              <a:gd name="connsiteY17" fmla="*/ 1578886 h 1973608"/>
              <a:gd name="connsiteX18" fmla="*/ 835200 w 835200"/>
              <a:gd name="connsiteY18" fmla="*/ 1578887 h 1973608"/>
              <a:gd name="connsiteX19" fmla="*/ 835200 w 835200"/>
              <a:gd name="connsiteY19" fmla="*/ 1776246 h 1973608"/>
              <a:gd name="connsiteX20" fmla="*/ 835200 w 835200"/>
              <a:gd name="connsiteY20" fmla="*/ 1776248 h 1973608"/>
              <a:gd name="connsiteX21" fmla="*/ 835200 w 835200"/>
              <a:gd name="connsiteY21" fmla="*/ 1973608 h 1973608"/>
              <a:gd name="connsiteX22" fmla="*/ 626400 w 835200"/>
              <a:gd name="connsiteY22" fmla="*/ 1973608 h 1973608"/>
              <a:gd name="connsiteX23" fmla="*/ 417600 w 835200"/>
              <a:gd name="connsiteY23" fmla="*/ 1973608 h 1973608"/>
              <a:gd name="connsiteX24" fmla="*/ 208800 w 835200"/>
              <a:gd name="connsiteY24" fmla="*/ 1973608 h 1973608"/>
              <a:gd name="connsiteX25" fmla="*/ 0 w 835200"/>
              <a:gd name="connsiteY25" fmla="*/ 1973608 h 1973608"/>
              <a:gd name="connsiteX26" fmla="*/ 0 w 835200"/>
              <a:gd name="connsiteY26" fmla="*/ 1776248 h 1973608"/>
              <a:gd name="connsiteX27" fmla="*/ 0 w 835200"/>
              <a:gd name="connsiteY27" fmla="*/ 1776246 h 1973608"/>
              <a:gd name="connsiteX28" fmla="*/ 0 w 835200"/>
              <a:gd name="connsiteY28" fmla="*/ 1578887 h 1973608"/>
              <a:gd name="connsiteX29" fmla="*/ 0 w 835200"/>
              <a:gd name="connsiteY29" fmla="*/ 1578886 h 1973608"/>
              <a:gd name="connsiteX30" fmla="*/ 0 w 835200"/>
              <a:gd name="connsiteY30" fmla="*/ 1381527 h 1973608"/>
              <a:gd name="connsiteX31" fmla="*/ 0 w 835200"/>
              <a:gd name="connsiteY31" fmla="*/ 1381525 h 1973608"/>
              <a:gd name="connsiteX32" fmla="*/ 0 w 835200"/>
              <a:gd name="connsiteY32" fmla="*/ 1184166 h 1973608"/>
              <a:gd name="connsiteX33" fmla="*/ 0 w 835200"/>
              <a:gd name="connsiteY33" fmla="*/ 1184165 h 1973608"/>
              <a:gd name="connsiteX34" fmla="*/ 0 w 835200"/>
              <a:gd name="connsiteY34" fmla="*/ 986806 h 1973608"/>
              <a:gd name="connsiteX35" fmla="*/ 0 w 835200"/>
              <a:gd name="connsiteY35" fmla="*/ 986804 h 1973608"/>
              <a:gd name="connsiteX36" fmla="*/ 0 w 835200"/>
              <a:gd name="connsiteY36" fmla="*/ 789445 h 1973608"/>
              <a:gd name="connsiteX37" fmla="*/ 0 w 835200"/>
              <a:gd name="connsiteY37" fmla="*/ 789444 h 1973608"/>
              <a:gd name="connsiteX38" fmla="*/ 0 w 835200"/>
              <a:gd name="connsiteY38" fmla="*/ 592085 h 1973608"/>
              <a:gd name="connsiteX39" fmla="*/ 0 w 835200"/>
              <a:gd name="connsiteY39" fmla="*/ 592083 h 1973608"/>
              <a:gd name="connsiteX40" fmla="*/ 0 w 835200"/>
              <a:gd name="connsiteY40" fmla="*/ 394723 h 1973608"/>
              <a:gd name="connsiteX41" fmla="*/ 0 w 835200"/>
              <a:gd name="connsiteY41" fmla="*/ 197362 h 1973608"/>
              <a:gd name="connsiteX42" fmla="*/ 0 w 835200"/>
              <a:gd name="connsiteY42" fmla="*/ 197361 h 1973608"/>
              <a:gd name="connsiteX0" fmla="*/ 0 w 835200"/>
              <a:gd name="connsiteY0" fmla="*/ 197361 h 1973608"/>
              <a:gd name="connsiteX1" fmla="*/ 417600 w 835200"/>
              <a:gd name="connsiteY1" fmla="*/ 0 h 1973608"/>
              <a:gd name="connsiteX2" fmla="*/ 835200 w 835200"/>
              <a:gd name="connsiteY2" fmla="*/ 0 h 1973608"/>
              <a:gd name="connsiteX3" fmla="*/ 835200 w 835200"/>
              <a:gd name="connsiteY3" fmla="*/ 197361 h 1973608"/>
              <a:gd name="connsiteX4" fmla="*/ 835200 w 835200"/>
              <a:gd name="connsiteY4" fmla="*/ 197362 h 1973608"/>
              <a:gd name="connsiteX5" fmla="*/ 835200 w 835200"/>
              <a:gd name="connsiteY5" fmla="*/ 394723 h 1973608"/>
              <a:gd name="connsiteX6" fmla="*/ 835200 w 835200"/>
              <a:gd name="connsiteY6" fmla="*/ 592083 h 1973608"/>
              <a:gd name="connsiteX7" fmla="*/ 835200 w 835200"/>
              <a:gd name="connsiteY7" fmla="*/ 592085 h 1973608"/>
              <a:gd name="connsiteX8" fmla="*/ 835200 w 835200"/>
              <a:gd name="connsiteY8" fmla="*/ 789444 h 1973608"/>
              <a:gd name="connsiteX9" fmla="*/ 835200 w 835200"/>
              <a:gd name="connsiteY9" fmla="*/ 789445 h 1973608"/>
              <a:gd name="connsiteX10" fmla="*/ 835200 w 835200"/>
              <a:gd name="connsiteY10" fmla="*/ 986804 h 1973608"/>
              <a:gd name="connsiteX11" fmla="*/ 835200 w 835200"/>
              <a:gd name="connsiteY11" fmla="*/ 986806 h 1973608"/>
              <a:gd name="connsiteX12" fmla="*/ 835200 w 835200"/>
              <a:gd name="connsiteY12" fmla="*/ 1184165 h 1973608"/>
              <a:gd name="connsiteX13" fmla="*/ 835200 w 835200"/>
              <a:gd name="connsiteY13" fmla="*/ 1184166 h 1973608"/>
              <a:gd name="connsiteX14" fmla="*/ 835200 w 835200"/>
              <a:gd name="connsiteY14" fmla="*/ 1381525 h 1973608"/>
              <a:gd name="connsiteX15" fmla="*/ 835200 w 835200"/>
              <a:gd name="connsiteY15" fmla="*/ 1381527 h 1973608"/>
              <a:gd name="connsiteX16" fmla="*/ 835200 w 835200"/>
              <a:gd name="connsiteY16" fmla="*/ 1578886 h 1973608"/>
              <a:gd name="connsiteX17" fmla="*/ 835200 w 835200"/>
              <a:gd name="connsiteY17" fmla="*/ 1578887 h 1973608"/>
              <a:gd name="connsiteX18" fmla="*/ 835200 w 835200"/>
              <a:gd name="connsiteY18" fmla="*/ 1776246 h 1973608"/>
              <a:gd name="connsiteX19" fmla="*/ 835200 w 835200"/>
              <a:gd name="connsiteY19" fmla="*/ 1776248 h 1973608"/>
              <a:gd name="connsiteX20" fmla="*/ 835200 w 835200"/>
              <a:gd name="connsiteY20" fmla="*/ 1973608 h 1973608"/>
              <a:gd name="connsiteX21" fmla="*/ 626400 w 835200"/>
              <a:gd name="connsiteY21" fmla="*/ 1973608 h 1973608"/>
              <a:gd name="connsiteX22" fmla="*/ 417600 w 835200"/>
              <a:gd name="connsiteY22" fmla="*/ 1973608 h 1973608"/>
              <a:gd name="connsiteX23" fmla="*/ 208800 w 835200"/>
              <a:gd name="connsiteY23" fmla="*/ 1973608 h 1973608"/>
              <a:gd name="connsiteX24" fmla="*/ 0 w 835200"/>
              <a:gd name="connsiteY24" fmla="*/ 1973608 h 1973608"/>
              <a:gd name="connsiteX25" fmla="*/ 0 w 835200"/>
              <a:gd name="connsiteY25" fmla="*/ 1776248 h 1973608"/>
              <a:gd name="connsiteX26" fmla="*/ 0 w 835200"/>
              <a:gd name="connsiteY26" fmla="*/ 1776246 h 1973608"/>
              <a:gd name="connsiteX27" fmla="*/ 0 w 835200"/>
              <a:gd name="connsiteY27" fmla="*/ 1578887 h 1973608"/>
              <a:gd name="connsiteX28" fmla="*/ 0 w 835200"/>
              <a:gd name="connsiteY28" fmla="*/ 1578886 h 1973608"/>
              <a:gd name="connsiteX29" fmla="*/ 0 w 835200"/>
              <a:gd name="connsiteY29" fmla="*/ 1381527 h 1973608"/>
              <a:gd name="connsiteX30" fmla="*/ 0 w 835200"/>
              <a:gd name="connsiteY30" fmla="*/ 1381525 h 1973608"/>
              <a:gd name="connsiteX31" fmla="*/ 0 w 835200"/>
              <a:gd name="connsiteY31" fmla="*/ 1184166 h 1973608"/>
              <a:gd name="connsiteX32" fmla="*/ 0 w 835200"/>
              <a:gd name="connsiteY32" fmla="*/ 1184165 h 1973608"/>
              <a:gd name="connsiteX33" fmla="*/ 0 w 835200"/>
              <a:gd name="connsiteY33" fmla="*/ 986806 h 1973608"/>
              <a:gd name="connsiteX34" fmla="*/ 0 w 835200"/>
              <a:gd name="connsiteY34" fmla="*/ 986804 h 1973608"/>
              <a:gd name="connsiteX35" fmla="*/ 0 w 835200"/>
              <a:gd name="connsiteY35" fmla="*/ 789445 h 1973608"/>
              <a:gd name="connsiteX36" fmla="*/ 0 w 835200"/>
              <a:gd name="connsiteY36" fmla="*/ 789444 h 1973608"/>
              <a:gd name="connsiteX37" fmla="*/ 0 w 835200"/>
              <a:gd name="connsiteY37" fmla="*/ 592085 h 1973608"/>
              <a:gd name="connsiteX38" fmla="*/ 0 w 835200"/>
              <a:gd name="connsiteY38" fmla="*/ 592083 h 1973608"/>
              <a:gd name="connsiteX39" fmla="*/ 0 w 835200"/>
              <a:gd name="connsiteY39" fmla="*/ 394723 h 1973608"/>
              <a:gd name="connsiteX40" fmla="*/ 0 w 835200"/>
              <a:gd name="connsiteY40" fmla="*/ 197362 h 1973608"/>
              <a:gd name="connsiteX41" fmla="*/ 0 w 835200"/>
              <a:gd name="connsiteY41"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973608 h 1973608"/>
              <a:gd name="connsiteX24" fmla="*/ 0 w 835200"/>
              <a:gd name="connsiteY24" fmla="*/ 1776248 h 1973608"/>
              <a:gd name="connsiteX25" fmla="*/ 0 w 835200"/>
              <a:gd name="connsiteY25" fmla="*/ 1776246 h 1973608"/>
              <a:gd name="connsiteX26" fmla="*/ 0 w 835200"/>
              <a:gd name="connsiteY26" fmla="*/ 1578887 h 1973608"/>
              <a:gd name="connsiteX27" fmla="*/ 0 w 835200"/>
              <a:gd name="connsiteY27" fmla="*/ 1578886 h 1973608"/>
              <a:gd name="connsiteX28" fmla="*/ 0 w 835200"/>
              <a:gd name="connsiteY28" fmla="*/ 1381527 h 1973608"/>
              <a:gd name="connsiteX29" fmla="*/ 0 w 835200"/>
              <a:gd name="connsiteY29" fmla="*/ 1381525 h 1973608"/>
              <a:gd name="connsiteX30" fmla="*/ 0 w 835200"/>
              <a:gd name="connsiteY30" fmla="*/ 1184166 h 1973608"/>
              <a:gd name="connsiteX31" fmla="*/ 0 w 835200"/>
              <a:gd name="connsiteY31" fmla="*/ 1184165 h 1973608"/>
              <a:gd name="connsiteX32" fmla="*/ 0 w 835200"/>
              <a:gd name="connsiteY32" fmla="*/ 986806 h 1973608"/>
              <a:gd name="connsiteX33" fmla="*/ 0 w 835200"/>
              <a:gd name="connsiteY33" fmla="*/ 986804 h 1973608"/>
              <a:gd name="connsiteX34" fmla="*/ 0 w 835200"/>
              <a:gd name="connsiteY34" fmla="*/ 789445 h 1973608"/>
              <a:gd name="connsiteX35" fmla="*/ 0 w 835200"/>
              <a:gd name="connsiteY35" fmla="*/ 789444 h 1973608"/>
              <a:gd name="connsiteX36" fmla="*/ 0 w 835200"/>
              <a:gd name="connsiteY36" fmla="*/ 592085 h 1973608"/>
              <a:gd name="connsiteX37" fmla="*/ 0 w 835200"/>
              <a:gd name="connsiteY37" fmla="*/ 592083 h 1973608"/>
              <a:gd name="connsiteX38" fmla="*/ 0 w 835200"/>
              <a:gd name="connsiteY38" fmla="*/ 394723 h 1973608"/>
              <a:gd name="connsiteX39" fmla="*/ 0 w 835200"/>
              <a:gd name="connsiteY39" fmla="*/ 197362 h 1973608"/>
              <a:gd name="connsiteX40" fmla="*/ 0 w 835200"/>
              <a:gd name="connsiteY40"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776248 h 1973608"/>
              <a:gd name="connsiteX24" fmla="*/ 0 w 835200"/>
              <a:gd name="connsiteY24" fmla="*/ 1776246 h 1973608"/>
              <a:gd name="connsiteX25" fmla="*/ 0 w 835200"/>
              <a:gd name="connsiteY25" fmla="*/ 1578887 h 1973608"/>
              <a:gd name="connsiteX26" fmla="*/ 0 w 835200"/>
              <a:gd name="connsiteY26" fmla="*/ 1578886 h 1973608"/>
              <a:gd name="connsiteX27" fmla="*/ 0 w 835200"/>
              <a:gd name="connsiteY27" fmla="*/ 1381527 h 1973608"/>
              <a:gd name="connsiteX28" fmla="*/ 0 w 835200"/>
              <a:gd name="connsiteY28" fmla="*/ 1381525 h 1973608"/>
              <a:gd name="connsiteX29" fmla="*/ 0 w 835200"/>
              <a:gd name="connsiteY29" fmla="*/ 1184166 h 1973608"/>
              <a:gd name="connsiteX30" fmla="*/ 0 w 835200"/>
              <a:gd name="connsiteY30" fmla="*/ 1184165 h 1973608"/>
              <a:gd name="connsiteX31" fmla="*/ 0 w 835200"/>
              <a:gd name="connsiteY31" fmla="*/ 986806 h 1973608"/>
              <a:gd name="connsiteX32" fmla="*/ 0 w 835200"/>
              <a:gd name="connsiteY32" fmla="*/ 986804 h 1973608"/>
              <a:gd name="connsiteX33" fmla="*/ 0 w 835200"/>
              <a:gd name="connsiteY33" fmla="*/ 789445 h 1973608"/>
              <a:gd name="connsiteX34" fmla="*/ 0 w 835200"/>
              <a:gd name="connsiteY34" fmla="*/ 789444 h 1973608"/>
              <a:gd name="connsiteX35" fmla="*/ 0 w 835200"/>
              <a:gd name="connsiteY35" fmla="*/ 592085 h 1973608"/>
              <a:gd name="connsiteX36" fmla="*/ 0 w 835200"/>
              <a:gd name="connsiteY36" fmla="*/ 592083 h 1973608"/>
              <a:gd name="connsiteX37" fmla="*/ 0 w 835200"/>
              <a:gd name="connsiteY37" fmla="*/ 394723 h 1973608"/>
              <a:gd name="connsiteX38" fmla="*/ 0 w 835200"/>
              <a:gd name="connsiteY38" fmla="*/ 197362 h 1973608"/>
              <a:gd name="connsiteX39" fmla="*/ 0 w 835200"/>
              <a:gd name="connsiteY39"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0 w 835200"/>
              <a:gd name="connsiteY22" fmla="*/ 1776248 h 1973608"/>
              <a:gd name="connsiteX23" fmla="*/ 0 w 835200"/>
              <a:gd name="connsiteY23" fmla="*/ 1776246 h 1973608"/>
              <a:gd name="connsiteX24" fmla="*/ 0 w 835200"/>
              <a:gd name="connsiteY24" fmla="*/ 1578887 h 1973608"/>
              <a:gd name="connsiteX25" fmla="*/ 0 w 835200"/>
              <a:gd name="connsiteY25" fmla="*/ 1578886 h 1973608"/>
              <a:gd name="connsiteX26" fmla="*/ 0 w 835200"/>
              <a:gd name="connsiteY26" fmla="*/ 1381527 h 1973608"/>
              <a:gd name="connsiteX27" fmla="*/ 0 w 835200"/>
              <a:gd name="connsiteY27" fmla="*/ 1381525 h 1973608"/>
              <a:gd name="connsiteX28" fmla="*/ 0 w 835200"/>
              <a:gd name="connsiteY28" fmla="*/ 1184166 h 1973608"/>
              <a:gd name="connsiteX29" fmla="*/ 0 w 835200"/>
              <a:gd name="connsiteY29" fmla="*/ 1184165 h 1973608"/>
              <a:gd name="connsiteX30" fmla="*/ 0 w 835200"/>
              <a:gd name="connsiteY30" fmla="*/ 986806 h 1973608"/>
              <a:gd name="connsiteX31" fmla="*/ 0 w 835200"/>
              <a:gd name="connsiteY31" fmla="*/ 986804 h 1973608"/>
              <a:gd name="connsiteX32" fmla="*/ 0 w 835200"/>
              <a:gd name="connsiteY32" fmla="*/ 789445 h 1973608"/>
              <a:gd name="connsiteX33" fmla="*/ 0 w 835200"/>
              <a:gd name="connsiteY33" fmla="*/ 789444 h 1973608"/>
              <a:gd name="connsiteX34" fmla="*/ 0 w 835200"/>
              <a:gd name="connsiteY34" fmla="*/ 592085 h 1973608"/>
              <a:gd name="connsiteX35" fmla="*/ 0 w 835200"/>
              <a:gd name="connsiteY35" fmla="*/ 592083 h 1973608"/>
              <a:gd name="connsiteX36" fmla="*/ 0 w 835200"/>
              <a:gd name="connsiteY36" fmla="*/ 394723 h 1973608"/>
              <a:gd name="connsiteX37" fmla="*/ 0 w 835200"/>
              <a:gd name="connsiteY37" fmla="*/ 197362 h 1973608"/>
              <a:gd name="connsiteX38" fmla="*/ 0 w 835200"/>
              <a:gd name="connsiteY38"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417600 w 835200"/>
              <a:gd name="connsiteY20" fmla="*/ 1973608 h 1973608"/>
              <a:gd name="connsiteX21" fmla="*/ 0 w 835200"/>
              <a:gd name="connsiteY21" fmla="*/ 1776248 h 1973608"/>
              <a:gd name="connsiteX22" fmla="*/ 0 w 835200"/>
              <a:gd name="connsiteY22" fmla="*/ 1776246 h 1973608"/>
              <a:gd name="connsiteX23" fmla="*/ 0 w 835200"/>
              <a:gd name="connsiteY23" fmla="*/ 1578887 h 1973608"/>
              <a:gd name="connsiteX24" fmla="*/ 0 w 835200"/>
              <a:gd name="connsiteY24" fmla="*/ 1578886 h 1973608"/>
              <a:gd name="connsiteX25" fmla="*/ 0 w 835200"/>
              <a:gd name="connsiteY25" fmla="*/ 1381527 h 1973608"/>
              <a:gd name="connsiteX26" fmla="*/ 0 w 835200"/>
              <a:gd name="connsiteY26" fmla="*/ 1381525 h 1973608"/>
              <a:gd name="connsiteX27" fmla="*/ 0 w 835200"/>
              <a:gd name="connsiteY27" fmla="*/ 1184166 h 1973608"/>
              <a:gd name="connsiteX28" fmla="*/ 0 w 835200"/>
              <a:gd name="connsiteY28" fmla="*/ 1184165 h 1973608"/>
              <a:gd name="connsiteX29" fmla="*/ 0 w 835200"/>
              <a:gd name="connsiteY29" fmla="*/ 986806 h 1973608"/>
              <a:gd name="connsiteX30" fmla="*/ 0 w 835200"/>
              <a:gd name="connsiteY30" fmla="*/ 986804 h 1973608"/>
              <a:gd name="connsiteX31" fmla="*/ 0 w 835200"/>
              <a:gd name="connsiteY31" fmla="*/ 789445 h 1973608"/>
              <a:gd name="connsiteX32" fmla="*/ 0 w 835200"/>
              <a:gd name="connsiteY32" fmla="*/ 789444 h 1973608"/>
              <a:gd name="connsiteX33" fmla="*/ 0 w 835200"/>
              <a:gd name="connsiteY33" fmla="*/ 592085 h 1973608"/>
              <a:gd name="connsiteX34" fmla="*/ 0 w 835200"/>
              <a:gd name="connsiteY34" fmla="*/ 592083 h 1973608"/>
              <a:gd name="connsiteX35" fmla="*/ 0 w 835200"/>
              <a:gd name="connsiteY35" fmla="*/ 394723 h 1973608"/>
              <a:gd name="connsiteX36" fmla="*/ 0 w 835200"/>
              <a:gd name="connsiteY36" fmla="*/ 197362 h 1973608"/>
              <a:gd name="connsiteX37" fmla="*/ 0 w 835200"/>
              <a:gd name="connsiteY37"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417600 w 835200"/>
              <a:gd name="connsiteY19" fmla="*/ 1973608 h 1973608"/>
              <a:gd name="connsiteX20" fmla="*/ 0 w 835200"/>
              <a:gd name="connsiteY20" fmla="*/ 1776248 h 1973608"/>
              <a:gd name="connsiteX21" fmla="*/ 0 w 835200"/>
              <a:gd name="connsiteY21" fmla="*/ 1776246 h 1973608"/>
              <a:gd name="connsiteX22" fmla="*/ 0 w 835200"/>
              <a:gd name="connsiteY22" fmla="*/ 1578887 h 1973608"/>
              <a:gd name="connsiteX23" fmla="*/ 0 w 835200"/>
              <a:gd name="connsiteY23" fmla="*/ 1578886 h 1973608"/>
              <a:gd name="connsiteX24" fmla="*/ 0 w 835200"/>
              <a:gd name="connsiteY24" fmla="*/ 1381527 h 1973608"/>
              <a:gd name="connsiteX25" fmla="*/ 0 w 835200"/>
              <a:gd name="connsiteY25" fmla="*/ 1381525 h 1973608"/>
              <a:gd name="connsiteX26" fmla="*/ 0 w 835200"/>
              <a:gd name="connsiteY26" fmla="*/ 1184166 h 1973608"/>
              <a:gd name="connsiteX27" fmla="*/ 0 w 835200"/>
              <a:gd name="connsiteY27" fmla="*/ 1184165 h 1973608"/>
              <a:gd name="connsiteX28" fmla="*/ 0 w 835200"/>
              <a:gd name="connsiteY28" fmla="*/ 986806 h 1973608"/>
              <a:gd name="connsiteX29" fmla="*/ 0 w 835200"/>
              <a:gd name="connsiteY29" fmla="*/ 986804 h 1973608"/>
              <a:gd name="connsiteX30" fmla="*/ 0 w 835200"/>
              <a:gd name="connsiteY30" fmla="*/ 789445 h 1973608"/>
              <a:gd name="connsiteX31" fmla="*/ 0 w 835200"/>
              <a:gd name="connsiteY31" fmla="*/ 789444 h 1973608"/>
              <a:gd name="connsiteX32" fmla="*/ 0 w 835200"/>
              <a:gd name="connsiteY32" fmla="*/ 592085 h 1973608"/>
              <a:gd name="connsiteX33" fmla="*/ 0 w 835200"/>
              <a:gd name="connsiteY33" fmla="*/ 592083 h 1973608"/>
              <a:gd name="connsiteX34" fmla="*/ 0 w 835200"/>
              <a:gd name="connsiteY34" fmla="*/ 394723 h 1973608"/>
              <a:gd name="connsiteX35" fmla="*/ 0 w 835200"/>
              <a:gd name="connsiteY35" fmla="*/ 197362 h 1973608"/>
              <a:gd name="connsiteX36" fmla="*/ 0 w 835200"/>
              <a:gd name="connsiteY36" fmla="*/ 197361 h 197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35200" h="1973608">
                <a:moveTo>
                  <a:pt x="0" y="197361"/>
                </a:moveTo>
                <a:lnTo>
                  <a:pt x="417600" y="0"/>
                </a:lnTo>
                <a:lnTo>
                  <a:pt x="835200" y="197361"/>
                </a:lnTo>
                <a:lnTo>
                  <a:pt x="835200" y="197362"/>
                </a:lnTo>
                <a:lnTo>
                  <a:pt x="835200" y="394723"/>
                </a:lnTo>
                <a:lnTo>
                  <a:pt x="835200" y="592083"/>
                </a:lnTo>
                <a:lnTo>
                  <a:pt x="835200" y="592085"/>
                </a:lnTo>
                <a:lnTo>
                  <a:pt x="835200" y="789444"/>
                </a:lnTo>
                <a:lnTo>
                  <a:pt x="835200" y="789445"/>
                </a:lnTo>
                <a:lnTo>
                  <a:pt x="835200" y="986804"/>
                </a:lnTo>
                <a:lnTo>
                  <a:pt x="835200" y="986806"/>
                </a:lnTo>
                <a:lnTo>
                  <a:pt x="835200" y="1184165"/>
                </a:lnTo>
                <a:lnTo>
                  <a:pt x="835200" y="1184166"/>
                </a:lnTo>
                <a:lnTo>
                  <a:pt x="835200" y="1381525"/>
                </a:lnTo>
                <a:lnTo>
                  <a:pt x="835200" y="1381527"/>
                </a:lnTo>
                <a:lnTo>
                  <a:pt x="835200" y="1578886"/>
                </a:lnTo>
                <a:lnTo>
                  <a:pt x="835200" y="1578887"/>
                </a:lnTo>
                <a:lnTo>
                  <a:pt x="835200" y="1776246"/>
                </a:lnTo>
                <a:lnTo>
                  <a:pt x="835200" y="1776248"/>
                </a:lnTo>
                <a:lnTo>
                  <a:pt x="417600" y="1973608"/>
                </a:lnTo>
                <a:lnTo>
                  <a:pt x="0" y="1776248"/>
                </a:lnTo>
                <a:lnTo>
                  <a:pt x="0" y="1776246"/>
                </a:lnTo>
                <a:lnTo>
                  <a:pt x="0" y="1578887"/>
                </a:lnTo>
                <a:lnTo>
                  <a:pt x="0" y="1578886"/>
                </a:lnTo>
                <a:lnTo>
                  <a:pt x="0" y="1381527"/>
                </a:lnTo>
                <a:lnTo>
                  <a:pt x="0" y="1381525"/>
                </a:lnTo>
                <a:lnTo>
                  <a:pt x="0" y="1184166"/>
                </a:lnTo>
                <a:lnTo>
                  <a:pt x="0" y="1184165"/>
                </a:lnTo>
                <a:lnTo>
                  <a:pt x="0" y="986806"/>
                </a:lnTo>
                <a:lnTo>
                  <a:pt x="0" y="986804"/>
                </a:lnTo>
                <a:lnTo>
                  <a:pt x="0" y="789445"/>
                </a:lnTo>
                <a:lnTo>
                  <a:pt x="0" y="789444"/>
                </a:lnTo>
                <a:lnTo>
                  <a:pt x="0" y="592085"/>
                </a:lnTo>
                <a:lnTo>
                  <a:pt x="0" y="592083"/>
                </a:lnTo>
                <a:lnTo>
                  <a:pt x="0" y="394723"/>
                </a:lnTo>
                <a:lnTo>
                  <a:pt x="0" y="197362"/>
                </a:lnTo>
                <a:lnTo>
                  <a:pt x="0" y="197361"/>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spcBef>
                <a:spcPts val="300"/>
              </a:spcBef>
              <a:buClr>
                <a:srgbClr val="002897"/>
              </a:buClr>
              <a:buSzPct val="70000"/>
            </a:pPr>
            <a:r>
              <a:rPr lang="de-DE" sz="900" dirty="0">
                <a:solidFill>
                  <a:schemeClr val="tx1"/>
                </a:solidFill>
              </a:rPr>
              <a:t>Scrubber</a:t>
            </a:r>
          </a:p>
        </p:txBody>
      </p:sp>
      <p:sp>
        <p:nvSpPr>
          <p:cNvPr id="441" name="Freeform: Shape 440">
            <a:extLst>
              <a:ext uri="{FF2B5EF4-FFF2-40B4-BE49-F238E27FC236}">
                <a16:creationId xmlns:a16="http://schemas.microsoft.com/office/drawing/2014/main" id="{78319550-2E28-4A8A-A399-86FC25813792}"/>
              </a:ext>
            </a:extLst>
          </p:cNvPr>
          <p:cNvSpPr/>
          <p:nvPr/>
        </p:nvSpPr>
        <p:spPr bwMode="gray">
          <a:xfrm>
            <a:off x="3982548" y="4179394"/>
            <a:ext cx="638340" cy="1055478"/>
          </a:xfrm>
          <a:custGeom>
            <a:avLst/>
            <a:gdLst>
              <a:gd name="connsiteX0" fmla="*/ 0 w 835200"/>
              <a:gd name="connsiteY0" fmla="*/ 0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417600 w 835200"/>
              <a:gd name="connsiteY1" fmla="*/ 0 h 1973608"/>
              <a:gd name="connsiteX2" fmla="*/ 626400 w 835200"/>
              <a:gd name="connsiteY2" fmla="*/ 0 h 1973608"/>
              <a:gd name="connsiteX3" fmla="*/ 835200 w 835200"/>
              <a:gd name="connsiteY3" fmla="*/ 0 h 1973608"/>
              <a:gd name="connsiteX4" fmla="*/ 835200 w 835200"/>
              <a:gd name="connsiteY4" fmla="*/ 197361 h 1973608"/>
              <a:gd name="connsiteX5" fmla="*/ 835200 w 835200"/>
              <a:gd name="connsiteY5" fmla="*/ 197362 h 1973608"/>
              <a:gd name="connsiteX6" fmla="*/ 835200 w 835200"/>
              <a:gd name="connsiteY6" fmla="*/ 394723 h 1973608"/>
              <a:gd name="connsiteX7" fmla="*/ 835200 w 835200"/>
              <a:gd name="connsiteY7" fmla="*/ 592083 h 1973608"/>
              <a:gd name="connsiteX8" fmla="*/ 835200 w 835200"/>
              <a:gd name="connsiteY8" fmla="*/ 592085 h 1973608"/>
              <a:gd name="connsiteX9" fmla="*/ 835200 w 835200"/>
              <a:gd name="connsiteY9" fmla="*/ 789444 h 1973608"/>
              <a:gd name="connsiteX10" fmla="*/ 835200 w 835200"/>
              <a:gd name="connsiteY10" fmla="*/ 789445 h 1973608"/>
              <a:gd name="connsiteX11" fmla="*/ 835200 w 835200"/>
              <a:gd name="connsiteY11" fmla="*/ 986804 h 1973608"/>
              <a:gd name="connsiteX12" fmla="*/ 835200 w 835200"/>
              <a:gd name="connsiteY12" fmla="*/ 986806 h 1973608"/>
              <a:gd name="connsiteX13" fmla="*/ 835200 w 835200"/>
              <a:gd name="connsiteY13" fmla="*/ 1184165 h 1973608"/>
              <a:gd name="connsiteX14" fmla="*/ 835200 w 835200"/>
              <a:gd name="connsiteY14" fmla="*/ 1184166 h 1973608"/>
              <a:gd name="connsiteX15" fmla="*/ 835200 w 835200"/>
              <a:gd name="connsiteY15" fmla="*/ 1381525 h 1973608"/>
              <a:gd name="connsiteX16" fmla="*/ 835200 w 835200"/>
              <a:gd name="connsiteY16" fmla="*/ 1381527 h 1973608"/>
              <a:gd name="connsiteX17" fmla="*/ 835200 w 835200"/>
              <a:gd name="connsiteY17" fmla="*/ 1578886 h 1973608"/>
              <a:gd name="connsiteX18" fmla="*/ 835200 w 835200"/>
              <a:gd name="connsiteY18" fmla="*/ 1578887 h 1973608"/>
              <a:gd name="connsiteX19" fmla="*/ 835200 w 835200"/>
              <a:gd name="connsiteY19" fmla="*/ 1776246 h 1973608"/>
              <a:gd name="connsiteX20" fmla="*/ 835200 w 835200"/>
              <a:gd name="connsiteY20" fmla="*/ 1776248 h 1973608"/>
              <a:gd name="connsiteX21" fmla="*/ 835200 w 835200"/>
              <a:gd name="connsiteY21" fmla="*/ 1973608 h 1973608"/>
              <a:gd name="connsiteX22" fmla="*/ 626400 w 835200"/>
              <a:gd name="connsiteY22" fmla="*/ 1973608 h 1973608"/>
              <a:gd name="connsiteX23" fmla="*/ 417600 w 835200"/>
              <a:gd name="connsiteY23" fmla="*/ 1973608 h 1973608"/>
              <a:gd name="connsiteX24" fmla="*/ 208800 w 835200"/>
              <a:gd name="connsiteY24" fmla="*/ 1973608 h 1973608"/>
              <a:gd name="connsiteX25" fmla="*/ 0 w 835200"/>
              <a:gd name="connsiteY25" fmla="*/ 1973608 h 1973608"/>
              <a:gd name="connsiteX26" fmla="*/ 0 w 835200"/>
              <a:gd name="connsiteY26" fmla="*/ 1776248 h 1973608"/>
              <a:gd name="connsiteX27" fmla="*/ 0 w 835200"/>
              <a:gd name="connsiteY27" fmla="*/ 1776246 h 1973608"/>
              <a:gd name="connsiteX28" fmla="*/ 0 w 835200"/>
              <a:gd name="connsiteY28" fmla="*/ 1578887 h 1973608"/>
              <a:gd name="connsiteX29" fmla="*/ 0 w 835200"/>
              <a:gd name="connsiteY29" fmla="*/ 1578886 h 1973608"/>
              <a:gd name="connsiteX30" fmla="*/ 0 w 835200"/>
              <a:gd name="connsiteY30" fmla="*/ 1381527 h 1973608"/>
              <a:gd name="connsiteX31" fmla="*/ 0 w 835200"/>
              <a:gd name="connsiteY31" fmla="*/ 1381525 h 1973608"/>
              <a:gd name="connsiteX32" fmla="*/ 0 w 835200"/>
              <a:gd name="connsiteY32" fmla="*/ 1184166 h 1973608"/>
              <a:gd name="connsiteX33" fmla="*/ 0 w 835200"/>
              <a:gd name="connsiteY33" fmla="*/ 1184165 h 1973608"/>
              <a:gd name="connsiteX34" fmla="*/ 0 w 835200"/>
              <a:gd name="connsiteY34" fmla="*/ 986806 h 1973608"/>
              <a:gd name="connsiteX35" fmla="*/ 0 w 835200"/>
              <a:gd name="connsiteY35" fmla="*/ 986804 h 1973608"/>
              <a:gd name="connsiteX36" fmla="*/ 0 w 835200"/>
              <a:gd name="connsiteY36" fmla="*/ 789445 h 1973608"/>
              <a:gd name="connsiteX37" fmla="*/ 0 w 835200"/>
              <a:gd name="connsiteY37" fmla="*/ 789444 h 1973608"/>
              <a:gd name="connsiteX38" fmla="*/ 0 w 835200"/>
              <a:gd name="connsiteY38" fmla="*/ 592085 h 1973608"/>
              <a:gd name="connsiteX39" fmla="*/ 0 w 835200"/>
              <a:gd name="connsiteY39" fmla="*/ 592083 h 1973608"/>
              <a:gd name="connsiteX40" fmla="*/ 0 w 835200"/>
              <a:gd name="connsiteY40" fmla="*/ 394723 h 1973608"/>
              <a:gd name="connsiteX41" fmla="*/ 0 w 835200"/>
              <a:gd name="connsiteY41" fmla="*/ 197362 h 1973608"/>
              <a:gd name="connsiteX42" fmla="*/ 0 w 835200"/>
              <a:gd name="connsiteY42" fmla="*/ 197361 h 1973608"/>
              <a:gd name="connsiteX0" fmla="*/ 0 w 835200"/>
              <a:gd name="connsiteY0" fmla="*/ 197361 h 1973608"/>
              <a:gd name="connsiteX1" fmla="*/ 417600 w 835200"/>
              <a:gd name="connsiteY1" fmla="*/ 0 h 1973608"/>
              <a:gd name="connsiteX2" fmla="*/ 835200 w 835200"/>
              <a:gd name="connsiteY2" fmla="*/ 0 h 1973608"/>
              <a:gd name="connsiteX3" fmla="*/ 835200 w 835200"/>
              <a:gd name="connsiteY3" fmla="*/ 197361 h 1973608"/>
              <a:gd name="connsiteX4" fmla="*/ 835200 w 835200"/>
              <a:gd name="connsiteY4" fmla="*/ 197362 h 1973608"/>
              <a:gd name="connsiteX5" fmla="*/ 835200 w 835200"/>
              <a:gd name="connsiteY5" fmla="*/ 394723 h 1973608"/>
              <a:gd name="connsiteX6" fmla="*/ 835200 w 835200"/>
              <a:gd name="connsiteY6" fmla="*/ 592083 h 1973608"/>
              <a:gd name="connsiteX7" fmla="*/ 835200 w 835200"/>
              <a:gd name="connsiteY7" fmla="*/ 592085 h 1973608"/>
              <a:gd name="connsiteX8" fmla="*/ 835200 w 835200"/>
              <a:gd name="connsiteY8" fmla="*/ 789444 h 1973608"/>
              <a:gd name="connsiteX9" fmla="*/ 835200 w 835200"/>
              <a:gd name="connsiteY9" fmla="*/ 789445 h 1973608"/>
              <a:gd name="connsiteX10" fmla="*/ 835200 w 835200"/>
              <a:gd name="connsiteY10" fmla="*/ 986804 h 1973608"/>
              <a:gd name="connsiteX11" fmla="*/ 835200 w 835200"/>
              <a:gd name="connsiteY11" fmla="*/ 986806 h 1973608"/>
              <a:gd name="connsiteX12" fmla="*/ 835200 w 835200"/>
              <a:gd name="connsiteY12" fmla="*/ 1184165 h 1973608"/>
              <a:gd name="connsiteX13" fmla="*/ 835200 w 835200"/>
              <a:gd name="connsiteY13" fmla="*/ 1184166 h 1973608"/>
              <a:gd name="connsiteX14" fmla="*/ 835200 w 835200"/>
              <a:gd name="connsiteY14" fmla="*/ 1381525 h 1973608"/>
              <a:gd name="connsiteX15" fmla="*/ 835200 w 835200"/>
              <a:gd name="connsiteY15" fmla="*/ 1381527 h 1973608"/>
              <a:gd name="connsiteX16" fmla="*/ 835200 w 835200"/>
              <a:gd name="connsiteY16" fmla="*/ 1578886 h 1973608"/>
              <a:gd name="connsiteX17" fmla="*/ 835200 w 835200"/>
              <a:gd name="connsiteY17" fmla="*/ 1578887 h 1973608"/>
              <a:gd name="connsiteX18" fmla="*/ 835200 w 835200"/>
              <a:gd name="connsiteY18" fmla="*/ 1776246 h 1973608"/>
              <a:gd name="connsiteX19" fmla="*/ 835200 w 835200"/>
              <a:gd name="connsiteY19" fmla="*/ 1776248 h 1973608"/>
              <a:gd name="connsiteX20" fmla="*/ 835200 w 835200"/>
              <a:gd name="connsiteY20" fmla="*/ 1973608 h 1973608"/>
              <a:gd name="connsiteX21" fmla="*/ 626400 w 835200"/>
              <a:gd name="connsiteY21" fmla="*/ 1973608 h 1973608"/>
              <a:gd name="connsiteX22" fmla="*/ 417600 w 835200"/>
              <a:gd name="connsiteY22" fmla="*/ 1973608 h 1973608"/>
              <a:gd name="connsiteX23" fmla="*/ 208800 w 835200"/>
              <a:gd name="connsiteY23" fmla="*/ 1973608 h 1973608"/>
              <a:gd name="connsiteX24" fmla="*/ 0 w 835200"/>
              <a:gd name="connsiteY24" fmla="*/ 1973608 h 1973608"/>
              <a:gd name="connsiteX25" fmla="*/ 0 w 835200"/>
              <a:gd name="connsiteY25" fmla="*/ 1776248 h 1973608"/>
              <a:gd name="connsiteX26" fmla="*/ 0 w 835200"/>
              <a:gd name="connsiteY26" fmla="*/ 1776246 h 1973608"/>
              <a:gd name="connsiteX27" fmla="*/ 0 w 835200"/>
              <a:gd name="connsiteY27" fmla="*/ 1578887 h 1973608"/>
              <a:gd name="connsiteX28" fmla="*/ 0 w 835200"/>
              <a:gd name="connsiteY28" fmla="*/ 1578886 h 1973608"/>
              <a:gd name="connsiteX29" fmla="*/ 0 w 835200"/>
              <a:gd name="connsiteY29" fmla="*/ 1381527 h 1973608"/>
              <a:gd name="connsiteX30" fmla="*/ 0 w 835200"/>
              <a:gd name="connsiteY30" fmla="*/ 1381525 h 1973608"/>
              <a:gd name="connsiteX31" fmla="*/ 0 w 835200"/>
              <a:gd name="connsiteY31" fmla="*/ 1184166 h 1973608"/>
              <a:gd name="connsiteX32" fmla="*/ 0 w 835200"/>
              <a:gd name="connsiteY32" fmla="*/ 1184165 h 1973608"/>
              <a:gd name="connsiteX33" fmla="*/ 0 w 835200"/>
              <a:gd name="connsiteY33" fmla="*/ 986806 h 1973608"/>
              <a:gd name="connsiteX34" fmla="*/ 0 w 835200"/>
              <a:gd name="connsiteY34" fmla="*/ 986804 h 1973608"/>
              <a:gd name="connsiteX35" fmla="*/ 0 w 835200"/>
              <a:gd name="connsiteY35" fmla="*/ 789445 h 1973608"/>
              <a:gd name="connsiteX36" fmla="*/ 0 w 835200"/>
              <a:gd name="connsiteY36" fmla="*/ 789444 h 1973608"/>
              <a:gd name="connsiteX37" fmla="*/ 0 w 835200"/>
              <a:gd name="connsiteY37" fmla="*/ 592085 h 1973608"/>
              <a:gd name="connsiteX38" fmla="*/ 0 w 835200"/>
              <a:gd name="connsiteY38" fmla="*/ 592083 h 1973608"/>
              <a:gd name="connsiteX39" fmla="*/ 0 w 835200"/>
              <a:gd name="connsiteY39" fmla="*/ 394723 h 1973608"/>
              <a:gd name="connsiteX40" fmla="*/ 0 w 835200"/>
              <a:gd name="connsiteY40" fmla="*/ 197362 h 1973608"/>
              <a:gd name="connsiteX41" fmla="*/ 0 w 835200"/>
              <a:gd name="connsiteY41"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973608 h 1973608"/>
              <a:gd name="connsiteX24" fmla="*/ 0 w 835200"/>
              <a:gd name="connsiteY24" fmla="*/ 1776248 h 1973608"/>
              <a:gd name="connsiteX25" fmla="*/ 0 w 835200"/>
              <a:gd name="connsiteY25" fmla="*/ 1776246 h 1973608"/>
              <a:gd name="connsiteX26" fmla="*/ 0 w 835200"/>
              <a:gd name="connsiteY26" fmla="*/ 1578887 h 1973608"/>
              <a:gd name="connsiteX27" fmla="*/ 0 w 835200"/>
              <a:gd name="connsiteY27" fmla="*/ 1578886 h 1973608"/>
              <a:gd name="connsiteX28" fmla="*/ 0 w 835200"/>
              <a:gd name="connsiteY28" fmla="*/ 1381527 h 1973608"/>
              <a:gd name="connsiteX29" fmla="*/ 0 w 835200"/>
              <a:gd name="connsiteY29" fmla="*/ 1381525 h 1973608"/>
              <a:gd name="connsiteX30" fmla="*/ 0 w 835200"/>
              <a:gd name="connsiteY30" fmla="*/ 1184166 h 1973608"/>
              <a:gd name="connsiteX31" fmla="*/ 0 w 835200"/>
              <a:gd name="connsiteY31" fmla="*/ 1184165 h 1973608"/>
              <a:gd name="connsiteX32" fmla="*/ 0 w 835200"/>
              <a:gd name="connsiteY32" fmla="*/ 986806 h 1973608"/>
              <a:gd name="connsiteX33" fmla="*/ 0 w 835200"/>
              <a:gd name="connsiteY33" fmla="*/ 986804 h 1973608"/>
              <a:gd name="connsiteX34" fmla="*/ 0 w 835200"/>
              <a:gd name="connsiteY34" fmla="*/ 789445 h 1973608"/>
              <a:gd name="connsiteX35" fmla="*/ 0 w 835200"/>
              <a:gd name="connsiteY35" fmla="*/ 789444 h 1973608"/>
              <a:gd name="connsiteX36" fmla="*/ 0 w 835200"/>
              <a:gd name="connsiteY36" fmla="*/ 592085 h 1973608"/>
              <a:gd name="connsiteX37" fmla="*/ 0 w 835200"/>
              <a:gd name="connsiteY37" fmla="*/ 592083 h 1973608"/>
              <a:gd name="connsiteX38" fmla="*/ 0 w 835200"/>
              <a:gd name="connsiteY38" fmla="*/ 394723 h 1973608"/>
              <a:gd name="connsiteX39" fmla="*/ 0 w 835200"/>
              <a:gd name="connsiteY39" fmla="*/ 197362 h 1973608"/>
              <a:gd name="connsiteX40" fmla="*/ 0 w 835200"/>
              <a:gd name="connsiteY40"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776248 h 1973608"/>
              <a:gd name="connsiteX24" fmla="*/ 0 w 835200"/>
              <a:gd name="connsiteY24" fmla="*/ 1776246 h 1973608"/>
              <a:gd name="connsiteX25" fmla="*/ 0 w 835200"/>
              <a:gd name="connsiteY25" fmla="*/ 1578887 h 1973608"/>
              <a:gd name="connsiteX26" fmla="*/ 0 w 835200"/>
              <a:gd name="connsiteY26" fmla="*/ 1578886 h 1973608"/>
              <a:gd name="connsiteX27" fmla="*/ 0 w 835200"/>
              <a:gd name="connsiteY27" fmla="*/ 1381527 h 1973608"/>
              <a:gd name="connsiteX28" fmla="*/ 0 w 835200"/>
              <a:gd name="connsiteY28" fmla="*/ 1381525 h 1973608"/>
              <a:gd name="connsiteX29" fmla="*/ 0 w 835200"/>
              <a:gd name="connsiteY29" fmla="*/ 1184166 h 1973608"/>
              <a:gd name="connsiteX30" fmla="*/ 0 w 835200"/>
              <a:gd name="connsiteY30" fmla="*/ 1184165 h 1973608"/>
              <a:gd name="connsiteX31" fmla="*/ 0 w 835200"/>
              <a:gd name="connsiteY31" fmla="*/ 986806 h 1973608"/>
              <a:gd name="connsiteX32" fmla="*/ 0 w 835200"/>
              <a:gd name="connsiteY32" fmla="*/ 986804 h 1973608"/>
              <a:gd name="connsiteX33" fmla="*/ 0 w 835200"/>
              <a:gd name="connsiteY33" fmla="*/ 789445 h 1973608"/>
              <a:gd name="connsiteX34" fmla="*/ 0 w 835200"/>
              <a:gd name="connsiteY34" fmla="*/ 789444 h 1973608"/>
              <a:gd name="connsiteX35" fmla="*/ 0 w 835200"/>
              <a:gd name="connsiteY35" fmla="*/ 592085 h 1973608"/>
              <a:gd name="connsiteX36" fmla="*/ 0 w 835200"/>
              <a:gd name="connsiteY36" fmla="*/ 592083 h 1973608"/>
              <a:gd name="connsiteX37" fmla="*/ 0 w 835200"/>
              <a:gd name="connsiteY37" fmla="*/ 394723 h 1973608"/>
              <a:gd name="connsiteX38" fmla="*/ 0 w 835200"/>
              <a:gd name="connsiteY38" fmla="*/ 197362 h 1973608"/>
              <a:gd name="connsiteX39" fmla="*/ 0 w 835200"/>
              <a:gd name="connsiteY39"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0 w 835200"/>
              <a:gd name="connsiteY22" fmla="*/ 1776248 h 1973608"/>
              <a:gd name="connsiteX23" fmla="*/ 0 w 835200"/>
              <a:gd name="connsiteY23" fmla="*/ 1776246 h 1973608"/>
              <a:gd name="connsiteX24" fmla="*/ 0 w 835200"/>
              <a:gd name="connsiteY24" fmla="*/ 1578887 h 1973608"/>
              <a:gd name="connsiteX25" fmla="*/ 0 w 835200"/>
              <a:gd name="connsiteY25" fmla="*/ 1578886 h 1973608"/>
              <a:gd name="connsiteX26" fmla="*/ 0 w 835200"/>
              <a:gd name="connsiteY26" fmla="*/ 1381527 h 1973608"/>
              <a:gd name="connsiteX27" fmla="*/ 0 w 835200"/>
              <a:gd name="connsiteY27" fmla="*/ 1381525 h 1973608"/>
              <a:gd name="connsiteX28" fmla="*/ 0 w 835200"/>
              <a:gd name="connsiteY28" fmla="*/ 1184166 h 1973608"/>
              <a:gd name="connsiteX29" fmla="*/ 0 w 835200"/>
              <a:gd name="connsiteY29" fmla="*/ 1184165 h 1973608"/>
              <a:gd name="connsiteX30" fmla="*/ 0 w 835200"/>
              <a:gd name="connsiteY30" fmla="*/ 986806 h 1973608"/>
              <a:gd name="connsiteX31" fmla="*/ 0 w 835200"/>
              <a:gd name="connsiteY31" fmla="*/ 986804 h 1973608"/>
              <a:gd name="connsiteX32" fmla="*/ 0 w 835200"/>
              <a:gd name="connsiteY32" fmla="*/ 789445 h 1973608"/>
              <a:gd name="connsiteX33" fmla="*/ 0 w 835200"/>
              <a:gd name="connsiteY33" fmla="*/ 789444 h 1973608"/>
              <a:gd name="connsiteX34" fmla="*/ 0 w 835200"/>
              <a:gd name="connsiteY34" fmla="*/ 592085 h 1973608"/>
              <a:gd name="connsiteX35" fmla="*/ 0 w 835200"/>
              <a:gd name="connsiteY35" fmla="*/ 592083 h 1973608"/>
              <a:gd name="connsiteX36" fmla="*/ 0 w 835200"/>
              <a:gd name="connsiteY36" fmla="*/ 394723 h 1973608"/>
              <a:gd name="connsiteX37" fmla="*/ 0 w 835200"/>
              <a:gd name="connsiteY37" fmla="*/ 197362 h 1973608"/>
              <a:gd name="connsiteX38" fmla="*/ 0 w 835200"/>
              <a:gd name="connsiteY38"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417600 w 835200"/>
              <a:gd name="connsiteY20" fmla="*/ 1973608 h 1973608"/>
              <a:gd name="connsiteX21" fmla="*/ 0 w 835200"/>
              <a:gd name="connsiteY21" fmla="*/ 1776248 h 1973608"/>
              <a:gd name="connsiteX22" fmla="*/ 0 w 835200"/>
              <a:gd name="connsiteY22" fmla="*/ 1776246 h 1973608"/>
              <a:gd name="connsiteX23" fmla="*/ 0 w 835200"/>
              <a:gd name="connsiteY23" fmla="*/ 1578887 h 1973608"/>
              <a:gd name="connsiteX24" fmla="*/ 0 w 835200"/>
              <a:gd name="connsiteY24" fmla="*/ 1578886 h 1973608"/>
              <a:gd name="connsiteX25" fmla="*/ 0 w 835200"/>
              <a:gd name="connsiteY25" fmla="*/ 1381527 h 1973608"/>
              <a:gd name="connsiteX26" fmla="*/ 0 w 835200"/>
              <a:gd name="connsiteY26" fmla="*/ 1381525 h 1973608"/>
              <a:gd name="connsiteX27" fmla="*/ 0 w 835200"/>
              <a:gd name="connsiteY27" fmla="*/ 1184166 h 1973608"/>
              <a:gd name="connsiteX28" fmla="*/ 0 w 835200"/>
              <a:gd name="connsiteY28" fmla="*/ 1184165 h 1973608"/>
              <a:gd name="connsiteX29" fmla="*/ 0 w 835200"/>
              <a:gd name="connsiteY29" fmla="*/ 986806 h 1973608"/>
              <a:gd name="connsiteX30" fmla="*/ 0 w 835200"/>
              <a:gd name="connsiteY30" fmla="*/ 986804 h 1973608"/>
              <a:gd name="connsiteX31" fmla="*/ 0 w 835200"/>
              <a:gd name="connsiteY31" fmla="*/ 789445 h 1973608"/>
              <a:gd name="connsiteX32" fmla="*/ 0 w 835200"/>
              <a:gd name="connsiteY32" fmla="*/ 789444 h 1973608"/>
              <a:gd name="connsiteX33" fmla="*/ 0 w 835200"/>
              <a:gd name="connsiteY33" fmla="*/ 592085 h 1973608"/>
              <a:gd name="connsiteX34" fmla="*/ 0 w 835200"/>
              <a:gd name="connsiteY34" fmla="*/ 592083 h 1973608"/>
              <a:gd name="connsiteX35" fmla="*/ 0 w 835200"/>
              <a:gd name="connsiteY35" fmla="*/ 394723 h 1973608"/>
              <a:gd name="connsiteX36" fmla="*/ 0 w 835200"/>
              <a:gd name="connsiteY36" fmla="*/ 197362 h 1973608"/>
              <a:gd name="connsiteX37" fmla="*/ 0 w 835200"/>
              <a:gd name="connsiteY37"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417600 w 835200"/>
              <a:gd name="connsiteY19" fmla="*/ 1973608 h 1973608"/>
              <a:gd name="connsiteX20" fmla="*/ 0 w 835200"/>
              <a:gd name="connsiteY20" fmla="*/ 1776248 h 1973608"/>
              <a:gd name="connsiteX21" fmla="*/ 0 w 835200"/>
              <a:gd name="connsiteY21" fmla="*/ 1776246 h 1973608"/>
              <a:gd name="connsiteX22" fmla="*/ 0 w 835200"/>
              <a:gd name="connsiteY22" fmla="*/ 1578887 h 1973608"/>
              <a:gd name="connsiteX23" fmla="*/ 0 w 835200"/>
              <a:gd name="connsiteY23" fmla="*/ 1578886 h 1973608"/>
              <a:gd name="connsiteX24" fmla="*/ 0 w 835200"/>
              <a:gd name="connsiteY24" fmla="*/ 1381527 h 1973608"/>
              <a:gd name="connsiteX25" fmla="*/ 0 w 835200"/>
              <a:gd name="connsiteY25" fmla="*/ 1381525 h 1973608"/>
              <a:gd name="connsiteX26" fmla="*/ 0 w 835200"/>
              <a:gd name="connsiteY26" fmla="*/ 1184166 h 1973608"/>
              <a:gd name="connsiteX27" fmla="*/ 0 w 835200"/>
              <a:gd name="connsiteY27" fmla="*/ 1184165 h 1973608"/>
              <a:gd name="connsiteX28" fmla="*/ 0 w 835200"/>
              <a:gd name="connsiteY28" fmla="*/ 986806 h 1973608"/>
              <a:gd name="connsiteX29" fmla="*/ 0 w 835200"/>
              <a:gd name="connsiteY29" fmla="*/ 986804 h 1973608"/>
              <a:gd name="connsiteX30" fmla="*/ 0 w 835200"/>
              <a:gd name="connsiteY30" fmla="*/ 789445 h 1973608"/>
              <a:gd name="connsiteX31" fmla="*/ 0 w 835200"/>
              <a:gd name="connsiteY31" fmla="*/ 789444 h 1973608"/>
              <a:gd name="connsiteX32" fmla="*/ 0 w 835200"/>
              <a:gd name="connsiteY32" fmla="*/ 592085 h 1973608"/>
              <a:gd name="connsiteX33" fmla="*/ 0 w 835200"/>
              <a:gd name="connsiteY33" fmla="*/ 592083 h 1973608"/>
              <a:gd name="connsiteX34" fmla="*/ 0 w 835200"/>
              <a:gd name="connsiteY34" fmla="*/ 394723 h 1973608"/>
              <a:gd name="connsiteX35" fmla="*/ 0 w 835200"/>
              <a:gd name="connsiteY35" fmla="*/ 197362 h 1973608"/>
              <a:gd name="connsiteX36" fmla="*/ 0 w 835200"/>
              <a:gd name="connsiteY36" fmla="*/ 197361 h 197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35200" h="1973608">
                <a:moveTo>
                  <a:pt x="0" y="197361"/>
                </a:moveTo>
                <a:lnTo>
                  <a:pt x="417600" y="0"/>
                </a:lnTo>
                <a:lnTo>
                  <a:pt x="835200" y="197361"/>
                </a:lnTo>
                <a:lnTo>
                  <a:pt x="835200" y="197362"/>
                </a:lnTo>
                <a:lnTo>
                  <a:pt x="835200" y="394723"/>
                </a:lnTo>
                <a:lnTo>
                  <a:pt x="835200" y="592083"/>
                </a:lnTo>
                <a:lnTo>
                  <a:pt x="835200" y="592085"/>
                </a:lnTo>
                <a:lnTo>
                  <a:pt x="835200" y="789444"/>
                </a:lnTo>
                <a:lnTo>
                  <a:pt x="835200" y="789445"/>
                </a:lnTo>
                <a:lnTo>
                  <a:pt x="835200" y="986804"/>
                </a:lnTo>
                <a:lnTo>
                  <a:pt x="835200" y="986806"/>
                </a:lnTo>
                <a:lnTo>
                  <a:pt x="835200" y="1184165"/>
                </a:lnTo>
                <a:lnTo>
                  <a:pt x="835200" y="1184166"/>
                </a:lnTo>
                <a:lnTo>
                  <a:pt x="835200" y="1381525"/>
                </a:lnTo>
                <a:lnTo>
                  <a:pt x="835200" y="1381527"/>
                </a:lnTo>
                <a:lnTo>
                  <a:pt x="835200" y="1578886"/>
                </a:lnTo>
                <a:lnTo>
                  <a:pt x="835200" y="1578887"/>
                </a:lnTo>
                <a:lnTo>
                  <a:pt x="835200" y="1776246"/>
                </a:lnTo>
                <a:lnTo>
                  <a:pt x="835200" y="1776248"/>
                </a:lnTo>
                <a:lnTo>
                  <a:pt x="417600" y="1973608"/>
                </a:lnTo>
                <a:lnTo>
                  <a:pt x="0" y="1776248"/>
                </a:lnTo>
                <a:lnTo>
                  <a:pt x="0" y="1776246"/>
                </a:lnTo>
                <a:lnTo>
                  <a:pt x="0" y="1578887"/>
                </a:lnTo>
                <a:lnTo>
                  <a:pt x="0" y="1578886"/>
                </a:lnTo>
                <a:lnTo>
                  <a:pt x="0" y="1381527"/>
                </a:lnTo>
                <a:lnTo>
                  <a:pt x="0" y="1381525"/>
                </a:lnTo>
                <a:lnTo>
                  <a:pt x="0" y="1184166"/>
                </a:lnTo>
                <a:lnTo>
                  <a:pt x="0" y="1184165"/>
                </a:lnTo>
                <a:lnTo>
                  <a:pt x="0" y="986806"/>
                </a:lnTo>
                <a:lnTo>
                  <a:pt x="0" y="986804"/>
                </a:lnTo>
                <a:lnTo>
                  <a:pt x="0" y="789445"/>
                </a:lnTo>
                <a:lnTo>
                  <a:pt x="0" y="789444"/>
                </a:lnTo>
                <a:lnTo>
                  <a:pt x="0" y="592085"/>
                </a:lnTo>
                <a:lnTo>
                  <a:pt x="0" y="592083"/>
                </a:lnTo>
                <a:lnTo>
                  <a:pt x="0" y="394723"/>
                </a:lnTo>
                <a:lnTo>
                  <a:pt x="0" y="197362"/>
                </a:lnTo>
                <a:lnTo>
                  <a:pt x="0" y="197361"/>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spcBef>
                <a:spcPts val="300"/>
              </a:spcBef>
              <a:buClr>
                <a:srgbClr val="002897"/>
              </a:buClr>
              <a:buSzPct val="70000"/>
            </a:pPr>
            <a:r>
              <a:rPr lang="de-DE" sz="900" dirty="0">
                <a:solidFill>
                  <a:schemeClr val="tx1"/>
                </a:solidFill>
              </a:rPr>
              <a:t>Scrubber</a:t>
            </a:r>
          </a:p>
        </p:txBody>
      </p:sp>
      <p:sp>
        <p:nvSpPr>
          <p:cNvPr id="442" name="Freeform: Shape 441">
            <a:extLst>
              <a:ext uri="{FF2B5EF4-FFF2-40B4-BE49-F238E27FC236}">
                <a16:creationId xmlns:a16="http://schemas.microsoft.com/office/drawing/2014/main" id="{F16545D2-5540-48A6-AA69-7BB020264174}"/>
              </a:ext>
            </a:extLst>
          </p:cNvPr>
          <p:cNvSpPr/>
          <p:nvPr/>
        </p:nvSpPr>
        <p:spPr bwMode="gray">
          <a:xfrm>
            <a:off x="6189785" y="4179394"/>
            <a:ext cx="638340" cy="1055478"/>
          </a:xfrm>
          <a:custGeom>
            <a:avLst/>
            <a:gdLst>
              <a:gd name="connsiteX0" fmla="*/ 0 w 835200"/>
              <a:gd name="connsiteY0" fmla="*/ 0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417600 w 835200"/>
              <a:gd name="connsiteY1" fmla="*/ 0 h 1973608"/>
              <a:gd name="connsiteX2" fmla="*/ 626400 w 835200"/>
              <a:gd name="connsiteY2" fmla="*/ 0 h 1973608"/>
              <a:gd name="connsiteX3" fmla="*/ 835200 w 835200"/>
              <a:gd name="connsiteY3" fmla="*/ 0 h 1973608"/>
              <a:gd name="connsiteX4" fmla="*/ 835200 w 835200"/>
              <a:gd name="connsiteY4" fmla="*/ 197361 h 1973608"/>
              <a:gd name="connsiteX5" fmla="*/ 835200 w 835200"/>
              <a:gd name="connsiteY5" fmla="*/ 197362 h 1973608"/>
              <a:gd name="connsiteX6" fmla="*/ 835200 w 835200"/>
              <a:gd name="connsiteY6" fmla="*/ 394723 h 1973608"/>
              <a:gd name="connsiteX7" fmla="*/ 835200 w 835200"/>
              <a:gd name="connsiteY7" fmla="*/ 592083 h 1973608"/>
              <a:gd name="connsiteX8" fmla="*/ 835200 w 835200"/>
              <a:gd name="connsiteY8" fmla="*/ 592085 h 1973608"/>
              <a:gd name="connsiteX9" fmla="*/ 835200 w 835200"/>
              <a:gd name="connsiteY9" fmla="*/ 789444 h 1973608"/>
              <a:gd name="connsiteX10" fmla="*/ 835200 w 835200"/>
              <a:gd name="connsiteY10" fmla="*/ 789445 h 1973608"/>
              <a:gd name="connsiteX11" fmla="*/ 835200 w 835200"/>
              <a:gd name="connsiteY11" fmla="*/ 986804 h 1973608"/>
              <a:gd name="connsiteX12" fmla="*/ 835200 w 835200"/>
              <a:gd name="connsiteY12" fmla="*/ 986806 h 1973608"/>
              <a:gd name="connsiteX13" fmla="*/ 835200 w 835200"/>
              <a:gd name="connsiteY13" fmla="*/ 1184165 h 1973608"/>
              <a:gd name="connsiteX14" fmla="*/ 835200 w 835200"/>
              <a:gd name="connsiteY14" fmla="*/ 1184166 h 1973608"/>
              <a:gd name="connsiteX15" fmla="*/ 835200 w 835200"/>
              <a:gd name="connsiteY15" fmla="*/ 1381525 h 1973608"/>
              <a:gd name="connsiteX16" fmla="*/ 835200 w 835200"/>
              <a:gd name="connsiteY16" fmla="*/ 1381527 h 1973608"/>
              <a:gd name="connsiteX17" fmla="*/ 835200 w 835200"/>
              <a:gd name="connsiteY17" fmla="*/ 1578886 h 1973608"/>
              <a:gd name="connsiteX18" fmla="*/ 835200 w 835200"/>
              <a:gd name="connsiteY18" fmla="*/ 1578887 h 1973608"/>
              <a:gd name="connsiteX19" fmla="*/ 835200 w 835200"/>
              <a:gd name="connsiteY19" fmla="*/ 1776246 h 1973608"/>
              <a:gd name="connsiteX20" fmla="*/ 835200 w 835200"/>
              <a:gd name="connsiteY20" fmla="*/ 1776248 h 1973608"/>
              <a:gd name="connsiteX21" fmla="*/ 835200 w 835200"/>
              <a:gd name="connsiteY21" fmla="*/ 1973608 h 1973608"/>
              <a:gd name="connsiteX22" fmla="*/ 626400 w 835200"/>
              <a:gd name="connsiteY22" fmla="*/ 1973608 h 1973608"/>
              <a:gd name="connsiteX23" fmla="*/ 417600 w 835200"/>
              <a:gd name="connsiteY23" fmla="*/ 1973608 h 1973608"/>
              <a:gd name="connsiteX24" fmla="*/ 208800 w 835200"/>
              <a:gd name="connsiteY24" fmla="*/ 1973608 h 1973608"/>
              <a:gd name="connsiteX25" fmla="*/ 0 w 835200"/>
              <a:gd name="connsiteY25" fmla="*/ 1973608 h 1973608"/>
              <a:gd name="connsiteX26" fmla="*/ 0 w 835200"/>
              <a:gd name="connsiteY26" fmla="*/ 1776248 h 1973608"/>
              <a:gd name="connsiteX27" fmla="*/ 0 w 835200"/>
              <a:gd name="connsiteY27" fmla="*/ 1776246 h 1973608"/>
              <a:gd name="connsiteX28" fmla="*/ 0 w 835200"/>
              <a:gd name="connsiteY28" fmla="*/ 1578887 h 1973608"/>
              <a:gd name="connsiteX29" fmla="*/ 0 w 835200"/>
              <a:gd name="connsiteY29" fmla="*/ 1578886 h 1973608"/>
              <a:gd name="connsiteX30" fmla="*/ 0 w 835200"/>
              <a:gd name="connsiteY30" fmla="*/ 1381527 h 1973608"/>
              <a:gd name="connsiteX31" fmla="*/ 0 w 835200"/>
              <a:gd name="connsiteY31" fmla="*/ 1381525 h 1973608"/>
              <a:gd name="connsiteX32" fmla="*/ 0 w 835200"/>
              <a:gd name="connsiteY32" fmla="*/ 1184166 h 1973608"/>
              <a:gd name="connsiteX33" fmla="*/ 0 w 835200"/>
              <a:gd name="connsiteY33" fmla="*/ 1184165 h 1973608"/>
              <a:gd name="connsiteX34" fmla="*/ 0 w 835200"/>
              <a:gd name="connsiteY34" fmla="*/ 986806 h 1973608"/>
              <a:gd name="connsiteX35" fmla="*/ 0 w 835200"/>
              <a:gd name="connsiteY35" fmla="*/ 986804 h 1973608"/>
              <a:gd name="connsiteX36" fmla="*/ 0 w 835200"/>
              <a:gd name="connsiteY36" fmla="*/ 789445 h 1973608"/>
              <a:gd name="connsiteX37" fmla="*/ 0 w 835200"/>
              <a:gd name="connsiteY37" fmla="*/ 789444 h 1973608"/>
              <a:gd name="connsiteX38" fmla="*/ 0 w 835200"/>
              <a:gd name="connsiteY38" fmla="*/ 592085 h 1973608"/>
              <a:gd name="connsiteX39" fmla="*/ 0 w 835200"/>
              <a:gd name="connsiteY39" fmla="*/ 592083 h 1973608"/>
              <a:gd name="connsiteX40" fmla="*/ 0 w 835200"/>
              <a:gd name="connsiteY40" fmla="*/ 394723 h 1973608"/>
              <a:gd name="connsiteX41" fmla="*/ 0 w 835200"/>
              <a:gd name="connsiteY41" fmla="*/ 197362 h 1973608"/>
              <a:gd name="connsiteX42" fmla="*/ 0 w 835200"/>
              <a:gd name="connsiteY42" fmla="*/ 197361 h 1973608"/>
              <a:gd name="connsiteX0" fmla="*/ 0 w 835200"/>
              <a:gd name="connsiteY0" fmla="*/ 197361 h 1973608"/>
              <a:gd name="connsiteX1" fmla="*/ 417600 w 835200"/>
              <a:gd name="connsiteY1" fmla="*/ 0 h 1973608"/>
              <a:gd name="connsiteX2" fmla="*/ 835200 w 835200"/>
              <a:gd name="connsiteY2" fmla="*/ 0 h 1973608"/>
              <a:gd name="connsiteX3" fmla="*/ 835200 w 835200"/>
              <a:gd name="connsiteY3" fmla="*/ 197361 h 1973608"/>
              <a:gd name="connsiteX4" fmla="*/ 835200 w 835200"/>
              <a:gd name="connsiteY4" fmla="*/ 197362 h 1973608"/>
              <a:gd name="connsiteX5" fmla="*/ 835200 w 835200"/>
              <a:gd name="connsiteY5" fmla="*/ 394723 h 1973608"/>
              <a:gd name="connsiteX6" fmla="*/ 835200 w 835200"/>
              <a:gd name="connsiteY6" fmla="*/ 592083 h 1973608"/>
              <a:gd name="connsiteX7" fmla="*/ 835200 w 835200"/>
              <a:gd name="connsiteY7" fmla="*/ 592085 h 1973608"/>
              <a:gd name="connsiteX8" fmla="*/ 835200 w 835200"/>
              <a:gd name="connsiteY8" fmla="*/ 789444 h 1973608"/>
              <a:gd name="connsiteX9" fmla="*/ 835200 w 835200"/>
              <a:gd name="connsiteY9" fmla="*/ 789445 h 1973608"/>
              <a:gd name="connsiteX10" fmla="*/ 835200 w 835200"/>
              <a:gd name="connsiteY10" fmla="*/ 986804 h 1973608"/>
              <a:gd name="connsiteX11" fmla="*/ 835200 w 835200"/>
              <a:gd name="connsiteY11" fmla="*/ 986806 h 1973608"/>
              <a:gd name="connsiteX12" fmla="*/ 835200 w 835200"/>
              <a:gd name="connsiteY12" fmla="*/ 1184165 h 1973608"/>
              <a:gd name="connsiteX13" fmla="*/ 835200 w 835200"/>
              <a:gd name="connsiteY13" fmla="*/ 1184166 h 1973608"/>
              <a:gd name="connsiteX14" fmla="*/ 835200 w 835200"/>
              <a:gd name="connsiteY14" fmla="*/ 1381525 h 1973608"/>
              <a:gd name="connsiteX15" fmla="*/ 835200 w 835200"/>
              <a:gd name="connsiteY15" fmla="*/ 1381527 h 1973608"/>
              <a:gd name="connsiteX16" fmla="*/ 835200 w 835200"/>
              <a:gd name="connsiteY16" fmla="*/ 1578886 h 1973608"/>
              <a:gd name="connsiteX17" fmla="*/ 835200 w 835200"/>
              <a:gd name="connsiteY17" fmla="*/ 1578887 h 1973608"/>
              <a:gd name="connsiteX18" fmla="*/ 835200 w 835200"/>
              <a:gd name="connsiteY18" fmla="*/ 1776246 h 1973608"/>
              <a:gd name="connsiteX19" fmla="*/ 835200 w 835200"/>
              <a:gd name="connsiteY19" fmla="*/ 1776248 h 1973608"/>
              <a:gd name="connsiteX20" fmla="*/ 835200 w 835200"/>
              <a:gd name="connsiteY20" fmla="*/ 1973608 h 1973608"/>
              <a:gd name="connsiteX21" fmla="*/ 626400 w 835200"/>
              <a:gd name="connsiteY21" fmla="*/ 1973608 h 1973608"/>
              <a:gd name="connsiteX22" fmla="*/ 417600 w 835200"/>
              <a:gd name="connsiteY22" fmla="*/ 1973608 h 1973608"/>
              <a:gd name="connsiteX23" fmla="*/ 208800 w 835200"/>
              <a:gd name="connsiteY23" fmla="*/ 1973608 h 1973608"/>
              <a:gd name="connsiteX24" fmla="*/ 0 w 835200"/>
              <a:gd name="connsiteY24" fmla="*/ 1973608 h 1973608"/>
              <a:gd name="connsiteX25" fmla="*/ 0 w 835200"/>
              <a:gd name="connsiteY25" fmla="*/ 1776248 h 1973608"/>
              <a:gd name="connsiteX26" fmla="*/ 0 w 835200"/>
              <a:gd name="connsiteY26" fmla="*/ 1776246 h 1973608"/>
              <a:gd name="connsiteX27" fmla="*/ 0 w 835200"/>
              <a:gd name="connsiteY27" fmla="*/ 1578887 h 1973608"/>
              <a:gd name="connsiteX28" fmla="*/ 0 w 835200"/>
              <a:gd name="connsiteY28" fmla="*/ 1578886 h 1973608"/>
              <a:gd name="connsiteX29" fmla="*/ 0 w 835200"/>
              <a:gd name="connsiteY29" fmla="*/ 1381527 h 1973608"/>
              <a:gd name="connsiteX30" fmla="*/ 0 w 835200"/>
              <a:gd name="connsiteY30" fmla="*/ 1381525 h 1973608"/>
              <a:gd name="connsiteX31" fmla="*/ 0 w 835200"/>
              <a:gd name="connsiteY31" fmla="*/ 1184166 h 1973608"/>
              <a:gd name="connsiteX32" fmla="*/ 0 w 835200"/>
              <a:gd name="connsiteY32" fmla="*/ 1184165 h 1973608"/>
              <a:gd name="connsiteX33" fmla="*/ 0 w 835200"/>
              <a:gd name="connsiteY33" fmla="*/ 986806 h 1973608"/>
              <a:gd name="connsiteX34" fmla="*/ 0 w 835200"/>
              <a:gd name="connsiteY34" fmla="*/ 986804 h 1973608"/>
              <a:gd name="connsiteX35" fmla="*/ 0 w 835200"/>
              <a:gd name="connsiteY35" fmla="*/ 789445 h 1973608"/>
              <a:gd name="connsiteX36" fmla="*/ 0 w 835200"/>
              <a:gd name="connsiteY36" fmla="*/ 789444 h 1973608"/>
              <a:gd name="connsiteX37" fmla="*/ 0 w 835200"/>
              <a:gd name="connsiteY37" fmla="*/ 592085 h 1973608"/>
              <a:gd name="connsiteX38" fmla="*/ 0 w 835200"/>
              <a:gd name="connsiteY38" fmla="*/ 592083 h 1973608"/>
              <a:gd name="connsiteX39" fmla="*/ 0 w 835200"/>
              <a:gd name="connsiteY39" fmla="*/ 394723 h 1973608"/>
              <a:gd name="connsiteX40" fmla="*/ 0 w 835200"/>
              <a:gd name="connsiteY40" fmla="*/ 197362 h 1973608"/>
              <a:gd name="connsiteX41" fmla="*/ 0 w 835200"/>
              <a:gd name="connsiteY41"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973608 h 1973608"/>
              <a:gd name="connsiteX24" fmla="*/ 0 w 835200"/>
              <a:gd name="connsiteY24" fmla="*/ 1776248 h 1973608"/>
              <a:gd name="connsiteX25" fmla="*/ 0 w 835200"/>
              <a:gd name="connsiteY25" fmla="*/ 1776246 h 1973608"/>
              <a:gd name="connsiteX26" fmla="*/ 0 w 835200"/>
              <a:gd name="connsiteY26" fmla="*/ 1578887 h 1973608"/>
              <a:gd name="connsiteX27" fmla="*/ 0 w 835200"/>
              <a:gd name="connsiteY27" fmla="*/ 1578886 h 1973608"/>
              <a:gd name="connsiteX28" fmla="*/ 0 w 835200"/>
              <a:gd name="connsiteY28" fmla="*/ 1381527 h 1973608"/>
              <a:gd name="connsiteX29" fmla="*/ 0 w 835200"/>
              <a:gd name="connsiteY29" fmla="*/ 1381525 h 1973608"/>
              <a:gd name="connsiteX30" fmla="*/ 0 w 835200"/>
              <a:gd name="connsiteY30" fmla="*/ 1184166 h 1973608"/>
              <a:gd name="connsiteX31" fmla="*/ 0 w 835200"/>
              <a:gd name="connsiteY31" fmla="*/ 1184165 h 1973608"/>
              <a:gd name="connsiteX32" fmla="*/ 0 w 835200"/>
              <a:gd name="connsiteY32" fmla="*/ 986806 h 1973608"/>
              <a:gd name="connsiteX33" fmla="*/ 0 w 835200"/>
              <a:gd name="connsiteY33" fmla="*/ 986804 h 1973608"/>
              <a:gd name="connsiteX34" fmla="*/ 0 w 835200"/>
              <a:gd name="connsiteY34" fmla="*/ 789445 h 1973608"/>
              <a:gd name="connsiteX35" fmla="*/ 0 w 835200"/>
              <a:gd name="connsiteY35" fmla="*/ 789444 h 1973608"/>
              <a:gd name="connsiteX36" fmla="*/ 0 w 835200"/>
              <a:gd name="connsiteY36" fmla="*/ 592085 h 1973608"/>
              <a:gd name="connsiteX37" fmla="*/ 0 w 835200"/>
              <a:gd name="connsiteY37" fmla="*/ 592083 h 1973608"/>
              <a:gd name="connsiteX38" fmla="*/ 0 w 835200"/>
              <a:gd name="connsiteY38" fmla="*/ 394723 h 1973608"/>
              <a:gd name="connsiteX39" fmla="*/ 0 w 835200"/>
              <a:gd name="connsiteY39" fmla="*/ 197362 h 1973608"/>
              <a:gd name="connsiteX40" fmla="*/ 0 w 835200"/>
              <a:gd name="connsiteY40"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776248 h 1973608"/>
              <a:gd name="connsiteX24" fmla="*/ 0 w 835200"/>
              <a:gd name="connsiteY24" fmla="*/ 1776246 h 1973608"/>
              <a:gd name="connsiteX25" fmla="*/ 0 w 835200"/>
              <a:gd name="connsiteY25" fmla="*/ 1578887 h 1973608"/>
              <a:gd name="connsiteX26" fmla="*/ 0 w 835200"/>
              <a:gd name="connsiteY26" fmla="*/ 1578886 h 1973608"/>
              <a:gd name="connsiteX27" fmla="*/ 0 w 835200"/>
              <a:gd name="connsiteY27" fmla="*/ 1381527 h 1973608"/>
              <a:gd name="connsiteX28" fmla="*/ 0 w 835200"/>
              <a:gd name="connsiteY28" fmla="*/ 1381525 h 1973608"/>
              <a:gd name="connsiteX29" fmla="*/ 0 w 835200"/>
              <a:gd name="connsiteY29" fmla="*/ 1184166 h 1973608"/>
              <a:gd name="connsiteX30" fmla="*/ 0 w 835200"/>
              <a:gd name="connsiteY30" fmla="*/ 1184165 h 1973608"/>
              <a:gd name="connsiteX31" fmla="*/ 0 w 835200"/>
              <a:gd name="connsiteY31" fmla="*/ 986806 h 1973608"/>
              <a:gd name="connsiteX32" fmla="*/ 0 w 835200"/>
              <a:gd name="connsiteY32" fmla="*/ 986804 h 1973608"/>
              <a:gd name="connsiteX33" fmla="*/ 0 w 835200"/>
              <a:gd name="connsiteY33" fmla="*/ 789445 h 1973608"/>
              <a:gd name="connsiteX34" fmla="*/ 0 w 835200"/>
              <a:gd name="connsiteY34" fmla="*/ 789444 h 1973608"/>
              <a:gd name="connsiteX35" fmla="*/ 0 w 835200"/>
              <a:gd name="connsiteY35" fmla="*/ 592085 h 1973608"/>
              <a:gd name="connsiteX36" fmla="*/ 0 w 835200"/>
              <a:gd name="connsiteY36" fmla="*/ 592083 h 1973608"/>
              <a:gd name="connsiteX37" fmla="*/ 0 w 835200"/>
              <a:gd name="connsiteY37" fmla="*/ 394723 h 1973608"/>
              <a:gd name="connsiteX38" fmla="*/ 0 w 835200"/>
              <a:gd name="connsiteY38" fmla="*/ 197362 h 1973608"/>
              <a:gd name="connsiteX39" fmla="*/ 0 w 835200"/>
              <a:gd name="connsiteY39"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0 w 835200"/>
              <a:gd name="connsiteY22" fmla="*/ 1776248 h 1973608"/>
              <a:gd name="connsiteX23" fmla="*/ 0 w 835200"/>
              <a:gd name="connsiteY23" fmla="*/ 1776246 h 1973608"/>
              <a:gd name="connsiteX24" fmla="*/ 0 w 835200"/>
              <a:gd name="connsiteY24" fmla="*/ 1578887 h 1973608"/>
              <a:gd name="connsiteX25" fmla="*/ 0 w 835200"/>
              <a:gd name="connsiteY25" fmla="*/ 1578886 h 1973608"/>
              <a:gd name="connsiteX26" fmla="*/ 0 w 835200"/>
              <a:gd name="connsiteY26" fmla="*/ 1381527 h 1973608"/>
              <a:gd name="connsiteX27" fmla="*/ 0 w 835200"/>
              <a:gd name="connsiteY27" fmla="*/ 1381525 h 1973608"/>
              <a:gd name="connsiteX28" fmla="*/ 0 w 835200"/>
              <a:gd name="connsiteY28" fmla="*/ 1184166 h 1973608"/>
              <a:gd name="connsiteX29" fmla="*/ 0 w 835200"/>
              <a:gd name="connsiteY29" fmla="*/ 1184165 h 1973608"/>
              <a:gd name="connsiteX30" fmla="*/ 0 w 835200"/>
              <a:gd name="connsiteY30" fmla="*/ 986806 h 1973608"/>
              <a:gd name="connsiteX31" fmla="*/ 0 w 835200"/>
              <a:gd name="connsiteY31" fmla="*/ 986804 h 1973608"/>
              <a:gd name="connsiteX32" fmla="*/ 0 w 835200"/>
              <a:gd name="connsiteY32" fmla="*/ 789445 h 1973608"/>
              <a:gd name="connsiteX33" fmla="*/ 0 w 835200"/>
              <a:gd name="connsiteY33" fmla="*/ 789444 h 1973608"/>
              <a:gd name="connsiteX34" fmla="*/ 0 w 835200"/>
              <a:gd name="connsiteY34" fmla="*/ 592085 h 1973608"/>
              <a:gd name="connsiteX35" fmla="*/ 0 w 835200"/>
              <a:gd name="connsiteY35" fmla="*/ 592083 h 1973608"/>
              <a:gd name="connsiteX36" fmla="*/ 0 w 835200"/>
              <a:gd name="connsiteY36" fmla="*/ 394723 h 1973608"/>
              <a:gd name="connsiteX37" fmla="*/ 0 w 835200"/>
              <a:gd name="connsiteY37" fmla="*/ 197362 h 1973608"/>
              <a:gd name="connsiteX38" fmla="*/ 0 w 835200"/>
              <a:gd name="connsiteY38"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417600 w 835200"/>
              <a:gd name="connsiteY20" fmla="*/ 1973608 h 1973608"/>
              <a:gd name="connsiteX21" fmla="*/ 0 w 835200"/>
              <a:gd name="connsiteY21" fmla="*/ 1776248 h 1973608"/>
              <a:gd name="connsiteX22" fmla="*/ 0 w 835200"/>
              <a:gd name="connsiteY22" fmla="*/ 1776246 h 1973608"/>
              <a:gd name="connsiteX23" fmla="*/ 0 w 835200"/>
              <a:gd name="connsiteY23" fmla="*/ 1578887 h 1973608"/>
              <a:gd name="connsiteX24" fmla="*/ 0 w 835200"/>
              <a:gd name="connsiteY24" fmla="*/ 1578886 h 1973608"/>
              <a:gd name="connsiteX25" fmla="*/ 0 w 835200"/>
              <a:gd name="connsiteY25" fmla="*/ 1381527 h 1973608"/>
              <a:gd name="connsiteX26" fmla="*/ 0 w 835200"/>
              <a:gd name="connsiteY26" fmla="*/ 1381525 h 1973608"/>
              <a:gd name="connsiteX27" fmla="*/ 0 w 835200"/>
              <a:gd name="connsiteY27" fmla="*/ 1184166 h 1973608"/>
              <a:gd name="connsiteX28" fmla="*/ 0 w 835200"/>
              <a:gd name="connsiteY28" fmla="*/ 1184165 h 1973608"/>
              <a:gd name="connsiteX29" fmla="*/ 0 w 835200"/>
              <a:gd name="connsiteY29" fmla="*/ 986806 h 1973608"/>
              <a:gd name="connsiteX30" fmla="*/ 0 w 835200"/>
              <a:gd name="connsiteY30" fmla="*/ 986804 h 1973608"/>
              <a:gd name="connsiteX31" fmla="*/ 0 w 835200"/>
              <a:gd name="connsiteY31" fmla="*/ 789445 h 1973608"/>
              <a:gd name="connsiteX32" fmla="*/ 0 w 835200"/>
              <a:gd name="connsiteY32" fmla="*/ 789444 h 1973608"/>
              <a:gd name="connsiteX33" fmla="*/ 0 w 835200"/>
              <a:gd name="connsiteY33" fmla="*/ 592085 h 1973608"/>
              <a:gd name="connsiteX34" fmla="*/ 0 w 835200"/>
              <a:gd name="connsiteY34" fmla="*/ 592083 h 1973608"/>
              <a:gd name="connsiteX35" fmla="*/ 0 w 835200"/>
              <a:gd name="connsiteY35" fmla="*/ 394723 h 1973608"/>
              <a:gd name="connsiteX36" fmla="*/ 0 w 835200"/>
              <a:gd name="connsiteY36" fmla="*/ 197362 h 1973608"/>
              <a:gd name="connsiteX37" fmla="*/ 0 w 835200"/>
              <a:gd name="connsiteY37"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417600 w 835200"/>
              <a:gd name="connsiteY19" fmla="*/ 1973608 h 1973608"/>
              <a:gd name="connsiteX20" fmla="*/ 0 w 835200"/>
              <a:gd name="connsiteY20" fmla="*/ 1776248 h 1973608"/>
              <a:gd name="connsiteX21" fmla="*/ 0 w 835200"/>
              <a:gd name="connsiteY21" fmla="*/ 1776246 h 1973608"/>
              <a:gd name="connsiteX22" fmla="*/ 0 w 835200"/>
              <a:gd name="connsiteY22" fmla="*/ 1578887 h 1973608"/>
              <a:gd name="connsiteX23" fmla="*/ 0 w 835200"/>
              <a:gd name="connsiteY23" fmla="*/ 1578886 h 1973608"/>
              <a:gd name="connsiteX24" fmla="*/ 0 w 835200"/>
              <a:gd name="connsiteY24" fmla="*/ 1381527 h 1973608"/>
              <a:gd name="connsiteX25" fmla="*/ 0 w 835200"/>
              <a:gd name="connsiteY25" fmla="*/ 1381525 h 1973608"/>
              <a:gd name="connsiteX26" fmla="*/ 0 w 835200"/>
              <a:gd name="connsiteY26" fmla="*/ 1184166 h 1973608"/>
              <a:gd name="connsiteX27" fmla="*/ 0 w 835200"/>
              <a:gd name="connsiteY27" fmla="*/ 1184165 h 1973608"/>
              <a:gd name="connsiteX28" fmla="*/ 0 w 835200"/>
              <a:gd name="connsiteY28" fmla="*/ 986806 h 1973608"/>
              <a:gd name="connsiteX29" fmla="*/ 0 w 835200"/>
              <a:gd name="connsiteY29" fmla="*/ 986804 h 1973608"/>
              <a:gd name="connsiteX30" fmla="*/ 0 w 835200"/>
              <a:gd name="connsiteY30" fmla="*/ 789445 h 1973608"/>
              <a:gd name="connsiteX31" fmla="*/ 0 w 835200"/>
              <a:gd name="connsiteY31" fmla="*/ 789444 h 1973608"/>
              <a:gd name="connsiteX32" fmla="*/ 0 w 835200"/>
              <a:gd name="connsiteY32" fmla="*/ 592085 h 1973608"/>
              <a:gd name="connsiteX33" fmla="*/ 0 w 835200"/>
              <a:gd name="connsiteY33" fmla="*/ 592083 h 1973608"/>
              <a:gd name="connsiteX34" fmla="*/ 0 w 835200"/>
              <a:gd name="connsiteY34" fmla="*/ 394723 h 1973608"/>
              <a:gd name="connsiteX35" fmla="*/ 0 w 835200"/>
              <a:gd name="connsiteY35" fmla="*/ 197362 h 1973608"/>
              <a:gd name="connsiteX36" fmla="*/ 0 w 835200"/>
              <a:gd name="connsiteY36" fmla="*/ 197361 h 197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35200" h="1973608">
                <a:moveTo>
                  <a:pt x="0" y="197361"/>
                </a:moveTo>
                <a:lnTo>
                  <a:pt x="417600" y="0"/>
                </a:lnTo>
                <a:lnTo>
                  <a:pt x="835200" y="197361"/>
                </a:lnTo>
                <a:lnTo>
                  <a:pt x="835200" y="197362"/>
                </a:lnTo>
                <a:lnTo>
                  <a:pt x="835200" y="394723"/>
                </a:lnTo>
                <a:lnTo>
                  <a:pt x="835200" y="592083"/>
                </a:lnTo>
                <a:lnTo>
                  <a:pt x="835200" y="592085"/>
                </a:lnTo>
                <a:lnTo>
                  <a:pt x="835200" y="789444"/>
                </a:lnTo>
                <a:lnTo>
                  <a:pt x="835200" y="789445"/>
                </a:lnTo>
                <a:lnTo>
                  <a:pt x="835200" y="986804"/>
                </a:lnTo>
                <a:lnTo>
                  <a:pt x="835200" y="986806"/>
                </a:lnTo>
                <a:lnTo>
                  <a:pt x="835200" y="1184165"/>
                </a:lnTo>
                <a:lnTo>
                  <a:pt x="835200" y="1184166"/>
                </a:lnTo>
                <a:lnTo>
                  <a:pt x="835200" y="1381525"/>
                </a:lnTo>
                <a:lnTo>
                  <a:pt x="835200" y="1381527"/>
                </a:lnTo>
                <a:lnTo>
                  <a:pt x="835200" y="1578886"/>
                </a:lnTo>
                <a:lnTo>
                  <a:pt x="835200" y="1578887"/>
                </a:lnTo>
                <a:lnTo>
                  <a:pt x="835200" y="1776246"/>
                </a:lnTo>
                <a:lnTo>
                  <a:pt x="835200" y="1776248"/>
                </a:lnTo>
                <a:lnTo>
                  <a:pt x="417600" y="1973608"/>
                </a:lnTo>
                <a:lnTo>
                  <a:pt x="0" y="1776248"/>
                </a:lnTo>
                <a:lnTo>
                  <a:pt x="0" y="1776246"/>
                </a:lnTo>
                <a:lnTo>
                  <a:pt x="0" y="1578887"/>
                </a:lnTo>
                <a:lnTo>
                  <a:pt x="0" y="1578886"/>
                </a:lnTo>
                <a:lnTo>
                  <a:pt x="0" y="1381527"/>
                </a:lnTo>
                <a:lnTo>
                  <a:pt x="0" y="1381525"/>
                </a:lnTo>
                <a:lnTo>
                  <a:pt x="0" y="1184166"/>
                </a:lnTo>
                <a:lnTo>
                  <a:pt x="0" y="1184165"/>
                </a:lnTo>
                <a:lnTo>
                  <a:pt x="0" y="986806"/>
                </a:lnTo>
                <a:lnTo>
                  <a:pt x="0" y="986804"/>
                </a:lnTo>
                <a:lnTo>
                  <a:pt x="0" y="789445"/>
                </a:lnTo>
                <a:lnTo>
                  <a:pt x="0" y="789444"/>
                </a:lnTo>
                <a:lnTo>
                  <a:pt x="0" y="592085"/>
                </a:lnTo>
                <a:lnTo>
                  <a:pt x="0" y="592083"/>
                </a:lnTo>
                <a:lnTo>
                  <a:pt x="0" y="394723"/>
                </a:lnTo>
                <a:lnTo>
                  <a:pt x="0" y="197362"/>
                </a:lnTo>
                <a:lnTo>
                  <a:pt x="0" y="197361"/>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spcBef>
                <a:spcPts val="300"/>
              </a:spcBef>
              <a:buClr>
                <a:srgbClr val="002897"/>
              </a:buClr>
              <a:buSzPct val="70000"/>
            </a:pPr>
            <a:r>
              <a:rPr lang="de-DE" sz="900" dirty="0">
                <a:solidFill>
                  <a:schemeClr val="tx1"/>
                </a:solidFill>
              </a:rPr>
              <a:t>Scrubber</a:t>
            </a:r>
          </a:p>
        </p:txBody>
      </p:sp>
      <p:grpSp>
        <p:nvGrpSpPr>
          <p:cNvPr id="695" name="Group 694">
            <a:extLst>
              <a:ext uri="{FF2B5EF4-FFF2-40B4-BE49-F238E27FC236}">
                <a16:creationId xmlns:a16="http://schemas.microsoft.com/office/drawing/2014/main" id="{DA3260CE-34F5-4365-A7FD-5F2BDCB67E59}"/>
              </a:ext>
            </a:extLst>
          </p:cNvPr>
          <p:cNvGrpSpPr/>
          <p:nvPr/>
        </p:nvGrpSpPr>
        <p:grpSpPr bwMode="gray">
          <a:xfrm>
            <a:off x="5416423" y="2351766"/>
            <a:ext cx="766066" cy="1055540"/>
            <a:chOff x="5356744" y="2912763"/>
            <a:chExt cx="835604" cy="2001035"/>
          </a:xfrm>
        </p:grpSpPr>
        <p:sp>
          <p:nvSpPr>
            <p:cNvPr id="696" name="Rectangle: Rounded Corners 695">
              <a:extLst>
                <a:ext uri="{FF2B5EF4-FFF2-40B4-BE49-F238E27FC236}">
                  <a16:creationId xmlns:a16="http://schemas.microsoft.com/office/drawing/2014/main" id="{DD779E20-0C58-4E40-AE49-18C5941D1051}"/>
                </a:ext>
              </a:extLst>
            </p:cNvPr>
            <p:cNvSpPr/>
            <p:nvPr/>
          </p:nvSpPr>
          <p:spPr bwMode="gray">
            <a:xfrm>
              <a:off x="5357148" y="2912763"/>
              <a:ext cx="835200" cy="2001035"/>
            </a:xfrm>
            <a:prstGeom prst="roundRect">
              <a:avLst>
                <a:gd name="adj" fmla="val 36725"/>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900" dirty="0">
                <a:solidFill>
                  <a:schemeClr val="tx1"/>
                </a:solidFill>
              </a:endParaRPr>
            </a:p>
          </p:txBody>
        </p:sp>
        <p:sp>
          <p:nvSpPr>
            <p:cNvPr id="697" name="Rectangle 696">
              <a:extLst>
                <a:ext uri="{FF2B5EF4-FFF2-40B4-BE49-F238E27FC236}">
                  <a16:creationId xmlns:a16="http://schemas.microsoft.com/office/drawing/2014/main" id="{72CFA0F4-B656-46C0-8A4A-BEB81AA4E155}"/>
                </a:ext>
              </a:extLst>
            </p:cNvPr>
            <p:cNvSpPr/>
            <p:nvPr/>
          </p:nvSpPr>
          <p:spPr bwMode="gray">
            <a:xfrm>
              <a:off x="5356744" y="3407805"/>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698" name="Rectangle 697">
              <a:extLst>
                <a:ext uri="{FF2B5EF4-FFF2-40B4-BE49-F238E27FC236}">
                  <a16:creationId xmlns:a16="http://schemas.microsoft.com/office/drawing/2014/main" id="{03548D62-8F51-4DC2-896B-7D2F67F9BDD0}"/>
                </a:ext>
              </a:extLst>
            </p:cNvPr>
            <p:cNvSpPr/>
            <p:nvPr/>
          </p:nvSpPr>
          <p:spPr bwMode="gray">
            <a:xfrm>
              <a:off x="5356744" y="3534175"/>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699" name="Rectangle 698">
              <a:extLst>
                <a:ext uri="{FF2B5EF4-FFF2-40B4-BE49-F238E27FC236}">
                  <a16:creationId xmlns:a16="http://schemas.microsoft.com/office/drawing/2014/main" id="{C5DD3C03-CDDC-4545-87B6-2A7BF738AE89}"/>
                </a:ext>
              </a:extLst>
            </p:cNvPr>
            <p:cNvSpPr/>
            <p:nvPr/>
          </p:nvSpPr>
          <p:spPr bwMode="gray">
            <a:xfrm>
              <a:off x="5356744" y="3660544"/>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00" name="Rectangle 699">
              <a:extLst>
                <a:ext uri="{FF2B5EF4-FFF2-40B4-BE49-F238E27FC236}">
                  <a16:creationId xmlns:a16="http://schemas.microsoft.com/office/drawing/2014/main" id="{0A89E9CA-825D-4C14-91E5-3CC2573639C5}"/>
                </a:ext>
              </a:extLst>
            </p:cNvPr>
            <p:cNvSpPr/>
            <p:nvPr/>
          </p:nvSpPr>
          <p:spPr bwMode="gray">
            <a:xfrm>
              <a:off x="5356744" y="3786913"/>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01" name="Rectangle 700">
              <a:extLst>
                <a:ext uri="{FF2B5EF4-FFF2-40B4-BE49-F238E27FC236}">
                  <a16:creationId xmlns:a16="http://schemas.microsoft.com/office/drawing/2014/main" id="{CB9CC2E1-7260-4F01-9271-57D874B0D4A9}"/>
                </a:ext>
              </a:extLst>
            </p:cNvPr>
            <p:cNvSpPr/>
            <p:nvPr/>
          </p:nvSpPr>
          <p:spPr bwMode="gray">
            <a:xfrm>
              <a:off x="5356744" y="3913282"/>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02" name="Rectangle 701">
              <a:extLst>
                <a:ext uri="{FF2B5EF4-FFF2-40B4-BE49-F238E27FC236}">
                  <a16:creationId xmlns:a16="http://schemas.microsoft.com/office/drawing/2014/main" id="{BE82BADA-A85B-4210-8A6E-27F62A21FF74}"/>
                </a:ext>
              </a:extLst>
            </p:cNvPr>
            <p:cNvSpPr/>
            <p:nvPr/>
          </p:nvSpPr>
          <p:spPr bwMode="gray">
            <a:xfrm>
              <a:off x="5356744" y="4039651"/>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03" name="Rectangle 702">
              <a:extLst>
                <a:ext uri="{FF2B5EF4-FFF2-40B4-BE49-F238E27FC236}">
                  <a16:creationId xmlns:a16="http://schemas.microsoft.com/office/drawing/2014/main" id="{00F11138-8D66-445D-AC3B-C6A5DC70CBAF}"/>
                </a:ext>
              </a:extLst>
            </p:cNvPr>
            <p:cNvSpPr/>
            <p:nvPr/>
          </p:nvSpPr>
          <p:spPr bwMode="gray">
            <a:xfrm>
              <a:off x="5356744" y="4166020"/>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04" name="Rectangle 703">
              <a:extLst>
                <a:ext uri="{FF2B5EF4-FFF2-40B4-BE49-F238E27FC236}">
                  <a16:creationId xmlns:a16="http://schemas.microsoft.com/office/drawing/2014/main" id="{F93CEF9B-748D-46D3-93C0-F6744264597F}"/>
                </a:ext>
              </a:extLst>
            </p:cNvPr>
            <p:cNvSpPr/>
            <p:nvPr/>
          </p:nvSpPr>
          <p:spPr bwMode="gray">
            <a:xfrm>
              <a:off x="5356744" y="4292389"/>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05" name="Rectangle 704">
              <a:extLst>
                <a:ext uri="{FF2B5EF4-FFF2-40B4-BE49-F238E27FC236}">
                  <a16:creationId xmlns:a16="http://schemas.microsoft.com/office/drawing/2014/main" id="{1C807E3D-747B-45A1-B82F-8DC376E5EF5A}"/>
                </a:ext>
              </a:extLst>
            </p:cNvPr>
            <p:cNvSpPr/>
            <p:nvPr/>
          </p:nvSpPr>
          <p:spPr bwMode="gray">
            <a:xfrm>
              <a:off x="5356744" y="3660544"/>
              <a:ext cx="835200" cy="50547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r>
                <a:rPr lang="de-DE" sz="900" dirty="0">
                  <a:solidFill>
                    <a:schemeClr val="tx1"/>
                  </a:solidFill>
                </a:rPr>
                <a:t>Desorption column</a:t>
              </a:r>
            </a:p>
          </p:txBody>
        </p:sp>
      </p:grpSp>
      <p:grpSp>
        <p:nvGrpSpPr>
          <p:cNvPr id="712" name="Group 711">
            <a:extLst>
              <a:ext uri="{FF2B5EF4-FFF2-40B4-BE49-F238E27FC236}">
                <a16:creationId xmlns:a16="http://schemas.microsoft.com/office/drawing/2014/main" id="{F183EAA8-6D9C-4FEA-9E6D-E5C1539942CA}"/>
              </a:ext>
            </a:extLst>
          </p:cNvPr>
          <p:cNvGrpSpPr/>
          <p:nvPr/>
        </p:nvGrpSpPr>
        <p:grpSpPr bwMode="gray">
          <a:xfrm>
            <a:off x="954287" y="4087057"/>
            <a:ext cx="842400" cy="988689"/>
            <a:chOff x="1877676" y="-336516"/>
            <a:chExt cx="842400" cy="988689"/>
          </a:xfrm>
        </p:grpSpPr>
        <p:sp>
          <p:nvSpPr>
            <p:cNvPr id="680" name="Rectangle 679">
              <a:extLst>
                <a:ext uri="{FF2B5EF4-FFF2-40B4-BE49-F238E27FC236}">
                  <a16:creationId xmlns:a16="http://schemas.microsoft.com/office/drawing/2014/main" id="{0C7A7AD3-C8A0-4951-A36E-D35AB2434059}"/>
                </a:ext>
              </a:extLst>
            </p:cNvPr>
            <p:cNvSpPr/>
            <p:nvPr/>
          </p:nvSpPr>
          <p:spPr bwMode="gray">
            <a:xfrm>
              <a:off x="1877676" y="325612"/>
              <a:ext cx="842400" cy="32656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Off-gas  purification</a:t>
              </a:r>
            </a:p>
          </p:txBody>
        </p:sp>
        <p:sp>
          <p:nvSpPr>
            <p:cNvPr id="681" name="Rectangle: Rounded Corners 680">
              <a:extLst>
                <a:ext uri="{FF2B5EF4-FFF2-40B4-BE49-F238E27FC236}">
                  <a16:creationId xmlns:a16="http://schemas.microsoft.com/office/drawing/2014/main" id="{21D94D54-F6E7-465D-A817-42D01ABA48C1}"/>
                </a:ext>
              </a:extLst>
            </p:cNvPr>
            <p:cNvSpPr/>
            <p:nvPr/>
          </p:nvSpPr>
          <p:spPr bwMode="gray">
            <a:xfrm rot="5400000">
              <a:off x="1969311" y="-160820"/>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900" dirty="0">
                <a:solidFill>
                  <a:schemeClr val="tx1"/>
                </a:solidFill>
              </a:endParaRPr>
            </a:p>
          </p:txBody>
        </p:sp>
        <p:cxnSp>
          <p:nvCxnSpPr>
            <p:cNvPr id="707" name="Straight Connector 706">
              <a:extLst>
                <a:ext uri="{FF2B5EF4-FFF2-40B4-BE49-F238E27FC236}">
                  <a16:creationId xmlns:a16="http://schemas.microsoft.com/office/drawing/2014/main" id="{141B75E0-2FD2-4594-811A-8EEF282AE521}"/>
                </a:ext>
              </a:extLst>
            </p:cNvPr>
            <p:cNvCxnSpPr>
              <a:stCxn id="681" idx="2"/>
              <a:endCxn id="681" idx="0"/>
            </p:cNvCxnSpPr>
            <p:nvPr/>
          </p:nvCxnSpPr>
          <p:spPr bwMode="gray">
            <a:xfrm>
              <a:off x="2145007" y="-6951"/>
              <a:ext cx="30773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713" name="Group 712">
            <a:extLst>
              <a:ext uri="{FF2B5EF4-FFF2-40B4-BE49-F238E27FC236}">
                <a16:creationId xmlns:a16="http://schemas.microsoft.com/office/drawing/2014/main" id="{9DA0F5E2-62DB-44C6-AC8C-51A8EF91D9E2}"/>
              </a:ext>
            </a:extLst>
          </p:cNvPr>
          <p:cNvGrpSpPr/>
          <p:nvPr/>
        </p:nvGrpSpPr>
        <p:grpSpPr bwMode="gray">
          <a:xfrm>
            <a:off x="1769861" y="4087057"/>
            <a:ext cx="842400" cy="992121"/>
            <a:chOff x="3029820" y="-336516"/>
            <a:chExt cx="842400" cy="992121"/>
          </a:xfrm>
        </p:grpSpPr>
        <p:sp>
          <p:nvSpPr>
            <p:cNvPr id="677" name="Rectangle 676">
              <a:extLst>
                <a:ext uri="{FF2B5EF4-FFF2-40B4-BE49-F238E27FC236}">
                  <a16:creationId xmlns:a16="http://schemas.microsoft.com/office/drawing/2014/main" id="{47905A36-2F10-404B-8998-F7B3C58CAD9F}"/>
                </a:ext>
              </a:extLst>
            </p:cNvPr>
            <p:cNvSpPr/>
            <p:nvPr/>
          </p:nvSpPr>
          <p:spPr bwMode="gray">
            <a:xfrm>
              <a:off x="3029820" y="325613"/>
              <a:ext cx="842400" cy="3299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Air purification</a:t>
              </a:r>
            </a:p>
          </p:txBody>
        </p:sp>
        <p:sp>
          <p:nvSpPr>
            <p:cNvPr id="678" name="Rectangle: Rounded Corners 677">
              <a:extLst>
                <a:ext uri="{FF2B5EF4-FFF2-40B4-BE49-F238E27FC236}">
                  <a16:creationId xmlns:a16="http://schemas.microsoft.com/office/drawing/2014/main" id="{964C1D58-9D69-4B30-A9B9-C5AF68058F4D}"/>
                </a:ext>
              </a:extLst>
            </p:cNvPr>
            <p:cNvSpPr/>
            <p:nvPr/>
          </p:nvSpPr>
          <p:spPr bwMode="gray">
            <a:xfrm rot="5400000">
              <a:off x="3121455" y="-160820"/>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900" dirty="0">
                <a:solidFill>
                  <a:schemeClr val="tx1"/>
                </a:solidFill>
              </a:endParaRPr>
            </a:p>
          </p:txBody>
        </p:sp>
        <p:cxnSp>
          <p:nvCxnSpPr>
            <p:cNvPr id="711" name="Straight Connector 710">
              <a:extLst>
                <a:ext uri="{FF2B5EF4-FFF2-40B4-BE49-F238E27FC236}">
                  <a16:creationId xmlns:a16="http://schemas.microsoft.com/office/drawing/2014/main" id="{EECA4B19-BDC1-4843-AE5D-420BFF90CE2C}"/>
                </a:ext>
              </a:extLst>
            </p:cNvPr>
            <p:cNvCxnSpPr>
              <a:stCxn id="678" idx="2"/>
              <a:endCxn id="678" idx="0"/>
            </p:cNvCxnSpPr>
            <p:nvPr/>
          </p:nvCxnSpPr>
          <p:spPr bwMode="gray">
            <a:xfrm>
              <a:off x="3297151" y="-6951"/>
              <a:ext cx="307738"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grpSp>
      <p:grpSp>
        <p:nvGrpSpPr>
          <p:cNvPr id="714" name="Group 713">
            <a:extLst>
              <a:ext uri="{FF2B5EF4-FFF2-40B4-BE49-F238E27FC236}">
                <a16:creationId xmlns:a16="http://schemas.microsoft.com/office/drawing/2014/main" id="{BE40F8C7-B4D8-435F-9EC6-C49DE005431E}"/>
              </a:ext>
            </a:extLst>
          </p:cNvPr>
          <p:cNvGrpSpPr/>
          <p:nvPr/>
        </p:nvGrpSpPr>
        <p:grpSpPr bwMode="gray">
          <a:xfrm>
            <a:off x="2408535" y="2963541"/>
            <a:ext cx="215856" cy="216648"/>
            <a:chOff x="13731031" y="3811749"/>
            <a:chExt cx="309600" cy="310736"/>
          </a:xfrm>
        </p:grpSpPr>
        <p:sp>
          <p:nvSpPr>
            <p:cNvPr id="715" name="Oval 714">
              <a:extLst>
                <a:ext uri="{FF2B5EF4-FFF2-40B4-BE49-F238E27FC236}">
                  <a16:creationId xmlns:a16="http://schemas.microsoft.com/office/drawing/2014/main" id="{1546BC66-5CD5-4C8A-8284-F08A9E6F0FE2}"/>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716" name="Freeform: Shape 715">
              <a:extLst>
                <a:ext uri="{FF2B5EF4-FFF2-40B4-BE49-F238E27FC236}">
                  <a16:creationId xmlns:a16="http://schemas.microsoft.com/office/drawing/2014/main" id="{8221D34C-36FF-4CEB-9709-CA978E072A0A}"/>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a:solidFill>
                  <a:schemeClr val="tx1"/>
                </a:solidFill>
              </a:endParaRPr>
            </a:p>
          </p:txBody>
        </p:sp>
      </p:grpSp>
      <p:grpSp>
        <p:nvGrpSpPr>
          <p:cNvPr id="734" name="Group 733">
            <a:extLst>
              <a:ext uri="{FF2B5EF4-FFF2-40B4-BE49-F238E27FC236}">
                <a16:creationId xmlns:a16="http://schemas.microsoft.com/office/drawing/2014/main" id="{53872209-5462-43D1-BE8C-F22B602CA041}"/>
              </a:ext>
            </a:extLst>
          </p:cNvPr>
          <p:cNvGrpSpPr/>
          <p:nvPr/>
        </p:nvGrpSpPr>
        <p:grpSpPr bwMode="gray">
          <a:xfrm>
            <a:off x="2849254" y="3203405"/>
            <a:ext cx="215856" cy="216648"/>
            <a:chOff x="13731031" y="3811749"/>
            <a:chExt cx="309600" cy="310736"/>
          </a:xfrm>
        </p:grpSpPr>
        <p:sp>
          <p:nvSpPr>
            <p:cNvPr id="735" name="Oval 734">
              <a:extLst>
                <a:ext uri="{FF2B5EF4-FFF2-40B4-BE49-F238E27FC236}">
                  <a16:creationId xmlns:a16="http://schemas.microsoft.com/office/drawing/2014/main" id="{5D0C44AF-4D1E-4AD5-B08E-01C5D2199CBB}"/>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736" name="Freeform: Shape 735">
              <a:extLst>
                <a:ext uri="{FF2B5EF4-FFF2-40B4-BE49-F238E27FC236}">
                  <a16:creationId xmlns:a16="http://schemas.microsoft.com/office/drawing/2014/main" id="{3239865A-FD80-49A8-B401-6FC7EC45B3C2}"/>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a:solidFill>
                  <a:schemeClr val="tx1"/>
                </a:solidFill>
              </a:endParaRPr>
            </a:p>
          </p:txBody>
        </p:sp>
      </p:grpSp>
      <p:grpSp>
        <p:nvGrpSpPr>
          <p:cNvPr id="737" name="Group 736">
            <a:extLst>
              <a:ext uri="{FF2B5EF4-FFF2-40B4-BE49-F238E27FC236}">
                <a16:creationId xmlns:a16="http://schemas.microsoft.com/office/drawing/2014/main" id="{CE5A62B3-4D1B-4884-9676-0802E1AFE35E}"/>
              </a:ext>
            </a:extLst>
          </p:cNvPr>
          <p:cNvGrpSpPr/>
          <p:nvPr/>
        </p:nvGrpSpPr>
        <p:grpSpPr bwMode="gray">
          <a:xfrm>
            <a:off x="3369041" y="3133598"/>
            <a:ext cx="215856" cy="216648"/>
            <a:chOff x="13731031" y="3811749"/>
            <a:chExt cx="309600" cy="310736"/>
          </a:xfrm>
        </p:grpSpPr>
        <p:sp>
          <p:nvSpPr>
            <p:cNvPr id="738" name="Oval 737">
              <a:extLst>
                <a:ext uri="{FF2B5EF4-FFF2-40B4-BE49-F238E27FC236}">
                  <a16:creationId xmlns:a16="http://schemas.microsoft.com/office/drawing/2014/main" id="{9310434C-3AEA-4426-BD20-372F8920D572}"/>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739" name="Freeform: Shape 738">
              <a:extLst>
                <a:ext uri="{FF2B5EF4-FFF2-40B4-BE49-F238E27FC236}">
                  <a16:creationId xmlns:a16="http://schemas.microsoft.com/office/drawing/2014/main" id="{B499B386-3FC3-41BE-B905-07B0C10CB05F}"/>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a:solidFill>
                  <a:schemeClr val="tx1"/>
                </a:solidFill>
              </a:endParaRPr>
            </a:p>
          </p:txBody>
        </p:sp>
      </p:grpSp>
      <p:grpSp>
        <p:nvGrpSpPr>
          <p:cNvPr id="740" name="Group 739">
            <a:extLst>
              <a:ext uri="{FF2B5EF4-FFF2-40B4-BE49-F238E27FC236}">
                <a16:creationId xmlns:a16="http://schemas.microsoft.com/office/drawing/2014/main" id="{29EF2CC7-67D5-4889-AF80-CC9DE860AB74}"/>
              </a:ext>
            </a:extLst>
          </p:cNvPr>
          <p:cNvGrpSpPr/>
          <p:nvPr/>
        </p:nvGrpSpPr>
        <p:grpSpPr bwMode="gray">
          <a:xfrm>
            <a:off x="4694645" y="2098915"/>
            <a:ext cx="215856" cy="216648"/>
            <a:chOff x="2708647" y="2940860"/>
            <a:chExt cx="309600" cy="310736"/>
          </a:xfrm>
        </p:grpSpPr>
        <p:sp>
          <p:nvSpPr>
            <p:cNvPr id="741" name="Oval 740">
              <a:extLst>
                <a:ext uri="{FF2B5EF4-FFF2-40B4-BE49-F238E27FC236}">
                  <a16:creationId xmlns:a16="http://schemas.microsoft.com/office/drawing/2014/main" id="{8384A75B-C49C-4384-8B6E-615E7A33AAEC}"/>
                </a:ext>
              </a:extLst>
            </p:cNvPr>
            <p:cNvSpPr/>
            <p:nvPr/>
          </p:nvSpPr>
          <p:spPr bwMode="gray">
            <a:xfrm flipH="1">
              <a:off x="2708647" y="2940860"/>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742" name="Trapezoid 729">
              <a:extLst>
                <a:ext uri="{FF2B5EF4-FFF2-40B4-BE49-F238E27FC236}">
                  <a16:creationId xmlns:a16="http://schemas.microsoft.com/office/drawing/2014/main" id="{89DC6C13-1C7F-48C8-8126-D7CD530E85D5}"/>
                </a:ext>
              </a:extLst>
            </p:cNvPr>
            <p:cNvSpPr/>
            <p:nvPr/>
          </p:nvSpPr>
          <p:spPr bwMode="gray">
            <a:xfrm rot="5400000">
              <a:off x="2850527" y="2898689"/>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sp>
          <p:nvSpPr>
            <p:cNvPr id="743" name="Trapezoid 729">
              <a:extLst>
                <a:ext uri="{FF2B5EF4-FFF2-40B4-BE49-F238E27FC236}">
                  <a16:creationId xmlns:a16="http://schemas.microsoft.com/office/drawing/2014/main" id="{4F9E562B-ECC0-4B4F-BE8A-4F0270FCD6EC}"/>
                </a:ext>
              </a:extLst>
            </p:cNvPr>
            <p:cNvSpPr/>
            <p:nvPr/>
          </p:nvSpPr>
          <p:spPr bwMode="gray">
            <a:xfrm rot="16200000" flipV="1">
              <a:off x="2850527" y="3032782"/>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grpSp>
      <p:grpSp>
        <p:nvGrpSpPr>
          <p:cNvPr id="744" name="Group 743">
            <a:extLst>
              <a:ext uri="{FF2B5EF4-FFF2-40B4-BE49-F238E27FC236}">
                <a16:creationId xmlns:a16="http://schemas.microsoft.com/office/drawing/2014/main" id="{5C707017-EC57-4839-9FA4-7D49C3238C7A}"/>
              </a:ext>
            </a:extLst>
          </p:cNvPr>
          <p:cNvGrpSpPr/>
          <p:nvPr/>
        </p:nvGrpSpPr>
        <p:grpSpPr bwMode="gray">
          <a:xfrm>
            <a:off x="4941409" y="5411792"/>
            <a:ext cx="215856" cy="216648"/>
            <a:chOff x="2708647" y="2940860"/>
            <a:chExt cx="309600" cy="310736"/>
          </a:xfrm>
        </p:grpSpPr>
        <p:sp>
          <p:nvSpPr>
            <p:cNvPr id="745" name="Oval 744">
              <a:extLst>
                <a:ext uri="{FF2B5EF4-FFF2-40B4-BE49-F238E27FC236}">
                  <a16:creationId xmlns:a16="http://schemas.microsoft.com/office/drawing/2014/main" id="{2298FF29-6A54-4EAE-8CCA-D22D2D939FB8}"/>
                </a:ext>
              </a:extLst>
            </p:cNvPr>
            <p:cNvSpPr/>
            <p:nvPr/>
          </p:nvSpPr>
          <p:spPr bwMode="gray">
            <a:xfrm flipH="1">
              <a:off x="2708647" y="2940860"/>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746" name="Trapezoid 729">
              <a:extLst>
                <a:ext uri="{FF2B5EF4-FFF2-40B4-BE49-F238E27FC236}">
                  <a16:creationId xmlns:a16="http://schemas.microsoft.com/office/drawing/2014/main" id="{2A8B1322-E227-4BB2-90CC-3FB422F8DA44}"/>
                </a:ext>
              </a:extLst>
            </p:cNvPr>
            <p:cNvSpPr/>
            <p:nvPr/>
          </p:nvSpPr>
          <p:spPr bwMode="gray">
            <a:xfrm rot="5400000">
              <a:off x="2850527" y="2898689"/>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sp>
          <p:nvSpPr>
            <p:cNvPr id="747" name="Trapezoid 729">
              <a:extLst>
                <a:ext uri="{FF2B5EF4-FFF2-40B4-BE49-F238E27FC236}">
                  <a16:creationId xmlns:a16="http://schemas.microsoft.com/office/drawing/2014/main" id="{61937FBE-B76E-46D0-B635-7309FC4B3822}"/>
                </a:ext>
              </a:extLst>
            </p:cNvPr>
            <p:cNvSpPr/>
            <p:nvPr/>
          </p:nvSpPr>
          <p:spPr bwMode="gray">
            <a:xfrm rot="16200000" flipV="1">
              <a:off x="2850527" y="3032782"/>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grpSp>
      <p:grpSp>
        <p:nvGrpSpPr>
          <p:cNvPr id="748" name="Group 747">
            <a:extLst>
              <a:ext uri="{FF2B5EF4-FFF2-40B4-BE49-F238E27FC236}">
                <a16:creationId xmlns:a16="http://schemas.microsoft.com/office/drawing/2014/main" id="{924A8AC9-736B-438C-B91A-FF34634F8C4B}"/>
              </a:ext>
            </a:extLst>
          </p:cNvPr>
          <p:cNvGrpSpPr/>
          <p:nvPr/>
        </p:nvGrpSpPr>
        <p:grpSpPr bwMode="gray">
          <a:xfrm>
            <a:off x="2554848" y="5437192"/>
            <a:ext cx="215856" cy="216648"/>
            <a:chOff x="2708647" y="2940860"/>
            <a:chExt cx="309600" cy="310736"/>
          </a:xfrm>
        </p:grpSpPr>
        <p:sp>
          <p:nvSpPr>
            <p:cNvPr id="749" name="Oval 748">
              <a:extLst>
                <a:ext uri="{FF2B5EF4-FFF2-40B4-BE49-F238E27FC236}">
                  <a16:creationId xmlns:a16="http://schemas.microsoft.com/office/drawing/2014/main" id="{ED35175A-E0C8-46E7-9365-48F11BA9E544}"/>
                </a:ext>
              </a:extLst>
            </p:cNvPr>
            <p:cNvSpPr/>
            <p:nvPr/>
          </p:nvSpPr>
          <p:spPr bwMode="gray">
            <a:xfrm flipH="1">
              <a:off x="2708647" y="2940860"/>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750" name="Trapezoid 729">
              <a:extLst>
                <a:ext uri="{FF2B5EF4-FFF2-40B4-BE49-F238E27FC236}">
                  <a16:creationId xmlns:a16="http://schemas.microsoft.com/office/drawing/2014/main" id="{1908CD4F-739B-4E47-8E8B-D62356B3738B}"/>
                </a:ext>
              </a:extLst>
            </p:cNvPr>
            <p:cNvSpPr/>
            <p:nvPr/>
          </p:nvSpPr>
          <p:spPr bwMode="gray">
            <a:xfrm rot="5400000">
              <a:off x="2850527" y="2898689"/>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sp>
          <p:nvSpPr>
            <p:cNvPr id="751" name="Trapezoid 729">
              <a:extLst>
                <a:ext uri="{FF2B5EF4-FFF2-40B4-BE49-F238E27FC236}">
                  <a16:creationId xmlns:a16="http://schemas.microsoft.com/office/drawing/2014/main" id="{F7410D7B-2526-44AB-9586-AA9BF66C3FEC}"/>
                </a:ext>
              </a:extLst>
            </p:cNvPr>
            <p:cNvSpPr/>
            <p:nvPr/>
          </p:nvSpPr>
          <p:spPr bwMode="gray">
            <a:xfrm rot="16200000" flipV="1">
              <a:off x="2850527" y="3032782"/>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grpSp>
      <p:grpSp>
        <p:nvGrpSpPr>
          <p:cNvPr id="752" name="Group 751">
            <a:extLst>
              <a:ext uri="{FF2B5EF4-FFF2-40B4-BE49-F238E27FC236}">
                <a16:creationId xmlns:a16="http://schemas.microsoft.com/office/drawing/2014/main" id="{A89AAA07-B708-45D7-A2AC-B39BFC139DB2}"/>
              </a:ext>
            </a:extLst>
          </p:cNvPr>
          <p:cNvGrpSpPr/>
          <p:nvPr/>
        </p:nvGrpSpPr>
        <p:grpSpPr bwMode="gray">
          <a:xfrm>
            <a:off x="1267559" y="5211933"/>
            <a:ext cx="215856" cy="216648"/>
            <a:chOff x="2708647" y="2940860"/>
            <a:chExt cx="309600" cy="310736"/>
          </a:xfrm>
        </p:grpSpPr>
        <p:sp>
          <p:nvSpPr>
            <p:cNvPr id="753" name="Oval 752">
              <a:extLst>
                <a:ext uri="{FF2B5EF4-FFF2-40B4-BE49-F238E27FC236}">
                  <a16:creationId xmlns:a16="http://schemas.microsoft.com/office/drawing/2014/main" id="{D9806033-BB3A-437C-BE51-947E9B65BBFC}"/>
                </a:ext>
              </a:extLst>
            </p:cNvPr>
            <p:cNvSpPr/>
            <p:nvPr/>
          </p:nvSpPr>
          <p:spPr bwMode="gray">
            <a:xfrm flipH="1">
              <a:off x="2708647" y="2940860"/>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754" name="Trapezoid 729">
              <a:extLst>
                <a:ext uri="{FF2B5EF4-FFF2-40B4-BE49-F238E27FC236}">
                  <a16:creationId xmlns:a16="http://schemas.microsoft.com/office/drawing/2014/main" id="{700C5D5E-4595-4ADF-8BF1-F4E7DBA733D6}"/>
                </a:ext>
              </a:extLst>
            </p:cNvPr>
            <p:cNvSpPr/>
            <p:nvPr/>
          </p:nvSpPr>
          <p:spPr bwMode="gray">
            <a:xfrm rot="5400000">
              <a:off x="2850527" y="2898689"/>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sp>
          <p:nvSpPr>
            <p:cNvPr id="755" name="Trapezoid 729">
              <a:extLst>
                <a:ext uri="{FF2B5EF4-FFF2-40B4-BE49-F238E27FC236}">
                  <a16:creationId xmlns:a16="http://schemas.microsoft.com/office/drawing/2014/main" id="{B151430E-CBC4-4893-B0FB-4576B6916EFA}"/>
                </a:ext>
              </a:extLst>
            </p:cNvPr>
            <p:cNvSpPr/>
            <p:nvPr/>
          </p:nvSpPr>
          <p:spPr bwMode="gray">
            <a:xfrm rot="16200000" flipV="1">
              <a:off x="2850527" y="3032782"/>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grpSp>
      <p:grpSp>
        <p:nvGrpSpPr>
          <p:cNvPr id="756" name="Group 755">
            <a:extLst>
              <a:ext uri="{FF2B5EF4-FFF2-40B4-BE49-F238E27FC236}">
                <a16:creationId xmlns:a16="http://schemas.microsoft.com/office/drawing/2014/main" id="{51CDB361-4962-464B-BF19-1F2FC44FA11D}"/>
              </a:ext>
            </a:extLst>
          </p:cNvPr>
          <p:cNvGrpSpPr/>
          <p:nvPr/>
        </p:nvGrpSpPr>
        <p:grpSpPr bwMode="gray">
          <a:xfrm>
            <a:off x="3601197" y="5348393"/>
            <a:ext cx="215856" cy="216648"/>
            <a:chOff x="13731031" y="3811749"/>
            <a:chExt cx="309600" cy="310736"/>
          </a:xfrm>
        </p:grpSpPr>
        <p:sp>
          <p:nvSpPr>
            <p:cNvPr id="757" name="Oval 756">
              <a:extLst>
                <a:ext uri="{FF2B5EF4-FFF2-40B4-BE49-F238E27FC236}">
                  <a16:creationId xmlns:a16="http://schemas.microsoft.com/office/drawing/2014/main" id="{4A211CFE-08BA-4909-9E70-0353382D59E5}"/>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758" name="Freeform: Shape 757">
              <a:extLst>
                <a:ext uri="{FF2B5EF4-FFF2-40B4-BE49-F238E27FC236}">
                  <a16:creationId xmlns:a16="http://schemas.microsoft.com/office/drawing/2014/main" id="{8EC57E71-ED46-4A67-81D3-6EBC7DED4B9B}"/>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a:solidFill>
                  <a:schemeClr val="tx1"/>
                </a:solidFill>
              </a:endParaRPr>
            </a:p>
          </p:txBody>
        </p:sp>
      </p:grpSp>
      <p:grpSp>
        <p:nvGrpSpPr>
          <p:cNvPr id="759" name="Group 758">
            <a:extLst>
              <a:ext uri="{FF2B5EF4-FFF2-40B4-BE49-F238E27FC236}">
                <a16:creationId xmlns:a16="http://schemas.microsoft.com/office/drawing/2014/main" id="{67A7B969-2FCE-4749-B59A-F2650AEB9138}"/>
              </a:ext>
            </a:extLst>
          </p:cNvPr>
          <p:cNvGrpSpPr/>
          <p:nvPr/>
        </p:nvGrpSpPr>
        <p:grpSpPr bwMode="gray">
          <a:xfrm>
            <a:off x="5759830" y="5124083"/>
            <a:ext cx="215856" cy="216648"/>
            <a:chOff x="13731031" y="3811749"/>
            <a:chExt cx="309600" cy="310736"/>
          </a:xfrm>
        </p:grpSpPr>
        <p:sp>
          <p:nvSpPr>
            <p:cNvPr id="760" name="Oval 759">
              <a:extLst>
                <a:ext uri="{FF2B5EF4-FFF2-40B4-BE49-F238E27FC236}">
                  <a16:creationId xmlns:a16="http://schemas.microsoft.com/office/drawing/2014/main" id="{44A957F4-7F11-4A89-AB57-DE234F45C085}"/>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761" name="Freeform: Shape 760">
              <a:extLst>
                <a:ext uri="{FF2B5EF4-FFF2-40B4-BE49-F238E27FC236}">
                  <a16:creationId xmlns:a16="http://schemas.microsoft.com/office/drawing/2014/main" id="{C4A30A71-888A-48E8-8E1F-BAC27F775A1E}"/>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a:solidFill>
                  <a:schemeClr val="tx1"/>
                </a:solidFill>
              </a:endParaRPr>
            </a:p>
          </p:txBody>
        </p:sp>
      </p:grpSp>
      <p:grpSp>
        <p:nvGrpSpPr>
          <p:cNvPr id="762" name="Group 761">
            <a:extLst>
              <a:ext uri="{FF2B5EF4-FFF2-40B4-BE49-F238E27FC236}">
                <a16:creationId xmlns:a16="http://schemas.microsoft.com/office/drawing/2014/main" id="{E97FAD2F-85FD-49F1-9F5D-ECD65361AD54}"/>
              </a:ext>
            </a:extLst>
          </p:cNvPr>
          <p:cNvGrpSpPr/>
          <p:nvPr/>
        </p:nvGrpSpPr>
        <p:grpSpPr bwMode="gray">
          <a:xfrm flipH="1">
            <a:off x="9258640" y="3399300"/>
            <a:ext cx="637091" cy="1055540"/>
            <a:chOff x="7949893" y="2381817"/>
            <a:chExt cx="683855" cy="1501843"/>
          </a:xfrm>
        </p:grpSpPr>
        <p:sp>
          <p:nvSpPr>
            <p:cNvPr id="763" name="Freeform: Shape 762">
              <a:extLst>
                <a:ext uri="{FF2B5EF4-FFF2-40B4-BE49-F238E27FC236}">
                  <a16:creationId xmlns:a16="http://schemas.microsoft.com/office/drawing/2014/main" id="{91DF1208-ECF4-47BA-8E9D-B7A19AD06BF3}"/>
                </a:ext>
              </a:extLst>
            </p:cNvPr>
            <p:cNvSpPr/>
            <p:nvPr/>
          </p:nvSpPr>
          <p:spPr bwMode="gray">
            <a:xfrm>
              <a:off x="7950038" y="2381817"/>
              <a:ext cx="683710" cy="1501843"/>
            </a:xfrm>
            <a:custGeom>
              <a:avLst/>
              <a:gdLst>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30300 h 1501843"/>
                <a:gd name="connsiteX17" fmla="*/ 683710 w 683710"/>
                <a:gd name="connsiteY17" fmla="*/ 1159988 h 1501843"/>
                <a:gd name="connsiteX18" fmla="*/ 341855 w 683710"/>
                <a:gd name="connsiteY18" fmla="*/ 1501843 h 1501843"/>
                <a:gd name="connsiteX19" fmla="*/ 0 w 683710"/>
                <a:gd name="connsiteY19" fmla="*/ 1159988 h 1501843"/>
                <a:gd name="connsiteX20" fmla="*/ 0 w 683710"/>
                <a:gd name="connsiteY20" fmla="*/ 1130300 h 1501843"/>
                <a:gd name="connsiteX21" fmla="*/ 0 w 683710"/>
                <a:gd name="connsiteY21" fmla="*/ 1035456 h 1501843"/>
                <a:gd name="connsiteX22" fmla="*/ 0 w 683710"/>
                <a:gd name="connsiteY22" fmla="*/ 1035455 h 1501843"/>
                <a:gd name="connsiteX23" fmla="*/ 0 w 683710"/>
                <a:gd name="connsiteY23" fmla="*/ 940612 h 1501843"/>
                <a:gd name="connsiteX24" fmla="*/ 0 w 683710"/>
                <a:gd name="connsiteY24" fmla="*/ 940611 h 1501843"/>
                <a:gd name="connsiteX25" fmla="*/ 0 w 683710"/>
                <a:gd name="connsiteY25" fmla="*/ 845767 h 1501843"/>
                <a:gd name="connsiteX26" fmla="*/ 0 w 683710"/>
                <a:gd name="connsiteY26" fmla="*/ 750923 h 1501843"/>
                <a:gd name="connsiteX27" fmla="*/ 0 w 683710"/>
                <a:gd name="connsiteY27" fmla="*/ 750922 h 1501843"/>
                <a:gd name="connsiteX28" fmla="*/ 0 w 683710"/>
                <a:gd name="connsiteY28" fmla="*/ 656079 h 1501843"/>
                <a:gd name="connsiteX29" fmla="*/ 0 w 683710"/>
                <a:gd name="connsiteY29" fmla="*/ 656078 h 1501843"/>
                <a:gd name="connsiteX30" fmla="*/ 0 w 683710"/>
                <a:gd name="connsiteY30" fmla="*/ 561235 h 1501843"/>
                <a:gd name="connsiteX31" fmla="*/ 0 w 683710"/>
                <a:gd name="connsiteY31" fmla="*/ 561234 h 1501843"/>
                <a:gd name="connsiteX32" fmla="*/ 0 w 683710"/>
                <a:gd name="connsiteY32" fmla="*/ 466391 h 1501843"/>
                <a:gd name="connsiteX33" fmla="*/ 0 w 683710"/>
                <a:gd name="connsiteY33" fmla="*/ 466390 h 1501843"/>
                <a:gd name="connsiteX34" fmla="*/ 0 w 683710"/>
                <a:gd name="connsiteY34" fmla="*/ 371546 h 1501843"/>
                <a:gd name="connsiteX35" fmla="*/ 0 w 683710"/>
                <a:gd name="connsiteY35" fmla="*/ 341855 h 1501843"/>
                <a:gd name="connsiteX36" fmla="*/ 341855 w 683710"/>
                <a:gd name="connsiteY36" fmla="*/ 0 h 1501843"/>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30300 h 1501843"/>
                <a:gd name="connsiteX17" fmla="*/ 683710 w 683710"/>
                <a:gd name="connsiteY17" fmla="*/ 1159988 h 1501843"/>
                <a:gd name="connsiteX18" fmla="*/ 341855 w 683710"/>
                <a:gd name="connsiteY18" fmla="*/ 1501843 h 1501843"/>
                <a:gd name="connsiteX19" fmla="*/ 0 w 683710"/>
                <a:gd name="connsiteY19" fmla="*/ 1159988 h 1501843"/>
                <a:gd name="connsiteX20" fmla="*/ 0 w 683710"/>
                <a:gd name="connsiteY20" fmla="*/ 1035456 h 1501843"/>
                <a:gd name="connsiteX21" fmla="*/ 0 w 683710"/>
                <a:gd name="connsiteY21" fmla="*/ 1035455 h 1501843"/>
                <a:gd name="connsiteX22" fmla="*/ 0 w 683710"/>
                <a:gd name="connsiteY22" fmla="*/ 940612 h 1501843"/>
                <a:gd name="connsiteX23" fmla="*/ 0 w 683710"/>
                <a:gd name="connsiteY23" fmla="*/ 940611 h 1501843"/>
                <a:gd name="connsiteX24" fmla="*/ 0 w 683710"/>
                <a:gd name="connsiteY24" fmla="*/ 845767 h 1501843"/>
                <a:gd name="connsiteX25" fmla="*/ 0 w 683710"/>
                <a:gd name="connsiteY25" fmla="*/ 750923 h 1501843"/>
                <a:gd name="connsiteX26" fmla="*/ 0 w 683710"/>
                <a:gd name="connsiteY26" fmla="*/ 750922 h 1501843"/>
                <a:gd name="connsiteX27" fmla="*/ 0 w 683710"/>
                <a:gd name="connsiteY27" fmla="*/ 656079 h 1501843"/>
                <a:gd name="connsiteX28" fmla="*/ 0 w 683710"/>
                <a:gd name="connsiteY28" fmla="*/ 656078 h 1501843"/>
                <a:gd name="connsiteX29" fmla="*/ 0 w 683710"/>
                <a:gd name="connsiteY29" fmla="*/ 561235 h 1501843"/>
                <a:gd name="connsiteX30" fmla="*/ 0 w 683710"/>
                <a:gd name="connsiteY30" fmla="*/ 561234 h 1501843"/>
                <a:gd name="connsiteX31" fmla="*/ 0 w 683710"/>
                <a:gd name="connsiteY31" fmla="*/ 466391 h 1501843"/>
                <a:gd name="connsiteX32" fmla="*/ 0 w 683710"/>
                <a:gd name="connsiteY32" fmla="*/ 466390 h 1501843"/>
                <a:gd name="connsiteX33" fmla="*/ 0 w 683710"/>
                <a:gd name="connsiteY33" fmla="*/ 371546 h 1501843"/>
                <a:gd name="connsiteX34" fmla="*/ 0 w 683710"/>
                <a:gd name="connsiteY34" fmla="*/ 341855 h 1501843"/>
                <a:gd name="connsiteX35" fmla="*/ 341855 w 683710"/>
                <a:gd name="connsiteY35" fmla="*/ 0 h 1501843"/>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59988 h 1501843"/>
                <a:gd name="connsiteX17" fmla="*/ 341855 w 683710"/>
                <a:gd name="connsiteY17" fmla="*/ 1501843 h 1501843"/>
                <a:gd name="connsiteX18" fmla="*/ 0 w 683710"/>
                <a:gd name="connsiteY18" fmla="*/ 1159988 h 1501843"/>
                <a:gd name="connsiteX19" fmla="*/ 0 w 683710"/>
                <a:gd name="connsiteY19" fmla="*/ 1035456 h 1501843"/>
                <a:gd name="connsiteX20" fmla="*/ 0 w 683710"/>
                <a:gd name="connsiteY20" fmla="*/ 1035455 h 1501843"/>
                <a:gd name="connsiteX21" fmla="*/ 0 w 683710"/>
                <a:gd name="connsiteY21" fmla="*/ 940612 h 1501843"/>
                <a:gd name="connsiteX22" fmla="*/ 0 w 683710"/>
                <a:gd name="connsiteY22" fmla="*/ 940611 h 1501843"/>
                <a:gd name="connsiteX23" fmla="*/ 0 w 683710"/>
                <a:gd name="connsiteY23" fmla="*/ 845767 h 1501843"/>
                <a:gd name="connsiteX24" fmla="*/ 0 w 683710"/>
                <a:gd name="connsiteY24" fmla="*/ 750923 h 1501843"/>
                <a:gd name="connsiteX25" fmla="*/ 0 w 683710"/>
                <a:gd name="connsiteY25" fmla="*/ 750922 h 1501843"/>
                <a:gd name="connsiteX26" fmla="*/ 0 w 683710"/>
                <a:gd name="connsiteY26" fmla="*/ 656079 h 1501843"/>
                <a:gd name="connsiteX27" fmla="*/ 0 w 683710"/>
                <a:gd name="connsiteY27" fmla="*/ 656078 h 1501843"/>
                <a:gd name="connsiteX28" fmla="*/ 0 w 683710"/>
                <a:gd name="connsiteY28" fmla="*/ 561235 h 1501843"/>
                <a:gd name="connsiteX29" fmla="*/ 0 w 683710"/>
                <a:gd name="connsiteY29" fmla="*/ 561234 h 1501843"/>
                <a:gd name="connsiteX30" fmla="*/ 0 w 683710"/>
                <a:gd name="connsiteY30" fmla="*/ 466391 h 1501843"/>
                <a:gd name="connsiteX31" fmla="*/ 0 w 683710"/>
                <a:gd name="connsiteY31" fmla="*/ 466390 h 1501843"/>
                <a:gd name="connsiteX32" fmla="*/ 0 w 683710"/>
                <a:gd name="connsiteY32" fmla="*/ 371546 h 1501843"/>
                <a:gd name="connsiteX33" fmla="*/ 0 w 683710"/>
                <a:gd name="connsiteY33" fmla="*/ 341855 h 1501843"/>
                <a:gd name="connsiteX34" fmla="*/ 341855 w 683710"/>
                <a:gd name="connsiteY34" fmla="*/ 0 h 1501843"/>
                <a:gd name="connsiteX0" fmla="*/ 341855 w 683710"/>
                <a:gd name="connsiteY0" fmla="*/ 0 h 1501843"/>
                <a:gd name="connsiteX1" fmla="*/ 683710 w 683710"/>
                <a:gd name="connsiteY1" fmla="*/ 341855 h 1501843"/>
                <a:gd name="connsiteX2" fmla="*/ 683710 w 683710"/>
                <a:gd name="connsiteY2" fmla="*/ 466390 h 1501843"/>
                <a:gd name="connsiteX3" fmla="*/ 683710 w 683710"/>
                <a:gd name="connsiteY3" fmla="*/ 466391 h 1501843"/>
                <a:gd name="connsiteX4" fmla="*/ 683710 w 683710"/>
                <a:gd name="connsiteY4" fmla="*/ 561234 h 1501843"/>
                <a:gd name="connsiteX5" fmla="*/ 683710 w 683710"/>
                <a:gd name="connsiteY5" fmla="*/ 561235 h 1501843"/>
                <a:gd name="connsiteX6" fmla="*/ 683710 w 683710"/>
                <a:gd name="connsiteY6" fmla="*/ 656078 h 1501843"/>
                <a:gd name="connsiteX7" fmla="*/ 683710 w 683710"/>
                <a:gd name="connsiteY7" fmla="*/ 656079 h 1501843"/>
                <a:gd name="connsiteX8" fmla="*/ 683710 w 683710"/>
                <a:gd name="connsiteY8" fmla="*/ 750922 h 1501843"/>
                <a:gd name="connsiteX9" fmla="*/ 683710 w 683710"/>
                <a:gd name="connsiteY9" fmla="*/ 750923 h 1501843"/>
                <a:gd name="connsiteX10" fmla="*/ 683710 w 683710"/>
                <a:gd name="connsiteY10" fmla="*/ 845767 h 1501843"/>
                <a:gd name="connsiteX11" fmla="*/ 683710 w 683710"/>
                <a:gd name="connsiteY11" fmla="*/ 940611 h 1501843"/>
                <a:gd name="connsiteX12" fmla="*/ 683710 w 683710"/>
                <a:gd name="connsiteY12" fmla="*/ 940612 h 1501843"/>
                <a:gd name="connsiteX13" fmla="*/ 683710 w 683710"/>
                <a:gd name="connsiteY13" fmla="*/ 1035455 h 1501843"/>
                <a:gd name="connsiteX14" fmla="*/ 683710 w 683710"/>
                <a:gd name="connsiteY14" fmla="*/ 1035456 h 1501843"/>
                <a:gd name="connsiteX15" fmla="*/ 683710 w 683710"/>
                <a:gd name="connsiteY15" fmla="*/ 1159988 h 1501843"/>
                <a:gd name="connsiteX16" fmla="*/ 341855 w 683710"/>
                <a:gd name="connsiteY16" fmla="*/ 1501843 h 1501843"/>
                <a:gd name="connsiteX17" fmla="*/ 0 w 683710"/>
                <a:gd name="connsiteY17" fmla="*/ 1159988 h 1501843"/>
                <a:gd name="connsiteX18" fmla="*/ 0 w 683710"/>
                <a:gd name="connsiteY18" fmla="*/ 1035456 h 1501843"/>
                <a:gd name="connsiteX19" fmla="*/ 0 w 683710"/>
                <a:gd name="connsiteY19" fmla="*/ 1035455 h 1501843"/>
                <a:gd name="connsiteX20" fmla="*/ 0 w 683710"/>
                <a:gd name="connsiteY20" fmla="*/ 940612 h 1501843"/>
                <a:gd name="connsiteX21" fmla="*/ 0 w 683710"/>
                <a:gd name="connsiteY21" fmla="*/ 940611 h 1501843"/>
                <a:gd name="connsiteX22" fmla="*/ 0 w 683710"/>
                <a:gd name="connsiteY22" fmla="*/ 845767 h 1501843"/>
                <a:gd name="connsiteX23" fmla="*/ 0 w 683710"/>
                <a:gd name="connsiteY23" fmla="*/ 750923 h 1501843"/>
                <a:gd name="connsiteX24" fmla="*/ 0 w 683710"/>
                <a:gd name="connsiteY24" fmla="*/ 750922 h 1501843"/>
                <a:gd name="connsiteX25" fmla="*/ 0 w 683710"/>
                <a:gd name="connsiteY25" fmla="*/ 656079 h 1501843"/>
                <a:gd name="connsiteX26" fmla="*/ 0 w 683710"/>
                <a:gd name="connsiteY26" fmla="*/ 656078 h 1501843"/>
                <a:gd name="connsiteX27" fmla="*/ 0 w 683710"/>
                <a:gd name="connsiteY27" fmla="*/ 561235 h 1501843"/>
                <a:gd name="connsiteX28" fmla="*/ 0 w 683710"/>
                <a:gd name="connsiteY28" fmla="*/ 561234 h 1501843"/>
                <a:gd name="connsiteX29" fmla="*/ 0 w 683710"/>
                <a:gd name="connsiteY29" fmla="*/ 466391 h 1501843"/>
                <a:gd name="connsiteX30" fmla="*/ 0 w 683710"/>
                <a:gd name="connsiteY30" fmla="*/ 466390 h 1501843"/>
                <a:gd name="connsiteX31" fmla="*/ 0 w 683710"/>
                <a:gd name="connsiteY31" fmla="*/ 371546 h 1501843"/>
                <a:gd name="connsiteX32" fmla="*/ 0 w 683710"/>
                <a:gd name="connsiteY32" fmla="*/ 341855 h 1501843"/>
                <a:gd name="connsiteX33" fmla="*/ 341855 w 683710"/>
                <a:gd name="connsiteY33" fmla="*/ 0 h 1501843"/>
                <a:gd name="connsiteX0" fmla="*/ 341855 w 683710"/>
                <a:gd name="connsiteY0" fmla="*/ 0 h 1501843"/>
                <a:gd name="connsiteX1" fmla="*/ 683710 w 683710"/>
                <a:gd name="connsiteY1" fmla="*/ 341855 h 1501843"/>
                <a:gd name="connsiteX2" fmla="*/ 683710 w 683710"/>
                <a:gd name="connsiteY2" fmla="*/ 466390 h 1501843"/>
                <a:gd name="connsiteX3" fmla="*/ 683710 w 683710"/>
                <a:gd name="connsiteY3" fmla="*/ 466391 h 1501843"/>
                <a:gd name="connsiteX4" fmla="*/ 683710 w 683710"/>
                <a:gd name="connsiteY4" fmla="*/ 561234 h 1501843"/>
                <a:gd name="connsiteX5" fmla="*/ 683710 w 683710"/>
                <a:gd name="connsiteY5" fmla="*/ 561235 h 1501843"/>
                <a:gd name="connsiteX6" fmla="*/ 683710 w 683710"/>
                <a:gd name="connsiteY6" fmla="*/ 656078 h 1501843"/>
                <a:gd name="connsiteX7" fmla="*/ 683710 w 683710"/>
                <a:gd name="connsiteY7" fmla="*/ 656079 h 1501843"/>
                <a:gd name="connsiteX8" fmla="*/ 683710 w 683710"/>
                <a:gd name="connsiteY8" fmla="*/ 750922 h 1501843"/>
                <a:gd name="connsiteX9" fmla="*/ 683710 w 683710"/>
                <a:gd name="connsiteY9" fmla="*/ 750923 h 1501843"/>
                <a:gd name="connsiteX10" fmla="*/ 683710 w 683710"/>
                <a:gd name="connsiteY10" fmla="*/ 845767 h 1501843"/>
                <a:gd name="connsiteX11" fmla="*/ 683710 w 683710"/>
                <a:gd name="connsiteY11" fmla="*/ 940611 h 1501843"/>
                <a:gd name="connsiteX12" fmla="*/ 683710 w 683710"/>
                <a:gd name="connsiteY12" fmla="*/ 940612 h 1501843"/>
                <a:gd name="connsiteX13" fmla="*/ 683710 w 683710"/>
                <a:gd name="connsiteY13" fmla="*/ 1035455 h 1501843"/>
                <a:gd name="connsiteX14" fmla="*/ 683710 w 683710"/>
                <a:gd name="connsiteY14" fmla="*/ 1035456 h 1501843"/>
                <a:gd name="connsiteX15" fmla="*/ 683710 w 683710"/>
                <a:gd name="connsiteY15" fmla="*/ 1159988 h 1501843"/>
                <a:gd name="connsiteX16" fmla="*/ 341855 w 683710"/>
                <a:gd name="connsiteY16" fmla="*/ 1501843 h 1501843"/>
                <a:gd name="connsiteX17" fmla="*/ 0 w 683710"/>
                <a:gd name="connsiteY17" fmla="*/ 1159988 h 1501843"/>
                <a:gd name="connsiteX18" fmla="*/ 0 w 683710"/>
                <a:gd name="connsiteY18" fmla="*/ 1035456 h 1501843"/>
                <a:gd name="connsiteX19" fmla="*/ 0 w 683710"/>
                <a:gd name="connsiteY19" fmla="*/ 1035455 h 1501843"/>
                <a:gd name="connsiteX20" fmla="*/ 0 w 683710"/>
                <a:gd name="connsiteY20" fmla="*/ 940612 h 1501843"/>
                <a:gd name="connsiteX21" fmla="*/ 0 w 683710"/>
                <a:gd name="connsiteY21" fmla="*/ 940611 h 1501843"/>
                <a:gd name="connsiteX22" fmla="*/ 0 w 683710"/>
                <a:gd name="connsiteY22" fmla="*/ 845767 h 1501843"/>
                <a:gd name="connsiteX23" fmla="*/ 0 w 683710"/>
                <a:gd name="connsiteY23" fmla="*/ 750923 h 1501843"/>
                <a:gd name="connsiteX24" fmla="*/ 0 w 683710"/>
                <a:gd name="connsiteY24" fmla="*/ 750922 h 1501843"/>
                <a:gd name="connsiteX25" fmla="*/ 0 w 683710"/>
                <a:gd name="connsiteY25" fmla="*/ 656079 h 1501843"/>
                <a:gd name="connsiteX26" fmla="*/ 0 w 683710"/>
                <a:gd name="connsiteY26" fmla="*/ 656078 h 1501843"/>
                <a:gd name="connsiteX27" fmla="*/ 0 w 683710"/>
                <a:gd name="connsiteY27" fmla="*/ 561235 h 1501843"/>
                <a:gd name="connsiteX28" fmla="*/ 0 w 683710"/>
                <a:gd name="connsiteY28" fmla="*/ 561234 h 1501843"/>
                <a:gd name="connsiteX29" fmla="*/ 0 w 683710"/>
                <a:gd name="connsiteY29" fmla="*/ 466391 h 1501843"/>
                <a:gd name="connsiteX30" fmla="*/ 0 w 683710"/>
                <a:gd name="connsiteY30" fmla="*/ 466390 h 1501843"/>
                <a:gd name="connsiteX31" fmla="*/ 0 w 683710"/>
                <a:gd name="connsiteY31" fmla="*/ 341855 h 1501843"/>
                <a:gd name="connsiteX32" fmla="*/ 341855 w 683710"/>
                <a:gd name="connsiteY32" fmla="*/ 0 h 150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83710" h="1501843">
                  <a:moveTo>
                    <a:pt x="341855" y="0"/>
                  </a:moveTo>
                  <a:cubicBezTo>
                    <a:pt x="530656" y="0"/>
                    <a:pt x="683710" y="153054"/>
                    <a:pt x="683710" y="341855"/>
                  </a:cubicBezTo>
                  <a:lnTo>
                    <a:pt x="683710" y="466390"/>
                  </a:lnTo>
                  <a:lnTo>
                    <a:pt x="683710" y="466391"/>
                  </a:lnTo>
                  <a:lnTo>
                    <a:pt x="683710" y="561234"/>
                  </a:lnTo>
                  <a:lnTo>
                    <a:pt x="683710" y="561235"/>
                  </a:lnTo>
                  <a:lnTo>
                    <a:pt x="683710" y="656078"/>
                  </a:lnTo>
                  <a:lnTo>
                    <a:pt x="683710" y="656079"/>
                  </a:lnTo>
                  <a:lnTo>
                    <a:pt x="683710" y="750922"/>
                  </a:lnTo>
                  <a:lnTo>
                    <a:pt x="683710" y="750923"/>
                  </a:lnTo>
                  <a:lnTo>
                    <a:pt x="683710" y="845767"/>
                  </a:lnTo>
                  <a:lnTo>
                    <a:pt x="683710" y="940611"/>
                  </a:lnTo>
                  <a:lnTo>
                    <a:pt x="683710" y="940612"/>
                  </a:lnTo>
                  <a:lnTo>
                    <a:pt x="683710" y="1035455"/>
                  </a:lnTo>
                  <a:lnTo>
                    <a:pt x="683710" y="1035456"/>
                  </a:lnTo>
                  <a:lnTo>
                    <a:pt x="683710" y="1159988"/>
                  </a:lnTo>
                  <a:cubicBezTo>
                    <a:pt x="683710" y="1348789"/>
                    <a:pt x="530656" y="1501843"/>
                    <a:pt x="341855" y="1501843"/>
                  </a:cubicBezTo>
                  <a:cubicBezTo>
                    <a:pt x="153054" y="1501843"/>
                    <a:pt x="0" y="1348789"/>
                    <a:pt x="0" y="1159988"/>
                  </a:cubicBezTo>
                  <a:lnTo>
                    <a:pt x="0" y="1035456"/>
                  </a:lnTo>
                  <a:lnTo>
                    <a:pt x="0" y="1035455"/>
                  </a:lnTo>
                  <a:lnTo>
                    <a:pt x="0" y="940612"/>
                  </a:lnTo>
                  <a:lnTo>
                    <a:pt x="0" y="940611"/>
                  </a:lnTo>
                  <a:lnTo>
                    <a:pt x="0" y="845767"/>
                  </a:lnTo>
                  <a:lnTo>
                    <a:pt x="0" y="750923"/>
                  </a:lnTo>
                  <a:lnTo>
                    <a:pt x="0" y="750922"/>
                  </a:lnTo>
                  <a:lnTo>
                    <a:pt x="0" y="656079"/>
                  </a:lnTo>
                  <a:lnTo>
                    <a:pt x="0" y="656078"/>
                  </a:lnTo>
                  <a:lnTo>
                    <a:pt x="0" y="561235"/>
                  </a:lnTo>
                  <a:lnTo>
                    <a:pt x="0" y="561234"/>
                  </a:lnTo>
                  <a:lnTo>
                    <a:pt x="0" y="466391"/>
                  </a:lnTo>
                  <a:lnTo>
                    <a:pt x="0" y="466390"/>
                  </a:lnTo>
                  <a:lnTo>
                    <a:pt x="0" y="341855"/>
                  </a:lnTo>
                  <a:cubicBezTo>
                    <a:pt x="0" y="153054"/>
                    <a:pt x="153054" y="0"/>
                    <a:pt x="341855" y="0"/>
                  </a:cubicBez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endParaRPr lang="de-DE" sz="900" dirty="0">
                <a:solidFill>
                  <a:schemeClr val="tx1"/>
                </a:solidFill>
              </a:endParaRPr>
            </a:p>
          </p:txBody>
        </p:sp>
        <p:sp>
          <p:nvSpPr>
            <p:cNvPr id="764" name="Rectangle 763">
              <a:extLst>
                <a:ext uri="{FF2B5EF4-FFF2-40B4-BE49-F238E27FC236}">
                  <a16:creationId xmlns:a16="http://schemas.microsoft.com/office/drawing/2014/main" id="{54BABFDD-6F54-47BD-817F-FB9F06F916C7}"/>
                </a:ext>
              </a:extLst>
            </p:cNvPr>
            <p:cNvSpPr/>
            <p:nvPr/>
          </p:nvSpPr>
          <p:spPr bwMode="gray">
            <a:xfrm>
              <a:off x="7949893" y="2742337"/>
              <a:ext cx="683855" cy="780803"/>
            </a:xfrm>
            <a:prstGeom prst="rect">
              <a:avLst/>
            </a:prstGeom>
            <a:pattFill prst="openDmnd">
              <a:fgClr>
                <a:schemeClr val="accent3"/>
              </a:fgClr>
              <a:bgClr>
                <a:schemeClr val="bg1"/>
              </a:bgClr>
            </a:patt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Stripping </a:t>
              </a:r>
              <a:br>
                <a:rPr lang="de-DE" sz="900" dirty="0">
                  <a:solidFill>
                    <a:schemeClr val="tx1"/>
                  </a:solidFill>
                </a:rPr>
              </a:br>
              <a:r>
                <a:rPr lang="de-DE" sz="900" dirty="0">
                  <a:solidFill>
                    <a:schemeClr val="tx1"/>
                  </a:solidFill>
                </a:rPr>
                <a:t>column</a:t>
              </a:r>
            </a:p>
          </p:txBody>
        </p:sp>
      </p:grpSp>
      <p:grpSp>
        <p:nvGrpSpPr>
          <p:cNvPr id="765" name="Group 764">
            <a:extLst>
              <a:ext uri="{FF2B5EF4-FFF2-40B4-BE49-F238E27FC236}">
                <a16:creationId xmlns:a16="http://schemas.microsoft.com/office/drawing/2014/main" id="{1A830940-9ADE-40E6-868F-028290DD24CB}"/>
              </a:ext>
            </a:extLst>
          </p:cNvPr>
          <p:cNvGrpSpPr/>
          <p:nvPr/>
        </p:nvGrpSpPr>
        <p:grpSpPr bwMode="gray">
          <a:xfrm>
            <a:off x="10160661" y="3399300"/>
            <a:ext cx="766066" cy="1055540"/>
            <a:chOff x="5356744" y="2912763"/>
            <a:chExt cx="835604" cy="2001035"/>
          </a:xfrm>
        </p:grpSpPr>
        <p:sp>
          <p:nvSpPr>
            <p:cNvPr id="766" name="Rectangle: Rounded Corners 765">
              <a:extLst>
                <a:ext uri="{FF2B5EF4-FFF2-40B4-BE49-F238E27FC236}">
                  <a16:creationId xmlns:a16="http://schemas.microsoft.com/office/drawing/2014/main" id="{6FC745D9-51D0-49ED-B2E5-F07873C3C567}"/>
                </a:ext>
              </a:extLst>
            </p:cNvPr>
            <p:cNvSpPr/>
            <p:nvPr/>
          </p:nvSpPr>
          <p:spPr bwMode="gray">
            <a:xfrm>
              <a:off x="5357148" y="2912763"/>
              <a:ext cx="835200" cy="2001035"/>
            </a:xfrm>
            <a:prstGeom prst="roundRect">
              <a:avLst>
                <a:gd name="adj" fmla="val 36725"/>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900" dirty="0">
                <a:solidFill>
                  <a:schemeClr val="tx1"/>
                </a:solidFill>
              </a:endParaRPr>
            </a:p>
          </p:txBody>
        </p:sp>
        <p:sp>
          <p:nvSpPr>
            <p:cNvPr id="767" name="Rectangle 766">
              <a:extLst>
                <a:ext uri="{FF2B5EF4-FFF2-40B4-BE49-F238E27FC236}">
                  <a16:creationId xmlns:a16="http://schemas.microsoft.com/office/drawing/2014/main" id="{23DDA107-867A-4F9C-9BCA-78B7B63FFF55}"/>
                </a:ext>
              </a:extLst>
            </p:cNvPr>
            <p:cNvSpPr/>
            <p:nvPr/>
          </p:nvSpPr>
          <p:spPr bwMode="gray">
            <a:xfrm>
              <a:off x="5356744" y="3407805"/>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68" name="Rectangle 767">
              <a:extLst>
                <a:ext uri="{FF2B5EF4-FFF2-40B4-BE49-F238E27FC236}">
                  <a16:creationId xmlns:a16="http://schemas.microsoft.com/office/drawing/2014/main" id="{2EF5EFA5-9E97-4FD7-9A50-F9FC9C125A7A}"/>
                </a:ext>
              </a:extLst>
            </p:cNvPr>
            <p:cNvSpPr/>
            <p:nvPr/>
          </p:nvSpPr>
          <p:spPr bwMode="gray">
            <a:xfrm>
              <a:off x="5356744" y="3534175"/>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69" name="Rectangle 768">
              <a:extLst>
                <a:ext uri="{FF2B5EF4-FFF2-40B4-BE49-F238E27FC236}">
                  <a16:creationId xmlns:a16="http://schemas.microsoft.com/office/drawing/2014/main" id="{F25006BA-22AB-44E7-97FD-B62958E01E0B}"/>
                </a:ext>
              </a:extLst>
            </p:cNvPr>
            <p:cNvSpPr/>
            <p:nvPr/>
          </p:nvSpPr>
          <p:spPr bwMode="gray">
            <a:xfrm>
              <a:off x="5356744" y="3660544"/>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70" name="Rectangle 769">
              <a:extLst>
                <a:ext uri="{FF2B5EF4-FFF2-40B4-BE49-F238E27FC236}">
                  <a16:creationId xmlns:a16="http://schemas.microsoft.com/office/drawing/2014/main" id="{08243019-37C9-4893-B82B-97F43E7610D7}"/>
                </a:ext>
              </a:extLst>
            </p:cNvPr>
            <p:cNvSpPr/>
            <p:nvPr/>
          </p:nvSpPr>
          <p:spPr bwMode="gray">
            <a:xfrm>
              <a:off x="5356744" y="3786913"/>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71" name="Rectangle 770">
              <a:extLst>
                <a:ext uri="{FF2B5EF4-FFF2-40B4-BE49-F238E27FC236}">
                  <a16:creationId xmlns:a16="http://schemas.microsoft.com/office/drawing/2014/main" id="{E0F99BB0-27AE-48C9-9037-BF0450E300FC}"/>
                </a:ext>
              </a:extLst>
            </p:cNvPr>
            <p:cNvSpPr/>
            <p:nvPr/>
          </p:nvSpPr>
          <p:spPr bwMode="gray">
            <a:xfrm>
              <a:off x="5356744" y="3913282"/>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72" name="Rectangle 771">
              <a:extLst>
                <a:ext uri="{FF2B5EF4-FFF2-40B4-BE49-F238E27FC236}">
                  <a16:creationId xmlns:a16="http://schemas.microsoft.com/office/drawing/2014/main" id="{9E61EB7E-01D0-41FF-8B37-F24CEF07879A}"/>
                </a:ext>
              </a:extLst>
            </p:cNvPr>
            <p:cNvSpPr/>
            <p:nvPr/>
          </p:nvSpPr>
          <p:spPr bwMode="gray">
            <a:xfrm>
              <a:off x="5356744" y="4039651"/>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73" name="Rectangle 772">
              <a:extLst>
                <a:ext uri="{FF2B5EF4-FFF2-40B4-BE49-F238E27FC236}">
                  <a16:creationId xmlns:a16="http://schemas.microsoft.com/office/drawing/2014/main" id="{A88B6AD5-490F-4A40-8F45-202B9211D7B9}"/>
                </a:ext>
              </a:extLst>
            </p:cNvPr>
            <p:cNvSpPr/>
            <p:nvPr/>
          </p:nvSpPr>
          <p:spPr bwMode="gray">
            <a:xfrm>
              <a:off x="5356744" y="4166020"/>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74" name="Rectangle 773">
              <a:extLst>
                <a:ext uri="{FF2B5EF4-FFF2-40B4-BE49-F238E27FC236}">
                  <a16:creationId xmlns:a16="http://schemas.microsoft.com/office/drawing/2014/main" id="{951F9EEF-EE61-44B6-9561-793BD82DB33E}"/>
                </a:ext>
              </a:extLst>
            </p:cNvPr>
            <p:cNvSpPr/>
            <p:nvPr/>
          </p:nvSpPr>
          <p:spPr bwMode="gray">
            <a:xfrm>
              <a:off x="5356744" y="4292389"/>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775" name="Rectangle 774">
              <a:extLst>
                <a:ext uri="{FF2B5EF4-FFF2-40B4-BE49-F238E27FC236}">
                  <a16:creationId xmlns:a16="http://schemas.microsoft.com/office/drawing/2014/main" id="{4E2BBD1D-DAD3-4909-BF7D-357D55F08E33}"/>
                </a:ext>
              </a:extLst>
            </p:cNvPr>
            <p:cNvSpPr/>
            <p:nvPr/>
          </p:nvSpPr>
          <p:spPr bwMode="gray">
            <a:xfrm>
              <a:off x="5356744" y="3660544"/>
              <a:ext cx="835200" cy="50547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r>
                <a:rPr lang="de-DE" sz="900" dirty="0">
                  <a:solidFill>
                    <a:schemeClr val="tx1"/>
                  </a:solidFill>
                </a:rPr>
                <a:t>Distillation column</a:t>
              </a:r>
            </a:p>
          </p:txBody>
        </p:sp>
      </p:grpSp>
      <p:sp>
        <p:nvSpPr>
          <p:cNvPr id="777" name="Freeform: Shape 776">
            <a:extLst>
              <a:ext uri="{FF2B5EF4-FFF2-40B4-BE49-F238E27FC236}">
                <a16:creationId xmlns:a16="http://schemas.microsoft.com/office/drawing/2014/main" id="{65B7C89E-3F88-46DB-981A-625F418AE303}"/>
              </a:ext>
            </a:extLst>
          </p:cNvPr>
          <p:cNvSpPr/>
          <p:nvPr/>
        </p:nvSpPr>
        <p:spPr bwMode="gray">
          <a:xfrm flipH="1">
            <a:off x="8017744" y="3399300"/>
            <a:ext cx="495182" cy="1055540"/>
          </a:xfrm>
          <a:custGeom>
            <a:avLst/>
            <a:gdLst>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30300 h 1501843"/>
              <a:gd name="connsiteX17" fmla="*/ 683710 w 683710"/>
              <a:gd name="connsiteY17" fmla="*/ 1159988 h 1501843"/>
              <a:gd name="connsiteX18" fmla="*/ 341855 w 683710"/>
              <a:gd name="connsiteY18" fmla="*/ 1501843 h 1501843"/>
              <a:gd name="connsiteX19" fmla="*/ 0 w 683710"/>
              <a:gd name="connsiteY19" fmla="*/ 1159988 h 1501843"/>
              <a:gd name="connsiteX20" fmla="*/ 0 w 683710"/>
              <a:gd name="connsiteY20" fmla="*/ 1130300 h 1501843"/>
              <a:gd name="connsiteX21" fmla="*/ 0 w 683710"/>
              <a:gd name="connsiteY21" fmla="*/ 1035456 h 1501843"/>
              <a:gd name="connsiteX22" fmla="*/ 0 w 683710"/>
              <a:gd name="connsiteY22" fmla="*/ 1035455 h 1501843"/>
              <a:gd name="connsiteX23" fmla="*/ 0 w 683710"/>
              <a:gd name="connsiteY23" fmla="*/ 940612 h 1501843"/>
              <a:gd name="connsiteX24" fmla="*/ 0 w 683710"/>
              <a:gd name="connsiteY24" fmla="*/ 940611 h 1501843"/>
              <a:gd name="connsiteX25" fmla="*/ 0 w 683710"/>
              <a:gd name="connsiteY25" fmla="*/ 845767 h 1501843"/>
              <a:gd name="connsiteX26" fmla="*/ 0 w 683710"/>
              <a:gd name="connsiteY26" fmla="*/ 750923 h 1501843"/>
              <a:gd name="connsiteX27" fmla="*/ 0 w 683710"/>
              <a:gd name="connsiteY27" fmla="*/ 750922 h 1501843"/>
              <a:gd name="connsiteX28" fmla="*/ 0 w 683710"/>
              <a:gd name="connsiteY28" fmla="*/ 656079 h 1501843"/>
              <a:gd name="connsiteX29" fmla="*/ 0 w 683710"/>
              <a:gd name="connsiteY29" fmla="*/ 656078 h 1501843"/>
              <a:gd name="connsiteX30" fmla="*/ 0 w 683710"/>
              <a:gd name="connsiteY30" fmla="*/ 561235 h 1501843"/>
              <a:gd name="connsiteX31" fmla="*/ 0 w 683710"/>
              <a:gd name="connsiteY31" fmla="*/ 561234 h 1501843"/>
              <a:gd name="connsiteX32" fmla="*/ 0 w 683710"/>
              <a:gd name="connsiteY32" fmla="*/ 466391 h 1501843"/>
              <a:gd name="connsiteX33" fmla="*/ 0 w 683710"/>
              <a:gd name="connsiteY33" fmla="*/ 466390 h 1501843"/>
              <a:gd name="connsiteX34" fmla="*/ 0 w 683710"/>
              <a:gd name="connsiteY34" fmla="*/ 371546 h 1501843"/>
              <a:gd name="connsiteX35" fmla="*/ 0 w 683710"/>
              <a:gd name="connsiteY35" fmla="*/ 341855 h 1501843"/>
              <a:gd name="connsiteX36" fmla="*/ 341855 w 683710"/>
              <a:gd name="connsiteY36" fmla="*/ 0 h 1501843"/>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30300 h 1501843"/>
              <a:gd name="connsiteX17" fmla="*/ 683710 w 683710"/>
              <a:gd name="connsiteY17" fmla="*/ 1159988 h 1501843"/>
              <a:gd name="connsiteX18" fmla="*/ 341855 w 683710"/>
              <a:gd name="connsiteY18" fmla="*/ 1501843 h 1501843"/>
              <a:gd name="connsiteX19" fmla="*/ 0 w 683710"/>
              <a:gd name="connsiteY19" fmla="*/ 1159988 h 1501843"/>
              <a:gd name="connsiteX20" fmla="*/ 0 w 683710"/>
              <a:gd name="connsiteY20" fmla="*/ 1035456 h 1501843"/>
              <a:gd name="connsiteX21" fmla="*/ 0 w 683710"/>
              <a:gd name="connsiteY21" fmla="*/ 1035455 h 1501843"/>
              <a:gd name="connsiteX22" fmla="*/ 0 w 683710"/>
              <a:gd name="connsiteY22" fmla="*/ 940612 h 1501843"/>
              <a:gd name="connsiteX23" fmla="*/ 0 w 683710"/>
              <a:gd name="connsiteY23" fmla="*/ 940611 h 1501843"/>
              <a:gd name="connsiteX24" fmla="*/ 0 w 683710"/>
              <a:gd name="connsiteY24" fmla="*/ 845767 h 1501843"/>
              <a:gd name="connsiteX25" fmla="*/ 0 w 683710"/>
              <a:gd name="connsiteY25" fmla="*/ 750923 h 1501843"/>
              <a:gd name="connsiteX26" fmla="*/ 0 w 683710"/>
              <a:gd name="connsiteY26" fmla="*/ 750922 h 1501843"/>
              <a:gd name="connsiteX27" fmla="*/ 0 w 683710"/>
              <a:gd name="connsiteY27" fmla="*/ 656079 h 1501843"/>
              <a:gd name="connsiteX28" fmla="*/ 0 w 683710"/>
              <a:gd name="connsiteY28" fmla="*/ 656078 h 1501843"/>
              <a:gd name="connsiteX29" fmla="*/ 0 w 683710"/>
              <a:gd name="connsiteY29" fmla="*/ 561235 h 1501843"/>
              <a:gd name="connsiteX30" fmla="*/ 0 w 683710"/>
              <a:gd name="connsiteY30" fmla="*/ 561234 h 1501843"/>
              <a:gd name="connsiteX31" fmla="*/ 0 w 683710"/>
              <a:gd name="connsiteY31" fmla="*/ 466391 h 1501843"/>
              <a:gd name="connsiteX32" fmla="*/ 0 w 683710"/>
              <a:gd name="connsiteY32" fmla="*/ 466390 h 1501843"/>
              <a:gd name="connsiteX33" fmla="*/ 0 w 683710"/>
              <a:gd name="connsiteY33" fmla="*/ 371546 h 1501843"/>
              <a:gd name="connsiteX34" fmla="*/ 0 w 683710"/>
              <a:gd name="connsiteY34" fmla="*/ 341855 h 1501843"/>
              <a:gd name="connsiteX35" fmla="*/ 341855 w 683710"/>
              <a:gd name="connsiteY35" fmla="*/ 0 h 1501843"/>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59988 h 1501843"/>
              <a:gd name="connsiteX17" fmla="*/ 341855 w 683710"/>
              <a:gd name="connsiteY17" fmla="*/ 1501843 h 1501843"/>
              <a:gd name="connsiteX18" fmla="*/ 0 w 683710"/>
              <a:gd name="connsiteY18" fmla="*/ 1159988 h 1501843"/>
              <a:gd name="connsiteX19" fmla="*/ 0 w 683710"/>
              <a:gd name="connsiteY19" fmla="*/ 1035456 h 1501843"/>
              <a:gd name="connsiteX20" fmla="*/ 0 w 683710"/>
              <a:gd name="connsiteY20" fmla="*/ 1035455 h 1501843"/>
              <a:gd name="connsiteX21" fmla="*/ 0 w 683710"/>
              <a:gd name="connsiteY21" fmla="*/ 940612 h 1501843"/>
              <a:gd name="connsiteX22" fmla="*/ 0 w 683710"/>
              <a:gd name="connsiteY22" fmla="*/ 940611 h 1501843"/>
              <a:gd name="connsiteX23" fmla="*/ 0 w 683710"/>
              <a:gd name="connsiteY23" fmla="*/ 845767 h 1501843"/>
              <a:gd name="connsiteX24" fmla="*/ 0 w 683710"/>
              <a:gd name="connsiteY24" fmla="*/ 750923 h 1501843"/>
              <a:gd name="connsiteX25" fmla="*/ 0 w 683710"/>
              <a:gd name="connsiteY25" fmla="*/ 750922 h 1501843"/>
              <a:gd name="connsiteX26" fmla="*/ 0 w 683710"/>
              <a:gd name="connsiteY26" fmla="*/ 656079 h 1501843"/>
              <a:gd name="connsiteX27" fmla="*/ 0 w 683710"/>
              <a:gd name="connsiteY27" fmla="*/ 656078 h 1501843"/>
              <a:gd name="connsiteX28" fmla="*/ 0 w 683710"/>
              <a:gd name="connsiteY28" fmla="*/ 561235 h 1501843"/>
              <a:gd name="connsiteX29" fmla="*/ 0 w 683710"/>
              <a:gd name="connsiteY29" fmla="*/ 561234 h 1501843"/>
              <a:gd name="connsiteX30" fmla="*/ 0 w 683710"/>
              <a:gd name="connsiteY30" fmla="*/ 466391 h 1501843"/>
              <a:gd name="connsiteX31" fmla="*/ 0 w 683710"/>
              <a:gd name="connsiteY31" fmla="*/ 466390 h 1501843"/>
              <a:gd name="connsiteX32" fmla="*/ 0 w 683710"/>
              <a:gd name="connsiteY32" fmla="*/ 371546 h 1501843"/>
              <a:gd name="connsiteX33" fmla="*/ 0 w 683710"/>
              <a:gd name="connsiteY33" fmla="*/ 341855 h 1501843"/>
              <a:gd name="connsiteX34" fmla="*/ 341855 w 683710"/>
              <a:gd name="connsiteY34" fmla="*/ 0 h 1501843"/>
              <a:gd name="connsiteX0" fmla="*/ 341855 w 683710"/>
              <a:gd name="connsiteY0" fmla="*/ 0 h 1501843"/>
              <a:gd name="connsiteX1" fmla="*/ 683710 w 683710"/>
              <a:gd name="connsiteY1" fmla="*/ 341855 h 1501843"/>
              <a:gd name="connsiteX2" fmla="*/ 683710 w 683710"/>
              <a:gd name="connsiteY2" fmla="*/ 466390 h 1501843"/>
              <a:gd name="connsiteX3" fmla="*/ 683710 w 683710"/>
              <a:gd name="connsiteY3" fmla="*/ 466391 h 1501843"/>
              <a:gd name="connsiteX4" fmla="*/ 683710 w 683710"/>
              <a:gd name="connsiteY4" fmla="*/ 561234 h 1501843"/>
              <a:gd name="connsiteX5" fmla="*/ 683710 w 683710"/>
              <a:gd name="connsiteY5" fmla="*/ 561235 h 1501843"/>
              <a:gd name="connsiteX6" fmla="*/ 683710 w 683710"/>
              <a:gd name="connsiteY6" fmla="*/ 656078 h 1501843"/>
              <a:gd name="connsiteX7" fmla="*/ 683710 w 683710"/>
              <a:gd name="connsiteY7" fmla="*/ 656079 h 1501843"/>
              <a:gd name="connsiteX8" fmla="*/ 683710 w 683710"/>
              <a:gd name="connsiteY8" fmla="*/ 750922 h 1501843"/>
              <a:gd name="connsiteX9" fmla="*/ 683710 w 683710"/>
              <a:gd name="connsiteY9" fmla="*/ 750923 h 1501843"/>
              <a:gd name="connsiteX10" fmla="*/ 683710 w 683710"/>
              <a:gd name="connsiteY10" fmla="*/ 845767 h 1501843"/>
              <a:gd name="connsiteX11" fmla="*/ 683710 w 683710"/>
              <a:gd name="connsiteY11" fmla="*/ 940611 h 1501843"/>
              <a:gd name="connsiteX12" fmla="*/ 683710 w 683710"/>
              <a:gd name="connsiteY12" fmla="*/ 940612 h 1501843"/>
              <a:gd name="connsiteX13" fmla="*/ 683710 w 683710"/>
              <a:gd name="connsiteY13" fmla="*/ 1035455 h 1501843"/>
              <a:gd name="connsiteX14" fmla="*/ 683710 w 683710"/>
              <a:gd name="connsiteY14" fmla="*/ 1035456 h 1501843"/>
              <a:gd name="connsiteX15" fmla="*/ 683710 w 683710"/>
              <a:gd name="connsiteY15" fmla="*/ 1159988 h 1501843"/>
              <a:gd name="connsiteX16" fmla="*/ 341855 w 683710"/>
              <a:gd name="connsiteY16" fmla="*/ 1501843 h 1501843"/>
              <a:gd name="connsiteX17" fmla="*/ 0 w 683710"/>
              <a:gd name="connsiteY17" fmla="*/ 1159988 h 1501843"/>
              <a:gd name="connsiteX18" fmla="*/ 0 w 683710"/>
              <a:gd name="connsiteY18" fmla="*/ 1035456 h 1501843"/>
              <a:gd name="connsiteX19" fmla="*/ 0 w 683710"/>
              <a:gd name="connsiteY19" fmla="*/ 1035455 h 1501843"/>
              <a:gd name="connsiteX20" fmla="*/ 0 w 683710"/>
              <a:gd name="connsiteY20" fmla="*/ 940612 h 1501843"/>
              <a:gd name="connsiteX21" fmla="*/ 0 w 683710"/>
              <a:gd name="connsiteY21" fmla="*/ 940611 h 1501843"/>
              <a:gd name="connsiteX22" fmla="*/ 0 w 683710"/>
              <a:gd name="connsiteY22" fmla="*/ 845767 h 1501843"/>
              <a:gd name="connsiteX23" fmla="*/ 0 w 683710"/>
              <a:gd name="connsiteY23" fmla="*/ 750923 h 1501843"/>
              <a:gd name="connsiteX24" fmla="*/ 0 w 683710"/>
              <a:gd name="connsiteY24" fmla="*/ 750922 h 1501843"/>
              <a:gd name="connsiteX25" fmla="*/ 0 w 683710"/>
              <a:gd name="connsiteY25" fmla="*/ 656079 h 1501843"/>
              <a:gd name="connsiteX26" fmla="*/ 0 w 683710"/>
              <a:gd name="connsiteY26" fmla="*/ 656078 h 1501843"/>
              <a:gd name="connsiteX27" fmla="*/ 0 w 683710"/>
              <a:gd name="connsiteY27" fmla="*/ 561235 h 1501843"/>
              <a:gd name="connsiteX28" fmla="*/ 0 w 683710"/>
              <a:gd name="connsiteY28" fmla="*/ 561234 h 1501843"/>
              <a:gd name="connsiteX29" fmla="*/ 0 w 683710"/>
              <a:gd name="connsiteY29" fmla="*/ 466391 h 1501843"/>
              <a:gd name="connsiteX30" fmla="*/ 0 w 683710"/>
              <a:gd name="connsiteY30" fmla="*/ 466390 h 1501843"/>
              <a:gd name="connsiteX31" fmla="*/ 0 w 683710"/>
              <a:gd name="connsiteY31" fmla="*/ 371546 h 1501843"/>
              <a:gd name="connsiteX32" fmla="*/ 0 w 683710"/>
              <a:gd name="connsiteY32" fmla="*/ 341855 h 1501843"/>
              <a:gd name="connsiteX33" fmla="*/ 341855 w 683710"/>
              <a:gd name="connsiteY33" fmla="*/ 0 h 1501843"/>
              <a:gd name="connsiteX0" fmla="*/ 341855 w 683710"/>
              <a:gd name="connsiteY0" fmla="*/ 0 h 1501843"/>
              <a:gd name="connsiteX1" fmla="*/ 683710 w 683710"/>
              <a:gd name="connsiteY1" fmla="*/ 341855 h 1501843"/>
              <a:gd name="connsiteX2" fmla="*/ 683710 w 683710"/>
              <a:gd name="connsiteY2" fmla="*/ 466390 h 1501843"/>
              <a:gd name="connsiteX3" fmla="*/ 683710 w 683710"/>
              <a:gd name="connsiteY3" fmla="*/ 466391 h 1501843"/>
              <a:gd name="connsiteX4" fmla="*/ 683710 w 683710"/>
              <a:gd name="connsiteY4" fmla="*/ 561234 h 1501843"/>
              <a:gd name="connsiteX5" fmla="*/ 683710 w 683710"/>
              <a:gd name="connsiteY5" fmla="*/ 561235 h 1501843"/>
              <a:gd name="connsiteX6" fmla="*/ 683710 w 683710"/>
              <a:gd name="connsiteY6" fmla="*/ 656078 h 1501843"/>
              <a:gd name="connsiteX7" fmla="*/ 683710 w 683710"/>
              <a:gd name="connsiteY7" fmla="*/ 656079 h 1501843"/>
              <a:gd name="connsiteX8" fmla="*/ 683710 w 683710"/>
              <a:gd name="connsiteY8" fmla="*/ 750922 h 1501843"/>
              <a:gd name="connsiteX9" fmla="*/ 683710 w 683710"/>
              <a:gd name="connsiteY9" fmla="*/ 750923 h 1501843"/>
              <a:gd name="connsiteX10" fmla="*/ 683710 w 683710"/>
              <a:gd name="connsiteY10" fmla="*/ 845767 h 1501843"/>
              <a:gd name="connsiteX11" fmla="*/ 683710 w 683710"/>
              <a:gd name="connsiteY11" fmla="*/ 940611 h 1501843"/>
              <a:gd name="connsiteX12" fmla="*/ 683710 w 683710"/>
              <a:gd name="connsiteY12" fmla="*/ 940612 h 1501843"/>
              <a:gd name="connsiteX13" fmla="*/ 683710 w 683710"/>
              <a:gd name="connsiteY13" fmla="*/ 1035455 h 1501843"/>
              <a:gd name="connsiteX14" fmla="*/ 683710 w 683710"/>
              <a:gd name="connsiteY14" fmla="*/ 1035456 h 1501843"/>
              <a:gd name="connsiteX15" fmla="*/ 683710 w 683710"/>
              <a:gd name="connsiteY15" fmla="*/ 1159988 h 1501843"/>
              <a:gd name="connsiteX16" fmla="*/ 341855 w 683710"/>
              <a:gd name="connsiteY16" fmla="*/ 1501843 h 1501843"/>
              <a:gd name="connsiteX17" fmla="*/ 0 w 683710"/>
              <a:gd name="connsiteY17" fmla="*/ 1159988 h 1501843"/>
              <a:gd name="connsiteX18" fmla="*/ 0 w 683710"/>
              <a:gd name="connsiteY18" fmla="*/ 1035456 h 1501843"/>
              <a:gd name="connsiteX19" fmla="*/ 0 w 683710"/>
              <a:gd name="connsiteY19" fmla="*/ 1035455 h 1501843"/>
              <a:gd name="connsiteX20" fmla="*/ 0 w 683710"/>
              <a:gd name="connsiteY20" fmla="*/ 940612 h 1501843"/>
              <a:gd name="connsiteX21" fmla="*/ 0 w 683710"/>
              <a:gd name="connsiteY21" fmla="*/ 940611 h 1501843"/>
              <a:gd name="connsiteX22" fmla="*/ 0 w 683710"/>
              <a:gd name="connsiteY22" fmla="*/ 845767 h 1501843"/>
              <a:gd name="connsiteX23" fmla="*/ 0 w 683710"/>
              <a:gd name="connsiteY23" fmla="*/ 750923 h 1501843"/>
              <a:gd name="connsiteX24" fmla="*/ 0 w 683710"/>
              <a:gd name="connsiteY24" fmla="*/ 750922 h 1501843"/>
              <a:gd name="connsiteX25" fmla="*/ 0 w 683710"/>
              <a:gd name="connsiteY25" fmla="*/ 656079 h 1501843"/>
              <a:gd name="connsiteX26" fmla="*/ 0 w 683710"/>
              <a:gd name="connsiteY26" fmla="*/ 656078 h 1501843"/>
              <a:gd name="connsiteX27" fmla="*/ 0 w 683710"/>
              <a:gd name="connsiteY27" fmla="*/ 561235 h 1501843"/>
              <a:gd name="connsiteX28" fmla="*/ 0 w 683710"/>
              <a:gd name="connsiteY28" fmla="*/ 561234 h 1501843"/>
              <a:gd name="connsiteX29" fmla="*/ 0 w 683710"/>
              <a:gd name="connsiteY29" fmla="*/ 466391 h 1501843"/>
              <a:gd name="connsiteX30" fmla="*/ 0 w 683710"/>
              <a:gd name="connsiteY30" fmla="*/ 466390 h 1501843"/>
              <a:gd name="connsiteX31" fmla="*/ 0 w 683710"/>
              <a:gd name="connsiteY31" fmla="*/ 341855 h 1501843"/>
              <a:gd name="connsiteX32" fmla="*/ 341855 w 683710"/>
              <a:gd name="connsiteY32" fmla="*/ 0 h 150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83710" h="1501843">
                <a:moveTo>
                  <a:pt x="341855" y="0"/>
                </a:moveTo>
                <a:cubicBezTo>
                  <a:pt x="530656" y="0"/>
                  <a:pt x="683710" y="153054"/>
                  <a:pt x="683710" y="341855"/>
                </a:cubicBezTo>
                <a:lnTo>
                  <a:pt x="683710" y="466390"/>
                </a:lnTo>
                <a:lnTo>
                  <a:pt x="683710" y="466391"/>
                </a:lnTo>
                <a:lnTo>
                  <a:pt x="683710" y="561234"/>
                </a:lnTo>
                <a:lnTo>
                  <a:pt x="683710" y="561235"/>
                </a:lnTo>
                <a:lnTo>
                  <a:pt x="683710" y="656078"/>
                </a:lnTo>
                <a:lnTo>
                  <a:pt x="683710" y="656079"/>
                </a:lnTo>
                <a:lnTo>
                  <a:pt x="683710" y="750922"/>
                </a:lnTo>
                <a:lnTo>
                  <a:pt x="683710" y="750923"/>
                </a:lnTo>
                <a:lnTo>
                  <a:pt x="683710" y="845767"/>
                </a:lnTo>
                <a:lnTo>
                  <a:pt x="683710" y="940611"/>
                </a:lnTo>
                <a:lnTo>
                  <a:pt x="683710" y="940612"/>
                </a:lnTo>
                <a:lnTo>
                  <a:pt x="683710" y="1035455"/>
                </a:lnTo>
                <a:lnTo>
                  <a:pt x="683710" y="1035456"/>
                </a:lnTo>
                <a:lnTo>
                  <a:pt x="683710" y="1159988"/>
                </a:lnTo>
                <a:cubicBezTo>
                  <a:pt x="683710" y="1348789"/>
                  <a:pt x="530656" y="1501843"/>
                  <a:pt x="341855" y="1501843"/>
                </a:cubicBezTo>
                <a:cubicBezTo>
                  <a:pt x="153054" y="1501843"/>
                  <a:pt x="0" y="1348789"/>
                  <a:pt x="0" y="1159988"/>
                </a:cubicBezTo>
                <a:lnTo>
                  <a:pt x="0" y="1035456"/>
                </a:lnTo>
                <a:lnTo>
                  <a:pt x="0" y="1035455"/>
                </a:lnTo>
                <a:lnTo>
                  <a:pt x="0" y="940612"/>
                </a:lnTo>
                <a:lnTo>
                  <a:pt x="0" y="940611"/>
                </a:lnTo>
                <a:lnTo>
                  <a:pt x="0" y="845767"/>
                </a:lnTo>
                <a:lnTo>
                  <a:pt x="0" y="750923"/>
                </a:lnTo>
                <a:lnTo>
                  <a:pt x="0" y="750922"/>
                </a:lnTo>
                <a:lnTo>
                  <a:pt x="0" y="656079"/>
                </a:lnTo>
                <a:lnTo>
                  <a:pt x="0" y="656078"/>
                </a:lnTo>
                <a:lnTo>
                  <a:pt x="0" y="561235"/>
                </a:lnTo>
                <a:lnTo>
                  <a:pt x="0" y="561234"/>
                </a:lnTo>
                <a:lnTo>
                  <a:pt x="0" y="466391"/>
                </a:lnTo>
                <a:lnTo>
                  <a:pt x="0" y="466390"/>
                </a:lnTo>
                <a:lnTo>
                  <a:pt x="0" y="341855"/>
                </a:lnTo>
                <a:cubicBezTo>
                  <a:pt x="0" y="153054"/>
                  <a:pt x="153054" y="0"/>
                  <a:pt x="341855" y="0"/>
                </a:cubicBez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endParaRPr lang="de-DE" sz="900" dirty="0">
              <a:solidFill>
                <a:schemeClr val="tx1"/>
              </a:solidFill>
            </a:endParaRPr>
          </a:p>
        </p:txBody>
      </p:sp>
      <p:grpSp>
        <p:nvGrpSpPr>
          <p:cNvPr id="779" name="Group 778">
            <a:extLst>
              <a:ext uri="{FF2B5EF4-FFF2-40B4-BE49-F238E27FC236}">
                <a16:creationId xmlns:a16="http://schemas.microsoft.com/office/drawing/2014/main" id="{E1EC2802-E968-436A-AA20-926B809900A3}"/>
              </a:ext>
            </a:extLst>
          </p:cNvPr>
          <p:cNvGrpSpPr/>
          <p:nvPr/>
        </p:nvGrpSpPr>
        <p:grpSpPr bwMode="gray">
          <a:xfrm>
            <a:off x="7536959" y="4367504"/>
            <a:ext cx="215856" cy="216648"/>
            <a:chOff x="13731031" y="3811749"/>
            <a:chExt cx="309600" cy="310736"/>
          </a:xfrm>
        </p:grpSpPr>
        <p:sp>
          <p:nvSpPr>
            <p:cNvPr id="780" name="Oval 779">
              <a:extLst>
                <a:ext uri="{FF2B5EF4-FFF2-40B4-BE49-F238E27FC236}">
                  <a16:creationId xmlns:a16="http://schemas.microsoft.com/office/drawing/2014/main" id="{3E8501FC-3B39-49AB-A581-D36A19E637AE}"/>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781" name="Freeform: Shape 780">
              <a:extLst>
                <a:ext uri="{FF2B5EF4-FFF2-40B4-BE49-F238E27FC236}">
                  <a16:creationId xmlns:a16="http://schemas.microsoft.com/office/drawing/2014/main" id="{2680357E-D6CD-410F-A3D0-69C0EAA3F335}"/>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a:solidFill>
                  <a:schemeClr val="tx1"/>
                </a:solidFill>
              </a:endParaRPr>
            </a:p>
          </p:txBody>
        </p:sp>
      </p:grpSp>
      <p:grpSp>
        <p:nvGrpSpPr>
          <p:cNvPr id="782" name="Group 781">
            <a:extLst>
              <a:ext uri="{FF2B5EF4-FFF2-40B4-BE49-F238E27FC236}">
                <a16:creationId xmlns:a16="http://schemas.microsoft.com/office/drawing/2014/main" id="{2FED869E-4973-4CE5-AEDA-8F2679910EB7}"/>
              </a:ext>
            </a:extLst>
          </p:cNvPr>
          <p:cNvGrpSpPr/>
          <p:nvPr/>
        </p:nvGrpSpPr>
        <p:grpSpPr bwMode="gray">
          <a:xfrm>
            <a:off x="8587450" y="4367504"/>
            <a:ext cx="215856" cy="216648"/>
            <a:chOff x="2882249" y="5029996"/>
            <a:chExt cx="309600" cy="310736"/>
          </a:xfrm>
        </p:grpSpPr>
        <p:sp>
          <p:nvSpPr>
            <p:cNvPr id="783" name="Oval 782">
              <a:extLst>
                <a:ext uri="{FF2B5EF4-FFF2-40B4-BE49-F238E27FC236}">
                  <a16:creationId xmlns:a16="http://schemas.microsoft.com/office/drawing/2014/main" id="{961996A7-AFE4-4832-9CFD-4FFDD3520E20}"/>
                </a:ext>
              </a:extLst>
            </p:cNvPr>
            <p:cNvSpPr/>
            <p:nvPr/>
          </p:nvSpPr>
          <p:spPr bwMode="gray">
            <a:xfrm flipH="1">
              <a:off x="2882249" y="5029996"/>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784" name="Freeform: Shape 783">
              <a:extLst>
                <a:ext uri="{FF2B5EF4-FFF2-40B4-BE49-F238E27FC236}">
                  <a16:creationId xmlns:a16="http://schemas.microsoft.com/office/drawing/2014/main" id="{8B3C7E87-4BD0-4B09-B496-DF94FE004ADF}"/>
                </a:ext>
              </a:extLst>
            </p:cNvPr>
            <p:cNvSpPr/>
            <p:nvPr/>
          </p:nvSpPr>
          <p:spPr bwMode="gray">
            <a:xfrm rot="5400000">
              <a:off x="2944530" y="5077710"/>
              <a:ext cx="128873" cy="215306"/>
            </a:xfrm>
            <a:custGeom>
              <a:avLst/>
              <a:gdLst>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67715 w 128873"/>
                <a:gd name="connsiteY4" fmla="*/ 5651 h 243834"/>
                <a:gd name="connsiteX5" fmla="*/ 128873 w 128873"/>
                <a:gd name="connsiteY5" fmla="*/ 5651 h 243834"/>
                <a:gd name="connsiteX6" fmla="*/ 128873 w 128873"/>
                <a:gd name="connsiteY6" fmla="*/ 243834 h 243834"/>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128873 w 128873"/>
                <a:gd name="connsiteY4" fmla="*/ 5651 h 243834"/>
                <a:gd name="connsiteX5" fmla="*/ 128873 w 128873"/>
                <a:gd name="connsiteY5" fmla="*/ 243834 h 243834"/>
                <a:gd name="connsiteX6" fmla="*/ 0 w 128873"/>
                <a:gd name="connsiteY6" fmla="*/ 243834 h 243834"/>
                <a:gd name="connsiteX0" fmla="*/ 0 w 128873"/>
                <a:gd name="connsiteY0" fmla="*/ 238183 h 238183"/>
                <a:gd name="connsiteX1" fmla="*/ 0 w 128873"/>
                <a:gd name="connsiteY1" fmla="*/ 0 h 238183"/>
                <a:gd name="connsiteX2" fmla="*/ 61160 w 128873"/>
                <a:gd name="connsiteY2" fmla="*/ 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40289"/>
                <a:gd name="connsiteX1" fmla="*/ 0 w 128873"/>
                <a:gd name="connsiteY1" fmla="*/ 0 h 240289"/>
                <a:gd name="connsiteX2" fmla="*/ 63065 w 128873"/>
                <a:gd name="connsiteY2" fmla="*/ 87630 h 240289"/>
                <a:gd name="connsiteX3" fmla="*/ 128873 w 128873"/>
                <a:gd name="connsiteY3" fmla="*/ 0 h 240289"/>
                <a:gd name="connsiteX4" fmla="*/ 128873 w 128873"/>
                <a:gd name="connsiteY4" fmla="*/ 238183 h 240289"/>
                <a:gd name="connsiteX5" fmla="*/ 56864 w 128873"/>
                <a:gd name="connsiteY5" fmla="*/ 240289 h 240289"/>
                <a:gd name="connsiteX6" fmla="*/ 0 w 128873"/>
                <a:gd name="connsiteY6" fmla="*/ 238183 h 240289"/>
                <a:gd name="connsiteX0" fmla="*/ 56864 w 148304"/>
                <a:gd name="connsiteY0" fmla="*/ 240289 h 341445"/>
                <a:gd name="connsiteX1" fmla="*/ 0 w 148304"/>
                <a:gd name="connsiteY1" fmla="*/ 238183 h 341445"/>
                <a:gd name="connsiteX2" fmla="*/ 0 w 148304"/>
                <a:gd name="connsiteY2" fmla="*/ 0 h 341445"/>
                <a:gd name="connsiteX3" fmla="*/ 63065 w 148304"/>
                <a:gd name="connsiteY3" fmla="*/ 87630 h 341445"/>
                <a:gd name="connsiteX4" fmla="*/ 128873 w 148304"/>
                <a:gd name="connsiteY4" fmla="*/ 0 h 341445"/>
                <a:gd name="connsiteX5" fmla="*/ 128873 w 148304"/>
                <a:gd name="connsiteY5" fmla="*/ 238183 h 341445"/>
                <a:gd name="connsiteX6" fmla="*/ 148304 w 148304"/>
                <a:gd name="connsiteY6" fmla="*/ 341445 h 341445"/>
                <a:gd name="connsiteX0" fmla="*/ 0 w 148304"/>
                <a:gd name="connsiteY0" fmla="*/ 238183 h 341445"/>
                <a:gd name="connsiteX1" fmla="*/ 0 w 148304"/>
                <a:gd name="connsiteY1" fmla="*/ 0 h 341445"/>
                <a:gd name="connsiteX2" fmla="*/ 63065 w 148304"/>
                <a:gd name="connsiteY2" fmla="*/ 87630 h 341445"/>
                <a:gd name="connsiteX3" fmla="*/ 128873 w 148304"/>
                <a:gd name="connsiteY3" fmla="*/ 0 h 341445"/>
                <a:gd name="connsiteX4" fmla="*/ 128873 w 148304"/>
                <a:gd name="connsiteY4" fmla="*/ 238183 h 341445"/>
                <a:gd name="connsiteX5" fmla="*/ 148304 w 148304"/>
                <a:gd name="connsiteY5" fmla="*/ 341445 h 341445"/>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73" h="238183">
                  <a:moveTo>
                    <a:pt x="0" y="238183"/>
                  </a:moveTo>
                  <a:lnTo>
                    <a:pt x="0" y="0"/>
                  </a:lnTo>
                  <a:lnTo>
                    <a:pt x="63065" y="87630"/>
                  </a:lnTo>
                  <a:lnTo>
                    <a:pt x="128873" y="0"/>
                  </a:lnTo>
                  <a:lnTo>
                    <a:pt x="128873" y="238183"/>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err="1">
                <a:solidFill>
                  <a:schemeClr val="tx1"/>
                </a:solidFill>
              </a:endParaRPr>
            </a:p>
          </p:txBody>
        </p:sp>
      </p:grpSp>
      <p:sp>
        <p:nvSpPr>
          <p:cNvPr id="786" name="Rectangle 785">
            <a:extLst>
              <a:ext uri="{FF2B5EF4-FFF2-40B4-BE49-F238E27FC236}">
                <a16:creationId xmlns:a16="http://schemas.microsoft.com/office/drawing/2014/main" id="{DD4B482B-A828-4602-92F1-07DCE26D8527}"/>
              </a:ext>
            </a:extLst>
          </p:cNvPr>
          <p:cNvSpPr/>
          <p:nvPr/>
        </p:nvSpPr>
        <p:spPr bwMode="gray">
          <a:xfrm>
            <a:off x="456359" y="5644670"/>
            <a:ext cx="593823"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Ethylene</a:t>
            </a:r>
          </a:p>
        </p:txBody>
      </p:sp>
      <p:cxnSp>
        <p:nvCxnSpPr>
          <p:cNvPr id="787" name="Connector: Elbow 786">
            <a:extLst>
              <a:ext uri="{FF2B5EF4-FFF2-40B4-BE49-F238E27FC236}">
                <a16:creationId xmlns:a16="http://schemas.microsoft.com/office/drawing/2014/main" id="{D66C76B7-A7F4-432F-BC84-8AF577823DFF}"/>
              </a:ext>
            </a:extLst>
          </p:cNvPr>
          <p:cNvCxnSpPr>
            <a:cxnSpLocks/>
            <a:stCxn id="786" idx="3"/>
            <a:endCxn id="913" idx="2"/>
          </p:cNvCxnSpPr>
          <p:nvPr/>
        </p:nvCxnSpPr>
        <p:spPr bwMode="gray">
          <a:xfrm flipV="1">
            <a:off x="1050182" y="5563516"/>
            <a:ext cx="1333819" cy="163669"/>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790" name="Connector: Elbow 789">
            <a:extLst>
              <a:ext uri="{FF2B5EF4-FFF2-40B4-BE49-F238E27FC236}">
                <a16:creationId xmlns:a16="http://schemas.microsoft.com/office/drawing/2014/main" id="{BD0FB4F0-DE46-4996-9A42-3C2F40A2C0DD}"/>
              </a:ext>
            </a:extLst>
          </p:cNvPr>
          <p:cNvCxnSpPr>
            <a:cxnSpLocks/>
            <a:stCxn id="749" idx="2"/>
            <a:endCxn id="757" idx="4"/>
          </p:cNvCxnSpPr>
          <p:nvPr/>
        </p:nvCxnSpPr>
        <p:spPr bwMode="gray">
          <a:xfrm>
            <a:off x="2770704" y="5545516"/>
            <a:ext cx="938421" cy="19525"/>
          </a:xfrm>
          <a:prstGeom prst="bentConnector4">
            <a:avLst>
              <a:gd name="adj1" fmla="val 44249"/>
              <a:gd name="adj2" fmla="val 72443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793" name="Connector: Elbow 792">
            <a:extLst>
              <a:ext uri="{FF2B5EF4-FFF2-40B4-BE49-F238E27FC236}">
                <a16:creationId xmlns:a16="http://schemas.microsoft.com/office/drawing/2014/main" id="{313DD976-33D5-4FAD-8687-B19213770570}"/>
              </a:ext>
            </a:extLst>
          </p:cNvPr>
          <p:cNvCxnSpPr>
            <a:cxnSpLocks/>
            <a:stCxn id="392" idx="2"/>
            <a:endCxn id="757" idx="2"/>
          </p:cNvCxnSpPr>
          <p:nvPr/>
        </p:nvCxnSpPr>
        <p:spPr bwMode="gray">
          <a:xfrm rot="16200000" flipH="1">
            <a:off x="3260100" y="5115619"/>
            <a:ext cx="279097" cy="403097"/>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796" name="Connector: Elbow 795">
            <a:extLst>
              <a:ext uri="{FF2B5EF4-FFF2-40B4-BE49-F238E27FC236}">
                <a16:creationId xmlns:a16="http://schemas.microsoft.com/office/drawing/2014/main" id="{B3A6A040-C7C6-4C40-ADD2-35189966772C}"/>
              </a:ext>
            </a:extLst>
          </p:cNvPr>
          <p:cNvCxnSpPr>
            <a:cxnSpLocks/>
            <a:stCxn id="758" idx="5"/>
            <a:endCxn id="1121" idx="1"/>
          </p:cNvCxnSpPr>
          <p:nvPr/>
        </p:nvCxnSpPr>
        <p:spPr bwMode="gray">
          <a:xfrm flipV="1">
            <a:off x="3817053" y="5020519"/>
            <a:ext cx="165495" cy="433750"/>
          </a:xfrm>
          <a:prstGeom prst="bentConnector3">
            <a:avLst>
              <a:gd name="adj1" fmla="val 32734"/>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800" name="Connector: Elbow 799">
            <a:extLst>
              <a:ext uri="{FF2B5EF4-FFF2-40B4-BE49-F238E27FC236}">
                <a16:creationId xmlns:a16="http://schemas.microsoft.com/office/drawing/2014/main" id="{340C2388-F492-4FF9-A8D3-44EACAF4EDA2}"/>
              </a:ext>
            </a:extLst>
          </p:cNvPr>
          <p:cNvCxnSpPr>
            <a:cxnSpLocks/>
            <a:stCxn id="760" idx="6"/>
            <a:endCxn id="1117" idx="1"/>
          </p:cNvCxnSpPr>
          <p:nvPr/>
        </p:nvCxnSpPr>
        <p:spPr bwMode="gray">
          <a:xfrm flipV="1">
            <a:off x="5975686" y="5020519"/>
            <a:ext cx="214099" cy="211888"/>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805" name="Connector: Elbow 804">
            <a:extLst>
              <a:ext uri="{FF2B5EF4-FFF2-40B4-BE49-F238E27FC236}">
                <a16:creationId xmlns:a16="http://schemas.microsoft.com/office/drawing/2014/main" id="{8BE30234-42DD-4F6D-A8E1-AA747C6E2DB3}"/>
              </a:ext>
            </a:extLst>
          </p:cNvPr>
          <p:cNvCxnSpPr>
            <a:cxnSpLocks/>
            <a:stCxn id="402" idx="2"/>
            <a:endCxn id="760" idx="2"/>
          </p:cNvCxnSpPr>
          <p:nvPr/>
        </p:nvCxnSpPr>
        <p:spPr bwMode="gray">
          <a:xfrm rot="16200000" flipH="1">
            <a:off x="5514669" y="4987245"/>
            <a:ext cx="112113" cy="378209"/>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808" name="Connector: Elbow 807">
            <a:extLst>
              <a:ext uri="{FF2B5EF4-FFF2-40B4-BE49-F238E27FC236}">
                <a16:creationId xmlns:a16="http://schemas.microsoft.com/office/drawing/2014/main" id="{8F006265-BE45-4EB9-B459-89436422166C}"/>
              </a:ext>
            </a:extLst>
          </p:cNvPr>
          <p:cNvCxnSpPr>
            <a:cxnSpLocks/>
            <a:stCxn id="760" idx="0"/>
            <a:endCxn id="402" idx="0"/>
          </p:cNvCxnSpPr>
          <p:nvPr/>
        </p:nvCxnSpPr>
        <p:spPr bwMode="gray">
          <a:xfrm rot="16200000" flipV="1">
            <a:off x="5152346" y="4408670"/>
            <a:ext cx="944689" cy="486137"/>
          </a:xfrm>
          <a:prstGeom prst="bentConnector3">
            <a:avLst>
              <a:gd name="adj1" fmla="val 114519"/>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811" name="Connector: Elbow 810">
            <a:extLst>
              <a:ext uri="{FF2B5EF4-FFF2-40B4-BE49-F238E27FC236}">
                <a16:creationId xmlns:a16="http://schemas.microsoft.com/office/drawing/2014/main" id="{A1203925-ED4B-41FB-9847-37BEAC065F15}"/>
              </a:ext>
            </a:extLst>
          </p:cNvPr>
          <p:cNvCxnSpPr>
            <a:cxnSpLocks/>
            <a:stCxn id="925" idx="0"/>
            <a:endCxn id="905" idx="3"/>
          </p:cNvCxnSpPr>
          <p:nvPr/>
        </p:nvCxnSpPr>
        <p:spPr bwMode="gray">
          <a:xfrm rot="16200000" flipV="1">
            <a:off x="5552666" y="3230890"/>
            <a:ext cx="241483" cy="1671096"/>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817" name="Rectangle 816">
            <a:extLst>
              <a:ext uri="{FF2B5EF4-FFF2-40B4-BE49-F238E27FC236}">
                <a16:creationId xmlns:a16="http://schemas.microsoft.com/office/drawing/2014/main" id="{81249DB5-272F-4E66-9314-1C0275CD890A}"/>
              </a:ext>
            </a:extLst>
          </p:cNvPr>
          <p:cNvSpPr/>
          <p:nvPr/>
        </p:nvSpPr>
        <p:spPr bwMode="gray">
          <a:xfrm>
            <a:off x="456359" y="3729584"/>
            <a:ext cx="593823"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Inhibitor</a:t>
            </a:r>
          </a:p>
        </p:txBody>
      </p:sp>
      <p:cxnSp>
        <p:nvCxnSpPr>
          <p:cNvPr id="818" name="Connector: Elbow 817">
            <a:extLst>
              <a:ext uri="{FF2B5EF4-FFF2-40B4-BE49-F238E27FC236}">
                <a16:creationId xmlns:a16="http://schemas.microsoft.com/office/drawing/2014/main" id="{3B0F30D6-0858-438B-ACA0-AC60788EC176}"/>
              </a:ext>
            </a:extLst>
          </p:cNvPr>
          <p:cNvCxnSpPr>
            <a:cxnSpLocks/>
            <a:stCxn id="817" idx="3"/>
            <a:endCxn id="757" idx="0"/>
          </p:cNvCxnSpPr>
          <p:nvPr/>
        </p:nvCxnSpPr>
        <p:spPr bwMode="gray">
          <a:xfrm>
            <a:off x="1050182" y="3812099"/>
            <a:ext cx="2658943" cy="1536294"/>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822" name="Rectangle 821">
            <a:extLst>
              <a:ext uri="{FF2B5EF4-FFF2-40B4-BE49-F238E27FC236}">
                <a16:creationId xmlns:a16="http://schemas.microsoft.com/office/drawing/2014/main" id="{71A774F5-9ABA-44D6-A488-1A35DE2908CC}"/>
              </a:ext>
            </a:extLst>
          </p:cNvPr>
          <p:cNvSpPr/>
          <p:nvPr/>
        </p:nvSpPr>
        <p:spPr bwMode="gray">
          <a:xfrm>
            <a:off x="956082" y="5523023"/>
            <a:ext cx="83881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Vent gas</a:t>
            </a:r>
          </a:p>
        </p:txBody>
      </p:sp>
      <p:cxnSp>
        <p:nvCxnSpPr>
          <p:cNvPr id="824" name="Straight Connector 823">
            <a:extLst>
              <a:ext uri="{FF2B5EF4-FFF2-40B4-BE49-F238E27FC236}">
                <a16:creationId xmlns:a16="http://schemas.microsoft.com/office/drawing/2014/main" id="{75AF89FA-2A12-4529-B359-90E7E1936B20}"/>
              </a:ext>
            </a:extLst>
          </p:cNvPr>
          <p:cNvCxnSpPr>
            <a:cxnSpLocks/>
            <a:stCxn id="753" idx="4"/>
            <a:endCxn id="822" idx="0"/>
          </p:cNvCxnSpPr>
          <p:nvPr/>
        </p:nvCxnSpPr>
        <p:spPr bwMode="gray">
          <a:xfrm>
            <a:off x="1375487" y="5428581"/>
            <a:ext cx="0" cy="94442"/>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826" name="Rectangle 825">
            <a:extLst>
              <a:ext uri="{FF2B5EF4-FFF2-40B4-BE49-F238E27FC236}">
                <a16:creationId xmlns:a16="http://schemas.microsoft.com/office/drawing/2014/main" id="{596CC82F-8ED6-4C1B-938C-97164A487304}"/>
              </a:ext>
            </a:extLst>
          </p:cNvPr>
          <p:cNvSpPr/>
          <p:nvPr/>
        </p:nvSpPr>
        <p:spPr bwMode="gray">
          <a:xfrm>
            <a:off x="623366" y="5237742"/>
            <a:ext cx="25981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Air</a:t>
            </a:r>
          </a:p>
        </p:txBody>
      </p:sp>
      <p:cxnSp>
        <p:nvCxnSpPr>
          <p:cNvPr id="829" name="Straight Connector 828">
            <a:extLst>
              <a:ext uri="{FF2B5EF4-FFF2-40B4-BE49-F238E27FC236}">
                <a16:creationId xmlns:a16="http://schemas.microsoft.com/office/drawing/2014/main" id="{4191B1E5-64FF-4626-B7FF-3E403E3DF6EE}"/>
              </a:ext>
            </a:extLst>
          </p:cNvPr>
          <p:cNvCxnSpPr>
            <a:cxnSpLocks/>
            <a:stCxn id="680" idx="2"/>
            <a:endCxn id="753" idx="0"/>
          </p:cNvCxnSpPr>
          <p:nvPr/>
        </p:nvCxnSpPr>
        <p:spPr bwMode="gray">
          <a:xfrm>
            <a:off x="1375487" y="5075746"/>
            <a:ext cx="0" cy="136187"/>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837" name="Connector: Elbow 836">
            <a:extLst>
              <a:ext uri="{FF2B5EF4-FFF2-40B4-BE49-F238E27FC236}">
                <a16:creationId xmlns:a16="http://schemas.microsoft.com/office/drawing/2014/main" id="{CF84870E-05D8-4C80-AC03-95E05CBA986A}"/>
              </a:ext>
            </a:extLst>
          </p:cNvPr>
          <p:cNvCxnSpPr>
            <a:cxnSpLocks/>
            <a:stCxn id="753" idx="2"/>
            <a:endCxn id="677" idx="2"/>
          </p:cNvCxnSpPr>
          <p:nvPr/>
        </p:nvCxnSpPr>
        <p:spPr bwMode="gray">
          <a:xfrm flipV="1">
            <a:off x="1483415" y="5079178"/>
            <a:ext cx="707646" cy="241079"/>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840" name="Straight Connector 839">
            <a:extLst>
              <a:ext uri="{FF2B5EF4-FFF2-40B4-BE49-F238E27FC236}">
                <a16:creationId xmlns:a16="http://schemas.microsoft.com/office/drawing/2014/main" id="{3208C263-6E60-4974-A73A-A08BD5E7DD29}"/>
              </a:ext>
            </a:extLst>
          </p:cNvPr>
          <p:cNvCxnSpPr>
            <a:cxnSpLocks/>
            <a:stCxn id="826" idx="3"/>
            <a:endCxn id="753" idx="6"/>
          </p:cNvCxnSpPr>
          <p:nvPr/>
        </p:nvCxnSpPr>
        <p:spPr bwMode="gray">
          <a:xfrm>
            <a:off x="883176" y="5320257"/>
            <a:ext cx="384383"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845" name="Connector: Elbow 844">
            <a:extLst>
              <a:ext uri="{FF2B5EF4-FFF2-40B4-BE49-F238E27FC236}">
                <a16:creationId xmlns:a16="http://schemas.microsoft.com/office/drawing/2014/main" id="{6EA55B8B-4206-4FAE-B000-2115E0EBDED1}"/>
              </a:ext>
            </a:extLst>
          </p:cNvPr>
          <p:cNvCxnSpPr>
            <a:cxnSpLocks/>
            <a:stCxn id="896" idx="0"/>
            <a:endCxn id="877" idx="3"/>
          </p:cNvCxnSpPr>
          <p:nvPr/>
        </p:nvCxnSpPr>
        <p:spPr bwMode="gray">
          <a:xfrm rot="16200000" flipV="1">
            <a:off x="3338624" y="3224085"/>
            <a:ext cx="305246" cy="1620942"/>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852" name="Connector: Elbow 851">
            <a:extLst>
              <a:ext uri="{FF2B5EF4-FFF2-40B4-BE49-F238E27FC236}">
                <a16:creationId xmlns:a16="http://schemas.microsoft.com/office/drawing/2014/main" id="{6D7D2F2E-D7C6-4944-BC1A-5E8F736EFD84}"/>
              </a:ext>
            </a:extLst>
          </p:cNvPr>
          <p:cNvCxnSpPr>
            <a:cxnSpLocks/>
            <a:stCxn id="678" idx="1"/>
            <a:endCxn id="877" idx="1"/>
          </p:cNvCxnSpPr>
          <p:nvPr/>
        </p:nvCxnSpPr>
        <p:spPr bwMode="gray">
          <a:xfrm rot="5400000" flipH="1" flipV="1">
            <a:off x="2315356" y="3757638"/>
            <a:ext cx="205124" cy="453715"/>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858" name="Connector: Elbow 857">
            <a:extLst>
              <a:ext uri="{FF2B5EF4-FFF2-40B4-BE49-F238E27FC236}">
                <a16:creationId xmlns:a16="http://schemas.microsoft.com/office/drawing/2014/main" id="{9CBD6A27-A889-45C2-B29E-66A5F55CF038}"/>
              </a:ext>
            </a:extLst>
          </p:cNvPr>
          <p:cNvCxnSpPr>
            <a:cxnSpLocks/>
            <a:stCxn id="905" idx="0"/>
            <a:endCxn id="681" idx="1"/>
          </p:cNvCxnSpPr>
          <p:nvPr/>
        </p:nvCxnSpPr>
        <p:spPr bwMode="gray">
          <a:xfrm rot="16200000" flipH="1" flipV="1">
            <a:off x="3017992" y="2285190"/>
            <a:ext cx="159361" cy="3444372"/>
          </a:xfrm>
          <a:prstGeom prst="bentConnector3">
            <a:avLst>
              <a:gd name="adj1" fmla="val -103257"/>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885" name="Straight Connector 884">
            <a:extLst>
              <a:ext uri="{FF2B5EF4-FFF2-40B4-BE49-F238E27FC236}">
                <a16:creationId xmlns:a16="http://schemas.microsoft.com/office/drawing/2014/main" id="{37FCB638-0F07-40D9-B3E4-52676DC58C61}"/>
              </a:ext>
            </a:extLst>
          </p:cNvPr>
          <p:cNvCxnSpPr>
            <a:cxnSpLocks/>
            <a:stCxn id="913" idx="3"/>
            <a:endCxn id="749" idx="6"/>
          </p:cNvCxnSpPr>
          <p:nvPr/>
        </p:nvCxnSpPr>
        <p:spPr bwMode="gray">
          <a:xfrm>
            <a:off x="2402001" y="5545516"/>
            <a:ext cx="152847"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06" name="Connector: Elbow 905">
            <a:extLst>
              <a:ext uri="{FF2B5EF4-FFF2-40B4-BE49-F238E27FC236}">
                <a16:creationId xmlns:a16="http://schemas.microsoft.com/office/drawing/2014/main" id="{CF3A6094-9892-4002-93A4-43AA9D52EC24}"/>
              </a:ext>
            </a:extLst>
          </p:cNvPr>
          <p:cNvCxnSpPr>
            <a:cxnSpLocks/>
            <a:stCxn id="745" idx="2"/>
            <a:endCxn id="760" idx="4"/>
          </p:cNvCxnSpPr>
          <p:nvPr/>
        </p:nvCxnSpPr>
        <p:spPr bwMode="gray">
          <a:xfrm flipV="1">
            <a:off x="5157265" y="5340731"/>
            <a:ext cx="710493" cy="179385"/>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16" name="Connector: Elbow 915">
            <a:extLst>
              <a:ext uri="{FF2B5EF4-FFF2-40B4-BE49-F238E27FC236}">
                <a16:creationId xmlns:a16="http://schemas.microsoft.com/office/drawing/2014/main" id="{FF666C08-2760-4189-9983-E069453759A1}"/>
              </a:ext>
            </a:extLst>
          </p:cNvPr>
          <p:cNvCxnSpPr>
            <a:cxnSpLocks/>
            <a:stCxn id="877" idx="2"/>
            <a:endCxn id="913" idx="0"/>
          </p:cNvCxnSpPr>
          <p:nvPr/>
        </p:nvCxnSpPr>
        <p:spPr bwMode="gray">
          <a:xfrm rot="5400000">
            <a:off x="1709598" y="4574337"/>
            <a:ext cx="1627583" cy="278775"/>
          </a:xfrm>
          <a:prstGeom prst="bentConnector3">
            <a:avLst>
              <a:gd name="adj1" fmla="val 84177"/>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32" name="Connector: Elbow 931">
            <a:extLst>
              <a:ext uri="{FF2B5EF4-FFF2-40B4-BE49-F238E27FC236}">
                <a16:creationId xmlns:a16="http://schemas.microsoft.com/office/drawing/2014/main" id="{62240E8A-641C-4BC6-9F41-599A12D50302}"/>
              </a:ext>
            </a:extLst>
          </p:cNvPr>
          <p:cNvCxnSpPr>
            <a:cxnSpLocks/>
            <a:stCxn id="905" idx="2"/>
            <a:endCxn id="745" idx="6"/>
          </p:cNvCxnSpPr>
          <p:nvPr/>
        </p:nvCxnSpPr>
        <p:spPr bwMode="gray">
          <a:xfrm rot="16200000" flipH="1">
            <a:off x="4102424" y="4681131"/>
            <a:ext cx="1556420" cy="121550"/>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40" name="Straight Arrow Connector 939">
            <a:extLst>
              <a:ext uri="{FF2B5EF4-FFF2-40B4-BE49-F238E27FC236}">
                <a16:creationId xmlns:a16="http://schemas.microsoft.com/office/drawing/2014/main" id="{75EC5570-9EBF-42E9-8BDB-E62BF69AA395}"/>
              </a:ext>
            </a:extLst>
          </p:cNvPr>
          <p:cNvCxnSpPr>
            <a:cxnSpLocks/>
            <a:stCxn id="938" idx="3"/>
            <a:endCxn id="905" idx="1"/>
          </p:cNvCxnSpPr>
          <p:nvPr/>
        </p:nvCxnSpPr>
        <p:spPr bwMode="gray">
          <a:xfrm>
            <a:off x="2680776" y="3945696"/>
            <a:ext cx="2121083" cy="0"/>
          </a:xfrm>
          <a:prstGeom prst="straightConnector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946" name="Rectangle 945">
            <a:extLst>
              <a:ext uri="{FF2B5EF4-FFF2-40B4-BE49-F238E27FC236}">
                <a16:creationId xmlns:a16="http://schemas.microsoft.com/office/drawing/2014/main" id="{C5FF5A0B-046D-4EA1-A076-F244AB8E1F5C}"/>
              </a:ext>
            </a:extLst>
          </p:cNvPr>
          <p:cNvSpPr/>
          <p:nvPr/>
        </p:nvSpPr>
        <p:spPr bwMode="gray">
          <a:xfrm>
            <a:off x="456359" y="2052937"/>
            <a:ext cx="593823"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Ethylene</a:t>
            </a:r>
          </a:p>
        </p:txBody>
      </p:sp>
      <p:sp>
        <p:nvSpPr>
          <p:cNvPr id="947" name="Rectangle 946">
            <a:extLst>
              <a:ext uri="{FF2B5EF4-FFF2-40B4-BE49-F238E27FC236}">
                <a16:creationId xmlns:a16="http://schemas.microsoft.com/office/drawing/2014/main" id="{7AACEF79-6DBC-4152-A82F-0FBA84F5C338}"/>
              </a:ext>
            </a:extLst>
          </p:cNvPr>
          <p:cNvSpPr/>
          <p:nvPr/>
        </p:nvSpPr>
        <p:spPr bwMode="gray">
          <a:xfrm>
            <a:off x="456359" y="2237609"/>
            <a:ext cx="593823"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Inhibitor</a:t>
            </a:r>
          </a:p>
        </p:txBody>
      </p:sp>
      <p:cxnSp>
        <p:nvCxnSpPr>
          <p:cNvPr id="955" name="Connector: Elbow 954">
            <a:extLst>
              <a:ext uri="{FF2B5EF4-FFF2-40B4-BE49-F238E27FC236}">
                <a16:creationId xmlns:a16="http://schemas.microsoft.com/office/drawing/2014/main" id="{400024B9-8C1C-4830-ADB9-1BE3A71B9CF0}"/>
              </a:ext>
            </a:extLst>
          </p:cNvPr>
          <p:cNvCxnSpPr>
            <a:cxnSpLocks/>
            <a:stCxn id="946" idx="3"/>
            <a:endCxn id="963" idx="1"/>
          </p:cNvCxnSpPr>
          <p:nvPr/>
        </p:nvCxnSpPr>
        <p:spPr bwMode="gray">
          <a:xfrm>
            <a:off x="1050182" y="2135452"/>
            <a:ext cx="3233536" cy="71787"/>
          </a:xfrm>
          <a:prstGeom prst="bentConnector3">
            <a:avLst>
              <a:gd name="adj1" fmla="val 63354"/>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956" name="Rectangle 955">
            <a:extLst>
              <a:ext uri="{FF2B5EF4-FFF2-40B4-BE49-F238E27FC236}">
                <a16:creationId xmlns:a16="http://schemas.microsoft.com/office/drawing/2014/main" id="{DB61035F-925F-4260-85C2-4B750D3F9A9B}"/>
              </a:ext>
            </a:extLst>
          </p:cNvPr>
          <p:cNvSpPr/>
          <p:nvPr/>
        </p:nvSpPr>
        <p:spPr bwMode="gray">
          <a:xfrm>
            <a:off x="510861" y="3476742"/>
            <a:ext cx="48482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Oxygen</a:t>
            </a:r>
          </a:p>
        </p:txBody>
      </p:sp>
      <p:cxnSp>
        <p:nvCxnSpPr>
          <p:cNvPr id="966" name="Connector: Elbow 965">
            <a:extLst>
              <a:ext uri="{FF2B5EF4-FFF2-40B4-BE49-F238E27FC236}">
                <a16:creationId xmlns:a16="http://schemas.microsoft.com/office/drawing/2014/main" id="{96CB7F4C-662A-468A-B8A5-27D2DA54CA70}"/>
              </a:ext>
            </a:extLst>
          </p:cNvPr>
          <p:cNvCxnSpPr>
            <a:cxnSpLocks/>
            <a:stCxn id="947" idx="3"/>
            <a:endCxn id="1025" idx="1"/>
          </p:cNvCxnSpPr>
          <p:nvPr/>
        </p:nvCxnSpPr>
        <p:spPr bwMode="gray">
          <a:xfrm flipV="1">
            <a:off x="1050182" y="2275676"/>
            <a:ext cx="694889" cy="44448"/>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69" name="Connector: Elbow 968">
            <a:extLst>
              <a:ext uri="{FF2B5EF4-FFF2-40B4-BE49-F238E27FC236}">
                <a16:creationId xmlns:a16="http://schemas.microsoft.com/office/drawing/2014/main" id="{A9F7AD23-D2AF-4663-975F-01537ADB0997}"/>
              </a:ext>
            </a:extLst>
          </p:cNvPr>
          <p:cNvCxnSpPr>
            <a:cxnSpLocks/>
            <a:stCxn id="735" idx="0"/>
            <a:endCxn id="1025" idx="3"/>
          </p:cNvCxnSpPr>
          <p:nvPr/>
        </p:nvCxnSpPr>
        <p:spPr bwMode="gray">
          <a:xfrm rot="16200000" flipV="1">
            <a:off x="1905263" y="2151485"/>
            <a:ext cx="927729" cy="1176111"/>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74" name="Connector: Elbow 973">
            <a:extLst>
              <a:ext uri="{FF2B5EF4-FFF2-40B4-BE49-F238E27FC236}">
                <a16:creationId xmlns:a16="http://schemas.microsoft.com/office/drawing/2014/main" id="{CBFE3C0E-23B2-46DB-8B1D-E889D3BCCD68}"/>
              </a:ext>
            </a:extLst>
          </p:cNvPr>
          <p:cNvCxnSpPr>
            <a:cxnSpLocks/>
            <a:stCxn id="736" idx="5"/>
            <a:endCxn id="738" idx="2"/>
          </p:cNvCxnSpPr>
          <p:nvPr/>
        </p:nvCxnSpPr>
        <p:spPr bwMode="gray">
          <a:xfrm flipV="1">
            <a:off x="3065110" y="3241922"/>
            <a:ext cx="303931" cy="67359"/>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80" name="Straight Connector 979">
            <a:extLst>
              <a:ext uri="{FF2B5EF4-FFF2-40B4-BE49-F238E27FC236}">
                <a16:creationId xmlns:a16="http://schemas.microsoft.com/office/drawing/2014/main" id="{F12FDD7E-5A88-4C22-8264-EDC8B6317E25}"/>
              </a:ext>
            </a:extLst>
          </p:cNvPr>
          <p:cNvCxnSpPr>
            <a:cxnSpLocks/>
            <a:stCxn id="738" idx="6"/>
          </p:cNvCxnSpPr>
          <p:nvPr/>
        </p:nvCxnSpPr>
        <p:spPr bwMode="gray">
          <a:xfrm>
            <a:off x="3584897" y="3241922"/>
            <a:ext cx="400354"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984" name="Rectangle 983">
            <a:extLst>
              <a:ext uri="{FF2B5EF4-FFF2-40B4-BE49-F238E27FC236}">
                <a16:creationId xmlns:a16="http://schemas.microsoft.com/office/drawing/2014/main" id="{DC4494CD-2FD3-4EBE-9790-4B43F1A35DEB}"/>
              </a:ext>
            </a:extLst>
          </p:cNvPr>
          <p:cNvSpPr/>
          <p:nvPr/>
        </p:nvSpPr>
        <p:spPr bwMode="gray">
          <a:xfrm>
            <a:off x="3111941" y="2248271"/>
            <a:ext cx="614893"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Vent gas</a:t>
            </a:r>
          </a:p>
        </p:txBody>
      </p:sp>
      <p:cxnSp>
        <p:nvCxnSpPr>
          <p:cNvPr id="985" name="Connector: Elbow 984">
            <a:extLst>
              <a:ext uri="{FF2B5EF4-FFF2-40B4-BE49-F238E27FC236}">
                <a16:creationId xmlns:a16="http://schemas.microsoft.com/office/drawing/2014/main" id="{2369D447-0839-4E44-9932-97F590C4E5C9}"/>
              </a:ext>
            </a:extLst>
          </p:cNvPr>
          <p:cNvCxnSpPr>
            <a:cxnSpLocks/>
            <a:stCxn id="962" idx="0"/>
            <a:endCxn id="984" idx="3"/>
          </p:cNvCxnSpPr>
          <p:nvPr/>
        </p:nvCxnSpPr>
        <p:spPr bwMode="gray">
          <a:xfrm rot="16200000" flipV="1">
            <a:off x="3999979" y="2057641"/>
            <a:ext cx="28594" cy="574884"/>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94" name="Connector: Elbow 993">
            <a:extLst>
              <a:ext uri="{FF2B5EF4-FFF2-40B4-BE49-F238E27FC236}">
                <a16:creationId xmlns:a16="http://schemas.microsoft.com/office/drawing/2014/main" id="{5B308BCE-7DA7-40EC-B24A-E1F1F04402AF}"/>
              </a:ext>
            </a:extLst>
          </p:cNvPr>
          <p:cNvCxnSpPr>
            <a:cxnSpLocks/>
            <a:stCxn id="741" idx="2"/>
            <a:endCxn id="1012" idx="3"/>
          </p:cNvCxnSpPr>
          <p:nvPr/>
        </p:nvCxnSpPr>
        <p:spPr bwMode="gray">
          <a:xfrm flipH="1">
            <a:off x="2975182" y="2207239"/>
            <a:ext cx="1935319" cy="1352018"/>
          </a:xfrm>
          <a:prstGeom prst="bentConnector3">
            <a:avLst>
              <a:gd name="adj1" fmla="val -11812"/>
            </a:avLst>
          </a:prstGeom>
          <a:ln w="12700">
            <a:solidFill>
              <a:schemeClr val="bg2"/>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00" name="Straight Connector 999">
            <a:extLst>
              <a:ext uri="{FF2B5EF4-FFF2-40B4-BE49-F238E27FC236}">
                <a16:creationId xmlns:a16="http://schemas.microsoft.com/office/drawing/2014/main" id="{BB1CF376-1599-461B-815B-D201DB256FC4}"/>
              </a:ext>
            </a:extLst>
          </p:cNvPr>
          <p:cNvCxnSpPr>
            <a:cxnSpLocks/>
            <a:stCxn id="962" idx="0"/>
            <a:endCxn id="963" idx="2"/>
          </p:cNvCxnSpPr>
          <p:nvPr/>
        </p:nvCxnSpPr>
        <p:spPr bwMode="gray">
          <a:xfrm flipV="1">
            <a:off x="4301718" y="2225239"/>
            <a:ext cx="0" cy="134141"/>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17" name="Straight Connector 1016">
            <a:extLst>
              <a:ext uri="{FF2B5EF4-FFF2-40B4-BE49-F238E27FC236}">
                <a16:creationId xmlns:a16="http://schemas.microsoft.com/office/drawing/2014/main" id="{5E54D5C5-A91B-4C0B-B7EE-7EB7E16CD7B4}"/>
              </a:ext>
            </a:extLst>
          </p:cNvPr>
          <p:cNvCxnSpPr>
            <a:cxnSpLocks/>
            <a:stCxn id="956" idx="3"/>
            <a:endCxn id="1012" idx="1"/>
          </p:cNvCxnSpPr>
          <p:nvPr/>
        </p:nvCxnSpPr>
        <p:spPr bwMode="gray">
          <a:xfrm>
            <a:off x="995681" y="3559257"/>
            <a:ext cx="1943501"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23" name="Straight Connector 1022">
            <a:extLst>
              <a:ext uri="{FF2B5EF4-FFF2-40B4-BE49-F238E27FC236}">
                <a16:creationId xmlns:a16="http://schemas.microsoft.com/office/drawing/2014/main" id="{87965CCF-9AA9-45E3-83DA-271E1695223C}"/>
              </a:ext>
            </a:extLst>
          </p:cNvPr>
          <p:cNvCxnSpPr>
            <a:cxnSpLocks/>
            <a:stCxn id="1012" idx="2"/>
            <a:endCxn id="735" idx="4"/>
          </p:cNvCxnSpPr>
          <p:nvPr/>
        </p:nvCxnSpPr>
        <p:spPr bwMode="gray">
          <a:xfrm flipV="1">
            <a:off x="2957182" y="3420053"/>
            <a:ext cx="0" cy="157204"/>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29" name="Straight Connector 1028">
            <a:extLst>
              <a:ext uri="{FF2B5EF4-FFF2-40B4-BE49-F238E27FC236}">
                <a16:creationId xmlns:a16="http://schemas.microsoft.com/office/drawing/2014/main" id="{166F7203-869E-4DA4-87FF-E6280162260C}"/>
              </a:ext>
            </a:extLst>
          </p:cNvPr>
          <p:cNvCxnSpPr>
            <a:stCxn id="1025" idx="2"/>
            <a:endCxn id="397" idx="0"/>
          </p:cNvCxnSpPr>
          <p:nvPr/>
        </p:nvCxnSpPr>
        <p:spPr bwMode="gray">
          <a:xfrm>
            <a:off x="1763071" y="2293676"/>
            <a:ext cx="1" cy="11541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33" name="Straight Connector 1032">
            <a:extLst>
              <a:ext uri="{FF2B5EF4-FFF2-40B4-BE49-F238E27FC236}">
                <a16:creationId xmlns:a16="http://schemas.microsoft.com/office/drawing/2014/main" id="{31A70770-649A-4372-83B9-EA6F1CF181D0}"/>
              </a:ext>
            </a:extLst>
          </p:cNvPr>
          <p:cNvCxnSpPr>
            <a:cxnSpLocks/>
            <a:endCxn id="741" idx="6"/>
          </p:cNvCxnSpPr>
          <p:nvPr/>
        </p:nvCxnSpPr>
        <p:spPr bwMode="gray">
          <a:xfrm>
            <a:off x="4283718" y="2207239"/>
            <a:ext cx="410927"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34" name="Connector: Elbow 1033">
            <a:extLst>
              <a:ext uri="{FF2B5EF4-FFF2-40B4-BE49-F238E27FC236}">
                <a16:creationId xmlns:a16="http://schemas.microsoft.com/office/drawing/2014/main" id="{F5604AF7-E81E-4201-A09A-EC28AEFF1CB5}"/>
              </a:ext>
            </a:extLst>
          </p:cNvPr>
          <p:cNvCxnSpPr>
            <a:cxnSpLocks/>
            <a:stCxn id="696" idx="2"/>
            <a:endCxn id="408" idx="3"/>
          </p:cNvCxnSpPr>
          <p:nvPr/>
        </p:nvCxnSpPr>
        <p:spPr bwMode="gray">
          <a:xfrm rot="5400000" flipH="1" flipV="1">
            <a:off x="5858974" y="2820202"/>
            <a:ext cx="527770" cy="646437"/>
          </a:xfrm>
          <a:prstGeom prst="bentConnector4">
            <a:avLst>
              <a:gd name="adj1" fmla="val -10829"/>
              <a:gd name="adj2" fmla="val 84327"/>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37" name="Connector: Elbow 1036">
            <a:extLst>
              <a:ext uri="{FF2B5EF4-FFF2-40B4-BE49-F238E27FC236}">
                <a16:creationId xmlns:a16="http://schemas.microsoft.com/office/drawing/2014/main" id="{5A9BE0D6-D24F-41F9-96E4-D48ECCCB472B}"/>
              </a:ext>
            </a:extLst>
          </p:cNvPr>
          <p:cNvCxnSpPr>
            <a:cxnSpLocks/>
            <a:stCxn id="1084" idx="2"/>
            <a:endCxn id="705" idx="3"/>
          </p:cNvCxnSpPr>
          <p:nvPr/>
        </p:nvCxnSpPr>
        <p:spPr bwMode="gray">
          <a:xfrm rot="5400000" flipH="1">
            <a:off x="6209486" y="2852170"/>
            <a:ext cx="527769" cy="582504"/>
          </a:xfrm>
          <a:prstGeom prst="bentConnector4">
            <a:avLst>
              <a:gd name="adj1" fmla="val -22379"/>
              <a:gd name="adj2" fmla="val 82504"/>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50" name="Straight Connector 1049">
            <a:extLst>
              <a:ext uri="{FF2B5EF4-FFF2-40B4-BE49-F238E27FC236}">
                <a16:creationId xmlns:a16="http://schemas.microsoft.com/office/drawing/2014/main" id="{FDC9C341-AC10-4801-8289-565A6498ACD2}"/>
              </a:ext>
            </a:extLst>
          </p:cNvPr>
          <p:cNvCxnSpPr>
            <a:cxnSpLocks/>
            <a:stCxn id="407" idx="0"/>
            <a:endCxn id="1055" idx="2"/>
          </p:cNvCxnSpPr>
          <p:nvPr/>
        </p:nvCxnSpPr>
        <p:spPr bwMode="gray">
          <a:xfrm flipV="1">
            <a:off x="6764556" y="2229256"/>
            <a:ext cx="67" cy="12251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055" name="Rectangle 1054">
            <a:extLst>
              <a:ext uri="{FF2B5EF4-FFF2-40B4-BE49-F238E27FC236}">
                <a16:creationId xmlns:a16="http://schemas.microsoft.com/office/drawing/2014/main" id="{137757C9-F0AA-4BA6-A12A-1FE82C9099BC}"/>
              </a:ext>
            </a:extLst>
          </p:cNvPr>
          <p:cNvSpPr/>
          <p:nvPr/>
        </p:nvSpPr>
        <p:spPr bwMode="gray">
          <a:xfrm>
            <a:off x="6601450" y="2064226"/>
            <a:ext cx="326346"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CO</a:t>
            </a:r>
            <a:r>
              <a:rPr lang="de-DE" sz="900" baseline="-25000" dirty="0">
                <a:solidFill>
                  <a:schemeClr val="tx1"/>
                </a:solidFill>
              </a:rPr>
              <a:t>2</a:t>
            </a:r>
          </a:p>
        </p:txBody>
      </p:sp>
      <p:cxnSp>
        <p:nvCxnSpPr>
          <p:cNvPr id="1058" name="Connector: Elbow 1057">
            <a:extLst>
              <a:ext uri="{FF2B5EF4-FFF2-40B4-BE49-F238E27FC236}">
                <a16:creationId xmlns:a16="http://schemas.microsoft.com/office/drawing/2014/main" id="{0E4AEAB0-4F27-4482-AD98-F661AFDD643B}"/>
              </a:ext>
            </a:extLst>
          </p:cNvPr>
          <p:cNvCxnSpPr>
            <a:cxnSpLocks/>
            <a:stCxn id="397" idx="2"/>
            <a:endCxn id="715" idx="2"/>
          </p:cNvCxnSpPr>
          <p:nvPr/>
        </p:nvCxnSpPr>
        <p:spPr bwMode="gray">
          <a:xfrm rot="5400000" flipH="1" flipV="1">
            <a:off x="1946742" y="2888194"/>
            <a:ext cx="278121" cy="645463"/>
          </a:xfrm>
          <a:prstGeom prst="bentConnector4">
            <a:avLst>
              <a:gd name="adj1" fmla="val -38357"/>
              <a:gd name="adj2" fmla="val 77834"/>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65" name="Connector: Elbow 1064">
            <a:extLst>
              <a:ext uri="{FF2B5EF4-FFF2-40B4-BE49-F238E27FC236}">
                <a16:creationId xmlns:a16="http://schemas.microsoft.com/office/drawing/2014/main" id="{1333C4CA-A7BE-4857-83D3-7C982B9450D2}"/>
              </a:ext>
            </a:extLst>
          </p:cNvPr>
          <p:cNvCxnSpPr>
            <a:cxnSpLocks/>
            <a:stCxn id="716" idx="5"/>
            <a:endCxn id="735" idx="2"/>
          </p:cNvCxnSpPr>
          <p:nvPr/>
        </p:nvCxnSpPr>
        <p:spPr bwMode="gray">
          <a:xfrm>
            <a:off x="2624391" y="3069417"/>
            <a:ext cx="224863" cy="242312"/>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91" name="Connector: Elbow 1090">
            <a:extLst>
              <a:ext uri="{FF2B5EF4-FFF2-40B4-BE49-F238E27FC236}">
                <a16:creationId xmlns:a16="http://schemas.microsoft.com/office/drawing/2014/main" id="{BA914EF0-1506-4369-A830-991088156FD8}"/>
              </a:ext>
            </a:extLst>
          </p:cNvPr>
          <p:cNvCxnSpPr>
            <a:cxnSpLocks/>
            <a:stCxn id="696" idx="0"/>
            <a:endCxn id="1090" idx="3"/>
          </p:cNvCxnSpPr>
          <p:nvPr/>
        </p:nvCxnSpPr>
        <p:spPr bwMode="gray">
          <a:xfrm rot="16200000" flipH="1" flipV="1">
            <a:off x="4953641" y="2543305"/>
            <a:ext cx="1037540" cy="654461"/>
          </a:xfrm>
          <a:prstGeom prst="bentConnector4">
            <a:avLst>
              <a:gd name="adj1" fmla="val -22033"/>
              <a:gd name="adj2" fmla="val 79249"/>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95" name="Straight Connector 1094">
            <a:extLst>
              <a:ext uri="{FF2B5EF4-FFF2-40B4-BE49-F238E27FC236}">
                <a16:creationId xmlns:a16="http://schemas.microsoft.com/office/drawing/2014/main" id="{6E3F8ABF-6E7F-446A-A8F9-9BDDE8EEF22B}"/>
              </a:ext>
            </a:extLst>
          </p:cNvPr>
          <p:cNvCxnSpPr>
            <a:cxnSpLocks/>
          </p:cNvCxnSpPr>
          <p:nvPr/>
        </p:nvCxnSpPr>
        <p:spPr bwMode="gray">
          <a:xfrm>
            <a:off x="5145180" y="3046185"/>
            <a:ext cx="277478"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97" name="Connector: Elbow 1096">
            <a:extLst>
              <a:ext uri="{FF2B5EF4-FFF2-40B4-BE49-F238E27FC236}">
                <a16:creationId xmlns:a16="http://schemas.microsoft.com/office/drawing/2014/main" id="{E262493F-CB5D-4CE3-B154-8A223B7A617C}"/>
              </a:ext>
            </a:extLst>
          </p:cNvPr>
          <p:cNvCxnSpPr>
            <a:cxnSpLocks/>
            <a:endCxn id="738" idx="0"/>
          </p:cNvCxnSpPr>
          <p:nvPr/>
        </p:nvCxnSpPr>
        <p:spPr bwMode="gray">
          <a:xfrm rot="10800000" flipV="1">
            <a:off x="3476970" y="2879538"/>
            <a:ext cx="505581" cy="254060"/>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107" name="Rectangle 1106">
            <a:extLst>
              <a:ext uri="{FF2B5EF4-FFF2-40B4-BE49-F238E27FC236}">
                <a16:creationId xmlns:a16="http://schemas.microsoft.com/office/drawing/2014/main" id="{953415CA-FD6E-4185-A13A-39F60C845D4B}"/>
              </a:ext>
            </a:extLst>
          </p:cNvPr>
          <p:cNvSpPr/>
          <p:nvPr/>
        </p:nvSpPr>
        <p:spPr bwMode="gray">
          <a:xfrm>
            <a:off x="886986" y="3333728"/>
            <a:ext cx="913511"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Ethylene oxid</a:t>
            </a:r>
          </a:p>
        </p:txBody>
      </p:sp>
      <p:sp>
        <p:nvSpPr>
          <p:cNvPr id="1111" name="Rectangle 1110">
            <a:extLst>
              <a:ext uri="{FF2B5EF4-FFF2-40B4-BE49-F238E27FC236}">
                <a16:creationId xmlns:a16="http://schemas.microsoft.com/office/drawing/2014/main" id="{85CCE421-AC6E-4800-B788-9B6F00A53BF2}"/>
              </a:ext>
            </a:extLst>
          </p:cNvPr>
          <p:cNvSpPr/>
          <p:nvPr/>
        </p:nvSpPr>
        <p:spPr bwMode="gray">
          <a:xfrm>
            <a:off x="336550" y="3712507"/>
            <a:ext cx="7009130" cy="2205288"/>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13" name="Rectangle 1112">
            <a:extLst>
              <a:ext uri="{FF2B5EF4-FFF2-40B4-BE49-F238E27FC236}">
                <a16:creationId xmlns:a16="http://schemas.microsoft.com/office/drawing/2014/main" id="{F9760884-12B6-4B63-87B3-B6054B18D4C2}"/>
              </a:ext>
            </a:extLst>
          </p:cNvPr>
          <p:cNvSpPr/>
          <p:nvPr/>
        </p:nvSpPr>
        <p:spPr bwMode="gray">
          <a:xfrm>
            <a:off x="3097244" y="1946257"/>
            <a:ext cx="1474756"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200" b="1" dirty="0">
                <a:solidFill>
                  <a:schemeClr val="accent3"/>
                </a:solidFill>
              </a:rPr>
              <a:t>Oxygen process</a:t>
            </a:r>
          </a:p>
        </p:txBody>
      </p:sp>
      <p:sp>
        <p:nvSpPr>
          <p:cNvPr id="1114" name="Rectangle 1113">
            <a:extLst>
              <a:ext uri="{FF2B5EF4-FFF2-40B4-BE49-F238E27FC236}">
                <a16:creationId xmlns:a16="http://schemas.microsoft.com/office/drawing/2014/main" id="{548230B5-ABBE-41EE-82AC-A100E79E758B}"/>
              </a:ext>
            </a:extLst>
          </p:cNvPr>
          <p:cNvSpPr/>
          <p:nvPr/>
        </p:nvSpPr>
        <p:spPr bwMode="gray">
          <a:xfrm>
            <a:off x="3097244" y="5752766"/>
            <a:ext cx="1474756"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200" b="1" dirty="0">
                <a:solidFill>
                  <a:schemeClr val="accent3"/>
                </a:solidFill>
              </a:rPr>
              <a:t>Air process</a:t>
            </a:r>
          </a:p>
        </p:txBody>
      </p:sp>
      <p:cxnSp>
        <p:nvCxnSpPr>
          <p:cNvPr id="1126" name="Straight Connector 1125">
            <a:extLst>
              <a:ext uri="{FF2B5EF4-FFF2-40B4-BE49-F238E27FC236}">
                <a16:creationId xmlns:a16="http://schemas.microsoft.com/office/drawing/2014/main" id="{F0D67790-5FB5-4B49-8ADE-03A25B1D33FB}"/>
              </a:ext>
            </a:extLst>
          </p:cNvPr>
          <p:cNvCxnSpPr>
            <a:cxnSpLocks/>
            <a:stCxn id="873" idx="2"/>
            <a:endCxn id="402" idx="0"/>
          </p:cNvCxnSpPr>
          <p:nvPr/>
        </p:nvCxnSpPr>
        <p:spPr bwMode="gray">
          <a:xfrm flipH="1">
            <a:off x="5381621" y="3963696"/>
            <a:ext cx="179" cy="215698"/>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29" name="Connector: Elbow 1128">
            <a:extLst>
              <a:ext uri="{FF2B5EF4-FFF2-40B4-BE49-F238E27FC236}">
                <a16:creationId xmlns:a16="http://schemas.microsoft.com/office/drawing/2014/main" id="{7C8DCAE5-F09E-4B76-A4A6-2B8222EE3D40}"/>
              </a:ext>
            </a:extLst>
          </p:cNvPr>
          <p:cNvCxnSpPr>
            <a:cxnSpLocks/>
            <a:stCxn id="1132" idx="2"/>
            <a:endCxn id="783" idx="4"/>
          </p:cNvCxnSpPr>
          <p:nvPr/>
        </p:nvCxnSpPr>
        <p:spPr bwMode="gray">
          <a:xfrm rot="16200000" flipH="1">
            <a:off x="8423320" y="4312094"/>
            <a:ext cx="129312" cy="414803"/>
          </a:xfrm>
          <a:prstGeom prst="bentConnector3">
            <a:avLst>
              <a:gd name="adj1" fmla="val 27678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37" name="Connector: Elbow 1136">
            <a:extLst>
              <a:ext uri="{FF2B5EF4-FFF2-40B4-BE49-F238E27FC236}">
                <a16:creationId xmlns:a16="http://schemas.microsoft.com/office/drawing/2014/main" id="{316B39DC-E471-4AFB-BA98-6A33CEE5BABA}"/>
              </a:ext>
            </a:extLst>
          </p:cNvPr>
          <p:cNvCxnSpPr>
            <a:cxnSpLocks/>
            <a:stCxn id="1134" idx="0"/>
            <a:endCxn id="764" idx="3"/>
          </p:cNvCxnSpPr>
          <p:nvPr/>
        </p:nvCxnSpPr>
        <p:spPr bwMode="gray">
          <a:xfrm rot="16200000" flipH="1">
            <a:off x="8498102" y="3166533"/>
            <a:ext cx="527770" cy="993305"/>
          </a:xfrm>
          <a:prstGeom prst="bentConnector4">
            <a:avLst>
              <a:gd name="adj1" fmla="val -43314"/>
              <a:gd name="adj2" fmla="val 50906"/>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50" name="Connector: Elbow 1149">
            <a:extLst>
              <a:ext uri="{FF2B5EF4-FFF2-40B4-BE49-F238E27FC236}">
                <a16:creationId xmlns:a16="http://schemas.microsoft.com/office/drawing/2014/main" id="{C0746AF6-03E9-4D73-9579-D9E8E01DF28C}"/>
              </a:ext>
            </a:extLst>
          </p:cNvPr>
          <p:cNvCxnSpPr>
            <a:cxnSpLocks/>
            <a:stCxn id="783" idx="0"/>
            <a:endCxn id="1165" idx="3"/>
          </p:cNvCxnSpPr>
          <p:nvPr/>
        </p:nvCxnSpPr>
        <p:spPr bwMode="gray">
          <a:xfrm rot="16200000" flipV="1">
            <a:off x="8258012" y="3930138"/>
            <a:ext cx="692281" cy="182452"/>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75" name="Connector: Elbow 1174">
            <a:extLst>
              <a:ext uri="{FF2B5EF4-FFF2-40B4-BE49-F238E27FC236}">
                <a16:creationId xmlns:a16="http://schemas.microsoft.com/office/drawing/2014/main" id="{D6E39F09-10D2-4534-9567-8F4E172752F8}"/>
              </a:ext>
            </a:extLst>
          </p:cNvPr>
          <p:cNvCxnSpPr>
            <a:cxnSpLocks/>
            <a:stCxn id="1181" idx="2"/>
            <a:endCxn id="780" idx="4"/>
          </p:cNvCxnSpPr>
          <p:nvPr/>
        </p:nvCxnSpPr>
        <p:spPr bwMode="gray">
          <a:xfrm rot="5400000">
            <a:off x="7874263" y="4225465"/>
            <a:ext cx="129312" cy="588063"/>
          </a:xfrm>
          <a:prstGeom prst="bentConnector3">
            <a:avLst>
              <a:gd name="adj1" fmla="val 27678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184" name="Rectangle 1183">
            <a:extLst>
              <a:ext uri="{FF2B5EF4-FFF2-40B4-BE49-F238E27FC236}">
                <a16:creationId xmlns:a16="http://schemas.microsoft.com/office/drawing/2014/main" id="{BA02B53B-F44D-45A0-9AD1-A7854961B349}"/>
              </a:ext>
            </a:extLst>
          </p:cNvPr>
          <p:cNvSpPr/>
          <p:nvPr/>
        </p:nvSpPr>
        <p:spPr bwMode="gray">
          <a:xfrm>
            <a:off x="10086753" y="2670986"/>
            <a:ext cx="913511" cy="28557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Ethylene </a:t>
            </a:r>
            <a:br>
              <a:rPr lang="de-DE" sz="900" dirty="0">
                <a:solidFill>
                  <a:schemeClr val="tx1"/>
                </a:solidFill>
              </a:rPr>
            </a:br>
            <a:r>
              <a:rPr lang="de-DE" sz="900" dirty="0">
                <a:solidFill>
                  <a:schemeClr val="tx1"/>
                </a:solidFill>
              </a:rPr>
              <a:t>oxide</a:t>
            </a:r>
          </a:p>
        </p:txBody>
      </p:sp>
      <p:cxnSp>
        <p:nvCxnSpPr>
          <p:cNvPr id="1186" name="Straight Connector 1185">
            <a:extLst>
              <a:ext uri="{FF2B5EF4-FFF2-40B4-BE49-F238E27FC236}">
                <a16:creationId xmlns:a16="http://schemas.microsoft.com/office/drawing/2014/main" id="{A2BC9967-C140-4DAF-A71C-1CB272548A98}"/>
              </a:ext>
            </a:extLst>
          </p:cNvPr>
          <p:cNvCxnSpPr>
            <a:cxnSpLocks/>
            <a:stCxn id="766" idx="0"/>
            <a:endCxn id="1184" idx="2"/>
          </p:cNvCxnSpPr>
          <p:nvPr/>
        </p:nvCxnSpPr>
        <p:spPr bwMode="gray">
          <a:xfrm flipH="1" flipV="1">
            <a:off x="10543509" y="2956560"/>
            <a:ext cx="370" cy="44274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189" name="Rectangle 1188">
            <a:extLst>
              <a:ext uri="{FF2B5EF4-FFF2-40B4-BE49-F238E27FC236}">
                <a16:creationId xmlns:a16="http://schemas.microsoft.com/office/drawing/2014/main" id="{04D3EC09-0F69-45C0-A952-F917F43D67BF}"/>
              </a:ext>
            </a:extLst>
          </p:cNvPr>
          <p:cNvSpPr/>
          <p:nvPr/>
        </p:nvSpPr>
        <p:spPr bwMode="gray">
          <a:xfrm>
            <a:off x="9265498" y="2670986"/>
            <a:ext cx="623374" cy="28557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Light products</a:t>
            </a:r>
          </a:p>
        </p:txBody>
      </p:sp>
      <p:cxnSp>
        <p:nvCxnSpPr>
          <p:cNvPr id="1190" name="Straight Connector 1189">
            <a:extLst>
              <a:ext uri="{FF2B5EF4-FFF2-40B4-BE49-F238E27FC236}">
                <a16:creationId xmlns:a16="http://schemas.microsoft.com/office/drawing/2014/main" id="{0C915057-2D78-4533-B6CA-C9884CFAD991}"/>
              </a:ext>
            </a:extLst>
          </p:cNvPr>
          <p:cNvCxnSpPr>
            <a:cxnSpLocks/>
            <a:stCxn id="763" idx="0"/>
            <a:endCxn id="1189" idx="2"/>
          </p:cNvCxnSpPr>
          <p:nvPr/>
        </p:nvCxnSpPr>
        <p:spPr bwMode="gray">
          <a:xfrm flipV="1">
            <a:off x="9577118" y="2956560"/>
            <a:ext cx="67" cy="44274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196" name="Rectangle 1195">
            <a:extLst>
              <a:ext uri="{FF2B5EF4-FFF2-40B4-BE49-F238E27FC236}">
                <a16:creationId xmlns:a16="http://schemas.microsoft.com/office/drawing/2014/main" id="{52B09224-68F2-4658-9991-2A11201B5F2C}"/>
              </a:ext>
            </a:extLst>
          </p:cNvPr>
          <p:cNvSpPr/>
          <p:nvPr/>
        </p:nvSpPr>
        <p:spPr bwMode="gray">
          <a:xfrm>
            <a:off x="10819526" y="4851584"/>
            <a:ext cx="913511"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Ethylene oxide &amp; water</a:t>
            </a:r>
          </a:p>
        </p:txBody>
      </p:sp>
      <p:cxnSp>
        <p:nvCxnSpPr>
          <p:cNvPr id="1197" name="Connector: Elbow 1196">
            <a:extLst>
              <a:ext uri="{FF2B5EF4-FFF2-40B4-BE49-F238E27FC236}">
                <a16:creationId xmlns:a16="http://schemas.microsoft.com/office/drawing/2014/main" id="{6B8E9FB6-23F7-4460-96B1-4EDB355B7C7A}"/>
              </a:ext>
            </a:extLst>
          </p:cNvPr>
          <p:cNvCxnSpPr>
            <a:cxnSpLocks/>
            <a:stCxn id="766" idx="2"/>
            <a:endCxn id="764" idx="1"/>
          </p:cNvCxnSpPr>
          <p:nvPr/>
        </p:nvCxnSpPr>
        <p:spPr bwMode="gray">
          <a:xfrm rot="5400000" flipH="1">
            <a:off x="9955920" y="3866881"/>
            <a:ext cx="527770" cy="648148"/>
          </a:xfrm>
          <a:prstGeom prst="bentConnector4">
            <a:avLst>
              <a:gd name="adj1" fmla="val -43314"/>
              <a:gd name="adj2" fmla="val 79534"/>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05" name="Connector: Elbow 1204">
            <a:extLst>
              <a:ext uri="{FF2B5EF4-FFF2-40B4-BE49-F238E27FC236}">
                <a16:creationId xmlns:a16="http://schemas.microsoft.com/office/drawing/2014/main" id="{85C1DC2A-2B66-4D6F-A8DB-16DE289D53FB}"/>
              </a:ext>
            </a:extLst>
          </p:cNvPr>
          <p:cNvCxnSpPr>
            <a:cxnSpLocks/>
            <a:stCxn id="1202" idx="2"/>
            <a:endCxn id="1234" idx="1"/>
          </p:cNvCxnSpPr>
          <p:nvPr/>
        </p:nvCxnSpPr>
        <p:spPr bwMode="gray">
          <a:xfrm rot="16200000" flipH="1">
            <a:off x="9533290" y="4498734"/>
            <a:ext cx="479259" cy="391469"/>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215" name="Rectangle 1214">
            <a:extLst>
              <a:ext uri="{FF2B5EF4-FFF2-40B4-BE49-F238E27FC236}">
                <a16:creationId xmlns:a16="http://schemas.microsoft.com/office/drawing/2014/main" id="{71FBBD74-0AF9-4076-B3CA-4906561E8436}"/>
              </a:ext>
            </a:extLst>
          </p:cNvPr>
          <p:cNvSpPr/>
          <p:nvPr/>
        </p:nvSpPr>
        <p:spPr bwMode="gray">
          <a:xfrm>
            <a:off x="10947291" y="5380486"/>
            <a:ext cx="657982"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Ethylene glycol</a:t>
            </a:r>
          </a:p>
        </p:txBody>
      </p:sp>
      <p:cxnSp>
        <p:nvCxnSpPr>
          <p:cNvPr id="1218" name="Connector: Elbow 1217">
            <a:extLst>
              <a:ext uri="{FF2B5EF4-FFF2-40B4-BE49-F238E27FC236}">
                <a16:creationId xmlns:a16="http://schemas.microsoft.com/office/drawing/2014/main" id="{7B8BD022-CE88-4A18-864B-DC89518290B3}"/>
              </a:ext>
            </a:extLst>
          </p:cNvPr>
          <p:cNvCxnSpPr>
            <a:cxnSpLocks/>
            <a:stCxn id="1132" idx="2"/>
          </p:cNvCxnSpPr>
          <p:nvPr/>
        </p:nvCxnSpPr>
        <p:spPr bwMode="gray">
          <a:xfrm rot="16200000" flipH="1">
            <a:off x="9113380" y="3622034"/>
            <a:ext cx="1008161" cy="2673771"/>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44" name="Straight Connector 1243">
            <a:extLst>
              <a:ext uri="{FF2B5EF4-FFF2-40B4-BE49-F238E27FC236}">
                <a16:creationId xmlns:a16="http://schemas.microsoft.com/office/drawing/2014/main" id="{20937B99-2BF6-416C-8A46-AE89D80DEB90}"/>
              </a:ext>
            </a:extLst>
          </p:cNvPr>
          <p:cNvCxnSpPr>
            <a:cxnSpLocks/>
            <a:stCxn id="766" idx="2"/>
          </p:cNvCxnSpPr>
          <p:nvPr/>
        </p:nvCxnSpPr>
        <p:spPr bwMode="gray">
          <a:xfrm>
            <a:off x="10543879" y="4454840"/>
            <a:ext cx="0" cy="457098"/>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46" name="Straight Connector 1245">
            <a:extLst>
              <a:ext uri="{FF2B5EF4-FFF2-40B4-BE49-F238E27FC236}">
                <a16:creationId xmlns:a16="http://schemas.microsoft.com/office/drawing/2014/main" id="{AF188E51-B772-45E9-93D7-387B88FA5732}"/>
              </a:ext>
            </a:extLst>
          </p:cNvPr>
          <p:cNvCxnSpPr>
            <a:cxnSpLocks/>
            <a:stCxn id="1234" idx="1"/>
            <a:endCxn id="1196" idx="1"/>
          </p:cNvCxnSpPr>
          <p:nvPr/>
        </p:nvCxnSpPr>
        <p:spPr bwMode="gray">
          <a:xfrm>
            <a:off x="9968654" y="4934099"/>
            <a:ext cx="850872"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51" name="Connector: Elbow 1250">
            <a:extLst>
              <a:ext uri="{FF2B5EF4-FFF2-40B4-BE49-F238E27FC236}">
                <a16:creationId xmlns:a16="http://schemas.microsoft.com/office/drawing/2014/main" id="{518D2025-F6BB-454E-868A-F61D05BFF700}"/>
              </a:ext>
            </a:extLst>
          </p:cNvPr>
          <p:cNvCxnSpPr>
            <a:cxnSpLocks/>
            <a:stCxn id="1234" idx="3"/>
            <a:endCxn id="775" idx="1"/>
          </p:cNvCxnSpPr>
          <p:nvPr/>
        </p:nvCxnSpPr>
        <p:spPr bwMode="gray">
          <a:xfrm flipV="1">
            <a:off x="10004654" y="3927071"/>
            <a:ext cx="156007" cy="1007028"/>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62" name="Connector: Elbow 1261">
            <a:extLst>
              <a:ext uri="{FF2B5EF4-FFF2-40B4-BE49-F238E27FC236}">
                <a16:creationId xmlns:a16="http://schemas.microsoft.com/office/drawing/2014/main" id="{270216AE-7205-4AC9-A5D5-8AB6D62676D3}"/>
              </a:ext>
            </a:extLst>
          </p:cNvPr>
          <p:cNvCxnSpPr>
            <a:cxnSpLocks/>
            <a:stCxn id="780" idx="0"/>
            <a:endCxn id="1276" idx="3"/>
          </p:cNvCxnSpPr>
          <p:nvPr/>
        </p:nvCxnSpPr>
        <p:spPr bwMode="gray">
          <a:xfrm rot="16200000" flipV="1">
            <a:off x="5936300" y="2658917"/>
            <a:ext cx="763597" cy="2653578"/>
          </a:xfrm>
          <a:prstGeom prst="bentConnector2">
            <a:avLst/>
          </a:prstGeom>
          <a:ln w="12700">
            <a:solidFill>
              <a:schemeClr val="bg2"/>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76" name="Rectangle 1275">
            <a:extLst>
              <a:ext uri="{FF2B5EF4-FFF2-40B4-BE49-F238E27FC236}">
                <a16:creationId xmlns:a16="http://schemas.microsoft.com/office/drawing/2014/main" id="{B9C19EE2-ED65-4F7C-A619-15106D3BB26D}"/>
              </a:ext>
            </a:extLst>
          </p:cNvPr>
          <p:cNvSpPr/>
          <p:nvPr/>
        </p:nvSpPr>
        <p:spPr bwMode="gray">
          <a:xfrm>
            <a:off x="4955309" y="3585907"/>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cxnSp>
        <p:nvCxnSpPr>
          <p:cNvPr id="1282" name="Connector: Elbow 1281">
            <a:extLst>
              <a:ext uri="{FF2B5EF4-FFF2-40B4-BE49-F238E27FC236}">
                <a16:creationId xmlns:a16="http://schemas.microsoft.com/office/drawing/2014/main" id="{D12E1404-0324-4271-8C97-2F94B2D360C5}"/>
              </a:ext>
            </a:extLst>
          </p:cNvPr>
          <p:cNvCxnSpPr>
            <a:cxnSpLocks/>
          </p:cNvCxnSpPr>
          <p:nvPr/>
        </p:nvCxnSpPr>
        <p:spPr bwMode="gray">
          <a:xfrm rot="16200000" flipV="1">
            <a:off x="4332269" y="2942640"/>
            <a:ext cx="954074" cy="376835"/>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290" name="Rectangle 1289">
            <a:extLst>
              <a:ext uri="{FF2B5EF4-FFF2-40B4-BE49-F238E27FC236}">
                <a16:creationId xmlns:a16="http://schemas.microsoft.com/office/drawing/2014/main" id="{8C19471F-337C-4EB2-82C0-4C900A494C39}"/>
              </a:ext>
            </a:extLst>
          </p:cNvPr>
          <p:cNvSpPr/>
          <p:nvPr/>
        </p:nvSpPr>
        <p:spPr bwMode="gray">
          <a:xfrm>
            <a:off x="4709309" y="5744677"/>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cxnSp>
        <p:nvCxnSpPr>
          <p:cNvPr id="1291" name="Connector: Elbow 1290">
            <a:extLst>
              <a:ext uri="{FF2B5EF4-FFF2-40B4-BE49-F238E27FC236}">
                <a16:creationId xmlns:a16="http://schemas.microsoft.com/office/drawing/2014/main" id="{42FD8E30-2A59-44D2-8FFC-F5536C2B2C9C}"/>
              </a:ext>
            </a:extLst>
          </p:cNvPr>
          <p:cNvCxnSpPr>
            <a:cxnSpLocks/>
            <a:stCxn id="780" idx="0"/>
          </p:cNvCxnSpPr>
          <p:nvPr/>
        </p:nvCxnSpPr>
        <p:spPr bwMode="gray">
          <a:xfrm rot="16200000" flipH="1" flipV="1">
            <a:off x="5489416" y="3597045"/>
            <a:ext cx="1385012" cy="2925930"/>
          </a:xfrm>
          <a:prstGeom prst="bentConnector4">
            <a:avLst>
              <a:gd name="adj1" fmla="val -55156"/>
              <a:gd name="adj2" fmla="val 20202"/>
            </a:avLst>
          </a:prstGeom>
          <a:ln w="12700">
            <a:solidFill>
              <a:schemeClr val="bg2"/>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295" name="Connector: Elbow 1294">
            <a:extLst>
              <a:ext uri="{FF2B5EF4-FFF2-40B4-BE49-F238E27FC236}">
                <a16:creationId xmlns:a16="http://schemas.microsoft.com/office/drawing/2014/main" id="{D9D61286-35D9-49C8-9EE9-641A1ED10552}"/>
              </a:ext>
            </a:extLst>
          </p:cNvPr>
          <p:cNvCxnSpPr>
            <a:cxnSpLocks/>
            <a:stCxn id="1290" idx="0"/>
            <a:endCxn id="441" idx="4"/>
          </p:cNvCxnSpPr>
          <p:nvPr/>
        </p:nvCxnSpPr>
        <p:spPr bwMode="gray">
          <a:xfrm rot="16200000" flipV="1">
            <a:off x="3997006" y="5014373"/>
            <a:ext cx="1354187" cy="106421"/>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14" name="Connector: Elbow 1313">
            <a:extLst>
              <a:ext uri="{FF2B5EF4-FFF2-40B4-BE49-F238E27FC236}">
                <a16:creationId xmlns:a16="http://schemas.microsoft.com/office/drawing/2014/main" id="{15B96DF5-C2CF-410A-9E58-69BB3F1FF95F}"/>
              </a:ext>
            </a:extLst>
          </p:cNvPr>
          <p:cNvCxnSpPr>
            <a:cxnSpLocks/>
            <a:stCxn id="738" idx="4"/>
            <a:endCxn id="780" idx="1"/>
          </p:cNvCxnSpPr>
          <p:nvPr/>
        </p:nvCxnSpPr>
        <p:spPr bwMode="gray">
          <a:xfrm rot="16200000" flipH="1">
            <a:off x="4998277" y="1828937"/>
            <a:ext cx="1048985" cy="4091601"/>
          </a:xfrm>
          <a:prstGeom prst="bentConnector3">
            <a:avLst>
              <a:gd name="adj1" fmla="val 28208"/>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20" name="Connector: Elbow 1319">
            <a:extLst>
              <a:ext uri="{FF2B5EF4-FFF2-40B4-BE49-F238E27FC236}">
                <a16:creationId xmlns:a16="http://schemas.microsoft.com/office/drawing/2014/main" id="{6DD2E7E5-31EC-4C7E-B03F-ECF2A5BA41C1}"/>
              </a:ext>
            </a:extLst>
          </p:cNvPr>
          <p:cNvCxnSpPr>
            <a:cxnSpLocks/>
            <a:stCxn id="780" idx="6"/>
            <a:endCxn id="777" idx="7"/>
          </p:cNvCxnSpPr>
          <p:nvPr/>
        </p:nvCxnSpPr>
        <p:spPr bwMode="gray">
          <a:xfrm flipV="1">
            <a:off x="7752815" y="3860412"/>
            <a:ext cx="264929" cy="615416"/>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328" name="Rectangle 1327">
            <a:extLst>
              <a:ext uri="{FF2B5EF4-FFF2-40B4-BE49-F238E27FC236}">
                <a16:creationId xmlns:a16="http://schemas.microsoft.com/office/drawing/2014/main" id="{5316040F-1C44-457C-9529-A72D46005883}"/>
              </a:ext>
            </a:extLst>
          </p:cNvPr>
          <p:cNvSpPr/>
          <p:nvPr/>
        </p:nvSpPr>
        <p:spPr bwMode="gray">
          <a:xfrm>
            <a:off x="6899023" y="3523706"/>
            <a:ext cx="36000" cy="3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cxnSp>
        <p:nvCxnSpPr>
          <p:cNvPr id="1330" name="Connector: Elbow 1329">
            <a:extLst>
              <a:ext uri="{FF2B5EF4-FFF2-40B4-BE49-F238E27FC236}">
                <a16:creationId xmlns:a16="http://schemas.microsoft.com/office/drawing/2014/main" id="{764E3EB7-43AC-47DC-AF37-3511086FEB75}"/>
              </a:ext>
            </a:extLst>
          </p:cNvPr>
          <p:cNvCxnSpPr>
            <a:cxnSpLocks/>
            <a:stCxn id="1334" idx="2"/>
            <a:endCxn id="1329" idx="2"/>
          </p:cNvCxnSpPr>
          <p:nvPr/>
        </p:nvCxnSpPr>
        <p:spPr bwMode="gray">
          <a:xfrm rot="5400000" flipH="1" flipV="1">
            <a:off x="6071945" y="4091491"/>
            <a:ext cx="1576581" cy="702562"/>
          </a:xfrm>
          <a:prstGeom prst="bentConnector3">
            <a:avLst>
              <a:gd name="adj1" fmla="val -38345"/>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339" name="Connector: Elbow 1338">
            <a:extLst>
              <a:ext uri="{FF2B5EF4-FFF2-40B4-BE49-F238E27FC236}">
                <a16:creationId xmlns:a16="http://schemas.microsoft.com/office/drawing/2014/main" id="{70D81A03-9B02-4E8F-8955-5BB180F69374}"/>
              </a:ext>
            </a:extLst>
          </p:cNvPr>
          <p:cNvCxnSpPr>
            <a:cxnSpLocks/>
            <a:stCxn id="1338" idx="2"/>
            <a:endCxn id="1329" idx="2"/>
          </p:cNvCxnSpPr>
          <p:nvPr/>
        </p:nvCxnSpPr>
        <p:spPr bwMode="gray">
          <a:xfrm rot="5400000" flipH="1" flipV="1">
            <a:off x="4968326" y="2987872"/>
            <a:ext cx="1576581" cy="2909799"/>
          </a:xfrm>
          <a:prstGeom prst="bentConnector3">
            <a:avLst>
              <a:gd name="adj1" fmla="val -38344"/>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146702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0C871-CDDB-4135-A6B6-FA9C73B7F77A}"/>
              </a:ext>
            </a:extLst>
          </p:cNvPr>
          <p:cNvSpPr>
            <a:spLocks noGrp="1"/>
          </p:cNvSpPr>
          <p:nvPr>
            <p:ph type="title"/>
          </p:nvPr>
        </p:nvSpPr>
        <p:spPr bwMode="gray"/>
        <p:txBody>
          <a:bodyPr/>
          <a:lstStyle/>
          <a:p>
            <a:r>
              <a:rPr lang="de-DE" dirty="0"/>
              <a:t>FCC </a:t>
            </a:r>
            <a:r>
              <a:rPr lang="de-DE" dirty="0" err="1"/>
              <a:t>catalyst</a:t>
            </a:r>
            <a:r>
              <a:rPr lang="de-DE" dirty="0"/>
              <a:t> </a:t>
            </a:r>
            <a:r>
              <a:rPr lang="de-DE" dirty="0" err="1"/>
              <a:t>regeneration</a:t>
            </a:r>
            <a:endParaRPr lang="de-DE" dirty="0"/>
          </a:p>
        </p:txBody>
      </p:sp>
      <p:sp>
        <p:nvSpPr>
          <p:cNvPr id="7" name="Subtitle 6">
            <a:extLst>
              <a:ext uri="{FF2B5EF4-FFF2-40B4-BE49-F238E27FC236}">
                <a16:creationId xmlns:a16="http://schemas.microsoft.com/office/drawing/2014/main" id="{4CA70EB7-6B0E-45DA-B424-4BF48EEC481F}"/>
              </a:ext>
            </a:extLst>
          </p:cNvPr>
          <p:cNvSpPr>
            <a:spLocks noGrp="1"/>
          </p:cNvSpPr>
          <p:nvPr>
            <p:ph type="subTitle" idx="13"/>
          </p:nvPr>
        </p:nvSpPr>
        <p:spPr bwMode="gray"/>
        <p:txBody>
          <a:bodyPr/>
          <a:lstStyle/>
          <a:p>
            <a:r>
              <a:rPr lang="de-DE" dirty="0"/>
              <a:t>ASU </a:t>
            </a:r>
            <a:r>
              <a:rPr lang="de-DE" dirty="0" err="1"/>
              <a:t>for</a:t>
            </a:r>
            <a:r>
              <a:rPr lang="de-DE" dirty="0"/>
              <a:t> Oxygen</a:t>
            </a:r>
          </a:p>
        </p:txBody>
      </p:sp>
      <p:grpSp>
        <p:nvGrpSpPr>
          <p:cNvPr id="27" name="Group 26">
            <a:extLst>
              <a:ext uri="{FF2B5EF4-FFF2-40B4-BE49-F238E27FC236}">
                <a16:creationId xmlns:a16="http://schemas.microsoft.com/office/drawing/2014/main" id="{9CF22EC8-B2D1-4B14-80C8-BFBE41BC26C0}"/>
              </a:ext>
            </a:extLst>
          </p:cNvPr>
          <p:cNvGrpSpPr>
            <a:grpSpLocks noChangeAspect="1"/>
          </p:cNvGrpSpPr>
          <p:nvPr/>
        </p:nvGrpSpPr>
        <p:grpSpPr bwMode="gray">
          <a:xfrm>
            <a:off x="345403" y="1936347"/>
            <a:ext cx="4355129" cy="3323810"/>
            <a:chOff x="3152556" y="1936347"/>
            <a:chExt cx="2848404" cy="2173886"/>
          </a:xfrm>
        </p:grpSpPr>
        <p:sp>
          <p:nvSpPr>
            <p:cNvPr id="3232" name="Rechteck 87">
              <a:extLst>
                <a:ext uri="{FF2B5EF4-FFF2-40B4-BE49-F238E27FC236}">
                  <a16:creationId xmlns:a16="http://schemas.microsoft.com/office/drawing/2014/main" id="{50E87BB2-AAC8-4CB3-B49D-89480407F07D}"/>
                </a:ext>
              </a:extLst>
            </p:cNvPr>
            <p:cNvSpPr/>
            <p:nvPr/>
          </p:nvSpPr>
          <p:spPr bwMode="gray">
            <a:xfrm>
              <a:off x="3152556" y="1936347"/>
              <a:ext cx="2848404" cy="2173886"/>
            </a:xfrm>
            <a:prstGeom prst="rect">
              <a:avLst/>
            </a:prstGeom>
            <a:solidFill>
              <a:schemeClr val="bg2">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400" dirty="0">
                <a:solidFill>
                  <a:schemeClr val="bg1"/>
                </a:solidFill>
              </a:endParaRPr>
            </a:p>
          </p:txBody>
        </p:sp>
        <p:grpSp>
          <p:nvGrpSpPr>
            <p:cNvPr id="3214" name="Group 3213">
              <a:extLst>
                <a:ext uri="{FF2B5EF4-FFF2-40B4-BE49-F238E27FC236}">
                  <a16:creationId xmlns:a16="http://schemas.microsoft.com/office/drawing/2014/main" id="{5777B1B3-8FF3-4658-9D9A-6F739EB40BC1}"/>
                </a:ext>
              </a:extLst>
            </p:cNvPr>
            <p:cNvGrpSpPr/>
            <p:nvPr/>
          </p:nvGrpSpPr>
          <p:grpSpPr bwMode="gray">
            <a:xfrm>
              <a:off x="3163791" y="2193197"/>
              <a:ext cx="2825934" cy="1660186"/>
              <a:chOff x="6053169" y="4207934"/>
              <a:chExt cx="3240061" cy="1903479"/>
            </a:xfrm>
          </p:grpSpPr>
          <p:sp>
            <p:nvSpPr>
              <p:cNvPr id="3032" name="Freeform: Shape 3031">
                <a:extLst>
                  <a:ext uri="{FF2B5EF4-FFF2-40B4-BE49-F238E27FC236}">
                    <a16:creationId xmlns:a16="http://schemas.microsoft.com/office/drawing/2014/main" id="{B94D8B86-9F99-4E10-99EE-6282061E0E58}"/>
                  </a:ext>
                </a:extLst>
              </p:cNvPr>
              <p:cNvSpPr/>
              <p:nvPr/>
            </p:nvSpPr>
            <p:spPr bwMode="gray">
              <a:xfrm>
                <a:off x="7604007" y="4898185"/>
                <a:ext cx="714680" cy="525390"/>
              </a:xfrm>
              <a:custGeom>
                <a:avLst/>
                <a:gdLst>
                  <a:gd name="connsiteX0" fmla="*/ 693319 w 745160"/>
                  <a:gd name="connsiteY0" fmla="*/ 0 h 550155"/>
                  <a:gd name="connsiteX1" fmla="*/ 745160 w 745160"/>
                  <a:gd name="connsiteY1" fmla="*/ 66357 h 550155"/>
                  <a:gd name="connsiteX2" fmla="*/ 560823 w 745160"/>
                  <a:gd name="connsiteY2" fmla="*/ 210369 h 550155"/>
                  <a:gd name="connsiteX3" fmla="*/ 560823 w 745160"/>
                  <a:gd name="connsiteY3" fmla="*/ 218385 h 550155"/>
                  <a:gd name="connsiteX4" fmla="*/ 560825 w 745160"/>
                  <a:gd name="connsiteY4" fmla="*/ 218386 h 550155"/>
                  <a:gd name="connsiteX5" fmla="*/ 560825 w 745160"/>
                  <a:gd name="connsiteY5" fmla="*/ 328221 h 550155"/>
                  <a:gd name="connsiteX6" fmla="*/ 560823 w 745160"/>
                  <a:gd name="connsiteY6" fmla="*/ 328221 h 550155"/>
                  <a:gd name="connsiteX7" fmla="*/ 467378 w 745160"/>
                  <a:gd name="connsiteY7" fmla="*/ 393914 h 550155"/>
                  <a:gd name="connsiteX8" fmla="*/ 496002 w 745160"/>
                  <a:gd name="connsiteY8" fmla="*/ 443582 h 550155"/>
                  <a:gd name="connsiteX9" fmla="*/ 537350 w 745160"/>
                  <a:gd name="connsiteY9" fmla="*/ 489616 h 550155"/>
                  <a:gd name="connsiteX10" fmla="*/ 482740 w 745160"/>
                  <a:gd name="connsiteY10" fmla="*/ 550155 h 550155"/>
                  <a:gd name="connsiteX11" fmla="*/ 429968 w 745160"/>
                  <a:gd name="connsiteY11" fmla="*/ 491403 h 550155"/>
                  <a:gd name="connsiteX12" fmla="*/ 400769 w 745160"/>
                  <a:gd name="connsiteY12" fmla="*/ 440739 h 550155"/>
                  <a:gd name="connsiteX13" fmla="*/ 280412 w 745160"/>
                  <a:gd name="connsiteY13" fmla="*/ 525351 h 550155"/>
                  <a:gd name="connsiteX14" fmla="*/ 0 w 745160"/>
                  <a:gd name="connsiteY14" fmla="*/ 328221 h 550155"/>
                  <a:gd name="connsiteX15" fmla="*/ 0 w 745160"/>
                  <a:gd name="connsiteY15" fmla="*/ 218386 h 550155"/>
                  <a:gd name="connsiteX16" fmla="*/ 0 w 745160"/>
                  <a:gd name="connsiteY16" fmla="*/ 77038 h 550155"/>
                  <a:gd name="connsiteX17" fmla="*/ 560823 w 745160"/>
                  <a:gd name="connsiteY17" fmla="*/ 77039 h 550155"/>
                  <a:gd name="connsiteX18" fmla="*/ 560823 w 745160"/>
                  <a:gd name="connsiteY18" fmla="*/ 103512 h 550155"/>
                  <a:gd name="connsiteX0" fmla="*/ 666649 w 745160"/>
                  <a:gd name="connsiteY0" fmla="*/ 0 h 525390"/>
                  <a:gd name="connsiteX1" fmla="*/ 745160 w 745160"/>
                  <a:gd name="connsiteY1" fmla="*/ 41592 h 525390"/>
                  <a:gd name="connsiteX2" fmla="*/ 560823 w 745160"/>
                  <a:gd name="connsiteY2" fmla="*/ 185604 h 525390"/>
                  <a:gd name="connsiteX3" fmla="*/ 560823 w 745160"/>
                  <a:gd name="connsiteY3" fmla="*/ 193620 h 525390"/>
                  <a:gd name="connsiteX4" fmla="*/ 560825 w 745160"/>
                  <a:gd name="connsiteY4" fmla="*/ 193621 h 525390"/>
                  <a:gd name="connsiteX5" fmla="*/ 560825 w 745160"/>
                  <a:gd name="connsiteY5" fmla="*/ 303456 h 525390"/>
                  <a:gd name="connsiteX6" fmla="*/ 560823 w 745160"/>
                  <a:gd name="connsiteY6" fmla="*/ 303456 h 525390"/>
                  <a:gd name="connsiteX7" fmla="*/ 467378 w 745160"/>
                  <a:gd name="connsiteY7" fmla="*/ 369149 h 525390"/>
                  <a:gd name="connsiteX8" fmla="*/ 496002 w 745160"/>
                  <a:gd name="connsiteY8" fmla="*/ 418817 h 525390"/>
                  <a:gd name="connsiteX9" fmla="*/ 537350 w 745160"/>
                  <a:gd name="connsiteY9" fmla="*/ 464851 h 525390"/>
                  <a:gd name="connsiteX10" fmla="*/ 482740 w 745160"/>
                  <a:gd name="connsiteY10" fmla="*/ 525390 h 525390"/>
                  <a:gd name="connsiteX11" fmla="*/ 429968 w 745160"/>
                  <a:gd name="connsiteY11" fmla="*/ 466638 h 525390"/>
                  <a:gd name="connsiteX12" fmla="*/ 400769 w 745160"/>
                  <a:gd name="connsiteY12" fmla="*/ 415974 h 525390"/>
                  <a:gd name="connsiteX13" fmla="*/ 280412 w 745160"/>
                  <a:gd name="connsiteY13" fmla="*/ 500586 h 525390"/>
                  <a:gd name="connsiteX14" fmla="*/ 0 w 745160"/>
                  <a:gd name="connsiteY14" fmla="*/ 303456 h 525390"/>
                  <a:gd name="connsiteX15" fmla="*/ 0 w 745160"/>
                  <a:gd name="connsiteY15" fmla="*/ 193621 h 525390"/>
                  <a:gd name="connsiteX16" fmla="*/ 0 w 745160"/>
                  <a:gd name="connsiteY16" fmla="*/ 52273 h 525390"/>
                  <a:gd name="connsiteX17" fmla="*/ 560823 w 745160"/>
                  <a:gd name="connsiteY17" fmla="*/ 52274 h 525390"/>
                  <a:gd name="connsiteX18" fmla="*/ 560823 w 745160"/>
                  <a:gd name="connsiteY18" fmla="*/ 78747 h 525390"/>
                  <a:gd name="connsiteX19" fmla="*/ 666649 w 745160"/>
                  <a:gd name="connsiteY19" fmla="*/ 0 h 525390"/>
                  <a:gd name="connsiteX0" fmla="*/ 666649 w 714680"/>
                  <a:gd name="connsiteY0" fmla="*/ 0 h 525390"/>
                  <a:gd name="connsiteX1" fmla="*/ 714680 w 714680"/>
                  <a:gd name="connsiteY1" fmla="*/ 56832 h 525390"/>
                  <a:gd name="connsiteX2" fmla="*/ 560823 w 714680"/>
                  <a:gd name="connsiteY2" fmla="*/ 185604 h 525390"/>
                  <a:gd name="connsiteX3" fmla="*/ 560823 w 714680"/>
                  <a:gd name="connsiteY3" fmla="*/ 193620 h 525390"/>
                  <a:gd name="connsiteX4" fmla="*/ 560825 w 714680"/>
                  <a:gd name="connsiteY4" fmla="*/ 193621 h 525390"/>
                  <a:gd name="connsiteX5" fmla="*/ 560825 w 714680"/>
                  <a:gd name="connsiteY5" fmla="*/ 303456 h 525390"/>
                  <a:gd name="connsiteX6" fmla="*/ 560823 w 714680"/>
                  <a:gd name="connsiteY6" fmla="*/ 303456 h 525390"/>
                  <a:gd name="connsiteX7" fmla="*/ 467378 w 714680"/>
                  <a:gd name="connsiteY7" fmla="*/ 369149 h 525390"/>
                  <a:gd name="connsiteX8" fmla="*/ 496002 w 714680"/>
                  <a:gd name="connsiteY8" fmla="*/ 418817 h 525390"/>
                  <a:gd name="connsiteX9" fmla="*/ 537350 w 714680"/>
                  <a:gd name="connsiteY9" fmla="*/ 464851 h 525390"/>
                  <a:gd name="connsiteX10" fmla="*/ 482740 w 714680"/>
                  <a:gd name="connsiteY10" fmla="*/ 525390 h 525390"/>
                  <a:gd name="connsiteX11" fmla="*/ 429968 w 714680"/>
                  <a:gd name="connsiteY11" fmla="*/ 466638 h 525390"/>
                  <a:gd name="connsiteX12" fmla="*/ 400769 w 714680"/>
                  <a:gd name="connsiteY12" fmla="*/ 415974 h 525390"/>
                  <a:gd name="connsiteX13" fmla="*/ 280412 w 714680"/>
                  <a:gd name="connsiteY13" fmla="*/ 500586 h 525390"/>
                  <a:gd name="connsiteX14" fmla="*/ 0 w 714680"/>
                  <a:gd name="connsiteY14" fmla="*/ 303456 h 525390"/>
                  <a:gd name="connsiteX15" fmla="*/ 0 w 714680"/>
                  <a:gd name="connsiteY15" fmla="*/ 193621 h 525390"/>
                  <a:gd name="connsiteX16" fmla="*/ 0 w 714680"/>
                  <a:gd name="connsiteY16" fmla="*/ 52273 h 525390"/>
                  <a:gd name="connsiteX17" fmla="*/ 560823 w 714680"/>
                  <a:gd name="connsiteY17" fmla="*/ 52274 h 525390"/>
                  <a:gd name="connsiteX18" fmla="*/ 560823 w 714680"/>
                  <a:gd name="connsiteY18" fmla="*/ 78747 h 525390"/>
                  <a:gd name="connsiteX19" fmla="*/ 666649 w 714680"/>
                  <a:gd name="connsiteY19" fmla="*/ 0 h 525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14680" h="525390">
                    <a:moveTo>
                      <a:pt x="666649" y="0"/>
                    </a:moveTo>
                    <a:lnTo>
                      <a:pt x="714680" y="56832"/>
                    </a:lnTo>
                    <a:lnTo>
                      <a:pt x="560823" y="185604"/>
                    </a:lnTo>
                    <a:lnTo>
                      <a:pt x="560823" y="193620"/>
                    </a:lnTo>
                    <a:cubicBezTo>
                      <a:pt x="560824" y="193620"/>
                      <a:pt x="560824" y="193621"/>
                      <a:pt x="560825" y="193621"/>
                    </a:cubicBezTo>
                    <a:lnTo>
                      <a:pt x="560825" y="303456"/>
                    </a:lnTo>
                    <a:lnTo>
                      <a:pt x="560823" y="303456"/>
                    </a:lnTo>
                    <a:lnTo>
                      <a:pt x="467378" y="369149"/>
                    </a:lnTo>
                    <a:lnTo>
                      <a:pt x="496002" y="418817"/>
                    </a:lnTo>
                    <a:cubicBezTo>
                      <a:pt x="508034" y="435433"/>
                      <a:pt x="521862" y="450880"/>
                      <a:pt x="537350" y="464851"/>
                    </a:cubicBezTo>
                    <a:lnTo>
                      <a:pt x="482740" y="525390"/>
                    </a:lnTo>
                    <a:cubicBezTo>
                      <a:pt x="462973" y="507559"/>
                      <a:pt x="445324" y="487844"/>
                      <a:pt x="429968" y="466638"/>
                    </a:cubicBezTo>
                    <a:lnTo>
                      <a:pt x="400769" y="415974"/>
                    </a:lnTo>
                    <a:lnTo>
                      <a:pt x="280412" y="500586"/>
                    </a:lnTo>
                    <a:lnTo>
                      <a:pt x="0" y="303456"/>
                    </a:lnTo>
                    <a:lnTo>
                      <a:pt x="0" y="193621"/>
                    </a:lnTo>
                    <a:lnTo>
                      <a:pt x="0" y="52273"/>
                    </a:lnTo>
                    <a:lnTo>
                      <a:pt x="560823" y="52274"/>
                    </a:lnTo>
                    <a:lnTo>
                      <a:pt x="560823" y="78747"/>
                    </a:lnTo>
                    <a:cubicBezTo>
                      <a:pt x="604988" y="44243"/>
                      <a:pt x="622484" y="34504"/>
                      <a:pt x="66664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err="1"/>
              </a:p>
            </p:txBody>
          </p:sp>
          <p:sp>
            <p:nvSpPr>
              <p:cNvPr id="3008" name="Freeform: Shape 3007">
                <a:extLst>
                  <a:ext uri="{FF2B5EF4-FFF2-40B4-BE49-F238E27FC236}">
                    <a16:creationId xmlns:a16="http://schemas.microsoft.com/office/drawing/2014/main" id="{ADFD4CD4-F802-4CE6-9AC5-7A3CE0FB1CAC}"/>
                  </a:ext>
                </a:extLst>
              </p:cNvPr>
              <p:cNvSpPr/>
              <p:nvPr/>
            </p:nvSpPr>
            <p:spPr bwMode="gray">
              <a:xfrm>
                <a:off x="7895502" y="4552976"/>
                <a:ext cx="116928" cy="494153"/>
              </a:xfrm>
              <a:custGeom>
                <a:avLst/>
                <a:gdLst>
                  <a:gd name="connsiteX0" fmla="*/ 58464 w 116928"/>
                  <a:gd name="connsiteY0" fmla="*/ 0 h 494153"/>
                  <a:gd name="connsiteX1" fmla="*/ 88353 w 116928"/>
                  <a:gd name="connsiteY1" fmla="*/ 24829 h 494153"/>
                  <a:gd name="connsiteX2" fmla="*/ 88353 w 116928"/>
                  <a:gd name="connsiteY2" fmla="*/ 50048 h 494153"/>
                  <a:gd name="connsiteX3" fmla="*/ 116928 w 116928"/>
                  <a:gd name="connsiteY3" fmla="*/ 50048 h 494153"/>
                  <a:gd name="connsiteX4" fmla="*/ 116928 w 116928"/>
                  <a:gd name="connsiteY4" fmla="*/ 174457 h 494153"/>
                  <a:gd name="connsiteX5" fmla="*/ 71063 w 116928"/>
                  <a:gd name="connsiteY5" fmla="*/ 230362 h 494153"/>
                  <a:gd name="connsiteX6" fmla="*/ 71063 w 116928"/>
                  <a:gd name="connsiteY6" fmla="*/ 494153 h 494153"/>
                  <a:gd name="connsiteX7" fmla="*/ 45863 w 116928"/>
                  <a:gd name="connsiteY7" fmla="*/ 468953 h 494153"/>
                  <a:gd name="connsiteX8" fmla="*/ 45863 w 116928"/>
                  <a:gd name="connsiteY8" fmla="*/ 230360 h 494153"/>
                  <a:gd name="connsiteX9" fmla="*/ 0 w 116928"/>
                  <a:gd name="connsiteY9" fmla="*/ 174457 h 494153"/>
                  <a:gd name="connsiteX10" fmla="*/ 0 w 116928"/>
                  <a:gd name="connsiteY10" fmla="*/ 50048 h 494153"/>
                  <a:gd name="connsiteX11" fmla="*/ 28575 w 116928"/>
                  <a:gd name="connsiteY11" fmla="*/ 50048 h 494153"/>
                  <a:gd name="connsiteX12" fmla="*/ 28575 w 116928"/>
                  <a:gd name="connsiteY12" fmla="*/ 24829 h 494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28" h="494153">
                    <a:moveTo>
                      <a:pt x="58464" y="0"/>
                    </a:moveTo>
                    <a:lnTo>
                      <a:pt x="88353" y="24829"/>
                    </a:lnTo>
                    <a:lnTo>
                      <a:pt x="88353" y="50048"/>
                    </a:lnTo>
                    <a:lnTo>
                      <a:pt x="116928" y="50048"/>
                    </a:lnTo>
                    <a:lnTo>
                      <a:pt x="116928" y="174457"/>
                    </a:lnTo>
                    <a:lnTo>
                      <a:pt x="71063" y="230362"/>
                    </a:lnTo>
                    <a:lnTo>
                      <a:pt x="71063" y="494153"/>
                    </a:lnTo>
                    <a:lnTo>
                      <a:pt x="45863" y="468953"/>
                    </a:lnTo>
                    <a:lnTo>
                      <a:pt x="45863" y="230360"/>
                    </a:lnTo>
                    <a:lnTo>
                      <a:pt x="0" y="174457"/>
                    </a:lnTo>
                    <a:lnTo>
                      <a:pt x="0" y="50048"/>
                    </a:lnTo>
                    <a:lnTo>
                      <a:pt x="28575" y="50048"/>
                    </a:lnTo>
                    <a:lnTo>
                      <a:pt x="28575" y="24829"/>
                    </a:lnTo>
                    <a:close/>
                  </a:path>
                </a:pathLst>
              </a:custGeom>
              <a:solidFill>
                <a:schemeClr val="bg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sp>
            <p:nvSpPr>
              <p:cNvPr id="3009" name="Freeform: Shape 3008">
                <a:extLst>
                  <a:ext uri="{FF2B5EF4-FFF2-40B4-BE49-F238E27FC236}">
                    <a16:creationId xmlns:a16="http://schemas.microsoft.com/office/drawing/2014/main" id="{B3CFECB3-25C8-4EEF-8D4E-5A86F8CB64BD}"/>
                  </a:ext>
                </a:extLst>
              </p:cNvPr>
              <p:cNvSpPr/>
              <p:nvPr/>
            </p:nvSpPr>
            <p:spPr bwMode="gray">
              <a:xfrm flipH="1">
                <a:off x="7725957" y="4619735"/>
                <a:ext cx="217921" cy="427394"/>
              </a:xfrm>
              <a:custGeom>
                <a:avLst/>
                <a:gdLst>
                  <a:gd name="connsiteX0" fmla="*/ 162082 w 217921"/>
                  <a:gd name="connsiteY0" fmla="*/ 0 h 427394"/>
                  <a:gd name="connsiteX1" fmla="*/ 35526 w 217921"/>
                  <a:gd name="connsiteY1" fmla="*/ 262 h 427394"/>
                  <a:gd name="connsiteX2" fmla="*/ 0 w 217921"/>
                  <a:gd name="connsiteY2" fmla="*/ 19948 h 427394"/>
                  <a:gd name="connsiteX3" fmla="*/ 32826 w 217921"/>
                  <a:gd name="connsiteY3" fmla="*/ 39634 h 427394"/>
                  <a:gd name="connsiteX4" fmla="*/ 145402 w 217921"/>
                  <a:gd name="connsiteY4" fmla="*/ 39634 h 427394"/>
                  <a:gd name="connsiteX5" fmla="*/ 145402 w 217921"/>
                  <a:gd name="connsiteY5" fmla="*/ 58799 h 427394"/>
                  <a:gd name="connsiteX6" fmla="*/ 121948 w 217921"/>
                  <a:gd name="connsiteY6" fmla="*/ 58799 h 427394"/>
                  <a:gd name="connsiteX7" fmla="*/ 121948 w 217921"/>
                  <a:gd name="connsiteY7" fmla="*/ 160912 h 427394"/>
                  <a:gd name="connsiteX8" fmla="*/ 156286 w 217921"/>
                  <a:gd name="connsiteY8" fmla="*/ 202767 h 427394"/>
                  <a:gd name="connsiteX9" fmla="*/ 156286 w 217921"/>
                  <a:gd name="connsiteY9" fmla="*/ 402194 h 427394"/>
                  <a:gd name="connsiteX10" fmla="*/ 181486 w 217921"/>
                  <a:gd name="connsiteY10" fmla="*/ 427394 h 427394"/>
                  <a:gd name="connsiteX11" fmla="*/ 181486 w 217921"/>
                  <a:gd name="connsiteY11" fmla="*/ 205323 h 427394"/>
                  <a:gd name="connsiteX12" fmla="*/ 217921 w 217921"/>
                  <a:gd name="connsiteY12" fmla="*/ 160912 h 427394"/>
                  <a:gd name="connsiteX13" fmla="*/ 217921 w 217921"/>
                  <a:gd name="connsiteY13" fmla="*/ 58799 h 427394"/>
                  <a:gd name="connsiteX14" fmla="*/ 194467 w 217921"/>
                  <a:gd name="connsiteY14" fmla="*/ 58799 h 427394"/>
                  <a:gd name="connsiteX15" fmla="*/ 162082 w 217921"/>
                  <a:gd name="connsiteY15" fmla="*/ 0 h 427394"/>
                  <a:gd name="connsiteX0" fmla="*/ 162082 w 217921"/>
                  <a:gd name="connsiteY0" fmla="*/ 0 h 427394"/>
                  <a:gd name="connsiteX1" fmla="*/ 35526 w 217921"/>
                  <a:gd name="connsiteY1" fmla="*/ 262 h 427394"/>
                  <a:gd name="connsiteX2" fmla="*/ 0 w 217921"/>
                  <a:gd name="connsiteY2" fmla="*/ 19948 h 427394"/>
                  <a:gd name="connsiteX3" fmla="*/ 32826 w 217921"/>
                  <a:gd name="connsiteY3" fmla="*/ 39634 h 427394"/>
                  <a:gd name="connsiteX4" fmla="*/ 145402 w 217921"/>
                  <a:gd name="connsiteY4" fmla="*/ 39634 h 427394"/>
                  <a:gd name="connsiteX5" fmla="*/ 145402 w 217921"/>
                  <a:gd name="connsiteY5" fmla="*/ 58799 h 427394"/>
                  <a:gd name="connsiteX6" fmla="*/ 121948 w 217921"/>
                  <a:gd name="connsiteY6" fmla="*/ 58799 h 427394"/>
                  <a:gd name="connsiteX7" fmla="*/ 121948 w 217921"/>
                  <a:gd name="connsiteY7" fmla="*/ 160912 h 427394"/>
                  <a:gd name="connsiteX8" fmla="*/ 156286 w 217921"/>
                  <a:gd name="connsiteY8" fmla="*/ 202767 h 427394"/>
                  <a:gd name="connsiteX9" fmla="*/ 156286 w 217921"/>
                  <a:gd name="connsiteY9" fmla="*/ 402194 h 427394"/>
                  <a:gd name="connsiteX10" fmla="*/ 181486 w 217921"/>
                  <a:gd name="connsiteY10" fmla="*/ 427394 h 427394"/>
                  <a:gd name="connsiteX11" fmla="*/ 182908 w 217921"/>
                  <a:gd name="connsiteY11" fmla="*/ 295165 h 427394"/>
                  <a:gd name="connsiteX12" fmla="*/ 181486 w 217921"/>
                  <a:gd name="connsiteY12" fmla="*/ 205323 h 427394"/>
                  <a:gd name="connsiteX13" fmla="*/ 217921 w 217921"/>
                  <a:gd name="connsiteY13" fmla="*/ 160912 h 427394"/>
                  <a:gd name="connsiteX14" fmla="*/ 217921 w 217921"/>
                  <a:gd name="connsiteY14" fmla="*/ 58799 h 427394"/>
                  <a:gd name="connsiteX15" fmla="*/ 194467 w 217921"/>
                  <a:gd name="connsiteY15" fmla="*/ 58799 h 427394"/>
                  <a:gd name="connsiteX16" fmla="*/ 162082 w 217921"/>
                  <a:gd name="connsiteY16" fmla="*/ 0 h 427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7921" h="427394">
                    <a:moveTo>
                      <a:pt x="162082" y="0"/>
                    </a:moveTo>
                    <a:cubicBezTo>
                      <a:pt x="95947" y="131"/>
                      <a:pt x="67937" y="3287"/>
                      <a:pt x="35526" y="262"/>
                    </a:cubicBezTo>
                    <a:lnTo>
                      <a:pt x="0" y="19948"/>
                    </a:lnTo>
                    <a:lnTo>
                      <a:pt x="32826" y="39634"/>
                    </a:lnTo>
                    <a:lnTo>
                      <a:pt x="145402" y="39634"/>
                    </a:lnTo>
                    <a:lnTo>
                      <a:pt x="145402" y="58799"/>
                    </a:lnTo>
                    <a:lnTo>
                      <a:pt x="121948" y="58799"/>
                    </a:lnTo>
                    <a:lnTo>
                      <a:pt x="121948" y="160912"/>
                    </a:lnTo>
                    <a:lnTo>
                      <a:pt x="156286" y="202767"/>
                    </a:lnTo>
                    <a:lnTo>
                      <a:pt x="156286" y="402194"/>
                    </a:lnTo>
                    <a:lnTo>
                      <a:pt x="181486" y="427394"/>
                    </a:lnTo>
                    <a:lnTo>
                      <a:pt x="182908" y="295165"/>
                    </a:lnTo>
                    <a:lnTo>
                      <a:pt x="181486" y="205323"/>
                    </a:lnTo>
                    <a:lnTo>
                      <a:pt x="217921" y="160912"/>
                    </a:lnTo>
                    <a:lnTo>
                      <a:pt x="217921" y="58799"/>
                    </a:lnTo>
                    <a:lnTo>
                      <a:pt x="194467" y="58799"/>
                    </a:lnTo>
                    <a:cubicBezTo>
                      <a:pt x="200817" y="4909"/>
                      <a:pt x="191927" y="550"/>
                      <a:pt x="162082" y="0"/>
                    </a:cubicBezTo>
                    <a:close/>
                  </a:path>
                </a:pathLst>
              </a:custGeom>
              <a:solidFill>
                <a:schemeClr val="bg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sp>
            <p:nvSpPr>
              <p:cNvPr id="3119" name="Freeform: Shape 3118">
                <a:extLst>
                  <a:ext uri="{FF2B5EF4-FFF2-40B4-BE49-F238E27FC236}">
                    <a16:creationId xmlns:a16="http://schemas.microsoft.com/office/drawing/2014/main" id="{DEFE8580-0BED-480C-A731-B4C5E79E14D6}"/>
                  </a:ext>
                </a:extLst>
              </p:cNvPr>
              <p:cNvSpPr/>
              <p:nvPr/>
            </p:nvSpPr>
            <p:spPr bwMode="gray">
              <a:xfrm>
                <a:off x="7627880" y="5187961"/>
                <a:ext cx="513080" cy="724641"/>
              </a:xfrm>
              <a:custGeom>
                <a:avLst/>
                <a:gdLst>
                  <a:gd name="connsiteX0" fmla="*/ 296357 w 513080"/>
                  <a:gd name="connsiteY0" fmla="*/ 14400 h 724641"/>
                  <a:gd name="connsiteX1" fmla="*/ 296357 w 513080"/>
                  <a:gd name="connsiteY1" fmla="*/ 96859 h 724641"/>
                  <a:gd name="connsiteX2" fmla="*/ 415510 w 513080"/>
                  <a:gd name="connsiteY2" fmla="*/ 14400 h 724641"/>
                  <a:gd name="connsiteX3" fmla="*/ 97568 w 513080"/>
                  <a:gd name="connsiteY3" fmla="*/ 14400 h 724641"/>
                  <a:gd name="connsiteX4" fmla="*/ 216723 w 513080"/>
                  <a:gd name="connsiteY4" fmla="*/ 96861 h 724641"/>
                  <a:gd name="connsiteX5" fmla="*/ 216723 w 513080"/>
                  <a:gd name="connsiteY5" fmla="*/ 14400 h 724641"/>
                  <a:gd name="connsiteX6" fmla="*/ 0 w 513080"/>
                  <a:gd name="connsiteY6" fmla="*/ 0 h 724641"/>
                  <a:gd name="connsiteX7" fmla="*/ 216723 w 513080"/>
                  <a:gd name="connsiteY7" fmla="*/ 0 h 724641"/>
                  <a:gd name="connsiteX8" fmla="*/ 296357 w 513080"/>
                  <a:gd name="connsiteY8" fmla="*/ 0 h 724641"/>
                  <a:gd name="connsiteX9" fmla="*/ 513080 w 513080"/>
                  <a:gd name="connsiteY9" fmla="*/ 0 h 724641"/>
                  <a:gd name="connsiteX10" fmla="*/ 513080 w 513080"/>
                  <a:gd name="connsiteY10" fmla="*/ 14400 h 724641"/>
                  <a:gd name="connsiteX11" fmla="*/ 454905 w 513080"/>
                  <a:gd name="connsiteY11" fmla="*/ 14400 h 724641"/>
                  <a:gd name="connsiteX12" fmla="*/ 296357 w 513080"/>
                  <a:gd name="connsiteY12" fmla="*/ 124122 h 724641"/>
                  <a:gd name="connsiteX13" fmla="*/ 296357 w 513080"/>
                  <a:gd name="connsiteY13" fmla="*/ 724641 h 724641"/>
                  <a:gd name="connsiteX14" fmla="*/ 216723 w 513080"/>
                  <a:gd name="connsiteY14" fmla="*/ 724641 h 724641"/>
                  <a:gd name="connsiteX15" fmla="*/ 216723 w 513080"/>
                  <a:gd name="connsiteY15" fmla="*/ 124124 h 724641"/>
                  <a:gd name="connsiteX16" fmla="*/ 58173 w 513080"/>
                  <a:gd name="connsiteY16" fmla="*/ 14400 h 724641"/>
                  <a:gd name="connsiteX17" fmla="*/ 0 w 513080"/>
                  <a:gd name="connsiteY17" fmla="*/ 14400 h 72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13080" h="724641">
                    <a:moveTo>
                      <a:pt x="296357" y="14400"/>
                    </a:moveTo>
                    <a:lnTo>
                      <a:pt x="296357" y="96859"/>
                    </a:lnTo>
                    <a:lnTo>
                      <a:pt x="415510" y="14400"/>
                    </a:lnTo>
                    <a:close/>
                    <a:moveTo>
                      <a:pt x="97568" y="14400"/>
                    </a:moveTo>
                    <a:lnTo>
                      <a:pt x="216723" y="96861"/>
                    </a:lnTo>
                    <a:lnTo>
                      <a:pt x="216723" y="14400"/>
                    </a:lnTo>
                    <a:close/>
                    <a:moveTo>
                      <a:pt x="0" y="0"/>
                    </a:moveTo>
                    <a:lnTo>
                      <a:pt x="216723" y="0"/>
                    </a:lnTo>
                    <a:lnTo>
                      <a:pt x="296357" y="0"/>
                    </a:lnTo>
                    <a:lnTo>
                      <a:pt x="513080" y="0"/>
                    </a:lnTo>
                    <a:lnTo>
                      <a:pt x="513080" y="14400"/>
                    </a:lnTo>
                    <a:lnTo>
                      <a:pt x="454905" y="14400"/>
                    </a:lnTo>
                    <a:lnTo>
                      <a:pt x="296357" y="124122"/>
                    </a:lnTo>
                    <a:lnTo>
                      <a:pt x="296357" y="724641"/>
                    </a:lnTo>
                    <a:lnTo>
                      <a:pt x="216723" y="724641"/>
                    </a:lnTo>
                    <a:lnTo>
                      <a:pt x="216723" y="124124"/>
                    </a:lnTo>
                    <a:lnTo>
                      <a:pt x="58173" y="14400"/>
                    </a:lnTo>
                    <a:lnTo>
                      <a:pt x="0" y="14400"/>
                    </a:lnTo>
                    <a:close/>
                  </a:path>
                </a:pathLst>
              </a:custGeom>
              <a:solidFill>
                <a:schemeClr val="bg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sp>
            <p:nvSpPr>
              <p:cNvPr id="3040" name="Freeform: Shape 3039">
                <a:extLst>
                  <a:ext uri="{FF2B5EF4-FFF2-40B4-BE49-F238E27FC236}">
                    <a16:creationId xmlns:a16="http://schemas.microsoft.com/office/drawing/2014/main" id="{C2DB9F78-2810-46E2-8B7D-14E1920EBB8D}"/>
                  </a:ext>
                </a:extLst>
              </p:cNvPr>
              <p:cNvSpPr/>
              <p:nvPr/>
            </p:nvSpPr>
            <p:spPr bwMode="gray">
              <a:xfrm>
                <a:off x="7604006" y="4407986"/>
                <a:ext cx="560824" cy="990786"/>
              </a:xfrm>
              <a:custGeom>
                <a:avLst/>
                <a:gdLst>
                  <a:gd name="connsiteX0" fmla="*/ 219602 w 560824"/>
                  <a:gd name="connsiteY0" fmla="*/ 0 h 990786"/>
                  <a:gd name="connsiteX1" fmla="*/ 341223 w 560824"/>
                  <a:gd name="connsiteY1" fmla="*/ 0 h 990786"/>
                  <a:gd name="connsiteX2" fmla="*/ 341223 w 560824"/>
                  <a:gd name="connsiteY2" fmla="*/ 49311 h 990786"/>
                  <a:gd name="connsiteX3" fmla="*/ 358243 w 560824"/>
                  <a:gd name="connsiteY3" fmla="*/ 50906 h 990786"/>
                  <a:gd name="connsiteX4" fmla="*/ 451075 w 560824"/>
                  <a:gd name="connsiteY4" fmla="*/ 71279 h 990786"/>
                  <a:gd name="connsiteX5" fmla="*/ 559674 w 560824"/>
                  <a:gd name="connsiteY5" fmla="*/ 166565 h 990786"/>
                  <a:gd name="connsiteX6" fmla="*/ 559674 w 560824"/>
                  <a:gd name="connsiteY6" fmla="*/ 522402 h 990786"/>
                  <a:gd name="connsiteX7" fmla="*/ 560823 w 560824"/>
                  <a:gd name="connsiteY7" fmla="*/ 522402 h 990786"/>
                  <a:gd name="connsiteX8" fmla="*/ 560823 w 560824"/>
                  <a:gd name="connsiteY8" fmla="*/ 683820 h 990786"/>
                  <a:gd name="connsiteX9" fmla="*/ 560824 w 560824"/>
                  <a:gd name="connsiteY9" fmla="*/ 683820 h 990786"/>
                  <a:gd name="connsiteX10" fmla="*/ 560824 w 560824"/>
                  <a:gd name="connsiteY10" fmla="*/ 793655 h 990786"/>
                  <a:gd name="connsiteX11" fmla="*/ 560823 w 560824"/>
                  <a:gd name="connsiteY11" fmla="*/ 793655 h 990786"/>
                  <a:gd name="connsiteX12" fmla="*/ 280412 w 560824"/>
                  <a:gd name="connsiteY12" fmla="*/ 990786 h 990786"/>
                  <a:gd name="connsiteX13" fmla="*/ 0 w 560824"/>
                  <a:gd name="connsiteY13" fmla="*/ 793655 h 990786"/>
                  <a:gd name="connsiteX14" fmla="*/ 0 w 560824"/>
                  <a:gd name="connsiteY14" fmla="*/ 683820 h 990786"/>
                  <a:gd name="connsiteX15" fmla="*/ 0 w 560824"/>
                  <a:gd name="connsiteY15" fmla="*/ 522402 h 990786"/>
                  <a:gd name="connsiteX16" fmla="*/ 1150 w 560824"/>
                  <a:gd name="connsiteY16" fmla="*/ 522402 h 990786"/>
                  <a:gd name="connsiteX17" fmla="*/ 1150 w 560824"/>
                  <a:gd name="connsiteY17" fmla="*/ 166565 h 990786"/>
                  <a:gd name="connsiteX18" fmla="*/ 109748 w 560824"/>
                  <a:gd name="connsiteY18" fmla="*/ 71279 h 990786"/>
                  <a:gd name="connsiteX19" fmla="*/ 202581 w 560824"/>
                  <a:gd name="connsiteY19" fmla="*/ 50906 h 990786"/>
                  <a:gd name="connsiteX20" fmla="*/ 219602 w 560824"/>
                  <a:gd name="connsiteY20" fmla="*/ 49311 h 990786"/>
                  <a:gd name="connsiteX0" fmla="*/ 219602 w 560824"/>
                  <a:gd name="connsiteY0" fmla="*/ 0 h 990786"/>
                  <a:gd name="connsiteX1" fmla="*/ 252214 w 560824"/>
                  <a:gd name="connsiteY1" fmla="*/ 184 h 990786"/>
                  <a:gd name="connsiteX2" fmla="*/ 341223 w 560824"/>
                  <a:gd name="connsiteY2" fmla="*/ 0 h 990786"/>
                  <a:gd name="connsiteX3" fmla="*/ 341223 w 560824"/>
                  <a:gd name="connsiteY3" fmla="*/ 49311 h 990786"/>
                  <a:gd name="connsiteX4" fmla="*/ 358243 w 560824"/>
                  <a:gd name="connsiteY4" fmla="*/ 50906 h 990786"/>
                  <a:gd name="connsiteX5" fmla="*/ 451075 w 560824"/>
                  <a:gd name="connsiteY5" fmla="*/ 71279 h 990786"/>
                  <a:gd name="connsiteX6" fmla="*/ 559674 w 560824"/>
                  <a:gd name="connsiteY6" fmla="*/ 166565 h 990786"/>
                  <a:gd name="connsiteX7" fmla="*/ 559674 w 560824"/>
                  <a:gd name="connsiteY7" fmla="*/ 522402 h 990786"/>
                  <a:gd name="connsiteX8" fmla="*/ 560823 w 560824"/>
                  <a:gd name="connsiteY8" fmla="*/ 522402 h 990786"/>
                  <a:gd name="connsiteX9" fmla="*/ 560823 w 560824"/>
                  <a:gd name="connsiteY9" fmla="*/ 683820 h 990786"/>
                  <a:gd name="connsiteX10" fmla="*/ 560824 w 560824"/>
                  <a:gd name="connsiteY10" fmla="*/ 683820 h 990786"/>
                  <a:gd name="connsiteX11" fmla="*/ 560824 w 560824"/>
                  <a:gd name="connsiteY11" fmla="*/ 793655 h 990786"/>
                  <a:gd name="connsiteX12" fmla="*/ 560823 w 560824"/>
                  <a:gd name="connsiteY12" fmla="*/ 793655 h 990786"/>
                  <a:gd name="connsiteX13" fmla="*/ 280412 w 560824"/>
                  <a:gd name="connsiteY13" fmla="*/ 990786 h 990786"/>
                  <a:gd name="connsiteX14" fmla="*/ 0 w 560824"/>
                  <a:gd name="connsiteY14" fmla="*/ 793655 h 990786"/>
                  <a:gd name="connsiteX15" fmla="*/ 0 w 560824"/>
                  <a:gd name="connsiteY15" fmla="*/ 683820 h 990786"/>
                  <a:gd name="connsiteX16" fmla="*/ 0 w 560824"/>
                  <a:gd name="connsiteY16" fmla="*/ 522402 h 990786"/>
                  <a:gd name="connsiteX17" fmla="*/ 1150 w 560824"/>
                  <a:gd name="connsiteY17" fmla="*/ 522402 h 990786"/>
                  <a:gd name="connsiteX18" fmla="*/ 1150 w 560824"/>
                  <a:gd name="connsiteY18" fmla="*/ 166565 h 990786"/>
                  <a:gd name="connsiteX19" fmla="*/ 109748 w 560824"/>
                  <a:gd name="connsiteY19" fmla="*/ 71279 h 990786"/>
                  <a:gd name="connsiteX20" fmla="*/ 202581 w 560824"/>
                  <a:gd name="connsiteY20" fmla="*/ 50906 h 990786"/>
                  <a:gd name="connsiteX21" fmla="*/ 219602 w 560824"/>
                  <a:gd name="connsiteY21" fmla="*/ 49311 h 990786"/>
                  <a:gd name="connsiteX22" fmla="*/ 219602 w 560824"/>
                  <a:gd name="connsiteY22" fmla="*/ 0 h 990786"/>
                  <a:gd name="connsiteX0" fmla="*/ 252214 w 560824"/>
                  <a:gd name="connsiteY0" fmla="*/ 184 h 990786"/>
                  <a:gd name="connsiteX1" fmla="*/ 341223 w 560824"/>
                  <a:gd name="connsiteY1" fmla="*/ 0 h 990786"/>
                  <a:gd name="connsiteX2" fmla="*/ 341223 w 560824"/>
                  <a:gd name="connsiteY2" fmla="*/ 49311 h 990786"/>
                  <a:gd name="connsiteX3" fmla="*/ 358243 w 560824"/>
                  <a:gd name="connsiteY3" fmla="*/ 50906 h 990786"/>
                  <a:gd name="connsiteX4" fmla="*/ 451075 w 560824"/>
                  <a:gd name="connsiteY4" fmla="*/ 71279 h 990786"/>
                  <a:gd name="connsiteX5" fmla="*/ 559674 w 560824"/>
                  <a:gd name="connsiteY5" fmla="*/ 166565 h 990786"/>
                  <a:gd name="connsiteX6" fmla="*/ 559674 w 560824"/>
                  <a:gd name="connsiteY6" fmla="*/ 522402 h 990786"/>
                  <a:gd name="connsiteX7" fmla="*/ 560823 w 560824"/>
                  <a:gd name="connsiteY7" fmla="*/ 522402 h 990786"/>
                  <a:gd name="connsiteX8" fmla="*/ 560823 w 560824"/>
                  <a:gd name="connsiteY8" fmla="*/ 683820 h 990786"/>
                  <a:gd name="connsiteX9" fmla="*/ 560824 w 560824"/>
                  <a:gd name="connsiteY9" fmla="*/ 683820 h 990786"/>
                  <a:gd name="connsiteX10" fmla="*/ 560824 w 560824"/>
                  <a:gd name="connsiteY10" fmla="*/ 793655 h 990786"/>
                  <a:gd name="connsiteX11" fmla="*/ 560823 w 560824"/>
                  <a:gd name="connsiteY11" fmla="*/ 793655 h 990786"/>
                  <a:gd name="connsiteX12" fmla="*/ 280412 w 560824"/>
                  <a:gd name="connsiteY12" fmla="*/ 990786 h 990786"/>
                  <a:gd name="connsiteX13" fmla="*/ 0 w 560824"/>
                  <a:gd name="connsiteY13" fmla="*/ 793655 h 990786"/>
                  <a:gd name="connsiteX14" fmla="*/ 0 w 560824"/>
                  <a:gd name="connsiteY14" fmla="*/ 683820 h 990786"/>
                  <a:gd name="connsiteX15" fmla="*/ 0 w 560824"/>
                  <a:gd name="connsiteY15" fmla="*/ 522402 h 990786"/>
                  <a:gd name="connsiteX16" fmla="*/ 1150 w 560824"/>
                  <a:gd name="connsiteY16" fmla="*/ 522402 h 990786"/>
                  <a:gd name="connsiteX17" fmla="*/ 1150 w 560824"/>
                  <a:gd name="connsiteY17" fmla="*/ 166565 h 990786"/>
                  <a:gd name="connsiteX18" fmla="*/ 109748 w 560824"/>
                  <a:gd name="connsiteY18" fmla="*/ 71279 h 990786"/>
                  <a:gd name="connsiteX19" fmla="*/ 202581 w 560824"/>
                  <a:gd name="connsiteY19" fmla="*/ 50906 h 990786"/>
                  <a:gd name="connsiteX20" fmla="*/ 219602 w 560824"/>
                  <a:gd name="connsiteY20" fmla="*/ 49311 h 990786"/>
                  <a:gd name="connsiteX21" fmla="*/ 219602 w 560824"/>
                  <a:gd name="connsiteY21" fmla="*/ 0 h 990786"/>
                  <a:gd name="connsiteX22" fmla="*/ 343654 w 560824"/>
                  <a:gd name="connsiteY22" fmla="*/ 91624 h 990786"/>
                  <a:gd name="connsiteX0" fmla="*/ 252214 w 560824"/>
                  <a:gd name="connsiteY0" fmla="*/ 184 h 990786"/>
                  <a:gd name="connsiteX1" fmla="*/ 341223 w 560824"/>
                  <a:gd name="connsiteY1" fmla="*/ 0 h 990786"/>
                  <a:gd name="connsiteX2" fmla="*/ 341223 w 560824"/>
                  <a:gd name="connsiteY2" fmla="*/ 49311 h 990786"/>
                  <a:gd name="connsiteX3" fmla="*/ 358243 w 560824"/>
                  <a:gd name="connsiteY3" fmla="*/ 50906 h 990786"/>
                  <a:gd name="connsiteX4" fmla="*/ 451075 w 560824"/>
                  <a:gd name="connsiteY4" fmla="*/ 71279 h 990786"/>
                  <a:gd name="connsiteX5" fmla="*/ 559674 w 560824"/>
                  <a:gd name="connsiteY5" fmla="*/ 166565 h 990786"/>
                  <a:gd name="connsiteX6" fmla="*/ 559674 w 560824"/>
                  <a:gd name="connsiteY6" fmla="*/ 522402 h 990786"/>
                  <a:gd name="connsiteX7" fmla="*/ 560823 w 560824"/>
                  <a:gd name="connsiteY7" fmla="*/ 522402 h 990786"/>
                  <a:gd name="connsiteX8" fmla="*/ 560823 w 560824"/>
                  <a:gd name="connsiteY8" fmla="*/ 683820 h 990786"/>
                  <a:gd name="connsiteX9" fmla="*/ 560824 w 560824"/>
                  <a:gd name="connsiteY9" fmla="*/ 683820 h 990786"/>
                  <a:gd name="connsiteX10" fmla="*/ 560824 w 560824"/>
                  <a:gd name="connsiteY10" fmla="*/ 793655 h 990786"/>
                  <a:gd name="connsiteX11" fmla="*/ 560823 w 560824"/>
                  <a:gd name="connsiteY11" fmla="*/ 793655 h 990786"/>
                  <a:gd name="connsiteX12" fmla="*/ 280412 w 560824"/>
                  <a:gd name="connsiteY12" fmla="*/ 990786 h 990786"/>
                  <a:gd name="connsiteX13" fmla="*/ 0 w 560824"/>
                  <a:gd name="connsiteY13" fmla="*/ 793655 h 990786"/>
                  <a:gd name="connsiteX14" fmla="*/ 0 w 560824"/>
                  <a:gd name="connsiteY14" fmla="*/ 683820 h 990786"/>
                  <a:gd name="connsiteX15" fmla="*/ 0 w 560824"/>
                  <a:gd name="connsiteY15" fmla="*/ 522402 h 990786"/>
                  <a:gd name="connsiteX16" fmla="*/ 1150 w 560824"/>
                  <a:gd name="connsiteY16" fmla="*/ 522402 h 990786"/>
                  <a:gd name="connsiteX17" fmla="*/ 1150 w 560824"/>
                  <a:gd name="connsiteY17" fmla="*/ 166565 h 990786"/>
                  <a:gd name="connsiteX18" fmla="*/ 109748 w 560824"/>
                  <a:gd name="connsiteY18" fmla="*/ 71279 h 990786"/>
                  <a:gd name="connsiteX19" fmla="*/ 202581 w 560824"/>
                  <a:gd name="connsiteY19" fmla="*/ 50906 h 990786"/>
                  <a:gd name="connsiteX20" fmla="*/ 219602 w 560824"/>
                  <a:gd name="connsiteY20" fmla="*/ 49311 h 990786"/>
                  <a:gd name="connsiteX21" fmla="*/ 219602 w 560824"/>
                  <a:gd name="connsiteY21" fmla="*/ 0 h 990786"/>
                  <a:gd name="connsiteX0" fmla="*/ 341223 w 560824"/>
                  <a:gd name="connsiteY0" fmla="*/ 0 h 990786"/>
                  <a:gd name="connsiteX1" fmla="*/ 341223 w 560824"/>
                  <a:gd name="connsiteY1" fmla="*/ 49311 h 990786"/>
                  <a:gd name="connsiteX2" fmla="*/ 358243 w 560824"/>
                  <a:gd name="connsiteY2" fmla="*/ 50906 h 990786"/>
                  <a:gd name="connsiteX3" fmla="*/ 451075 w 560824"/>
                  <a:gd name="connsiteY3" fmla="*/ 71279 h 990786"/>
                  <a:gd name="connsiteX4" fmla="*/ 559674 w 560824"/>
                  <a:gd name="connsiteY4" fmla="*/ 166565 h 990786"/>
                  <a:gd name="connsiteX5" fmla="*/ 559674 w 560824"/>
                  <a:gd name="connsiteY5" fmla="*/ 522402 h 990786"/>
                  <a:gd name="connsiteX6" fmla="*/ 560823 w 560824"/>
                  <a:gd name="connsiteY6" fmla="*/ 522402 h 990786"/>
                  <a:gd name="connsiteX7" fmla="*/ 560823 w 560824"/>
                  <a:gd name="connsiteY7" fmla="*/ 683820 h 990786"/>
                  <a:gd name="connsiteX8" fmla="*/ 560824 w 560824"/>
                  <a:gd name="connsiteY8" fmla="*/ 683820 h 990786"/>
                  <a:gd name="connsiteX9" fmla="*/ 560824 w 560824"/>
                  <a:gd name="connsiteY9" fmla="*/ 793655 h 990786"/>
                  <a:gd name="connsiteX10" fmla="*/ 560823 w 560824"/>
                  <a:gd name="connsiteY10" fmla="*/ 793655 h 990786"/>
                  <a:gd name="connsiteX11" fmla="*/ 280412 w 560824"/>
                  <a:gd name="connsiteY11" fmla="*/ 990786 h 990786"/>
                  <a:gd name="connsiteX12" fmla="*/ 0 w 560824"/>
                  <a:gd name="connsiteY12" fmla="*/ 793655 h 990786"/>
                  <a:gd name="connsiteX13" fmla="*/ 0 w 560824"/>
                  <a:gd name="connsiteY13" fmla="*/ 683820 h 990786"/>
                  <a:gd name="connsiteX14" fmla="*/ 0 w 560824"/>
                  <a:gd name="connsiteY14" fmla="*/ 522402 h 990786"/>
                  <a:gd name="connsiteX15" fmla="*/ 1150 w 560824"/>
                  <a:gd name="connsiteY15" fmla="*/ 522402 h 990786"/>
                  <a:gd name="connsiteX16" fmla="*/ 1150 w 560824"/>
                  <a:gd name="connsiteY16" fmla="*/ 166565 h 990786"/>
                  <a:gd name="connsiteX17" fmla="*/ 109748 w 560824"/>
                  <a:gd name="connsiteY17" fmla="*/ 71279 h 990786"/>
                  <a:gd name="connsiteX18" fmla="*/ 202581 w 560824"/>
                  <a:gd name="connsiteY18" fmla="*/ 50906 h 990786"/>
                  <a:gd name="connsiteX19" fmla="*/ 219602 w 560824"/>
                  <a:gd name="connsiteY19" fmla="*/ 49311 h 990786"/>
                  <a:gd name="connsiteX20" fmla="*/ 219602 w 560824"/>
                  <a:gd name="connsiteY20" fmla="*/ 0 h 990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0824" h="990786">
                    <a:moveTo>
                      <a:pt x="341223" y="0"/>
                    </a:moveTo>
                    <a:lnTo>
                      <a:pt x="341223" y="49311"/>
                    </a:lnTo>
                    <a:lnTo>
                      <a:pt x="358243" y="50906"/>
                    </a:lnTo>
                    <a:cubicBezTo>
                      <a:pt x="383743" y="54296"/>
                      <a:pt x="411743" y="60216"/>
                      <a:pt x="451075" y="71279"/>
                    </a:cubicBezTo>
                    <a:cubicBezTo>
                      <a:pt x="504286" y="86747"/>
                      <a:pt x="556020" y="116299"/>
                      <a:pt x="559674" y="166565"/>
                    </a:cubicBezTo>
                    <a:lnTo>
                      <a:pt x="559674" y="522402"/>
                    </a:lnTo>
                    <a:lnTo>
                      <a:pt x="560823" y="522402"/>
                    </a:lnTo>
                    <a:lnTo>
                      <a:pt x="560823" y="683820"/>
                    </a:lnTo>
                    <a:lnTo>
                      <a:pt x="560824" y="683820"/>
                    </a:lnTo>
                    <a:lnTo>
                      <a:pt x="560824" y="793655"/>
                    </a:lnTo>
                    <a:lnTo>
                      <a:pt x="560823" y="793655"/>
                    </a:lnTo>
                    <a:lnTo>
                      <a:pt x="280412" y="990786"/>
                    </a:lnTo>
                    <a:lnTo>
                      <a:pt x="0" y="793655"/>
                    </a:lnTo>
                    <a:lnTo>
                      <a:pt x="0" y="683820"/>
                    </a:lnTo>
                    <a:lnTo>
                      <a:pt x="0" y="522402"/>
                    </a:lnTo>
                    <a:lnTo>
                      <a:pt x="1150" y="522402"/>
                    </a:lnTo>
                    <a:lnTo>
                      <a:pt x="1150" y="166565"/>
                    </a:lnTo>
                    <a:cubicBezTo>
                      <a:pt x="4804" y="116299"/>
                      <a:pt x="56538" y="86747"/>
                      <a:pt x="109748" y="71279"/>
                    </a:cubicBezTo>
                    <a:cubicBezTo>
                      <a:pt x="149081" y="60216"/>
                      <a:pt x="177081" y="54296"/>
                      <a:pt x="202581" y="50906"/>
                    </a:cubicBezTo>
                    <a:lnTo>
                      <a:pt x="219602" y="49311"/>
                    </a:lnTo>
                    <a:lnTo>
                      <a:pt x="219602" y="0"/>
                    </a:ln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cxnSp>
            <p:nvCxnSpPr>
              <p:cNvPr id="3042" name="Straight Connector 3041">
                <a:extLst>
                  <a:ext uri="{FF2B5EF4-FFF2-40B4-BE49-F238E27FC236}">
                    <a16:creationId xmlns:a16="http://schemas.microsoft.com/office/drawing/2014/main" id="{D2DA963D-37B6-4FAF-A15A-A7999E8FF734}"/>
                  </a:ext>
                </a:extLst>
              </p:cNvPr>
              <p:cNvCxnSpPr>
                <a:cxnSpLocks/>
                <a:stCxn id="3040" idx="20"/>
              </p:cNvCxnSpPr>
              <p:nvPr/>
            </p:nvCxnSpPr>
            <p:spPr bwMode="gray">
              <a:xfrm flipH="1">
                <a:off x="7784096" y="4407986"/>
                <a:ext cx="39512" cy="0"/>
              </a:xfrm>
              <a:prstGeom prst="lin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3043" name="Straight Connector 3042">
                <a:extLst>
                  <a:ext uri="{FF2B5EF4-FFF2-40B4-BE49-F238E27FC236}">
                    <a16:creationId xmlns:a16="http://schemas.microsoft.com/office/drawing/2014/main" id="{869B2C5D-C307-4D62-BE6E-0118F8E74ED5}"/>
                  </a:ext>
                </a:extLst>
              </p:cNvPr>
              <p:cNvCxnSpPr>
                <a:cxnSpLocks/>
                <a:endCxn id="3040" idx="0"/>
              </p:cNvCxnSpPr>
              <p:nvPr/>
            </p:nvCxnSpPr>
            <p:spPr bwMode="gray">
              <a:xfrm flipH="1">
                <a:off x="7945229" y="4407986"/>
                <a:ext cx="34590" cy="0"/>
              </a:xfrm>
              <a:prstGeom prst="lin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grpSp>
            <p:nvGrpSpPr>
              <p:cNvPr id="3083" name="Group 3082">
                <a:extLst>
                  <a:ext uri="{FF2B5EF4-FFF2-40B4-BE49-F238E27FC236}">
                    <a16:creationId xmlns:a16="http://schemas.microsoft.com/office/drawing/2014/main" id="{BFB9C999-CEF5-41B0-8D99-35E33331603C}"/>
                  </a:ext>
                </a:extLst>
              </p:cNvPr>
              <p:cNvGrpSpPr>
                <a:grpSpLocks noChangeAspect="1"/>
              </p:cNvGrpSpPr>
              <p:nvPr/>
            </p:nvGrpSpPr>
            <p:grpSpPr bwMode="gray">
              <a:xfrm rot="10800000">
                <a:off x="7775886" y="5465877"/>
                <a:ext cx="118552" cy="46800"/>
                <a:chOff x="7925003" y="4307205"/>
                <a:chExt cx="143902" cy="56807"/>
              </a:xfrm>
              <a:solidFill>
                <a:schemeClr val="bg1"/>
              </a:solidFill>
            </p:grpSpPr>
            <p:sp>
              <p:nvSpPr>
                <p:cNvPr id="3084" name="Rectangle 3083">
                  <a:extLst>
                    <a:ext uri="{FF2B5EF4-FFF2-40B4-BE49-F238E27FC236}">
                      <a16:creationId xmlns:a16="http://schemas.microsoft.com/office/drawing/2014/main" id="{9493C2E1-400F-4ABE-8DC9-4F6A83F0591D}"/>
                    </a:ext>
                  </a:extLst>
                </p:cNvPr>
                <p:cNvSpPr/>
                <p:nvPr/>
              </p:nvSpPr>
              <p:spPr bwMode="gray">
                <a:xfrm>
                  <a:off x="7925003" y="4329773"/>
                  <a:ext cx="100508" cy="11670"/>
                </a:xfrm>
                <a:custGeom>
                  <a:avLst/>
                  <a:gdLst>
                    <a:gd name="connsiteX0" fmla="*/ 0 w 100508"/>
                    <a:gd name="connsiteY0" fmla="*/ 0 h 11670"/>
                    <a:gd name="connsiteX1" fmla="*/ 100508 w 100508"/>
                    <a:gd name="connsiteY1" fmla="*/ 0 h 11670"/>
                    <a:gd name="connsiteX2" fmla="*/ 100508 w 100508"/>
                    <a:gd name="connsiteY2" fmla="*/ 11670 h 11670"/>
                    <a:gd name="connsiteX3" fmla="*/ 0 w 100508"/>
                    <a:gd name="connsiteY3" fmla="*/ 11670 h 11670"/>
                    <a:gd name="connsiteX4" fmla="*/ 0 w 100508"/>
                    <a:gd name="connsiteY4" fmla="*/ 0 h 11670"/>
                    <a:gd name="connsiteX0" fmla="*/ 0 w 100508"/>
                    <a:gd name="connsiteY0" fmla="*/ 0 h 13284"/>
                    <a:gd name="connsiteX1" fmla="*/ 100508 w 100508"/>
                    <a:gd name="connsiteY1" fmla="*/ 0 h 13284"/>
                    <a:gd name="connsiteX2" fmla="*/ 100508 w 100508"/>
                    <a:gd name="connsiteY2" fmla="*/ 11670 h 13284"/>
                    <a:gd name="connsiteX3" fmla="*/ 41870 w 100508"/>
                    <a:gd name="connsiteY3" fmla="*/ 13284 h 13284"/>
                    <a:gd name="connsiteX4" fmla="*/ 0 w 100508"/>
                    <a:gd name="connsiteY4" fmla="*/ 11670 h 13284"/>
                    <a:gd name="connsiteX5" fmla="*/ 0 w 100508"/>
                    <a:gd name="connsiteY5" fmla="*/ 0 h 13284"/>
                    <a:gd name="connsiteX0" fmla="*/ 0 w 100508"/>
                    <a:gd name="connsiteY0" fmla="*/ 0 h 11670"/>
                    <a:gd name="connsiteX1" fmla="*/ 100508 w 100508"/>
                    <a:gd name="connsiteY1" fmla="*/ 0 h 11670"/>
                    <a:gd name="connsiteX2" fmla="*/ 100508 w 100508"/>
                    <a:gd name="connsiteY2" fmla="*/ 11670 h 11670"/>
                    <a:gd name="connsiteX3" fmla="*/ 0 w 100508"/>
                    <a:gd name="connsiteY3" fmla="*/ 11670 h 11670"/>
                    <a:gd name="connsiteX4" fmla="*/ 0 w 100508"/>
                    <a:gd name="connsiteY4" fmla="*/ 0 h 11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08" h="11670">
                      <a:moveTo>
                        <a:pt x="0" y="0"/>
                      </a:moveTo>
                      <a:lnTo>
                        <a:pt x="100508" y="0"/>
                      </a:lnTo>
                      <a:lnTo>
                        <a:pt x="100508" y="11670"/>
                      </a:lnTo>
                      <a:lnTo>
                        <a:pt x="0" y="11670"/>
                      </a:lnTo>
                      <a:lnTo>
                        <a:pt x="0" y="0"/>
                      </a:lnTo>
                      <a:close/>
                    </a:path>
                  </a:pathLst>
                </a:custGeom>
                <a:grpFill/>
                <a:ln w="19050" cap="rnd">
                  <a:solidFill>
                    <a:schemeClr val="bg2"/>
                  </a:solidFill>
                  <a:prstDash val="solid"/>
                  <a:round/>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sz="1000"/>
                </a:p>
              </p:txBody>
            </p:sp>
            <p:sp>
              <p:nvSpPr>
                <p:cNvPr id="3085" name="Rectangle 3084">
                  <a:extLst>
                    <a:ext uri="{FF2B5EF4-FFF2-40B4-BE49-F238E27FC236}">
                      <a16:creationId xmlns:a16="http://schemas.microsoft.com/office/drawing/2014/main" id="{1AC81985-B391-4EFC-AB75-967427C75E67}"/>
                    </a:ext>
                  </a:extLst>
                </p:cNvPr>
                <p:cNvSpPr/>
                <p:nvPr/>
              </p:nvSpPr>
              <p:spPr bwMode="gray">
                <a:xfrm>
                  <a:off x="8032905" y="4317608"/>
                  <a:ext cx="36000" cy="36000"/>
                </a:xfrm>
                <a:custGeom>
                  <a:avLst/>
                  <a:gdLst>
                    <a:gd name="connsiteX0" fmla="*/ 0 w 36000"/>
                    <a:gd name="connsiteY0" fmla="*/ 0 h 36000"/>
                    <a:gd name="connsiteX1" fmla="*/ 36000 w 36000"/>
                    <a:gd name="connsiteY1" fmla="*/ 0 h 36000"/>
                    <a:gd name="connsiteX2" fmla="*/ 36000 w 36000"/>
                    <a:gd name="connsiteY2" fmla="*/ 36000 h 36000"/>
                    <a:gd name="connsiteX3" fmla="*/ 0 w 36000"/>
                    <a:gd name="connsiteY3" fmla="*/ 36000 h 36000"/>
                    <a:gd name="connsiteX4" fmla="*/ 0 w 36000"/>
                    <a:gd name="connsiteY4" fmla="*/ 0 h 36000"/>
                    <a:gd name="connsiteX0" fmla="*/ 0 w 36000"/>
                    <a:gd name="connsiteY0" fmla="*/ 0 h 36879"/>
                    <a:gd name="connsiteX1" fmla="*/ 36000 w 36000"/>
                    <a:gd name="connsiteY1" fmla="*/ 0 h 36879"/>
                    <a:gd name="connsiteX2" fmla="*/ 36000 w 36000"/>
                    <a:gd name="connsiteY2" fmla="*/ 36000 h 36879"/>
                    <a:gd name="connsiteX3" fmla="*/ 17788 w 36000"/>
                    <a:gd name="connsiteY3" fmla="*/ 36879 h 36879"/>
                    <a:gd name="connsiteX4" fmla="*/ 0 w 36000"/>
                    <a:gd name="connsiteY4" fmla="*/ 36000 h 36879"/>
                    <a:gd name="connsiteX5" fmla="*/ 0 w 36000"/>
                    <a:gd name="connsiteY5" fmla="*/ 0 h 36879"/>
                    <a:gd name="connsiteX0" fmla="*/ 0 w 36000"/>
                    <a:gd name="connsiteY0" fmla="*/ 0 h 36000"/>
                    <a:gd name="connsiteX1" fmla="*/ 36000 w 36000"/>
                    <a:gd name="connsiteY1" fmla="*/ 0 h 36000"/>
                    <a:gd name="connsiteX2" fmla="*/ 36000 w 36000"/>
                    <a:gd name="connsiteY2" fmla="*/ 36000 h 36000"/>
                    <a:gd name="connsiteX3" fmla="*/ 0 w 36000"/>
                    <a:gd name="connsiteY3" fmla="*/ 36000 h 36000"/>
                    <a:gd name="connsiteX4" fmla="*/ 0 w 36000"/>
                    <a:gd name="connsiteY4" fmla="*/ 0 h 3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 h="36000">
                      <a:moveTo>
                        <a:pt x="0" y="0"/>
                      </a:moveTo>
                      <a:lnTo>
                        <a:pt x="36000" y="0"/>
                      </a:lnTo>
                      <a:lnTo>
                        <a:pt x="36000" y="36000"/>
                      </a:lnTo>
                      <a:lnTo>
                        <a:pt x="0" y="36000"/>
                      </a:lnTo>
                      <a:lnTo>
                        <a:pt x="0" y="0"/>
                      </a:lnTo>
                      <a:close/>
                    </a:path>
                  </a:pathLst>
                </a:custGeom>
                <a:grpFill/>
                <a:ln w="19050" cap="rnd">
                  <a:solidFill>
                    <a:schemeClr val="bg2"/>
                  </a:solidFill>
                  <a:prstDash val="solid"/>
                  <a:round/>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sz="1000"/>
                </a:p>
              </p:txBody>
            </p:sp>
            <p:cxnSp>
              <p:nvCxnSpPr>
                <p:cNvPr id="3086" name="Straight Connector 3085">
                  <a:extLst>
                    <a:ext uri="{FF2B5EF4-FFF2-40B4-BE49-F238E27FC236}">
                      <a16:creationId xmlns:a16="http://schemas.microsoft.com/office/drawing/2014/main" id="{83E5B8BD-1F95-4843-8B4C-5E78F42386DA}"/>
                    </a:ext>
                  </a:extLst>
                </p:cNvPr>
                <p:cNvCxnSpPr>
                  <a:cxnSpLocks/>
                </p:cNvCxnSpPr>
                <p:nvPr/>
              </p:nvCxnSpPr>
              <p:spPr bwMode="gray">
                <a:xfrm>
                  <a:off x="8003989" y="4307205"/>
                  <a:ext cx="0" cy="56807"/>
                </a:xfrm>
                <a:prstGeom prst="line">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3087" name="Group 3086">
                <a:extLst>
                  <a:ext uri="{FF2B5EF4-FFF2-40B4-BE49-F238E27FC236}">
                    <a16:creationId xmlns:a16="http://schemas.microsoft.com/office/drawing/2014/main" id="{F503E583-9C95-4A3D-ABE1-826AF5D0DC15}"/>
                  </a:ext>
                </a:extLst>
              </p:cNvPr>
              <p:cNvGrpSpPr>
                <a:grpSpLocks noChangeAspect="1"/>
              </p:cNvGrpSpPr>
              <p:nvPr/>
            </p:nvGrpSpPr>
            <p:grpSpPr bwMode="gray">
              <a:xfrm>
                <a:off x="7892618" y="4383405"/>
                <a:ext cx="118552" cy="46800"/>
                <a:chOff x="7925003" y="4307205"/>
                <a:chExt cx="143902" cy="56807"/>
              </a:xfrm>
              <a:solidFill>
                <a:schemeClr val="bg1"/>
              </a:solidFill>
            </p:grpSpPr>
            <p:sp>
              <p:nvSpPr>
                <p:cNvPr id="3088" name="Rectangle 3083">
                  <a:extLst>
                    <a:ext uri="{FF2B5EF4-FFF2-40B4-BE49-F238E27FC236}">
                      <a16:creationId xmlns:a16="http://schemas.microsoft.com/office/drawing/2014/main" id="{91FD610D-ECA8-4E01-AAB6-EE630057312A}"/>
                    </a:ext>
                  </a:extLst>
                </p:cNvPr>
                <p:cNvSpPr/>
                <p:nvPr/>
              </p:nvSpPr>
              <p:spPr bwMode="gray">
                <a:xfrm>
                  <a:off x="7925003" y="4329773"/>
                  <a:ext cx="100508" cy="11670"/>
                </a:xfrm>
                <a:custGeom>
                  <a:avLst/>
                  <a:gdLst>
                    <a:gd name="connsiteX0" fmla="*/ 0 w 100508"/>
                    <a:gd name="connsiteY0" fmla="*/ 0 h 11670"/>
                    <a:gd name="connsiteX1" fmla="*/ 100508 w 100508"/>
                    <a:gd name="connsiteY1" fmla="*/ 0 h 11670"/>
                    <a:gd name="connsiteX2" fmla="*/ 100508 w 100508"/>
                    <a:gd name="connsiteY2" fmla="*/ 11670 h 11670"/>
                    <a:gd name="connsiteX3" fmla="*/ 0 w 100508"/>
                    <a:gd name="connsiteY3" fmla="*/ 11670 h 11670"/>
                    <a:gd name="connsiteX4" fmla="*/ 0 w 100508"/>
                    <a:gd name="connsiteY4" fmla="*/ 0 h 11670"/>
                    <a:gd name="connsiteX0" fmla="*/ 0 w 100508"/>
                    <a:gd name="connsiteY0" fmla="*/ 0 h 13284"/>
                    <a:gd name="connsiteX1" fmla="*/ 100508 w 100508"/>
                    <a:gd name="connsiteY1" fmla="*/ 0 h 13284"/>
                    <a:gd name="connsiteX2" fmla="*/ 100508 w 100508"/>
                    <a:gd name="connsiteY2" fmla="*/ 11670 h 13284"/>
                    <a:gd name="connsiteX3" fmla="*/ 41870 w 100508"/>
                    <a:gd name="connsiteY3" fmla="*/ 13284 h 13284"/>
                    <a:gd name="connsiteX4" fmla="*/ 0 w 100508"/>
                    <a:gd name="connsiteY4" fmla="*/ 11670 h 13284"/>
                    <a:gd name="connsiteX5" fmla="*/ 0 w 100508"/>
                    <a:gd name="connsiteY5" fmla="*/ 0 h 13284"/>
                    <a:gd name="connsiteX0" fmla="*/ 0 w 100508"/>
                    <a:gd name="connsiteY0" fmla="*/ 0 h 11670"/>
                    <a:gd name="connsiteX1" fmla="*/ 100508 w 100508"/>
                    <a:gd name="connsiteY1" fmla="*/ 0 h 11670"/>
                    <a:gd name="connsiteX2" fmla="*/ 100508 w 100508"/>
                    <a:gd name="connsiteY2" fmla="*/ 11670 h 11670"/>
                    <a:gd name="connsiteX3" fmla="*/ 0 w 100508"/>
                    <a:gd name="connsiteY3" fmla="*/ 11670 h 11670"/>
                    <a:gd name="connsiteX4" fmla="*/ 0 w 100508"/>
                    <a:gd name="connsiteY4" fmla="*/ 0 h 11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08" h="11670">
                      <a:moveTo>
                        <a:pt x="0" y="0"/>
                      </a:moveTo>
                      <a:lnTo>
                        <a:pt x="100508" y="0"/>
                      </a:lnTo>
                      <a:lnTo>
                        <a:pt x="100508" y="11670"/>
                      </a:lnTo>
                      <a:lnTo>
                        <a:pt x="0" y="11670"/>
                      </a:lnTo>
                      <a:lnTo>
                        <a:pt x="0" y="0"/>
                      </a:lnTo>
                      <a:close/>
                    </a:path>
                  </a:pathLst>
                </a:custGeom>
                <a:grpFill/>
                <a:ln w="19050" cap="rnd">
                  <a:solidFill>
                    <a:schemeClr val="bg2"/>
                  </a:solidFill>
                  <a:prstDash val="solid"/>
                  <a:round/>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sz="1000"/>
                </a:p>
              </p:txBody>
            </p:sp>
            <p:sp>
              <p:nvSpPr>
                <p:cNvPr id="3089" name="Rectangle 3084">
                  <a:extLst>
                    <a:ext uri="{FF2B5EF4-FFF2-40B4-BE49-F238E27FC236}">
                      <a16:creationId xmlns:a16="http://schemas.microsoft.com/office/drawing/2014/main" id="{3420E5BB-17EE-4F88-8C4A-831E2DBAAA2A}"/>
                    </a:ext>
                  </a:extLst>
                </p:cNvPr>
                <p:cNvSpPr/>
                <p:nvPr/>
              </p:nvSpPr>
              <p:spPr bwMode="gray">
                <a:xfrm>
                  <a:off x="8032905" y="4317608"/>
                  <a:ext cx="36000" cy="36000"/>
                </a:xfrm>
                <a:custGeom>
                  <a:avLst/>
                  <a:gdLst>
                    <a:gd name="connsiteX0" fmla="*/ 0 w 36000"/>
                    <a:gd name="connsiteY0" fmla="*/ 0 h 36000"/>
                    <a:gd name="connsiteX1" fmla="*/ 36000 w 36000"/>
                    <a:gd name="connsiteY1" fmla="*/ 0 h 36000"/>
                    <a:gd name="connsiteX2" fmla="*/ 36000 w 36000"/>
                    <a:gd name="connsiteY2" fmla="*/ 36000 h 36000"/>
                    <a:gd name="connsiteX3" fmla="*/ 0 w 36000"/>
                    <a:gd name="connsiteY3" fmla="*/ 36000 h 36000"/>
                    <a:gd name="connsiteX4" fmla="*/ 0 w 36000"/>
                    <a:gd name="connsiteY4" fmla="*/ 0 h 36000"/>
                    <a:gd name="connsiteX0" fmla="*/ 0 w 36000"/>
                    <a:gd name="connsiteY0" fmla="*/ 0 h 36879"/>
                    <a:gd name="connsiteX1" fmla="*/ 36000 w 36000"/>
                    <a:gd name="connsiteY1" fmla="*/ 0 h 36879"/>
                    <a:gd name="connsiteX2" fmla="*/ 36000 w 36000"/>
                    <a:gd name="connsiteY2" fmla="*/ 36000 h 36879"/>
                    <a:gd name="connsiteX3" fmla="*/ 17788 w 36000"/>
                    <a:gd name="connsiteY3" fmla="*/ 36879 h 36879"/>
                    <a:gd name="connsiteX4" fmla="*/ 0 w 36000"/>
                    <a:gd name="connsiteY4" fmla="*/ 36000 h 36879"/>
                    <a:gd name="connsiteX5" fmla="*/ 0 w 36000"/>
                    <a:gd name="connsiteY5" fmla="*/ 0 h 36879"/>
                    <a:gd name="connsiteX0" fmla="*/ 0 w 36000"/>
                    <a:gd name="connsiteY0" fmla="*/ 0 h 36000"/>
                    <a:gd name="connsiteX1" fmla="*/ 36000 w 36000"/>
                    <a:gd name="connsiteY1" fmla="*/ 0 h 36000"/>
                    <a:gd name="connsiteX2" fmla="*/ 36000 w 36000"/>
                    <a:gd name="connsiteY2" fmla="*/ 36000 h 36000"/>
                    <a:gd name="connsiteX3" fmla="*/ 0 w 36000"/>
                    <a:gd name="connsiteY3" fmla="*/ 36000 h 36000"/>
                    <a:gd name="connsiteX4" fmla="*/ 0 w 36000"/>
                    <a:gd name="connsiteY4" fmla="*/ 0 h 3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000" h="36000">
                      <a:moveTo>
                        <a:pt x="0" y="0"/>
                      </a:moveTo>
                      <a:lnTo>
                        <a:pt x="36000" y="0"/>
                      </a:lnTo>
                      <a:lnTo>
                        <a:pt x="36000" y="36000"/>
                      </a:lnTo>
                      <a:lnTo>
                        <a:pt x="0" y="36000"/>
                      </a:lnTo>
                      <a:lnTo>
                        <a:pt x="0" y="0"/>
                      </a:lnTo>
                      <a:close/>
                    </a:path>
                  </a:pathLst>
                </a:custGeom>
                <a:grpFill/>
                <a:ln w="19050" cap="rnd">
                  <a:solidFill>
                    <a:schemeClr val="bg2"/>
                  </a:solidFill>
                  <a:prstDash val="solid"/>
                  <a:round/>
                  <a:headEnd/>
                  <a:tailEnd/>
                </a:ln>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sz="1000"/>
                </a:p>
              </p:txBody>
            </p:sp>
            <p:cxnSp>
              <p:nvCxnSpPr>
                <p:cNvPr id="3090" name="Straight Connector 3089">
                  <a:extLst>
                    <a:ext uri="{FF2B5EF4-FFF2-40B4-BE49-F238E27FC236}">
                      <a16:creationId xmlns:a16="http://schemas.microsoft.com/office/drawing/2014/main" id="{9476DC48-D781-4E84-86CE-3F51882E590F}"/>
                    </a:ext>
                  </a:extLst>
                </p:cNvPr>
                <p:cNvCxnSpPr>
                  <a:cxnSpLocks/>
                </p:cNvCxnSpPr>
                <p:nvPr/>
              </p:nvCxnSpPr>
              <p:spPr bwMode="gray">
                <a:xfrm>
                  <a:off x="8003989" y="4307205"/>
                  <a:ext cx="0" cy="56807"/>
                </a:xfrm>
                <a:prstGeom prst="line">
                  <a:avLst/>
                </a:prstGeom>
                <a:grpFill/>
                <a:ln w="127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91" name="Rectangle: Rounded Corners 3090">
                <a:extLst>
                  <a:ext uri="{FF2B5EF4-FFF2-40B4-BE49-F238E27FC236}">
                    <a16:creationId xmlns:a16="http://schemas.microsoft.com/office/drawing/2014/main" id="{CE17973D-C25E-4BAC-9391-00C8B14EFC63}"/>
                  </a:ext>
                </a:extLst>
              </p:cNvPr>
              <p:cNvSpPr/>
              <p:nvPr/>
            </p:nvSpPr>
            <p:spPr bwMode="gray">
              <a:xfrm>
                <a:off x="6433870" y="5702025"/>
                <a:ext cx="438144" cy="120212"/>
              </a:xfrm>
              <a:prstGeom prst="roundRect">
                <a:avLst>
                  <a:gd name="adj" fmla="val 50000"/>
                </a:avLst>
              </a:prstGeom>
              <a:solidFill>
                <a:schemeClr val="bg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err="1"/>
              </a:p>
            </p:txBody>
          </p:sp>
          <p:sp>
            <p:nvSpPr>
              <p:cNvPr id="3092" name="Isosceles Triangle 3091">
                <a:extLst>
                  <a:ext uri="{FF2B5EF4-FFF2-40B4-BE49-F238E27FC236}">
                    <a16:creationId xmlns:a16="http://schemas.microsoft.com/office/drawing/2014/main" id="{4F50B994-B1C5-4609-9369-52ECFA9F84EB}"/>
                  </a:ext>
                </a:extLst>
              </p:cNvPr>
              <p:cNvSpPr/>
              <p:nvPr/>
            </p:nvSpPr>
            <p:spPr bwMode="gray">
              <a:xfrm rot="5400000">
                <a:off x="7665009" y="5644035"/>
                <a:ext cx="80650" cy="52559"/>
              </a:xfrm>
              <a:prstGeom prst="triangl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err="1"/>
              </a:p>
            </p:txBody>
          </p:sp>
          <p:sp>
            <p:nvSpPr>
              <p:cNvPr id="3093" name="Isosceles Triangle 3092">
                <a:extLst>
                  <a:ext uri="{FF2B5EF4-FFF2-40B4-BE49-F238E27FC236}">
                    <a16:creationId xmlns:a16="http://schemas.microsoft.com/office/drawing/2014/main" id="{F9F7CB17-EEBB-48BA-9D33-F4BA90979B19}"/>
                  </a:ext>
                </a:extLst>
              </p:cNvPr>
              <p:cNvSpPr/>
              <p:nvPr/>
            </p:nvSpPr>
            <p:spPr bwMode="gray">
              <a:xfrm rot="16200000" flipH="1">
                <a:off x="7715846" y="5644037"/>
                <a:ext cx="80650" cy="52559"/>
              </a:xfrm>
              <a:prstGeom prst="triangle">
                <a:avLst/>
              </a:prstGeom>
              <a:solidFill>
                <a:schemeClr val="bg1"/>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err="1"/>
              </a:p>
            </p:txBody>
          </p:sp>
          <p:sp>
            <p:nvSpPr>
              <p:cNvPr id="3094" name="Rectangle 3093">
                <a:extLst>
                  <a:ext uri="{FF2B5EF4-FFF2-40B4-BE49-F238E27FC236}">
                    <a16:creationId xmlns:a16="http://schemas.microsoft.com/office/drawing/2014/main" id="{AC6F9F83-21E3-41CD-BDFF-7A28CDF674AD}"/>
                  </a:ext>
                </a:extLst>
              </p:cNvPr>
              <p:cNvSpPr/>
              <p:nvPr/>
            </p:nvSpPr>
            <p:spPr bwMode="gray">
              <a:xfrm>
                <a:off x="6944882" y="5723746"/>
                <a:ext cx="76770" cy="76770"/>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err="1"/>
              </a:p>
            </p:txBody>
          </p:sp>
          <p:cxnSp>
            <p:nvCxnSpPr>
              <p:cNvPr id="3096" name="Connector: Elbow 3095">
                <a:extLst>
                  <a:ext uri="{FF2B5EF4-FFF2-40B4-BE49-F238E27FC236}">
                    <a16:creationId xmlns:a16="http://schemas.microsoft.com/office/drawing/2014/main" id="{4795F353-C759-4B46-BCCF-515443D597F4}"/>
                  </a:ext>
                </a:extLst>
              </p:cNvPr>
              <p:cNvCxnSpPr>
                <a:cxnSpLocks/>
                <a:stCxn id="3094" idx="0"/>
                <a:endCxn id="3092" idx="3"/>
              </p:cNvCxnSpPr>
              <p:nvPr/>
            </p:nvCxnSpPr>
            <p:spPr bwMode="gray">
              <a:xfrm rot="5400000" flipH="1" flipV="1">
                <a:off x="7304446" y="5349137"/>
                <a:ext cx="53431" cy="695788"/>
              </a:xfrm>
              <a:prstGeom prst="bentConnector2">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3099" name="Straight Connector 3098">
                <a:extLst>
                  <a:ext uri="{FF2B5EF4-FFF2-40B4-BE49-F238E27FC236}">
                    <a16:creationId xmlns:a16="http://schemas.microsoft.com/office/drawing/2014/main" id="{7E152CFA-81A3-49F1-AE26-849B55936B12}"/>
                  </a:ext>
                </a:extLst>
              </p:cNvPr>
              <p:cNvCxnSpPr>
                <a:stCxn id="3091" idx="3"/>
                <a:endCxn id="3094" idx="1"/>
              </p:cNvCxnSpPr>
              <p:nvPr/>
            </p:nvCxnSpPr>
            <p:spPr bwMode="gray">
              <a:xfrm>
                <a:off x="6872014" y="5762131"/>
                <a:ext cx="72868" cy="0"/>
              </a:xfrm>
              <a:prstGeom prst="lin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3101" name="Straight Connector 3100">
                <a:extLst>
                  <a:ext uri="{FF2B5EF4-FFF2-40B4-BE49-F238E27FC236}">
                    <a16:creationId xmlns:a16="http://schemas.microsoft.com/office/drawing/2014/main" id="{133A441F-55D3-4296-A54E-631A67969ED5}"/>
                  </a:ext>
                </a:extLst>
              </p:cNvPr>
              <p:cNvCxnSpPr>
                <a:stCxn id="3093" idx="3"/>
              </p:cNvCxnSpPr>
              <p:nvPr/>
            </p:nvCxnSpPr>
            <p:spPr bwMode="gray">
              <a:xfrm flipV="1">
                <a:off x="7782451" y="5670315"/>
                <a:ext cx="60434" cy="2"/>
              </a:xfrm>
              <a:prstGeom prst="lin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3107" name="Gleichschenkliges Dreieck 23">
                <a:extLst>
                  <a:ext uri="{FF2B5EF4-FFF2-40B4-BE49-F238E27FC236}">
                    <a16:creationId xmlns:a16="http://schemas.microsoft.com/office/drawing/2014/main" id="{4788FBC4-BA68-4A1B-9318-F8F7C62FD0E6}"/>
                  </a:ext>
                </a:extLst>
              </p:cNvPr>
              <p:cNvSpPr/>
              <p:nvPr/>
            </p:nvSpPr>
            <p:spPr bwMode="gray">
              <a:xfrm rot="16200000" flipH="1" flipV="1">
                <a:off x="7869491" y="4269129"/>
                <a:ext cx="193601" cy="197664"/>
              </a:xfrm>
              <a:custGeom>
                <a:avLst/>
                <a:gdLst>
                  <a:gd name="connsiteX0" fmla="*/ 122460 w 312332"/>
                  <a:gd name="connsiteY0" fmla="*/ 105570 h 2023936"/>
                  <a:gd name="connsiteX1" fmla="*/ 93255 w 312332"/>
                  <a:gd name="connsiteY1" fmla="*/ 105570 h 2023936"/>
                  <a:gd name="connsiteX2" fmla="*/ 117710 w 312332"/>
                  <a:gd name="connsiteY2" fmla="*/ 494360 h 2023936"/>
                  <a:gd name="connsiteX3" fmla="*/ 297444 w 312332"/>
                  <a:gd name="connsiteY3" fmla="*/ 1649253 h 2023936"/>
                  <a:gd name="connsiteX4" fmla="*/ 298451 w 312332"/>
                  <a:gd name="connsiteY4" fmla="*/ 2023936 h 2023936"/>
                  <a:gd name="connsiteX5" fmla="*/ 268032 w 312332"/>
                  <a:gd name="connsiteY5" fmla="*/ 1616406 h 2023936"/>
                  <a:gd name="connsiteX6" fmla="*/ 113315 w 312332"/>
                  <a:gd name="connsiteY6" fmla="*/ 839100 h 2023936"/>
                  <a:gd name="connsiteX7" fmla="*/ 29756 w 312332"/>
                  <a:gd name="connsiteY7" fmla="*/ 105570 h 2023936"/>
                  <a:gd name="connsiteX8" fmla="*/ 0 w 312332"/>
                  <a:gd name="connsiteY8" fmla="*/ 105570 h 2023936"/>
                  <a:gd name="connsiteX9" fmla="*/ 67316 w 312332"/>
                  <a:gd name="connsiteY9" fmla="*/ 0 h 2023936"/>
                  <a:gd name="connsiteX10" fmla="*/ 122460 w 312332"/>
                  <a:gd name="connsiteY10" fmla="*/ 105570 h 2023936"/>
                  <a:gd name="connsiteX0" fmla="*/ 122460 w 312333"/>
                  <a:gd name="connsiteY0" fmla="*/ 105570 h 2023936"/>
                  <a:gd name="connsiteX1" fmla="*/ 93255 w 312333"/>
                  <a:gd name="connsiteY1" fmla="*/ 105570 h 2023936"/>
                  <a:gd name="connsiteX2" fmla="*/ 117710 w 312333"/>
                  <a:gd name="connsiteY2" fmla="*/ 494360 h 2023936"/>
                  <a:gd name="connsiteX3" fmla="*/ 297444 w 312333"/>
                  <a:gd name="connsiteY3" fmla="*/ 1649253 h 2023936"/>
                  <a:gd name="connsiteX4" fmla="*/ 298451 w 312333"/>
                  <a:gd name="connsiteY4" fmla="*/ 2023936 h 2023936"/>
                  <a:gd name="connsiteX5" fmla="*/ 268032 w 312333"/>
                  <a:gd name="connsiteY5" fmla="*/ 1616406 h 2023936"/>
                  <a:gd name="connsiteX6" fmla="*/ 63923 w 312333"/>
                  <a:gd name="connsiteY6" fmla="*/ 567440 h 2023936"/>
                  <a:gd name="connsiteX7" fmla="*/ 29756 w 312333"/>
                  <a:gd name="connsiteY7" fmla="*/ 105570 h 2023936"/>
                  <a:gd name="connsiteX8" fmla="*/ 0 w 312333"/>
                  <a:gd name="connsiteY8" fmla="*/ 105570 h 2023936"/>
                  <a:gd name="connsiteX9" fmla="*/ 67316 w 312333"/>
                  <a:gd name="connsiteY9" fmla="*/ 0 h 2023936"/>
                  <a:gd name="connsiteX10" fmla="*/ 122460 w 312333"/>
                  <a:gd name="connsiteY10" fmla="*/ 105570 h 2023936"/>
                  <a:gd name="connsiteX0" fmla="*/ 122460 w 312333"/>
                  <a:gd name="connsiteY0" fmla="*/ 105570 h 2023936"/>
                  <a:gd name="connsiteX1" fmla="*/ 93255 w 312333"/>
                  <a:gd name="connsiteY1" fmla="*/ 105570 h 2023936"/>
                  <a:gd name="connsiteX2" fmla="*/ 117710 w 312333"/>
                  <a:gd name="connsiteY2" fmla="*/ 494360 h 2023936"/>
                  <a:gd name="connsiteX3" fmla="*/ 297444 w 312333"/>
                  <a:gd name="connsiteY3" fmla="*/ 1649253 h 2023936"/>
                  <a:gd name="connsiteX4" fmla="*/ 298451 w 312333"/>
                  <a:gd name="connsiteY4" fmla="*/ 2023936 h 2023936"/>
                  <a:gd name="connsiteX5" fmla="*/ 119854 w 312333"/>
                  <a:gd name="connsiteY5" fmla="*/ 801425 h 2023936"/>
                  <a:gd name="connsiteX6" fmla="*/ 63923 w 312333"/>
                  <a:gd name="connsiteY6" fmla="*/ 567440 h 2023936"/>
                  <a:gd name="connsiteX7" fmla="*/ 29756 w 312333"/>
                  <a:gd name="connsiteY7" fmla="*/ 105570 h 2023936"/>
                  <a:gd name="connsiteX8" fmla="*/ 0 w 312333"/>
                  <a:gd name="connsiteY8" fmla="*/ 105570 h 2023936"/>
                  <a:gd name="connsiteX9" fmla="*/ 67316 w 312333"/>
                  <a:gd name="connsiteY9" fmla="*/ 0 h 2023936"/>
                  <a:gd name="connsiteX10" fmla="*/ 122460 w 312333"/>
                  <a:gd name="connsiteY10" fmla="*/ 105570 h 2023936"/>
                  <a:gd name="connsiteX0" fmla="*/ 122460 w 312333"/>
                  <a:gd name="connsiteY0" fmla="*/ 105570 h 2023936"/>
                  <a:gd name="connsiteX1" fmla="*/ 93255 w 312333"/>
                  <a:gd name="connsiteY1" fmla="*/ 105570 h 2023936"/>
                  <a:gd name="connsiteX2" fmla="*/ 117710 w 312333"/>
                  <a:gd name="connsiteY2" fmla="*/ 494360 h 2023936"/>
                  <a:gd name="connsiteX3" fmla="*/ 297444 w 312333"/>
                  <a:gd name="connsiteY3" fmla="*/ 1649253 h 2023936"/>
                  <a:gd name="connsiteX4" fmla="*/ 298451 w 312333"/>
                  <a:gd name="connsiteY4" fmla="*/ 2023936 h 2023936"/>
                  <a:gd name="connsiteX5" fmla="*/ 119854 w 312333"/>
                  <a:gd name="connsiteY5" fmla="*/ 801425 h 2023936"/>
                  <a:gd name="connsiteX6" fmla="*/ 63923 w 312333"/>
                  <a:gd name="connsiteY6" fmla="*/ 567440 h 2023936"/>
                  <a:gd name="connsiteX7" fmla="*/ 29756 w 312333"/>
                  <a:gd name="connsiteY7" fmla="*/ 105570 h 2023936"/>
                  <a:gd name="connsiteX8" fmla="*/ 0 w 312333"/>
                  <a:gd name="connsiteY8" fmla="*/ 105570 h 2023936"/>
                  <a:gd name="connsiteX9" fmla="*/ 67316 w 312333"/>
                  <a:gd name="connsiteY9" fmla="*/ 0 h 2023936"/>
                  <a:gd name="connsiteX10" fmla="*/ 122460 w 312333"/>
                  <a:gd name="connsiteY10" fmla="*/ 105570 h 2023936"/>
                  <a:gd name="connsiteX0" fmla="*/ 122460 w 312333"/>
                  <a:gd name="connsiteY0" fmla="*/ 105570 h 2023936"/>
                  <a:gd name="connsiteX1" fmla="*/ 93255 w 312333"/>
                  <a:gd name="connsiteY1" fmla="*/ 105570 h 2023936"/>
                  <a:gd name="connsiteX2" fmla="*/ 117710 w 312333"/>
                  <a:gd name="connsiteY2" fmla="*/ 494360 h 2023936"/>
                  <a:gd name="connsiteX3" fmla="*/ 297444 w 312333"/>
                  <a:gd name="connsiteY3" fmla="*/ 1649253 h 2023936"/>
                  <a:gd name="connsiteX4" fmla="*/ 298451 w 312333"/>
                  <a:gd name="connsiteY4" fmla="*/ 2023936 h 2023936"/>
                  <a:gd name="connsiteX5" fmla="*/ 119854 w 312333"/>
                  <a:gd name="connsiteY5" fmla="*/ 801425 h 2023936"/>
                  <a:gd name="connsiteX6" fmla="*/ 44165 w 312333"/>
                  <a:gd name="connsiteY6" fmla="*/ 429140 h 2023936"/>
                  <a:gd name="connsiteX7" fmla="*/ 29756 w 312333"/>
                  <a:gd name="connsiteY7" fmla="*/ 105570 h 2023936"/>
                  <a:gd name="connsiteX8" fmla="*/ 0 w 312333"/>
                  <a:gd name="connsiteY8" fmla="*/ 105570 h 2023936"/>
                  <a:gd name="connsiteX9" fmla="*/ 67316 w 312333"/>
                  <a:gd name="connsiteY9" fmla="*/ 0 h 2023936"/>
                  <a:gd name="connsiteX10" fmla="*/ 122460 w 312333"/>
                  <a:gd name="connsiteY10" fmla="*/ 105570 h 2023936"/>
                  <a:gd name="connsiteX0" fmla="*/ 122460 w 313059"/>
                  <a:gd name="connsiteY0" fmla="*/ 105570 h 2023936"/>
                  <a:gd name="connsiteX1" fmla="*/ 93255 w 313059"/>
                  <a:gd name="connsiteY1" fmla="*/ 105570 h 2023936"/>
                  <a:gd name="connsiteX2" fmla="*/ 107831 w 313059"/>
                  <a:gd name="connsiteY2" fmla="*/ 444968 h 2023936"/>
                  <a:gd name="connsiteX3" fmla="*/ 297444 w 313059"/>
                  <a:gd name="connsiteY3" fmla="*/ 1649253 h 2023936"/>
                  <a:gd name="connsiteX4" fmla="*/ 298451 w 313059"/>
                  <a:gd name="connsiteY4" fmla="*/ 2023936 h 2023936"/>
                  <a:gd name="connsiteX5" fmla="*/ 119854 w 313059"/>
                  <a:gd name="connsiteY5" fmla="*/ 801425 h 2023936"/>
                  <a:gd name="connsiteX6" fmla="*/ 44165 w 313059"/>
                  <a:gd name="connsiteY6" fmla="*/ 429140 h 2023936"/>
                  <a:gd name="connsiteX7" fmla="*/ 29756 w 313059"/>
                  <a:gd name="connsiteY7" fmla="*/ 105570 h 2023936"/>
                  <a:gd name="connsiteX8" fmla="*/ 0 w 313059"/>
                  <a:gd name="connsiteY8" fmla="*/ 105570 h 2023936"/>
                  <a:gd name="connsiteX9" fmla="*/ 67316 w 313059"/>
                  <a:gd name="connsiteY9" fmla="*/ 0 h 2023936"/>
                  <a:gd name="connsiteX10" fmla="*/ 122460 w 313059"/>
                  <a:gd name="connsiteY10" fmla="*/ 105570 h 2023936"/>
                  <a:gd name="connsiteX0" fmla="*/ 122460 w 313059"/>
                  <a:gd name="connsiteY0" fmla="*/ 105570 h 2023936"/>
                  <a:gd name="connsiteX1" fmla="*/ 93255 w 313059"/>
                  <a:gd name="connsiteY1" fmla="*/ 105570 h 2023936"/>
                  <a:gd name="connsiteX2" fmla="*/ 107831 w 313059"/>
                  <a:gd name="connsiteY2" fmla="*/ 444968 h 2023936"/>
                  <a:gd name="connsiteX3" fmla="*/ 297444 w 313059"/>
                  <a:gd name="connsiteY3" fmla="*/ 1649253 h 2023936"/>
                  <a:gd name="connsiteX4" fmla="*/ 298451 w 313059"/>
                  <a:gd name="connsiteY4" fmla="*/ 2023936 h 2023936"/>
                  <a:gd name="connsiteX5" fmla="*/ 119854 w 313059"/>
                  <a:gd name="connsiteY5" fmla="*/ 801425 h 2023936"/>
                  <a:gd name="connsiteX6" fmla="*/ 44165 w 313059"/>
                  <a:gd name="connsiteY6" fmla="*/ 429140 h 2023936"/>
                  <a:gd name="connsiteX7" fmla="*/ 29756 w 313059"/>
                  <a:gd name="connsiteY7" fmla="*/ 105570 h 2023936"/>
                  <a:gd name="connsiteX8" fmla="*/ 0 w 313059"/>
                  <a:gd name="connsiteY8" fmla="*/ 105570 h 2023936"/>
                  <a:gd name="connsiteX9" fmla="*/ 67316 w 313059"/>
                  <a:gd name="connsiteY9" fmla="*/ 0 h 2023936"/>
                  <a:gd name="connsiteX10" fmla="*/ 122460 w 313059"/>
                  <a:gd name="connsiteY10" fmla="*/ 105570 h 2023936"/>
                  <a:gd name="connsiteX0" fmla="*/ 122460 w 298615"/>
                  <a:gd name="connsiteY0" fmla="*/ 105570 h 2023936"/>
                  <a:gd name="connsiteX1" fmla="*/ 93255 w 298615"/>
                  <a:gd name="connsiteY1" fmla="*/ 105570 h 2023936"/>
                  <a:gd name="connsiteX2" fmla="*/ 107831 w 298615"/>
                  <a:gd name="connsiteY2" fmla="*/ 444968 h 2023936"/>
                  <a:gd name="connsiteX3" fmla="*/ 159145 w 298615"/>
                  <a:gd name="connsiteY3" fmla="*/ 844151 h 2023936"/>
                  <a:gd name="connsiteX4" fmla="*/ 298451 w 298615"/>
                  <a:gd name="connsiteY4" fmla="*/ 2023936 h 2023936"/>
                  <a:gd name="connsiteX5" fmla="*/ 119854 w 298615"/>
                  <a:gd name="connsiteY5" fmla="*/ 801425 h 2023936"/>
                  <a:gd name="connsiteX6" fmla="*/ 44165 w 298615"/>
                  <a:gd name="connsiteY6" fmla="*/ 429140 h 2023936"/>
                  <a:gd name="connsiteX7" fmla="*/ 29756 w 298615"/>
                  <a:gd name="connsiteY7" fmla="*/ 105570 h 2023936"/>
                  <a:gd name="connsiteX8" fmla="*/ 0 w 298615"/>
                  <a:gd name="connsiteY8" fmla="*/ 105570 h 2023936"/>
                  <a:gd name="connsiteX9" fmla="*/ 67316 w 298615"/>
                  <a:gd name="connsiteY9" fmla="*/ 0 h 2023936"/>
                  <a:gd name="connsiteX10" fmla="*/ 122460 w 298615"/>
                  <a:gd name="connsiteY10" fmla="*/ 105570 h 2023936"/>
                  <a:gd name="connsiteX0" fmla="*/ 122460 w 161464"/>
                  <a:gd name="connsiteY0" fmla="*/ 105570 h 1045960"/>
                  <a:gd name="connsiteX1" fmla="*/ 93255 w 161464"/>
                  <a:gd name="connsiteY1" fmla="*/ 105570 h 1045960"/>
                  <a:gd name="connsiteX2" fmla="*/ 107831 w 161464"/>
                  <a:gd name="connsiteY2" fmla="*/ 444968 h 1045960"/>
                  <a:gd name="connsiteX3" fmla="*/ 159145 w 161464"/>
                  <a:gd name="connsiteY3" fmla="*/ 844151 h 1045960"/>
                  <a:gd name="connsiteX4" fmla="*/ 150274 w 161464"/>
                  <a:gd name="connsiteY4" fmla="*/ 1045960 h 1045960"/>
                  <a:gd name="connsiteX5" fmla="*/ 119854 w 161464"/>
                  <a:gd name="connsiteY5" fmla="*/ 801425 h 1045960"/>
                  <a:gd name="connsiteX6" fmla="*/ 44165 w 161464"/>
                  <a:gd name="connsiteY6" fmla="*/ 429140 h 1045960"/>
                  <a:gd name="connsiteX7" fmla="*/ 29756 w 161464"/>
                  <a:gd name="connsiteY7" fmla="*/ 105570 h 1045960"/>
                  <a:gd name="connsiteX8" fmla="*/ 0 w 161464"/>
                  <a:gd name="connsiteY8" fmla="*/ 105570 h 1045960"/>
                  <a:gd name="connsiteX9" fmla="*/ 67316 w 161464"/>
                  <a:gd name="connsiteY9" fmla="*/ 0 h 1045960"/>
                  <a:gd name="connsiteX10" fmla="*/ 122460 w 161464"/>
                  <a:gd name="connsiteY10" fmla="*/ 105570 h 1045960"/>
                  <a:gd name="connsiteX0" fmla="*/ 122460 w 161464"/>
                  <a:gd name="connsiteY0" fmla="*/ 105570 h 1045960"/>
                  <a:gd name="connsiteX1" fmla="*/ 93255 w 161464"/>
                  <a:gd name="connsiteY1" fmla="*/ 105570 h 1045960"/>
                  <a:gd name="connsiteX2" fmla="*/ 107831 w 161464"/>
                  <a:gd name="connsiteY2" fmla="*/ 444968 h 1045960"/>
                  <a:gd name="connsiteX3" fmla="*/ 159145 w 161464"/>
                  <a:gd name="connsiteY3" fmla="*/ 844151 h 1045960"/>
                  <a:gd name="connsiteX4" fmla="*/ 150274 w 161464"/>
                  <a:gd name="connsiteY4" fmla="*/ 1045960 h 1045960"/>
                  <a:gd name="connsiteX5" fmla="*/ 95158 w 161464"/>
                  <a:gd name="connsiteY5" fmla="*/ 742154 h 1045960"/>
                  <a:gd name="connsiteX6" fmla="*/ 44165 w 161464"/>
                  <a:gd name="connsiteY6" fmla="*/ 429140 h 1045960"/>
                  <a:gd name="connsiteX7" fmla="*/ 29756 w 161464"/>
                  <a:gd name="connsiteY7" fmla="*/ 105570 h 1045960"/>
                  <a:gd name="connsiteX8" fmla="*/ 0 w 161464"/>
                  <a:gd name="connsiteY8" fmla="*/ 105570 h 1045960"/>
                  <a:gd name="connsiteX9" fmla="*/ 67316 w 161464"/>
                  <a:gd name="connsiteY9" fmla="*/ 0 h 1045960"/>
                  <a:gd name="connsiteX10" fmla="*/ 122460 w 161464"/>
                  <a:gd name="connsiteY10" fmla="*/ 105570 h 1045960"/>
                  <a:gd name="connsiteX0" fmla="*/ 122460 w 159237"/>
                  <a:gd name="connsiteY0" fmla="*/ 105570 h 1065717"/>
                  <a:gd name="connsiteX1" fmla="*/ 93255 w 159237"/>
                  <a:gd name="connsiteY1" fmla="*/ 105570 h 1065717"/>
                  <a:gd name="connsiteX2" fmla="*/ 107831 w 159237"/>
                  <a:gd name="connsiteY2" fmla="*/ 444968 h 1065717"/>
                  <a:gd name="connsiteX3" fmla="*/ 159145 w 159237"/>
                  <a:gd name="connsiteY3" fmla="*/ 844151 h 1065717"/>
                  <a:gd name="connsiteX4" fmla="*/ 120638 w 159237"/>
                  <a:gd name="connsiteY4" fmla="*/ 1065717 h 1065717"/>
                  <a:gd name="connsiteX5" fmla="*/ 95158 w 159237"/>
                  <a:gd name="connsiteY5" fmla="*/ 742154 h 1065717"/>
                  <a:gd name="connsiteX6" fmla="*/ 44165 w 159237"/>
                  <a:gd name="connsiteY6" fmla="*/ 429140 h 1065717"/>
                  <a:gd name="connsiteX7" fmla="*/ 29756 w 159237"/>
                  <a:gd name="connsiteY7" fmla="*/ 105570 h 1065717"/>
                  <a:gd name="connsiteX8" fmla="*/ 0 w 159237"/>
                  <a:gd name="connsiteY8" fmla="*/ 105570 h 1065717"/>
                  <a:gd name="connsiteX9" fmla="*/ 67316 w 159237"/>
                  <a:gd name="connsiteY9" fmla="*/ 0 h 1065717"/>
                  <a:gd name="connsiteX10" fmla="*/ 122460 w 159237"/>
                  <a:gd name="connsiteY10" fmla="*/ 105570 h 1065717"/>
                  <a:gd name="connsiteX0" fmla="*/ 122460 w 134722"/>
                  <a:gd name="connsiteY0" fmla="*/ 105570 h 1065717"/>
                  <a:gd name="connsiteX1" fmla="*/ 93255 w 134722"/>
                  <a:gd name="connsiteY1" fmla="*/ 105570 h 1065717"/>
                  <a:gd name="connsiteX2" fmla="*/ 107831 w 134722"/>
                  <a:gd name="connsiteY2" fmla="*/ 444968 h 1065717"/>
                  <a:gd name="connsiteX3" fmla="*/ 134449 w 134722"/>
                  <a:gd name="connsiteY3" fmla="*/ 839212 h 1065717"/>
                  <a:gd name="connsiteX4" fmla="*/ 120638 w 134722"/>
                  <a:gd name="connsiteY4" fmla="*/ 1065717 h 1065717"/>
                  <a:gd name="connsiteX5" fmla="*/ 95158 w 134722"/>
                  <a:gd name="connsiteY5" fmla="*/ 742154 h 1065717"/>
                  <a:gd name="connsiteX6" fmla="*/ 44165 w 134722"/>
                  <a:gd name="connsiteY6" fmla="*/ 429140 h 1065717"/>
                  <a:gd name="connsiteX7" fmla="*/ 29756 w 134722"/>
                  <a:gd name="connsiteY7" fmla="*/ 105570 h 1065717"/>
                  <a:gd name="connsiteX8" fmla="*/ 0 w 134722"/>
                  <a:gd name="connsiteY8" fmla="*/ 105570 h 1065717"/>
                  <a:gd name="connsiteX9" fmla="*/ 67316 w 134722"/>
                  <a:gd name="connsiteY9" fmla="*/ 0 h 1065717"/>
                  <a:gd name="connsiteX10" fmla="*/ 122460 w 134722"/>
                  <a:gd name="connsiteY10" fmla="*/ 105570 h 1065717"/>
                  <a:gd name="connsiteX0" fmla="*/ 122460 w 135666"/>
                  <a:gd name="connsiteY0" fmla="*/ 105570 h 1065717"/>
                  <a:gd name="connsiteX1" fmla="*/ 93255 w 135666"/>
                  <a:gd name="connsiteY1" fmla="*/ 105570 h 1065717"/>
                  <a:gd name="connsiteX2" fmla="*/ 88074 w 135666"/>
                  <a:gd name="connsiteY2" fmla="*/ 380757 h 1065717"/>
                  <a:gd name="connsiteX3" fmla="*/ 134449 w 135666"/>
                  <a:gd name="connsiteY3" fmla="*/ 839212 h 1065717"/>
                  <a:gd name="connsiteX4" fmla="*/ 120638 w 135666"/>
                  <a:gd name="connsiteY4" fmla="*/ 1065717 h 1065717"/>
                  <a:gd name="connsiteX5" fmla="*/ 95158 w 135666"/>
                  <a:gd name="connsiteY5" fmla="*/ 742154 h 1065717"/>
                  <a:gd name="connsiteX6" fmla="*/ 44165 w 135666"/>
                  <a:gd name="connsiteY6" fmla="*/ 429140 h 1065717"/>
                  <a:gd name="connsiteX7" fmla="*/ 29756 w 135666"/>
                  <a:gd name="connsiteY7" fmla="*/ 105570 h 1065717"/>
                  <a:gd name="connsiteX8" fmla="*/ 0 w 135666"/>
                  <a:gd name="connsiteY8" fmla="*/ 105570 h 1065717"/>
                  <a:gd name="connsiteX9" fmla="*/ 67316 w 135666"/>
                  <a:gd name="connsiteY9" fmla="*/ 0 h 1065717"/>
                  <a:gd name="connsiteX10" fmla="*/ 122460 w 135666"/>
                  <a:gd name="connsiteY10" fmla="*/ 105570 h 1065717"/>
                  <a:gd name="connsiteX0" fmla="*/ 122460 w 129041"/>
                  <a:gd name="connsiteY0" fmla="*/ 105570 h 1065717"/>
                  <a:gd name="connsiteX1" fmla="*/ 93255 w 129041"/>
                  <a:gd name="connsiteY1" fmla="*/ 105570 h 1065717"/>
                  <a:gd name="connsiteX2" fmla="*/ 88074 w 129041"/>
                  <a:gd name="connsiteY2" fmla="*/ 380757 h 1065717"/>
                  <a:gd name="connsiteX3" fmla="*/ 127040 w 129041"/>
                  <a:gd name="connsiteY3" fmla="*/ 809576 h 1065717"/>
                  <a:gd name="connsiteX4" fmla="*/ 120638 w 129041"/>
                  <a:gd name="connsiteY4" fmla="*/ 1065717 h 1065717"/>
                  <a:gd name="connsiteX5" fmla="*/ 95158 w 129041"/>
                  <a:gd name="connsiteY5" fmla="*/ 742154 h 1065717"/>
                  <a:gd name="connsiteX6" fmla="*/ 44165 w 129041"/>
                  <a:gd name="connsiteY6" fmla="*/ 429140 h 1065717"/>
                  <a:gd name="connsiteX7" fmla="*/ 29756 w 129041"/>
                  <a:gd name="connsiteY7" fmla="*/ 105570 h 1065717"/>
                  <a:gd name="connsiteX8" fmla="*/ 0 w 129041"/>
                  <a:gd name="connsiteY8" fmla="*/ 105570 h 1065717"/>
                  <a:gd name="connsiteX9" fmla="*/ 67316 w 129041"/>
                  <a:gd name="connsiteY9" fmla="*/ 0 h 1065717"/>
                  <a:gd name="connsiteX10" fmla="*/ 122460 w 129041"/>
                  <a:gd name="connsiteY10" fmla="*/ 105570 h 1065717"/>
                  <a:gd name="connsiteX0" fmla="*/ 122460 w 128346"/>
                  <a:gd name="connsiteY0" fmla="*/ 105570 h 1065717"/>
                  <a:gd name="connsiteX1" fmla="*/ 93255 w 128346"/>
                  <a:gd name="connsiteY1" fmla="*/ 105570 h 1065717"/>
                  <a:gd name="connsiteX2" fmla="*/ 97952 w 128346"/>
                  <a:gd name="connsiteY2" fmla="*/ 412863 h 1065717"/>
                  <a:gd name="connsiteX3" fmla="*/ 127040 w 128346"/>
                  <a:gd name="connsiteY3" fmla="*/ 809576 h 1065717"/>
                  <a:gd name="connsiteX4" fmla="*/ 120638 w 128346"/>
                  <a:gd name="connsiteY4" fmla="*/ 1065717 h 1065717"/>
                  <a:gd name="connsiteX5" fmla="*/ 95158 w 128346"/>
                  <a:gd name="connsiteY5" fmla="*/ 742154 h 1065717"/>
                  <a:gd name="connsiteX6" fmla="*/ 44165 w 128346"/>
                  <a:gd name="connsiteY6" fmla="*/ 429140 h 1065717"/>
                  <a:gd name="connsiteX7" fmla="*/ 29756 w 128346"/>
                  <a:gd name="connsiteY7" fmla="*/ 105570 h 1065717"/>
                  <a:gd name="connsiteX8" fmla="*/ 0 w 128346"/>
                  <a:gd name="connsiteY8" fmla="*/ 105570 h 1065717"/>
                  <a:gd name="connsiteX9" fmla="*/ 67316 w 128346"/>
                  <a:gd name="connsiteY9" fmla="*/ 0 h 1065717"/>
                  <a:gd name="connsiteX10" fmla="*/ 122460 w 128346"/>
                  <a:gd name="connsiteY10" fmla="*/ 105570 h 1065717"/>
                  <a:gd name="connsiteX0" fmla="*/ 122460 w 128346"/>
                  <a:gd name="connsiteY0" fmla="*/ 105570 h 1065717"/>
                  <a:gd name="connsiteX1" fmla="*/ 93255 w 128346"/>
                  <a:gd name="connsiteY1" fmla="*/ 105570 h 1065717"/>
                  <a:gd name="connsiteX2" fmla="*/ 97952 w 128346"/>
                  <a:gd name="connsiteY2" fmla="*/ 412863 h 1065717"/>
                  <a:gd name="connsiteX3" fmla="*/ 127040 w 128346"/>
                  <a:gd name="connsiteY3" fmla="*/ 809576 h 1065717"/>
                  <a:gd name="connsiteX4" fmla="*/ 120638 w 128346"/>
                  <a:gd name="connsiteY4" fmla="*/ 1065717 h 1065717"/>
                  <a:gd name="connsiteX5" fmla="*/ 95158 w 128346"/>
                  <a:gd name="connsiteY5" fmla="*/ 742154 h 1065717"/>
                  <a:gd name="connsiteX6" fmla="*/ 44165 w 128346"/>
                  <a:gd name="connsiteY6" fmla="*/ 429140 h 1065717"/>
                  <a:gd name="connsiteX7" fmla="*/ 29756 w 128346"/>
                  <a:gd name="connsiteY7" fmla="*/ 105570 h 1065717"/>
                  <a:gd name="connsiteX8" fmla="*/ 0 w 128346"/>
                  <a:gd name="connsiteY8" fmla="*/ 105570 h 1065717"/>
                  <a:gd name="connsiteX9" fmla="*/ 67316 w 128346"/>
                  <a:gd name="connsiteY9" fmla="*/ 0 h 1065717"/>
                  <a:gd name="connsiteX10" fmla="*/ 122460 w 128346"/>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95158 w 142331"/>
                  <a:gd name="connsiteY5" fmla="*/ 742154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12446 w 142331"/>
                  <a:gd name="connsiteY5" fmla="*/ 749563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51574 w 142331"/>
                  <a:gd name="connsiteY6" fmla="*/ 456306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39747 w 142331"/>
                  <a:gd name="connsiteY0" fmla="*/ 108039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51574 w 142331"/>
                  <a:gd name="connsiteY6" fmla="*/ 456306 h 1065717"/>
                  <a:gd name="connsiteX7" fmla="*/ 29756 w 142331"/>
                  <a:gd name="connsiteY7" fmla="*/ 105570 h 1065717"/>
                  <a:gd name="connsiteX8" fmla="*/ 0 w 142331"/>
                  <a:gd name="connsiteY8" fmla="*/ 105570 h 1065717"/>
                  <a:gd name="connsiteX9" fmla="*/ 67316 w 142331"/>
                  <a:gd name="connsiteY9" fmla="*/ 0 h 1065717"/>
                  <a:gd name="connsiteX10" fmla="*/ 139747 w 142331"/>
                  <a:gd name="connsiteY10" fmla="*/ 108039 h 1065717"/>
                  <a:gd name="connsiteX0" fmla="*/ 164443 w 167027"/>
                  <a:gd name="connsiteY0" fmla="*/ 108039 h 1065717"/>
                  <a:gd name="connsiteX1" fmla="*/ 117951 w 167027"/>
                  <a:gd name="connsiteY1" fmla="*/ 105570 h 1065717"/>
                  <a:gd name="connsiteX2" fmla="*/ 122648 w 167027"/>
                  <a:gd name="connsiteY2" fmla="*/ 412863 h 1065717"/>
                  <a:gd name="connsiteX3" fmla="*/ 166554 w 167027"/>
                  <a:gd name="connsiteY3" fmla="*/ 792288 h 1065717"/>
                  <a:gd name="connsiteX4" fmla="*/ 145334 w 167027"/>
                  <a:gd name="connsiteY4" fmla="*/ 1065717 h 1065717"/>
                  <a:gd name="connsiteX5" fmla="*/ 129733 w 167027"/>
                  <a:gd name="connsiteY5" fmla="*/ 737215 h 1065717"/>
                  <a:gd name="connsiteX6" fmla="*/ 76270 w 167027"/>
                  <a:gd name="connsiteY6" fmla="*/ 456306 h 1065717"/>
                  <a:gd name="connsiteX7" fmla="*/ 54452 w 167027"/>
                  <a:gd name="connsiteY7" fmla="*/ 105570 h 1065717"/>
                  <a:gd name="connsiteX8" fmla="*/ 0 w 167027"/>
                  <a:gd name="connsiteY8" fmla="*/ 117918 h 1065717"/>
                  <a:gd name="connsiteX9" fmla="*/ 92012 w 167027"/>
                  <a:gd name="connsiteY9" fmla="*/ 0 h 1065717"/>
                  <a:gd name="connsiteX10" fmla="*/ 164443 w 167027"/>
                  <a:gd name="connsiteY10" fmla="*/ 108039 h 1065717"/>
                  <a:gd name="connsiteX0" fmla="*/ 164443 w 167027"/>
                  <a:gd name="connsiteY0" fmla="*/ 127796 h 1085474"/>
                  <a:gd name="connsiteX1" fmla="*/ 117951 w 167027"/>
                  <a:gd name="connsiteY1" fmla="*/ 125327 h 1085474"/>
                  <a:gd name="connsiteX2" fmla="*/ 122648 w 167027"/>
                  <a:gd name="connsiteY2" fmla="*/ 432620 h 1085474"/>
                  <a:gd name="connsiteX3" fmla="*/ 166554 w 167027"/>
                  <a:gd name="connsiteY3" fmla="*/ 812045 h 1085474"/>
                  <a:gd name="connsiteX4" fmla="*/ 145334 w 167027"/>
                  <a:gd name="connsiteY4" fmla="*/ 1085474 h 1085474"/>
                  <a:gd name="connsiteX5" fmla="*/ 129733 w 167027"/>
                  <a:gd name="connsiteY5" fmla="*/ 756972 h 1085474"/>
                  <a:gd name="connsiteX6" fmla="*/ 76270 w 167027"/>
                  <a:gd name="connsiteY6" fmla="*/ 476063 h 1085474"/>
                  <a:gd name="connsiteX7" fmla="*/ 54452 w 167027"/>
                  <a:gd name="connsiteY7" fmla="*/ 125327 h 1085474"/>
                  <a:gd name="connsiteX8" fmla="*/ 0 w 167027"/>
                  <a:gd name="connsiteY8" fmla="*/ 137675 h 1085474"/>
                  <a:gd name="connsiteX9" fmla="*/ 84603 w 167027"/>
                  <a:gd name="connsiteY9" fmla="*/ 0 h 1085474"/>
                  <a:gd name="connsiteX10" fmla="*/ 164443 w 167027"/>
                  <a:gd name="connsiteY10" fmla="*/ 127796 h 1085474"/>
                  <a:gd name="connsiteX0" fmla="*/ 164443 w 167027"/>
                  <a:gd name="connsiteY0" fmla="*/ 145084 h 1085474"/>
                  <a:gd name="connsiteX1" fmla="*/ 117951 w 167027"/>
                  <a:gd name="connsiteY1" fmla="*/ 125327 h 1085474"/>
                  <a:gd name="connsiteX2" fmla="*/ 122648 w 167027"/>
                  <a:gd name="connsiteY2" fmla="*/ 432620 h 1085474"/>
                  <a:gd name="connsiteX3" fmla="*/ 166554 w 167027"/>
                  <a:gd name="connsiteY3" fmla="*/ 812045 h 1085474"/>
                  <a:gd name="connsiteX4" fmla="*/ 145334 w 167027"/>
                  <a:gd name="connsiteY4" fmla="*/ 1085474 h 1085474"/>
                  <a:gd name="connsiteX5" fmla="*/ 129733 w 167027"/>
                  <a:gd name="connsiteY5" fmla="*/ 756972 h 1085474"/>
                  <a:gd name="connsiteX6" fmla="*/ 76270 w 167027"/>
                  <a:gd name="connsiteY6" fmla="*/ 476063 h 1085474"/>
                  <a:gd name="connsiteX7" fmla="*/ 54452 w 167027"/>
                  <a:gd name="connsiteY7" fmla="*/ 125327 h 1085474"/>
                  <a:gd name="connsiteX8" fmla="*/ 0 w 167027"/>
                  <a:gd name="connsiteY8" fmla="*/ 137675 h 1085474"/>
                  <a:gd name="connsiteX9" fmla="*/ 84603 w 167027"/>
                  <a:gd name="connsiteY9" fmla="*/ 0 h 1085474"/>
                  <a:gd name="connsiteX10" fmla="*/ 164443 w 167027"/>
                  <a:gd name="connsiteY10" fmla="*/ 145084 h 1085474"/>
                  <a:gd name="connsiteX0" fmla="*/ 164443 w 167027"/>
                  <a:gd name="connsiteY0" fmla="*/ 132736 h 1085474"/>
                  <a:gd name="connsiteX1" fmla="*/ 117951 w 167027"/>
                  <a:gd name="connsiteY1" fmla="*/ 125327 h 1085474"/>
                  <a:gd name="connsiteX2" fmla="*/ 122648 w 167027"/>
                  <a:gd name="connsiteY2" fmla="*/ 432620 h 1085474"/>
                  <a:gd name="connsiteX3" fmla="*/ 166554 w 167027"/>
                  <a:gd name="connsiteY3" fmla="*/ 812045 h 1085474"/>
                  <a:gd name="connsiteX4" fmla="*/ 145334 w 167027"/>
                  <a:gd name="connsiteY4" fmla="*/ 1085474 h 1085474"/>
                  <a:gd name="connsiteX5" fmla="*/ 129733 w 167027"/>
                  <a:gd name="connsiteY5" fmla="*/ 756972 h 1085474"/>
                  <a:gd name="connsiteX6" fmla="*/ 76270 w 167027"/>
                  <a:gd name="connsiteY6" fmla="*/ 476063 h 1085474"/>
                  <a:gd name="connsiteX7" fmla="*/ 54452 w 167027"/>
                  <a:gd name="connsiteY7" fmla="*/ 125327 h 1085474"/>
                  <a:gd name="connsiteX8" fmla="*/ 0 w 167027"/>
                  <a:gd name="connsiteY8" fmla="*/ 137675 h 1085474"/>
                  <a:gd name="connsiteX9" fmla="*/ 84603 w 167027"/>
                  <a:gd name="connsiteY9" fmla="*/ 0 h 1085474"/>
                  <a:gd name="connsiteX10" fmla="*/ 164443 w 167027"/>
                  <a:gd name="connsiteY10" fmla="*/ 132736 h 1085474"/>
                  <a:gd name="connsiteX0" fmla="*/ 164443 w 167027"/>
                  <a:gd name="connsiteY0" fmla="*/ 132736 h 1085474"/>
                  <a:gd name="connsiteX1" fmla="*/ 113012 w 167027"/>
                  <a:gd name="connsiteY1" fmla="*/ 125327 h 1085474"/>
                  <a:gd name="connsiteX2" fmla="*/ 122648 w 167027"/>
                  <a:gd name="connsiteY2" fmla="*/ 432620 h 1085474"/>
                  <a:gd name="connsiteX3" fmla="*/ 166554 w 167027"/>
                  <a:gd name="connsiteY3" fmla="*/ 812045 h 1085474"/>
                  <a:gd name="connsiteX4" fmla="*/ 145334 w 167027"/>
                  <a:gd name="connsiteY4" fmla="*/ 1085474 h 1085474"/>
                  <a:gd name="connsiteX5" fmla="*/ 129733 w 167027"/>
                  <a:gd name="connsiteY5" fmla="*/ 756972 h 1085474"/>
                  <a:gd name="connsiteX6" fmla="*/ 76270 w 167027"/>
                  <a:gd name="connsiteY6" fmla="*/ 476063 h 1085474"/>
                  <a:gd name="connsiteX7" fmla="*/ 54452 w 167027"/>
                  <a:gd name="connsiteY7" fmla="*/ 125327 h 1085474"/>
                  <a:gd name="connsiteX8" fmla="*/ 0 w 167027"/>
                  <a:gd name="connsiteY8" fmla="*/ 137675 h 1085474"/>
                  <a:gd name="connsiteX9" fmla="*/ 84603 w 167027"/>
                  <a:gd name="connsiteY9" fmla="*/ 0 h 1085474"/>
                  <a:gd name="connsiteX10" fmla="*/ 164443 w 167027"/>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61615 w 164443"/>
                  <a:gd name="connsiteY3" fmla="*/ 789819 h 1085474"/>
                  <a:gd name="connsiteX4" fmla="*/ 145334 w 164443"/>
                  <a:gd name="connsiteY4" fmla="*/ 1085474 h 1085474"/>
                  <a:gd name="connsiteX5" fmla="*/ 129733 w 164443"/>
                  <a:gd name="connsiteY5" fmla="*/ 756972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9733 w 164443"/>
                  <a:gd name="connsiteY5" fmla="*/ 756972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9733 w 164443"/>
                  <a:gd name="connsiteY5" fmla="*/ 756972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9733 w 164443"/>
                  <a:gd name="connsiteY5" fmla="*/ 756972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4793 w 164443"/>
                  <a:gd name="connsiteY5" fmla="*/ 742154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4793 w 164443"/>
                  <a:gd name="connsiteY5" fmla="*/ 742154 h 1085474"/>
                  <a:gd name="connsiteX6" fmla="*/ 76270 w 164443"/>
                  <a:gd name="connsiteY6" fmla="*/ 476063 h 1085474"/>
                  <a:gd name="connsiteX7" fmla="*/ 49513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7951 w 164443"/>
                  <a:gd name="connsiteY1" fmla="*/ 127796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4793 w 164443"/>
                  <a:gd name="connsiteY5" fmla="*/ 742154 h 1085474"/>
                  <a:gd name="connsiteX6" fmla="*/ 76270 w 164443"/>
                  <a:gd name="connsiteY6" fmla="*/ 476063 h 1085474"/>
                  <a:gd name="connsiteX7" fmla="*/ 49513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76791 w 176791"/>
                  <a:gd name="connsiteY0" fmla="*/ 125327 h 1085474"/>
                  <a:gd name="connsiteX1" fmla="*/ 117951 w 176791"/>
                  <a:gd name="connsiteY1" fmla="*/ 127796 h 1085474"/>
                  <a:gd name="connsiteX2" fmla="*/ 122648 w 176791"/>
                  <a:gd name="connsiteY2" fmla="*/ 432620 h 1085474"/>
                  <a:gd name="connsiteX3" fmla="*/ 159146 w 176791"/>
                  <a:gd name="connsiteY3" fmla="*/ 807106 h 1085474"/>
                  <a:gd name="connsiteX4" fmla="*/ 145334 w 176791"/>
                  <a:gd name="connsiteY4" fmla="*/ 1085474 h 1085474"/>
                  <a:gd name="connsiteX5" fmla="*/ 124793 w 176791"/>
                  <a:gd name="connsiteY5" fmla="*/ 742154 h 1085474"/>
                  <a:gd name="connsiteX6" fmla="*/ 76270 w 176791"/>
                  <a:gd name="connsiteY6" fmla="*/ 476063 h 1085474"/>
                  <a:gd name="connsiteX7" fmla="*/ 49513 w 176791"/>
                  <a:gd name="connsiteY7" fmla="*/ 125327 h 1085474"/>
                  <a:gd name="connsiteX8" fmla="*/ 0 w 176791"/>
                  <a:gd name="connsiteY8" fmla="*/ 137675 h 1085474"/>
                  <a:gd name="connsiteX9" fmla="*/ 84603 w 176791"/>
                  <a:gd name="connsiteY9" fmla="*/ 0 h 1085474"/>
                  <a:gd name="connsiteX10" fmla="*/ 176791 w 176791"/>
                  <a:gd name="connsiteY10" fmla="*/ 125327 h 1085474"/>
                  <a:gd name="connsiteX0" fmla="*/ 184200 w 184200"/>
                  <a:gd name="connsiteY0" fmla="*/ 125327 h 1085474"/>
                  <a:gd name="connsiteX1" fmla="*/ 125360 w 184200"/>
                  <a:gd name="connsiteY1" fmla="*/ 127796 h 1085474"/>
                  <a:gd name="connsiteX2" fmla="*/ 130057 w 184200"/>
                  <a:gd name="connsiteY2" fmla="*/ 432620 h 1085474"/>
                  <a:gd name="connsiteX3" fmla="*/ 166555 w 184200"/>
                  <a:gd name="connsiteY3" fmla="*/ 807106 h 1085474"/>
                  <a:gd name="connsiteX4" fmla="*/ 152743 w 184200"/>
                  <a:gd name="connsiteY4" fmla="*/ 1085474 h 1085474"/>
                  <a:gd name="connsiteX5" fmla="*/ 132202 w 184200"/>
                  <a:gd name="connsiteY5" fmla="*/ 742154 h 1085474"/>
                  <a:gd name="connsiteX6" fmla="*/ 83679 w 184200"/>
                  <a:gd name="connsiteY6" fmla="*/ 476063 h 1085474"/>
                  <a:gd name="connsiteX7" fmla="*/ 56922 w 184200"/>
                  <a:gd name="connsiteY7" fmla="*/ 125327 h 1085474"/>
                  <a:gd name="connsiteX8" fmla="*/ 0 w 184200"/>
                  <a:gd name="connsiteY8" fmla="*/ 135205 h 1085474"/>
                  <a:gd name="connsiteX9" fmla="*/ 92012 w 184200"/>
                  <a:gd name="connsiteY9" fmla="*/ 0 h 1085474"/>
                  <a:gd name="connsiteX10" fmla="*/ 184200 w 184200"/>
                  <a:gd name="connsiteY10" fmla="*/ 125327 h 1085474"/>
                  <a:gd name="connsiteX0" fmla="*/ 184200 w 184200"/>
                  <a:gd name="connsiteY0" fmla="*/ 125327 h 1085474"/>
                  <a:gd name="connsiteX1" fmla="*/ 125360 w 184200"/>
                  <a:gd name="connsiteY1" fmla="*/ 127796 h 1085474"/>
                  <a:gd name="connsiteX2" fmla="*/ 130057 w 184200"/>
                  <a:gd name="connsiteY2" fmla="*/ 432620 h 1085474"/>
                  <a:gd name="connsiteX3" fmla="*/ 161616 w 184200"/>
                  <a:gd name="connsiteY3" fmla="*/ 794758 h 1085474"/>
                  <a:gd name="connsiteX4" fmla="*/ 152743 w 184200"/>
                  <a:gd name="connsiteY4" fmla="*/ 1085474 h 1085474"/>
                  <a:gd name="connsiteX5" fmla="*/ 132202 w 184200"/>
                  <a:gd name="connsiteY5" fmla="*/ 742154 h 1085474"/>
                  <a:gd name="connsiteX6" fmla="*/ 83679 w 184200"/>
                  <a:gd name="connsiteY6" fmla="*/ 476063 h 1085474"/>
                  <a:gd name="connsiteX7" fmla="*/ 56922 w 184200"/>
                  <a:gd name="connsiteY7" fmla="*/ 125327 h 1085474"/>
                  <a:gd name="connsiteX8" fmla="*/ 0 w 184200"/>
                  <a:gd name="connsiteY8" fmla="*/ 135205 h 1085474"/>
                  <a:gd name="connsiteX9" fmla="*/ 92012 w 184200"/>
                  <a:gd name="connsiteY9" fmla="*/ 0 h 1085474"/>
                  <a:gd name="connsiteX10" fmla="*/ 184200 w 184200"/>
                  <a:gd name="connsiteY10" fmla="*/ 125327 h 1085474"/>
                  <a:gd name="connsiteX0" fmla="*/ 181730 w 181730"/>
                  <a:gd name="connsiteY0" fmla="*/ 134831 h 1085474"/>
                  <a:gd name="connsiteX1" fmla="*/ 125360 w 181730"/>
                  <a:gd name="connsiteY1" fmla="*/ 127796 h 1085474"/>
                  <a:gd name="connsiteX2" fmla="*/ 130057 w 181730"/>
                  <a:gd name="connsiteY2" fmla="*/ 432620 h 1085474"/>
                  <a:gd name="connsiteX3" fmla="*/ 161616 w 181730"/>
                  <a:gd name="connsiteY3" fmla="*/ 794758 h 1085474"/>
                  <a:gd name="connsiteX4" fmla="*/ 152743 w 181730"/>
                  <a:gd name="connsiteY4" fmla="*/ 1085474 h 1085474"/>
                  <a:gd name="connsiteX5" fmla="*/ 132202 w 181730"/>
                  <a:gd name="connsiteY5" fmla="*/ 742154 h 1085474"/>
                  <a:gd name="connsiteX6" fmla="*/ 83679 w 181730"/>
                  <a:gd name="connsiteY6" fmla="*/ 476063 h 1085474"/>
                  <a:gd name="connsiteX7" fmla="*/ 56922 w 181730"/>
                  <a:gd name="connsiteY7" fmla="*/ 125327 h 1085474"/>
                  <a:gd name="connsiteX8" fmla="*/ 0 w 181730"/>
                  <a:gd name="connsiteY8" fmla="*/ 135205 h 1085474"/>
                  <a:gd name="connsiteX9" fmla="*/ 92012 w 181730"/>
                  <a:gd name="connsiteY9" fmla="*/ 0 h 1085474"/>
                  <a:gd name="connsiteX10" fmla="*/ 181730 w 181730"/>
                  <a:gd name="connsiteY10" fmla="*/ 134831 h 1085474"/>
                  <a:gd name="connsiteX0" fmla="*/ 181730 w 181730"/>
                  <a:gd name="connsiteY0" fmla="*/ 134831 h 1085474"/>
                  <a:gd name="connsiteX1" fmla="*/ 125360 w 181730"/>
                  <a:gd name="connsiteY1" fmla="*/ 127796 h 1085474"/>
                  <a:gd name="connsiteX2" fmla="*/ 130057 w 181730"/>
                  <a:gd name="connsiteY2" fmla="*/ 432620 h 1085474"/>
                  <a:gd name="connsiteX3" fmla="*/ 161616 w 181730"/>
                  <a:gd name="connsiteY3" fmla="*/ 794758 h 1085474"/>
                  <a:gd name="connsiteX4" fmla="*/ 152743 w 181730"/>
                  <a:gd name="connsiteY4" fmla="*/ 1085474 h 1085474"/>
                  <a:gd name="connsiteX5" fmla="*/ 132202 w 181730"/>
                  <a:gd name="connsiteY5" fmla="*/ 742154 h 1085474"/>
                  <a:gd name="connsiteX6" fmla="*/ 83679 w 181730"/>
                  <a:gd name="connsiteY6" fmla="*/ 476063 h 1085474"/>
                  <a:gd name="connsiteX7" fmla="*/ 59392 w 181730"/>
                  <a:gd name="connsiteY7" fmla="*/ 128495 h 1085474"/>
                  <a:gd name="connsiteX8" fmla="*/ 0 w 181730"/>
                  <a:gd name="connsiteY8" fmla="*/ 135205 h 1085474"/>
                  <a:gd name="connsiteX9" fmla="*/ 92012 w 181730"/>
                  <a:gd name="connsiteY9" fmla="*/ 0 h 1085474"/>
                  <a:gd name="connsiteX10" fmla="*/ 181730 w 181730"/>
                  <a:gd name="connsiteY10" fmla="*/ 134831 h 1085474"/>
                  <a:gd name="connsiteX0" fmla="*/ 189139 w 189139"/>
                  <a:gd name="connsiteY0" fmla="*/ 134831 h 1085474"/>
                  <a:gd name="connsiteX1" fmla="*/ 132769 w 189139"/>
                  <a:gd name="connsiteY1" fmla="*/ 127796 h 1085474"/>
                  <a:gd name="connsiteX2" fmla="*/ 137466 w 189139"/>
                  <a:gd name="connsiteY2" fmla="*/ 432620 h 1085474"/>
                  <a:gd name="connsiteX3" fmla="*/ 169025 w 189139"/>
                  <a:gd name="connsiteY3" fmla="*/ 794758 h 1085474"/>
                  <a:gd name="connsiteX4" fmla="*/ 160152 w 189139"/>
                  <a:gd name="connsiteY4" fmla="*/ 1085474 h 1085474"/>
                  <a:gd name="connsiteX5" fmla="*/ 139611 w 189139"/>
                  <a:gd name="connsiteY5" fmla="*/ 742154 h 1085474"/>
                  <a:gd name="connsiteX6" fmla="*/ 91088 w 189139"/>
                  <a:gd name="connsiteY6" fmla="*/ 476063 h 1085474"/>
                  <a:gd name="connsiteX7" fmla="*/ 66801 w 189139"/>
                  <a:gd name="connsiteY7" fmla="*/ 128495 h 1085474"/>
                  <a:gd name="connsiteX8" fmla="*/ 0 w 189139"/>
                  <a:gd name="connsiteY8" fmla="*/ 141541 h 1085474"/>
                  <a:gd name="connsiteX9" fmla="*/ 99421 w 189139"/>
                  <a:gd name="connsiteY9" fmla="*/ 0 h 1085474"/>
                  <a:gd name="connsiteX10" fmla="*/ 189139 w 189139"/>
                  <a:gd name="connsiteY10" fmla="*/ 134831 h 1085474"/>
                  <a:gd name="connsiteX0" fmla="*/ 189139 w 189139"/>
                  <a:gd name="connsiteY0" fmla="*/ 134831 h 1085474"/>
                  <a:gd name="connsiteX1" fmla="*/ 132769 w 189139"/>
                  <a:gd name="connsiteY1" fmla="*/ 127796 h 1085474"/>
                  <a:gd name="connsiteX2" fmla="*/ 137466 w 189139"/>
                  <a:gd name="connsiteY2" fmla="*/ 432620 h 1085474"/>
                  <a:gd name="connsiteX3" fmla="*/ 169025 w 189139"/>
                  <a:gd name="connsiteY3" fmla="*/ 794758 h 1085474"/>
                  <a:gd name="connsiteX4" fmla="*/ 160152 w 189139"/>
                  <a:gd name="connsiteY4" fmla="*/ 1085474 h 1085474"/>
                  <a:gd name="connsiteX5" fmla="*/ 139611 w 189139"/>
                  <a:gd name="connsiteY5" fmla="*/ 742154 h 1085474"/>
                  <a:gd name="connsiteX6" fmla="*/ 91088 w 189139"/>
                  <a:gd name="connsiteY6" fmla="*/ 476063 h 1085474"/>
                  <a:gd name="connsiteX7" fmla="*/ 74210 w 189139"/>
                  <a:gd name="connsiteY7" fmla="*/ 134831 h 1085474"/>
                  <a:gd name="connsiteX8" fmla="*/ 0 w 189139"/>
                  <a:gd name="connsiteY8" fmla="*/ 141541 h 1085474"/>
                  <a:gd name="connsiteX9" fmla="*/ 99421 w 189139"/>
                  <a:gd name="connsiteY9" fmla="*/ 0 h 1085474"/>
                  <a:gd name="connsiteX10" fmla="*/ 189139 w 189139"/>
                  <a:gd name="connsiteY10" fmla="*/ 134831 h 1085474"/>
                  <a:gd name="connsiteX0" fmla="*/ 189139 w 189139"/>
                  <a:gd name="connsiteY0" fmla="*/ 134831 h 1085474"/>
                  <a:gd name="connsiteX1" fmla="*/ 130299 w 189139"/>
                  <a:gd name="connsiteY1" fmla="*/ 134132 h 1085474"/>
                  <a:gd name="connsiteX2" fmla="*/ 137466 w 189139"/>
                  <a:gd name="connsiteY2" fmla="*/ 432620 h 1085474"/>
                  <a:gd name="connsiteX3" fmla="*/ 169025 w 189139"/>
                  <a:gd name="connsiteY3" fmla="*/ 794758 h 1085474"/>
                  <a:gd name="connsiteX4" fmla="*/ 160152 w 189139"/>
                  <a:gd name="connsiteY4" fmla="*/ 1085474 h 1085474"/>
                  <a:gd name="connsiteX5" fmla="*/ 139611 w 189139"/>
                  <a:gd name="connsiteY5" fmla="*/ 742154 h 1085474"/>
                  <a:gd name="connsiteX6" fmla="*/ 91088 w 189139"/>
                  <a:gd name="connsiteY6" fmla="*/ 476063 h 1085474"/>
                  <a:gd name="connsiteX7" fmla="*/ 74210 w 189139"/>
                  <a:gd name="connsiteY7" fmla="*/ 134831 h 1085474"/>
                  <a:gd name="connsiteX8" fmla="*/ 0 w 189139"/>
                  <a:gd name="connsiteY8" fmla="*/ 141541 h 1085474"/>
                  <a:gd name="connsiteX9" fmla="*/ 99421 w 189139"/>
                  <a:gd name="connsiteY9" fmla="*/ 0 h 1085474"/>
                  <a:gd name="connsiteX10" fmla="*/ 189139 w 189139"/>
                  <a:gd name="connsiteY10" fmla="*/ 134831 h 1085474"/>
                  <a:gd name="connsiteX0" fmla="*/ 189139 w 189139"/>
                  <a:gd name="connsiteY0" fmla="*/ 134831 h 1085474"/>
                  <a:gd name="connsiteX1" fmla="*/ 130299 w 189139"/>
                  <a:gd name="connsiteY1" fmla="*/ 134132 h 1085474"/>
                  <a:gd name="connsiteX2" fmla="*/ 137466 w 189139"/>
                  <a:gd name="connsiteY2" fmla="*/ 432620 h 1085474"/>
                  <a:gd name="connsiteX3" fmla="*/ 169025 w 189139"/>
                  <a:gd name="connsiteY3" fmla="*/ 794758 h 1085474"/>
                  <a:gd name="connsiteX4" fmla="*/ 160152 w 189139"/>
                  <a:gd name="connsiteY4" fmla="*/ 1085474 h 1085474"/>
                  <a:gd name="connsiteX5" fmla="*/ 139611 w 189139"/>
                  <a:gd name="connsiteY5" fmla="*/ 742154 h 1085474"/>
                  <a:gd name="connsiteX6" fmla="*/ 91088 w 189139"/>
                  <a:gd name="connsiteY6" fmla="*/ 476063 h 1085474"/>
                  <a:gd name="connsiteX7" fmla="*/ 74210 w 189139"/>
                  <a:gd name="connsiteY7" fmla="*/ 134831 h 1085474"/>
                  <a:gd name="connsiteX8" fmla="*/ 0 w 189139"/>
                  <a:gd name="connsiteY8" fmla="*/ 141541 h 1085474"/>
                  <a:gd name="connsiteX9" fmla="*/ 99421 w 189139"/>
                  <a:gd name="connsiteY9" fmla="*/ 0 h 1085474"/>
                  <a:gd name="connsiteX10" fmla="*/ 189139 w 189139"/>
                  <a:gd name="connsiteY10" fmla="*/ 134831 h 1085474"/>
                  <a:gd name="connsiteX0" fmla="*/ 202310 w 202310"/>
                  <a:gd name="connsiteY0" fmla="*/ 134831 h 1085474"/>
                  <a:gd name="connsiteX1" fmla="*/ 130299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91088 w 202310"/>
                  <a:gd name="connsiteY6" fmla="*/ 476063 h 1085474"/>
                  <a:gd name="connsiteX7" fmla="*/ 74210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0299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91088 w 202310"/>
                  <a:gd name="connsiteY6" fmla="*/ 476063 h 1085474"/>
                  <a:gd name="connsiteX7" fmla="*/ 74210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91088 w 202310"/>
                  <a:gd name="connsiteY6" fmla="*/ 476063 h 1085474"/>
                  <a:gd name="connsiteX7" fmla="*/ 74210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91088 w 202310"/>
                  <a:gd name="connsiteY6" fmla="*/ 476063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84503 w 202310"/>
                  <a:gd name="connsiteY6" fmla="*/ 463391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84503 w 202310"/>
                  <a:gd name="connsiteY6" fmla="*/ 463391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81210 w 202310"/>
                  <a:gd name="connsiteY6" fmla="*/ 459167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3025 w 202310"/>
                  <a:gd name="connsiteY5" fmla="*/ 716811 h 1085474"/>
                  <a:gd name="connsiteX6" fmla="*/ 81210 w 202310"/>
                  <a:gd name="connsiteY6" fmla="*/ 459167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5733 w 202310"/>
                  <a:gd name="connsiteY3" fmla="*/ 697611 h 1085474"/>
                  <a:gd name="connsiteX4" fmla="*/ 160152 w 202310"/>
                  <a:gd name="connsiteY4" fmla="*/ 1085474 h 1085474"/>
                  <a:gd name="connsiteX5" fmla="*/ 133025 w 202310"/>
                  <a:gd name="connsiteY5" fmla="*/ 716811 h 1085474"/>
                  <a:gd name="connsiteX6" fmla="*/ 81210 w 202310"/>
                  <a:gd name="connsiteY6" fmla="*/ 459167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1026991"/>
                  <a:gd name="connsiteY0" fmla="*/ 134831 h 1264811"/>
                  <a:gd name="connsiteX1" fmla="*/ 136884 w 1026991"/>
                  <a:gd name="connsiteY1" fmla="*/ 134132 h 1264811"/>
                  <a:gd name="connsiteX2" fmla="*/ 137466 w 1026991"/>
                  <a:gd name="connsiteY2" fmla="*/ 432620 h 1264811"/>
                  <a:gd name="connsiteX3" fmla="*/ 165733 w 1026991"/>
                  <a:gd name="connsiteY3" fmla="*/ 697611 h 1264811"/>
                  <a:gd name="connsiteX4" fmla="*/ 1026965 w 1026991"/>
                  <a:gd name="connsiteY4" fmla="*/ 1264811 h 1264811"/>
                  <a:gd name="connsiteX5" fmla="*/ 133025 w 1026991"/>
                  <a:gd name="connsiteY5" fmla="*/ 716811 h 1264811"/>
                  <a:gd name="connsiteX6" fmla="*/ 81210 w 1026991"/>
                  <a:gd name="connsiteY6" fmla="*/ 459167 h 1264811"/>
                  <a:gd name="connsiteX7" fmla="*/ 67624 w 1026991"/>
                  <a:gd name="connsiteY7" fmla="*/ 134831 h 1264811"/>
                  <a:gd name="connsiteX8" fmla="*/ 0 w 1026991"/>
                  <a:gd name="connsiteY8" fmla="*/ 141541 h 1264811"/>
                  <a:gd name="connsiteX9" fmla="*/ 99421 w 1026991"/>
                  <a:gd name="connsiteY9" fmla="*/ 0 h 1264811"/>
                  <a:gd name="connsiteX10" fmla="*/ 202310 w 1026991"/>
                  <a:gd name="connsiteY10" fmla="*/ 134831 h 1264811"/>
                  <a:gd name="connsiteX0" fmla="*/ 202310 w 1027165"/>
                  <a:gd name="connsiteY0" fmla="*/ 134831 h 1264811"/>
                  <a:gd name="connsiteX1" fmla="*/ 136884 w 1027165"/>
                  <a:gd name="connsiteY1" fmla="*/ 134132 h 1264811"/>
                  <a:gd name="connsiteX2" fmla="*/ 137466 w 1027165"/>
                  <a:gd name="connsiteY2" fmla="*/ 432620 h 1264811"/>
                  <a:gd name="connsiteX3" fmla="*/ 165733 w 1027165"/>
                  <a:gd name="connsiteY3" fmla="*/ 697611 h 1264811"/>
                  <a:gd name="connsiteX4" fmla="*/ 1026965 w 1027165"/>
                  <a:gd name="connsiteY4" fmla="*/ 1264811 h 1264811"/>
                  <a:gd name="connsiteX5" fmla="*/ 825075 w 1027165"/>
                  <a:gd name="connsiteY5" fmla="*/ 707844 h 1264811"/>
                  <a:gd name="connsiteX6" fmla="*/ 81210 w 1027165"/>
                  <a:gd name="connsiteY6" fmla="*/ 459167 h 1264811"/>
                  <a:gd name="connsiteX7" fmla="*/ 67624 w 1027165"/>
                  <a:gd name="connsiteY7" fmla="*/ 134831 h 1264811"/>
                  <a:gd name="connsiteX8" fmla="*/ 0 w 1027165"/>
                  <a:gd name="connsiteY8" fmla="*/ 141541 h 1264811"/>
                  <a:gd name="connsiteX9" fmla="*/ 99421 w 1027165"/>
                  <a:gd name="connsiteY9" fmla="*/ 0 h 1264811"/>
                  <a:gd name="connsiteX10" fmla="*/ 202310 w 1027165"/>
                  <a:gd name="connsiteY10" fmla="*/ 134831 h 1264811"/>
                  <a:gd name="connsiteX0" fmla="*/ 202310 w 1027327"/>
                  <a:gd name="connsiteY0" fmla="*/ 134831 h 1264811"/>
                  <a:gd name="connsiteX1" fmla="*/ 136884 w 1027327"/>
                  <a:gd name="connsiteY1" fmla="*/ 134132 h 1264811"/>
                  <a:gd name="connsiteX2" fmla="*/ 137466 w 1027327"/>
                  <a:gd name="connsiteY2" fmla="*/ 432620 h 1264811"/>
                  <a:gd name="connsiteX3" fmla="*/ 836812 w 1027327"/>
                  <a:gd name="connsiteY3" fmla="*/ 805213 h 1264811"/>
                  <a:gd name="connsiteX4" fmla="*/ 1026965 w 1027327"/>
                  <a:gd name="connsiteY4" fmla="*/ 1264811 h 1264811"/>
                  <a:gd name="connsiteX5" fmla="*/ 825075 w 1027327"/>
                  <a:gd name="connsiteY5" fmla="*/ 707844 h 1264811"/>
                  <a:gd name="connsiteX6" fmla="*/ 81210 w 1027327"/>
                  <a:gd name="connsiteY6" fmla="*/ 459167 h 1264811"/>
                  <a:gd name="connsiteX7" fmla="*/ 67624 w 1027327"/>
                  <a:gd name="connsiteY7" fmla="*/ 134831 h 1264811"/>
                  <a:gd name="connsiteX8" fmla="*/ 0 w 1027327"/>
                  <a:gd name="connsiteY8" fmla="*/ 141541 h 1264811"/>
                  <a:gd name="connsiteX9" fmla="*/ 99421 w 1027327"/>
                  <a:gd name="connsiteY9" fmla="*/ 0 h 1264811"/>
                  <a:gd name="connsiteX10" fmla="*/ 202310 w 1027327"/>
                  <a:gd name="connsiteY10" fmla="*/ 134831 h 1264811"/>
                  <a:gd name="connsiteX0" fmla="*/ 202310 w 1027327"/>
                  <a:gd name="connsiteY0" fmla="*/ 134831 h 1264811"/>
                  <a:gd name="connsiteX1" fmla="*/ 136884 w 1027327"/>
                  <a:gd name="connsiteY1" fmla="*/ 134132 h 1264811"/>
                  <a:gd name="connsiteX2" fmla="*/ 137466 w 1027327"/>
                  <a:gd name="connsiteY2" fmla="*/ 432620 h 1264811"/>
                  <a:gd name="connsiteX3" fmla="*/ 836812 w 1027327"/>
                  <a:gd name="connsiteY3" fmla="*/ 805213 h 1264811"/>
                  <a:gd name="connsiteX4" fmla="*/ 1026965 w 1027327"/>
                  <a:gd name="connsiteY4" fmla="*/ 1264811 h 1264811"/>
                  <a:gd name="connsiteX5" fmla="*/ 825075 w 1027327"/>
                  <a:gd name="connsiteY5" fmla="*/ 707844 h 1264811"/>
                  <a:gd name="connsiteX6" fmla="*/ 102184 w 1027327"/>
                  <a:gd name="connsiteY6" fmla="*/ 539868 h 1264811"/>
                  <a:gd name="connsiteX7" fmla="*/ 67624 w 1027327"/>
                  <a:gd name="connsiteY7" fmla="*/ 134831 h 1264811"/>
                  <a:gd name="connsiteX8" fmla="*/ 0 w 1027327"/>
                  <a:gd name="connsiteY8" fmla="*/ 141541 h 1264811"/>
                  <a:gd name="connsiteX9" fmla="*/ 99421 w 1027327"/>
                  <a:gd name="connsiteY9" fmla="*/ 0 h 1264811"/>
                  <a:gd name="connsiteX10" fmla="*/ 202310 w 1027327"/>
                  <a:gd name="connsiteY10" fmla="*/ 134831 h 1264811"/>
                  <a:gd name="connsiteX0" fmla="*/ 202310 w 1027275"/>
                  <a:gd name="connsiteY0" fmla="*/ 134831 h 1264811"/>
                  <a:gd name="connsiteX1" fmla="*/ 136884 w 1027275"/>
                  <a:gd name="connsiteY1" fmla="*/ 134132 h 1264811"/>
                  <a:gd name="connsiteX2" fmla="*/ 193393 w 1027275"/>
                  <a:gd name="connsiteY2" fmla="*/ 369852 h 1264811"/>
                  <a:gd name="connsiteX3" fmla="*/ 836812 w 1027275"/>
                  <a:gd name="connsiteY3" fmla="*/ 805213 h 1264811"/>
                  <a:gd name="connsiteX4" fmla="*/ 1026965 w 1027275"/>
                  <a:gd name="connsiteY4" fmla="*/ 1264811 h 1264811"/>
                  <a:gd name="connsiteX5" fmla="*/ 825075 w 1027275"/>
                  <a:gd name="connsiteY5" fmla="*/ 707844 h 1264811"/>
                  <a:gd name="connsiteX6" fmla="*/ 102184 w 1027275"/>
                  <a:gd name="connsiteY6" fmla="*/ 539868 h 1264811"/>
                  <a:gd name="connsiteX7" fmla="*/ 67624 w 1027275"/>
                  <a:gd name="connsiteY7" fmla="*/ 134831 h 1264811"/>
                  <a:gd name="connsiteX8" fmla="*/ 0 w 1027275"/>
                  <a:gd name="connsiteY8" fmla="*/ 141541 h 1264811"/>
                  <a:gd name="connsiteX9" fmla="*/ 99421 w 1027275"/>
                  <a:gd name="connsiteY9" fmla="*/ 0 h 1264811"/>
                  <a:gd name="connsiteX10" fmla="*/ 202310 w 1027275"/>
                  <a:gd name="connsiteY10" fmla="*/ 134831 h 1264811"/>
                  <a:gd name="connsiteX0" fmla="*/ 202310 w 1027236"/>
                  <a:gd name="connsiteY0" fmla="*/ 134831 h 1264811"/>
                  <a:gd name="connsiteX1" fmla="*/ 136884 w 1027236"/>
                  <a:gd name="connsiteY1" fmla="*/ 134132 h 1264811"/>
                  <a:gd name="connsiteX2" fmla="*/ 249316 w 1027236"/>
                  <a:gd name="connsiteY2" fmla="*/ 450554 h 1264811"/>
                  <a:gd name="connsiteX3" fmla="*/ 836812 w 1027236"/>
                  <a:gd name="connsiteY3" fmla="*/ 805213 h 1264811"/>
                  <a:gd name="connsiteX4" fmla="*/ 1026965 w 1027236"/>
                  <a:gd name="connsiteY4" fmla="*/ 1264811 h 1264811"/>
                  <a:gd name="connsiteX5" fmla="*/ 825075 w 1027236"/>
                  <a:gd name="connsiteY5" fmla="*/ 707844 h 1264811"/>
                  <a:gd name="connsiteX6" fmla="*/ 102184 w 1027236"/>
                  <a:gd name="connsiteY6" fmla="*/ 539868 h 1264811"/>
                  <a:gd name="connsiteX7" fmla="*/ 67624 w 1027236"/>
                  <a:gd name="connsiteY7" fmla="*/ 134831 h 1264811"/>
                  <a:gd name="connsiteX8" fmla="*/ 0 w 1027236"/>
                  <a:gd name="connsiteY8" fmla="*/ 141541 h 1264811"/>
                  <a:gd name="connsiteX9" fmla="*/ 99421 w 1027236"/>
                  <a:gd name="connsiteY9" fmla="*/ 0 h 1264811"/>
                  <a:gd name="connsiteX10" fmla="*/ 202310 w 1027236"/>
                  <a:gd name="connsiteY10" fmla="*/ 134831 h 1264811"/>
                  <a:gd name="connsiteX0" fmla="*/ 202310 w 1027236"/>
                  <a:gd name="connsiteY0" fmla="*/ 134831 h 1264811"/>
                  <a:gd name="connsiteX1" fmla="*/ 136884 w 1027236"/>
                  <a:gd name="connsiteY1" fmla="*/ 134132 h 1264811"/>
                  <a:gd name="connsiteX2" fmla="*/ 249316 w 1027236"/>
                  <a:gd name="connsiteY2" fmla="*/ 450554 h 1264811"/>
                  <a:gd name="connsiteX3" fmla="*/ 836812 w 1027236"/>
                  <a:gd name="connsiteY3" fmla="*/ 805213 h 1264811"/>
                  <a:gd name="connsiteX4" fmla="*/ 1026965 w 1027236"/>
                  <a:gd name="connsiteY4" fmla="*/ 1264811 h 1264811"/>
                  <a:gd name="connsiteX5" fmla="*/ 825075 w 1027236"/>
                  <a:gd name="connsiteY5" fmla="*/ 707844 h 1264811"/>
                  <a:gd name="connsiteX6" fmla="*/ 207040 w 1027236"/>
                  <a:gd name="connsiteY6" fmla="*/ 557802 h 1264811"/>
                  <a:gd name="connsiteX7" fmla="*/ 67624 w 1027236"/>
                  <a:gd name="connsiteY7" fmla="*/ 134831 h 1264811"/>
                  <a:gd name="connsiteX8" fmla="*/ 0 w 1027236"/>
                  <a:gd name="connsiteY8" fmla="*/ 141541 h 1264811"/>
                  <a:gd name="connsiteX9" fmla="*/ 99421 w 1027236"/>
                  <a:gd name="connsiteY9" fmla="*/ 0 h 1264811"/>
                  <a:gd name="connsiteX10" fmla="*/ 202310 w 1027236"/>
                  <a:gd name="connsiteY10" fmla="*/ 134831 h 1264811"/>
                  <a:gd name="connsiteX0" fmla="*/ 202310 w 1027236"/>
                  <a:gd name="connsiteY0" fmla="*/ 134831 h 1264811"/>
                  <a:gd name="connsiteX1" fmla="*/ 136884 w 1027236"/>
                  <a:gd name="connsiteY1" fmla="*/ 134132 h 1264811"/>
                  <a:gd name="connsiteX2" fmla="*/ 249316 w 1027236"/>
                  <a:gd name="connsiteY2" fmla="*/ 450554 h 1264811"/>
                  <a:gd name="connsiteX3" fmla="*/ 836812 w 1027236"/>
                  <a:gd name="connsiteY3" fmla="*/ 805213 h 1264811"/>
                  <a:gd name="connsiteX4" fmla="*/ 1026965 w 1027236"/>
                  <a:gd name="connsiteY4" fmla="*/ 1264811 h 1264811"/>
                  <a:gd name="connsiteX5" fmla="*/ 825075 w 1027236"/>
                  <a:gd name="connsiteY5" fmla="*/ 707844 h 1264811"/>
                  <a:gd name="connsiteX6" fmla="*/ 207040 w 1027236"/>
                  <a:gd name="connsiteY6" fmla="*/ 557802 h 1264811"/>
                  <a:gd name="connsiteX7" fmla="*/ 67624 w 1027236"/>
                  <a:gd name="connsiteY7" fmla="*/ 134831 h 1264811"/>
                  <a:gd name="connsiteX8" fmla="*/ 0 w 1027236"/>
                  <a:gd name="connsiteY8" fmla="*/ 141541 h 1264811"/>
                  <a:gd name="connsiteX9" fmla="*/ 99421 w 1027236"/>
                  <a:gd name="connsiteY9" fmla="*/ 0 h 1264811"/>
                  <a:gd name="connsiteX10" fmla="*/ 202310 w 1027236"/>
                  <a:gd name="connsiteY10" fmla="*/ 134831 h 1264811"/>
                  <a:gd name="connsiteX0" fmla="*/ 202310 w 1027236"/>
                  <a:gd name="connsiteY0" fmla="*/ 134831 h 1264811"/>
                  <a:gd name="connsiteX1" fmla="*/ 136884 w 1027236"/>
                  <a:gd name="connsiteY1" fmla="*/ 134132 h 1264811"/>
                  <a:gd name="connsiteX2" fmla="*/ 249316 w 1027236"/>
                  <a:gd name="connsiteY2" fmla="*/ 450554 h 1264811"/>
                  <a:gd name="connsiteX3" fmla="*/ 836812 w 1027236"/>
                  <a:gd name="connsiteY3" fmla="*/ 805213 h 1264811"/>
                  <a:gd name="connsiteX4" fmla="*/ 1026965 w 1027236"/>
                  <a:gd name="connsiteY4" fmla="*/ 1264811 h 1264811"/>
                  <a:gd name="connsiteX5" fmla="*/ 755171 w 1027236"/>
                  <a:gd name="connsiteY5" fmla="*/ 779579 h 1264811"/>
                  <a:gd name="connsiteX6" fmla="*/ 207040 w 1027236"/>
                  <a:gd name="connsiteY6" fmla="*/ 557802 h 1264811"/>
                  <a:gd name="connsiteX7" fmla="*/ 67624 w 1027236"/>
                  <a:gd name="connsiteY7" fmla="*/ 134831 h 1264811"/>
                  <a:gd name="connsiteX8" fmla="*/ 0 w 1027236"/>
                  <a:gd name="connsiteY8" fmla="*/ 141541 h 1264811"/>
                  <a:gd name="connsiteX9" fmla="*/ 99421 w 1027236"/>
                  <a:gd name="connsiteY9" fmla="*/ 0 h 1264811"/>
                  <a:gd name="connsiteX10" fmla="*/ 202310 w 1027236"/>
                  <a:gd name="connsiteY10" fmla="*/ 134831 h 1264811"/>
                  <a:gd name="connsiteX0" fmla="*/ 202310 w 1027117"/>
                  <a:gd name="connsiteY0" fmla="*/ 134831 h 1264811"/>
                  <a:gd name="connsiteX1" fmla="*/ 136884 w 1027117"/>
                  <a:gd name="connsiteY1" fmla="*/ 134132 h 1264811"/>
                  <a:gd name="connsiteX2" fmla="*/ 249316 w 1027117"/>
                  <a:gd name="connsiteY2" fmla="*/ 450554 h 1264811"/>
                  <a:gd name="connsiteX3" fmla="*/ 780889 w 1027117"/>
                  <a:gd name="connsiteY3" fmla="*/ 706578 h 1264811"/>
                  <a:gd name="connsiteX4" fmla="*/ 1026965 w 1027117"/>
                  <a:gd name="connsiteY4" fmla="*/ 1264811 h 1264811"/>
                  <a:gd name="connsiteX5" fmla="*/ 755171 w 1027117"/>
                  <a:gd name="connsiteY5" fmla="*/ 779579 h 1264811"/>
                  <a:gd name="connsiteX6" fmla="*/ 207040 w 1027117"/>
                  <a:gd name="connsiteY6" fmla="*/ 557802 h 1264811"/>
                  <a:gd name="connsiteX7" fmla="*/ 67624 w 1027117"/>
                  <a:gd name="connsiteY7" fmla="*/ 134831 h 1264811"/>
                  <a:gd name="connsiteX8" fmla="*/ 0 w 1027117"/>
                  <a:gd name="connsiteY8" fmla="*/ 141541 h 1264811"/>
                  <a:gd name="connsiteX9" fmla="*/ 99421 w 1027117"/>
                  <a:gd name="connsiteY9" fmla="*/ 0 h 1264811"/>
                  <a:gd name="connsiteX10" fmla="*/ 202310 w 1027117"/>
                  <a:gd name="connsiteY10" fmla="*/ 134831 h 1264811"/>
                  <a:gd name="connsiteX0" fmla="*/ 202310 w 1027117"/>
                  <a:gd name="connsiteY0" fmla="*/ 134831 h 1264811"/>
                  <a:gd name="connsiteX1" fmla="*/ 136884 w 1027117"/>
                  <a:gd name="connsiteY1" fmla="*/ 134132 h 1264811"/>
                  <a:gd name="connsiteX2" fmla="*/ 249316 w 1027117"/>
                  <a:gd name="connsiteY2" fmla="*/ 450554 h 1264811"/>
                  <a:gd name="connsiteX3" fmla="*/ 780889 w 1027117"/>
                  <a:gd name="connsiteY3" fmla="*/ 706578 h 1264811"/>
                  <a:gd name="connsiteX4" fmla="*/ 1026965 w 1027117"/>
                  <a:gd name="connsiteY4" fmla="*/ 1264811 h 1264811"/>
                  <a:gd name="connsiteX5" fmla="*/ 755171 w 1027117"/>
                  <a:gd name="connsiteY5" fmla="*/ 779579 h 1264811"/>
                  <a:gd name="connsiteX6" fmla="*/ 214031 w 1027117"/>
                  <a:gd name="connsiteY6" fmla="*/ 504001 h 1264811"/>
                  <a:gd name="connsiteX7" fmla="*/ 67624 w 1027117"/>
                  <a:gd name="connsiteY7" fmla="*/ 134831 h 1264811"/>
                  <a:gd name="connsiteX8" fmla="*/ 0 w 1027117"/>
                  <a:gd name="connsiteY8" fmla="*/ 141541 h 1264811"/>
                  <a:gd name="connsiteX9" fmla="*/ 99421 w 1027117"/>
                  <a:gd name="connsiteY9" fmla="*/ 0 h 1264811"/>
                  <a:gd name="connsiteX10" fmla="*/ 202310 w 1027117"/>
                  <a:gd name="connsiteY10" fmla="*/ 134831 h 1264811"/>
                  <a:gd name="connsiteX0" fmla="*/ 202310 w 1027117"/>
                  <a:gd name="connsiteY0" fmla="*/ 134831 h 1264811"/>
                  <a:gd name="connsiteX1" fmla="*/ 136884 w 1027117"/>
                  <a:gd name="connsiteY1" fmla="*/ 134132 h 1264811"/>
                  <a:gd name="connsiteX2" fmla="*/ 249316 w 1027117"/>
                  <a:gd name="connsiteY2" fmla="*/ 450554 h 1264811"/>
                  <a:gd name="connsiteX3" fmla="*/ 780889 w 1027117"/>
                  <a:gd name="connsiteY3" fmla="*/ 706578 h 1264811"/>
                  <a:gd name="connsiteX4" fmla="*/ 1026965 w 1027117"/>
                  <a:gd name="connsiteY4" fmla="*/ 1264811 h 1264811"/>
                  <a:gd name="connsiteX5" fmla="*/ 762162 w 1027117"/>
                  <a:gd name="connsiteY5" fmla="*/ 716811 h 1264811"/>
                  <a:gd name="connsiteX6" fmla="*/ 214031 w 1027117"/>
                  <a:gd name="connsiteY6" fmla="*/ 504001 h 1264811"/>
                  <a:gd name="connsiteX7" fmla="*/ 67624 w 1027117"/>
                  <a:gd name="connsiteY7" fmla="*/ 134831 h 1264811"/>
                  <a:gd name="connsiteX8" fmla="*/ 0 w 1027117"/>
                  <a:gd name="connsiteY8" fmla="*/ 141541 h 1264811"/>
                  <a:gd name="connsiteX9" fmla="*/ 99421 w 1027117"/>
                  <a:gd name="connsiteY9" fmla="*/ 0 h 1264811"/>
                  <a:gd name="connsiteX10" fmla="*/ 202310 w 1027117"/>
                  <a:gd name="connsiteY10" fmla="*/ 134831 h 1264811"/>
                  <a:gd name="connsiteX0" fmla="*/ 202310 w 1027117"/>
                  <a:gd name="connsiteY0" fmla="*/ 134831 h 1264811"/>
                  <a:gd name="connsiteX1" fmla="*/ 136884 w 1027117"/>
                  <a:gd name="connsiteY1" fmla="*/ 134132 h 1264811"/>
                  <a:gd name="connsiteX2" fmla="*/ 249316 w 1027117"/>
                  <a:gd name="connsiteY2" fmla="*/ 450554 h 1264811"/>
                  <a:gd name="connsiteX3" fmla="*/ 780889 w 1027117"/>
                  <a:gd name="connsiteY3" fmla="*/ 706578 h 1264811"/>
                  <a:gd name="connsiteX4" fmla="*/ 1026965 w 1027117"/>
                  <a:gd name="connsiteY4" fmla="*/ 1264811 h 1264811"/>
                  <a:gd name="connsiteX5" fmla="*/ 770900 w 1027117"/>
                  <a:gd name="connsiteY5" fmla="*/ 750437 h 1264811"/>
                  <a:gd name="connsiteX6" fmla="*/ 214031 w 1027117"/>
                  <a:gd name="connsiteY6" fmla="*/ 504001 h 1264811"/>
                  <a:gd name="connsiteX7" fmla="*/ 67624 w 1027117"/>
                  <a:gd name="connsiteY7" fmla="*/ 134831 h 1264811"/>
                  <a:gd name="connsiteX8" fmla="*/ 0 w 1027117"/>
                  <a:gd name="connsiteY8" fmla="*/ 141541 h 1264811"/>
                  <a:gd name="connsiteX9" fmla="*/ 99421 w 1027117"/>
                  <a:gd name="connsiteY9" fmla="*/ 0 h 1264811"/>
                  <a:gd name="connsiteX10" fmla="*/ 202310 w 1027117"/>
                  <a:gd name="connsiteY10" fmla="*/ 134831 h 1264811"/>
                  <a:gd name="connsiteX0" fmla="*/ 197941 w 1022748"/>
                  <a:gd name="connsiteY0" fmla="*/ 134831 h 1264811"/>
                  <a:gd name="connsiteX1" fmla="*/ 132515 w 1022748"/>
                  <a:gd name="connsiteY1" fmla="*/ 134132 h 1264811"/>
                  <a:gd name="connsiteX2" fmla="*/ 244947 w 1022748"/>
                  <a:gd name="connsiteY2" fmla="*/ 450554 h 1264811"/>
                  <a:gd name="connsiteX3" fmla="*/ 776520 w 1022748"/>
                  <a:gd name="connsiteY3" fmla="*/ 706578 h 1264811"/>
                  <a:gd name="connsiteX4" fmla="*/ 1022596 w 1022748"/>
                  <a:gd name="connsiteY4" fmla="*/ 1264811 h 1264811"/>
                  <a:gd name="connsiteX5" fmla="*/ 766531 w 1022748"/>
                  <a:gd name="connsiteY5" fmla="*/ 750437 h 1264811"/>
                  <a:gd name="connsiteX6" fmla="*/ 209662 w 1022748"/>
                  <a:gd name="connsiteY6" fmla="*/ 504001 h 1264811"/>
                  <a:gd name="connsiteX7" fmla="*/ 63255 w 1022748"/>
                  <a:gd name="connsiteY7" fmla="*/ 134831 h 1264811"/>
                  <a:gd name="connsiteX8" fmla="*/ 0 w 1022748"/>
                  <a:gd name="connsiteY8" fmla="*/ 135937 h 1264811"/>
                  <a:gd name="connsiteX9" fmla="*/ 95052 w 1022748"/>
                  <a:gd name="connsiteY9" fmla="*/ 0 h 1264811"/>
                  <a:gd name="connsiteX10" fmla="*/ 197941 w 1022748"/>
                  <a:gd name="connsiteY10" fmla="*/ 134831 h 1264811"/>
                  <a:gd name="connsiteX0" fmla="*/ 197941 w 839632"/>
                  <a:gd name="connsiteY0" fmla="*/ 134831 h 765301"/>
                  <a:gd name="connsiteX1" fmla="*/ 132515 w 839632"/>
                  <a:gd name="connsiteY1" fmla="*/ 134132 h 765301"/>
                  <a:gd name="connsiteX2" fmla="*/ 244947 w 839632"/>
                  <a:gd name="connsiteY2" fmla="*/ 450554 h 765301"/>
                  <a:gd name="connsiteX3" fmla="*/ 776520 w 839632"/>
                  <a:gd name="connsiteY3" fmla="*/ 706578 h 765301"/>
                  <a:gd name="connsiteX4" fmla="*/ 766531 w 839632"/>
                  <a:gd name="connsiteY4" fmla="*/ 750437 h 765301"/>
                  <a:gd name="connsiteX5" fmla="*/ 209662 w 839632"/>
                  <a:gd name="connsiteY5" fmla="*/ 504001 h 765301"/>
                  <a:gd name="connsiteX6" fmla="*/ 63255 w 839632"/>
                  <a:gd name="connsiteY6" fmla="*/ 134831 h 765301"/>
                  <a:gd name="connsiteX7" fmla="*/ 0 w 839632"/>
                  <a:gd name="connsiteY7" fmla="*/ 135937 h 765301"/>
                  <a:gd name="connsiteX8" fmla="*/ 95052 w 839632"/>
                  <a:gd name="connsiteY8" fmla="*/ 0 h 765301"/>
                  <a:gd name="connsiteX9" fmla="*/ 197941 w 839632"/>
                  <a:gd name="connsiteY9" fmla="*/ 134831 h 765301"/>
                  <a:gd name="connsiteX0" fmla="*/ 197941 w 776578"/>
                  <a:gd name="connsiteY0" fmla="*/ 134831 h 707059"/>
                  <a:gd name="connsiteX1" fmla="*/ 132515 w 776578"/>
                  <a:gd name="connsiteY1" fmla="*/ 134132 h 707059"/>
                  <a:gd name="connsiteX2" fmla="*/ 244947 w 776578"/>
                  <a:gd name="connsiteY2" fmla="*/ 450554 h 707059"/>
                  <a:gd name="connsiteX3" fmla="*/ 776520 w 776578"/>
                  <a:gd name="connsiteY3" fmla="*/ 706578 h 707059"/>
                  <a:gd name="connsiteX4" fmla="*/ 209662 w 776578"/>
                  <a:gd name="connsiteY4" fmla="*/ 504001 h 707059"/>
                  <a:gd name="connsiteX5" fmla="*/ 63255 w 776578"/>
                  <a:gd name="connsiteY5" fmla="*/ 134831 h 707059"/>
                  <a:gd name="connsiteX6" fmla="*/ 0 w 776578"/>
                  <a:gd name="connsiteY6" fmla="*/ 135937 h 707059"/>
                  <a:gd name="connsiteX7" fmla="*/ 95052 w 776578"/>
                  <a:gd name="connsiteY7" fmla="*/ 0 h 707059"/>
                  <a:gd name="connsiteX8" fmla="*/ 197941 w 776578"/>
                  <a:gd name="connsiteY8" fmla="*/ 134831 h 707059"/>
                  <a:gd name="connsiteX0" fmla="*/ 197941 w 664373"/>
                  <a:gd name="connsiteY0" fmla="*/ 134831 h 686304"/>
                  <a:gd name="connsiteX1" fmla="*/ 132515 w 664373"/>
                  <a:gd name="connsiteY1" fmla="*/ 134132 h 686304"/>
                  <a:gd name="connsiteX2" fmla="*/ 244947 w 664373"/>
                  <a:gd name="connsiteY2" fmla="*/ 450554 h 686304"/>
                  <a:gd name="connsiteX3" fmla="*/ 664298 w 664373"/>
                  <a:gd name="connsiteY3" fmla="*/ 685744 h 686304"/>
                  <a:gd name="connsiteX4" fmla="*/ 209662 w 664373"/>
                  <a:gd name="connsiteY4" fmla="*/ 504001 h 686304"/>
                  <a:gd name="connsiteX5" fmla="*/ 63255 w 664373"/>
                  <a:gd name="connsiteY5" fmla="*/ 134831 h 686304"/>
                  <a:gd name="connsiteX6" fmla="*/ 0 w 664373"/>
                  <a:gd name="connsiteY6" fmla="*/ 135937 h 686304"/>
                  <a:gd name="connsiteX7" fmla="*/ 95052 w 664373"/>
                  <a:gd name="connsiteY7" fmla="*/ 0 h 686304"/>
                  <a:gd name="connsiteX8" fmla="*/ 197941 w 664373"/>
                  <a:gd name="connsiteY8" fmla="*/ 134831 h 686304"/>
                  <a:gd name="connsiteX0" fmla="*/ 197941 w 664574"/>
                  <a:gd name="connsiteY0" fmla="*/ 134831 h 690911"/>
                  <a:gd name="connsiteX1" fmla="*/ 132515 w 664574"/>
                  <a:gd name="connsiteY1" fmla="*/ 134132 h 690911"/>
                  <a:gd name="connsiteX2" fmla="*/ 244947 w 664574"/>
                  <a:gd name="connsiteY2" fmla="*/ 450554 h 690911"/>
                  <a:gd name="connsiteX3" fmla="*/ 664298 w 664574"/>
                  <a:gd name="connsiteY3" fmla="*/ 685744 h 690911"/>
                  <a:gd name="connsiteX4" fmla="*/ 176661 w 664574"/>
                  <a:gd name="connsiteY4" fmla="*/ 573439 h 690911"/>
                  <a:gd name="connsiteX5" fmla="*/ 63255 w 664574"/>
                  <a:gd name="connsiteY5" fmla="*/ 134831 h 690911"/>
                  <a:gd name="connsiteX6" fmla="*/ 0 w 664574"/>
                  <a:gd name="connsiteY6" fmla="*/ 135937 h 690911"/>
                  <a:gd name="connsiteX7" fmla="*/ 95052 w 664574"/>
                  <a:gd name="connsiteY7" fmla="*/ 0 h 690911"/>
                  <a:gd name="connsiteX8" fmla="*/ 197941 w 664574"/>
                  <a:gd name="connsiteY8" fmla="*/ 134831 h 690911"/>
                  <a:gd name="connsiteX0" fmla="*/ 197941 w 664366"/>
                  <a:gd name="connsiteY0" fmla="*/ 134831 h 687262"/>
                  <a:gd name="connsiteX1" fmla="*/ 132515 w 664366"/>
                  <a:gd name="connsiteY1" fmla="*/ 134132 h 687262"/>
                  <a:gd name="connsiteX2" fmla="*/ 211947 w 664366"/>
                  <a:gd name="connsiteY2" fmla="*/ 519990 h 687262"/>
                  <a:gd name="connsiteX3" fmla="*/ 664298 w 664366"/>
                  <a:gd name="connsiteY3" fmla="*/ 685744 h 687262"/>
                  <a:gd name="connsiteX4" fmla="*/ 176661 w 664366"/>
                  <a:gd name="connsiteY4" fmla="*/ 573439 h 687262"/>
                  <a:gd name="connsiteX5" fmla="*/ 63255 w 664366"/>
                  <a:gd name="connsiteY5" fmla="*/ 134831 h 687262"/>
                  <a:gd name="connsiteX6" fmla="*/ 0 w 664366"/>
                  <a:gd name="connsiteY6" fmla="*/ 135937 h 687262"/>
                  <a:gd name="connsiteX7" fmla="*/ 95052 w 664366"/>
                  <a:gd name="connsiteY7" fmla="*/ 0 h 687262"/>
                  <a:gd name="connsiteX8" fmla="*/ 197941 w 664366"/>
                  <a:gd name="connsiteY8" fmla="*/ 134831 h 687262"/>
                  <a:gd name="connsiteX0" fmla="*/ 197941 w 657764"/>
                  <a:gd name="connsiteY0" fmla="*/ 134831 h 687262"/>
                  <a:gd name="connsiteX1" fmla="*/ 132515 w 657764"/>
                  <a:gd name="connsiteY1" fmla="*/ 134132 h 687262"/>
                  <a:gd name="connsiteX2" fmla="*/ 211947 w 657764"/>
                  <a:gd name="connsiteY2" fmla="*/ 519990 h 687262"/>
                  <a:gd name="connsiteX3" fmla="*/ 657695 w 657764"/>
                  <a:gd name="connsiteY3" fmla="*/ 685746 h 687262"/>
                  <a:gd name="connsiteX4" fmla="*/ 176661 w 657764"/>
                  <a:gd name="connsiteY4" fmla="*/ 573439 h 687262"/>
                  <a:gd name="connsiteX5" fmla="*/ 63255 w 657764"/>
                  <a:gd name="connsiteY5" fmla="*/ 134831 h 687262"/>
                  <a:gd name="connsiteX6" fmla="*/ 0 w 657764"/>
                  <a:gd name="connsiteY6" fmla="*/ 135937 h 687262"/>
                  <a:gd name="connsiteX7" fmla="*/ 95052 w 657764"/>
                  <a:gd name="connsiteY7" fmla="*/ 0 h 687262"/>
                  <a:gd name="connsiteX8" fmla="*/ 197941 w 657764"/>
                  <a:gd name="connsiteY8" fmla="*/ 134831 h 687262"/>
                  <a:gd name="connsiteX0" fmla="*/ 197941 w 697378"/>
                  <a:gd name="connsiteY0" fmla="*/ 134831 h 728229"/>
                  <a:gd name="connsiteX1" fmla="*/ 132515 w 697378"/>
                  <a:gd name="connsiteY1" fmla="*/ 134132 h 728229"/>
                  <a:gd name="connsiteX2" fmla="*/ 211947 w 697378"/>
                  <a:gd name="connsiteY2" fmla="*/ 519990 h 728229"/>
                  <a:gd name="connsiteX3" fmla="*/ 697314 w 697378"/>
                  <a:gd name="connsiteY3" fmla="*/ 727407 h 728229"/>
                  <a:gd name="connsiteX4" fmla="*/ 176661 w 697378"/>
                  <a:gd name="connsiteY4" fmla="*/ 573439 h 728229"/>
                  <a:gd name="connsiteX5" fmla="*/ 63255 w 697378"/>
                  <a:gd name="connsiteY5" fmla="*/ 134831 h 728229"/>
                  <a:gd name="connsiteX6" fmla="*/ 0 w 697378"/>
                  <a:gd name="connsiteY6" fmla="*/ 135937 h 728229"/>
                  <a:gd name="connsiteX7" fmla="*/ 95052 w 697378"/>
                  <a:gd name="connsiteY7" fmla="*/ 0 h 728229"/>
                  <a:gd name="connsiteX8" fmla="*/ 197941 w 697378"/>
                  <a:gd name="connsiteY8" fmla="*/ 134831 h 728229"/>
                  <a:gd name="connsiteX0" fmla="*/ 197941 w 690787"/>
                  <a:gd name="connsiteY0" fmla="*/ 134831 h 728225"/>
                  <a:gd name="connsiteX1" fmla="*/ 132515 w 690787"/>
                  <a:gd name="connsiteY1" fmla="*/ 134132 h 728225"/>
                  <a:gd name="connsiteX2" fmla="*/ 211947 w 690787"/>
                  <a:gd name="connsiteY2" fmla="*/ 519990 h 728225"/>
                  <a:gd name="connsiteX3" fmla="*/ 690723 w 690787"/>
                  <a:gd name="connsiteY3" fmla="*/ 727403 h 728225"/>
                  <a:gd name="connsiteX4" fmla="*/ 176661 w 690787"/>
                  <a:gd name="connsiteY4" fmla="*/ 573439 h 728225"/>
                  <a:gd name="connsiteX5" fmla="*/ 63255 w 690787"/>
                  <a:gd name="connsiteY5" fmla="*/ 134831 h 728225"/>
                  <a:gd name="connsiteX6" fmla="*/ 0 w 690787"/>
                  <a:gd name="connsiteY6" fmla="*/ 135937 h 728225"/>
                  <a:gd name="connsiteX7" fmla="*/ 95052 w 690787"/>
                  <a:gd name="connsiteY7" fmla="*/ 0 h 728225"/>
                  <a:gd name="connsiteX8" fmla="*/ 197941 w 690787"/>
                  <a:gd name="connsiteY8" fmla="*/ 134831 h 728225"/>
                  <a:gd name="connsiteX0" fmla="*/ 197941 w 670985"/>
                  <a:gd name="connsiteY0" fmla="*/ 134831 h 721350"/>
                  <a:gd name="connsiteX1" fmla="*/ 132515 w 670985"/>
                  <a:gd name="connsiteY1" fmla="*/ 134132 h 721350"/>
                  <a:gd name="connsiteX2" fmla="*/ 211947 w 670985"/>
                  <a:gd name="connsiteY2" fmla="*/ 519990 h 721350"/>
                  <a:gd name="connsiteX3" fmla="*/ 670919 w 670985"/>
                  <a:gd name="connsiteY3" fmla="*/ 720457 h 721350"/>
                  <a:gd name="connsiteX4" fmla="*/ 176661 w 670985"/>
                  <a:gd name="connsiteY4" fmla="*/ 573439 h 721350"/>
                  <a:gd name="connsiteX5" fmla="*/ 63255 w 670985"/>
                  <a:gd name="connsiteY5" fmla="*/ 134831 h 721350"/>
                  <a:gd name="connsiteX6" fmla="*/ 0 w 670985"/>
                  <a:gd name="connsiteY6" fmla="*/ 135937 h 721350"/>
                  <a:gd name="connsiteX7" fmla="*/ 95052 w 670985"/>
                  <a:gd name="connsiteY7" fmla="*/ 0 h 721350"/>
                  <a:gd name="connsiteX8" fmla="*/ 197941 w 670985"/>
                  <a:gd name="connsiteY8" fmla="*/ 134831 h 721350"/>
                  <a:gd name="connsiteX0" fmla="*/ 197941 w 712363"/>
                  <a:gd name="connsiteY0" fmla="*/ 134831 h 742007"/>
                  <a:gd name="connsiteX1" fmla="*/ 132515 w 712363"/>
                  <a:gd name="connsiteY1" fmla="*/ 134132 h 742007"/>
                  <a:gd name="connsiteX2" fmla="*/ 211947 w 712363"/>
                  <a:gd name="connsiteY2" fmla="*/ 519990 h 742007"/>
                  <a:gd name="connsiteX3" fmla="*/ 670919 w 712363"/>
                  <a:gd name="connsiteY3" fmla="*/ 720457 h 742007"/>
                  <a:gd name="connsiteX4" fmla="*/ 176661 w 712363"/>
                  <a:gd name="connsiteY4" fmla="*/ 573439 h 742007"/>
                  <a:gd name="connsiteX5" fmla="*/ 63255 w 712363"/>
                  <a:gd name="connsiteY5" fmla="*/ 134831 h 742007"/>
                  <a:gd name="connsiteX6" fmla="*/ 0 w 712363"/>
                  <a:gd name="connsiteY6" fmla="*/ 135937 h 742007"/>
                  <a:gd name="connsiteX7" fmla="*/ 95052 w 712363"/>
                  <a:gd name="connsiteY7" fmla="*/ 0 h 742007"/>
                  <a:gd name="connsiteX8" fmla="*/ 197941 w 712363"/>
                  <a:gd name="connsiteY8" fmla="*/ 134831 h 742007"/>
                  <a:gd name="connsiteX0" fmla="*/ 197941 w 712363"/>
                  <a:gd name="connsiteY0" fmla="*/ 134831 h 742003"/>
                  <a:gd name="connsiteX1" fmla="*/ 132515 w 712363"/>
                  <a:gd name="connsiteY1" fmla="*/ 134132 h 742003"/>
                  <a:gd name="connsiteX2" fmla="*/ 211947 w 712363"/>
                  <a:gd name="connsiteY2" fmla="*/ 519990 h 742003"/>
                  <a:gd name="connsiteX3" fmla="*/ 670919 w 712363"/>
                  <a:gd name="connsiteY3" fmla="*/ 720457 h 742003"/>
                  <a:gd name="connsiteX4" fmla="*/ 176661 w 712363"/>
                  <a:gd name="connsiteY4" fmla="*/ 573439 h 742003"/>
                  <a:gd name="connsiteX5" fmla="*/ 63255 w 712363"/>
                  <a:gd name="connsiteY5" fmla="*/ 134831 h 742003"/>
                  <a:gd name="connsiteX6" fmla="*/ 0 w 712363"/>
                  <a:gd name="connsiteY6" fmla="*/ 135937 h 742003"/>
                  <a:gd name="connsiteX7" fmla="*/ 95052 w 712363"/>
                  <a:gd name="connsiteY7" fmla="*/ 0 h 742003"/>
                  <a:gd name="connsiteX8" fmla="*/ 197941 w 712363"/>
                  <a:gd name="connsiteY8" fmla="*/ 134831 h 742003"/>
                  <a:gd name="connsiteX0" fmla="*/ 197941 w 670919"/>
                  <a:gd name="connsiteY0" fmla="*/ 134831 h 742007"/>
                  <a:gd name="connsiteX1" fmla="*/ 132515 w 670919"/>
                  <a:gd name="connsiteY1" fmla="*/ 134132 h 742007"/>
                  <a:gd name="connsiteX2" fmla="*/ 211947 w 670919"/>
                  <a:gd name="connsiteY2" fmla="*/ 519990 h 742007"/>
                  <a:gd name="connsiteX3" fmla="*/ 670919 w 670919"/>
                  <a:gd name="connsiteY3" fmla="*/ 720457 h 742007"/>
                  <a:gd name="connsiteX4" fmla="*/ 176661 w 670919"/>
                  <a:gd name="connsiteY4" fmla="*/ 573439 h 742007"/>
                  <a:gd name="connsiteX5" fmla="*/ 63255 w 670919"/>
                  <a:gd name="connsiteY5" fmla="*/ 134831 h 742007"/>
                  <a:gd name="connsiteX6" fmla="*/ 0 w 670919"/>
                  <a:gd name="connsiteY6" fmla="*/ 135937 h 742007"/>
                  <a:gd name="connsiteX7" fmla="*/ 95052 w 670919"/>
                  <a:gd name="connsiteY7" fmla="*/ 0 h 742007"/>
                  <a:gd name="connsiteX8" fmla="*/ 197941 w 670919"/>
                  <a:gd name="connsiteY8" fmla="*/ 134831 h 742007"/>
                  <a:gd name="connsiteX0" fmla="*/ 197941 w 670919"/>
                  <a:gd name="connsiteY0" fmla="*/ 134831 h 720512"/>
                  <a:gd name="connsiteX1" fmla="*/ 132515 w 670919"/>
                  <a:gd name="connsiteY1" fmla="*/ 134132 h 720512"/>
                  <a:gd name="connsiteX2" fmla="*/ 211947 w 670919"/>
                  <a:gd name="connsiteY2" fmla="*/ 519990 h 720512"/>
                  <a:gd name="connsiteX3" fmla="*/ 670919 w 670919"/>
                  <a:gd name="connsiteY3" fmla="*/ 720457 h 720512"/>
                  <a:gd name="connsiteX4" fmla="*/ 176661 w 670919"/>
                  <a:gd name="connsiteY4" fmla="*/ 573439 h 720512"/>
                  <a:gd name="connsiteX5" fmla="*/ 63255 w 670919"/>
                  <a:gd name="connsiteY5" fmla="*/ 134831 h 720512"/>
                  <a:gd name="connsiteX6" fmla="*/ 0 w 670919"/>
                  <a:gd name="connsiteY6" fmla="*/ 135937 h 720512"/>
                  <a:gd name="connsiteX7" fmla="*/ 95052 w 670919"/>
                  <a:gd name="connsiteY7" fmla="*/ 0 h 720512"/>
                  <a:gd name="connsiteX8" fmla="*/ 197941 w 670919"/>
                  <a:gd name="connsiteY8" fmla="*/ 134831 h 720512"/>
                  <a:gd name="connsiteX0" fmla="*/ 197941 w 670919"/>
                  <a:gd name="connsiteY0" fmla="*/ 134831 h 720512"/>
                  <a:gd name="connsiteX1" fmla="*/ 132515 w 670919"/>
                  <a:gd name="connsiteY1" fmla="*/ 134132 h 720512"/>
                  <a:gd name="connsiteX2" fmla="*/ 211947 w 670919"/>
                  <a:gd name="connsiteY2" fmla="*/ 519990 h 720512"/>
                  <a:gd name="connsiteX3" fmla="*/ 670919 w 670919"/>
                  <a:gd name="connsiteY3" fmla="*/ 720457 h 720512"/>
                  <a:gd name="connsiteX4" fmla="*/ 176661 w 670919"/>
                  <a:gd name="connsiteY4" fmla="*/ 573439 h 720512"/>
                  <a:gd name="connsiteX5" fmla="*/ 63255 w 670919"/>
                  <a:gd name="connsiteY5" fmla="*/ 134831 h 720512"/>
                  <a:gd name="connsiteX6" fmla="*/ 0 w 670919"/>
                  <a:gd name="connsiteY6" fmla="*/ 135937 h 720512"/>
                  <a:gd name="connsiteX7" fmla="*/ 95052 w 670919"/>
                  <a:gd name="connsiteY7" fmla="*/ 0 h 720512"/>
                  <a:gd name="connsiteX8" fmla="*/ 197941 w 670919"/>
                  <a:gd name="connsiteY8" fmla="*/ 134831 h 720512"/>
                  <a:gd name="connsiteX0" fmla="*/ 197941 w 670919"/>
                  <a:gd name="connsiteY0" fmla="*/ 134831 h 720505"/>
                  <a:gd name="connsiteX1" fmla="*/ 132515 w 670919"/>
                  <a:gd name="connsiteY1" fmla="*/ 134132 h 720505"/>
                  <a:gd name="connsiteX2" fmla="*/ 211947 w 670919"/>
                  <a:gd name="connsiteY2" fmla="*/ 519990 h 720505"/>
                  <a:gd name="connsiteX3" fmla="*/ 670919 w 670919"/>
                  <a:gd name="connsiteY3" fmla="*/ 720457 h 720505"/>
                  <a:gd name="connsiteX4" fmla="*/ 150261 w 670919"/>
                  <a:gd name="connsiteY4" fmla="*/ 566494 h 720505"/>
                  <a:gd name="connsiteX5" fmla="*/ 63255 w 670919"/>
                  <a:gd name="connsiteY5" fmla="*/ 134831 h 720505"/>
                  <a:gd name="connsiteX6" fmla="*/ 0 w 670919"/>
                  <a:gd name="connsiteY6" fmla="*/ 135937 h 720505"/>
                  <a:gd name="connsiteX7" fmla="*/ 95052 w 670919"/>
                  <a:gd name="connsiteY7" fmla="*/ 0 h 720505"/>
                  <a:gd name="connsiteX8" fmla="*/ 197941 w 670919"/>
                  <a:gd name="connsiteY8" fmla="*/ 134831 h 720505"/>
                  <a:gd name="connsiteX0" fmla="*/ 197941 w 670919"/>
                  <a:gd name="connsiteY0" fmla="*/ 134831 h 720505"/>
                  <a:gd name="connsiteX1" fmla="*/ 132515 w 670919"/>
                  <a:gd name="connsiteY1" fmla="*/ 134132 h 720505"/>
                  <a:gd name="connsiteX2" fmla="*/ 198754 w 670919"/>
                  <a:gd name="connsiteY2" fmla="*/ 526934 h 720505"/>
                  <a:gd name="connsiteX3" fmla="*/ 670919 w 670919"/>
                  <a:gd name="connsiteY3" fmla="*/ 720457 h 720505"/>
                  <a:gd name="connsiteX4" fmla="*/ 150261 w 670919"/>
                  <a:gd name="connsiteY4" fmla="*/ 566494 h 720505"/>
                  <a:gd name="connsiteX5" fmla="*/ 63255 w 670919"/>
                  <a:gd name="connsiteY5" fmla="*/ 134831 h 720505"/>
                  <a:gd name="connsiteX6" fmla="*/ 0 w 670919"/>
                  <a:gd name="connsiteY6" fmla="*/ 135937 h 720505"/>
                  <a:gd name="connsiteX7" fmla="*/ 95052 w 670919"/>
                  <a:gd name="connsiteY7" fmla="*/ 0 h 720505"/>
                  <a:gd name="connsiteX8" fmla="*/ 197941 w 670919"/>
                  <a:gd name="connsiteY8" fmla="*/ 134831 h 720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0919" h="720505">
                    <a:moveTo>
                      <a:pt x="197941" y="134831"/>
                    </a:moveTo>
                    <a:lnTo>
                      <a:pt x="132515" y="134132"/>
                    </a:lnTo>
                    <a:cubicBezTo>
                      <a:pt x="133415" y="269709"/>
                      <a:pt x="109020" y="429213"/>
                      <a:pt x="198754" y="526934"/>
                    </a:cubicBezTo>
                    <a:cubicBezTo>
                      <a:pt x="288488" y="624655"/>
                      <a:pt x="366527" y="683771"/>
                      <a:pt x="670919" y="720457"/>
                    </a:cubicBezTo>
                    <a:cubicBezTo>
                      <a:pt x="367960" y="722422"/>
                      <a:pt x="251538" y="664098"/>
                      <a:pt x="150261" y="566494"/>
                    </a:cubicBezTo>
                    <a:cubicBezTo>
                      <a:pt x="48984" y="468890"/>
                      <a:pt x="53244" y="311986"/>
                      <a:pt x="63255" y="134831"/>
                    </a:cubicBezTo>
                    <a:lnTo>
                      <a:pt x="0" y="135937"/>
                    </a:lnTo>
                    <a:lnTo>
                      <a:pt x="95052" y="0"/>
                    </a:lnTo>
                    <a:lnTo>
                      <a:pt x="197941" y="134831"/>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3108" name="Rechteck 477">
                <a:extLst>
                  <a:ext uri="{FF2B5EF4-FFF2-40B4-BE49-F238E27FC236}">
                    <a16:creationId xmlns:a16="http://schemas.microsoft.com/office/drawing/2014/main" id="{1719D33F-D68E-401F-A04E-49FE011A37F2}"/>
                  </a:ext>
                </a:extLst>
              </p:cNvPr>
              <p:cNvSpPr/>
              <p:nvPr/>
            </p:nvSpPr>
            <p:spPr bwMode="gray">
              <a:xfrm>
                <a:off x="7861235" y="5588853"/>
                <a:ext cx="48326" cy="166360"/>
              </a:xfrm>
              <a:custGeom>
                <a:avLst/>
                <a:gdLst>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268462 h 821939"/>
                  <a:gd name="connsiteX4" fmla="*/ 127834 w 139285"/>
                  <a:gd name="connsiteY4" fmla="*/ 678333 h 821939"/>
                  <a:gd name="connsiteX5" fmla="*/ 99762 w 139285"/>
                  <a:gd name="connsiteY5" fmla="*/ 821939 h 821939"/>
                  <a:gd name="connsiteX6" fmla="*/ 109073 w 139285"/>
                  <a:gd name="connsiteY6" fmla="*/ 661483 h 821939"/>
                  <a:gd name="connsiteX7" fmla="*/ 47488 w 139285"/>
                  <a:gd name="connsiteY7" fmla="*/ 357244 h 821939"/>
                  <a:gd name="connsiteX8" fmla="*/ 41621 w 139285"/>
                  <a:gd name="connsiteY8" fmla="*/ 120072 h 821939"/>
                  <a:gd name="connsiteX9" fmla="*/ 0 w 139285"/>
                  <a:gd name="connsiteY9" fmla="*/ 120072 h 821939"/>
                  <a:gd name="connsiteX10" fmla="*/ 69644 w 139285"/>
                  <a:gd name="connsiteY10"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268462 h 821939"/>
                  <a:gd name="connsiteX4" fmla="*/ 127834 w 139285"/>
                  <a:gd name="connsiteY4" fmla="*/ 678333 h 821939"/>
                  <a:gd name="connsiteX5" fmla="*/ 99762 w 139285"/>
                  <a:gd name="connsiteY5" fmla="*/ 821939 h 821939"/>
                  <a:gd name="connsiteX6" fmla="*/ 109073 w 139285"/>
                  <a:gd name="connsiteY6" fmla="*/ 661483 h 821939"/>
                  <a:gd name="connsiteX7" fmla="*/ 47488 w 139285"/>
                  <a:gd name="connsiteY7" fmla="*/ 357244 h 821939"/>
                  <a:gd name="connsiteX8" fmla="*/ 41621 w 139285"/>
                  <a:gd name="connsiteY8" fmla="*/ 120072 h 821939"/>
                  <a:gd name="connsiteX9" fmla="*/ 0 w 139285"/>
                  <a:gd name="connsiteY9" fmla="*/ 120072 h 821939"/>
                  <a:gd name="connsiteX10" fmla="*/ 69644 w 139285"/>
                  <a:gd name="connsiteY10"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306562 h 821939"/>
                  <a:gd name="connsiteX4" fmla="*/ 127834 w 139285"/>
                  <a:gd name="connsiteY4" fmla="*/ 678333 h 821939"/>
                  <a:gd name="connsiteX5" fmla="*/ 99762 w 139285"/>
                  <a:gd name="connsiteY5" fmla="*/ 821939 h 821939"/>
                  <a:gd name="connsiteX6" fmla="*/ 109073 w 139285"/>
                  <a:gd name="connsiteY6" fmla="*/ 661483 h 821939"/>
                  <a:gd name="connsiteX7" fmla="*/ 47488 w 139285"/>
                  <a:gd name="connsiteY7" fmla="*/ 357244 h 821939"/>
                  <a:gd name="connsiteX8" fmla="*/ 41621 w 139285"/>
                  <a:gd name="connsiteY8" fmla="*/ 120072 h 821939"/>
                  <a:gd name="connsiteX9" fmla="*/ 0 w 139285"/>
                  <a:gd name="connsiteY9" fmla="*/ 120072 h 821939"/>
                  <a:gd name="connsiteX10" fmla="*/ 69644 w 139285"/>
                  <a:gd name="connsiteY10"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306562 h 821939"/>
                  <a:gd name="connsiteX4" fmla="*/ 127834 w 139285"/>
                  <a:gd name="connsiteY4" fmla="*/ 678333 h 821939"/>
                  <a:gd name="connsiteX5" fmla="*/ 99762 w 139285"/>
                  <a:gd name="connsiteY5" fmla="*/ 821939 h 821939"/>
                  <a:gd name="connsiteX6" fmla="*/ 109073 w 139285"/>
                  <a:gd name="connsiteY6" fmla="*/ 661483 h 821939"/>
                  <a:gd name="connsiteX7" fmla="*/ 43678 w 139285"/>
                  <a:gd name="connsiteY7" fmla="*/ 349624 h 821939"/>
                  <a:gd name="connsiteX8" fmla="*/ 41621 w 139285"/>
                  <a:gd name="connsiteY8" fmla="*/ 120072 h 821939"/>
                  <a:gd name="connsiteX9" fmla="*/ 0 w 139285"/>
                  <a:gd name="connsiteY9" fmla="*/ 120072 h 821939"/>
                  <a:gd name="connsiteX10" fmla="*/ 69644 w 139285"/>
                  <a:gd name="connsiteY10"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306562 h 821939"/>
                  <a:gd name="connsiteX4" fmla="*/ 91662 w 139285"/>
                  <a:gd name="connsiteY4" fmla="*/ 309251 h 821939"/>
                  <a:gd name="connsiteX5" fmla="*/ 127834 w 139285"/>
                  <a:gd name="connsiteY5" fmla="*/ 678333 h 821939"/>
                  <a:gd name="connsiteX6" fmla="*/ 99762 w 139285"/>
                  <a:gd name="connsiteY6" fmla="*/ 821939 h 821939"/>
                  <a:gd name="connsiteX7" fmla="*/ 109073 w 139285"/>
                  <a:gd name="connsiteY7" fmla="*/ 661483 h 821939"/>
                  <a:gd name="connsiteX8" fmla="*/ 43678 w 139285"/>
                  <a:gd name="connsiteY8" fmla="*/ 349624 h 821939"/>
                  <a:gd name="connsiteX9" fmla="*/ 41621 w 139285"/>
                  <a:gd name="connsiteY9" fmla="*/ 120072 h 821939"/>
                  <a:gd name="connsiteX10" fmla="*/ 0 w 139285"/>
                  <a:gd name="connsiteY10" fmla="*/ 120072 h 821939"/>
                  <a:gd name="connsiteX11" fmla="*/ 69644 w 139285"/>
                  <a:gd name="connsiteY11"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306562 h 821939"/>
                  <a:gd name="connsiteX4" fmla="*/ 93567 w 139285"/>
                  <a:gd name="connsiteY4" fmla="*/ 379736 h 821939"/>
                  <a:gd name="connsiteX5" fmla="*/ 127834 w 139285"/>
                  <a:gd name="connsiteY5" fmla="*/ 678333 h 821939"/>
                  <a:gd name="connsiteX6" fmla="*/ 99762 w 139285"/>
                  <a:gd name="connsiteY6" fmla="*/ 821939 h 821939"/>
                  <a:gd name="connsiteX7" fmla="*/ 109073 w 139285"/>
                  <a:gd name="connsiteY7" fmla="*/ 661483 h 821939"/>
                  <a:gd name="connsiteX8" fmla="*/ 43678 w 139285"/>
                  <a:gd name="connsiteY8" fmla="*/ 349624 h 821939"/>
                  <a:gd name="connsiteX9" fmla="*/ 41621 w 139285"/>
                  <a:gd name="connsiteY9" fmla="*/ 120072 h 821939"/>
                  <a:gd name="connsiteX10" fmla="*/ 0 w 139285"/>
                  <a:gd name="connsiteY10" fmla="*/ 120072 h 821939"/>
                  <a:gd name="connsiteX11" fmla="*/ 69644 w 139285"/>
                  <a:gd name="connsiteY11"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306562 h 821939"/>
                  <a:gd name="connsiteX4" fmla="*/ 127834 w 139285"/>
                  <a:gd name="connsiteY4" fmla="*/ 678333 h 821939"/>
                  <a:gd name="connsiteX5" fmla="*/ 99762 w 139285"/>
                  <a:gd name="connsiteY5" fmla="*/ 821939 h 821939"/>
                  <a:gd name="connsiteX6" fmla="*/ 109073 w 139285"/>
                  <a:gd name="connsiteY6" fmla="*/ 661483 h 821939"/>
                  <a:gd name="connsiteX7" fmla="*/ 43678 w 139285"/>
                  <a:gd name="connsiteY7" fmla="*/ 349624 h 821939"/>
                  <a:gd name="connsiteX8" fmla="*/ 41621 w 139285"/>
                  <a:gd name="connsiteY8" fmla="*/ 120072 h 821939"/>
                  <a:gd name="connsiteX9" fmla="*/ 0 w 139285"/>
                  <a:gd name="connsiteY9" fmla="*/ 120072 h 821939"/>
                  <a:gd name="connsiteX10" fmla="*/ 69644 w 139285"/>
                  <a:gd name="connsiteY10"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306562 h 821939"/>
                  <a:gd name="connsiteX4" fmla="*/ 127834 w 139285"/>
                  <a:gd name="connsiteY4" fmla="*/ 678333 h 821939"/>
                  <a:gd name="connsiteX5" fmla="*/ 99762 w 139285"/>
                  <a:gd name="connsiteY5" fmla="*/ 821939 h 821939"/>
                  <a:gd name="connsiteX6" fmla="*/ 109073 w 139285"/>
                  <a:gd name="connsiteY6" fmla="*/ 661483 h 821939"/>
                  <a:gd name="connsiteX7" fmla="*/ 43678 w 139285"/>
                  <a:gd name="connsiteY7" fmla="*/ 349624 h 821939"/>
                  <a:gd name="connsiteX8" fmla="*/ 41621 w 139285"/>
                  <a:gd name="connsiteY8" fmla="*/ 120072 h 821939"/>
                  <a:gd name="connsiteX9" fmla="*/ 0 w 139285"/>
                  <a:gd name="connsiteY9" fmla="*/ 120072 h 821939"/>
                  <a:gd name="connsiteX10" fmla="*/ 69644 w 139285"/>
                  <a:gd name="connsiteY10"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306562 h 821939"/>
                  <a:gd name="connsiteX4" fmla="*/ 127834 w 139285"/>
                  <a:gd name="connsiteY4" fmla="*/ 678333 h 821939"/>
                  <a:gd name="connsiteX5" fmla="*/ 99762 w 139285"/>
                  <a:gd name="connsiteY5" fmla="*/ 821939 h 821939"/>
                  <a:gd name="connsiteX6" fmla="*/ 109073 w 139285"/>
                  <a:gd name="connsiteY6" fmla="*/ 661483 h 821939"/>
                  <a:gd name="connsiteX7" fmla="*/ 43678 w 139285"/>
                  <a:gd name="connsiteY7" fmla="*/ 349624 h 821939"/>
                  <a:gd name="connsiteX8" fmla="*/ 41621 w 139285"/>
                  <a:gd name="connsiteY8" fmla="*/ 120072 h 821939"/>
                  <a:gd name="connsiteX9" fmla="*/ 0 w 139285"/>
                  <a:gd name="connsiteY9" fmla="*/ 120072 h 821939"/>
                  <a:gd name="connsiteX10" fmla="*/ 69644 w 139285"/>
                  <a:gd name="connsiteY10"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306562 h 821939"/>
                  <a:gd name="connsiteX4" fmla="*/ 127834 w 139285"/>
                  <a:gd name="connsiteY4" fmla="*/ 678333 h 821939"/>
                  <a:gd name="connsiteX5" fmla="*/ 99762 w 139285"/>
                  <a:gd name="connsiteY5" fmla="*/ 821939 h 821939"/>
                  <a:gd name="connsiteX6" fmla="*/ 109073 w 139285"/>
                  <a:gd name="connsiteY6" fmla="*/ 661483 h 821939"/>
                  <a:gd name="connsiteX7" fmla="*/ 43678 w 139285"/>
                  <a:gd name="connsiteY7" fmla="*/ 349624 h 821939"/>
                  <a:gd name="connsiteX8" fmla="*/ 41621 w 139285"/>
                  <a:gd name="connsiteY8" fmla="*/ 120072 h 821939"/>
                  <a:gd name="connsiteX9" fmla="*/ 0 w 139285"/>
                  <a:gd name="connsiteY9" fmla="*/ 120072 h 821939"/>
                  <a:gd name="connsiteX10" fmla="*/ 69644 w 139285"/>
                  <a:gd name="connsiteY10"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306562 h 821939"/>
                  <a:gd name="connsiteX4" fmla="*/ 127834 w 139285"/>
                  <a:gd name="connsiteY4" fmla="*/ 678333 h 821939"/>
                  <a:gd name="connsiteX5" fmla="*/ 99762 w 139285"/>
                  <a:gd name="connsiteY5" fmla="*/ 821939 h 821939"/>
                  <a:gd name="connsiteX6" fmla="*/ 93833 w 139285"/>
                  <a:gd name="connsiteY6" fmla="*/ 671008 h 821939"/>
                  <a:gd name="connsiteX7" fmla="*/ 43678 w 139285"/>
                  <a:gd name="connsiteY7" fmla="*/ 349624 h 821939"/>
                  <a:gd name="connsiteX8" fmla="*/ 41621 w 139285"/>
                  <a:gd name="connsiteY8" fmla="*/ 120072 h 821939"/>
                  <a:gd name="connsiteX9" fmla="*/ 0 w 139285"/>
                  <a:gd name="connsiteY9" fmla="*/ 120072 h 821939"/>
                  <a:gd name="connsiteX10" fmla="*/ 69644 w 139285"/>
                  <a:gd name="connsiteY10"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306562 h 821939"/>
                  <a:gd name="connsiteX4" fmla="*/ 124024 w 139285"/>
                  <a:gd name="connsiteY4" fmla="*/ 653568 h 821939"/>
                  <a:gd name="connsiteX5" fmla="*/ 99762 w 139285"/>
                  <a:gd name="connsiteY5" fmla="*/ 821939 h 821939"/>
                  <a:gd name="connsiteX6" fmla="*/ 93833 w 139285"/>
                  <a:gd name="connsiteY6" fmla="*/ 671008 h 821939"/>
                  <a:gd name="connsiteX7" fmla="*/ 43678 w 139285"/>
                  <a:gd name="connsiteY7" fmla="*/ 349624 h 821939"/>
                  <a:gd name="connsiteX8" fmla="*/ 41621 w 139285"/>
                  <a:gd name="connsiteY8" fmla="*/ 120072 h 821939"/>
                  <a:gd name="connsiteX9" fmla="*/ 0 w 139285"/>
                  <a:gd name="connsiteY9" fmla="*/ 120072 h 821939"/>
                  <a:gd name="connsiteX10" fmla="*/ 69644 w 139285"/>
                  <a:gd name="connsiteY10"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306562 h 821939"/>
                  <a:gd name="connsiteX4" fmla="*/ 124024 w 139285"/>
                  <a:gd name="connsiteY4" fmla="*/ 653568 h 821939"/>
                  <a:gd name="connsiteX5" fmla="*/ 99762 w 139285"/>
                  <a:gd name="connsiteY5" fmla="*/ 821939 h 821939"/>
                  <a:gd name="connsiteX6" fmla="*/ 93833 w 139285"/>
                  <a:gd name="connsiteY6" fmla="*/ 648148 h 821939"/>
                  <a:gd name="connsiteX7" fmla="*/ 43678 w 139285"/>
                  <a:gd name="connsiteY7" fmla="*/ 349624 h 821939"/>
                  <a:gd name="connsiteX8" fmla="*/ 41621 w 139285"/>
                  <a:gd name="connsiteY8" fmla="*/ 120072 h 821939"/>
                  <a:gd name="connsiteX9" fmla="*/ 0 w 139285"/>
                  <a:gd name="connsiteY9" fmla="*/ 120072 h 821939"/>
                  <a:gd name="connsiteX10" fmla="*/ 69644 w 139285"/>
                  <a:gd name="connsiteY10"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306562 h 821939"/>
                  <a:gd name="connsiteX4" fmla="*/ 124024 w 139285"/>
                  <a:gd name="connsiteY4" fmla="*/ 653568 h 821939"/>
                  <a:gd name="connsiteX5" fmla="*/ 99762 w 139285"/>
                  <a:gd name="connsiteY5" fmla="*/ 821939 h 821939"/>
                  <a:gd name="connsiteX6" fmla="*/ 93833 w 139285"/>
                  <a:gd name="connsiteY6" fmla="*/ 648148 h 821939"/>
                  <a:gd name="connsiteX7" fmla="*/ 43678 w 139285"/>
                  <a:gd name="connsiteY7" fmla="*/ 349624 h 821939"/>
                  <a:gd name="connsiteX8" fmla="*/ 41621 w 139285"/>
                  <a:gd name="connsiteY8" fmla="*/ 120072 h 821939"/>
                  <a:gd name="connsiteX9" fmla="*/ 0 w 139285"/>
                  <a:gd name="connsiteY9" fmla="*/ 120072 h 821939"/>
                  <a:gd name="connsiteX10" fmla="*/ 69644 w 139285"/>
                  <a:gd name="connsiteY10" fmla="*/ 0 h 821939"/>
                  <a:gd name="connsiteX0" fmla="*/ 69644 w 139285"/>
                  <a:gd name="connsiteY0" fmla="*/ 0 h 821939"/>
                  <a:gd name="connsiteX1" fmla="*/ 139285 w 139285"/>
                  <a:gd name="connsiteY1" fmla="*/ 120073 h 821939"/>
                  <a:gd name="connsiteX2" fmla="*/ 94480 w 139285"/>
                  <a:gd name="connsiteY2" fmla="*/ 120073 h 821939"/>
                  <a:gd name="connsiteX3" fmla="*/ 93391 w 139285"/>
                  <a:gd name="connsiteY3" fmla="*/ 306562 h 821939"/>
                  <a:gd name="connsiteX4" fmla="*/ 124024 w 139285"/>
                  <a:gd name="connsiteY4" fmla="*/ 653568 h 821939"/>
                  <a:gd name="connsiteX5" fmla="*/ 99762 w 139285"/>
                  <a:gd name="connsiteY5" fmla="*/ 821939 h 821939"/>
                  <a:gd name="connsiteX6" fmla="*/ 93833 w 139285"/>
                  <a:gd name="connsiteY6" fmla="*/ 648148 h 821939"/>
                  <a:gd name="connsiteX7" fmla="*/ 43678 w 139285"/>
                  <a:gd name="connsiteY7" fmla="*/ 349624 h 821939"/>
                  <a:gd name="connsiteX8" fmla="*/ 41621 w 139285"/>
                  <a:gd name="connsiteY8" fmla="*/ 120072 h 821939"/>
                  <a:gd name="connsiteX9" fmla="*/ 0 w 139285"/>
                  <a:gd name="connsiteY9" fmla="*/ 120072 h 821939"/>
                  <a:gd name="connsiteX10" fmla="*/ 69644 w 139285"/>
                  <a:gd name="connsiteY10" fmla="*/ 0 h 821939"/>
                  <a:gd name="connsiteX0" fmla="*/ 69644 w 139285"/>
                  <a:gd name="connsiteY0" fmla="*/ 0 h 821939"/>
                  <a:gd name="connsiteX1" fmla="*/ 139285 w 139285"/>
                  <a:gd name="connsiteY1" fmla="*/ 120073 h 821939"/>
                  <a:gd name="connsiteX2" fmla="*/ 100195 w 139285"/>
                  <a:gd name="connsiteY2" fmla="*/ 120073 h 821939"/>
                  <a:gd name="connsiteX3" fmla="*/ 93391 w 139285"/>
                  <a:gd name="connsiteY3" fmla="*/ 306562 h 821939"/>
                  <a:gd name="connsiteX4" fmla="*/ 124024 w 139285"/>
                  <a:gd name="connsiteY4" fmla="*/ 653568 h 821939"/>
                  <a:gd name="connsiteX5" fmla="*/ 99762 w 139285"/>
                  <a:gd name="connsiteY5" fmla="*/ 821939 h 821939"/>
                  <a:gd name="connsiteX6" fmla="*/ 93833 w 139285"/>
                  <a:gd name="connsiteY6" fmla="*/ 648148 h 821939"/>
                  <a:gd name="connsiteX7" fmla="*/ 43678 w 139285"/>
                  <a:gd name="connsiteY7" fmla="*/ 349624 h 821939"/>
                  <a:gd name="connsiteX8" fmla="*/ 41621 w 139285"/>
                  <a:gd name="connsiteY8" fmla="*/ 120072 h 821939"/>
                  <a:gd name="connsiteX9" fmla="*/ 0 w 139285"/>
                  <a:gd name="connsiteY9" fmla="*/ 120072 h 821939"/>
                  <a:gd name="connsiteX10" fmla="*/ 69644 w 139285"/>
                  <a:gd name="connsiteY10" fmla="*/ 0 h 821939"/>
                  <a:gd name="connsiteX0" fmla="*/ 74002 w 139285"/>
                  <a:gd name="connsiteY0" fmla="*/ 0 h 987021"/>
                  <a:gd name="connsiteX1" fmla="*/ 139285 w 139285"/>
                  <a:gd name="connsiteY1" fmla="*/ 285155 h 987021"/>
                  <a:gd name="connsiteX2" fmla="*/ 100195 w 139285"/>
                  <a:gd name="connsiteY2" fmla="*/ 285155 h 987021"/>
                  <a:gd name="connsiteX3" fmla="*/ 93391 w 139285"/>
                  <a:gd name="connsiteY3" fmla="*/ 471644 h 987021"/>
                  <a:gd name="connsiteX4" fmla="*/ 124024 w 139285"/>
                  <a:gd name="connsiteY4" fmla="*/ 818650 h 987021"/>
                  <a:gd name="connsiteX5" fmla="*/ 99762 w 139285"/>
                  <a:gd name="connsiteY5" fmla="*/ 987021 h 987021"/>
                  <a:gd name="connsiteX6" fmla="*/ 93833 w 139285"/>
                  <a:gd name="connsiteY6" fmla="*/ 813230 h 987021"/>
                  <a:gd name="connsiteX7" fmla="*/ 43678 w 139285"/>
                  <a:gd name="connsiteY7" fmla="*/ 514706 h 987021"/>
                  <a:gd name="connsiteX8" fmla="*/ 41621 w 139285"/>
                  <a:gd name="connsiteY8" fmla="*/ 285154 h 987021"/>
                  <a:gd name="connsiteX9" fmla="*/ 0 w 139285"/>
                  <a:gd name="connsiteY9" fmla="*/ 285154 h 987021"/>
                  <a:gd name="connsiteX10" fmla="*/ 74002 w 139285"/>
                  <a:gd name="connsiteY10" fmla="*/ 0 h 987021"/>
                  <a:gd name="connsiteX0" fmla="*/ 74002 w 139285"/>
                  <a:gd name="connsiteY0" fmla="*/ 0 h 999488"/>
                  <a:gd name="connsiteX1" fmla="*/ 139285 w 139285"/>
                  <a:gd name="connsiteY1" fmla="*/ 285155 h 999488"/>
                  <a:gd name="connsiteX2" fmla="*/ 100195 w 139285"/>
                  <a:gd name="connsiteY2" fmla="*/ 285155 h 999488"/>
                  <a:gd name="connsiteX3" fmla="*/ 93391 w 139285"/>
                  <a:gd name="connsiteY3" fmla="*/ 471644 h 999488"/>
                  <a:gd name="connsiteX4" fmla="*/ 99762 w 139285"/>
                  <a:gd name="connsiteY4" fmla="*/ 987021 h 999488"/>
                  <a:gd name="connsiteX5" fmla="*/ 93833 w 139285"/>
                  <a:gd name="connsiteY5" fmla="*/ 813230 h 999488"/>
                  <a:gd name="connsiteX6" fmla="*/ 43678 w 139285"/>
                  <a:gd name="connsiteY6" fmla="*/ 514706 h 999488"/>
                  <a:gd name="connsiteX7" fmla="*/ 41621 w 139285"/>
                  <a:gd name="connsiteY7" fmla="*/ 285154 h 999488"/>
                  <a:gd name="connsiteX8" fmla="*/ 0 w 139285"/>
                  <a:gd name="connsiteY8" fmla="*/ 285154 h 999488"/>
                  <a:gd name="connsiteX9" fmla="*/ 74002 w 139285"/>
                  <a:gd name="connsiteY9" fmla="*/ 0 h 999488"/>
                  <a:gd name="connsiteX0" fmla="*/ 74002 w 139285"/>
                  <a:gd name="connsiteY0" fmla="*/ 0 h 813228"/>
                  <a:gd name="connsiteX1" fmla="*/ 139285 w 139285"/>
                  <a:gd name="connsiteY1" fmla="*/ 285155 h 813228"/>
                  <a:gd name="connsiteX2" fmla="*/ 100195 w 139285"/>
                  <a:gd name="connsiteY2" fmla="*/ 285155 h 813228"/>
                  <a:gd name="connsiteX3" fmla="*/ 93391 w 139285"/>
                  <a:gd name="connsiteY3" fmla="*/ 471644 h 813228"/>
                  <a:gd name="connsiteX4" fmla="*/ 93833 w 139285"/>
                  <a:gd name="connsiteY4" fmla="*/ 813230 h 813228"/>
                  <a:gd name="connsiteX5" fmla="*/ 43678 w 139285"/>
                  <a:gd name="connsiteY5" fmla="*/ 514706 h 813228"/>
                  <a:gd name="connsiteX6" fmla="*/ 41621 w 139285"/>
                  <a:gd name="connsiteY6" fmla="*/ 285154 h 813228"/>
                  <a:gd name="connsiteX7" fmla="*/ 0 w 139285"/>
                  <a:gd name="connsiteY7" fmla="*/ 285154 h 813228"/>
                  <a:gd name="connsiteX8" fmla="*/ 74002 w 139285"/>
                  <a:gd name="connsiteY8" fmla="*/ 0 h 813228"/>
                  <a:gd name="connsiteX0" fmla="*/ 74002 w 139285"/>
                  <a:gd name="connsiteY0" fmla="*/ 0 h 714763"/>
                  <a:gd name="connsiteX1" fmla="*/ 139285 w 139285"/>
                  <a:gd name="connsiteY1" fmla="*/ 285155 h 714763"/>
                  <a:gd name="connsiteX2" fmla="*/ 100195 w 139285"/>
                  <a:gd name="connsiteY2" fmla="*/ 285155 h 714763"/>
                  <a:gd name="connsiteX3" fmla="*/ 93391 w 139285"/>
                  <a:gd name="connsiteY3" fmla="*/ 471644 h 714763"/>
                  <a:gd name="connsiteX4" fmla="*/ 83894 w 139285"/>
                  <a:gd name="connsiteY4" fmla="*/ 714763 h 714763"/>
                  <a:gd name="connsiteX5" fmla="*/ 43678 w 139285"/>
                  <a:gd name="connsiteY5" fmla="*/ 514706 h 714763"/>
                  <a:gd name="connsiteX6" fmla="*/ 41621 w 139285"/>
                  <a:gd name="connsiteY6" fmla="*/ 285154 h 714763"/>
                  <a:gd name="connsiteX7" fmla="*/ 0 w 139285"/>
                  <a:gd name="connsiteY7" fmla="*/ 285154 h 714763"/>
                  <a:gd name="connsiteX8" fmla="*/ 74002 w 139285"/>
                  <a:gd name="connsiteY8" fmla="*/ 0 h 714763"/>
                  <a:gd name="connsiteX0" fmla="*/ 74002 w 139285"/>
                  <a:gd name="connsiteY0" fmla="*/ 0 h 731312"/>
                  <a:gd name="connsiteX1" fmla="*/ 139285 w 139285"/>
                  <a:gd name="connsiteY1" fmla="*/ 285155 h 731312"/>
                  <a:gd name="connsiteX2" fmla="*/ 100195 w 139285"/>
                  <a:gd name="connsiteY2" fmla="*/ 285155 h 731312"/>
                  <a:gd name="connsiteX3" fmla="*/ 93391 w 139285"/>
                  <a:gd name="connsiteY3" fmla="*/ 471644 h 731312"/>
                  <a:gd name="connsiteX4" fmla="*/ 77014 w 139285"/>
                  <a:gd name="connsiteY4" fmla="*/ 731315 h 731312"/>
                  <a:gd name="connsiteX5" fmla="*/ 43678 w 139285"/>
                  <a:gd name="connsiteY5" fmla="*/ 514706 h 731312"/>
                  <a:gd name="connsiteX6" fmla="*/ 41621 w 139285"/>
                  <a:gd name="connsiteY6" fmla="*/ 285154 h 731312"/>
                  <a:gd name="connsiteX7" fmla="*/ 0 w 139285"/>
                  <a:gd name="connsiteY7" fmla="*/ 285154 h 731312"/>
                  <a:gd name="connsiteX8" fmla="*/ 74002 w 139285"/>
                  <a:gd name="connsiteY8" fmla="*/ 0 h 731312"/>
                  <a:gd name="connsiteX0" fmla="*/ 74002 w 139285"/>
                  <a:gd name="connsiteY0" fmla="*/ 0 h 748559"/>
                  <a:gd name="connsiteX1" fmla="*/ 139285 w 139285"/>
                  <a:gd name="connsiteY1" fmla="*/ 285155 h 748559"/>
                  <a:gd name="connsiteX2" fmla="*/ 100195 w 139285"/>
                  <a:gd name="connsiteY2" fmla="*/ 285155 h 748559"/>
                  <a:gd name="connsiteX3" fmla="*/ 93391 w 139285"/>
                  <a:gd name="connsiteY3" fmla="*/ 471644 h 748559"/>
                  <a:gd name="connsiteX4" fmla="*/ 77014 w 139285"/>
                  <a:gd name="connsiteY4" fmla="*/ 731315 h 748559"/>
                  <a:gd name="connsiteX5" fmla="*/ 43678 w 139285"/>
                  <a:gd name="connsiteY5" fmla="*/ 514706 h 748559"/>
                  <a:gd name="connsiteX6" fmla="*/ 41621 w 139285"/>
                  <a:gd name="connsiteY6" fmla="*/ 285154 h 748559"/>
                  <a:gd name="connsiteX7" fmla="*/ 0 w 139285"/>
                  <a:gd name="connsiteY7" fmla="*/ 285154 h 748559"/>
                  <a:gd name="connsiteX8" fmla="*/ 74002 w 139285"/>
                  <a:gd name="connsiteY8" fmla="*/ 0 h 748559"/>
                  <a:gd name="connsiteX0" fmla="*/ 74002 w 139285"/>
                  <a:gd name="connsiteY0" fmla="*/ 0 h 748559"/>
                  <a:gd name="connsiteX1" fmla="*/ 139285 w 139285"/>
                  <a:gd name="connsiteY1" fmla="*/ 285155 h 748559"/>
                  <a:gd name="connsiteX2" fmla="*/ 100195 w 139285"/>
                  <a:gd name="connsiteY2" fmla="*/ 285155 h 748559"/>
                  <a:gd name="connsiteX3" fmla="*/ 93391 w 139285"/>
                  <a:gd name="connsiteY3" fmla="*/ 471644 h 748559"/>
                  <a:gd name="connsiteX4" fmla="*/ 77014 w 139285"/>
                  <a:gd name="connsiteY4" fmla="*/ 731315 h 748559"/>
                  <a:gd name="connsiteX5" fmla="*/ 43678 w 139285"/>
                  <a:gd name="connsiteY5" fmla="*/ 514706 h 748559"/>
                  <a:gd name="connsiteX6" fmla="*/ 41621 w 139285"/>
                  <a:gd name="connsiteY6" fmla="*/ 285154 h 748559"/>
                  <a:gd name="connsiteX7" fmla="*/ 0 w 139285"/>
                  <a:gd name="connsiteY7" fmla="*/ 285154 h 748559"/>
                  <a:gd name="connsiteX8" fmla="*/ 74002 w 139285"/>
                  <a:gd name="connsiteY8" fmla="*/ 0 h 748559"/>
                  <a:gd name="connsiteX0" fmla="*/ 74002 w 139285"/>
                  <a:gd name="connsiteY0" fmla="*/ 0 h 731312"/>
                  <a:gd name="connsiteX1" fmla="*/ 139285 w 139285"/>
                  <a:gd name="connsiteY1" fmla="*/ 285155 h 731312"/>
                  <a:gd name="connsiteX2" fmla="*/ 100195 w 139285"/>
                  <a:gd name="connsiteY2" fmla="*/ 285155 h 731312"/>
                  <a:gd name="connsiteX3" fmla="*/ 93391 w 139285"/>
                  <a:gd name="connsiteY3" fmla="*/ 471644 h 731312"/>
                  <a:gd name="connsiteX4" fmla="*/ 77014 w 139285"/>
                  <a:gd name="connsiteY4" fmla="*/ 731315 h 731312"/>
                  <a:gd name="connsiteX5" fmla="*/ 43678 w 139285"/>
                  <a:gd name="connsiteY5" fmla="*/ 514706 h 731312"/>
                  <a:gd name="connsiteX6" fmla="*/ 41621 w 139285"/>
                  <a:gd name="connsiteY6" fmla="*/ 285154 h 731312"/>
                  <a:gd name="connsiteX7" fmla="*/ 0 w 139285"/>
                  <a:gd name="connsiteY7" fmla="*/ 285154 h 731312"/>
                  <a:gd name="connsiteX8" fmla="*/ 74002 w 139285"/>
                  <a:gd name="connsiteY8" fmla="*/ 0 h 731312"/>
                  <a:gd name="connsiteX0" fmla="*/ 74002 w 139285"/>
                  <a:gd name="connsiteY0" fmla="*/ 0 h 731312"/>
                  <a:gd name="connsiteX1" fmla="*/ 139285 w 139285"/>
                  <a:gd name="connsiteY1" fmla="*/ 285155 h 731312"/>
                  <a:gd name="connsiteX2" fmla="*/ 100195 w 139285"/>
                  <a:gd name="connsiteY2" fmla="*/ 285155 h 731312"/>
                  <a:gd name="connsiteX3" fmla="*/ 93391 w 139285"/>
                  <a:gd name="connsiteY3" fmla="*/ 471644 h 731312"/>
                  <a:gd name="connsiteX4" fmla="*/ 77014 w 139285"/>
                  <a:gd name="connsiteY4" fmla="*/ 731315 h 731312"/>
                  <a:gd name="connsiteX5" fmla="*/ 54739 w 139285"/>
                  <a:gd name="connsiteY5" fmla="*/ 444908 h 731312"/>
                  <a:gd name="connsiteX6" fmla="*/ 41621 w 139285"/>
                  <a:gd name="connsiteY6" fmla="*/ 285154 h 731312"/>
                  <a:gd name="connsiteX7" fmla="*/ 0 w 139285"/>
                  <a:gd name="connsiteY7" fmla="*/ 285154 h 731312"/>
                  <a:gd name="connsiteX8" fmla="*/ 74002 w 139285"/>
                  <a:gd name="connsiteY8" fmla="*/ 0 h 731312"/>
                  <a:gd name="connsiteX0" fmla="*/ 74002 w 139285"/>
                  <a:gd name="connsiteY0" fmla="*/ 0 h 731312"/>
                  <a:gd name="connsiteX1" fmla="*/ 139285 w 139285"/>
                  <a:gd name="connsiteY1" fmla="*/ 285155 h 731312"/>
                  <a:gd name="connsiteX2" fmla="*/ 100195 w 139285"/>
                  <a:gd name="connsiteY2" fmla="*/ 285155 h 731312"/>
                  <a:gd name="connsiteX3" fmla="*/ 93391 w 139285"/>
                  <a:gd name="connsiteY3" fmla="*/ 471644 h 731312"/>
                  <a:gd name="connsiteX4" fmla="*/ 77014 w 139285"/>
                  <a:gd name="connsiteY4" fmla="*/ 731315 h 731312"/>
                  <a:gd name="connsiteX5" fmla="*/ 37655 w 139285"/>
                  <a:gd name="connsiteY5" fmla="*/ 579588 h 731312"/>
                  <a:gd name="connsiteX6" fmla="*/ 41621 w 139285"/>
                  <a:gd name="connsiteY6" fmla="*/ 285154 h 731312"/>
                  <a:gd name="connsiteX7" fmla="*/ 0 w 139285"/>
                  <a:gd name="connsiteY7" fmla="*/ 285154 h 731312"/>
                  <a:gd name="connsiteX8" fmla="*/ 74002 w 139285"/>
                  <a:gd name="connsiteY8" fmla="*/ 0 h 731312"/>
                  <a:gd name="connsiteX0" fmla="*/ 74002 w 139285"/>
                  <a:gd name="connsiteY0" fmla="*/ 0 h 731312"/>
                  <a:gd name="connsiteX1" fmla="*/ 139285 w 139285"/>
                  <a:gd name="connsiteY1" fmla="*/ 285155 h 731312"/>
                  <a:gd name="connsiteX2" fmla="*/ 100195 w 139285"/>
                  <a:gd name="connsiteY2" fmla="*/ 285155 h 731312"/>
                  <a:gd name="connsiteX3" fmla="*/ 93391 w 139285"/>
                  <a:gd name="connsiteY3" fmla="*/ 471644 h 731312"/>
                  <a:gd name="connsiteX4" fmla="*/ 77014 w 139285"/>
                  <a:gd name="connsiteY4" fmla="*/ 731315 h 731312"/>
                  <a:gd name="connsiteX5" fmla="*/ 41621 w 139285"/>
                  <a:gd name="connsiteY5" fmla="*/ 285154 h 731312"/>
                  <a:gd name="connsiteX6" fmla="*/ 0 w 139285"/>
                  <a:gd name="connsiteY6" fmla="*/ 285154 h 731312"/>
                  <a:gd name="connsiteX7" fmla="*/ 74002 w 139285"/>
                  <a:gd name="connsiteY7" fmla="*/ 0 h 731312"/>
                  <a:gd name="connsiteX0" fmla="*/ 74002 w 139285"/>
                  <a:gd name="connsiteY0" fmla="*/ 0 h 731312"/>
                  <a:gd name="connsiteX1" fmla="*/ 139285 w 139285"/>
                  <a:gd name="connsiteY1" fmla="*/ 285155 h 731312"/>
                  <a:gd name="connsiteX2" fmla="*/ 100195 w 139285"/>
                  <a:gd name="connsiteY2" fmla="*/ 285155 h 731312"/>
                  <a:gd name="connsiteX3" fmla="*/ 77014 w 139285"/>
                  <a:gd name="connsiteY3" fmla="*/ 731315 h 731312"/>
                  <a:gd name="connsiteX4" fmla="*/ 41621 w 139285"/>
                  <a:gd name="connsiteY4" fmla="*/ 285154 h 731312"/>
                  <a:gd name="connsiteX5" fmla="*/ 0 w 139285"/>
                  <a:gd name="connsiteY5" fmla="*/ 285154 h 731312"/>
                  <a:gd name="connsiteX6" fmla="*/ 74002 w 139285"/>
                  <a:gd name="connsiteY6" fmla="*/ 0 h 731312"/>
                  <a:gd name="connsiteX0" fmla="*/ 74002 w 139285"/>
                  <a:gd name="connsiteY0" fmla="*/ 0 h 726397"/>
                  <a:gd name="connsiteX1" fmla="*/ 139285 w 139285"/>
                  <a:gd name="connsiteY1" fmla="*/ 285155 h 726397"/>
                  <a:gd name="connsiteX2" fmla="*/ 100195 w 139285"/>
                  <a:gd name="connsiteY2" fmla="*/ 285155 h 726397"/>
                  <a:gd name="connsiteX3" fmla="*/ 82051 w 139285"/>
                  <a:gd name="connsiteY3" fmla="*/ 726394 h 726397"/>
                  <a:gd name="connsiteX4" fmla="*/ 41621 w 139285"/>
                  <a:gd name="connsiteY4" fmla="*/ 285154 h 726397"/>
                  <a:gd name="connsiteX5" fmla="*/ 0 w 139285"/>
                  <a:gd name="connsiteY5" fmla="*/ 285154 h 726397"/>
                  <a:gd name="connsiteX6" fmla="*/ 74002 w 139285"/>
                  <a:gd name="connsiteY6" fmla="*/ 0 h 726397"/>
                  <a:gd name="connsiteX0" fmla="*/ 74002 w 139285"/>
                  <a:gd name="connsiteY0" fmla="*/ 0 h 726397"/>
                  <a:gd name="connsiteX1" fmla="*/ 139285 w 139285"/>
                  <a:gd name="connsiteY1" fmla="*/ 285155 h 726397"/>
                  <a:gd name="connsiteX2" fmla="*/ 100195 w 139285"/>
                  <a:gd name="connsiteY2" fmla="*/ 285155 h 726397"/>
                  <a:gd name="connsiteX3" fmla="*/ 82051 w 139285"/>
                  <a:gd name="connsiteY3" fmla="*/ 726394 h 726397"/>
                  <a:gd name="connsiteX4" fmla="*/ 41621 w 139285"/>
                  <a:gd name="connsiteY4" fmla="*/ 285154 h 726397"/>
                  <a:gd name="connsiteX5" fmla="*/ 0 w 139285"/>
                  <a:gd name="connsiteY5" fmla="*/ 285154 h 726397"/>
                  <a:gd name="connsiteX6" fmla="*/ 74002 w 139285"/>
                  <a:gd name="connsiteY6" fmla="*/ 0 h 726397"/>
                  <a:gd name="connsiteX0" fmla="*/ 74002 w 139285"/>
                  <a:gd name="connsiteY0" fmla="*/ 0 h 802911"/>
                  <a:gd name="connsiteX1" fmla="*/ 139285 w 139285"/>
                  <a:gd name="connsiteY1" fmla="*/ 285155 h 802911"/>
                  <a:gd name="connsiteX2" fmla="*/ 100195 w 139285"/>
                  <a:gd name="connsiteY2" fmla="*/ 285155 h 802911"/>
                  <a:gd name="connsiteX3" fmla="*/ 74184 w 139285"/>
                  <a:gd name="connsiteY3" fmla="*/ 802911 h 802911"/>
                  <a:gd name="connsiteX4" fmla="*/ 41621 w 139285"/>
                  <a:gd name="connsiteY4" fmla="*/ 285154 h 802911"/>
                  <a:gd name="connsiteX5" fmla="*/ 0 w 139285"/>
                  <a:gd name="connsiteY5" fmla="*/ 285154 h 802911"/>
                  <a:gd name="connsiteX6" fmla="*/ 74002 w 139285"/>
                  <a:gd name="connsiteY6" fmla="*/ 0 h 802911"/>
                  <a:gd name="connsiteX0" fmla="*/ 74002 w 139285"/>
                  <a:gd name="connsiteY0" fmla="*/ 0 h 802911"/>
                  <a:gd name="connsiteX1" fmla="*/ 139285 w 139285"/>
                  <a:gd name="connsiteY1" fmla="*/ 285155 h 802911"/>
                  <a:gd name="connsiteX2" fmla="*/ 100195 w 139285"/>
                  <a:gd name="connsiteY2" fmla="*/ 285155 h 802911"/>
                  <a:gd name="connsiteX3" fmla="*/ 74184 w 139285"/>
                  <a:gd name="connsiteY3" fmla="*/ 802911 h 802911"/>
                  <a:gd name="connsiteX4" fmla="*/ 41621 w 139285"/>
                  <a:gd name="connsiteY4" fmla="*/ 285154 h 802911"/>
                  <a:gd name="connsiteX5" fmla="*/ 0 w 139285"/>
                  <a:gd name="connsiteY5" fmla="*/ 285154 h 802911"/>
                  <a:gd name="connsiteX6" fmla="*/ 74002 w 139285"/>
                  <a:gd name="connsiteY6" fmla="*/ 0 h 802911"/>
                  <a:gd name="connsiteX0" fmla="*/ 74002 w 139285"/>
                  <a:gd name="connsiteY0" fmla="*/ 0 h 744745"/>
                  <a:gd name="connsiteX1" fmla="*/ 139285 w 139285"/>
                  <a:gd name="connsiteY1" fmla="*/ 285155 h 744745"/>
                  <a:gd name="connsiteX2" fmla="*/ 100195 w 139285"/>
                  <a:gd name="connsiteY2" fmla="*/ 285155 h 744745"/>
                  <a:gd name="connsiteX3" fmla="*/ 83398 w 139285"/>
                  <a:gd name="connsiteY3" fmla="*/ 744743 h 744745"/>
                  <a:gd name="connsiteX4" fmla="*/ 41621 w 139285"/>
                  <a:gd name="connsiteY4" fmla="*/ 285154 h 744745"/>
                  <a:gd name="connsiteX5" fmla="*/ 0 w 139285"/>
                  <a:gd name="connsiteY5" fmla="*/ 285154 h 744745"/>
                  <a:gd name="connsiteX6" fmla="*/ 74002 w 139285"/>
                  <a:gd name="connsiteY6" fmla="*/ 0 h 744745"/>
                  <a:gd name="connsiteX0" fmla="*/ 74002 w 139285"/>
                  <a:gd name="connsiteY0" fmla="*/ 0 h 744745"/>
                  <a:gd name="connsiteX1" fmla="*/ 139285 w 139285"/>
                  <a:gd name="connsiteY1" fmla="*/ 285155 h 744745"/>
                  <a:gd name="connsiteX2" fmla="*/ 100195 w 139285"/>
                  <a:gd name="connsiteY2" fmla="*/ 285155 h 744745"/>
                  <a:gd name="connsiteX3" fmla="*/ 83398 w 139285"/>
                  <a:gd name="connsiteY3" fmla="*/ 744743 h 744745"/>
                  <a:gd name="connsiteX4" fmla="*/ 41621 w 139285"/>
                  <a:gd name="connsiteY4" fmla="*/ 285154 h 744745"/>
                  <a:gd name="connsiteX5" fmla="*/ 0 w 139285"/>
                  <a:gd name="connsiteY5" fmla="*/ 285154 h 744745"/>
                  <a:gd name="connsiteX6" fmla="*/ 74002 w 139285"/>
                  <a:gd name="connsiteY6" fmla="*/ 0 h 744745"/>
                  <a:gd name="connsiteX0" fmla="*/ 74002 w 139285"/>
                  <a:gd name="connsiteY0" fmla="*/ 0 h 744745"/>
                  <a:gd name="connsiteX1" fmla="*/ 139285 w 139285"/>
                  <a:gd name="connsiteY1" fmla="*/ 285155 h 744745"/>
                  <a:gd name="connsiteX2" fmla="*/ 100195 w 139285"/>
                  <a:gd name="connsiteY2" fmla="*/ 285155 h 744745"/>
                  <a:gd name="connsiteX3" fmla="*/ 83398 w 139285"/>
                  <a:gd name="connsiteY3" fmla="*/ 744743 h 744745"/>
                  <a:gd name="connsiteX4" fmla="*/ 41621 w 139285"/>
                  <a:gd name="connsiteY4" fmla="*/ 285154 h 744745"/>
                  <a:gd name="connsiteX5" fmla="*/ 0 w 139285"/>
                  <a:gd name="connsiteY5" fmla="*/ 285154 h 744745"/>
                  <a:gd name="connsiteX6" fmla="*/ 74002 w 139285"/>
                  <a:gd name="connsiteY6" fmla="*/ 0 h 744745"/>
                  <a:gd name="connsiteX0" fmla="*/ 74002 w 139285"/>
                  <a:gd name="connsiteY0" fmla="*/ 0 h 771318"/>
                  <a:gd name="connsiteX1" fmla="*/ 139285 w 139285"/>
                  <a:gd name="connsiteY1" fmla="*/ 285155 h 771318"/>
                  <a:gd name="connsiteX2" fmla="*/ 100195 w 139285"/>
                  <a:gd name="connsiteY2" fmla="*/ 285155 h 771318"/>
                  <a:gd name="connsiteX3" fmla="*/ 69354 w 139285"/>
                  <a:gd name="connsiteY3" fmla="*/ 771318 h 771318"/>
                  <a:gd name="connsiteX4" fmla="*/ 41621 w 139285"/>
                  <a:gd name="connsiteY4" fmla="*/ 285154 h 771318"/>
                  <a:gd name="connsiteX5" fmla="*/ 0 w 139285"/>
                  <a:gd name="connsiteY5" fmla="*/ 285154 h 771318"/>
                  <a:gd name="connsiteX6" fmla="*/ 74002 w 139285"/>
                  <a:gd name="connsiteY6" fmla="*/ 0 h 771318"/>
                  <a:gd name="connsiteX0" fmla="*/ 74002 w 139285"/>
                  <a:gd name="connsiteY0" fmla="*/ 0 h 771318"/>
                  <a:gd name="connsiteX1" fmla="*/ 139285 w 139285"/>
                  <a:gd name="connsiteY1" fmla="*/ 285155 h 771318"/>
                  <a:gd name="connsiteX2" fmla="*/ 100195 w 139285"/>
                  <a:gd name="connsiteY2" fmla="*/ 285155 h 771318"/>
                  <a:gd name="connsiteX3" fmla="*/ 69354 w 139285"/>
                  <a:gd name="connsiteY3" fmla="*/ 771318 h 771318"/>
                  <a:gd name="connsiteX4" fmla="*/ 41621 w 139285"/>
                  <a:gd name="connsiteY4" fmla="*/ 285154 h 771318"/>
                  <a:gd name="connsiteX5" fmla="*/ 0 w 139285"/>
                  <a:gd name="connsiteY5" fmla="*/ 285154 h 771318"/>
                  <a:gd name="connsiteX6" fmla="*/ 74002 w 139285"/>
                  <a:gd name="connsiteY6" fmla="*/ 0 h 771318"/>
                  <a:gd name="connsiteX0" fmla="*/ 74002 w 139285"/>
                  <a:gd name="connsiteY0" fmla="*/ 0 h 727024"/>
                  <a:gd name="connsiteX1" fmla="*/ 139285 w 139285"/>
                  <a:gd name="connsiteY1" fmla="*/ 285155 h 727024"/>
                  <a:gd name="connsiteX2" fmla="*/ 100195 w 139285"/>
                  <a:gd name="connsiteY2" fmla="*/ 285155 h 727024"/>
                  <a:gd name="connsiteX3" fmla="*/ 69354 w 139285"/>
                  <a:gd name="connsiteY3" fmla="*/ 727024 h 727024"/>
                  <a:gd name="connsiteX4" fmla="*/ 41621 w 139285"/>
                  <a:gd name="connsiteY4" fmla="*/ 285154 h 727024"/>
                  <a:gd name="connsiteX5" fmla="*/ 0 w 139285"/>
                  <a:gd name="connsiteY5" fmla="*/ 285154 h 727024"/>
                  <a:gd name="connsiteX6" fmla="*/ 74002 w 139285"/>
                  <a:gd name="connsiteY6" fmla="*/ 0 h 727024"/>
                  <a:gd name="connsiteX0" fmla="*/ 74002 w 139285"/>
                  <a:gd name="connsiteY0" fmla="*/ 0 h 851046"/>
                  <a:gd name="connsiteX1" fmla="*/ 139285 w 139285"/>
                  <a:gd name="connsiteY1" fmla="*/ 285155 h 851046"/>
                  <a:gd name="connsiteX2" fmla="*/ 100195 w 139285"/>
                  <a:gd name="connsiteY2" fmla="*/ 285155 h 851046"/>
                  <a:gd name="connsiteX3" fmla="*/ 72865 w 139285"/>
                  <a:gd name="connsiteY3" fmla="*/ 851046 h 851046"/>
                  <a:gd name="connsiteX4" fmla="*/ 41621 w 139285"/>
                  <a:gd name="connsiteY4" fmla="*/ 285154 h 851046"/>
                  <a:gd name="connsiteX5" fmla="*/ 0 w 139285"/>
                  <a:gd name="connsiteY5" fmla="*/ 285154 h 851046"/>
                  <a:gd name="connsiteX6" fmla="*/ 74002 w 139285"/>
                  <a:gd name="connsiteY6" fmla="*/ 0 h 851046"/>
                  <a:gd name="connsiteX0" fmla="*/ 74002 w 139285"/>
                  <a:gd name="connsiteY0" fmla="*/ 0 h 851046"/>
                  <a:gd name="connsiteX1" fmla="*/ 139285 w 139285"/>
                  <a:gd name="connsiteY1" fmla="*/ 285155 h 851046"/>
                  <a:gd name="connsiteX2" fmla="*/ 100195 w 139285"/>
                  <a:gd name="connsiteY2" fmla="*/ 285155 h 851046"/>
                  <a:gd name="connsiteX3" fmla="*/ 72865 w 139285"/>
                  <a:gd name="connsiteY3" fmla="*/ 851046 h 851046"/>
                  <a:gd name="connsiteX4" fmla="*/ 41621 w 139285"/>
                  <a:gd name="connsiteY4" fmla="*/ 285154 h 851046"/>
                  <a:gd name="connsiteX5" fmla="*/ 0 w 139285"/>
                  <a:gd name="connsiteY5" fmla="*/ 285154 h 851046"/>
                  <a:gd name="connsiteX6" fmla="*/ 74002 w 139285"/>
                  <a:gd name="connsiteY6" fmla="*/ 0 h 851046"/>
                  <a:gd name="connsiteX0" fmla="*/ 74002 w 139285"/>
                  <a:gd name="connsiteY0" fmla="*/ 0 h 851046"/>
                  <a:gd name="connsiteX1" fmla="*/ 139285 w 139285"/>
                  <a:gd name="connsiteY1" fmla="*/ 285155 h 851046"/>
                  <a:gd name="connsiteX2" fmla="*/ 100195 w 139285"/>
                  <a:gd name="connsiteY2" fmla="*/ 285155 h 851046"/>
                  <a:gd name="connsiteX3" fmla="*/ 72865 w 139285"/>
                  <a:gd name="connsiteY3" fmla="*/ 851046 h 851046"/>
                  <a:gd name="connsiteX4" fmla="*/ 41621 w 139285"/>
                  <a:gd name="connsiteY4" fmla="*/ 285154 h 851046"/>
                  <a:gd name="connsiteX5" fmla="*/ 0 w 139285"/>
                  <a:gd name="connsiteY5" fmla="*/ 285154 h 851046"/>
                  <a:gd name="connsiteX6" fmla="*/ 74002 w 139285"/>
                  <a:gd name="connsiteY6" fmla="*/ 0 h 851046"/>
                  <a:gd name="connsiteX0" fmla="*/ 74002 w 139285"/>
                  <a:gd name="connsiteY0" fmla="*/ 0 h 851046"/>
                  <a:gd name="connsiteX1" fmla="*/ 139285 w 139285"/>
                  <a:gd name="connsiteY1" fmla="*/ 285155 h 851046"/>
                  <a:gd name="connsiteX2" fmla="*/ 100195 w 139285"/>
                  <a:gd name="connsiteY2" fmla="*/ 285155 h 851046"/>
                  <a:gd name="connsiteX3" fmla="*/ 72865 w 139285"/>
                  <a:gd name="connsiteY3" fmla="*/ 851046 h 851046"/>
                  <a:gd name="connsiteX4" fmla="*/ 41621 w 139285"/>
                  <a:gd name="connsiteY4" fmla="*/ 285154 h 851046"/>
                  <a:gd name="connsiteX5" fmla="*/ 0 w 139285"/>
                  <a:gd name="connsiteY5" fmla="*/ 285154 h 851046"/>
                  <a:gd name="connsiteX6" fmla="*/ 74002 w 139285"/>
                  <a:gd name="connsiteY6" fmla="*/ 0 h 851046"/>
                  <a:gd name="connsiteX0" fmla="*/ 74002 w 139285"/>
                  <a:gd name="connsiteY0" fmla="*/ 0 h 851046"/>
                  <a:gd name="connsiteX1" fmla="*/ 139285 w 139285"/>
                  <a:gd name="connsiteY1" fmla="*/ 285155 h 851046"/>
                  <a:gd name="connsiteX2" fmla="*/ 100195 w 139285"/>
                  <a:gd name="connsiteY2" fmla="*/ 285155 h 851046"/>
                  <a:gd name="connsiteX3" fmla="*/ 72865 w 139285"/>
                  <a:gd name="connsiteY3" fmla="*/ 851046 h 851046"/>
                  <a:gd name="connsiteX4" fmla="*/ 41621 w 139285"/>
                  <a:gd name="connsiteY4" fmla="*/ 285154 h 851046"/>
                  <a:gd name="connsiteX5" fmla="*/ 0 w 139285"/>
                  <a:gd name="connsiteY5" fmla="*/ 285154 h 851046"/>
                  <a:gd name="connsiteX6" fmla="*/ 74002 w 139285"/>
                  <a:gd name="connsiteY6" fmla="*/ 0 h 851046"/>
                  <a:gd name="connsiteX0" fmla="*/ 74002 w 139285"/>
                  <a:gd name="connsiteY0" fmla="*/ 0 h 957351"/>
                  <a:gd name="connsiteX1" fmla="*/ 139285 w 139285"/>
                  <a:gd name="connsiteY1" fmla="*/ 285155 h 957351"/>
                  <a:gd name="connsiteX2" fmla="*/ 100195 w 139285"/>
                  <a:gd name="connsiteY2" fmla="*/ 285155 h 957351"/>
                  <a:gd name="connsiteX3" fmla="*/ 69354 w 139285"/>
                  <a:gd name="connsiteY3" fmla="*/ 957351 h 957351"/>
                  <a:gd name="connsiteX4" fmla="*/ 41621 w 139285"/>
                  <a:gd name="connsiteY4" fmla="*/ 285154 h 957351"/>
                  <a:gd name="connsiteX5" fmla="*/ 0 w 139285"/>
                  <a:gd name="connsiteY5" fmla="*/ 285154 h 957351"/>
                  <a:gd name="connsiteX6" fmla="*/ 74002 w 139285"/>
                  <a:gd name="connsiteY6" fmla="*/ 0 h 957351"/>
                  <a:gd name="connsiteX0" fmla="*/ 74002 w 139285"/>
                  <a:gd name="connsiteY0" fmla="*/ 0 h 957351"/>
                  <a:gd name="connsiteX1" fmla="*/ 139285 w 139285"/>
                  <a:gd name="connsiteY1" fmla="*/ 285155 h 957351"/>
                  <a:gd name="connsiteX2" fmla="*/ 100195 w 139285"/>
                  <a:gd name="connsiteY2" fmla="*/ 285155 h 957351"/>
                  <a:gd name="connsiteX3" fmla="*/ 69354 w 139285"/>
                  <a:gd name="connsiteY3" fmla="*/ 957351 h 957351"/>
                  <a:gd name="connsiteX4" fmla="*/ 41621 w 139285"/>
                  <a:gd name="connsiteY4" fmla="*/ 285154 h 957351"/>
                  <a:gd name="connsiteX5" fmla="*/ 0 w 139285"/>
                  <a:gd name="connsiteY5" fmla="*/ 285154 h 957351"/>
                  <a:gd name="connsiteX6" fmla="*/ 74002 w 139285"/>
                  <a:gd name="connsiteY6" fmla="*/ 0 h 957351"/>
                  <a:gd name="connsiteX0" fmla="*/ 74002 w 139285"/>
                  <a:gd name="connsiteY0" fmla="*/ 0 h 957351"/>
                  <a:gd name="connsiteX1" fmla="*/ 139285 w 139285"/>
                  <a:gd name="connsiteY1" fmla="*/ 285155 h 957351"/>
                  <a:gd name="connsiteX2" fmla="*/ 100195 w 139285"/>
                  <a:gd name="connsiteY2" fmla="*/ 285155 h 957351"/>
                  <a:gd name="connsiteX3" fmla="*/ 69354 w 139285"/>
                  <a:gd name="connsiteY3" fmla="*/ 957351 h 957351"/>
                  <a:gd name="connsiteX4" fmla="*/ 41621 w 139285"/>
                  <a:gd name="connsiteY4" fmla="*/ 285154 h 957351"/>
                  <a:gd name="connsiteX5" fmla="*/ 0 w 139285"/>
                  <a:gd name="connsiteY5" fmla="*/ 285154 h 957351"/>
                  <a:gd name="connsiteX6" fmla="*/ 74002 w 139285"/>
                  <a:gd name="connsiteY6" fmla="*/ 0 h 957351"/>
                  <a:gd name="connsiteX0" fmla="*/ 74002 w 139285"/>
                  <a:gd name="connsiteY0" fmla="*/ 0 h 957351"/>
                  <a:gd name="connsiteX1" fmla="*/ 139285 w 139285"/>
                  <a:gd name="connsiteY1" fmla="*/ 285155 h 957351"/>
                  <a:gd name="connsiteX2" fmla="*/ 100195 w 139285"/>
                  <a:gd name="connsiteY2" fmla="*/ 285155 h 957351"/>
                  <a:gd name="connsiteX3" fmla="*/ 69354 w 139285"/>
                  <a:gd name="connsiteY3" fmla="*/ 957351 h 957351"/>
                  <a:gd name="connsiteX4" fmla="*/ 41621 w 139285"/>
                  <a:gd name="connsiteY4" fmla="*/ 285154 h 957351"/>
                  <a:gd name="connsiteX5" fmla="*/ 0 w 139285"/>
                  <a:gd name="connsiteY5" fmla="*/ 285154 h 957351"/>
                  <a:gd name="connsiteX6" fmla="*/ 74002 w 139285"/>
                  <a:gd name="connsiteY6" fmla="*/ 0 h 957351"/>
                  <a:gd name="connsiteX0" fmla="*/ 74002 w 139285"/>
                  <a:gd name="connsiteY0" fmla="*/ 0 h 957351"/>
                  <a:gd name="connsiteX1" fmla="*/ 139285 w 139285"/>
                  <a:gd name="connsiteY1" fmla="*/ 285155 h 957351"/>
                  <a:gd name="connsiteX2" fmla="*/ 100195 w 139285"/>
                  <a:gd name="connsiteY2" fmla="*/ 285155 h 957351"/>
                  <a:gd name="connsiteX3" fmla="*/ 69354 w 139285"/>
                  <a:gd name="connsiteY3" fmla="*/ 957351 h 957351"/>
                  <a:gd name="connsiteX4" fmla="*/ 41621 w 139285"/>
                  <a:gd name="connsiteY4" fmla="*/ 285154 h 957351"/>
                  <a:gd name="connsiteX5" fmla="*/ 0 w 139285"/>
                  <a:gd name="connsiteY5" fmla="*/ 285154 h 957351"/>
                  <a:gd name="connsiteX6" fmla="*/ 74002 w 139285"/>
                  <a:gd name="connsiteY6" fmla="*/ 0 h 957351"/>
                  <a:gd name="connsiteX0" fmla="*/ 74002 w 139285"/>
                  <a:gd name="connsiteY0" fmla="*/ 0 h 957351"/>
                  <a:gd name="connsiteX1" fmla="*/ 139285 w 139285"/>
                  <a:gd name="connsiteY1" fmla="*/ 285155 h 957351"/>
                  <a:gd name="connsiteX2" fmla="*/ 100195 w 139285"/>
                  <a:gd name="connsiteY2" fmla="*/ 285155 h 957351"/>
                  <a:gd name="connsiteX3" fmla="*/ 69354 w 139285"/>
                  <a:gd name="connsiteY3" fmla="*/ 957351 h 957351"/>
                  <a:gd name="connsiteX4" fmla="*/ 41621 w 139285"/>
                  <a:gd name="connsiteY4" fmla="*/ 285154 h 957351"/>
                  <a:gd name="connsiteX5" fmla="*/ 0 w 139285"/>
                  <a:gd name="connsiteY5" fmla="*/ 285154 h 957351"/>
                  <a:gd name="connsiteX6" fmla="*/ 74002 w 139285"/>
                  <a:gd name="connsiteY6" fmla="*/ 0 h 957351"/>
                  <a:gd name="connsiteX0" fmla="*/ 74002 w 139285"/>
                  <a:gd name="connsiteY0" fmla="*/ 0 h 957351"/>
                  <a:gd name="connsiteX1" fmla="*/ 139285 w 139285"/>
                  <a:gd name="connsiteY1" fmla="*/ 285155 h 957351"/>
                  <a:gd name="connsiteX2" fmla="*/ 100195 w 139285"/>
                  <a:gd name="connsiteY2" fmla="*/ 285155 h 957351"/>
                  <a:gd name="connsiteX3" fmla="*/ 69354 w 139285"/>
                  <a:gd name="connsiteY3" fmla="*/ 957351 h 957351"/>
                  <a:gd name="connsiteX4" fmla="*/ 41621 w 139285"/>
                  <a:gd name="connsiteY4" fmla="*/ 285154 h 957351"/>
                  <a:gd name="connsiteX5" fmla="*/ 0 w 139285"/>
                  <a:gd name="connsiteY5" fmla="*/ 285154 h 957351"/>
                  <a:gd name="connsiteX6" fmla="*/ 74002 w 139285"/>
                  <a:gd name="connsiteY6" fmla="*/ 0 h 957351"/>
                  <a:gd name="connsiteX0" fmla="*/ 74002 w 139285"/>
                  <a:gd name="connsiteY0" fmla="*/ 0 h 957351"/>
                  <a:gd name="connsiteX1" fmla="*/ 139285 w 139285"/>
                  <a:gd name="connsiteY1" fmla="*/ 285155 h 957351"/>
                  <a:gd name="connsiteX2" fmla="*/ 100195 w 139285"/>
                  <a:gd name="connsiteY2" fmla="*/ 285155 h 957351"/>
                  <a:gd name="connsiteX3" fmla="*/ 69354 w 139285"/>
                  <a:gd name="connsiteY3" fmla="*/ 957351 h 957351"/>
                  <a:gd name="connsiteX4" fmla="*/ 41621 w 139285"/>
                  <a:gd name="connsiteY4" fmla="*/ 285154 h 957351"/>
                  <a:gd name="connsiteX5" fmla="*/ 0 w 139285"/>
                  <a:gd name="connsiteY5" fmla="*/ 285154 h 957351"/>
                  <a:gd name="connsiteX6" fmla="*/ 74002 w 139285"/>
                  <a:gd name="connsiteY6" fmla="*/ 0 h 957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285" h="957351">
                    <a:moveTo>
                      <a:pt x="74002" y="0"/>
                    </a:moveTo>
                    <a:lnTo>
                      <a:pt x="139285" y="285155"/>
                    </a:lnTo>
                    <a:lnTo>
                      <a:pt x="100195" y="285155"/>
                    </a:lnTo>
                    <a:cubicBezTo>
                      <a:pt x="86677" y="518390"/>
                      <a:pt x="85768" y="621312"/>
                      <a:pt x="69354" y="957351"/>
                    </a:cubicBezTo>
                    <a:cubicBezTo>
                      <a:pt x="57808" y="562042"/>
                      <a:pt x="59963" y="569003"/>
                      <a:pt x="41621" y="285154"/>
                    </a:cubicBezTo>
                    <a:lnTo>
                      <a:pt x="0" y="285154"/>
                    </a:lnTo>
                    <a:lnTo>
                      <a:pt x="74002"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3109" name="Rectangle 3108">
                <a:extLst>
                  <a:ext uri="{FF2B5EF4-FFF2-40B4-BE49-F238E27FC236}">
                    <a16:creationId xmlns:a16="http://schemas.microsoft.com/office/drawing/2014/main" id="{3E0F9199-3BDD-4D68-B3B6-F0CCD7AC0A72}"/>
                  </a:ext>
                </a:extLst>
              </p:cNvPr>
              <p:cNvSpPr/>
              <p:nvPr/>
            </p:nvSpPr>
            <p:spPr bwMode="gray">
              <a:xfrm>
                <a:off x="8076582" y="4218755"/>
                <a:ext cx="635355"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spcBef>
                    <a:spcPts val="300"/>
                  </a:spcBef>
                  <a:buClr>
                    <a:srgbClr val="002897"/>
                  </a:buClr>
                  <a:buSzPct val="70000"/>
                </a:pPr>
                <a:r>
                  <a:rPr lang="de-DE" sz="1000" dirty="0">
                    <a:solidFill>
                      <a:schemeClr val="tx1"/>
                    </a:solidFill>
                  </a:rPr>
                  <a:t>Flue gas to co boiler</a:t>
                </a:r>
              </a:p>
            </p:txBody>
          </p:sp>
          <p:sp>
            <p:nvSpPr>
              <p:cNvPr id="3112" name="Freeform: Shape 3111">
                <a:extLst>
                  <a:ext uri="{FF2B5EF4-FFF2-40B4-BE49-F238E27FC236}">
                    <a16:creationId xmlns:a16="http://schemas.microsoft.com/office/drawing/2014/main" id="{74C44ED1-6E38-4127-B20F-440810B8521C}"/>
                  </a:ext>
                </a:extLst>
              </p:cNvPr>
              <p:cNvSpPr/>
              <p:nvPr/>
            </p:nvSpPr>
            <p:spPr bwMode="gray">
              <a:xfrm>
                <a:off x="7923133" y="5832566"/>
                <a:ext cx="326609" cy="246656"/>
              </a:xfrm>
              <a:custGeom>
                <a:avLst/>
                <a:gdLst>
                  <a:gd name="connsiteX0" fmla="*/ 0 w 326609"/>
                  <a:gd name="connsiteY0" fmla="*/ 0 h 246656"/>
                  <a:gd name="connsiteX1" fmla="*/ 203281 w 326609"/>
                  <a:gd name="connsiteY1" fmla="*/ 0 h 246656"/>
                  <a:gd name="connsiteX2" fmla="*/ 207442 w 326609"/>
                  <a:gd name="connsiteY2" fmla="*/ 0 h 246656"/>
                  <a:gd name="connsiteX3" fmla="*/ 207442 w 326609"/>
                  <a:gd name="connsiteY3" fmla="*/ 840 h 246656"/>
                  <a:gd name="connsiteX4" fmla="*/ 251286 w 326609"/>
                  <a:gd name="connsiteY4" fmla="*/ 9692 h 246656"/>
                  <a:gd name="connsiteX5" fmla="*/ 326609 w 326609"/>
                  <a:gd name="connsiteY5" fmla="*/ 123328 h 246656"/>
                  <a:gd name="connsiteX6" fmla="*/ 203281 w 326609"/>
                  <a:gd name="connsiteY6" fmla="*/ 246656 h 246656"/>
                  <a:gd name="connsiteX7" fmla="*/ 79953 w 326609"/>
                  <a:gd name="connsiteY7" fmla="*/ 123328 h 246656"/>
                  <a:gd name="connsiteX8" fmla="*/ 88950 w 326609"/>
                  <a:gd name="connsiteY8" fmla="*/ 78765 h 246656"/>
                  <a:gd name="connsiteX9" fmla="*/ 0 w 326609"/>
                  <a:gd name="connsiteY9" fmla="*/ 78765 h 246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609" h="246656">
                    <a:moveTo>
                      <a:pt x="0" y="0"/>
                    </a:moveTo>
                    <a:lnTo>
                      <a:pt x="203281" y="0"/>
                    </a:lnTo>
                    <a:lnTo>
                      <a:pt x="207442" y="0"/>
                    </a:lnTo>
                    <a:lnTo>
                      <a:pt x="207442" y="840"/>
                    </a:lnTo>
                    <a:lnTo>
                      <a:pt x="251286" y="9692"/>
                    </a:lnTo>
                    <a:cubicBezTo>
                      <a:pt x="295550" y="28414"/>
                      <a:pt x="326609" y="72244"/>
                      <a:pt x="326609" y="123328"/>
                    </a:cubicBezTo>
                    <a:cubicBezTo>
                      <a:pt x="326609" y="191440"/>
                      <a:pt x="271393" y="246656"/>
                      <a:pt x="203281" y="246656"/>
                    </a:cubicBezTo>
                    <a:cubicBezTo>
                      <a:pt x="135169" y="246656"/>
                      <a:pt x="79953" y="191440"/>
                      <a:pt x="79953" y="123328"/>
                    </a:cubicBezTo>
                    <a:lnTo>
                      <a:pt x="88950" y="78765"/>
                    </a:lnTo>
                    <a:lnTo>
                      <a:pt x="0" y="78765"/>
                    </a:lnTo>
                    <a:close/>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err="1"/>
              </a:p>
            </p:txBody>
          </p:sp>
          <p:sp>
            <p:nvSpPr>
              <p:cNvPr id="3115" name="Freeform: Shape 3114">
                <a:extLst>
                  <a:ext uri="{FF2B5EF4-FFF2-40B4-BE49-F238E27FC236}">
                    <a16:creationId xmlns:a16="http://schemas.microsoft.com/office/drawing/2014/main" id="{7061D7A9-B725-4CF1-9C26-66D0F4C6FEF8}"/>
                  </a:ext>
                </a:extLst>
              </p:cNvPr>
              <p:cNvSpPr/>
              <p:nvPr/>
            </p:nvSpPr>
            <p:spPr bwMode="gray">
              <a:xfrm>
                <a:off x="7963840" y="6042203"/>
                <a:ext cx="326609" cy="69210"/>
              </a:xfrm>
              <a:custGeom>
                <a:avLst/>
                <a:gdLst>
                  <a:gd name="connsiteX0" fmla="*/ 250385 w 326609"/>
                  <a:gd name="connsiteY0" fmla="*/ 0 h 69210"/>
                  <a:gd name="connsiteX1" fmla="*/ 326609 w 326609"/>
                  <a:gd name="connsiteY1" fmla="*/ 69210 h 69210"/>
                  <a:gd name="connsiteX2" fmla="*/ 0 w 326609"/>
                  <a:gd name="connsiteY2" fmla="*/ 69210 h 69210"/>
                  <a:gd name="connsiteX3" fmla="*/ 75318 w 326609"/>
                  <a:gd name="connsiteY3" fmla="*/ 823 h 69210"/>
                  <a:gd name="connsiteX4" fmla="*/ 75368 w 326609"/>
                  <a:gd name="connsiteY4" fmla="*/ 897 h 69210"/>
                  <a:gd name="connsiteX5" fmla="*/ 162574 w 326609"/>
                  <a:gd name="connsiteY5" fmla="*/ 37019 h 69210"/>
                  <a:gd name="connsiteX6" fmla="*/ 249780 w 326609"/>
                  <a:gd name="connsiteY6" fmla="*/ 897 h 6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609" h="69210">
                    <a:moveTo>
                      <a:pt x="250385" y="0"/>
                    </a:moveTo>
                    <a:lnTo>
                      <a:pt x="326609" y="69210"/>
                    </a:lnTo>
                    <a:lnTo>
                      <a:pt x="0" y="69210"/>
                    </a:lnTo>
                    <a:lnTo>
                      <a:pt x="75318" y="823"/>
                    </a:lnTo>
                    <a:lnTo>
                      <a:pt x="75368" y="897"/>
                    </a:lnTo>
                    <a:cubicBezTo>
                      <a:pt x="97686" y="23215"/>
                      <a:pt x="128518" y="37019"/>
                      <a:pt x="162574" y="37019"/>
                    </a:cubicBezTo>
                    <a:cubicBezTo>
                      <a:pt x="196630" y="37019"/>
                      <a:pt x="227462" y="23215"/>
                      <a:pt x="249780" y="897"/>
                    </a:cubicBezTo>
                    <a:close/>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err="1"/>
              </a:p>
            </p:txBody>
          </p:sp>
          <p:sp>
            <p:nvSpPr>
              <p:cNvPr id="3033" name="Freeform: Shape 3032">
                <a:extLst>
                  <a:ext uri="{FF2B5EF4-FFF2-40B4-BE49-F238E27FC236}">
                    <a16:creationId xmlns:a16="http://schemas.microsoft.com/office/drawing/2014/main" id="{31F04E29-7CFF-4354-ADBB-0D0B64A5F77C}"/>
                  </a:ext>
                </a:extLst>
              </p:cNvPr>
              <p:cNvSpPr/>
              <p:nvPr/>
            </p:nvSpPr>
            <p:spPr bwMode="gray">
              <a:xfrm>
                <a:off x="7957185" y="5147310"/>
                <a:ext cx="179070" cy="272415"/>
              </a:xfrm>
              <a:custGeom>
                <a:avLst/>
                <a:gdLst>
                  <a:gd name="connsiteX0" fmla="*/ 0 w 179070"/>
                  <a:gd name="connsiteY0" fmla="*/ 1905 h 274320"/>
                  <a:gd name="connsiteX1" fmla="*/ 85725 w 179070"/>
                  <a:gd name="connsiteY1" fmla="*/ 0 h 274320"/>
                  <a:gd name="connsiteX2" fmla="*/ 179070 w 179070"/>
                  <a:gd name="connsiteY2" fmla="*/ 220980 h 274320"/>
                  <a:gd name="connsiteX3" fmla="*/ 127635 w 179070"/>
                  <a:gd name="connsiteY3" fmla="*/ 274320 h 274320"/>
                  <a:gd name="connsiteX4" fmla="*/ 0 w 179070"/>
                  <a:gd name="connsiteY4" fmla="*/ 1905 h 274320"/>
                  <a:gd name="connsiteX0" fmla="*/ 0 w 179070"/>
                  <a:gd name="connsiteY0" fmla="*/ 1905 h 274320"/>
                  <a:gd name="connsiteX1" fmla="*/ 85725 w 179070"/>
                  <a:gd name="connsiteY1" fmla="*/ 0 h 274320"/>
                  <a:gd name="connsiteX2" fmla="*/ 179070 w 179070"/>
                  <a:gd name="connsiteY2" fmla="*/ 220980 h 274320"/>
                  <a:gd name="connsiteX3" fmla="*/ 127635 w 179070"/>
                  <a:gd name="connsiteY3" fmla="*/ 274320 h 274320"/>
                  <a:gd name="connsiteX4" fmla="*/ 0 w 179070"/>
                  <a:gd name="connsiteY4" fmla="*/ 1905 h 274320"/>
                  <a:gd name="connsiteX0" fmla="*/ 0 w 179070"/>
                  <a:gd name="connsiteY0" fmla="*/ 1905 h 274320"/>
                  <a:gd name="connsiteX1" fmla="*/ 85725 w 179070"/>
                  <a:gd name="connsiteY1" fmla="*/ 0 h 274320"/>
                  <a:gd name="connsiteX2" fmla="*/ 179070 w 179070"/>
                  <a:gd name="connsiteY2" fmla="*/ 220980 h 274320"/>
                  <a:gd name="connsiteX3" fmla="*/ 127635 w 179070"/>
                  <a:gd name="connsiteY3" fmla="*/ 274320 h 274320"/>
                  <a:gd name="connsiteX4" fmla="*/ 0 w 179070"/>
                  <a:gd name="connsiteY4" fmla="*/ 1905 h 274320"/>
                  <a:gd name="connsiteX0" fmla="*/ 0 w 179070"/>
                  <a:gd name="connsiteY0" fmla="*/ 1905 h 274320"/>
                  <a:gd name="connsiteX1" fmla="*/ 85725 w 179070"/>
                  <a:gd name="connsiteY1" fmla="*/ 0 h 274320"/>
                  <a:gd name="connsiteX2" fmla="*/ 179070 w 179070"/>
                  <a:gd name="connsiteY2" fmla="*/ 220980 h 274320"/>
                  <a:gd name="connsiteX3" fmla="*/ 127635 w 179070"/>
                  <a:gd name="connsiteY3" fmla="*/ 274320 h 274320"/>
                  <a:gd name="connsiteX4" fmla="*/ 0 w 179070"/>
                  <a:gd name="connsiteY4" fmla="*/ 1905 h 274320"/>
                  <a:gd name="connsiteX0" fmla="*/ 0 w 179070"/>
                  <a:gd name="connsiteY0" fmla="*/ 1905 h 274320"/>
                  <a:gd name="connsiteX1" fmla="*/ 85725 w 179070"/>
                  <a:gd name="connsiteY1" fmla="*/ 0 h 274320"/>
                  <a:gd name="connsiteX2" fmla="*/ 179070 w 179070"/>
                  <a:gd name="connsiteY2" fmla="*/ 217170 h 274320"/>
                  <a:gd name="connsiteX3" fmla="*/ 127635 w 179070"/>
                  <a:gd name="connsiteY3" fmla="*/ 274320 h 274320"/>
                  <a:gd name="connsiteX4" fmla="*/ 0 w 179070"/>
                  <a:gd name="connsiteY4" fmla="*/ 1905 h 274320"/>
                  <a:gd name="connsiteX0" fmla="*/ 0 w 179070"/>
                  <a:gd name="connsiteY0" fmla="*/ 1905 h 274320"/>
                  <a:gd name="connsiteX1" fmla="*/ 85725 w 179070"/>
                  <a:gd name="connsiteY1" fmla="*/ 0 h 274320"/>
                  <a:gd name="connsiteX2" fmla="*/ 179070 w 179070"/>
                  <a:gd name="connsiteY2" fmla="*/ 217170 h 274320"/>
                  <a:gd name="connsiteX3" fmla="*/ 127635 w 179070"/>
                  <a:gd name="connsiteY3" fmla="*/ 274320 h 274320"/>
                  <a:gd name="connsiteX4" fmla="*/ 0 w 179070"/>
                  <a:gd name="connsiteY4" fmla="*/ 1905 h 274320"/>
                  <a:gd name="connsiteX0" fmla="*/ 0 w 179070"/>
                  <a:gd name="connsiteY0" fmla="*/ 1905 h 274320"/>
                  <a:gd name="connsiteX1" fmla="*/ 85725 w 179070"/>
                  <a:gd name="connsiteY1" fmla="*/ 0 h 274320"/>
                  <a:gd name="connsiteX2" fmla="*/ 179070 w 179070"/>
                  <a:gd name="connsiteY2" fmla="*/ 217170 h 274320"/>
                  <a:gd name="connsiteX3" fmla="*/ 127635 w 179070"/>
                  <a:gd name="connsiteY3" fmla="*/ 274320 h 274320"/>
                  <a:gd name="connsiteX4" fmla="*/ 0 w 179070"/>
                  <a:gd name="connsiteY4" fmla="*/ 1905 h 274320"/>
                  <a:gd name="connsiteX0" fmla="*/ 0 w 179070"/>
                  <a:gd name="connsiteY0" fmla="*/ 0 h 272415"/>
                  <a:gd name="connsiteX1" fmla="*/ 80010 w 179070"/>
                  <a:gd name="connsiteY1" fmla="*/ 0 h 272415"/>
                  <a:gd name="connsiteX2" fmla="*/ 179070 w 179070"/>
                  <a:gd name="connsiteY2" fmla="*/ 215265 h 272415"/>
                  <a:gd name="connsiteX3" fmla="*/ 127635 w 179070"/>
                  <a:gd name="connsiteY3" fmla="*/ 272415 h 272415"/>
                  <a:gd name="connsiteX4" fmla="*/ 0 w 179070"/>
                  <a:gd name="connsiteY4" fmla="*/ 0 h 272415"/>
                  <a:gd name="connsiteX0" fmla="*/ 0 w 179070"/>
                  <a:gd name="connsiteY0" fmla="*/ 0 h 272415"/>
                  <a:gd name="connsiteX1" fmla="*/ 80010 w 179070"/>
                  <a:gd name="connsiteY1" fmla="*/ 0 h 272415"/>
                  <a:gd name="connsiteX2" fmla="*/ 179070 w 179070"/>
                  <a:gd name="connsiteY2" fmla="*/ 215265 h 272415"/>
                  <a:gd name="connsiteX3" fmla="*/ 127635 w 179070"/>
                  <a:gd name="connsiteY3" fmla="*/ 272415 h 272415"/>
                  <a:gd name="connsiteX4" fmla="*/ 0 w 179070"/>
                  <a:gd name="connsiteY4" fmla="*/ 0 h 272415"/>
                  <a:gd name="connsiteX0" fmla="*/ 0 w 179070"/>
                  <a:gd name="connsiteY0" fmla="*/ 0 h 272415"/>
                  <a:gd name="connsiteX1" fmla="*/ 80010 w 179070"/>
                  <a:gd name="connsiteY1" fmla="*/ 0 h 272415"/>
                  <a:gd name="connsiteX2" fmla="*/ 179070 w 179070"/>
                  <a:gd name="connsiteY2" fmla="*/ 215265 h 272415"/>
                  <a:gd name="connsiteX3" fmla="*/ 127635 w 179070"/>
                  <a:gd name="connsiteY3" fmla="*/ 272415 h 272415"/>
                  <a:gd name="connsiteX4" fmla="*/ 0 w 179070"/>
                  <a:gd name="connsiteY4" fmla="*/ 0 h 272415"/>
                  <a:gd name="connsiteX0" fmla="*/ 0 w 179070"/>
                  <a:gd name="connsiteY0" fmla="*/ 0 h 272415"/>
                  <a:gd name="connsiteX1" fmla="*/ 80010 w 179070"/>
                  <a:gd name="connsiteY1" fmla="*/ 0 h 272415"/>
                  <a:gd name="connsiteX2" fmla="*/ 179070 w 179070"/>
                  <a:gd name="connsiteY2" fmla="*/ 215265 h 272415"/>
                  <a:gd name="connsiteX3" fmla="*/ 150495 w 179070"/>
                  <a:gd name="connsiteY3" fmla="*/ 245745 h 272415"/>
                  <a:gd name="connsiteX4" fmla="*/ 127635 w 179070"/>
                  <a:gd name="connsiteY4" fmla="*/ 272415 h 272415"/>
                  <a:gd name="connsiteX5" fmla="*/ 0 w 179070"/>
                  <a:gd name="connsiteY5" fmla="*/ 0 h 27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070" h="272415">
                    <a:moveTo>
                      <a:pt x="0" y="0"/>
                    </a:moveTo>
                    <a:lnTo>
                      <a:pt x="80010" y="0"/>
                    </a:lnTo>
                    <a:cubicBezTo>
                      <a:pt x="95885" y="85725"/>
                      <a:pt x="107950" y="129540"/>
                      <a:pt x="179070" y="215265"/>
                    </a:cubicBezTo>
                    <a:lnTo>
                      <a:pt x="150495" y="245745"/>
                    </a:lnTo>
                    <a:lnTo>
                      <a:pt x="127635" y="272415"/>
                    </a:lnTo>
                    <a:cubicBezTo>
                      <a:pt x="64135" y="210185"/>
                      <a:pt x="19685" y="165100"/>
                      <a:pt x="0"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err="1"/>
              </a:p>
            </p:txBody>
          </p:sp>
          <p:sp>
            <p:nvSpPr>
              <p:cNvPr id="3035" name="Freeform: Shape 3034">
                <a:extLst>
                  <a:ext uri="{FF2B5EF4-FFF2-40B4-BE49-F238E27FC236}">
                    <a16:creationId xmlns:a16="http://schemas.microsoft.com/office/drawing/2014/main" id="{E0C25764-42A6-4C6D-8278-710EB932A792}"/>
                  </a:ext>
                </a:extLst>
              </p:cNvPr>
              <p:cNvSpPr/>
              <p:nvPr/>
            </p:nvSpPr>
            <p:spPr bwMode="gray">
              <a:xfrm>
                <a:off x="8131791" y="4900295"/>
                <a:ext cx="193693" cy="208280"/>
              </a:xfrm>
              <a:custGeom>
                <a:avLst/>
                <a:gdLst>
                  <a:gd name="connsiteX0" fmla="*/ 96520 w 172720"/>
                  <a:gd name="connsiteY0" fmla="*/ 0 h 167640"/>
                  <a:gd name="connsiteX1" fmla="*/ 172720 w 172720"/>
                  <a:gd name="connsiteY1" fmla="*/ 76200 h 167640"/>
                  <a:gd name="connsiteX2" fmla="*/ 35560 w 172720"/>
                  <a:gd name="connsiteY2" fmla="*/ 167640 h 167640"/>
                  <a:gd name="connsiteX3" fmla="*/ 0 w 172720"/>
                  <a:gd name="connsiteY3" fmla="*/ 81280 h 167640"/>
                  <a:gd name="connsiteX4" fmla="*/ 96520 w 172720"/>
                  <a:gd name="connsiteY4" fmla="*/ 0 h 167640"/>
                  <a:gd name="connsiteX0" fmla="*/ 134620 w 210820"/>
                  <a:gd name="connsiteY0" fmla="*/ 0 h 200660"/>
                  <a:gd name="connsiteX1" fmla="*/ 210820 w 210820"/>
                  <a:gd name="connsiteY1" fmla="*/ 76200 h 200660"/>
                  <a:gd name="connsiteX2" fmla="*/ 0 w 210820"/>
                  <a:gd name="connsiteY2" fmla="*/ 200660 h 200660"/>
                  <a:gd name="connsiteX3" fmla="*/ 38100 w 210820"/>
                  <a:gd name="connsiteY3" fmla="*/ 81280 h 200660"/>
                  <a:gd name="connsiteX4" fmla="*/ 134620 w 210820"/>
                  <a:gd name="connsiteY4" fmla="*/ 0 h 200660"/>
                  <a:gd name="connsiteX0" fmla="*/ 134620 w 185420"/>
                  <a:gd name="connsiteY0" fmla="*/ 0 h 200660"/>
                  <a:gd name="connsiteX1" fmla="*/ 185420 w 185420"/>
                  <a:gd name="connsiteY1" fmla="*/ 53340 h 200660"/>
                  <a:gd name="connsiteX2" fmla="*/ 0 w 185420"/>
                  <a:gd name="connsiteY2" fmla="*/ 200660 h 200660"/>
                  <a:gd name="connsiteX3" fmla="*/ 38100 w 185420"/>
                  <a:gd name="connsiteY3" fmla="*/ 81280 h 200660"/>
                  <a:gd name="connsiteX4" fmla="*/ 134620 w 185420"/>
                  <a:gd name="connsiteY4" fmla="*/ 0 h 200660"/>
                  <a:gd name="connsiteX0" fmla="*/ 134620 w 190500"/>
                  <a:gd name="connsiteY0" fmla="*/ 0 h 200660"/>
                  <a:gd name="connsiteX1" fmla="*/ 190500 w 190500"/>
                  <a:gd name="connsiteY1" fmla="*/ 53340 h 200660"/>
                  <a:gd name="connsiteX2" fmla="*/ 0 w 190500"/>
                  <a:gd name="connsiteY2" fmla="*/ 200660 h 200660"/>
                  <a:gd name="connsiteX3" fmla="*/ 38100 w 190500"/>
                  <a:gd name="connsiteY3" fmla="*/ 81280 h 200660"/>
                  <a:gd name="connsiteX4" fmla="*/ 134620 w 190500"/>
                  <a:gd name="connsiteY4" fmla="*/ 0 h 200660"/>
                  <a:gd name="connsiteX0" fmla="*/ 134620 w 190500"/>
                  <a:gd name="connsiteY0" fmla="*/ 0 h 193040"/>
                  <a:gd name="connsiteX1" fmla="*/ 190500 w 190500"/>
                  <a:gd name="connsiteY1" fmla="*/ 45720 h 193040"/>
                  <a:gd name="connsiteX2" fmla="*/ 0 w 190500"/>
                  <a:gd name="connsiteY2" fmla="*/ 193040 h 193040"/>
                  <a:gd name="connsiteX3" fmla="*/ 38100 w 190500"/>
                  <a:gd name="connsiteY3" fmla="*/ 73660 h 193040"/>
                  <a:gd name="connsiteX4" fmla="*/ 134620 w 190500"/>
                  <a:gd name="connsiteY4" fmla="*/ 0 h 193040"/>
                  <a:gd name="connsiteX0" fmla="*/ 147320 w 203200"/>
                  <a:gd name="connsiteY0" fmla="*/ 0 h 193040"/>
                  <a:gd name="connsiteX1" fmla="*/ 203200 w 203200"/>
                  <a:gd name="connsiteY1" fmla="*/ 45720 h 193040"/>
                  <a:gd name="connsiteX2" fmla="*/ 12700 w 203200"/>
                  <a:gd name="connsiteY2" fmla="*/ 193040 h 193040"/>
                  <a:gd name="connsiteX3" fmla="*/ 0 w 203200"/>
                  <a:gd name="connsiteY3" fmla="*/ 114300 h 193040"/>
                  <a:gd name="connsiteX4" fmla="*/ 147320 w 203200"/>
                  <a:gd name="connsiteY4" fmla="*/ 0 h 193040"/>
                  <a:gd name="connsiteX0" fmla="*/ 147320 w 203200"/>
                  <a:gd name="connsiteY0" fmla="*/ 0 h 196850"/>
                  <a:gd name="connsiteX1" fmla="*/ 203200 w 203200"/>
                  <a:gd name="connsiteY1" fmla="*/ 45720 h 196850"/>
                  <a:gd name="connsiteX2" fmla="*/ 6985 w 203200"/>
                  <a:gd name="connsiteY2" fmla="*/ 196850 h 196850"/>
                  <a:gd name="connsiteX3" fmla="*/ 0 w 203200"/>
                  <a:gd name="connsiteY3" fmla="*/ 114300 h 196850"/>
                  <a:gd name="connsiteX4" fmla="*/ 147320 w 203200"/>
                  <a:gd name="connsiteY4" fmla="*/ 0 h 196850"/>
                  <a:gd name="connsiteX0" fmla="*/ 156845 w 212725"/>
                  <a:gd name="connsiteY0" fmla="*/ 0 h 196850"/>
                  <a:gd name="connsiteX1" fmla="*/ 212725 w 212725"/>
                  <a:gd name="connsiteY1" fmla="*/ 45720 h 196850"/>
                  <a:gd name="connsiteX2" fmla="*/ 16510 w 212725"/>
                  <a:gd name="connsiteY2" fmla="*/ 196850 h 196850"/>
                  <a:gd name="connsiteX3" fmla="*/ 0 w 212725"/>
                  <a:gd name="connsiteY3" fmla="*/ 108585 h 196850"/>
                  <a:gd name="connsiteX4" fmla="*/ 156845 w 212725"/>
                  <a:gd name="connsiteY4" fmla="*/ 0 h 196850"/>
                  <a:gd name="connsiteX0" fmla="*/ 156845 w 212725"/>
                  <a:gd name="connsiteY0" fmla="*/ 0 h 204470"/>
                  <a:gd name="connsiteX1" fmla="*/ 212725 w 212725"/>
                  <a:gd name="connsiteY1" fmla="*/ 53340 h 204470"/>
                  <a:gd name="connsiteX2" fmla="*/ 16510 w 212725"/>
                  <a:gd name="connsiteY2" fmla="*/ 204470 h 204470"/>
                  <a:gd name="connsiteX3" fmla="*/ 0 w 212725"/>
                  <a:gd name="connsiteY3" fmla="*/ 116205 h 204470"/>
                  <a:gd name="connsiteX4" fmla="*/ 156845 w 212725"/>
                  <a:gd name="connsiteY4" fmla="*/ 0 h 204470"/>
                  <a:gd name="connsiteX0" fmla="*/ 158750 w 214630"/>
                  <a:gd name="connsiteY0" fmla="*/ 0 h 204470"/>
                  <a:gd name="connsiteX1" fmla="*/ 214630 w 214630"/>
                  <a:gd name="connsiteY1" fmla="*/ 53340 h 204470"/>
                  <a:gd name="connsiteX2" fmla="*/ 18415 w 214630"/>
                  <a:gd name="connsiteY2" fmla="*/ 204470 h 204470"/>
                  <a:gd name="connsiteX3" fmla="*/ 0 w 214630"/>
                  <a:gd name="connsiteY3" fmla="*/ 127635 h 204470"/>
                  <a:gd name="connsiteX4" fmla="*/ 158750 w 214630"/>
                  <a:gd name="connsiteY4" fmla="*/ 0 h 204470"/>
                  <a:gd name="connsiteX0" fmla="*/ 158750 w 214630"/>
                  <a:gd name="connsiteY0" fmla="*/ 0 h 208280"/>
                  <a:gd name="connsiteX1" fmla="*/ 214630 w 214630"/>
                  <a:gd name="connsiteY1" fmla="*/ 53340 h 208280"/>
                  <a:gd name="connsiteX2" fmla="*/ 22225 w 214630"/>
                  <a:gd name="connsiteY2" fmla="*/ 208280 h 208280"/>
                  <a:gd name="connsiteX3" fmla="*/ 0 w 214630"/>
                  <a:gd name="connsiteY3" fmla="*/ 127635 h 208280"/>
                  <a:gd name="connsiteX4" fmla="*/ 158750 w 214630"/>
                  <a:gd name="connsiteY4" fmla="*/ 0 h 208280"/>
                  <a:gd name="connsiteX0" fmla="*/ 136525 w 192405"/>
                  <a:gd name="connsiteY0" fmla="*/ 0 h 208280"/>
                  <a:gd name="connsiteX1" fmla="*/ 192405 w 192405"/>
                  <a:gd name="connsiteY1" fmla="*/ 53340 h 208280"/>
                  <a:gd name="connsiteX2" fmla="*/ 0 w 192405"/>
                  <a:gd name="connsiteY2" fmla="*/ 208280 h 208280"/>
                  <a:gd name="connsiteX3" fmla="*/ 635 w 192405"/>
                  <a:gd name="connsiteY3" fmla="*/ 120015 h 208280"/>
                  <a:gd name="connsiteX4" fmla="*/ 136525 w 192405"/>
                  <a:gd name="connsiteY4" fmla="*/ 0 h 208280"/>
                  <a:gd name="connsiteX0" fmla="*/ 137813 w 193693"/>
                  <a:gd name="connsiteY0" fmla="*/ 0 h 208280"/>
                  <a:gd name="connsiteX1" fmla="*/ 193693 w 193693"/>
                  <a:gd name="connsiteY1" fmla="*/ 53340 h 208280"/>
                  <a:gd name="connsiteX2" fmla="*/ 1288 w 193693"/>
                  <a:gd name="connsiteY2" fmla="*/ 208280 h 208280"/>
                  <a:gd name="connsiteX3" fmla="*/ 18 w 193693"/>
                  <a:gd name="connsiteY3" fmla="*/ 114300 h 208280"/>
                  <a:gd name="connsiteX4" fmla="*/ 137813 w 193693"/>
                  <a:gd name="connsiteY4" fmla="*/ 0 h 2082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693" h="208280">
                    <a:moveTo>
                      <a:pt x="137813" y="0"/>
                    </a:moveTo>
                    <a:lnTo>
                      <a:pt x="193693" y="53340"/>
                    </a:lnTo>
                    <a:lnTo>
                      <a:pt x="1288" y="208280"/>
                    </a:lnTo>
                    <a:cubicBezTo>
                      <a:pt x="1500" y="178858"/>
                      <a:pt x="-194" y="143722"/>
                      <a:pt x="18" y="114300"/>
                    </a:cubicBezTo>
                    <a:lnTo>
                      <a:pt x="137813"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err="1"/>
              </a:p>
            </p:txBody>
          </p:sp>
          <p:cxnSp>
            <p:nvCxnSpPr>
              <p:cNvPr id="3022" name="Straight Connector 3021">
                <a:extLst>
                  <a:ext uri="{FF2B5EF4-FFF2-40B4-BE49-F238E27FC236}">
                    <a16:creationId xmlns:a16="http://schemas.microsoft.com/office/drawing/2014/main" id="{9411E0C3-89BC-477E-9F06-DB701A6BD0A6}"/>
                  </a:ext>
                </a:extLst>
              </p:cNvPr>
              <p:cNvCxnSpPr>
                <a:cxnSpLocks/>
              </p:cNvCxnSpPr>
              <p:nvPr/>
            </p:nvCxnSpPr>
            <p:spPr bwMode="gray">
              <a:xfrm flipH="1">
                <a:off x="8162349" y="4892040"/>
                <a:ext cx="107257" cy="86386"/>
              </a:xfrm>
              <a:prstGeom prst="lin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3024" name="Straight Connector 3023">
                <a:extLst>
                  <a:ext uri="{FF2B5EF4-FFF2-40B4-BE49-F238E27FC236}">
                    <a16:creationId xmlns:a16="http://schemas.microsoft.com/office/drawing/2014/main" id="{856F77EF-0046-4CBC-9115-A85DAAF548EF}"/>
                  </a:ext>
                </a:extLst>
              </p:cNvPr>
              <p:cNvCxnSpPr>
                <a:cxnSpLocks/>
              </p:cNvCxnSpPr>
              <p:nvPr/>
            </p:nvCxnSpPr>
            <p:spPr bwMode="gray">
              <a:xfrm flipH="1">
                <a:off x="8164831" y="4950458"/>
                <a:ext cx="161052" cy="141349"/>
              </a:xfrm>
              <a:prstGeom prst="lin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3028" name="Block Arc 3018">
                <a:extLst>
                  <a:ext uri="{FF2B5EF4-FFF2-40B4-BE49-F238E27FC236}">
                    <a16:creationId xmlns:a16="http://schemas.microsoft.com/office/drawing/2014/main" id="{62385269-B57A-482C-99BA-680DB5D2157F}"/>
                  </a:ext>
                </a:extLst>
              </p:cNvPr>
              <p:cNvSpPr/>
              <p:nvPr/>
            </p:nvSpPr>
            <p:spPr bwMode="gray">
              <a:xfrm rot="16200000">
                <a:off x="7881127" y="5217954"/>
                <a:ext cx="279269" cy="124356"/>
              </a:xfrm>
              <a:custGeom>
                <a:avLst/>
                <a:gdLst>
                  <a:gd name="connsiteX0" fmla="*/ 96967 w 753238"/>
                  <a:gd name="connsiteY0" fmla="*/ 124356 h 753238"/>
                  <a:gd name="connsiteX1" fmla="*/ 376236 w 753238"/>
                  <a:gd name="connsiteY1" fmla="*/ 0 h 753238"/>
                  <a:gd name="connsiteX2" fmla="*/ 376319 w 753238"/>
                  <a:gd name="connsiteY2" fmla="*/ 81531 h 753238"/>
                  <a:gd name="connsiteX3" fmla="*/ 157506 w 753238"/>
                  <a:gd name="connsiteY3" fmla="*/ 178966 h 753238"/>
                  <a:gd name="connsiteX4" fmla="*/ 96967 w 753238"/>
                  <a:gd name="connsiteY4" fmla="*/ 124356 h 753238"/>
                  <a:gd name="connsiteX0" fmla="*/ 0 w 279672"/>
                  <a:gd name="connsiteY0" fmla="*/ 124356 h 178966"/>
                  <a:gd name="connsiteX1" fmla="*/ 279269 w 279672"/>
                  <a:gd name="connsiteY1" fmla="*/ 0 h 178966"/>
                  <a:gd name="connsiteX2" fmla="*/ 60539 w 279672"/>
                  <a:gd name="connsiteY2" fmla="*/ 178966 h 178966"/>
                  <a:gd name="connsiteX3" fmla="*/ 0 w 279672"/>
                  <a:gd name="connsiteY3" fmla="*/ 124356 h 178966"/>
                  <a:gd name="connsiteX0" fmla="*/ 0 w 279269"/>
                  <a:gd name="connsiteY0" fmla="*/ 124356 h 124356"/>
                  <a:gd name="connsiteX1" fmla="*/ 279269 w 279269"/>
                  <a:gd name="connsiteY1" fmla="*/ 0 h 124356"/>
                  <a:gd name="connsiteX2" fmla="*/ 0 w 279269"/>
                  <a:gd name="connsiteY2" fmla="*/ 124356 h 124356"/>
                  <a:gd name="connsiteX0" fmla="*/ 0 w 279269"/>
                  <a:gd name="connsiteY0" fmla="*/ 124356 h 124356"/>
                  <a:gd name="connsiteX1" fmla="*/ 279269 w 279269"/>
                  <a:gd name="connsiteY1" fmla="*/ 0 h 124356"/>
                  <a:gd name="connsiteX2" fmla="*/ 139106 w 279269"/>
                  <a:gd name="connsiteY2" fmla="*/ 63375 h 124356"/>
                  <a:gd name="connsiteX3" fmla="*/ 0 w 279269"/>
                  <a:gd name="connsiteY3" fmla="*/ 124356 h 124356"/>
                  <a:gd name="connsiteX0" fmla="*/ 139106 w 279269"/>
                  <a:gd name="connsiteY0" fmla="*/ 63375 h 154815"/>
                  <a:gd name="connsiteX1" fmla="*/ 0 w 279269"/>
                  <a:gd name="connsiteY1" fmla="*/ 124356 h 154815"/>
                  <a:gd name="connsiteX2" fmla="*/ 279269 w 279269"/>
                  <a:gd name="connsiteY2" fmla="*/ 0 h 154815"/>
                  <a:gd name="connsiteX3" fmla="*/ 230546 w 279269"/>
                  <a:gd name="connsiteY3" fmla="*/ 154815 h 154815"/>
                  <a:gd name="connsiteX0" fmla="*/ 0 w 279269"/>
                  <a:gd name="connsiteY0" fmla="*/ 124356 h 154815"/>
                  <a:gd name="connsiteX1" fmla="*/ 279269 w 279269"/>
                  <a:gd name="connsiteY1" fmla="*/ 0 h 154815"/>
                  <a:gd name="connsiteX2" fmla="*/ 230546 w 279269"/>
                  <a:gd name="connsiteY2" fmla="*/ 154815 h 154815"/>
                  <a:gd name="connsiteX0" fmla="*/ 0 w 279269"/>
                  <a:gd name="connsiteY0" fmla="*/ 124356 h 124356"/>
                  <a:gd name="connsiteX1" fmla="*/ 279269 w 279269"/>
                  <a:gd name="connsiteY1" fmla="*/ 0 h 124356"/>
                </a:gdLst>
                <a:ahLst/>
                <a:cxnLst>
                  <a:cxn ang="0">
                    <a:pos x="connsiteX0" y="connsiteY0"/>
                  </a:cxn>
                  <a:cxn ang="0">
                    <a:pos x="connsiteX1" y="connsiteY1"/>
                  </a:cxn>
                </a:cxnLst>
                <a:rect l="l" t="t" r="r" b="b"/>
                <a:pathLst>
                  <a:path w="279269" h="124356">
                    <a:moveTo>
                      <a:pt x="0" y="124356"/>
                    </a:moveTo>
                    <a:cubicBezTo>
                      <a:pt x="71324" y="45288"/>
                      <a:pt x="172785" y="109"/>
                      <a:pt x="279269" y="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sp>
            <p:nvSpPr>
              <p:cNvPr id="3030" name="Block Arc 3018">
                <a:extLst>
                  <a:ext uri="{FF2B5EF4-FFF2-40B4-BE49-F238E27FC236}">
                    <a16:creationId xmlns:a16="http://schemas.microsoft.com/office/drawing/2014/main" id="{743B7B21-AFF7-4BB0-81DE-8C2F4437B6C7}"/>
                  </a:ext>
                </a:extLst>
              </p:cNvPr>
              <p:cNvSpPr/>
              <p:nvPr/>
            </p:nvSpPr>
            <p:spPr bwMode="gray">
              <a:xfrm rot="16200000">
                <a:off x="7978089" y="5197946"/>
                <a:ext cx="224027" cy="101505"/>
              </a:xfrm>
              <a:custGeom>
                <a:avLst/>
                <a:gdLst>
                  <a:gd name="connsiteX0" fmla="*/ 96967 w 753238"/>
                  <a:gd name="connsiteY0" fmla="*/ 124356 h 753238"/>
                  <a:gd name="connsiteX1" fmla="*/ 376236 w 753238"/>
                  <a:gd name="connsiteY1" fmla="*/ 0 h 753238"/>
                  <a:gd name="connsiteX2" fmla="*/ 376319 w 753238"/>
                  <a:gd name="connsiteY2" fmla="*/ 81531 h 753238"/>
                  <a:gd name="connsiteX3" fmla="*/ 157506 w 753238"/>
                  <a:gd name="connsiteY3" fmla="*/ 178966 h 753238"/>
                  <a:gd name="connsiteX4" fmla="*/ 96967 w 753238"/>
                  <a:gd name="connsiteY4" fmla="*/ 124356 h 753238"/>
                  <a:gd name="connsiteX0" fmla="*/ 0 w 279672"/>
                  <a:gd name="connsiteY0" fmla="*/ 124356 h 178966"/>
                  <a:gd name="connsiteX1" fmla="*/ 279269 w 279672"/>
                  <a:gd name="connsiteY1" fmla="*/ 0 h 178966"/>
                  <a:gd name="connsiteX2" fmla="*/ 60539 w 279672"/>
                  <a:gd name="connsiteY2" fmla="*/ 178966 h 178966"/>
                  <a:gd name="connsiteX3" fmla="*/ 0 w 279672"/>
                  <a:gd name="connsiteY3" fmla="*/ 124356 h 178966"/>
                  <a:gd name="connsiteX0" fmla="*/ 0 w 279269"/>
                  <a:gd name="connsiteY0" fmla="*/ 124356 h 124356"/>
                  <a:gd name="connsiteX1" fmla="*/ 279269 w 279269"/>
                  <a:gd name="connsiteY1" fmla="*/ 0 h 124356"/>
                  <a:gd name="connsiteX2" fmla="*/ 0 w 279269"/>
                  <a:gd name="connsiteY2" fmla="*/ 124356 h 124356"/>
                  <a:gd name="connsiteX0" fmla="*/ 0 w 279269"/>
                  <a:gd name="connsiteY0" fmla="*/ 124356 h 124356"/>
                  <a:gd name="connsiteX1" fmla="*/ 279269 w 279269"/>
                  <a:gd name="connsiteY1" fmla="*/ 0 h 124356"/>
                  <a:gd name="connsiteX2" fmla="*/ 139106 w 279269"/>
                  <a:gd name="connsiteY2" fmla="*/ 63375 h 124356"/>
                  <a:gd name="connsiteX3" fmla="*/ 0 w 279269"/>
                  <a:gd name="connsiteY3" fmla="*/ 124356 h 124356"/>
                  <a:gd name="connsiteX0" fmla="*/ 139106 w 279269"/>
                  <a:gd name="connsiteY0" fmla="*/ 63375 h 154815"/>
                  <a:gd name="connsiteX1" fmla="*/ 0 w 279269"/>
                  <a:gd name="connsiteY1" fmla="*/ 124356 h 154815"/>
                  <a:gd name="connsiteX2" fmla="*/ 279269 w 279269"/>
                  <a:gd name="connsiteY2" fmla="*/ 0 h 154815"/>
                  <a:gd name="connsiteX3" fmla="*/ 230546 w 279269"/>
                  <a:gd name="connsiteY3" fmla="*/ 154815 h 154815"/>
                  <a:gd name="connsiteX0" fmla="*/ 0 w 279269"/>
                  <a:gd name="connsiteY0" fmla="*/ 124356 h 154815"/>
                  <a:gd name="connsiteX1" fmla="*/ 279269 w 279269"/>
                  <a:gd name="connsiteY1" fmla="*/ 0 h 154815"/>
                  <a:gd name="connsiteX2" fmla="*/ 230546 w 279269"/>
                  <a:gd name="connsiteY2" fmla="*/ 154815 h 154815"/>
                  <a:gd name="connsiteX0" fmla="*/ 0 w 279269"/>
                  <a:gd name="connsiteY0" fmla="*/ 124356 h 124356"/>
                  <a:gd name="connsiteX1" fmla="*/ 279269 w 279269"/>
                  <a:gd name="connsiteY1" fmla="*/ 0 h 124356"/>
                  <a:gd name="connsiteX0" fmla="*/ 0 w 289279"/>
                  <a:gd name="connsiteY0" fmla="*/ 107211 h 107211"/>
                  <a:gd name="connsiteX1" fmla="*/ 289279 w 289279"/>
                  <a:gd name="connsiteY1" fmla="*/ 0 h 107211"/>
                  <a:gd name="connsiteX0" fmla="*/ 0 w 289279"/>
                  <a:gd name="connsiteY0" fmla="*/ 107211 h 107211"/>
                  <a:gd name="connsiteX1" fmla="*/ 289279 w 289279"/>
                  <a:gd name="connsiteY1" fmla="*/ 0 h 107211"/>
                  <a:gd name="connsiteX0" fmla="*/ 0 w 289279"/>
                  <a:gd name="connsiteY0" fmla="*/ 107211 h 107211"/>
                  <a:gd name="connsiteX1" fmla="*/ 289279 w 289279"/>
                  <a:gd name="connsiteY1" fmla="*/ 0 h 107211"/>
                  <a:gd name="connsiteX0" fmla="*/ -1 w 291781"/>
                  <a:gd name="connsiteY0" fmla="*/ 97689 h 97689"/>
                  <a:gd name="connsiteX1" fmla="*/ 291781 w 291781"/>
                  <a:gd name="connsiteY1" fmla="*/ 0 h 97689"/>
                  <a:gd name="connsiteX0" fmla="*/ 0 w 291782"/>
                  <a:gd name="connsiteY0" fmla="*/ 97689 h 97689"/>
                  <a:gd name="connsiteX1" fmla="*/ 291782 w 291782"/>
                  <a:gd name="connsiteY1" fmla="*/ 0 h 97689"/>
                  <a:gd name="connsiteX0" fmla="*/ 0 w 291782"/>
                  <a:gd name="connsiteY0" fmla="*/ 97689 h 97689"/>
                  <a:gd name="connsiteX1" fmla="*/ 291782 w 291782"/>
                  <a:gd name="connsiteY1" fmla="*/ 0 h 97689"/>
                  <a:gd name="connsiteX0" fmla="*/ 0 w 291782"/>
                  <a:gd name="connsiteY0" fmla="*/ 97689 h 97689"/>
                  <a:gd name="connsiteX1" fmla="*/ 110163 w 291782"/>
                  <a:gd name="connsiteY1" fmla="*/ 34040 h 97689"/>
                  <a:gd name="connsiteX2" fmla="*/ 291782 w 291782"/>
                  <a:gd name="connsiteY2" fmla="*/ 0 h 97689"/>
                  <a:gd name="connsiteX0" fmla="*/ 0 w 291782"/>
                  <a:gd name="connsiteY0" fmla="*/ 97689 h 97689"/>
                  <a:gd name="connsiteX1" fmla="*/ 110163 w 291782"/>
                  <a:gd name="connsiteY1" fmla="*/ 34040 h 97689"/>
                  <a:gd name="connsiteX2" fmla="*/ 291782 w 291782"/>
                  <a:gd name="connsiteY2" fmla="*/ 0 h 97689"/>
                  <a:gd name="connsiteX0" fmla="*/ 0 w 291782"/>
                  <a:gd name="connsiteY0" fmla="*/ 97689 h 97689"/>
                  <a:gd name="connsiteX1" fmla="*/ 110163 w 291782"/>
                  <a:gd name="connsiteY1" fmla="*/ 34040 h 97689"/>
                  <a:gd name="connsiteX2" fmla="*/ 291782 w 291782"/>
                  <a:gd name="connsiteY2" fmla="*/ 0 h 97689"/>
                  <a:gd name="connsiteX0" fmla="*/ 0 w 291782"/>
                  <a:gd name="connsiteY0" fmla="*/ 97689 h 97689"/>
                  <a:gd name="connsiteX1" fmla="*/ 110163 w 291782"/>
                  <a:gd name="connsiteY1" fmla="*/ 34040 h 97689"/>
                  <a:gd name="connsiteX2" fmla="*/ 291782 w 291782"/>
                  <a:gd name="connsiteY2" fmla="*/ 0 h 97689"/>
                  <a:gd name="connsiteX0" fmla="*/ 0 w 291782"/>
                  <a:gd name="connsiteY0" fmla="*/ 97689 h 97689"/>
                  <a:gd name="connsiteX1" fmla="*/ 110163 w 291782"/>
                  <a:gd name="connsiteY1" fmla="*/ 34040 h 97689"/>
                  <a:gd name="connsiteX2" fmla="*/ 291782 w 291782"/>
                  <a:gd name="connsiteY2" fmla="*/ 0 h 97689"/>
                  <a:gd name="connsiteX0" fmla="*/ 0 w 291782"/>
                  <a:gd name="connsiteY0" fmla="*/ 97689 h 97689"/>
                  <a:gd name="connsiteX1" fmla="*/ 60114 w 291782"/>
                  <a:gd name="connsiteY1" fmla="*/ 62618 h 97689"/>
                  <a:gd name="connsiteX2" fmla="*/ 291782 w 291782"/>
                  <a:gd name="connsiteY2" fmla="*/ 0 h 97689"/>
                  <a:gd name="connsiteX0" fmla="*/ 0 w 271763"/>
                  <a:gd name="connsiteY0" fmla="*/ 124362 h 124362"/>
                  <a:gd name="connsiteX1" fmla="*/ 40095 w 271763"/>
                  <a:gd name="connsiteY1" fmla="*/ 62618 h 124362"/>
                  <a:gd name="connsiteX2" fmla="*/ 271763 w 271763"/>
                  <a:gd name="connsiteY2" fmla="*/ 0 h 124362"/>
                  <a:gd name="connsiteX0" fmla="*/ 0 w 271763"/>
                  <a:gd name="connsiteY0" fmla="*/ 124362 h 124362"/>
                  <a:gd name="connsiteX1" fmla="*/ 40095 w 271763"/>
                  <a:gd name="connsiteY1" fmla="*/ 62618 h 124362"/>
                  <a:gd name="connsiteX2" fmla="*/ 271763 w 271763"/>
                  <a:gd name="connsiteY2" fmla="*/ 0 h 124362"/>
                  <a:gd name="connsiteX0" fmla="*/ 0 w 301792"/>
                  <a:gd name="connsiteY0" fmla="*/ 95787 h 95787"/>
                  <a:gd name="connsiteX1" fmla="*/ 70124 w 301792"/>
                  <a:gd name="connsiteY1" fmla="*/ 62618 h 95787"/>
                  <a:gd name="connsiteX2" fmla="*/ 301792 w 301792"/>
                  <a:gd name="connsiteY2" fmla="*/ 0 h 95787"/>
                  <a:gd name="connsiteX0" fmla="*/ 0 w 301792"/>
                  <a:gd name="connsiteY0" fmla="*/ 95787 h 95787"/>
                  <a:gd name="connsiteX1" fmla="*/ 70124 w 301792"/>
                  <a:gd name="connsiteY1" fmla="*/ 62618 h 95787"/>
                  <a:gd name="connsiteX2" fmla="*/ 301792 w 301792"/>
                  <a:gd name="connsiteY2" fmla="*/ 0 h 95787"/>
                  <a:gd name="connsiteX0" fmla="*/ 0 w 301792"/>
                  <a:gd name="connsiteY0" fmla="*/ 95787 h 95787"/>
                  <a:gd name="connsiteX1" fmla="*/ 77631 w 301792"/>
                  <a:gd name="connsiteY1" fmla="*/ 56906 h 95787"/>
                  <a:gd name="connsiteX2" fmla="*/ 301792 w 301792"/>
                  <a:gd name="connsiteY2" fmla="*/ 0 h 95787"/>
                  <a:gd name="connsiteX0" fmla="*/ 0 w 301792"/>
                  <a:gd name="connsiteY0" fmla="*/ 95787 h 95787"/>
                  <a:gd name="connsiteX1" fmla="*/ 77631 w 301792"/>
                  <a:gd name="connsiteY1" fmla="*/ 56906 h 95787"/>
                  <a:gd name="connsiteX2" fmla="*/ 301792 w 301792"/>
                  <a:gd name="connsiteY2" fmla="*/ 0 h 95787"/>
                  <a:gd name="connsiteX0" fmla="*/ 0 w 294285"/>
                  <a:gd name="connsiteY0" fmla="*/ 101505 h 101505"/>
                  <a:gd name="connsiteX1" fmla="*/ 70124 w 294285"/>
                  <a:gd name="connsiteY1" fmla="*/ 56906 h 101505"/>
                  <a:gd name="connsiteX2" fmla="*/ 294285 w 294285"/>
                  <a:gd name="connsiteY2" fmla="*/ 0 h 101505"/>
                  <a:gd name="connsiteX0" fmla="*/ 0 w 294285"/>
                  <a:gd name="connsiteY0" fmla="*/ 101505 h 101505"/>
                  <a:gd name="connsiteX1" fmla="*/ 70124 w 294285"/>
                  <a:gd name="connsiteY1" fmla="*/ 56906 h 101505"/>
                  <a:gd name="connsiteX2" fmla="*/ 294285 w 294285"/>
                  <a:gd name="connsiteY2" fmla="*/ 0 h 101505"/>
                </a:gdLst>
                <a:ahLst/>
                <a:cxnLst>
                  <a:cxn ang="0">
                    <a:pos x="connsiteX0" y="connsiteY0"/>
                  </a:cxn>
                  <a:cxn ang="0">
                    <a:pos x="connsiteX1" y="connsiteY1"/>
                  </a:cxn>
                  <a:cxn ang="0">
                    <a:pos x="connsiteX2" y="connsiteY2"/>
                  </a:cxn>
                </a:cxnLst>
                <a:rect l="l" t="t" r="r" b="b"/>
                <a:pathLst>
                  <a:path w="294285" h="101505">
                    <a:moveTo>
                      <a:pt x="0" y="101505"/>
                    </a:moveTo>
                    <a:cubicBezTo>
                      <a:pt x="31715" y="78387"/>
                      <a:pt x="21076" y="73824"/>
                      <a:pt x="70124" y="56906"/>
                    </a:cubicBezTo>
                    <a:cubicBezTo>
                      <a:pt x="119172" y="39988"/>
                      <a:pt x="185295" y="7738"/>
                      <a:pt x="294285" y="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grpSp>
            <p:nvGrpSpPr>
              <p:cNvPr id="2998" name="Group 2997">
                <a:extLst>
                  <a:ext uri="{FF2B5EF4-FFF2-40B4-BE49-F238E27FC236}">
                    <a16:creationId xmlns:a16="http://schemas.microsoft.com/office/drawing/2014/main" id="{295C67DF-A6C6-49D1-B09B-D19F9996AF91}"/>
                  </a:ext>
                </a:extLst>
              </p:cNvPr>
              <p:cNvGrpSpPr/>
              <p:nvPr/>
            </p:nvGrpSpPr>
            <p:grpSpPr bwMode="gray">
              <a:xfrm>
                <a:off x="7697996" y="4697736"/>
                <a:ext cx="76509" cy="59048"/>
                <a:chOff x="7697996" y="4697736"/>
                <a:chExt cx="76509" cy="59048"/>
              </a:xfrm>
              <a:solidFill>
                <a:schemeClr val="bg1"/>
              </a:solidFill>
            </p:grpSpPr>
            <p:sp>
              <p:nvSpPr>
                <p:cNvPr id="2994" name="Freeform: Shape 2993">
                  <a:extLst>
                    <a:ext uri="{FF2B5EF4-FFF2-40B4-BE49-F238E27FC236}">
                      <a16:creationId xmlns:a16="http://schemas.microsoft.com/office/drawing/2014/main" id="{F0A0069E-8165-4E43-91A1-B7CAF51A87B3}"/>
                    </a:ext>
                  </a:extLst>
                </p:cNvPr>
                <p:cNvSpPr/>
                <p:nvPr/>
              </p:nvSpPr>
              <p:spPr bwMode="gray">
                <a:xfrm rot="5400000" flipV="1">
                  <a:off x="7713391" y="4689006"/>
                  <a:ext cx="45719" cy="76508"/>
                </a:xfrm>
                <a:custGeom>
                  <a:avLst/>
                  <a:gdLst>
                    <a:gd name="connsiteX0" fmla="*/ 58464 w 116928"/>
                    <a:gd name="connsiteY0" fmla="*/ 0 h 245719"/>
                    <a:gd name="connsiteX1" fmla="*/ 28575 w 116928"/>
                    <a:gd name="connsiteY1" fmla="*/ 24829 h 245719"/>
                    <a:gd name="connsiteX2" fmla="*/ 28575 w 116928"/>
                    <a:gd name="connsiteY2" fmla="*/ 50048 h 245719"/>
                    <a:gd name="connsiteX3" fmla="*/ 0 w 116928"/>
                    <a:gd name="connsiteY3" fmla="*/ 50048 h 245719"/>
                    <a:gd name="connsiteX4" fmla="*/ 0 w 116928"/>
                    <a:gd name="connsiteY4" fmla="*/ 174457 h 245719"/>
                    <a:gd name="connsiteX5" fmla="*/ 58464 w 116928"/>
                    <a:gd name="connsiteY5" fmla="*/ 245719 h 245719"/>
                    <a:gd name="connsiteX6" fmla="*/ 116928 w 116928"/>
                    <a:gd name="connsiteY6" fmla="*/ 174457 h 245719"/>
                    <a:gd name="connsiteX7" fmla="*/ 116928 w 116928"/>
                    <a:gd name="connsiteY7" fmla="*/ 50048 h 245719"/>
                    <a:gd name="connsiteX8" fmla="*/ 88353 w 116928"/>
                    <a:gd name="connsiteY8" fmla="*/ 50048 h 245719"/>
                    <a:gd name="connsiteX9" fmla="*/ 88353 w 116928"/>
                    <a:gd name="connsiteY9" fmla="*/ 24829 h 245719"/>
                    <a:gd name="connsiteX0" fmla="*/ 58464 w 116928"/>
                    <a:gd name="connsiteY0" fmla="*/ 0 h 245719"/>
                    <a:gd name="connsiteX1" fmla="*/ 28575 w 116928"/>
                    <a:gd name="connsiteY1" fmla="*/ 50048 h 245719"/>
                    <a:gd name="connsiteX2" fmla="*/ 0 w 116928"/>
                    <a:gd name="connsiteY2" fmla="*/ 50048 h 245719"/>
                    <a:gd name="connsiteX3" fmla="*/ 0 w 116928"/>
                    <a:gd name="connsiteY3" fmla="*/ 174457 h 245719"/>
                    <a:gd name="connsiteX4" fmla="*/ 58464 w 116928"/>
                    <a:gd name="connsiteY4" fmla="*/ 245719 h 245719"/>
                    <a:gd name="connsiteX5" fmla="*/ 116928 w 116928"/>
                    <a:gd name="connsiteY5" fmla="*/ 174457 h 245719"/>
                    <a:gd name="connsiteX6" fmla="*/ 116928 w 116928"/>
                    <a:gd name="connsiteY6" fmla="*/ 50048 h 245719"/>
                    <a:gd name="connsiteX7" fmla="*/ 88353 w 116928"/>
                    <a:gd name="connsiteY7" fmla="*/ 50048 h 245719"/>
                    <a:gd name="connsiteX8" fmla="*/ 88353 w 116928"/>
                    <a:gd name="connsiteY8" fmla="*/ 24829 h 245719"/>
                    <a:gd name="connsiteX9" fmla="*/ 58464 w 116928"/>
                    <a:gd name="connsiteY9" fmla="*/ 0 h 245719"/>
                    <a:gd name="connsiteX0" fmla="*/ 88353 w 116928"/>
                    <a:gd name="connsiteY0" fmla="*/ 0 h 220890"/>
                    <a:gd name="connsiteX1" fmla="*/ 28575 w 116928"/>
                    <a:gd name="connsiteY1" fmla="*/ 25219 h 220890"/>
                    <a:gd name="connsiteX2" fmla="*/ 0 w 116928"/>
                    <a:gd name="connsiteY2" fmla="*/ 25219 h 220890"/>
                    <a:gd name="connsiteX3" fmla="*/ 0 w 116928"/>
                    <a:gd name="connsiteY3" fmla="*/ 149628 h 220890"/>
                    <a:gd name="connsiteX4" fmla="*/ 58464 w 116928"/>
                    <a:gd name="connsiteY4" fmla="*/ 220890 h 220890"/>
                    <a:gd name="connsiteX5" fmla="*/ 116928 w 116928"/>
                    <a:gd name="connsiteY5" fmla="*/ 149628 h 220890"/>
                    <a:gd name="connsiteX6" fmla="*/ 116928 w 116928"/>
                    <a:gd name="connsiteY6" fmla="*/ 25219 h 220890"/>
                    <a:gd name="connsiteX7" fmla="*/ 88353 w 116928"/>
                    <a:gd name="connsiteY7" fmla="*/ 25219 h 220890"/>
                    <a:gd name="connsiteX8" fmla="*/ 88353 w 116928"/>
                    <a:gd name="connsiteY8" fmla="*/ 0 h 220890"/>
                    <a:gd name="connsiteX0" fmla="*/ 88353 w 116928"/>
                    <a:gd name="connsiteY0" fmla="*/ 0 h 195671"/>
                    <a:gd name="connsiteX1" fmla="*/ 28575 w 116928"/>
                    <a:gd name="connsiteY1" fmla="*/ 0 h 195671"/>
                    <a:gd name="connsiteX2" fmla="*/ 0 w 116928"/>
                    <a:gd name="connsiteY2" fmla="*/ 0 h 195671"/>
                    <a:gd name="connsiteX3" fmla="*/ 0 w 116928"/>
                    <a:gd name="connsiteY3" fmla="*/ 124409 h 195671"/>
                    <a:gd name="connsiteX4" fmla="*/ 58464 w 116928"/>
                    <a:gd name="connsiteY4" fmla="*/ 195671 h 195671"/>
                    <a:gd name="connsiteX5" fmla="*/ 116928 w 116928"/>
                    <a:gd name="connsiteY5" fmla="*/ 124409 h 195671"/>
                    <a:gd name="connsiteX6" fmla="*/ 116928 w 116928"/>
                    <a:gd name="connsiteY6" fmla="*/ 0 h 195671"/>
                    <a:gd name="connsiteX7" fmla="*/ 88353 w 116928"/>
                    <a:gd name="connsiteY7" fmla="*/ 0 h 195671"/>
                    <a:gd name="connsiteX0" fmla="*/ 116928 w 116928"/>
                    <a:gd name="connsiteY0" fmla="*/ 0 h 195671"/>
                    <a:gd name="connsiteX1" fmla="*/ 28575 w 116928"/>
                    <a:gd name="connsiteY1" fmla="*/ 0 h 195671"/>
                    <a:gd name="connsiteX2" fmla="*/ 0 w 116928"/>
                    <a:gd name="connsiteY2" fmla="*/ 0 h 195671"/>
                    <a:gd name="connsiteX3" fmla="*/ 0 w 116928"/>
                    <a:gd name="connsiteY3" fmla="*/ 124409 h 195671"/>
                    <a:gd name="connsiteX4" fmla="*/ 58464 w 116928"/>
                    <a:gd name="connsiteY4" fmla="*/ 195671 h 195671"/>
                    <a:gd name="connsiteX5" fmla="*/ 116928 w 116928"/>
                    <a:gd name="connsiteY5" fmla="*/ 124409 h 195671"/>
                    <a:gd name="connsiteX6" fmla="*/ 116928 w 116928"/>
                    <a:gd name="connsiteY6" fmla="*/ 0 h 195671"/>
                    <a:gd name="connsiteX0" fmla="*/ 116928 w 116928"/>
                    <a:gd name="connsiteY0" fmla="*/ 0 h 195671"/>
                    <a:gd name="connsiteX1" fmla="*/ 0 w 116928"/>
                    <a:gd name="connsiteY1" fmla="*/ 0 h 195671"/>
                    <a:gd name="connsiteX2" fmla="*/ 0 w 116928"/>
                    <a:gd name="connsiteY2" fmla="*/ 124409 h 195671"/>
                    <a:gd name="connsiteX3" fmla="*/ 58464 w 116928"/>
                    <a:gd name="connsiteY3" fmla="*/ 195671 h 195671"/>
                    <a:gd name="connsiteX4" fmla="*/ 116928 w 116928"/>
                    <a:gd name="connsiteY4" fmla="*/ 124409 h 195671"/>
                    <a:gd name="connsiteX5" fmla="*/ 116928 w 116928"/>
                    <a:gd name="connsiteY5" fmla="*/ 0 h 195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928" h="195671">
                      <a:moveTo>
                        <a:pt x="116928" y="0"/>
                      </a:moveTo>
                      <a:lnTo>
                        <a:pt x="0" y="0"/>
                      </a:lnTo>
                      <a:lnTo>
                        <a:pt x="0" y="124409"/>
                      </a:lnTo>
                      <a:lnTo>
                        <a:pt x="58464" y="195671"/>
                      </a:lnTo>
                      <a:lnTo>
                        <a:pt x="116928" y="124409"/>
                      </a:lnTo>
                      <a:lnTo>
                        <a:pt x="116928" y="0"/>
                      </a:lnTo>
                      <a:close/>
                    </a:path>
                  </a:pathLst>
                </a:custGeom>
                <a:solidFill>
                  <a:schemeClr val="bg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cxnSp>
              <p:nvCxnSpPr>
                <p:cNvPr id="2996" name="Straight Connector 2995">
                  <a:extLst>
                    <a:ext uri="{FF2B5EF4-FFF2-40B4-BE49-F238E27FC236}">
                      <a16:creationId xmlns:a16="http://schemas.microsoft.com/office/drawing/2014/main" id="{04E03A7B-65A8-4A62-A8FD-242E29BE3D39}"/>
                    </a:ext>
                  </a:extLst>
                </p:cNvPr>
                <p:cNvCxnSpPr>
                  <a:cxnSpLocks/>
                </p:cNvCxnSpPr>
                <p:nvPr/>
              </p:nvCxnSpPr>
              <p:spPr bwMode="gray">
                <a:xfrm>
                  <a:off x="7697996" y="4697736"/>
                  <a:ext cx="0" cy="59048"/>
                </a:xfrm>
                <a:prstGeom prst="line">
                  <a:avLst/>
                </a:prstGeom>
                <a:grp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grpSp>
          <p:sp>
            <p:nvSpPr>
              <p:cNvPr id="3116" name="Rectangle 3115">
                <a:extLst>
                  <a:ext uri="{FF2B5EF4-FFF2-40B4-BE49-F238E27FC236}">
                    <a16:creationId xmlns:a16="http://schemas.microsoft.com/office/drawing/2014/main" id="{BB001114-42C5-449E-AEF7-28BE92A6B338}"/>
                  </a:ext>
                </a:extLst>
              </p:cNvPr>
              <p:cNvSpPr/>
              <p:nvPr/>
            </p:nvSpPr>
            <p:spPr bwMode="gray">
              <a:xfrm>
                <a:off x="8498262" y="4750632"/>
                <a:ext cx="794966"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spcBef>
                    <a:spcPts val="300"/>
                  </a:spcBef>
                  <a:buClr>
                    <a:srgbClr val="002897"/>
                  </a:buClr>
                  <a:buSzPct val="70000"/>
                </a:pPr>
                <a:r>
                  <a:rPr lang="de-DE" sz="1000" dirty="0">
                    <a:solidFill>
                      <a:schemeClr val="tx1"/>
                    </a:solidFill>
                  </a:rPr>
                  <a:t>Spent catalyst from reactor</a:t>
                </a:r>
              </a:p>
            </p:txBody>
          </p:sp>
          <p:sp>
            <p:nvSpPr>
              <p:cNvPr id="3120" name="Rectangle 3119">
                <a:extLst>
                  <a:ext uri="{FF2B5EF4-FFF2-40B4-BE49-F238E27FC236}">
                    <a16:creationId xmlns:a16="http://schemas.microsoft.com/office/drawing/2014/main" id="{76CEAF92-4306-466B-BB1F-DB2A03311D27}"/>
                  </a:ext>
                </a:extLst>
              </p:cNvPr>
              <p:cNvSpPr/>
              <p:nvPr/>
            </p:nvSpPr>
            <p:spPr bwMode="gray">
              <a:xfrm>
                <a:off x="8338988" y="5054740"/>
                <a:ext cx="954242"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spcBef>
                    <a:spcPts val="300"/>
                  </a:spcBef>
                  <a:buClr>
                    <a:srgbClr val="002897"/>
                  </a:buClr>
                  <a:buSzPct val="70000"/>
                </a:pPr>
                <a:r>
                  <a:rPr lang="de-DE" sz="1000" dirty="0">
                    <a:solidFill>
                      <a:schemeClr val="tx1"/>
                    </a:solidFill>
                  </a:rPr>
                  <a:t>Regenerator standpipe</a:t>
                </a:r>
              </a:p>
            </p:txBody>
          </p:sp>
          <p:sp>
            <p:nvSpPr>
              <p:cNvPr id="3121" name="Rectangle 3120">
                <a:extLst>
                  <a:ext uri="{FF2B5EF4-FFF2-40B4-BE49-F238E27FC236}">
                    <a16:creationId xmlns:a16="http://schemas.microsoft.com/office/drawing/2014/main" id="{B07F91A5-248B-4935-8AFC-FD154AE22339}"/>
                  </a:ext>
                </a:extLst>
              </p:cNvPr>
              <p:cNvSpPr/>
              <p:nvPr/>
            </p:nvSpPr>
            <p:spPr bwMode="gray">
              <a:xfrm>
                <a:off x="8225716" y="5358850"/>
                <a:ext cx="1067513"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spcBef>
                    <a:spcPts val="300"/>
                  </a:spcBef>
                  <a:buClr>
                    <a:srgbClr val="002897"/>
                  </a:buClr>
                  <a:buSzPct val="70000"/>
                </a:pPr>
                <a:r>
                  <a:rPr lang="de-DE" sz="1000" dirty="0">
                    <a:solidFill>
                      <a:schemeClr val="tx1"/>
                    </a:solidFill>
                  </a:rPr>
                  <a:t>Regenerated catalyst to reactor-riser</a:t>
                </a:r>
              </a:p>
            </p:txBody>
          </p:sp>
          <p:sp>
            <p:nvSpPr>
              <p:cNvPr id="3122" name="Rectangle 3121">
                <a:extLst>
                  <a:ext uri="{FF2B5EF4-FFF2-40B4-BE49-F238E27FC236}">
                    <a16:creationId xmlns:a16="http://schemas.microsoft.com/office/drawing/2014/main" id="{869F7CC1-4BE5-4F16-A400-EB8527AF20CE}"/>
                  </a:ext>
                </a:extLst>
              </p:cNvPr>
              <p:cNvSpPr/>
              <p:nvPr/>
            </p:nvSpPr>
            <p:spPr bwMode="gray">
              <a:xfrm>
                <a:off x="8338986" y="5662960"/>
                <a:ext cx="656173"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spcBef>
                    <a:spcPts val="300"/>
                  </a:spcBef>
                  <a:buClr>
                    <a:srgbClr val="002897"/>
                  </a:buClr>
                  <a:buSzPct val="70000"/>
                </a:pPr>
                <a:r>
                  <a:rPr lang="de-DE" sz="1000" dirty="0">
                    <a:solidFill>
                      <a:schemeClr val="tx1"/>
                    </a:solidFill>
                  </a:rPr>
                  <a:t>+30 in. H</a:t>
                </a:r>
                <a:r>
                  <a:rPr lang="de-DE" sz="1000" baseline="-25000" dirty="0">
                    <a:solidFill>
                      <a:schemeClr val="tx1"/>
                    </a:solidFill>
                  </a:rPr>
                  <a:t>2</a:t>
                </a:r>
                <a:r>
                  <a:rPr lang="de-DE" sz="1000" dirty="0">
                    <a:solidFill>
                      <a:schemeClr val="tx1"/>
                    </a:solidFill>
                  </a:rPr>
                  <a:t>O pressure</a:t>
                </a:r>
              </a:p>
            </p:txBody>
          </p:sp>
          <p:sp>
            <p:nvSpPr>
              <p:cNvPr id="3123" name="Rectangle 3122">
                <a:extLst>
                  <a:ext uri="{FF2B5EF4-FFF2-40B4-BE49-F238E27FC236}">
                    <a16:creationId xmlns:a16="http://schemas.microsoft.com/office/drawing/2014/main" id="{FC26BE77-E634-4210-B8D7-F68D26F593B7}"/>
                  </a:ext>
                </a:extLst>
              </p:cNvPr>
              <p:cNvSpPr/>
              <p:nvPr/>
            </p:nvSpPr>
            <p:spPr bwMode="gray">
              <a:xfrm>
                <a:off x="8321841" y="5939432"/>
                <a:ext cx="656173"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spcBef>
                    <a:spcPts val="300"/>
                  </a:spcBef>
                  <a:buClr>
                    <a:srgbClr val="002897"/>
                  </a:buClr>
                  <a:buSzPct val="70000"/>
                </a:pPr>
                <a:r>
                  <a:rPr lang="de-DE" sz="1000" dirty="0">
                    <a:solidFill>
                      <a:schemeClr val="tx1"/>
                    </a:solidFill>
                  </a:rPr>
                  <a:t>Air blower</a:t>
                </a:r>
              </a:p>
            </p:txBody>
          </p:sp>
          <p:sp>
            <p:nvSpPr>
              <p:cNvPr id="3124" name="Rectangle 3123">
                <a:extLst>
                  <a:ext uri="{FF2B5EF4-FFF2-40B4-BE49-F238E27FC236}">
                    <a16:creationId xmlns:a16="http://schemas.microsoft.com/office/drawing/2014/main" id="{B08AB62D-7921-4FDA-AA4F-7EE9A9F4D8DA}"/>
                  </a:ext>
                </a:extLst>
              </p:cNvPr>
              <p:cNvSpPr/>
              <p:nvPr/>
            </p:nvSpPr>
            <p:spPr bwMode="gray">
              <a:xfrm>
                <a:off x="7194467" y="5735682"/>
                <a:ext cx="520066" cy="32081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r">
                  <a:spcBef>
                    <a:spcPts val="300"/>
                  </a:spcBef>
                  <a:buClr>
                    <a:srgbClr val="002897"/>
                  </a:buClr>
                  <a:buSzPct val="70000"/>
                </a:pPr>
                <a:r>
                  <a:rPr lang="de-DE" sz="1000" dirty="0">
                    <a:solidFill>
                      <a:schemeClr val="tx1"/>
                    </a:solidFill>
                  </a:rPr>
                  <a:t>Oxygen injection valve</a:t>
                </a:r>
              </a:p>
            </p:txBody>
          </p:sp>
          <p:sp>
            <p:nvSpPr>
              <p:cNvPr id="3126" name="Rectangle 3125">
                <a:extLst>
                  <a:ext uri="{FF2B5EF4-FFF2-40B4-BE49-F238E27FC236}">
                    <a16:creationId xmlns:a16="http://schemas.microsoft.com/office/drawing/2014/main" id="{C325389D-7237-4EF1-B09A-B6BD2AAA2B81}"/>
                  </a:ext>
                </a:extLst>
              </p:cNvPr>
              <p:cNvSpPr/>
              <p:nvPr/>
            </p:nvSpPr>
            <p:spPr bwMode="gray">
              <a:xfrm>
                <a:off x="6053169" y="5939432"/>
                <a:ext cx="875016"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r">
                  <a:spcBef>
                    <a:spcPts val="300"/>
                  </a:spcBef>
                  <a:buClr>
                    <a:srgbClr val="002897"/>
                  </a:buClr>
                  <a:buSzPct val="70000"/>
                </a:pPr>
                <a:r>
                  <a:rPr lang="de-DE" sz="1000" dirty="0">
                    <a:solidFill>
                      <a:schemeClr val="tx1"/>
                    </a:solidFill>
                  </a:rPr>
                  <a:t>Vaporisation unit</a:t>
                </a:r>
              </a:p>
            </p:txBody>
          </p:sp>
          <p:cxnSp>
            <p:nvCxnSpPr>
              <p:cNvPr id="3128" name="Connector: Elbow 3127">
                <a:extLst>
                  <a:ext uri="{FF2B5EF4-FFF2-40B4-BE49-F238E27FC236}">
                    <a16:creationId xmlns:a16="http://schemas.microsoft.com/office/drawing/2014/main" id="{E9D7FD46-ACAE-4493-9684-E39AC3C56B24}"/>
                  </a:ext>
                </a:extLst>
              </p:cNvPr>
              <p:cNvCxnSpPr>
                <a:cxnSpLocks/>
                <a:stCxn id="3126" idx="3"/>
                <a:endCxn id="3094" idx="2"/>
              </p:cNvCxnSpPr>
              <p:nvPr/>
            </p:nvCxnSpPr>
            <p:spPr bwMode="gray">
              <a:xfrm flipV="1">
                <a:off x="6928185" y="5800517"/>
                <a:ext cx="55082" cy="221716"/>
              </a:xfrm>
              <a:prstGeom prst="bentConnector2">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3130" name="Connector: Elbow 3129">
                <a:extLst>
                  <a:ext uri="{FF2B5EF4-FFF2-40B4-BE49-F238E27FC236}">
                    <a16:creationId xmlns:a16="http://schemas.microsoft.com/office/drawing/2014/main" id="{046FE138-41BC-44E1-9355-947FD8BA5518}"/>
                  </a:ext>
                </a:extLst>
              </p:cNvPr>
              <p:cNvCxnSpPr>
                <a:cxnSpLocks/>
                <a:stCxn id="3124" idx="3"/>
                <a:endCxn id="3093" idx="5"/>
              </p:cNvCxnSpPr>
              <p:nvPr/>
            </p:nvCxnSpPr>
            <p:spPr bwMode="gray">
              <a:xfrm flipV="1">
                <a:off x="7714533" y="5690480"/>
                <a:ext cx="41639" cy="205608"/>
              </a:xfrm>
              <a:prstGeom prst="bentConnector2">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3154" name="Rectangle 3153">
                <a:extLst>
                  <a:ext uri="{FF2B5EF4-FFF2-40B4-BE49-F238E27FC236}">
                    <a16:creationId xmlns:a16="http://schemas.microsoft.com/office/drawing/2014/main" id="{E2558639-57C6-4092-B5D2-CDD3EE90CD06}"/>
                  </a:ext>
                </a:extLst>
              </p:cNvPr>
              <p:cNvSpPr/>
              <p:nvPr/>
            </p:nvSpPr>
            <p:spPr bwMode="gray">
              <a:xfrm>
                <a:off x="6790976" y="5358850"/>
                <a:ext cx="842519"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r">
                  <a:spcBef>
                    <a:spcPts val="300"/>
                  </a:spcBef>
                  <a:buClr>
                    <a:srgbClr val="002897"/>
                  </a:buClr>
                  <a:buSzPct val="70000"/>
                </a:pPr>
                <a:r>
                  <a:rPr lang="de-DE" sz="1000" dirty="0">
                    <a:solidFill>
                      <a:schemeClr val="tx1"/>
                    </a:solidFill>
                  </a:rPr>
                  <a:t>Oxygen </a:t>
                </a:r>
                <a:br>
                  <a:rPr lang="de-DE" sz="1000" dirty="0">
                    <a:solidFill>
                      <a:schemeClr val="tx1"/>
                    </a:solidFill>
                  </a:rPr>
                </a:br>
                <a:r>
                  <a:rPr lang="de-DE" sz="1000" dirty="0">
                    <a:solidFill>
                      <a:schemeClr val="tx1"/>
                    </a:solidFill>
                  </a:rPr>
                  <a:t>analyzer probe</a:t>
                </a:r>
              </a:p>
            </p:txBody>
          </p:sp>
          <p:cxnSp>
            <p:nvCxnSpPr>
              <p:cNvPr id="3155" name="Connector: Elbow 3154">
                <a:extLst>
                  <a:ext uri="{FF2B5EF4-FFF2-40B4-BE49-F238E27FC236}">
                    <a16:creationId xmlns:a16="http://schemas.microsoft.com/office/drawing/2014/main" id="{CDE89D33-25D1-4F1C-85E1-05EAFA8BBC46}"/>
                  </a:ext>
                </a:extLst>
              </p:cNvPr>
              <p:cNvCxnSpPr>
                <a:cxnSpLocks/>
                <a:stCxn id="3154" idx="3"/>
                <a:endCxn id="3085" idx="1"/>
              </p:cNvCxnSpPr>
              <p:nvPr/>
            </p:nvCxnSpPr>
            <p:spPr bwMode="gray">
              <a:xfrm>
                <a:off x="7633495" y="5441650"/>
                <a:ext cx="142391" cy="62456"/>
              </a:xfrm>
              <a:prstGeom prst="bentConnector3">
                <a:avLst>
                  <a:gd name="adj1" fmla="val 50000"/>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3159" name="Rectangle 3158">
                <a:extLst>
                  <a:ext uri="{FF2B5EF4-FFF2-40B4-BE49-F238E27FC236}">
                    <a16:creationId xmlns:a16="http://schemas.microsoft.com/office/drawing/2014/main" id="{F790CE13-7719-42B6-95DC-129DB28046CF}"/>
                  </a:ext>
                </a:extLst>
              </p:cNvPr>
              <p:cNvSpPr/>
              <p:nvPr/>
            </p:nvSpPr>
            <p:spPr bwMode="gray">
              <a:xfrm>
                <a:off x="6175945" y="4912148"/>
                <a:ext cx="1131027" cy="129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r">
                  <a:spcBef>
                    <a:spcPts val="300"/>
                  </a:spcBef>
                  <a:buClr>
                    <a:srgbClr val="002897"/>
                  </a:buClr>
                  <a:buSzPct val="70000"/>
                </a:pPr>
                <a:r>
                  <a:rPr lang="de-DE" sz="1000" dirty="0">
                    <a:solidFill>
                      <a:schemeClr val="tx1"/>
                    </a:solidFill>
                  </a:rPr>
                  <a:t>Fluidized catalyst bed</a:t>
                </a:r>
              </a:p>
            </p:txBody>
          </p:sp>
          <p:cxnSp>
            <p:nvCxnSpPr>
              <p:cNvPr id="3161" name="Connector: Elbow 3160">
                <a:extLst>
                  <a:ext uri="{FF2B5EF4-FFF2-40B4-BE49-F238E27FC236}">
                    <a16:creationId xmlns:a16="http://schemas.microsoft.com/office/drawing/2014/main" id="{36F5CB51-9A3F-4090-8055-008BA856C711}"/>
                  </a:ext>
                </a:extLst>
              </p:cNvPr>
              <p:cNvCxnSpPr>
                <a:cxnSpLocks/>
                <a:stCxn id="3159" idx="3"/>
              </p:cNvCxnSpPr>
              <p:nvPr/>
            </p:nvCxnSpPr>
            <p:spPr bwMode="gray">
              <a:xfrm>
                <a:off x="7306972" y="4976948"/>
                <a:ext cx="488168" cy="126493"/>
              </a:xfrm>
              <a:prstGeom prst="bentConnector3">
                <a:avLst>
                  <a:gd name="adj1" fmla="val 50000"/>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3165" name="Rectangle 3164">
                <a:extLst>
                  <a:ext uri="{FF2B5EF4-FFF2-40B4-BE49-F238E27FC236}">
                    <a16:creationId xmlns:a16="http://schemas.microsoft.com/office/drawing/2014/main" id="{7F59A748-3D0F-4AEB-A9DB-60D762A5535F}"/>
                  </a:ext>
                </a:extLst>
              </p:cNvPr>
              <p:cNvSpPr/>
              <p:nvPr/>
            </p:nvSpPr>
            <p:spPr bwMode="gray">
              <a:xfrm>
                <a:off x="6464453" y="5134886"/>
                <a:ext cx="842519" cy="13082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r">
                  <a:spcBef>
                    <a:spcPts val="300"/>
                  </a:spcBef>
                  <a:buClr>
                    <a:srgbClr val="002897"/>
                  </a:buClr>
                  <a:buSzPct val="70000"/>
                </a:pPr>
                <a:r>
                  <a:rPr lang="de-DE" sz="1000" dirty="0">
                    <a:solidFill>
                      <a:schemeClr val="tx1"/>
                    </a:solidFill>
                  </a:rPr>
                  <a:t>Air grid</a:t>
                </a:r>
              </a:p>
            </p:txBody>
          </p:sp>
          <p:cxnSp>
            <p:nvCxnSpPr>
              <p:cNvPr id="3166" name="Connector: Elbow 3165">
                <a:extLst>
                  <a:ext uri="{FF2B5EF4-FFF2-40B4-BE49-F238E27FC236}">
                    <a16:creationId xmlns:a16="http://schemas.microsoft.com/office/drawing/2014/main" id="{245411CB-78B5-4D01-8EFD-7122B3C1C1A8}"/>
                  </a:ext>
                </a:extLst>
              </p:cNvPr>
              <p:cNvCxnSpPr>
                <a:cxnSpLocks/>
                <a:stCxn id="3165" idx="3"/>
              </p:cNvCxnSpPr>
              <p:nvPr/>
            </p:nvCxnSpPr>
            <p:spPr bwMode="gray">
              <a:xfrm flipV="1">
                <a:off x="7306972" y="5190207"/>
                <a:ext cx="347491" cy="10091"/>
              </a:xfrm>
              <a:prstGeom prst="bentConnector3">
                <a:avLst>
                  <a:gd name="adj1" fmla="val 50000"/>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3174" name="Rectangle 3173">
                <a:extLst>
                  <a:ext uri="{FF2B5EF4-FFF2-40B4-BE49-F238E27FC236}">
                    <a16:creationId xmlns:a16="http://schemas.microsoft.com/office/drawing/2014/main" id="{9CACD357-BAC5-49B6-85E9-DEEA09EBA049}"/>
                  </a:ext>
                </a:extLst>
              </p:cNvPr>
              <p:cNvSpPr/>
              <p:nvPr/>
            </p:nvSpPr>
            <p:spPr bwMode="gray">
              <a:xfrm>
                <a:off x="6464453" y="4689410"/>
                <a:ext cx="842519" cy="129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r">
                  <a:spcBef>
                    <a:spcPts val="300"/>
                  </a:spcBef>
                  <a:buClr>
                    <a:srgbClr val="002897"/>
                  </a:buClr>
                  <a:buSzPct val="70000"/>
                </a:pPr>
                <a:r>
                  <a:rPr lang="de-DE" sz="1000" dirty="0">
                    <a:solidFill>
                      <a:schemeClr val="tx1"/>
                    </a:solidFill>
                  </a:rPr>
                  <a:t>Dip leg</a:t>
                </a:r>
              </a:p>
            </p:txBody>
          </p:sp>
          <p:cxnSp>
            <p:nvCxnSpPr>
              <p:cNvPr id="3177" name="Connector: Elbow 3176">
                <a:extLst>
                  <a:ext uri="{FF2B5EF4-FFF2-40B4-BE49-F238E27FC236}">
                    <a16:creationId xmlns:a16="http://schemas.microsoft.com/office/drawing/2014/main" id="{5BC860AD-69C9-46B1-8E2D-7CF90F1D4000}"/>
                  </a:ext>
                </a:extLst>
              </p:cNvPr>
              <p:cNvCxnSpPr>
                <a:cxnSpLocks/>
                <a:stCxn id="3174" idx="3"/>
                <a:endCxn id="3009" idx="11"/>
              </p:cNvCxnSpPr>
              <p:nvPr/>
            </p:nvCxnSpPr>
            <p:spPr bwMode="gray">
              <a:xfrm>
                <a:off x="7306972" y="4754210"/>
                <a:ext cx="453998" cy="160690"/>
              </a:xfrm>
              <a:prstGeom prst="bentConnector3">
                <a:avLst>
                  <a:gd name="adj1" fmla="val 36292"/>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3184" name="Rectangle 3183">
                <a:extLst>
                  <a:ext uri="{FF2B5EF4-FFF2-40B4-BE49-F238E27FC236}">
                    <a16:creationId xmlns:a16="http://schemas.microsoft.com/office/drawing/2014/main" id="{C1158F0E-2F0C-4A25-8C26-62BCF2281E3C}"/>
                  </a:ext>
                </a:extLst>
              </p:cNvPr>
              <p:cNvSpPr/>
              <p:nvPr/>
            </p:nvSpPr>
            <p:spPr bwMode="gray">
              <a:xfrm>
                <a:off x="6179711" y="4430672"/>
                <a:ext cx="1127261"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r">
                  <a:spcBef>
                    <a:spcPts val="300"/>
                  </a:spcBef>
                  <a:buClr>
                    <a:srgbClr val="002897"/>
                  </a:buClr>
                  <a:buSzPct val="70000"/>
                </a:pPr>
                <a:r>
                  <a:rPr lang="de-DE" sz="1000" dirty="0">
                    <a:solidFill>
                      <a:schemeClr val="tx1"/>
                    </a:solidFill>
                  </a:rPr>
                  <a:t>2 stage cyclone separators</a:t>
                </a:r>
              </a:p>
            </p:txBody>
          </p:sp>
          <p:cxnSp>
            <p:nvCxnSpPr>
              <p:cNvPr id="3185" name="Connector: Elbow 3184">
                <a:extLst>
                  <a:ext uri="{FF2B5EF4-FFF2-40B4-BE49-F238E27FC236}">
                    <a16:creationId xmlns:a16="http://schemas.microsoft.com/office/drawing/2014/main" id="{3A28597F-E59F-4013-B820-E7B6683EFE00}"/>
                  </a:ext>
                </a:extLst>
              </p:cNvPr>
              <p:cNvCxnSpPr>
                <a:cxnSpLocks/>
                <a:stCxn id="3184" idx="3"/>
                <a:endCxn id="3009" idx="15"/>
              </p:cNvCxnSpPr>
              <p:nvPr/>
            </p:nvCxnSpPr>
            <p:spPr bwMode="gray">
              <a:xfrm>
                <a:off x="7306972" y="4513472"/>
                <a:ext cx="442439" cy="165062"/>
              </a:xfrm>
              <a:prstGeom prst="bentConnector3">
                <a:avLst>
                  <a:gd name="adj1" fmla="val 20722"/>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3189" name="Rectangle 3188">
                <a:extLst>
                  <a:ext uri="{FF2B5EF4-FFF2-40B4-BE49-F238E27FC236}">
                    <a16:creationId xmlns:a16="http://schemas.microsoft.com/office/drawing/2014/main" id="{62C9FEFE-61EF-4976-BF39-6978BE455F83}"/>
                  </a:ext>
                </a:extLst>
              </p:cNvPr>
              <p:cNvSpPr/>
              <p:nvPr/>
            </p:nvSpPr>
            <p:spPr bwMode="gray">
              <a:xfrm>
                <a:off x="6188467" y="4207934"/>
                <a:ext cx="1118505" cy="129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r">
                  <a:spcBef>
                    <a:spcPts val="300"/>
                  </a:spcBef>
                  <a:buClr>
                    <a:srgbClr val="002897"/>
                  </a:buClr>
                  <a:buSzPct val="70000"/>
                </a:pPr>
                <a:r>
                  <a:rPr lang="de-DE" sz="1000" dirty="0">
                    <a:solidFill>
                      <a:schemeClr val="tx1"/>
                    </a:solidFill>
                  </a:rPr>
                  <a:t>Plenum chamber</a:t>
                </a:r>
              </a:p>
            </p:txBody>
          </p:sp>
          <p:cxnSp>
            <p:nvCxnSpPr>
              <p:cNvPr id="3190" name="Connector: Elbow 3189">
                <a:extLst>
                  <a:ext uri="{FF2B5EF4-FFF2-40B4-BE49-F238E27FC236}">
                    <a16:creationId xmlns:a16="http://schemas.microsoft.com/office/drawing/2014/main" id="{7FB53B06-EF47-4D9D-BA0E-611D5DD11534}"/>
                  </a:ext>
                </a:extLst>
              </p:cNvPr>
              <p:cNvCxnSpPr>
                <a:cxnSpLocks/>
                <a:stCxn id="3189" idx="3"/>
              </p:cNvCxnSpPr>
              <p:nvPr/>
            </p:nvCxnSpPr>
            <p:spPr bwMode="gray">
              <a:xfrm>
                <a:off x="7306972" y="4272734"/>
                <a:ext cx="475182" cy="237766"/>
              </a:xfrm>
              <a:prstGeom prst="bentConnector3">
                <a:avLst>
                  <a:gd name="adj1" fmla="val 35301"/>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3202" name="Gleichschenkliges Dreieck 23">
                <a:extLst>
                  <a:ext uri="{FF2B5EF4-FFF2-40B4-BE49-F238E27FC236}">
                    <a16:creationId xmlns:a16="http://schemas.microsoft.com/office/drawing/2014/main" id="{06720640-54DD-41C2-AA42-6729A447497D}"/>
                  </a:ext>
                </a:extLst>
              </p:cNvPr>
              <p:cNvSpPr/>
              <p:nvPr/>
            </p:nvSpPr>
            <p:spPr bwMode="gray">
              <a:xfrm rot="18565926" flipV="1">
                <a:off x="8026349" y="5186554"/>
                <a:ext cx="111742" cy="300261"/>
              </a:xfrm>
              <a:custGeom>
                <a:avLst/>
                <a:gdLst>
                  <a:gd name="connsiteX0" fmla="*/ 122460 w 312332"/>
                  <a:gd name="connsiteY0" fmla="*/ 105570 h 2023936"/>
                  <a:gd name="connsiteX1" fmla="*/ 93255 w 312332"/>
                  <a:gd name="connsiteY1" fmla="*/ 105570 h 2023936"/>
                  <a:gd name="connsiteX2" fmla="*/ 117710 w 312332"/>
                  <a:gd name="connsiteY2" fmla="*/ 494360 h 2023936"/>
                  <a:gd name="connsiteX3" fmla="*/ 297444 w 312332"/>
                  <a:gd name="connsiteY3" fmla="*/ 1649253 h 2023936"/>
                  <a:gd name="connsiteX4" fmla="*/ 298451 w 312332"/>
                  <a:gd name="connsiteY4" fmla="*/ 2023936 h 2023936"/>
                  <a:gd name="connsiteX5" fmla="*/ 268032 w 312332"/>
                  <a:gd name="connsiteY5" fmla="*/ 1616406 h 2023936"/>
                  <a:gd name="connsiteX6" fmla="*/ 113315 w 312332"/>
                  <a:gd name="connsiteY6" fmla="*/ 839100 h 2023936"/>
                  <a:gd name="connsiteX7" fmla="*/ 29756 w 312332"/>
                  <a:gd name="connsiteY7" fmla="*/ 105570 h 2023936"/>
                  <a:gd name="connsiteX8" fmla="*/ 0 w 312332"/>
                  <a:gd name="connsiteY8" fmla="*/ 105570 h 2023936"/>
                  <a:gd name="connsiteX9" fmla="*/ 67316 w 312332"/>
                  <a:gd name="connsiteY9" fmla="*/ 0 h 2023936"/>
                  <a:gd name="connsiteX10" fmla="*/ 122460 w 312332"/>
                  <a:gd name="connsiteY10" fmla="*/ 105570 h 2023936"/>
                  <a:gd name="connsiteX0" fmla="*/ 122460 w 312333"/>
                  <a:gd name="connsiteY0" fmla="*/ 105570 h 2023936"/>
                  <a:gd name="connsiteX1" fmla="*/ 93255 w 312333"/>
                  <a:gd name="connsiteY1" fmla="*/ 105570 h 2023936"/>
                  <a:gd name="connsiteX2" fmla="*/ 117710 w 312333"/>
                  <a:gd name="connsiteY2" fmla="*/ 494360 h 2023936"/>
                  <a:gd name="connsiteX3" fmla="*/ 297444 w 312333"/>
                  <a:gd name="connsiteY3" fmla="*/ 1649253 h 2023936"/>
                  <a:gd name="connsiteX4" fmla="*/ 298451 w 312333"/>
                  <a:gd name="connsiteY4" fmla="*/ 2023936 h 2023936"/>
                  <a:gd name="connsiteX5" fmla="*/ 268032 w 312333"/>
                  <a:gd name="connsiteY5" fmla="*/ 1616406 h 2023936"/>
                  <a:gd name="connsiteX6" fmla="*/ 63923 w 312333"/>
                  <a:gd name="connsiteY6" fmla="*/ 567440 h 2023936"/>
                  <a:gd name="connsiteX7" fmla="*/ 29756 w 312333"/>
                  <a:gd name="connsiteY7" fmla="*/ 105570 h 2023936"/>
                  <a:gd name="connsiteX8" fmla="*/ 0 w 312333"/>
                  <a:gd name="connsiteY8" fmla="*/ 105570 h 2023936"/>
                  <a:gd name="connsiteX9" fmla="*/ 67316 w 312333"/>
                  <a:gd name="connsiteY9" fmla="*/ 0 h 2023936"/>
                  <a:gd name="connsiteX10" fmla="*/ 122460 w 312333"/>
                  <a:gd name="connsiteY10" fmla="*/ 105570 h 2023936"/>
                  <a:gd name="connsiteX0" fmla="*/ 122460 w 312333"/>
                  <a:gd name="connsiteY0" fmla="*/ 105570 h 2023936"/>
                  <a:gd name="connsiteX1" fmla="*/ 93255 w 312333"/>
                  <a:gd name="connsiteY1" fmla="*/ 105570 h 2023936"/>
                  <a:gd name="connsiteX2" fmla="*/ 117710 w 312333"/>
                  <a:gd name="connsiteY2" fmla="*/ 494360 h 2023936"/>
                  <a:gd name="connsiteX3" fmla="*/ 297444 w 312333"/>
                  <a:gd name="connsiteY3" fmla="*/ 1649253 h 2023936"/>
                  <a:gd name="connsiteX4" fmla="*/ 298451 w 312333"/>
                  <a:gd name="connsiteY4" fmla="*/ 2023936 h 2023936"/>
                  <a:gd name="connsiteX5" fmla="*/ 119854 w 312333"/>
                  <a:gd name="connsiteY5" fmla="*/ 801425 h 2023936"/>
                  <a:gd name="connsiteX6" fmla="*/ 63923 w 312333"/>
                  <a:gd name="connsiteY6" fmla="*/ 567440 h 2023936"/>
                  <a:gd name="connsiteX7" fmla="*/ 29756 w 312333"/>
                  <a:gd name="connsiteY7" fmla="*/ 105570 h 2023936"/>
                  <a:gd name="connsiteX8" fmla="*/ 0 w 312333"/>
                  <a:gd name="connsiteY8" fmla="*/ 105570 h 2023936"/>
                  <a:gd name="connsiteX9" fmla="*/ 67316 w 312333"/>
                  <a:gd name="connsiteY9" fmla="*/ 0 h 2023936"/>
                  <a:gd name="connsiteX10" fmla="*/ 122460 w 312333"/>
                  <a:gd name="connsiteY10" fmla="*/ 105570 h 2023936"/>
                  <a:gd name="connsiteX0" fmla="*/ 122460 w 312333"/>
                  <a:gd name="connsiteY0" fmla="*/ 105570 h 2023936"/>
                  <a:gd name="connsiteX1" fmla="*/ 93255 w 312333"/>
                  <a:gd name="connsiteY1" fmla="*/ 105570 h 2023936"/>
                  <a:gd name="connsiteX2" fmla="*/ 117710 w 312333"/>
                  <a:gd name="connsiteY2" fmla="*/ 494360 h 2023936"/>
                  <a:gd name="connsiteX3" fmla="*/ 297444 w 312333"/>
                  <a:gd name="connsiteY3" fmla="*/ 1649253 h 2023936"/>
                  <a:gd name="connsiteX4" fmla="*/ 298451 w 312333"/>
                  <a:gd name="connsiteY4" fmla="*/ 2023936 h 2023936"/>
                  <a:gd name="connsiteX5" fmla="*/ 119854 w 312333"/>
                  <a:gd name="connsiteY5" fmla="*/ 801425 h 2023936"/>
                  <a:gd name="connsiteX6" fmla="*/ 63923 w 312333"/>
                  <a:gd name="connsiteY6" fmla="*/ 567440 h 2023936"/>
                  <a:gd name="connsiteX7" fmla="*/ 29756 w 312333"/>
                  <a:gd name="connsiteY7" fmla="*/ 105570 h 2023936"/>
                  <a:gd name="connsiteX8" fmla="*/ 0 w 312333"/>
                  <a:gd name="connsiteY8" fmla="*/ 105570 h 2023936"/>
                  <a:gd name="connsiteX9" fmla="*/ 67316 w 312333"/>
                  <a:gd name="connsiteY9" fmla="*/ 0 h 2023936"/>
                  <a:gd name="connsiteX10" fmla="*/ 122460 w 312333"/>
                  <a:gd name="connsiteY10" fmla="*/ 105570 h 2023936"/>
                  <a:gd name="connsiteX0" fmla="*/ 122460 w 312333"/>
                  <a:gd name="connsiteY0" fmla="*/ 105570 h 2023936"/>
                  <a:gd name="connsiteX1" fmla="*/ 93255 w 312333"/>
                  <a:gd name="connsiteY1" fmla="*/ 105570 h 2023936"/>
                  <a:gd name="connsiteX2" fmla="*/ 117710 w 312333"/>
                  <a:gd name="connsiteY2" fmla="*/ 494360 h 2023936"/>
                  <a:gd name="connsiteX3" fmla="*/ 297444 w 312333"/>
                  <a:gd name="connsiteY3" fmla="*/ 1649253 h 2023936"/>
                  <a:gd name="connsiteX4" fmla="*/ 298451 w 312333"/>
                  <a:gd name="connsiteY4" fmla="*/ 2023936 h 2023936"/>
                  <a:gd name="connsiteX5" fmla="*/ 119854 w 312333"/>
                  <a:gd name="connsiteY5" fmla="*/ 801425 h 2023936"/>
                  <a:gd name="connsiteX6" fmla="*/ 44165 w 312333"/>
                  <a:gd name="connsiteY6" fmla="*/ 429140 h 2023936"/>
                  <a:gd name="connsiteX7" fmla="*/ 29756 w 312333"/>
                  <a:gd name="connsiteY7" fmla="*/ 105570 h 2023936"/>
                  <a:gd name="connsiteX8" fmla="*/ 0 w 312333"/>
                  <a:gd name="connsiteY8" fmla="*/ 105570 h 2023936"/>
                  <a:gd name="connsiteX9" fmla="*/ 67316 w 312333"/>
                  <a:gd name="connsiteY9" fmla="*/ 0 h 2023936"/>
                  <a:gd name="connsiteX10" fmla="*/ 122460 w 312333"/>
                  <a:gd name="connsiteY10" fmla="*/ 105570 h 2023936"/>
                  <a:gd name="connsiteX0" fmla="*/ 122460 w 313059"/>
                  <a:gd name="connsiteY0" fmla="*/ 105570 h 2023936"/>
                  <a:gd name="connsiteX1" fmla="*/ 93255 w 313059"/>
                  <a:gd name="connsiteY1" fmla="*/ 105570 h 2023936"/>
                  <a:gd name="connsiteX2" fmla="*/ 107831 w 313059"/>
                  <a:gd name="connsiteY2" fmla="*/ 444968 h 2023936"/>
                  <a:gd name="connsiteX3" fmla="*/ 297444 w 313059"/>
                  <a:gd name="connsiteY3" fmla="*/ 1649253 h 2023936"/>
                  <a:gd name="connsiteX4" fmla="*/ 298451 w 313059"/>
                  <a:gd name="connsiteY4" fmla="*/ 2023936 h 2023936"/>
                  <a:gd name="connsiteX5" fmla="*/ 119854 w 313059"/>
                  <a:gd name="connsiteY5" fmla="*/ 801425 h 2023936"/>
                  <a:gd name="connsiteX6" fmla="*/ 44165 w 313059"/>
                  <a:gd name="connsiteY6" fmla="*/ 429140 h 2023936"/>
                  <a:gd name="connsiteX7" fmla="*/ 29756 w 313059"/>
                  <a:gd name="connsiteY7" fmla="*/ 105570 h 2023936"/>
                  <a:gd name="connsiteX8" fmla="*/ 0 w 313059"/>
                  <a:gd name="connsiteY8" fmla="*/ 105570 h 2023936"/>
                  <a:gd name="connsiteX9" fmla="*/ 67316 w 313059"/>
                  <a:gd name="connsiteY9" fmla="*/ 0 h 2023936"/>
                  <a:gd name="connsiteX10" fmla="*/ 122460 w 313059"/>
                  <a:gd name="connsiteY10" fmla="*/ 105570 h 2023936"/>
                  <a:gd name="connsiteX0" fmla="*/ 122460 w 313059"/>
                  <a:gd name="connsiteY0" fmla="*/ 105570 h 2023936"/>
                  <a:gd name="connsiteX1" fmla="*/ 93255 w 313059"/>
                  <a:gd name="connsiteY1" fmla="*/ 105570 h 2023936"/>
                  <a:gd name="connsiteX2" fmla="*/ 107831 w 313059"/>
                  <a:gd name="connsiteY2" fmla="*/ 444968 h 2023936"/>
                  <a:gd name="connsiteX3" fmla="*/ 297444 w 313059"/>
                  <a:gd name="connsiteY3" fmla="*/ 1649253 h 2023936"/>
                  <a:gd name="connsiteX4" fmla="*/ 298451 w 313059"/>
                  <a:gd name="connsiteY4" fmla="*/ 2023936 h 2023936"/>
                  <a:gd name="connsiteX5" fmla="*/ 119854 w 313059"/>
                  <a:gd name="connsiteY5" fmla="*/ 801425 h 2023936"/>
                  <a:gd name="connsiteX6" fmla="*/ 44165 w 313059"/>
                  <a:gd name="connsiteY6" fmla="*/ 429140 h 2023936"/>
                  <a:gd name="connsiteX7" fmla="*/ 29756 w 313059"/>
                  <a:gd name="connsiteY7" fmla="*/ 105570 h 2023936"/>
                  <a:gd name="connsiteX8" fmla="*/ 0 w 313059"/>
                  <a:gd name="connsiteY8" fmla="*/ 105570 h 2023936"/>
                  <a:gd name="connsiteX9" fmla="*/ 67316 w 313059"/>
                  <a:gd name="connsiteY9" fmla="*/ 0 h 2023936"/>
                  <a:gd name="connsiteX10" fmla="*/ 122460 w 313059"/>
                  <a:gd name="connsiteY10" fmla="*/ 105570 h 2023936"/>
                  <a:gd name="connsiteX0" fmla="*/ 122460 w 298615"/>
                  <a:gd name="connsiteY0" fmla="*/ 105570 h 2023936"/>
                  <a:gd name="connsiteX1" fmla="*/ 93255 w 298615"/>
                  <a:gd name="connsiteY1" fmla="*/ 105570 h 2023936"/>
                  <a:gd name="connsiteX2" fmla="*/ 107831 w 298615"/>
                  <a:gd name="connsiteY2" fmla="*/ 444968 h 2023936"/>
                  <a:gd name="connsiteX3" fmla="*/ 159145 w 298615"/>
                  <a:gd name="connsiteY3" fmla="*/ 844151 h 2023936"/>
                  <a:gd name="connsiteX4" fmla="*/ 298451 w 298615"/>
                  <a:gd name="connsiteY4" fmla="*/ 2023936 h 2023936"/>
                  <a:gd name="connsiteX5" fmla="*/ 119854 w 298615"/>
                  <a:gd name="connsiteY5" fmla="*/ 801425 h 2023936"/>
                  <a:gd name="connsiteX6" fmla="*/ 44165 w 298615"/>
                  <a:gd name="connsiteY6" fmla="*/ 429140 h 2023936"/>
                  <a:gd name="connsiteX7" fmla="*/ 29756 w 298615"/>
                  <a:gd name="connsiteY7" fmla="*/ 105570 h 2023936"/>
                  <a:gd name="connsiteX8" fmla="*/ 0 w 298615"/>
                  <a:gd name="connsiteY8" fmla="*/ 105570 h 2023936"/>
                  <a:gd name="connsiteX9" fmla="*/ 67316 w 298615"/>
                  <a:gd name="connsiteY9" fmla="*/ 0 h 2023936"/>
                  <a:gd name="connsiteX10" fmla="*/ 122460 w 298615"/>
                  <a:gd name="connsiteY10" fmla="*/ 105570 h 2023936"/>
                  <a:gd name="connsiteX0" fmla="*/ 122460 w 161464"/>
                  <a:gd name="connsiteY0" fmla="*/ 105570 h 1045960"/>
                  <a:gd name="connsiteX1" fmla="*/ 93255 w 161464"/>
                  <a:gd name="connsiteY1" fmla="*/ 105570 h 1045960"/>
                  <a:gd name="connsiteX2" fmla="*/ 107831 w 161464"/>
                  <a:gd name="connsiteY2" fmla="*/ 444968 h 1045960"/>
                  <a:gd name="connsiteX3" fmla="*/ 159145 w 161464"/>
                  <a:gd name="connsiteY3" fmla="*/ 844151 h 1045960"/>
                  <a:gd name="connsiteX4" fmla="*/ 150274 w 161464"/>
                  <a:gd name="connsiteY4" fmla="*/ 1045960 h 1045960"/>
                  <a:gd name="connsiteX5" fmla="*/ 119854 w 161464"/>
                  <a:gd name="connsiteY5" fmla="*/ 801425 h 1045960"/>
                  <a:gd name="connsiteX6" fmla="*/ 44165 w 161464"/>
                  <a:gd name="connsiteY6" fmla="*/ 429140 h 1045960"/>
                  <a:gd name="connsiteX7" fmla="*/ 29756 w 161464"/>
                  <a:gd name="connsiteY7" fmla="*/ 105570 h 1045960"/>
                  <a:gd name="connsiteX8" fmla="*/ 0 w 161464"/>
                  <a:gd name="connsiteY8" fmla="*/ 105570 h 1045960"/>
                  <a:gd name="connsiteX9" fmla="*/ 67316 w 161464"/>
                  <a:gd name="connsiteY9" fmla="*/ 0 h 1045960"/>
                  <a:gd name="connsiteX10" fmla="*/ 122460 w 161464"/>
                  <a:gd name="connsiteY10" fmla="*/ 105570 h 1045960"/>
                  <a:gd name="connsiteX0" fmla="*/ 122460 w 161464"/>
                  <a:gd name="connsiteY0" fmla="*/ 105570 h 1045960"/>
                  <a:gd name="connsiteX1" fmla="*/ 93255 w 161464"/>
                  <a:gd name="connsiteY1" fmla="*/ 105570 h 1045960"/>
                  <a:gd name="connsiteX2" fmla="*/ 107831 w 161464"/>
                  <a:gd name="connsiteY2" fmla="*/ 444968 h 1045960"/>
                  <a:gd name="connsiteX3" fmla="*/ 159145 w 161464"/>
                  <a:gd name="connsiteY3" fmla="*/ 844151 h 1045960"/>
                  <a:gd name="connsiteX4" fmla="*/ 150274 w 161464"/>
                  <a:gd name="connsiteY4" fmla="*/ 1045960 h 1045960"/>
                  <a:gd name="connsiteX5" fmla="*/ 95158 w 161464"/>
                  <a:gd name="connsiteY5" fmla="*/ 742154 h 1045960"/>
                  <a:gd name="connsiteX6" fmla="*/ 44165 w 161464"/>
                  <a:gd name="connsiteY6" fmla="*/ 429140 h 1045960"/>
                  <a:gd name="connsiteX7" fmla="*/ 29756 w 161464"/>
                  <a:gd name="connsiteY7" fmla="*/ 105570 h 1045960"/>
                  <a:gd name="connsiteX8" fmla="*/ 0 w 161464"/>
                  <a:gd name="connsiteY8" fmla="*/ 105570 h 1045960"/>
                  <a:gd name="connsiteX9" fmla="*/ 67316 w 161464"/>
                  <a:gd name="connsiteY9" fmla="*/ 0 h 1045960"/>
                  <a:gd name="connsiteX10" fmla="*/ 122460 w 161464"/>
                  <a:gd name="connsiteY10" fmla="*/ 105570 h 1045960"/>
                  <a:gd name="connsiteX0" fmla="*/ 122460 w 159237"/>
                  <a:gd name="connsiteY0" fmla="*/ 105570 h 1065717"/>
                  <a:gd name="connsiteX1" fmla="*/ 93255 w 159237"/>
                  <a:gd name="connsiteY1" fmla="*/ 105570 h 1065717"/>
                  <a:gd name="connsiteX2" fmla="*/ 107831 w 159237"/>
                  <a:gd name="connsiteY2" fmla="*/ 444968 h 1065717"/>
                  <a:gd name="connsiteX3" fmla="*/ 159145 w 159237"/>
                  <a:gd name="connsiteY3" fmla="*/ 844151 h 1065717"/>
                  <a:gd name="connsiteX4" fmla="*/ 120638 w 159237"/>
                  <a:gd name="connsiteY4" fmla="*/ 1065717 h 1065717"/>
                  <a:gd name="connsiteX5" fmla="*/ 95158 w 159237"/>
                  <a:gd name="connsiteY5" fmla="*/ 742154 h 1065717"/>
                  <a:gd name="connsiteX6" fmla="*/ 44165 w 159237"/>
                  <a:gd name="connsiteY6" fmla="*/ 429140 h 1065717"/>
                  <a:gd name="connsiteX7" fmla="*/ 29756 w 159237"/>
                  <a:gd name="connsiteY7" fmla="*/ 105570 h 1065717"/>
                  <a:gd name="connsiteX8" fmla="*/ 0 w 159237"/>
                  <a:gd name="connsiteY8" fmla="*/ 105570 h 1065717"/>
                  <a:gd name="connsiteX9" fmla="*/ 67316 w 159237"/>
                  <a:gd name="connsiteY9" fmla="*/ 0 h 1065717"/>
                  <a:gd name="connsiteX10" fmla="*/ 122460 w 159237"/>
                  <a:gd name="connsiteY10" fmla="*/ 105570 h 1065717"/>
                  <a:gd name="connsiteX0" fmla="*/ 122460 w 134722"/>
                  <a:gd name="connsiteY0" fmla="*/ 105570 h 1065717"/>
                  <a:gd name="connsiteX1" fmla="*/ 93255 w 134722"/>
                  <a:gd name="connsiteY1" fmla="*/ 105570 h 1065717"/>
                  <a:gd name="connsiteX2" fmla="*/ 107831 w 134722"/>
                  <a:gd name="connsiteY2" fmla="*/ 444968 h 1065717"/>
                  <a:gd name="connsiteX3" fmla="*/ 134449 w 134722"/>
                  <a:gd name="connsiteY3" fmla="*/ 839212 h 1065717"/>
                  <a:gd name="connsiteX4" fmla="*/ 120638 w 134722"/>
                  <a:gd name="connsiteY4" fmla="*/ 1065717 h 1065717"/>
                  <a:gd name="connsiteX5" fmla="*/ 95158 w 134722"/>
                  <a:gd name="connsiteY5" fmla="*/ 742154 h 1065717"/>
                  <a:gd name="connsiteX6" fmla="*/ 44165 w 134722"/>
                  <a:gd name="connsiteY6" fmla="*/ 429140 h 1065717"/>
                  <a:gd name="connsiteX7" fmla="*/ 29756 w 134722"/>
                  <a:gd name="connsiteY7" fmla="*/ 105570 h 1065717"/>
                  <a:gd name="connsiteX8" fmla="*/ 0 w 134722"/>
                  <a:gd name="connsiteY8" fmla="*/ 105570 h 1065717"/>
                  <a:gd name="connsiteX9" fmla="*/ 67316 w 134722"/>
                  <a:gd name="connsiteY9" fmla="*/ 0 h 1065717"/>
                  <a:gd name="connsiteX10" fmla="*/ 122460 w 134722"/>
                  <a:gd name="connsiteY10" fmla="*/ 105570 h 1065717"/>
                  <a:gd name="connsiteX0" fmla="*/ 122460 w 135666"/>
                  <a:gd name="connsiteY0" fmla="*/ 105570 h 1065717"/>
                  <a:gd name="connsiteX1" fmla="*/ 93255 w 135666"/>
                  <a:gd name="connsiteY1" fmla="*/ 105570 h 1065717"/>
                  <a:gd name="connsiteX2" fmla="*/ 88074 w 135666"/>
                  <a:gd name="connsiteY2" fmla="*/ 380757 h 1065717"/>
                  <a:gd name="connsiteX3" fmla="*/ 134449 w 135666"/>
                  <a:gd name="connsiteY3" fmla="*/ 839212 h 1065717"/>
                  <a:gd name="connsiteX4" fmla="*/ 120638 w 135666"/>
                  <a:gd name="connsiteY4" fmla="*/ 1065717 h 1065717"/>
                  <a:gd name="connsiteX5" fmla="*/ 95158 w 135666"/>
                  <a:gd name="connsiteY5" fmla="*/ 742154 h 1065717"/>
                  <a:gd name="connsiteX6" fmla="*/ 44165 w 135666"/>
                  <a:gd name="connsiteY6" fmla="*/ 429140 h 1065717"/>
                  <a:gd name="connsiteX7" fmla="*/ 29756 w 135666"/>
                  <a:gd name="connsiteY7" fmla="*/ 105570 h 1065717"/>
                  <a:gd name="connsiteX8" fmla="*/ 0 w 135666"/>
                  <a:gd name="connsiteY8" fmla="*/ 105570 h 1065717"/>
                  <a:gd name="connsiteX9" fmla="*/ 67316 w 135666"/>
                  <a:gd name="connsiteY9" fmla="*/ 0 h 1065717"/>
                  <a:gd name="connsiteX10" fmla="*/ 122460 w 135666"/>
                  <a:gd name="connsiteY10" fmla="*/ 105570 h 1065717"/>
                  <a:gd name="connsiteX0" fmla="*/ 122460 w 129041"/>
                  <a:gd name="connsiteY0" fmla="*/ 105570 h 1065717"/>
                  <a:gd name="connsiteX1" fmla="*/ 93255 w 129041"/>
                  <a:gd name="connsiteY1" fmla="*/ 105570 h 1065717"/>
                  <a:gd name="connsiteX2" fmla="*/ 88074 w 129041"/>
                  <a:gd name="connsiteY2" fmla="*/ 380757 h 1065717"/>
                  <a:gd name="connsiteX3" fmla="*/ 127040 w 129041"/>
                  <a:gd name="connsiteY3" fmla="*/ 809576 h 1065717"/>
                  <a:gd name="connsiteX4" fmla="*/ 120638 w 129041"/>
                  <a:gd name="connsiteY4" fmla="*/ 1065717 h 1065717"/>
                  <a:gd name="connsiteX5" fmla="*/ 95158 w 129041"/>
                  <a:gd name="connsiteY5" fmla="*/ 742154 h 1065717"/>
                  <a:gd name="connsiteX6" fmla="*/ 44165 w 129041"/>
                  <a:gd name="connsiteY6" fmla="*/ 429140 h 1065717"/>
                  <a:gd name="connsiteX7" fmla="*/ 29756 w 129041"/>
                  <a:gd name="connsiteY7" fmla="*/ 105570 h 1065717"/>
                  <a:gd name="connsiteX8" fmla="*/ 0 w 129041"/>
                  <a:gd name="connsiteY8" fmla="*/ 105570 h 1065717"/>
                  <a:gd name="connsiteX9" fmla="*/ 67316 w 129041"/>
                  <a:gd name="connsiteY9" fmla="*/ 0 h 1065717"/>
                  <a:gd name="connsiteX10" fmla="*/ 122460 w 129041"/>
                  <a:gd name="connsiteY10" fmla="*/ 105570 h 1065717"/>
                  <a:gd name="connsiteX0" fmla="*/ 122460 w 128346"/>
                  <a:gd name="connsiteY0" fmla="*/ 105570 h 1065717"/>
                  <a:gd name="connsiteX1" fmla="*/ 93255 w 128346"/>
                  <a:gd name="connsiteY1" fmla="*/ 105570 h 1065717"/>
                  <a:gd name="connsiteX2" fmla="*/ 97952 w 128346"/>
                  <a:gd name="connsiteY2" fmla="*/ 412863 h 1065717"/>
                  <a:gd name="connsiteX3" fmla="*/ 127040 w 128346"/>
                  <a:gd name="connsiteY3" fmla="*/ 809576 h 1065717"/>
                  <a:gd name="connsiteX4" fmla="*/ 120638 w 128346"/>
                  <a:gd name="connsiteY4" fmla="*/ 1065717 h 1065717"/>
                  <a:gd name="connsiteX5" fmla="*/ 95158 w 128346"/>
                  <a:gd name="connsiteY5" fmla="*/ 742154 h 1065717"/>
                  <a:gd name="connsiteX6" fmla="*/ 44165 w 128346"/>
                  <a:gd name="connsiteY6" fmla="*/ 429140 h 1065717"/>
                  <a:gd name="connsiteX7" fmla="*/ 29756 w 128346"/>
                  <a:gd name="connsiteY7" fmla="*/ 105570 h 1065717"/>
                  <a:gd name="connsiteX8" fmla="*/ 0 w 128346"/>
                  <a:gd name="connsiteY8" fmla="*/ 105570 h 1065717"/>
                  <a:gd name="connsiteX9" fmla="*/ 67316 w 128346"/>
                  <a:gd name="connsiteY9" fmla="*/ 0 h 1065717"/>
                  <a:gd name="connsiteX10" fmla="*/ 122460 w 128346"/>
                  <a:gd name="connsiteY10" fmla="*/ 105570 h 1065717"/>
                  <a:gd name="connsiteX0" fmla="*/ 122460 w 128346"/>
                  <a:gd name="connsiteY0" fmla="*/ 105570 h 1065717"/>
                  <a:gd name="connsiteX1" fmla="*/ 93255 w 128346"/>
                  <a:gd name="connsiteY1" fmla="*/ 105570 h 1065717"/>
                  <a:gd name="connsiteX2" fmla="*/ 97952 w 128346"/>
                  <a:gd name="connsiteY2" fmla="*/ 412863 h 1065717"/>
                  <a:gd name="connsiteX3" fmla="*/ 127040 w 128346"/>
                  <a:gd name="connsiteY3" fmla="*/ 809576 h 1065717"/>
                  <a:gd name="connsiteX4" fmla="*/ 120638 w 128346"/>
                  <a:gd name="connsiteY4" fmla="*/ 1065717 h 1065717"/>
                  <a:gd name="connsiteX5" fmla="*/ 95158 w 128346"/>
                  <a:gd name="connsiteY5" fmla="*/ 742154 h 1065717"/>
                  <a:gd name="connsiteX6" fmla="*/ 44165 w 128346"/>
                  <a:gd name="connsiteY6" fmla="*/ 429140 h 1065717"/>
                  <a:gd name="connsiteX7" fmla="*/ 29756 w 128346"/>
                  <a:gd name="connsiteY7" fmla="*/ 105570 h 1065717"/>
                  <a:gd name="connsiteX8" fmla="*/ 0 w 128346"/>
                  <a:gd name="connsiteY8" fmla="*/ 105570 h 1065717"/>
                  <a:gd name="connsiteX9" fmla="*/ 67316 w 128346"/>
                  <a:gd name="connsiteY9" fmla="*/ 0 h 1065717"/>
                  <a:gd name="connsiteX10" fmla="*/ 122460 w 128346"/>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95158 w 142331"/>
                  <a:gd name="connsiteY5" fmla="*/ 742154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12446 w 142331"/>
                  <a:gd name="connsiteY5" fmla="*/ 749563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51574 w 142331"/>
                  <a:gd name="connsiteY6" fmla="*/ 456306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39747 w 142331"/>
                  <a:gd name="connsiteY0" fmla="*/ 108039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51574 w 142331"/>
                  <a:gd name="connsiteY6" fmla="*/ 456306 h 1065717"/>
                  <a:gd name="connsiteX7" fmla="*/ 29756 w 142331"/>
                  <a:gd name="connsiteY7" fmla="*/ 105570 h 1065717"/>
                  <a:gd name="connsiteX8" fmla="*/ 0 w 142331"/>
                  <a:gd name="connsiteY8" fmla="*/ 105570 h 1065717"/>
                  <a:gd name="connsiteX9" fmla="*/ 67316 w 142331"/>
                  <a:gd name="connsiteY9" fmla="*/ 0 h 1065717"/>
                  <a:gd name="connsiteX10" fmla="*/ 139747 w 142331"/>
                  <a:gd name="connsiteY10" fmla="*/ 108039 h 1065717"/>
                  <a:gd name="connsiteX0" fmla="*/ 164443 w 167027"/>
                  <a:gd name="connsiteY0" fmla="*/ 108039 h 1065717"/>
                  <a:gd name="connsiteX1" fmla="*/ 117951 w 167027"/>
                  <a:gd name="connsiteY1" fmla="*/ 105570 h 1065717"/>
                  <a:gd name="connsiteX2" fmla="*/ 122648 w 167027"/>
                  <a:gd name="connsiteY2" fmla="*/ 412863 h 1065717"/>
                  <a:gd name="connsiteX3" fmla="*/ 166554 w 167027"/>
                  <a:gd name="connsiteY3" fmla="*/ 792288 h 1065717"/>
                  <a:gd name="connsiteX4" fmla="*/ 145334 w 167027"/>
                  <a:gd name="connsiteY4" fmla="*/ 1065717 h 1065717"/>
                  <a:gd name="connsiteX5" fmla="*/ 129733 w 167027"/>
                  <a:gd name="connsiteY5" fmla="*/ 737215 h 1065717"/>
                  <a:gd name="connsiteX6" fmla="*/ 76270 w 167027"/>
                  <a:gd name="connsiteY6" fmla="*/ 456306 h 1065717"/>
                  <a:gd name="connsiteX7" fmla="*/ 54452 w 167027"/>
                  <a:gd name="connsiteY7" fmla="*/ 105570 h 1065717"/>
                  <a:gd name="connsiteX8" fmla="*/ 0 w 167027"/>
                  <a:gd name="connsiteY8" fmla="*/ 117918 h 1065717"/>
                  <a:gd name="connsiteX9" fmla="*/ 92012 w 167027"/>
                  <a:gd name="connsiteY9" fmla="*/ 0 h 1065717"/>
                  <a:gd name="connsiteX10" fmla="*/ 164443 w 167027"/>
                  <a:gd name="connsiteY10" fmla="*/ 108039 h 1065717"/>
                  <a:gd name="connsiteX0" fmla="*/ 164443 w 167027"/>
                  <a:gd name="connsiteY0" fmla="*/ 127796 h 1085474"/>
                  <a:gd name="connsiteX1" fmla="*/ 117951 w 167027"/>
                  <a:gd name="connsiteY1" fmla="*/ 125327 h 1085474"/>
                  <a:gd name="connsiteX2" fmla="*/ 122648 w 167027"/>
                  <a:gd name="connsiteY2" fmla="*/ 432620 h 1085474"/>
                  <a:gd name="connsiteX3" fmla="*/ 166554 w 167027"/>
                  <a:gd name="connsiteY3" fmla="*/ 812045 h 1085474"/>
                  <a:gd name="connsiteX4" fmla="*/ 145334 w 167027"/>
                  <a:gd name="connsiteY4" fmla="*/ 1085474 h 1085474"/>
                  <a:gd name="connsiteX5" fmla="*/ 129733 w 167027"/>
                  <a:gd name="connsiteY5" fmla="*/ 756972 h 1085474"/>
                  <a:gd name="connsiteX6" fmla="*/ 76270 w 167027"/>
                  <a:gd name="connsiteY6" fmla="*/ 476063 h 1085474"/>
                  <a:gd name="connsiteX7" fmla="*/ 54452 w 167027"/>
                  <a:gd name="connsiteY7" fmla="*/ 125327 h 1085474"/>
                  <a:gd name="connsiteX8" fmla="*/ 0 w 167027"/>
                  <a:gd name="connsiteY8" fmla="*/ 137675 h 1085474"/>
                  <a:gd name="connsiteX9" fmla="*/ 84603 w 167027"/>
                  <a:gd name="connsiteY9" fmla="*/ 0 h 1085474"/>
                  <a:gd name="connsiteX10" fmla="*/ 164443 w 167027"/>
                  <a:gd name="connsiteY10" fmla="*/ 127796 h 1085474"/>
                  <a:gd name="connsiteX0" fmla="*/ 164443 w 167027"/>
                  <a:gd name="connsiteY0" fmla="*/ 145084 h 1085474"/>
                  <a:gd name="connsiteX1" fmla="*/ 117951 w 167027"/>
                  <a:gd name="connsiteY1" fmla="*/ 125327 h 1085474"/>
                  <a:gd name="connsiteX2" fmla="*/ 122648 w 167027"/>
                  <a:gd name="connsiteY2" fmla="*/ 432620 h 1085474"/>
                  <a:gd name="connsiteX3" fmla="*/ 166554 w 167027"/>
                  <a:gd name="connsiteY3" fmla="*/ 812045 h 1085474"/>
                  <a:gd name="connsiteX4" fmla="*/ 145334 w 167027"/>
                  <a:gd name="connsiteY4" fmla="*/ 1085474 h 1085474"/>
                  <a:gd name="connsiteX5" fmla="*/ 129733 w 167027"/>
                  <a:gd name="connsiteY5" fmla="*/ 756972 h 1085474"/>
                  <a:gd name="connsiteX6" fmla="*/ 76270 w 167027"/>
                  <a:gd name="connsiteY6" fmla="*/ 476063 h 1085474"/>
                  <a:gd name="connsiteX7" fmla="*/ 54452 w 167027"/>
                  <a:gd name="connsiteY7" fmla="*/ 125327 h 1085474"/>
                  <a:gd name="connsiteX8" fmla="*/ 0 w 167027"/>
                  <a:gd name="connsiteY8" fmla="*/ 137675 h 1085474"/>
                  <a:gd name="connsiteX9" fmla="*/ 84603 w 167027"/>
                  <a:gd name="connsiteY9" fmla="*/ 0 h 1085474"/>
                  <a:gd name="connsiteX10" fmla="*/ 164443 w 167027"/>
                  <a:gd name="connsiteY10" fmla="*/ 145084 h 1085474"/>
                  <a:gd name="connsiteX0" fmla="*/ 164443 w 167027"/>
                  <a:gd name="connsiteY0" fmla="*/ 132736 h 1085474"/>
                  <a:gd name="connsiteX1" fmla="*/ 117951 w 167027"/>
                  <a:gd name="connsiteY1" fmla="*/ 125327 h 1085474"/>
                  <a:gd name="connsiteX2" fmla="*/ 122648 w 167027"/>
                  <a:gd name="connsiteY2" fmla="*/ 432620 h 1085474"/>
                  <a:gd name="connsiteX3" fmla="*/ 166554 w 167027"/>
                  <a:gd name="connsiteY3" fmla="*/ 812045 h 1085474"/>
                  <a:gd name="connsiteX4" fmla="*/ 145334 w 167027"/>
                  <a:gd name="connsiteY4" fmla="*/ 1085474 h 1085474"/>
                  <a:gd name="connsiteX5" fmla="*/ 129733 w 167027"/>
                  <a:gd name="connsiteY5" fmla="*/ 756972 h 1085474"/>
                  <a:gd name="connsiteX6" fmla="*/ 76270 w 167027"/>
                  <a:gd name="connsiteY6" fmla="*/ 476063 h 1085474"/>
                  <a:gd name="connsiteX7" fmla="*/ 54452 w 167027"/>
                  <a:gd name="connsiteY7" fmla="*/ 125327 h 1085474"/>
                  <a:gd name="connsiteX8" fmla="*/ 0 w 167027"/>
                  <a:gd name="connsiteY8" fmla="*/ 137675 h 1085474"/>
                  <a:gd name="connsiteX9" fmla="*/ 84603 w 167027"/>
                  <a:gd name="connsiteY9" fmla="*/ 0 h 1085474"/>
                  <a:gd name="connsiteX10" fmla="*/ 164443 w 167027"/>
                  <a:gd name="connsiteY10" fmla="*/ 132736 h 1085474"/>
                  <a:gd name="connsiteX0" fmla="*/ 164443 w 167027"/>
                  <a:gd name="connsiteY0" fmla="*/ 132736 h 1085474"/>
                  <a:gd name="connsiteX1" fmla="*/ 113012 w 167027"/>
                  <a:gd name="connsiteY1" fmla="*/ 125327 h 1085474"/>
                  <a:gd name="connsiteX2" fmla="*/ 122648 w 167027"/>
                  <a:gd name="connsiteY2" fmla="*/ 432620 h 1085474"/>
                  <a:gd name="connsiteX3" fmla="*/ 166554 w 167027"/>
                  <a:gd name="connsiteY3" fmla="*/ 812045 h 1085474"/>
                  <a:gd name="connsiteX4" fmla="*/ 145334 w 167027"/>
                  <a:gd name="connsiteY4" fmla="*/ 1085474 h 1085474"/>
                  <a:gd name="connsiteX5" fmla="*/ 129733 w 167027"/>
                  <a:gd name="connsiteY5" fmla="*/ 756972 h 1085474"/>
                  <a:gd name="connsiteX6" fmla="*/ 76270 w 167027"/>
                  <a:gd name="connsiteY6" fmla="*/ 476063 h 1085474"/>
                  <a:gd name="connsiteX7" fmla="*/ 54452 w 167027"/>
                  <a:gd name="connsiteY7" fmla="*/ 125327 h 1085474"/>
                  <a:gd name="connsiteX8" fmla="*/ 0 w 167027"/>
                  <a:gd name="connsiteY8" fmla="*/ 137675 h 1085474"/>
                  <a:gd name="connsiteX9" fmla="*/ 84603 w 167027"/>
                  <a:gd name="connsiteY9" fmla="*/ 0 h 1085474"/>
                  <a:gd name="connsiteX10" fmla="*/ 164443 w 167027"/>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61615 w 164443"/>
                  <a:gd name="connsiteY3" fmla="*/ 789819 h 1085474"/>
                  <a:gd name="connsiteX4" fmla="*/ 145334 w 164443"/>
                  <a:gd name="connsiteY4" fmla="*/ 1085474 h 1085474"/>
                  <a:gd name="connsiteX5" fmla="*/ 129733 w 164443"/>
                  <a:gd name="connsiteY5" fmla="*/ 756972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9733 w 164443"/>
                  <a:gd name="connsiteY5" fmla="*/ 756972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9733 w 164443"/>
                  <a:gd name="connsiteY5" fmla="*/ 756972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9733 w 164443"/>
                  <a:gd name="connsiteY5" fmla="*/ 756972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4793 w 164443"/>
                  <a:gd name="connsiteY5" fmla="*/ 742154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4793 w 164443"/>
                  <a:gd name="connsiteY5" fmla="*/ 742154 h 1085474"/>
                  <a:gd name="connsiteX6" fmla="*/ 76270 w 164443"/>
                  <a:gd name="connsiteY6" fmla="*/ 476063 h 1085474"/>
                  <a:gd name="connsiteX7" fmla="*/ 49513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7951 w 164443"/>
                  <a:gd name="connsiteY1" fmla="*/ 127796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4793 w 164443"/>
                  <a:gd name="connsiteY5" fmla="*/ 742154 h 1085474"/>
                  <a:gd name="connsiteX6" fmla="*/ 76270 w 164443"/>
                  <a:gd name="connsiteY6" fmla="*/ 476063 h 1085474"/>
                  <a:gd name="connsiteX7" fmla="*/ 49513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76791 w 176791"/>
                  <a:gd name="connsiteY0" fmla="*/ 125327 h 1085474"/>
                  <a:gd name="connsiteX1" fmla="*/ 117951 w 176791"/>
                  <a:gd name="connsiteY1" fmla="*/ 127796 h 1085474"/>
                  <a:gd name="connsiteX2" fmla="*/ 122648 w 176791"/>
                  <a:gd name="connsiteY2" fmla="*/ 432620 h 1085474"/>
                  <a:gd name="connsiteX3" fmla="*/ 159146 w 176791"/>
                  <a:gd name="connsiteY3" fmla="*/ 807106 h 1085474"/>
                  <a:gd name="connsiteX4" fmla="*/ 145334 w 176791"/>
                  <a:gd name="connsiteY4" fmla="*/ 1085474 h 1085474"/>
                  <a:gd name="connsiteX5" fmla="*/ 124793 w 176791"/>
                  <a:gd name="connsiteY5" fmla="*/ 742154 h 1085474"/>
                  <a:gd name="connsiteX6" fmla="*/ 76270 w 176791"/>
                  <a:gd name="connsiteY6" fmla="*/ 476063 h 1085474"/>
                  <a:gd name="connsiteX7" fmla="*/ 49513 w 176791"/>
                  <a:gd name="connsiteY7" fmla="*/ 125327 h 1085474"/>
                  <a:gd name="connsiteX8" fmla="*/ 0 w 176791"/>
                  <a:gd name="connsiteY8" fmla="*/ 137675 h 1085474"/>
                  <a:gd name="connsiteX9" fmla="*/ 84603 w 176791"/>
                  <a:gd name="connsiteY9" fmla="*/ 0 h 1085474"/>
                  <a:gd name="connsiteX10" fmla="*/ 176791 w 176791"/>
                  <a:gd name="connsiteY10" fmla="*/ 125327 h 1085474"/>
                  <a:gd name="connsiteX0" fmla="*/ 184200 w 184200"/>
                  <a:gd name="connsiteY0" fmla="*/ 125327 h 1085474"/>
                  <a:gd name="connsiteX1" fmla="*/ 125360 w 184200"/>
                  <a:gd name="connsiteY1" fmla="*/ 127796 h 1085474"/>
                  <a:gd name="connsiteX2" fmla="*/ 130057 w 184200"/>
                  <a:gd name="connsiteY2" fmla="*/ 432620 h 1085474"/>
                  <a:gd name="connsiteX3" fmla="*/ 166555 w 184200"/>
                  <a:gd name="connsiteY3" fmla="*/ 807106 h 1085474"/>
                  <a:gd name="connsiteX4" fmla="*/ 152743 w 184200"/>
                  <a:gd name="connsiteY4" fmla="*/ 1085474 h 1085474"/>
                  <a:gd name="connsiteX5" fmla="*/ 132202 w 184200"/>
                  <a:gd name="connsiteY5" fmla="*/ 742154 h 1085474"/>
                  <a:gd name="connsiteX6" fmla="*/ 83679 w 184200"/>
                  <a:gd name="connsiteY6" fmla="*/ 476063 h 1085474"/>
                  <a:gd name="connsiteX7" fmla="*/ 56922 w 184200"/>
                  <a:gd name="connsiteY7" fmla="*/ 125327 h 1085474"/>
                  <a:gd name="connsiteX8" fmla="*/ 0 w 184200"/>
                  <a:gd name="connsiteY8" fmla="*/ 135205 h 1085474"/>
                  <a:gd name="connsiteX9" fmla="*/ 92012 w 184200"/>
                  <a:gd name="connsiteY9" fmla="*/ 0 h 1085474"/>
                  <a:gd name="connsiteX10" fmla="*/ 184200 w 184200"/>
                  <a:gd name="connsiteY10" fmla="*/ 125327 h 1085474"/>
                  <a:gd name="connsiteX0" fmla="*/ 184200 w 184200"/>
                  <a:gd name="connsiteY0" fmla="*/ 125327 h 1085474"/>
                  <a:gd name="connsiteX1" fmla="*/ 125360 w 184200"/>
                  <a:gd name="connsiteY1" fmla="*/ 127796 h 1085474"/>
                  <a:gd name="connsiteX2" fmla="*/ 130057 w 184200"/>
                  <a:gd name="connsiteY2" fmla="*/ 432620 h 1085474"/>
                  <a:gd name="connsiteX3" fmla="*/ 161616 w 184200"/>
                  <a:gd name="connsiteY3" fmla="*/ 794758 h 1085474"/>
                  <a:gd name="connsiteX4" fmla="*/ 152743 w 184200"/>
                  <a:gd name="connsiteY4" fmla="*/ 1085474 h 1085474"/>
                  <a:gd name="connsiteX5" fmla="*/ 132202 w 184200"/>
                  <a:gd name="connsiteY5" fmla="*/ 742154 h 1085474"/>
                  <a:gd name="connsiteX6" fmla="*/ 83679 w 184200"/>
                  <a:gd name="connsiteY6" fmla="*/ 476063 h 1085474"/>
                  <a:gd name="connsiteX7" fmla="*/ 56922 w 184200"/>
                  <a:gd name="connsiteY7" fmla="*/ 125327 h 1085474"/>
                  <a:gd name="connsiteX8" fmla="*/ 0 w 184200"/>
                  <a:gd name="connsiteY8" fmla="*/ 135205 h 1085474"/>
                  <a:gd name="connsiteX9" fmla="*/ 92012 w 184200"/>
                  <a:gd name="connsiteY9" fmla="*/ 0 h 1085474"/>
                  <a:gd name="connsiteX10" fmla="*/ 184200 w 184200"/>
                  <a:gd name="connsiteY10" fmla="*/ 125327 h 1085474"/>
                  <a:gd name="connsiteX0" fmla="*/ 181730 w 181730"/>
                  <a:gd name="connsiteY0" fmla="*/ 134831 h 1085474"/>
                  <a:gd name="connsiteX1" fmla="*/ 125360 w 181730"/>
                  <a:gd name="connsiteY1" fmla="*/ 127796 h 1085474"/>
                  <a:gd name="connsiteX2" fmla="*/ 130057 w 181730"/>
                  <a:gd name="connsiteY2" fmla="*/ 432620 h 1085474"/>
                  <a:gd name="connsiteX3" fmla="*/ 161616 w 181730"/>
                  <a:gd name="connsiteY3" fmla="*/ 794758 h 1085474"/>
                  <a:gd name="connsiteX4" fmla="*/ 152743 w 181730"/>
                  <a:gd name="connsiteY4" fmla="*/ 1085474 h 1085474"/>
                  <a:gd name="connsiteX5" fmla="*/ 132202 w 181730"/>
                  <a:gd name="connsiteY5" fmla="*/ 742154 h 1085474"/>
                  <a:gd name="connsiteX6" fmla="*/ 83679 w 181730"/>
                  <a:gd name="connsiteY6" fmla="*/ 476063 h 1085474"/>
                  <a:gd name="connsiteX7" fmla="*/ 56922 w 181730"/>
                  <a:gd name="connsiteY7" fmla="*/ 125327 h 1085474"/>
                  <a:gd name="connsiteX8" fmla="*/ 0 w 181730"/>
                  <a:gd name="connsiteY8" fmla="*/ 135205 h 1085474"/>
                  <a:gd name="connsiteX9" fmla="*/ 92012 w 181730"/>
                  <a:gd name="connsiteY9" fmla="*/ 0 h 1085474"/>
                  <a:gd name="connsiteX10" fmla="*/ 181730 w 181730"/>
                  <a:gd name="connsiteY10" fmla="*/ 134831 h 1085474"/>
                  <a:gd name="connsiteX0" fmla="*/ 181730 w 181730"/>
                  <a:gd name="connsiteY0" fmla="*/ 134831 h 1085474"/>
                  <a:gd name="connsiteX1" fmla="*/ 125360 w 181730"/>
                  <a:gd name="connsiteY1" fmla="*/ 127796 h 1085474"/>
                  <a:gd name="connsiteX2" fmla="*/ 130057 w 181730"/>
                  <a:gd name="connsiteY2" fmla="*/ 432620 h 1085474"/>
                  <a:gd name="connsiteX3" fmla="*/ 161616 w 181730"/>
                  <a:gd name="connsiteY3" fmla="*/ 794758 h 1085474"/>
                  <a:gd name="connsiteX4" fmla="*/ 152743 w 181730"/>
                  <a:gd name="connsiteY4" fmla="*/ 1085474 h 1085474"/>
                  <a:gd name="connsiteX5" fmla="*/ 132202 w 181730"/>
                  <a:gd name="connsiteY5" fmla="*/ 742154 h 1085474"/>
                  <a:gd name="connsiteX6" fmla="*/ 83679 w 181730"/>
                  <a:gd name="connsiteY6" fmla="*/ 476063 h 1085474"/>
                  <a:gd name="connsiteX7" fmla="*/ 59392 w 181730"/>
                  <a:gd name="connsiteY7" fmla="*/ 128495 h 1085474"/>
                  <a:gd name="connsiteX8" fmla="*/ 0 w 181730"/>
                  <a:gd name="connsiteY8" fmla="*/ 135205 h 1085474"/>
                  <a:gd name="connsiteX9" fmla="*/ 92012 w 181730"/>
                  <a:gd name="connsiteY9" fmla="*/ 0 h 1085474"/>
                  <a:gd name="connsiteX10" fmla="*/ 181730 w 181730"/>
                  <a:gd name="connsiteY10" fmla="*/ 134831 h 1085474"/>
                  <a:gd name="connsiteX0" fmla="*/ 189139 w 189139"/>
                  <a:gd name="connsiteY0" fmla="*/ 134831 h 1085474"/>
                  <a:gd name="connsiteX1" fmla="*/ 132769 w 189139"/>
                  <a:gd name="connsiteY1" fmla="*/ 127796 h 1085474"/>
                  <a:gd name="connsiteX2" fmla="*/ 137466 w 189139"/>
                  <a:gd name="connsiteY2" fmla="*/ 432620 h 1085474"/>
                  <a:gd name="connsiteX3" fmla="*/ 169025 w 189139"/>
                  <a:gd name="connsiteY3" fmla="*/ 794758 h 1085474"/>
                  <a:gd name="connsiteX4" fmla="*/ 160152 w 189139"/>
                  <a:gd name="connsiteY4" fmla="*/ 1085474 h 1085474"/>
                  <a:gd name="connsiteX5" fmla="*/ 139611 w 189139"/>
                  <a:gd name="connsiteY5" fmla="*/ 742154 h 1085474"/>
                  <a:gd name="connsiteX6" fmla="*/ 91088 w 189139"/>
                  <a:gd name="connsiteY6" fmla="*/ 476063 h 1085474"/>
                  <a:gd name="connsiteX7" fmla="*/ 66801 w 189139"/>
                  <a:gd name="connsiteY7" fmla="*/ 128495 h 1085474"/>
                  <a:gd name="connsiteX8" fmla="*/ 0 w 189139"/>
                  <a:gd name="connsiteY8" fmla="*/ 141541 h 1085474"/>
                  <a:gd name="connsiteX9" fmla="*/ 99421 w 189139"/>
                  <a:gd name="connsiteY9" fmla="*/ 0 h 1085474"/>
                  <a:gd name="connsiteX10" fmla="*/ 189139 w 189139"/>
                  <a:gd name="connsiteY10" fmla="*/ 134831 h 1085474"/>
                  <a:gd name="connsiteX0" fmla="*/ 189139 w 189139"/>
                  <a:gd name="connsiteY0" fmla="*/ 134831 h 1085474"/>
                  <a:gd name="connsiteX1" fmla="*/ 132769 w 189139"/>
                  <a:gd name="connsiteY1" fmla="*/ 127796 h 1085474"/>
                  <a:gd name="connsiteX2" fmla="*/ 137466 w 189139"/>
                  <a:gd name="connsiteY2" fmla="*/ 432620 h 1085474"/>
                  <a:gd name="connsiteX3" fmla="*/ 169025 w 189139"/>
                  <a:gd name="connsiteY3" fmla="*/ 794758 h 1085474"/>
                  <a:gd name="connsiteX4" fmla="*/ 160152 w 189139"/>
                  <a:gd name="connsiteY4" fmla="*/ 1085474 h 1085474"/>
                  <a:gd name="connsiteX5" fmla="*/ 139611 w 189139"/>
                  <a:gd name="connsiteY5" fmla="*/ 742154 h 1085474"/>
                  <a:gd name="connsiteX6" fmla="*/ 91088 w 189139"/>
                  <a:gd name="connsiteY6" fmla="*/ 476063 h 1085474"/>
                  <a:gd name="connsiteX7" fmla="*/ 74210 w 189139"/>
                  <a:gd name="connsiteY7" fmla="*/ 134831 h 1085474"/>
                  <a:gd name="connsiteX8" fmla="*/ 0 w 189139"/>
                  <a:gd name="connsiteY8" fmla="*/ 141541 h 1085474"/>
                  <a:gd name="connsiteX9" fmla="*/ 99421 w 189139"/>
                  <a:gd name="connsiteY9" fmla="*/ 0 h 1085474"/>
                  <a:gd name="connsiteX10" fmla="*/ 189139 w 189139"/>
                  <a:gd name="connsiteY10" fmla="*/ 134831 h 1085474"/>
                  <a:gd name="connsiteX0" fmla="*/ 189139 w 189139"/>
                  <a:gd name="connsiteY0" fmla="*/ 134831 h 1085474"/>
                  <a:gd name="connsiteX1" fmla="*/ 130299 w 189139"/>
                  <a:gd name="connsiteY1" fmla="*/ 134132 h 1085474"/>
                  <a:gd name="connsiteX2" fmla="*/ 137466 w 189139"/>
                  <a:gd name="connsiteY2" fmla="*/ 432620 h 1085474"/>
                  <a:gd name="connsiteX3" fmla="*/ 169025 w 189139"/>
                  <a:gd name="connsiteY3" fmla="*/ 794758 h 1085474"/>
                  <a:gd name="connsiteX4" fmla="*/ 160152 w 189139"/>
                  <a:gd name="connsiteY4" fmla="*/ 1085474 h 1085474"/>
                  <a:gd name="connsiteX5" fmla="*/ 139611 w 189139"/>
                  <a:gd name="connsiteY5" fmla="*/ 742154 h 1085474"/>
                  <a:gd name="connsiteX6" fmla="*/ 91088 w 189139"/>
                  <a:gd name="connsiteY6" fmla="*/ 476063 h 1085474"/>
                  <a:gd name="connsiteX7" fmla="*/ 74210 w 189139"/>
                  <a:gd name="connsiteY7" fmla="*/ 134831 h 1085474"/>
                  <a:gd name="connsiteX8" fmla="*/ 0 w 189139"/>
                  <a:gd name="connsiteY8" fmla="*/ 141541 h 1085474"/>
                  <a:gd name="connsiteX9" fmla="*/ 99421 w 189139"/>
                  <a:gd name="connsiteY9" fmla="*/ 0 h 1085474"/>
                  <a:gd name="connsiteX10" fmla="*/ 189139 w 189139"/>
                  <a:gd name="connsiteY10" fmla="*/ 134831 h 1085474"/>
                  <a:gd name="connsiteX0" fmla="*/ 189139 w 189139"/>
                  <a:gd name="connsiteY0" fmla="*/ 134831 h 1085474"/>
                  <a:gd name="connsiteX1" fmla="*/ 130299 w 189139"/>
                  <a:gd name="connsiteY1" fmla="*/ 134132 h 1085474"/>
                  <a:gd name="connsiteX2" fmla="*/ 137466 w 189139"/>
                  <a:gd name="connsiteY2" fmla="*/ 432620 h 1085474"/>
                  <a:gd name="connsiteX3" fmla="*/ 169025 w 189139"/>
                  <a:gd name="connsiteY3" fmla="*/ 794758 h 1085474"/>
                  <a:gd name="connsiteX4" fmla="*/ 160152 w 189139"/>
                  <a:gd name="connsiteY4" fmla="*/ 1085474 h 1085474"/>
                  <a:gd name="connsiteX5" fmla="*/ 139611 w 189139"/>
                  <a:gd name="connsiteY5" fmla="*/ 742154 h 1085474"/>
                  <a:gd name="connsiteX6" fmla="*/ 91088 w 189139"/>
                  <a:gd name="connsiteY6" fmla="*/ 476063 h 1085474"/>
                  <a:gd name="connsiteX7" fmla="*/ 74210 w 189139"/>
                  <a:gd name="connsiteY7" fmla="*/ 134831 h 1085474"/>
                  <a:gd name="connsiteX8" fmla="*/ 0 w 189139"/>
                  <a:gd name="connsiteY8" fmla="*/ 141541 h 1085474"/>
                  <a:gd name="connsiteX9" fmla="*/ 99421 w 189139"/>
                  <a:gd name="connsiteY9" fmla="*/ 0 h 1085474"/>
                  <a:gd name="connsiteX10" fmla="*/ 189139 w 189139"/>
                  <a:gd name="connsiteY10" fmla="*/ 134831 h 1085474"/>
                  <a:gd name="connsiteX0" fmla="*/ 202310 w 202310"/>
                  <a:gd name="connsiteY0" fmla="*/ 134831 h 1085474"/>
                  <a:gd name="connsiteX1" fmla="*/ 130299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91088 w 202310"/>
                  <a:gd name="connsiteY6" fmla="*/ 476063 h 1085474"/>
                  <a:gd name="connsiteX7" fmla="*/ 74210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0299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91088 w 202310"/>
                  <a:gd name="connsiteY6" fmla="*/ 476063 h 1085474"/>
                  <a:gd name="connsiteX7" fmla="*/ 74210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91088 w 202310"/>
                  <a:gd name="connsiteY6" fmla="*/ 476063 h 1085474"/>
                  <a:gd name="connsiteX7" fmla="*/ 74210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91088 w 202310"/>
                  <a:gd name="connsiteY6" fmla="*/ 476063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84503 w 202310"/>
                  <a:gd name="connsiteY6" fmla="*/ 463391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84503 w 202310"/>
                  <a:gd name="connsiteY6" fmla="*/ 463391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81210 w 202310"/>
                  <a:gd name="connsiteY6" fmla="*/ 459167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3025 w 202310"/>
                  <a:gd name="connsiteY5" fmla="*/ 716811 h 1085474"/>
                  <a:gd name="connsiteX6" fmla="*/ 81210 w 202310"/>
                  <a:gd name="connsiteY6" fmla="*/ 459167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5733 w 202310"/>
                  <a:gd name="connsiteY3" fmla="*/ 697611 h 1085474"/>
                  <a:gd name="connsiteX4" fmla="*/ 160152 w 202310"/>
                  <a:gd name="connsiteY4" fmla="*/ 1085474 h 1085474"/>
                  <a:gd name="connsiteX5" fmla="*/ 133025 w 202310"/>
                  <a:gd name="connsiteY5" fmla="*/ 716811 h 1085474"/>
                  <a:gd name="connsiteX6" fmla="*/ 81210 w 202310"/>
                  <a:gd name="connsiteY6" fmla="*/ 459167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1026991"/>
                  <a:gd name="connsiteY0" fmla="*/ 134831 h 1264811"/>
                  <a:gd name="connsiteX1" fmla="*/ 136884 w 1026991"/>
                  <a:gd name="connsiteY1" fmla="*/ 134132 h 1264811"/>
                  <a:gd name="connsiteX2" fmla="*/ 137466 w 1026991"/>
                  <a:gd name="connsiteY2" fmla="*/ 432620 h 1264811"/>
                  <a:gd name="connsiteX3" fmla="*/ 165733 w 1026991"/>
                  <a:gd name="connsiteY3" fmla="*/ 697611 h 1264811"/>
                  <a:gd name="connsiteX4" fmla="*/ 1026965 w 1026991"/>
                  <a:gd name="connsiteY4" fmla="*/ 1264811 h 1264811"/>
                  <a:gd name="connsiteX5" fmla="*/ 133025 w 1026991"/>
                  <a:gd name="connsiteY5" fmla="*/ 716811 h 1264811"/>
                  <a:gd name="connsiteX6" fmla="*/ 81210 w 1026991"/>
                  <a:gd name="connsiteY6" fmla="*/ 459167 h 1264811"/>
                  <a:gd name="connsiteX7" fmla="*/ 67624 w 1026991"/>
                  <a:gd name="connsiteY7" fmla="*/ 134831 h 1264811"/>
                  <a:gd name="connsiteX8" fmla="*/ 0 w 1026991"/>
                  <a:gd name="connsiteY8" fmla="*/ 141541 h 1264811"/>
                  <a:gd name="connsiteX9" fmla="*/ 99421 w 1026991"/>
                  <a:gd name="connsiteY9" fmla="*/ 0 h 1264811"/>
                  <a:gd name="connsiteX10" fmla="*/ 202310 w 1026991"/>
                  <a:gd name="connsiteY10" fmla="*/ 134831 h 1264811"/>
                  <a:gd name="connsiteX0" fmla="*/ 202310 w 1027165"/>
                  <a:gd name="connsiteY0" fmla="*/ 134831 h 1264811"/>
                  <a:gd name="connsiteX1" fmla="*/ 136884 w 1027165"/>
                  <a:gd name="connsiteY1" fmla="*/ 134132 h 1264811"/>
                  <a:gd name="connsiteX2" fmla="*/ 137466 w 1027165"/>
                  <a:gd name="connsiteY2" fmla="*/ 432620 h 1264811"/>
                  <a:gd name="connsiteX3" fmla="*/ 165733 w 1027165"/>
                  <a:gd name="connsiteY3" fmla="*/ 697611 h 1264811"/>
                  <a:gd name="connsiteX4" fmla="*/ 1026965 w 1027165"/>
                  <a:gd name="connsiteY4" fmla="*/ 1264811 h 1264811"/>
                  <a:gd name="connsiteX5" fmla="*/ 825075 w 1027165"/>
                  <a:gd name="connsiteY5" fmla="*/ 707844 h 1264811"/>
                  <a:gd name="connsiteX6" fmla="*/ 81210 w 1027165"/>
                  <a:gd name="connsiteY6" fmla="*/ 459167 h 1264811"/>
                  <a:gd name="connsiteX7" fmla="*/ 67624 w 1027165"/>
                  <a:gd name="connsiteY7" fmla="*/ 134831 h 1264811"/>
                  <a:gd name="connsiteX8" fmla="*/ 0 w 1027165"/>
                  <a:gd name="connsiteY8" fmla="*/ 141541 h 1264811"/>
                  <a:gd name="connsiteX9" fmla="*/ 99421 w 1027165"/>
                  <a:gd name="connsiteY9" fmla="*/ 0 h 1264811"/>
                  <a:gd name="connsiteX10" fmla="*/ 202310 w 1027165"/>
                  <a:gd name="connsiteY10" fmla="*/ 134831 h 1264811"/>
                  <a:gd name="connsiteX0" fmla="*/ 202310 w 1027327"/>
                  <a:gd name="connsiteY0" fmla="*/ 134831 h 1264811"/>
                  <a:gd name="connsiteX1" fmla="*/ 136884 w 1027327"/>
                  <a:gd name="connsiteY1" fmla="*/ 134132 h 1264811"/>
                  <a:gd name="connsiteX2" fmla="*/ 137466 w 1027327"/>
                  <a:gd name="connsiteY2" fmla="*/ 432620 h 1264811"/>
                  <a:gd name="connsiteX3" fmla="*/ 836812 w 1027327"/>
                  <a:gd name="connsiteY3" fmla="*/ 805213 h 1264811"/>
                  <a:gd name="connsiteX4" fmla="*/ 1026965 w 1027327"/>
                  <a:gd name="connsiteY4" fmla="*/ 1264811 h 1264811"/>
                  <a:gd name="connsiteX5" fmla="*/ 825075 w 1027327"/>
                  <a:gd name="connsiteY5" fmla="*/ 707844 h 1264811"/>
                  <a:gd name="connsiteX6" fmla="*/ 81210 w 1027327"/>
                  <a:gd name="connsiteY6" fmla="*/ 459167 h 1264811"/>
                  <a:gd name="connsiteX7" fmla="*/ 67624 w 1027327"/>
                  <a:gd name="connsiteY7" fmla="*/ 134831 h 1264811"/>
                  <a:gd name="connsiteX8" fmla="*/ 0 w 1027327"/>
                  <a:gd name="connsiteY8" fmla="*/ 141541 h 1264811"/>
                  <a:gd name="connsiteX9" fmla="*/ 99421 w 1027327"/>
                  <a:gd name="connsiteY9" fmla="*/ 0 h 1264811"/>
                  <a:gd name="connsiteX10" fmla="*/ 202310 w 1027327"/>
                  <a:gd name="connsiteY10" fmla="*/ 134831 h 1264811"/>
                  <a:gd name="connsiteX0" fmla="*/ 202310 w 1027327"/>
                  <a:gd name="connsiteY0" fmla="*/ 134831 h 1264811"/>
                  <a:gd name="connsiteX1" fmla="*/ 136884 w 1027327"/>
                  <a:gd name="connsiteY1" fmla="*/ 134132 h 1264811"/>
                  <a:gd name="connsiteX2" fmla="*/ 137466 w 1027327"/>
                  <a:gd name="connsiteY2" fmla="*/ 432620 h 1264811"/>
                  <a:gd name="connsiteX3" fmla="*/ 836812 w 1027327"/>
                  <a:gd name="connsiteY3" fmla="*/ 805213 h 1264811"/>
                  <a:gd name="connsiteX4" fmla="*/ 1026965 w 1027327"/>
                  <a:gd name="connsiteY4" fmla="*/ 1264811 h 1264811"/>
                  <a:gd name="connsiteX5" fmla="*/ 825075 w 1027327"/>
                  <a:gd name="connsiteY5" fmla="*/ 707844 h 1264811"/>
                  <a:gd name="connsiteX6" fmla="*/ 102184 w 1027327"/>
                  <a:gd name="connsiteY6" fmla="*/ 539868 h 1264811"/>
                  <a:gd name="connsiteX7" fmla="*/ 67624 w 1027327"/>
                  <a:gd name="connsiteY7" fmla="*/ 134831 h 1264811"/>
                  <a:gd name="connsiteX8" fmla="*/ 0 w 1027327"/>
                  <a:gd name="connsiteY8" fmla="*/ 141541 h 1264811"/>
                  <a:gd name="connsiteX9" fmla="*/ 99421 w 1027327"/>
                  <a:gd name="connsiteY9" fmla="*/ 0 h 1264811"/>
                  <a:gd name="connsiteX10" fmla="*/ 202310 w 1027327"/>
                  <a:gd name="connsiteY10" fmla="*/ 134831 h 1264811"/>
                  <a:gd name="connsiteX0" fmla="*/ 202310 w 1027275"/>
                  <a:gd name="connsiteY0" fmla="*/ 134831 h 1264811"/>
                  <a:gd name="connsiteX1" fmla="*/ 136884 w 1027275"/>
                  <a:gd name="connsiteY1" fmla="*/ 134132 h 1264811"/>
                  <a:gd name="connsiteX2" fmla="*/ 193393 w 1027275"/>
                  <a:gd name="connsiteY2" fmla="*/ 369852 h 1264811"/>
                  <a:gd name="connsiteX3" fmla="*/ 836812 w 1027275"/>
                  <a:gd name="connsiteY3" fmla="*/ 805213 h 1264811"/>
                  <a:gd name="connsiteX4" fmla="*/ 1026965 w 1027275"/>
                  <a:gd name="connsiteY4" fmla="*/ 1264811 h 1264811"/>
                  <a:gd name="connsiteX5" fmla="*/ 825075 w 1027275"/>
                  <a:gd name="connsiteY5" fmla="*/ 707844 h 1264811"/>
                  <a:gd name="connsiteX6" fmla="*/ 102184 w 1027275"/>
                  <a:gd name="connsiteY6" fmla="*/ 539868 h 1264811"/>
                  <a:gd name="connsiteX7" fmla="*/ 67624 w 1027275"/>
                  <a:gd name="connsiteY7" fmla="*/ 134831 h 1264811"/>
                  <a:gd name="connsiteX8" fmla="*/ 0 w 1027275"/>
                  <a:gd name="connsiteY8" fmla="*/ 141541 h 1264811"/>
                  <a:gd name="connsiteX9" fmla="*/ 99421 w 1027275"/>
                  <a:gd name="connsiteY9" fmla="*/ 0 h 1264811"/>
                  <a:gd name="connsiteX10" fmla="*/ 202310 w 1027275"/>
                  <a:gd name="connsiteY10" fmla="*/ 134831 h 1264811"/>
                  <a:gd name="connsiteX0" fmla="*/ 202310 w 1027236"/>
                  <a:gd name="connsiteY0" fmla="*/ 134831 h 1264811"/>
                  <a:gd name="connsiteX1" fmla="*/ 136884 w 1027236"/>
                  <a:gd name="connsiteY1" fmla="*/ 134132 h 1264811"/>
                  <a:gd name="connsiteX2" fmla="*/ 249316 w 1027236"/>
                  <a:gd name="connsiteY2" fmla="*/ 450554 h 1264811"/>
                  <a:gd name="connsiteX3" fmla="*/ 836812 w 1027236"/>
                  <a:gd name="connsiteY3" fmla="*/ 805213 h 1264811"/>
                  <a:gd name="connsiteX4" fmla="*/ 1026965 w 1027236"/>
                  <a:gd name="connsiteY4" fmla="*/ 1264811 h 1264811"/>
                  <a:gd name="connsiteX5" fmla="*/ 825075 w 1027236"/>
                  <a:gd name="connsiteY5" fmla="*/ 707844 h 1264811"/>
                  <a:gd name="connsiteX6" fmla="*/ 102184 w 1027236"/>
                  <a:gd name="connsiteY6" fmla="*/ 539868 h 1264811"/>
                  <a:gd name="connsiteX7" fmla="*/ 67624 w 1027236"/>
                  <a:gd name="connsiteY7" fmla="*/ 134831 h 1264811"/>
                  <a:gd name="connsiteX8" fmla="*/ 0 w 1027236"/>
                  <a:gd name="connsiteY8" fmla="*/ 141541 h 1264811"/>
                  <a:gd name="connsiteX9" fmla="*/ 99421 w 1027236"/>
                  <a:gd name="connsiteY9" fmla="*/ 0 h 1264811"/>
                  <a:gd name="connsiteX10" fmla="*/ 202310 w 1027236"/>
                  <a:gd name="connsiteY10" fmla="*/ 134831 h 1264811"/>
                  <a:gd name="connsiteX0" fmla="*/ 202310 w 1027236"/>
                  <a:gd name="connsiteY0" fmla="*/ 134831 h 1264811"/>
                  <a:gd name="connsiteX1" fmla="*/ 136884 w 1027236"/>
                  <a:gd name="connsiteY1" fmla="*/ 134132 h 1264811"/>
                  <a:gd name="connsiteX2" fmla="*/ 249316 w 1027236"/>
                  <a:gd name="connsiteY2" fmla="*/ 450554 h 1264811"/>
                  <a:gd name="connsiteX3" fmla="*/ 836812 w 1027236"/>
                  <a:gd name="connsiteY3" fmla="*/ 805213 h 1264811"/>
                  <a:gd name="connsiteX4" fmla="*/ 1026965 w 1027236"/>
                  <a:gd name="connsiteY4" fmla="*/ 1264811 h 1264811"/>
                  <a:gd name="connsiteX5" fmla="*/ 825075 w 1027236"/>
                  <a:gd name="connsiteY5" fmla="*/ 707844 h 1264811"/>
                  <a:gd name="connsiteX6" fmla="*/ 207040 w 1027236"/>
                  <a:gd name="connsiteY6" fmla="*/ 557802 h 1264811"/>
                  <a:gd name="connsiteX7" fmla="*/ 67624 w 1027236"/>
                  <a:gd name="connsiteY7" fmla="*/ 134831 h 1264811"/>
                  <a:gd name="connsiteX8" fmla="*/ 0 w 1027236"/>
                  <a:gd name="connsiteY8" fmla="*/ 141541 h 1264811"/>
                  <a:gd name="connsiteX9" fmla="*/ 99421 w 1027236"/>
                  <a:gd name="connsiteY9" fmla="*/ 0 h 1264811"/>
                  <a:gd name="connsiteX10" fmla="*/ 202310 w 1027236"/>
                  <a:gd name="connsiteY10" fmla="*/ 134831 h 1264811"/>
                  <a:gd name="connsiteX0" fmla="*/ 202310 w 1027236"/>
                  <a:gd name="connsiteY0" fmla="*/ 134831 h 1264811"/>
                  <a:gd name="connsiteX1" fmla="*/ 136884 w 1027236"/>
                  <a:gd name="connsiteY1" fmla="*/ 134132 h 1264811"/>
                  <a:gd name="connsiteX2" fmla="*/ 249316 w 1027236"/>
                  <a:gd name="connsiteY2" fmla="*/ 450554 h 1264811"/>
                  <a:gd name="connsiteX3" fmla="*/ 836812 w 1027236"/>
                  <a:gd name="connsiteY3" fmla="*/ 805213 h 1264811"/>
                  <a:gd name="connsiteX4" fmla="*/ 1026965 w 1027236"/>
                  <a:gd name="connsiteY4" fmla="*/ 1264811 h 1264811"/>
                  <a:gd name="connsiteX5" fmla="*/ 825075 w 1027236"/>
                  <a:gd name="connsiteY5" fmla="*/ 707844 h 1264811"/>
                  <a:gd name="connsiteX6" fmla="*/ 207040 w 1027236"/>
                  <a:gd name="connsiteY6" fmla="*/ 557802 h 1264811"/>
                  <a:gd name="connsiteX7" fmla="*/ 67624 w 1027236"/>
                  <a:gd name="connsiteY7" fmla="*/ 134831 h 1264811"/>
                  <a:gd name="connsiteX8" fmla="*/ 0 w 1027236"/>
                  <a:gd name="connsiteY8" fmla="*/ 141541 h 1264811"/>
                  <a:gd name="connsiteX9" fmla="*/ 99421 w 1027236"/>
                  <a:gd name="connsiteY9" fmla="*/ 0 h 1264811"/>
                  <a:gd name="connsiteX10" fmla="*/ 202310 w 1027236"/>
                  <a:gd name="connsiteY10" fmla="*/ 134831 h 1264811"/>
                  <a:gd name="connsiteX0" fmla="*/ 202310 w 1027236"/>
                  <a:gd name="connsiteY0" fmla="*/ 134831 h 1264811"/>
                  <a:gd name="connsiteX1" fmla="*/ 136884 w 1027236"/>
                  <a:gd name="connsiteY1" fmla="*/ 134132 h 1264811"/>
                  <a:gd name="connsiteX2" fmla="*/ 249316 w 1027236"/>
                  <a:gd name="connsiteY2" fmla="*/ 450554 h 1264811"/>
                  <a:gd name="connsiteX3" fmla="*/ 836812 w 1027236"/>
                  <a:gd name="connsiteY3" fmla="*/ 805213 h 1264811"/>
                  <a:gd name="connsiteX4" fmla="*/ 1026965 w 1027236"/>
                  <a:gd name="connsiteY4" fmla="*/ 1264811 h 1264811"/>
                  <a:gd name="connsiteX5" fmla="*/ 755171 w 1027236"/>
                  <a:gd name="connsiteY5" fmla="*/ 779579 h 1264811"/>
                  <a:gd name="connsiteX6" fmla="*/ 207040 w 1027236"/>
                  <a:gd name="connsiteY6" fmla="*/ 557802 h 1264811"/>
                  <a:gd name="connsiteX7" fmla="*/ 67624 w 1027236"/>
                  <a:gd name="connsiteY7" fmla="*/ 134831 h 1264811"/>
                  <a:gd name="connsiteX8" fmla="*/ 0 w 1027236"/>
                  <a:gd name="connsiteY8" fmla="*/ 141541 h 1264811"/>
                  <a:gd name="connsiteX9" fmla="*/ 99421 w 1027236"/>
                  <a:gd name="connsiteY9" fmla="*/ 0 h 1264811"/>
                  <a:gd name="connsiteX10" fmla="*/ 202310 w 1027236"/>
                  <a:gd name="connsiteY10" fmla="*/ 134831 h 1264811"/>
                  <a:gd name="connsiteX0" fmla="*/ 202310 w 1027117"/>
                  <a:gd name="connsiteY0" fmla="*/ 134831 h 1264811"/>
                  <a:gd name="connsiteX1" fmla="*/ 136884 w 1027117"/>
                  <a:gd name="connsiteY1" fmla="*/ 134132 h 1264811"/>
                  <a:gd name="connsiteX2" fmla="*/ 249316 w 1027117"/>
                  <a:gd name="connsiteY2" fmla="*/ 450554 h 1264811"/>
                  <a:gd name="connsiteX3" fmla="*/ 780889 w 1027117"/>
                  <a:gd name="connsiteY3" fmla="*/ 706578 h 1264811"/>
                  <a:gd name="connsiteX4" fmla="*/ 1026965 w 1027117"/>
                  <a:gd name="connsiteY4" fmla="*/ 1264811 h 1264811"/>
                  <a:gd name="connsiteX5" fmla="*/ 755171 w 1027117"/>
                  <a:gd name="connsiteY5" fmla="*/ 779579 h 1264811"/>
                  <a:gd name="connsiteX6" fmla="*/ 207040 w 1027117"/>
                  <a:gd name="connsiteY6" fmla="*/ 557802 h 1264811"/>
                  <a:gd name="connsiteX7" fmla="*/ 67624 w 1027117"/>
                  <a:gd name="connsiteY7" fmla="*/ 134831 h 1264811"/>
                  <a:gd name="connsiteX8" fmla="*/ 0 w 1027117"/>
                  <a:gd name="connsiteY8" fmla="*/ 141541 h 1264811"/>
                  <a:gd name="connsiteX9" fmla="*/ 99421 w 1027117"/>
                  <a:gd name="connsiteY9" fmla="*/ 0 h 1264811"/>
                  <a:gd name="connsiteX10" fmla="*/ 202310 w 1027117"/>
                  <a:gd name="connsiteY10" fmla="*/ 134831 h 1264811"/>
                  <a:gd name="connsiteX0" fmla="*/ 202310 w 1027117"/>
                  <a:gd name="connsiteY0" fmla="*/ 134831 h 1264811"/>
                  <a:gd name="connsiteX1" fmla="*/ 136884 w 1027117"/>
                  <a:gd name="connsiteY1" fmla="*/ 134132 h 1264811"/>
                  <a:gd name="connsiteX2" fmla="*/ 249316 w 1027117"/>
                  <a:gd name="connsiteY2" fmla="*/ 450554 h 1264811"/>
                  <a:gd name="connsiteX3" fmla="*/ 780889 w 1027117"/>
                  <a:gd name="connsiteY3" fmla="*/ 706578 h 1264811"/>
                  <a:gd name="connsiteX4" fmla="*/ 1026965 w 1027117"/>
                  <a:gd name="connsiteY4" fmla="*/ 1264811 h 1264811"/>
                  <a:gd name="connsiteX5" fmla="*/ 755171 w 1027117"/>
                  <a:gd name="connsiteY5" fmla="*/ 779579 h 1264811"/>
                  <a:gd name="connsiteX6" fmla="*/ 214031 w 1027117"/>
                  <a:gd name="connsiteY6" fmla="*/ 504001 h 1264811"/>
                  <a:gd name="connsiteX7" fmla="*/ 67624 w 1027117"/>
                  <a:gd name="connsiteY7" fmla="*/ 134831 h 1264811"/>
                  <a:gd name="connsiteX8" fmla="*/ 0 w 1027117"/>
                  <a:gd name="connsiteY8" fmla="*/ 141541 h 1264811"/>
                  <a:gd name="connsiteX9" fmla="*/ 99421 w 1027117"/>
                  <a:gd name="connsiteY9" fmla="*/ 0 h 1264811"/>
                  <a:gd name="connsiteX10" fmla="*/ 202310 w 1027117"/>
                  <a:gd name="connsiteY10" fmla="*/ 134831 h 1264811"/>
                  <a:gd name="connsiteX0" fmla="*/ 202310 w 1027117"/>
                  <a:gd name="connsiteY0" fmla="*/ 134831 h 1264811"/>
                  <a:gd name="connsiteX1" fmla="*/ 136884 w 1027117"/>
                  <a:gd name="connsiteY1" fmla="*/ 134132 h 1264811"/>
                  <a:gd name="connsiteX2" fmla="*/ 249316 w 1027117"/>
                  <a:gd name="connsiteY2" fmla="*/ 450554 h 1264811"/>
                  <a:gd name="connsiteX3" fmla="*/ 780889 w 1027117"/>
                  <a:gd name="connsiteY3" fmla="*/ 706578 h 1264811"/>
                  <a:gd name="connsiteX4" fmla="*/ 1026965 w 1027117"/>
                  <a:gd name="connsiteY4" fmla="*/ 1264811 h 1264811"/>
                  <a:gd name="connsiteX5" fmla="*/ 762162 w 1027117"/>
                  <a:gd name="connsiteY5" fmla="*/ 716811 h 1264811"/>
                  <a:gd name="connsiteX6" fmla="*/ 214031 w 1027117"/>
                  <a:gd name="connsiteY6" fmla="*/ 504001 h 1264811"/>
                  <a:gd name="connsiteX7" fmla="*/ 67624 w 1027117"/>
                  <a:gd name="connsiteY7" fmla="*/ 134831 h 1264811"/>
                  <a:gd name="connsiteX8" fmla="*/ 0 w 1027117"/>
                  <a:gd name="connsiteY8" fmla="*/ 141541 h 1264811"/>
                  <a:gd name="connsiteX9" fmla="*/ 99421 w 1027117"/>
                  <a:gd name="connsiteY9" fmla="*/ 0 h 1264811"/>
                  <a:gd name="connsiteX10" fmla="*/ 202310 w 1027117"/>
                  <a:gd name="connsiteY10" fmla="*/ 134831 h 1264811"/>
                  <a:gd name="connsiteX0" fmla="*/ 202310 w 1027117"/>
                  <a:gd name="connsiteY0" fmla="*/ 134831 h 1264811"/>
                  <a:gd name="connsiteX1" fmla="*/ 136884 w 1027117"/>
                  <a:gd name="connsiteY1" fmla="*/ 134132 h 1264811"/>
                  <a:gd name="connsiteX2" fmla="*/ 249316 w 1027117"/>
                  <a:gd name="connsiteY2" fmla="*/ 450554 h 1264811"/>
                  <a:gd name="connsiteX3" fmla="*/ 780889 w 1027117"/>
                  <a:gd name="connsiteY3" fmla="*/ 706578 h 1264811"/>
                  <a:gd name="connsiteX4" fmla="*/ 1026965 w 1027117"/>
                  <a:gd name="connsiteY4" fmla="*/ 1264811 h 1264811"/>
                  <a:gd name="connsiteX5" fmla="*/ 770900 w 1027117"/>
                  <a:gd name="connsiteY5" fmla="*/ 750437 h 1264811"/>
                  <a:gd name="connsiteX6" fmla="*/ 214031 w 1027117"/>
                  <a:gd name="connsiteY6" fmla="*/ 504001 h 1264811"/>
                  <a:gd name="connsiteX7" fmla="*/ 67624 w 1027117"/>
                  <a:gd name="connsiteY7" fmla="*/ 134831 h 1264811"/>
                  <a:gd name="connsiteX8" fmla="*/ 0 w 1027117"/>
                  <a:gd name="connsiteY8" fmla="*/ 141541 h 1264811"/>
                  <a:gd name="connsiteX9" fmla="*/ 99421 w 1027117"/>
                  <a:gd name="connsiteY9" fmla="*/ 0 h 1264811"/>
                  <a:gd name="connsiteX10" fmla="*/ 202310 w 1027117"/>
                  <a:gd name="connsiteY10" fmla="*/ 134831 h 1264811"/>
                  <a:gd name="connsiteX0" fmla="*/ 197941 w 1022748"/>
                  <a:gd name="connsiteY0" fmla="*/ 134831 h 1264811"/>
                  <a:gd name="connsiteX1" fmla="*/ 132515 w 1022748"/>
                  <a:gd name="connsiteY1" fmla="*/ 134132 h 1264811"/>
                  <a:gd name="connsiteX2" fmla="*/ 244947 w 1022748"/>
                  <a:gd name="connsiteY2" fmla="*/ 450554 h 1264811"/>
                  <a:gd name="connsiteX3" fmla="*/ 776520 w 1022748"/>
                  <a:gd name="connsiteY3" fmla="*/ 706578 h 1264811"/>
                  <a:gd name="connsiteX4" fmla="*/ 1022596 w 1022748"/>
                  <a:gd name="connsiteY4" fmla="*/ 1264811 h 1264811"/>
                  <a:gd name="connsiteX5" fmla="*/ 766531 w 1022748"/>
                  <a:gd name="connsiteY5" fmla="*/ 750437 h 1264811"/>
                  <a:gd name="connsiteX6" fmla="*/ 209662 w 1022748"/>
                  <a:gd name="connsiteY6" fmla="*/ 504001 h 1264811"/>
                  <a:gd name="connsiteX7" fmla="*/ 63255 w 1022748"/>
                  <a:gd name="connsiteY7" fmla="*/ 134831 h 1264811"/>
                  <a:gd name="connsiteX8" fmla="*/ 0 w 1022748"/>
                  <a:gd name="connsiteY8" fmla="*/ 135937 h 1264811"/>
                  <a:gd name="connsiteX9" fmla="*/ 95052 w 1022748"/>
                  <a:gd name="connsiteY9" fmla="*/ 0 h 1264811"/>
                  <a:gd name="connsiteX10" fmla="*/ 197941 w 1022748"/>
                  <a:gd name="connsiteY10" fmla="*/ 134831 h 1264811"/>
                  <a:gd name="connsiteX0" fmla="*/ 197941 w 839632"/>
                  <a:gd name="connsiteY0" fmla="*/ 134831 h 765301"/>
                  <a:gd name="connsiteX1" fmla="*/ 132515 w 839632"/>
                  <a:gd name="connsiteY1" fmla="*/ 134132 h 765301"/>
                  <a:gd name="connsiteX2" fmla="*/ 244947 w 839632"/>
                  <a:gd name="connsiteY2" fmla="*/ 450554 h 765301"/>
                  <a:gd name="connsiteX3" fmla="*/ 776520 w 839632"/>
                  <a:gd name="connsiteY3" fmla="*/ 706578 h 765301"/>
                  <a:gd name="connsiteX4" fmla="*/ 766531 w 839632"/>
                  <a:gd name="connsiteY4" fmla="*/ 750437 h 765301"/>
                  <a:gd name="connsiteX5" fmla="*/ 209662 w 839632"/>
                  <a:gd name="connsiteY5" fmla="*/ 504001 h 765301"/>
                  <a:gd name="connsiteX6" fmla="*/ 63255 w 839632"/>
                  <a:gd name="connsiteY6" fmla="*/ 134831 h 765301"/>
                  <a:gd name="connsiteX7" fmla="*/ 0 w 839632"/>
                  <a:gd name="connsiteY7" fmla="*/ 135937 h 765301"/>
                  <a:gd name="connsiteX8" fmla="*/ 95052 w 839632"/>
                  <a:gd name="connsiteY8" fmla="*/ 0 h 765301"/>
                  <a:gd name="connsiteX9" fmla="*/ 197941 w 839632"/>
                  <a:gd name="connsiteY9" fmla="*/ 134831 h 765301"/>
                  <a:gd name="connsiteX0" fmla="*/ 197941 w 776578"/>
                  <a:gd name="connsiteY0" fmla="*/ 134831 h 707059"/>
                  <a:gd name="connsiteX1" fmla="*/ 132515 w 776578"/>
                  <a:gd name="connsiteY1" fmla="*/ 134132 h 707059"/>
                  <a:gd name="connsiteX2" fmla="*/ 244947 w 776578"/>
                  <a:gd name="connsiteY2" fmla="*/ 450554 h 707059"/>
                  <a:gd name="connsiteX3" fmla="*/ 776520 w 776578"/>
                  <a:gd name="connsiteY3" fmla="*/ 706578 h 707059"/>
                  <a:gd name="connsiteX4" fmla="*/ 209662 w 776578"/>
                  <a:gd name="connsiteY4" fmla="*/ 504001 h 707059"/>
                  <a:gd name="connsiteX5" fmla="*/ 63255 w 776578"/>
                  <a:gd name="connsiteY5" fmla="*/ 134831 h 707059"/>
                  <a:gd name="connsiteX6" fmla="*/ 0 w 776578"/>
                  <a:gd name="connsiteY6" fmla="*/ 135937 h 707059"/>
                  <a:gd name="connsiteX7" fmla="*/ 95052 w 776578"/>
                  <a:gd name="connsiteY7" fmla="*/ 0 h 707059"/>
                  <a:gd name="connsiteX8" fmla="*/ 197941 w 776578"/>
                  <a:gd name="connsiteY8" fmla="*/ 134831 h 707059"/>
                  <a:gd name="connsiteX0" fmla="*/ 197941 w 664373"/>
                  <a:gd name="connsiteY0" fmla="*/ 134831 h 686304"/>
                  <a:gd name="connsiteX1" fmla="*/ 132515 w 664373"/>
                  <a:gd name="connsiteY1" fmla="*/ 134132 h 686304"/>
                  <a:gd name="connsiteX2" fmla="*/ 244947 w 664373"/>
                  <a:gd name="connsiteY2" fmla="*/ 450554 h 686304"/>
                  <a:gd name="connsiteX3" fmla="*/ 664298 w 664373"/>
                  <a:gd name="connsiteY3" fmla="*/ 685744 h 686304"/>
                  <a:gd name="connsiteX4" fmla="*/ 209662 w 664373"/>
                  <a:gd name="connsiteY4" fmla="*/ 504001 h 686304"/>
                  <a:gd name="connsiteX5" fmla="*/ 63255 w 664373"/>
                  <a:gd name="connsiteY5" fmla="*/ 134831 h 686304"/>
                  <a:gd name="connsiteX6" fmla="*/ 0 w 664373"/>
                  <a:gd name="connsiteY6" fmla="*/ 135937 h 686304"/>
                  <a:gd name="connsiteX7" fmla="*/ 95052 w 664373"/>
                  <a:gd name="connsiteY7" fmla="*/ 0 h 686304"/>
                  <a:gd name="connsiteX8" fmla="*/ 197941 w 664373"/>
                  <a:gd name="connsiteY8" fmla="*/ 134831 h 686304"/>
                  <a:gd name="connsiteX0" fmla="*/ 197941 w 664574"/>
                  <a:gd name="connsiteY0" fmla="*/ 134831 h 690911"/>
                  <a:gd name="connsiteX1" fmla="*/ 132515 w 664574"/>
                  <a:gd name="connsiteY1" fmla="*/ 134132 h 690911"/>
                  <a:gd name="connsiteX2" fmla="*/ 244947 w 664574"/>
                  <a:gd name="connsiteY2" fmla="*/ 450554 h 690911"/>
                  <a:gd name="connsiteX3" fmla="*/ 664298 w 664574"/>
                  <a:gd name="connsiteY3" fmla="*/ 685744 h 690911"/>
                  <a:gd name="connsiteX4" fmla="*/ 176661 w 664574"/>
                  <a:gd name="connsiteY4" fmla="*/ 573439 h 690911"/>
                  <a:gd name="connsiteX5" fmla="*/ 63255 w 664574"/>
                  <a:gd name="connsiteY5" fmla="*/ 134831 h 690911"/>
                  <a:gd name="connsiteX6" fmla="*/ 0 w 664574"/>
                  <a:gd name="connsiteY6" fmla="*/ 135937 h 690911"/>
                  <a:gd name="connsiteX7" fmla="*/ 95052 w 664574"/>
                  <a:gd name="connsiteY7" fmla="*/ 0 h 690911"/>
                  <a:gd name="connsiteX8" fmla="*/ 197941 w 664574"/>
                  <a:gd name="connsiteY8" fmla="*/ 134831 h 690911"/>
                  <a:gd name="connsiteX0" fmla="*/ 197941 w 664366"/>
                  <a:gd name="connsiteY0" fmla="*/ 134831 h 687262"/>
                  <a:gd name="connsiteX1" fmla="*/ 132515 w 664366"/>
                  <a:gd name="connsiteY1" fmla="*/ 134132 h 687262"/>
                  <a:gd name="connsiteX2" fmla="*/ 211947 w 664366"/>
                  <a:gd name="connsiteY2" fmla="*/ 519990 h 687262"/>
                  <a:gd name="connsiteX3" fmla="*/ 664298 w 664366"/>
                  <a:gd name="connsiteY3" fmla="*/ 685744 h 687262"/>
                  <a:gd name="connsiteX4" fmla="*/ 176661 w 664366"/>
                  <a:gd name="connsiteY4" fmla="*/ 573439 h 687262"/>
                  <a:gd name="connsiteX5" fmla="*/ 63255 w 664366"/>
                  <a:gd name="connsiteY5" fmla="*/ 134831 h 687262"/>
                  <a:gd name="connsiteX6" fmla="*/ 0 w 664366"/>
                  <a:gd name="connsiteY6" fmla="*/ 135937 h 687262"/>
                  <a:gd name="connsiteX7" fmla="*/ 95052 w 664366"/>
                  <a:gd name="connsiteY7" fmla="*/ 0 h 687262"/>
                  <a:gd name="connsiteX8" fmla="*/ 197941 w 664366"/>
                  <a:gd name="connsiteY8" fmla="*/ 134831 h 687262"/>
                  <a:gd name="connsiteX0" fmla="*/ 197941 w 657764"/>
                  <a:gd name="connsiteY0" fmla="*/ 134831 h 687262"/>
                  <a:gd name="connsiteX1" fmla="*/ 132515 w 657764"/>
                  <a:gd name="connsiteY1" fmla="*/ 134132 h 687262"/>
                  <a:gd name="connsiteX2" fmla="*/ 211947 w 657764"/>
                  <a:gd name="connsiteY2" fmla="*/ 519990 h 687262"/>
                  <a:gd name="connsiteX3" fmla="*/ 657695 w 657764"/>
                  <a:gd name="connsiteY3" fmla="*/ 685746 h 687262"/>
                  <a:gd name="connsiteX4" fmla="*/ 176661 w 657764"/>
                  <a:gd name="connsiteY4" fmla="*/ 573439 h 687262"/>
                  <a:gd name="connsiteX5" fmla="*/ 63255 w 657764"/>
                  <a:gd name="connsiteY5" fmla="*/ 134831 h 687262"/>
                  <a:gd name="connsiteX6" fmla="*/ 0 w 657764"/>
                  <a:gd name="connsiteY6" fmla="*/ 135937 h 687262"/>
                  <a:gd name="connsiteX7" fmla="*/ 95052 w 657764"/>
                  <a:gd name="connsiteY7" fmla="*/ 0 h 687262"/>
                  <a:gd name="connsiteX8" fmla="*/ 197941 w 657764"/>
                  <a:gd name="connsiteY8" fmla="*/ 134831 h 687262"/>
                  <a:gd name="connsiteX0" fmla="*/ 197941 w 697378"/>
                  <a:gd name="connsiteY0" fmla="*/ 134831 h 728229"/>
                  <a:gd name="connsiteX1" fmla="*/ 132515 w 697378"/>
                  <a:gd name="connsiteY1" fmla="*/ 134132 h 728229"/>
                  <a:gd name="connsiteX2" fmla="*/ 211947 w 697378"/>
                  <a:gd name="connsiteY2" fmla="*/ 519990 h 728229"/>
                  <a:gd name="connsiteX3" fmla="*/ 697314 w 697378"/>
                  <a:gd name="connsiteY3" fmla="*/ 727407 h 728229"/>
                  <a:gd name="connsiteX4" fmla="*/ 176661 w 697378"/>
                  <a:gd name="connsiteY4" fmla="*/ 573439 h 728229"/>
                  <a:gd name="connsiteX5" fmla="*/ 63255 w 697378"/>
                  <a:gd name="connsiteY5" fmla="*/ 134831 h 728229"/>
                  <a:gd name="connsiteX6" fmla="*/ 0 w 697378"/>
                  <a:gd name="connsiteY6" fmla="*/ 135937 h 728229"/>
                  <a:gd name="connsiteX7" fmla="*/ 95052 w 697378"/>
                  <a:gd name="connsiteY7" fmla="*/ 0 h 728229"/>
                  <a:gd name="connsiteX8" fmla="*/ 197941 w 697378"/>
                  <a:gd name="connsiteY8" fmla="*/ 134831 h 728229"/>
                  <a:gd name="connsiteX0" fmla="*/ 197941 w 690787"/>
                  <a:gd name="connsiteY0" fmla="*/ 134831 h 728225"/>
                  <a:gd name="connsiteX1" fmla="*/ 132515 w 690787"/>
                  <a:gd name="connsiteY1" fmla="*/ 134132 h 728225"/>
                  <a:gd name="connsiteX2" fmla="*/ 211947 w 690787"/>
                  <a:gd name="connsiteY2" fmla="*/ 519990 h 728225"/>
                  <a:gd name="connsiteX3" fmla="*/ 690723 w 690787"/>
                  <a:gd name="connsiteY3" fmla="*/ 727403 h 728225"/>
                  <a:gd name="connsiteX4" fmla="*/ 176661 w 690787"/>
                  <a:gd name="connsiteY4" fmla="*/ 573439 h 728225"/>
                  <a:gd name="connsiteX5" fmla="*/ 63255 w 690787"/>
                  <a:gd name="connsiteY5" fmla="*/ 134831 h 728225"/>
                  <a:gd name="connsiteX6" fmla="*/ 0 w 690787"/>
                  <a:gd name="connsiteY6" fmla="*/ 135937 h 728225"/>
                  <a:gd name="connsiteX7" fmla="*/ 95052 w 690787"/>
                  <a:gd name="connsiteY7" fmla="*/ 0 h 728225"/>
                  <a:gd name="connsiteX8" fmla="*/ 197941 w 690787"/>
                  <a:gd name="connsiteY8" fmla="*/ 134831 h 728225"/>
                  <a:gd name="connsiteX0" fmla="*/ 197941 w 670985"/>
                  <a:gd name="connsiteY0" fmla="*/ 134831 h 721350"/>
                  <a:gd name="connsiteX1" fmla="*/ 132515 w 670985"/>
                  <a:gd name="connsiteY1" fmla="*/ 134132 h 721350"/>
                  <a:gd name="connsiteX2" fmla="*/ 211947 w 670985"/>
                  <a:gd name="connsiteY2" fmla="*/ 519990 h 721350"/>
                  <a:gd name="connsiteX3" fmla="*/ 670919 w 670985"/>
                  <a:gd name="connsiteY3" fmla="*/ 720457 h 721350"/>
                  <a:gd name="connsiteX4" fmla="*/ 176661 w 670985"/>
                  <a:gd name="connsiteY4" fmla="*/ 573439 h 721350"/>
                  <a:gd name="connsiteX5" fmla="*/ 63255 w 670985"/>
                  <a:gd name="connsiteY5" fmla="*/ 134831 h 721350"/>
                  <a:gd name="connsiteX6" fmla="*/ 0 w 670985"/>
                  <a:gd name="connsiteY6" fmla="*/ 135937 h 721350"/>
                  <a:gd name="connsiteX7" fmla="*/ 95052 w 670985"/>
                  <a:gd name="connsiteY7" fmla="*/ 0 h 721350"/>
                  <a:gd name="connsiteX8" fmla="*/ 197941 w 670985"/>
                  <a:gd name="connsiteY8" fmla="*/ 134831 h 721350"/>
                  <a:gd name="connsiteX0" fmla="*/ 197941 w 712363"/>
                  <a:gd name="connsiteY0" fmla="*/ 134831 h 742007"/>
                  <a:gd name="connsiteX1" fmla="*/ 132515 w 712363"/>
                  <a:gd name="connsiteY1" fmla="*/ 134132 h 742007"/>
                  <a:gd name="connsiteX2" fmla="*/ 211947 w 712363"/>
                  <a:gd name="connsiteY2" fmla="*/ 519990 h 742007"/>
                  <a:gd name="connsiteX3" fmla="*/ 670919 w 712363"/>
                  <a:gd name="connsiteY3" fmla="*/ 720457 h 742007"/>
                  <a:gd name="connsiteX4" fmla="*/ 176661 w 712363"/>
                  <a:gd name="connsiteY4" fmla="*/ 573439 h 742007"/>
                  <a:gd name="connsiteX5" fmla="*/ 63255 w 712363"/>
                  <a:gd name="connsiteY5" fmla="*/ 134831 h 742007"/>
                  <a:gd name="connsiteX6" fmla="*/ 0 w 712363"/>
                  <a:gd name="connsiteY6" fmla="*/ 135937 h 742007"/>
                  <a:gd name="connsiteX7" fmla="*/ 95052 w 712363"/>
                  <a:gd name="connsiteY7" fmla="*/ 0 h 742007"/>
                  <a:gd name="connsiteX8" fmla="*/ 197941 w 712363"/>
                  <a:gd name="connsiteY8" fmla="*/ 134831 h 742007"/>
                  <a:gd name="connsiteX0" fmla="*/ 197941 w 712363"/>
                  <a:gd name="connsiteY0" fmla="*/ 134831 h 742003"/>
                  <a:gd name="connsiteX1" fmla="*/ 132515 w 712363"/>
                  <a:gd name="connsiteY1" fmla="*/ 134132 h 742003"/>
                  <a:gd name="connsiteX2" fmla="*/ 211947 w 712363"/>
                  <a:gd name="connsiteY2" fmla="*/ 519990 h 742003"/>
                  <a:gd name="connsiteX3" fmla="*/ 670919 w 712363"/>
                  <a:gd name="connsiteY3" fmla="*/ 720457 h 742003"/>
                  <a:gd name="connsiteX4" fmla="*/ 176661 w 712363"/>
                  <a:gd name="connsiteY4" fmla="*/ 573439 h 742003"/>
                  <a:gd name="connsiteX5" fmla="*/ 63255 w 712363"/>
                  <a:gd name="connsiteY5" fmla="*/ 134831 h 742003"/>
                  <a:gd name="connsiteX6" fmla="*/ 0 w 712363"/>
                  <a:gd name="connsiteY6" fmla="*/ 135937 h 742003"/>
                  <a:gd name="connsiteX7" fmla="*/ 95052 w 712363"/>
                  <a:gd name="connsiteY7" fmla="*/ 0 h 742003"/>
                  <a:gd name="connsiteX8" fmla="*/ 197941 w 712363"/>
                  <a:gd name="connsiteY8" fmla="*/ 134831 h 742003"/>
                  <a:gd name="connsiteX0" fmla="*/ 197941 w 670919"/>
                  <a:gd name="connsiteY0" fmla="*/ 134831 h 742007"/>
                  <a:gd name="connsiteX1" fmla="*/ 132515 w 670919"/>
                  <a:gd name="connsiteY1" fmla="*/ 134132 h 742007"/>
                  <a:gd name="connsiteX2" fmla="*/ 211947 w 670919"/>
                  <a:gd name="connsiteY2" fmla="*/ 519990 h 742007"/>
                  <a:gd name="connsiteX3" fmla="*/ 670919 w 670919"/>
                  <a:gd name="connsiteY3" fmla="*/ 720457 h 742007"/>
                  <a:gd name="connsiteX4" fmla="*/ 176661 w 670919"/>
                  <a:gd name="connsiteY4" fmla="*/ 573439 h 742007"/>
                  <a:gd name="connsiteX5" fmla="*/ 63255 w 670919"/>
                  <a:gd name="connsiteY5" fmla="*/ 134831 h 742007"/>
                  <a:gd name="connsiteX6" fmla="*/ 0 w 670919"/>
                  <a:gd name="connsiteY6" fmla="*/ 135937 h 742007"/>
                  <a:gd name="connsiteX7" fmla="*/ 95052 w 670919"/>
                  <a:gd name="connsiteY7" fmla="*/ 0 h 742007"/>
                  <a:gd name="connsiteX8" fmla="*/ 197941 w 670919"/>
                  <a:gd name="connsiteY8" fmla="*/ 134831 h 742007"/>
                  <a:gd name="connsiteX0" fmla="*/ 197941 w 670919"/>
                  <a:gd name="connsiteY0" fmla="*/ 134831 h 720512"/>
                  <a:gd name="connsiteX1" fmla="*/ 132515 w 670919"/>
                  <a:gd name="connsiteY1" fmla="*/ 134132 h 720512"/>
                  <a:gd name="connsiteX2" fmla="*/ 211947 w 670919"/>
                  <a:gd name="connsiteY2" fmla="*/ 519990 h 720512"/>
                  <a:gd name="connsiteX3" fmla="*/ 670919 w 670919"/>
                  <a:gd name="connsiteY3" fmla="*/ 720457 h 720512"/>
                  <a:gd name="connsiteX4" fmla="*/ 176661 w 670919"/>
                  <a:gd name="connsiteY4" fmla="*/ 573439 h 720512"/>
                  <a:gd name="connsiteX5" fmla="*/ 63255 w 670919"/>
                  <a:gd name="connsiteY5" fmla="*/ 134831 h 720512"/>
                  <a:gd name="connsiteX6" fmla="*/ 0 w 670919"/>
                  <a:gd name="connsiteY6" fmla="*/ 135937 h 720512"/>
                  <a:gd name="connsiteX7" fmla="*/ 95052 w 670919"/>
                  <a:gd name="connsiteY7" fmla="*/ 0 h 720512"/>
                  <a:gd name="connsiteX8" fmla="*/ 197941 w 670919"/>
                  <a:gd name="connsiteY8" fmla="*/ 134831 h 720512"/>
                  <a:gd name="connsiteX0" fmla="*/ 197941 w 670919"/>
                  <a:gd name="connsiteY0" fmla="*/ 134831 h 720512"/>
                  <a:gd name="connsiteX1" fmla="*/ 132515 w 670919"/>
                  <a:gd name="connsiteY1" fmla="*/ 134132 h 720512"/>
                  <a:gd name="connsiteX2" fmla="*/ 211947 w 670919"/>
                  <a:gd name="connsiteY2" fmla="*/ 519990 h 720512"/>
                  <a:gd name="connsiteX3" fmla="*/ 670919 w 670919"/>
                  <a:gd name="connsiteY3" fmla="*/ 720457 h 720512"/>
                  <a:gd name="connsiteX4" fmla="*/ 176661 w 670919"/>
                  <a:gd name="connsiteY4" fmla="*/ 573439 h 720512"/>
                  <a:gd name="connsiteX5" fmla="*/ 63255 w 670919"/>
                  <a:gd name="connsiteY5" fmla="*/ 134831 h 720512"/>
                  <a:gd name="connsiteX6" fmla="*/ 0 w 670919"/>
                  <a:gd name="connsiteY6" fmla="*/ 135937 h 720512"/>
                  <a:gd name="connsiteX7" fmla="*/ 95052 w 670919"/>
                  <a:gd name="connsiteY7" fmla="*/ 0 h 720512"/>
                  <a:gd name="connsiteX8" fmla="*/ 197941 w 670919"/>
                  <a:gd name="connsiteY8" fmla="*/ 134831 h 720512"/>
                  <a:gd name="connsiteX0" fmla="*/ 197941 w 670919"/>
                  <a:gd name="connsiteY0" fmla="*/ 134831 h 720505"/>
                  <a:gd name="connsiteX1" fmla="*/ 132515 w 670919"/>
                  <a:gd name="connsiteY1" fmla="*/ 134132 h 720505"/>
                  <a:gd name="connsiteX2" fmla="*/ 211947 w 670919"/>
                  <a:gd name="connsiteY2" fmla="*/ 519990 h 720505"/>
                  <a:gd name="connsiteX3" fmla="*/ 670919 w 670919"/>
                  <a:gd name="connsiteY3" fmla="*/ 720457 h 720505"/>
                  <a:gd name="connsiteX4" fmla="*/ 150261 w 670919"/>
                  <a:gd name="connsiteY4" fmla="*/ 566494 h 720505"/>
                  <a:gd name="connsiteX5" fmla="*/ 63255 w 670919"/>
                  <a:gd name="connsiteY5" fmla="*/ 134831 h 720505"/>
                  <a:gd name="connsiteX6" fmla="*/ 0 w 670919"/>
                  <a:gd name="connsiteY6" fmla="*/ 135937 h 720505"/>
                  <a:gd name="connsiteX7" fmla="*/ 95052 w 670919"/>
                  <a:gd name="connsiteY7" fmla="*/ 0 h 720505"/>
                  <a:gd name="connsiteX8" fmla="*/ 197941 w 670919"/>
                  <a:gd name="connsiteY8" fmla="*/ 134831 h 720505"/>
                  <a:gd name="connsiteX0" fmla="*/ 197941 w 670919"/>
                  <a:gd name="connsiteY0" fmla="*/ 134831 h 720505"/>
                  <a:gd name="connsiteX1" fmla="*/ 132515 w 670919"/>
                  <a:gd name="connsiteY1" fmla="*/ 134132 h 720505"/>
                  <a:gd name="connsiteX2" fmla="*/ 198754 w 670919"/>
                  <a:gd name="connsiteY2" fmla="*/ 526934 h 720505"/>
                  <a:gd name="connsiteX3" fmla="*/ 670919 w 670919"/>
                  <a:gd name="connsiteY3" fmla="*/ 720457 h 720505"/>
                  <a:gd name="connsiteX4" fmla="*/ 150261 w 670919"/>
                  <a:gd name="connsiteY4" fmla="*/ 566494 h 720505"/>
                  <a:gd name="connsiteX5" fmla="*/ 63255 w 670919"/>
                  <a:gd name="connsiteY5" fmla="*/ 134831 h 720505"/>
                  <a:gd name="connsiteX6" fmla="*/ 0 w 670919"/>
                  <a:gd name="connsiteY6" fmla="*/ 135937 h 720505"/>
                  <a:gd name="connsiteX7" fmla="*/ 95052 w 670919"/>
                  <a:gd name="connsiteY7" fmla="*/ 0 h 720505"/>
                  <a:gd name="connsiteX8" fmla="*/ 197941 w 670919"/>
                  <a:gd name="connsiteY8" fmla="*/ 134831 h 720505"/>
                  <a:gd name="connsiteX0" fmla="*/ 197941 w 371339"/>
                  <a:gd name="connsiteY0" fmla="*/ 134831 h 855868"/>
                  <a:gd name="connsiteX1" fmla="*/ 132515 w 371339"/>
                  <a:gd name="connsiteY1" fmla="*/ 134132 h 855868"/>
                  <a:gd name="connsiteX2" fmla="*/ 198754 w 371339"/>
                  <a:gd name="connsiteY2" fmla="*/ 526934 h 855868"/>
                  <a:gd name="connsiteX3" fmla="*/ 371340 w 371339"/>
                  <a:gd name="connsiteY3" fmla="*/ 855852 h 855868"/>
                  <a:gd name="connsiteX4" fmla="*/ 150261 w 371339"/>
                  <a:gd name="connsiteY4" fmla="*/ 566494 h 855868"/>
                  <a:gd name="connsiteX5" fmla="*/ 63255 w 371339"/>
                  <a:gd name="connsiteY5" fmla="*/ 134831 h 855868"/>
                  <a:gd name="connsiteX6" fmla="*/ 0 w 371339"/>
                  <a:gd name="connsiteY6" fmla="*/ 135937 h 855868"/>
                  <a:gd name="connsiteX7" fmla="*/ 95052 w 371339"/>
                  <a:gd name="connsiteY7" fmla="*/ 0 h 855868"/>
                  <a:gd name="connsiteX8" fmla="*/ 197941 w 371339"/>
                  <a:gd name="connsiteY8" fmla="*/ 134831 h 855868"/>
                  <a:gd name="connsiteX0" fmla="*/ 197941 w 371339"/>
                  <a:gd name="connsiteY0" fmla="*/ 134831 h 855868"/>
                  <a:gd name="connsiteX1" fmla="*/ 132515 w 371339"/>
                  <a:gd name="connsiteY1" fmla="*/ 134132 h 855868"/>
                  <a:gd name="connsiteX2" fmla="*/ 198754 w 371339"/>
                  <a:gd name="connsiteY2" fmla="*/ 526934 h 855868"/>
                  <a:gd name="connsiteX3" fmla="*/ 371340 w 371339"/>
                  <a:gd name="connsiteY3" fmla="*/ 855852 h 855868"/>
                  <a:gd name="connsiteX4" fmla="*/ 150261 w 371339"/>
                  <a:gd name="connsiteY4" fmla="*/ 566494 h 855868"/>
                  <a:gd name="connsiteX5" fmla="*/ 63255 w 371339"/>
                  <a:gd name="connsiteY5" fmla="*/ 134831 h 855868"/>
                  <a:gd name="connsiteX6" fmla="*/ 0 w 371339"/>
                  <a:gd name="connsiteY6" fmla="*/ 135937 h 855868"/>
                  <a:gd name="connsiteX7" fmla="*/ 95052 w 371339"/>
                  <a:gd name="connsiteY7" fmla="*/ 0 h 855868"/>
                  <a:gd name="connsiteX8" fmla="*/ 197941 w 371339"/>
                  <a:gd name="connsiteY8" fmla="*/ 134831 h 855868"/>
                  <a:gd name="connsiteX0" fmla="*/ 197941 w 371339"/>
                  <a:gd name="connsiteY0" fmla="*/ 134831 h 855851"/>
                  <a:gd name="connsiteX1" fmla="*/ 132515 w 371339"/>
                  <a:gd name="connsiteY1" fmla="*/ 134132 h 855851"/>
                  <a:gd name="connsiteX2" fmla="*/ 198754 w 371339"/>
                  <a:gd name="connsiteY2" fmla="*/ 526934 h 855851"/>
                  <a:gd name="connsiteX3" fmla="*/ 371340 w 371339"/>
                  <a:gd name="connsiteY3" fmla="*/ 855852 h 855851"/>
                  <a:gd name="connsiteX4" fmla="*/ 150261 w 371339"/>
                  <a:gd name="connsiteY4" fmla="*/ 566494 h 855851"/>
                  <a:gd name="connsiteX5" fmla="*/ 63255 w 371339"/>
                  <a:gd name="connsiteY5" fmla="*/ 134831 h 855851"/>
                  <a:gd name="connsiteX6" fmla="*/ 0 w 371339"/>
                  <a:gd name="connsiteY6" fmla="*/ 135937 h 855851"/>
                  <a:gd name="connsiteX7" fmla="*/ 95052 w 371339"/>
                  <a:gd name="connsiteY7" fmla="*/ 0 h 855851"/>
                  <a:gd name="connsiteX8" fmla="*/ 197941 w 371339"/>
                  <a:gd name="connsiteY8" fmla="*/ 134831 h 855851"/>
                  <a:gd name="connsiteX0" fmla="*/ 197941 w 371339"/>
                  <a:gd name="connsiteY0" fmla="*/ 134831 h 855851"/>
                  <a:gd name="connsiteX1" fmla="*/ 132515 w 371339"/>
                  <a:gd name="connsiteY1" fmla="*/ 134132 h 855851"/>
                  <a:gd name="connsiteX2" fmla="*/ 198754 w 371339"/>
                  <a:gd name="connsiteY2" fmla="*/ 526934 h 855851"/>
                  <a:gd name="connsiteX3" fmla="*/ 371340 w 371339"/>
                  <a:gd name="connsiteY3" fmla="*/ 855852 h 855851"/>
                  <a:gd name="connsiteX4" fmla="*/ 144263 w 371339"/>
                  <a:gd name="connsiteY4" fmla="*/ 513725 h 855851"/>
                  <a:gd name="connsiteX5" fmla="*/ 63255 w 371339"/>
                  <a:gd name="connsiteY5" fmla="*/ 134831 h 855851"/>
                  <a:gd name="connsiteX6" fmla="*/ 0 w 371339"/>
                  <a:gd name="connsiteY6" fmla="*/ 135937 h 855851"/>
                  <a:gd name="connsiteX7" fmla="*/ 95052 w 371339"/>
                  <a:gd name="connsiteY7" fmla="*/ 0 h 855851"/>
                  <a:gd name="connsiteX8" fmla="*/ 197941 w 371339"/>
                  <a:gd name="connsiteY8" fmla="*/ 134831 h 855851"/>
                  <a:gd name="connsiteX0" fmla="*/ 197941 w 371339"/>
                  <a:gd name="connsiteY0" fmla="*/ 134831 h 855851"/>
                  <a:gd name="connsiteX1" fmla="*/ 132515 w 371339"/>
                  <a:gd name="connsiteY1" fmla="*/ 134132 h 855851"/>
                  <a:gd name="connsiteX2" fmla="*/ 198754 w 371339"/>
                  <a:gd name="connsiteY2" fmla="*/ 526934 h 855851"/>
                  <a:gd name="connsiteX3" fmla="*/ 371340 w 371339"/>
                  <a:gd name="connsiteY3" fmla="*/ 855852 h 855851"/>
                  <a:gd name="connsiteX4" fmla="*/ 129795 w 371339"/>
                  <a:gd name="connsiteY4" fmla="*/ 503520 h 855851"/>
                  <a:gd name="connsiteX5" fmla="*/ 63255 w 371339"/>
                  <a:gd name="connsiteY5" fmla="*/ 134831 h 855851"/>
                  <a:gd name="connsiteX6" fmla="*/ 0 w 371339"/>
                  <a:gd name="connsiteY6" fmla="*/ 135937 h 855851"/>
                  <a:gd name="connsiteX7" fmla="*/ 95052 w 371339"/>
                  <a:gd name="connsiteY7" fmla="*/ 0 h 855851"/>
                  <a:gd name="connsiteX8" fmla="*/ 197941 w 371339"/>
                  <a:gd name="connsiteY8" fmla="*/ 134831 h 855851"/>
                  <a:gd name="connsiteX0" fmla="*/ 197941 w 371339"/>
                  <a:gd name="connsiteY0" fmla="*/ 134831 h 855851"/>
                  <a:gd name="connsiteX1" fmla="*/ 132515 w 371339"/>
                  <a:gd name="connsiteY1" fmla="*/ 134132 h 855851"/>
                  <a:gd name="connsiteX2" fmla="*/ 198754 w 371339"/>
                  <a:gd name="connsiteY2" fmla="*/ 526934 h 855851"/>
                  <a:gd name="connsiteX3" fmla="*/ 371340 w 371339"/>
                  <a:gd name="connsiteY3" fmla="*/ 855852 h 855851"/>
                  <a:gd name="connsiteX4" fmla="*/ 129795 w 371339"/>
                  <a:gd name="connsiteY4" fmla="*/ 503520 h 855851"/>
                  <a:gd name="connsiteX5" fmla="*/ 63255 w 371339"/>
                  <a:gd name="connsiteY5" fmla="*/ 134831 h 855851"/>
                  <a:gd name="connsiteX6" fmla="*/ 0 w 371339"/>
                  <a:gd name="connsiteY6" fmla="*/ 135937 h 855851"/>
                  <a:gd name="connsiteX7" fmla="*/ 95052 w 371339"/>
                  <a:gd name="connsiteY7" fmla="*/ 0 h 855851"/>
                  <a:gd name="connsiteX8" fmla="*/ 197941 w 371339"/>
                  <a:gd name="connsiteY8" fmla="*/ 134831 h 855851"/>
                  <a:gd name="connsiteX0" fmla="*/ 197941 w 371339"/>
                  <a:gd name="connsiteY0" fmla="*/ 134831 h 855851"/>
                  <a:gd name="connsiteX1" fmla="*/ 132515 w 371339"/>
                  <a:gd name="connsiteY1" fmla="*/ 134132 h 855851"/>
                  <a:gd name="connsiteX2" fmla="*/ 198754 w 371339"/>
                  <a:gd name="connsiteY2" fmla="*/ 526934 h 855851"/>
                  <a:gd name="connsiteX3" fmla="*/ 371340 w 371339"/>
                  <a:gd name="connsiteY3" fmla="*/ 855852 h 855851"/>
                  <a:gd name="connsiteX4" fmla="*/ 170947 w 371339"/>
                  <a:gd name="connsiteY4" fmla="*/ 553349 h 855851"/>
                  <a:gd name="connsiteX5" fmla="*/ 63255 w 371339"/>
                  <a:gd name="connsiteY5" fmla="*/ 134831 h 855851"/>
                  <a:gd name="connsiteX6" fmla="*/ 0 w 371339"/>
                  <a:gd name="connsiteY6" fmla="*/ 135937 h 855851"/>
                  <a:gd name="connsiteX7" fmla="*/ 95052 w 371339"/>
                  <a:gd name="connsiteY7" fmla="*/ 0 h 855851"/>
                  <a:gd name="connsiteX8" fmla="*/ 197941 w 371339"/>
                  <a:gd name="connsiteY8" fmla="*/ 134831 h 855851"/>
                  <a:gd name="connsiteX0" fmla="*/ 197941 w 371339"/>
                  <a:gd name="connsiteY0" fmla="*/ 134831 h 855851"/>
                  <a:gd name="connsiteX1" fmla="*/ 132515 w 371339"/>
                  <a:gd name="connsiteY1" fmla="*/ 134132 h 855851"/>
                  <a:gd name="connsiteX2" fmla="*/ 184281 w 371339"/>
                  <a:gd name="connsiteY2" fmla="*/ 516730 h 855851"/>
                  <a:gd name="connsiteX3" fmla="*/ 371340 w 371339"/>
                  <a:gd name="connsiteY3" fmla="*/ 855852 h 855851"/>
                  <a:gd name="connsiteX4" fmla="*/ 170947 w 371339"/>
                  <a:gd name="connsiteY4" fmla="*/ 553349 h 855851"/>
                  <a:gd name="connsiteX5" fmla="*/ 63255 w 371339"/>
                  <a:gd name="connsiteY5" fmla="*/ 134831 h 855851"/>
                  <a:gd name="connsiteX6" fmla="*/ 0 w 371339"/>
                  <a:gd name="connsiteY6" fmla="*/ 135937 h 855851"/>
                  <a:gd name="connsiteX7" fmla="*/ 95052 w 371339"/>
                  <a:gd name="connsiteY7" fmla="*/ 0 h 855851"/>
                  <a:gd name="connsiteX8" fmla="*/ 197941 w 371339"/>
                  <a:gd name="connsiteY8" fmla="*/ 134831 h 855851"/>
                  <a:gd name="connsiteX0" fmla="*/ 197941 w 371418"/>
                  <a:gd name="connsiteY0" fmla="*/ 134831 h 855852"/>
                  <a:gd name="connsiteX1" fmla="*/ 132515 w 371418"/>
                  <a:gd name="connsiteY1" fmla="*/ 134132 h 855852"/>
                  <a:gd name="connsiteX2" fmla="*/ 184281 w 371418"/>
                  <a:gd name="connsiteY2" fmla="*/ 516730 h 855852"/>
                  <a:gd name="connsiteX3" fmla="*/ 371340 w 371418"/>
                  <a:gd name="connsiteY3" fmla="*/ 855852 h 855852"/>
                  <a:gd name="connsiteX4" fmla="*/ 170947 w 371418"/>
                  <a:gd name="connsiteY4" fmla="*/ 553349 h 855852"/>
                  <a:gd name="connsiteX5" fmla="*/ 63255 w 371418"/>
                  <a:gd name="connsiteY5" fmla="*/ 134831 h 855852"/>
                  <a:gd name="connsiteX6" fmla="*/ 0 w 371418"/>
                  <a:gd name="connsiteY6" fmla="*/ 135937 h 855852"/>
                  <a:gd name="connsiteX7" fmla="*/ 95052 w 371418"/>
                  <a:gd name="connsiteY7" fmla="*/ 0 h 855852"/>
                  <a:gd name="connsiteX8" fmla="*/ 197941 w 371418"/>
                  <a:gd name="connsiteY8" fmla="*/ 134831 h 855852"/>
                  <a:gd name="connsiteX0" fmla="*/ 197941 w 371417"/>
                  <a:gd name="connsiteY0" fmla="*/ 134831 h 855852"/>
                  <a:gd name="connsiteX1" fmla="*/ 132515 w 371417"/>
                  <a:gd name="connsiteY1" fmla="*/ 134132 h 855852"/>
                  <a:gd name="connsiteX2" fmla="*/ 184281 w 371417"/>
                  <a:gd name="connsiteY2" fmla="*/ 516730 h 855852"/>
                  <a:gd name="connsiteX3" fmla="*/ 371340 w 371417"/>
                  <a:gd name="connsiteY3" fmla="*/ 855852 h 855852"/>
                  <a:gd name="connsiteX4" fmla="*/ 170947 w 371417"/>
                  <a:gd name="connsiteY4" fmla="*/ 553349 h 855852"/>
                  <a:gd name="connsiteX5" fmla="*/ 63255 w 371417"/>
                  <a:gd name="connsiteY5" fmla="*/ 134831 h 855852"/>
                  <a:gd name="connsiteX6" fmla="*/ 0 w 371417"/>
                  <a:gd name="connsiteY6" fmla="*/ 135937 h 855852"/>
                  <a:gd name="connsiteX7" fmla="*/ 95052 w 371417"/>
                  <a:gd name="connsiteY7" fmla="*/ 0 h 855852"/>
                  <a:gd name="connsiteX8" fmla="*/ 197941 w 371417"/>
                  <a:gd name="connsiteY8" fmla="*/ 134831 h 855852"/>
                  <a:gd name="connsiteX0" fmla="*/ 197941 w 371340"/>
                  <a:gd name="connsiteY0" fmla="*/ 134831 h 855852"/>
                  <a:gd name="connsiteX1" fmla="*/ 132515 w 371340"/>
                  <a:gd name="connsiteY1" fmla="*/ 134132 h 855852"/>
                  <a:gd name="connsiteX2" fmla="*/ 184281 w 371340"/>
                  <a:gd name="connsiteY2" fmla="*/ 516730 h 855852"/>
                  <a:gd name="connsiteX3" fmla="*/ 371340 w 371340"/>
                  <a:gd name="connsiteY3" fmla="*/ 855852 h 855852"/>
                  <a:gd name="connsiteX4" fmla="*/ 170947 w 371340"/>
                  <a:gd name="connsiteY4" fmla="*/ 553349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68363 w 371340"/>
                  <a:gd name="connsiteY2" fmla="*/ 510248 h 855852"/>
                  <a:gd name="connsiteX3" fmla="*/ 371340 w 371340"/>
                  <a:gd name="connsiteY3" fmla="*/ 855852 h 855852"/>
                  <a:gd name="connsiteX4" fmla="*/ 170947 w 371340"/>
                  <a:gd name="connsiteY4" fmla="*/ 553349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68363 w 371340"/>
                  <a:gd name="connsiteY2" fmla="*/ 510248 h 855852"/>
                  <a:gd name="connsiteX3" fmla="*/ 371340 w 371340"/>
                  <a:gd name="connsiteY3" fmla="*/ 855852 h 855852"/>
                  <a:gd name="connsiteX4" fmla="*/ 123931 w 371340"/>
                  <a:gd name="connsiteY4" fmla="*/ 486964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76138 w 371340"/>
                  <a:gd name="connsiteY2" fmla="*/ 525223 h 855852"/>
                  <a:gd name="connsiteX3" fmla="*/ 371340 w 371340"/>
                  <a:gd name="connsiteY3" fmla="*/ 855852 h 855852"/>
                  <a:gd name="connsiteX4" fmla="*/ 123931 w 371340"/>
                  <a:gd name="connsiteY4" fmla="*/ 486964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76138 w 371340"/>
                  <a:gd name="connsiteY2" fmla="*/ 525223 h 855852"/>
                  <a:gd name="connsiteX3" fmla="*/ 371340 w 371340"/>
                  <a:gd name="connsiteY3" fmla="*/ 855852 h 855852"/>
                  <a:gd name="connsiteX4" fmla="*/ 123931 w 371340"/>
                  <a:gd name="connsiteY4" fmla="*/ 486964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76138 w 371340"/>
                  <a:gd name="connsiteY2" fmla="*/ 525223 h 855852"/>
                  <a:gd name="connsiteX3" fmla="*/ 371340 w 371340"/>
                  <a:gd name="connsiteY3" fmla="*/ 855852 h 855852"/>
                  <a:gd name="connsiteX4" fmla="*/ 144323 w 371340"/>
                  <a:gd name="connsiteY4" fmla="*/ 506093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66974 w 371340"/>
                  <a:gd name="connsiteY2" fmla="*/ 471300 h 855852"/>
                  <a:gd name="connsiteX3" fmla="*/ 371340 w 371340"/>
                  <a:gd name="connsiteY3" fmla="*/ 855852 h 855852"/>
                  <a:gd name="connsiteX4" fmla="*/ 144323 w 371340"/>
                  <a:gd name="connsiteY4" fmla="*/ 506093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66974 w 371340"/>
                  <a:gd name="connsiteY2" fmla="*/ 471300 h 855852"/>
                  <a:gd name="connsiteX3" fmla="*/ 371340 w 371340"/>
                  <a:gd name="connsiteY3" fmla="*/ 855852 h 855852"/>
                  <a:gd name="connsiteX4" fmla="*/ 144323 w 371340"/>
                  <a:gd name="connsiteY4" fmla="*/ 506093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66974 w 371340"/>
                  <a:gd name="connsiteY2" fmla="*/ 471300 h 855852"/>
                  <a:gd name="connsiteX3" fmla="*/ 371340 w 371340"/>
                  <a:gd name="connsiteY3" fmla="*/ 855852 h 855852"/>
                  <a:gd name="connsiteX4" fmla="*/ 142782 w 371340"/>
                  <a:gd name="connsiteY4" fmla="*/ 519243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97921 w 371340"/>
                  <a:gd name="connsiteY2" fmla="*/ 583302 h 855852"/>
                  <a:gd name="connsiteX3" fmla="*/ 371340 w 371340"/>
                  <a:gd name="connsiteY3" fmla="*/ 855852 h 855852"/>
                  <a:gd name="connsiteX4" fmla="*/ 142782 w 371340"/>
                  <a:gd name="connsiteY4" fmla="*/ 519243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98290 w 371340"/>
                  <a:gd name="connsiteY2" fmla="*/ 559832 h 855852"/>
                  <a:gd name="connsiteX3" fmla="*/ 371340 w 371340"/>
                  <a:gd name="connsiteY3" fmla="*/ 855852 h 855852"/>
                  <a:gd name="connsiteX4" fmla="*/ 142782 w 371340"/>
                  <a:gd name="connsiteY4" fmla="*/ 519243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340" h="855852">
                    <a:moveTo>
                      <a:pt x="197941" y="134831"/>
                    </a:moveTo>
                    <a:lnTo>
                      <a:pt x="132515" y="134132"/>
                    </a:lnTo>
                    <a:cubicBezTo>
                      <a:pt x="133415" y="269709"/>
                      <a:pt x="141982" y="427903"/>
                      <a:pt x="198290" y="559832"/>
                    </a:cubicBezTo>
                    <a:cubicBezTo>
                      <a:pt x="254598" y="691761"/>
                      <a:pt x="225539" y="620441"/>
                      <a:pt x="371340" y="855852"/>
                    </a:cubicBezTo>
                    <a:cubicBezTo>
                      <a:pt x="247518" y="689674"/>
                      <a:pt x="178066" y="609098"/>
                      <a:pt x="142782" y="519243"/>
                    </a:cubicBezTo>
                    <a:cubicBezTo>
                      <a:pt x="107498" y="429388"/>
                      <a:pt x="53244" y="311986"/>
                      <a:pt x="63255" y="134831"/>
                    </a:cubicBezTo>
                    <a:lnTo>
                      <a:pt x="0" y="135937"/>
                    </a:lnTo>
                    <a:lnTo>
                      <a:pt x="95052" y="0"/>
                    </a:lnTo>
                    <a:lnTo>
                      <a:pt x="197941" y="134831"/>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3204" name="Gleichschenkliges Dreieck 23">
                <a:extLst>
                  <a:ext uri="{FF2B5EF4-FFF2-40B4-BE49-F238E27FC236}">
                    <a16:creationId xmlns:a16="http://schemas.microsoft.com/office/drawing/2014/main" id="{C6E7E2B9-B463-4323-9081-2DDDD6193632}"/>
                  </a:ext>
                </a:extLst>
              </p:cNvPr>
              <p:cNvSpPr/>
              <p:nvPr/>
            </p:nvSpPr>
            <p:spPr bwMode="gray">
              <a:xfrm rot="2700000" flipV="1">
                <a:off x="8304478" y="4744594"/>
                <a:ext cx="111742" cy="300261"/>
              </a:xfrm>
              <a:custGeom>
                <a:avLst/>
                <a:gdLst>
                  <a:gd name="connsiteX0" fmla="*/ 122460 w 312332"/>
                  <a:gd name="connsiteY0" fmla="*/ 105570 h 2023936"/>
                  <a:gd name="connsiteX1" fmla="*/ 93255 w 312332"/>
                  <a:gd name="connsiteY1" fmla="*/ 105570 h 2023936"/>
                  <a:gd name="connsiteX2" fmla="*/ 117710 w 312332"/>
                  <a:gd name="connsiteY2" fmla="*/ 494360 h 2023936"/>
                  <a:gd name="connsiteX3" fmla="*/ 297444 w 312332"/>
                  <a:gd name="connsiteY3" fmla="*/ 1649253 h 2023936"/>
                  <a:gd name="connsiteX4" fmla="*/ 298451 w 312332"/>
                  <a:gd name="connsiteY4" fmla="*/ 2023936 h 2023936"/>
                  <a:gd name="connsiteX5" fmla="*/ 268032 w 312332"/>
                  <a:gd name="connsiteY5" fmla="*/ 1616406 h 2023936"/>
                  <a:gd name="connsiteX6" fmla="*/ 113315 w 312332"/>
                  <a:gd name="connsiteY6" fmla="*/ 839100 h 2023936"/>
                  <a:gd name="connsiteX7" fmla="*/ 29756 w 312332"/>
                  <a:gd name="connsiteY7" fmla="*/ 105570 h 2023936"/>
                  <a:gd name="connsiteX8" fmla="*/ 0 w 312332"/>
                  <a:gd name="connsiteY8" fmla="*/ 105570 h 2023936"/>
                  <a:gd name="connsiteX9" fmla="*/ 67316 w 312332"/>
                  <a:gd name="connsiteY9" fmla="*/ 0 h 2023936"/>
                  <a:gd name="connsiteX10" fmla="*/ 122460 w 312332"/>
                  <a:gd name="connsiteY10" fmla="*/ 105570 h 2023936"/>
                  <a:gd name="connsiteX0" fmla="*/ 122460 w 312333"/>
                  <a:gd name="connsiteY0" fmla="*/ 105570 h 2023936"/>
                  <a:gd name="connsiteX1" fmla="*/ 93255 w 312333"/>
                  <a:gd name="connsiteY1" fmla="*/ 105570 h 2023936"/>
                  <a:gd name="connsiteX2" fmla="*/ 117710 w 312333"/>
                  <a:gd name="connsiteY2" fmla="*/ 494360 h 2023936"/>
                  <a:gd name="connsiteX3" fmla="*/ 297444 w 312333"/>
                  <a:gd name="connsiteY3" fmla="*/ 1649253 h 2023936"/>
                  <a:gd name="connsiteX4" fmla="*/ 298451 w 312333"/>
                  <a:gd name="connsiteY4" fmla="*/ 2023936 h 2023936"/>
                  <a:gd name="connsiteX5" fmla="*/ 268032 w 312333"/>
                  <a:gd name="connsiteY5" fmla="*/ 1616406 h 2023936"/>
                  <a:gd name="connsiteX6" fmla="*/ 63923 w 312333"/>
                  <a:gd name="connsiteY6" fmla="*/ 567440 h 2023936"/>
                  <a:gd name="connsiteX7" fmla="*/ 29756 w 312333"/>
                  <a:gd name="connsiteY7" fmla="*/ 105570 h 2023936"/>
                  <a:gd name="connsiteX8" fmla="*/ 0 w 312333"/>
                  <a:gd name="connsiteY8" fmla="*/ 105570 h 2023936"/>
                  <a:gd name="connsiteX9" fmla="*/ 67316 w 312333"/>
                  <a:gd name="connsiteY9" fmla="*/ 0 h 2023936"/>
                  <a:gd name="connsiteX10" fmla="*/ 122460 w 312333"/>
                  <a:gd name="connsiteY10" fmla="*/ 105570 h 2023936"/>
                  <a:gd name="connsiteX0" fmla="*/ 122460 w 312333"/>
                  <a:gd name="connsiteY0" fmla="*/ 105570 h 2023936"/>
                  <a:gd name="connsiteX1" fmla="*/ 93255 w 312333"/>
                  <a:gd name="connsiteY1" fmla="*/ 105570 h 2023936"/>
                  <a:gd name="connsiteX2" fmla="*/ 117710 w 312333"/>
                  <a:gd name="connsiteY2" fmla="*/ 494360 h 2023936"/>
                  <a:gd name="connsiteX3" fmla="*/ 297444 w 312333"/>
                  <a:gd name="connsiteY3" fmla="*/ 1649253 h 2023936"/>
                  <a:gd name="connsiteX4" fmla="*/ 298451 w 312333"/>
                  <a:gd name="connsiteY4" fmla="*/ 2023936 h 2023936"/>
                  <a:gd name="connsiteX5" fmla="*/ 119854 w 312333"/>
                  <a:gd name="connsiteY5" fmla="*/ 801425 h 2023936"/>
                  <a:gd name="connsiteX6" fmla="*/ 63923 w 312333"/>
                  <a:gd name="connsiteY6" fmla="*/ 567440 h 2023936"/>
                  <a:gd name="connsiteX7" fmla="*/ 29756 w 312333"/>
                  <a:gd name="connsiteY7" fmla="*/ 105570 h 2023936"/>
                  <a:gd name="connsiteX8" fmla="*/ 0 w 312333"/>
                  <a:gd name="connsiteY8" fmla="*/ 105570 h 2023936"/>
                  <a:gd name="connsiteX9" fmla="*/ 67316 w 312333"/>
                  <a:gd name="connsiteY9" fmla="*/ 0 h 2023936"/>
                  <a:gd name="connsiteX10" fmla="*/ 122460 w 312333"/>
                  <a:gd name="connsiteY10" fmla="*/ 105570 h 2023936"/>
                  <a:gd name="connsiteX0" fmla="*/ 122460 w 312333"/>
                  <a:gd name="connsiteY0" fmla="*/ 105570 h 2023936"/>
                  <a:gd name="connsiteX1" fmla="*/ 93255 w 312333"/>
                  <a:gd name="connsiteY1" fmla="*/ 105570 h 2023936"/>
                  <a:gd name="connsiteX2" fmla="*/ 117710 w 312333"/>
                  <a:gd name="connsiteY2" fmla="*/ 494360 h 2023936"/>
                  <a:gd name="connsiteX3" fmla="*/ 297444 w 312333"/>
                  <a:gd name="connsiteY3" fmla="*/ 1649253 h 2023936"/>
                  <a:gd name="connsiteX4" fmla="*/ 298451 w 312333"/>
                  <a:gd name="connsiteY4" fmla="*/ 2023936 h 2023936"/>
                  <a:gd name="connsiteX5" fmla="*/ 119854 w 312333"/>
                  <a:gd name="connsiteY5" fmla="*/ 801425 h 2023936"/>
                  <a:gd name="connsiteX6" fmla="*/ 63923 w 312333"/>
                  <a:gd name="connsiteY6" fmla="*/ 567440 h 2023936"/>
                  <a:gd name="connsiteX7" fmla="*/ 29756 w 312333"/>
                  <a:gd name="connsiteY7" fmla="*/ 105570 h 2023936"/>
                  <a:gd name="connsiteX8" fmla="*/ 0 w 312333"/>
                  <a:gd name="connsiteY8" fmla="*/ 105570 h 2023936"/>
                  <a:gd name="connsiteX9" fmla="*/ 67316 w 312333"/>
                  <a:gd name="connsiteY9" fmla="*/ 0 h 2023936"/>
                  <a:gd name="connsiteX10" fmla="*/ 122460 w 312333"/>
                  <a:gd name="connsiteY10" fmla="*/ 105570 h 2023936"/>
                  <a:gd name="connsiteX0" fmla="*/ 122460 w 312333"/>
                  <a:gd name="connsiteY0" fmla="*/ 105570 h 2023936"/>
                  <a:gd name="connsiteX1" fmla="*/ 93255 w 312333"/>
                  <a:gd name="connsiteY1" fmla="*/ 105570 h 2023936"/>
                  <a:gd name="connsiteX2" fmla="*/ 117710 w 312333"/>
                  <a:gd name="connsiteY2" fmla="*/ 494360 h 2023936"/>
                  <a:gd name="connsiteX3" fmla="*/ 297444 w 312333"/>
                  <a:gd name="connsiteY3" fmla="*/ 1649253 h 2023936"/>
                  <a:gd name="connsiteX4" fmla="*/ 298451 w 312333"/>
                  <a:gd name="connsiteY4" fmla="*/ 2023936 h 2023936"/>
                  <a:gd name="connsiteX5" fmla="*/ 119854 w 312333"/>
                  <a:gd name="connsiteY5" fmla="*/ 801425 h 2023936"/>
                  <a:gd name="connsiteX6" fmla="*/ 44165 w 312333"/>
                  <a:gd name="connsiteY6" fmla="*/ 429140 h 2023936"/>
                  <a:gd name="connsiteX7" fmla="*/ 29756 w 312333"/>
                  <a:gd name="connsiteY7" fmla="*/ 105570 h 2023936"/>
                  <a:gd name="connsiteX8" fmla="*/ 0 w 312333"/>
                  <a:gd name="connsiteY8" fmla="*/ 105570 h 2023936"/>
                  <a:gd name="connsiteX9" fmla="*/ 67316 w 312333"/>
                  <a:gd name="connsiteY9" fmla="*/ 0 h 2023936"/>
                  <a:gd name="connsiteX10" fmla="*/ 122460 w 312333"/>
                  <a:gd name="connsiteY10" fmla="*/ 105570 h 2023936"/>
                  <a:gd name="connsiteX0" fmla="*/ 122460 w 313059"/>
                  <a:gd name="connsiteY0" fmla="*/ 105570 h 2023936"/>
                  <a:gd name="connsiteX1" fmla="*/ 93255 w 313059"/>
                  <a:gd name="connsiteY1" fmla="*/ 105570 h 2023936"/>
                  <a:gd name="connsiteX2" fmla="*/ 107831 w 313059"/>
                  <a:gd name="connsiteY2" fmla="*/ 444968 h 2023936"/>
                  <a:gd name="connsiteX3" fmla="*/ 297444 w 313059"/>
                  <a:gd name="connsiteY3" fmla="*/ 1649253 h 2023936"/>
                  <a:gd name="connsiteX4" fmla="*/ 298451 w 313059"/>
                  <a:gd name="connsiteY4" fmla="*/ 2023936 h 2023936"/>
                  <a:gd name="connsiteX5" fmla="*/ 119854 w 313059"/>
                  <a:gd name="connsiteY5" fmla="*/ 801425 h 2023936"/>
                  <a:gd name="connsiteX6" fmla="*/ 44165 w 313059"/>
                  <a:gd name="connsiteY6" fmla="*/ 429140 h 2023936"/>
                  <a:gd name="connsiteX7" fmla="*/ 29756 w 313059"/>
                  <a:gd name="connsiteY7" fmla="*/ 105570 h 2023936"/>
                  <a:gd name="connsiteX8" fmla="*/ 0 w 313059"/>
                  <a:gd name="connsiteY8" fmla="*/ 105570 h 2023936"/>
                  <a:gd name="connsiteX9" fmla="*/ 67316 w 313059"/>
                  <a:gd name="connsiteY9" fmla="*/ 0 h 2023936"/>
                  <a:gd name="connsiteX10" fmla="*/ 122460 w 313059"/>
                  <a:gd name="connsiteY10" fmla="*/ 105570 h 2023936"/>
                  <a:gd name="connsiteX0" fmla="*/ 122460 w 313059"/>
                  <a:gd name="connsiteY0" fmla="*/ 105570 h 2023936"/>
                  <a:gd name="connsiteX1" fmla="*/ 93255 w 313059"/>
                  <a:gd name="connsiteY1" fmla="*/ 105570 h 2023936"/>
                  <a:gd name="connsiteX2" fmla="*/ 107831 w 313059"/>
                  <a:gd name="connsiteY2" fmla="*/ 444968 h 2023936"/>
                  <a:gd name="connsiteX3" fmla="*/ 297444 w 313059"/>
                  <a:gd name="connsiteY3" fmla="*/ 1649253 h 2023936"/>
                  <a:gd name="connsiteX4" fmla="*/ 298451 w 313059"/>
                  <a:gd name="connsiteY4" fmla="*/ 2023936 h 2023936"/>
                  <a:gd name="connsiteX5" fmla="*/ 119854 w 313059"/>
                  <a:gd name="connsiteY5" fmla="*/ 801425 h 2023936"/>
                  <a:gd name="connsiteX6" fmla="*/ 44165 w 313059"/>
                  <a:gd name="connsiteY6" fmla="*/ 429140 h 2023936"/>
                  <a:gd name="connsiteX7" fmla="*/ 29756 w 313059"/>
                  <a:gd name="connsiteY7" fmla="*/ 105570 h 2023936"/>
                  <a:gd name="connsiteX8" fmla="*/ 0 w 313059"/>
                  <a:gd name="connsiteY8" fmla="*/ 105570 h 2023936"/>
                  <a:gd name="connsiteX9" fmla="*/ 67316 w 313059"/>
                  <a:gd name="connsiteY9" fmla="*/ 0 h 2023936"/>
                  <a:gd name="connsiteX10" fmla="*/ 122460 w 313059"/>
                  <a:gd name="connsiteY10" fmla="*/ 105570 h 2023936"/>
                  <a:gd name="connsiteX0" fmla="*/ 122460 w 298615"/>
                  <a:gd name="connsiteY0" fmla="*/ 105570 h 2023936"/>
                  <a:gd name="connsiteX1" fmla="*/ 93255 w 298615"/>
                  <a:gd name="connsiteY1" fmla="*/ 105570 h 2023936"/>
                  <a:gd name="connsiteX2" fmla="*/ 107831 w 298615"/>
                  <a:gd name="connsiteY2" fmla="*/ 444968 h 2023936"/>
                  <a:gd name="connsiteX3" fmla="*/ 159145 w 298615"/>
                  <a:gd name="connsiteY3" fmla="*/ 844151 h 2023936"/>
                  <a:gd name="connsiteX4" fmla="*/ 298451 w 298615"/>
                  <a:gd name="connsiteY4" fmla="*/ 2023936 h 2023936"/>
                  <a:gd name="connsiteX5" fmla="*/ 119854 w 298615"/>
                  <a:gd name="connsiteY5" fmla="*/ 801425 h 2023936"/>
                  <a:gd name="connsiteX6" fmla="*/ 44165 w 298615"/>
                  <a:gd name="connsiteY6" fmla="*/ 429140 h 2023936"/>
                  <a:gd name="connsiteX7" fmla="*/ 29756 w 298615"/>
                  <a:gd name="connsiteY7" fmla="*/ 105570 h 2023936"/>
                  <a:gd name="connsiteX8" fmla="*/ 0 w 298615"/>
                  <a:gd name="connsiteY8" fmla="*/ 105570 h 2023936"/>
                  <a:gd name="connsiteX9" fmla="*/ 67316 w 298615"/>
                  <a:gd name="connsiteY9" fmla="*/ 0 h 2023936"/>
                  <a:gd name="connsiteX10" fmla="*/ 122460 w 298615"/>
                  <a:gd name="connsiteY10" fmla="*/ 105570 h 2023936"/>
                  <a:gd name="connsiteX0" fmla="*/ 122460 w 161464"/>
                  <a:gd name="connsiteY0" fmla="*/ 105570 h 1045960"/>
                  <a:gd name="connsiteX1" fmla="*/ 93255 w 161464"/>
                  <a:gd name="connsiteY1" fmla="*/ 105570 h 1045960"/>
                  <a:gd name="connsiteX2" fmla="*/ 107831 w 161464"/>
                  <a:gd name="connsiteY2" fmla="*/ 444968 h 1045960"/>
                  <a:gd name="connsiteX3" fmla="*/ 159145 w 161464"/>
                  <a:gd name="connsiteY3" fmla="*/ 844151 h 1045960"/>
                  <a:gd name="connsiteX4" fmla="*/ 150274 w 161464"/>
                  <a:gd name="connsiteY4" fmla="*/ 1045960 h 1045960"/>
                  <a:gd name="connsiteX5" fmla="*/ 119854 w 161464"/>
                  <a:gd name="connsiteY5" fmla="*/ 801425 h 1045960"/>
                  <a:gd name="connsiteX6" fmla="*/ 44165 w 161464"/>
                  <a:gd name="connsiteY6" fmla="*/ 429140 h 1045960"/>
                  <a:gd name="connsiteX7" fmla="*/ 29756 w 161464"/>
                  <a:gd name="connsiteY7" fmla="*/ 105570 h 1045960"/>
                  <a:gd name="connsiteX8" fmla="*/ 0 w 161464"/>
                  <a:gd name="connsiteY8" fmla="*/ 105570 h 1045960"/>
                  <a:gd name="connsiteX9" fmla="*/ 67316 w 161464"/>
                  <a:gd name="connsiteY9" fmla="*/ 0 h 1045960"/>
                  <a:gd name="connsiteX10" fmla="*/ 122460 w 161464"/>
                  <a:gd name="connsiteY10" fmla="*/ 105570 h 1045960"/>
                  <a:gd name="connsiteX0" fmla="*/ 122460 w 161464"/>
                  <a:gd name="connsiteY0" fmla="*/ 105570 h 1045960"/>
                  <a:gd name="connsiteX1" fmla="*/ 93255 w 161464"/>
                  <a:gd name="connsiteY1" fmla="*/ 105570 h 1045960"/>
                  <a:gd name="connsiteX2" fmla="*/ 107831 w 161464"/>
                  <a:gd name="connsiteY2" fmla="*/ 444968 h 1045960"/>
                  <a:gd name="connsiteX3" fmla="*/ 159145 w 161464"/>
                  <a:gd name="connsiteY3" fmla="*/ 844151 h 1045960"/>
                  <a:gd name="connsiteX4" fmla="*/ 150274 w 161464"/>
                  <a:gd name="connsiteY4" fmla="*/ 1045960 h 1045960"/>
                  <a:gd name="connsiteX5" fmla="*/ 95158 w 161464"/>
                  <a:gd name="connsiteY5" fmla="*/ 742154 h 1045960"/>
                  <a:gd name="connsiteX6" fmla="*/ 44165 w 161464"/>
                  <a:gd name="connsiteY6" fmla="*/ 429140 h 1045960"/>
                  <a:gd name="connsiteX7" fmla="*/ 29756 w 161464"/>
                  <a:gd name="connsiteY7" fmla="*/ 105570 h 1045960"/>
                  <a:gd name="connsiteX8" fmla="*/ 0 w 161464"/>
                  <a:gd name="connsiteY8" fmla="*/ 105570 h 1045960"/>
                  <a:gd name="connsiteX9" fmla="*/ 67316 w 161464"/>
                  <a:gd name="connsiteY9" fmla="*/ 0 h 1045960"/>
                  <a:gd name="connsiteX10" fmla="*/ 122460 w 161464"/>
                  <a:gd name="connsiteY10" fmla="*/ 105570 h 1045960"/>
                  <a:gd name="connsiteX0" fmla="*/ 122460 w 159237"/>
                  <a:gd name="connsiteY0" fmla="*/ 105570 h 1065717"/>
                  <a:gd name="connsiteX1" fmla="*/ 93255 w 159237"/>
                  <a:gd name="connsiteY1" fmla="*/ 105570 h 1065717"/>
                  <a:gd name="connsiteX2" fmla="*/ 107831 w 159237"/>
                  <a:gd name="connsiteY2" fmla="*/ 444968 h 1065717"/>
                  <a:gd name="connsiteX3" fmla="*/ 159145 w 159237"/>
                  <a:gd name="connsiteY3" fmla="*/ 844151 h 1065717"/>
                  <a:gd name="connsiteX4" fmla="*/ 120638 w 159237"/>
                  <a:gd name="connsiteY4" fmla="*/ 1065717 h 1065717"/>
                  <a:gd name="connsiteX5" fmla="*/ 95158 w 159237"/>
                  <a:gd name="connsiteY5" fmla="*/ 742154 h 1065717"/>
                  <a:gd name="connsiteX6" fmla="*/ 44165 w 159237"/>
                  <a:gd name="connsiteY6" fmla="*/ 429140 h 1065717"/>
                  <a:gd name="connsiteX7" fmla="*/ 29756 w 159237"/>
                  <a:gd name="connsiteY7" fmla="*/ 105570 h 1065717"/>
                  <a:gd name="connsiteX8" fmla="*/ 0 w 159237"/>
                  <a:gd name="connsiteY8" fmla="*/ 105570 h 1065717"/>
                  <a:gd name="connsiteX9" fmla="*/ 67316 w 159237"/>
                  <a:gd name="connsiteY9" fmla="*/ 0 h 1065717"/>
                  <a:gd name="connsiteX10" fmla="*/ 122460 w 159237"/>
                  <a:gd name="connsiteY10" fmla="*/ 105570 h 1065717"/>
                  <a:gd name="connsiteX0" fmla="*/ 122460 w 134722"/>
                  <a:gd name="connsiteY0" fmla="*/ 105570 h 1065717"/>
                  <a:gd name="connsiteX1" fmla="*/ 93255 w 134722"/>
                  <a:gd name="connsiteY1" fmla="*/ 105570 h 1065717"/>
                  <a:gd name="connsiteX2" fmla="*/ 107831 w 134722"/>
                  <a:gd name="connsiteY2" fmla="*/ 444968 h 1065717"/>
                  <a:gd name="connsiteX3" fmla="*/ 134449 w 134722"/>
                  <a:gd name="connsiteY3" fmla="*/ 839212 h 1065717"/>
                  <a:gd name="connsiteX4" fmla="*/ 120638 w 134722"/>
                  <a:gd name="connsiteY4" fmla="*/ 1065717 h 1065717"/>
                  <a:gd name="connsiteX5" fmla="*/ 95158 w 134722"/>
                  <a:gd name="connsiteY5" fmla="*/ 742154 h 1065717"/>
                  <a:gd name="connsiteX6" fmla="*/ 44165 w 134722"/>
                  <a:gd name="connsiteY6" fmla="*/ 429140 h 1065717"/>
                  <a:gd name="connsiteX7" fmla="*/ 29756 w 134722"/>
                  <a:gd name="connsiteY7" fmla="*/ 105570 h 1065717"/>
                  <a:gd name="connsiteX8" fmla="*/ 0 w 134722"/>
                  <a:gd name="connsiteY8" fmla="*/ 105570 h 1065717"/>
                  <a:gd name="connsiteX9" fmla="*/ 67316 w 134722"/>
                  <a:gd name="connsiteY9" fmla="*/ 0 h 1065717"/>
                  <a:gd name="connsiteX10" fmla="*/ 122460 w 134722"/>
                  <a:gd name="connsiteY10" fmla="*/ 105570 h 1065717"/>
                  <a:gd name="connsiteX0" fmla="*/ 122460 w 135666"/>
                  <a:gd name="connsiteY0" fmla="*/ 105570 h 1065717"/>
                  <a:gd name="connsiteX1" fmla="*/ 93255 w 135666"/>
                  <a:gd name="connsiteY1" fmla="*/ 105570 h 1065717"/>
                  <a:gd name="connsiteX2" fmla="*/ 88074 w 135666"/>
                  <a:gd name="connsiteY2" fmla="*/ 380757 h 1065717"/>
                  <a:gd name="connsiteX3" fmla="*/ 134449 w 135666"/>
                  <a:gd name="connsiteY3" fmla="*/ 839212 h 1065717"/>
                  <a:gd name="connsiteX4" fmla="*/ 120638 w 135666"/>
                  <a:gd name="connsiteY4" fmla="*/ 1065717 h 1065717"/>
                  <a:gd name="connsiteX5" fmla="*/ 95158 w 135666"/>
                  <a:gd name="connsiteY5" fmla="*/ 742154 h 1065717"/>
                  <a:gd name="connsiteX6" fmla="*/ 44165 w 135666"/>
                  <a:gd name="connsiteY6" fmla="*/ 429140 h 1065717"/>
                  <a:gd name="connsiteX7" fmla="*/ 29756 w 135666"/>
                  <a:gd name="connsiteY7" fmla="*/ 105570 h 1065717"/>
                  <a:gd name="connsiteX8" fmla="*/ 0 w 135666"/>
                  <a:gd name="connsiteY8" fmla="*/ 105570 h 1065717"/>
                  <a:gd name="connsiteX9" fmla="*/ 67316 w 135666"/>
                  <a:gd name="connsiteY9" fmla="*/ 0 h 1065717"/>
                  <a:gd name="connsiteX10" fmla="*/ 122460 w 135666"/>
                  <a:gd name="connsiteY10" fmla="*/ 105570 h 1065717"/>
                  <a:gd name="connsiteX0" fmla="*/ 122460 w 129041"/>
                  <a:gd name="connsiteY0" fmla="*/ 105570 h 1065717"/>
                  <a:gd name="connsiteX1" fmla="*/ 93255 w 129041"/>
                  <a:gd name="connsiteY1" fmla="*/ 105570 h 1065717"/>
                  <a:gd name="connsiteX2" fmla="*/ 88074 w 129041"/>
                  <a:gd name="connsiteY2" fmla="*/ 380757 h 1065717"/>
                  <a:gd name="connsiteX3" fmla="*/ 127040 w 129041"/>
                  <a:gd name="connsiteY3" fmla="*/ 809576 h 1065717"/>
                  <a:gd name="connsiteX4" fmla="*/ 120638 w 129041"/>
                  <a:gd name="connsiteY4" fmla="*/ 1065717 h 1065717"/>
                  <a:gd name="connsiteX5" fmla="*/ 95158 w 129041"/>
                  <a:gd name="connsiteY5" fmla="*/ 742154 h 1065717"/>
                  <a:gd name="connsiteX6" fmla="*/ 44165 w 129041"/>
                  <a:gd name="connsiteY6" fmla="*/ 429140 h 1065717"/>
                  <a:gd name="connsiteX7" fmla="*/ 29756 w 129041"/>
                  <a:gd name="connsiteY7" fmla="*/ 105570 h 1065717"/>
                  <a:gd name="connsiteX8" fmla="*/ 0 w 129041"/>
                  <a:gd name="connsiteY8" fmla="*/ 105570 h 1065717"/>
                  <a:gd name="connsiteX9" fmla="*/ 67316 w 129041"/>
                  <a:gd name="connsiteY9" fmla="*/ 0 h 1065717"/>
                  <a:gd name="connsiteX10" fmla="*/ 122460 w 129041"/>
                  <a:gd name="connsiteY10" fmla="*/ 105570 h 1065717"/>
                  <a:gd name="connsiteX0" fmla="*/ 122460 w 128346"/>
                  <a:gd name="connsiteY0" fmla="*/ 105570 h 1065717"/>
                  <a:gd name="connsiteX1" fmla="*/ 93255 w 128346"/>
                  <a:gd name="connsiteY1" fmla="*/ 105570 h 1065717"/>
                  <a:gd name="connsiteX2" fmla="*/ 97952 w 128346"/>
                  <a:gd name="connsiteY2" fmla="*/ 412863 h 1065717"/>
                  <a:gd name="connsiteX3" fmla="*/ 127040 w 128346"/>
                  <a:gd name="connsiteY3" fmla="*/ 809576 h 1065717"/>
                  <a:gd name="connsiteX4" fmla="*/ 120638 w 128346"/>
                  <a:gd name="connsiteY4" fmla="*/ 1065717 h 1065717"/>
                  <a:gd name="connsiteX5" fmla="*/ 95158 w 128346"/>
                  <a:gd name="connsiteY5" fmla="*/ 742154 h 1065717"/>
                  <a:gd name="connsiteX6" fmla="*/ 44165 w 128346"/>
                  <a:gd name="connsiteY6" fmla="*/ 429140 h 1065717"/>
                  <a:gd name="connsiteX7" fmla="*/ 29756 w 128346"/>
                  <a:gd name="connsiteY7" fmla="*/ 105570 h 1065717"/>
                  <a:gd name="connsiteX8" fmla="*/ 0 w 128346"/>
                  <a:gd name="connsiteY8" fmla="*/ 105570 h 1065717"/>
                  <a:gd name="connsiteX9" fmla="*/ 67316 w 128346"/>
                  <a:gd name="connsiteY9" fmla="*/ 0 h 1065717"/>
                  <a:gd name="connsiteX10" fmla="*/ 122460 w 128346"/>
                  <a:gd name="connsiteY10" fmla="*/ 105570 h 1065717"/>
                  <a:gd name="connsiteX0" fmla="*/ 122460 w 128346"/>
                  <a:gd name="connsiteY0" fmla="*/ 105570 h 1065717"/>
                  <a:gd name="connsiteX1" fmla="*/ 93255 w 128346"/>
                  <a:gd name="connsiteY1" fmla="*/ 105570 h 1065717"/>
                  <a:gd name="connsiteX2" fmla="*/ 97952 w 128346"/>
                  <a:gd name="connsiteY2" fmla="*/ 412863 h 1065717"/>
                  <a:gd name="connsiteX3" fmla="*/ 127040 w 128346"/>
                  <a:gd name="connsiteY3" fmla="*/ 809576 h 1065717"/>
                  <a:gd name="connsiteX4" fmla="*/ 120638 w 128346"/>
                  <a:gd name="connsiteY4" fmla="*/ 1065717 h 1065717"/>
                  <a:gd name="connsiteX5" fmla="*/ 95158 w 128346"/>
                  <a:gd name="connsiteY5" fmla="*/ 742154 h 1065717"/>
                  <a:gd name="connsiteX6" fmla="*/ 44165 w 128346"/>
                  <a:gd name="connsiteY6" fmla="*/ 429140 h 1065717"/>
                  <a:gd name="connsiteX7" fmla="*/ 29756 w 128346"/>
                  <a:gd name="connsiteY7" fmla="*/ 105570 h 1065717"/>
                  <a:gd name="connsiteX8" fmla="*/ 0 w 128346"/>
                  <a:gd name="connsiteY8" fmla="*/ 105570 h 1065717"/>
                  <a:gd name="connsiteX9" fmla="*/ 67316 w 128346"/>
                  <a:gd name="connsiteY9" fmla="*/ 0 h 1065717"/>
                  <a:gd name="connsiteX10" fmla="*/ 122460 w 128346"/>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95158 w 142331"/>
                  <a:gd name="connsiteY5" fmla="*/ 742154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12446 w 142331"/>
                  <a:gd name="connsiteY5" fmla="*/ 749563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44165 w 142331"/>
                  <a:gd name="connsiteY6" fmla="*/ 429140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22460 w 142331"/>
                  <a:gd name="connsiteY0" fmla="*/ 105570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51574 w 142331"/>
                  <a:gd name="connsiteY6" fmla="*/ 456306 h 1065717"/>
                  <a:gd name="connsiteX7" fmla="*/ 29756 w 142331"/>
                  <a:gd name="connsiteY7" fmla="*/ 105570 h 1065717"/>
                  <a:gd name="connsiteX8" fmla="*/ 0 w 142331"/>
                  <a:gd name="connsiteY8" fmla="*/ 105570 h 1065717"/>
                  <a:gd name="connsiteX9" fmla="*/ 67316 w 142331"/>
                  <a:gd name="connsiteY9" fmla="*/ 0 h 1065717"/>
                  <a:gd name="connsiteX10" fmla="*/ 122460 w 142331"/>
                  <a:gd name="connsiteY10" fmla="*/ 105570 h 1065717"/>
                  <a:gd name="connsiteX0" fmla="*/ 139747 w 142331"/>
                  <a:gd name="connsiteY0" fmla="*/ 108039 h 1065717"/>
                  <a:gd name="connsiteX1" fmla="*/ 93255 w 142331"/>
                  <a:gd name="connsiteY1" fmla="*/ 105570 h 1065717"/>
                  <a:gd name="connsiteX2" fmla="*/ 97952 w 142331"/>
                  <a:gd name="connsiteY2" fmla="*/ 412863 h 1065717"/>
                  <a:gd name="connsiteX3" fmla="*/ 141858 w 142331"/>
                  <a:gd name="connsiteY3" fmla="*/ 792288 h 1065717"/>
                  <a:gd name="connsiteX4" fmla="*/ 120638 w 142331"/>
                  <a:gd name="connsiteY4" fmla="*/ 1065717 h 1065717"/>
                  <a:gd name="connsiteX5" fmla="*/ 105037 w 142331"/>
                  <a:gd name="connsiteY5" fmla="*/ 737215 h 1065717"/>
                  <a:gd name="connsiteX6" fmla="*/ 51574 w 142331"/>
                  <a:gd name="connsiteY6" fmla="*/ 456306 h 1065717"/>
                  <a:gd name="connsiteX7" fmla="*/ 29756 w 142331"/>
                  <a:gd name="connsiteY7" fmla="*/ 105570 h 1065717"/>
                  <a:gd name="connsiteX8" fmla="*/ 0 w 142331"/>
                  <a:gd name="connsiteY8" fmla="*/ 105570 h 1065717"/>
                  <a:gd name="connsiteX9" fmla="*/ 67316 w 142331"/>
                  <a:gd name="connsiteY9" fmla="*/ 0 h 1065717"/>
                  <a:gd name="connsiteX10" fmla="*/ 139747 w 142331"/>
                  <a:gd name="connsiteY10" fmla="*/ 108039 h 1065717"/>
                  <a:gd name="connsiteX0" fmla="*/ 164443 w 167027"/>
                  <a:gd name="connsiteY0" fmla="*/ 108039 h 1065717"/>
                  <a:gd name="connsiteX1" fmla="*/ 117951 w 167027"/>
                  <a:gd name="connsiteY1" fmla="*/ 105570 h 1065717"/>
                  <a:gd name="connsiteX2" fmla="*/ 122648 w 167027"/>
                  <a:gd name="connsiteY2" fmla="*/ 412863 h 1065717"/>
                  <a:gd name="connsiteX3" fmla="*/ 166554 w 167027"/>
                  <a:gd name="connsiteY3" fmla="*/ 792288 h 1065717"/>
                  <a:gd name="connsiteX4" fmla="*/ 145334 w 167027"/>
                  <a:gd name="connsiteY4" fmla="*/ 1065717 h 1065717"/>
                  <a:gd name="connsiteX5" fmla="*/ 129733 w 167027"/>
                  <a:gd name="connsiteY5" fmla="*/ 737215 h 1065717"/>
                  <a:gd name="connsiteX6" fmla="*/ 76270 w 167027"/>
                  <a:gd name="connsiteY6" fmla="*/ 456306 h 1065717"/>
                  <a:gd name="connsiteX7" fmla="*/ 54452 w 167027"/>
                  <a:gd name="connsiteY7" fmla="*/ 105570 h 1065717"/>
                  <a:gd name="connsiteX8" fmla="*/ 0 w 167027"/>
                  <a:gd name="connsiteY8" fmla="*/ 117918 h 1065717"/>
                  <a:gd name="connsiteX9" fmla="*/ 92012 w 167027"/>
                  <a:gd name="connsiteY9" fmla="*/ 0 h 1065717"/>
                  <a:gd name="connsiteX10" fmla="*/ 164443 w 167027"/>
                  <a:gd name="connsiteY10" fmla="*/ 108039 h 1065717"/>
                  <a:gd name="connsiteX0" fmla="*/ 164443 w 167027"/>
                  <a:gd name="connsiteY0" fmla="*/ 127796 h 1085474"/>
                  <a:gd name="connsiteX1" fmla="*/ 117951 w 167027"/>
                  <a:gd name="connsiteY1" fmla="*/ 125327 h 1085474"/>
                  <a:gd name="connsiteX2" fmla="*/ 122648 w 167027"/>
                  <a:gd name="connsiteY2" fmla="*/ 432620 h 1085474"/>
                  <a:gd name="connsiteX3" fmla="*/ 166554 w 167027"/>
                  <a:gd name="connsiteY3" fmla="*/ 812045 h 1085474"/>
                  <a:gd name="connsiteX4" fmla="*/ 145334 w 167027"/>
                  <a:gd name="connsiteY4" fmla="*/ 1085474 h 1085474"/>
                  <a:gd name="connsiteX5" fmla="*/ 129733 w 167027"/>
                  <a:gd name="connsiteY5" fmla="*/ 756972 h 1085474"/>
                  <a:gd name="connsiteX6" fmla="*/ 76270 w 167027"/>
                  <a:gd name="connsiteY6" fmla="*/ 476063 h 1085474"/>
                  <a:gd name="connsiteX7" fmla="*/ 54452 w 167027"/>
                  <a:gd name="connsiteY7" fmla="*/ 125327 h 1085474"/>
                  <a:gd name="connsiteX8" fmla="*/ 0 w 167027"/>
                  <a:gd name="connsiteY8" fmla="*/ 137675 h 1085474"/>
                  <a:gd name="connsiteX9" fmla="*/ 84603 w 167027"/>
                  <a:gd name="connsiteY9" fmla="*/ 0 h 1085474"/>
                  <a:gd name="connsiteX10" fmla="*/ 164443 w 167027"/>
                  <a:gd name="connsiteY10" fmla="*/ 127796 h 1085474"/>
                  <a:gd name="connsiteX0" fmla="*/ 164443 w 167027"/>
                  <a:gd name="connsiteY0" fmla="*/ 145084 h 1085474"/>
                  <a:gd name="connsiteX1" fmla="*/ 117951 w 167027"/>
                  <a:gd name="connsiteY1" fmla="*/ 125327 h 1085474"/>
                  <a:gd name="connsiteX2" fmla="*/ 122648 w 167027"/>
                  <a:gd name="connsiteY2" fmla="*/ 432620 h 1085474"/>
                  <a:gd name="connsiteX3" fmla="*/ 166554 w 167027"/>
                  <a:gd name="connsiteY3" fmla="*/ 812045 h 1085474"/>
                  <a:gd name="connsiteX4" fmla="*/ 145334 w 167027"/>
                  <a:gd name="connsiteY4" fmla="*/ 1085474 h 1085474"/>
                  <a:gd name="connsiteX5" fmla="*/ 129733 w 167027"/>
                  <a:gd name="connsiteY5" fmla="*/ 756972 h 1085474"/>
                  <a:gd name="connsiteX6" fmla="*/ 76270 w 167027"/>
                  <a:gd name="connsiteY6" fmla="*/ 476063 h 1085474"/>
                  <a:gd name="connsiteX7" fmla="*/ 54452 w 167027"/>
                  <a:gd name="connsiteY7" fmla="*/ 125327 h 1085474"/>
                  <a:gd name="connsiteX8" fmla="*/ 0 w 167027"/>
                  <a:gd name="connsiteY8" fmla="*/ 137675 h 1085474"/>
                  <a:gd name="connsiteX9" fmla="*/ 84603 w 167027"/>
                  <a:gd name="connsiteY9" fmla="*/ 0 h 1085474"/>
                  <a:gd name="connsiteX10" fmla="*/ 164443 w 167027"/>
                  <a:gd name="connsiteY10" fmla="*/ 145084 h 1085474"/>
                  <a:gd name="connsiteX0" fmla="*/ 164443 w 167027"/>
                  <a:gd name="connsiteY0" fmla="*/ 132736 h 1085474"/>
                  <a:gd name="connsiteX1" fmla="*/ 117951 w 167027"/>
                  <a:gd name="connsiteY1" fmla="*/ 125327 h 1085474"/>
                  <a:gd name="connsiteX2" fmla="*/ 122648 w 167027"/>
                  <a:gd name="connsiteY2" fmla="*/ 432620 h 1085474"/>
                  <a:gd name="connsiteX3" fmla="*/ 166554 w 167027"/>
                  <a:gd name="connsiteY3" fmla="*/ 812045 h 1085474"/>
                  <a:gd name="connsiteX4" fmla="*/ 145334 w 167027"/>
                  <a:gd name="connsiteY4" fmla="*/ 1085474 h 1085474"/>
                  <a:gd name="connsiteX5" fmla="*/ 129733 w 167027"/>
                  <a:gd name="connsiteY5" fmla="*/ 756972 h 1085474"/>
                  <a:gd name="connsiteX6" fmla="*/ 76270 w 167027"/>
                  <a:gd name="connsiteY6" fmla="*/ 476063 h 1085474"/>
                  <a:gd name="connsiteX7" fmla="*/ 54452 w 167027"/>
                  <a:gd name="connsiteY7" fmla="*/ 125327 h 1085474"/>
                  <a:gd name="connsiteX8" fmla="*/ 0 w 167027"/>
                  <a:gd name="connsiteY8" fmla="*/ 137675 h 1085474"/>
                  <a:gd name="connsiteX9" fmla="*/ 84603 w 167027"/>
                  <a:gd name="connsiteY9" fmla="*/ 0 h 1085474"/>
                  <a:gd name="connsiteX10" fmla="*/ 164443 w 167027"/>
                  <a:gd name="connsiteY10" fmla="*/ 132736 h 1085474"/>
                  <a:gd name="connsiteX0" fmla="*/ 164443 w 167027"/>
                  <a:gd name="connsiteY0" fmla="*/ 132736 h 1085474"/>
                  <a:gd name="connsiteX1" fmla="*/ 113012 w 167027"/>
                  <a:gd name="connsiteY1" fmla="*/ 125327 h 1085474"/>
                  <a:gd name="connsiteX2" fmla="*/ 122648 w 167027"/>
                  <a:gd name="connsiteY2" fmla="*/ 432620 h 1085474"/>
                  <a:gd name="connsiteX3" fmla="*/ 166554 w 167027"/>
                  <a:gd name="connsiteY3" fmla="*/ 812045 h 1085474"/>
                  <a:gd name="connsiteX4" fmla="*/ 145334 w 167027"/>
                  <a:gd name="connsiteY4" fmla="*/ 1085474 h 1085474"/>
                  <a:gd name="connsiteX5" fmla="*/ 129733 w 167027"/>
                  <a:gd name="connsiteY5" fmla="*/ 756972 h 1085474"/>
                  <a:gd name="connsiteX6" fmla="*/ 76270 w 167027"/>
                  <a:gd name="connsiteY6" fmla="*/ 476063 h 1085474"/>
                  <a:gd name="connsiteX7" fmla="*/ 54452 w 167027"/>
                  <a:gd name="connsiteY7" fmla="*/ 125327 h 1085474"/>
                  <a:gd name="connsiteX8" fmla="*/ 0 w 167027"/>
                  <a:gd name="connsiteY8" fmla="*/ 137675 h 1085474"/>
                  <a:gd name="connsiteX9" fmla="*/ 84603 w 167027"/>
                  <a:gd name="connsiteY9" fmla="*/ 0 h 1085474"/>
                  <a:gd name="connsiteX10" fmla="*/ 164443 w 167027"/>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61615 w 164443"/>
                  <a:gd name="connsiteY3" fmla="*/ 789819 h 1085474"/>
                  <a:gd name="connsiteX4" fmla="*/ 145334 w 164443"/>
                  <a:gd name="connsiteY4" fmla="*/ 1085474 h 1085474"/>
                  <a:gd name="connsiteX5" fmla="*/ 129733 w 164443"/>
                  <a:gd name="connsiteY5" fmla="*/ 756972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9733 w 164443"/>
                  <a:gd name="connsiteY5" fmla="*/ 756972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9733 w 164443"/>
                  <a:gd name="connsiteY5" fmla="*/ 756972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9733 w 164443"/>
                  <a:gd name="connsiteY5" fmla="*/ 756972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4793 w 164443"/>
                  <a:gd name="connsiteY5" fmla="*/ 742154 h 1085474"/>
                  <a:gd name="connsiteX6" fmla="*/ 76270 w 164443"/>
                  <a:gd name="connsiteY6" fmla="*/ 476063 h 1085474"/>
                  <a:gd name="connsiteX7" fmla="*/ 54452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3012 w 164443"/>
                  <a:gd name="connsiteY1" fmla="*/ 125327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4793 w 164443"/>
                  <a:gd name="connsiteY5" fmla="*/ 742154 h 1085474"/>
                  <a:gd name="connsiteX6" fmla="*/ 76270 w 164443"/>
                  <a:gd name="connsiteY6" fmla="*/ 476063 h 1085474"/>
                  <a:gd name="connsiteX7" fmla="*/ 49513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64443 w 164443"/>
                  <a:gd name="connsiteY0" fmla="*/ 132736 h 1085474"/>
                  <a:gd name="connsiteX1" fmla="*/ 117951 w 164443"/>
                  <a:gd name="connsiteY1" fmla="*/ 127796 h 1085474"/>
                  <a:gd name="connsiteX2" fmla="*/ 122648 w 164443"/>
                  <a:gd name="connsiteY2" fmla="*/ 432620 h 1085474"/>
                  <a:gd name="connsiteX3" fmla="*/ 159146 w 164443"/>
                  <a:gd name="connsiteY3" fmla="*/ 807106 h 1085474"/>
                  <a:gd name="connsiteX4" fmla="*/ 145334 w 164443"/>
                  <a:gd name="connsiteY4" fmla="*/ 1085474 h 1085474"/>
                  <a:gd name="connsiteX5" fmla="*/ 124793 w 164443"/>
                  <a:gd name="connsiteY5" fmla="*/ 742154 h 1085474"/>
                  <a:gd name="connsiteX6" fmla="*/ 76270 w 164443"/>
                  <a:gd name="connsiteY6" fmla="*/ 476063 h 1085474"/>
                  <a:gd name="connsiteX7" fmla="*/ 49513 w 164443"/>
                  <a:gd name="connsiteY7" fmla="*/ 125327 h 1085474"/>
                  <a:gd name="connsiteX8" fmla="*/ 0 w 164443"/>
                  <a:gd name="connsiteY8" fmla="*/ 137675 h 1085474"/>
                  <a:gd name="connsiteX9" fmla="*/ 84603 w 164443"/>
                  <a:gd name="connsiteY9" fmla="*/ 0 h 1085474"/>
                  <a:gd name="connsiteX10" fmla="*/ 164443 w 164443"/>
                  <a:gd name="connsiteY10" fmla="*/ 132736 h 1085474"/>
                  <a:gd name="connsiteX0" fmla="*/ 176791 w 176791"/>
                  <a:gd name="connsiteY0" fmla="*/ 125327 h 1085474"/>
                  <a:gd name="connsiteX1" fmla="*/ 117951 w 176791"/>
                  <a:gd name="connsiteY1" fmla="*/ 127796 h 1085474"/>
                  <a:gd name="connsiteX2" fmla="*/ 122648 w 176791"/>
                  <a:gd name="connsiteY2" fmla="*/ 432620 h 1085474"/>
                  <a:gd name="connsiteX3" fmla="*/ 159146 w 176791"/>
                  <a:gd name="connsiteY3" fmla="*/ 807106 h 1085474"/>
                  <a:gd name="connsiteX4" fmla="*/ 145334 w 176791"/>
                  <a:gd name="connsiteY4" fmla="*/ 1085474 h 1085474"/>
                  <a:gd name="connsiteX5" fmla="*/ 124793 w 176791"/>
                  <a:gd name="connsiteY5" fmla="*/ 742154 h 1085474"/>
                  <a:gd name="connsiteX6" fmla="*/ 76270 w 176791"/>
                  <a:gd name="connsiteY6" fmla="*/ 476063 h 1085474"/>
                  <a:gd name="connsiteX7" fmla="*/ 49513 w 176791"/>
                  <a:gd name="connsiteY7" fmla="*/ 125327 h 1085474"/>
                  <a:gd name="connsiteX8" fmla="*/ 0 w 176791"/>
                  <a:gd name="connsiteY8" fmla="*/ 137675 h 1085474"/>
                  <a:gd name="connsiteX9" fmla="*/ 84603 w 176791"/>
                  <a:gd name="connsiteY9" fmla="*/ 0 h 1085474"/>
                  <a:gd name="connsiteX10" fmla="*/ 176791 w 176791"/>
                  <a:gd name="connsiteY10" fmla="*/ 125327 h 1085474"/>
                  <a:gd name="connsiteX0" fmla="*/ 184200 w 184200"/>
                  <a:gd name="connsiteY0" fmla="*/ 125327 h 1085474"/>
                  <a:gd name="connsiteX1" fmla="*/ 125360 w 184200"/>
                  <a:gd name="connsiteY1" fmla="*/ 127796 h 1085474"/>
                  <a:gd name="connsiteX2" fmla="*/ 130057 w 184200"/>
                  <a:gd name="connsiteY2" fmla="*/ 432620 h 1085474"/>
                  <a:gd name="connsiteX3" fmla="*/ 166555 w 184200"/>
                  <a:gd name="connsiteY3" fmla="*/ 807106 h 1085474"/>
                  <a:gd name="connsiteX4" fmla="*/ 152743 w 184200"/>
                  <a:gd name="connsiteY4" fmla="*/ 1085474 h 1085474"/>
                  <a:gd name="connsiteX5" fmla="*/ 132202 w 184200"/>
                  <a:gd name="connsiteY5" fmla="*/ 742154 h 1085474"/>
                  <a:gd name="connsiteX6" fmla="*/ 83679 w 184200"/>
                  <a:gd name="connsiteY6" fmla="*/ 476063 h 1085474"/>
                  <a:gd name="connsiteX7" fmla="*/ 56922 w 184200"/>
                  <a:gd name="connsiteY7" fmla="*/ 125327 h 1085474"/>
                  <a:gd name="connsiteX8" fmla="*/ 0 w 184200"/>
                  <a:gd name="connsiteY8" fmla="*/ 135205 h 1085474"/>
                  <a:gd name="connsiteX9" fmla="*/ 92012 w 184200"/>
                  <a:gd name="connsiteY9" fmla="*/ 0 h 1085474"/>
                  <a:gd name="connsiteX10" fmla="*/ 184200 w 184200"/>
                  <a:gd name="connsiteY10" fmla="*/ 125327 h 1085474"/>
                  <a:gd name="connsiteX0" fmla="*/ 184200 w 184200"/>
                  <a:gd name="connsiteY0" fmla="*/ 125327 h 1085474"/>
                  <a:gd name="connsiteX1" fmla="*/ 125360 w 184200"/>
                  <a:gd name="connsiteY1" fmla="*/ 127796 h 1085474"/>
                  <a:gd name="connsiteX2" fmla="*/ 130057 w 184200"/>
                  <a:gd name="connsiteY2" fmla="*/ 432620 h 1085474"/>
                  <a:gd name="connsiteX3" fmla="*/ 161616 w 184200"/>
                  <a:gd name="connsiteY3" fmla="*/ 794758 h 1085474"/>
                  <a:gd name="connsiteX4" fmla="*/ 152743 w 184200"/>
                  <a:gd name="connsiteY4" fmla="*/ 1085474 h 1085474"/>
                  <a:gd name="connsiteX5" fmla="*/ 132202 w 184200"/>
                  <a:gd name="connsiteY5" fmla="*/ 742154 h 1085474"/>
                  <a:gd name="connsiteX6" fmla="*/ 83679 w 184200"/>
                  <a:gd name="connsiteY6" fmla="*/ 476063 h 1085474"/>
                  <a:gd name="connsiteX7" fmla="*/ 56922 w 184200"/>
                  <a:gd name="connsiteY7" fmla="*/ 125327 h 1085474"/>
                  <a:gd name="connsiteX8" fmla="*/ 0 w 184200"/>
                  <a:gd name="connsiteY8" fmla="*/ 135205 h 1085474"/>
                  <a:gd name="connsiteX9" fmla="*/ 92012 w 184200"/>
                  <a:gd name="connsiteY9" fmla="*/ 0 h 1085474"/>
                  <a:gd name="connsiteX10" fmla="*/ 184200 w 184200"/>
                  <a:gd name="connsiteY10" fmla="*/ 125327 h 1085474"/>
                  <a:gd name="connsiteX0" fmla="*/ 181730 w 181730"/>
                  <a:gd name="connsiteY0" fmla="*/ 134831 h 1085474"/>
                  <a:gd name="connsiteX1" fmla="*/ 125360 w 181730"/>
                  <a:gd name="connsiteY1" fmla="*/ 127796 h 1085474"/>
                  <a:gd name="connsiteX2" fmla="*/ 130057 w 181730"/>
                  <a:gd name="connsiteY2" fmla="*/ 432620 h 1085474"/>
                  <a:gd name="connsiteX3" fmla="*/ 161616 w 181730"/>
                  <a:gd name="connsiteY3" fmla="*/ 794758 h 1085474"/>
                  <a:gd name="connsiteX4" fmla="*/ 152743 w 181730"/>
                  <a:gd name="connsiteY4" fmla="*/ 1085474 h 1085474"/>
                  <a:gd name="connsiteX5" fmla="*/ 132202 w 181730"/>
                  <a:gd name="connsiteY5" fmla="*/ 742154 h 1085474"/>
                  <a:gd name="connsiteX6" fmla="*/ 83679 w 181730"/>
                  <a:gd name="connsiteY6" fmla="*/ 476063 h 1085474"/>
                  <a:gd name="connsiteX7" fmla="*/ 56922 w 181730"/>
                  <a:gd name="connsiteY7" fmla="*/ 125327 h 1085474"/>
                  <a:gd name="connsiteX8" fmla="*/ 0 w 181730"/>
                  <a:gd name="connsiteY8" fmla="*/ 135205 h 1085474"/>
                  <a:gd name="connsiteX9" fmla="*/ 92012 w 181730"/>
                  <a:gd name="connsiteY9" fmla="*/ 0 h 1085474"/>
                  <a:gd name="connsiteX10" fmla="*/ 181730 w 181730"/>
                  <a:gd name="connsiteY10" fmla="*/ 134831 h 1085474"/>
                  <a:gd name="connsiteX0" fmla="*/ 181730 w 181730"/>
                  <a:gd name="connsiteY0" fmla="*/ 134831 h 1085474"/>
                  <a:gd name="connsiteX1" fmla="*/ 125360 w 181730"/>
                  <a:gd name="connsiteY1" fmla="*/ 127796 h 1085474"/>
                  <a:gd name="connsiteX2" fmla="*/ 130057 w 181730"/>
                  <a:gd name="connsiteY2" fmla="*/ 432620 h 1085474"/>
                  <a:gd name="connsiteX3" fmla="*/ 161616 w 181730"/>
                  <a:gd name="connsiteY3" fmla="*/ 794758 h 1085474"/>
                  <a:gd name="connsiteX4" fmla="*/ 152743 w 181730"/>
                  <a:gd name="connsiteY4" fmla="*/ 1085474 h 1085474"/>
                  <a:gd name="connsiteX5" fmla="*/ 132202 w 181730"/>
                  <a:gd name="connsiteY5" fmla="*/ 742154 h 1085474"/>
                  <a:gd name="connsiteX6" fmla="*/ 83679 w 181730"/>
                  <a:gd name="connsiteY6" fmla="*/ 476063 h 1085474"/>
                  <a:gd name="connsiteX7" fmla="*/ 59392 w 181730"/>
                  <a:gd name="connsiteY7" fmla="*/ 128495 h 1085474"/>
                  <a:gd name="connsiteX8" fmla="*/ 0 w 181730"/>
                  <a:gd name="connsiteY8" fmla="*/ 135205 h 1085474"/>
                  <a:gd name="connsiteX9" fmla="*/ 92012 w 181730"/>
                  <a:gd name="connsiteY9" fmla="*/ 0 h 1085474"/>
                  <a:gd name="connsiteX10" fmla="*/ 181730 w 181730"/>
                  <a:gd name="connsiteY10" fmla="*/ 134831 h 1085474"/>
                  <a:gd name="connsiteX0" fmla="*/ 189139 w 189139"/>
                  <a:gd name="connsiteY0" fmla="*/ 134831 h 1085474"/>
                  <a:gd name="connsiteX1" fmla="*/ 132769 w 189139"/>
                  <a:gd name="connsiteY1" fmla="*/ 127796 h 1085474"/>
                  <a:gd name="connsiteX2" fmla="*/ 137466 w 189139"/>
                  <a:gd name="connsiteY2" fmla="*/ 432620 h 1085474"/>
                  <a:gd name="connsiteX3" fmla="*/ 169025 w 189139"/>
                  <a:gd name="connsiteY3" fmla="*/ 794758 h 1085474"/>
                  <a:gd name="connsiteX4" fmla="*/ 160152 w 189139"/>
                  <a:gd name="connsiteY4" fmla="*/ 1085474 h 1085474"/>
                  <a:gd name="connsiteX5" fmla="*/ 139611 w 189139"/>
                  <a:gd name="connsiteY5" fmla="*/ 742154 h 1085474"/>
                  <a:gd name="connsiteX6" fmla="*/ 91088 w 189139"/>
                  <a:gd name="connsiteY6" fmla="*/ 476063 h 1085474"/>
                  <a:gd name="connsiteX7" fmla="*/ 66801 w 189139"/>
                  <a:gd name="connsiteY7" fmla="*/ 128495 h 1085474"/>
                  <a:gd name="connsiteX8" fmla="*/ 0 w 189139"/>
                  <a:gd name="connsiteY8" fmla="*/ 141541 h 1085474"/>
                  <a:gd name="connsiteX9" fmla="*/ 99421 w 189139"/>
                  <a:gd name="connsiteY9" fmla="*/ 0 h 1085474"/>
                  <a:gd name="connsiteX10" fmla="*/ 189139 w 189139"/>
                  <a:gd name="connsiteY10" fmla="*/ 134831 h 1085474"/>
                  <a:gd name="connsiteX0" fmla="*/ 189139 w 189139"/>
                  <a:gd name="connsiteY0" fmla="*/ 134831 h 1085474"/>
                  <a:gd name="connsiteX1" fmla="*/ 132769 w 189139"/>
                  <a:gd name="connsiteY1" fmla="*/ 127796 h 1085474"/>
                  <a:gd name="connsiteX2" fmla="*/ 137466 w 189139"/>
                  <a:gd name="connsiteY2" fmla="*/ 432620 h 1085474"/>
                  <a:gd name="connsiteX3" fmla="*/ 169025 w 189139"/>
                  <a:gd name="connsiteY3" fmla="*/ 794758 h 1085474"/>
                  <a:gd name="connsiteX4" fmla="*/ 160152 w 189139"/>
                  <a:gd name="connsiteY4" fmla="*/ 1085474 h 1085474"/>
                  <a:gd name="connsiteX5" fmla="*/ 139611 w 189139"/>
                  <a:gd name="connsiteY5" fmla="*/ 742154 h 1085474"/>
                  <a:gd name="connsiteX6" fmla="*/ 91088 w 189139"/>
                  <a:gd name="connsiteY6" fmla="*/ 476063 h 1085474"/>
                  <a:gd name="connsiteX7" fmla="*/ 74210 w 189139"/>
                  <a:gd name="connsiteY7" fmla="*/ 134831 h 1085474"/>
                  <a:gd name="connsiteX8" fmla="*/ 0 w 189139"/>
                  <a:gd name="connsiteY8" fmla="*/ 141541 h 1085474"/>
                  <a:gd name="connsiteX9" fmla="*/ 99421 w 189139"/>
                  <a:gd name="connsiteY9" fmla="*/ 0 h 1085474"/>
                  <a:gd name="connsiteX10" fmla="*/ 189139 w 189139"/>
                  <a:gd name="connsiteY10" fmla="*/ 134831 h 1085474"/>
                  <a:gd name="connsiteX0" fmla="*/ 189139 w 189139"/>
                  <a:gd name="connsiteY0" fmla="*/ 134831 h 1085474"/>
                  <a:gd name="connsiteX1" fmla="*/ 130299 w 189139"/>
                  <a:gd name="connsiteY1" fmla="*/ 134132 h 1085474"/>
                  <a:gd name="connsiteX2" fmla="*/ 137466 w 189139"/>
                  <a:gd name="connsiteY2" fmla="*/ 432620 h 1085474"/>
                  <a:gd name="connsiteX3" fmla="*/ 169025 w 189139"/>
                  <a:gd name="connsiteY3" fmla="*/ 794758 h 1085474"/>
                  <a:gd name="connsiteX4" fmla="*/ 160152 w 189139"/>
                  <a:gd name="connsiteY4" fmla="*/ 1085474 h 1085474"/>
                  <a:gd name="connsiteX5" fmla="*/ 139611 w 189139"/>
                  <a:gd name="connsiteY5" fmla="*/ 742154 h 1085474"/>
                  <a:gd name="connsiteX6" fmla="*/ 91088 w 189139"/>
                  <a:gd name="connsiteY6" fmla="*/ 476063 h 1085474"/>
                  <a:gd name="connsiteX7" fmla="*/ 74210 w 189139"/>
                  <a:gd name="connsiteY7" fmla="*/ 134831 h 1085474"/>
                  <a:gd name="connsiteX8" fmla="*/ 0 w 189139"/>
                  <a:gd name="connsiteY8" fmla="*/ 141541 h 1085474"/>
                  <a:gd name="connsiteX9" fmla="*/ 99421 w 189139"/>
                  <a:gd name="connsiteY9" fmla="*/ 0 h 1085474"/>
                  <a:gd name="connsiteX10" fmla="*/ 189139 w 189139"/>
                  <a:gd name="connsiteY10" fmla="*/ 134831 h 1085474"/>
                  <a:gd name="connsiteX0" fmla="*/ 189139 w 189139"/>
                  <a:gd name="connsiteY0" fmla="*/ 134831 h 1085474"/>
                  <a:gd name="connsiteX1" fmla="*/ 130299 w 189139"/>
                  <a:gd name="connsiteY1" fmla="*/ 134132 h 1085474"/>
                  <a:gd name="connsiteX2" fmla="*/ 137466 w 189139"/>
                  <a:gd name="connsiteY2" fmla="*/ 432620 h 1085474"/>
                  <a:gd name="connsiteX3" fmla="*/ 169025 w 189139"/>
                  <a:gd name="connsiteY3" fmla="*/ 794758 h 1085474"/>
                  <a:gd name="connsiteX4" fmla="*/ 160152 w 189139"/>
                  <a:gd name="connsiteY4" fmla="*/ 1085474 h 1085474"/>
                  <a:gd name="connsiteX5" fmla="*/ 139611 w 189139"/>
                  <a:gd name="connsiteY5" fmla="*/ 742154 h 1085474"/>
                  <a:gd name="connsiteX6" fmla="*/ 91088 w 189139"/>
                  <a:gd name="connsiteY6" fmla="*/ 476063 h 1085474"/>
                  <a:gd name="connsiteX7" fmla="*/ 74210 w 189139"/>
                  <a:gd name="connsiteY7" fmla="*/ 134831 h 1085474"/>
                  <a:gd name="connsiteX8" fmla="*/ 0 w 189139"/>
                  <a:gd name="connsiteY8" fmla="*/ 141541 h 1085474"/>
                  <a:gd name="connsiteX9" fmla="*/ 99421 w 189139"/>
                  <a:gd name="connsiteY9" fmla="*/ 0 h 1085474"/>
                  <a:gd name="connsiteX10" fmla="*/ 189139 w 189139"/>
                  <a:gd name="connsiteY10" fmla="*/ 134831 h 1085474"/>
                  <a:gd name="connsiteX0" fmla="*/ 202310 w 202310"/>
                  <a:gd name="connsiteY0" fmla="*/ 134831 h 1085474"/>
                  <a:gd name="connsiteX1" fmla="*/ 130299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91088 w 202310"/>
                  <a:gd name="connsiteY6" fmla="*/ 476063 h 1085474"/>
                  <a:gd name="connsiteX7" fmla="*/ 74210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0299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91088 w 202310"/>
                  <a:gd name="connsiteY6" fmla="*/ 476063 h 1085474"/>
                  <a:gd name="connsiteX7" fmla="*/ 74210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91088 w 202310"/>
                  <a:gd name="connsiteY6" fmla="*/ 476063 h 1085474"/>
                  <a:gd name="connsiteX7" fmla="*/ 74210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91088 w 202310"/>
                  <a:gd name="connsiteY6" fmla="*/ 476063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84503 w 202310"/>
                  <a:gd name="connsiteY6" fmla="*/ 463391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84503 w 202310"/>
                  <a:gd name="connsiteY6" fmla="*/ 463391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9611 w 202310"/>
                  <a:gd name="connsiteY5" fmla="*/ 742154 h 1085474"/>
                  <a:gd name="connsiteX6" fmla="*/ 81210 w 202310"/>
                  <a:gd name="connsiteY6" fmla="*/ 459167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9025 w 202310"/>
                  <a:gd name="connsiteY3" fmla="*/ 794758 h 1085474"/>
                  <a:gd name="connsiteX4" fmla="*/ 160152 w 202310"/>
                  <a:gd name="connsiteY4" fmla="*/ 1085474 h 1085474"/>
                  <a:gd name="connsiteX5" fmla="*/ 133025 w 202310"/>
                  <a:gd name="connsiteY5" fmla="*/ 716811 h 1085474"/>
                  <a:gd name="connsiteX6" fmla="*/ 81210 w 202310"/>
                  <a:gd name="connsiteY6" fmla="*/ 459167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202310"/>
                  <a:gd name="connsiteY0" fmla="*/ 134831 h 1085474"/>
                  <a:gd name="connsiteX1" fmla="*/ 136884 w 202310"/>
                  <a:gd name="connsiteY1" fmla="*/ 134132 h 1085474"/>
                  <a:gd name="connsiteX2" fmla="*/ 137466 w 202310"/>
                  <a:gd name="connsiteY2" fmla="*/ 432620 h 1085474"/>
                  <a:gd name="connsiteX3" fmla="*/ 165733 w 202310"/>
                  <a:gd name="connsiteY3" fmla="*/ 697611 h 1085474"/>
                  <a:gd name="connsiteX4" fmla="*/ 160152 w 202310"/>
                  <a:gd name="connsiteY4" fmla="*/ 1085474 h 1085474"/>
                  <a:gd name="connsiteX5" fmla="*/ 133025 w 202310"/>
                  <a:gd name="connsiteY5" fmla="*/ 716811 h 1085474"/>
                  <a:gd name="connsiteX6" fmla="*/ 81210 w 202310"/>
                  <a:gd name="connsiteY6" fmla="*/ 459167 h 1085474"/>
                  <a:gd name="connsiteX7" fmla="*/ 67624 w 202310"/>
                  <a:gd name="connsiteY7" fmla="*/ 134831 h 1085474"/>
                  <a:gd name="connsiteX8" fmla="*/ 0 w 202310"/>
                  <a:gd name="connsiteY8" fmla="*/ 141541 h 1085474"/>
                  <a:gd name="connsiteX9" fmla="*/ 99421 w 202310"/>
                  <a:gd name="connsiteY9" fmla="*/ 0 h 1085474"/>
                  <a:gd name="connsiteX10" fmla="*/ 202310 w 202310"/>
                  <a:gd name="connsiteY10" fmla="*/ 134831 h 1085474"/>
                  <a:gd name="connsiteX0" fmla="*/ 202310 w 1026991"/>
                  <a:gd name="connsiteY0" fmla="*/ 134831 h 1264811"/>
                  <a:gd name="connsiteX1" fmla="*/ 136884 w 1026991"/>
                  <a:gd name="connsiteY1" fmla="*/ 134132 h 1264811"/>
                  <a:gd name="connsiteX2" fmla="*/ 137466 w 1026991"/>
                  <a:gd name="connsiteY2" fmla="*/ 432620 h 1264811"/>
                  <a:gd name="connsiteX3" fmla="*/ 165733 w 1026991"/>
                  <a:gd name="connsiteY3" fmla="*/ 697611 h 1264811"/>
                  <a:gd name="connsiteX4" fmla="*/ 1026965 w 1026991"/>
                  <a:gd name="connsiteY4" fmla="*/ 1264811 h 1264811"/>
                  <a:gd name="connsiteX5" fmla="*/ 133025 w 1026991"/>
                  <a:gd name="connsiteY5" fmla="*/ 716811 h 1264811"/>
                  <a:gd name="connsiteX6" fmla="*/ 81210 w 1026991"/>
                  <a:gd name="connsiteY6" fmla="*/ 459167 h 1264811"/>
                  <a:gd name="connsiteX7" fmla="*/ 67624 w 1026991"/>
                  <a:gd name="connsiteY7" fmla="*/ 134831 h 1264811"/>
                  <a:gd name="connsiteX8" fmla="*/ 0 w 1026991"/>
                  <a:gd name="connsiteY8" fmla="*/ 141541 h 1264811"/>
                  <a:gd name="connsiteX9" fmla="*/ 99421 w 1026991"/>
                  <a:gd name="connsiteY9" fmla="*/ 0 h 1264811"/>
                  <a:gd name="connsiteX10" fmla="*/ 202310 w 1026991"/>
                  <a:gd name="connsiteY10" fmla="*/ 134831 h 1264811"/>
                  <a:gd name="connsiteX0" fmla="*/ 202310 w 1027165"/>
                  <a:gd name="connsiteY0" fmla="*/ 134831 h 1264811"/>
                  <a:gd name="connsiteX1" fmla="*/ 136884 w 1027165"/>
                  <a:gd name="connsiteY1" fmla="*/ 134132 h 1264811"/>
                  <a:gd name="connsiteX2" fmla="*/ 137466 w 1027165"/>
                  <a:gd name="connsiteY2" fmla="*/ 432620 h 1264811"/>
                  <a:gd name="connsiteX3" fmla="*/ 165733 w 1027165"/>
                  <a:gd name="connsiteY3" fmla="*/ 697611 h 1264811"/>
                  <a:gd name="connsiteX4" fmla="*/ 1026965 w 1027165"/>
                  <a:gd name="connsiteY4" fmla="*/ 1264811 h 1264811"/>
                  <a:gd name="connsiteX5" fmla="*/ 825075 w 1027165"/>
                  <a:gd name="connsiteY5" fmla="*/ 707844 h 1264811"/>
                  <a:gd name="connsiteX6" fmla="*/ 81210 w 1027165"/>
                  <a:gd name="connsiteY6" fmla="*/ 459167 h 1264811"/>
                  <a:gd name="connsiteX7" fmla="*/ 67624 w 1027165"/>
                  <a:gd name="connsiteY7" fmla="*/ 134831 h 1264811"/>
                  <a:gd name="connsiteX8" fmla="*/ 0 w 1027165"/>
                  <a:gd name="connsiteY8" fmla="*/ 141541 h 1264811"/>
                  <a:gd name="connsiteX9" fmla="*/ 99421 w 1027165"/>
                  <a:gd name="connsiteY9" fmla="*/ 0 h 1264811"/>
                  <a:gd name="connsiteX10" fmla="*/ 202310 w 1027165"/>
                  <a:gd name="connsiteY10" fmla="*/ 134831 h 1264811"/>
                  <a:gd name="connsiteX0" fmla="*/ 202310 w 1027327"/>
                  <a:gd name="connsiteY0" fmla="*/ 134831 h 1264811"/>
                  <a:gd name="connsiteX1" fmla="*/ 136884 w 1027327"/>
                  <a:gd name="connsiteY1" fmla="*/ 134132 h 1264811"/>
                  <a:gd name="connsiteX2" fmla="*/ 137466 w 1027327"/>
                  <a:gd name="connsiteY2" fmla="*/ 432620 h 1264811"/>
                  <a:gd name="connsiteX3" fmla="*/ 836812 w 1027327"/>
                  <a:gd name="connsiteY3" fmla="*/ 805213 h 1264811"/>
                  <a:gd name="connsiteX4" fmla="*/ 1026965 w 1027327"/>
                  <a:gd name="connsiteY4" fmla="*/ 1264811 h 1264811"/>
                  <a:gd name="connsiteX5" fmla="*/ 825075 w 1027327"/>
                  <a:gd name="connsiteY5" fmla="*/ 707844 h 1264811"/>
                  <a:gd name="connsiteX6" fmla="*/ 81210 w 1027327"/>
                  <a:gd name="connsiteY6" fmla="*/ 459167 h 1264811"/>
                  <a:gd name="connsiteX7" fmla="*/ 67624 w 1027327"/>
                  <a:gd name="connsiteY7" fmla="*/ 134831 h 1264811"/>
                  <a:gd name="connsiteX8" fmla="*/ 0 w 1027327"/>
                  <a:gd name="connsiteY8" fmla="*/ 141541 h 1264811"/>
                  <a:gd name="connsiteX9" fmla="*/ 99421 w 1027327"/>
                  <a:gd name="connsiteY9" fmla="*/ 0 h 1264811"/>
                  <a:gd name="connsiteX10" fmla="*/ 202310 w 1027327"/>
                  <a:gd name="connsiteY10" fmla="*/ 134831 h 1264811"/>
                  <a:gd name="connsiteX0" fmla="*/ 202310 w 1027327"/>
                  <a:gd name="connsiteY0" fmla="*/ 134831 h 1264811"/>
                  <a:gd name="connsiteX1" fmla="*/ 136884 w 1027327"/>
                  <a:gd name="connsiteY1" fmla="*/ 134132 h 1264811"/>
                  <a:gd name="connsiteX2" fmla="*/ 137466 w 1027327"/>
                  <a:gd name="connsiteY2" fmla="*/ 432620 h 1264811"/>
                  <a:gd name="connsiteX3" fmla="*/ 836812 w 1027327"/>
                  <a:gd name="connsiteY3" fmla="*/ 805213 h 1264811"/>
                  <a:gd name="connsiteX4" fmla="*/ 1026965 w 1027327"/>
                  <a:gd name="connsiteY4" fmla="*/ 1264811 h 1264811"/>
                  <a:gd name="connsiteX5" fmla="*/ 825075 w 1027327"/>
                  <a:gd name="connsiteY5" fmla="*/ 707844 h 1264811"/>
                  <a:gd name="connsiteX6" fmla="*/ 102184 w 1027327"/>
                  <a:gd name="connsiteY6" fmla="*/ 539868 h 1264811"/>
                  <a:gd name="connsiteX7" fmla="*/ 67624 w 1027327"/>
                  <a:gd name="connsiteY7" fmla="*/ 134831 h 1264811"/>
                  <a:gd name="connsiteX8" fmla="*/ 0 w 1027327"/>
                  <a:gd name="connsiteY8" fmla="*/ 141541 h 1264811"/>
                  <a:gd name="connsiteX9" fmla="*/ 99421 w 1027327"/>
                  <a:gd name="connsiteY9" fmla="*/ 0 h 1264811"/>
                  <a:gd name="connsiteX10" fmla="*/ 202310 w 1027327"/>
                  <a:gd name="connsiteY10" fmla="*/ 134831 h 1264811"/>
                  <a:gd name="connsiteX0" fmla="*/ 202310 w 1027275"/>
                  <a:gd name="connsiteY0" fmla="*/ 134831 h 1264811"/>
                  <a:gd name="connsiteX1" fmla="*/ 136884 w 1027275"/>
                  <a:gd name="connsiteY1" fmla="*/ 134132 h 1264811"/>
                  <a:gd name="connsiteX2" fmla="*/ 193393 w 1027275"/>
                  <a:gd name="connsiteY2" fmla="*/ 369852 h 1264811"/>
                  <a:gd name="connsiteX3" fmla="*/ 836812 w 1027275"/>
                  <a:gd name="connsiteY3" fmla="*/ 805213 h 1264811"/>
                  <a:gd name="connsiteX4" fmla="*/ 1026965 w 1027275"/>
                  <a:gd name="connsiteY4" fmla="*/ 1264811 h 1264811"/>
                  <a:gd name="connsiteX5" fmla="*/ 825075 w 1027275"/>
                  <a:gd name="connsiteY5" fmla="*/ 707844 h 1264811"/>
                  <a:gd name="connsiteX6" fmla="*/ 102184 w 1027275"/>
                  <a:gd name="connsiteY6" fmla="*/ 539868 h 1264811"/>
                  <a:gd name="connsiteX7" fmla="*/ 67624 w 1027275"/>
                  <a:gd name="connsiteY7" fmla="*/ 134831 h 1264811"/>
                  <a:gd name="connsiteX8" fmla="*/ 0 w 1027275"/>
                  <a:gd name="connsiteY8" fmla="*/ 141541 h 1264811"/>
                  <a:gd name="connsiteX9" fmla="*/ 99421 w 1027275"/>
                  <a:gd name="connsiteY9" fmla="*/ 0 h 1264811"/>
                  <a:gd name="connsiteX10" fmla="*/ 202310 w 1027275"/>
                  <a:gd name="connsiteY10" fmla="*/ 134831 h 1264811"/>
                  <a:gd name="connsiteX0" fmla="*/ 202310 w 1027236"/>
                  <a:gd name="connsiteY0" fmla="*/ 134831 h 1264811"/>
                  <a:gd name="connsiteX1" fmla="*/ 136884 w 1027236"/>
                  <a:gd name="connsiteY1" fmla="*/ 134132 h 1264811"/>
                  <a:gd name="connsiteX2" fmla="*/ 249316 w 1027236"/>
                  <a:gd name="connsiteY2" fmla="*/ 450554 h 1264811"/>
                  <a:gd name="connsiteX3" fmla="*/ 836812 w 1027236"/>
                  <a:gd name="connsiteY3" fmla="*/ 805213 h 1264811"/>
                  <a:gd name="connsiteX4" fmla="*/ 1026965 w 1027236"/>
                  <a:gd name="connsiteY4" fmla="*/ 1264811 h 1264811"/>
                  <a:gd name="connsiteX5" fmla="*/ 825075 w 1027236"/>
                  <a:gd name="connsiteY5" fmla="*/ 707844 h 1264811"/>
                  <a:gd name="connsiteX6" fmla="*/ 102184 w 1027236"/>
                  <a:gd name="connsiteY6" fmla="*/ 539868 h 1264811"/>
                  <a:gd name="connsiteX7" fmla="*/ 67624 w 1027236"/>
                  <a:gd name="connsiteY7" fmla="*/ 134831 h 1264811"/>
                  <a:gd name="connsiteX8" fmla="*/ 0 w 1027236"/>
                  <a:gd name="connsiteY8" fmla="*/ 141541 h 1264811"/>
                  <a:gd name="connsiteX9" fmla="*/ 99421 w 1027236"/>
                  <a:gd name="connsiteY9" fmla="*/ 0 h 1264811"/>
                  <a:gd name="connsiteX10" fmla="*/ 202310 w 1027236"/>
                  <a:gd name="connsiteY10" fmla="*/ 134831 h 1264811"/>
                  <a:gd name="connsiteX0" fmla="*/ 202310 w 1027236"/>
                  <a:gd name="connsiteY0" fmla="*/ 134831 h 1264811"/>
                  <a:gd name="connsiteX1" fmla="*/ 136884 w 1027236"/>
                  <a:gd name="connsiteY1" fmla="*/ 134132 h 1264811"/>
                  <a:gd name="connsiteX2" fmla="*/ 249316 w 1027236"/>
                  <a:gd name="connsiteY2" fmla="*/ 450554 h 1264811"/>
                  <a:gd name="connsiteX3" fmla="*/ 836812 w 1027236"/>
                  <a:gd name="connsiteY3" fmla="*/ 805213 h 1264811"/>
                  <a:gd name="connsiteX4" fmla="*/ 1026965 w 1027236"/>
                  <a:gd name="connsiteY4" fmla="*/ 1264811 h 1264811"/>
                  <a:gd name="connsiteX5" fmla="*/ 825075 w 1027236"/>
                  <a:gd name="connsiteY5" fmla="*/ 707844 h 1264811"/>
                  <a:gd name="connsiteX6" fmla="*/ 207040 w 1027236"/>
                  <a:gd name="connsiteY6" fmla="*/ 557802 h 1264811"/>
                  <a:gd name="connsiteX7" fmla="*/ 67624 w 1027236"/>
                  <a:gd name="connsiteY7" fmla="*/ 134831 h 1264811"/>
                  <a:gd name="connsiteX8" fmla="*/ 0 w 1027236"/>
                  <a:gd name="connsiteY8" fmla="*/ 141541 h 1264811"/>
                  <a:gd name="connsiteX9" fmla="*/ 99421 w 1027236"/>
                  <a:gd name="connsiteY9" fmla="*/ 0 h 1264811"/>
                  <a:gd name="connsiteX10" fmla="*/ 202310 w 1027236"/>
                  <a:gd name="connsiteY10" fmla="*/ 134831 h 1264811"/>
                  <a:gd name="connsiteX0" fmla="*/ 202310 w 1027236"/>
                  <a:gd name="connsiteY0" fmla="*/ 134831 h 1264811"/>
                  <a:gd name="connsiteX1" fmla="*/ 136884 w 1027236"/>
                  <a:gd name="connsiteY1" fmla="*/ 134132 h 1264811"/>
                  <a:gd name="connsiteX2" fmla="*/ 249316 w 1027236"/>
                  <a:gd name="connsiteY2" fmla="*/ 450554 h 1264811"/>
                  <a:gd name="connsiteX3" fmla="*/ 836812 w 1027236"/>
                  <a:gd name="connsiteY3" fmla="*/ 805213 h 1264811"/>
                  <a:gd name="connsiteX4" fmla="*/ 1026965 w 1027236"/>
                  <a:gd name="connsiteY4" fmla="*/ 1264811 h 1264811"/>
                  <a:gd name="connsiteX5" fmla="*/ 825075 w 1027236"/>
                  <a:gd name="connsiteY5" fmla="*/ 707844 h 1264811"/>
                  <a:gd name="connsiteX6" fmla="*/ 207040 w 1027236"/>
                  <a:gd name="connsiteY6" fmla="*/ 557802 h 1264811"/>
                  <a:gd name="connsiteX7" fmla="*/ 67624 w 1027236"/>
                  <a:gd name="connsiteY7" fmla="*/ 134831 h 1264811"/>
                  <a:gd name="connsiteX8" fmla="*/ 0 w 1027236"/>
                  <a:gd name="connsiteY8" fmla="*/ 141541 h 1264811"/>
                  <a:gd name="connsiteX9" fmla="*/ 99421 w 1027236"/>
                  <a:gd name="connsiteY9" fmla="*/ 0 h 1264811"/>
                  <a:gd name="connsiteX10" fmla="*/ 202310 w 1027236"/>
                  <a:gd name="connsiteY10" fmla="*/ 134831 h 1264811"/>
                  <a:gd name="connsiteX0" fmla="*/ 202310 w 1027236"/>
                  <a:gd name="connsiteY0" fmla="*/ 134831 h 1264811"/>
                  <a:gd name="connsiteX1" fmla="*/ 136884 w 1027236"/>
                  <a:gd name="connsiteY1" fmla="*/ 134132 h 1264811"/>
                  <a:gd name="connsiteX2" fmla="*/ 249316 w 1027236"/>
                  <a:gd name="connsiteY2" fmla="*/ 450554 h 1264811"/>
                  <a:gd name="connsiteX3" fmla="*/ 836812 w 1027236"/>
                  <a:gd name="connsiteY3" fmla="*/ 805213 h 1264811"/>
                  <a:gd name="connsiteX4" fmla="*/ 1026965 w 1027236"/>
                  <a:gd name="connsiteY4" fmla="*/ 1264811 h 1264811"/>
                  <a:gd name="connsiteX5" fmla="*/ 755171 w 1027236"/>
                  <a:gd name="connsiteY5" fmla="*/ 779579 h 1264811"/>
                  <a:gd name="connsiteX6" fmla="*/ 207040 w 1027236"/>
                  <a:gd name="connsiteY6" fmla="*/ 557802 h 1264811"/>
                  <a:gd name="connsiteX7" fmla="*/ 67624 w 1027236"/>
                  <a:gd name="connsiteY7" fmla="*/ 134831 h 1264811"/>
                  <a:gd name="connsiteX8" fmla="*/ 0 w 1027236"/>
                  <a:gd name="connsiteY8" fmla="*/ 141541 h 1264811"/>
                  <a:gd name="connsiteX9" fmla="*/ 99421 w 1027236"/>
                  <a:gd name="connsiteY9" fmla="*/ 0 h 1264811"/>
                  <a:gd name="connsiteX10" fmla="*/ 202310 w 1027236"/>
                  <a:gd name="connsiteY10" fmla="*/ 134831 h 1264811"/>
                  <a:gd name="connsiteX0" fmla="*/ 202310 w 1027117"/>
                  <a:gd name="connsiteY0" fmla="*/ 134831 h 1264811"/>
                  <a:gd name="connsiteX1" fmla="*/ 136884 w 1027117"/>
                  <a:gd name="connsiteY1" fmla="*/ 134132 h 1264811"/>
                  <a:gd name="connsiteX2" fmla="*/ 249316 w 1027117"/>
                  <a:gd name="connsiteY2" fmla="*/ 450554 h 1264811"/>
                  <a:gd name="connsiteX3" fmla="*/ 780889 w 1027117"/>
                  <a:gd name="connsiteY3" fmla="*/ 706578 h 1264811"/>
                  <a:gd name="connsiteX4" fmla="*/ 1026965 w 1027117"/>
                  <a:gd name="connsiteY4" fmla="*/ 1264811 h 1264811"/>
                  <a:gd name="connsiteX5" fmla="*/ 755171 w 1027117"/>
                  <a:gd name="connsiteY5" fmla="*/ 779579 h 1264811"/>
                  <a:gd name="connsiteX6" fmla="*/ 207040 w 1027117"/>
                  <a:gd name="connsiteY6" fmla="*/ 557802 h 1264811"/>
                  <a:gd name="connsiteX7" fmla="*/ 67624 w 1027117"/>
                  <a:gd name="connsiteY7" fmla="*/ 134831 h 1264811"/>
                  <a:gd name="connsiteX8" fmla="*/ 0 w 1027117"/>
                  <a:gd name="connsiteY8" fmla="*/ 141541 h 1264811"/>
                  <a:gd name="connsiteX9" fmla="*/ 99421 w 1027117"/>
                  <a:gd name="connsiteY9" fmla="*/ 0 h 1264811"/>
                  <a:gd name="connsiteX10" fmla="*/ 202310 w 1027117"/>
                  <a:gd name="connsiteY10" fmla="*/ 134831 h 1264811"/>
                  <a:gd name="connsiteX0" fmla="*/ 202310 w 1027117"/>
                  <a:gd name="connsiteY0" fmla="*/ 134831 h 1264811"/>
                  <a:gd name="connsiteX1" fmla="*/ 136884 w 1027117"/>
                  <a:gd name="connsiteY1" fmla="*/ 134132 h 1264811"/>
                  <a:gd name="connsiteX2" fmla="*/ 249316 w 1027117"/>
                  <a:gd name="connsiteY2" fmla="*/ 450554 h 1264811"/>
                  <a:gd name="connsiteX3" fmla="*/ 780889 w 1027117"/>
                  <a:gd name="connsiteY3" fmla="*/ 706578 h 1264811"/>
                  <a:gd name="connsiteX4" fmla="*/ 1026965 w 1027117"/>
                  <a:gd name="connsiteY4" fmla="*/ 1264811 h 1264811"/>
                  <a:gd name="connsiteX5" fmla="*/ 755171 w 1027117"/>
                  <a:gd name="connsiteY5" fmla="*/ 779579 h 1264811"/>
                  <a:gd name="connsiteX6" fmla="*/ 214031 w 1027117"/>
                  <a:gd name="connsiteY6" fmla="*/ 504001 h 1264811"/>
                  <a:gd name="connsiteX7" fmla="*/ 67624 w 1027117"/>
                  <a:gd name="connsiteY7" fmla="*/ 134831 h 1264811"/>
                  <a:gd name="connsiteX8" fmla="*/ 0 w 1027117"/>
                  <a:gd name="connsiteY8" fmla="*/ 141541 h 1264811"/>
                  <a:gd name="connsiteX9" fmla="*/ 99421 w 1027117"/>
                  <a:gd name="connsiteY9" fmla="*/ 0 h 1264811"/>
                  <a:gd name="connsiteX10" fmla="*/ 202310 w 1027117"/>
                  <a:gd name="connsiteY10" fmla="*/ 134831 h 1264811"/>
                  <a:gd name="connsiteX0" fmla="*/ 202310 w 1027117"/>
                  <a:gd name="connsiteY0" fmla="*/ 134831 h 1264811"/>
                  <a:gd name="connsiteX1" fmla="*/ 136884 w 1027117"/>
                  <a:gd name="connsiteY1" fmla="*/ 134132 h 1264811"/>
                  <a:gd name="connsiteX2" fmla="*/ 249316 w 1027117"/>
                  <a:gd name="connsiteY2" fmla="*/ 450554 h 1264811"/>
                  <a:gd name="connsiteX3" fmla="*/ 780889 w 1027117"/>
                  <a:gd name="connsiteY3" fmla="*/ 706578 h 1264811"/>
                  <a:gd name="connsiteX4" fmla="*/ 1026965 w 1027117"/>
                  <a:gd name="connsiteY4" fmla="*/ 1264811 h 1264811"/>
                  <a:gd name="connsiteX5" fmla="*/ 762162 w 1027117"/>
                  <a:gd name="connsiteY5" fmla="*/ 716811 h 1264811"/>
                  <a:gd name="connsiteX6" fmla="*/ 214031 w 1027117"/>
                  <a:gd name="connsiteY6" fmla="*/ 504001 h 1264811"/>
                  <a:gd name="connsiteX7" fmla="*/ 67624 w 1027117"/>
                  <a:gd name="connsiteY7" fmla="*/ 134831 h 1264811"/>
                  <a:gd name="connsiteX8" fmla="*/ 0 w 1027117"/>
                  <a:gd name="connsiteY8" fmla="*/ 141541 h 1264811"/>
                  <a:gd name="connsiteX9" fmla="*/ 99421 w 1027117"/>
                  <a:gd name="connsiteY9" fmla="*/ 0 h 1264811"/>
                  <a:gd name="connsiteX10" fmla="*/ 202310 w 1027117"/>
                  <a:gd name="connsiteY10" fmla="*/ 134831 h 1264811"/>
                  <a:gd name="connsiteX0" fmla="*/ 202310 w 1027117"/>
                  <a:gd name="connsiteY0" fmla="*/ 134831 h 1264811"/>
                  <a:gd name="connsiteX1" fmla="*/ 136884 w 1027117"/>
                  <a:gd name="connsiteY1" fmla="*/ 134132 h 1264811"/>
                  <a:gd name="connsiteX2" fmla="*/ 249316 w 1027117"/>
                  <a:gd name="connsiteY2" fmla="*/ 450554 h 1264811"/>
                  <a:gd name="connsiteX3" fmla="*/ 780889 w 1027117"/>
                  <a:gd name="connsiteY3" fmla="*/ 706578 h 1264811"/>
                  <a:gd name="connsiteX4" fmla="*/ 1026965 w 1027117"/>
                  <a:gd name="connsiteY4" fmla="*/ 1264811 h 1264811"/>
                  <a:gd name="connsiteX5" fmla="*/ 770900 w 1027117"/>
                  <a:gd name="connsiteY5" fmla="*/ 750437 h 1264811"/>
                  <a:gd name="connsiteX6" fmla="*/ 214031 w 1027117"/>
                  <a:gd name="connsiteY6" fmla="*/ 504001 h 1264811"/>
                  <a:gd name="connsiteX7" fmla="*/ 67624 w 1027117"/>
                  <a:gd name="connsiteY7" fmla="*/ 134831 h 1264811"/>
                  <a:gd name="connsiteX8" fmla="*/ 0 w 1027117"/>
                  <a:gd name="connsiteY8" fmla="*/ 141541 h 1264811"/>
                  <a:gd name="connsiteX9" fmla="*/ 99421 w 1027117"/>
                  <a:gd name="connsiteY9" fmla="*/ 0 h 1264811"/>
                  <a:gd name="connsiteX10" fmla="*/ 202310 w 1027117"/>
                  <a:gd name="connsiteY10" fmla="*/ 134831 h 1264811"/>
                  <a:gd name="connsiteX0" fmla="*/ 197941 w 1022748"/>
                  <a:gd name="connsiteY0" fmla="*/ 134831 h 1264811"/>
                  <a:gd name="connsiteX1" fmla="*/ 132515 w 1022748"/>
                  <a:gd name="connsiteY1" fmla="*/ 134132 h 1264811"/>
                  <a:gd name="connsiteX2" fmla="*/ 244947 w 1022748"/>
                  <a:gd name="connsiteY2" fmla="*/ 450554 h 1264811"/>
                  <a:gd name="connsiteX3" fmla="*/ 776520 w 1022748"/>
                  <a:gd name="connsiteY3" fmla="*/ 706578 h 1264811"/>
                  <a:gd name="connsiteX4" fmla="*/ 1022596 w 1022748"/>
                  <a:gd name="connsiteY4" fmla="*/ 1264811 h 1264811"/>
                  <a:gd name="connsiteX5" fmla="*/ 766531 w 1022748"/>
                  <a:gd name="connsiteY5" fmla="*/ 750437 h 1264811"/>
                  <a:gd name="connsiteX6" fmla="*/ 209662 w 1022748"/>
                  <a:gd name="connsiteY6" fmla="*/ 504001 h 1264811"/>
                  <a:gd name="connsiteX7" fmla="*/ 63255 w 1022748"/>
                  <a:gd name="connsiteY7" fmla="*/ 134831 h 1264811"/>
                  <a:gd name="connsiteX8" fmla="*/ 0 w 1022748"/>
                  <a:gd name="connsiteY8" fmla="*/ 135937 h 1264811"/>
                  <a:gd name="connsiteX9" fmla="*/ 95052 w 1022748"/>
                  <a:gd name="connsiteY9" fmla="*/ 0 h 1264811"/>
                  <a:gd name="connsiteX10" fmla="*/ 197941 w 1022748"/>
                  <a:gd name="connsiteY10" fmla="*/ 134831 h 1264811"/>
                  <a:gd name="connsiteX0" fmla="*/ 197941 w 839632"/>
                  <a:gd name="connsiteY0" fmla="*/ 134831 h 765301"/>
                  <a:gd name="connsiteX1" fmla="*/ 132515 w 839632"/>
                  <a:gd name="connsiteY1" fmla="*/ 134132 h 765301"/>
                  <a:gd name="connsiteX2" fmla="*/ 244947 w 839632"/>
                  <a:gd name="connsiteY2" fmla="*/ 450554 h 765301"/>
                  <a:gd name="connsiteX3" fmla="*/ 776520 w 839632"/>
                  <a:gd name="connsiteY3" fmla="*/ 706578 h 765301"/>
                  <a:gd name="connsiteX4" fmla="*/ 766531 w 839632"/>
                  <a:gd name="connsiteY4" fmla="*/ 750437 h 765301"/>
                  <a:gd name="connsiteX5" fmla="*/ 209662 w 839632"/>
                  <a:gd name="connsiteY5" fmla="*/ 504001 h 765301"/>
                  <a:gd name="connsiteX6" fmla="*/ 63255 w 839632"/>
                  <a:gd name="connsiteY6" fmla="*/ 134831 h 765301"/>
                  <a:gd name="connsiteX7" fmla="*/ 0 w 839632"/>
                  <a:gd name="connsiteY7" fmla="*/ 135937 h 765301"/>
                  <a:gd name="connsiteX8" fmla="*/ 95052 w 839632"/>
                  <a:gd name="connsiteY8" fmla="*/ 0 h 765301"/>
                  <a:gd name="connsiteX9" fmla="*/ 197941 w 839632"/>
                  <a:gd name="connsiteY9" fmla="*/ 134831 h 765301"/>
                  <a:gd name="connsiteX0" fmla="*/ 197941 w 776578"/>
                  <a:gd name="connsiteY0" fmla="*/ 134831 h 707059"/>
                  <a:gd name="connsiteX1" fmla="*/ 132515 w 776578"/>
                  <a:gd name="connsiteY1" fmla="*/ 134132 h 707059"/>
                  <a:gd name="connsiteX2" fmla="*/ 244947 w 776578"/>
                  <a:gd name="connsiteY2" fmla="*/ 450554 h 707059"/>
                  <a:gd name="connsiteX3" fmla="*/ 776520 w 776578"/>
                  <a:gd name="connsiteY3" fmla="*/ 706578 h 707059"/>
                  <a:gd name="connsiteX4" fmla="*/ 209662 w 776578"/>
                  <a:gd name="connsiteY4" fmla="*/ 504001 h 707059"/>
                  <a:gd name="connsiteX5" fmla="*/ 63255 w 776578"/>
                  <a:gd name="connsiteY5" fmla="*/ 134831 h 707059"/>
                  <a:gd name="connsiteX6" fmla="*/ 0 w 776578"/>
                  <a:gd name="connsiteY6" fmla="*/ 135937 h 707059"/>
                  <a:gd name="connsiteX7" fmla="*/ 95052 w 776578"/>
                  <a:gd name="connsiteY7" fmla="*/ 0 h 707059"/>
                  <a:gd name="connsiteX8" fmla="*/ 197941 w 776578"/>
                  <a:gd name="connsiteY8" fmla="*/ 134831 h 707059"/>
                  <a:gd name="connsiteX0" fmla="*/ 197941 w 664373"/>
                  <a:gd name="connsiteY0" fmla="*/ 134831 h 686304"/>
                  <a:gd name="connsiteX1" fmla="*/ 132515 w 664373"/>
                  <a:gd name="connsiteY1" fmla="*/ 134132 h 686304"/>
                  <a:gd name="connsiteX2" fmla="*/ 244947 w 664373"/>
                  <a:gd name="connsiteY2" fmla="*/ 450554 h 686304"/>
                  <a:gd name="connsiteX3" fmla="*/ 664298 w 664373"/>
                  <a:gd name="connsiteY3" fmla="*/ 685744 h 686304"/>
                  <a:gd name="connsiteX4" fmla="*/ 209662 w 664373"/>
                  <a:gd name="connsiteY4" fmla="*/ 504001 h 686304"/>
                  <a:gd name="connsiteX5" fmla="*/ 63255 w 664373"/>
                  <a:gd name="connsiteY5" fmla="*/ 134831 h 686304"/>
                  <a:gd name="connsiteX6" fmla="*/ 0 w 664373"/>
                  <a:gd name="connsiteY6" fmla="*/ 135937 h 686304"/>
                  <a:gd name="connsiteX7" fmla="*/ 95052 w 664373"/>
                  <a:gd name="connsiteY7" fmla="*/ 0 h 686304"/>
                  <a:gd name="connsiteX8" fmla="*/ 197941 w 664373"/>
                  <a:gd name="connsiteY8" fmla="*/ 134831 h 686304"/>
                  <a:gd name="connsiteX0" fmla="*/ 197941 w 664574"/>
                  <a:gd name="connsiteY0" fmla="*/ 134831 h 690911"/>
                  <a:gd name="connsiteX1" fmla="*/ 132515 w 664574"/>
                  <a:gd name="connsiteY1" fmla="*/ 134132 h 690911"/>
                  <a:gd name="connsiteX2" fmla="*/ 244947 w 664574"/>
                  <a:gd name="connsiteY2" fmla="*/ 450554 h 690911"/>
                  <a:gd name="connsiteX3" fmla="*/ 664298 w 664574"/>
                  <a:gd name="connsiteY3" fmla="*/ 685744 h 690911"/>
                  <a:gd name="connsiteX4" fmla="*/ 176661 w 664574"/>
                  <a:gd name="connsiteY4" fmla="*/ 573439 h 690911"/>
                  <a:gd name="connsiteX5" fmla="*/ 63255 w 664574"/>
                  <a:gd name="connsiteY5" fmla="*/ 134831 h 690911"/>
                  <a:gd name="connsiteX6" fmla="*/ 0 w 664574"/>
                  <a:gd name="connsiteY6" fmla="*/ 135937 h 690911"/>
                  <a:gd name="connsiteX7" fmla="*/ 95052 w 664574"/>
                  <a:gd name="connsiteY7" fmla="*/ 0 h 690911"/>
                  <a:gd name="connsiteX8" fmla="*/ 197941 w 664574"/>
                  <a:gd name="connsiteY8" fmla="*/ 134831 h 690911"/>
                  <a:gd name="connsiteX0" fmla="*/ 197941 w 664366"/>
                  <a:gd name="connsiteY0" fmla="*/ 134831 h 687262"/>
                  <a:gd name="connsiteX1" fmla="*/ 132515 w 664366"/>
                  <a:gd name="connsiteY1" fmla="*/ 134132 h 687262"/>
                  <a:gd name="connsiteX2" fmla="*/ 211947 w 664366"/>
                  <a:gd name="connsiteY2" fmla="*/ 519990 h 687262"/>
                  <a:gd name="connsiteX3" fmla="*/ 664298 w 664366"/>
                  <a:gd name="connsiteY3" fmla="*/ 685744 h 687262"/>
                  <a:gd name="connsiteX4" fmla="*/ 176661 w 664366"/>
                  <a:gd name="connsiteY4" fmla="*/ 573439 h 687262"/>
                  <a:gd name="connsiteX5" fmla="*/ 63255 w 664366"/>
                  <a:gd name="connsiteY5" fmla="*/ 134831 h 687262"/>
                  <a:gd name="connsiteX6" fmla="*/ 0 w 664366"/>
                  <a:gd name="connsiteY6" fmla="*/ 135937 h 687262"/>
                  <a:gd name="connsiteX7" fmla="*/ 95052 w 664366"/>
                  <a:gd name="connsiteY7" fmla="*/ 0 h 687262"/>
                  <a:gd name="connsiteX8" fmla="*/ 197941 w 664366"/>
                  <a:gd name="connsiteY8" fmla="*/ 134831 h 687262"/>
                  <a:gd name="connsiteX0" fmla="*/ 197941 w 657764"/>
                  <a:gd name="connsiteY0" fmla="*/ 134831 h 687262"/>
                  <a:gd name="connsiteX1" fmla="*/ 132515 w 657764"/>
                  <a:gd name="connsiteY1" fmla="*/ 134132 h 687262"/>
                  <a:gd name="connsiteX2" fmla="*/ 211947 w 657764"/>
                  <a:gd name="connsiteY2" fmla="*/ 519990 h 687262"/>
                  <a:gd name="connsiteX3" fmla="*/ 657695 w 657764"/>
                  <a:gd name="connsiteY3" fmla="*/ 685746 h 687262"/>
                  <a:gd name="connsiteX4" fmla="*/ 176661 w 657764"/>
                  <a:gd name="connsiteY4" fmla="*/ 573439 h 687262"/>
                  <a:gd name="connsiteX5" fmla="*/ 63255 w 657764"/>
                  <a:gd name="connsiteY5" fmla="*/ 134831 h 687262"/>
                  <a:gd name="connsiteX6" fmla="*/ 0 w 657764"/>
                  <a:gd name="connsiteY6" fmla="*/ 135937 h 687262"/>
                  <a:gd name="connsiteX7" fmla="*/ 95052 w 657764"/>
                  <a:gd name="connsiteY7" fmla="*/ 0 h 687262"/>
                  <a:gd name="connsiteX8" fmla="*/ 197941 w 657764"/>
                  <a:gd name="connsiteY8" fmla="*/ 134831 h 687262"/>
                  <a:gd name="connsiteX0" fmla="*/ 197941 w 697378"/>
                  <a:gd name="connsiteY0" fmla="*/ 134831 h 728229"/>
                  <a:gd name="connsiteX1" fmla="*/ 132515 w 697378"/>
                  <a:gd name="connsiteY1" fmla="*/ 134132 h 728229"/>
                  <a:gd name="connsiteX2" fmla="*/ 211947 w 697378"/>
                  <a:gd name="connsiteY2" fmla="*/ 519990 h 728229"/>
                  <a:gd name="connsiteX3" fmla="*/ 697314 w 697378"/>
                  <a:gd name="connsiteY3" fmla="*/ 727407 h 728229"/>
                  <a:gd name="connsiteX4" fmla="*/ 176661 w 697378"/>
                  <a:gd name="connsiteY4" fmla="*/ 573439 h 728229"/>
                  <a:gd name="connsiteX5" fmla="*/ 63255 w 697378"/>
                  <a:gd name="connsiteY5" fmla="*/ 134831 h 728229"/>
                  <a:gd name="connsiteX6" fmla="*/ 0 w 697378"/>
                  <a:gd name="connsiteY6" fmla="*/ 135937 h 728229"/>
                  <a:gd name="connsiteX7" fmla="*/ 95052 w 697378"/>
                  <a:gd name="connsiteY7" fmla="*/ 0 h 728229"/>
                  <a:gd name="connsiteX8" fmla="*/ 197941 w 697378"/>
                  <a:gd name="connsiteY8" fmla="*/ 134831 h 728229"/>
                  <a:gd name="connsiteX0" fmla="*/ 197941 w 690787"/>
                  <a:gd name="connsiteY0" fmla="*/ 134831 h 728225"/>
                  <a:gd name="connsiteX1" fmla="*/ 132515 w 690787"/>
                  <a:gd name="connsiteY1" fmla="*/ 134132 h 728225"/>
                  <a:gd name="connsiteX2" fmla="*/ 211947 w 690787"/>
                  <a:gd name="connsiteY2" fmla="*/ 519990 h 728225"/>
                  <a:gd name="connsiteX3" fmla="*/ 690723 w 690787"/>
                  <a:gd name="connsiteY3" fmla="*/ 727403 h 728225"/>
                  <a:gd name="connsiteX4" fmla="*/ 176661 w 690787"/>
                  <a:gd name="connsiteY4" fmla="*/ 573439 h 728225"/>
                  <a:gd name="connsiteX5" fmla="*/ 63255 w 690787"/>
                  <a:gd name="connsiteY5" fmla="*/ 134831 h 728225"/>
                  <a:gd name="connsiteX6" fmla="*/ 0 w 690787"/>
                  <a:gd name="connsiteY6" fmla="*/ 135937 h 728225"/>
                  <a:gd name="connsiteX7" fmla="*/ 95052 w 690787"/>
                  <a:gd name="connsiteY7" fmla="*/ 0 h 728225"/>
                  <a:gd name="connsiteX8" fmla="*/ 197941 w 690787"/>
                  <a:gd name="connsiteY8" fmla="*/ 134831 h 728225"/>
                  <a:gd name="connsiteX0" fmla="*/ 197941 w 670985"/>
                  <a:gd name="connsiteY0" fmla="*/ 134831 h 721350"/>
                  <a:gd name="connsiteX1" fmla="*/ 132515 w 670985"/>
                  <a:gd name="connsiteY1" fmla="*/ 134132 h 721350"/>
                  <a:gd name="connsiteX2" fmla="*/ 211947 w 670985"/>
                  <a:gd name="connsiteY2" fmla="*/ 519990 h 721350"/>
                  <a:gd name="connsiteX3" fmla="*/ 670919 w 670985"/>
                  <a:gd name="connsiteY3" fmla="*/ 720457 h 721350"/>
                  <a:gd name="connsiteX4" fmla="*/ 176661 w 670985"/>
                  <a:gd name="connsiteY4" fmla="*/ 573439 h 721350"/>
                  <a:gd name="connsiteX5" fmla="*/ 63255 w 670985"/>
                  <a:gd name="connsiteY5" fmla="*/ 134831 h 721350"/>
                  <a:gd name="connsiteX6" fmla="*/ 0 w 670985"/>
                  <a:gd name="connsiteY6" fmla="*/ 135937 h 721350"/>
                  <a:gd name="connsiteX7" fmla="*/ 95052 w 670985"/>
                  <a:gd name="connsiteY7" fmla="*/ 0 h 721350"/>
                  <a:gd name="connsiteX8" fmla="*/ 197941 w 670985"/>
                  <a:gd name="connsiteY8" fmla="*/ 134831 h 721350"/>
                  <a:gd name="connsiteX0" fmla="*/ 197941 w 712363"/>
                  <a:gd name="connsiteY0" fmla="*/ 134831 h 742007"/>
                  <a:gd name="connsiteX1" fmla="*/ 132515 w 712363"/>
                  <a:gd name="connsiteY1" fmla="*/ 134132 h 742007"/>
                  <a:gd name="connsiteX2" fmla="*/ 211947 w 712363"/>
                  <a:gd name="connsiteY2" fmla="*/ 519990 h 742007"/>
                  <a:gd name="connsiteX3" fmla="*/ 670919 w 712363"/>
                  <a:gd name="connsiteY3" fmla="*/ 720457 h 742007"/>
                  <a:gd name="connsiteX4" fmla="*/ 176661 w 712363"/>
                  <a:gd name="connsiteY4" fmla="*/ 573439 h 742007"/>
                  <a:gd name="connsiteX5" fmla="*/ 63255 w 712363"/>
                  <a:gd name="connsiteY5" fmla="*/ 134831 h 742007"/>
                  <a:gd name="connsiteX6" fmla="*/ 0 w 712363"/>
                  <a:gd name="connsiteY6" fmla="*/ 135937 h 742007"/>
                  <a:gd name="connsiteX7" fmla="*/ 95052 w 712363"/>
                  <a:gd name="connsiteY7" fmla="*/ 0 h 742007"/>
                  <a:gd name="connsiteX8" fmla="*/ 197941 w 712363"/>
                  <a:gd name="connsiteY8" fmla="*/ 134831 h 742007"/>
                  <a:gd name="connsiteX0" fmla="*/ 197941 w 712363"/>
                  <a:gd name="connsiteY0" fmla="*/ 134831 h 742003"/>
                  <a:gd name="connsiteX1" fmla="*/ 132515 w 712363"/>
                  <a:gd name="connsiteY1" fmla="*/ 134132 h 742003"/>
                  <a:gd name="connsiteX2" fmla="*/ 211947 w 712363"/>
                  <a:gd name="connsiteY2" fmla="*/ 519990 h 742003"/>
                  <a:gd name="connsiteX3" fmla="*/ 670919 w 712363"/>
                  <a:gd name="connsiteY3" fmla="*/ 720457 h 742003"/>
                  <a:gd name="connsiteX4" fmla="*/ 176661 w 712363"/>
                  <a:gd name="connsiteY4" fmla="*/ 573439 h 742003"/>
                  <a:gd name="connsiteX5" fmla="*/ 63255 w 712363"/>
                  <a:gd name="connsiteY5" fmla="*/ 134831 h 742003"/>
                  <a:gd name="connsiteX6" fmla="*/ 0 w 712363"/>
                  <a:gd name="connsiteY6" fmla="*/ 135937 h 742003"/>
                  <a:gd name="connsiteX7" fmla="*/ 95052 w 712363"/>
                  <a:gd name="connsiteY7" fmla="*/ 0 h 742003"/>
                  <a:gd name="connsiteX8" fmla="*/ 197941 w 712363"/>
                  <a:gd name="connsiteY8" fmla="*/ 134831 h 742003"/>
                  <a:gd name="connsiteX0" fmla="*/ 197941 w 670919"/>
                  <a:gd name="connsiteY0" fmla="*/ 134831 h 742007"/>
                  <a:gd name="connsiteX1" fmla="*/ 132515 w 670919"/>
                  <a:gd name="connsiteY1" fmla="*/ 134132 h 742007"/>
                  <a:gd name="connsiteX2" fmla="*/ 211947 w 670919"/>
                  <a:gd name="connsiteY2" fmla="*/ 519990 h 742007"/>
                  <a:gd name="connsiteX3" fmla="*/ 670919 w 670919"/>
                  <a:gd name="connsiteY3" fmla="*/ 720457 h 742007"/>
                  <a:gd name="connsiteX4" fmla="*/ 176661 w 670919"/>
                  <a:gd name="connsiteY4" fmla="*/ 573439 h 742007"/>
                  <a:gd name="connsiteX5" fmla="*/ 63255 w 670919"/>
                  <a:gd name="connsiteY5" fmla="*/ 134831 h 742007"/>
                  <a:gd name="connsiteX6" fmla="*/ 0 w 670919"/>
                  <a:gd name="connsiteY6" fmla="*/ 135937 h 742007"/>
                  <a:gd name="connsiteX7" fmla="*/ 95052 w 670919"/>
                  <a:gd name="connsiteY7" fmla="*/ 0 h 742007"/>
                  <a:gd name="connsiteX8" fmla="*/ 197941 w 670919"/>
                  <a:gd name="connsiteY8" fmla="*/ 134831 h 742007"/>
                  <a:gd name="connsiteX0" fmla="*/ 197941 w 670919"/>
                  <a:gd name="connsiteY0" fmla="*/ 134831 h 720512"/>
                  <a:gd name="connsiteX1" fmla="*/ 132515 w 670919"/>
                  <a:gd name="connsiteY1" fmla="*/ 134132 h 720512"/>
                  <a:gd name="connsiteX2" fmla="*/ 211947 w 670919"/>
                  <a:gd name="connsiteY2" fmla="*/ 519990 h 720512"/>
                  <a:gd name="connsiteX3" fmla="*/ 670919 w 670919"/>
                  <a:gd name="connsiteY3" fmla="*/ 720457 h 720512"/>
                  <a:gd name="connsiteX4" fmla="*/ 176661 w 670919"/>
                  <a:gd name="connsiteY4" fmla="*/ 573439 h 720512"/>
                  <a:gd name="connsiteX5" fmla="*/ 63255 w 670919"/>
                  <a:gd name="connsiteY5" fmla="*/ 134831 h 720512"/>
                  <a:gd name="connsiteX6" fmla="*/ 0 w 670919"/>
                  <a:gd name="connsiteY6" fmla="*/ 135937 h 720512"/>
                  <a:gd name="connsiteX7" fmla="*/ 95052 w 670919"/>
                  <a:gd name="connsiteY7" fmla="*/ 0 h 720512"/>
                  <a:gd name="connsiteX8" fmla="*/ 197941 w 670919"/>
                  <a:gd name="connsiteY8" fmla="*/ 134831 h 720512"/>
                  <a:gd name="connsiteX0" fmla="*/ 197941 w 670919"/>
                  <a:gd name="connsiteY0" fmla="*/ 134831 h 720512"/>
                  <a:gd name="connsiteX1" fmla="*/ 132515 w 670919"/>
                  <a:gd name="connsiteY1" fmla="*/ 134132 h 720512"/>
                  <a:gd name="connsiteX2" fmla="*/ 211947 w 670919"/>
                  <a:gd name="connsiteY2" fmla="*/ 519990 h 720512"/>
                  <a:gd name="connsiteX3" fmla="*/ 670919 w 670919"/>
                  <a:gd name="connsiteY3" fmla="*/ 720457 h 720512"/>
                  <a:gd name="connsiteX4" fmla="*/ 176661 w 670919"/>
                  <a:gd name="connsiteY4" fmla="*/ 573439 h 720512"/>
                  <a:gd name="connsiteX5" fmla="*/ 63255 w 670919"/>
                  <a:gd name="connsiteY5" fmla="*/ 134831 h 720512"/>
                  <a:gd name="connsiteX6" fmla="*/ 0 w 670919"/>
                  <a:gd name="connsiteY6" fmla="*/ 135937 h 720512"/>
                  <a:gd name="connsiteX7" fmla="*/ 95052 w 670919"/>
                  <a:gd name="connsiteY7" fmla="*/ 0 h 720512"/>
                  <a:gd name="connsiteX8" fmla="*/ 197941 w 670919"/>
                  <a:gd name="connsiteY8" fmla="*/ 134831 h 720512"/>
                  <a:gd name="connsiteX0" fmla="*/ 197941 w 670919"/>
                  <a:gd name="connsiteY0" fmla="*/ 134831 h 720505"/>
                  <a:gd name="connsiteX1" fmla="*/ 132515 w 670919"/>
                  <a:gd name="connsiteY1" fmla="*/ 134132 h 720505"/>
                  <a:gd name="connsiteX2" fmla="*/ 211947 w 670919"/>
                  <a:gd name="connsiteY2" fmla="*/ 519990 h 720505"/>
                  <a:gd name="connsiteX3" fmla="*/ 670919 w 670919"/>
                  <a:gd name="connsiteY3" fmla="*/ 720457 h 720505"/>
                  <a:gd name="connsiteX4" fmla="*/ 150261 w 670919"/>
                  <a:gd name="connsiteY4" fmla="*/ 566494 h 720505"/>
                  <a:gd name="connsiteX5" fmla="*/ 63255 w 670919"/>
                  <a:gd name="connsiteY5" fmla="*/ 134831 h 720505"/>
                  <a:gd name="connsiteX6" fmla="*/ 0 w 670919"/>
                  <a:gd name="connsiteY6" fmla="*/ 135937 h 720505"/>
                  <a:gd name="connsiteX7" fmla="*/ 95052 w 670919"/>
                  <a:gd name="connsiteY7" fmla="*/ 0 h 720505"/>
                  <a:gd name="connsiteX8" fmla="*/ 197941 w 670919"/>
                  <a:gd name="connsiteY8" fmla="*/ 134831 h 720505"/>
                  <a:gd name="connsiteX0" fmla="*/ 197941 w 670919"/>
                  <a:gd name="connsiteY0" fmla="*/ 134831 h 720505"/>
                  <a:gd name="connsiteX1" fmla="*/ 132515 w 670919"/>
                  <a:gd name="connsiteY1" fmla="*/ 134132 h 720505"/>
                  <a:gd name="connsiteX2" fmla="*/ 198754 w 670919"/>
                  <a:gd name="connsiteY2" fmla="*/ 526934 h 720505"/>
                  <a:gd name="connsiteX3" fmla="*/ 670919 w 670919"/>
                  <a:gd name="connsiteY3" fmla="*/ 720457 h 720505"/>
                  <a:gd name="connsiteX4" fmla="*/ 150261 w 670919"/>
                  <a:gd name="connsiteY4" fmla="*/ 566494 h 720505"/>
                  <a:gd name="connsiteX5" fmla="*/ 63255 w 670919"/>
                  <a:gd name="connsiteY5" fmla="*/ 134831 h 720505"/>
                  <a:gd name="connsiteX6" fmla="*/ 0 w 670919"/>
                  <a:gd name="connsiteY6" fmla="*/ 135937 h 720505"/>
                  <a:gd name="connsiteX7" fmla="*/ 95052 w 670919"/>
                  <a:gd name="connsiteY7" fmla="*/ 0 h 720505"/>
                  <a:gd name="connsiteX8" fmla="*/ 197941 w 670919"/>
                  <a:gd name="connsiteY8" fmla="*/ 134831 h 720505"/>
                  <a:gd name="connsiteX0" fmla="*/ 197941 w 371339"/>
                  <a:gd name="connsiteY0" fmla="*/ 134831 h 855868"/>
                  <a:gd name="connsiteX1" fmla="*/ 132515 w 371339"/>
                  <a:gd name="connsiteY1" fmla="*/ 134132 h 855868"/>
                  <a:gd name="connsiteX2" fmla="*/ 198754 w 371339"/>
                  <a:gd name="connsiteY2" fmla="*/ 526934 h 855868"/>
                  <a:gd name="connsiteX3" fmla="*/ 371340 w 371339"/>
                  <a:gd name="connsiteY3" fmla="*/ 855852 h 855868"/>
                  <a:gd name="connsiteX4" fmla="*/ 150261 w 371339"/>
                  <a:gd name="connsiteY4" fmla="*/ 566494 h 855868"/>
                  <a:gd name="connsiteX5" fmla="*/ 63255 w 371339"/>
                  <a:gd name="connsiteY5" fmla="*/ 134831 h 855868"/>
                  <a:gd name="connsiteX6" fmla="*/ 0 w 371339"/>
                  <a:gd name="connsiteY6" fmla="*/ 135937 h 855868"/>
                  <a:gd name="connsiteX7" fmla="*/ 95052 w 371339"/>
                  <a:gd name="connsiteY7" fmla="*/ 0 h 855868"/>
                  <a:gd name="connsiteX8" fmla="*/ 197941 w 371339"/>
                  <a:gd name="connsiteY8" fmla="*/ 134831 h 855868"/>
                  <a:gd name="connsiteX0" fmla="*/ 197941 w 371339"/>
                  <a:gd name="connsiteY0" fmla="*/ 134831 h 855868"/>
                  <a:gd name="connsiteX1" fmla="*/ 132515 w 371339"/>
                  <a:gd name="connsiteY1" fmla="*/ 134132 h 855868"/>
                  <a:gd name="connsiteX2" fmla="*/ 198754 w 371339"/>
                  <a:gd name="connsiteY2" fmla="*/ 526934 h 855868"/>
                  <a:gd name="connsiteX3" fmla="*/ 371340 w 371339"/>
                  <a:gd name="connsiteY3" fmla="*/ 855852 h 855868"/>
                  <a:gd name="connsiteX4" fmla="*/ 150261 w 371339"/>
                  <a:gd name="connsiteY4" fmla="*/ 566494 h 855868"/>
                  <a:gd name="connsiteX5" fmla="*/ 63255 w 371339"/>
                  <a:gd name="connsiteY5" fmla="*/ 134831 h 855868"/>
                  <a:gd name="connsiteX6" fmla="*/ 0 w 371339"/>
                  <a:gd name="connsiteY6" fmla="*/ 135937 h 855868"/>
                  <a:gd name="connsiteX7" fmla="*/ 95052 w 371339"/>
                  <a:gd name="connsiteY7" fmla="*/ 0 h 855868"/>
                  <a:gd name="connsiteX8" fmla="*/ 197941 w 371339"/>
                  <a:gd name="connsiteY8" fmla="*/ 134831 h 855868"/>
                  <a:gd name="connsiteX0" fmla="*/ 197941 w 371339"/>
                  <a:gd name="connsiteY0" fmla="*/ 134831 h 855851"/>
                  <a:gd name="connsiteX1" fmla="*/ 132515 w 371339"/>
                  <a:gd name="connsiteY1" fmla="*/ 134132 h 855851"/>
                  <a:gd name="connsiteX2" fmla="*/ 198754 w 371339"/>
                  <a:gd name="connsiteY2" fmla="*/ 526934 h 855851"/>
                  <a:gd name="connsiteX3" fmla="*/ 371340 w 371339"/>
                  <a:gd name="connsiteY3" fmla="*/ 855852 h 855851"/>
                  <a:gd name="connsiteX4" fmla="*/ 150261 w 371339"/>
                  <a:gd name="connsiteY4" fmla="*/ 566494 h 855851"/>
                  <a:gd name="connsiteX5" fmla="*/ 63255 w 371339"/>
                  <a:gd name="connsiteY5" fmla="*/ 134831 h 855851"/>
                  <a:gd name="connsiteX6" fmla="*/ 0 w 371339"/>
                  <a:gd name="connsiteY6" fmla="*/ 135937 h 855851"/>
                  <a:gd name="connsiteX7" fmla="*/ 95052 w 371339"/>
                  <a:gd name="connsiteY7" fmla="*/ 0 h 855851"/>
                  <a:gd name="connsiteX8" fmla="*/ 197941 w 371339"/>
                  <a:gd name="connsiteY8" fmla="*/ 134831 h 855851"/>
                  <a:gd name="connsiteX0" fmla="*/ 197941 w 371339"/>
                  <a:gd name="connsiteY0" fmla="*/ 134831 h 855851"/>
                  <a:gd name="connsiteX1" fmla="*/ 132515 w 371339"/>
                  <a:gd name="connsiteY1" fmla="*/ 134132 h 855851"/>
                  <a:gd name="connsiteX2" fmla="*/ 198754 w 371339"/>
                  <a:gd name="connsiteY2" fmla="*/ 526934 h 855851"/>
                  <a:gd name="connsiteX3" fmla="*/ 371340 w 371339"/>
                  <a:gd name="connsiteY3" fmla="*/ 855852 h 855851"/>
                  <a:gd name="connsiteX4" fmla="*/ 144263 w 371339"/>
                  <a:gd name="connsiteY4" fmla="*/ 513725 h 855851"/>
                  <a:gd name="connsiteX5" fmla="*/ 63255 w 371339"/>
                  <a:gd name="connsiteY5" fmla="*/ 134831 h 855851"/>
                  <a:gd name="connsiteX6" fmla="*/ 0 w 371339"/>
                  <a:gd name="connsiteY6" fmla="*/ 135937 h 855851"/>
                  <a:gd name="connsiteX7" fmla="*/ 95052 w 371339"/>
                  <a:gd name="connsiteY7" fmla="*/ 0 h 855851"/>
                  <a:gd name="connsiteX8" fmla="*/ 197941 w 371339"/>
                  <a:gd name="connsiteY8" fmla="*/ 134831 h 855851"/>
                  <a:gd name="connsiteX0" fmla="*/ 197941 w 371339"/>
                  <a:gd name="connsiteY0" fmla="*/ 134831 h 855851"/>
                  <a:gd name="connsiteX1" fmla="*/ 132515 w 371339"/>
                  <a:gd name="connsiteY1" fmla="*/ 134132 h 855851"/>
                  <a:gd name="connsiteX2" fmla="*/ 198754 w 371339"/>
                  <a:gd name="connsiteY2" fmla="*/ 526934 h 855851"/>
                  <a:gd name="connsiteX3" fmla="*/ 371340 w 371339"/>
                  <a:gd name="connsiteY3" fmla="*/ 855852 h 855851"/>
                  <a:gd name="connsiteX4" fmla="*/ 129795 w 371339"/>
                  <a:gd name="connsiteY4" fmla="*/ 503520 h 855851"/>
                  <a:gd name="connsiteX5" fmla="*/ 63255 w 371339"/>
                  <a:gd name="connsiteY5" fmla="*/ 134831 h 855851"/>
                  <a:gd name="connsiteX6" fmla="*/ 0 w 371339"/>
                  <a:gd name="connsiteY6" fmla="*/ 135937 h 855851"/>
                  <a:gd name="connsiteX7" fmla="*/ 95052 w 371339"/>
                  <a:gd name="connsiteY7" fmla="*/ 0 h 855851"/>
                  <a:gd name="connsiteX8" fmla="*/ 197941 w 371339"/>
                  <a:gd name="connsiteY8" fmla="*/ 134831 h 855851"/>
                  <a:gd name="connsiteX0" fmla="*/ 197941 w 371339"/>
                  <a:gd name="connsiteY0" fmla="*/ 134831 h 855851"/>
                  <a:gd name="connsiteX1" fmla="*/ 132515 w 371339"/>
                  <a:gd name="connsiteY1" fmla="*/ 134132 h 855851"/>
                  <a:gd name="connsiteX2" fmla="*/ 198754 w 371339"/>
                  <a:gd name="connsiteY2" fmla="*/ 526934 h 855851"/>
                  <a:gd name="connsiteX3" fmla="*/ 371340 w 371339"/>
                  <a:gd name="connsiteY3" fmla="*/ 855852 h 855851"/>
                  <a:gd name="connsiteX4" fmla="*/ 129795 w 371339"/>
                  <a:gd name="connsiteY4" fmla="*/ 503520 h 855851"/>
                  <a:gd name="connsiteX5" fmla="*/ 63255 w 371339"/>
                  <a:gd name="connsiteY5" fmla="*/ 134831 h 855851"/>
                  <a:gd name="connsiteX6" fmla="*/ 0 w 371339"/>
                  <a:gd name="connsiteY6" fmla="*/ 135937 h 855851"/>
                  <a:gd name="connsiteX7" fmla="*/ 95052 w 371339"/>
                  <a:gd name="connsiteY7" fmla="*/ 0 h 855851"/>
                  <a:gd name="connsiteX8" fmla="*/ 197941 w 371339"/>
                  <a:gd name="connsiteY8" fmla="*/ 134831 h 855851"/>
                  <a:gd name="connsiteX0" fmla="*/ 197941 w 371339"/>
                  <a:gd name="connsiteY0" fmla="*/ 134831 h 855851"/>
                  <a:gd name="connsiteX1" fmla="*/ 132515 w 371339"/>
                  <a:gd name="connsiteY1" fmla="*/ 134132 h 855851"/>
                  <a:gd name="connsiteX2" fmla="*/ 198754 w 371339"/>
                  <a:gd name="connsiteY2" fmla="*/ 526934 h 855851"/>
                  <a:gd name="connsiteX3" fmla="*/ 371340 w 371339"/>
                  <a:gd name="connsiteY3" fmla="*/ 855852 h 855851"/>
                  <a:gd name="connsiteX4" fmla="*/ 170947 w 371339"/>
                  <a:gd name="connsiteY4" fmla="*/ 553349 h 855851"/>
                  <a:gd name="connsiteX5" fmla="*/ 63255 w 371339"/>
                  <a:gd name="connsiteY5" fmla="*/ 134831 h 855851"/>
                  <a:gd name="connsiteX6" fmla="*/ 0 w 371339"/>
                  <a:gd name="connsiteY6" fmla="*/ 135937 h 855851"/>
                  <a:gd name="connsiteX7" fmla="*/ 95052 w 371339"/>
                  <a:gd name="connsiteY7" fmla="*/ 0 h 855851"/>
                  <a:gd name="connsiteX8" fmla="*/ 197941 w 371339"/>
                  <a:gd name="connsiteY8" fmla="*/ 134831 h 855851"/>
                  <a:gd name="connsiteX0" fmla="*/ 197941 w 371339"/>
                  <a:gd name="connsiteY0" fmla="*/ 134831 h 855851"/>
                  <a:gd name="connsiteX1" fmla="*/ 132515 w 371339"/>
                  <a:gd name="connsiteY1" fmla="*/ 134132 h 855851"/>
                  <a:gd name="connsiteX2" fmla="*/ 184281 w 371339"/>
                  <a:gd name="connsiteY2" fmla="*/ 516730 h 855851"/>
                  <a:gd name="connsiteX3" fmla="*/ 371340 w 371339"/>
                  <a:gd name="connsiteY3" fmla="*/ 855852 h 855851"/>
                  <a:gd name="connsiteX4" fmla="*/ 170947 w 371339"/>
                  <a:gd name="connsiteY4" fmla="*/ 553349 h 855851"/>
                  <a:gd name="connsiteX5" fmla="*/ 63255 w 371339"/>
                  <a:gd name="connsiteY5" fmla="*/ 134831 h 855851"/>
                  <a:gd name="connsiteX6" fmla="*/ 0 w 371339"/>
                  <a:gd name="connsiteY6" fmla="*/ 135937 h 855851"/>
                  <a:gd name="connsiteX7" fmla="*/ 95052 w 371339"/>
                  <a:gd name="connsiteY7" fmla="*/ 0 h 855851"/>
                  <a:gd name="connsiteX8" fmla="*/ 197941 w 371339"/>
                  <a:gd name="connsiteY8" fmla="*/ 134831 h 855851"/>
                  <a:gd name="connsiteX0" fmla="*/ 197941 w 371418"/>
                  <a:gd name="connsiteY0" fmla="*/ 134831 h 855852"/>
                  <a:gd name="connsiteX1" fmla="*/ 132515 w 371418"/>
                  <a:gd name="connsiteY1" fmla="*/ 134132 h 855852"/>
                  <a:gd name="connsiteX2" fmla="*/ 184281 w 371418"/>
                  <a:gd name="connsiteY2" fmla="*/ 516730 h 855852"/>
                  <a:gd name="connsiteX3" fmla="*/ 371340 w 371418"/>
                  <a:gd name="connsiteY3" fmla="*/ 855852 h 855852"/>
                  <a:gd name="connsiteX4" fmla="*/ 170947 w 371418"/>
                  <a:gd name="connsiteY4" fmla="*/ 553349 h 855852"/>
                  <a:gd name="connsiteX5" fmla="*/ 63255 w 371418"/>
                  <a:gd name="connsiteY5" fmla="*/ 134831 h 855852"/>
                  <a:gd name="connsiteX6" fmla="*/ 0 w 371418"/>
                  <a:gd name="connsiteY6" fmla="*/ 135937 h 855852"/>
                  <a:gd name="connsiteX7" fmla="*/ 95052 w 371418"/>
                  <a:gd name="connsiteY7" fmla="*/ 0 h 855852"/>
                  <a:gd name="connsiteX8" fmla="*/ 197941 w 371418"/>
                  <a:gd name="connsiteY8" fmla="*/ 134831 h 855852"/>
                  <a:gd name="connsiteX0" fmla="*/ 197941 w 371417"/>
                  <a:gd name="connsiteY0" fmla="*/ 134831 h 855852"/>
                  <a:gd name="connsiteX1" fmla="*/ 132515 w 371417"/>
                  <a:gd name="connsiteY1" fmla="*/ 134132 h 855852"/>
                  <a:gd name="connsiteX2" fmla="*/ 184281 w 371417"/>
                  <a:gd name="connsiteY2" fmla="*/ 516730 h 855852"/>
                  <a:gd name="connsiteX3" fmla="*/ 371340 w 371417"/>
                  <a:gd name="connsiteY3" fmla="*/ 855852 h 855852"/>
                  <a:gd name="connsiteX4" fmla="*/ 170947 w 371417"/>
                  <a:gd name="connsiteY4" fmla="*/ 553349 h 855852"/>
                  <a:gd name="connsiteX5" fmla="*/ 63255 w 371417"/>
                  <a:gd name="connsiteY5" fmla="*/ 134831 h 855852"/>
                  <a:gd name="connsiteX6" fmla="*/ 0 w 371417"/>
                  <a:gd name="connsiteY6" fmla="*/ 135937 h 855852"/>
                  <a:gd name="connsiteX7" fmla="*/ 95052 w 371417"/>
                  <a:gd name="connsiteY7" fmla="*/ 0 h 855852"/>
                  <a:gd name="connsiteX8" fmla="*/ 197941 w 371417"/>
                  <a:gd name="connsiteY8" fmla="*/ 134831 h 855852"/>
                  <a:gd name="connsiteX0" fmla="*/ 197941 w 371340"/>
                  <a:gd name="connsiteY0" fmla="*/ 134831 h 855852"/>
                  <a:gd name="connsiteX1" fmla="*/ 132515 w 371340"/>
                  <a:gd name="connsiteY1" fmla="*/ 134132 h 855852"/>
                  <a:gd name="connsiteX2" fmla="*/ 184281 w 371340"/>
                  <a:gd name="connsiteY2" fmla="*/ 516730 h 855852"/>
                  <a:gd name="connsiteX3" fmla="*/ 371340 w 371340"/>
                  <a:gd name="connsiteY3" fmla="*/ 855852 h 855852"/>
                  <a:gd name="connsiteX4" fmla="*/ 170947 w 371340"/>
                  <a:gd name="connsiteY4" fmla="*/ 553349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68363 w 371340"/>
                  <a:gd name="connsiteY2" fmla="*/ 510248 h 855852"/>
                  <a:gd name="connsiteX3" fmla="*/ 371340 w 371340"/>
                  <a:gd name="connsiteY3" fmla="*/ 855852 h 855852"/>
                  <a:gd name="connsiteX4" fmla="*/ 170947 w 371340"/>
                  <a:gd name="connsiteY4" fmla="*/ 553349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68363 w 371340"/>
                  <a:gd name="connsiteY2" fmla="*/ 510248 h 855852"/>
                  <a:gd name="connsiteX3" fmla="*/ 371340 w 371340"/>
                  <a:gd name="connsiteY3" fmla="*/ 855852 h 855852"/>
                  <a:gd name="connsiteX4" fmla="*/ 123931 w 371340"/>
                  <a:gd name="connsiteY4" fmla="*/ 486964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76138 w 371340"/>
                  <a:gd name="connsiteY2" fmla="*/ 525223 h 855852"/>
                  <a:gd name="connsiteX3" fmla="*/ 371340 w 371340"/>
                  <a:gd name="connsiteY3" fmla="*/ 855852 h 855852"/>
                  <a:gd name="connsiteX4" fmla="*/ 123931 w 371340"/>
                  <a:gd name="connsiteY4" fmla="*/ 486964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76138 w 371340"/>
                  <a:gd name="connsiteY2" fmla="*/ 525223 h 855852"/>
                  <a:gd name="connsiteX3" fmla="*/ 371340 w 371340"/>
                  <a:gd name="connsiteY3" fmla="*/ 855852 h 855852"/>
                  <a:gd name="connsiteX4" fmla="*/ 123931 w 371340"/>
                  <a:gd name="connsiteY4" fmla="*/ 486964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76138 w 371340"/>
                  <a:gd name="connsiteY2" fmla="*/ 525223 h 855852"/>
                  <a:gd name="connsiteX3" fmla="*/ 371340 w 371340"/>
                  <a:gd name="connsiteY3" fmla="*/ 855852 h 855852"/>
                  <a:gd name="connsiteX4" fmla="*/ 144323 w 371340"/>
                  <a:gd name="connsiteY4" fmla="*/ 506093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66974 w 371340"/>
                  <a:gd name="connsiteY2" fmla="*/ 471300 h 855852"/>
                  <a:gd name="connsiteX3" fmla="*/ 371340 w 371340"/>
                  <a:gd name="connsiteY3" fmla="*/ 855852 h 855852"/>
                  <a:gd name="connsiteX4" fmla="*/ 144323 w 371340"/>
                  <a:gd name="connsiteY4" fmla="*/ 506093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66974 w 371340"/>
                  <a:gd name="connsiteY2" fmla="*/ 471300 h 855852"/>
                  <a:gd name="connsiteX3" fmla="*/ 371340 w 371340"/>
                  <a:gd name="connsiteY3" fmla="*/ 855852 h 855852"/>
                  <a:gd name="connsiteX4" fmla="*/ 144323 w 371340"/>
                  <a:gd name="connsiteY4" fmla="*/ 506093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66974 w 371340"/>
                  <a:gd name="connsiteY2" fmla="*/ 471300 h 855852"/>
                  <a:gd name="connsiteX3" fmla="*/ 371340 w 371340"/>
                  <a:gd name="connsiteY3" fmla="*/ 855852 h 855852"/>
                  <a:gd name="connsiteX4" fmla="*/ 142782 w 371340"/>
                  <a:gd name="connsiteY4" fmla="*/ 519243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97921 w 371340"/>
                  <a:gd name="connsiteY2" fmla="*/ 583302 h 855852"/>
                  <a:gd name="connsiteX3" fmla="*/ 371340 w 371340"/>
                  <a:gd name="connsiteY3" fmla="*/ 855852 h 855852"/>
                  <a:gd name="connsiteX4" fmla="*/ 142782 w 371340"/>
                  <a:gd name="connsiteY4" fmla="*/ 519243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 name="connsiteX0" fmla="*/ 197941 w 371340"/>
                  <a:gd name="connsiteY0" fmla="*/ 134831 h 855852"/>
                  <a:gd name="connsiteX1" fmla="*/ 132515 w 371340"/>
                  <a:gd name="connsiteY1" fmla="*/ 134132 h 855852"/>
                  <a:gd name="connsiteX2" fmla="*/ 198290 w 371340"/>
                  <a:gd name="connsiteY2" fmla="*/ 559832 h 855852"/>
                  <a:gd name="connsiteX3" fmla="*/ 371340 w 371340"/>
                  <a:gd name="connsiteY3" fmla="*/ 855852 h 855852"/>
                  <a:gd name="connsiteX4" fmla="*/ 142782 w 371340"/>
                  <a:gd name="connsiteY4" fmla="*/ 519243 h 855852"/>
                  <a:gd name="connsiteX5" fmla="*/ 63255 w 371340"/>
                  <a:gd name="connsiteY5" fmla="*/ 134831 h 855852"/>
                  <a:gd name="connsiteX6" fmla="*/ 0 w 371340"/>
                  <a:gd name="connsiteY6" fmla="*/ 135937 h 855852"/>
                  <a:gd name="connsiteX7" fmla="*/ 95052 w 371340"/>
                  <a:gd name="connsiteY7" fmla="*/ 0 h 855852"/>
                  <a:gd name="connsiteX8" fmla="*/ 197941 w 371340"/>
                  <a:gd name="connsiteY8" fmla="*/ 134831 h 85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340" h="855852">
                    <a:moveTo>
                      <a:pt x="197941" y="134831"/>
                    </a:moveTo>
                    <a:lnTo>
                      <a:pt x="132515" y="134132"/>
                    </a:lnTo>
                    <a:cubicBezTo>
                      <a:pt x="133415" y="269709"/>
                      <a:pt x="141982" y="427903"/>
                      <a:pt x="198290" y="559832"/>
                    </a:cubicBezTo>
                    <a:cubicBezTo>
                      <a:pt x="254598" y="691761"/>
                      <a:pt x="225539" y="620441"/>
                      <a:pt x="371340" y="855852"/>
                    </a:cubicBezTo>
                    <a:cubicBezTo>
                      <a:pt x="247518" y="689674"/>
                      <a:pt x="178066" y="609098"/>
                      <a:pt x="142782" y="519243"/>
                    </a:cubicBezTo>
                    <a:cubicBezTo>
                      <a:pt x="107498" y="429388"/>
                      <a:pt x="53244" y="311986"/>
                      <a:pt x="63255" y="134831"/>
                    </a:cubicBezTo>
                    <a:lnTo>
                      <a:pt x="0" y="135937"/>
                    </a:lnTo>
                    <a:lnTo>
                      <a:pt x="95052" y="0"/>
                    </a:lnTo>
                    <a:lnTo>
                      <a:pt x="197941" y="134831"/>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cxnSp>
            <p:nvCxnSpPr>
              <p:cNvPr id="3205" name="Connector: Elbow 3204">
                <a:extLst>
                  <a:ext uri="{FF2B5EF4-FFF2-40B4-BE49-F238E27FC236}">
                    <a16:creationId xmlns:a16="http://schemas.microsoft.com/office/drawing/2014/main" id="{1E52DFE2-D652-474E-B3C3-2DADB8DB42CA}"/>
                  </a:ext>
                </a:extLst>
              </p:cNvPr>
              <p:cNvCxnSpPr>
                <a:cxnSpLocks/>
                <a:stCxn id="3122" idx="1"/>
              </p:cNvCxnSpPr>
              <p:nvPr/>
            </p:nvCxnSpPr>
            <p:spPr bwMode="gray">
              <a:xfrm rot="10800000" flipV="1">
                <a:off x="7930778" y="5745760"/>
                <a:ext cx="408209" cy="20080"/>
              </a:xfrm>
              <a:prstGeom prst="bentConnector3">
                <a:avLst>
                  <a:gd name="adj1" fmla="val 50000"/>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3208" name="Connector: Elbow 3207">
                <a:extLst>
                  <a:ext uri="{FF2B5EF4-FFF2-40B4-BE49-F238E27FC236}">
                    <a16:creationId xmlns:a16="http://schemas.microsoft.com/office/drawing/2014/main" id="{89350F71-A301-4675-9F80-15073AEB4791}"/>
                  </a:ext>
                </a:extLst>
              </p:cNvPr>
              <p:cNvCxnSpPr>
                <a:cxnSpLocks/>
                <a:stCxn id="3120" idx="1"/>
                <a:endCxn id="3030" idx="1"/>
              </p:cNvCxnSpPr>
              <p:nvPr/>
            </p:nvCxnSpPr>
            <p:spPr bwMode="gray">
              <a:xfrm rot="10800000" flipV="1">
                <a:off x="8096255" y="5137541"/>
                <a:ext cx="242733" cy="169790"/>
              </a:xfrm>
              <a:prstGeom prst="bentConnector2">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sp>
            <p:nvSpPr>
              <p:cNvPr id="3215" name="Rectangle 3214">
                <a:extLst>
                  <a:ext uri="{FF2B5EF4-FFF2-40B4-BE49-F238E27FC236}">
                    <a16:creationId xmlns:a16="http://schemas.microsoft.com/office/drawing/2014/main" id="{26C19B26-B832-4B40-B252-E79B456290D7}"/>
                  </a:ext>
                </a:extLst>
              </p:cNvPr>
              <p:cNvSpPr/>
              <p:nvPr/>
            </p:nvSpPr>
            <p:spPr bwMode="gray">
              <a:xfrm>
                <a:off x="6076946" y="5320148"/>
                <a:ext cx="691253" cy="24300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r>
                  <a:rPr lang="de-DE" sz="1000" dirty="0">
                    <a:solidFill>
                      <a:schemeClr val="tx1"/>
                    </a:solidFill>
                  </a:rPr>
                  <a:t>Liquid oxygen tank</a:t>
                </a:r>
              </a:p>
            </p:txBody>
          </p:sp>
          <p:cxnSp>
            <p:nvCxnSpPr>
              <p:cNvPr id="3217" name="Connector: Elbow 3216">
                <a:extLst>
                  <a:ext uri="{FF2B5EF4-FFF2-40B4-BE49-F238E27FC236}">
                    <a16:creationId xmlns:a16="http://schemas.microsoft.com/office/drawing/2014/main" id="{63F4311A-E697-4E0F-BA71-851DDD4659E4}"/>
                  </a:ext>
                </a:extLst>
              </p:cNvPr>
              <p:cNvCxnSpPr>
                <a:cxnSpLocks/>
                <a:stCxn id="3215" idx="2"/>
                <a:endCxn id="3091" idx="0"/>
              </p:cNvCxnSpPr>
              <p:nvPr/>
            </p:nvCxnSpPr>
            <p:spPr bwMode="gray">
              <a:xfrm rot="16200000" flipH="1">
                <a:off x="6468320" y="5517403"/>
                <a:ext cx="138874" cy="230370"/>
              </a:xfrm>
              <a:prstGeom prst="bentConnector3">
                <a:avLst>
                  <a:gd name="adj1" fmla="val 50000"/>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grpSp>
      </p:grpSp>
      <p:grpSp>
        <p:nvGrpSpPr>
          <p:cNvPr id="2" name="Group 1">
            <a:extLst>
              <a:ext uri="{FF2B5EF4-FFF2-40B4-BE49-F238E27FC236}">
                <a16:creationId xmlns:a16="http://schemas.microsoft.com/office/drawing/2014/main" id="{2F781BAD-E912-4D54-BECD-56165F5CFDA4}"/>
              </a:ext>
            </a:extLst>
          </p:cNvPr>
          <p:cNvGrpSpPr>
            <a:grpSpLocks noChangeAspect="1"/>
          </p:cNvGrpSpPr>
          <p:nvPr/>
        </p:nvGrpSpPr>
        <p:grpSpPr>
          <a:xfrm>
            <a:off x="4709905" y="1936347"/>
            <a:ext cx="7055936" cy="2701748"/>
            <a:chOff x="4708074" y="1936347"/>
            <a:chExt cx="5677364" cy="2173887"/>
          </a:xfrm>
        </p:grpSpPr>
        <p:sp>
          <p:nvSpPr>
            <p:cNvPr id="2971" name="Rechteck 87">
              <a:extLst>
                <a:ext uri="{FF2B5EF4-FFF2-40B4-BE49-F238E27FC236}">
                  <a16:creationId xmlns:a16="http://schemas.microsoft.com/office/drawing/2014/main" id="{AFDFBEB3-E0C4-4D9E-8612-55F853A9C791}"/>
                </a:ext>
              </a:extLst>
            </p:cNvPr>
            <p:cNvSpPr>
              <a:spLocks noChangeAspect="1"/>
            </p:cNvSpPr>
            <p:nvPr/>
          </p:nvSpPr>
          <p:spPr bwMode="gray">
            <a:xfrm>
              <a:off x="4708074" y="1936347"/>
              <a:ext cx="5677364" cy="2173887"/>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000" dirty="0">
                <a:solidFill>
                  <a:schemeClr val="bg1"/>
                </a:solidFill>
              </a:endParaRPr>
            </a:p>
          </p:txBody>
        </p:sp>
        <p:sp>
          <p:nvSpPr>
            <p:cNvPr id="2944" name="Text Placeholder 17">
              <a:extLst>
                <a:ext uri="{FF2B5EF4-FFF2-40B4-BE49-F238E27FC236}">
                  <a16:creationId xmlns:a16="http://schemas.microsoft.com/office/drawing/2014/main" id="{043D6EEE-58F2-4B4A-A0AE-AE1BCE55FC28}"/>
                </a:ext>
              </a:extLst>
            </p:cNvPr>
            <p:cNvSpPr txBox="1">
              <a:spLocks/>
            </p:cNvSpPr>
            <p:nvPr/>
          </p:nvSpPr>
          <p:spPr bwMode="gray">
            <a:xfrm>
              <a:off x="9310702" y="3743928"/>
              <a:ext cx="1074699" cy="366305"/>
            </a:xfrm>
            <a:prstGeom prst="rect">
              <a:avLst/>
            </a:prstGeom>
            <a:solidFill>
              <a:schemeClr val="accent3"/>
            </a:solidFill>
          </p:spPr>
          <p:txBody>
            <a:bodyPr vert="horz" lIns="0" tIns="0" rIns="0" bIns="0" rtlCol="0" anchor="ctr">
              <a:noAutofit/>
            </a:bodyPr>
            <a:lstStyle>
              <a:lvl1pPr marL="7939" indent="0" algn="ctr" defTabSz="914491">
                <a:spcBef>
                  <a:spcPts val="0"/>
                </a:spcBef>
                <a:buFont typeface="Arial" panose="020B0604020202020204" pitchFamily="34" charset="0"/>
                <a:buNone/>
                <a:defRPr sz="1600" b="1">
                  <a:solidFill>
                    <a:schemeClr val="bg1"/>
                  </a:solidFill>
                </a:defRPr>
              </a:lvl1pPr>
              <a:lvl2pPr marL="7939" indent="0" algn="ctr" defTabSz="914491">
                <a:spcBef>
                  <a:spcPts val="0"/>
                </a:spcBef>
                <a:buFont typeface="ABBvoiceOffice" panose="020D0603020503020204" pitchFamily="34" charset="0"/>
                <a:buNone/>
                <a:defRPr sz="1600" b="1">
                  <a:solidFill>
                    <a:schemeClr val="bg1"/>
                  </a:solidFill>
                </a:defRPr>
              </a:lvl2pPr>
              <a:lvl3pPr marL="7939" indent="0" algn="ctr" defTabSz="914491">
                <a:spcBef>
                  <a:spcPts val="0"/>
                </a:spcBef>
                <a:buFont typeface="Arial" panose="020B0604020202020204" pitchFamily="34" charset="0"/>
                <a:buNone/>
                <a:defRPr sz="1600" b="1">
                  <a:solidFill>
                    <a:schemeClr val="bg1"/>
                  </a:solidFill>
                </a:defRPr>
              </a:lvl3pPr>
              <a:lvl4pPr marL="7939" indent="0" algn="ctr" defTabSz="914491">
                <a:spcBef>
                  <a:spcPts val="0"/>
                </a:spcBef>
                <a:buFont typeface="Arial" panose="020B0604020202020204" pitchFamily="34" charset="0"/>
                <a:buNone/>
                <a:defRPr sz="1600" b="1">
                  <a:solidFill>
                    <a:schemeClr val="bg1"/>
                  </a:solidFill>
                </a:defRPr>
              </a:lvl4pPr>
              <a:lvl5pPr marL="7939" indent="0" algn="ctr" defTabSz="914491">
                <a:spcBef>
                  <a:spcPts val="0"/>
                </a:spcBef>
                <a:buFont typeface="Arial" panose="020B0604020202020204" pitchFamily="34" charset="0"/>
                <a:buNone/>
                <a:defRPr sz="1600" b="1">
                  <a:solidFill>
                    <a:schemeClr val="bg1"/>
                  </a:solidFill>
                </a:defRPr>
              </a:lvl5pPr>
              <a:lvl6pPr marL="7939" indent="0" algn="ctr" defTabSz="914491">
                <a:spcBef>
                  <a:spcPts val="0"/>
                </a:spcBef>
                <a:buFont typeface="Arial" panose="020B0604020202020204" pitchFamily="34" charset="0"/>
                <a:buNone/>
                <a:defRPr sz="1600" b="1">
                  <a:solidFill>
                    <a:schemeClr val="bg1"/>
                  </a:solidFill>
                </a:defRPr>
              </a:lvl6pPr>
              <a:lvl7pPr marL="7939" indent="0" algn="ctr" defTabSz="914491">
                <a:spcBef>
                  <a:spcPts val="0"/>
                </a:spcBef>
                <a:buFont typeface="Arial" panose="020B0604020202020204" pitchFamily="34" charset="0"/>
                <a:buNone/>
                <a:defRPr sz="1600" b="1">
                  <a:solidFill>
                    <a:schemeClr val="bg1"/>
                  </a:solidFill>
                </a:defRPr>
              </a:lvl7pPr>
              <a:lvl8pPr marL="7939" indent="0" algn="ctr" defTabSz="914491">
                <a:spcBef>
                  <a:spcPts val="0"/>
                </a:spcBef>
                <a:buFont typeface="Arial" panose="020B0604020202020204" pitchFamily="34" charset="0"/>
                <a:buNone/>
                <a:defRPr sz="1600" b="1">
                  <a:solidFill>
                    <a:schemeClr val="bg1"/>
                  </a:solidFill>
                </a:defRPr>
              </a:lvl8pPr>
              <a:lvl9pPr marL="7939" indent="0" algn="ctr" defTabSz="914491">
                <a:spcBef>
                  <a:spcPts val="0"/>
                </a:spcBef>
                <a:buFont typeface="Arial" panose="020B0604020202020204" pitchFamily="34" charset="0"/>
                <a:buNone/>
                <a:defRPr sz="1600" b="1">
                  <a:solidFill>
                    <a:schemeClr val="bg1"/>
                  </a:solidFill>
                </a:defRPr>
              </a:lvl9pPr>
            </a:lstStyle>
            <a:p>
              <a:r>
                <a:rPr lang="en-US" sz="1000" b="0" dirty="0"/>
                <a:t>Basis schematic of FCC plant</a:t>
              </a:r>
            </a:p>
          </p:txBody>
        </p:sp>
        <p:grpSp>
          <p:nvGrpSpPr>
            <p:cNvPr id="2148" name="Group 2147">
              <a:extLst>
                <a:ext uri="{FF2B5EF4-FFF2-40B4-BE49-F238E27FC236}">
                  <a16:creationId xmlns:a16="http://schemas.microsoft.com/office/drawing/2014/main" id="{AD545644-C48B-4AD3-856F-81E7BB680050}"/>
                </a:ext>
              </a:extLst>
            </p:cNvPr>
            <p:cNvGrpSpPr/>
            <p:nvPr/>
          </p:nvGrpSpPr>
          <p:grpSpPr bwMode="gray">
            <a:xfrm>
              <a:off x="7213299" y="2113095"/>
              <a:ext cx="686358" cy="1019711"/>
              <a:chOff x="-1824278" y="3119489"/>
              <a:chExt cx="686358" cy="1019711"/>
            </a:xfrm>
          </p:grpSpPr>
          <p:grpSp>
            <p:nvGrpSpPr>
              <p:cNvPr id="2149" name="Group 2148">
                <a:extLst>
                  <a:ext uri="{FF2B5EF4-FFF2-40B4-BE49-F238E27FC236}">
                    <a16:creationId xmlns:a16="http://schemas.microsoft.com/office/drawing/2014/main" id="{00C1095B-3992-47AA-953B-7CE2A227C2FF}"/>
                  </a:ext>
                </a:extLst>
              </p:cNvPr>
              <p:cNvGrpSpPr/>
              <p:nvPr/>
            </p:nvGrpSpPr>
            <p:grpSpPr bwMode="gray">
              <a:xfrm>
                <a:off x="-1633065" y="3119489"/>
                <a:ext cx="303933" cy="667622"/>
                <a:chOff x="3833047" y="2969533"/>
                <a:chExt cx="967802" cy="2125881"/>
              </a:xfrm>
            </p:grpSpPr>
            <p:sp>
              <p:nvSpPr>
                <p:cNvPr id="2151" name="Rectangle: Rounded Corners 2150">
                  <a:extLst>
                    <a:ext uri="{FF2B5EF4-FFF2-40B4-BE49-F238E27FC236}">
                      <a16:creationId xmlns:a16="http://schemas.microsoft.com/office/drawing/2014/main" id="{D22DF701-EA53-4AE9-97B7-3D76A1E1F9BB}"/>
                    </a:ext>
                  </a:extLst>
                </p:cNvPr>
                <p:cNvSpPr/>
                <p:nvPr/>
              </p:nvSpPr>
              <p:spPr bwMode="gray">
                <a:xfrm>
                  <a:off x="3833047" y="2969533"/>
                  <a:ext cx="967802" cy="2125881"/>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cxnSp>
              <p:nvCxnSpPr>
                <p:cNvPr id="2152" name="Straight Connector 2151">
                  <a:extLst>
                    <a:ext uri="{FF2B5EF4-FFF2-40B4-BE49-F238E27FC236}">
                      <a16:creationId xmlns:a16="http://schemas.microsoft.com/office/drawing/2014/main" id="{F13B692F-3D8B-43E9-9AD6-688B7A10F8F0}"/>
                    </a:ext>
                  </a:extLst>
                </p:cNvPr>
                <p:cNvCxnSpPr>
                  <a:cxnSpLocks/>
                </p:cNvCxnSpPr>
                <p:nvPr/>
              </p:nvCxnSpPr>
              <p:spPr bwMode="gray">
                <a:xfrm flipH="1"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53" name="Straight Connector 2152">
                  <a:extLst>
                    <a:ext uri="{FF2B5EF4-FFF2-40B4-BE49-F238E27FC236}">
                      <a16:creationId xmlns:a16="http://schemas.microsoft.com/office/drawing/2014/main" id="{7C968B9C-4BBE-4A23-925C-92DFFE3CE345}"/>
                    </a:ext>
                  </a:extLst>
                </p:cNvPr>
                <p:cNvCxnSpPr>
                  <a:cxnSpLocks/>
                </p:cNvCxnSpPr>
                <p:nvPr/>
              </p:nvCxnSpPr>
              <p:spPr bwMode="gray">
                <a:xfrm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54" name="Rectangle 2153">
                  <a:extLst>
                    <a:ext uri="{FF2B5EF4-FFF2-40B4-BE49-F238E27FC236}">
                      <a16:creationId xmlns:a16="http://schemas.microsoft.com/office/drawing/2014/main" id="{9292C955-3D4D-4AED-B727-3334520B4CE7}"/>
                    </a:ext>
                  </a:extLst>
                </p:cNvPr>
                <p:cNvSpPr/>
                <p:nvPr/>
              </p:nvSpPr>
              <p:spPr bwMode="gray">
                <a:xfrm>
                  <a:off x="3833047" y="3414210"/>
                  <a:ext cx="967802" cy="1236529"/>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endParaRPr lang="de-DE" sz="1000" dirty="0">
                    <a:solidFill>
                      <a:schemeClr val="tx1"/>
                    </a:solidFill>
                  </a:endParaRPr>
                </a:p>
              </p:txBody>
            </p:sp>
          </p:grpSp>
          <p:sp>
            <p:nvSpPr>
              <p:cNvPr id="2150" name="Rectangle 2149">
                <a:extLst>
                  <a:ext uri="{FF2B5EF4-FFF2-40B4-BE49-F238E27FC236}">
                    <a16:creationId xmlns:a16="http://schemas.microsoft.com/office/drawing/2014/main" id="{362EACE8-F8A9-4FB6-8DE4-637DC4ADBFD0}"/>
                  </a:ext>
                </a:extLst>
              </p:cNvPr>
              <p:cNvSpPr/>
              <p:nvPr/>
            </p:nvSpPr>
            <p:spPr bwMode="gray">
              <a:xfrm>
                <a:off x="-1824278" y="3781617"/>
                <a:ext cx="686358" cy="3575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FCC-reactor</a:t>
                </a:r>
              </a:p>
            </p:txBody>
          </p:sp>
        </p:grpSp>
        <p:grpSp>
          <p:nvGrpSpPr>
            <p:cNvPr id="2848" name="Group 2847">
              <a:extLst>
                <a:ext uri="{FF2B5EF4-FFF2-40B4-BE49-F238E27FC236}">
                  <a16:creationId xmlns:a16="http://schemas.microsoft.com/office/drawing/2014/main" id="{46B6EFF6-537C-4C90-92DC-7596FE0C3A8E}"/>
                </a:ext>
              </a:extLst>
            </p:cNvPr>
            <p:cNvGrpSpPr/>
            <p:nvPr/>
          </p:nvGrpSpPr>
          <p:grpSpPr bwMode="gray">
            <a:xfrm>
              <a:off x="5439511" y="2423277"/>
              <a:ext cx="842400" cy="476337"/>
              <a:chOff x="9425878" y="2974700"/>
              <a:chExt cx="842400" cy="476337"/>
            </a:xfrm>
          </p:grpSpPr>
          <p:sp>
            <p:nvSpPr>
              <p:cNvPr id="2845" name="Rectangle 2844">
                <a:extLst>
                  <a:ext uri="{FF2B5EF4-FFF2-40B4-BE49-F238E27FC236}">
                    <a16:creationId xmlns:a16="http://schemas.microsoft.com/office/drawing/2014/main" id="{FE4BAFF0-4255-4AB9-850B-791ED13A623E}"/>
                  </a:ext>
                </a:extLst>
              </p:cNvPr>
              <p:cNvSpPr/>
              <p:nvPr/>
            </p:nvSpPr>
            <p:spPr bwMode="gray">
              <a:xfrm>
                <a:off x="9425878" y="3285437"/>
                <a:ext cx="842400"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Boiler</a:t>
                </a:r>
              </a:p>
            </p:txBody>
          </p:sp>
          <p:grpSp>
            <p:nvGrpSpPr>
              <p:cNvPr id="14" name="Group 13">
                <a:extLst>
                  <a:ext uri="{FF2B5EF4-FFF2-40B4-BE49-F238E27FC236}">
                    <a16:creationId xmlns:a16="http://schemas.microsoft.com/office/drawing/2014/main" id="{9A03E1F8-882F-47D0-BFCF-B4AFC57CCC2D}"/>
                  </a:ext>
                </a:extLst>
              </p:cNvPr>
              <p:cNvGrpSpPr/>
              <p:nvPr/>
            </p:nvGrpSpPr>
            <p:grpSpPr bwMode="gray">
              <a:xfrm>
                <a:off x="9517513" y="2974700"/>
                <a:ext cx="659130" cy="307738"/>
                <a:chOff x="9517513" y="2974700"/>
                <a:chExt cx="659130" cy="307738"/>
              </a:xfrm>
            </p:grpSpPr>
            <p:sp>
              <p:nvSpPr>
                <p:cNvPr id="2844" name="Rectangle: Rounded Corners 2843">
                  <a:extLst>
                    <a:ext uri="{FF2B5EF4-FFF2-40B4-BE49-F238E27FC236}">
                      <a16:creationId xmlns:a16="http://schemas.microsoft.com/office/drawing/2014/main" id="{BF9B08AE-73AC-4F0C-AA27-549FA6FF4498}"/>
                    </a:ext>
                  </a:extLst>
                </p:cNvPr>
                <p:cNvSpPr/>
                <p:nvPr/>
              </p:nvSpPr>
              <p:spPr bwMode="gray">
                <a:xfrm>
                  <a:off x="9517513" y="2974700"/>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sp>
              <p:nvSpPr>
                <p:cNvPr id="2847" name="Freeform: Shape 2846">
                  <a:extLst>
                    <a:ext uri="{FF2B5EF4-FFF2-40B4-BE49-F238E27FC236}">
                      <a16:creationId xmlns:a16="http://schemas.microsoft.com/office/drawing/2014/main" id="{DCDA7F6E-06BA-404D-91EC-58F4155B81F2}"/>
                    </a:ext>
                  </a:extLst>
                </p:cNvPr>
                <p:cNvSpPr/>
                <p:nvPr/>
              </p:nvSpPr>
              <p:spPr bwMode="gray">
                <a:xfrm>
                  <a:off x="9519887" y="3023301"/>
                  <a:ext cx="650571" cy="210537"/>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 name="connsiteX0" fmla="*/ 0 w 352006"/>
                    <a:gd name="connsiteY0" fmla="*/ 81587 h 171477"/>
                    <a:gd name="connsiteX1" fmla="*/ 60862 w 352006"/>
                    <a:gd name="connsiteY1" fmla="*/ 81880 h 171477"/>
                    <a:gd name="connsiteX2" fmla="*/ 110373 w 352006"/>
                    <a:gd name="connsiteY2" fmla="*/ 0 h 171477"/>
                    <a:gd name="connsiteX3" fmla="*/ 190020 w 352006"/>
                    <a:gd name="connsiteY3" fmla="*/ 171477 h 171477"/>
                    <a:gd name="connsiteX4" fmla="*/ 237684 w 352006"/>
                    <a:gd name="connsiteY4" fmla="*/ 80838 h 171477"/>
                    <a:gd name="connsiteX5" fmla="*/ 352006 w 352006"/>
                    <a:gd name="connsiteY5" fmla="*/ 81066 h 171477"/>
                    <a:gd name="connsiteX0" fmla="*/ 0 w 397388"/>
                    <a:gd name="connsiteY0" fmla="*/ 81587 h 171477"/>
                    <a:gd name="connsiteX1" fmla="*/ 106244 w 397388"/>
                    <a:gd name="connsiteY1" fmla="*/ 81880 h 171477"/>
                    <a:gd name="connsiteX2" fmla="*/ 155755 w 397388"/>
                    <a:gd name="connsiteY2" fmla="*/ 0 h 171477"/>
                    <a:gd name="connsiteX3" fmla="*/ 235402 w 397388"/>
                    <a:gd name="connsiteY3" fmla="*/ 171477 h 171477"/>
                    <a:gd name="connsiteX4" fmla="*/ 283066 w 397388"/>
                    <a:gd name="connsiteY4" fmla="*/ 80838 h 171477"/>
                    <a:gd name="connsiteX5" fmla="*/ 397388 w 397388"/>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7388" h="171477">
                      <a:moveTo>
                        <a:pt x="0" y="81587"/>
                      </a:moveTo>
                      <a:lnTo>
                        <a:pt x="106244" y="81880"/>
                      </a:lnTo>
                      <a:lnTo>
                        <a:pt x="155755" y="0"/>
                      </a:lnTo>
                      <a:lnTo>
                        <a:pt x="235402" y="171477"/>
                      </a:lnTo>
                      <a:lnTo>
                        <a:pt x="283066" y="80838"/>
                      </a:lnTo>
                      <a:lnTo>
                        <a:pt x="397388"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a:solidFill>
                      <a:schemeClr val="tx1"/>
                    </a:solidFill>
                  </a:endParaRPr>
                </a:p>
              </p:txBody>
            </p:sp>
          </p:grpSp>
        </p:grpSp>
        <p:grpSp>
          <p:nvGrpSpPr>
            <p:cNvPr id="2852" name="Group 2851">
              <a:extLst>
                <a:ext uri="{FF2B5EF4-FFF2-40B4-BE49-F238E27FC236}">
                  <a16:creationId xmlns:a16="http://schemas.microsoft.com/office/drawing/2014/main" id="{F4874E33-7FFF-4476-A5E7-5D27A4A86BD4}"/>
                </a:ext>
              </a:extLst>
            </p:cNvPr>
            <p:cNvGrpSpPr/>
            <p:nvPr/>
          </p:nvGrpSpPr>
          <p:grpSpPr bwMode="gray">
            <a:xfrm>
              <a:off x="5915182" y="2853507"/>
              <a:ext cx="954323" cy="815896"/>
              <a:chOff x="8118123" y="2982451"/>
              <a:chExt cx="954323" cy="815896"/>
            </a:xfrm>
          </p:grpSpPr>
          <p:sp>
            <p:nvSpPr>
              <p:cNvPr id="2849" name="Freeform: Shape 2848">
                <a:extLst>
                  <a:ext uri="{FF2B5EF4-FFF2-40B4-BE49-F238E27FC236}">
                    <a16:creationId xmlns:a16="http://schemas.microsoft.com/office/drawing/2014/main" id="{F253D79A-5F68-4EFA-8002-2D2372CDD6E6}"/>
                  </a:ext>
                </a:extLst>
              </p:cNvPr>
              <p:cNvSpPr/>
              <p:nvPr/>
            </p:nvSpPr>
            <p:spPr bwMode="gray">
              <a:xfrm rot="16200000">
                <a:off x="8270760" y="3127013"/>
                <a:ext cx="649049" cy="359925"/>
              </a:xfrm>
              <a:custGeom>
                <a:avLst/>
                <a:gdLst>
                  <a:gd name="connsiteX0" fmla="*/ 1155851 w 1155851"/>
                  <a:gd name="connsiteY0" fmla="*/ 320484 h 640968"/>
                  <a:gd name="connsiteX1" fmla="*/ 1124592 w 1155851"/>
                  <a:gd name="connsiteY1" fmla="*/ 515536 h 640968"/>
                  <a:gd name="connsiteX2" fmla="*/ 1008053 w 1155851"/>
                  <a:gd name="connsiteY2" fmla="*/ 639654 h 640968"/>
                  <a:gd name="connsiteX3" fmla="*/ 572851 w 1155851"/>
                  <a:gd name="connsiteY3" fmla="*/ 639654 h 640968"/>
                  <a:gd name="connsiteX4" fmla="*/ 572851 w 1155851"/>
                  <a:gd name="connsiteY4" fmla="*/ 640968 h 640968"/>
                  <a:gd name="connsiteX5" fmla="*/ 114570 w 1155851"/>
                  <a:gd name="connsiteY5" fmla="*/ 640968 h 640968"/>
                  <a:gd name="connsiteX6" fmla="*/ 0 w 1155851"/>
                  <a:gd name="connsiteY6" fmla="*/ 320484 h 640968"/>
                  <a:gd name="connsiteX7" fmla="*/ 114570 w 1155851"/>
                  <a:gd name="connsiteY7" fmla="*/ 0 h 640968"/>
                  <a:gd name="connsiteX8" fmla="*/ 572851 w 1155851"/>
                  <a:gd name="connsiteY8" fmla="*/ 0 h 640968"/>
                  <a:gd name="connsiteX9" fmla="*/ 572851 w 1155851"/>
                  <a:gd name="connsiteY9" fmla="*/ 1314 h 640968"/>
                  <a:gd name="connsiteX10" fmla="*/ 1008053 w 1155851"/>
                  <a:gd name="connsiteY10" fmla="*/ 1314 h 640968"/>
                  <a:gd name="connsiteX11" fmla="*/ 1124592 w 1155851"/>
                  <a:gd name="connsiteY11" fmla="*/ 125432 h 640968"/>
                  <a:gd name="connsiteX12" fmla="*/ 1155851 w 1155851"/>
                  <a:gd name="connsiteY12" fmla="*/ 320484 h 640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5851" h="640968">
                    <a:moveTo>
                      <a:pt x="1155851" y="320484"/>
                    </a:moveTo>
                    <a:cubicBezTo>
                      <a:pt x="1153556" y="387530"/>
                      <a:pt x="1151651" y="425630"/>
                      <a:pt x="1124592" y="515536"/>
                    </a:cubicBezTo>
                    <a:cubicBezTo>
                      <a:pt x="1105674" y="576351"/>
                      <a:pt x="1069530" y="635478"/>
                      <a:pt x="1008053" y="639654"/>
                    </a:cubicBezTo>
                    <a:lnTo>
                      <a:pt x="572851" y="639654"/>
                    </a:lnTo>
                    <a:lnTo>
                      <a:pt x="572851" y="640968"/>
                    </a:lnTo>
                    <a:lnTo>
                      <a:pt x="114570" y="640968"/>
                    </a:lnTo>
                    <a:lnTo>
                      <a:pt x="0" y="320484"/>
                    </a:lnTo>
                    <a:lnTo>
                      <a:pt x="114570" y="0"/>
                    </a:lnTo>
                    <a:lnTo>
                      <a:pt x="572851" y="0"/>
                    </a:lnTo>
                    <a:lnTo>
                      <a:pt x="572851" y="1314"/>
                    </a:lnTo>
                    <a:lnTo>
                      <a:pt x="1008053" y="1314"/>
                    </a:lnTo>
                    <a:cubicBezTo>
                      <a:pt x="1069530" y="5490"/>
                      <a:pt x="1105674" y="64617"/>
                      <a:pt x="1124592" y="125432"/>
                    </a:cubicBezTo>
                    <a:cubicBezTo>
                      <a:pt x="1151651" y="215338"/>
                      <a:pt x="1153556" y="253438"/>
                      <a:pt x="1155851" y="320484"/>
                    </a:cubicBezTo>
                    <a:close/>
                  </a:path>
                </a:pathLst>
              </a:custGeom>
              <a:solidFill>
                <a:schemeClr val="bg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sp>
            <p:nvSpPr>
              <p:cNvPr id="2850" name="Rectangle 2849">
                <a:extLst>
                  <a:ext uri="{FF2B5EF4-FFF2-40B4-BE49-F238E27FC236}">
                    <a16:creationId xmlns:a16="http://schemas.microsoft.com/office/drawing/2014/main" id="{8AEF7882-07BC-4FB0-A676-3D862C1B4150}"/>
                  </a:ext>
                </a:extLst>
              </p:cNvPr>
              <p:cNvSpPr/>
              <p:nvPr/>
            </p:nvSpPr>
            <p:spPr bwMode="gray">
              <a:xfrm>
                <a:off x="8118123" y="3632747"/>
                <a:ext cx="954323"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noAutofit/>
              </a:bodyPr>
              <a:lstStyle/>
              <a:p>
                <a:pPr algn="ctr">
                  <a:spcBef>
                    <a:spcPts val="300"/>
                  </a:spcBef>
                  <a:buClr>
                    <a:srgbClr val="002897"/>
                  </a:buClr>
                  <a:buSzPct val="70000"/>
                </a:pPr>
                <a:r>
                  <a:rPr lang="de-DE" sz="1000" dirty="0">
                    <a:solidFill>
                      <a:schemeClr val="tx1"/>
                    </a:solidFill>
                  </a:rPr>
                  <a:t>Regenerator</a:t>
                </a:r>
              </a:p>
            </p:txBody>
          </p:sp>
        </p:grpSp>
        <p:grpSp>
          <p:nvGrpSpPr>
            <p:cNvPr id="2868" name="Group 2867">
              <a:extLst>
                <a:ext uri="{FF2B5EF4-FFF2-40B4-BE49-F238E27FC236}">
                  <a16:creationId xmlns:a16="http://schemas.microsoft.com/office/drawing/2014/main" id="{8A85BCF1-027E-45C4-BB92-A3846EEE638E}"/>
                </a:ext>
              </a:extLst>
            </p:cNvPr>
            <p:cNvGrpSpPr/>
            <p:nvPr/>
          </p:nvGrpSpPr>
          <p:grpSpPr bwMode="gray">
            <a:xfrm>
              <a:off x="7880070" y="2113095"/>
              <a:ext cx="831543" cy="881123"/>
              <a:chOff x="9771254" y="2971188"/>
              <a:chExt cx="831543" cy="881123"/>
            </a:xfrm>
          </p:grpSpPr>
          <p:grpSp>
            <p:nvGrpSpPr>
              <p:cNvPr id="2854" name="Group 2853">
                <a:extLst>
                  <a:ext uri="{FF2B5EF4-FFF2-40B4-BE49-F238E27FC236}">
                    <a16:creationId xmlns:a16="http://schemas.microsoft.com/office/drawing/2014/main" id="{1F6DAFF9-0FBC-4A24-AA90-70775E80BD9A}"/>
                  </a:ext>
                </a:extLst>
              </p:cNvPr>
              <p:cNvGrpSpPr/>
              <p:nvPr/>
            </p:nvGrpSpPr>
            <p:grpSpPr bwMode="gray">
              <a:xfrm>
                <a:off x="10034985" y="2971188"/>
                <a:ext cx="304080" cy="667623"/>
                <a:chOff x="6936708" y="-5622681"/>
                <a:chExt cx="684041" cy="1501843"/>
              </a:xfrm>
            </p:grpSpPr>
            <p:sp>
              <p:nvSpPr>
                <p:cNvPr id="2856" name="Rectangle: Rounded Corners 2855">
                  <a:extLst>
                    <a:ext uri="{FF2B5EF4-FFF2-40B4-BE49-F238E27FC236}">
                      <a16:creationId xmlns:a16="http://schemas.microsoft.com/office/drawing/2014/main" id="{DCBE37FE-2A5D-4065-B34C-2A964C9B6901}"/>
                    </a:ext>
                  </a:extLst>
                </p:cNvPr>
                <p:cNvSpPr/>
                <p:nvPr/>
              </p:nvSpPr>
              <p:spPr bwMode="gray">
                <a:xfrm flipH="1">
                  <a:off x="6937038" y="-5622681"/>
                  <a:ext cx="683711" cy="1501843"/>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900" dirty="0">
                    <a:solidFill>
                      <a:schemeClr val="tx1"/>
                    </a:solidFill>
                  </a:endParaRPr>
                </a:p>
              </p:txBody>
            </p:sp>
            <p:sp>
              <p:nvSpPr>
                <p:cNvPr id="2857" name="Rectangle 2856">
                  <a:extLst>
                    <a:ext uri="{FF2B5EF4-FFF2-40B4-BE49-F238E27FC236}">
                      <a16:creationId xmlns:a16="http://schemas.microsoft.com/office/drawing/2014/main" id="{FD1950A6-F5E7-41A8-9219-2936AD083329}"/>
                    </a:ext>
                  </a:extLst>
                </p:cNvPr>
                <p:cNvSpPr/>
                <p:nvPr/>
              </p:nvSpPr>
              <p:spPr bwMode="gray">
                <a:xfrm>
                  <a:off x="6936708" y="-5345979"/>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858" name="Rectangle 2857">
                  <a:extLst>
                    <a:ext uri="{FF2B5EF4-FFF2-40B4-BE49-F238E27FC236}">
                      <a16:creationId xmlns:a16="http://schemas.microsoft.com/office/drawing/2014/main" id="{3876AAA8-8538-485E-AC0B-585B8A219842}"/>
                    </a:ext>
                  </a:extLst>
                </p:cNvPr>
                <p:cNvSpPr/>
                <p:nvPr/>
              </p:nvSpPr>
              <p:spPr bwMode="gray">
                <a:xfrm>
                  <a:off x="6936708" y="-5251135"/>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859" name="Rectangle 2858">
                  <a:extLst>
                    <a:ext uri="{FF2B5EF4-FFF2-40B4-BE49-F238E27FC236}">
                      <a16:creationId xmlns:a16="http://schemas.microsoft.com/office/drawing/2014/main" id="{514511EF-2DC7-4CF7-BDEA-E8634FB2F616}"/>
                    </a:ext>
                  </a:extLst>
                </p:cNvPr>
                <p:cNvSpPr/>
                <p:nvPr/>
              </p:nvSpPr>
              <p:spPr bwMode="gray">
                <a:xfrm>
                  <a:off x="6936708" y="-5156291"/>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860" name="Rectangle 2859">
                  <a:extLst>
                    <a:ext uri="{FF2B5EF4-FFF2-40B4-BE49-F238E27FC236}">
                      <a16:creationId xmlns:a16="http://schemas.microsoft.com/office/drawing/2014/main" id="{CBB1D4D2-5A4E-403B-B73E-0D3189230533}"/>
                    </a:ext>
                  </a:extLst>
                </p:cNvPr>
                <p:cNvSpPr/>
                <p:nvPr/>
              </p:nvSpPr>
              <p:spPr bwMode="gray">
                <a:xfrm>
                  <a:off x="6936708" y="-5061447"/>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861" name="Rectangle 2860">
                  <a:extLst>
                    <a:ext uri="{FF2B5EF4-FFF2-40B4-BE49-F238E27FC236}">
                      <a16:creationId xmlns:a16="http://schemas.microsoft.com/office/drawing/2014/main" id="{086C3227-729F-48AD-B5D1-3CA51A292E6C}"/>
                    </a:ext>
                  </a:extLst>
                </p:cNvPr>
                <p:cNvSpPr/>
                <p:nvPr/>
              </p:nvSpPr>
              <p:spPr bwMode="gray">
                <a:xfrm>
                  <a:off x="6936708" y="-4966603"/>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862" name="Rectangle 2861">
                  <a:extLst>
                    <a:ext uri="{FF2B5EF4-FFF2-40B4-BE49-F238E27FC236}">
                      <a16:creationId xmlns:a16="http://schemas.microsoft.com/office/drawing/2014/main" id="{6D21F7EB-07C6-4171-9317-8B6A035AD1F5}"/>
                    </a:ext>
                  </a:extLst>
                </p:cNvPr>
                <p:cNvSpPr/>
                <p:nvPr/>
              </p:nvSpPr>
              <p:spPr bwMode="gray">
                <a:xfrm>
                  <a:off x="6936708" y="-4871759"/>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863" name="Rectangle 2862">
                  <a:extLst>
                    <a:ext uri="{FF2B5EF4-FFF2-40B4-BE49-F238E27FC236}">
                      <a16:creationId xmlns:a16="http://schemas.microsoft.com/office/drawing/2014/main" id="{F30A276E-0A9B-4AD8-A488-B2F6609E0E82}"/>
                    </a:ext>
                  </a:extLst>
                </p:cNvPr>
                <p:cNvSpPr/>
                <p:nvPr/>
              </p:nvSpPr>
              <p:spPr bwMode="gray">
                <a:xfrm>
                  <a:off x="6936708" y="-4776914"/>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864" name="Rectangle 2863">
                  <a:extLst>
                    <a:ext uri="{FF2B5EF4-FFF2-40B4-BE49-F238E27FC236}">
                      <a16:creationId xmlns:a16="http://schemas.microsoft.com/office/drawing/2014/main" id="{6FC372B4-F22A-402E-A119-60ADEAA964B8}"/>
                    </a:ext>
                  </a:extLst>
                </p:cNvPr>
                <p:cNvSpPr/>
                <p:nvPr/>
              </p:nvSpPr>
              <p:spPr bwMode="gray">
                <a:xfrm>
                  <a:off x="6936708" y="-4682070"/>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865" name="Rectangle 2864">
                  <a:extLst>
                    <a:ext uri="{FF2B5EF4-FFF2-40B4-BE49-F238E27FC236}">
                      <a16:creationId xmlns:a16="http://schemas.microsoft.com/office/drawing/2014/main" id="{7661F9EA-06F9-4F9B-B199-B219F4458ED2}"/>
                    </a:ext>
                  </a:extLst>
                </p:cNvPr>
                <p:cNvSpPr/>
                <p:nvPr/>
              </p:nvSpPr>
              <p:spPr bwMode="gray">
                <a:xfrm>
                  <a:off x="6936708" y="-4587226"/>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866" name="Rectangle 2865">
                  <a:extLst>
                    <a:ext uri="{FF2B5EF4-FFF2-40B4-BE49-F238E27FC236}">
                      <a16:creationId xmlns:a16="http://schemas.microsoft.com/office/drawing/2014/main" id="{875DBC7B-D658-48B7-8886-24C74E96A430}"/>
                    </a:ext>
                  </a:extLst>
                </p:cNvPr>
                <p:cNvSpPr/>
                <p:nvPr/>
              </p:nvSpPr>
              <p:spPr bwMode="gray">
                <a:xfrm>
                  <a:off x="6936708" y="-4492382"/>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grpSp>
          <p:sp>
            <p:nvSpPr>
              <p:cNvPr id="2855" name="Rectangle 2854">
                <a:extLst>
                  <a:ext uri="{FF2B5EF4-FFF2-40B4-BE49-F238E27FC236}">
                    <a16:creationId xmlns:a16="http://schemas.microsoft.com/office/drawing/2014/main" id="{4539894B-5F89-40A4-A41F-17C159DC5F8B}"/>
                  </a:ext>
                </a:extLst>
              </p:cNvPr>
              <p:cNvSpPr/>
              <p:nvPr/>
            </p:nvSpPr>
            <p:spPr bwMode="gray">
              <a:xfrm>
                <a:off x="9771254" y="3653528"/>
                <a:ext cx="831543" cy="1987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300"/>
                  </a:spcBef>
                  <a:buClr>
                    <a:srgbClr val="002897"/>
                  </a:buClr>
                  <a:buSzPct val="70000"/>
                </a:pPr>
                <a:r>
                  <a:rPr lang="de-DE" sz="900" dirty="0">
                    <a:solidFill>
                      <a:schemeClr val="tx1"/>
                    </a:solidFill>
                  </a:rPr>
                  <a:t>Fractionation</a:t>
                </a:r>
              </a:p>
            </p:txBody>
          </p:sp>
        </p:grpSp>
        <p:grpSp>
          <p:nvGrpSpPr>
            <p:cNvPr id="2869" name="Group 2868">
              <a:extLst>
                <a:ext uri="{FF2B5EF4-FFF2-40B4-BE49-F238E27FC236}">
                  <a16:creationId xmlns:a16="http://schemas.microsoft.com/office/drawing/2014/main" id="{60DFE355-02F7-4F28-80A4-5DE3F3552CB4}"/>
                </a:ext>
              </a:extLst>
            </p:cNvPr>
            <p:cNvGrpSpPr/>
            <p:nvPr/>
          </p:nvGrpSpPr>
          <p:grpSpPr bwMode="gray">
            <a:xfrm>
              <a:off x="8507033" y="3257428"/>
              <a:ext cx="842400" cy="517625"/>
              <a:chOff x="9425878" y="2974700"/>
              <a:chExt cx="842400" cy="517625"/>
            </a:xfrm>
          </p:grpSpPr>
          <p:sp>
            <p:nvSpPr>
              <p:cNvPr id="2870" name="Rectangle 2869">
                <a:extLst>
                  <a:ext uri="{FF2B5EF4-FFF2-40B4-BE49-F238E27FC236}">
                    <a16:creationId xmlns:a16="http://schemas.microsoft.com/office/drawing/2014/main" id="{2FA44E04-9DDF-4034-9450-BA7DB11A351A}"/>
                  </a:ext>
                </a:extLst>
              </p:cNvPr>
              <p:cNvSpPr/>
              <p:nvPr/>
            </p:nvSpPr>
            <p:spPr bwMode="gray">
              <a:xfrm>
                <a:off x="9425878" y="3285436"/>
                <a:ext cx="842400" cy="20688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Recycle oil</a:t>
                </a:r>
              </a:p>
            </p:txBody>
          </p:sp>
          <p:sp>
            <p:nvSpPr>
              <p:cNvPr id="2872" name="Rectangle: Rounded Corners 2871">
                <a:extLst>
                  <a:ext uri="{FF2B5EF4-FFF2-40B4-BE49-F238E27FC236}">
                    <a16:creationId xmlns:a16="http://schemas.microsoft.com/office/drawing/2014/main" id="{0F799C04-793E-4C76-9A3B-51EBBA2FD3AC}"/>
                  </a:ext>
                </a:extLst>
              </p:cNvPr>
              <p:cNvSpPr/>
              <p:nvPr/>
            </p:nvSpPr>
            <p:spPr bwMode="gray">
              <a:xfrm>
                <a:off x="9517513" y="2974700"/>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grpSp>
        <p:cxnSp>
          <p:nvCxnSpPr>
            <p:cNvPr id="2875" name="Connector: Elbow 2874">
              <a:extLst>
                <a:ext uri="{FF2B5EF4-FFF2-40B4-BE49-F238E27FC236}">
                  <a16:creationId xmlns:a16="http://schemas.microsoft.com/office/drawing/2014/main" id="{E0C03776-0F20-40D2-AC6A-7B8A5BE6A436}"/>
                </a:ext>
              </a:extLst>
            </p:cNvPr>
            <p:cNvCxnSpPr>
              <a:stCxn id="2847" idx="5"/>
              <a:endCxn id="2849" idx="0"/>
            </p:cNvCxnSpPr>
            <p:nvPr/>
          </p:nvCxnSpPr>
          <p:spPr bwMode="gray">
            <a:xfrm>
              <a:off x="6184091" y="2571410"/>
              <a:ext cx="208252" cy="282097"/>
            </a:xfrm>
            <a:prstGeom prst="bentConnector2">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2877" name="Connector: Elbow 2876">
              <a:extLst>
                <a:ext uri="{FF2B5EF4-FFF2-40B4-BE49-F238E27FC236}">
                  <a16:creationId xmlns:a16="http://schemas.microsoft.com/office/drawing/2014/main" id="{FC98C80D-3DD4-4836-9D71-BA3BB4240B5D}"/>
                </a:ext>
              </a:extLst>
            </p:cNvPr>
            <p:cNvCxnSpPr>
              <a:cxnSpLocks/>
              <a:stCxn id="2151" idx="0"/>
              <a:endCxn id="2866" idx="1"/>
            </p:cNvCxnSpPr>
            <p:nvPr/>
          </p:nvCxnSpPr>
          <p:spPr bwMode="gray">
            <a:xfrm rot="16200000" flipH="1">
              <a:off x="7588370" y="2081203"/>
              <a:ext cx="523539" cy="587322"/>
            </a:xfrm>
            <a:prstGeom prst="bentConnector4">
              <a:avLst>
                <a:gd name="adj1" fmla="val -12226"/>
                <a:gd name="adj2" fmla="val 62937"/>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81" name="Connector: Elbow 2880">
              <a:extLst>
                <a:ext uri="{FF2B5EF4-FFF2-40B4-BE49-F238E27FC236}">
                  <a16:creationId xmlns:a16="http://schemas.microsoft.com/office/drawing/2014/main" id="{3D67E463-9A35-495F-A8E2-C5E5BD017952}"/>
                </a:ext>
              </a:extLst>
            </p:cNvPr>
            <p:cNvCxnSpPr>
              <a:cxnSpLocks/>
              <a:stCxn id="2855" idx="2"/>
              <a:endCxn id="2872" idx="1"/>
            </p:cNvCxnSpPr>
            <p:nvPr/>
          </p:nvCxnSpPr>
          <p:spPr bwMode="gray">
            <a:xfrm rot="16200000" flipH="1">
              <a:off x="8238716" y="3051344"/>
              <a:ext cx="417079" cy="302826"/>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882" name="Connector: Elbow 2881">
              <a:extLst>
                <a:ext uri="{FF2B5EF4-FFF2-40B4-BE49-F238E27FC236}">
                  <a16:creationId xmlns:a16="http://schemas.microsoft.com/office/drawing/2014/main" id="{04D43B6A-9F3D-4607-AE35-4A1F9C9F0A62}"/>
                </a:ext>
              </a:extLst>
            </p:cNvPr>
            <p:cNvCxnSpPr>
              <a:cxnSpLocks/>
              <a:stCxn id="2855" idx="2"/>
              <a:endCxn id="2866" idx="3"/>
            </p:cNvCxnSpPr>
            <p:nvPr/>
          </p:nvCxnSpPr>
          <p:spPr bwMode="gray">
            <a:xfrm rot="5400000" flipH="1" flipV="1">
              <a:off x="8192996" y="2739480"/>
              <a:ext cx="357584" cy="151892"/>
            </a:xfrm>
            <a:prstGeom prst="bentConnector4">
              <a:avLst>
                <a:gd name="adj1" fmla="val -54340"/>
                <a:gd name="adj2" fmla="val 42423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893" name="Rectangle 2892">
              <a:extLst>
                <a:ext uri="{FF2B5EF4-FFF2-40B4-BE49-F238E27FC236}">
                  <a16:creationId xmlns:a16="http://schemas.microsoft.com/office/drawing/2014/main" id="{D6C780E5-8713-4992-AC5F-B2F6D46F4A8E}"/>
                </a:ext>
              </a:extLst>
            </p:cNvPr>
            <p:cNvSpPr/>
            <p:nvPr/>
          </p:nvSpPr>
          <p:spPr bwMode="gray">
            <a:xfrm>
              <a:off x="4778367" y="3921242"/>
              <a:ext cx="1010517"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spcBef>
                  <a:spcPts val="300"/>
                </a:spcBef>
                <a:buClr>
                  <a:srgbClr val="002897"/>
                </a:buClr>
                <a:buSzPct val="70000"/>
              </a:pPr>
              <a:r>
                <a:rPr lang="de-DE" sz="1000" dirty="0">
                  <a:solidFill>
                    <a:schemeClr val="tx1"/>
                  </a:solidFill>
                </a:rPr>
                <a:t>Vacuum gas oil</a:t>
              </a:r>
            </a:p>
          </p:txBody>
        </p:sp>
        <p:sp>
          <p:nvSpPr>
            <p:cNvPr id="2894" name="Rectangle 2893">
              <a:extLst>
                <a:ext uri="{FF2B5EF4-FFF2-40B4-BE49-F238E27FC236}">
                  <a16:creationId xmlns:a16="http://schemas.microsoft.com/office/drawing/2014/main" id="{AE4A74C1-0BC6-4198-A08F-66DBB027320C}"/>
                </a:ext>
              </a:extLst>
            </p:cNvPr>
            <p:cNvSpPr/>
            <p:nvPr/>
          </p:nvSpPr>
          <p:spPr bwMode="gray">
            <a:xfrm>
              <a:off x="4778367" y="3406178"/>
              <a:ext cx="573401"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spcBef>
                  <a:spcPts val="300"/>
                </a:spcBef>
                <a:buClr>
                  <a:srgbClr val="002897"/>
                </a:buClr>
                <a:buSzPct val="70000"/>
              </a:pPr>
              <a:r>
                <a:rPr lang="de-DE" sz="1000" dirty="0">
                  <a:solidFill>
                    <a:schemeClr val="tx1"/>
                  </a:solidFill>
                </a:rPr>
                <a:t>Oxygen</a:t>
              </a:r>
            </a:p>
          </p:txBody>
        </p:sp>
        <p:sp>
          <p:nvSpPr>
            <p:cNvPr id="2895" name="Rectangle 2894">
              <a:extLst>
                <a:ext uri="{FF2B5EF4-FFF2-40B4-BE49-F238E27FC236}">
                  <a16:creationId xmlns:a16="http://schemas.microsoft.com/office/drawing/2014/main" id="{877C7336-C313-4D49-A38D-EA7968AC27BF}"/>
                </a:ext>
              </a:extLst>
            </p:cNvPr>
            <p:cNvSpPr/>
            <p:nvPr/>
          </p:nvSpPr>
          <p:spPr bwMode="gray">
            <a:xfrm>
              <a:off x="4778367" y="3094832"/>
              <a:ext cx="1081944"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spcBef>
                  <a:spcPts val="300"/>
                </a:spcBef>
                <a:buClr>
                  <a:srgbClr val="002897"/>
                </a:buClr>
                <a:buSzPct val="70000"/>
              </a:pPr>
              <a:r>
                <a:rPr lang="de-DE" sz="1000" dirty="0">
                  <a:solidFill>
                    <a:schemeClr val="tx1"/>
                  </a:solidFill>
                </a:rPr>
                <a:t>Regeneration air</a:t>
              </a:r>
            </a:p>
          </p:txBody>
        </p:sp>
        <p:sp>
          <p:nvSpPr>
            <p:cNvPr id="2896" name="Rectangle 2895">
              <a:extLst>
                <a:ext uri="{FF2B5EF4-FFF2-40B4-BE49-F238E27FC236}">
                  <a16:creationId xmlns:a16="http://schemas.microsoft.com/office/drawing/2014/main" id="{B4F5D1CE-2C59-4C09-B434-5D752D0895F4}"/>
                </a:ext>
              </a:extLst>
            </p:cNvPr>
            <p:cNvSpPr/>
            <p:nvPr/>
          </p:nvSpPr>
          <p:spPr bwMode="gray">
            <a:xfrm>
              <a:off x="4778367" y="1959739"/>
              <a:ext cx="521120"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spcBef>
                  <a:spcPts val="300"/>
                </a:spcBef>
                <a:buClr>
                  <a:srgbClr val="002897"/>
                </a:buClr>
                <a:buSzPct val="70000"/>
              </a:pPr>
              <a:r>
                <a:rPr lang="de-DE" sz="1000" dirty="0">
                  <a:solidFill>
                    <a:schemeClr val="tx1"/>
                  </a:solidFill>
                </a:rPr>
                <a:t>Steam</a:t>
              </a:r>
            </a:p>
          </p:txBody>
        </p:sp>
        <p:sp>
          <p:nvSpPr>
            <p:cNvPr id="2897" name="Rectangle 2896">
              <a:extLst>
                <a:ext uri="{FF2B5EF4-FFF2-40B4-BE49-F238E27FC236}">
                  <a16:creationId xmlns:a16="http://schemas.microsoft.com/office/drawing/2014/main" id="{3CA383FA-D931-420A-901D-8EB3D953F7EF}"/>
                </a:ext>
              </a:extLst>
            </p:cNvPr>
            <p:cNvSpPr/>
            <p:nvPr/>
          </p:nvSpPr>
          <p:spPr bwMode="gray">
            <a:xfrm>
              <a:off x="4778367" y="2254057"/>
              <a:ext cx="739249"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spcBef>
                  <a:spcPts val="300"/>
                </a:spcBef>
                <a:buClr>
                  <a:srgbClr val="002897"/>
                </a:buClr>
                <a:buSzPct val="70000"/>
              </a:pPr>
              <a:r>
                <a:rPr lang="de-DE" sz="1000" dirty="0">
                  <a:solidFill>
                    <a:schemeClr val="tx1"/>
                  </a:solidFill>
                </a:rPr>
                <a:t>Boiler </a:t>
              </a:r>
              <a:br>
                <a:rPr lang="de-DE" sz="1000" dirty="0">
                  <a:solidFill>
                    <a:schemeClr val="tx1"/>
                  </a:solidFill>
                </a:rPr>
              </a:br>
              <a:r>
                <a:rPr lang="de-DE" sz="1000" dirty="0">
                  <a:solidFill>
                    <a:schemeClr val="tx1"/>
                  </a:solidFill>
                </a:rPr>
                <a:t>feed water</a:t>
              </a:r>
            </a:p>
          </p:txBody>
        </p:sp>
        <p:cxnSp>
          <p:nvCxnSpPr>
            <p:cNvPr id="2899" name="Connector: Elbow 2898">
              <a:extLst>
                <a:ext uri="{FF2B5EF4-FFF2-40B4-BE49-F238E27FC236}">
                  <a16:creationId xmlns:a16="http://schemas.microsoft.com/office/drawing/2014/main" id="{0CF9D52C-F5ED-4868-8094-24F5825BEA76}"/>
                </a:ext>
              </a:extLst>
            </p:cNvPr>
            <p:cNvCxnSpPr>
              <a:cxnSpLocks/>
              <a:stCxn id="2894" idx="3"/>
              <a:endCxn id="2850" idx="2"/>
            </p:cNvCxnSpPr>
            <p:nvPr/>
          </p:nvCxnSpPr>
          <p:spPr bwMode="gray">
            <a:xfrm>
              <a:off x="5351768" y="3488978"/>
              <a:ext cx="1040576" cy="180425"/>
            </a:xfrm>
            <a:prstGeom prst="bentConnector4">
              <a:avLst>
                <a:gd name="adj1" fmla="val 27072"/>
                <a:gd name="adj2" fmla="val 22670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903" name="Connector: Elbow 2902">
              <a:extLst>
                <a:ext uri="{FF2B5EF4-FFF2-40B4-BE49-F238E27FC236}">
                  <a16:creationId xmlns:a16="http://schemas.microsoft.com/office/drawing/2014/main" id="{18503E63-C415-4461-A151-D6603B1F9354}"/>
                </a:ext>
              </a:extLst>
            </p:cNvPr>
            <p:cNvCxnSpPr>
              <a:cxnSpLocks/>
              <a:stCxn id="2895" idx="3"/>
              <a:endCxn id="2850" idx="2"/>
            </p:cNvCxnSpPr>
            <p:nvPr/>
          </p:nvCxnSpPr>
          <p:spPr bwMode="gray">
            <a:xfrm>
              <a:off x="5860311" y="3177632"/>
              <a:ext cx="532033" cy="491771"/>
            </a:xfrm>
            <a:prstGeom prst="bentConnector4">
              <a:avLst>
                <a:gd name="adj1" fmla="val 17761"/>
                <a:gd name="adj2" fmla="val 146485"/>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911" name="Connector: Elbow 2910">
              <a:extLst>
                <a:ext uri="{FF2B5EF4-FFF2-40B4-BE49-F238E27FC236}">
                  <a16:creationId xmlns:a16="http://schemas.microsoft.com/office/drawing/2014/main" id="{A1248DB2-8C99-47CE-9AFC-C07509E2D63A}"/>
                </a:ext>
              </a:extLst>
            </p:cNvPr>
            <p:cNvCxnSpPr>
              <a:cxnSpLocks/>
              <a:stCxn id="2844" idx="0"/>
              <a:endCxn id="2896" idx="3"/>
            </p:cNvCxnSpPr>
            <p:nvPr/>
          </p:nvCxnSpPr>
          <p:spPr bwMode="gray">
            <a:xfrm rot="16200000" flipV="1">
              <a:off x="5389730" y="1952296"/>
              <a:ext cx="380738" cy="561224"/>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915" name="Connector: Elbow 2914">
              <a:extLst>
                <a:ext uri="{FF2B5EF4-FFF2-40B4-BE49-F238E27FC236}">
                  <a16:creationId xmlns:a16="http://schemas.microsoft.com/office/drawing/2014/main" id="{D72CC06F-DE55-4AA4-9EB9-C24E978E3797}"/>
                </a:ext>
              </a:extLst>
            </p:cNvPr>
            <p:cNvCxnSpPr>
              <a:stCxn id="2844" idx="0"/>
              <a:endCxn id="2897" idx="3"/>
            </p:cNvCxnSpPr>
            <p:nvPr/>
          </p:nvCxnSpPr>
          <p:spPr bwMode="gray">
            <a:xfrm rot="16200000" flipV="1">
              <a:off x="5645954" y="2208519"/>
              <a:ext cx="86420" cy="343095"/>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920" name="Connector: Elbow 2919">
              <a:extLst>
                <a:ext uri="{FF2B5EF4-FFF2-40B4-BE49-F238E27FC236}">
                  <a16:creationId xmlns:a16="http://schemas.microsoft.com/office/drawing/2014/main" id="{7E744DD3-38A0-4989-808B-3905869D8D30}"/>
                </a:ext>
              </a:extLst>
            </p:cNvPr>
            <p:cNvCxnSpPr>
              <a:cxnSpLocks/>
              <a:stCxn id="2893" idx="3"/>
              <a:endCxn id="2150" idx="2"/>
            </p:cNvCxnSpPr>
            <p:nvPr/>
          </p:nvCxnSpPr>
          <p:spPr bwMode="gray">
            <a:xfrm flipV="1">
              <a:off x="5788884" y="3132806"/>
              <a:ext cx="1767594" cy="871236"/>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923" name="Connector: Elbow 2922">
              <a:extLst>
                <a:ext uri="{FF2B5EF4-FFF2-40B4-BE49-F238E27FC236}">
                  <a16:creationId xmlns:a16="http://schemas.microsoft.com/office/drawing/2014/main" id="{EE626294-CE2F-4B28-A6E2-A8F36B47D7A1}"/>
                </a:ext>
              </a:extLst>
            </p:cNvPr>
            <p:cNvCxnSpPr>
              <a:cxnSpLocks/>
              <a:stCxn id="2870" idx="2"/>
              <a:endCxn id="2150" idx="2"/>
            </p:cNvCxnSpPr>
            <p:nvPr/>
          </p:nvCxnSpPr>
          <p:spPr bwMode="gray">
            <a:xfrm rot="5400000" flipH="1">
              <a:off x="7921232" y="2768053"/>
              <a:ext cx="642247" cy="1371755"/>
            </a:xfrm>
            <a:prstGeom prst="bentConnector3">
              <a:avLst>
                <a:gd name="adj1" fmla="val -35594"/>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929" name="Rectangle 2928">
              <a:extLst>
                <a:ext uri="{FF2B5EF4-FFF2-40B4-BE49-F238E27FC236}">
                  <a16:creationId xmlns:a16="http://schemas.microsoft.com/office/drawing/2014/main" id="{F738DAD2-8985-460F-8608-9F6175CAFDEA}"/>
                </a:ext>
              </a:extLst>
            </p:cNvPr>
            <p:cNvSpPr/>
            <p:nvPr/>
          </p:nvSpPr>
          <p:spPr bwMode="gray">
            <a:xfrm>
              <a:off x="9536875" y="3094832"/>
              <a:ext cx="778271"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r">
                <a:spcBef>
                  <a:spcPts val="300"/>
                </a:spcBef>
                <a:buClr>
                  <a:srgbClr val="002897"/>
                </a:buClr>
                <a:buSzPct val="70000"/>
              </a:pPr>
              <a:r>
                <a:rPr lang="de-DE" sz="1000" dirty="0">
                  <a:solidFill>
                    <a:schemeClr val="tx1"/>
                  </a:solidFill>
                </a:rPr>
                <a:t>Redidual oil</a:t>
              </a:r>
            </a:p>
          </p:txBody>
        </p:sp>
        <p:sp>
          <p:nvSpPr>
            <p:cNvPr id="2930" name="Rectangle 2929">
              <a:extLst>
                <a:ext uri="{FF2B5EF4-FFF2-40B4-BE49-F238E27FC236}">
                  <a16:creationId xmlns:a16="http://schemas.microsoft.com/office/drawing/2014/main" id="{8F1DA11B-2091-4D04-8F96-5440B0BFEDE8}"/>
                </a:ext>
              </a:extLst>
            </p:cNvPr>
            <p:cNvSpPr/>
            <p:nvPr/>
          </p:nvSpPr>
          <p:spPr bwMode="gray">
            <a:xfrm>
              <a:off x="9315538" y="2716467"/>
              <a:ext cx="999607"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r">
                <a:spcBef>
                  <a:spcPts val="300"/>
                </a:spcBef>
                <a:buClr>
                  <a:srgbClr val="002897"/>
                </a:buClr>
                <a:buSzPct val="70000"/>
              </a:pPr>
              <a:r>
                <a:rPr lang="de-DE" sz="1000" dirty="0">
                  <a:solidFill>
                    <a:schemeClr val="tx1"/>
                  </a:solidFill>
                </a:rPr>
                <a:t>Cracked gas oil</a:t>
              </a:r>
            </a:p>
          </p:txBody>
        </p:sp>
        <p:sp>
          <p:nvSpPr>
            <p:cNvPr id="2931" name="Rectangle 2930">
              <a:extLst>
                <a:ext uri="{FF2B5EF4-FFF2-40B4-BE49-F238E27FC236}">
                  <a16:creationId xmlns:a16="http://schemas.microsoft.com/office/drawing/2014/main" id="{0B8C419C-2060-4E34-9303-8C789FFC4076}"/>
                </a:ext>
              </a:extLst>
            </p:cNvPr>
            <p:cNvSpPr/>
            <p:nvPr/>
          </p:nvSpPr>
          <p:spPr bwMode="gray">
            <a:xfrm>
              <a:off x="9363857" y="1959739"/>
              <a:ext cx="951289"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r">
                <a:spcBef>
                  <a:spcPts val="300"/>
                </a:spcBef>
                <a:buClr>
                  <a:srgbClr val="002897"/>
                </a:buClr>
                <a:buSzPct val="70000"/>
              </a:pPr>
              <a:r>
                <a:rPr lang="de-DE" sz="1000" dirty="0">
                  <a:solidFill>
                    <a:schemeClr val="tx1"/>
                  </a:solidFill>
                </a:rPr>
                <a:t>Cracked gases</a:t>
              </a:r>
            </a:p>
          </p:txBody>
        </p:sp>
        <p:sp>
          <p:nvSpPr>
            <p:cNvPr id="2932" name="Rectangle 2931">
              <a:extLst>
                <a:ext uri="{FF2B5EF4-FFF2-40B4-BE49-F238E27FC236}">
                  <a16:creationId xmlns:a16="http://schemas.microsoft.com/office/drawing/2014/main" id="{647CAFBD-C9D9-439B-B826-11673ECBFE01}"/>
                </a:ext>
              </a:extLst>
            </p:cNvPr>
            <p:cNvSpPr/>
            <p:nvPr/>
          </p:nvSpPr>
          <p:spPr bwMode="gray">
            <a:xfrm>
              <a:off x="9727711" y="2338103"/>
              <a:ext cx="587435"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r">
                <a:spcBef>
                  <a:spcPts val="300"/>
                </a:spcBef>
                <a:buClr>
                  <a:srgbClr val="002897"/>
                </a:buClr>
                <a:buSzPct val="70000"/>
              </a:pPr>
              <a:r>
                <a:rPr lang="de-DE" sz="1000" dirty="0">
                  <a:solidFill>
                    <a:schemeClr val="tx1"/>
                  </a:solidFill>
                </a:rPr>
                <a:t>Cracked gasoline</a:t>
              </a:r>
            </a:p>
          </p:txBody>
        </p:sp>
        <p:cxnSp>
          <p:nvCxnSpPr>
            <p:cNvPr id="2934" name="Connector: Elbow 2933">
              <a:extLst>
                <a:ext uri="{FF2B5EF4-FFF2-40B4-BE49-F238E27FC236}">
                  <a16:creationId xmlns:a16="http://schemas.microsoft.com/office/drawing/2014/main" id="{E12E76D4-D38A-4C9C-AB02-5E27E2D98E59}"/>
                </a:ext>
              </a:extLst>
            </p:cNvPr>
            <p:cNvCxnSpPr>
              <a:cxnSpLocks/>
              <a:stCxn id="2856" idx="0"/>
              <a:endCxn id="2931" idx="1"/>
            </p:cNvCxnSpPr>
            <p:nvPr/>
          </p:nvCxnSpPr>
          <p:spPr bwMode="gray">
            <a:xfrm rot="5400000" flipH="1" flipV="1">
              <a:off x="8794607" y="1543846"/>
              <a:ext cx="70556" cy="1067943"/>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937" name="Connector: Elbow 2936">
              <a:extLst>
                <a:ext uri="{FF2B5EF4-FFF2-40B4-BE49-F238E27FC236}">
                  <a16:creationId xmlns:a16="http://schemas.microsoft.com/office/drawing/2014/main" id="{80730DA6-1355-4BDA-A624-250F262BBAFE}"/>
                </a:ext>
              </a:extLst>
            </p:cNvPr>
            <p:cNvCxnSpPr>
              <a:cxnSpLocks/>
              <a:stCxn id="2858" idx="3"/>
              <a:endCxn id="2932" idx="1"/>
            </p:cNvCxnSpPr>
            <p:nvPr/>
          </p:nvCxnSpPr>
          <p:spPr bwMode="gray">
            <a:xfrm>
              <a:off x="8447734" y="2299342"/>
              <a:ext cx="1279977" cy="121561"/>
            </a:xfrm>
            <a:prstGeom prst="bentConnector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939" name="Connector: Elbow 2938">
              <a:extLst>
                <a:ext uri="{FF2B5EF4-FFF2-40B4-BE49-F238E27FC236}">
                  <a16:creationId xmlns:a16="http://schemas.microsoft.com/office/drawing/2014/main" id="{0BF9F44E-FB63-46D0-BF06-82A622A900CE}"/>
                </a:ext>
              </a:extLst>
            </p:cNvPr>
            <p:cNvCxnSpPr>
              <a:cxnSpLocks/>
              <a:stCxn id="2861" idx="3"/>
              <a:endCxn id="2930" idx="1"/>
            </p:cNvCxnSpPr>
            <p:nvPr/>
          </p:nvCxnSpPr>
          <p:spPr bwMode="gray">
            <a:xfrm>
              <a:off x="8447734" y="2425826"/>
              <a:ext cx="867804" cy="373441"/>
            </a:xfrm>
            <a:prstGeom prst="bentConnector3">
              <a:avLst>
                <a:gd name="adj1" fmla="val 65454"/>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943" name="Connector: Elbow 2942">
              <a:extLst>
                <a:ext uri="{FF2B5EF4-FFF2-40B4-BE49-F238E27FC236}">
                  <a16:creationId xmlns:a16="http://schemas.microsoft.com/office/drawing/2014/main" id="{B550F8C9-FBC7-4276-8711-DB15E1A5F01C}"/>
                </a:ext>
              </a:extLst>
            </p:cNvPr>
            <p:cNvCxnSpPr>
              <a:stCxn id="2872" idx="3"/>
              <a:endCxn id="2929" idx="1"/>
            </p:cNvCxnSpPr>
            <p:nvPr/>
          </p:nvCxnSpPr>
          <p:spPr bwMode="gray">
            <a:xfrm flipV="1">
              <a:off x="9257798" y="3177632"/>
              <a:ext cx="279077" cy="233665"/>
            </a:xfrm>
            <a:prstGeom prst="bentConnector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949" name="Rectangle 2948">
              <a:extLst>
                <a:ext uri="{FF2B5EF4-FFF2-40B4-BE49-F238E27FC236}">
                  <a16:creationId xmlns:a16="http://schemas.microsoft.com/office/drawing/2014/main" id="{AA1642F8-2048-42FA-A531-1D13417946B6}"/>
                </a:ext>
              </a:extLst>
            </p:cNvPr>
            <p:cNvSpPr/>
            <p:nvPr/>
          </p:nvSpPr>
          <p:spPr bwMode="gray">
            <a:xfrm>
              <a:off x="6643808" y="2072386"/>
              <a:ext cx="471161"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r>
                <a:rPr lang="de-DE" sz="1000" dirty="0">
                  <a:solidFill>
                    <a:schemeClr val="tx1"/>
                  </a:solidFill>
                </a:rPr>
                <a:t>Steam</a:t>
              </a:r>
            </a:p>
          </p:txBody>
        </p:sp>
        <p:cxnSp>
          <p:nvCxnSpPr>
            <p:cNvPr id="2951" name="Connector: Elbow 2950">
              <a:extLst>
                <a:ext uri="{FF2B5EF4-FFF2-40B4-BE49-F238E27FC236}">
                  <a16:creationId xmlns:a16="http://schemas.microsoft.com/office/drawing/2014/main" id="{8B44F436-B326-437A-8315-63B4724C9AF2}"/>
                </a:ext>
              </a:extLst>
            </p:cNvPr>
            <p:cNvCxnSpPr>
              <a:cxnSpLocks/>
              <a:stCxn id="2949" idx="3"/>
            </p:cNvCxnSpPr>
            <p:nvPr/>
          </p:nvCxnSpPr>
          <p:spPr bwMode="gray">
            <a:xfrm>
              <a:off x="7114969" y="2155186"/>
              <a:ext cx="281243" cy="165236"/>
            </a:xfrm>
            <a:prstGeom prst="bentConnector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954" name="Connector: Elbow 2953">
              <a:extLst>
                <a:ext uri="{FF2B5EF4-FFF2-40B4-BE49-F238E27FC236}">
                  <a16:creationId xmlns:a16="http://schemas.microsoft.com/office/drawing/2014/main" id="{20DB5826-DE5E-4097-9F93-50CDCC60653C}"/>
                </a:ext>
              </a:extLst>
            </p:cNvPr>
            <p:cNvCxnSpPr>
              <a:cxnSpLocks/>
              <a:stCxn id="2154" idx="1"/>
              <a:endCxn id="2849" idx="1"/>
            </p:cNvCxnSpPr>
            <p:nvPr/>
          </p:nvCxnSpPr>
          <p:spPr bwMode="gray">
            <a:xfrm rot="10800000" flipV="1">
              <a:off x="6501872" y="2446906"/>
              <a:ext cx="902640" cy="424153"/>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957" name="Rectangle 2956">
              <a:extLst>
                <a:ext uri="{FF2B5EF4-FFF2-40B4-BE49-F238E27FC236}">
                  <a16:creationId xmlns:a16="http://schemas.microsoft.com/office/drawing/2014/main" id="{B7D8D181-74BB-415F-926D-479A2C6CD19B}"/>
                </a:ext>
              </a:extLst>
            </p:cNvPr>
            <p:cNvSpPr/>
            <p:nvPr/>
          </p:nvSpPr>
          <p:spPr bwMode="gray">
            <a:xfrm>
              <a:off x="6639324" y="2536698"/>
              <a:ext cx="633523"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spcBef>
                  <a:spcPts val="300"/>
                </a:spcBef>
                <a:buClr>
                  <a:srgbClr val="002897"/>
                </a:buClr>
                <a:buSzPct val="70000"/>
              </a:pPr>
              <a:r>
                <a:rPr lang="de-DE" sz="1000" dirty="0">
                  <a:solidFill>
                    <a:schemeClr val="tx1"/>
                  </a:solidFill>
                </a:rPr>
                <a:t>Catalyst. loaded</a:t>
              </a:r>
            </a:p>
          </p:txBody>
        </p:sp>
        <p:sp>
          <p:nvSpPr>
            <p:cNvPr id="2963" name="Rectangle 2962">
              <a:extLst>
                <a:ext uri="{FF2B5EF4-FFF2-40B4-BE49-F238E27FC236}">
                  <a16:creationId xmlns:a16="http://schemas.microsoft.com/office/drawing/2014/main" id="{4903E96F-D9CD-41A3-8153-85DE9FD3955E}"/>
                </a:ext>
              </a:extLst>
            </p:cNvPr>
            <p:cNvSpPr/>
            <p:nvPr/>
          </p:nvSpPr>
          <p:spPr bwMode="gray">
            <a:xfrm>
              <a:off x="6580788" y="3227632"/>
              <a:ext cx="947912"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spcBef>
                  <a:spcPts val="300"/>
                </a:spcBef>
                <a:buClr>
                  <a:srgbClr val="002897"/>
                </a:buClr>
                <a:buSzPct val="70000"/>
              </a:pPr>
              <a:r>
                <a:rPr lang="de-DE" sz="1000" dirty="0">
                  <a:solidFill>
                    <a:schemeClr val="tx1"/>
                  </a:solidFill>
                </a:rPr>
                <a:t>Catalyst. regenerated</a:t>
              </a:r>
            </a:p>
          </p:txBody>
        </p:sp>
        <p:cxnSp>
          <p:nvCxnSpPr>
            <p:cNvPr id="2967" name="Straight Connector 2966">
              <a:extLst>
                <a:ext uri="{FF2B5EF4-FFF2-40B4-BE49-F238E27FC236}">
                  <a16:creationId xmlns:a16="http://schemas.microsoft.com/office/drawing/2014/main" id="{93111E63-46F2-496F-99B0-1A0EE46E6B41}"/>
                </a:ext>
              </a:extLst>
            </p:cNvPr>
            <p:cNvCxnSpPr>
              <a:cxnSpLocks/>
              <a:stCxn id="2963" idx="1"/>
              <a:endCxn id="2963" idx="3"/>
            </p:cNvCxnSpPr>
            <p:nvPr/>
          </p:nvCxnSpPr>
          <p:spPr bwMode="gray">
            <a:xfrm>
              <a:off x="6580788" y="3310432"/>
              <a:ext cx="947912"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3441362-BEFE-45EE-9E6E-C0574FF2FC44}"/>
                </a:ext>
              </a:extLst>
            </p:cNvPr>
            <p:cNvCxnSpPr>
              <a:cxnSpLocks/>
              <a:stCxn id="2971" idx="1"/>
            </p:cNvCxnSpPr>
            <p:nvPr/>
          </p:nvCxnSpPr>
          <p:spPr bwMode="gray">
            <a:xfrm flipV="1">
              <a:off x="4708074" y="3018505"/>
              <a:ext cx="1684932" cy="4786"/>
            </a:xfrm>
            <a:prstGeom prst="line">
              <a:avLst/>
            </a:prstGeom>
            <a:ln w="9525">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grpSp>
      <p:sp>
        <p:nvSpPr>
          <p:cNvPr id="28" name="Date Placeholder 27">
            <a:extLst>
              <a:ext uri="{FF2B5EF4-FFF2-40B4-BE49-F238E27FC236}">
                <a16:creationId xmlns:a16="http://schemas.microsoft.com/office/drawing/2014/main" id="{C0FDFC6F-2F12-4323-AC8C-B241CE17C76F}"/>
              </a:ext>
            </a:extLst>
          </p:cNvPr>
          <p:cNvSpPr>
            <a:spLocks noGrp="1"/>
          </p:cNvSpPr>
          <p:nvPr>
            <p:ph type="dt" sz="half" idx="14"/>
          </p:nvPr>
        </p:nvSpPr>
        <p:spPr bwMode="gray"/>
        <p:txBody>
          <a:bodyPr/>
          <a:lstStyle/>
          <a:p>
            <a:fld id="{110C2B72-8901-46E6-972C-A3DBF7E432C1}" type="datetime4">
              <a:rPr lang="en-US" smtClean="0"/>
              <a:t>September 8, 2019</a:t>
            </a:fld>
            <a:endParaRPr lang="en-US" dirty="0"/>
          </a:p>
        </p:txBody>
      </p:sp>
      <p:sp>
        <p:nvSpPr>
          <p:cNvPr id="29" name="Footer Placeholder 28">
            <a:extLst>
              <a:ext uri="{FF2B5EF4-FFF2-40B4-BE49-F238E27FC236}">
                <a16:creationId xmlns:a16="http://schemas.microsoft.com/office/drawing/2014/main" id="{532EA878-EE29-44E3-B70F-B5943DD6C3DF}"/>
              </a:ext>
            </a:extLst>
          </p:cNvPr>
          <p:cNvSpPr>
            <a:spLocks noGrp="1"/>
          </p:cNvSpPr>
          <p:nvPr>
            <p:ph type="ftr" sz="quarter" idx="15"/>
          </p:nvPr>
        </p:nvSpPr>
        <p:spPr bwMode="gray"/>
        <p:txBody>
          <a:bodyPr/>
          <a:lstStyle/>
          <a:p>
            <a:pPr lvl="8"/>
            <a:endParaRPr lang="en-US" dirty="0"/>
          </a:p>
        </p:txBody>
      </p:sp>
      <p:sp>
        <p:nvSpPr>
          <p:cNvPr id="30" name="Slide Number Placeholder 29">
            <a:extLst>
              <a:ext uri="{FF2B5EF4-FFF2-40B4-BE49-F238E27FC236}">
                <a16:creationId xmlns:a16="http://schemas.microsoft.com/office/drawing/2014/main" id="{635FC794-7E25-4C4B-8AC4-62716AD879EF}"/>
              </a:ext>
            </a:extLst>
          </p:cNvPr>
          <p:cNvSpPr>
            <a:spLocks noGrp="1"/>
          </p:cNvSpPr>
          <p:nvPr>
            <p:ph type="sldNum" sz="quarter" idx="16"/>
          </p:nvPr>
        </p:nvSpPr>
        <p:spPr bwMode="gray"/>
        <p:txBody>
          <a:bodyPr/>
          <a:lstStyle/>
          <a:p>
            <a:r>
              <a:rPr lang="en-US"/>
              <a:t>Slide </a:t>
            </a:r>
            <a:fld id="{619F89D8-7AE3-494A-97F3-03D680869632}" type="slidenum">
              <a:rPr lang="en-US" smtClean="0"/>
              <a:pPr/>
              <a:t>54</a:t>
            </a:fld>
            <a:endParaRPr lang="en-US" dirty="0"/>
          </a:p>
        </p:txBody>
      </p:sp>
    </p:spTree>
    <p:custDataLst>
      <p:tags r:id="rId1"/>
    </p:custDataLst>
    <p:extLst>
      <p:ext uri="{BB962C8B-B14F-4D97-AF65-F5344CB8AC3E}">
        <p14:creationId xmlns:p14="http://schemas.microsoft.com/office/powerpoint/2010/main" val="2214856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1F0C871-CDDB-4135-A6B6-FA9C73B7F77A}"/>
              </a:ext>
            </a:extLst>
          </p:cNvPr>
          <p:cNvSpPr>
            <a:spLocks noGrp="1"/>
          </p:cNvSpPr>
          <p:nvPr>
            <p:ph type="title"/>
          </p:nvPr>
        </p:nvSpPr>
        <p:spPr bwMode="gray"/>
        <p:txBody>
          <a:bodyPr/>
          <a:lstStyle/>
          <a:p>
            <a:r>
              <a:rPr lang="en-GB" dirty="0"/>
              <a:t>Refinery liquid fuels desulphurisation</a:t>
            </a:r>
            <a:endParaRPr lang="de-DE" dirty="0"/>
          </a:p>
        </p:txBody>
      </p:sp>
      <p:sp>
        <p:nvSpPr>
          <p:cNvPr id="7" name="Subtitle 6">
            <a:extLst>
              <a:ext uri="{FF2B5EF4-FFF2-40B4-BE49-F238E27FC236}">
                <a16:creationId xmlns:a16="http://schemas.microsoft.com/office/drawing/2014/main" id="{4CA70EB7-6B0E-45DA-B424-4BF48EEC481F}"/>
              </a:ext>
            </a:extLst>
          </p:cNvPr>
          <p:cNvSpPr>
            <a:spLocks noGrp="1"/>
          </p:cNvSpPr>
          <p:nvPr>
            <p:ph type="subTitle" idx="13"/>
          </p:nvPr>
        </p:nvSpPr>
        <p:spPr bwMode="gray"/>
        <p:txBody>
          <a:bodyPr/>
          <a:lstStyle/>
          <a:p>
            <a:r>
              <a:rPr lang="en-GB" dirty="0"/>
              <a:t>Hydrogen for hydrodesulphurisation / hydrotreating</a:t>
            </a:r>
            <a:endParaRPr lang="de-DE" dirty="0"/>
          </a:p>
        </p:txBody>
      </p:sp>
      <p:sp>
        <p:nvSpPr>
          <p:cNvPr id="17" name="Rechteck 87">
            <a:extLst>
              <a:ext uri="{FF2B5EF4-FFF2-40B4-BE49-F238E27FC236}">
                <a16:creationId xmlns:a16="http://schemas.microsoft.com/office/drawing/2014/main" id="{208D6856-588F-4BD3-A40D-1F4713C0C88F}"/>
              </a:ext>
            </a:extLst>
          </p:cNvPr>
          <p:cNvSpPr/>
          <p:nvPr/>
        </p:nvSpPr>
        <p:spPr bwMode="gray">
          <a:xfrm>
            <a:off x="1361440" y="1936346"/>
            <a:ext cx="9469119" cy="3981449"/>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000" dirty="0">
              <a:solidFill>
                <a:schemeClr val="bg1"/>
              </a:solidFill>
            </a:endParaRPr>
          </a:p>
        </p:txBody>
      </p:sp>
      <p:sp>
        <p:nvSpPr>
          <p:cNvPr id="226" name="Rectangle 225">
            <a:extLst>
              <a:ext uri="{FF2B5EF4-FFF2-40B4-BE49-F238E27FC236}">
                <a16:creationId xmlns:a16="http://schemas.microsoft.com/office/drawing/2014/main" id="{05B6BBB7-0EAD-4A42-A360-FF421CA450EB}"/>
              </a:ext>
            </a:extLst>
          </p:cNvPr>
          <p:cNvSpPr/>
          <p:nvPr/>
        </p:nvSpPr>
        <p:spPr bwMode="gray">
          <a:xfrm>
            <a:off x="3224465" y="4478116"/>
            <a:ext cx="81910" cy="857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00" dirty="0" err="1"/>
          </a:p>
        </p:txBody>
      </p:sp>
      <p:grpSp>
        <p:nvGrpSpPr>
          <p:cNvPr id="131" name="Group 130">
            <a:extLst>
              <a:ext uri="{FF2B5EF4-FFF2-40B4-BE49-F238E27FC236}">
                <a16:creationId xmlns:a16="http://schemas.microsoft.com/office/drawing/2014/main" id="{F8FC9A30-E9F3-439B-BD7C-833A7339987E}"/>
              </a:ext>
            </a:extLst>
          </p:cNvPr>
          <p:cNvGrpSpPr/>
          <p:nvPr/>
        </p:nvGrpSpPr>
        <p:grpSpPr bwMode="gray">
          <a:xfrm flipH="1">
            <a:off x="8016848" y="3002897"/>
            <a:ext cx="968007" cy="2125881"/>
            <a:chOff x="7949893" y="2381817"/>
            <a:chExt cx="683855" cy="1501843"/>
          </a:xfrm>
        </p:grpSpPr>
        <p:sp>
          <p:nvSpPr>
            <p:cNvPr id="132" name="Freeform: Shape 131">
              <a:extLst>
                <a:ext uri="{FF2B5EF4-FFF2-40B4-BE49-F238E27FC236}">
                  <a16:creationId xmlns:a16="http://schemas.microsoft.com/office/drawing/2014/main" id="{6118A5D0-9525-4BA4-8CC5-542ED8B20530}"/>
                </a:ext>
              </a:extLst>
            </p:cNvPr>
            <p:cNvSpPr/>
            <p:nvPr/>
          </p:nvSpPr>
          <p:spPr bwMode="gray">
            <a:xfrm>
              <a:off x="7950038" y="2381817"/>
              <a:ext cx="683710" cy="1501843"/>
            </a:xfrm>
            <a:custGeom>
              <a:avLst/>
              <a:gdLst>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30300 h 1501843"/>
                <a:gd name="connsiteX17" fmla="*/ 683710 w 683710"/>
                <a:gd name="connsiteY17" fmla="*/ 1159988 h 1501843"/>
                <a:gd name="connsiteX18" fmla="*/ 341855 w 683710"/>
                <a:gd name="connsiteY18" fmla="*/ 1501843 h 1501843"/>
                <a:gd name="connsiteX19" fmla="*/ 0 w 683710"/>
                <a:gd name="connsiteY19" fmla="*/ 1159988 h 1501843"/>
                <a:gd name="connsiteX20" fmla="*/ 0 w 683710"/>
                <a:gd name="connsiteY20" fmla="*/ 1130300 h 1501843"/>
                <a:gd name="connsiteX21" fmla="*/ 0 w 683710"/>
                <a:gd name="connsiteY21" fmla="*/ 1035456 h 1501843"/>
                <a:gd name="connsiteX22" fmla="*/ 0 w 683710"/>
                <a:gd name="connsiteY22" fmla="*/ 1035455 h 1501843"/>
                <a:gd name="connsiteX23" fmla="*/ 0 w 683710"/>
                <a:gd name="connsiteY23" fmla="*/ 940612 h 1501843"/>
                <a:gd name="connsiteX24" fmla="*/ 0 w 683710"/>
                <a:gd name="connsiteY24" fmla="*/ 940611 h 1501843"/>
                <a:gd name="connsiteX25" fmla="*/ 0 w 683710"/>
                <a:gd name="connsiteY25" fmla="*/ 845767 h 1501843"/>
                <a:gd name="connsiteX26" fmla="*/ 0 w 683710"/>
                <a:gd name="connsiteY26" fmla="*/ 750923 h 1501843"/>
                <a:gd name="connsiteX27" fmla="*/ 0 w 683710"/>
                <a:gd name="connsiteY27" fmla="*/ 750922 h 1501843"/>
                <a:gd name="connsiteX28" fmla="*/ 0 w 683710"/>
                <a:gd name="connsiteY28" fmla="*/ 656079 h 1501843"/>
                <a:gd name="connsiteX29" fmla="*/ 0 w 683710"/>
                <a:gd name="connsiteY29" fmla="*/ 656078 h 1501843"/>
                <a:gd name="connsiteX30" fmla="*/ 0 w 683710"/>
                <a:gd name="connsiteY30" fmla="*/ 561235 h 1501843"/>
                <a:gd name="connsiteX31" fmla="*/ 0 w 683710"/>
                <a:gd name="connsiteY31" fmla="*/ 561234 h 1501843"/>
                <a:gd name="connsiteX32" fmla="*/ 0 w 683710"/>
                <a:gd name="connsiteY32" fmla="*/ 466391 h 1501843"/>
                <a:gd name="connsiteX33" fmla="*/ 0 w 683710"/>
                <a:gd name="connsiteY33" fmla="*/ 466390 h 1501843"/>
                <a:gd name="connsiteX34" fmla="*/ 0 w 683710"/>
                <a:gd name="connsiteY34" fmla="*/ 371546 h 1501843"/>
                <a:gd name="connsiteX35" fmla="*/ 0 w 683710"/>
                <a:gd name="connsiteY35" fmla="*/ 341855 h 1501843"/>
                <a:gd name="connsiteX36" fmla="*/ 341855 w 683710"/>
                <a:gd name="connsiteY36" fmla="*/ 0 h 1501843"/>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30300 h 1501843"/>
                <a:gd name="connsiteX17" fmla="*/ 683710 w 683710"/>
                <a:gd name="connsiteY17" fmla="*/ 1159988 h 1501843"/>
                <a:gd name="connsiteX18" fmla="*/ 341855 w 683710"/>
                <a:gd name="connsiteY18" fmla="*/ 1501843 h 1501843"/>
                <a:gd name="connsiteX19" fmla="*/ 0 w 683710"/>
                <a:gd name="connsiteY19" fmla="*/ 1159988 h 1501843"/>
                <a:gd name="connsiteX20" fmla="*/ 0 w 683710"/>
                <a:gd name="connsiteY20" fmla="*/ 1035456 h 1501843"/>
                <a:gd name="connsiteX21" fmla="*/ 0 w 683710"/>
                <a:gd name="connsiteY21" fmla="*/ 1035455 h 1501843"/>
                <a:gd name="connsiteX22" fmla="*/ 0 w 683710"/>
                <a:gd name="connsiteY22" fmla="*/ 940612 h 1501843"/>
                <a:gd name="connsiteX23" fmla="*/ 0 w 683710"/>
                <a:gd name="connsiteY23" fmla="*/ 940611 h 1501843"/>
                <a:gd name="connsiteX24" fmla="*/ 0 w 683710"/>
                <a:gd name="connsiteY24" fmla="*/ 845767 h 1501843"/>
                <a:gd name="connsiteX25" fmla="*/ 0 w 683710"/>
                <a:gd name="connsiteY25" fmla="*/ 750923 h 1501843"/>
                <a:gd name="connsiteX26" fmla="*/ 0 w 683710"/>
                <a:gd name="connsiteY26" fmla="*/ 750922 h 1501843"/>
                <a:gd name="connsiteX27" fmla="*/ 0 w 683710"/>
                <a:gd name="connsiteY27" fmla="*/ 656079 h 1501843"/>
                <a:gd name="connsiteX28" fmla="*/ 0 w 683710"/>
                <a:gd name="connsiteY28" fmla="*/ 656078 h 1501843"/>
                <a:gd name="connsiteX29" fmla="*/ 0 w 683710"/>
                <a:gd name="connsiteY29" fmla="*/ 561235 h 1501843"/>
                <a:gd name="connsiteX30" fmla="*/ 0 w 683710"/>
                <a:gd name="connsiteY30" fmla="*/ 561234 h 1501843"/>
                <a:gd name="connsiteX31" fmla="*/ 0 w 683710"/>
                <a:gd name="connsiteY31" fmla="*/ 466391 h 1501843"/>
                <a:gd name="connsiteX32" fmla="*/ 0 w 683710"/>
                <a:gd name="connsiteY32" fmla="*/ 466390 h 1501843"/>
                <a:gd name="connsiteX33" fmla="*/ 0 w 683710"/>
                <a:gd name="connsiteY33" fmla="*/ 371546 h 1501843"/>
                <a:gd name="connsiteX34" fmla="*/ 0 w 683710"/>
                <a:gd name="connsiteY34" fmla="*/ 341855 h 1501843"/>
                <a:gd name="connsiteX35" fmla="*/ 341855 w 683710"/>
                <a:gd name="connsiteY35" fmla="*/ 0 h 1501843"/>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59988 h 1501843"/>
                <a:gd name="connsiteX17" fmla="*/ 341855 w 683710"/>
                <a:gd name="connsiteY17" fmla="*/ 1501843 h 1501843"/>
                <a:gd name="connsiteX18" fmla="*/ 0 w 683710"/>
                <a:gd name="connsiteY18" fmla="*/ 1159988 h 1501843"/>
                <a:gd name="connsiteX19" fmla="*/ 0 w 683710"/>
                <a:gd name="connsiteY19" fmla="*/ 1035456 h 1501843"/>
                <a:gd name="connsiteX20" fmla="*/ 0 w 683710"/>
                <a:gd name="connsiteY20" fmla="*/ 1035455 h 1501843"/>
                <a:gd name="connsiteX21" fmla="*/ 0 w 683710"/>
                <a:gd name="connsiteY21" fmla="*/ 940612 h 1501843"/>
                <a:gd name="connsiteX22" fmla="*/ 0 w 683710"/>
                <a:gd name="connsiteY22" fmla="*/ 940611 h 1501843"/>
                <a:gd name="connsiteX23" fmla="*/ 0 w 683710"/>
                <a:gd name="connsiteY23" fmla="*/ 845767 h 1501843"/>
                <a:gd name="connsiteX24" fmla="*/ 0 w 683710"/>
                <a:gd name="connsiteY24" fmla="*/ 750923 h 1501843"/>
                <a:gd name="connsiteX25" fmla="*/ 0 w 683710"/>
                <a:gd name="connsiteY25" fmla="*/ 750922 h 1501843"/>
                <a:gd name="connsiteX26" fmla="*/ 0 w 683710"/>
                <a:gd name="connsiteY26" fmla="*/ 656079 h 1501843"/>
                <a:gd name="connsiteX27" fmla="*/ 0 w 683710"/>
                <a:gd name="connsiteY27" fmla="*/ 656078 h 1501843"/>
                <a:gd name="connsiteX28" fmla="*/ 0 w 683710"/>
                <a:gd name="connsiteY28" fmla="*/ 561235 h 1501843"/>
                <a:gd name="connsiteX29" fmla="*/ 0 w 683710"/>
                <a:gd name="connsiteY29" fmla="*/ 561234 h 1501843"/>
                <a:gd name="connsiteX30" fmla="*/ 0 w 683710"/>
                <a:gd name="connsiteY30" fmla="*/ 466391 h 1501843"/>
                <a:gd name="connsiteX31" fmla="*/ 0 w 683710"/>
                <a:gd name="connsiteY31" fmla="*/ 466390 h 1501843"/>
                <a:gd name="connsiteX32" fmla="*/ 0 w 683710"/>
                <a:gd name="connsiteY32" fmla="*/ 371546 h 1501843"/>
                <a:gd name="connsiteX33" fmla="*/ 0 w 683710"/>
                <a:gd name="connsiteY33" fmla="*/ 341855 h 1501843"/>
                <a:gd name="connsiteX34" fmla="*/ 341855 w 683710"/>
                <a:gd name="connsiteY34" fmla="*/ 0 h 1501843"/>
                <a:gd name="connsiteX0" fmla="*/ 341855 w 683710"/>
                <a:gd name="connsiteY0" fmla="*/ 0 h 1501843"/>
                <a:gd name="connsiteX1" fmla="*/ 683710 w 683710"/>
                <a:gd name="connsiteY1" fmla="*/ 341855 h 1501843"/>
                <a:gd name="connsiteX2" fmla="*/ 683710 w 683710"/>
                <a:gd name="connsiteY2" fmla="*/ 466390 h 1501843"/>
                <a:gd name="connsiteX3" fmla="*/ 683710 w 683710"/>
                <a:gd name="connsiteY3" fmla="*/ 466391 h 1501843"/>
                <a:gd name="connsiteX4" fmla="*/ 683710 w 683710"/>
                <a:gd name="connsiteY4" fmla="*/ 561234 h 1501843"/>
                <a:gd name="connsiteX5" fmla="*/ 683710 w 683710"/>
                <a:gd name="connsiteY5" fmla="*/ 561235 h 1501843"/>
                <a:gd name="connsiteX6" fmla="*/ 683710 w 683710"/>
                <a:gd name="connsiteY6" fmla="*/ 656078 h 1501843"/>
                <a:gd name="connsiteX7" fmla="*/ 683710 w 683710"/>
                <a:gd name="connsiteY7" fmla="*/ 656079 h 1501843"/>
                <a:gd name="connsiteX8" fmla="*/ 683710 w 683710"/>
                <a:gd name="connsiteY8" fmla="*/ 750922 h 1501843"/>
                <a:gd name="connsiteX9" fmla="*/ 683710 w 683710"/>
                <a:gd name="connsiteY9" fmla="*/ 750923 h 1501843"/>
                <a:gd name="connsiteX10" fmla="*/ 683710 w 683710"/>
                <a:gd name="connsiteY10" fmla="*/ 845767 h 1501843"/>
                <a:gd name="connsiteX11" fmla="*/ 683710 w 683710"/>
                <a:gd name="connsiteY11" fmla="*/ 940611 h 1501843"/>
                <a:gd name="connsiteX12" fmla="*/ 683710 w 683710"/>
                <a:gd name="connsiteY12" fmla="*/ 940612 h 1501843"/>
                <a:gd name="connsiteX13" fmla="*/ 683710 w 683710"/>
                <a:gd name="connsiteY13" fmla="*/ 1035455 h 1501843"/>
                <a:gd name="connsiteX14" fmla="*/ 683710 w 683710"/>
                <a:gd name="connsiteY14" fmla="*/ 1035456 h 1501843"/>
                <a:gd name="connsiteX15" fmla="*/ 683710 w 683710"/>
                <a:gd name="connsiteY15" fmla="*/ 1159988 h 1501843"/>
                <a:gd name="connsiteX16" fmla="*/ 341855 w 683710"/>
                <a:gd name="connsiteY16" fmla="*/ 1501843 h 1501843"/>
                <a:gd name="connsiteX17" fmla="*/ 0 w 683710"/>
                <a:gd name="connsiteY17" fmla="*/ 1159988 h 1501843"/>
                <a:gd name="connsiteX18" fmla="*/ 0 w 683710"/>
                <a:gd name="connsiteY18" fmla="*/ 1035456 h 1501843"/>
                <a:gd name="connsiteX19" fmla="*/ 0 w 683710"/>
                <a:gd name="connsiteY19" fmla="*/ 1035455 h 1501843"/>
                <a:gd name="connsiteX20" fmla="*/ 0 w 683710"/>
                <a:gd name="connsiteY20" fmla="*/ 940612 h 1501843"/>
                <a:gd name="connsiteX21" fmla="*/ 0 w 683710"/>
                <a:gd name="connsiteY21" fmla="*/ 940611 h 1501843"/>
                <a:gd name="connsiteX22" fmla="*/ 0 w 683710"/>
                <a:gd name="connsiteY22" fmla="*/ 845767 h 1501843"/>
                <a:gd name="connsiteX23" fmla="*/ 0 w 683710"/>
                <a:gd name="connsiteY23" fmla="*/ 750923 h 1501843"/>
                <a:gd name="connsiteX24" fmla="*/ 0 w 683710"/>
                <a:gd name="connsiteY24" fmla="*/ 750922 h 1501843"/>
                <a:gd name="connsiteX25" fmla="*/ 0 w 683710"/>
                <a:gd name="connsiteY25" fmla="*/ 656079 h 1501843"/>
                <a:gd name="connsiteX26" fmla="*/ 0 w 683710"/>
                <a:gd name="connsiteY26" fmla="*/ 656078 h 1501843"/>
                <a:gd name="connsiteX27" fmla="*/ 0 w 683710"/>
                <a:gd name="connsiteY27" fmla="*/ 561235 h 1501843"/>
                <a:gd name="connsiteX28" fmla="*/ 0 w 683710"/>
                <a:gd name="connsiteY28" fmla="*/ 561234 h 1501843"/>
                <a:gd name="connsiteX29" fmla="*/ 0 w 683710"/>
                <a:gd name="connsiteY29" fmla="*/ 466391 h 1501843"/>
                <a:gd name="connsiteX30" fmla="*/ 0 w 683710"/>
                <a:gd name="connsiteY30" fmla="*/ 466390 h 1501843"/>
                <a:gd name="connsiteX31" fmla="*/ 0 w 683710"/>
                <a:gd name="connsiteY31" fmla="*/ 371546 h 1501843"/>
                <a:gd name="connsiteX32" fmla="*/ 0 w 683710"/>
                <a:gd name="connsiteY32" fmla="*/ 341855 h 1501843"/>
                <a:gd name="connsiteX33" fmla="*/ 341855 w 683710"/>
                <a:gd name="connsiteY33" fmla="*/ 0 h 1501843"/>
                <a:gd name="connsiteX0" fmla="*/ 341855 w 683710"/>
                <a:gd name="connsiteY0" fmla="*/ 0 h 1501843"/>
                <a:gd name="connsiteX1" fmla="*/ 683710 w 683710"/>
                <a:gd name="connsiteY1" fmla="*/ 341855 h 1501843"/>
                <a:gd name="connsiteX2" fmla="*/ 683710 w 683710"/>
                <a:gd name="connsiteY2" fmla="*/ 466390 h 1501843"/>
                <a:gd name="connsiteX3" fmla="*/ 683710 w 683710"/>
                <a:gd name="connsiteY3" fmla="*/ 466391 h 1501843"/>
                <a:gd name="connsiteX4" fmla="*/ 683710 w 683710"/>
                <a:gd name="connsiteY4" fmla="*/ 561234 h 1501843"/>
                <a:gd name="connsiteX5" fmla="*/ 683710 w 683710"/>
                <a:gd name="connsiteY5" fmla="*/ 561235 h 1501843"/>
                <a:gd name="connsiteX6" fmla="*/ 683710 w 683710"/>
                <a:gd name="connsiteY6" fmla="*/ 656078 h 1501843"/>
                <a:gd name="connsiteX7" fmla="*/ 683710 w 683710"/>
                <a:gd name="connsiteY7" fmla="*/ 656079 h 1501843"/>
                <a:gd name="connsiteX8" fmla="*/ 683710 w 683710"/>
                <a:gd name="connsiteY8" fmla="*/ 750922 h 1501843"/>
                <a:gd name="connsiteX9" fmla="*/ 683710 w 683710"/>
                <a:gd name="connsiteY9" fmla="*/ 750923 h 1501843"/>
                <a:gd name="connsiteX10" fmla="*/ 683710 w 683710"/>
                <a:gd name="connsiteY10" fmla="*/ 845767 h 1501843"/>
                <a:gd name="connsiteX11" fmla="*/ 683710 w 683710"/>
                <a:gd name="connsiteY11" fmla="*/ 940611 h 1501843"/>
                <a:gd name="connsiteX12" fmla="*/ 683710 w 683710"/>
                <a:gd name="connsiteY12" fmla="*/ 940612 h 1501843"/>
                <a:gd name="connsiteX13" fmla="*/ 683710 w 683710"/>
                <a:gd name="connsiteY13" fmla="*/ 1035455 h 1501843"/>
                <a:gd name="connsiteX14" fmla="*/ 683710 w 683710"/>
                <a:gd name="connsiteY14" fmla="*/ 1035456 h 1501843"/>
                <a:gd name="connsiteX15" fmla="*/ 683710 w 683710"/>
                <a:gd name="connsiteY15" fmla="*/ 1159988 h 1501843"/>
                <a:gd name="connsiteX16" fmla="*/ 341855 w 683710"/>
                <a:gd name="connsiteY16" fmla="*/ 1501843 h 1501843"/>
                <a:gd name="connsiteX17" fmla="*/ 0 w 683710"/>
                <a:gd name="connsiteY17" fmla="*/ 1159988 h 1501843"/>
                <a:gd name="connsiteX18" fmla="*/ 0 w 683710"/>
                <a:gd name="connsiteY18" fmla="*/ 1035456 h 1501843"/>
                <a:gd name="connsiteX19" fmla="*/ 0 w 683710"/>
                <a:gd name="connsiteY19" fmla="*/ 1035455 h 1501843"/>
                <a:gd name="connsiteX20" fmla="*/ 0 w 683710"/>
                <a:gd name="connsiteY20" fmla="*/ 940612 h 1501843"/>
                <a:gd name="connsiteX21" fmla="*/ 0 w 683710"/>
                <a:gd name="connsiteY21" fmla="*/ 940611 h 1501843"/>
                <a:gd name="connsiteX22" fmla="*/ 0 w 683710"/>
                <a:gd name="connsiteY22" fmla="*/ 845767 h 1501843"/>
                <a:gd name="connsiteX23" fmla="*/ 0 w 683710"/>
                <a:gd name="connsiteY23" fmla="*/ 750923 h 1501843"/>
                <a:gd name="connsiteX24" fmla="*/ 0 w 683710"/>
                <a:gd name="connsiteY24" fmla="*/ 750922 h 1501843"/>
                <a:gd name="connsiteX25" fmla="*/ 0 w 683710"/>
                <a:gd name="connsiteY25" fmla="*/ 656079 h 1501843"/>
                <a:gd name="connsiteX26" fmla="*/ 0 w 683710"/>
                <a:gd name="connsiteY26" fmla="*/ 656078 h 1501843"/>
                <a:gd name="connsiteX27" fmla="*/ 0 w 683710"/>
                <a:gd name="connsiteY27" fmla="*/ 561235 h 1501843"/>
                <a:gd name="connsiteX28" fmla="*/ 0 w 683710"/>
                <a:gd name="connsiteY28" fmla="*/ 561234 h 1501843"/>
                <a:gd name="connsiteX29" fmla="*/ 0 w 683710"/>
                <a:gd name="connsiteY29" fmla="*/ 466391 h 1501843"/>
                <a:gd name="connsiteX30" fmla="*/ 0 w 683710"/>
                <a:gd name="connsiteY30" fmla="*/ 466390 h 1501843"/>
                <a:gd name="connsiteX31" fmla="*/ 0 w 683710"/>
                <a:gd name="connsiteY31" fmla="*/ 341855 h 1501843"/>
                <a:gd name="connsiteX32" fmla="*/ 341855 w 683710"/>
                <a:gd name="connsiteY32" fmla="*/ 0 h 150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83710" h="1501843">
                  <a:moveTo>
                    <a:pt x="341855" y="0"/>
                  </a:moveTo>
                  <a:cubicBezTo>
                    <a:pt x="530656" y="0"/>
                    <a:pt x="683710" y="153054"/>
                    <a:pt x="683710" y="341855"/>
                  </a:cubicBezTo>
                  <a:lnTo>
                    <a:pt x="683710" y="466390"/>
                  </a:lnTo>
                  <a:lnTo>
                    <a:pt x="683710" y="466391"/>
                  </a:lnTo>
                  <a:lnTo>
                    <a:pt x="683710" y="561234"/>
                  </a:lnTo>
                  <a:lnTo>
                    <a:pt x="683710" y="561235"/>
                  </a:lnTo>
                  <a:lnTo>
                    <a:pt x="683710" y="656078"/>
                  </a:lnTo>
                  <a:lnTo>
                    <a:pt x="683710" y="656079"/>
                  </a:lnTo>
                  <a:lnTo>
                    <a:pt x="683710" y="750922"/>
                  </a:lnTo>
                  <a:lnTo>
                    <a:pt x="683710" y="750923"/>
                  </a:lnTo>
                  <a:lnTo>
                    <a:pt x="683710" y="845767"/>
                  </a:lnTo>
                  <a:lnTo>
                    <a:pt x="683710" y="940611"/>
                  </a:lnTo>
                  <a:lnTo>
                    <a:pt x="683710" y="940612"/>
                  </a:lnTo>
                  <a:lnTo>
                    <a:pt x="683710" y="1035455"/>
                  </a:lnTo>
                  <a:lnTo>
                    <a:pt x="683710" y="1035456"/>
                  </a:lnTo>
                  <a:lnTo>
                    <a:pt x="683710" y="1159988"/>
                  </a:lnTo>
                  <a:cubicBezTo>
                    <a:pt x="683710" y="1348789"/>
                    <a:pt x="530656" y="1501843"/>
                    <a:pt x="341855" y="1501843"/>
                  </a:cubicBezTo>
                  <a:cubicBezTo>
                    <a:pt x="153054" y="1501843"/>
                    <a:pt x="0" y="1348789"/>
                    <a:pt x="0" y="1159988"/>
                  </a:cubicBezTo>
                  <a:lnTo>
                    <a:pt x="0" y="1035456"/>
                  </a:lnTo>
                  <a:lnTo>
                    <a:pt x="0" y="1035455"/>
                  </a:lnTo>
                  <a:lnTo>
                    <a:pt x="0" y="940612"/>
                  </a:lnTo>
                  <a:lnTo>
                    <a:pt x="0" y="940611"/>
                  </a:lnTo>
                  <a:lnTo>
                    <a:pt x="0" y="845767"/>
                  </a:lnTo>
                  <a:lnTo>
                    <a:pt x="0" y="750923"/>
                  </a:lnTo>
                  <a:lnTo>
                    <a:pt x="0" y="750922"/>
                  </a:lnTo>
                  <a:lnTo>
                    <a:pt x="0" y="656079"/>
                  </a:lnTo>
                  <a:lnTo>
                    <a:pt x="0" y="656078"/>
                  </a:lnTo>
                  <a:lnTo>
                    <a:pt x="0" y="561235"/>
                  </a:lnTo>
                  <a:lnTo>
                    <a:pt x="0" y="561234"/>
                  </a:lnTo>
                  <a:lnTo>
                    <a:pt x="0" y="466391"/>
                  </a:lnTo>
                  <a:lnTo>
                    <a:pt x="0" y="466390"/>
                  </a:lnTo>
                  <a:lnTo>
                    <a:pt x="0" y="341855"/>
                  </a:lnTo>
                  <a:cubicBezTo>
                    <a:pt x="0" y="153054"/>
                    <a:pt x="153054" y="0"/>
                    <a:pt x="341855" y="0"/>
                  </a:cubicBez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endParaRPr lang="de-DE" sz="1000" dirty="0">
                <a:solidFill>
                  <a:schemeClr val="tx1"/>
                </a:solidFill>
              </a:endParaRPr>
            </a:p>
          </p:txBody>
        </p:sp>
        <p:sp>
          <p:nvSpPr>
            <p:cNvPr id="133" name="Rectangle 132">
              <a:extLst>
                <a:ext uri="{FF2B5EF4-FFF2-40B4-BE49-F238E27FC236}">
                  <a16:creationId xmlns:a16="http://schemas.microsoft.com/office/drawing/2014/main" id="{04B55533-D9BE-4CB3-A9CC-F1FCED57F0F0}"/>
                </a:ext>
              </a:extLst>
            </p:cNvPr>
            <p:cNvSpPr/>
            <p:nvPr/>
          </p:nvSpPr>
          <p:spPr bwMode="gray">
            <a:xfrm>
              <a:off x="7949893" y="2742337"/>
              <a:ext cx="683855" cy="780803"/>
            </a:xfrm>
            <a:prstGeom prst="rect">
              <a:avLst/>
            </a:prstGeom>
            <a:pattFill prst="openDmnd">
              <a:fgClr>
                <a:schemeClr val="accent3"/>
              </a:fgClr>
              <a:bgClr>
                <a:schemeClr val="bg1"/>
              </a:bgClr>
            </a:patt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1000" dirty="0">
                  <a:solidFill>
                    <a:schemeClr val="tx1"/>
                  </a:solidFill>
                </a:rPr>
                <a:t>Stripper </a:t>
              </a:r>
              <a:br>
                <a:rPr lang="de-DE" sz="1000" dirty="0">
                  <a:solidFill>
                    <a:schemeClr val="tx1"/>
                  </a:solidFill>
                </a:rPr>
              </a:br>
              <a:r>
                <a:rPr lang="de-DE" sz="1000" dirty="0">
                  <a:solidFill>
                    <a:schemeClr val="tx1"/>
                  </a:solidFill>
                </a:rPr>
                <a:t>tower</a:t>
              </a:r>
            </a:p>
          </p:txBody>
        </p:sp>
      </p:grpSp>
      <p:grpSp>
        <p:nvGrpSpPr>
          <p:cNvPr id="168" name="Group 167">
            <a:extLst>
              <a:ext uri="{FF2B5EF4-FFF2-40B4-BE49-F238E27FC236}">
                <a16:creationId xmlns:a16="http://schemas.microsoft.com/office/drawing/2014/main" id="{7CC4259E-DC62-4B0F-8C46-4CE38B5AA698}"/>
              </a:ext>
            </a:extLst>
          </p:cNvPr>
          <p:cNvGrpSpPr/>
          <p:nvPr/>
        </p:nvGrpSpPr>
        <p:grpSpPr bwMode="gray">
          <a:xfrm>
            <a:off x="4922728" y="3002897"/>
            <a:ext cx="967802" cy="2125881"/>
            <a:chOff x="3833047" y="2969533"/>
            <a:chExt cx="967802" cy="2125881"/>
          </a:xfrm>
        </p:grpSpPr>
        <p:sp>
          <p:nvSpPr>
            <p:cNvPr id="135" name="Rectangle: Rounded Corners 134">
              <a:extLst>
                <a:ext uri="{FF2B5EF4-FFF2-40B4-BE49-F238E27FC236}">
                  <a16:creationId xmlns:a16="http://schemas.microsoft.com/office/drawing/2014/main" id="{2E9E86BE-9654-4DA1-B3AC-1FAEAB09893D}"/>
                </a:ext>
              </a:extLst>
            </p:cNvPr>
            <p:cNvSpPr/>
            <p:nvPr/>
          </p:nvSpPr>
          <p:spPr bwMode="gray">
            <a:xfrm>
              <a:off x="3833047" y="2969533"/>
              <a:ext cx="967802" cy="2125881"/>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cxnSp>
          <p:nvCxnSpPr>
            <p:cNvPr id="162" name="Straight Connector 161">
              <a:extLst>
                <a:ext uri="{FF2B5EF4-FFF2-40B4-BE49-F238E27FC236}">
                  <a16:creationId xmlns:a16="http://schemas.microsoft.com/office/drawing/2014/main" id="{C76CF1F2-7A36-4DAC-B0C7-2A700503F574}"/>
                </a:ext>
              </a:extLst>
            </p:cNvPr>
            <p:cNvCxnSpPr>
              <a:cxnSpLocks/>
            </p:cNvCxnSpPr>
            <p:nvPr/>
          </p:nvCxnSpPr>
          <p:spPr bwMode="gray">
            <a:xfrm flipH="1"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584FA202-19F5-4DAF-921C-ADDAE0923F60}"/>
                </a:ext>
              </a:extLst>
            </p:cNvPr>
            <p:cNvCxnSpPr>
              <a:cxnSpLocks/>
            </p:cNvCxnSpPr>
            <p:nvPr/>
          </p:nvCxnSpPr>
          <p:spPr bwMode="gray">
            <a:xfrm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E606A543-4486-4688-A1CC-1DE415D5B63A}"/>
                </a:ext>
              </a:extLst>
            </p:cNvPr>
            <p:cNvSpPr/>
            <p:nvPr/>
          </p:nvSpPr>
          <p:spPr bwMode="gray">
            <a:xfrm>
              <a:off x="3833047" y="3414210"/>
              <a:ext cx="967802" cy="1236529"/>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r>
                <a:rPr lang="de-DE" sz="1000" dirty="0">
                  <a:solidFill>
                    <a:schemeClr val="tx1"/>
                  </a:solidFill>
                </a:rPr>
                <a:t>Hydrotreating reactor</a:t>
              </a:r>
            </a:p>
          </p:txBody>
        </p:sp>
      </p:grpSp>
      <p:grpSp>
        <p:nvGrpSpPr>
          <p:cNvPr id="171" name="Group 170">
            <a:extLst>
              <a:ext uri="{FF2B5EF4-FFF2-40B4-BE49-F238E27FC236}">
                <a16:creationId xmlns:a16="http://schemas.microsoft.com/office/drawing/2014/main" id="{BA5524AE-4478-4AC3-A950-C668E9074B05}"/>
              </a:ext>
            </a:extLst>
          </p:cNvPr>
          <p:cNvGrpSpPr/>
          <p:nvPr/>
        </p:nvGrpSpPr>
        <p:grpSpPr bwMode="gray">
          <a:xfrm>
            <a:off x="6939564" y="2387634"/>
            <a:ext cx="684041" cy="1501843"/>
            <a:chOff x="5356744" y="2465873"/>
            <a:chExt cx="835604" cy="2447925"/>
          </a:xfrm>
        </p:grpSpPr>
        <p:sp>
          <p:nvSpPr>
            <p:cNvPr id="172" name="Rectangle: Rounded Corners 171">
              <a:extLst>
                <a:ext uri="{FF2B5EF4-FFF2-40B4-BE49-F238E27FC236}">
                  <a16:creationId xmlns:a16="http://schemas.microsoft.com/office/drawing/2014/main" id="{4970E47A-EEB0-4C02-80F2-D5A5BDE878BD}"/>
                </a:ext>
              </a:extLst>
            </p:cNvPr>
            <p:cNvSpPr/>
            <p:nvPr/>
          </p:nvSpPr>
          <p:spPr bwMode="gray">
            <a:xfrm>
              <a:off x="5357148" y="2465873"/>
              <a:ext cx="835200" cy="2447925"/>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sp>
          <p:nvSpPr>
            <p:cNvPr id="173" name="Rectangle 172">
              <a:extLst>
                <a:ext uri="{FF2B5EF4-FFF2-40B4-BE49-F238E27FC236}">
                  <a16:creationId xmlns:a16="http://schemas.microsoft.com/office/drawing/2014/main" id="{1BF0F74D-D396-49BF-8C2E-B584E6707DA6}"/>
                </a:ext>
              </a:extLst>
            </p:cNvPr>
            <p:cNvSpPr/>
            <p:nvPr/>
          </p:nvSpPr>
          <p:spPr bwMode="gray">
            <a:xfrm>
              <a:off x="5356744" y="2916882"/>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174" name="Rectangle 173">
              <a:extLst>
                <a:ext uri="{FF2B5EF4-FFF2-40B4-BE49-F238E27FC236}">
                  <a16:creationId xmlns:a16="http://schemas.microsoft.com/office/drawing/2014/main" id="{459B0FD8-AF7F-4EAE-96DD-614E722FF78C}"/>
                </a:ext>
              </a:extLst>
            </p:cNvPr>
            <p:cNvSpPr/>
            <p:nvPr/>
          </p:nvSpPr>
          <p:spPr bwMode="gray">
            <a:xfrm>
              <a:off x="5356744" y="3071473"/>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175" name="Rectangle 174">
              <a:extLst>
                <a:ext uri="{FF2B5EF4-FFF2-40B4-BE49-F238E27FC236}">
                  <a16:creationId xmlns:a16="http://schemas.microsoft.com/office/drawing/2014/main" id="{6A0C7BD2-E0AD-4948-984D-F5DF856FCCEE}"/>
                </a:ext>
              </a:extLst>
            </p:cNvPr>
            <p:cNvSpPr/>
            <p:nvPr/>
          </p:nvSpPr>
          <p:spPr bwMode="gray">
            <a:xfrm>
              <a:off x="5356744" y="3226064"/>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176" name="Rectangle 175">
              <a:extLst>
                <a:ext uri="{FF2B5EF4-FFF2-40B4-BE49-F238E27FC236}">
                  <a16:creationId xmlns:a16="http://schemas.microsoft.com/office/drawing/2014/main" id="{B5D40B97-6580-4CD4-B6BD-020C41CCF0D8}"/>
                </a:ext>
              </a:extLst>
            </p:cNvPr>
            <p:cNvSpPr/>
            <p:nvPr/>
          </p:nvSpPr>
          <p:spPr bwMode="gray">
            <a:xfrm>
              <a:off x="5356744" y="3380655"/>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177" name="Rectangle 176">
              <a:extLst>
                <a:ext uri="{FF2B5EF4-FFF2-40B4-BE49-F238E27FC236}">
                  <a16:creationId xmlns:a16="http://schemas.microsoft.com/office/drawing/2014/main" id="{40E17CDB-60A5-405F-937C-C85FF3EE7AE5}"/>
                </a:ext>
              </a:extLst>
            </p:cNvPr>
            <p:cNvSpPr/>
            <p:nvPr/>
          </p:nvSpPr>
          <p:spPr bwMode="gray">
            <a:xfrm>
              <a:off x="5356744" y="3535246"/>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178" name="Rectangle 177">
              <a:extLst>
                <a:ext uri="{FF2B5EF4-FFF2-40B4-BE49-F238E27FC236}">
                  <a16:creationId xmlns:a16="http://schemas.microsoft.com/office/drawing/2014/main" id="{3DFB2B46-5581-47CC-9657-AF4FD74732DD}"/>
                </a:ext>
              </a:extLst>
            </p:cNvPr>
            <p:cNvSpPr/>
            <p:nvPr/>
          </p:nvSpPr>
          <p:spPr bwMode="gray">
            <a:xfrm>
              <a:off x="5356744" y="3689837"/>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179" name="Rectangle 178">
              <a:extLst>
                <a:ext uri="{FF2B5EF4-FFF2-40B4-BE49-F238E27FC236}">
                  <a16:creationId xmlns:a16="http://schemas.microsoft.com/office/drawing/2014/main" id="{3D4CB9F9-4DC5-4163-8AA4-1FF13AEEC588}"/>
                </a:ext>
              </a:extLst>
            </p:cNvPr>
            <p:cNvSpPr/>
            <p:nvPr/>
          </p:nvSpPr>
          <p:spPr bwMode="gray">
            <a:xfrm>
              <a:off x="5356744" y="3844428"/>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180" name="Rectangle 179">
              <a:extLst>
                <a:ext uri="{FF2B5EF4-FFF2-40B4-BE49-F238E27FC236}">
                  <a16:creationId xmlns:a16="http://schemas.microsoft.com/office/drawing/2014/main" id="{E6FE1A81-4CB9-47C7-97C2-72A2CCD019C2}"/>
                </a:ext>
              </a:extLst>
            </p:cNvPr>
            <p:cNvSpPr/>
            <p:nvPr/>
          </p:nvSpPr>
          <p:spPr bwMode="gray">
            <a:xfrm>
              <a:off x="5356744" y="3999019"/>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181" name="Rectangle 180">
              <a:extLst>
                <a:ext uri="{FF2B5EF4-FFF2-40B4-BE49-F238E27FC236}">
                  <a16:creationId xmlns:a16="http://schemas.microsoft.com/office/drawing/2014/main" id="{4D994841-4222-4EA9-840E-1E71B8B93B7E}"/>
                </a:ext>
              </a:extLst>
            </p:cNvPr>
            <p:cNvSpPr/>
            <p:nvPr/>
          </p:nvSpPr>
          <p:spPr bwMode="gray">
            <a:xfrm>
              <a:off x="5356744" y="4153610"/>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182" name="Rectangle 181">
              <a:extLst>
                <a:ext uri="{FF2B5EF4-FFF2-40B4-BE49-F238E27FC236}">
                  <a16:creationId xmlns:a16="http://schemas.microsoft.com/office/drawing/2014/main" id="{F6685C34-0D99-479C-88DD-A7B89D5F88DC}"/>
                </a:ext>
              </a:extLst>
            </p:cNvPr>
            <p:cNvSpPr/>
            <p:nvPr/>
          </p:nvSpPr>
          <p:spPr bwMode="gray">
            <a:xfrm>
              <a:off x="5356744" y="4308201"/>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183" name="Rectangle 182">
              <a:extLst>
                <a:ext uri="{FF2B5EF4-FFF2-40B4-BE49-F238E27FC236}">
                  <a16:creationId xmlns:a16="http://schemas.microsoft.com/office/drawing/2014/main" id="{886805CF-B08C-4A1C-AE0E-9416F29DB0CB}"/>
                </a:ext>
              </a:extLst>
            </p:cNvPr>
            <p:cNvSpPr/>
            <p:nvPr/>
          </p:nvSpPr>
          <p:spPr bwMode="gray">
            <a:xfrm>
              <a:off x="5356744" y="3380655"/>
              <a:ext cx="835200" cy="61836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r>
                <a:rPr lang="de-DE" sz="1000" dirty="0">
                  <a:solidFill>
                    <a:schemeClr val="tx1"/>
                  </a:solidFill>
                </a:rPr>
                <a:t>Amine treatment unit</a:t>
              </a:r>
            </a:p>
          </p:txBody>
        </p:sp>
      </p:grpSp>
      <p:grpSp>
        <p:nvGrpSpPr>
          <p:cNvPr id="184" name="Group 183">
            <a:extLst>
              <a:ext uri="{FF2B5EF4-FFF2-40B4-BE49-F238E27FC236}">
                <a16:creationId xmlns:a16="http://schemas.microsoft.com/office/drawing/2014/main" id="{B8190D18-786B-411C-BFCB-0CDAA70ACE36}"/>
              </a:ext>
            </a:extLst>
          </p:cNvPr>
          <p:cNvGrpSpPr/>
          <p:nvPr/>
        </p:nvGrpSpPr>
        <p:grpSpPr bwMode="gray">
          <a:xfrm>
            <a:off x="6532489" y="4355906"/>
            <a:ext cx="842400" cy="540419"/>
            <a:chOff x="3496037" y="4910525"/>
            <a:chExt cx="842400" cy="540419"/>
          </a:xfrm>
        </p:grpSpPr>
        <p:sp>
          <p:nvSpPr>
            <p:cNvPr id="185" name="Rectangle: Rounded Corners 184">
              <a:extLst>
                <a:ext uri="{FF2B5EF4-FFF2-40B4-BE49-F238E27FC236}">
                  <a16:creationId xmlns:a16="http://schemas.microsoft.com/office/drawing/2014/main" id="{603EE6B8-4E4B-4746-B134-B364BA076E51}"/>
                </a:ext>
              </a:extLst>
            </p:cNvPr>
            <p:cNvSpPr/>
            <p:nvPr/>
          </p:nvSpPr>
          <p:spPr bwMode="gray">
            <a:xfrm>
              <a:off x="3587672" y="4910525"/>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sp>
          <p:nvSpPr>
            <p:cNvPr id="186" name="Rectangle 185">
              <a:extLst>
                <a:ext uri="{FF2B5EF4-FFF2-40B4-BE49-F238E27FC236}">
                  <a16:creationId xmlns:a16="http://schemas.microsoft.com/office/drawing/2014/main" id="{2694D608-4C88-45FC-9771-C2F4BA5DA3F6}"/>
                </a:ext>
              </a:extLst>
            </p:cNvPr>
            <p:cNvSpPr/>
            <p:nvPr/>
          </p:nvSpPr>
          <p:spPr bwMode="gray">
            <a:xfrm>
              <a:off x="3496037" y="5221262"/>
              <a:ext cx="842400" cy="2296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Separator</a:t>
              </a:r>
            </a:p>
          </p:txBody>
        </p:sp>
      </p:grpSp>
      <p:sp>
        <p:nvSpPr>
          <p:cNvPr id="193" name="Freeform: Shape 192">
            <a:extLst>
              <a:ext uri="{FF2B5EF4-FFF2-40B4-BE49-F238E27FC236}">
                <a16:creationId xmlns:a16="http://schemas.microsoft.com/office/drawing/2014/main" id="{3A38DD03-4326-412F-ABFD-6644544367E0}"/>
              </a:ext>
            </a:extLst>
          </p:cNvPr>
          <p:cNvSpPr/>
          <p:nvPr/>
        </p:nvSpPr>
        <p:spPr bwMode="gray">
          <a:xfrm>
            <a:off x="3659885" y="4158994"/>
            <a:ext cx="505791" cy="507647"/>
          </a:xfrm>
          <a:custGeom>
            <a:avLst/>
            <a:gdLst>
              <a:gd name="connsiteX0" fmla="*/ 102434 w 309600"/>
              <a:gd name="connsiteY0" fmla="*/ 0 h 310736"/>
              <a:gd name="connsiteX1" fmla="*/ 207166 w 309600"/>
              <a:gd name="connsiteY1" fmla="*/ 0 h 310736"/>
              <a:gd name="connsiteX2" fmla="*/ 207166 w 309600"/>
              <a:gd name="connsiteY2" fmla="*/ 62212 h 310736"/>
              <a:gd name="connsiteX3" fmla="*/ 243258 w 309600"/>
              <a:gd name="connsiteY3" fmla="*/ 62212 h 310736"/>
              <a:gd name="connsiteX4" fmla="*/ 243258 w 309600"/>
              <a:gd name="connsiteY4" fmla="*/ 90930 h 310736"/>
              <a:gd name="connsiteX5" fmla="*/ 309600 w 309600"/>
              <a:gd name="connsiteY5" fmla="*/ 90930 h 310736"/>
              <a:gd name="connsiteX6" fmla="*/ 309600 w 309600"/>
              <a:gd name="connsiteY6" fmla="*/ 310736 h 310736"/>
              <a:gd name="connsiteX7" fmla="*/ 0 w 309600"/>
              <a:gd name="connsiteY7" fmla="*/ 310736 h 310736"/>
              <a:gd name="connsiteX8" fmla="*/ 0 w 309600"/>
              <a:gd name="connsiteY8" fmla="*/ 90930 h 310736"/>
              <a:gd name="connsiteX9" fmla="*/ 66343 w 309600"/>
              <a:gd name="connsiteY9" fmla="*/ 90930 h 310736"/>
              <a:gd name="connsiteX10" fmla="*/ 66343 w 309600"/>
              <a:gd name="connsiteY10" fmla="*/ 62212 h 310736"/>
              <a:gd name="connsiteX11" fmla="*/ 102434 w 309600"/>
              <a:gd name="connsiteY11" fmla="*/ 62212 h 310736"/>
              <a:gd name="connsiteX0" fmla="*/ 102434 w 309600"/>
              <a:gd name="connsiteY0" fmla="*/ 0 h 310736"/>
              <a:gd name="connsiteX1" fmla="*/ 207166 w 309600"/>
              <a:gd name="connsiteY1" fmla="*/ 0 h 310736"/>
              <a:gd name="connsiteX2" fmla="*/ 207166 w 309600"/>
              <a:gd name="connsiteY2" fmla="*/ 62212 h 310736"/>
              <a:gd name="connsiteX3" fmla="*/ 243258 w 309600"/>
              <a:gd name="connsiteY3" fmla="*/ 90930 h 310736"/>
              <a:gd name="connsiteX4" fmla="*/ 309600 w 309600"/>
              <a:gd name="connsiteY4" fmla="*/ 90930 h 310736"/>
              <a:gd name="connsiteX5" fmla="*/ 309600 w 309600"/>
              <a:gd name="connsiteY5" fmla="*/ 310736 h 310736"/>
              <a:gd name="connsiteX6" fmla="*/ 0 w 309600"/>
              <a:gd name="connsiteY6" fmla="*/ 310736 h 310736"/>
              <a:gd name="connsiteX7" fmla="*/ 0 w 309600"/>
              <a:gd name="connsiteY7" fmla="*/ 90930 h 310736"/>
              <a:gd name="connsiteX8" fmla="*/ 66343 w 309600"/>
              <a:gd name="connsiteY8" fmla="*/ 90930 h 310736"/>
              <a:gd name="connsiteX9" fmla="*/ 66343 w 309600"/>
              <a:gd name="connsiteY9" fmla="*/ 62212 h 310736"/>
              <a:gd name="connsiteX10" fmla="*/ 102434 w 309600"/>
              <a:gd name="connsiteY10" fmla="*/ 62212 h 310736"/>
              <a:gd name="connsiteX11" fmla="*/ 102434 w 309600"/>
              <a:gd name="connsiteY11" fmla="*/ 0 h 310736"/>
              <a:gd name="connsiteX0" fmla="*/ 102434 w 309600"/>
              <a:gd name="connsiteY0" fmla="*/ 0 h 310736"/>
              <a:gd name="connsiteX1" fmla="*/ 207166 w 309600"/>
              <a:gd name="connsiteY1" fmla="*/ 0 h 310736"/>
              <a:gd name="connsiteX2" fmla="*/ 207166 w 309600"/>
              <a:gd name="connsiteY2" fmla="*/ 62212 h 310736"/>
              <a:gd name="connsiteX3" fmla="*/ 309600 w 309600"/>
              <a:gd name="connsiteY3" fmla="*/ 90930 h 310736"/>
              <a:gd name="connsiteX4" fmla="*/ 309600 w 309600"/>
              <a:gd name="connsiteY4" fmla="*/ 310736 h 310736"/>
              <a:gd name="connsiteX5" fmla="*/ 0 w 309600"/>
              <a:gd name="connsiteY5" fmla="*/ 310736 h 310736"/>
              <a:gd name="connsiteX6" fmla="*/ 0 w 309600"/>
              <a:gd name="connsiteY6" fmla="*/ 90930 h 310736"/>
              <a:gd name="connsiteX7" fmla="*/ 66343 w 309600"/>
              <a:gd name="connsiteY7" fmla="*/ 90930 h 310736"/>
              <a:gd name="connsiteX8" fmla="*/ 66343 w 309600"/>
              <a:gd name="connsiteY8" fmla="*/ 62212 h 310736"/>
              <a:gd name="connsiteX9" fmla="*/ 102434 w 309600"/>
              <a:gd name="connsiteY9" fmla="*/ 62212 h 310736"/>
              <a:gd name="connsiteX10" fmla="*/ 102434 w 309600"/>
              <a:gd name="connsiteY10" fmla="*/ 0 h 310736"/>
              <a:gd name="connsiteX0" fmla="*/ 102434 w 309600"/>
              <a:gd name="connsiteY0" fmla="*/ 0 h 310736"/>
              <a:gd name="connsiteX1" fmla="*/ 207166 w 309600"/>
              <a:gd name="connsiteY1" fmla="*/ 0 h 310736"/>
              <a:gd name="connsiteX2" fmla="*/ 207166 w 309600"/>
              <a:gd name="connsiteY2" fmla="*/ 62212 h 310736"/>
              <a:gd name="connsiteX3" fmla="*/ 309600 w 309600"/>
              <a:gd name="connsiteY3" fmla="*/ 90930 h 310736"/>
              <a:gd name="connsiteX4" fmla="*/ 309600 w 309600"/>
              <a:gd name="connsiteY4" fmla="*/ 310736 h 310736"/>
              <a:gd name="connsiteX5" fmla="*/ 0 w 309600"/>
              <a:gd name="connsiteY5" fmla="*/ 310736 h 310736"/>
              <a:gd name="connsiteX6" fmla="*/ 0 w 309600"/>
              <a:gd name="connsiteY6" fmla="*/ 90930 h 310736"/>
              <a:gd name="connsiteX7" fmla="*/ 66343 w 309600"/>
              <a:gd name="connsiteY7" fmla="*/ 62212 h 310736"/>
              <a:gd name="connsiteX8" fmla="*/ 102434 w 309600"/>
              <a:gd name="connsiteY8" fmla="*/ 62212 h 310736"/>
              <a:gd name="connsiteX9" fmla="*/ 102434 w 309600"/>
              <a:gd name="connsiteY9" fmla="*/ 0 h 310736"/>
              <a:gd name="connsiteX0" fmla="*/ 102434 w 309600"/>
              <a:gd name="connsiteY0" fmla="*/ 0 h 310736"/>
              <a:gd name="connsiteX1" fmla="*/ 207166 w 309600"/>
              <a:gd name="connsiteY1" fmla="*/ 0 h 310736"/>
              <a:gd name="connsiteX2" fmla="*/ 207166 w 309600"/>
              <a:gd name="connsiteY2" fmla="*/ 62212 h 310736"/>
              <a:gd name="connsiteX3" fmla="*/ 309600 w 309600"/>
              <a:gd name="connsiteY3" fmla="*/ 90930 h 310736"/>
              <a:gd name="connsiteX4" fmla="*/ 309600 w 309600"/>
              <a:gd name="connsiteY4" fmla="*/ 310736 h 310736"/>
              <a:gd name="connsiteX5" fmla="*/ 0 w 309600"/>
              <a:gd name="connsiteY5" fmla="*/ 310736 h 310736"/>
              <a:gd name="connsiteX6" fmla="*/ 0 w 309600"/>
              <a:gd name="connsiteY6" fmla="*/ 90930 h 310736"/>
              <a:gd name="connsiteX7" fmla="*/ 102434 w 309600"/>
              <a:gd name="connsiteY7" fmla="*/ 62212 h 310736"/>
              <a:gd name="connsiteX8" fmla="*/ 102434 w 309600"/>
              <a:gd name="connsiteY8" fmla="*/ 0 h 310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600" h="310736">
                <a:moveTo>
                  <a:pt x="102434" y="0"/>
                </a:moveTo>
                <a:lnTo>
                  <a:pt x="207166" y="0"/>
                </a:lnTo>
                <a:lnTo>
                  <a:pt x="207166" y="62212"/>
                </a:lnTo>
                <a:lnTo>
                  <a:pt x="309600" y="90930"/>
                </a:lnTo>
                <a:lnTo>
                  <a:pt x="309600" y="310736"/>
                </a:lnTo>
                <a:lnTo>
                  <a:pt x="0" y="310736"/>
                </a:lnTo>
                <a:lnTo>
                  <a:pt x="0" y="90930"/>
                </a:lnTo>
                <a:lnTo>
                  <a:pt x="102434" y="62212"/>
                </a:lnTo>
                <a:lnTo>
                  <a:pt x="102434" y="0"/>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189" name="Freeform: Shape 188">
            <a:extLst>
              <a:ext uri="{FF2B5EF4-FFF2-40B4-BE49-F238E27FC236}">
                <a16:creationId xmlns:a16="http://schemas.microsoft.com/office/drawing/2014/main" id="{2417045D-0B49-47BD-A353-51F1964F8707}"/>
              </a:ext>
            </a:extLst>
          </p:cNvPr>
          <p:cNvSpPr/>
          <p:nvPr/>
        </p:nvSpPr>
        <p:spPr bwMode="gray">
          <a:xfrm>
            <a:off x="3659885" y="4381826"/>
            <a:ext cx="505791" cy="210537"/>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a:solidFill>
                <a:schemeClr val="tx1"/>
              </a:solidFill>
            </a:endParaRPr>
          </a:p>
        </p:txBody>
      </p:sp>
      <p:sp>
        <p:nvSpPr>
          <p:cNvPr id="190" name="Rectangle 189">
            <a:extLst>
              <a:ext uri="{FF2B5EF4-FFF2-40B4-BE49-F238E27FC236}">
                <a16:creationId xmlns:a16="http://schemas.microsoft.com/office/drawing/2014/main" id="{40F0991F-59BD-48C9-A16D-47830A59ECCA}"/>
              </a:ext>
            </a:extLst>
          </p:cNvPr>
          <p:cNvSpPr/>
          <p:nvPr/>
        </p:nvSpPr>
        <p:spPr bwMode="gray">
          <a:xfrm>
            <a:off x="3544791" y="4666643"/>
            <a:ext cx="735978"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Furnace</a:t>
            </a:r>
          </a:p>
        </p:txBody>
      </p:sp>
      <p:sp>
        <p:nvSpPr>
          <p:cNvPr id="197" name="Rectangle 196">
            <a:extLst>
              <a:ext uri="{FF2B5EF4-FFF2-40B4-BE49-F238E27FC236}">
                <a16:creationId xmlns:a16="http://schemas.microsoft.com/office/drawing/2014/main" id="{1F97C626-E35E-442B-B9FB-1F8D4B463050}"/>
              </a:ext>
            </a:extLst>
          </p:cNvPr>
          <p:cNvSpPr/>
          <p:nvPr/>
        </p:nvSpPr>
        <p:spPr bwMode="gray">
          <a:xfrm>
            <a:off x="1849970" y="4267200"/>
            <a:ext cx="977119" cy="428358"/>
          </a:xfrm>
          <a:prstGeom prst="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Hydrocarbon feed H</a:t>
            </a:r>
            <a:r>
              <a:rPr lang="de-DE" sz="1000" baseline="-25000" dirty="0">
                <a:solidFill>
                  <a:schemeClr val="tx1"/>
                </a:solidFill>
              </a:rPr>
              <a:t>2</a:t>
            </a:r>
          </a:p>
        </p:txBody>
      </p:sp>
      <p:cxnSp>
        <p:nvCxnSpPr>
          <p:cNvPr id="198" name="Straight Arrow Connector 197">
            <a:extLst>
              <a:ext uri="{FF2B5EF4-FFF2-40B4-BE49-F238E27FC236}">
                <a16:creationId xmlns:a16="http://schemas.microsoft.com/office/drawing/2014/main" id="{01659403-D0AA-4155-B3AE-4D868139136A}"/>
              </a:ext>
            </a:extLst>
          </p:cNvPr>
          <p:cNvCxnSpPr>
            <a:cxnSpLocks/>
            <a:stCxn id="197" idx="3"/>
            <a:endCxn id="189" idx="0"/>
          </p:cNvCxnSpPr>
          <p:nvPr/>
        </p:nvCxnSpPr>
        <p:spPr bwMode="gray">
          <a:xfrm>
            <a:off x="2827089" y="4481379"/>
            <a:ext cx="832796" cy="618"/>
          </a:xfrm>
          <a:prstGeom prst="straightConnector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3" name="Connector: Elbow 212">
            <a:extLst>
              <a:ext uri="{FF2B5EF4-FFF2-40B4-BE49-F238E27FC236}">
                <a16:creationId xmlns:a16="http://schemas.microsoft.com/office/drawing/2014/main" id="{73042BA0-E98E-4842-83F7-9D15FEE3DEE6}"/>
              </a:ext>
            </a:extLst>
          </p:cNvPr>
          <p:cNvCxnSpPr>
            <a:cxnSpLocks/>
            <a:stCxn id="189" idx="5"/>
            <a:endCxn id="135" idx="0"/>
          </p:cNvCxnSpPr>
          <p:nvPr/>
        </p:nvCxnSpPr>
        <p:spPr bwMode="gray">
          <a:xfrm flipV="1">
            <a:off x="4165676" y="3002897"/>
            <a:ext cx="1240953" cy="1478461"/>
          </a:xfrm>
          <a:prstGeom prst="bentConnector4">
            <a:avLst>
              <a:gd name="adj1" fmla="val 30503"/>
              <a:gd name="adj2" fmla="val 11546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6" name="Connector: Elbow 215">
            <a:extLst>
              <a:ext uri="{FF2B5EF4-FFF2-40B4-BE49-F238E27FC236}">
                <a16:creationId xmlns:a16="http://schemas.microsoft.com/office/drawing/2014/main" id="{94658325-8C10-4E57-AA16-FE7F8EC74859}"/>
              </a:ext>
            </a:extLst>
          </p:cNvPr>
          <p:cNvCxnSpPr>
            <a:cxnSpLocks/>
            <a:stCxn id="135" idx="2"/>
            <a:endCxn id="185" idx="0"/>
          </p:cNvCxnSpPr>
          <p:nvPr/>
        </p:nvCxnSpPr>
        <p:spPr bwMode="gray">
          <a:xfrm rot="5400000" flipH="1" flipV="1">
            <a:off x="5793723" y="3968812"/>
            <a:ext cx="772872" cy="1547060"/>
          </a:xfrm>
          <a:prstGeom prst="bentConnector5">
            <a:avLst>
              <a:gd name="adj1" fmla="val -29578"/>
              <a:gd name="adj2" fmla="val 54988"/>
              <a:gd name="adj3" fmla="val 129578"/>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9" name="Connector: Elbow 218">
            <a:extLst>
              <a:ext uri="{FF2B5EF4-FFF2-40B4-BE49-F238E27FC236}">
                <a16:creationId xmlns:a16="http://schemas.microsoft.com/office/drawing/2014/main" id="{941ADA36-9BB7-49F5-B2EF-14C9B6B38EA1}"/>
              </a:ext>
            </a:extLst>
          </p:cNvPr>
          <p:cNvCxnSpPr>
            <a:cxnSpLocks/>
            <a:stCxn id="186" idx="2"/>
          </p:cNvCxnSpPr>
          <p:nvPr/>
        </p:nvCxnSpPr>
        <p:spPr bwMode="gray">
          <a:xfrm rot="5400000" flipH="1" flipV="1">
            <a:off x="7307027" y="4186505"/>
            <a:ext cx="356481" cy="1063159"/>
          </a:xfrm>
          <a:prstGeom prst="bentConnector4">
            <a:avLst>
              <a:gd name="adj1" fmla="val -64127"/>
              <a:gd name="adj2" fmla="val 69809"/>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23" name="Connector: Elbow 222">
            <a:extLst>
              <a:ext uri="{FF2B5EF4-FFF2-40B4-BE49-F238E27FC236}">
                <a16:creationId xmlns:a16="http://schemas.microsoft.com/office/drawing/2014/main" id="{3BF525BE-6311-45AC-87F7-C20E19CE0142}"/>
              </a:ext>
            </a:extLst>
          </p:cNvPr>
          <p:cNvCxnSpPr>
            <a:cxnSpLocks/>
          </p:cNvCxnSpPr>
          <p:nvPr/>
        </p:nvCxnSpPr>
        <p:spPr bwMode="gray">
          <a:xfrm rot="16200000" flipH="1" flipV="1">
            <a:off x="4228344" y="1424710"/>
            <a:ext cx="2090482" cy="4016330"/>
          </a:xfrm>
          <a:prstGeom prst="bentConnector3">
            <a:avLst>
              <a:gd name="adj1" fmla="val -656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31" name="Connector: Elbow 230">
            <a:extLst>
              <a:ext uri="{FF2B5EF4-FFF2-40B4-BE49-F238E27FC236}">
                <a16:creationId xmlns:a16="http://schemas.microsoft.com/office/drawing/2014/main" id="{61B69F03-EB53-4BBC-8CAD-BBC9F5E60940}"/>
              </a:ext>
            </a:extLst>
          </p:cNvPr>
          <p:cNvCxnSpPr>
            <a:cxnSpLocks/>
            <a:stCxn id="132" idx="0"/>
            <a:endCxn id="233" idx="1"/>
          </p:cNvCxnSpPr>
          <p:nvPr/>
        </p:nvCxnSpPr>
        <p:spPr bwMode="gray">
          <a:xfrm rot="10800000" flipH="1">
            <a:off x="8500748" y="2651625"/>
            <a:ext cx="864163" cy="351273"/>
          </a:xfrm>
          <a:prstGeom prst="bentConnector3">
            <a:avLst>
              <a:gd name="adj1" fmla="val 1025"/>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33" name="Rectangle 232">
            <a:extLst>
              <a:ext uri="{FF2B5EF4-FFF2-40B4-BE49-F238E27FC236}">
                <a16:creationId xmlns:a16="http://schemas.microsoft.com/office/drawing/2014/main" id="{18766341-7F4A-46B4-ACE4-A09E5959B38C}"/>
              </a:ext>
            </a:extLst>
          </p:cNvPr>
          <p:cNvSpPr/>
          <p:nvPr/>
        </p:nvSpPr>
        <p:spPr bwMode="gray">
          <a:xfrm>
            <a:off x="9364912" y="2569109"/>
            <a:ext cx="977119"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Gas, H</a:t>
            </a:r>
            <a:r>
              <a:rPr lang="de-DE" sz="1000" baseline="-25000" dirty="0">
                <a:solidFill>
                  <a:schemeClr val="tx1"/>
                </a:solidFill>
              </a:rPr>
              <a:t>2</a:t>
            </a:r>
            <a:r>
              <a:rPr lang="de-DE" sz="1000" dirty="0">
                <a:solidFill>
                  <a:schemeClr val="tx1"/>
                </a:solidFill>
              </a:rPr>
              <a:t>S, water vapor</a:t>
            </a:r>
            <a:endParaRPr lang="de-DE" sz="1000" baseline="-25000" dirty="0">
              <a:solidFill>
                <a:schemeClr val="tx1"/>
              </a:solidFill>
            </a:endParaRPr>
          </a:p>
        </p:txBody>
      </p:sp>
      <p:sp>
        <p:nvSpPr>
          <p:cNvPr id="242" name="Rectangle 241">
            <a:extLst>
              <a:ext uri="{FF2B5EF4-FFF2-40B4-BE49-F238E27FC236}">
                <a16:creationId xmlns:a16="http://schemas.microsoft.com/office/drawing/2014/main" id="{EB27ADA8-7EFE-4EF8-BD7F-A8FDD1C72C4D}"/>
              </a:ext>
            </a:extLst>
          </p:cNvPr>
          <p:cNvSpPr/>
          <p:nvPr/>
        </p:nvSpPr>
        <p:spPr bwMode="gray">
          <a:xfrm>
            <a:off x="9364912" y="5435463"/>
            <a:ext cx="977119"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Desulfurized hydrocarbon product</a:t>
            </a:r>
            <a:endParaRPr lang="de-DE" sz="1000" baseline="-25000" dirty="0">
              <a:solidFill>
                <a:schemeClr val="tx1"/>
              </a:solidFill>
            </a:endParaRPr>
          </a:p>
        </p:txBody>
      </p:sp>
      <p:cxnSp>
        <p:nvCxnSpPr>
          <p:cNvPr id="243" name="Connector: Elbow 242">
            <a:extLst>
              <a:ext uri="{FF2B5EF4-FFF2-40B4-BE49-F238E27FC236}">
                <a16:creationId xmlns:a16="http://schemas.microsoft.com/office/drawing/2014/main" id="{AB77AC57-04E1-4D33-A925-FEAEAF6F761A}"/>
              </a:ext>
            </a:extLst>
          </p:cNvPr>
          <p:cNvCxnSpPr>
            <a:cxnSpLocks/>
            <a:stCxn id="132" idx="16"/>
            <a:endCxn id="242" idx="1"/>
          </p:cNvCxnSpPr>
          <p:nvPr/>
        </p:nvCxnSpPr>
        <p:spPr bwMode="gray">
          <a:xfrm rot="10800000" flipH="1" flipV="1">
            <a:off x="8500748" y="5128778"/>
            <a:ext cx="864163" cy="389200"/>
          </a:xfrm>
          <a:prstGeom prst="bentConnector3">
            <a:avLst>
              <a:gd name="adj1" fmla="val -15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1" name="Connector: Elbow 250">
            <a:extLst>
              <a:ext uri="{FF2B5EF4-FFF2-40B4-BE49-F238E27FC236}">
                <a16:creationId xmlns:a16="http://schemas.microsoft.com/office/drawing/2014/main" id="{AC74547A-7D7B-4C2D-A411-BC70CBCC27B5}"/>
              </a:ext>
            </a:extLst>
          </p:cNvPr>
          <p:cNvCxnSpPr>
            <a:cxnSpLocks/>
            <a:stCxn id="172" idx="2"/>
          </p:cNvCxnSpPr>
          <p:nvPr/>
        </p:nvCxnSpPr>
        <p:spPr bwMode="gray">
          <a:xfrm rot="5400000">
            <a:off x="6948691" y="4019058"/>
            <a:ext cx="462641" cy="203479"/>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57" name="Rectangle 256">
            <a:extLst>
              <a:ext uri="{FF2B5EF4-FFF2-40B4-BE49-F238E27FC236}">
                <a16:creationId xmlns:a16="http://schemas.microsoft.com/office/drawing/2014/main" id="{B1582AF1-9D16-4B8F-A3F6-070D7ED71D0C}"/>
              </a:ext>
            </a:extLst>
          </p:cNvPr>
          <p:cNvSpPr/>
          <p:nvPr/>
        </p:nvSpPr>
        <p:spPr bwMode="gray">
          <a:xfrm>
            <a:off x="7808545" y="2725091"/>
            <a:ext cx="368593"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H</a:t>
            </a:r>
            <a:r>
              <a:rPr lang="de-DE" sz="1000" baseline="-25000" dirty="0">
                <a:solidFill>
                  <a:schemeClr val="tx1"/>
                </a:solidFill>
              </a:rPr>
              <a:t>2</a:t>
            </a:r>
            <a:r>
              <a:rPr lang="de-DE" sz="1000" dirty="0">
                <a:solidFill>
                  <a:schemeClr val="tx1"/>
                </a:solidFill>
              </a:rPr>
              <a:t>S</a:t>
            </a:r>
            <a:endParaRPr lang="de-DE" sz="1000" baseline="-25000" dirty="0">
              <a:solidFill>
                <a:schemeClr val="tx1"/>
              </a:solidFill>
            </a:endParaRPr>
          </a:p>
        </p:txBody>
      </p:sp>
      <p:cxnSp>
        <p:nvCxnSpPr>
          <p:cNvPr id="259" name="Straight Arrow Connector 258">
            <a:extLst>
              <a:ext uri="{FF2B5EF4-FFF2-40B4-BE49-F238E27FC236}">
                <a16:creationId xmlns:a16="http://schemas.microsoft.com/office/drawing/2014/main" id="{8235DC1A-FABF-4C38-A39D-6CD7E040652E}"/>
              </a:ext>
            </a:extLst>
          </p:cNvPr>
          <p:cNvCxnSpPr>
            <a:cxnSpLocks/>
          </p:cNvCxnSpPr>
          <p:nvPr/>
        </p:nvCxnSpPr>
        <p:spPr bwMode="gray">
          <a:xfrm>
            <a:off x="7628941" y="2807607"/>
            <a:ext cx="221957" cy="0"/>
          </a:xfrm>
          <a:prstGeom prst="straightConnector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64" name="Rectangle 263">
            <a:extLst>
              <a:ext uri="{FF2B5EF4-FFF2-40B4-BE49-F238E27FC236}">
                <a16:creationId xmlns:a16="http://schemas.microsoft.com/office/drawing/2014/main" id="{D02EA00B-024D-418D-8106-6BD553DF1F5C}"/>
              </a:ext>
            </a:extLst>
          </p:cNvPr>
          <p:cNvSpPr/>
          <p:nvPr/>
        </p:nvSpPr>
        <p:spPr bwMode="gray">
          <a:xfrm>
            <a:off x="1849970" y="2941320"/>
            <a:ext cx="977119" cy="428358"/>
          </a:xfrm>
          <a:prstGeom prst="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Make-up H</a:t>
            </a:r>
            <a:r>
              <a:rPr lang="de-DE" sz="1000" baseline="-25000" dirty="0">
                <a:solidFill>
                  <a:schemeClr val="tx1"/>
                </a:solidFill>
              </a:rPr>
              <a:t>2</a:t>
            </a:r>
          </a:p>
        </p:txBody>
      </p:sp>
      <p:cxnSp>
        <p:nvCxnSpPr>
          <p:cNvPr id="265" name="Straight Arrow Connector 264">
            <a:extLst>
              <a:ext uri="{FF2B5EF4-FFF2-40B4-BE49-F238E27FC236}">
                <a16:creationId xmlns:a16="http://schemas.microsoft.com/office/drawing/2014/main" id="{7BE79872-74B2-4DE5-BC75-333DF9B4F39F}"/>
              </a:ext>
            </a:extLst>
          </p:cNvPr>
          <p:cNvCxnSpPr>
            <a:cxnSpLocks/>
          </p:cNvCxnSpPr>
          <p:nvPr/>
        </p:nvCxnSpPr>
        <p:spPr bwMode="gray">
          <a:xfrm>
            <a:off x="2827089" y="3155499"/>
            <a:ext cx="436827" cy="0"/>
          </a:xfrm>
          <a:prstGeom prst="straightConnector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67" name="Rectangle 266">
            <a:extLst>
              <a:ext uri="{FF2B5EF4-FFF2-40B4-BE49-F238E27FC236}">
                <a16:creationId xmlns:a16="http://schemas.microsoft.com/office/drawing/2014/main" id="{052614F6-A5CA-4BEB-B289-251D6FD8302A}"/>
              </a:ext>
            </a:extLst>
          </p:cNvPr>
          <p:cNvSpPr/>
          <p:nvPr/>
        </p:nvSpPr>
        <p:spPr bwMode="gray">
          <a:xfrm>
            <a:off x="4785026" y="2253647"/>
            <a:ext cx="977119"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Recycle H</a:t>
            </a:r>
            <a:r>
              <a:rPr lang="de-DE" sz="1000" baseline="-25000" dirty="0">
                <a:solidFill>
                  <a:schemeClr val="tx1"/>
                </a:solidFill>
              </a:rPr>
              <a:t>2</a:t>
            </a:r>
          </a:p>
        </p:txBody>
      </p:sp>
      <p:sp>
        <p:nvSpPr>
          <p:cNvPr id="270" name="Date Placeholder 269">
            <a:extLst>
              <a:ext uri="{FF2B5EF4-FFF2-40B4-BE49-F238E27FC236}">
                <a16:creationId xmlns:a16="http://schemas.microsoft.com/office/drawing/2014/main" id="{BFDE01DB-3AA7-4B07-B9DC-0181336B46A8}"/>
              </a:ext>
            </a:extLst>
          </p:cNvPr>
          <p:cNvSpPr>
            <a:spLocks noGrp="1"/>
          </p:cNvSpPr>
          <p:nvPr>
            <p:ph type="dt" sz="half" idx="14"/>
          </p:nvPr>
        </p:nvSpPr>
        <p:spPr bwMode="gray"/>
        <p:txBody>
          <a:bodyPr/>
          <a:lstStyle/>
          <a:p>
            <a:fld id="{2365A0EA-74F6-4B3A-8B61-A8484AD01039}" type="datetime4">
              <a:rPr lang="en-US" smtClean="0"/>
              <a:t>September 8, 2019</a:t>
            </a:fld>
            <a:endParaRPr lang="en-US" dirty="0"/>
          </a:p>
        </p:txBody>
      </p:sp>
      <p:sp>
        <p:nvSpPr>
          <p:cNvPr id="271" name="Footer Placeholder 270">
            <a:extLst>
              <a:ext uri="{FF2B5EF4-FFF2-40B4-BE49-F238E27FC236}">
                <a16:creationId xmlns:a16="http://schemas.microsoft.com/office/drawing/2014/main" id="{C455F605-B6DC-44ED-B1EB-DABF795D2D20}"/>
              </a:ext>
            </a:extLst>
          </p:cNvPr>
          <p:cNvSpPr>
            <a:spLocks noGrp="1"/>
          </p:cNvSpPr>
          <p:nvPr>
            <p:ph type="ftr" sz="quarter" idx="15"/>
          </p:nvPr>
        </p:nvSpPr>
        <p:spPr bwMode="gray"/>
        <p:txBody>
          <a:bodyPr/>
          <a:lstStyle/>
          <a:p>
            <a:pPr lvl="8"/>
            <a:endParaRPr lang="en-US" dirty="0"/>
          </a:p>
        </p:txBody>
      </p:sp>
      <p:sp>
        <p:nvSpPr>
          <p:cNvPr id="272" name="Slide Number Placeholder 271">
            <a:extLst>
              <a:ext uri="{FF2B5EF4-FFF2-40B4-BE49-F238E27FC236}">
                <a16:creationId xmlns:a16="http://schemas.microsoft.com/office/drawing/2014/main" id="{E766DC1B-E82D-4384-AB0F-1393981A911C}"/>
              </a:ext>
            </a:extLst>
          </p:cNvPr>
          <p:cNvSpPr>
            <a:spLocks noGrp="1"/>
          </p:cNvSpPr>
          <p:nvPr>
            <p:ph type="sldNum" sz="quarter" idx="16"/>
          </p:nvPr>
        </p:nvSpPr>
        <p:spPr bwMode="gray"/>
        <p:txBody>
          <a:bodyPr/>
          <a:lstStyle/>
          <a:p>
            <a:r>
              <a:rPr lang="en-US"/>
              <a:t>Slide </a:t>
            </a:r>
            <a:fld id="{619F89D8-7AE3-494A-97F3-03D680869632}" type="slidenum">
              <a:rPr lang="en-US" smtClean="0"/>
              <a:pPr/>
              <a:t>55</a:t>
            </a:fld>
            <a:endParaRPr lang="en-US" dirty="0"/>
          </a:p>
        </p:txBody>
      </p:sp>
    </p:spTree>
    <p:custDataLst>
      <p:tags r:id="rId1"/>
    </p:custDataLst>
    <p:extLst>
      <p:ext uri="{BB962C8B-B14F-4D97-AF65-F5344CB8AC3E}">
        <p14:creationId xmlns:p14="http://schemas.microsoft.com/office/powerpoint/2010/main" val="3537501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hteck 87">
            <a:extLst>
              <a:ext uri="{FF2B5EF4-FFF2-40B4-BE49-F238E27FC236}">
                <a16:creationId xmlns:a16="http://schemas.microsoft.com/office/drawing/2014/main" id="{5AB8BB45-D74C-4438-8E85-831FE004C416}"/>
              </a:ext>
            </a:extLst>
          </p:cNvPr>
          <p:cNvSpPr/>
          <p:nvPr/>
        </p:nvSpPr>
        <p:spPr bwMode="gray">
          <a:xfrm>
            <a:off x="336550" y="1936346"/>
            <a:ext cx="11516714" cy="3077935"/>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000" dirty="0">
              <a:solidFill>
                <a:schemeClr val="bg1"/>
              </a:solidFill>
            </a:endParaRPr>
          </a:p>
        </p:txBody>
      </p:sp>
      <p:sp>
        <p:nvSpPr>
          <p:cNvPr id="3" name="Title 2">
            <a:extLst>
              <a:ext uri="{FF2B5EF4-FFF2-40B4-BE49-F238E27FC236}">
                <a16:creationId xmlns:a16="http://schemas.microsoft.com/office/drawing/2014/main" id="{F41BCF31-5C55-4657-A54F-DC1EA3C30CD6}"/>
              </a:ext>
            </a:extLst>
          </p:cNvPr>
          <p:cNvSpPr>
            <a:spLocks noGrp="1"/>
          </p:cNvSpPr>
          <p:nvPr>
            <p:ph type="title"/>
          </p:nvPr>
        </p:nvSpPr>
        <p:spPr bwMode="gray">
          <a:xfrm>
            <a:off x="333264" y="682313"/>
            <a:ext cx="11520000" cy="396000"/>
          </a:xfrm>
        </p:spPr>
        <p:txBody>
          <a:bodyPr/>
          <a:lstStyle/>
          <a:p>
            <a:r>
              <a:rPr lang="en-US" dirty="0"/>
              <a:t>Coal or refinery coke gasification</a:t>
            </a:r>
            <a:endParaRPr lang="de-DE" dirty="0"/>
          </a:p>
        </p:txBody>
      </p:sp>
      <p:sp>
        <p:nvSpPr>
          <p:cNvPr id="7" name="Subtitle 6">
            <a:extLst>
              <a:ext uri="{FF2B5EF4-FFF2-40B4-BE49-F238E27FC236}">
                <a16:creationId xmlns:a16="http://schemas.microsoft.com/office/drawing/2014/main" id="{251F1099-90B1-4C09-AE78-1B8A50E7A613}"/>
              </a:ext>
            </a:extLst>
          </p:cNvPr>
          <p:cNvSpPr>
            <a:spLocks noGrp="1"/>
          </p:cNvSpPr>
          <p:nvPr>
            <p:ph type="subTitle" idx="13"/>
          </p:nvPr>
        </p:nvSpPr>
        <p:spPr bwMode="gray">
          <a:xfrm>
            <a:off x="332367" y="1085213"/>
            <a:ext cx="11520898" cy="504000"/>
          </a:xfrm>
        </p:spPr>
        <p:txBody>
          <a:bodyPr/>
          <a:lstStyle/>
          <a:p>
            <a:r>
              <a:rPr lang="de-DE" dirty="0"/>
              <a:t>ASU </a:t>
            </a:r>
            <a:r>
              <a:rPr lang="de-DE" dirty="0" err="1"/>
              <a:t>for</a:t>
            </a:r>
            <a:r>
              <a:rPr lang="de-DE" dirty="0"/>
              <a:t> Oxygen</a:t>
            </a:r>
          </a:p>
        </p:txBody>
      </p:sp>
      <p:sp>
        <p:nvSpPr>
          <p:cNvPr id="14" name="Date Placeholder 13">
            <a:extLst>
              <a:ext uri="{FF2B5EF4-FFF2-40B4-BE49-F238E27FC236}">
                <a16:creationId xmlns:a16="http://schemas.microsoft.com/office/drawing/2014/main" id="{617EDBEE-677B-49F7-BB80-AEA2C13E8ABE}"/>
              </a:ext>
            </a:extLst>
          </p:cNvPr>
          <p:cNvSpPr>
            <a:spLocks noGrp="1"/>
          </p:cNvSpPr>
          <p:nvPr>
            <p:ph type="dt" sz="half" idx="14"/>
          </p:nvPr>
        </p:nvSpPr>
        <p:spPr bwMode="gray"/>
        <p:txBody>
          <a:bodyPr/>
          <a:lstStyle/>
          <a:p>
            <a:fld id="{6D6A4B30-771B-4594-BA43-8E364D4928B8}" type="datetime4">
              <a:rPr lang="en-US" smtClean="0"/>
              <a:t>September 8, 2019</a:t>
            </a:fld>
            <a:endParaRPr lang="en-US" dirty="0"/>
          </a:p>
        </p:txBody>
      </p:sp>
      <p:sp>
        <p:nvSpPr>
          <p:cNvPr id="15" name="Footer Placeholder 14">
            <a:extLst>
              <a:ext uri="{FF2B5EF4-FFF2-40B4-BE49-F238E27FC236}">
                <a16:creationId xmlns:a16="http://schemas.microsoft.com/office/drawing/2014/main" id="{675FBAA8-5AA1-4B1F-8C77-C0B6B01EFBB0}"/>
              </a:ext>
            </a:extLst>
          </p:cNvPr>
          <p:cNvSpPr>
            <a:spLocks noGrp="1"/>
          </p:cNvSpPr>
          <p:nvPr>
            <p:ph type="ftr" sz="quarter" idx="15"/>
          </p:nvPr>
        </p:nvSpPr>
        <p:spPr bwMode="gray"/>
        <p:txBody>
          <a:bodyPr/>
          <a:lstStyle/>
          <a:p>
            <a:pPr lvl="8"/>
            <a:r>
              <a:rPr lang="de-DE" dirty="0"/>
              <a:t>Source: Linde Group</a:t>
            </a:r>
            <a:endParaRPr lang="en-US" dirty="0"/>
          </a:p>
        </p:txBody>
      </p:sp>
      <p:sp>
        <p:nvSpPr>
          <p:cNvPr id="16" name="Slide Number Placeholder 15">
            <a:extLst>
              <a:ext uri="{FF2B5EF4-FFF2-40B4-BE49-F238E27FC236}">
                <a16:creationId xmlns:a16="http://schemas.microsoft.com/office/drawing/2014/main" id="{A5D17756-E732-4F1B-A4BA-7DA21F22F4B2}"/>
              </a:ext>
            </a:extLst>
          </p:cNvPr>
          <p:cNvSpPr>
            <a:spLocks noGrp="1"/>
          </p:cNvSpPr>
          <p:nvPr>
            <p:ph type="sldNum" sz="quarter" idx="16"/>
          </p:nvPr>
        </p:nvSpPr>
        <p:spPr bwMode="gray"/>
        <p:txBody>
          <a:bodyPr/>
          <a:lstStyle/>
          <a:p>
            <a:r>
              <a:rPr lang="en-US"/>
              <a:t>Slide </a:t>
            </a:r>
            <a:fld id="{619F89D8-7AE3-494A-97F3-03D680869632}" type="slidenum">
              <a:rPr lang="en-US" smtClean="0"/>
              <a:pPr/>
              <a:t>56</a:t>
            </a:fld>
            <a:endParaRPr lang="en-US" dirty="0"/>
          </a:p>
        </p:txBody>
      </p:sp>
      <p:grpSp>
        <p:nvGrpSpPr>
          <p:cNvPr id="2" name="Group 1">
            <a:extLst>
              <a:ext uri="{FF2B5EF4-FFF2-40B4-BE49-F238E27FC236}">
                <a16:creationId xmlns:a16="http://schemas.microsoft.com/office/drawing/2014/main" id="{86DE2DCE-4A54-411C-80F8-AEC3AD866238}"/>
              </a:ext>
            </a:extLst>
          </p:cNvPr>
          <p:cNvGrpSpPr/>
          <p:nvPr/>
        </p:nvGrpSpPr>
        <p:grpSpPr>
          <a:xfrm>
            <a:off x="359056" y="2598180"/>
            <a:ext cx="11477662" cy="1802154"/>
            <a:chOff x="359056" y="2777293"/>
            <a:chExt cx="11477662" cy="1802154"/>
          </a:xfrm>
        </p:grpSpPr>
        <p:sp>
          <p:nvSpPr>
            <p:cNvPr id="963" name="Rechteck 87">
              <a:extLst>
                <a:ext uri="{FF2B5EF4-FFF2-40B4-BE49-F238E27FC236}">
                  <a16:creationId xmlns:a16="http://schemas.microsoft.com/office/drawing/2014/main" id="{A2F3DFC2-507F-456F-BFCC-0453FAA60FAD}"/>
                </a:ext>
              </a:extLst>
            </p:cNvPr>
            <p:cNvSpPr/>
            <p:nvPr/>
          </p:nvSpPr>
          <p:spPr bwMode="gray">
            <a:xfrm>
              <a:off x="11575638" y="4173871"/>
              <a:ext cx="261080" cy="40557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spcBef>
                  <a:spcPts val="300"/>
                </a:spcBef>
                <a:buClr>
                  <a:srgbClr val="002897"/>
                </a:buClr>
                <a:buSzPct val="70000"/>
              </a:pPr>
              <a:r>
                <a:rPr lang="de-DE" sz="1400" dirty="0">
                  <a:solidFill>
                    <a:schemeClr val="tx1"/>
                  </a:solidFill>
                </a:rPr>
                <a:t>CO</a:t>
              </a:r>
            </a:p>
          </p:txBody>
        </p:sp>
        <p:sp>
          <p:nvSpPr>
            <p:cNvPr id="964" name="Rechteck 87">
              <a:extLst>
                <a:ext uri="{FF2B5EF4-FFF2-40B4-BE49-F238E27FC236}">
                  <a16:creationId xmlns:a16="http://schemas.microsoft.com/office/drawing/2014/main" id="{C0481755-EB0A-4EED-A641-55F2EF4D226B}"/>
                </a:ext>
              </a:extLst>
            </p:cNvPr>
            <p:cNvSpPr/>
            <p:nvPr/>
          </p:nvSpPr>
          <p:spPr bwMode="gray">
            <a:xfrm>
              <a:off x="11575638" y="3771727"/>
              <a:ext cx="261080" cy="40386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spcBef>
                  <a:spcPts val="300"/>
                </a:spcBef>
                <a:buClr>
                  <a:srgbClr val="002897"/>
                </a:buClr>
                <a:buSzPct val="70000"/>
              </a:pPr>
              <a:r>
                <a:rPr lang="de-DE" sz="1400" dirty="0">
                  <a:solidFill>
                    <a:schemeClr val="tx1"/>
                  </a:solidFill>
                </a:rPr>
                <a:t>H</a:t>
              </a:r>
              <a:r>
                <a:rPr lang="de-DE" sz="1400" baseline="-25000" dirty="0">
                  <a:solidFill>
                    <a:schemeClr val="tx1"/>
                  </a:solidFill>
                </a:rPr>
                <a:t>2</a:t>
              </a:r>
            </a:p>
          </p:txBody>
        </p:sp>
        <p:sp>
          <p:nvSpPr>
            <p:cNvPr id="962" name="Rechteck 87">
              <a:extLst>
                <a:ext uri="{FF2B5EF4-FFF2-40B4-BE49-F238E27FC236}">
                  <a16:creationId xmlns:a16="http://schemas.microsoft.com/office/drawing/2014/main" id="{5E33037B-207C-4206-982E-56F1263B2B2F}"/>
                </a:ext>
              </a:extLst>
            </p:cNvPr>
            <p:cNvSpPr/>
            <p:nvPr/>
          </p:nvSpPr>
          <p:spPr bwMode="gray">
            <a:xfrm>
              <a:off x="359056" y="4170844"/>
              <a:ext cx="564938" cy="40557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lgn="r">
                <a:spcBef>
                  <a:spcPts val="300"/>
                </a:spcBef>
                <a:buClr>
                  <a:srgbClr val="002897"/>
                </a:buClr>
                <a:buSzPct val="70000"/>
              </a:pPr>
              <a:r>
                <a:rPr lang="de-DE" sz="1400" dirty="0">
                  <a:solidFill>
                    <a:schemeClr val="tx1"/>
                  </a:solidFill>
                </a:rPr>
                <a:t>Steam</a:t>
              </a:r>
            </a:p>
          </p:txBody>
        </p:sp>
        <p:sp>
          <p:nvSpPr>
            <p:cNvPr id="958" name="Rechteck 87">
              <a:extLst>
                <a:ext uri="{FF2B5EF4-FFF2-40B4-BE49-F238E27FC236}">
                  <a16:creationId xmlns:a16="http://schemas.microsoft.com/office/drawing/2014/main" id="{A7ACF5F5-F48D-4C34-B22A-EAAC2084E05D}"/>
                </a:ext>
              </a:extLst>
            </p:cNvPr>
            <p:cNvSpPr/>
            <p:nvPr/>
          </p:nvSpPr>
          <p:spPr bwMode="gray">
            <a:xfrm>
              <a:off x="359056" y="3772004"/>
              <a:ext cx="564938" cy="40386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lgn="r">
                <a:spcBef>
                  <a:spcPts val="300"/>
                </a:spcBef>
                <a:buClr>
                  <a:srgbClr val="002897"/>
                </a:buClr>
                <a:buSzPct val="70000"/>
              </a:pPr>
              <a:r>
                <a:rPr lang="de-DE" sz="1400" dirty="0">
                  <a:solidFill>
                    <a:schemeClr val="tx1"/>
                  </a:solidFill>
                </a:rPr>
                <a:t>Coal</a:t>
              </a:r>
            </a:p>
          </p:txBody>
        </p:sp>
        <p:sp>
          <p:nvSpPr>
            <p:cNvPr id="462" name="Rechteck 87">
              <a:extLst>
                <a:ext uri="{FF2B5EF4-FFF2-40B4-BE49-F238E27FC236}">
                  <a16:creationId xmlns:a16="http://schemas.microsoft.com/office/drawing/2014/main" id="{EA6FFF5F-88CC-45CD-AE2B-98D67CCA428E}"/>
                </a:ext>
              </a:extLst>
            </p:cNvPr>
            <p:cNvSpPr/>
            <p:nvPr/>
          </p:nvSpPr>
          <p:spPr bwMode="gray">
            <a:xfrm>
              <a:off x="1637271" y="2777293"/>
              <a:ext cx="1422322" cy="571341"/>
            </a:xfrm>
            <a:prstGeom prst="rect">
              <a:avLst/>
            </a:prstGeom>
            <a:solidFill>
              <a:schemeClr val="accent4"/>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Air separation unit </a:t>
              </a:r>
            </a:p>
          </p:txBody>
        </p:sp>
        <p:sp>
          <p:nvSpPr>
            <p:cNvPr id="872" name="Rechteck 87">
              <a:extLst>
                <a:ext uri="{FF2B5EF4-FFF2-40B4-BE49-F238E27FC236}">
                  <a16:creationId xmlns:a16="http://schemas.microsoft.com/office/drawing/2014/main" id="{F8338CB8-5AA9-4ADF-90EA-F3A2737804D5}"/>
                </a:ext>
              </a:extLst>
            </p:cNvPr>
            <p:cNvSpPr/>
            <p:nvPr/>
          </p:nvSpPr>
          <p:spPr bwMode="gray">
            <a:xfrm>
              <a:off x="1637271" y="3772004"/>
              <a:ext cx="1422322" cy="804416"/>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Coal gasification </a:t>
              </a:r>
            </a:p>
          </p:txBody>
        </p:sp>
        <p:sp>
          <p:nvSpPr>
            <p:cNvPr id="873" name="Rechteck 87">
              <a:extLst>
                <a:ext uri="{FF2B5EF4-FFF2-40B4-BE49-F238E27FC236}">
                  <a16:creationId xmlns:a16="http://schemas.microsoft.com/office/drawing/2014/main" id="{9DAEB7BF-2EF1-4261-A50F-96561291E866}"/>
                </a:ext>
              </a:extLst>
            </p:cNvPr>
            <p:cNvSpPr/>
            <p:nvPr/>
          </p:nvSpPr>
          <p:spPr bwMode="gray">
            <a:xfrm>
              <a:off x="3586721" y="3771727"/>
              <a:ext cx="1422322" cy="8077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Syngas cooling and heat recovery</a:t>
              </a:r>
            </a:p>
          </p:txBody>
        </p:sp>
        <p:sp>
          <p:nvSpPr>
            <p:cNvPr id="874" name="Rechteck 87">
              <a:extLst>
                <a:ext uri="{FF2B5EF4-FFF2-40B4-BE49-F238E27FC236}">
                  <a16:creationId xmlns:a16="http://schemas.microsoft.com/office/drawing/2014/main" id="{0DD39A6A-B40C-4133-87E5-DA82E76C958B}"/>
                </a:ext>
              </a:extLst>
            </p:cNvPr>
            <p:cNvSpPr/>
            <p:nvPr/>
          </p:nvSpPr>
          <p:spPr bwMode="gray">
            <a:xfrm>
              <a:off x="5536171" y="2777293"/>
              <a:ext cx="1422322" cy="57134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Water gas shift</a:t>
              </a:r>
            </a:p>
          </p:txBody>
        </p:sp>
        <p:sp>
          <p:nvSpPr>
            <p:cNvPr id="875" name="Rechteck 87">
              <a:extLst>
                <a:ext uri="{FF2B5EF4-FFF2-40B4-BE49-F238E27FC236}">
                  <a16:creationId xmlns:a16="http://schemas.microsoft.com/office/drawing/2014/main" id="{1D1F03F5-E00A-4A4E-ADFD-91B25D01E17F}"/>
                </a:ext>
              </a:extLst>
            </p:cNvPr>
            <p:cNvSpPr/>
            <p:nvPr/>
          </p:nvSpPr>
          <p:spPr bwMode="gray">
            <a:xfrm>
              <a:off x="5536171" y="3771727"/>
              <a:ext cx="1422322" cy="8077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Particulate filter</a:t>
              </a:r>
            </a:p>
          </p:txBody>
        </p:sp>
        <p:sp>
          <p:nvSpPr>
            <p:cNvPr id="876" name="Rechteck 87">
              <a:extLst>
                <a:ext uri="{FF2B5EF4-FFF2-40B4-BE49-F238E27FC236}">
                  <a16:creationId xmlns:a16="http://schemas.microsoft.com/office/drawing/2014/main" id="{3CE02E2D-F9CD-4F75-9487-7FC70097D1E7}"/>
                </a:ext>
              </a:extLst>
            </p:cNvPr>
            <p:cNvSpPr/>
            <p:nvPr/>
          </p:nvSpPr>
          <p:spPr bwMode="gray">
            <a:xfrm>
              <a:off x="7485621" y="2777293"/>
              <a:ext cx="1422322" cy="571341"/>
            </a:xfrm>
            <a:prstGeom prst="rect">
              <a:avLst/>
            </a:prstGeom>
            <a:solidFill>
              <a:schemeClr val="accent4"/>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Acid gas removal</a:t>
              </a:r>
            </a:p>
          </p:txBody>
        </p:sp>
        <p:sp>
          <p:nvSpPr>
            <p:cNvPr id="877" name="Rechteck 87">
              <a:extLst>
                <a:ext uri="{FF2B5EF4-FFF2-40B4-BE49-F238E27FC236}">
                  <a16:creationId xmlns:a16="http://schemas.microsoft.com/office/drawing/2014/main" id="{28F8D31F-4409-4395-92D6-9ACEF23FC12C}"/>
                </a:ext>
              </a:extLst>
            </p:cNvPr>
            <p:cNvSpPr/>
            <p:nvPr/>
          </p:nvSpPr>
          <p:spPr bwMode="gray">
            <a:xfrm>
              <a:off x="9435069" y="3771727"/>
              <a:ext cx="1422322" cy="80772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H</a:t>
              </a:r>
              <a:r>
                <a:rPr lang="de-DE" sz="1400" baseline="-25000" dirty="0">
                  <a:solidFill>
                    <a:schemeClr val="tx1"/>
                  </a:solidFill>
                </a:rPr>
                <a:t>2</a:t>
              </a:r>
              <a:r>
                <a:rPr lang="de-DE" sz="1400" dirty="0">
                  <a:solidFill>
                    <a:schemeClr val="tx1"/>
                  </a:solidFill>
                </a:rPr>
                <a:t> and CO separation</a:t>
              </a:r>
            </a:p>
          </p:txBody>
        </p:sp>
        <p:grpSp>
          <p:nvGrpSpPr>
            <p:cNvPr id="969" name="Group 968">
              <a:extLst>
                <a:ext uri="{FF2B5EF4-FFF2-40B4-BE49-F238E27FC236}">
                  <a16:creationId xmlns:a16="http://schemas.microsoft.com/office/drawing/2014/main" id="{CCCABC5E-E165-41D5-BC1F-DE5C072BA324}"/>
                </a:ext>
              </a:extLst>
            </p:cNvPr>
            <p:cNvGrpSpPr/>
            <p:nvPr/>
          </p:nvGrpSpPr>
          <p:grpSpPr bwMode="gray">
            <a:xfrm>
              <a:off x="954493" y="3973935"/>
              <a:ext cx="680438" cy="399697"/>
              <a:chOff x="1755586" y="3722648"/>
              <a:chExt cx="218644" cy="399697"/>
            </a:xfrm>
          </p:grpSpPr>
          <p:cxnSp>
            <p:nvCxnSpPr>
              <p:cNvPr id="12" name="Straight Connector 11">
                <a:extLst>
                  <a:ext uri="{FF2B5EF4-FFF2-40B4-BE49-F238E27FC236}">
                    <a16:creationId xmlns:a16="http://schemas.microsoft.com/office/drawing/2014/main" id="{30172B6B-632B-422B-87BF-43DC62C202D0}"/>
                  </a:ext>
                </a:extLst>
              </p:cNvPr>
              <p:cNvCxnSpPr>
                <a:cxnSpLocks/>
              </p:cNvCxnSpPr>
              <p:nvPr/>
            </p:nvCxnSpPr>
            <p:spPr bwMode="gray">
              <a:xfrm flipH="1">
                <a:off x="1755586" y="3722648"/>
                <a:ext cx="218644"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968" name="Straight Connector 967">
                <a:extLst>
                  <a:ext uri="{FF2B5EF4-FFF2-40B4-BE49-F238E27FC236}">
                    <a16:creationId xmlns:a16="http://schemas.microsoft.com/office/drawing/2014/main" id="{D02C59B1-2642-4C2A-9C56-438C44F56B55}"/>
                  </a:ext>
                </a:extLst>
              </p:cNvPr>
              <p:cNvCxnSpPr>
                <a:cxnSpLocks/>
              </p:cNvCxnSpPr>
              <p:nvPr/>
            </p:nvCxnSpPr>
            <p:spPr bwMode="gray">
              <a:xfrm flipH="1">
                <a:off x="1755586" y="4122345"/>
                <a:ext cx="218644"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970" name="Group 969">
              <a:extLst>
                <a:ext uri="{FF2B5EF4-FFF2-40B4-BE49-F238E27FC236}">
                  <a16:creationId xmlns:a16="http://schemas.microsoft.com/office/drawing/2014/main" id="{59B02425-8DE9-4456-802F-DBE24EEBD4E7}"/>
                </a:ext>
              </a:extLst>
            </p:cNvPr>
            <p:cNvGrpSpPr/>
            <p:nvPr/>
          </p:nvGrpSpPr>
          <p:grpSpPr bwMode="gray">
            <a:xfrm>
              <a:off x="10858561" y="3973935"/>
              <a:ext cx="680400" cy="399697"/>
              <a:chOff x="1755586" y="3722648"/>
              <a:chExt cx="218644" cy="399697"/>
            </a:xfrm>
          </p:grpSpPr>
          <p:cxnSp>
            <p:nvCxnSpPr>
              <p:cNvPr id="971" name="Straight Connector 970">
                <a:extLst>
                  <a:ext uri="{FF2B5EF4-FFF2-40B4-BE49-F238E27FC236}">
                    <a16:creationId xmlns:a16="http://schemas.microsoft.com/office/drawing/2014/main" id="{5A102CB7-794F-4DA9-9542-ECACD40EC0F4}"/>
                  </a:ext>
                </a:extLst>
              </p:cNvPr>
              <p:cNvCxnSpPr>
                <a:cxnSpLocks/>
              </p:cNvCxnSpPr>
              <p:nvPr/>
            </p:nvCxnSpPr>
            <p:spPr bwMode="gray">
              <a:xfrm flipH="1">
                <a:off x="1755586" y="3722648"/>
                <a:ext cx="218644"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972" name="Straight Connector 971">
                <a:extLst>
                  <a:ext uri="{FF2B5EF4-FFF2-40B4-BE49-F238E27FC236}">
                    <a16:creationId xmlns:a16="http://schemas.microsoft.com/office/drawing/2014/main" id="{8830B469-5AE8-44E1-851D-957A02F8AA4D}"/>
                  </a:ext>
                </a:extLst>
              </p:cNvPr>
              <p:cNvCxnSpPr>
                <a:cxnSpLocks/>
              </p:cNvCxnSpPr>
              <p:nvPr/>
            </p:nvCxnSpPr>
            <p:spPr bwMode="gray">
              <a:xfrm flipH="1">
                <a:off x="1755586" y="4122345"/>
                <a:ext cx="218644"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grpSp>
        <p:cxnSp>
          <p:nvCxnSpPr>
            <p:cNvPr id="998" name="Straight Connector 997">
              <a:extLst>
                <a:ext uri="{FF2B5EF4-FFF2-40B4-BE49-F238E27FC236}">
                  <a16:creationId xmlns:a16="http://schemas.microsoft.com/office/drawing/2014/main" id="{5D926A46-E02D-4B67-AC55-E7DEC3C91A22}"/>
                </a:ext>
              </a:extLst>
            </p:cNvPr>
            <p:cNvCxnSpPr>
              <a:cxnSpLocks/>
              <a:stCxn id="873" idx="1"/>
              <a:endCxn id="872" idx="3"/>
            </p:cNvCxnSpPr>
            <p:nvPr/>
          </p:nvCxnSpPr>
          <p:spPr bwMode="gray">
            <a:xfrm flipH="1" flipV="1">
              <a:off x="3059593" y="4174212"/>
              <a:ext cx="527128" cy="1375"/>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1001" name="Straight Connector 1000">
              <a:extLst>
                <a:ext uri="{FF2B5EF4-FFF2-40B4-BE49-F238E27FC236}">
                  <a16:creationId xmlns:a16="http://schemas.microsoft.com/office/drawing/2014/main" id="{78C98275-B90B-4B8D-B608-86F4ECA7C0DE}"/>
                </a:ext>
              </a:extLst>
            </p:cNvPr>
            <p:cNvCxnSpPr>
              <a:cxnSpLocks/>
              <a:stCxn id="872" idx="0"/>
              <a:endCxn id="462" idx="2"/>
            </p:cNvCxnSpPr>
            <p:nvPr/>
          </p:nvCxnSpPr>
          <p:spPr bwMode="gray">
            <a:xfrm flipV="1">
              <a:off x="2348432" y="3348634"/>
              <a:ext cx="0" cy="42337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1004" name="Straight Connector 1003">
              <a:extLst>
                <a:ext uri="{FF2B5EF4-FFF2-40B4-BE49-F238E27FC236}">
                  <a16:creationId xmlns:a16="http://schemas.microsoft.com/office/drawing/2014/main" id="{35EE00D2-12B6-43A9-97C2-15E781DA84EB}"/>
                </a:ext>
              </a:extLst>
            </p:cNvPr>
            <p:cNvCxnSpPr>
              <a:cxnSpLocks/>
              <a:stCxn id="875" idx="1"/>
              <a:endCxn id="873" idx="3"/>
            </p:cNvCxnSpPr>
            <p:nvPr/>
          </p:nvCxnSpPr>
          <p:spPr bwMode="gray">
            <a:xfrm flipH="1">
              <a:off x="5009043" y="4175587"/>
              <a:ext cx="527128"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1007" name="Straight Connector 1006">
              <a:extLst>
                <a:ext uri="{FF2B5EF4-FFF2-40B4-BE49-F238E27FC236}">
                  <a16:creationId xmlns:a16="http://schemas.microsoft.com/office/drawing/2014/main" id="{DF4F3198-6D03-4B01-8605-E6D3169037B8}"/>
                </a:ext>
              </a:extLst>
            </p:cNvPr>
            <p:cNvCxnSpPr>
              <a:cxnSpLocks/>
              <a:stCxn id="874" idx="2"/>
              <a:endCxn id="875" idx="0"/>
            </p:cNvCxnSpPr>
            <p:nvPr/>
          </p:nvCxnSpPr>
          <p:spPr bwMode="gray">
            <a:xfrm>
              <a:off x="6247332" y="3348634"/>
              <a:ext cx="0" cy="423093"/>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1010" name="Straight Connector 1009">
              <a:extLst>
                <a:ext uri="{FF2B5EF4-FFF2-40B4-BE49-F238E27FC236}">
                  <a16:creationId xmlns:a16="http://schemas.microsoft.com/office/drawing/2014/main" id="{B1855E97-C86A-4DB8-8BE4-1602F7976C69}"/>
                </a:ext>
              </a:extLst>
            </p:cNvPr>
            <p:cNvCxnSpPr>
              <a:cxnSpLocks/>
              <a:stCxn id="876" idx="1"/>
              <a:endCxn id="874" idx="3"/>
            </p:cNvCxnSpPr>
            <p:nvPr/>
          </p:nvCxnSpPr>
          <p:spPr bwMode="gray">
            <a:xfrm flipH="1">
              <a:off x="6958493" y="3062964"/>
              <a:ext cx="527128"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1016" name="Connector: Elbow 1015">
              <a:extLst>
                <a:ext uri="{FF2B5EF4-FFF2-40B4-BE49-F238E27FC236}">
                  <a16:creationId xmlns:a16="http://schemas.microsoft.com/office/drawing/2014/main" id="{81BFA33B-73FB-4057-ADC8-84926AD786E7}"/>
                </a:ext>
              </a:extLst>
            </p:cNvPr>
            <p:cNvCxnSpPr>
              <a:cxnSpLocks/>
              <a:stCxn id="877" idx="1"/>
              <a:endCxn id="876" idx="2"/>
            </p:cNvCxnSpPr>
            <p:nvPr/>
          </p:nvCxnSpPr>
          <p:spPr bwMode="gray">
            <a:xfrm rot="10800000">
              <a:off x="8196783" y="3348635"/>
              <a:ext cx="1238287" cy="826953"/>
            </a:xfrm>
            <a:prstGeom prst="bentConnector2">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grpSp>
          <p:nvGrpSpPr>
            <p:cNvPr id="879" name="Group 878">
              <a:extLst>
                <a:ext uri="{FF2B5EF4-FFF2-40B4-BE49-F238E27FC236}">
                  <a16:creationId xmlns:a16="http://schemas.microsoft.com/office/drawing/2014/main" id="{BA361925-2A07-404F-AB67-1AD2ADA4DDCF}"/>
                </a:ext>
              </a:extLst>
            </p:cNvPr>
            <p:cNvGrpSpPr/>
            <p:nvPr/>
          </p:nvGrpSpPr>
          <p:grpSpPr bwMode="gray">
            <a:xfrm>
              <a:off x="1160023" y="4228927"/>
              <a:ext cx="269378" cy="289410"/>
              <a:chOff x="3835454" y="1348396"/>
              <a:chExt cx="978769" cy="1431457"/>
            </a:xfrm>
            <a:solidFill>
              <a:schemeClr val="accent5"/>
            </a:solidFill>
          </p:grpSpPr>
          <p:sp>
            <p:nvSpPr>
              <p:cNvPr id="880" name="Rounded Rectangle 1909">
                <a:extLst>
                  <a:ext uri="{FF2B5EF4-FFF2-40B4-BE49-F238E27FC236}">
                    <a16:creationId xmlns:a16="http://schemas.microsoft.com/office/drawing/2014/main" id="{1CBF8721-FC71-4910-A021-54C60A894A02}"/>
                  </a:ext>
                </a:extLst>
              </p:cNvPr>
              <p:cNvSpPr/>
              <p:nvPr/>
            </p:nvSpPr>
            <p:spPr bwMode="gray">
              <a:xfrm rot="9900000">
                <a:off x="4146181" y="1348396"/>
                <a:ext cx="320221" cy="1428916"/>
              </a:xfrm>
              <a:custGeom>
                <a:avLst/>
                <a:gdLst>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619 w 320221"/>
                  <a:gd name="connsiteY7" fmla="*/ 927105 h 1428913"/>
                  <a:gd name="connsiteX8" fmla="*/ 265096 w 320221"/>
                  <a:gd name="connsiteY8" fmla="*/ 1062901 h 1428913"/>
                  <a:gd name="connsiteX9" fmla="*/ 0 w 320221"/>
                  <a:gd name="connsiteY9"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096 w 320221"/>
                  <a:gd name="connsiteY7" fmla="*/ 1062901 h 1428913"/>
                  <a:gd name="connsiteX8" fmla="*/ 0 w 320221"/>
                  <a:gd name="connsiteY8"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366012 h 1428913"/>
                  <a:gd name="connsiteX4" fmla="*/ 320221 w 320221"/>
                  <a:gd name="connsiteY4" fmla="*/ 0 h 1428913"/>
                  <a:gd name="connsiteX5" fmla="*/ 265619 w 320221"/>
                  <a:gd name="connsiteY5" fmla="*/ 282462 h 1428913"/>
                  <a:gd name="connsiteX6" fmla="*/ 265096 w 320221"/>
                  <a:gd name="connsiteY6" fmla="*/ 1062901 h 1428913"/>
                  <a:gd name="connsiteX7" fmla="*/ 0 w 320221"/>
                  <a:gd name="connsiteY7"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0221" h="1428913">
                    <a:moveTo>
                      <a:pt x="0" y="1428913"/>
                    </a:moveTo>
                    <a:cubicBezTo>
                      <a:pt x="46713" y="1348346"/>
                      <a:pt x="54603" y="1249642"/>
                      <a:pt x="54602" y="1146451"/>
                    </a:cubicBezTo>
                    <a:cubicBezTo>
                      <a:pt x="63789" y="969301"/>
                      <a:pt x="55474" y="596654"/>
                      <a:pt x="55125" y="366012"/>
                    </a:cubicBezTo>
                    <a:cubicBezTo>
                      <a:pt x="55125" y="181332"/>
                      <a:pt x="159958" y="23654"/>
                      <a:pt x="320221" y="0"/>
                    </a:cubicBezTo>
                    <a:cubicBezTo>
                      <a:pt x="273508" y="80567"/>
                      <a:pt x="265619" y="179271"/>
                      <a:pt x="265619" y="282462"/>
                    </a:cubicBezTo>
                    <a:cubicBezTo>
                      <a:pt x="265445" y="542608"/>
                      <a:pt x="265270" y="802755"/>
                      <a:pt x="265096" y="1062901"/>
                    </a:cubicBezTo>
                    <a:cubicBezTo>
                      <a:pt x="265096" y="1247581"/>
                      <a:pt x="160263" y="1405259"/>
                      <a:pt x="0" y="1428913"/>
                    </a:cubicBezTo>
                    <a:close/>
                  </a:path>
                </a:pathLst>
              </a:custGeom>
              <a:grpFill/>
              <a:ln w="19050">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algn="ctr"/>
                <a:endParaRPr lang="en-US">
                  <a:solidFill>
                    <a:schemeClr val="tx1"/>
                  </a:solidFill>
                </a:endParaRPr>
              </a:p>
            </p:txBody>
          </p:sp>
          <p:sp>
            <p:nvSpPr>
              <p:cNvPr id="881" name="Rounded Rectangle 1909">
                <a:extLst>
                  <a:ext uri="{FF2B5EF4-FFF2-40B4-BE49-F238E27FC236}">
                    <a16:creationId xmlns:a16="http://schemas.microsoft.com/office/drawing/2014/main" id="{2A95623D-1D66-4C46-8518-830D2503D573}"/>
                  </a:ext>
                </a:extLst>
              </p:cNvPr>
              <p:cNvSpPr/>
              <p:nvPr/>
            </p:nvSpPr>
            <p:spPr bwMode="gray">
              <a:xfrm rot="9900000">
                <a:off x="4541652" y="1563579"/>
                <a:ext cx="272571" cy="1216274"/>
              </a:xfrm>
              <a:custGeom>
                <a:avLst/>
                <a:gdLst>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619 w 320221"/>
                  <a:gd name="connsiteY7" fmla="*/ 927105 h 1428913"/>
                  <a:gd name="connsiteX8" fmla="*/ 265096 w 320221"/>
                  <a:gd name="connsiteY8" fmla="*/ 1062901 h 1428913"/>
                  <a:gd name="connsiteX9" fmla="*/ 0 w 320221"/>
                  <a:gd name="connsiteY9"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096 w 320221"/>
                  <a:gd name="connsiteY7" fmla="*/ 1062901 h 1428913"/>
                  <a:gd name="connsiteX8" fmla="*/ 0 w 320221"/>
                  <a:gd name="connsiteY8"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366012 h 1428913"/>
                  <a:gd name="connsiteX4" fmla="*/ 320221 w 320221"/>
                  <a:gd name="connsiteY4" fmla="*/ 0 h 1428913"/>
                  <a:gd name="connsiteX5" fmla="*/ 265619 w 320221"/>
                  <a:gd name="connsiteY5" fmla="*/ 282462 h 1428913"/>
                  <a:gd name="connsiteX6" fmla="*/ 265096 w 320221"/>
                  <a:gd name="connsiteY6" fmla="*/ 1062901 h 1428913"/>
                  <a:gd name="connsiteX7" fmla="*/ 0 w 320221"/>
                  <a:gd name="connsiteY7"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0221" h="1428913">
                    <a:moveTo>
                      <a:pt x="0" y="1428913"/>
                    </a:moveTo>
                    <a:cubicBezTo>
                      <a:pt x="46713" y="1348346"/>
                      <a:pt x="54603" y="1249642"/>
                      <a:pt x="54602" y="1146451"/>
                    </a:cubicBezTo>
                    <a:cubicBezTo>
                      <a:pt x="63789" y="969301"/>
                      <a:pt x="55474" y="596654"/>
                      <a:pt x="55125" y="366012"/>
                    </a:cubicBezTo>
                    <a:cubicBezTo>
                      <a:pt x="55125" y="181332"/>
                      <a:pt x="159958" y="23654"/>
                      <a:pt x="320221" y="0"/>
                    </a:cubicBezTo>
                    <a:cubicBezTo>
                      <a:pt x="273508" y="80567"/>
                      <a:pt x="265619" y="179271"/>
                      <a:pt x="265619" y="282462"/>
                    </a:cubicBezTo>
                    <a:cubicBezTo>
                      <a:pt x="265445" y="542608"/>
                      <a:pt x="265270" y="802755"/>
                      <a:pt x="265096" y="1062901"/>
                    </a:cubicBezTo>
                    <a:cubicBezTo>
                      <a:pt x="265096" y="1247581"/>
                      <a:pt x="160263" y="1405259"/>
                      <a:pt x="0" y="1428913"/>
                    </a:cubicBezTo>
                    <a:close/>
                  </a:path>
                </a:pathLst>
              </a:custGeom>
              <a:grpFill/>
              <a:ln w="19050">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algn="ctr"/>
                <a:endParaRPr lang="en-US">
                  <a:solidFill>
                    <a:schemeClr val="tx1"/>
                  </a:solidFill>
                </a:endParaRPr>
              </a:p>
            </p:txBody>
          </p:sp>
          <p:sp>
            <p:nvSpPr>
              <p:cNvPr id="882" name="Rounded Rectangle 1909">
                <a:extLst>
                  <a:ext uri="{FF2B5EF4-FFF2-40B4-BE49-F238E27FC236}">
                    <a16:creationId xmlns:a16="http://schemas.microsoft.com/office/drawing/2014/main" id="{6431B6E6-4CD8-4FDD-935A-92356890CE37}"/>
                  </a:ext>
                </a:extLst>
              </p:cNvPr>
              <p:cNvSpPr/>
              <p:nvPr/>
            </p:nvSpPr>
            <p:spPr bwMode="gray">
              <a:xfrm rot="9900000">
                <a:off x="3835454" y="1563579"/>
                <a:ext cx="272571" cy="1216274"/>
              </a:xfrm>
              <a:custGeom>
                <a:avLst/>
                <a:gdLst>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619 w 320221"/>
                  <a:gd name="connsiteY7" fmla="*/ 927105 h 1428913"/>
                  <a:gd name="connsiteX8" fmla="*/ 265096 w 320221"/>
                  <a:gd name="connsiteY8" fmla="*/ 1062901 h 1428913"/>
                  <a:gd name="connsiteX9" fmla="*/ 0 w 320221"/>
                  <a:gd name="connsiteY9"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793571 h 1428913"/>
                  <a:gd name="connsiteX4" fmla="*/ 55125 w 320221"/>
                  <a:gd name="connsiteY4" fmla="*/ 366012 h 1428913"/>
                  <a:gd name="connsiteX5" fmla="*/ 320221 w 320221"/>
                  <a:gd name="connsiteY5" fmla="*/ 0 h 1428913"/>
                  <a:gd name="connsiteX6" fmla="*/ 265619 w 320221"/>
                  <a:gd name="connsiteY6" fmla="*/ 282462 h 1428913"/>
                  <a:gd name="connsiteX7" fmla="*/ 265096 w 320221"/>
                  <a:gd name="connsiteY7" fmla="*/ 1062901 h 1428913"/>
                  <a:gd name="connsiteX8" fmla="*/ 0 w 320221"/>
                  <a:gd name="connsiteY8" fmla="*/ 1428913 h 1428913"/>
                  <a:gd name="connsiteX0" fmla="*/ 0 w 320221"/>
                  <a:gd name="connsiteY0" fmla="*/ 1428913 h 1428913"/>
                  <a:gd name="connsiteX1" fmla="*/ 54602 w 320221"/>
                  <a:gd name="connsiteY1" fmla="*/ 1146451 h 1428913"/>
                  <a:gd name="connsiteX2" fmla="*/ 54603 w 320221"/>
                  <a:gd name="connsiteY2" fmla="*/ 793549 h 1428913"/>
                  <a:gd name="connsiteX3" fmla="*/ 55125 w 320221"/>
                  <a:gd name="connsiteY3" fmla="*/ 366012 h 1428913"/>
                  <a:gd name="connsiteX4" fmla="*/ 320221 w 320221"/>
                  <a:gd name="connsiteY4" fmla="*/ 0 h 1428913"/>
                  <a:gd name="connsiteX5" fmla="*/ 265619 w 320221"/>
                  <a:gd name="connsiteY5" fmla="*/ 282462 h 1428913"/>
                  <a:gd name="connsiteX6" fmla="*/ 265096 w 320221"/>
                  <a:gd name="connsiteY6" fmla="*/ 1062901 h 1428913"/>
                  <a:gd name="connsiteX7" fmla="*/ 0 w 320221"/>
                  <a:gd name="connsiteY7"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 name="connsiteX0" fmla="*/ 0 w 320221"/>
                  <a:gd name="connsiteY0" fmla="*/ 1428913 h 1428913"/>
                  <a:gd name="connsiteX1" fmla="*/ 54602 w 320221"/>
                  <a:gd name="connsiteY1" fmla="*/ 1146451 h 1428913"/>
                  <a:gd name="connsiteX2" fmla="*/ 55125 w 320221"/>
                  <a:gd name="connsiteY2" fmla="*/ 366012 h 1428913"/>
                  <a:gd name="connsiteX3" fmla="*/ 320221 w 320221"/>
                  <a:gd name="connsiteY3" fmla="*/ 0 h 1428913"/>
                  <a:gd name="connsiteX4" fmla="*/ 265619 w 320221"/>
                  <a:gd name="connsiteY4" fmla="*/ 282462 h 1428913"/>
                  <a:gd name="connsiteX5" fmla="*/ 265096 w 320221"/>
                  <a:gd name="connsiteY5" fmla="*/ 1062901 h 1428913"/>
                  <a:gd name="connsiteX6" fmla="*/ 0 w 320221"/>
                  <a:gd name="connsiteY6" fmla="*/ 1428913 h 142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0221" h="1428913">
                    <a:moveTo>
                      <a:pt x="0" y="1428913"/>
                    </a:moveTo>
                    <a:cubicBezTo>
                      <a:pt x="46713" y="1348346"/>
                      <a:pt x="54603" y="1249642"/>
                      <a:pt x="54602" y="1146451"/>
                    </a:cubicBezTo>
                    <a:cubicBezTo>
                      <a:pt x="63789" y="969301"/>
                      <a:pt x="55474" y="596654"/>
                      <a:pt x="55125" y="366012"/>
                    </a:cubicBezTo>
                    <a:cubicBezTo>
                      <a:pt x="55125" y="181332"/>
                      <a:pt x="159958" y="23654"/>
                      <a:pt x="320221" y="0"/>
                    </a:cubicBezTo>
                    <a:cubicBezTo>
                      <a:pt x="273508" y="80567"/>
                      <a:pt x="265619" y="179271"/>
                      <a:pt x="265619" y="282462"/>
                    </a:cubicBezTo>
                    <a:cubicBezTo>
                      <a:pt x="265445" y="542608"/>
                      <a:pt x="265270" y="802755"/>
                      <a:pt x="265096" y="1062901"/>
                    </a:cubicBezTo>
                    <a:cubicBezTo>
                      <a:pt x="265096" y="1247581"/>
                      <a:pt x="160263" y="1405259"/>
                      <a:pt x="0" y="1428913"/>
                    </a:cubicBezTo>
                    <a:close/>
                  </a:path>
                </a:pathLst>
              </a:custGeom>
              <a:grpFill/>
              <a:ln w="19050">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algn="ctr"/>
                <a:endParaRPr lang="en-US">
                  <a:solidFill>
                    <a:schemeClr val="tx1"/>
                  </a:solidFill>
                </a:endParaRPr>
              </a:p>
            </p:txBody>
          </p:sp>
        </p:grpSp>
        <p:sp>
          <p:nvSpPr>
            <p:cNvPr id="878" name="Freeform: Shape 877">
              <a:extLst>
                <a:ext uri="{FF2B5EF4-FFF2-40B4-BE49-F238E27FC236}">
                  <a16:creationId xmlns:a16="http://schemas.microsoft.com/office/drawing/2014/main" id="{FD0F1ED8-FD7E-4851-945A-D048A2233B0A}"/>
                </a:ext>
              </a:extLst>
            </p:cNvPr>
            <p:cNvSpPr/>
            <p:nvPr/>
          </p:nvSpPr>
          <p:spPr bwMode="gray">
            <a:xfrm>
              <a:off x="1126072" y="3886865"/>
              <a:ext cx="337280" cy="174142"/>
            </a:xfrm>
            <a:custGeom>
              <a:avLst/>
              <a:gdLst>
                <a:gd name="connsiteX0" fmla="*/ 509767 w 930190"/>
                <a:gd name="connsiteY0" fmla="*/ 0 h 336789"/>
                <a:gd name="connsiteX1" fmla="*/ 511596 w 930190"/>
                <a:gd name="connsiteY1" fmla="*/ 117 h 336789"/>
                <a:gd name="connsiteX2" fmla="*/ 512928 w 930190"/>
                <a:gd name="connsiteY2" fmla="*/ 1208 h 336789"/>
                <a:gd name="connsiteX3" fmla="*/ 513201 w 930190"/>
                <a:gd name="connsiteY3" fmla="*/ 2220 h 336789"/>
                <a:gd name="connsiteX4" fmla="*/ 513640 w 930190"/>
                <a:gd name="connsiteY4" fmla="*/ 2008 h 336789"/>
                <a:gd name="connsiteX5" fmla="*/ 515470 w 930190"/>
                <a:gd name="connsiteY5" fmla="*/ 2126 h 336789"/>
                <a:gd name="connsiteX6" fmla="*/ 515929 w 930190"/>
                <a:gd name="connsiteY6" fmla="*/ 2502 h 336789"/>
                <a:gd name="connsiteX7" fmla="*/ 517283 w 930190"/>
                <a:gd name="connsiteY7" fmla="*/ 2495 h 336789"/>
                <a:gd name="connsiteX8" fmla="*/ 518686 w 930190"/>
                <a:gd name="connsiteY8" fmla="*/ 3294 h 336789"/>
                <a:gd name="connsiteX9" fmla="*/ 518966 w 930190"/>
                <a:gd name="connsiteY9" fmla="*/ 3312 h 336789"/>
                <a:gd name="connsiteX10" fmla="*/ 519728 w 930190"/>
                <a:gd name="connsiteY10" fmla="*/ 2719 h 336789"/>
                <a:gd name="connsiteX11" fmla="*/ 521733 w 930190"/>
                <a:gd name="connsiteY11" fmla="*/ 2393 h 336789"/>
                <a:gd name="connsiteX12" fmla="*/ 523321 w 930190"/>
                <a:gd name="connsiteY12" fmla="*/ 3297 h 336789"/>
                <a:gd name="connsiteX13" fmla="*/ 523608 w 930190"/>
                <a:gd name="connsiteY13" fmla="*/ 4026 h 336789"/>
                <a:gd name="connsiteX14" fmla="*/ 524923 w 930190"/>
                <a:gd name="connsiteY14" fmla="*/ 4110 h 336789"/>
                <a:gd name="connsiteX15" fmla="*/ 526255 w 930190"/>
                <a:gd name="connsiteY15" fmla="*/ 5201 h 336789"/>
                <a:gd name="connsiteX16" fmla="*/ 526733 w 930190"/>
                <a:gd name="connsiteY16" fmla="*/ 6972 h 336789"/>
                <a:gd name="connsiteX17" fmla="*/ 526657 w 930190"/>
                <a:gd name="connsiteY17" fmla="*/ 7266 h 336789"/>
                <a:gd name="connsiteX18" fmla="*/ 527002 w 930190"/>
                <a:gd name="connsiteY18" fmla="*/ 7463 h 336789"/>
                <a:gd name="connsiteX19" fmla="*/ 529145 w 930190"/>
                <a:gd name="connsiteY19" fmla="*/ 5797 h 336789"/>
                <a:gd name="connsiteX20" fmla="*/ 534102 w 930190"/>
                <a:gd name="connsiteY20" fmla="*/ 4991 h 336789"/>
                <a:gd name="connsiteX21" fmla="*/ 538026 w 930190"/>
                <a:gd name="connsiteY21" fmla="*/ 7226 h 336789"/>
                <a:gd name="connsiteX22" fmla="*/ 538232 w 930190"/>
                <a:gd name="connsiteY22" fmla="*/ 7750 h 336789"/>
                <a:gd name="connsiteX23" fmla="*/ 538263 w 930190"/>
                <a:gd name="connsiteY23" fmla="*/ 7721 h 336789"/>
                <a:gd name="connsiteX24" fmla="*/ 540034 w 930190"/>
                <a:gd name="connsiteY24" fmla="*/ 7269 h 336789"/>
                <a:gd name="connsiteX25" fmla="*/ 541792 w 930190"/>
                <a:gd name="connsiteY25" fmla="*/ 7762 h 336789"/>
                <a:gd name="connsiteX26" fmla="*/ 542482 w 930190"/>
                <a:gd name="connsiteY26" fmla="*/ 8469 h 336789"/>
                <a:gd name="connsiteX27" fmla="*/ 544521 w 930190"/>
                <a:gd name="connsiteY27" fmla="*/ 7651 h 336789"/>
                <a:gd name="connsiteX28" fmla="*/ 546541 w 930190"/>
                <a:gd name="connsiteY28" fmla="*/ 7892 h 336789"/>
                <a:gd name="connsiteX29" fmla="*/ 547817 w 930190"/>
                <a:gd name="connsiteY29" fmla="*/ 9198 h 336789"/>
                <a:gd name="connsiteX30" fmla="*/ 547970 w 930190"/>
                <a:gd name="connsiteY30" fmla="*/ 10821 h 336789"/>
                <a:gd name="connsiteX31" fmla="*/ 548370 w 930190"/>
                <a:gd name="connsiteY31" fmla="*/ 10869 h 336789"/>
                <a:gd name="connsiteX32" fmla="*/ 549646 w 930190"/>
                <a:gd name="connsiteY32" fmla="*/ 12177 h 336789"/>
                <a:gd name="connsiteX33" fmla="*/ 549713 w 930190"/>
                <a:gd name="connsiteY33" fmla="*/ 12878 h 336789"/>
                <a:gd name="connsiteX34" fmla="*/ 549858 w 930190"/>
                <a:gd name="connsiteY34" fmla="*/ 12736 h 336789"/>
                <a:gd name="connsiteX35" fmla="*/ 552260 w 930190"/>
                <a:gd name="connsiteY35" fmla="*/ 12032 h 336789"/>
                <a:gd name="connsiteX36" fmla="*/ 554593 w 930190"/>
                <a:gd name="connsiteY36" fmla="*/ 12596 h 336789"/>
                <a:gd name="connsiteX37" fmla="*/ 556235 w 930190"/>
                <a:gd name="connsiteY37" fmla="*/ 14276 h 336789"/>
                <a:gd name="connsiteX38" fmla="*/ 556742 w 930190"/>
                <a:gd name="connsiteY38" fmla="*/ 16623 h 336789"/>
                <a:gd name="connsiteX39" fmla="*/ 556267 w 930190"/>
                <a:gd name="connsiteY39" fmla="*/ 18110 h 336789"/>
                <a:gd name="connsiteX40" fmla="*/ 558068 w 930190"/>
                <a:gd name="connsiteY40" fmla="*/ 19135 h 336789"/>
                <a:gd name="connsiteX41" fmla="*/ 558091 w 930190"/>
                <a:gd name="connsiteY41" fmla="*/ 19049 h 336789"/>
                <a:gd name="connsiteX42" fmla="*/ 561323 w 930190"/>
                <a:gd name="connsiteY42" fmla="*/ 15895 h 336789"/>
                <a:gd name="connsiteX43" fmla="*/ 565699 w 930190"/>
                <a:gd name="connsiteY43" fmla="*/ 14778 h 336789"/>
                <a:gd name="connsiteX44" fmla="*/ 570046 w 930190"/>
                <a:gd name="connsiteY44" fmla="*/ 15998 h 336789"/>
                <a:gd name="connsiteX45" fmla="*/ 571377 w 930190"/>
                <a:gd name="connsiteY45" fmla="*/ 17362 h 336789"/>
                <a:gd name="connsiteX46" fmla="*/ 578085 w 930190"/>
                <a:gd name="connsiteY46" fmla="*/ 17362 h 336789"/>
                <a:gd name="connsiteX47" fmla="*/ 579334 w 930190"/>
                <a:gd name="connsiteY47" fmla="*/ 17043 h 336789"/>
                <a:gd name="connsiteX48" fmla="*/ 580471 w 930190"/>
                <a:gd name="connsiteY48" fmla="*/ 17362 h 336789"/>
                <a:gd name="connsiteX49" fmla="*/ 586473 w 930190"/>
                <a:gd name="connsiteY49" fmla="*/ 17362 h 336789"/>
                <a:gd name="connsiteX50" fmla="*/ 588625 w 930190"/>
                <a:gd name="connsiteY50" fmla="*/ 18712 h 336789"/>
                <a:gd name="connsiteX51" fmla="*/ 590429 w 930190"/>
                <a:gd name="connsiteY51" fmla="*/ 17986 h 336789"/>
                <a:gd name="connsiteX52" fmla="*/ 595417 w 930190"/>
                <a:gd name="connsiteY52" fmla="*/ 18581 h 336789"/>
                <a:gd name="connsiteX53" fmla="*/ 598573 w 930190"/>
                <a:gd name="connsiteY53" fmla="*/ 21813 h 336789"/>
                <a:gd name="connsiteX54" fmla="*/ 598890 w 930190"/>
                <a:gd name="connsiteY54" fmla="*/ 25152 h 336789"/>
                <a:gd name="connsiteX55" fmla="*/ 601888 w 930190"/>
                <a:gd name="connsiteY55" fmla="*/ 27034 h 336789"/>
                <a:gd name="connsiteX56" fmla="*/ 602942 w 930190"/>
                <a:gd name="connsiteY56" fmla="*/ 29015 h 336789"/>
                <a:gd name="connsiteX57" fmla="*/ 603095 w 930190"/>
                <a:gd name="connsiteY57" fmla="*/ 29173 h 336789"/>
                <a:gd name="connsiteX58" fmla="*/ 603111 w 930190"/>
                <a:gd name="connsiteY58" fmla="*/ 29334 h 336789"/>
                <a:gd name="connsiteX59" fmla="*/ 603741 w 930190"/>
                <a:gd name="connsiteY59" fmla="*/ 30519 h 336789"/>
                <a:gd name="connsiteX60" fmla="*/ 609555 w 930190"/>
                <a:gd name="connsiteY60" fmla="*/ 28816 h 336789"/>
                <a:gd name="connsiteX61" fmla="*/ 615325 w 930190"/>
                <a:gd name="connsiteY61" fmla="*/ 30209 h 336789"/>
                <a:gd name="connsiteX62" fmla="*/ 619381 w 930190"/>
                <a:gd name="connsiteY62" fmla="*/ 34363 h 336789"/>
                <a:gd name="connsiteX63" fmla="*/ 620274 w 930190"/>
                <a:gd name="connsiteY63" fmla="*/ 38495 h 336789"/>
                <a:gd name="connsiteX64" fmla="*/ 627502 w 930190"/>
                <a:gd name="connsiteY64" fmla="*/ 38496 h 336789"/>
                <a:gd name="connsiteX65" fmla="*/ 642917 w 930190"/>
                <a:gd name="connsiteY65" fmla="*/ 48168 h 336789"/>
                <a:gd name="connsiteX66" fmla="*/ 650319 w 930190"/>
                <a:gd name="connsiteY66" fmla="*/ 62098 h 336789"/>
                <a:gd name="connsiteX67" fmla="*/ 657325 w 930190"/>
                <a:gd name="connsiteY67" fmla="*/ 57701 h 336789"/>
                <a:gd name="connsiteX68" fmla="*/ 675127 w 930190"/>
                <a:gd name="connsiteY68" fmla="*/ 57701 h 336789"/>
                <a:gd name="connsiteX69" fmla="*/ 690543 w 930190"/>
                <a:gd name="connsiteY69" fmla="*/ 67374 h 336789"/>
                <a:gd name="connsiteX70" fmla="*/ 692666 w 930190"/>
                <a:gd name="connsiteY70" fmla="*/ 71373 h 336789"/>
                <a:gd name="connsiteX71" fmla="*/ 701471 w 930190"/>
                <a:gd name="connsiteY71" fmla="*/ 65848 h 336789"/>
                <a:gd name="connsiteX72" fmla="*/ 719272 w 930190"/>
                <a:gd name="connsiteY72" fmla="*/ 65847 h 336789"/>
                <a:gd name="connsiteX73" fmla="*/ 734686 w 930190"/>
                <a:gd name="connsiteY73" fmla="*/ 75520 h 336789"/>
                <a:gd name="connsiteX74" fmla="*/ 743589 w 930190"/>
                <a:gd name="connsiteY74" fmla="*/ 92272 h 336789"/>
                <a:gd name="connsiteX75" fmla="*/ 743588 w 930190"/>
                <a:gd name="connsiteY75" fmla="*/ 108532 h 336789"/>
                <a:gd name="connsiteX76" fmla="*/ 746678 w 930190"/>
                <a:gd name="connsiteY76" fmla="*/ 109424 h 336789"/>
                <a:gd name="connsiteX77" fmla="*/ 755749 w 930190"/>
                <a:gd name="connsiteY77" fmla="*/ 118813 h 336789"/>
                <a:gd name="connsiteX78" fmla="*/ 757362 w 930190"/>
                <a:gd name="connsiteY78" fmla="*/ 124431 h 336789"/>
                <a:gd name="connsiteX79" fmla="*/ 771336 w 930190"/>
                <a:gd name="connsiteY79" fmla="*/ 130859 h 336789"/>
                <a:gd name="connsiteX80" fmla="*/ 777501 w 930190"/>
                <a:gd name="connsiteY80" fmla="*/ 129088 h 336789"/>
                <a:gd name="connsiteX81" fmla="*/ 792981 w 930190"/>
                <a:gd name="connsiteY81" fmla="*/ 136207 h 336789"/>
                <a:gd name="connsiteX82" fmla="*/ 805460 w 930190"/>
                <a:gd name="connsiteY82" fmla="*/ 152650 h 336789"/>
                <a:gd name="connsiteX83" fmla="*/ 811592 w 930190"/>
                <a:gd name="connsiteY83" fmla="*/ 174015 h 336789"/>
                <a:gd name="connsiteX84" fmla="*/ 810651 w 930190"/>
                <a:gd name="connsiteY84" fmla="*/ 184455 h 336789"/>
                <a:gd name="connsiteX85" fmla="*/ 824888 w 930190"/>
                <a:gd name="connsiteY85" fmla="*/ 188561 h 336789"/>
                <a:gd name="connsiteX86" fmla="*/ 838067 w 930190"/>
                <a:gd name="connsiteY86" fmla="*/ 202208 h 336789"/>
                <a:gd name="connsiteX87" fmla="*/ 839959 w 930190"/>
                <a:gd name="connsiteY87" fmla="*/ 208798 h 336789"/>
                <a:gd name="connsiteX88" fmla="*/ 844324 w 930190"/>
                <a:gd name="connsiteY88" fmla="*/ 209886 h 336789"/>
                <a:gd name="connsiteX89" fmla="*/ 858206 w 930190"/>
                <a:gd name="connsiteY89" fmla="*/ 223279 h 336789"/>
                <a:gd name="connsiteX90" fmla="*/ 859309 w 930190"/>
                <a:gd name="connsiteY90" fmla="*/ 227123 h 336789"/>
                <a:gd name="connsiteX91" fmla="*/ 862312 w 930190"/>
                <a:gd name="connsiteY91" fmla="*/ 229826 h 336789"/>
                <a:gd name="connsiteX92" fmla="*/ 862974 w 930190"/>
                <a:gd name="connsiteY92" fmla="*/ 231797 h 336789"/>
                <a:gd name="connsiteX93" fmla="*/ 866880 w 930190"/>
                <a:gd name="connsiteY93" fmla="*/ 229612 h 336789"/>
                <a:gd name="connsiteX94" fmla="*/ 874187 w 930190"/>
                <a:gd name="connsiteY94" fmla="*/ 230428 h 336789"/>
                <a:gd name="connsiteX95" fmla="*/ 880010 w 930190"/>
                <a:gd name="connsiteY95" fmla="*/ 235671 h 336789"/>
                <a:gd name="connsiteX96" fmla="*/ 882787 w 930190"/>
                <a:gd name="connsiteY96" fmla="*/ 243932 h 336789"/>
                <a:gd name="connsiteX97" fmla="*/ 881935 w 930190"/>
                <a:gd name="connsiteY97" fmla="*/ 251555 h 336789"/>
                <a:gd name="connsiteX98" fmla="*/ 883156 w 930190"/>
                <a:gd name="connsiteY98" fmla="*/ 252115 h 336789"/>
                <a:gd name="connsiteX99" fmla="*/ 886389 w 930190"/>
                <a:gd name="connsiteY99" fmla="*/ 256933 h 336789"/>
                <a:gd name="connsiteX100" fmla="*/ 886757 w 930190"/>
                <a:gd name="connsiteY100" fmla="*/ 259639 h 336789"/>
                <a:gd name="connsiteX101" fmla="*/ 892157 w 930190"/>
                <a:gd name="connsiteY101" fmla="*/ 263295 h 336789"/>
                <a:gd name="connsiteX102" fmla="*/ 894781 w 930190"/>
                <a:gd name="connsiteY102" fmla="*/ 262748 h 336789"/>
                <a:gd name="connsiteX103" fmla="*/ 900765 w 930190"/>
                <a:gd name="connsiteY103" fmla="*/ 266794 h 336789"/>
                <a:gd name="connsiteX104" fmla="*/ 905027 w 930190"/>
                <a:gd name="connsiteY104" fmla="*/ 275075 h 336789"/>
                <a:gd name="connsiteX105" fmla="*/ 906425 w 930190"/>
                <a:gd name="connsiteY105" fmla="*/ 285372 h 336789"/>
                <a:gd name="connsiteX106" fmla="*/ 905492 w 930190"/>
                <a:gd name="connsiteY106" fmla="*/ 290223 h 336789"/>
                <a:gd name="connsiteX107" fmla="*/ 911123 w 930190"/>
                <a:gd name="connsiteY107" fmla="*/ 292801 h 336789"/>
                <a:gd name="connsiteX108" fmla="*/ 915818 w 930190"/>
                <a:gd name="connsiteY108" fmla="*/ 299803 h 336789"/>
                <a:gd name="connsiteX109" fmla="*/ 916250 w 930190"/>
                <a:gd name="connsiteY109" fmla="*/ 302978 h 336789"/>
                <a:gd name="connsiteX110" fmla="*/ 917986 w 930190"/>
                <a:gd name="connsiteY110" fmla="*/ 303688 h 336789"/>
                <a:gd name="connsiteX111" fmla="*/ 922983 w 930190"/>
                <a:gd name="connsiteY111" fmla="*/ 310605 h 336789"/>
                <a:gd name="connsiteX112" fmla="*/ 924196 w 930190"/>
                <a:gd name="connsiteY112" fmla="*/ 319543 h 336789"/>
                <a:gd name="connsiteX113" fmla="*/ 923757 w 930190"/>
                <a:gd name="connsiteY113" fmla="*/ 320844 h 336789"/>
                <a:gd name="connsiteX114" fmla="*/ 923976 w 930190"/>
                <a:gd name="connsiteY114" fmla="*/ 320935 h 336789"/>
                <a:gd name="connsiteX115" fmla="*/ 928975 w 930190"/>
                <a:gd name="connsiteY115" fmla="*/ 327851 h 336789"/>
                <a:gd name="connsiteX116" fmla="*/ 930190 w 930190"/>
                <a:gd name="connsiteY116" fmla="*/ 336789 h 336789"/>
                <a:gd name="connsiteX117" fmla="*/ 0 w 930190"/>
                <a:gd name="connsiteY117" fmla="*/ 336789 h 336789"/>
                <a:gd name="connsiteX118" fmla="*/ 1215 w 930190"/>
                <a:gd name="connsiteY118" fmla="*/ 327852 h 336789"/>
                <a:gd name="connsiteX119" fmla="*/ 6212 w 930190"/>
                <a:gd name="connsiteY119" fmla="*/ 320934 h 336789"/>
                <a:gd name="connsiteX120" fmla="*/ 6432 w 930190"/>
                <a:gd name="connsiteY120" fmla="*/ 320844 h 336789"/>
                <a:gd name="connsiteX121" fmla="*/ 5993 w 930190"/>
                <a:gd name="connsiteY121" fmla="*/ 319542 h 336789"/>
                <a:gd name="connsiteX122" fmla="*/ 7206 w 930190"/>
                <a:gd name="connsiteY122" fmla="*/ 310606 h 336789"/>
                <a:gd name="connsiteX123" fmla="*/ 12205 w 930190"/>
                <a:gd name="connsiteY123" fmla="*/ 303688 h 336789"/>
                <a:gd name="connsiteX124" fmla="*/ 13940 w 930190"/>
                <a:gd name="connsiteY124" fmla="*/ 302979 h 336789"/>
                <a:gd name="connsiteX125" fmla="*/ 14372 w 930190"/>
                <a:gd name="connsiteY125" fmla="*/ 299802 h 336789"/>
                <a:gd name="connsiteX126" fmla="*/ 19067 w 930190"/>
                <a:gd name="connsiteY126" fmla="*/ 292801 h 336789"/>
                <a:gd name="connsiteX127" fmla="*/ 24698 w 930190"/>
                <a:gd name="connsiteY127" fmla="*/ 290223 h 336789"/>
                <a:gd name="connsiteX128" fmla="*/ 23765 w 930190"/>
                <a:gd name="connsiteY128" fmla="*/ 285372 h 336789"/>
                <a:gd name="connsiteX129" fmla="*/ 25163 w 930190"/>
                <a:gd name="connsiteY129" fmla="*/ 275075 h 336789"/>
                <a:gd name="connsiteX130" fmla="*/ 29425 w 930190"/>
                <a:gd name="connsiteY130" fmla="*/ 266795 h 336789"/>
                <a:gd name="connsiteX131" fmla="*/ 35408 w 930190"/>
                <a:gd name="connsiteY131" fmla="*/ 262747 h 336789"/>
                <a:gd name="connsiteX132" fmla="*/ 38032 w 930190"/>
                <a:gd name="connsiteY132" fmla="*/ 263295 h 336789"/>
                <a:gd name="connsiteX133" fmla="*/ 43432 w 930190"/>
                <a:gd name="connsiteY133" fmla="*/ 259640 h 336789"/>
                <a:gd name="connsiteX134" fmla="*/ 43800 w 930190"/>
                <a:gd name="connsiteY134" fmla="*/ 256932 h 336789"/>
                <a:gd name="connsiteX135" fmla="*/ 47033 w 930190"/>
                <a:gd name="connsiteY135" fmla="*/ 252113 h 336789"/>
                <a:gd name="connsiteX136" fmla="*/ 48255 w 930190"/>
                <a:gd name="connsiteY136" fmla="*/ 251555 h 336789"/>
                <a:gd name="connsiteX137" fmla="*/ 47403 w 930190"/>
                <a:gd name="connsiteY137" fmla="*/ 243931 h 336789"/>
                <a:gd name="connsiteX138" fmla="*/ 50180 w 930190"/>
                <a:gd name="connsiteY138" fmla="*/ 235670 h 336789"/>
                <a:gd name="connsiteX139" fmla="*/ 56002 w 930190"/>
                <a:gd name="connsiteY139" fmla="*/ 230428 h 336789"/>
                <a:gd name="connsiteX140" fmla="*/ 63310 w 930190"/>
                <a:gd name="connsiteY140" fmla="*/ 229613 h 336789"/>
                <a:gd name="connsiteX141" fmla="*/ 67216 w 930190"/>
                <a:gd name="connsiteY141" fmla="*/ 231797 h 336789"/>
                <a:gd name="connsiteX142" fmla="*/ 67877 w 930190"/>
                <a:gd name="connsiteY142" fmla="*/ 229827 h 336789"/>
                <a:gd name="connsiteX143" fmla="*/ 73701 w 930190"/>
                <a:gd name="connsiteY143" fmla="*/ 224584 h 336789"/>
                <a:gd name="connsiteX144" fmla="*/ 76226 w 930190"/>
                <a:gd name="connsiteY144" fmla="*/ 224303 h 336789"/>
                <a:gd name="connsiteX145" fmla="*/ 80244 w 930190"/>
                <a:gd name="connsiteY145" fmla="*/ 220138 h 336789"/>
                <a:gd name="connsiteX146" fmla="*/ 86873 w 930190"/>
                <a:gd name="connsiteY146" fmla="*/ 218235 h 336789"/>
                <a:gd name="connsiteX147" fmla="*/ 87760 w 930190"/>
                <a:gd name="connsiteY147" fmla="*/ 217436 h 336789"/>
                <a:gd name="connsiteX148" fmla="*/ 88223 w 930190"/>
                <a:gd name="connsiteY148" fmla="*/ 213338 h 336789"/>
                <a:gd name="connsiteX149" fmla="*/ 93215 w 930190"/>
                <a:gd name="connsiteY149" fmla="*/ 206232 h 336789"/>
                <a:gd name="connsiteX150" fmla="*/ 100717 w 930190"/>
                <a:gd name="connsiteY150" fmla="*/ 204079 h 336789"/>
                <a:gd name="connsiteX151" fmla="*/ 103796 w 930190"/>
                <a:gd name="connsiteY151" fmla="*/ 205379 h 336789"/>
                <a:gd name="connsiteX152" fmla="*/ 107986 w 930190"/>
                <a:gd name="connsiteY152" fmla="*/ 201607 h 336789"/>
                <a:gd name="connsiteX153" fmla="*/ 115295 w 930190"/>
                <a:gd name="connsiteY153" fmla="*/ 200789 h 336789"/>
                <a:gd name="connsiteX154" fmla="*/ 122130 w 930190"/>
                <a:gd name="connsiteY154" fmla="*/ 204617 h 336789"/>
                <a:gd name="connsiteX155" fmla="*/ 122807 w 930190"/>
                <a:gd name="connsiteY155" fmla="*/ 205726 h 336789"/>
                <a:gd name="connsiteX156" fmla="*/ 124435 w 930190"/>
                <a:gd name="connsiteY156" fmla="*/ 205259 h 336789"/>
                <a:gd name="connsiteX157" fmla="*/ 125737 w 930190"/>
                <a:gd name="connsiteY157" fmla="*/ 193737 h 336789"/>
                <a:gd name="connsiteX158" fmla="*/ 138076 w 930190"/>
                <a:gd name="connsiteY158" fmla="*/ 176175 h 336789"/>
                <a:gd name="connsiteX159" fmla="*/ 156621 w 930190"/>
                <a:gd name="connsiteY159" fmla="*/ 170851 h 336789"/>
                <a:gd name="connsiteX160" fmla="*/ 158836 w 930190"/>
                <a:gd name="connsiteY160" fmla="*/ 171786 h 336789"/>
                <a:gd name="connsiteX161" fmla="*/ 158836 w 930190"/>
                <a:gd name="connsiteY161" fmla="*/ 171605 h 336789"/>
                <a:gd name="connsiteX162" fmla="*/ 162739 w 930190"/>
                <a:gd name="connsiteY162" fmla="*/ 164847 h 336789"/>
                <a:gd name="connsiteX163" fmla="*/ 169497 w 930190"/>
                <a:gd name="connsiteY163" fmla="*/ 160943 h 336789"/>
                <a:gd name="connsiteX164" fmla="*/ 173717 w 930190"/>
                <a:gd name="connsiteY164" fmla="*/ 160943 h 336789"/>
                <a:gd name="connsiteX165" fmla="*/ 177304 w 930190"/>
                <a:gd name="connsiteY165" fmla="*/ 152266 h 336789"/>
                <a:gd name="connsiteX166" fmla="*/ 184062 w 930190"/>
                <a:gd name="connsiteY166" fmla="*/ 146813 h 336789"/>
                <a:gd name="connsiteX167" fmla="*/ 191868 w 930190"/>
                <a:gd name="connsiteY167" fmla="*/ 146814 h 336789"/>
                <a:gd name="connsiteX168" fmla="*/ 197289 w 930190"/>
                <a:gd name="connsiteY168" fmla="*/ 151187 h 336789"/>
                <a:gd name="connsiteX169" fmla="*/ 198626 w 930190"/>
                <a:gd name="connsiteY169" fmla="*/ 150110 h 336789"/>
                <a:gd name="connsiteX170" fmla="*/ 206433 w 930190"/>
                <a:gd name="connsiteY170" fmla="*/ 150109 h 336789"/>
                <a:gd name="connsiteX171" fmla="*/ 208774 w 930190"/>
                <a:gd name="connsiteY171" fmla="*/ 151997 h 336789"/>
                <a:gd name="connsiteX172" fmla="*/ 208774 w 930190"/>
                <a:gd name="connsiteY172" fmla="*/ 151131 h 336789"/>
                <a:gd name="connsiteX173" fmla="*/ 213790 w 930190"/>
                <a:gd name="connsiteY173" fmla="*/ 141690 h 336789"/>
                <a:gd name="connsiteX174" fmla="*/ 222482 w 930190"/>
                <a:gd name="connsiteY174" fmla="*/ 136236 h 336789"/>
                <a:gd name="connsiteX175" fmla="*/ 232515 w 930190"/>
                <a:gd name="connsiteY175" fmla="*/ 136237 h 336789"/>
                <a:gd name="connsiteX176" fmla="*/ 241206 w 930190"/>
                <a:gd name="connsiteY176" fmla="*/ 141689 h 336789"/>
                <a:gd name="connsiteX177" fmla="*/ 244335 w 930190"/>
                <a:gd name="connsiteY177" fmla="*/ 147579 h 336789"/>
                <a:gd name="connsiteX178" fmla="*/ 252841 w 930190"/>
                <a:gd name="connsiteY178" fmla="*/ 145137 h 336789"/>
                <a:gd name="connsiteX179" fmla="*/ 252649 w 930190"/>
                <a:gd name="connsiteY179" fmla="*/ 144806 h 336789"/>
                <a:gd name="connsiteX180" fmla="*/ 252648 w 930190"/>
                <a:gd name="connsiteY180" fmla="*/ 125514 h 336789"/>
                <a:gd name="connsiteX181" fmla="*/ 262297 w 930190"/>
                <a:gd name="connsiteY181" fmla="*/ 108807 h 336789"/>
                <a:gd name="connsiteX182" fmla="*/ 272073 w 930190"/>
                <a:gd name="connsiteY182" fmla="*/ 103162 h 336789"/>
                <a:gd name="connsiteX183" fmla="*/ 272116 w 930190"/>
                <a:gd name="connsiteY183" fmla="*/ 102836 h 336789"/>
                <a:gd name="connsiteX184" fmla="*/ 273216 w 930190"/>
                <a:gd name="connsiteY184" fmla="*/ 101197 h 336789"/>
                <a:gd name="connsiteX185" fmla="*/ 274533 w 930190"/>
                <a:gd name="connsiteY185" fmla="*/ 100594 h 336789"/>
                <a:gd name="connsiteX186" fmla="*/ 274316 w 930190"/>
                <a:gd name="connsiteY186" fmla="*/ 99459 h 336789"/>
                <a:gd name="connsiteX187" fmla="*/ 274643 w 930190"/>
                <a:gd name="connsiteY187" fmla="*/ 97048 h 336789"/>
                <a:gd name="connsiteX188" fmla="*/ 275640 w 930190"/>
                <a:gd name="connsiteY188" fmla="*/ 95110 h 336789"/>
                <a:gd name="connsiteX189" fmla="*/ 277041 w 930190"/>
                <a:gd name="connsiteY189" fmla="*/ 94163 h 336789"/>
                <a:gd name="connsiteX190" fmla="*/ 277654 w 930190"/>
                <a:gd name="connsiteY190" fmla="*/ 94290 h 336789"/>
                <a:gd name="connsiteX191" fmla="*/ 278918 w 930190"/>
                <a:gd name="connsiteY191" fmla="*/ 93436 h 336789"/>
                <a:gd name="connsiteX192" fmla="*/ 279005 w 930190"/>
                <a:gd name="connsiteY192" fmla="*/ 92801 h 336789"/>
                <a:gd name="connsiteX193" fmla="*/ 279761 w 930190"/>
                <a:gd name="connsiteY193" fmla="*/ 91674 h 336789"/>
                <a:gd name="connsiteX194" fmla="*/ 280047 w 930190"/>
                <a:gd name="connsiteY194" fmla="*/ 91543 h 336789"/>
                <a:gd name="connsiteX195" fmla="*/ 279848 w 930190"/>
                <a:gd name="connsiteY195" fmla="*/ 89759 h 336789"/>
                <a:gd name="connsiteX196" fmla="*/ 280498 w 930190"/>
                <a:gd name="connsiteY196" fmla="*/ 87825 h 336789"/>
                <a:gd name="connsiteX197" fmla="*/ 281861 w 930190"/>
                <a:gd name="connsiteY197" fmla="*/ 86598 h 336789"/>
                <a:gd name="connsiteX198" fmla="*/ 283572 w 930190"/>
                <a:gd name="connsiteY198" fmla="*/ 86407 h 336789"/>
                <a:gd name="connsiteX199" fmla="*/ 284485 w 930190"/>
                <a:gd name="connsiteY199" fmla="*/ 86919 h 336789"/>
                <a:gd name="connsiteX200" fmla="*/ 284641 w 930190"/>
                <a:gd name="connsiteY200" fmla="*/ 86457 h 336789"/>
                <a:gd name="connsiteX201" fmla="*/ 286003 w 930190"/>
                <a:gd name="connsiteY201" fmla="*/ 85231 h 336789"/>
                <a:gd name="connsiteX202" fmla="*/ 286594 w 930190"/>
                <a:gd name="connsiteY202" fmla="*/ 85164 h 336789"/>
                <a:gd name="connsiteX203" fmla="*/ 287535 w 930190"/>
                <a:gd name="connsiteY203" fmla="*/ 84189 h 336789"/>
                <a:gd name="connsiteX204" fmla="*/ 289086 w 930190"/>
                <a:gd name="connsiteY204" fmla="*/ 83744 h 336789"/>
                <a:gd name="connsiteX205" fmla="*/ 289295 w 930190"/>
                <a:gd name="connsiteY205" fmla="*/ 83557 h 336789"/>
                <a:gd name="connsiteX206" fmla="*/ 289403 w 930190"/>
                <a:gd name="connsiteY206" fmla="*/ 82598 h 336789"/>
                <a:gd name="connsiteX207" fmla="*/ 290571 w 930190"/>
                <a:gd name="connsiteY207" fmla="*/ 80934 h 336789"/>
                <a:gd name="connsiteX208" fmla="*/ 292328 w 930190"/>
                <a:gd name="connsiteY208" fmla="*/ 80430 h 336789"/>
                <a:gd name="connsiteX209" fmla="*/ 293047 w 930190"/>
                <a:gd name="connsiteY209" fmla="*/ 80735 h 336789"/>
                <a:gd name="connsiteX210" fmla="*/ 294028 w 930190"/>
                <a:gd name="connsiteY210" fmla="*/ 79852 h 336789"/>
                <a:gd name="connsiteX211" fmla="*/ 295739 w 930190"/>
                <a:gd name="connsiteY211" fmla="*/ 79661 h 336789"/>
                <a:gd name="connsiteX212" fmla="*/ 297340 w 930190"/>
                <a:gd name="connsiteY212" fmla="*/ 80557 h 336789"/>
                <a:gd name="connsiteX213" fmla="*/ 297498 w 930190"/>
                <a:gd name="connsiteY213" fmla="*/ 80816 h 336789"/>
                <a:gd name="connsiteX214" fmla="*/ 297878 w 930190"/>
                <a:gd name="connsiteY214" fmla="*/ 80707 h 336789"/>
                <a:gd name="connsiteX215" fmla="*/ 298184 w 930190"/>
                <a:gd name="connsiteY215" fmla="*/ 78011 h 336789"/>
                <a:gd name="connsiteX216" fmla="*/ 301071 w 930190"/>
                <a:gd name="connsiteY216" fmla="*/ 73900 h 336789"/>
                <a:gd name="connsiteX217" fmla="*/ 305411 w 930190"/>
                <a:gd name="connsiteY217" fmla="*/ 72653 h 336789"/>
                <a:gd name="connsiteX218" fmla="*/ 305930 w 930190"/>
                <a:gd name="connsiteY218" fmla="*/ 72872 h 336789"/>
                <a:gd name="connsiteX219" fmla="*/ 305931 w 930190"/>
                <a:gd name="connsiteY219" fmla="*/ 72830 h 336789"/>
                <a:gd name="connsiteX220" fmla="*/ 306844 w 930190"/>
                <a:gd name="connsiteY220" fmla="*/ 71248 h 336789"/>
                <a:gd name="connsiteX221" fmla="*/ 308426 w 930190"/>
                <a:gd name="connsiteY221" fmla="*/ 70335 h 336789"/>
                <a:gd name="connsiteX222" fmla="*/ 309414 w 930190"/>
                <a:gd name="connsiteY222" fmla="*/ 70335 h 336789"/>
                <a:gd name="connsiteX223" fmla="*/ 310254 w 930190"/>
                <a:gd name="connsiteY223" fmla="*/ 68303 h 336789"/>
                <a:gd name="connsiteX224" fmla="*/ 311836 w 930190"/>
                <a:gd name="connsiteY224" fmla="*/ 67027 h 336789"/>
                <a:gd name="connsiteX225" fmla="*/ 313662 w 930190"/>
                <a:gd name="connsiteY225" fmla="*/ 67027 h 336789"/>
                <a:gd name="connsiteX226" fmla="*/ 314932 w 930190"/>
                <a:gd name="connsiteY226" fmla="*/ 68051 h 336789"/>
                <a:gd name="connsiteX227" fmla="*/ 315245 w 930190"/>
                <a:gd name="connsiteY227" fmla="*/ 67798 h 336789"/>
                <a:gd name="connsiteX228" fmla="*/ 317072 w 930190"/>
                <a:gd name="connsiteY228" fmla="*/ 67798 h 336789"/>
                <a:gd name="connsiteX229" fmla="*/ 317620 w 930190"/>
                <a:gd name="connsiteY229" fmla="*/ 68241 h 336789"/>
                <a:gd name="connsiteX230" fmla="*/ 317620 w 930190"/>
                <a:gd name="connsiteY230" fmla="*/ 68038 h 336789"/>
                <a:gd name="connsiteX231" fmla="*/ 318793 w 930190"/>
                <a:gd name="connsiteY231" fmla="*/ 65827 h 336789"/>
                <a:gd name="connsiteX232" fmla="*/ 320828 w 930190"/>
                <a:gd name="connsiteY232" fmla="*/ 64551 h 336789"/>
                <a:gd name="connsiteX233" fmla="*/ 323176 w 930190"/>
                <a:gd name="connsiteY233" fmla="*/ 64551 h 336789"/>
                <a:gd name="connsiteX234" fmla="*/ 324567 w 930190"/>
                <a:gd name="connsiteY234" fmla="*/ 65424 h 336789"/>
                <a:gd name="connsiteX235" fmla="*/ 326627 w 930190"/>
                <a:gd name="connsiteY235" fmla="*/ 64234 h 336789"/>
                <a:gd name="connsiteX236" fmla="*/ 327889 w 930190"/>
                <a:gd name="connsiteY236" fmla="*/ 64234 h 336789"/>
                <a:gd name="connsiteX237" fmla="*/ 327889 w 930190"/>
                <a:gd name="connsiteY237" fmla="*/ 62042 h 336789"/>
                <a:gd name="connsiteX238" fmla="*/ 330146 w 930190"/>
                <a:gd name="connsiteY238" fmla="*/ 58131 h 336789"/>
                <a:gd name="connsiteX239" fmla="*/ 334057 w 930190"/>
                <a:gd name="connsiteY239" fmla="*/ 55873 h 336789"/>
                <a:gd name="connsiteX240" fmla="*/ 338573 w 930190"/>
                <a:gd name="connsiteY240" fmla="*/ 55874 h 336789"/>
                <a:gd name="connsiteX241" fmla="*/ 339036 w 930190"/>
                <a:gd name="connsiteY241" fmla="*/ 56141 h 336789"/>
                <a:gd name="connsiteX242" fmla="*/ 339037 w 930190"/>
                <a:gd name="connsiteY242" fmla="*/ 53867 h 336789"/>
                <a:gd name="connsiteX243" fmla="*/ 341294 w 930190"/>
                <a:gd name="connsiteY243" fmla="*/ 49956 h 336789"/>
                <a:gd name="connsiteX244" fmla="*/ 343481 w 930190"/>
                <a:gd name="connsiteY244" fmla="*/ 48694 h 336789"/>
                <a:gd name="connsiteX245" fmla="*/ 345922 w 930190"/>
                <a:gd name="connsiteY245" fmla="*/ 42785 h 336789"/>
                <a:gd name="connsiteX246" fmla="*/ 362628 w 930190"/>
                <a:gd name="connsiteY246" fmla="*/ 29309 h 336789"/>
                <a:gd name="connsiteX247" fmla="*/ 381922 w 930190"/>
                <a:gd name="connsiteY247" fmla="*/ 29310 h 336789"/>
                <a:gd name="connsiteX248" fmla="*/ 391120 w 930190"/>
                <a:gd name="connsiteY248" fmla="*/ 36729 h 336789"/>
                <a:gd name="connsiteX249" fmla="*/ 394588 w 930190"/>
                <a:gd name="connsiteY249" fmla="*/ 34726 h 336789"/>
                <a:gd name="connsiteX250" fmla="*/ 397029 w 930190"/>
                <a:gd name="connsiteY250" fmla="*/ 34726 h 336789"/>
                <a:gd name="connsiteX251" fmla="*/ 399104 w 930190"/>
                <a:gd name="connsiteY251" fmla="*/ 29707 h 336789"/>
                <a:gd name="connsiteX252" fmla="*/ 403014 w 930190"/>
                <a:gd name="connsiteY252" fmla="*/ 26552 h 336789"/>
                <a:gd name="connsiteX253" fmla="*/ 407530 w 930190"/>
                <a:gd name="connsiteY253" fmla="*/ 26552 h 336789"/>
                <a:gd name="connsiteX254" fmla="*/ 410667 w 930190"/>
                <a:gd name="connsiteY254" fmla="*/ 29082 h 336789"/>
                <a:gd name="connsiteX255" fmla="*/ 411440 w 930190"/>
                <a:gd name="connsiteY255" fmla="*/ 28459 h 336789"/>
                <a:gd name="connsiteX256" fmla="*/ 415956 w 930190"/>
                <a:gd name="connsiteY256" fmla="*/ 28459 h 336789"/>
                <a:gd name="connsiteX257" fmla="*/ 417311 w 930190"/>
                <a:gd name="connsiteY257" fmla="*/ 29551 h 336789"/>
                <a:gd name="connsiteX258" fmla="*/ 417311 w 930190"/>
                <a:gd name="connsiteY258" fmla="*/ 29050 h 336789"/>
                <a:gd name="connsiteX259" fmla="*/ 420213 w 930190"/>
                <a:gd name="connsiteY259" fmla="*/ 23587 h 336789"/>
                <a:gd name="connsiteX260" fmla="*/ 425241 w 930190"/>
                <a:gd name="connsiteY260" fmla="*/ 20432 h 336789"/>
                <a:gd name="connsiteX261" fmla="*/ 431047 w 930190"/>
                <a:gd name="connsiteY261" fmla="*/ 20433 h 336789"/>
                <a:gd name="connsiteX262" fmla="*/ 433333 w 930190"/>
                <a:gd name="connsiteY262" fmla="*/ 21867 h 336789"/>
                <a:gd name="connsiteX263" fmla="*/ 436110 w 930190"/>
                <a:gd name="connsiteY263" fmla="*/ 16643 h 336789"/>
                <a:gd name="connsiteX264" fmla="*/ 457591 w 930190"/>
                <a:gd name="connsiteY264" fmla="*/ 3166 h 336789"/>
                <a:gd name="connsiteX265" fmla="*/ 482393 w 930190"/>
                <a:gd name="connsiteY265" fmla="*/ 3166 h 336789"/>
                <a:gd name="connsiteX266" fmla="*/ 487924 w 930190"/>
                <a:gd name="connsiteY266" fmla="*/ 6636 h 336789"/>
                <a:gd name="connsiteX267" fmla="*/ 488297 w 930190"/>
                <a:gd name="connsiteY267" fmla="*/ 6580 h 336789"/>
                <a:gd name="connsiteX268" fmla="*/ 488348 w 930190"/>
                <a:gd name="connsiteY268" fmla="*/ 6602 h 336789"/>
                <a:gd name="connsiteX269" fmla="*/ 488495 w 930190"/>
                <a:gd name="connsiteY269" fmla="*/ 6315 h 336789"/>
                <a:gd name="connsiteX270" fmla="*/ 490189 w 930190"/>
                <a:gd name="connsiteY270" fmla="*/ 5056 h 336789"/>
                <a:gd name="connsiteX271" fmla="*/ 492166 w 930190"/>
                <a:gd name="connsiteY271" fmla="*/ 4763 h 336789"/>
                <a:gd name="connsiteX272" fmla="*/ 492568 w 930190"/>
                <a:gd name="connsiteY272" fmla="*/ 4937 h 336789"/>
                <a:gd name="connsiteX273" fmla="*/ 493171 w 930190"/>
                <a:gd name="connsiteY273" fmla="*/ 4490 h 336789"/>
                <a:gd name="connsiteX274" fmla="*/ 495111 w 930190"/>
                <a:gd name="connsiteY274" fmla="*/ 4131 h 336789"/>
                <a:gd name="connsiteX275" fmla="*/ 496464 w 930190"/>
                <a:gd name="connsiteY275" fmla="*/ 4653 h 336789"/>
                <a:gd name="connsiteX276" fmla="*/ 497123 w 930190"/>
                <a:gd name="connsiteY276" fmla="*/ 3703 h 336789"/>
                <a:gd name="connsiteX277" fmla="*/ 499076 w 930190"/>
                <a:gd name="connsiteY277" fmla="*/ 2254 h 336789"/>
                <a:gd name="connsiteX278" fmla="*/ 501161 w 930190"/>
                <a:gd name="connsiteY278" fmla="*/ 1614 h 336789"/>
                <a:gd name="connsiteX279" fmla="*/ 502817 w 930190"/>
                <a:gd name="connsiteY279" fmla="*/ 1954 h 336789"/>
                <a:gd name="connsiteX280" fmla="*/ 503153 w 930190"/>
                <a:gd name="connsiteY280" fmla="*/ 2482 h 336789"/>
                <a:gd name="connsiteX281" fmla="*/ 504650 w 930190"/>
                <a:gd name="connsiteY281" fmla="*/ 2789 h 336789"/>
                <a:gd name="connsiteX282" fmla="*/ 505163 w 930190"/>
                <a:gd name="connsiteY282" fmla="*/ 2408 h 336789"/>
                <a:gd name="connsiteX283" fmla="*/ 506499 w 930190"/>
                <a:gd name="connsiteY283" fmla="*/ 2162 h 336789"/>
                <a:gd name="connsiteX284" fmla="*/ 506792 w 930190"/>
                <a:gd name="connsiteY284" fmla="*/ 2275 h 336789"/>
                <a:gd name="connsiteX285" fmla="*/ 507928 w 930190"/>
                <a:gd name="connsiteY285" fmla="*/ 886 h 33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930190" h="336789">
                  <a:moveTo>
                    <a:pt x="509767" y="0"/>
                  </a:moveTo>
                  <a:lnTo>
                    <a:pt x="511596" y="117"/>
                  </a:lnTo>
                  <a:lnTo>
                    <a:pt x="512928" y="1208"/>
                  </a:lnTo>
                  <a:lnTo>
                    <a:pt x="513201" y="2220"/>
                  </a:lnTo>
                  <a:lnTo>
                    <a:pt x="513640" y="2008"/>
                  </a:lnTo>
                  <a:lnTo>
                    <a:pt x="515470" y="2126"/>
                  </a:lnTo>
                  <a:lnTo>
                    <a:pt x="515929" y="2502"/>
                  </a:lnTo>
                  <a:lnTo>
                    <a:pt x="517283" y="2495"/>
                  </a:lnTo>
                  <a:lnTo>
                    <a:pt x="518686" y="3294"/>
                  </a:lnTo>
                  <a:lnTo>
                    <a:pt x="518966" y="3312"/>
                  </a:lnTo>
                  <a:cubicBezTo>
                    <a:pt x="519220" y="3115"/>
                    <a:pt x="519474" y="2917"/>
                    <a:pt x="519728" y="2719"/>
                  </a:cubicBezTo>
                  <a:lnTo>
                    <a:pt x="521733" y="2393"/>
                  </a:lnTo>
                  <a:lnTo>
                    <a:pt x="523321" y="3297"/>
                  </a:lnTo>
                  <a:lnTo>
                    <a:pt x="523608" y="4026"/>
                  </a:lnTo>
                  <a:lnTo>
                    <a:pt x="524923" y="4110"/>
                  </a:lnTo>
                  <a:lnTo>
                    <a:pt x="526255" y="5201"/>
                  </a:lnTo>
                  <a:lnTo>
                    <a:pt x="526733" y="6972"/>
                  </a:lnTo>
                  <a:lnTo>
                    <a:pt x="526657" y="7266"/>
                  </a:lnTo>
                  <a:lnTo>
                    <a:pt x="527002" y="7463"/>
                  </a:lnTo>
                  <a:cubicBezTo>
                    <a:pt x="527716" y="6907"/>
                    <a:pt x="528430" y="6352"/>
                    <a:pt x="529145" y="5797"/>
                  </a:cubicBezTo>
                  <a:lnTo>
                    <a:pt x="534102" y="4991"/>
                  </a:lnTo>
                  <a:lnTo>
                    <a:pt x="538026" y="7226"/>
                  </a:lnTo>
                  <a:lnTo>
                    <a:pt x="538232" y="7750"/>
                  </a:lnTo>
                  <a:cubicBezTo>
                    <a:pt x="538243" y="7740"/>
                    <a:pt x="538253" y="7731"/>
                    <a:pt x="538263" y="7721"/>
                  </a:cubicBezTo>
                  <a:lnTo>
                    <a:pt x="540034" y="7269"/>
                  </a:lnTo>
                  <a:lnTo>
                    <a:pt x="541792" y="7762"/>
                  </a:lnTo>
                  <a:lnTo>
                    <a:pt x="542482" y="8469"/>
                  </a:lnTo>
                  <a:lnTo>
                    <a:pt x="544521" y="7651"/>
                  </a:lnTo>
                  <a:lnTo>
                    <a:pt x="546541" y="7892"/>
                  </a:lnTo>
                  <a:lnTo>
                    <a:pt x="547817" y="9198"/>
                  </a:lnTo>
                  <a:lnTo>
                    <a:pt x="547970" y="10821"/>
                  </a:lnTo>
                  <a:lnTo>
                    <a:pt x="548370" y="10869"/>
                  </a:lnTo>
                  <a:lnTo>
                    <a:pt x="549646" y="12177"/>
                  </a:lnTo>
                  <a:lnTo>
                    <a:pt x="549713" y="12878"/>
                  </a:lnTo>
                  <a:lnTo>
                    <a:pt x="549858" y="12736"/>
                  </a:lnTo>
                  <a:lnTo>
                    <a:pt x="552260" y="12032"/>
                  </a:lnTo>
                  <a:lnTo>
                    <a:pt x="554593" y="12596"/>
                  </a:lnTo>
                  <a:lnTo>
                    <a:pt x="556235" y="14276"/>
                  </a:lnTo>
                  <a:lnTo>
                    <a:pt x="556742" y="16623"/>
                  </a:lnTo>
                  <a:lnTo>
                    <a:pt x="556267" y="18110"/>
                  </a:lnTo>
                  <a:lnTo>
                    <a:pt x="558068" y="19135"/>
                  </a:lnTo>
                  <a:lnTo>
                    <a:pt x="558091" y="19049"/>
                  </a:lnTo>
                  <a:lnTo>
                    <a:pt x="561323" y="15895"/>
                  </a:lnTo>
                  <a:lnTo>
                    <a:pt x="565699" y="14778"/>
                  </a:lnTo>
                  <a:lnTo>
                    <a:pt x="570046" y="15998"/>
                  </a:lnTo>
                  <a:lnTo>
                    <a:pt x="571377" y="17362"/>
                  </a:lnTo>
                  <a:lnTo>
                    <a:pt x="578085" y="17362"/>
                  </a:lnTo>
                  <a:lnTo>
                    <a:pt x="579334" y="17043"/>
                  </a:lnTo>
                  <a:lnTo>
                    <a:pt x="580471" y="17362"/>
                  </a:lnTo>
                  <a:lnTo>
                    <a:pt x="586473" y="17362"/>
                  </a:lnTo>
                  <a:lnTo>
                    <a:pt x="588625" y="18712"/>
                  </a:lnTo>
                  <a:lnTo>
                    <a:pt x="590429" y="17986"/>
                  </a:lnTo>
                  <a:lnTo>
                    <a:pt x="595417" y="18581"/>
                  </a:lnTo>
                  <a:lnTo>
                    <a:pt x="598573" y="21813"/>
                  </a:lnTo>
                  <a:lnTo>
                    <a:pt x="598890" y="25152"/>
                  </a:lnTo>
                  <a:lnTo>
                    <a:pt x="601888" y="27034"/>
                  </a:lnTo>
                  <a:lnTo>
                    <a:pt x="602942" y="29015"/>
                  </a:lnTo>
                  <a:lnTo>
                    <a:pt x="603095" y="29173"/>
                  </a:lnTo>
                  <a:lnTo>
                    <a:pt x="603111" y="29334"/>
                  </a:lnTo>
                  <a:lnTo>
                    <a:pt x="603741" y="30519"/>
                  </a:lnTo>
                  <a:lnTo>
                    <a:pt x="609555" y="28816"/>
                  </a:lnTo>
                  <a:lnTo>
                    <a:pt x="615325" y="30209"/>
                  </a:lnTo>
                  <a:lnTo>
                    <a:pt x="619381" y="34363"/>
                  </a:lnTo>
                  <a:lnTo>
                    <a:pt x="620274" y="38495"/>
                  </a:lnTo>
                  <a:lnTo>
                    <a:pt x="627502" y="38496"/>
                  </a:lnTo>
                  <a:lnTo>
                    <a:pt x="642917" y="48168"/>
                  </a:lnTo>
                  <a:lnTo>
                    <a:pt x="650319" y="62098"/>
                  </a:lnTo>
                  <a:lnTo>
                    <a:pt x="657325" y="57701"/>
                  </a:lnTo>
                  <a:lnTo>
                    <a:pt x="675127" y="57701"/>
                  </a:lnTo>
                  <a:lnTo>
                    <a:pt x="690543" y="67374"/>
                  </a:lnTo>
                  <a:lnTo>
                    <a:pt x="692666" y="71373"/>
                  </a:lnTo>
                  <a:lnTo>
                    <a:pt x="701471" y="65848"/>
                  </a:lnTo>
                  <a:lnTo>
                    <a:pt x="719272" y="65847"/>
                  </a:lnTo>
                  <a:lnTo>
                    <a:pt x="734686" y="75520"/>
                  </a:lnTo>
                  <a:lnTo>
                    <a:pt x="743589" y="92272"/>
                  </a:lnTo>
                  <a:lnTo>
                    <a:pt x="743588" y="108532"/>
                  </a:lnTo>
                  <a:lnTo>
                    <a:pt x="746678" y="109424"/>
                  </a:lnTo>
                  <a:lnTo>
                    <a:pt x="755749" y="118813"/>
                  </a:lnTo>
                  <a:lnTo>
                    <a:pt x="757362" y="124431"/>
                  </a:lnTo>
                  <a:lnTo>
                    <a:pt x="771336" y="130859"/>
                  </a:lnTo>
                  <a:lnTo>
                    <a:pt x="777501" y="129088"/>
                  </a:lnTo>
                  <a:lnTo>
                    <a:pt x="792981" y="136207"/>
                  </a:lnTo>
                  <a:lnTo>
                    <a:pt x="805460" y="152650"/>
                  </a:lnTo>
                  <a:lnTo>
                    <a:pt x="811592" y="174015"/>
                  </a:lnTo>
                  <a:cubicBezTo>
                    <a:pt x="811278" y="177496"/>
                    <a:pt x="810966" y="180976"/>
                    <a:pt x="810651" y="184455"/>
                  </a:cubicBezTo>
                  <a:lnTo>
                    <a:pt x="824888" y="188561"/>
                  </a:lnTo>
                  <a:lnTo>
                    <a:pt x="838067" y="202208"/>
                  </a:lnTo>
                  <a:lnTo>
                    <a:pt x="839959" y="208798"/>
                  </a:lnTo>
                  <a:lnTo>
                    <a:pt x="844324" y="209886"/>
                  </a:lnTo>
                  <a:lnTo>
                    <a:pt x="858206" y="223279"/>
                  </a:lnTo>
                  <a:lnTo>
                    <a:pt x="859309" y="227123"/>
                  </a:lnTo>
                  <a:lnTo>
                    <a:pt x="862312" y="229826"/>
                  </a:lnTo>
                  <a:lnTo>
                    <a:pt x="862974" y="231797"/>
                  </a:lnTo>
                  <a:lnTo>
                    <a:pt x="866880" y="229612"/>
                  </a:lnTo>
                  <a:lnTo>
                    <a:pt x="874187" y="230428"/>
                  </a:lnTo>
                  <a:lnTo>
                    <a:pt x="880010" y="235671"/>
                  </a:lnTo>
                  <a:lnTo>
                    <a:pt x="882787" y="243932"/>
                  </a:lnTo>
                  <a:lnTo>
                    <a:pt x="881935" y="251555"/>
                  </a:lnTo>
                  <a:lnTo>
                    <a:pt x="883156" y="252115"/>
                  </a:lnTo>
                  <a:lnTo>
                    <a:pt x="886389" y="256933"/>
                  </a:lnTo>
                  <a:lnTo>
                    <a:pt x="886757" y="259639"/>
                  </a:lnTo>
                  <a:lnTo>
                    <a:pt x="892157" y="263295"/>
                  </a:lnTo>
                  <a:lnTo>
                    <a:pt x="894781" y="262748"/>
                  </a:lnTo>
                  <a:lnTo>
                    <a:pt x="900765" y="266794"/>
                  </a:lnTo>
                  <a:lnTo>
                    <a:pt x="905027" y="275075"/>
                  </a:lnTo>
                  <a:lnTo>
                    <a:pt x="906425" y="285372"/>
                  </a:lnTo>
                  <a:cubicBezTo>
                    <a:pt x="906114" y="286988"/>
                    <a:pt x="905803" y="288606"/>
                    <a:pt x="905492" y="290223"/>
                  </a:cubicBezTo>
                  <a:lnTo>
                    <a:pt x="911123" y="292801"/>
                  </a:lnTo>
                  <a:lnTo>
                    <a:pt x="915818" y="299803"/>
                  </a:lnTo>
                  <a:lnTo>
                    <a:pt x="916250" y="302978"/>
                  </a:lnTo>
                  <a:lnTo>
                    <a:pt x="917986" y="303688"/>
                  </a:lnTo>
                  <a:lnTo>
                    <a:pt x="922983" y="310605"/>
                  </a:lnTo>
                  <a:lnTo>
                    <a:pt x="924196" y="319543"/>
                  </a:lnTo>
                  <a:cubicBezTo>
                    <a:pt x="924050" y="319977"/>
                    <a:pt x="923904" y="320410"/>
                    <a:pt x="923757" y="320844"/>
                  </a:cubicBezTo>
                  <a:lnTo>
                    <a:pt x="923976" y="320935"/>
                  </a:lnTo>
                  <a:lnTo>
                    <a:pt x="928975" y="327851"/>
                  </a:lnTo>
                  <a:lnTo>
                    <a:pt x="930190" y="336789"/>
                  </a:lnTo>
                  <a:lnTo>
                    <a:pt x="0" y="336789"/>
                  </a:lnTo>
                  <a:cubicBezTo>
                    <a:pt x="405" y="333809"/>
                    <a:pt x="810" y="330831"/>
                    <a:pt x="1215" y="327852"/>
                  </a:cubicBezTo>
                  <a:lnTo>
                    <a:pt x="6212" y="320934"/>
                  </a:lnTo>
                  <a:lnTo>
                    <a:pt x="6432" y="320844"/>
                  </a:lnTo>
                  <a:lnTo>
                    <a:pt x="5993" y="319542"/>
                  </a:lnTo>
                  <a:lnTo>
                    <a:pt x="7206" y="310606"/>
                  </a:lnTo>
                  <a:lnTo>
                    <a:pt x="12205" y="303688"/>
                  </a:lnTo>
                  <a:lnTo>
                    <a:pt x="13940" y="302979"/>
                  </a:lnTo>
                  <a:cubicBezTo>
                    <a:pt x="14084" y="301920"/>
                    <a:pt x="14228" y="300861"/>
                    <a:pt x="14372" y="299802"/>
                  </a:cubicBezTo>
                  <a:lnTo>
                    <a:pt x="19067" y="292801"/>
                  </a:lnTo>
                  <a:lnTo>
                    <a:pt x="24698" y="290223"/>
                  </a:lnTo>
                  <a:lnTo>
                    <a:pt x="23765" y="285372"/>
                  </a:lnTo>
                  <a:cubicBezTo>
                    <a:pt x="24231" y="281939"/>
                    <a:pt x="24697" y="278507"/>
                    <a:pt x="25163" y="275075"/>
                  </a:cubicBezTo>
                  <a:lnTo>
                    <a:pt x="29425" y="266795"/>
                  </a:lnTo>
                  <a:lnTo>
                    <a:pt x="35408" y="262747"/>
                  </a:lnTo>
                  <a:lnTo>
                    <a:pt x="38032" y="263295"/>
                  </a:lnTo>
                  <a:lnTo>
                    <a:pt x="43432" y="259640"/>
                  </a:lnTo>
                  <a:cubicBezTo>
                    <a:pt x="43556" y="258736"/>
                    <a:pt x="43677" y="257834"/>
                    <a:pt x="43800" y="256932"/>
                  </a:cubicBezTo>
                  <a:lnTo>
                    <a:pt x="47033" y="252113"/>
                  </a:lnTo>
                  <a:lnTo>
                    <a:pt x="48255" y="251555"/>
                  </a:lnTo>
                  <a:lnTo>
                    <a:pt x="47403" y="243931"/>
                  </a:lnTo>
                  <a:lnTo>
                    <a:pt x="50180" y="235670"/>
                  </a:lnTo>
                  <a:lnTo>
                    <a:pt x="56002" y="230428"/>
                  </a:lnTo>
                  <a:lnTo>
                    <a:pt x="63310" y="229613"/>
                  </a:lnTo>
                  <a:lnTo>
                    <a:pt x="67216" y="231797"/>
                  </a:lnTo>
                  <a:lnTo>
                    <a:pt x="67877" y="229827"/>
                  </a:lnTo>
                  <a:lnTo>
                    <a:pt x="73701" y="224584"/>
                  </a:lnTo>
                  <a:lnTo>
                    <a:pt x="76226" y="224303"/>
                  </a:lnTo>
                  <a:lnTo>
                    <a:pt x="80244" y="220138"/>
                  </a:lnTo>
                  <a:lnTo>
                    <a:pt x="86873" y="218235"/>
                  </a:lnTo>
                  <a:lnTo>
                    <a:pt x="87760" y="217436"/>
                  </a:lnTo>
                  <a:cubicBezTo>
                    <a:pt x="87914" y="216070"/>
                    <a:pt x="88068" y="214704"/>
                    <a:pt x="88223" y="213338"/>
                  </a:cubicBezTo>
                  <a:lnTo>
                    <a:pt x="93215" y="206232"/>
                  </a:lnTo>
                  <a:lnTo>
                    <a:pt x="100717" y="204079"/>
                  </a:lnTo>
                  <a:lnTo>
                    <a:pt x="103796" y="205379"/>
                  </a:lnTo>
                  <a:lnTo>
                    <a:pt x="107986" y="201607"/>
                  </a:lnTo>
                  <a:lnTo>
                    <a:pt x="115295" y="200789"/>
                  </a:lnTo>
                  <a:lnTo>
                    <a:pt x="122130" y="204617"/>
                  </a:lnTo>
                  <a:lnTo>
                    <a:pt x="122807" y="205726"/>
                  </a:lnTo>
                  <a:lnTo>
                    <a:pt x="124435" y="205259"/>
                  </a:lnTo>
                  <a:cubicBezTo>
                    <a:pt x="124869" y="201418"/>
                    <a:pt x="125303" y="197578"/>
                    <a:pt x="125737" y="193737"/>
                  </a:cubicBezTo>
                  <a:lnTo>
                    <a:pt x="138076" y="176175"/>
                  </a:lnTo>
                  <a:lnTo>
                    <a:pt x="156621" y="170851"/>
                  </a:lnTo>
                  <a:lnTo>
                    <a:pt x="158836" y="171786"/>
                  </a:lnTo>
                  <a:cubicBezTo>
                    <a:pt x="158835" y="171727"/>
                    <a:pt x="158837" y="171667"/>
                    <a:pt x="158836" y="171605"/>
                  </a:cubicBezTo>
                  <a:lnTo>
                    <a:pt x="162739" y="164847"/>
                  </a:lnTo>
                  <a:lnTo>
                    <a:pt x="169497" y="160943"/>
                  </a:lnTo>
                  <a:lnTo>
                    <a:pt x="173717" y="160943"/>
                  </a:lnTo>
                  <a:lnTo>
                    <a:pt x="177304" y="152266"/>
                  </a:lnTo>
                  <a:lnTo>
                    <a:pt x="184062" y="146813"/>
                  </a:lnTo>
                  <a:lnTo>
                    <a:pt x="191868" y="146814"/>
                  </a:lnTo>
                  <a:lnTo>
                    <a:pt x="197289" y="151187"/>
                  </a:lnTo>
                  <a:lnTo>
                    <a:pt x="198626" y="150110"/>
                  </a:lnTo>
                  <a:lnTo>
                    <a:pt x="206433" y="150109"/>
                  </a:lnTo>
                  <a:lnTo>
                    <a:pt x="208774" y="151997"/>
                  </a:lnTo>
                  <a:lnTo>
                    <a:pt x="208774" y="151131"/>
                  </a:lnTo>
                  <a:lnTo>
                    <a:pt x="213790" y="141690"/>
                  </a:lnTo>
                  <a:lnTo>
                    <a:pt x="222482" y="136236"/>
                  </a:lnTo>
                  <a:lnTo>
                    <a:pt x="232515" y="136237"/>
                  </a:lnTo>
                  <a:lnTo>
                    <a:pt x="241206" y="141689"/>
                  </a:lnTo>
                  <a:lnTo>
                    <a:pt x="244335" y="147579"/>
                  </a:lnTo>
                  <a:lnTo>
                    <a:pt x="252841" y="145137"/>
                  </a:lnTo>
                  <a:lnTo>
                    <a:pt x="252649" y="144806"/>
                  </a:lnTo>
                  <a:lnTo>
                    <a:pt x="252648" y="125514"/>
                  </a:lnTo>
                  <a:lnTo>
                    <a:pt x="262297" y="108807"/>
                  </a:lnTo>
                  <a:lnTo>
                    <a:pt x="272073" y="103162"/>
                  </a:lnTo>
                  <a:lnTo>
                    <a:pt x="272116" y="102836"/>
                  </a:lnTo>
                  <a:lnTo>
                    <a:pt x="273216" y="101197"/>
                  </a:lnTo>
                  <a:lnTo>
                    <a:pt x="274533" y="100594"/>
                  </a:lnTo>
                  <a:lnTo>
                    <a:pt x="274316" y="99459"/>
                  </a:lnTo>
                  <a:cubicBezTo>
                    <a:pt x="274425" y="98655"/>
                    <a:pt x="274534" y="97852"/>
                    <a:pt x="274643" y="97048"/>
                  </a:cubicBezTo>
                  <a:lnTo>
                    <a:pt x="275640" y="95110"/>
                  </a:lnTo>
                  <a:lnTo>
                    <a:pt x="277041" y="94163"/>
                  </a:lnTo>
                  <a:lnTo>
                    <a:pt x="277654" y="94290"/>
                  </a:lnTo>
                  <a:lnTo>
                    <a:pt x="278918" y="93436"/>
                  </a:lnTo>
                  <a:cubicBezTo>
                    <a:pt x="278948" y="93225"/>
                    <a:pt x="278976" y="93013"/>
                    <a:pt x="279005" y="92801"/>
                  </a:cubicBezTo>
                  <a:lnTo>
                    <a:pt x="279761" y="91674"/>
                  </a:lnTo>
                  <a:lnTo>
                    <a:pt x="280047" y="91543"/>
                  </a:lnTo>
                  <a:lnTo>
                    <a:pt x="279848" y="89759"/>
                  </a:lnTo>
                  <a:lnTo>
                    <a:pt x="280498" y="87825"/>
                  </a:lnTo>
                  <a:lnTo>
                    <a:pt x="281861" y="86598"/>
                  </a:lnTo>
                  <a:lnTo>
                    <a:pt x="283572" y="86407"/>
                  </a:lnTo>
                  <a:lnTo>
                    <a:pt x="284485" y="86919"/>
                  </a:lnTo>
                  <a:lnTo>
                    <a:pt x="284641" y="86457"/>
                  </a:lnTo>
                  <a:lnTo>
                    <a:pt x="286003" y="85231"/>
                  </a:lnTo>
                  <a:lnTo>
                    <a:pt x="286594" y="85164"/>
                  </a:lnTo>
                  <a:lnTo>
                    <a:pt x="287535" y="84189"/>
                  </a:lnTo>
                  <a:lnTo>
                    <a:pt x="289086" y="83744"/>
                  </a:lnTo>
                  <a:lnTo>
                    <a:pt x="289295" y="83557"/>
                  </a:lnTo>
                  <a:cubicBezTo>
                    <a:pt x="289330" y="83238"/>
                    <a:pt x="289366" y="82918"/>
                    <a:pt x="289403" y="82598"/>
                  </a:cubicBezTo>
                  <a:lnTo>
                    <a:pt x="290571" y="80934"/>
                  </a:lnTo>
                  <a:lnTo>
                    <a:pt x="292328" y="80430"/>
                  </a:lnTo>
                  <a:lnTo>
                    <a:pt x="293047" y="80735"/>
                  </a:lnTo>
                  <a:lnTo>
                    <a:pt x="294028" y="79852"/>
                  </a:lnTo>
                  <a:lnTo>
                    <a:pt x="295739" y="79661"/>
                  </a:lnTo>
                  <a:lnTo>
                    <a:pt x="297340" y="80557"/>
                  </a:lnTo>
                  <a:lnTo>
                    <a:pt x="297498" y="80816"/>
                  </a:lnTo>
                  <a:lnTo>
                    <a:pt x="297878" y="80707"/>
                  </a:lnTo>
                  <a:cubicBezTo>
                    <a:pt x="297981" y="79808"/>
                    <a:pt x="298081" y="78909"/>
                    <a:pt x="298184" y="78011"/>
                  </a:cubicBezTo>
                  <a:lnTo>
                    <a:pt x="301071" y="73900"/>
                  </a:lnTo>
                  <a:lnTo>
                    <a:pt x="305411" y="72653"/>
                  </a:lnTo>
                  <a:lnTo>
                    <a:pt x="305930" y="72872"/>
                  </a:lnTo>
                  <a:cubicBezTo>
                    <a:pt x="305931" y="72858"/>
                    <a:pt x="305931" y="72844"/>
                    <a:pt x="305931" y="72830"/>
                  </a:cubicBezTo>
                  <a:lnTo>
                    <a:pt x="306844" y="71248"/>
                  </a:lnTo>
                  <a:lnTo>
                    <a:pt x="308426" y="70335"/>
                  </a:lnTo>
                  <a:lnTo>
                    <a:pt x="309414" y="70335"/>
                  </a:lnTo>
                  <a:lnTo>
                    <a:pt x="310254" y="68303"/>
                  </a:lnTo>
                  <a:lnTo>
                    <a:pt x="311836" y="67027"/>
                  </a:lnTo>
                  <a:lnTo>
                    <a:pt x="313662" y="67027"/>
                  </a:lnTo>
                  <a:lnTo>
                    <a:pt x="314932" y="68051"/>
                  </a:lnTo>
                  <a:lnTo>
                    <a:pt x="315245" y="67798"/>
                  </a:lnTo>
                  <a:lnTo>
                    <a:pt x="317072" y="67798"/>
                  </a:lnTo>
                  <a:lnTo>
                    <a:pt x="317620" y="68241"/>
                  </a:lnTo>
                  <a:lnTo>
                    <a:pt x="317620" y="68038"/>
                  </a:lnTo>
                  <a:lnTo>
                    <a:pt x="318793" y="65827"/>
                  </a:lnTo>
                  <a:lnTo>
                    <a:pt x="320828" y="64551"/>
                  </a:lnTo>
                  <a:lnTo>
                    <a:pt x="323176" y="64551"/>
                  </a:lnTo>
                  <a:lnTo>
                    <a:pt x="324567" y="65424"/>
                  </a:lnTo>
                  <a:lnTo>
                    <a:pt x="326627" y="64234"/>
                  </a:lnTo>
                  <a:lnTo>
                    <a:pt x="327889" y="64234"/>
                  </a:lnTo>
                  <a:lnTo>
                    <a:pt x="327889" y="62042"/>
                  </a:lnTo>
                  <a:lnTo>
                    <a:pt x="330146" y="58131"/>
                  </a:lnTo>
                  <a:lnTo>
                    <a:pt x="334057" y="55873"/>
                  </a:lnTo>
                  <a:lnTo>
                    <a:pt x="338573" y="55874"/>
                  </a:lnTo>
                  <a:lnTo>
                    <a:pt x="339036" y="56141"/>
                  </a:lnTo>
                  <a:lnTo>
                    <a:pt x="339037" y="53867"/>
                  </a:lnTo>
                  <a:lnTo>
                    <a:pt x="341294" y="49956"/>
                  </a:lnTo>
                  <a:lnTo>
                    <a:pt x="343481" y="48694"/>
                  </a:lnTo>
                  <a:lnTo>
                    <a:pt x="345922" y="42785"/>
                  </a:lnTo>
                  <a:lnTo>
                    <a:pt x="362628" y="29309"/>
                  </a:lnTo>
                  <a:lnTo>
                    <a:pt x="381922" y="29310"/>
                  </a:lnTo>
                  <a:lnTo>
                    <a:pt x="391120" y="36729"/>
                  </a:lnTo>
                  <a:lnTo>
                    <a:pt x="394588" y="34726"/>
                  </a:lnTo>
                  <a:lnTo>
                    <a:pt x="397029" y="34726"/>
                  </a:lnTo>
                  <a:lnTo>
                    <a:pt x="399104" y="29707"/>
                  </a:lnTo>
                  <a:lnTo>
                    <a:pt x="403014" y="26552"/>
                  </a:lnTo>
                  <a:lnTo>
                    <a:pt x="407530" y="26552"/>
                  </a:lnTo>
                  <a:lnTo>
                    <a:pt x="410667" y="29082"/>
                  </a:lnTo>
                  <a:lnTo>
                    <a:pt x="411440" y="28459"/>
                  </a:lnTo>
                  <a:lnTo>
                    <a:pt x="415956" y="28459"/>
                  </a:lnTo>
                  <a:lnTo>
                    <a:pt x="417311" y="29551"/>
                  </a:lnTo>
                  <a:cubicBezTo>
                    <a:pt x="417310" y="29384"/>
                    <a:pt x="417311" y="29217"/>
                    <a:pt x="417311" y="29050"/>
                  </a:cubicBezTo>
                  <a:lnTo>
                    <a:pt x="420213" y="23587"/>
                  </a:lnTo>
                  <a:lnTo>
                    <a:pt x="425241" y="20432"/>
                  </a:lnTo>
                  <a:lnTo>
                    <a:pt x="431047" y="20433"/>
                  </a:lnTo>
                  <a:lnTo>
                    <a:pt x="433333" y="21867"/>
                  </a:lnTo>
                  <a:lnTo>
                    <a:pt x="436110" y="16643"/>
                  </a:lnTo>
                  <a:lnTo>
                    <a:pt x="457591" y="3166"/>
                  </a:lnTo>
                  <a:lnTo>
                    <a:pt x="482393" y="3166"/>
                  </a:lnTo>
                  <a:lnTo>
                    <a:pt x="487924" y="6636"/>
                  </a:lnTo>
                  <a:lnTo>
                    <a:pt x="488297" y="6580"/>
                  </a:lnTo>
                  <a:lnTo>
                    <a:pt x="488348" y="6602"/>
                  </a:lnTo>
                  <a:lnTo>
                    <a:pt x="488495" y="6315"/>
                  </a:lnTo>
                  <a:lnTo>
                    <a:pt x="490189" y="5056"/>
                  </a:lnTo>
                  <a:lnTo>
                    <a:pt x="492166" y="4763"/>
                  </a:lnTo>
                  <a:lnTo>
                    <a:pt x="492568" y="4937"/>
                  </a:lnTo>
                  <a:cubicBezTo>
                    <a:pt x="492770" y="4788"/>
                    <a:pt x="492971" y="4639"/>
                    <a:pt x="493171" y="4490"/>
                  </a:cubicBezTo>
                  <a:lnTo>
                    <a:pt x="495111" y="4131"/>
                  </a:lnTo>
                  <a:lnTo>
                    <a:pt x="496464" y="4653"/>
                  </a:lnTo>
                  <a:lnTo>
                    <a:pt x="497123" y="3703"/>
                  </a:lnTo>
                  <a:cubicBezTo>
                    <a:pt x="497775" y="3221"/>
                    <a:pt x="498426" y="2737"/>
                    <a:pt x="499076" y="2254"/>
                  </a:cubicBezTo>
                  <a:lnTo>
                    <a:pt x="501161" y="1614"/>
                  </a:lnTo>
                  <a:lnTo>
                    <a:pt x="502817" y="1954"/>
                  </a:lnTo>
                  <a:lnTo>
                    <a:pt x="503153" y="2482"/>
                  </a:lnTo>
                  <a:lnTo>
                    <a:pt x="504650" y="2789"/>
                  </a:lnTo>
                  <a:cubicBezTo>
                    <a:pt x="504821" y="2663"/>
                    <a:pt x="504992" y="2536"/>
                    <a:pt x="505163" y="2408"/>
                  </a:cubicBezTo>
                  <a:lnTo>
                    <a:pt x="506499" y="2162"/>
                  </a:lnTo>
                  <a:lnTo>
                    <a:pt x="506792" y="2275"/>
                  </a:lnTo>
                  <a:lnTo>
                    <a:pt x="507928" y="886"/>
                  </a:lnTo>
                  <a:close/>
                </a:path>
              </a:pathLst>
            </a:custGeom>
            <a:solidFill>
              <a:schemeClr val="accent5"/>
            </a:solidFill>
            <a:ln w="19050">
              <a:solidFill>
                <a:schemeClr val="tx1"/>
              </a:solidFill>
              <a:prstDash val="solid"/>
              <a:round/>
              <a:headEnd/>
              <a:tailEnd/>
            </a:ln>
            <a:extLst/>
          </p:spPr>
          <p:txBody>
            <a:bodyPr vert="horz" wrap="square" lIns="0" tIns="0" rIns="0" bIns="0" numCol="1" anchor="t" anchorCtr="0" compatLnSpc="1">
              <a:prstTxWarp prst="textNoShape">
                <a:avLst/>
              </a:prstTxWarp>
            </a:bodyPr>
            <a:lstStyle/>
            <a:p>
              <a:pPr algn="ctr"/>
              <a:endParaRPr lang="en-US" sz="1000">
                <a:solidFill>
                  <a:schemeClr val="tx1"/>
                </a:solidFill>
              </a:endParaRPr>
            </a:p>
          </p:txBody>
        </p:sp>
        <p:grpSp>
          <p:nvGrpSpPr>
            <p:cNvPr id="887" name="Group 886">
              <a:extLst>
                <a:ext uri="{FF2B5EF4-FFF2-40B4-BE49-F238E27FC236}">
                  <a16:creationId xmlns:a16="http://schemas.microsoft.com/office/drawing/2014/main" id="{35ED41C9-7AFC-43B6-BDAA-8A8F9F3FF052}"/>
                </a:ext>
              </a:extLst>
            </p:cNvPr>
            <p:cNvGrpSpPr/>
            <p:nvPr/>
          </p:nvGrpSpPr>
          <p:grpSpPr bwMode="gray">
            <a:xfrm>
              <a:off x="11145069" y="4202783"/>
              <a:ext cx="107385" cy="347753"/>
              <a:chOff x="4799974" y="1885422"/>
              <a:chExt cx="107385" cy="347753"/>
            </a:xfrm>
            <a:solidFill>
              <a:schemeClr val="accent5"/>
            </a:solidFill>
          </p:grpSpPr>
          <p:grpSp>
            <p:nvGrpSpPr>
              <p:cNvPr id="888" name="Group 887">
                <a:extLst>
                  <a:ext uri="{FF2B5EF4-FFF2-40B4-BE49-F238E27FC236}">
                    <a16:creationId xmlns:a16="http://schemas.microsoft.com/office/drawing/2014/main" id="{FA7FAFF8-277D-40C7-9AE7-003F7C400C8F}"/>
                  </a:ext>
                </a:extLst>
              </p:cNvPr>
              <p:cNvGrpSpPr/>
              <p:nvPr/>
            </p:nvGrpSpPr>
            <p:grpSpPr bwMode="gray">
              <a:xfrm>
                <a:off x="4799974" y="1885422"/>
                <a:ext cx="107385" cy="347753"/>
                <a:chOff x="4035854" y="5152292"/>
                <a:chExt cx="107385" cy="347753"/>
              </a:xfrm>
              <a:grpFill/>
            </p:grpSpPr>
            <p:sp>
              <p:nvSpPr>
                <p:cNvPr id="893" name="Freeform: Shape 892">
                  <a:extLst>
                    <a:ext uri="{FF2B5EF4-FFF2-40B4-BE49-F238E27FC236}">
                      <a16:creationId xmlns:a16="http://schemas.microsoft.com/office/drawing/2014/main" id="{0138A167-89F8-4351-8767-3A6437609F01}"/>
                    </a:ext>
                  </a:extLst>
                </p:cNvPr>
                <p:cNvSpPr/>
                <p:nvPr/>
              </p:nvSpPr>
              <p:spPr bwMode="gray">
                <a:xfrm>
                  <a:off x="4067461" y="5178780"/>
                  <a:ext cx="38480" cy="57600"/>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grpFill/>
                <a:ln w="19050" cap="rnd">
                  <a:solidFill>
                    <a:schemeClr val="tx1"/>
                  </a:solidFill>
                  <a:prstDash val="solid"/>
                  <a:round/>
                  <a:headEnd/>
                  <a:tailEnd/>
                </a:ln>
                <a:extLst/>
              </p:spPr>
              <p:txBody>
                <a:bodyPr rtlCol="0" anchor="ctr"/>
                <a:lstStyle/>
                <a:p>
                  <a:pPr algn="ctr"/>
                  <a:endParaRPr lang="en-US" sz="1400"/>
                </a:p>
              </p:txBody>
            </p:sp>
            <p:sp>
              <p:nvSpPr>
                <p:cNvPr id="892" name="Rectangle: Rounded Corners 49">
                  <a:extLst>
                    <a:ext uri="{FF2B5EF4-FFF2-40B4-BE49-F238E27FC236}">
                      <a16:creationId xmlns:a16="http://schemas.microsoft.com/office/drawing/2014/main" id="{0D62E053-C4F8-4937-9E40-F25F612E5F43}"/>
                    </a:ext>
                  </a:extLst>
                </p:cNvPr>
                <p:cNvSpPr/>
                <p:nvPr/>
              </p:nvSpPr>
              <p:spPr bwMode="gray">
                <a:xfrm>
                  <a:off x="4035854" y="5234563"/>
                  <a:ext cx="101694" cy="232027"/>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grpFill/>
                <a:ln w="19050" cap="rnd">
                  <a:solidFill>
                    <a:schemeClr val="tx1"/>
                  </a:solidFill>
                  <a:prstDash val="solid"/>
                  <a:round/>
                  <a:headEnd/>
                  <a:tailEnd/>
                </a:ln>
                <a:extLst/>
              </p:spPr>
              <p:txBody>
                <a:bodyPr rtlCol="0" anchor="ctr"/>
                <a:lstStyle/>
                <a:p>
                  <a:pPr algn="ctr"/>
                  <a:endParaRPr lang="en-US" sz="1400" dirty="0"/>
                </a:p>
              </p:txBody>
            </p:sp>
            <p:cxnSp>
              <p:nvCxnSpPr>
                <p:cNvPr id="894" name="Straight Connector 893">
                  <a:extLst>
                    <a:ext uri="{FF2B5EF4-FFF2-40B4-BE49-F238E27FC236}">
                      <a16:creationId xmlns:a16="http://schemas.microsoft.com/office/drawing/2014/main" id="{AD1A3E67-67D2-4C34-8485-2E95EB13E9A8}"/>
                    </a:ext>
                  </a:extLst>
                </p:cNvPr>
                <p:cNvCxnSpPr>
                  <a:cxnSpLocks/>
                </p:cNvCxnSpPr>
                <p:nvPr/>
              </p:nvCxnSpPr>
              <p:spPr bwMode="gray">
                <a:xfrm>
                  <a:off x="4107239" y="5208052"/>
                  <a:ext cx="36000" cy="0"/>
                </a:xfrm>
                <a:prstGeom prst="line">
                  <a:avLst/>
                </a:prstGeom>
                <a:grpFill/>
                <a:ln w="19050" cap="rnd">
                  <a:solidFill>
                    <a:schemeClr val="tx1"/>
                  </a:solidFill>
                  <a:prstDash val="solid"/>
                  <a:round/>
                  <a:headEnd/>
                  <a:tailEnd/>
                </a:ln>
                <a:extLst/>
              </p:spPr>
            </p:cxnSp>
            <p:sp>
              <p:nvSpPr>
                <p:cNvPr id="895" name="Rectangle: Rounded Corners 49">
                  <a:extLst>
                    <a:ext uri="{FF2B5EF4-FFF2-40B4-BE49-F238E27FC236}">
                      <a16:creationId xmlns:a16="http://schemas.microsoft.com/office/drawing/2014/main" id="{8D3DD296-738E-4CD7-956D-6A3B7CE4E9E5}"/>
                    </a:ext>
                  </a:extLst>
                </p:cNvPr>
                <p:cNvSpPr/>
                <p:nvPr/>
              </p:nvSpPr>
              <p:spPr bwMode="gray">
                <a:xfrm>
                  <a:off x="4035854" y="5466590"/>
                  <a:ext cx="101694" cy="33455"/>
                </a:xfrm>
                <a:prstGeom prst="rect">
                  <a:avLst/>
                </a:prstGeom>
                <a:grpFill/>
                <a:ln w="19050" cap="rnd">
                  <a:solidFill>
                    <a:schemeClr val="tx1"/>
                  </a:solidFill>
                  <a:prstDash val="solid"/>
                  <a:round/>
                  <a:headEnd/>
                  <a:tailEnd/>
                </a:ln>
                <a:extLst/>
              </p:spPr>
              <p:txBody>
                <a:bodyPr rtlCol="0" anchor="ctr"/>
                <a:lstStyle/>
                <a:p>
                  <a:pPr algn="ctr"/>
                  <a:endParaRPr lang="en-US" sz="1400"/>
                </a:p>
              </p:txBody>
            </p:sp>
            <p:cxnSp>
              <p:nvCxnSpPr>
                <p:cNvPr id="896" name="Straight Connector 895">
                  <a:extLst>
                    <a:ext uri="{FF2B5EF4-FFF2-40B4-BE49-F238E27FC236}">
                      <a16:creationId xmlns:a16="http://schemas.microsoft.com/office/drawing/2014/main" id="{FF8F1749-1EB0-4A46-9174-BDDD575FACE4}"/>
                    </a:ext>
                  </a:extLst>
                </p:cNvPr>
                <p:cNvCxnSpPr>
                  <a:cxnSpLocks/>
                </p:cNvCxnSpPr>
                <p:nvPr/>
              </p:nvCxnSpPr>
              <p:spPr bwMode="gray">
                <a:xfrm>
                  <a:off x="4067461" y="5156475"/>
                  <a:ext cx="38480" cy="0"/>
                </a:xfrm>
                <a:prstGeom prst="line">
                  <a:avLst/>
                </a:prstGeom>
                <a:grpFill/>
                <a:ln w="19050" cap="rnd">
                  <a:solidFill>
                    <a:schemeClr val="tx1"/>
                  </a:solidFill>
                  <a:prstDash val="solid"/>
                  <a:round/>
                  <a:headEnd/>
                  <a:tailEnd/>
                </a:ln>
                <a:extLst/>
              </p:spPr>
            </p:cxnSp>
            <p:cxnSp>
              <p:nvCxnSpPr>
                <p:cNvPr id="897" name="Straight Connector 896">
                  <a:extLst>
                    <a:ext uri="{FF2B5EF4-FFF2-40B4-BE49-F238E27FC236}">
                      <a16:creationId xmlns:a16="http://schemas.microsoft.com/office/drawing/2014/main" id="{2C5CD802-1504-45F6-AE77-160BBBFCDC55}"/>
                    </a:ext>
                  </a:extLst>
                </p:cNvPr>
                <p:cNvCxnSpPr>
                  <a:cxnSpLocks/>
                </p:cNvCxnSpPr>
                <p:nvPr/>
              </p:nvCxnSpPr>
              <p:spPr bwMode="gray">
                <a:xfrm>
                  <a:off x="4086701" y="5152292"/>
                  <a:ext cx="0" cy="26343"/>
                </a:xfrm>
                <a:prstGeom prst="line">
                  <a:avLst/>
                </a:prstGeom>
                <a:grpFill/>
                <a:ln w="19050" cap="rnd">
                  <a:solidFill>
                    <a:schemeClr val="tx1"/>
                  </a:solidFill>
                  <a:prstDash val="solid"/>
                  <a:round/>
                  <a:headEnd/>
                  <a:tailEnd/>
                </a:ln>
                <a:extLst/>
              </p:spPr>
            </p:cxnSp>
          </p:grpSp>
          <p:grpSp>
            <p:nvGrpSpPr>
              <p:cNvPr id="889" name="Group 888">
                <a:extLst>
                  <a:ext uri="{FF2B5EF4-FFF2-40B4-BE49-F238E27FC236}">
                    <a16:creationId xmlns:a16="http://schemas.microsoft.com/office/drawing/2014/main" id="{CC3A7F6B-2FC7-407E-87A7-B1167F291FF1}"/>
                  </a:ext>
                </a:extLst>
              </p:cNvPr>
              <p:cNvGrpSpPr/>
              <p:nvPr/>
            </p:nvGrpSpPr>
            <p:grpSpPr bwMode="gray">
              <a:xfrm>
                <a:off x="4819495" y="2053478"/>
                <a:ext cx="60728" cy="70369"/>
                <a:chOff x="4039297" y="1831150"/>
                <a:chExt cx="666713" cy="283400"/>
              </a:xfrm>
              <a:grpFill/>
            </p:grpSpPr>
            <p:sp>
              <p:nvSpPr>
                <p:cNvPr id="890" name="Rectangle: Rounded Corners 889">
                  <a:extLst>
                    <a:ext uri="{FF2B5EF4-FFF2-40B4-BE49-F238E27FC236}">
                      <a16:creationId xmlns:a16="http://schemas.microsoft.com/office/drawing/2014/main" id="{51BFF820-59EE-4450-8E6B-1923285A9334}"/>
                    </a:ext>
                  </a:extLst>
                </p:cNvPr>
                <p:cNvSpPr/>
                <p:nvPr/>
              </p:nvSpPr>
              <p:spPr bwMode="gray">
                <a:xfrm>
                  <a:off x="4450734" y="1831150"/>
                  <a:ext cx="255276" cy="283400"/>
                </a:xfrm>
                <a:prstGeom prst="roundRect">
                  <a:avLst>
                    <a:gd name="adj" fmla="val 50000"/>
                  </a:avLst>
                </a:prstGeom>
                <a:grpFill/>
                <a:ln w="12700" cap="rnd">
                  <a:solidFill>
                    <a:schemeClr val="tx1"/>
                  </a:solidFill>
                  <a:prstDash val="solid"/>
                  <a:round/>
                  <a:headEnd/>
                  <a:tailEnd/>
                </a:ln>
                <a:extLst/>
              </p:spPr>
              <p:txBody>
                <a:bodyPr rtlCol="0" anchor="ctr"/>
                <a:lstStyle/>
                <a:p>
                  <a:pPr algn="ctr"/>
                  <a:endParaRPr lang="de-DE" sz="1400" dirty="0" err="1"/>
                </a:p>
              </p:txBody>
            </p:sp>
            <p:sp>
              <p:nvSpPr>
                <p:cNvPr id="891" name="Rectangle: Rounded Corners 463">
                  <a:extLst>
                    <a:ext uri="{FF2B5EF4-FFF2-40B4-BE49-F238E27FC236}">
                      <a16:creationId xmlns:a16="http://schemas.microsoft.com/office/drawing/2014/main" id="{9C12D036-5F1F-425F-9E2C-971A5E025C19}"/>
                    </a:ext>
                  </a:extLst>
                </p:cNvPr>
                <p:cNvSpPr/>
                <p:nvPr/>
              </p:nvSpPr>
              <p:spPr bwMode="gray">
                <a:xfrm>
                  <a:off x="4039297" y="1833679"/>
                  <a:ext cx="223229" cy="275571"/>
                </a:xfrm>
                <a:custGeom>
                  <a:avLst/>
                  <a:gdLst>
                    <a:gd name="connsiteX0" fmla="*/ 0 w 259591"/>
                    <a:gd name="connsiteY0" fmla="*/ 129796 h 288195"/>
                    <a:gd name="connsiteX1" fmla="*/ 129796 w 259591"/>
                    <a:gd name="connsiteY1" fmla="*/ 0 h 288195"/>
                    <a:gd name="connsiteX2" fmla="*/ 129796 w 259591"/>
                    <a:gd name="connsiteY2" fmla="*/ 0 h 288195"/>
                    <a:gd name="connsiteX3" fmla="*/ 259592 w 259591"/>
                    <a:gd name="connsiteY3" fmla="*/ 129796 h 288195"/>
                    <a:gd name="connsiteX4" fmla="*/ 259591 w 259591"/>
                    <a:gd name="connsiteY4" fmla="*/ 158400 h 288195"/>
                    <a:gd name="connsiteX5" fmla="*/ 129795 w 259591"/>
                    <a:gd name="connsiteY5" fmla="*/ 288196 h 288195"/>
                    <a:gd name="connsiteX6" fmla="*/ 129796 w 259591"/>
                    <a:gd name="connsiteY6" fmla="*/ 288195 h 288195"/>
                    <a:gd name="connsiteX7" fmla="*/ 0 w 259591"/>
                    <a:gd name="connsiteY7" fmla="*/ 158399 h 288195"/>
                    <a:gd name="connsiteX8" fmla="*/ 0 w 259591"/>
                    <a:gd name="connsiteY8" fmla="*/ 129796 h 288195"/>
                    <a:gd name="connsiteX0" fmla="*/ 0 w 259592"/>
                    <a:gd name="connsiteY0" fmla="*/ 129796 h 288196"/>
                    <a:gd name="connsiteX1" fmla="*/ 129796 w 259592"/>
                    <a:gd name="connsiteY1" fmla="*/ 0 h 288196"/>
                    <a:gd name="connsiteX2" fmla="*/ 129796 w 259592"/>
                    <a:gd name="connsiteY2" fmla="*/ 0 h 288196"/>
                    <a:gd name="connsiteX3" fmla="*/ 259592 w 259592"/>
                    <a:gd name="connsiteY3" fmla="*/ 129796 h 288196"/>
                    <a:gd name="connsiteX4" fmla="*/ 129795 w 259592"/>
                    <a:gd name="connsiteY4" fmla="*/ 288196 h 288196"/>
                    <a:gd name="connsiteX5" fmla="*/ 129796 w 259592"/>
                    <a:gd name="connsiteY5" fmla="*/ 288195 h 288196"/>
                    <a:gd name="connsiteX6" fmla="*/ 0 w 259592"/>
                    <a:gd name="connsiteY6" fmla="*/ 158399 h 288196"/>
                    <a:gd name="connsiteX7" fmla="*/ 0 w 259592"/>
                    <a:gd name="connsiteY7" fmla="*/ 129796 h 288196"/>
                    <a:gd name="connsiteX0" fmla="*/ 0 w 129796"/>
                    <a:gd name="connsiteY0" fmla="*/ 129796 h 288196"/>
                    <a:gd name="connsiteX1" fmla="*/ 129796 w 129796"/>
                    <a:gd name="connsiteY1" fmla="*/ 0 h 288196"/>
                    <a:gd name="connsiteX2" fmla="*/ 129796 w 129796"/>
                    <a:gd name="connsiteY2" fmla="*/ 0 h 288196"/>
                    <a:gd name="connsiteX3" fmla="*/ 129795 w 129796"/>
                    <a:gd name="connsiteY3" fmla="*/ 288196 h 288196"/>
                    <a:gd name="connsiteX4" fmla="*/ 129796 w 129796"/>
                    <a:gd name="connsiteY4" fmla="*/ 288195 h 288196"/>
                    <a:gd name="connsiteX5" fmla="*/ 0 w 129796"/>
                    <a:gd name="connsiteY5" fmla="*/ 158399 h 288196"/>
                    <a:gd name="connsiteX6" fmla="*/ 0 w 129796"/>
                    <a:gd name="connsiteY6" fmla="*/ 129796 h 288196"/>
                    <a:gd name="connsiteX0" fmla="*/ 0 w 130192"/>
                    <a:gd name="connsiteY0" fmla="*/ 129796 h 288196"/>
                    <a:gd name="connsiteX1" fmla="*/ 129796 w 130192"/>
                    <a:gd name="connsiteY1" fmla="*/ 0 h 288196"/>
                    <a:gd name="connsiteX2" fmla="*/ 129796 w 130192"/>
                    <a:gd name="connsiteY2" fmla="*/ 0 h 288196"/>
                    <a:gd name="connsiteX3" fmla="*/ 130192 w 130192"/>
                    <a:gd name="connsiteY3" fmla="*/ 111022 h 288196"/>
                    <a:gd name="connsiteX4" fmla="*/ 129795 w 130192"/>
                    <a:gd name="connsiteY4" fmla="*/ 288196 h 288196"/>
                    <a:gd name="connsiteX5" fmla="*/ 129796 w 130192"/>
                    <a:gd name="connsiteY5" fmla="*/ 288195 h 288196"/>
                    <a:gd name="connsiteX6" fmla="*/ 0 w 130192"/>
                    <a:gd name="connsiteY6" fmla="*/ 158399 h 288196"/>
                    <a:gd name="connsiteX7" fmla="*/ 0 w 130192"/>
                    <a:gd name="connsiteY7" fmla="*/ 129796 h 288196"/>
                    <a:gd name="connsiteX0" fmla="*/ 0 w 223537"/>
                    <a:gd name="connsiteY0" fmla="*/ 129796 h 288196"/>
                    <a:gd name="connsiteX1" fmla="*/ 129796 w 223537"/>
                    <a:gd name="connsiteY1" fmla="*/ 0 h 288196"/>
                    <a:gd name="connsiteX2" fmla="*/ 129796 w 223537"/>
                    <a:gd name="connsiteY2" fmla="*/ 0 h 288196"/>
                    <a:gd name="connsiteX3" fmla="*/ 223537 w 223537"/>
                    <a:gd name="connsiteY3" fmla="*/ 32917 h 288196"/>
                    <a:gd name="connsiteX4" fmla="*/ 129795 w 223537"/>
                    <a:gd name="connsiteY4" fmla="*/ 288196 h 288196"/>
                    <a:gd name="connsiteX5" fmla="*/ 129796 w 223537"/>
                    <a:gd name="connsiteY5" fmla="*/ 288195 h 288196"/>
                    <a:gd name="connsiteX6" fmla="*/ 0 w 223537"/>
                    <a:gd name="connsiteY6" fmla="*/ 158399 h 288196"/>
                    <a:gd name="connsiteX7" fmla="*/ 0 w 223537"/>
                    <a:gd name="connsiteY7" fmla="*/ 129796 h 288196"/>
                    <a:gd name="connsiteX0" fmla="*/ 0 w 225381"/>
                    <a:gd name="connsiteY0" fmla="*/ 129796 h 288196"/>
                    <a:gd name="connsiteX1" fmla="*/ 129796 w 225381"/>
                    <a:gd name="connsiteY1" fmla="*/ 0 h 288196"/>
                    <a:gd name="connsiteX2" fmla="*/ 129796 w 225381"/>
                    <a:gd name="connsiteY2" fmla="*/ 0 h 288196"/>
                    <a:gd name="connsiteX3" fmla="*/ 223537 w 225381"/>
                    <a:gd name="connsiteY3" fmla="*/ 32917 h 288196"/>
                    <a:gd name="connsiteX4" fmla="*/ 187342 w 225381"/>
                    <a:gd name="connsiteY4" fmla="*/ 137692 h 288196"/>
                    <a:gd name="connsiteX5" fmla="*/ 129795 w 225381"/>
                    <a:gd name="connsiteY5" fmla="*/ 288196 h 288196"/>
                    <a:gd name="connsiteX6" fmla="*/ 129796 w 225381"/>
                    <a:gd name="connsiteY6" fmla="*/ 288195 h 288196"/>
                    <a:gd name="connsiteX7" fmla="*/ 0 w 225381"/>
                    <a:gd name="connsiteY7" fmla="*/ 158399 h 288196"/>
                    <a:gd name="connsiteX8" fmla="*/ 0 w 225381"/>
                    <a:gd name="connsiteY8" fmla="*/ 129796 h 288196"/>
                    <a:gd name="connsiteX0" fmla="*/ 0 w 234287"/>
                    <a:gd name="connsiteY0" fmla="*/ 129796 h 288196"/>
                    <a:gd name="connsiteX1" fmla="*/ 129796 w 234287"/>
                    <a:gd name="connsiteY1" fmla="*/ 0 h 288196"/>
                    <a:gd name="connsiteX2" fmla="*/ 129796 w 234287"/>
                    <a:gd name="connsiteY2" fmla="*/ 0 h 288196"/>
                    <a:gd name="connsiteX3" fmla="*/ 223537 w 234287"/>
                    <a:gd name="connsiteY3" fmla="*/ 32917 h 288196"/>
                    <a:gd name="connsiteX4" fmla="*/ 225442 w 234287"/>
                    <a:gd name="connsiteY4" fmla="*/ 255802 h 288196"/>
                    <a:gd name="connsiteX5" fmla="*/ 129795 w 234287"/>
                    <a:gd name="connsiteY5" fmla="*/ 288196 h 288196"/>
                    <a:gd name="connsiteX6" fmla="*/ 129796 w 234287"/>
                    <a:gd name="connsiteY6" fmla="*/ 288195 h 288196"/>
                    <a:gd name="connsiteX7" fmla="*/ 0 w 234287"/>
                    <a:gd name="connsiteY7" fmla="*/ 158399 h 288196"/>
                    <a:gd name="connsiteX8" fmla="*/ 0 w 234287"/>
                    <a:gd name="connsiteY8" fmla="*/ 129796 h 288196"/>
                    <a:gd name="connsiteX0" fmla="*/ 0 w 236915"/>
                    <a:gd name="connsiteY0" fmla="*/ 129796 h 288196"/>
                    <a:gd name="connsiteX1" fmla="*/ 129796 w 236915"/>
                    <a:gd name="connsiteY1" fmla="*/ 0 h 288196"/>
                    <a:gd name="connsiteX2" fmla="*/ 129796 w 236915"/>
                    <a:gd name="connsiteY2" fmla="*/ 0 h 288196"/>
                    <a:gd name="connsiteX3" fmla="*/ 223537 w 236915"/>
                    <a:gd name="connsiteY3" fmla="*/ 32917 h 288196"/>
                    <a:gd name="connsiteX4" fmla="*/ 234967 w 236915"/>
                    <a:gd name="connsiteY4" fmla="*/ 135787 h 288196"/>
                    <a:gd name="connsiteX5" fmla="*/ 225442 w 236915"/>
                    <a:gd name="connsiteY5" fmla="*/ 255802 h 288196"/>
                    <a:gd name="connsiteX6" fmla="*/ 129795 w 236915"/>
                    <a:gd name="connsiteY6" fmla="*/ 288196 h 288196"/>
                    <a:gd name="connsiteX7" fmla="*/ 129796 w 236915"/>
                    <a:gd name="connsiteY7" fmla="*/ 288195 h 288196"/>
                    <a:gd name="connsiteX8" fmla="*/ 0 w 236915"/>
                    <a:gd name="connsiteY8" fmla="*/ 158399 h 288196"/>
                    <a:gd name="connsiteX9" fmla="*/ 0 w 236915"/>
                    <a:gd name="connsiteY9" fmla="*/ 129796 h 288196"/>
                    <a:gd name="connsiteX0" fmla="*/ 234967 w 326407"/>
                    <a:gd name="connsiteY0" fmla="*/ 135787 h 288196"/>
                    <a:gd name="connsiteX1" fmla="*/ 225442 w 326407"/>
                    <a:gd name="connsiteY1" fmla="*/ 255802 h 288196"/>
                    <a:gd name="connsiteX2" fmla="*/ 129795 w 326407"/>
                    <a:gd name="connsiteY2" fmla="*/ 288196 h 288196"/>
                    <a:gd name="connsiteX3" fmla="*/ 129796 w 326407"/>
                    <a:gd name="connsiteY3" fmla="*/ 288195 h 288196"/>
                    <a:gd name="connsiteX4" fmla="*/ 0 w 326407"/>
                    <a:gd name="connsiteY4" fmla="*/ 158399 h 288196"/>
                    <a:gd name="connsiteX5" fmla="*/ 0 w 326407"/>
                    <a:gd name="connsiteY5" fmla="*/ 129796 h 288196"/>
                    <a:gd name="connsiteX6" fmla="*/ 129796 w 326407"/>
                    <a:gd name="connsiteY6" fmla="*/ 0 h 288196"/>
                    <a:gd name="connsiteX7" fmla="*/ 129796 w 326407"/>
                    <a:gd name="connsiteY7" fmla="*/ 0 h 288196"/>
                    <a:gd name="connsiteX8" fmla="*/ 223537 w 326407"/>
                    <a:gd name="connsiteY8" fmla="*/ 32917 h 288196"/>
                    <a:gd name="connsiteX9" fmla="*/ 326407 w 326407"/>
                    <a:gd name="connsiteY9" fmla="*/ 227227 h 288196"/>
                    <a:gd name="connsiteX0" fmla="*/ 234967 w 236915"/>
                    <a:gd name="connsiteY0" fmla="*/ 135787 h 288196"/>
                    <a:gd name="connsiteX1" fmla="*/ 225442 w 236915"/>
                    <a:gd name="connsiteY1" fmla="*/ 255802 h 288196"/>
                    <a:gd name="connsiteX2" fmla="*/ 129795 w 236915"/>
                    <a:gd name="connsiteY2" fmla="*/ 288196 h 288196"/>
                    <a:gd name="connsiteX3" fmla="*/ 129796 w 236915"/>
                    <a:gd name="connsiteY3" fmla="*/ 288195 h 288196"/>
                    <a:gd name="connsiteX4" fmla="*/ 0 w 236915"/>
                    <a:gd name="connsiteY4" fmla="*/ 158399 h 288196"/>
                    <a:gd name="connsiteX5" fmla="*/ 0 w 236915"/>
                    <a:gd name="connsiteY5" fmla="*/ 129796 h 288196"/>
                    <a:gd name="connsiteX6" fmla="*/ 129796 w 236915"/>
                    <a:gd name="connsiteY6" fmla="*/ 0 h 288196"/>
                    <a:gd name="connsiteX7" fmla="*/ 129796 w 236915"/>
                    <a:gd name="connsiteY7" fmla="*/ 0 h 288196"/>
                    <a:gd name="connsiteX8" fmla="*/ 223537 w 236915"/>
                    <a:gd name="connsiteY8" fmla="*/ 32917 h 288196"/>
                    <a:gd name="connsiteX0" fmla="*/ 225442 w 225442"/>
                    <a:gd name="connsiteY0" fmla="*/ 255802 h 288196"/>
                    <a:gd name="connsiteX1" fmla="*/ 129795 w 225442"/>
                    <a:gd name="connsiteY1" fmla="*/ 288196 h 288196"/>
                    <a:gd name="connsiteX2" fmla="*/ 129796 w 225442"/>
                    <a:gd name="connsiteY2" fmla="*/ 288195 h 288196"/>
                    <a:gd name="connsiteX3" fmla="*/ 0 w 225442"/>
                    <a:gd name="connsiteY3" fmla="*/ 158399 h 288196"/>
                    <a:gd name="connsiteX4" fmla="*/ 0 w 225442"/>
                    <a:gd name="connsiteY4" fmla="*/ 129796 h 288196"/>
                    <a:gd name="connsiteX5" fmla="*/ 129796 w 225442"/>
                    <a:gd name="connsiteY5" fmla="*/ 0 h 288196"/>
                    <a:gd name="connsiteX6" fmla="*/ 129796 w 225442"/>
                    <a:gd name="connsiteY6" fmla="*/ 0 h 288196"/>
                    <a:gd name="connsiteX7" fmla="*/ 223537 w 225442"/>
                    <a:gd name="connsiteY7" fmla="*/ 32917 h 288196"/>
                    <a:gd name="connsiteX0" fmla="*/ 225442 w 225442"/>
                    <a:gd name="connsiteY0" fmla="*/ 255802 h 288196"/>
                    <a:gd name="connsiteX1" fmla="*/ 129795 w 225442"/>
                    <a:gd name="connsiteY1" fmla="*/ 288196 h 288196"/>
                    <a:gd name="connsiteX2" fmla="*/ 139321 w 225442"/>
                    <a:gd name="connsiteY2" fmla="*/ 288195 h 288196"/>
                    <a:gd name="connsiteX3" fmla="*/ 0 w 225442"/>
                    <a:gd name="connsiteY3" fmla="*/ 158399 h 288196"/>
                    <a:gd name="connsiteX4" fmla="*/ 0 w 225442"/>
                    <a:gd name="connsiteY4" fmla="*/ 129796 h 288196"/>
                    <a:gd name="connsiteX5" fmla="*/ 129796 w 225442"/>
                    <a:gd name="connsiteY5" fmla="*/ 0 h 288196"/>
                    <a:gd name="connsiteX6" fmla="*/ 129796 w 225442"/>
                    <a:gd name="connsiteY6" fmla="*/ 0 h 288196"/>
                    <a:gd name="connsiteX7" fmla="*/ 223537 w 225442"/>
                    <a:gd name="connsiteY7" fmla="*/ 32917 h 288196"/>
                    <a:gd name="connsiteX0" fmla="*/ 225442 w 225442"/>
                    <a:gd name="connsiteY0" fmla="*/ 255802 h 288196"/>
                    <a:gd name="connsiteX1" fmla="*/ 129795 w 225442"/>
                    <a:gd name="connsiteY1" fmla="*/ 288196 h 288196"/>
                    <a:gd name="connsiteX2" fmla="*/ 0 w 225442"/>
                    <a:gd name="connsiteY2" fmla="*/ 158399 h 288196"/>
                    <a:gd name="connsiteX3" fmla="*/ 0 w 225442"/>
                    <a:gd name="connsiteY3" fmla="*/ 129796 h 288196"/>
                    <a:gd name="connsiteX4" fmla="*/ 129796 w 225442"/>
                    <a:gd name="connsiteY4" fmla="*/ 0 h 288196"/>
                    <a:gd name="connsiteX5" fmla="*/ 129796 w 225442"/>
                    <a:gd name="connsiteY5" fmla="*/ 0 h 288196"/>
                    <a:gd name="connsiteX6" fmla="*/ 223537 w 225442"/>
                    <a:gd name="connsiteY6" fmla="*/ 32917 h 288196"/>
                    <a:gd name="connsiteX0" fmla="*/ 225442 w 225442"/>
                    <a:gd name="connsiteY0" fmla="*/ 255802 h 288196"/>
                    <a:gd name="connsiteX1" fmla="*/ 129795 w 225442"/>
                    <a:gd name="connsiteY1" fmla="*/ 288196 h 288196"/>
                    <a:gd name="connsiteX2" fmla="*/ 0 w 225442"/>
                    <a:gd name="connsiteY2" fmla="*/ 158399 h 288196"/>
                    <a:gd name="connsiteX3" fmla="*/ 0 w 225442"/>
                    <a:gd name="connsiteY3" fmla="*/ 129796 h 288196"/>
                    <a:gd name="connsiteX4" fmla="*/ 129796 w 225442"/>
                    <a:gd name="connsiteY4" fmla="*/ 0 h 288196"/>
                    <a:gd name="connsiteX5" fmla="*/ 129796 w 225442"/>
                    <a:gd name="connsiteY5" fmla="*/ 0 h 288196"/>
                    <a:gd name="connsiteX6" fmla="*/ 223537 w 225442"/>
                    <a:gd name="connsiteY6" fmla="*/ 32917 h 288196"/>
                    <a:gd name="connsiteX0" fmla="*/ 225442 w 225442"/>
                    <a:gd name="connsiteY0" fmla="*/ 255802 h 288196"/>
                    <a:gd name="connsiteX1" fmla="*/ 129795 w 225442"/>
                    <a:gd name="connsiteY1" fmla="*/ 288196 h 288196"/>
                    <a:gd name="connsiteX2" fmla="*/ 0 w 225442"/>
                    <a:gd name="connsiteY2" fmla="*/ 158399 h 288196"/>
                    <a:gd name="connsiteX3" fmla="*/ 0 w 225442"/>
                    <a:gd name="connsiteY3" fmla="*/ 129796 h 288196"/>
                    <a:gd name="connsiteX4" fmla="*/ 129796 w 225442"/>
                    <a:gd name="connsiteY4" fmla="*/ 0 h 288196"/>
                    <a:gd name="connsiteX5" fmla="*/ 129796 w 225442"/>
                    <a:gd name="connsiteY5" fmla="*/ 0 h 288196"/>
                    <a:gd name="connsiteX6" fmla="*/ 223537 w 225442"/>
                    <a:gd name="connsiteY6" fmla="*/ 32917 h 288196"/>
                    <a:gd name="connsiteX0" fmla="*/ 225442 w 225442"/>
                    <a:gd name="connsiteY0" fmla="*/ 255802 h 288196"/>
                    <a:gd name="connsiteX1" fmla="*/ 129795 w 225442"/>
                    <a:gd name="connsiteY1" fmla="*/ 288196 h 288196"/>
                    <a:gd name="connsiteX2" fmla="*/ 0 w 225442"/>
                    <a:gd name="connsiteY2" fmla="*/ 158399 h 288196"/>
                    <a:gd name="connsiteX3" fmla="*/ 0 w 225442"/>
                    <a:gd name="connsiteY3" fmla="*/ 129796 h 288196"/>
                    <a:gd name="connsiteX4" fmla="*/ 129796 w 225442"/>
                    <a:gd name="connsiteY4" fmla="*/ 0 h 288196"/>
                    <a:gd name="connsiteX5" fmla="*/ 129796 w 225442"/>
                    <a:gd name="connsiteY5" fmla="*/ 0 h 288196"/>
                    <a:gd name="connsiteX6" fmla="*/ 223537 w 225442"/>
                    <a:gd name="connsiteY6" fmla="*/ 32917 h 288196"/>
                    <a:gd name="connsiteX0" fmla="*/ 225442 w 225442"/>
                    <a:gd name="connsiteY0" fmla="*/ 255802 h 288196"/>
                    <a:gd name="connsiteX1" fmla="*/ 129795 w 225442"/>
                    <a:gd name="connsiteY1" fmla="*/ 288196 h 288196"/>
                    <a:gd name="connsiteX2" fmla="*/ 0 w 225442"/>
                    <a:gd name="connsiteY2" fmla="*/ 158399 h 288196"/>
                    <a:gd name="connsiteX3" fmla="*/ 0 w 225442"/>
                    <a:gd name="connsiteY3" fmla="*/ 129796 h 288196"/>
                    <a:gd name="connsiteX4" fmla="*/ 129796 w 225442"/>
                    <a:gd name="connsiteY4" fmla="*/ 0 h 288196"/>
                    <a:gd name="connsiteX5" fmla="*/ 129796 w 225442"/>
                    <a:gd name="connsiteY5" fmla="*/ 0 h 288196"/>
                    <a:gd name="connsiteX6" fmla="*/ 223537 w 225442"/>
                    <a:gd name="connsiteY6" fmla="*/ 32917 h 288196"/>
                    <a:gd name="connsiteX0" fmla="*/ 225442 w 225442"/>
                    <a:gd name="connsiteY0" fmla="*/ 255802 h 288196"/>
                    <a:gd name="connsiteX1" fmla="*/ 129795 w 225442"/>
                    <a:gd name="connsiteY1" fmla="*/ 288196 h 288196"/>
                    <a:gd name="connsiteX2" fmla="*/ 0 w 225442"/>
                    <a:gd name="connsiteY2" fmla="*/ 158399 h 288196"/>
                    <a:gd name="connsiteX3" fmla="*/ 0 w 225442"/>
                    <a:gd name="connsiteY3" fmla="*/ 129796 h 288196"/>
                    <a:gd name="connsiteX4" fmla="*/ 129796 w 225442"/>
                    <a:gd name="connsiteY4" fmla="*/ 0 h 288196"/>
                    <a:gd name="connsiteX5" fmla="*/ 129796 w 225442"/>
                    <a:gd name="connsiteY5" fmla="*/ 0 h 288196"/>
                    <a:gd name="connsiteX6" fmla="*/ 223537 w 225442"/>
                    <a:gd name="connsiteY6" fmla="*/ 32917 h 288196"/>
                    <a:gd name="connsiteX0" fmla="*/ 225442 w 225442"/>
                    <a:gd name="connsiteY0" fmla="*/ 255802 h 288196"/>
                    <a:gd name="connsiteX1" fmla="*/ 129795 w 225442"/>
                    <a:gd name="connsiteY1" fmla="*/ 288196 h 288196"/>
                    <a:gd name="connsiteX2" fmla="*/ 0 w 225442"/>
                    <a:gd name="connsiteY2" fmla="*/ 158399 h 288196"/>
                    <a:gd name="connsiteX3" fmla="*/ 0 w 225442"/>
                    <a:gd name="connsiteY3" fmla="*/ 129796 h 288196"/>
                    <a:gd name="connsiteX4" fmla="*/ 129796 w 225442"/>
                    <a:gd name="connsiteY4" fmla="*/ 0 h 288196"/>
                    <a:gd name="connsiteX5" fmla="*/ 129796 w 225442"/>
                    <a:gd name="connsiteY5" fmla="*/ 0 h 288196"/>
                    <a:gd name="connsiteX6" fmla="*/ 223537 w 225442"/>
                    <a:gd name="connsiteY6" fmla="*/ 32917 h 288196"/>
                    <a:gd name="connsiteX0" fmla="*/ 129795 w 223537"/>
                    <a:gd name="connsiteY0" fmla="*/ 288196 h 288196"/>
                    <a:gd name="connsiteX1" fmla="*/ 0 w 223537"/>
                    <a:gd name="connsiteY1" fmla="*/ 158399 h 288196"/>
                    <a:gd name="connsiteX2" fmla="*/ 0 w 223537"/>
                    <a:gd name="connsiteY2" fmla="*/ 129796 h 288196"/>
                    <a:gd name="connsiteX3" fmla="*/ 129796 w 223537"/>
                    <a:gd name="connsiteY3" fmla="*/ 0 h 288196"/>
                    <a:gd name="connsiteX4" fmla="*/ 129796 w 223537"/>
                    <a:gd name="connsiteY4" fmla="*/ 0 h 288196"/>
                    <a:gd name="connsiteX5" fmla="*/ 223537 w 223537"/>
                    <a:gd name="connsiteY5" fmla="*/ 32917 h 288196"/>
                    <a:gd name="connsiteX0" fmla="*/ 226950 w 226950"/>
                    <a:gd name="connsiteY0" fmla="*/ 255811 h 255811"/>
                    <a:gd name="connsiteX1" fmla="*/ 0 w 226950"/>
                    <a:gd name="connsiteY1" fmla="*/ 158399 h 255811"/>
                    <a:gd name="connsiteX2" fmla="*/ 0 w 226950"/>
                    <a:gd name="connsiteY2" fmla="*/ 129796 h 255811"/>
                    <a:gd name="connsiteX3" fmla="*/ 129796 w 226950"/>
                    <a:gd name="connsiteY3" fmla="*/ 0 h 255811"/>
                    <a:gd name="connsiteX4" fmla="*/ 129796 w 226950"/>
                    <a:gd name="connsiteY4" fmla="*/ 0 h 255811"/>
                    <a:gd name="connsiteX5" fmla="*/ 223537 w 226950"/>
                    <a:gd name="connsiteY5" fmla="*/ 32917 h 255811"/>
                    <a:gd name="connsiteX0" fmla="*/ 226950 w 226950"/>
                    <a:gd name="connsiteY0" fmla="*/ 255811 h 283855"/>
                    <a:gd name="connsiteX1" fmla="*/ 0 w 226950"/>
                    <a:gd name="connsiteY1" fmla="*/ 158399 h 283855"/>
                    <a:gd name="connsiteX2" fmla="*/ 0 w 226950"/>
                    <a:gd name="connsiteY2" fmla="*/ 129796 h 283855"/>
                    <a:gd name="connsiteX3" fmla="*/ 129796 w 226950"/>
                    <a:gd name="connsiteY3" fmla="*/ 0 h 283855"/>
                    <a:gd name="connsiteX4" fmla="*/ 129796 w 226950"/>
                    <a:gd name="connsiteY4" fmla="*/ 0 h 283855"/>
                    <a:gd name="connsiteX5" fmla="*/ 223537 w 226950"/>
                    <a:gd name="connsiteY5" fmla="*/ 32917 h 283855"/>
                    <a:gd name="connsiteX0" fmla="*/ 227006 w 227006"/>
                    <a:gd name="connsiteY0" fmla="*/ 255811 h 287644"/>
                    <a:gd name="connsiteX1" fmla="*/ 56 w 227006"/>
                    <a:gd name="connsiteY1" fmla="*/ 158399 h 287644"/>
                    <a:gd name="connsiteX2" fmla="*/ 56 w 227006"/>
                    <a:gd name="connsiteY2" fmla="*/ 129796 h 287644"/>
                    <a:gd name="connsiteX3" fmla="*/ 129852 w 227006"/>
                    <a:gd name="connsiteY3" fmla="*/ 0 h 287644"/>
                    <a:gd name="connsiteX4" fmla="*/ 129852 w 227006"/>
                    <a:gd name="connsiteY4" fmla="*/ 0 h 287644"/>
                    <a:gd name="connsiteX5" fmla="*/ 223593 w 227006"/>
                    <a:gd name="connsiteY5" fmla="*/ 32917 h 287644"/>
                    <a:gd name="connsiteX0" fmla="*/ 226999 w 226999"/>
                    <a:gd name="connsiteY0" fmla="*/ 255811 h 282804"/>
                    <a:gd name="connsiteX1" fmla="*/ 49 w 226999"/>
                    <a:gd name="connsiteY1" fmla="*/ 158399 h 282804"/>
                    <a:gd name="connsiteX2" fmla="*/ 49 w 226999"/>
                    <a:gd name="connsiteY2" fmla="*/ 129796 h 282804"/>
                    <a:gd name="connsiteX3" fmla="*/ 129845 w 226999"/>
                    <a:gd name="connsiteY3" fmla="*/ 0 h 282804"/>
                    <a:gd name="connsiteX4" fmla="*/ 129845 w 226999"/>
                    <a:gd name="connsiteY4" fmla="*/ 0 h 282804"/>
                    <a:gd name="connsiteX5" fmla="*/ 223586 w 226999"/>
                    <a:gd name="connsiteY5" fmla="*/ 32917 h 282804"/>
                    <a:gd name="connsiteX0" fmla="*/ 226999 w 226999"/>
                    <a:gd name="connsiteY0" fmla="*/ 255811 h 282804"/>
                    <a:gd name="connsiteX1" fmla="*/ 49 w 226999"/>
                    <a:gd name="connsiteY1" fmla="*/ 158399 h 282804"/>
                    <a:gd name="connsiteX2" fmla="*/ 49 w 226999"/>
                    <a:gd name="connsiteY2" fmla="*/ 129796 h 282804"/>
                    <a:gd name="connsiteX3" fmla="*/ 129845 w 226999"/>
                    <a:gd name="connsiteY3" fmla="*/ 0 h 282804"/>
                    <a:gd name="connsiteX4" fmla="*/ 129845 w 226999"/>
                    <a:gd name="connsiteY4" fmla="*/ 0 h 282804"/>
                    <a:gd name="connsiteX0" fmla="*/ 226999 w 226999"/>
                    <a:gd name="connsiteY0" fmla="*/ 255811 h 282804"/>
                    <a:gd name="connsiteX1" fmla="*/ 49 w 226999"/>
                    <a:gd name="connsiteY1" fmla="*/ 158399 h 282804"/>
                    <a:gd name="connsiteX2" fmla="*/ 49 w 226999"/>
                    <a:gd name="connsiteY2" fmla="*/ 129796 h 282804"/>
                    <a:gd name="connsiteX3" fmla="*/ 129845 w 226999"/>
                    <a:gd name="connsiteY3" fmla="*/ 0 h 282804"/>
                    <a:gd name="connsiteX4" fmla="*/ 225095 w 226999"/>
                    <a:gd name="connsiteY4" fmla="*/ 32385 h 282804"/>
                    <a:gd name="connsiteX0" fmla="*/ 226999 w 226999"/>
                    <a:gd name="connsiteY0" fmla="*/ 223426 h 250419"/>
                    <a:gd name="connsiteX1" fmla="*/ 49 w 226999"/>
                    <a:gd name="connsiteY1" fmla="*/ 126014 h 250419"/>
                    <a:gd name="connsiteX2" fmla="*/ 49 w 226999"/>
                    <a:gd name="connsiteY2" fmla="*/ 97411 h 250419"/>
                    <a:gd name="connsiteX3" fmla="*/ 225095 w 226999"/>
                    <a:gd name="connsiteY3" fmla="*/ 0 h 250419"/>
                    <a:gd name="connsiteX0" fmla="*/ 226999 w 226999"/>
                    <a:gd name="connsiteY0" fmla="*/ 223426 h 250419"/>
                    <a:gd name="connsiteX1" fmla="*/ 49 w 226999"/>
                    <a:gd name="connsiteY1" fmla="*/ 126014 h 250419"/>
                    <a:gd name="connsiteX2" fmla="*/ 49 w 226999"/>
                    <a:gd name="connsiteY2" fmla="*/ 97411 h 250419"/>
                    <a:gd name="connsiteX3" fmla="*/ 225095 w 226999"/>
                    <a:gd name="connsiteY3" fmla="*/ 0 h 250419"/>
                    <a:gd name="connsiteX0" fmla="*/ 226999 w 226999"/>
                    <a:gd name="connsiteY0" fmla="*/ 250733 h 277726"/>
                    <a:gd name="connsiteX1" fmla="*/ 49 w 226999"/>
                    <a:gd name="connsiteY1" fmla="*/ 153321 h 277726"/>
                    <a:gd name="connsiteX2" fmla="*/ 49 w 226999"/>
                    <a:gd name="connsiteY2" fmla="*/ 124718 h 277726"/>
                    <a:gd name="connsiteX3" fmla="*/ 225095 w 226999"/>
                    <a:gd name="connsiteY3" fmla="*/ 27307 h 277726"/>
                    <a:gd name="connsiteX0" fmla="*/ 226999 w 226999"/>
                    <a:gd name="connsiteY0" fmla="*/ 253239 h 280232"/>
                    <a:gd name="connsiteX1" fmla="*/ 49 w 226999"/>
                    <a:gd name="connsiteY1" fmla="*/ 155827 h 280232"/>
                    <a:gd name="connsiteX2" fmla="*/ 49 w 226999"/>
                    <a:gd name="connsiteY2" fmla="*/ 127224 h 280232"/>
                    <a:gd name="connsiteX3" fmla="*/ 225095 w 226999"/>
                    <a:gd name="connsiteY3" fmla="*/ 29813 h 280232"/>
                  </a:gdLst>
                  <a:ahLst/>
                  <a:cxnLst>
                    <a:cxn ang="0">
                      <a:pos x="connsiteX0" y="connsiteY0"/>
                    </a:cxn>
                    <a:cxn ang="0">
                      <a:pos x="connsiteX1" y="connsiteY1"/>
                    </a:cxn>
                    <a:cxn ang="0">
                      <a:pos x="connsiteX2" y="connsiteY2"/>
                    </a:cxn>
                    <a:cxn ang="0">
                      <a:pos x="connsiteX3" y="connsiteY3"/>
                    </a:cxn>
                  </a:cxnLst>
                  <a:rect l="l" t="t" r="r" b="b"/>
                  <a:pathLst>
                    <a:path w="226999" h="280232">
                      <a:moveTo>
                        <a:pt x="226999" y="253239"/>
                      </a:moveTo>
                      <a:cubicBezTo>
                        <a:pt x="88484" y="329988"/>
                        <a:pt x="-2406" y="225763"/>
                        <a:pt x="49" y="155827"/>
                      </a:cubicBezTo>
                      <a:lnTo>
                        <a:pt x="49" y="127224"/>
                      </a:lnTo>
                      <a:cubicBezTo>
                        <a:pt x="3267" y="24307"/>
                        <a:pt x="121061" y="-41333"/>
                        <a:pt x="225095" y="29813"/>
                      </a:cubicBezTo>
                    </a:path>
                  </a:pathLst>
                </a:custGeom>
                <a:grpFill/>
                <a:ln w="12700" cap="rnd">
                  <a:solidFill>
                    <a:schemeClr val="tx1"/>
                  </a:solidFill>
                  <a:prstDash val="solid"/>
                  <a:round/>
                  <a:headEnd/>
                  <a:tailEnd/>
                </a:ln>
                <a:extLst/>
              </p:spPr>
              <p:txBody>
                <a:bodyPr rtlCol="0" anchor="ctr"/>
                <a:lstStyle/>
                <a:p>
                  <a:pPr algn="ctr"/>
                  <a:endParaRPr lang="de-DE" sz="1400" dirty="0" err="1"/>
                </a:p>
              </p:txBody>
            </p:sp>
          </p:grpSp>
        </p:grpSp>
        <p:grpSp>
          <p:nvGrpSpPr>
            <p:cNvPr id="945" name="Group 944">
              <a:extLst>
                <a:ext uri="{FF2B5EF4-FFF2-40B4-BE49-F238E27FC236}">
                  <a16:creationId xmlns:a16="http://schemas.microsoft.com/office/drawing/2014/main" id="{7E550D56-3D95-4920-9F94-B95F19A8C137}"/>
                </a:ext>
              </a:extLst>
            </p:cNvPr>
            <p:cNvGrpSpPr/>
            <p:nvPr/>
          </p:nvGrpSpPr>
          <p:grpSpPr bwMode="gray">
            <a:xfrm>
              <a:off x="11145628" y="3801594"/>
              <a:ext cx="106266" cy="344129"/>
              <a:chOff x="11216297" y="2998251"/>
              <a:chExt cx="106266" cy="344129"/>
            </a:xfrm>
            <a:solidFill>
              <a:schemeClr val="accent5"/>
            </a:solidFill>
          </p:grpSpPr>
          <p:sp>
            <p:nvSpPr>
              <p:cNvPr id="948" name="Freeform: Shape 947">
                <a:extLst>
                  <a:ext uri="{FF2B5EF4-FFF2-40B4-BE49-F238E27FC236}">
                    <a16:creationId xmlns:a16="http://schemas.microsoft.com/office/drawing/2014/main" id="{2BCDAB28-E8B5-41DB-ABC7-989D887E608B}"/>
                  </a:ext>
                </a:extLst>
              </p:cNvPr>
              <p:cNvSpPr/>
              <p:nvPr/>
            </p:nvSpPr>
            <p:spPr bwMode="gray">
              <a:xfrm>
                <a:off x="11247575" y="3024463"/>
                <a:ext cx="38079" cy="57000"/>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grpFill/>
              <a:ln w="19050" cap="rnd">
                <a:solidFill>
                  <a:schemeClr val="tx1"/>
                </a:solidFill>
                <a:prstDash val="solid"/>
                <a:round/>
                <a:headEnd/>
                <a:tailEnd/>
              </a:ln>
              <a:extLst/>
            </p:spPr>
            <p:txBody>
              <a:bodyPr rtlCol="0" anchor="ctr"/>
              <a:lstStyle/>
              <a:p>
                <a:pPr algn="ctr"/>
                <a:endParaRPr lang="en-US" sz="1400"/>
              </a:p>
            </p:txBody>
          </p:sp>
          <p:sp>
            <p:nvSpPr>
              <p:cNvPr id="947" name="Rectangle: Rounded Corners 49">
                <a:extLst>
                  <a:ext uri="{FF2B5EF4-FFF2-40B4-BE49-F238E27FC236}">
                    <a16:creationId xmlns:a16="http://schemas.microsoft.com/office/drawing/2014/main" id="{515E7B5E-E578-4D95-BD41-56E9B307634C}"/>
                  </a:ext>
                </a:extLst>
              </p:cNvPr>
              <p:cNvSpPr/>
              <p:nvPr/>
            </p:nvSpPr>
            <p:spPr bwMode="gray">
              <a:xfrm>
                <a:off x="11216297" y="3079665"/>
                <a:ext cx="100634" cy="229609"/>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grpFill/>
              <a:ln w="19050" cap="rnd">
                <a:solidFill>
                  <a:schemeClr val="tx1"/>
                </a:solidFill>
                <a:prstDash val="solid"/>
                <a:round/>
                <a:headEnd/>
                <a:tailEnd/>
              </a:ln>
              <a:extLst/>
            </p:spPr>
            <p:txBody>
              <a:bodyPr rtlCol="0" anchor="ctr"/>
              <a:lstStyle/>
              <a:p>
                <a:pPr algn="ctr"/>
                <a:endParaRPr lang="en-US" sz="1400" dirty="0"/>
              </a:p>
            </p:txBody>
          </p:sp>
          <p:grpSp>
            <p:nvGrpSpPr>
              <p:cNvPr id="946" name="Group 945">
                <a:extLst>
                  <a:ext uri="{FF2B5EF4-FFF2-40B4-BE49-F238E27FC236}">
                    <a16:creationId xmlns:a16="http://schemas.microsoft.com/office/drawing/2014/main" id="{71F49182-4550-4972-9A05-DDC5CA57F833}"/>
                  </a:ext>
                </a:extLst>
              </p:cNvPr>
              <p:cNvGrpSpPr/>
              <p:nvPr/>
            </p:nvGrpSpPr>
            <p:grpSpPr bwMode="gray">
              <a:xfrm>
                <a:off x="11237407" y="3164504"/>
                <a:ext cx="28704" cy="57192"/>
                <a:chOff x="7092717" y="3824273"/>
                <a:chExt cx="257157" cy="351487"/>
              </a:xfrm>
              <a:grpFill/>
            </p:grpSpPr>
            <p:cxnSp>
              <p:nvCxnSpPr>
                <p:cNvPr id="954" name="Straight Connector 953">
                  <a:extLst>
                    <a:ext uri="{FF2B5EF4-FFF2-40B4-BE49-F238E27FC236}">
                      <a16:creationId xmlns:a16="http://schemas.microsoft.com/office/drawing/2014/main" id="{3D2272F2-603B-40FC-8CFF-B2044A57F9BA}"/>
                    </a:ext>
                  </a:extLst>
                </p:cNvPr>
                <p:cNvCxnSpPr>
                  <a:cxnSpLocks/>
                </p:cNvCxnSpPr>
                <p:nvPr/>
              </p:nvCxnSpPr>
              <p:spPr bwMode="gray">
                <a:xfrm>
                  <a:off x="7092717" y="3824273"/>
                  <a:ext cx="0" cy="351487"/>
                </a:xfrm>
                <a:prstGeom prst="line">
                  <a:avLst/>
                </a:prstGeom>
                <a:grpFill/>
                <a:ln w="12700" cap="rnd">
                  <a:solidFill>
                    <a:schemeClr val="tx1"/>
                  </a:solidFill>
                  <a:prstDash val="solid"/>
                  <a:round/>
                  <a:headEnd/>
                  <a:tailEnd/>
                </a:ln>
                <a:extLst/>
              </p:spPr>
            </p:cxnSp>
            <p:cxnSp>
              <p:nvCxnSpPr>
                <p:cNvPr id="955" name="Straight Connector 954">
                  <a:extLst>
                    <a:ext uri="{FF2B5EF4-FFF2-40B4-BE49-F238E27FC236}">
                      <a16:creationId xmlns:a16="http://schemas.microsoft.com/office/drawing/2014/main" id="{59B3DCFA-2764-4BE0-ADA7-1ECF38D7328C}"/>
                    </a:ext>
                  </a:extLst>
                </p:cNvPr>
                <p:cNvCxnSpPr>
                  <a:cxnSpLocks/>
                </p:cNvCxnSpPr>
                <p:nvPr/>
              </p:nvCxnSpPr>
              <p:spPr bwMode="gray">
                <a:xfrm>
                  <a:off x="7349874" y="3824273"/>
                  <a:ext cx="0" cy="351487"/>
                </a:xfrm>
                <a:prstGeom prst="line">
                  <a:avLst/>
                </a:prstGeom>
                <a:grpFill/>
                <a:ln w="12700" cap="rnd">
                  <a:solidFill>
                    <a:schemeClr val="tx1"/>
                  </a:solidFill>
                  <a:prstDash val="solid"/>
                  <a:round/>
                  <a:headEnd/>
                  <a:tailEnd/>
                </a:ln>
                <a:extLst/>
              </p:spPr>
            </p:cxnSp>
            <p:cxnSp>
              <p:nvCxnSpPr>
                <p:cNvPr id="956" name="Straight Connector 955">
                  <a:extLst>
                    <a:ext uri="{FF2B5EF4-FFF2-40B4-BE49-F238E27FC236}">
                      <a16:creationId xmlns:a16="http://schemas.microsoft.com/office/drawing/2014/main" id="{6CA9AAAE-3143-4484-87AA-F3FD39EE30A2}"/>
                    </a:ext>
                  </a:extLst>
                </p:cNvPr>
                <p:cNvCxnSpPr>
                  <a:cxnSpLocks/>
                </p:cNvCxnSpPr>
                <p:nvPr/>
              </p:nvCxnSpPr>
              <p:spPr bwMode="gray">
                <a:xfrm>
                  <a:off x="7109837" y="4001817"/>
                  <a:ext cx="219073" cy="903"/>
                </a:xfrm>
                <a:prstGeom prst="line">
                  <a:avLst/>
                </a:prstGeom>
                <a:grpFill/>
                <a:ln w="12700" cap="rnd">
                  <a:solidFill>
                    <a:schemeClr val="tx1"/>
                  </a:solidFill>
                  <a:prstDash val="solid"/>
                  <a:round/>
                  <a:headEnd/>
                  <a:tailEnd/>
                </a:ln>
                <a:extLst/>
              </p:spPr>
            </p:cxnSp>
          </p:grpSp>
          <p:cxnSp>
            <p:nvCxnSpPr>
              <p:cNvPr id="949" name="Straight Connector 948">
                <a:extLst>
                  <a:ext uri="{FF2B5EF4-FFF2-40B4-BE49-F238E27FC236}">
                    <a16:creationId xmlns:a16="http://schemas.microsoft.com/office/drawing/2014/main" id="{D02D58B1-50CD-4780-AB36-B301C99ED307}"/>
                  </a:ext>
                </a:extLst>
              </p:cNvPr>
              <p:cNvCxnSpPr>
                <a:cxnSpLocks/>
              </p:cNvCxnSpPr>
              <p:nvPr/>
            </p:nvCxnSpPr>
            <p:spPr bwMode="gray">
              <a:xfrm>
                <a:off x="11286938" y="3053430"/>
                <a:ext cx="35625" cy="0"/>
              </a:xfrm>
              <a:prstGeom prst="line">
                <a:avLst/>
              </a:prstGeom>
              <a:grpFill/>
              <a:ln w="19050" cap="rnd">
                <a:solidFill>
                  <a:schemeClr val="tx1"/>
                </a:solidFill>
                <a:prstDash val="solid"/>
                <a:round/>
                <a:headEnd/>
                <a:tailEnd/>
              </a:ln>
              <a:extLst/>
            </p:spPr>
          </p:cxnSp>
          <p:sp>
            <p:nvSpPr>
              <p:cNvPr id="950" name="Rectangle: Rounded Corners 49">
                <a:extLst>
                  <a:ext uri="{FF2B5EF4-FFF2-40B4-BE49-F238E27FC236}">
                    <a16:creationId xmlns:a16="http://schemas.microsoft.com/office/drawing/2014/main" id="{C2D749DA-ED2A-4569-83A6-FF4C8FD77A8F}"/>
                  </a:ext>
                </a:extLst>
              </p:cNvPr>
              <p:cNvSpPr/>
              <p:nvPr/>
            </p:nvSpPr>
            <p:spPr bwMode="gray">
              <a:xfrm>
                <a:off x="11216297" y="3309274"/>
                <a:ext cx="100634" cy="33106"/>
              </a:xfrm>
              <a:prstGeom prst="rect">
                <a:avLst/>
              </a:prstGeom>
              <a:grpFill/>
              <a:ln w="19050" cap="rnd">
                <a:solidFill>
                  <a:schemeClr val="tx1"/>
                </a:solidFill>
                <a:prstDash val="solid"/>
                <a:round/>
                <a:headEnd/>
                <a:tailEnd/>
              </a:ln>
              <a:extLst/>
            </p:spPr>
            <p:txBody>
              <a:bodyPr rtlCol="0" anchor="ctr"/>
              <a:lstStyle/>
              <a:p>
                <a:pPr algn="ctr"/>
                <a:endParaRPr lang="en-US" sz="1400"/>
              </a:p>
            </p:txBody>
          </p:sp>
          <p:cxnSp>
            <p:nvCxnSpPr>
              <p:cNvPr id="951" name="Straight Connector 950">
                <a:extLst>
                  <a:ext uri="{FF2B5EF4-FFF2-40B4-BE49-F238E27FC236}">
                    <a16:creationId xmlns:a16="http://schemas.microsoft.com/office/drawing/2014/main" id="{A383BF73-CE4B-4B12-924F-A85AA16A92AD}"/>
                  </a:ext>
                </a:extLst>
              </p:cNvPr>
              <p:cNvCxnSpPr>
                <a:cxnSpLocks/>
              </p:cNvCxnSpPr>
              <p:nvPr/>
            </p:nvCxnSpPr>
            <p:spPr bwMode="gray">
              <a:xfrm>
                <a:off x="11247575" y="3002390"/>
                <a:ext cx="38079" cy="0"/>
              </a:xfrm>
              <a:prstGeom prst="line">
                <a:avLst/>
              </a:prstGeom>
              <a:grpFill/>
              <a:ln w="19050" cap="rnd">
                <a:solidFill>
                  <a:schemeClr val="tx1"/>
                </a:solidFill>
                <a:prstDash val="solid"/>
                <a:round/>
                <a:headEnd/>
                <a:tailEnd/>
              </a:ln>
              <a:extLst/>
            </p:spPr>
          </p:cxnSp>
          <p:cxnSp>
            <p:nvCxnSpPr>
              <p:cNvPr id="952" name="Straight Connector 951">
                <a:extLst>
                  <a:ext uri="{FF2B5EF4-FFF2-40B4-BE49-F238E27FC236}">
                    <a16:creationId xmlns:a16="http://schemas.microsoft.com/office/drawing/2014/main" id="{44103686-1C38-4594-B57E-6E2A1F449254}"/>
                  </a:ext>
                </a:extLst>
              </p:cNvPr>
              <p:cNvCxnSpPr>
                <a:cxnSpLocks/>
              </p:cNvCxnSpPr>
              <p:nvPr/>
            </p:nvCxnSpPr>
            <p:spPr bwMode="gray">
              <a:xfrm>
                <a:off x="11266614" y="2998251"/>
                <a:ext cx="0" cy="26068"/>
              </a:xfrm>
              <a:prstGeom prst="line">
                <a:avLst/>
              </a:prstGeom>
              <a:grpFill/>
              <a:ln w="19050" cap="rnd">
                <a:solidFill>
                  <a:schemeClr val="tx1"/>
                </a:solidFill>
                <a:prstDash val="solid"/>
                <a:round/>
                <a:headEnd/>
                <a:tailEnd/>
              </a:ln>
              <a:extLst/>
            </p:spPr>
          </p:cxnSp>
          <p:sp>
            <p:nvSpPr>
              <p:cNvPr id="953" name="Freeform: Shape 952">
                <a:extLst>
                  <a:ext uri="{FF2B5EF4-FFF2-40B4-BE49-F238E27FC236}">
                    <a16:creationId xmlns:a16="http://schemas.microsoft.com/office/drawing/2014/main" id="{5691B4AF-1540-48F7-A730-CCB2AA2F5E2B}"/>
                  </a:ext>
                </a:extLst>
              </p:cNvPr>
              <p:cNvSpPr/>
              <p:nvPr/>
            </p:nvSpPr>
            <p:spPr bwMode="gray">
              <a:xfrm>
                <a:off x="11282938" y="3199521"/>
                <a:ext cx="13995" cy="22175"/>
              </a:xfrm>
              <a:custGeom>
                <a:avLst/>
                <a:gdLst>
                  <a:gd name="connsiteX0" fmla="*/ 0 w 89535"/>
                  <a:gd name="connsiteY0" fmla="*/ 0 h 68580"/>
                  <a:gd name="connsiteX1" fmla="*/ 89535 w 89535"/>
                  <a:gd name="connsiteY1" fmla="*/ 68580 h 68580"/>
                  <a:gd name="connsiteX0" fmla="*/ 0 w 138637"/>
                  <a:gd name="connsiteY0" fmla="*/ 0 h 362909"/>
                  <a:gd name="connsiteX1" fmla="*/ 138637 w 138637"/>
                  <a:gd name="connsiteY1" fmla="*/ 362909 h 362909"/>
                  <a:gd name="connsiteX0" fmla="*/ 0 w 138637"/>
                  <a:gd name="connsiteY0" fmla="*/ 0 h 362909"/>
                  <a:gd name="connsiteX1" fmla="*/ 67051 w 138637"/>
                  <a:gd name="connsiteY1" fmla="*/ 173432 h 362909"/>
                  <a:gd name="connsiteX2" fmla="*/ 138637 w 138637"/>
                  <a:gd name="connsiteY2" fmla="*/ 362909 h 362909"/>
                  <a:gd name="connsiteX0" fmla="*/ 0 w 138637"/>
                  <a:gd name="connsiteY0" fmla="*/ 0 h 362909"/>
                  <a:gd name="connsiteX1" fmla="*/ 136101 w 138637"/>
                  <a:gd name="connsiteY1" fmla="*/ 30554 h 362909"/>
                  <a:gd name="connsiteX2" fmla="*/ 138637 w 138637"/>
                  <a:gd name="connsiteY2" fmla="*/ 362909 h 362909"/>
                  <a:gd name="connsiteX0" fmla="*/ 0 w 138637"/>
                  <a:gd name="connsiteY0" fmla="*/ 0 h 362909"/>
                  <a:gd name="connsiteX1" fmla="*/ 136101 w 138637"/>
                  <a:gd name="connsiteY1" fmla="*/ 30554 h 362909"/>
                  <a:gd name="connsiteX2" fmla="*/ 138637 w 138637"/>
                  <a:gd name="connsiteY2" fmla="*/ 362909 h 362909"/>
                  <a:gd name="connsiteX0" fmla="*/ 0 w 140705"/>
                  <a:gd name="connsiteY0" fmla="*/ 0 h 362909"/>
                  <a:gd name="connsiteX1" fmla="*/ 140705 w 140705"/>
                  <a:gd name="connsiteY1" fmla="*/ 36269 h 362909"/>
                  <a:gd name="connsiteX2" fmla="*/ 138637 w 140705"/>
                  <a:gd name="connsiteY2" fmla="*/ 362909 h 362909"/>
                  <a:gd name="connsiteX0" fmla="*/ 0 w 140705"/>
                  <a:gd name="connsiteY0" fmla="*/ 0 h 362909"/>
                  <a:gd name="connsiteX1" fmla="*/ 140705 w 140705"/>
                  <a:gd name="connsiteY1" fmla="*/ 36269 h 362909"/>
                  <a:gd name="connsiteX2" fmla="*/ 138637 w 140705"/>
                  <a:gd name="connsiteY2" fmla="*/ 362909 h 362909"/>
                  <a:gd name="connsiteX0" fmla="*/ 0 w 160782"/>
                  <a:gd name="connsiteY0" fmla="*/ 0 h 362909"/>
                  <a:gd name="connsiteX1" fmla="*/ 140705 w 160782"/>
                  <a:gd name="connsiteY1" fmla="*/ 36269 h 362909"/>
                  <a:gd name="connsiteX2" fmla="*/ 138637 w 160782"/>
                  <a:gd name="connsiteY2" fmla="*/ 362909 h 362909"/>
                  <a:gd name="connsiteX0" fmla="*/ 0 w 160782"/>
                  <a:gd name="connsiteY0" fmla="*/ 22407 h 385316"/>
                  <a:gd name="connsiteX1" fmla="*/ 140705 w 160782"/>
                  <a:gd name="connsiteY1" fmla="*/ 58676 h 385316"/>
                  <a:gd name="connsiteX2" fmla="*/ 138637 w 160782"/>
                  <a:gd name="connsiteY2" fmla="*/ 385316 h 385316"/>
                  <a:gd name="connsiteX0" fmla="*/ 0 w 160782"/>
                  <a:gd name="connsiteY0" fmla="*/ 52045 h 414954"/>
                  <a:gd name="connsiteX1" fmla="*/ 140705 w 160782"/>
                  <a:gd name="connsiteY1" fmla="*/ 88314 h 414954"/>
                  <a:gd name="connsiteX2" fmla="*/ 138637 w 160782"/>
                  <a:gd name="connsiteY2" fmla="*/ 414954 h 414954"/>
                  <a:gd name="connsiteX0" fmla="*/ 0 w 160782"/>
                  <a:gd name="connsiteY0" fmla="*/ 57888 h 420797"/>
                  <a:gd name="connsiteX1" fmla="*/ 140705 w 160782"/>
                  <a:gd name="connsiteY1" fmla="*/ 94157 h 420797"/>
                  <a:gd name="connsiteX2" fmla="*/ 138637 w 160782"/>
                  <a:gd name="connsiteY2" fmla="*/ 420797 h 420797"/>
                  <a:gd name="connsiteX0" fmla="*/ 0 w 158143"/>
                  <a:gd name="connsiteY0" fmla="*/ 55588 h 418497"/>
                  <a:gd name="connsiteX1" fmla="*/ 137636 w 158143"/>
                  <a:gd name="connsiteY1" fmla="*/ 97572 h 418497"/>
                  <a:gd name="connsiteX2" fmla="*/ 138637 w 158143"/>
                  <a:gd name="connsiteY2" fmla="*/ 418497 h 418497"/>
                  <a:gd name="connsiteX0" fmla="*/ 0 w 138637"/>
                  <a:gd name="connsiteY0" fmla="*/ 55588 h 418497"/>
                  <a:gd name="connsiteX1" fmla="*/ 137636 w 138637"/>
                  <a:gd name="connsiteY1" fmla="*/ 97572 h 418497"/>
                  <a:gd name="connsiteX2" fmla="*/ 138637 w 138637"/>
                  <a:gd name="connsiteY2" fmla="*/ 418497 h 418497"/>
                  <a:gd name="connsiteX0" fmla="*/ 4055 w 141691"/>
                  <a:gd name="connsiteY0" fmla="*/ 55588 h 415639"/>
                  <a:gd name="connsiteX1" fmla="*/ 141691 w 141691"/>
                  <a:gd name="connsiteY1" fmla="*/ 97572 h 415639"/>
                  <a:gd name="connsiteX2" fmla="*/ 7662 w 141691"/>
                  <a:gd name="connsiteY2" fmla="*/ 415639 h 415639"/>
                  <a:gd name="connsiteX0" fmla="*/ 0 w 137636"/>
                  <a:gd name="connsiteY0" fmla="*/ 55588 h 415639"/>
                  <a:gd name="connsiteX1" fmla="*/ 137636 w 137636"/>
                  <a:gd name="connsiteY1" fmla="*/ 97572 h 415639"/>
                  <a:gd name="connsiteX2" fmla="*/ 3607 w 137636"/>
                  <a:gd name="connsiteY2" fmla="*/ 415639 h 415639"/>
                  <a:gd name="connsiteX0" fmla="*/ 0 w 137636"/>
                  <a:gd name="connsiteY0" fmla="*/ 52352 h 412403"/>
                  <a:gd name="connsiteX1" fmla="*/ 137636 w 137636"/>
                  <a:gd name="connsiteY1" fmla="*/ 102909 h 412403"/>
                  <a:gd name="connsiteX2" fmla="*/ 3607 w 137636"/>
                  <a:gd name="connsiteY2" fmla="*/ 412403 h 412403"/>
                  <a:gd name="connsiteX0" fmla="*/ 0 w 134567"/>
                  <a:gd name="connsiteY0" fmla="*/ 52352 h 412403"/>
                  <a:gd name="connsiteX1" fmla="*/ 134567 w 134567"/>
                  <a:gd name="connsiteY1" fmla="*/ 102909 h 412403"/>
                  <a:gd name="connsiteX2" fmla="*/ 3607 w 134567"/>
                  <a:gd name="connsiteY2" fmla="*/ 412403 h 412403"/>
                  <a:gd name="connsiteX0" fmla="*/ 5680 w 140250"/>
                  <a:gd name="connsiteY0" fmla="*/ 52352 h 415190"/>
                  <a:gd name="connsiteX1" fmla="*/ 140247 w 140250"/>
                  <a:gd name="connsiteY1" fmla="*/ 102909 h 415190"/>
                  <a:gd name="connsiteX2" fmla="*/ 9820 w 140250"/>
                  <a:gd name="connsiteY2" fmla="*/ 382950 h 415190"/>
                  <a:gd name="connsiteX3" fmla="*/ 9287 w 140250"/>
                  <a:gd name="connsiteY3" fmla="*/ 412403 h 415190"/>
                  <a:gd name="connsiteX0" fmla="*/ 0 w 140171"/>
                  <a:gd name="connsiteY0" fmla="*/ 52352 h 416750"/>
                  <a:gd name="connsiteX1" fmla="*/ 134567 w 140171"/>
                  <a:gd name="connsiteY1" fmla="*/ 102909 h 416750"/>
                  <a:gd name="connsiteX2" fmla="*/ 4140 w 140171"/>
                  <a:gd name="connsiteY2" fmla="*/ 382950 h 416750"/>
                  <a:gd name="connsiteX3" fmla="*/ 140171 w 140171"/>
                  <a:gd name="connsiteY3" fmla="*/ 415261 h 416750"/>
                  <a:gd name="connsiteX0" fmla="*/ 0 w 134570"/>
                  <a:gd name="connsiteY0" fmla="*/ 52352 h 566711"/>
                  <a:gd name="connsiteX1" fmla="*/ 134567 w 134570"/>
                  <a:gd name="connsiteY1" fmla="*/ 102909 h 566711"/>
                  <a:gd name="connsiteX2" fmla="*/ 4140 w 134570"/>
                  <a:gd name="connsiteY2" fmla="*/ 382950 h 566711"/>
                  <a:gd name="connsiteX3" fmla="*/ 68053 w 134570"/>
                  <a:gd name="connsiteY3" fmla="*/ 566711 h 566711"/>
                  <a:gd name="connsiteX0" fmla="*/ 746 w 135316"/>
                  <a:gd name="connsiteY0" fmla="*/ 52352 h 566711"/>
                  <a:gd name="connsiteX1" fmla="*/ 135313 w 135316"/>
                  <a:gd name="connsiteY1" fmla="*/ 102909 h 566711"/>
                  <a:gd name="connsiteX2" fmla="*/ 4886 w 135316"/>
                  <a:gd name="connsiteY2" fmla="*/ 382950 h 566711"/>
                  <a:gd name="connsiteX3" fmla="*/ 68799 w 135316"/>
                  <a:gd name="connsiteY3" fmla="*/ 566711 h 566711"/>
                  <a:gd name="connsiteX0" fmla="*/ 0 w 144776"/>
                  <a:gd name="connsiteY0" fmla="*/ 52352 h 420976"/>
                  <a:gd name="connsiteX1" fmla="*/ 134567 w 144776"/>
                  <a:gd name="connsiteY1" fmla="*/ 102909 h 420976"/>
                  <a:gd name="connsiteX2" fmla="*/ 4140 w 144776"/>
                  <a:gd name="connsiteY2" fmla="*/ 382950 h 420976"/>
                  <a:gd name="connsiteX3" fmla="*/ 144775 w 144776"/>
                  <a:gd name="connsiteY3" fmla="*/ 420976 h 420976"/>
                  <a:gd name="connsiteX0" fmla="*/ 0 w 144775"/>
                  <a:gd name="connsiteY0" fmla="*/ 52352 h 421674"/>
                  <a:gd name="connsiteX1" fmla="*/ 134567 w 144775"/>
                  <a:gd name="connsiteY1" fmla="*/ 102909 h 421674"/>
                  <a:gd name="connsiteX2" fmla="*/ 4140 w 144775"/>
                  <a:gd name="connsiteY2" fmla="*/ 382950 h 421674"/>
                  <a:gd name="connsiteX3" fmla="*/ 144775 w 144775"/>
                  <a:gd name="connsiteY3" fmla="*/ 420976 h 421674"/>
                  <a:gd name="connsiteX0" fmla="*/ 0 w 140172"/>
                  <a:gd name="connsiteY0" fmla="*/ 52352 h 417927"/>
                  <a:gd name="connsiteX1" fmla="*/ 134567 w 140172"/>
                  <a:gd name="connsiteY1" fmla="*/ 102909 h 417927"/>
                  <a:gd name="connsiteX2" fmla="*/ 4140 w 140172"/>
                  <a:gd name="connsiteY2" fmla="*/ 382950 h 417927"/>
                  <a:gd name="connsiteX3" fmla="*/ 140172 w 140172"/>
                  <a:gd name="connsiteY3" fmla="*/ 415261 h 417927"/>
                  <a:gd name="connsiteX0" fmla="*/ 1216 w 141388"/>
                  <a:gd name="connsiteY0" fmla="*/ 52352 h 430929"/>
                  <a:gd name="connsiteX1" fmla="*/ 135783 w 141388"/>
                  <a:gd name="connsiteY1" fmla="*/ 102909 h 430929"/>
                  <a:gd name="connsiteX2" fmla="*/ 3822 w 141388"/>
                  <a:gd name="connsiteY2" fmla="*/ 405811 h 430929"/>
                  <a:gd name="connsiteX3" fmla="*/ 141388 w 141388"/>
                  <a:gd name="connsiteY3" fmla="*/ 415261 h 430929"/>
                  <a:gd name="connsiteX0" fmla="*/ 0 w 140172"/>
                  <a:gd name="connsiteY0" fmla="*/ 52352 h 415261"/>
                  <a:gd name="connsiteX1" fmla="*/ 134567 w 140172"/>
                  <a:gd name="connsiteY1" fmla="*/ 102909 h 415261"/>
                  <a:gd name="connsiteX2" fmla="*/ 2606 w 140172"/>
                  <a:gd name="connsiteY2" fmla="*/ 405811 h 415261"/>
                  <a:gd name="connsiteX3" fmla="*/ 140172 w 140172"/>
                  <a:gd name="connsiteY3" fmla="*/ 415261 h 415261"/>
                  <a:gd name="connsiteX0" fmla="*/ 463 w 140635"/>
                  <a:gd name="connsiteY0" fmla="*/ 52352 h 415512"/>
                  <a:gd name="connsiteX1" fmla="*/ 135030 w 140635"/>
                  <a:gd name="connsiteY1" fmla="*/ 102909 h 415512"/>
                  <a:gd name="connsiteX2" fmla="*/ 0 w 140635"/>
                  <a:gd name="connsiteY2" fmla="*/ 414383 h 415512"/>
                  <a:gd name="connsiteX3" fmla="*/ 140635 w 140635"/>
                  <a:gd name="connsiteY3" fmla="*/ 415261 h 415512"/>
                  <a:gd name="connsiteX0" fmla="*/ 463 w 140635"/>
                  <a:gd name="connsiteY0" fmla="*/ 52352 h 415261"/>
                  <a:gd name="connsiteX1" fmla="*/ 135030 w 140635"/>
                  <a:gd name="connsiteY1" fmla="*/ 102909 h 415261"/>
                  <a:gd name="connsiteX2" fmla="*/ 0 w 140635"/>
                  <a:gd name="connsiteY2" fmla="*/ 408667 h 415261"/>
                  <a:gd name="connsiteX3" fmla="*/ 140635 w 140635"/>
                  <a:gd name="connsiteY3" fmla="*/ 415261 h 415261"/>
                  <a:gd name="connsiteX0" fmla="*/ 463 w 140635"/>
                  <a:gd name="connsiteY0" fmla="*/ 52352 h 415510"/>
                  <a:gd name="connsiteX1" fmla="*/ 135030 w 140635"/>
                  <a:gd name="connsiteY1" fmla="*/ 102909 h 415510"/>
                  <a:gd name="connsiteX2" fmla="*/ 0 w 140635"/>
                  <a:gd name="connsiteY2" fmla="*/ 414382 h 415510"/>
                  <a:gd name="connsiteX3" fmla="*/ 140635 w 140635"/>
                  <a:gd name="connsiteY3" fmla="*/ 415261 h 415510"/>
                  <a:gd name="connsiteX0" fmla="*/ 463 w 140635"/>
                  <a:gd name="connsiteY0" fmla="*/ 52352 h 415510"/>
                  <a:gd name="connsiteX1" fmla="*/ 135030 w 140635"/>
                  <a:gd name="connsiteY1" fmla="*/ 102909 h 415510"/>
                  <a:gd name="connsiteX2" fmla="*/ 0 w 140635"/>
                  <a:gd name="connsiteY2" fmla="*/ 414382 h 415510"/>
                  <a:gd name="connsiteX3" fmla="*/ 140635 w 140635"/>
                  <a:gd name="connsiteY3" fmla="*/ 415261 h 415510"/>
                  <a:gd name="connsiteX0" fmla="*/ 636 w 140808"/>
                  <a:gd name="connsiteY0" fmla="*/ 52352 h 415510"/>
                  <a:gd name="connsiteX1" fmla="*/ 135203 w 140808"/>
                  <a:gd name="connsiteY1" fmla="*/ 102909 h 415510"/>
                  <a:gd name="connsiteX2" fmla="*/ 173 w 140808"/>
                  <a:gd name="connsiteY2" fmla="*/ 414382 h 415510"/>
                  <a:gd name="connsiteX3" fmla="*/ 140808 w 140808"/>
                  <a:gd name="connsiteY3" fmla="*/ 415261 h 415510"/>
                  <a:gd name="connsiteX0" fmla="*/ 637 w 140809"/>
                  <a:gd name="connsiteY0" fmla="*/ 52352 h 415510"/>
                  <a:gd name="connsiteX1" fmla="*/ 135204 w 140809"/>
                  <a:gd name="connsiteY1" fmla="*/ 102909 h 415510"/>
                  <a:gd name="connsiteX2" fmla="*/ 174 w 140809"/>
                  <a:gd name="connsiteY2" fmla="*/ 414382 h 415510"/>
                  <a:gd name="connsiteX3" fmla="*/ 140809 w 140809"/>
                  <a:gd name="connsiteY3" fmla="*/ 415261 h 415510"/>
                  <a:gd name="connsiteX0" fmla="*/ 0 w 140172"/>
                  <a:gd name="connsiteY0" fmla="*/ 52352 h 415510"/>
                  <a:gd name="connsiteX1" fmla="*/ 134567 w 140172"/>
                  <a:gd name="connsiteY1" fmla="*/ 102909 h 415510"/>
                  <a:gd name="connsiteX2" fmla="*/ 1071 w 140172"/>
                  <a:gd name="connsiteY2" fmla="*/ 414382 h 415510"/>
                  <a:gd name="connsiteX3" fmla="*/ 140172 w 140172"/>
                  <a:gd name="connsiteY3" fmla="*/ 415261 h 415510"/>
                  <a:gd name="connsiteX0" fmla="*/ 0 w 141706"/>
                  <a:gd name="connsiteY0" fmla="*/ 52352 h 415510"/>
                  <a:gd name="connsiteX1" fmla="*/ 134567 w 141706"/>
                  <a:gd name="connsiteY1" fmla="*/ 102909 h 415510"/>
                  <a:gd name="connsiteX2" fmla="*/ 1071 w 141706"/>
                  <a:gd name="connsiteY2" fmla="*/ 414382 h 415510"/>
                  <a:gd name="connsiteX3" fmla="*/ 141706 w 141706"/>
                  <a:gd name="connsiteY3" fmla="*/ 415261 h 415510"/>
                  <a:gd name="connsiteX0" fmla="*/ 2175 w 140812"/>
                  <a:gd name="connsiteY0" fmla="*/ 52353 h 415510"/>
                  <a:gd name="connsiteX1" fmla="*/ 133673 w 140812"/>
                  <a:gd name="connsiteY1" fmla="*/ 102909 h 415510"/>
                  <a:gd name="connsiteX2" fmla="*/ 177 w 140812"/>
                  <a:gd name="connsiteY2" fmla="*/ 414382 h 415510"/>
                  <a:gd name="connsiteX3" fmla="*/ 140812 w 140812"/>
                  <a:gd name="connsiteY3" fmla="*/ 415261 h 415510"/>
                </a:gdLst>
                <a:ahLst/>
                <a:cxnLst>
                  <a:cxn ang="0">
                    <a:pos x="connsiteX0" y="connsiteY0"/>
                  </a:cxn>
                  <a:cxn ang="0">
                    <a:pos x="connsiteX1" y="connsiteY1"/>
                  </a:cxn>
                  <a:cxn ang="0">
                    <a:pos x="connsiteX2" y="connsiteY2"/>
                  </a:cxn>
                  <a:cxn ang="0">
                    <a:pos x="connsiteX3" y="connsiteY3"/>
                  </a:cxn>
                </a:cxnLst>
                <a:rect l="l" t="t" r="r" b="b"/>
                <a:pathLst>
                  <a:path w="140812" h="415510">
                    <a:moveTo>
                      <a:pt x="2175" y="52353"/>
                    </a:moveTo>
                    <a:cubicBezTo>
                      <a:pt x="36801" y="-34619"/>
                      <a:pt x="132804" y="-10148"/>
                      <a:pt x="133673" y="102909"/>
                    </a:cubicBezTo>
                    <a:cubicBezTo>
                      <a:pt x="132829" y="255166"/>
                      <a:pt x="-5616" y="171344"/>
                      <a:pt x="177" y="414382"/>
                    </a:cubicBezTo>
                    <a:cubicBezTo>
                      <a:pt x="50469" y="417385"/>
                      <a:pt x="56506" y="413209"/>
                      <a:pt x="140812" y="415261"/>
                    </a:cubicBezTo>
                  </a:path>
                </a:pathLst>
              </a:custGeom>
              <a:grpFill/>
              <a:ln w="12700" cap="rnd">
                <a:solidFill>
                  <a:schemeClr val="tx1"/>
                </a:solidFill>
                <a:prstDash val="solid"/>
                <a:round/>
                <a:headEnd/>
                <a:tailEnd/>
              </a:ln>
              <a:extLst/>
            </p:spPr>
            <p:txBody>
              <a:bodyPr rtlCol="0" anchor="ctr"/>
              <a:lstStyle/>
              <a:p>
                <a:pPr algn="ctr"/>
                <a:endParaRPr lang="de-DE"/>
              </a:p>
            </p:txBody>
          </p:sp>
        </p:grpSp>
      </p:grpSp>
    </p:spTree>
    <p:custDataLst>
      <p:tags r:id="rId1"/>
    </p:custDataLst>
    <p:extLst>
      <p:ext uri="{BB962C8B-B14F-4D97-AF65-F5344CB8AC3E}">
        <p14:creationId xmlns:p14="http://schemas.microsoft.com/office/powerpoint/2010/main" val="93434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1BCF31-5C55-4657-A54F-DC1EA3C30CD6}"/>
              </a:ext>
            </a:extLst>
          </p:cNvPr>
          <p:cNvSpPr>
            <a:spLocks noGrp="1"/>
          </p:cNvSpPr>
          <p:nvPr>
            <p:ph type="title"/>
          </p:nvPr>
        </p:nvSpPr>
        <p:spPr bwMode="gray">
          <a:xfrm>
            <a:off x="333264" y="682313"/>
            <a:ext cx="11520000" cy="396000"/>
          </a:xfrm>
        </p:spPr>
        <p:txBody>
          <a:bodyPr/>
          <a:lstStyle/>
          <a:p>
            <a:r>
              <a:rPr lang="en-GB" dirty="0"/>
              <a:t>Gasification of coal and refinery residue</a:t>
            </a:r>
            <a:endParaRPr lang="de-DE" dirty="0"/>
          </a:p>
        </p:txBody>
      </p:sp>
      <p:sp>
        <p:nvSpPr>
          <p:cNvPr id="7" name="Subtitle 6">
            <a:extLst>
              <a:ext uri="{FF2B5EF4-FFF2-40B4-BE49-F238E27FC236}">
                <a16:creationId xmlns:a16="http://schemas.microsoft.com/office/drawing/2014/main" id="{251F1099-90B1-4C09-AE78-1B8A50E7A613}"/>
              </a:ext>
            </a:extLst>
          </p:cNvPr>
          <p:cNvSpPr>
            <a:spLocks noGrp="1"/>
          </p:cNvSpPr>
          <p:nvPr>
            <p:ph type="subTitle" idx="13"/>
          </p:nvPr>
        </p:nvSpPr>
        <p:spPr bwMode="gray"/>
        <p:txBody>
          <a:bodyPr/>
          <a:lstStyle/>
          <a:p>
            <a:r>
              <a:rPr lang="de-DE" dirty="0"/>
              <a:t>ASU and </a:t>
            </a:r>
            <a:r>
              <a:rPr lang="de-DE" dirty="0" err="1"/>
              <a:t>HyCO</a:t>
            </a:r>
            <a:r>
              <a:rPr lang="de-DE" dirty="0"/>
              <a:t> plants</a:t>
            </a:r>
          </a:p>
        </p:txBody>
      </p:sp>
      <p:sp>
        <p:nvSpPr>
          <p:cNvPr id="17" name="Date Placeholder 16">
            <a:extLst>
              <a:ext uri="{FF2B5EF4-FFF2-40B4-BE49-F238E27FC236}">
                <a16:creationId xmlns:a16="http://schemas.microsoft.com/office/drawing/2014/main" id="{9DF2D507-D18A-4FB4-9200-85DA541C82CF}"/>
              </a:ext>
            </a:extLst>
          </p:cNvPr>
          <p:cNvSpPr>
            <a:spLocks noGrp="1"/>
          </p:cNvSpPr>
          <p:nvPr>
            <p:ph type="dt" sz="half" idx="14"/>
          </p:nvPr>
        </p:nvSpPr>
        <p:spPr bwMode="gray"/>
        <p:txBody>
          <a:bodyPr/>
          <a:lstStyle/>
          <a:p>
            <a:fld id="{71D7770C-772A-4E61-B396-C45FF7370B6C}" type="datetime4">
              <a:rPr lang="en-US" smtClean="0"/>
              <a:t>September 8, 2019</a:t>
            </a:fld>
            <a:endParaRPr lang="en-US" dirty="0"/>
          </a:p>
        </p:txBody>
      </p:sp>
      <p:sp>
        <p:nvSpPr>
          <p:cNvPr id="18" name="Footer Placeholder 17">
            <a:extLst>
              <a:ext uri="{FF2B5EF4-FFF2-40B4-BE49-F238E27FC236}">
                <a16:creationId xmlns:a16="http://schemas.microsoft.com/office/drawing/2014/main" id="{73906099-CF02-4494-8E62-0665EAE3387D}"/>
              </a:ext>
            </a:extLst>
          </p:cNvPr>
          <p:cNvSpPr>
            <a:spLocks noGrp="1"/>
          </p:cNvSpPr>
          <p:nvPr>
            <p:ph type="ftr" sz="quarter" idx="15"/>
          </p:nvPr>
        </p:nvSpPr>
        <p:spPr bwMode="gray"/>
        <p:txBody>
          <a:bodyPr/>
          <a:lstStyle/>
          <a:p>
            <a:pPr lvl="8"/>
            <a:r>
              <a:rPr lang="de-DE" dirty="0"/>
              <a:t>Source: Linde Group</a:t>
            </a:r>
            <a:endParaRPr lang="en-US" dirty="0"/>
          </a:p>
        </p:txBody>
      </p:sp>
      <p:sp>
        <p:nvSpPr>
          <p:cNvPr id="19" name="Slide Number Placeholder 18">
            <a:extLst>
              <a:ext uri="{FF2B5EF4-FFF2-40B4-BE49-F238E27FC236}">
                <a16:creationId xmlns:a16="http://schemas.microsoft.com/office/drawing/2014/main" id="{799D6304-3141-4035-9E75-97B50205FFB9}"/>
              </a:ext>
            </a:extLst>
          </p:cNvPr>
          <p:cNvSpPr>
            <a:spLocks noGrp="1"/>
          </p:cNvSpPr>
          <p:nvPr>
            <p:ph type="sldNum" sz="quarter" idx="16"/>
          </p:nvPr>
        </p:nvSpPr>
        <p:spPr bwMode="gray"/>
        <p:txBody>
          <a:bodyPr/>
          <a:lstStyle/>
          <a:p>
            <a:r>
              <a:rPr lang="en-US"/>
              <a:t>Slide </a:t>
            </a:r>
            <a:fld id="{619F89D8-7AE3-494A-97F3-03D680869632}" type="slidenum">
              <a:rPr lang="en-US" smtClean="0"/>
              <a:pPr/>
              <a:t>57</a:t>
            </a:fld>
            <a:endParaRPr lang="en-US" dirty="0"/>
          </a:p>
        </p:txBody>
      </p:sp>
      <p:grpSp>
        <p:nvGrpSpPr>
          <p:cNvPr id="139" name="Group 138">
            <a:extLst>
              <a:ext uri="{FF2B5EF4-FFF2-40B4-BE49-F238E27FC236}">
                <a16:creationId xmlns:a16="http://schemas.microsoft.com/office/drawing/2014/main" id="{BADE0E4B-8AC4-4482-8DF0-B35736679C2E}"/>
              </a:ext>
            </a:extLst>
          </p:cNvPr>
          <p:cNvGrpSpPr/>
          <p:nvPr/>
        </p:nvGrpSpPr>
        <p:grpSpPr bwMode="gray">
          <a:xfrm>
            <a:off x="336550" y="1929215"/>
            <a:ext cx="11516714" cy="3974748"/>
            <a:chOff x="336550" y="1939375"/>
            <a:chExt cx="11516714" cy="3974748"/>
          </a:xfrm>
        </p:grpSpPr>
        <p:sp>
          <p:nvSpPr>
            <p:cNvPr id="37" name="Rechteck 87">
              <a:extLst>
                <a:ext uri="{FF2B5EF4-FFF2-40B4-BE49-F238E27FC236}">
                  <a16:creationId xmlns:a16="http://schemas.microsoft.com/office/drawing/2014/main" id="{0D08493D-CDF6-45FA-8999-48841747D80A}"/>
                </a:ext>
              </a:extLst>
            </p:cNvPr>
            <p:cNvSpPr/>
            <p:nvPr/>
          </p:nvSpPr>
          <p:spPr bwMode="gray">
            <a:xfrm>
              <a:off x="2090772" y="2518038"/>
              <a:ext cx="8008268" cy="2832472"/>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200" dirty="0">
                <a:solidFill>
                  <a:schemeClr val="bg1"/>
                </a:solidFill>
              </a:endParaRPr>
            </a:p>
          </p:txBody>
        </p:sp>
        <p:cxnSp>
          <p:nvCxnSpPr>
            <p:cNvPr id="90" name="Straight Connector 89">
              <a:extLst>
                <a:ext uri="{FF2B5EF4-FFF2-40B4-BE49-F238E27FC236}">
                  <a16:creationId xmlns:a16="http://schemas.microsoft.com/office/drawing/2014/main" id="{C1033342-D750-488C-AE60-27400CCB7DA4}"/>
                </a:ext>
              </a:extLst>
            </p:cNvPr>
            <p:cNvCxnSpPr>
              <a:cxnSpLocks/>
              <a:stCxn id="29" idx="2"/>
              <a:endCxn id="28" idx="0"/>
            </p:cNvCxnSpPr>
            <p:nvPr/>
          </p:nvCxnSpPr>
          <p:spPr bwMode="gray">
            <a:xfrm>
              <a:off x="7104345" y="2386204"/>
              <a:ext cx="0" cy="412345"/>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121" name="Rechteck 87">
              <a:extLst>
                <a:ext uri="{FF2B5EF4-FFF2-40B4-BE49-F238E27FC236}">
                  <a16:creationId xmlns:a16="http://schemas.microsoft.com/office/drawing/2014/main" id="{68B7D741-8992-470A-8924-827FE4F2A521}"/>
                </a:ext>
              </a:extLst>
            </p:cNvPr>
            <p:cNvSpPr/>
            <p:nvPr/>
          </p:nvSpPr>
          <p:spPr bwMode="gray">
            <a:xfrm>
              <a:off x="6915232" y="2646045"/>
              <a:ext cx="378226" cy="78674"/>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lgn="ctr">
                <a:spcBef>
                  <a:spcPts val="300"/>
                </a:spcBef>
                <a:buClr>
                  <a:srgbClr val="002897"/>
                </a:buClr>
                <a:buSzPct val="70000"/>
              </a:pPr>
              <a:endParaRPr lang="de-DE" sz="1200" baseline="-25000" dirty="0">
                <a:solidFill>
                  <a:schemeClr val="bg2"/>
                </a:solidFill>
              </a:endParaRPr>
            </a:p>
          </p:txBody>
        </p:sp>
        <p:sp>
          <p:nvSpPr>
            <p:cNvPr id="23" name="Rechteck 87">
              <a:extLst>
                <a:ext uri="{FF2B5EF4-FFF2-40B4-BE49-F238E27FC236}">
                  <a16:creationId xmlns:a16="http://schemas.microsoft.com/office/drawing/2014/main" id="{22548D13-2900-4F20-B25E-BC29941ADCC0}"/>
                </a:ext>
              </a:extLst>
            </p:cNvPr>
            <p:cNvSpPr/>
            <p:nvPr/>
          </p:nvSpPr>
          <p:spPr bwMode="gray">
            <a:xfrm>
              <a:off x="336550" y="3651354"/>
              <a:ext cx="1422322" cy="5724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r">
                <a:spcBef>
                  <a:spcPts val="300"/>
                </a:spcBef>
                <a:buClr>
                  <a:srgbClr val="002897"/>
                </a:buClr>
                <a:buSzPct val="70000"/>
              </a:pPr>
              <a:r>
                <a:rPr lang="de-DE" sz="1200" dirty="0">
                  <a:solidFill>
                    <a:schemeClr val="tx1"/>
                  </a:solidFill>
                </a:rPr>
                <a:t>Coal supply</a:t>
              </a:r>
            </a:p>
          </p:txBody>
        </p:sp>
        <p:sp>
          <p:nvSpPr>
            <p:cNvPr id="25" name="Rechteck 87">
              <a:extLst>
                <a:ext uri="{FF2B5EF4-FFF2-40B4-BE49-F238E27FC236}">
                  <a16:creationId xmlns:a16="http://schemas.microsoft.com/office/drawing/2014/main" id="{6CBB41D9-63E2-48AD-B408-F27A6CB960E3}"/>
                </a:ext>
              </a:extLst>
            </p:cNvPr>
            <p:cNvSpPr/>
            <p:nvPr/>
          </p:nvSpPr>
          <p:spPr bwMode="gray">
            <a:xfrm>
              <a:off x="4374306" y="5501640"/>
              <a:ext cx="1422322" cy="4124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PLAR</a:t>
              </a:r>
            </a:p>
          </p:txBody>
        </p:sp>
        <p:sp>
          <p:nvSpPr>
            <p:cNvPr id="29" name="Rechteck 87">
              <a:extLst>
                <a:ext uri="{FF2B5EF4-FFF2-40B4-BE49-F238E27FC236}">
                  <a16:creationId xmlns:a16="http://schemas.microsoft.com/office/drawing/2014/main" id="{D0325A52-730D-460B-B7E2-3429629DE36E}"/>
                </a:ext>
              </a:extLst>
            </p:cNvPr>
            <p:cNvSpPr/>
            <p:nvPr/>
          </p:nvSpPr>
          <p:spPr bwMode="gray">
            <a:xfrm>
              <a:off x="6393184" y="1939375"/>
              <a:ext cx="1422322" cy="44682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Sulphuric acid off-take</a:t>
              </a:r>
            </a:p>
          </p:txBody>
        </p:sp>
        <p:sp>
          <p:nvSpPr>
            <p:cNvPr id="33" name="Rechteck 87">
              <a:extLst>
                <a:ext uri="{FF2B5EF4-FFF2-40B4-BE49-F238E27FC236}">
                  <a16:creationId xmlns:a16="http://schemas.microsoft.com/office/drawing/2014/main" id="{F11E0951-0134-4678-8CDB-4377515573F8}"/>
                </a:ext>
              </a:extLst>
            </p:cNvPr>
            <p:cNvSpPr/>
            <p:nvPr/>
          </p:nvSpPr>
          <p:spPr bwMode="gray">
            <a:xfrm>
              <a:off x="10430942" y="3651354"/>
              <a:ext cx="1422322" cy="5724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r>
                <a:rPr lang="de-DE" sz="1200" dirty="0">
                  <a:solidFill>
                    <a:schemeClr val="tx1"/>
                  </a:solidFill>
                </a:rPr>
                <a:t>CO</a:t>
              </a:r>
              <a:r>
                <a:rPr lang="de-DE" sz="1200" baseline="-25000" dirty="0">
                  <a:solidFill>
                    <a:schemeClr val="tx1"/>
                  </a:solidFill>
                </a:rPr>
                <a:t>2</a:t>
              </a:r>
              <a:r>
                <a:rPr lang="de-DE" sz="1200" dirty="0">
                  <a:solidFill>
                    <a:schemeClr val="tx1"/>
                  </a:solidFill>
                </a:rPr>
                <a:t> to EOR</a:t>
              </a:r>
            </a:p>
          </p:txBody>
        </p:sp>
        <p:sp>
          <p:nvSpPr>
            <p:cNvPr id="34" name="Rechteck 87">
              <a:extLst>
                <a:ext uri="{FF2B5EF4-FFF2-40B4-BE49-F238E27FC236}">
                  <a16:creationId xmlns:a16="http://schemas.microsoft.com/office/drawing/2014/main" id="{2632247E-6CC7-4487-96D0-F8C740133660}"/>
                </a:ext>
              </a:extLst>
            </p:cNvPr>
            <p:cNvSpPr/>
            <p:nvPr/>
          </p:nvSpPr>
          <p:spPr bwMode="gray">
            <a:xfrm>
              <a:off x="10430942" y="2798549"/>
              <a:ext cx="1422322" cy="5724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r>
                <a:rPr lang="de-DE" sz="1200" dirty="0">
                  <a:solidFill>
                    <a:schemeClr val="tx1"/>
                  </a:solidFill>
                </a:rPr>
                <a:t>Power </a:t>
              </a:r>
              <a:br>
                <a:rPr lang="de-DE" sz="1200" dirty="0">
                  <a:solidFill>
                    <a:schemeClr val="tx1"/>
                  </a:solidFill>
                </a:rPr>
              </a:br>
              <a:r>
                <a:rPr lang="de-DE" sz="1200" dirty="0">
                  <a:solidFill>
                    <a:schemeClr val="tx1"/>
                  </a:solidFill>
                </a:rPr>
                <a:t>off-take</a:t>
              </a:r>
            </a:p>
          </p:txBody>
        </p:sp>
        <p:sp>
          <p:nvSpPr>
            <p:cNvPr id="35" name="Rechteck 87">
              <a:extLst>
                <a:ext uri="{FF2B5EF4-FFF2-40B4-BE49-F238E27FC236}">
                  <a16:creationId xmlns:a16="http://schemas.microsoft.com/office/drawing/2014/main" id="{B6A1E697-4B4D-405D-9B32-0B16EE6D9B8B}"/>
                </a:ext>
              </a:extLst>
            </p:cNvPr>
            <p:cNvSpPr/>
            <p:nvPr/>
          </p:nvSpPr>
          <p:spPr bwMode="gray">
            <a:xfrm>
              <a:off x="10430942" y="4504159"/>
              <a:ext cx="1422322" cy="5724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r>
                <a:rPr lang="de-DE" sz="1200" dirty="0">
                  <a:solidFill>
                    <a:schemeClr val="tx1"/>
                  </a:solidFill>
                </a:rPr>
                <a:t>Urea off-take</a:t>
              </a:r>
            </a:p>
          </p:txBody>
        </p:sp>
        <p:cxnSp>
          <p:nvCxnSpPr>
            <p:cNvPr id="38" name="Straight Connector 37">
              <a:extLst>
                <a:ext uri="{FF2B5EF4-FFF2-40B4-BE49-F238E27FC236}">
                  <a16:creationId xmlns:a16="http://schemas.microsoft.com/office/drawing/2014/main" id="{AD11730E-4C98-48DE-9C93-53569FDAAC2B}"/>
                </a:ext>
              </a:extLst>
            </p:cNvPr>
            <p:cNvCxnSpPr>
              <a:cxnSpLocks/>
              <a:endCxn id="23" idx="3"/>
            </p:cNvCxnSpPr>
            <p:nvPr/>
          </p:nvCxnSpPr>
          <p:spPr bwMode="gray">
            <a:xfrm flipH="1">
              <a:off x="1758872" y="3937554"/>
              <a:ext cx="589560"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D7727FBE-49E8-4D59-AD9D-9EBD81B7A060}"/>
                </a:ext>
              </a:extLst>
            </p:cNvPr>
            <p:cNvCxnSpPr>
              <a:cxnSpLocks/>
              <a:stCxn id="31" idx="0"/>
              <a:endCxn id="24" idx="3"/>
            </p:cNvCxnSpPr>
            <p:nvPr/>
          </p:nvCxnSpPr>
          <p:spPr bwMode="gray">
            <a:xfrm rot="16200000" flipH="1" flipV="1">
              <a:off x="6464021" y="2131156"/>
              <a:ext cx="1991810" cy="3326595"/>
            </a:xfrm>
            <a:prstGeom prst="bentConnector4">
              <a:avLst>
                <a:gd name="adj1" fmla="val -5738"/>
                <a:gd name="adj2" fmla="val 91231"/>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5A0F34F-8B8B-4582-AB26-B39E0E378C95}"/>
                </a:ext>
              </a:extLst>
            </p:cNvPr>
            <p:cNvCxnSpPr>
              <a:cxnSpLocks/>
              <a:stCxn id="22" idx="1"/>
              <a:endCxn id="16" idx="3"/>
            </p:cNvCxnSpPr>
            <p:nvPr/>
          </p:nvCxnSpPr>
          <p:spPr bwMode="gray">
            <a:xfrm flipH="1">
              <a:off x="3777750" y="3937554"/>
              <a:ext cx="596556"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1462A05-A217-4368-A6F8-CACF7C616242}"/>
                </a:ext>
              </a:extLst>
            </p:cNvPr>
            <p:cNvCxnSpPr>
              <a:cxnSpLocks/>
              <a:stCxn id="26" idx="1"/>
              <a:endCxn id="22" idx="3"/>
            </p:cNvCxnSpPr>
            <p:nvPr/>
          </p:nvCxnSpPr>
          <p:spPr bwMode="gray">
            <a:xfrm flipH="1">
              <a:off x="5796628" y="3937554"/>
              <a:ext cx="596556"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D3A6933-DBC3-4EB9-8431-2A90F3A7DBAB}"/>
                </a:ext>
              </a:extLst>
            </p:cNvPr>
            <p:cNvCxnSpPr>
              <a:cxnSpLocks/>
            </p:cNvCxnSpPr>
            <p:nvPr/>
          </p:nvCxnSpPr>
          <p:spPr bwMode="gray">
            <a:xfrm flipH="1">
              <a:off x="7815506" y="3937554"/>
              <a:ext cx="596556"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2DFA9B8-120D-439A-86AB-F4A8D08ADE36}"/>
                </a:ext>
              </a:extLst>
            </p:cNvPr>
            <p:cNvCxnSpPr>
              <a:cxnSpLocks/>
              <a:stCxn id="33" idx="1"/>
              <a:endCxn id="30" idx="3"/>
            </p:cNvCxnSpPr>
            <p:nvPr/>
          </p:nvCxnSpPr>
          <p:spPr bwMode="gray">
            <a:xfrm flipH="1">
              <a:off x="9834384" y="3937554"/>
              <a:ext cx="596558"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C3392F81-AE5F-45EA-9A61-A13F0457A661}"/>
                </a:ext>
              </a:extLst>
            </p:cNvPr>
            <p:cNvCxnSpPr>
              <a:cxnSpLocks/>
              <a:stCxn id="35" idx="1"/>
              <a:endCxn id="32" idx="3"/>
            </p:cNvCxnSpPr>
            <p:nvPr/>
          </p:nvCxnSpPr>
          <p:spPr bwMode="gray">
            <a:xfrm flipH="1">
              <a:off x="9834384" y="4790359"/>
              <a:ext cx="596558"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27AC8545-8427-4224-8621-B8A6723EF852}"/>
                </a:ext>
              </a:extLst>
            </p:cNvPr>
            <p:cNvCxnSpPr>
              <a:cxnSpLocks/>
              <a:stCxn id="34" idx="1"/>
            </p:cNvCxnSpPr>
            <p:nvPr/>
          </p:nvCxnSpPr>
          <p:spPr bwMode="gray">
            <a:xfrm flipH="1">
              <a:off x="9834384" y="3084749"/>
              <a:ext cx="596558"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0755549-CBC5-4869-9BBF-17C488CE91CA}"/>
                </a:ext>
              </a:extLst>
            </p:cNvPr>
            <p:cNvCxnSpPr>
              <a:cxnSpLocks/>
              <a:stCxn id="32" idx="0"/>
              <a:endCxn id="30" idx="2"/>
            </p:cNvCxnSpPr>
            <p:nvPr/>
          </p:nvCxnSpPr>
          <p:spPr bwMode="gray">
            <a:xfrm flipV="1">
              <a:off x="9123223" y="4223754"/>
              <a:ext cx="0" cy="280405"/>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683C9E3F-5C5B-45D4-9076-16FFE0D5C131}"/>
                </a:ext>
              </a:extLst>
            </p:cNvPr>
            <p:cNvCxnSpPr>
              <a:cxnSpLocks/>
              <a:stCxn id="27" idx="0"/>
              <a:endCxn id="26" idx="2"/>
            </p:cNvCxnSpPr>
            <p:nvPr/>
          </p:nvCxnSpPr>
          <p:spPr bwMode="gray">
            <a:xfrm flipV="1">
              <a:off x="7104345" y="4223754"/>
              <a:ext cx="0" cy="280405"/>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C913D647-CB79-4809-86E5-760854B87DCF}"/>
                </a:ext>
              </a:extLst>
            </p:cNvPr>
            <p:cNvCxnSpPr>
              <a:cxnSpLocks/>
              <a:stCxn id="22" idx="2"/>
              <a:endCxn id="24" idx="0"/>
            </p:cNvCxnSpPr>
            <p:nvPr/>
          </p:nvCxnSpPr>
          <p:spPr bwMode="gray">
            <a:xfrm>
              <a:off x="5085467" y="4223754"/>
              <a:ext cx="0" cy="280405"/>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1BED9828-A339-4E9F-8FAB-BB17A40F1D2F}"/>
                </a:ext>
              </a:extLst>
            </p:cNvPr>
            <p:cNvCxnSpPr>
              <a:cxnSpLocks/>
              <a:stCxn id="25" idx="0"/>
            </p:cNvCxnSpPr>
            <p:nvPr/>
          </p:nvCxnSpPr>
          <p:spPr bwMode="gray">
            <a:xfrm flipV="1">
              <a:off x="5085467" y="5061320"/>
              <a:ext cx="0" cy="44032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107" name="Rechteck 87">
              <a:extLst>
                <a:ext uri="{FF2B5EF4-FFF2-40B4-BE49-F238E27FC236}">
                  <a16:creationId xmlns:a16="http://schemas.microsoft.com/office/drawing/2014/main" id="{2684AD46-1D92-460D-98CA-3D87E25C35ED}"/>
                </a:ext>
              </a:extLst>
            </p:cNvPr>
            <p:cNvSpPr/>
            <p:nvPr/>
          </p:nvSpPr>
          <p:spPr bwMode="gray">
            <a:xfrm>
              <a:off x="5895574" y="3641278"/>
              <a:ext cx="378226" cy="286197"/>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lgn="ctr">
                <a:spcBef>
                  <a:spcPts val="300"/>
                </a:spcBef>
                <a:buClr>
                  <a:srgbClr val="002897"/>
                </a:buClr>
                <a:buSzPct val="70000"/>
              </a:pPr>
              <a:r>
                <a:rPr lang="de-DE" sz="1200" dirty="0">
                  <a:solidFill>
                    <a:schemeClr val="bg2"/>
                  </a:solidFill>
                </a:rPr>
                <a:t>SG</a:t>
              </a:r>
              <a:endParaRPr lang="de-DE" sz="1200" baseline="-25000" dirty="0">
                <a:solidFill>
                  <a:schemeClr val="bg2"/>
                </a:solidFill>
              </a:endParaRPr>
            </a:p>
          </p:txBody>
        </p:sp>
        <p:cxnSp>
          <p:nvCxnSpPr>
            <p:cNvPr id="39" name="Connector: Elbow 38">
              <a:extLst>
                <a:ext uri="{FF2B5EF4-FFF2-40B4-BE49-F238E27FC236}">
                  <a16:creationId xmlns:a16="http://schemas.microsoft.com/office/drawing/2014/main" id="{273EDB14-8C25-4AFE-A0EA-CC827B6DFABD}"/>
                </a:ext>
              </a:extLst>
            </p:cNvPr>
            <p:cNvCxnSpPr>
              <a:cxnSpLocks/>
            </p:cNvCxnSpPr>
            <p:nvPr/>
          </p:nvCxnSpPr>
          <p:spPr bwMode="gray">
            <a:xfrm rot="16200000" flipH="1">
              <a:off x="3437145" y="3853197"/>
              <a:ext cx="566605" cy="1307717"/>
            </a:xfrm>
            <a:prstGeom prst="bentConnector2">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1E363F9E-3EE9-46D3-BC3B-8AFDE3E999EB}"/>
                </a:ext>
              </a:extLst>
            </p:cNvPr>
            <p:cNvCxnSpPr>
              <a:cxnSpLocks/>
              <a:stCxn id="32" idx="1"/>
              <a:endCxn id="27" idx="3"/>
            </p:cNvCxnSpPr>
            <p:nvPr/>
          </p:nvCxnSpPr>
          <p:spPr bwMode="gray">
            <a:xfrm flipH="1">
              <a:off x="7815506" y="4790359"/>
              <a:ext cx="596556"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3007253-388C-4C24-B8D8-4B4F3D3BD563}"/>
                </a:ext>
              </a:extLst>
            </p:cNvPr>
            <p:cNvCxnSpPr>
              <a:cxnSpLocks/>
              <a:stCxn id="27" idx="1"/>
              <a:endCxn id="24" idx="3"/>
            </p:cNvCxnSpPr>
            <p:nvPr/>
          </p:nvCxnSpPr>
          <p:spPr bwMode="gray">
            <a:xfrm flipH="1">
              <a:off x="5796628" y="4790359"/>
              <a:ext cx="596556"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118" name="Rechteck 87">
              <a:extLst>
                <a:ext uri="{FF2B5EF4-FFF2-40B4-BE49-F238E27FC236}">
                  <a16:creationId xmlns:a16="http://schemas.microsoft.com/office/drawing/2014/main" id="{78291DB5-57BC-4A2C-8025-F3DC6837DB18}"/>
                </a:ext>
              </a:extLst>
            </p:cNvPr>
            <p:cNvSpPr/>
            <p:nvPr/>
          </p:nvSpPr>
          <p:spPr bwMode="gray">
            <a:xfrm>
              <a:off x="6388479" y="3368053"/>
              <a:ext cx="378226" cy="28619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spcBef>
                  <a:spcPts val="300"/>
                </a:spcBef>
                <a:buClr>
                  <a:srgbClr val="002897"/>
                </a:buClr>
                <a:buSzPct val="70000"/>
              </a:pPr>
              <a:r>
                <a:rPr lang="de-DE" sz="1200" dirty="0">
                  <a:solidFill>
                    <a:schemeClr val="bg2"/>
                  </a:solidFill>
                </a:rPr>
                <a:t>H</a:t>
              </a:r>
              <a:r>
                <a:rPr lang="de-DE" sz="1200" baseline="-25000" dirty="0">
                  <a:solidFill>
                    <a:schemeClr val="bg2"/>
                  </a:solidFill>
                </a:rPr>
                <a:t>2</a:t>
              </a:r>
              <a:r>
                <a:rPr lang="de-DE" sz="1200" dirty="0">
                  <a:solidFill>
                    <a:schemeClr val="bg2"/>
                  </a:solidFill>
                </a:rPr>
                <a:t>S</a:t>
              </a:r>
            </a:p>
          </p:txBody>
        </p:sp>
        <p:cxnSp>
          <p:nvCxnSpPr>
            <p:cNvPr id="112" name="Straight Connector 111">
              <a:extLst>
                <a:ext uri="{FF2B5EF4-FFF2-40B4-BE49-F238E27FC236}">
                  <a16:creationId xmlns:a16="http://schemas.microsoft.com/office/drawing/2014/main" id="{0065CF63-D69A-4EA7-9908-DB639E1518F0}"/>
                </a:ext>
              </a:extLst>
            </p:cNvPr>
            <p:cNvCxnSpPr>
              <a:cxnSpLocks/>
            </p:cNvCxnSpPr>
            <p:nvPr/>
          </p:nvCxnSpPr>
          <p:spPr bwMode="gray">
            <a:xfrm>
              <a:off x="6776685" y="3370949"/>
              <a:ext cx="0" cy="280405"/>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08BB6F0E-0C4B-4468-B6D8-156F88085048}"/>
                </a:ext>
              </a:extLst>
            </p:cNvPr>
            <p:cNvCxnSpPr>
              <a:cxnSpLocks/>
              <a:stCxn id="31" idx="2"/>
              <a:endCxn id="26" idx="0"/>
            </p:cNvCxnSpPr>
            <p:nvPr/>
          </p:nvCxnSpPr>
          <p:spPr bwMode="gray">
            <a:xfrm rot="5400000">
              <a:off x="7973582" y="2501712"/>
              <a:ext cx="280405" cy="2018878"/>
            </a:xfrm>
            <a:prstGeom prst="bentConnector3">
              <a:avLst>
                <a:gd name="adj1" fmla="val 50000"/>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96" name="Rechteck 87">
              <a:extLst>
                <a:ext uri="{FF2B5EF4-FFF2-40B4-BE49-F238E27FC236}">
                  <a16:creationId xmlns:a16="http://schemas.microsoft.com/office/drawing/2014/main" id="{4CF1C1A6-2122-49CC-926D-D4AA5206B835}"/>
                </a:ext>
              </a:extLst>
            </p:cNvPr>
            <p:cNvSpPr/>
            <p:nvPr/>
          </p:nvSpPr>
          <p:spPr bwMode="gray">
            <a:xfrm>
              <a:off x="3493921" y="4790359"/>
              <a:ext cx="453052" cy="28619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lgn="ctr">
                <a:spcBef>
                  <a:spcPts val="300"/>
                </a:spcBef>
                <a:buClr>
                  <a:srgbClr val="002897"/>
                </a:buClr>
                <a:buSzPct val="70000"/>
              </a:pPr>
              <a:r>
                <a:rPr lang="de-DE" sz="1200" dirty="0">
                  <a:solidFill>
                    <a:schemeClr val="bg2"/>
                  </a:solidFill>
                </a:rPr>
                <a:t>GAN</a:t>
              </a:r>
            </a:p>
          </p:txBody>
        </p:sp>
        <p:sp>
          <p:nvSpPr>
            <p:cNvPr id="97" name="Rechteck 87">
              <a:extLst>
                <a:ext uri="{FF2B5EF4-FFF2-40B4-BE49-F238E27FC236}">
                  <a16:creationId xmlns:a16="http://schemas.microsoft.com/office/drawing/2014/main" id="{A7373461-269C-4B17-8972-F1D409A27C7B}"/>
                </a:ext>
              </a:extLst>
            </p:cNvPr>
            <p:cNvSpPr/>
            <p:nvPr/>
          </p:nvSpPr>
          <p:spPr bwMode="gray">
            <a:xfrm>
              <a:off x="5863741" y="4790359"/>
              <a:ext cx="453052" cy="28619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lgn="ctr">
                <a:spcBef>
                  <a:spcPts val="300"/>
                </a:spcBef>
                <a:buClr>
                  <a:srgbClr val="002897"/>
                </a:buClr>
                <a:buSzPct val="70000"/>
              </a:pPr>
              <a:r>
                <a:rPr lang="de-DE" sz="1200" dirty="0">
                  <a:solidFill>
                    <a:schemeClr val="bg2"/>
                  </a:solidFill>
                </a:rPr>
                <a:t>GAN</a:t>
              </a:r>
            </a:p>
          </p:txBody>
        </p:sp>
        <p:sp>
          <p:nvSpPr>
            <p:cNvPr id="102" name="Rechteck 87">
              <a:extLst>
                <a:ext uri="{FF2B5EF4-FFF2-40B4-BE49-F238E27FC236}">
                  <a16:creationId xmlns:a16="http://schemas.microsoft.com/office/drawing/2014/main" id="{BDBDAA60-425B-4C4A-A25D-C30FD3D87AA5}"/>
                </a:ext>
              </a:extLst>
            </p:cNvPr>
            <p:cNvSpPr/>
            <p:nvPr/>
          </p:nvSpPr>
          <p:spPr bwMode="gray">
            <a:xfrm>
              <a:off x="7884130" y="4790359"/>
              <a:ext cx="453052" cy="28619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lgn="ctr">
                <a:spcBef>
                  <a:spcPts val="300"/>
                </a:spcBef>
                <a:buClr>
                  <a:srgbClr val="002897"/>
                </a:buClr>
                <a:buSzPct val="70000"/>
              </a:pPr>
              <a:r>
                <a:rPr lang="de-DE" sz="1200" dirty="0">
                  <a:solidFill>
                    <a:schemeClr val="bg2"/>
                  </a:solidFill>
                </a:rPr>
                <a:t>NH</a:t>
              </a:r>
              <a:r>
                <a:rPr lang="de-DE" sz="1200" baseline="-25000" dirty="0">
                  <a:solidFill>
                    <a:schemeClr val="bg2"/>
                  </a:solidFill>
                </a:rPr>
                <a:t>3</a:t>
              </a:r>
            </a:p>
          </p:txBody>
        </p:sp>
        <p:sp>
          <p:nvSpPr>
            <p:cNvPr id="103" name="Rechteck 87">
              <a:extLst>
                <a:ext uri="{FF2B5EF4-FFF2-40B4-BE49-F238E27FC236}">
                  <a16:creationId xmlns:a16="http://schemas.microsoft.com/office/drawing/2014/main" id="{BFEB2728-9F7D-4304-9027-E5300675C3CC}"/>
                </a:ext>
              </a:extLst>
            </p:cNvPr>
            <p:cNvSpPr/>
            <p:nvPr/>
          </p:nvSpPr>
          <p:spPr bwMode="gray">
            <a:xfrm>
              <a:off x="9299567" y="4220858"/>
              <a:ext cx="378226" cy="28619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spcBef>
                  <a:spcPts val="300"/>
                </a:spcBef>
                <a:buClr>
                  <a:srgbClr val="002897"/>
                </a:buClr>
                <a:buSzPct val="70000"/>
              </a:pPr>
              <a:r>
                <a:rPr lang="de-DE" sz="1200" dirty="0">
                  <a:solidFill>
                    <a:schemeClr val="bg2"/>
                  </a:solidFill>
                </a:rPr>
                <a:t>CO</a:t>
              </a:r>
              <a:r>
                <a:rPr lang="de-DE" sz="1200" baseline="-25000" dirty="0">
                  <a:solidFill>
                    <a:schemeClr val="bg2"/>
                  </a:solidFill>
                </a:rPr>
                <a:t>2</a:t>
              </a:r>
            </a:p>
          </p:txBody>
        </p:sp>
        <p:sp>
          <p:nvSpPr>
            <p:cNvPr id="104" name="Rechteck 87">
              <a:extLst>
                <a:ext uri="{FF2B5EF4-FFF2-40B4-BE49-F238E27FC236}">
                  <a16:creationId xmlns:a16="http://schemas.microsoft.com/office/drawing/2014/main" id="{994F9929-E7F4-441F-B057-714D918ECFD3}"/>
                </a:ext>
              </a:extLst>
            </p:cNvPr>
            <p:cNvSpPr/>
            <p:nvPr/>
          </p:nvSpPr>
          <p:spPr bwMode="gray">
            <a:xfrm>
              <a:off x="7218950" y="4220858"/>
              <a:ext cx="523704" cy="28619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spcBef>
                  <a:spcPts val="300"/>
                </a:spcBef>
                <a:buClr>
                  <a:srgbClr val="002897"/>
                </a:buClr>
                <a:buSzPct val="70000"/>
              </a:pPr>
              <a:r>
                <a:rPr lang="de-DE" sz="1200" dirty="0">
                  <a:solidFill>
                    <a:schemeClr val="bg2"/>
                  </a:solidFill>
                </a:rPr>
                <a:t>H</a:t>
              </a:r>
              <a:r>
                <a:rPr lang="de-DE" sz="1200" baseline="-25000" dirty="0">
                  <a:solidFill>
                    <a:schemeClr val="bg2"/>
                  </a:solidFill>
                </a:rPr>
                <a:t>2</a:t>
              </a:r>
            </a:p>
          </p:txBody>
        </p:sp>
        <p:sp>
          <p:nvSpPr>
            <p:cNvPr id="105" name="Rechteck 87">
              <a:extLst>
                <a:ext uri="{FF2B5EF4-FFF2-40B4-BE49-F238E27FC236}">
                  <a16:creationId xmlns:a16="http://schemas.microsoft.com/office/drawing/2014/main" id="{6B475936-36AD-472D-A85C-AE9220DFF548}"/>
                </a:ext>
              </a:extLst>
            </p:cNvPr>
            <p:cNvSpPr/>
            <p:nvPr/>
          </p:nvSpPr>
          <p:spPr bwMode="gray">
            <a:xfrm>
              <a:off x="5264769" y="4220858"/>
              <a:ext cx="378226" cy="28619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spcBef>
                  <a:spcPts val="300"/>
                </a:spcBef>
                <a:buClr>
                  <a:srgbClr val="002897"/>
                </a:buClr>
                <a:buSzPct val="70000"/>
              </a:pPr>
              <a:r>
                <a:rPr lang="de-DE" sz="1200" dirty="0">
                  <a:solidFill>
                    <a:schemeClr val="bg2"/>
                  </a:solidFill>
                </a:rPr>
                <a:t>GOX</a:t>
              </a:r>
            </a:p>
          </p:txBody>
        </p:sp>
        <p:sp>
          <p:nvSpPr>
            <p:cNvPr id="106" name="Rechteck 87">
              <a:extLst>
                <a:ext uri="{FF2B5EF4-FFF2-40B4-BE49-F238E27FC236}">
                  <a16:creationId xmlns:a16="http://schemas.microsoft.com/office/drawing/2014/main" id="{BAB57CB0-EE02-42F8-A2AE-33B56C4847F7}"/>
                </a:ext>
              </a:extLst>
            </p:cNvPr>
            <p:cNvSpPr/>
            <p:nvPr/>
          </p:nvSpPr>
          <p:spPr bwMode="gray">
            <a:xfrm>
              <a:off x="7924671" y="3641278"/>
              <a:ext cx="378226" cy="28619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lgn="ctr">
                <a:spcBef>
                  <a:spcPts val="300"/>
                </a:spcBef>
                <a:buClr>
                  <a:srgbClr val="002897"/>
                </a:buClr>
                <a:buSzPct val="70000"/>
              </a:pPr>
              <a:r>
                <a:rPr lang="de-DE" sz="1200" dirty="0">
                  <a:solidFill>
                    <a:schemeClr val="bg2"/>
                  </a:solidFill>
                </a:rPr>
                <a:t>CO</a:t>
              </a:r>
              <a:r>
                <a:rPr lang="de-DE" sz="1200" baseline="-25000" dirty="0">
                  <a:solidFill>
                    <a:schemeClr val="bg2"/>
                  </a:solidFill>
                </a:rPr>
                <a:t>2</a:t>
              </a:r>
            </a:p>
          </p:txBody>
        </p:sp>
        <p:sp>
          <p:nvSpPr>
            <p:cNvPr id="117" name="Rechteck 87">
              <a:extLst>
                <a:ext uri="{FF2B5EF4-FFF2-40B4-BE49-F238E27FC236}">
                  <a16:creationId xmlns:a16="http://schemas.microsoft.com/office/drawing/2014/main" id="{C2C75FAE-45FB-46EC-B324-54C4A7BF577D}"/>
                </a:ext>
              </a:extLst>
            </p:cNvPr>
            <p:cNvSpPr/>
            <p:nvPr/>
          </p:nvSpPr>
          <p:spPr bwMode="gray">
            <a:xfrm>
              <a:off x="7924671" y="3219638"/>
              <a:ext cx="378226" cy="28619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lgn="ctr">
                <a:spcBef>
                  <a:spcPts val="300"/>
                </a:spcBef>
                <a:buClr>
                  <a:srgbClr val="002897"/>
                </a:buClr>
                <a:buSzPct val="70000"/>
              </a:pPr>
              <a:r>
                <a:rPr lang="de-DE" sz="1200" dirty="0">
                  <a:solidFill>
                    <a:schemeClr val="bg2"/>
                  </a:solidFill>
                </a:rPr>
                <a:t>H</a:t>
              </a:r>
              <a:r>
                <a:rPr lang="de-DE" sz="1200" baseline="-25000" dirty="0">
                  <a:solidFill>
                    <a:schemeClr val="bg2"/>
                  </a:solidFill>
                </a:rPr>
                <a:t>2</a:t>
              </a:r>
            </a:p>
          </p:txBody>
        </p:sp>
        <p:sp>
          <p:nvSpPr>
            <p:cNvPr id="119" name="Rechteck 87">
              <a:extLst>
                <a:ext uri="{FF2B5EF4-FFF2-40B4-BE49-F238E27FC236}">
                  <a16:creationId xmlns:a16="http://schemas.microsoft.com/office/drawing/2014/main" id="{744370EB-5860-4976-9E63-8F0AC2E736D0}"/>
                </a:ext>
              </a:extLst>
            </p:cNvPr>
            <p:cNvSpPr/>
            <p:nvPr/>
          </p:nvSpPr>
          <p:spPr bwMode="gray">
            <a:xfrm>
              <a:off x="7904420" y="2670333"/>
              <a:ext cx="453052" cy="28619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chorCtr="0"/>
            <a:lstStyle/>
            <a:p>
              <a:pPr algn="ctr">
                <a:spcBef>
                  <a:spcPts val="300"/>
                </a:spcBef>
                <a:buClr>
                  <a:srgbClr val="002897"/>
                </a:buClr>
                <a:buSzPct val="70000"/>
              </a:pPr>
              <a:r>
                <a:rPr lang="de-DE" sz="1200" dirty="0">
                  <a:solidFill>
                    <a:schemeClr val="bg2"/>
                  </a:solidFill>
                </a:rPr>
                <a:t>GAN</a:t>
              </a:r>
            </a:p>
          </p:txBody>
        </p:sp>
        <p:sp>
          <p:nvSpPr>
            <p:cNvPr id="26" name="Rechteck 87">
              <a:extLst>
                <a:ext uri="{FF2B5EF4-FFF2-40B4-BE49-F238E27FC236}">
                  <a16:creationId xmlns:a16="http://schemas.microsoft.com/office/drawing/2014/main" id="{DD5C0317-4B40-456C-9900-AC0287ABD5F8}"/>
                </a:ext>
              </a:extLst>
            </p:cNvPr>
            <p:cNvSpPr/>
            <p:nvPr/>
          </p:nvSpPr>
          <p:spPr bwMode="gray">
            <a:xfrm>
              <a:off x="6393184" y="3651354"/>
              <a:ext cx="1422322" cy="5724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Shift, LTGC, Rectisol, NWU</a:t>
              </a:r>
            </a:p>
          </p:txBody>
        </p:sp>
        <p:sp>
          <p:nvSpPr>
            <p:cNvPr id="27" name="Rechteck 87">
              <a:extLst>
                <a:ext uri="{FF2B5EF4-FFF2-40B4-BE49-F238E27FC236}">
                  <a16:creationId xmlns:a16="http://schemas.microsoft.com/office/drawing/2014/main" id="{734CDE52-EEF9-4E47-837A-9ED77BA26990}"/>
                </a:ext>
              </a:extLst>
            </p:cNvPr>
            <p:cNvSpPr/>
            <p:nvPr/>
          </p:nvSpPr>
          <p:spPr bwMode="gray">
            <a:xfrm>
              <a:off x="6393184" y="4504159"/>
              <a:ext cx="1422322" cy="5724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Ammonia </a:t>
              </a:r>
              <a:br>
                <a:rPr lang="de-DE" sz="1200" dirty="0">
                  <a:solidFill>
                    <a:schemeClr val="tx1"/>
                  </a:solidFill>
                </a:rPr>
              </a:br>
              <a:r>
                <a:rPr lang="de-DE" sz="1200" dirty="0">
                  <a:solidFill>
                    <a:schemeClr val="tx1"/>
                  </a:solidFill>
                </a:rPr>
                <a:t>loop</a:t>
              </a:r>
            </a:p>
          </p:txBody>
        </p:sp>
        <p:sp>
          <p:nvSpPr>
            <p:cNvPr id="31" name="Rechteck 87">
              <a:extLst>
                <a:ext uri="{FF2B5EF4-FFF2-40B4-BE49-F238E27FC236}">
                  <a16:creationId xmlns:a16="http://schemas.microsoft.com/office/drawing/2014/main" id="{123F6346-CCA9-4F8F-BBA0-19EA5CC142BD}"/>
                </a:ext>
              </a:extLst>
            </p:cNvPr>
            <p:cNvSpPr/>
            <p:nvPr/>
          </p:nvSpPr>
          <p:spPr bwMode="gray">
            <a:xfrm>
              <a:off x="8412062" y="2798549"/>
              <a:ext cx="1422322" cy="5724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Power </a:t>
              </a:r>
              <a:br>
                <a:rPr lang="de-DE" sz="1200" dirty="0">
                  <a:solidFill>
                    <a:schemeClr val="tx1"/>
                  </a:solidFill>
                </a:rPr>
              </a:br>
              <a:r>
                <a:rPr lang="de-DE" sz="1200" dirty="0">
                  <a:solidFill>
                    <a:schemeClr val="tx1"/>
                  </a:solidFill>
                </a:rPr>
                <a:t>plant</a:t>
              </a:r>
            </a:p>
          </p:txBody>
        </p:sp>
        <p:sp>
          <p:nvSpPr>
            <p:cNvPr id="15" name="Rechteck 87">
              <a:extLst>
                <a:ext uri="{FF2B5EF4-FFF2-40B4-BE49-F238E27FC236}">
                  <a16:creationId xmlns:a16="http://schemas.microsoft.com/office/drawing/2014/main" id="{FF107191-2298-4DB3-9360-B6BCE9A985E8}"/>
                </a:ext>
              </a:extLst>
            </p:cNvPr>
            <p:cNvSpPr/>
            <p:nvPr/>
          </p:nvSpPr>
          <p:spPr bwMode="gray">
            <a:xfrm>
              <a:off x="2355428" y="2799608"/>
              <a:ext cx="3441200" cy="57134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Balance of plant  </a:t>
              </a:r>
              <a:br>
                <a:rPr lang="de-DE" sz="1200" dirty="0">
                  <a:solidFill>
                    <a:schemeClr val="tx1"/>
                  </a:solidFill>
                </a:rPr>
              </a:br>
              <a:r>
                <a:rPr lang="de-DE" sz="1200" dirty="0">
                  <a:solidFill>
                    <a:schemeClr val="tx1"/>
                  </a:solidFill>
                </a:rPr>
                <a:t>(U&amp;O)</a:t>
              </a:r>
            </a:p>
          </p:txBody>
        </p:sp>
        <p:sp>
          <p:nvSpPr>
            <p:cNvPr id="16" name="Rechteck 87">
              <a:extLst>
                <a:ext uri="{FF2B5EF4-FFF2-40B4-BE49-F238E27FC236}">
                  <a16:creationId xmlns:a16="http://schemas.microsoft.com/office/drawing/2014/main" id="{4DC52E6C-F36D-4D20-8B41-C661D4CDA501}"/>
                </a:ext>
              </a:extLst>
            </p:cNvPr>
            <p:cNvSpPr/>
            <p:nvPr/>
          </p:nvSpPr>
          <p:spPr bwMode="gray">
            <a:xfrm>
              <a:off x="2355428" y="3651354"/>
              <a:ext cx="1422322" cy="5724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Coal storage </a:t>
              </a:r>
              <a:br>
                <a:rPr lang="de-DE" sz="1200" dirty="0">
                  <a:solidFill>
                    <a:schemeClr val="tx1"/>
                  </a:solidFill>
                </a:rPr>
              </a:br>
              <a:r>
                <a:rPr lang="de-DE" sz="1200" dirty="0">
                  <a:solidFill>
                    <a:schemeClr val="tx1"/>
                  </a:solidFill>
                </a:rPr>
                <a:t>&amp; preparation </a:t>
              </a:r>
            </a:p>
          </p:txBody>
        </p:sp>
        <p:sp>
          <p:nvSpPr>
            <p:cNvPr id="22" name="Rechteck 87">
              <a:extLst>
                <a:ext uri="{FF2B5EF4-FFF2-40B4-BE49-F238E27FC236}">
                  <a16:creationId xmlns:a16="http://schemas.microsoft.com/office/drawing/2014/main" id="{6E6B1902-ADAA-4FB7-98F1-90D3DF41DE50}"/>
                </a:ext>
              </a:extLst>
            </p:cNvPr>
            <p:cNvSpPr/>
            <p:nvPr/>
          </p:nvSpPr>
          <p:spPr bwMode="gray">
            <a:xfrm>
              <a:off x="4374306" y="3651354"/>
              <a:ext cx="1422322" cy="5724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Gasification </a:t>
              </a:r>
            </a:p>
          </p:txBody>
        </p:sp>
        <p:sp>
          <p:nvSpPr>
            <p:cNvPr id="24" name="Rechteck 87">
              <a:extLst>
                <a:ext uri="{FF2B5EF4-FFF2-40B4-BE49-F238E27FC236}">
                  <a16:creationId xmlns:a16="http://schemas.microsoft.com/office/drawing/2014/main" id="{DD41866D-6A76-4DB0-8B09-D9AB6D0948C9}"/>
                </a:ext>
              </a:extLst>
            </p:cNvPr>
            <p:cNvSpPr/>
            <p:nvPr/>
          </p:nvSpPr>
          <p:spPr bwMode="gray">
            <a:xfrm>
              <a:off x="4374306" y="4504159"/>
              <a:ext cx="1422322" cy="5724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ASU</a:t>
              </a:r>
            </a:p>
          </p:txBody>
        </p:sp>
        <p:sp>
          <p:nvSpPr>
            <p:cNvPr id="28" name="Rechteck 87">
              <a:extLst>
                <a:ext uri="{FF2B5EF4-FFF2-40B4-BE49-F238E27FC236}">
                  <a16:creationId xmlns:a16="http://schemas.microsoft.com/office/drawing/2014/main" id="{AD877E65-6855-4396-8051-47C13A394D34}"/>
                </a:ext>
              </a:extLst>
            </p:cNvPr>
            <p:cNvSpPr/>
            <p:nvPr/>
          </p:nvSpPr>
          <p:spPr bwMode="gray">
            <a:xfrm>
              <a:off x="6393184" y="2798549"/>
              <a:ext cx="1422322" cy="5724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H</a:t>
              </a:r>
              <a:r>
                <a:rPr lang="de-DE" sz="1200" baseline="-25000" dirty="0">
                  <a:solidFill>
                    <a:schemeClr val="tx1"/>
                  </a:solidFill>
                </a:rPr>
                <a:t>2</a:t>
              </a:r>
              <a:r>
                <a:rPr lang="de-DE" sz="1200" dirty="0">
                  <a:solidFill>
                    <a:schemeClr val="tx1"/>
                  </a:solidFill>
                </a:rPr>
                <a:t>SO</a:t>
              </a:r>
              <a:r>
                <a:rPr lang="de-DE" sz="1200" baseline="-25000" dirty="0">
                  <a:solidFill>
                    <a:schemeClr val="tx1"/>
                  </a:solidFill>
                </a:rPr>
                <a:t>4</a:t>
              </a:r>
            </a:p>
          </p:txBody>
        </p:sp>
        <p:sp>
          <p:nvSpPr>
            <p:cNvPr id="30" name="Rechteck 87">
              <a:extLst>
                <a:ext uri="{FF2B5EF4-FFF2-40B4-BE49-F238E27FC236}">
                  <a16:creationId xmlns:a16="http://schemas.microsoft.com/office/drawing/2014/main" id="{C0E1A0C1-9CA3-4D5E-9659-8526EB2A9F5C}"/>
                </a:ext>
              </a:extLst>
            </p:cNvPr>
            <p:cNvSpPr/>
            <p:nvPr/>
          </p:nvSpPr>
          <p:spPr bwMode="gray">
            <a:xfrm>
              <a:off x="8412062" y="3651354"/>
              <a:ext cx="1422322" cy="572400"/>
            </a:xfrm>
            <a:prstGeom prst="rect">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200" dirty="0">
                <a:solidFill>
                  <a:schemeClr val="tx1"/>
                </a:solidFill>
              </a:endParaRPr>
            </a:p>
          </p:txBody>
        </p:sp>
        <p:sp>
          <p:nvSpPr>
            <p:cNvPr id="32" name="Rechteck 87">
              <a:extLst>
                <a:ext uri="{FF2B5EF4-FFF2-40B4-BE49-F238E27FC236}">
                  <a16:creationId xmlns:a16="http://schemas.microsoft.com/office/drawing/2014/main" id="{C14033DF-FDC9-4F8D-8572-0D87BEF7F1F5}"/>
                </a:ext>
              </a:extLst>
            </p:cNvPr>
            <p:cNvSpPr/>
            <p:nvPr/>
          </p:nvSpPr>
          <p:spPr bwMode="gray">
            <a:xfrm>
              <a:off x="8412062" y="4504159"/>
              <a:ext cx="1422322" cy="5724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Urea </a:t>
              </a:r>
              <a:br>
                <a:rPr lang="de-DE" sz="1200" dirty="0">
                  <a:solidFill>
                    <a:schemeClr val="tx1"/>
                  </a:solidFill>
                </a:rPr>
              </a:br>
              <a:r>
                <a:rPr lang="de-DE" sz="1200" dirty="0">
                  <a:solidFill>
                    <a:schemeClr val="tx1"/>
                  </a:solidFill>
                </a:rPr>
                <a:t>plant</a:t>
              </a:r>
            </a:p>
          </p:txBody>
        </p:sp>
        <p:sp>
          <p:nvSpPr>
            <p:cNvPr id="136" name="Rechteck 87">
              <a:extLst>
                <a:ext uri="{FF2B5EF4-FFF2-40B4-BE49-F238E27FC236}">
                  <a16:creationId xmlns:a16="http://schemas.microsoft.com/office/drawing/2014/main" id="{6D1FAEF3-A414-4924-AD5D-CB415EDECA50}"/>
                </a:ext>
              </a:extLst>
            </p:cNvPr>
            <p:cNvSpPr/>
            <p:nvPr/>
          </p:nvSpPr>
          <p:spPr bwMode="gray">
            <a:xfrm>
              <a:off x="8412062" y="3651354"/>
              <a:ext cx="1422322" cy="572400"/>
            </a:xfrm>
            <a:custGeom>
              <a:avLst/>
              <a:gdLst>
                <a:gd name="connsiteX0" fmla="*/ 0 w 1422322"/>
                <a:gd name="connsiteY0" fmla="*/ 0 h 572400"/>
                <a:gd name="connsiteX1" fmla="*/ 1422322 w 1422322"/>
                <a:gd name="connsiteY1" fmla="*/ 0 h 572400"/>
                <a:gd name="connsiteX2" fmla="*/ 1422322 w 1422322"/>
                <a:gd name="connsiteY2" fmla="*/ 572400 h 572400"/>
                <a:gd name="connsiteX3" fmla="*/ 0 w 1422322"/>
                <a:gd name="connsiteY3" fmla="*/ 572400 h 572400"/>
                <a:gd name="connsiteX4" fmla="*/ 0 w 1422322"/>
                <a:gd name="connsiteY4" fmla="*/ 0 h 572400"/>
                <a:gd name="connsiteX0" fmla="*/ 0 w 1422322"/>
                <a:gd name="connsiteY0" fmla="*/ 0 h 572400"/>
                <a:gd name="connsiteX1" fmla="*/ 1422322 w 1422322"/>
                <a:gd name="connsiteY1" fmla="*/ 572400 h 572400"/>
                <a:gd name="connsiteX2" fmla="*/ 0 w 1422322"/>
                <a:gd name="connsiteY2" fmla="*/ 572400 h 572400"/>
                <a:gd name="connsiteX3" fmla="*/ 0 w 1422322"/>
                <a:gd name="connsiteY3" fmla="*/ 0 h 572400"/>
              </a:gdLst>
              <a:ahLst/>
              <a:cxnLst>
                <a:cxn ang="0">
                  <a:pos x="connsiteX0" y="connsiteY0"/>
                </a:cxn>
                <a:cxn ang="0">
                  <a:pos x="connsiteX1" y="connsiteY1"/>
                </a:cxn>
                <a:cxn ang="0">
                  <a:pos x="connsiteX2" y="connsiteY2"/>
                </a:cxn>
                <a:cxn ang="0">
                  <a:pos x="connsiteX3" y="connsiteY3"/>
                </a:cxn>
              </a:cxnLst>
              <a:rect l="l" t="t" r="r" b="b"/>
              <a:pathLst>
                <a:path w="1422322" h="572400">
                  <a:moveTo>
                    <a:pt x="0" y="0"/>
                  </a:moveTo>
                  <a:lnTo>
                    <a:pt x="1422322" y="572400"/>
                  </a:lnTo>
                  <a:lnTo>
                    <a:pt x="0" y="572400"/>
                  </a:lnTo>
                  <a:lnTo>
                    <a:pt x="0" y="0"/>
                  </a:lnTo>
                  <a:close/>
                </a:path>
              </a:pathLst>
            </a:cu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200" dirty="0">
                  <a:solidFill>
                    <a:schemeClr val="tx1"/>
                  </a:solidFill>
                </a:rPr>
                <a:t>CO</a:t>
              </a:r>
              <a:r>
                <a:rPr lang="de-DE" sz="1200" baseline="-25000" dirty="0">
                  <a:solidFill>
                    <a:schemeClr val="tx1"/>
                  </a:solidFill>
                </a:rPr>
                <a:t>2</a:t>
              </a:r>
              <a:r>
                <a:rPr lang="de-DE" sz="1200" dirty="0">
                  <a:solidFill>
                    <a:schemeClr val="tx1"/>
                  </a:solidFill>
                </a:rPr>
                <a:t> compression</a:t>
              </a:r>
            </a:p>
          </p:txBody>
        </p:sp>
      </p:grpSp>
    </p:spTree>
    <p:custDataLst>
      <p:tags r:id="rId1"/>
    </p:custDataLst>
    <p:extLst>
      <p:ext uri="{BB962C8B-B14F-4D97-AF65-F5344CB8AC3E}">
        <p14:creationId xmlns:p14="http://schemas.microsoft.com/office/powerpoint/2010/main" val="338277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8" name="Rechteck 87">
            <a:extLst>
              <a:ext uri="{FF2B5EF4-FFF2-40B4-BE49-F238E27FC236}">
                <a16:creationId xmlns:a16="http://schemas.microsoft.com/office/drawing/2014/main" id="{2479C509-5B95-485F-9246-6616F80DA87B}"/>
              </a:ext>
            </a:extLst>
          </p:cNvPr>
          <p:cNvSpPr/>
          <p:nvPr/>
        </p:nvSpPr>
        <p:spPr bwMode="gray">
          <a:xfrm>
            <a:off x="336000" y="1944848"/>
            <a:ext cx="11520000" cy="3975618"/>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400" dirty="0">
              <a:solidFill>
                <a:schemeClr val="bg1"/>
              </a:solidFill>
            </a:endParaRPr>
          </a:p>
        </p:txBody>
      </p:sp>
      <p:sp>
        <p:nvSpPr>
          <p:cNvPr id="3" name="Title 2">
            <a:extLst>
              <a:ext uri="{FF2B5EF4-FFF2-40B4-BE49-F238E27FC236}">
                <a16:creationId xmlns:a16="http://schemas.microsoft.com/office/drawing/2014/main" id="{D6AD471D-0385-4094-A322-91DB4D8B9FCB}"/>
              </a:ext>
            </a:extLst>
          </p:cNvPr>
          <p:cNvSpPr>
            <a:spLocks noGrp="1"/>
          </p:cNvSpPr>
          <p:nvPr>
            <p:ph type="title"/>
          </p:nvPr>
        </p:nvSpPr>
        <p:spPr bwMode="gray"/>
        <p:txBody>
          <a:bodyPr/>
          <a:lstStyle/>
          <a:p>
            <a:r>
              <a:rPr lang="de-DE" dirty="0"/>
              <a:t>Integrated </a:t>
            </a:r>
            <a:r>
              <a:rPr lang="de-DE" dirty="0" err="1"/>
              <a:t>Gasification</a:t>
            </a:r>
            <a:r>
              <a:rPr lang="de-DE" dirty="0"/>
              <a:t> </a:t>
            </a:r>
            <a:r>
              <a:rPr lang="de-DE" dirty="0" err="1"/>
              <a:t>Combined</a:t>
            </a:r>
            <a:r>
              <a:rPr lang="de-DE" dirty="0"/>
              <a:t> Cycle (IGCC) power </a:t>
            </a:r>
            <a:r>
              <a:rPr lang="de-DE" dirty="0" err="1"/>
              <a:t>generation</a:t>
            </a:r>
            <a:endParaRPr lang="de-DE" dirty="0"/>
          </a:p>
        </p:txBody>
      </p:sp>
      <p:sp>
        <p:nvSpPr>
          <p:cNvPr id="7" name="Subtitle 6">
            <a:extLst>
              <a:ext uri="{FF2B5EF4-FFF2-40B4-BE49-F238E27FC236}">
                <a16:creationId xmlns:a16="http://schemas.microsoft.com/office/drawing/2014/main" id="{47FD6983-7B58-4BF4-911D-D5B26D9E4344}"/>
              </a:ext>
            </a:extLst>
          </p:cNvPr>
          <p:cNvSpPr>
            <a:spLocks noGrp="1"/>
          </p:cNvSpPr>
          <p:nvPr>
            <p:ph type="subTitle" idx="13"/>
          </p:nvPr>
        </p:nvSpPr>
        <p:spPr bwMode="gray"/>
        <p:txBody>
          <a:bodyPr/>
          <a:lstStyle/>
          <a:p>
            <a:r>
              <a:rPr lang="de-DE" dirty="0"/>
              <a:t>ASU Oxygen</a:t>
            </a:r>
          </a:p>
        </p:txBody>
      </p:sp>
      <p:grpSp>
        <p:nvGrpSpPr>
          <p:cNvPr id="908" name="Group 907">
            <a:extLst>
              <a:ext uri="{FF2B5EF4-FFF2-40B4-BE49-F238E27FC236}">
                <a16:creationId xmlns:a16="http://schemas.microsoft.com/office/drawing/2014/main" id="{68654AF5-BB77-4D7D-AA96-5EADFC79CA31}"/>
              </a:ext>
            </a:extLst>
          </p:cNvPr>
          <p:cNvGrpSpPr/>
          <p:nvPr/>
        </p:nvGrpSpPr>
        <p:grpSpPr bwMode="gray">
          <a:xfrm>
            <a:off x="1800040" y="2364918"/>
            <a:ext cx="868914" cy="2001035"/>
            <a:chOff x="5356744" y="2912763"/>
            <a:chExt cx="835604" cy="2001035"/>
          </a:xfrm>
        </p:grpSpPr>
        <p:sp>
          <p:nvSpPr>
            <p:cNvPr id="909" name="Rectangle: Rounded Corners 908">
              <a:extLst>
                <a:ext uri="{FF2B5EF4-FFF2-40B4-BE49-F238E27FC236}">
                  <a16:creationId xmlns:a16="http://schemas.microsoft.com/office/drawing/2014/main" id="{5A091313-11F1-4578-B68D-4320DAE417BC}"/>
                </a:ext>
              </a:extLst>
            </p:cNvPr>
            <p:cNvSpPr/>
            <p:nvPr/>
          </p:nvSpPr>
          <p:spPr bwMode="gray">
            <a:xfrm>
              <a:off x="5357148" y="2912763"/>
              <a:ext cx="835200" cy="2001035"/>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sp>
          <p:nvSpPr>
            <p:cNvPr id="910" name="Rectangle 909">
              <a:extLst>
                <a:ext uri="{FF2B5EF4-FFF2-40B4-BE49-F238E27FC236}">
                  <a16:creationId xmlns:a16="http://schemas.microsoft.com/office/drawing/2014/main" id="{44D29CA2-227A-4DC2-8941-F933844EFE02}"/>
                </a:ext>
              </a:extLst>
            </p:cNvPr>
            <p:cNvSpPr/>
            <p:nvPr/>
          </p:nvSpPr>
          <p:spPr bwMode="gray">
            <a:xfrm>
              <a:off x="5356744" y="3407805"/>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911" name="Rectangle 910">
              <a:extLst>
                <a:ext uri="{FF2B5EF4-FFF2-40B4-BE49-F238E27FC236}">
                  <a16:creationId xmlns:a16="http://schemas.microsoft.com/office/drawing/2014/main" id="{6FB2566A-7346-4823-AAB1-F6F775329EF6}"/>
                </a:ext>
              </a:extLst>
            </p:cNvPr>
            <p:cNvSpPr/>
            <p:nvPr/>
          </p:nvSpPr>
          <p:spPr bwMode="gray">
            <a:xfrm>
              <a:off x="5356744" y="3534175"/>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912" name="Rectangle 911">
              <a:extLst>
                <a:ext uri="{FF2B5EF4-FFF2-40B4-BE49-F238E27FC236}">
                  <a16:creationId xmlns:a16="http://schemas.microsoft.com/office/drawing/2014/main" id="{97B4828A-C6C6-4B72-B3D4-B7DACB1B939C}"/>
                </a:ext>
              </a:extLst>
            </p:cNvPr>
            <p:cNvSpPr/>
            <p:nvPr/>
          </p:nvSpPr>
          <p:spPr bwMode="gray">
            <a:xfrm>
              <a:off x="5356744" y="3660544"/>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913" name="Rectangle 912">
              <a:extLst>
                <a:ext uri="{FF2B5EF4-FFF2-40B4-BE49-F238E27FC236}">
                  <a16:creationId xmlns:a16="http://schemas.microsoft.com/office/drawing/2014/main" id="{B3A058F1-75FF-4B3B-9183-3274BD9E7CDB}"/>
                </a:ext>
              </a:extLst>
            </p:cNvPr>
            <p:cNvSpPr/>
            <p:nvPr/>
          </p:nvSpPr>
          <p:spPr bwMode="gray">
            <a:xfrm>
              <a:off x="5356744" y="3786913"/>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914" name="Rectangle 913">
              <a:extLst>
                <a:ext uri="{FF2B5EF4-FFF2-40B4-BE49-F238E27FC236}">
                  <a16:creationId xmlns:a16="http://schemas.microsoft.com/office/drawing/2014/main" id="{2186B828-E7AE-4974-A613-D99F038EC93E}"/>
                </a:ext>
              </a:extLst>
            </p:cNvPr>
            <p:cNvSpPr/>
            <p:nvPr/>
          </p:nvSpPr>
          <p:spPr bwMode="gray">
            <a:xfrm>
              <a:off x="5356744" y="3913282"/>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915" name="Rectangle 914">
              <a:extLst>
                <a:ext uri="{FF2B5EF4-FFF2-40B4-BE49-F238E27FC236}">
                  <a16:creationId xmlns:a16="http://schemas.microsoft.com/office/drawing/2014/main" id="{63B7B979-5FF7-4073-81E4-874F47A773D4}"/>
                </a:ext>
              </a:extLst>
            </p:cNvPr>
            <p:cNvSpPr/>
            <p:nvPr/>
          </p:nvSpPr>
          <p:spPr bwMode="gray">
            <a:xfrm>
              <a:off x="5356744" y="4039651"/>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916" name="Rectangle 915">
              <a:extLst>
                <a:ext uri="{FF2B5EF4-FFF2-40B4-BE49-F238E27FC236}">
                  <a16:creationId xmlns:a16="http://schemas.microsoft.com/office/drawing/2014/main" id="{9C24CEFF-1422-4E2A-AE6D-447933688470}"/>
                </a:ext>
              </a:extLst>
            </p:cNvPr>
            <p:cNvSpPr/>
            <p:nvPr/>
          </p:nvSpPr>
          <p:spPr bwMode="gray">
            <a:xfrm>
              <a:off x="5356744" y="4166020"/>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917" name="Rectangle 916">
              <a:extLst>
                <a:ext uri="{FF2B5EF4-FFF2-40B4-BE49-F238E27FC236}">
                  <a16:creationId xmlns:a16="http://schemas.microsoft.com/office/drawing/2014/main" id="{513E1C24-84D9-4149-BB33-BA6F11351C2F}"/>
                </a:ext>
              </a:extLst>
            </p:cNvPr>
            <p:cNvSpPr/>
            <p:nvPr/>
          </p:nvSpPr>
          <p:spPr bwMode="gray">
            <a:xfrm>
              <a:off x="5356744" y="4292389"/>
              <a:ext cx="835200" cy="12637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918" name="Rectangle 917">
              <a:extLst>
                <a:ext uri="{FF2B5EF4-FFF2-40B4-BE49-F238E27FC236}">
                  <a16:creationId xmlns:a16="http://schemas.microsoft.com/office/drawing/2014/main" id="{FD8AC1BF-FDCF-4125-9A8B-F561BB54757B}"/>
                </a:ext>
              </a:extLst>
            </p:cNvPr>
            <p:cNvSpPr/>
            <p:nvPr/>
          </p:nvSpPr>
          <p:spPr bwMode="gray">
            <a:xfrm>
              <a:off x="5356744" y="4418758"/>
              <a:ext cx="835200" cy="1263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r>
                <a:rPr lang="de-DE" sz="1000" dirty="0">
                  <a:solidFill>
                    <a:schemeClr val="tx1"/>
                  </a:solidFill>
                </a:rPr>
                <a:t>Solids</a:t>
              </a:r>
            </a:p>
          </p:txBody>
        </p:sp>
        <p:sp>
          <p:nvSpPr>
            <p:cNvPr id="919" name="Rectangle 918">
              <a:extLst>
                <a:ext uri="{FF2B5EF4-FFF2-40B4-BE49-F238E27FC236}">
                  <a16:creationId xmlns:a16="http://schemas.microsoft.com/office/drawing/2014/main" id="{64ABDB2D-6098-43B9-9E5F-A7B6B2FD7952}"/>
                </a:ext>
              </a:extLst>
            </p:cNvPr>
            <p:cNvSpPr/>
            <p:nvPr/>
          </p:nvSpPr>
          <p:spPr bwMode="gray">
            <a:xfrm>
              <a:off x="5356744" y="3660544"/>
              <a:ext cx="835200" cy="505477"/>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r>
                <a:rPr lang="de-DE" sz="1000" b="1" dirty="0">
                  <a:solidFill>
                    <a:schemeClr val="tx1"/>
                  </a:solidFill>
                </a:rPr>
                <a:t>Gasifier</a:t>
              </a:r>
            </a:p>
          </p:txBody>
        </p:sp>
        <p:sp>
          <p:nvSpPr>
            <p:cNvPr id="920" name="Rectangle 919">
              <a:extLst>
                <a:ext uri="{FF2B5EF4-FFF2-40B4-BE49-F238E27FC236}">
                  <a16:creationId xmlns:a16="http://schemas.microsoft.com/office/drawing/2014/main" id="{850A7F6A-32CA-4ADD-BFA1-B593F48EBC84}"/>
                </a:ext>
              </a:extLst>
            </p:cNvPr>
            <p:cNvSpPr/>
            <p:nvPr/>
          </p:nvSpPr>
          <p:spPr bwMode="gray">
            <a:xfrm>
              <a:off x="5356744" y="3281436"/>
              <a:ext cx="835200" cy="1263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r>
                <a:rPr lang="de-DE" sz="1000" dirty="0">
                  <a:solidFill>
                    <a:schemeClr val="tx1"/>
                  </a:solidFill>
                </a:rPr>
                <a:t>Gaseous constitutes</a:t>
              </a:r>
            </a:p>
          </p:txBody>
        </p:sp>
      </p:grpSp>
      <p:grpSp>
        <p:nvGrpSpPr>
          <p:cNvPr id="1872" name="Group 1871">
            <a:extLst>
              <a:ext uri="{FF2B5EF4-FFF2-40B4-BE49-F238E27FC236}">
                <a16:creationId xmlns:a16="http://schemas.microsoft.com/office/drawing/2014/main" id="{ECC99AC4-6E4F-4A06-936E-1126A6D12D9B}"/>
              </a:ext>
            </a:extLst>
          </p:cNvPr>
          <p:cNvGrpSpPr/>
          <p:nvPr/>
        </p:nvGrpSpPr>
        <p:grpSpPr bwMode="gray">
          <a:xfrm>
            <a:off x="5227238" y="5119412"/>
            <a:ext cx="3205587" cy="805268"/>
            <a:chOff x="5321721" y="5120639"/>
            <a:chExt cx="3205587" cy="805268"/>
          </a:xfrm>
        </p:grpSpPr>
        <p:sp>
          <p:nvSpPr>
            <p:cNvPr id="1198" name="PPTShape_17">
              <a:extLst>
                <a:ext uri="{FF2B5EF4-FFF2-40B4-BE49-F238E27FC236}">
                  <a16:creationId xmlns:a16="http://schemas.microsoft.com/office/drawing/2014/main" id="{5A164836-C969-408E-86A9-1B2BA6AEF980}"/>
                </a:ext>
              </a:extLst>
            </p:cNvPr>
            <p:cNvSpPr>
              <a:spLocks noChangeArrowheads="1"/>
            </p:cNvSpPr>
            <p:nvPr/>
          </p:nvSpPr>
          <p:spPr bwMode="gray">
            <a:xfrm>
              <a:off x="8043015" y="5525226"/>
              <a:ext cx="484293" cy="197447"/>
            </a:xfrm>
            <a:prstGeom prst="rect">
              <a:avLst/>
            </a:prstGeom>
            <a:noFill/>
            <a:ln w="12700">
              <a:noFill/>
              <a:miter lim="800000"/>
              <a:headEnd/>
              <a:tailEnd/>
            </a:ln>
          </p:spPr>
          <p:txBody>
            <a:bodyPr wrap="square" lIns="0" tIns="0" rIns="0" bIns="0" anchor="t" anchorCtr="0">
              <a:noAutofit/>
            </a:bodyPr>
            <a:lstStyle/>
            <a:p>
              <a:pPr eaLnBrk="0" fontAlgn="base" hangingPunct="0">
                <a:spcBef>
                  <a:spcPct val="0"/>
                </a:spcBef>
                <a:spcAft>
                  <a:spcPct val="0"/>
                </a:spcAft>
              </a:pPr>
              <a:r>
                <a:rPr lang="de-DE" sz="1000" dirty="0"/>
                <a:t>Electric power</a:t>
              </a:r>
              <a:endParaRPr lang="en-US" sz="1000" dirty="0"/>
            </a:p>
          </p:txBody>
        </p:sp>
        <p:sp>
          <p:nvSpPr>
            <p:cNvPr id="1201" name="PPTShape_17">
              <a:extLst>
                <a:ext uri="{FF2B5EF4-FFF2-40B4-BE49-F238E27FC236}">
                  <a16:creationId xmlns:a16="http://schemas.microsoft.com/office/drawing/2014/main" id="{71D41B0A-DD53-4979-8AC3-C9503F5C6B01}"/>
                </a:ext>
              </a:extLst>
            </p:cNvPr>
            <p:cNvSpPr>
              <a:spLocks noChangeArrowheads="1"/>
            </p:cNvSpPr>
            <p:nvPr/>
          </p:nvSpPr>
          <p:spPr bwMode="gray">
            <a:xfrm>
              <a:off x="5321721" y="5421237"/>
              <a:ext cx="483847" cy="309150"/>
            </a:xfrm>
            <a:prstGeom prst="rect">
              <a:avLst/>
            </a:prstGeom>
            <a:noFill/>
            <a:ln w="12700">
              <a:noFill/>
              <a:miter lim="800000"/>
              <a:headEnd/>
              <a:tailEnd/>
            </a:ln>
          </p:spPr>
          <p:txBody>
            <a:bodyPr wrap="square" lIns="0" tIns="0" rIns="0" bIns="0" anchor="t" anchorCtr="0">
              <a:noAutofit/>
            </a:bodyPr>
            <a:lstStyle/>
            <a:p>
              <a:pPr algn="r" eaLnBrk="0" fontAlgn="base" hangingPunct="0">
                <a:spcBef>
                  <a:spcPct val="0"/>
                </a:spcBef>
                <a:spcAft>
                  <a:spcPct val="0"/>
                </a:spcAft>
              </a:pPr>
              <a:r>
                <a:rPr lang="de-DE" sz="1000" dirty="0"/>
                <a:t>Steam </a:t>
              </a:r>
              <a:br>
                <a:rPr lang="de-DE" sz="1000" dirty="0"/>
              </a:br>
              <a:r>
                <a:rPr lang="de-DE" sz="1000" dirty="0"/>
                <a:t>turbine</a:t>
              </a:r>
              <a:endParaRPr lang="en-US" sz="1000" dirty="0"/>
            </a:p>
          </p:txBody>
        </p:sp>
        <p:grpSp>
          <p:nvGrpSpPr>
            <p:cNvPr id="1211" name="Group 1210">
              <a:extLst>
                <a:ext uri="{FF2B5EF4-FFF2-40B4-BE49-F238E27FC236}">
                  <a16:creationId xmlns:a16="http://schemas.microsoft.com/office/drawing/2014/main" id="{A603F5FD-B3B2-4B95-8C22-27F803C5886D}"/>
                </a:ext>
              </a:extLst>
            </p:cNvPr>
            <p:cNvGrpSpPr/>
            <p:nvPr/>
          </p:nvGrpSpPr>
          <p:grpSpPr bwMode="gray">
            <a:xfrm>
              <a:off x="7045862" y="5407737"/>
              <a:ext cx="251761" cy="343647"/>
              <a:chOff x="8031389" y="3177600"/>
              <a:chExt cx="648000" cy="884507"/>
            </a:xfrm>
            <a:noFill/>
          </p:grpSpPr>
          <p:sp>
            <p:nvSpPr>
              <p:cNvPr id="1338" name="Rectangle 1337">
                <a:extLst>
                  <a:ext uri="{FF2B5EF4-FFF2-40B4-BE49-F238E27FC236}">
                    <a16:creationId xmlns:a16="http://schemas.microsoft.com/office/drawing/2014/main" id="{30DEEEC6-480F-4CD0-A42E-7C10905F37C8}"/>
                  </a:ext>
                </a:extLst>
              </p:cNvPr>
              <p:cNvSpPr/>
              <p:nvPr/>
            </p:nvSpPr>
            <p:spPr bwMode="gray">
              <a:xfrm>
                <a:off x="8031389" y="3349738"/>
                <a:ext cx="648000" cy="661968"/>
              </a:xfrm>
              <a:prstGeom prst="rect">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339" name="Rectangle 1338">
                <a:extLst>
                  <a:ext uri="{FF2B5EF4-FFF2-40B4-BE49-F238E27FC236}">
                    <a16:creationId xmlns:a16="http://schemas.microsoft.com/office/drawing/2014/main" id="{33E832E4-345C-4FF6-A069-46052B415A9F}"/>
                  </a:ext>
                </a:extLst>
              </p:cNvPr>
              <p:cNvSpPr/>
              <p:nvPr/>
            </p:nvSpPr>
            <p:spPr bwMode="gray">
              <a:xfrm>
                <a:off x="8103389" y="4011707"/>
                <a:ext cx="504000" cy="50400"/>
              </a:xfrm>
              <a:prstGeom prst="rect">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340" name="Trapezoid 1339">
                <a:extLst>
                  <a:ext uri="{FF2B5EF4-FFF2-40B4-BE49-F238E27FC236}">
                    <a16:creationId xmlns:a16="http://schemas.microsoft.com/office/drawing/2014/main" id="{536DC532-E763-4BCB-93C5-85F2346CC33B}"/>
                  </a:ext>
                </a:extLst>
              </p:cNvPr>
              <p:cNvSpPr/>
              <p:nvPr/>
            </p:nvSpPr>
            <p:spPr bwMode="gray">
              <a:xfrm>
                <a:off x="8467878" y="3177601"/>
                <a:ext cx="128082" cy="172137"/>
              </a:xfrm>
              <a:prstGeom prst="trapezoid">
                <a:avLst>
                  <a:gd name="adj" fmla="val 36899"/>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341" name="Trapezoid 1340">
                <a:extLst>
                  <a:ext uri="{FF2B5EF4-FFF2-40B4-BE49-F238E27FC236}">
                    <a16:creationId xmlns:a16="http://schemas.microsoft.com/office/drawing/2014/main" id="{028513AE-2B11-4A84-AEC9-4358BA2C8D2E}"/>
                  </a:ext>
                </a:extLst>
              </p:cNvPr>
              <p:cNvSpPr/>
              <p:nvPr/>
            </p:nvSpPr>
            <p:spPr bwMode="gray">
              <a:xfrm>
                <a:off x="8114818" y="3177600"/>
                <a:ext cx="128082" cy="172137"/>
              </a:xfrm>
              <a:prstGeom prst="trapezoid">
                <a:avLst>
                  <a:gd name="adj" fmla="val 36899"/>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grpSp>
            <p:nvGrpSpPr>
              <p:cNvPr id="1343" name="Group 1342">
                <a:extLst>
                  <a:ext uri="{FF2B5EF4-FFF2-40B4-BE49-F238E27FC236}">
                    <a16:creationId xmlns:a16="http://schemas.microsoft.com/office/drawing/2014/main" id="{19E19452-689E-4C37-B6CC-19F01C33A2F2}"/>
                  </a:ext>
                </a:extLst>
              </p:cNvPr>
              <p:cNvGrpSpPr/>
              <p:nvPr/>
            </p:nvGrpSpPr>
            <p:grpSpPr bwMode="gray">
              <a:xfrm>
                <a:off x="8105199" y="3412578"/>
                <a:ext cx="500381" cy="475671"/>
                <a:chOff x="8102389" y="3412578"/>
                <a:chExt cx="500381" cy="475671"/>
              </a:xfrm>
              <a:grpFill/>
            </p:grpSpPr>
            <p:grpSp>
              <p:nvGrpSpPr>
                <p:cNvPr id="1345" name="Group 1344">
                  <a:extLst>
                    <a:ext uri="{FF2B5EF4-FFF2-40B4-BE49-F238E27FC236}">
                      <a16:creationId xmlns:a16="http://schemas.microsoft.com/office/drawing/2014/main" id="{4EFD9BA5-CE84-407E-8A2C-5F4F2F98E626}"/>
                    </a:ext>
                  </a:extLst>
                </p:cNvPr>
                <p:cNvGrpSpPr/>
                <p:nvPr/>
              </p:nvGrpSpPr>
              <p:grpSpPr bwMode="gray">
                <a:xfrm>
                  <a:off x="8455449" y="3412578"/>
                  <a:ext cx="147321" cy="475671"/>
                  <a:chOff x="8455449" y="3412578"/>
                  <a:chExt cx="147321" cy="475671"/>
                </a:xfrm>
                <a:grpFill/>
              </p:grpSpPr>
              <p:cxnSp>
                <p:nvCxnSpPr>
                  <p:cNvPr id="1350" name="Straight Connector 1349">
                    <a:extLst>
                      <a:ext uri="{FF2B5EF4-FFF2-40B4-BE49-F238E27FC236}">
                        <a16:creationId xmlns:a16="http://schemas.microsoft.com/office/drawing/2014/main" id="{84AA302E-190D-4626-9639-132EAF11FE18}"/>
                      </a:ext>
                    </a:extLst>
                  </p:cNvPr>
                  <p:cNvCxnSpPr>
                    <a:cxnSpLocks/>
                  </p:cNvCxnSpPr>
                  <p:nvPr/>
                </p:nvCxnSpPr>
                <p:spPr bwMode="gray">
                  <a:xfrm flipV="1">
                    <a:off x="8529109" y="3412578"/>
                    <a:ext cx="1" cy="475671"/>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51" name="Straight Connector 1350">
                    <a:extLst>
                      <a:ext uri="{FF2B5EF4-FFF2-40B4-BE49-F238E27FC236}">
                        <a16:creationId xmlns:a16="http://schemas.microsoft.com/office/drawing/2014/main" id="{C6EF3E3F-3298-4D3C-B274-74B4824D1C67}"/>
                      </a:ext>
                    </a:extLst>
                  </p:cNvPr>
                  <p:cNvCxnSpPr>
                    <a:cxnSpLocks/>
                  </p:cNvCxnSpPr>
                  <p:nvPr/>
                </p:nvCxnSpPr>
                <p:spPr bwMode="gray">
                  <a:xfrm flipV="1">
                    <a:off x="8455449" y="3412578"/>
                    <a:ext cx="1" cy="475671"/>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52" name="Straight Connector 1351">
                    <a:extLst>
                      <a:ext uri="{FF2B5EF4-FFF2-40B4-BE49-F238E27FC236}">
                        <a16:creationId xmlns:a16="http://schemas.microsoft.com/office/drawing/2014/main" id="{6F548764-31FE-439C-94A2-0E2FD2DA8568}"/>
                      </a:ext>
                    </a:extLst>
                  </p:cNvPr>
                  <p:cNvCxnSpPr>
                    <a:cxnSpLocks/>
                  </p:cNvCxnSpPr>
                  <p:nvPr/>
                </p:nvCxnSpPr>
                <p:spPr bwMode="gray">
                  <a:xfrm flipV="1">
                    <a:off x="8602769" y="3412578"/>
                    <a:ext cx="1" cy="475671"/>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346" name="Group 1345">
                  <a:extLst>
                    <a:ext uri="{FF2B5EF4-FFF2-40B4-BE49-F238E27FC236}">
                      <a16:creationId xmlns:a16="http://schemas.microsoft.com/office/drawing/2014/main" id="{69C39B1F-1894-4EF8-86D5-D043D18688C3}"/>
                    </a:ext>
                  </a:extLst>
                </p:cNvPr>
                <p:cNvGrpSpPr/>
                <p:nvPr/>
              </p:nvGrpSpPr>
              <p:grpSpPr bwMode="gray">
                <a:xfrm>
                  <a:off x="8102389" y="3412578"/>
                  <a:ext cx="147321" cy="475671"/>
                  <a:chOff x="8455449" y="3412578"/>
                  <a:chExt cx="147321" cy="475671"/>
                </a:xfrm>
                <a:grpFill/>
              </p:grpSpPr>
              <p:cxnSp>
                <p:nvCxnSpPr>
                  <p:cNvPr id="1347" name="Straight Connector 1346">
                    <a:extLst>
                      <a:ext uri="{FF2B5EF4-FFF2-40B4-BE49-F238E27FC236}">
                        <a16:creationId xmlns:a16="http://schemas.microsoft.com/office/drawing/2014/main" id="{6CBBC644-49BB-4E0F-8018-C7B74DC46876}"/>
                      </a:ext>
                    </a:extLst>
                  </p:cNvPr>
                  <p:cNvCxnSpPr>
                    <a:cxnSpLocks/>
                  </p:cNvCxnSpPr>
                  <p:nvPr/>
                </p:nvCxnSpPr>
                <p:spPr bwMode="gray">
                  <a:xfrm flipV="1">
                    <a:off x="8529109" y="3412578"/>
                    <a:ext cx="1" cy="475671"/>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48" name="Straight Connector 1347">
                    <a:extLst>
                      <a:ext uri="{FF2B5EF4-FFF2-40B4-BE49-F238E27FC236}">
                        <a16:creationId xmlns:a16="http://schemas.microsoft.com/office/drawing/2014/main" id="{0201DFBF-9536-4EAB-94F2-AC8A4A3214CA}"/>
                      </a:ext>
                    </a:extLst>
                  </p:cNvPr>
                  <p:cNvCxnSpPr>
                    <a:cxnSpLocks/>
                  </p:cNvCxnSpPr>
                  <p:nvPr/>
                </p:nvCxnSpPr>
                <p:spPr bwMode="gray">
                  <a:xfrm flipV="1">
                    <a:off x="8455449" y="3412578"/>
                    <a:ext cx="1" cy="475671"/>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49" name="Straight Connector 1348">
                    <a:extLst>
                      <a:ext uri="{FF2B5EF4-FFF2-40B4-BE49-F238E27FC236}">
                        <a16:creationId xmlns:a16="http://schemas.microsoft.com/office/drawing/2014/main" id="{2398700E-C0DA-4A5E-900B-24D182414997}"/>
                      </a:ext>
                    </a:extLst>
                  </p:cNvPr>
                  <p:cNvCxnSpPr>
                    <a:cxnSpLocks/>
                  </p:cNvCxnSpPr>
                  <p:nvPr/>
                </p:nvCxnSpPr>
                <p:spPr bwMode="gray">
                  <a:xfrm flipV="1">
                    <a:off x="8602769" y="3412578"/>
                    <a:ext cx="1" cy="475671"/>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1215" name="Group 1214">
              <a:extLst>
                <a:ext uri="{FF2B5EF4-FFF2-40B4-BE49-F238E27FC236}">
                  <a16:creationId xmlns:a16="http://schemas.microsoft.com/office/drawing/2014/main" id="{D8E04B8F-F947-41D9-9CED-EA3CFE8EF80B}"/>
                </a:ext>
              </a:extLst>
            </p:cNvPr>
            <p:cNvGrpSpPr/>
            <p:nvPr/>
          </p:nvGrpSpPr>
          <p:grpSpPr bwMode="gray">
            <a:xfrm>
              <a:off x="7623723" y="5120639"/>
              <a:ext cx="348603" cy="363821"/>
              <a:chOff x="6224588" y="2559050"/>
              <a:chExt cx="400050" cy="417513"/>
            </a:xfrm>
            <a:noFill/>
          </p:grpSpPr>
          <p:sp>
            <p:nvSpPr>
              <p:cNvPr id="1315" name="Line 505">
                <a:extLst>
                  <a:ext uri="{FF2B5EF4-FFF2-40B4-BE49-F238E27FC236}">
                    <a16:creationId xmlns:a16="http://schemas.microsoft.com/office/drawing/2014/main" id="{826846D9-9AE8-4A3C-AFAF-A8AA880D2FF6}"/>
                  </a:ext>
                </a:extLst>
              </p:cNvPr>
              <p:cNvSpPr>
                <a:spLocks noChangeShapeType="1"/>
              </p:cNvSpPr>
              <p:nvPr/>
            </p:nvSpPr>
            <p:spPr bwMode="gray">
              <a:xfrm>
                <a:off x="6577013" y="2559050"/>
                <a:ext cx="0" cy="417513"/>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16" name="Freeform 506">
                <a:extLst>
                  <a:ext uri="{FF2B5EF4-FFF2-40B4-BE49-F238E27FC236}">
                    <a16:creationId xmlns:a16="http://schemas.microsoft.com/office/drawing/2014/main" id="{2BDB3BA7-F46D-4D5C-8901-966BCE6C256C}"/>
                  </a:ext>
                </a:extLst>
              </p:cNvPr>
              <p:cNvSpPr>
                <a:spLocks/>
              </p:cNvSpPr>
              <p:nvPr/>
            </p:nvSpPr>
            <p:spPr bwMode="gray">
              <a:xfrm>
                <a:off x="6224588" y="2568575"/>
                <a:ext cx="400050" cy="407988"/>
              </a:xfrm>
              <a:custGeom>
                <a:avLst/>
                <a:gdLst>
                  <a:gd name="T0" fmla="*/ 252 w 252"/>
                  <a:gd name="T1" fmla="*/ 257 h 257"/>
                  <a:gd name="T2" fmla="*/ 252 w 252"/>
                  <a:gd name="T3" fmla="*/ 18 h 257"/>
                  <a:gd name="T4" fmla="*/ 252 w 252"/>
                  <a:gd name="T5" fmla="*/ 0 h 257"/>
                  <a:gd name="T6" fmla="*/ 0 w 252"/>
                  <a:gd name="T7" fmla="*/ 0 h 257"/>
                  <a:gd name="T8" fmla="*/ 0 w 252"/>
                  <a:gd name="T9" fmla="*/ 18 h 257"/>
                  <a:gd name="T10" fmla="*/ 0 w 252"/>
                  <a:gd name="T11" fmla="*/ 257 h 257"/>
                </a:gdLst>
                <a:ahLst/>
                <a:cxnLst>
                  <a:cxn ang="0">
                    <a:pos x="T0" y="T1"/>
                  </a:cxn>
                  <a:cxn ang="0">
                    <a:pos x="T2" y="T3"/>
                  </a:cxn>
                  <a:cxn ang="0">
                    <a:pos x="T4" y="T5"/>
                  </a:cxn>
                  <a:cxn ang="0">
                    <a:pos x="T6" y="T7"/>
                  </a:cxn>
                  <a:cxn ang="0">
                    <a:pos x="T8" y="T9"/>
                  </a:cxn>
                  <a:cxn ang="0">
                    <a:pos x="T10" y="T11"/>
                  </a:cxn>
                </a:cxnLst>
                <a:rect l="0" t="0" r="r" b="b"/>
                <a:pathLst>
                  <a:path w="252" h="257">
                    <a:moveTo>
                      <a:pt x="252" y="257"/>
                    </a:moveTo>
                    <a:lnTo>
                      <a:pt x="252" y="18"/>
                    </a:lnTo>
                    <a:lnTo>
                      <a:pt x="252" y="0"/>
                    </a:lnTo>
                    <a:lnTo>
                      <a:pt x="0" y="0"/>
                    </a:lnTo>
                    <a:lnTo>
                      <a:pt x="0" y="18"/>
                    </a:lnTo>
                    <a:lnTo>
                      <a:pt x="0" y="257"/>
                    </a:lnTo>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17" name="Line 507">
                <a:extLst>
                  <a:ext uri="{FF2B5EF4-FFF2-40B4-BE49-F238E27FC236}">
                    <a16:creationId xmlns:a16="http://schemas.microsoft.com/office/drawing/2014/main" id="{D24B3BDC-F1F3-4CB4-B0D1-C1CB9D692AE9}"/>
                  </a:ext>
                </a:extLst>
              </p:cNvPr>
              <p:cNvSpPr>
                <a:spLocks noChangeShapeType="1"/>
              </p:cNvSpPr>
              <p:nvPr/>
            </p:nvSpPr>
            <p:spPr bwMode="gray">
              <a:xfrm>
                <a:off x="6272213" y="2559050"/>
                <a:ext cx="0" cy="417513"/>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18" name="Rectangle 508">
                <a:extLst>
                  <a:ext uri="{FF2B5EF4-FFF2-40B4-BE49-F238E27FC236}">
                    <a16:creationId xmlns:a16="http://schemas.microsoft.com/office/drawing/2014/main" id="{0EF4F29E-DE06-48DC-90A9-4D4C6A3F535C}"/>
                  </a:ext>
                </a:extLst>
              </p:cNvPr>
              <p:cNvSpPr>
                <a:spLocks noChangeArrowheads="1"/>
              </p:cNvSpPr>
              <p:nvPr/>
            </p:nvSpPr>
            <p:spPr bwMode="gray">
              <a:xfrm>
                <a:off x="6319838" y="2814638"/>
                <a:ext cx="209550" cy="152400"/>
              </a:xfrm>
              <a:prstGeom prst="rect">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19" name="Line 509">
                <a:extLst>
                  <a:ext uri="{FF2B5EF4-FFF2-40B4-BE49-F238E27FC236}">
                    <a16:creationId xmlns:a16="http://schemas.microsoft.com/office/drawing/2014/main" id="{3781BC9A-322B-410C-8F93-6041D2592D11}"/>
                  </a:ext>
                </a:extLst>
              </p:cNvPr>
              <p:cNvSpPr>
                <a:spLocks noChangeShapeType="1"/>
              </p:cNvSpPr>
              <p:nvPr/>
            </p:nvSpPr>
            <p:spPr bwMode="gray">
              <a:xfrm>
                <a:off x="6348413" y="2852738"/>
                <a:ext cx="38100" cy="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20" name="Line 510">
                <a:extLst>
                  <a:ext uri="{FF2B5EF4-FFF2-40B4-BE49-F238E27FC236}">
                    <a16:creationId xmlns:a16="http://schemas.microsoft.com/office/drawing/2014/main" id="{AC0560D2-903D-4D31-8F65-3A7C6C7FCDDF}"/>
                  </a:ext>
                </a:extLst>
              </p:cNvPr>
              <p:cNvSpPr>
                <a:spLocks noChangeShapeType="1"/>
              </p:cNvSpPr>
              <p:nvPr/>
            </p:nvSpPr>
            <p:spPr bwMode="gray">
              <a:xfrm>
                <a:off x="6405563" y="2852738"/>
                <a:ext cx="38100" cy="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21" name="Line 511">
                <a:extLst>
                  <a:ext uri="{FF2B5EF4-FFF2-40B4-BE49-F238E27FC236}">
                    <a16:creationId xmlns:a16="http://schemas.microsoft.com/office/drawing/2014/main" id="{2E7691FD-5C12-48DE-AC89-8BF87E8A626C}"/>
                  </a:ext>
                </a:extLst>
              </p:cNvPr>
              <p:cNvSpPr>
                <a:spLocks noChangeShapeType="1"/>
              </p:cNvSpPr>
              <p:nvPr/>
            </p:nvSpPr>
            <p:spPr bwMode="gray">
              <a:xfrm>
                <a:off x="6462713" y="2852738"/>
                <a:ext cx="38100" cy="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22" name="Rectangle 512">
                <a:extLst>
                  <a:ext uri="{FF2B5EF4-FFF2-40B4-BE49-F238E27FC236}">
                    <a16:creationId xmlns:a16="http://schemas.microsoft.com/office/drawing/2014/main" id="{BAE200B9-5B67-4AAC-B504-5EBBC8313BD4}"/>
                  </a:ext>
                </a:extLst>
              </p:cNvPr>
              <p:cNvSpPr>
                <a:spLocks noChangeArrowheads="1"/>
              </p:cNvSpPr>
              <p:nvPr/>
            </p:nvSpPr>
            <p:spPr bwMode="gray">
              <a:xfrm>
                <a:off x="6405563" y="2776538"/>
                <a:ext cx="38100" cy="38100"/>
              </a:xfrm>
              <a:prstGeom prst="rect">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23" name="Rectangle 513">
                <a:extLst>
                  <a:ext uri="{FF2B5EF4-FFF2-40B4-BE49-F238E27FC236}">
                    <a16:creationId xmlns:a16="http://schemas.microsoft.com/office/drawing/2014/main" id="{033B0649-8778-429C-815A-CE38F11C452A}"/>
                  </a:ext>
                </a:extLst>
              </p:cNvPr>
              <p:cNvSpPr>
                <a:spLocks noChangeArrowheads="1"/>
              </p:cNvSpPr>
              <p:nvPr/>
            </p:nvSpPr>
            <p:spPr bwMode="gray">
              <a:xfrm>
                <a:off x="6472238" y="2776538"/>
                <a:ext cx="38100" cy="38100"/>
              </a:xfrm>
              <a:prstGeom prst="rect">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24" name="Rectangle 514">
                <a:extLst>
                  <a:ext uri="{FF2B5EF4-FFF2-40B4-BE49-F238E27FC236}">
                    <a16:creationId xmlns:a16="http://schemas.microsoft.com/office/drawing/2014/main" id="{7A1FCDA7-11C3-4526-ABE3-C11CF5658C40}"/>
                  </a:ext>
                </a:extLst>
              </p:cNvPr>
              <p:cNvSpPr>
                <a:spLocks noChangeArrowheads="1"/>
              </p:cNvSpPr>
              <p:nvPr/>
            </p:nvSpPr>
            <p:spPr bwMode="gray">
              <a:xfrm>
                <a:off x="6338888" y="2776538"/>
                <a:ext cx="38100" cy="38100"/>
              </a:xfrm>
              <a:prstGeom prst="rect">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25" name="Freeform 515">
                <a:extLst>
                  <a:ext uri="{FF2B5EF4-FFF2-40B4-BE49-F238E27FC236}">
                    <a16:creationId xmlns:a16="http://schemas.microsoft.com/office/drawing/2014/main" id="{1A75281C-5489-4510-BD7C-E18501C9000D}"/>
                  </a:ext>
                </a:extLst>
              </p:cNvPr>
              <p:cNvSpPr>
                <a:spLocks/>
              </p:cNvSpPr>
              <p:nvPr/>
            </p:nvSpPr>
            <p:spPr bwMode="gray">
              <a:xfrm>
                <a:off x="6338888" y="2559050"/>
                <a:ext cx="171450" cy="47625"/>
              </a:xfrm>
              <a:custGeom>
                <a:avLst/>
                <a:gdLst>
                  <a:gd name="T0" fmla="*/ 108 w 108"/>
                  <a:gd name="T1" fmla="*/ 0 h 30"/>
                  <a:gd name="T2" fmla="*/ 108 w 108"/>
                  <a:gd name="T3" fmla="*/ 30 h 30"/>
                  <a:gd name="T4" fmla="*/ 0 w 108"/>
                  <a:gd name="T5" fmla="*/ 30 h 30"/>
                  <a:gd name="T6" fmla="*/ 0 w 108"/>
                  <a:gd name="T7" fmla="*/ 0 h 30"/>
                </a:gdLst>
                <a:ahLst/>
                <a:cxnLst>
                  <a:cxn ang="0">
                    <a:pos x="T0" y="T1"/>
                  </a:cxn>
                  <a:cxn ang="0">
                    <a:pos x="T2" y="T3"/>
                  </a:cxn>
                  <a:cxn ang="0">
                    <a:pos x="T4" y="T5"/>
                  </a:cxn>
                  <a:cxn ang="0">
                    <a:pos x="T6" y="T7"/>
                  </a:cxn>
                </a:cxnLst>
                <a:rect l="0" t="0" r="r" b="b"/>
                <a:pathLst>
                  <a:path w="108" h="30">
                    <a:moveTo>
                      <a:pt x="108" y="0"/>
                    </a:moveTo>
                    <a:lnTo>
                      <a:pt x="108" y="30"/>
                    </a:lnTo>
                    <a:lnTo>
                      <a:pt x="0" y="30"/>
                    </a:lnTo>
                    <a:lnTo>
                      <a:pt x="0" y="0"/>
                    </a:lnTo>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26" name="Line 516">
                <a:extLst>
                  <a:ext uri="{FF2B5EF4-FFF2-40B4-BE49-F238E27FC236}">
                    <a16:creationId xmlns:a16="http://schemas.microsoft.com/office/drawing/2014/main" id="{31D062FA-4173-4852-B251-B22F0CFDE415}"/>
                  </a:ext>
                </a:extLst>
              </p:cNvPr>
              <p:cNvSpPr>
                <a:spLocks noChangeShapeType="1"/>
              </p:cNvSpPr>
              <p:nvPr/>
            </p:nvSpPr>
            <p:spPr bwMode="gray">
              <a:xfrm flipV="1">
                <a:off x="6357938" y="2682875"/>
                <a:ext cx="0" cy="103188"/>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27" name="Line 517">
                <a:extLst>
                  <a:ext uri="{FF2B5EF4-FFF2-40B4-BE49-F238E27FC236}">
                    <a16:creationId xmlns:a16="http://schemas.microsoft.com/office/drawing/2014/main" id="{055F9BA6-4A75-4866-B723-1BDBC8E10A38}"/>
                  </a:ext>
                </a:extLst>
              </p:cNvPr>
              <p:cNvSpPr>
                <a:spLocks noChangeShapeType="1"/>
              </p:cNvSpPr>
              <p:nvPr/>
            </p:nvSpPr>
            <p:spPr bwMode="gray">
              <a:xfrm flipV="1">
                <a:off x="6424613" y="2682875"/>
                <a:ext cx="0" cy="103188"/>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28" name="Line 518">
                <a:extLst>
                  <a:ext uri="{FF2B5EF4-FFF2-40B4-BE49-F238E27FC236}">
                    <a16:creationId xmlns:a16="http://schemas.microsoft.com/office/drawing/2014/main" id="{E9B8F600-6855-44AF-B5A8-670A5F2CEF2B}"/>
                  </a:ext>
                </a:extLst>
              </p:cNvPr>
              <p:cNvSpPr>
                <a:spLocks noChangeShapeType="1"/>
              </p:cNvSpPr>
              <p:nvPr/>
            </p:nvSpPr>
            <p:spPr bwMode="gray">
              <a:xfrm flipV="1">
                <a:off x="6491288" y="2682875"/>
                <a:ext cx="0" cy="103188"/>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29" name="Line 519">
                <a:extLst>
                  <a:ext uri="{FF2B5EF4-FFF2-40B4-BE49-F238E27FC236}">
                    <a16:creationId xmlns:a16="http://schemas.microsoft.com/office/drawing/2014/main" id="{F851447F-0B13-4CE6-AB05-6A5A88478BF0}"/>
                  </a:ext>
                </a:extLst>
              </p:cNvPr>
              <p:cNvSpPr>
                <a:spLocks noChangeShapeType="1"/>
              </p:cNvSpPr>
              <p:nvPr/>
            </p:nvSpPr>
            <p:spPr bwMode="gray">
              <a:xfrm flipV="1">
                <a:off x="6357938" y="2606675"/>
                <a:ext cx="0"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30" name="Line 520">
                <a:extLst>
                  <a:ext uri="{FF2B5EF4-FFF2-40B4-BE49-F238E27FC236}">
                    <a16:creationId xmlns:a16="http://schemas.microsoft.com/office/drawing/2014/main" id="{059C4D5D-4D63-4ED4-A9A5-109A2E2F68B9}"/>
                  </a:ext>
                </a:extLst>
              </p:cNvPr>
              <p:cNvSpPr>
                <a:spLocks noChangeShapeType="1"/>
              </p:cNvSpPr>
              <p:nvPr/>
            </p:nvSpPr>
            <p:spPr bwMode="gray">
              <a:xfrm flipV="1">
                <a:off x="6424613" y="2606675"/>
                <a:ext cx="0"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31" name="Line 521">
                <a:extLst>
                  <a:ext uri="{FF2B5EF4-FFF2-40B4-BE49-F238E27FC236}">
                    <a16:creationId xmlns:a16="http://schemas.microsoft.com/office/drawing/2014/main" id="{D4E55C83-8AD9-4E5E-BA39-35938036F57D}"/>
                  </a:ext>
                </a:extLst>
              </p:cNvPr>
              <p:cNvSpPr>
                <a:spLocks noChangeShapeType="1"/>
              </p:cNvSpPr>
              <p:nvPr/>
            </p:nvSpPr>
            <p:spPr bwMode="gray">
              <a:xfrm flipV="1">
                <a:off x="6491288" y="2606675"/>
                <a:ext cx="0"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32" name="Line 522">
                <a:extLst>
                  <a:ext uri="{FF2B5EF4-FFF2-40B4-BE49-F238E27FC236}">
                    <a16:creationId xmlns:a16="http://schemas.microsoft.com/office/drawing/2014/main" id="{9A6F42A5-A9A2-4A19-9FAD-67FCEB613507}"/>
                  </a:ext>
                </a:extLst>
              </p:cNvPr>
              <p:cNvSpPr>
                <a:spLocks noChangeShapeType="1"/>
              </p:cNvSpPr>
              <p:nvPr/>
            </p:nvSpPr>
            <p:spPr bwMode="gray">
              <a:xfrm flipV="1">
                <a:off x="6224588" y="2616200"/>
                <a:ext cx="47625"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33" name="Line 523">
                <a:extLst>
                  <a:ext uri="{FF2B5EF4-FFF2-40B4-BE49-F238E27FC236}">
                    <a16:creationId xmlns:a16="http://schemas.microsoft.com/office/drawing/2014/main" id="{2020F1F0-4ACD-4EA2-AADB-E901762AD246}"/>
                  </a:ext>
                </a:extLst>
              </p:cNvPr>
              <p:cNvSpPr>
                <a:spLocks noChangeShapeType="1"/>
              </p:cNvSpPr>
              <p:nvPr/>
            </p:nvSpPr>
            <p:spPr bwMode="gray">
              <a:xfrm flipV="1">
                <a:off x="6224588" y="2749550"/>
                <a:ext cx="47625" cy="36513"/>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34" name="Line 524">
                <a:extLst>
                  <a:ext uri="{FF2B5EF4-FFF2-40B4-BE49-F238E27FC236}">
                    <a16:creationId xmlns:a16="http://schemas.microsoft.com/office/drawing/2014/main" id="{A1A2658E-DF30-4F93-9DEB-C926619144B0}"/>
                  </a:ext>
                </a:extLst>
              </p:cNvPr>
              <p:cNvSpPr>
                <a:spLocks noChangeShapeType="1"/>
              </p:cNvSpPr>
              <p:nvPr/>
            </p:nvSpPr>
            <p:spPr bwMode="gray">
              <a:xfrm flipV="1">
                <a:off x="6224588" y="2881313"/>
                <a:ext cx="47625"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35" name="Line 525">
                <a:extLst>
                  <a:ext uri="{FF2B5EF4-FFF2-40B4-BE49-F238E27FC236}">
                    <a16:creationId xmlns:a16="http://schemas.microsoft.com/office/drawing/2014/main" id="{555633A9-6D3F-4757-8A95-7C08CEC81B39}"/>
                  </a:ext>
                </a:extLst>
              </p:cNvPr>
              <p:cNvSpPr>
                <a:spLocks noChangeShapeType="1"/>
              </p:cNvSpPr>
              <p:nvPr/>
            </p:nvSpPr>
            <p:spPr bwMode="gray">
              <a:xfrm flipV="1">
                <a:off x="6577013" y="2616200"/>
                <a:ext cx="47625"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36" name="Line 526">
                <a:extLst>
                  <a:ext uri="{FF2B5EF4-FFF2-40B4-BE49-F238E27FC236}">
                    <a16:creationId xmlns:a16="http://schemas.microsoft.com/office/drawing/2014/main" id="{008D737A-B08B-4A8E-AB91-1A0E92AD1916}"/>
                  </a:ext>
                </a:extLst>
              </p:cNvPr>
              <p:cNvSpPr>
                <a:spLocks noChangeShapeType="1"/>
              </p:cNvSpPr>
              <p:nvPr/>
            </p:nvSpPr>
            <p:spPr bwMode="gray">
              <a:xfrm flipV="1">
                <a:off x="6577013" y="2749550"/>
                <a:ext cx="47625" cy="36513"/>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37" name="Line 527">
                <a:extLst>
                  <a:ext uri="{FF2B5EF4-FFF2-40B4-BE49-F238E27FC236}">
                    <a16:creationId xmlns:a16="http://schemas.microsoft.com/office/drawing/2014/main" id="{F9E50A72-7BFA-4F91-A2A5-2F9C554DA791}"/>
                  </a:ext>
                </a:extLst>
              </p:cNvPr>
              <p:cNvSpPr>
                <a:spLocks noChangeShapeType="1"/>
              </p:cNvSpPr>
              <p:nvPr/>
            </p:nvSpPr>
            <p:spPr bwMode="gray">
              <a:xfrm flipV="1">
                <a:off x="6577013" y="2881313"/>
                <a:ext cx="47625"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grpSp>
        <p:grpSp>
          <p:nvGrpSpPr>
            <p:cNvPr id="1219" name="Group 1218">
              <a:extLst>
                <a:ext uri="{FF2B5EF4-FFF2-40B4-BE49-F238E27FC236}">
                  <a16:creationId xmlns:a16="http://schemas.microsoft.com/office/drawing/2014/main" id="{B162AA12-4E4D-4CD5-8071-8AB6E9550C59}"/>
                </a:ext>
              </a:extLst>
            </p:cNvPr>
            <p:cNvGrpSpPr/>
            <p:nvPr/>
          </p:nvGrpSpPr>
          <p:grpSpPr bwMode="gray">
            <a:xfrm>
              <a:off x="8049895" y="5137238"/>
              <a:ext cx="261454" cy="347222"/>
              <a:chOff x="5618163" y="2616200"/>
              <a:chExt cx="300038" cy="398463"/>
            </a:xfrm>
            <a:noFill/>
          </p:grpSpPr>
          <p:sp>
            <p:nvSpPr>
              <p:cNvPr id="1307" name="Line 431">
                <a:extLst>
                  <a:ext uri="{FF2B5EF4-FFF2-40B4-BE49-F238E27FC236}">
                    <a16:creationId xmlns:a16="http://schemas.microsoft.com/office/drawing/2014/main" id="{91A0EAD5-4C10-4914-9952-605697CD5359}"/>
                  </a:ext>
                </a:extLst>
              </p:cNvPr>
              <p:cNvSpPr>
                <a:spLocks noChangeShapeType="1"/>
              </p:cNvSpPr>
              <p:nvPr/>
            </p:nvSpPr>
            <p:spPr bwMode="gray">
              <a:xfrm>
                <a:off x="5664201" y="2692400"/>
                <a:ext cx="0" cy="47625"/>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08" name="Line 432">
                <a:extLst>
                  <a:ext uri="{FF2B5EF4-FFF2-40B4-BE49-F238E27FC236}">
                    <a16:creationId xmlns:a16="http://schemas.microsoft.com/office/drawing/2014/main" id="{C7C6B98E-CF84-480F-A933-7EAABE0B43D7}"/>
                  </a:ext>
                </a:extLst>
              </p:cNvPr>
              <p:cNvSpPr>
                <a:spLocks noChangeShapeType="1"/>
              </p:cNvSpPr>
              <p:nvPr/>
            </p:nvSpPr>
            <p:spPr bwMode="gray">
              <a:xfrm>
                <a:off x="5664201" y="2824163"/>
                <a:ext cx="0" cy="47625"/>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09" name="Freeform 433">
                <a:extLst>
                  <a:ext uri="{FF2B5EF4-FFF2-40B4-BE49-F238E27FC236}">
                    <a16:creationId xmlns:a16="http://schemas.microsoft.com/office/drawing/2014/main" id="{4001FAA2-738C-44AA-B771-AFD7AC4896FF}"/>
                  </a:ext>
                </a:extLst>
              </p:cNvPr>
              <p:cNvSpPr>
                <a:spLocks/>
              </p:cNvSpPr>
              <p:nvPr/>
            </p:nvSpPr>
            <p:spPr bwMode="gray">
              <a:xfrm>
                <a:off x="5618163" y="2616200"/>
                <a:ext cx="300038" cy="76200"/>
              </a:xfrm>
              <a:custGeom>
                <a:avLst/>
                <a:gdLst>
                  <a:gd name="T0" fmla="*/ 189 w 189"/>
                  <a:gd name="T1" fmla="*/ 48 h 48"/>
                  <a:gd name="T2" fmla="*/ 102 w 189"/>
                  <a:gd name="T3" fmla="*/ 0 h 48"/>
                  <a:gd name="T4" fmla="*/ 89 w 189"/>
                  <a:gd name="T5" fmla="*/ 0 h 48"/>
                  <a:gd name="T6" fmla="*/ 0 w 189"/>
                  <a:gd name="T7" fmla="*/ 48 h 48"/>
                  <a:gd name="T8" fmla="*/ 189 w 189"/>
                  <a:gd name="T9" fmla="*/ 48 h 48"/>
                </a:gdLst>
                <a:ahLst/>
                <a:cxnLst>
                  <a:cxn ang="0">
                    <a:pos x="T0" y="T1"/>
                  </a:cxn>
                  <a:cxn ang="0">
                    <a:pos x="T2" y="T3"/>
                  </a:cxn>
                  <a:cxn ang="0">
                    <a:pos x="T4" y="T5"/>
                  </a:cxn>
                  <a:cxn ang="0">
                    <a:pos x="T6" y="T7"/>
                  </a:cxn>
                  <a:cxn ang="0">
                    <a:pos x="T8" y="T9"/>
                  </a:cxn>
                </a:cxnLst>
                <a:rect l="0" t="0" r="r" b="b"/>
                <a:pathLst>
                  <a:path w="189" h="48">
                    <a:moveTo>
                      <a:pt x="189" y="48"/>
                    </a:moveTo>
                    <a:lnTo>
                      <a:pt x="102" y="0"/>
                    </a:lnTo>
                    <a:lnTo>
                      <a:pt x="89" y="0"/>
                    </a:lnTo>
                    <a:lnTo>
                      <a:pt x="0" y="48"/>
                    </a:lnTo>
                    <a:lnTo>
                      <a:pt x="189" y="48"/>
                    </a:lnTo>
                    <a:close/>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10" name="Freeform 434">
                <a:extLst>
                  <a:ext uri="{FF2B5EF4-FFF2-40B4-BE49-F238E27FC236}">
                    <a16:creationId xmlns:a16="http://schemas.microsoft.com/office/drawing/2014/main" id="{5F0AF6E4-7943-4672-95C3-D6A9A39EC8F7}"/>
                  </a:ext>
                </a:extLst>
              </p:cNvPr>
              <p:cNvSpPr>
                <a:spLocks/>
              </p:cNvSpPr>
              <p:nvPr/>
            </p:nvSpPr>
            <p:spPr bwMode="gray">
              <a:xfrm>
                <a:off x="5618163" y="2749550"/>
                <a:ext cx="300038" cy="74613"/>
              </a:xfrm>
              <a:custGeom>
                <a:avLst/>
                <a:gdLst>
                  <a:gd name="T0" fmla="*/ 189 w 189"/>
                  <a:gd name="T1" fmla="*/ 47 h 47"/>
                  <a:gd name="T2" fmla="*/ 102 w 189"/>
                  <a:gd name="T3" fmla="*/ 0 h 47"/>
                  <a:gd name="T4" fmla="*/ 89 w 189"/>
                  <a:gd name="T5" fmla="*/ 0 h 47"/>
                  <a:gd name="T6" fmla="*/ 0 w 189"/>
                  <a:gd name="T7" fmla="*/ 47 h 47"/>
                  <a:gd name="T8" fmla="*/ 189 w 189"/>
                  <a:gd name="T9" fmla="*/ 47 h 47"/>
                </a:gdLst>
                <a:ahLst/>
                <a:cxnLst>
                  <a:cxn ang="0">
                    <a:pos x="T0" y="T1"/>
                  </a:cxn>
                  <a:cxn ang="0">
                    <a:pos x="T2" y="T3"/>
                  </a:cxn>
                  <a:cxn ang="0">
                    <a:pos x="T4" y="T5"/>
                  </a:cxn>
                  <a:cxn ang="0">
                    <a:pos x="T6" y="T7"/>
                  </a:cxn>
                  <a:cxn ang="0">
                    <a:pos x="T8" y="T9"/>
                  </a:cxn>
                </a:cxnLst>
                <a:rect l="0" t="0" r="r" b="b"/>
                <a:pathLst>
                  <a:path w="189" h="47">
                    <a:moveTo>
                      <a:pt x="189" y="47"/>
                    </a:moveTo>
                    <a:lnTo>
                      <a:pt x="102" y="0"/>
                    </a:lnTo>
                    <a:lnTo>
                      <a:pt x="89" y="0"/>
                    </a:lnTo>
                    <a:lnTo>
                      <a:pt x="0" y="47"/>
                    </a:lnTo>
                    <a:lnTo>
                      <a:pt x="189" y="47"/>
                    </a:lnTo>
                    <a:close/>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11" name="Line 435">
                <a:extLst>
                  <a:ext uri="{FF2B5EF4-FFF2-40B4-BE49-F238E27FC236}">
                    <a16:creationId xmlns:a16="http://schemas.microsoft.com/office/drawing/2014/main" id="{D3C25EF0-C765-4665-B282-233AFC005D7F}"/>
                  </a:ext>
                </a:extLst>
              </p:cNvPr>
              <p:cNvSpPr>
                <a:spLocks noChangeShapeType="1"/>
              </p:cNvSpPr>
              <p:nvPr/>
            </p:nvSpPr>
            <p:spPr bwMode="gray">
              <a:xfrm>
                <a:off x="5873751" y="2692400"/>
                <a:ext cx="0" cy="47625"/>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12" name="Line 436">
                <a:extLst>
                  <a:ext uri="{FF2B5EF4-FFF2-40B4-BE49-F238E27FC236}">
                    <a16:creationId xmlns:a16="http://schemas.microsoft.com/office/drawing/2014/main" id="{5A295D38-119D-4872-BC94-8C437CCE0EAD}"/>
                  </a:ext>
                </a:extLst>
              </p:cNvPr>
              <p:cNvSpPr>
                <a:spLocks noChangeShapeType="1"/>
              </p:cNvSpPr>
              <p:nvPr/>
            </p:nvSpPr>
            <p:spPr bwMode="gray">
              <a:xfrm>
                <a:off x="5873751" y="2824163"/>
                <a:ext cx="0" cy="47625"/>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13" name="Freeform 437">
                <a:extLst>
                  <a:ext uri="{FF2B5EF4-FFF2-40B4-BE49-F238E27FC236}">
                    <a16:creationId xmlns:a16="http://schemas.microsoft.com/office/drawing/2014/main" id="{2A3CCB8D-B885-4EB0-B9F2-B9315815D88E}"/>
                  </a:ext>
                </a:extLst>
              </p:cNvPr>
              <p:cNvSpPr>
                <a:spLocks/>
              </p:cNvSpPr>
              <p:nvPr/>
            </p:nvSpPr>
            <p:spPr bwMode="gray">
              <a:xfrm>
                <a:off x="5632451" y="2635250"/>
                <a:ext cx="212725" cy="379413"/>
              </a:xfrm>
              <a:custGeom>
                <a:avLst/>
                <a:gdLst>
                  <a:gd name="T0" fmla="*/ 56 w 134"/>
                  <a:gd name="T1" fmla="*/ 0 h 239"/>
                  <a:gd name="T2" fmla="*/ 56 w 134"/>
                  <a:gd name="T3" fmla="*/ 121 h 239"/>
                  <a:gd name="T4" fmla="*/ 0 w 134"/>
                  <a:gd name="T5" fmla="*/ 239 h 239"/>
                  <a:gd name="T6" fmla="*/ 15 w 134"/>
                  <a:gd name="T7" fmla="*/ 239 h 239"/>
                  <a:gd name="T8" fmla="*/ 134 w 134"/>
                  <a:gd name="T9" fmla="*/ 155 h 239"/>
                </a:gdLst>
                <a:ahLst/>
                <a:cxnLst>
                  <a:cxn ang="0">
                    <a:pos x="T0" y="T1"/>
                  </a:cxn>
                  <a:cxn ang="0">
                    <a:pos x="T2" y="T3"/>
                  </a:cxn>
                  <a:cxn ang="0">
                    <a:pos x="T4" y="T5"/>
                  </a:cxn>
                  <a:cxn ang="0">
                    <a:pos x="T6" y="T7"/>
                  </a:cxn>
                  <a:cxn ang="0">
                    <a:pos x="T8" y="T9"/>
                  </a:cxn>
                </a:cxnLst>
                <a:rect l="0" t="0" r="r" b="b"/>
                <a:pathLst>
                  <a:path w="134" h="239">
                    <a:moveTo>
                      <a:pt x="56" y="0"/>
                    </a:moveTo>
                    <a:lnTo>
                      <a:pt x="56" y="121"/>
                    </a:lnTo>
                    <a:lnTo>
                      <a:pt x="0" y="239"/>
                    </a:lnTo>
                    <a:lnTo>
                      <a:pt x="15" y="239"/>
                    </a:lnTo>
                    <a:lnTo>
                      <a:pt x="134" y="155"/>
                    </a:lnTo>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314" name="Freeform 438">
                <a:extLst>
                  <a:ext uri="{FF2B5EF4-FFF2-40B4-BE49-F238E27FC236}">
                    <a16:creationId xmlns:a16="http://schemas.microsoft.com/office/drawing/2014/main" id="{BD472EF0-3911-4994-AD74-750CECEDA0DC}"/>
                  </a:ext>
                </a:extLst>
              </p:cNvPr>
              <p:cNvSpPr>
                <a:spLocks/>
              </p:cNvSpPr>
              <p:nvPr/>
            </p:nvSpPr>
            <p:spPr bwMode="gray">
              <a:xfrm>
                <a:off x="5692776" y="2635250"/>
                <a:ext cx="209550" cy="379413"/>
              </a:xfrm>
              <a:custGeom>
                <a:avLst/>
                <a:gdLst>
                  <a:gd name="T0" fmla="*/ 78 w 132"/>
                  <a:gd name="T1" fmla="*/ 0 h 239"/>
                  <a:gd name="T2" fmla="*/ 78 w 132"/>
                  <a:gd name="T3" fmla="*/ 121 h 239"/>
                  <a:gd name="T4" fmla="*/ 132 w 132"/>
                  <a:gd name="T5" fmla="*/ 239 h 239"/>
                  <a:gd name="T6" fmla="*/ 118 w 132"/>
                  <a:gd name="T7" fmla="*/ 239 h 239"/>
                  <a:gd name="T8" fmla="*/ 0 w 132"/>
                  <a:gd name="T9" fmla="*/ 155 h 239"/>
                </a:gdLst>
                <a:ahLst/>
                <a:cxnLst>
                  <a:cxn ang="0">
                    <a:pos x="T0" y="T1"/>
                  </a:cxn>
                  <a:cxn ang="0">
                    <a:pos x="T2" y="T3"/>
                  </a:cxn>
                  <a:cxn ang="0">
                    <a:pos x="T4" y="T5"/>
                  </a:cxn>
                  <a:cxn ang="0">
                    <a:pos x="T6" y="T7"/>
                  </a:cxn>
                  <a:cxn ang="0">
                    <a:pos x="T8" y="T9"/>
                  </a:cxn>
                </a:cxnLst>
                <a:rect l="0" t="0" r="r" b="b"/>
                <a:pathLst>
                  <a:path w="132" h="239">
                    <a:moveTo>
                      <a:pt x="78" y="0"/>
                    </a:moveTo>
                    <a:lnTo>
                      <a:pt x="78" y="121"/>
                    </a:lnTo>
                    <a:lnTo>
                      <a:pt x="132" y="239"/>
                    </a:lnTo>
                    <a:lnTo>
                      <a:pt x="118" y="239"/>
                    </a:lnTo>
                    <a:lnTo>
                      <a:pt x="0" y="155"/>
                    </a:lnTo>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grpSp>
        <p:sp>
          <p:nvSpPr>
            <p:cNvPr id="1220" name="PPTShape_17">
              <a:extLst>
                <a:ext uri="{FF2B5EF4-FFF2-40B4-BE49-F238E27FC236}">
                  <a16:creationId xmlns:a16="http://schemas.microsoft.com/office/drawing/2014/main" id="{9E0FF687-B403-4C36-9378-94DFE249760C}"/>
                </a:ext>
              </a:extLst>
            </p:cNvPr>
            <p:cNvSpPr>
              <a:spLocks noChangeArrowheads="1"/>
            </p:cNvSpPr>
            <p:nvPr/>
          </p:nvSpPr>
          <p:spPr bwMode="gray">
            <a:xfrm>
              <a:off x="6317509" y="5728460"/>
              <a:ext cx="676072" cy="197447"/>
            </a:xfrm>
            <a:prstGeom prst="rect">
              <a:avLst/>
            </a:prstGeom>
            <a:noFill/>
            <a:ln w="12700">
              <a:noFill/>
              <a:miter lim="800000"/>
              <a:headEnd/>
              <a:tailEnd/>
            </a:ln>
          </p:spPr>
          <p:txBody>
            <a:bodyPr wrap="square" lIns="0" tIns="0" rIns="0" bIns="0" anchor="t" anchorCtr="0">
              <a:noAutofit/>
            </a:bodyPr>
            <a:lstStyle/>
            <a:p>
              <a:pPr algn="ctr" eaLnBrk="0" fontAlgn="base" hangingPunct="0">
                <a:spcBef>
                  <a:spcPct val="0"/>
                </a:spcBef>
                <a:spcAft>
                  <a:spcPct val="0"/>
                </a:spcAft>
              </a:pPr>
              <a:r>
                <a:rPr lang="de-DE" sz="1000" dirty="0"/>
                <a:t>Generator</a:t>
              </a:r>
              <a:endParaRPr lang="en-US" sz="1000" dirty="0"/>
            </a:p>
          </p:txBody>
        </p:sp>
        <p:grpSp>
          <p:nvGrpSpPr>
            <p:cNvPr id="1446" name="Group 1445">
              <a:extLst>
                <a:ext uri="{FF2B5EF4-FFF2-40B4-BE49-F238E27FC236}">
                  <a16:creationId xmlns:a16="http://schemas.microsoft.com/office/drawing/2014/main" id="{47CB9423-F1D9-46CE-A7A5-BEED3D6F24E8}"/>
                </a:ext>
              </a:extLst>
            </p:cNvPr>
            <p:cNvGrpSpPr/>
            <p:nvPr/>
          </p:nvGrpSpPr>
          <p:grpSpPr bwMode="gray">
            <a:xfrm>
              <a:off x="6454820" y="5431984"/>
              <a:ext cx="415891" cy="277112"/>
              <a:chOff x="8955506" y="7106026"/>
              <a:chExt cx="768020" cy="511739"/>
            </a:xfrm>
          </p:grpSpPr>
          <p:sp>
            <p:nvSpPr>
              <p:cNvPr id="1203" name="Rectangle 1202">
                <a:extLst>
                  <a:ext uri="{FF2B5EF4-FFF2-40B4-BE49-F238E27FC236}">
                    <a16:creationId xmlns:a16="http://schemas.microsoft.com/office/drawing/2014/main" id="{7CA72A3B-AD5A-463F-A916-1CE2AA0D569C}"/>
                  </a:ext>
                </a:extLst>
              </p:cNvPr>
              <p:cNvSpPr/>
              <p:nvPr/>
            </p:nvSpPr>
            <p:spPr bwMode="gray">
              <a:xfrm>
                <a:off x="9664474" y="7310155"/>
                <a:ext cx="59052" cy="68400"/>
              </a:xfrm>
              <a:prstGeom prst="rect">
                <a:avLst/>
              </a:prstGeom>
              <a:no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204" name="Rectangle 1203">
                <a:extLst>
                  <a:ext uri="{FF2B5EF4-FFF2-40B4-BE49-F238E27FC236}">
                    <a16:creationId xmlns:a16="http://schemas.microsoft.com/office/drawing/2014/main" id="{8D3B63E2-937E-4BC5-B877-9A56E733AE02}"/>
                  </a:ext>
                </a:extLst>
              </p:cNvPr>
              <p:cNvSpPr/>
              <p:nvPr/>
            </p:nvSpPr>
            <p:spPr bwMode="gray">
              <a:xfrm>
                <a:off x="9017297" y="7582683"/>
                <a:ext cx="75296" cy="35082"/>
              </a:xfrm>
              <a:prstGeom prst="rect">
                <a:avLst/>
              </a:prstGeom>
              <a:no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205" name="Rectangle 1204">
                <a:extLst>
                  <a:ext uri="{FF2B5EF4-FFF2-40B4-BE49-F238E27FC236}">
                    <a16:creationId xmlns:a16="http://schemas.microsoft.com/office/drawing/2014/main" id="{DF64B83E-6FE7-4C52-8214-C772579AB296}"/>
                  </a:ext>
                </a:extLst>
              </p:cNvPr>
              <p:cNvSpPr/>
              <p:nvPr/>
            </p:nvSpPr>
            <p:spPr bwMode="gray">
              <a:xfrm>
                <a:off x="9001157" y="7106026"/>
                <a:ext cx="660617" cy="476658"/>
              </a:xfrm>
              <a:prstGeom prst="rect">
                <a:avLst/>
              </a:prstGeom>
              <a:no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grpSp>
            <p:nvGrpSpPr>
              <p:cNvPr id="1206" name="Group 1205">
                <a:extLst>
                  <a:ext uri="{FF2B5EF4-FFF2-40B4-BE49-F238E27FC236}">
                    <a16:creationId xmlns:a16="http://schemas.microsoft.com/office/drawing/2014/main" id="{921B1CBD-C98F-4D02-BF1B-22A5FEF55B13}"/>
                  </a:ext>
                </a:extLst>
              </p:cNvPr>
              <p:cNvGrpSpPr/>
              <p:nvPr/>
            </p:nvGrpSpPr>
            <p:grpSpPr bwMode="gray">
              <a:xfrm>
                <a:off x="9046993" y="7199106"/>
                <a:ext cx="568946" cy="0"/>
                <a:chOff x="6675906" y="3450265"/>
                <a:chExt cx="834871" cy="0"/>
              </a:xfrm>
              <a:noFill/>
            </p:grpSpPr>
            <p:cxnSp>
              <p:nvCxnSpPr>
                <p:cNvPr id="1381" name="Straight Connector 1380">
                  <a:extLst>
                    <a:ext uri="{FF2B5EF4-FFF2-40B4-BE49-F238E27FC236}">
                      <a16:creationId xmlns:a16="http://schemas.microsoft.com/office/drawing/2014/main" id="{53FE9AEE-0F0F-4C5F-B22B-5D59EB94C75E}"/>
                    </a:ext>
                  </a:extLst>
                </p:cNvPr>
                <p:cNvCxnSpPr>
                  <a:cxnSpLocks/>
                </p:cNvCxnSpPr>
                <p:nvPr/>
              </p:nvCxnSpPr>
              <p:spPr bwMode="gray">
                <a:xfrm>
                  <a:off x="6675906"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82" name="Straight Connector 1381">
                  <a:extLst>
                    <a:ext uri="{FF2B5EF4-FFF2-40B4-BE49-F238E27FC236}">
                      <a16:creationId xmlns:a16="http://schemas.microsoft.com/office/drawing/2014/main" id="{19EA8B03-C167-421C-A46F-43C97E1C12BC}"/>
                    </a:ext>
                  </a:extLst>
                </p:cNvPr>
                <p:cNvCxnSpPr>
                  <a:cxnSpLocks/>
                </p:cNvCxnSpPr>
                <p:nvPr/>
              </p:nvCxnSpPr>
              <p:spPr bwMode="gray">
                <a:xfrm>
                  <a:off x="6800165"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83" name="Straight Connector 1382">
                  <a:extLst>
                    <a:ext uri="{FF2B5EF4-FFF2-40B4-BE49-F238E27FC236}">
                      <a16:creationId xmlns:a16="http://schemas.microsoft.com/office/drawing/2014/main" id="{FEDD6AF1-2D43-48D7-858B-80393599F6EA}"/>
                    </a:ext>
                  </a:extLst>
                </p:cNvPr>
                <p:cNvCxnSpPr>
                  <a:cxnSpLocks/>
                </p:cNvCxnSpPr>
                <p:nvPr/>
              </p:nvCxnSpPr>
              <p:spPr bwMode="gray">
                <a:xfrm>
                  <a:off x="6924424"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84" name="Straight Connector 1383">
                  <a:extLst>
                    <a:ext uri="{FF2B5EF4-FFF2-40B4-BE49-F238E27FC236}">
                      <a16:creationId xmlns:a16="http://schemas.microsoft.com/office/drawing/2014/main" id="{7281665B-26D1-40DA-B88F-CE7172512724}"/>
                    </a:ext>
                  </a:extLst>
                </p:cNvPr>
                <p:cNvCxnSpPr>
                  <a:cxnSpLocks/>
                </p:cNvCxnSpPr>
                <p:nvPr/>
              </p:nvCxnSpPr>
              <p:spPr bwMode="gray">
                <a:xfrm>
                  <a:off x="7048683"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85" name="Straight Connector 1384">
                  <a:extLst>
                    <a:ext uri="{FF2B5EF4-FFF2-40B4-BE49-F238E27FC236}">
                      <a16:creationId xmlns:a16="http://schemas.microsoft.com/office/drawing/2014/main" id="{3F4613DB-F35A-4C95-951E-D8E386191730}"/>
                    </a:ext>
                  </a:extLst>
                </p:cNvPr>
                <p:cNvCxnSpPr>
                  <a:cxnSpLocks/>
                </p:cNvCxnSpPr>
                <p:nvPr/>
              </p:nvCxnSpPr>
              <p:spPr bwMode="gray">
                <a:xfrm>
                  <a:off x="7172942"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86" name="Straight Connector 1385">
                  <a:extLst>
                    <a:ext uri="{FF2B5EF4-FFF2-40B4-BE49-F238E27FC236}">
                      <a16:creationId xmlns:a16="http://schemas.microsoft.com/office/drawing/2014/main" id="{655ACED3-D957-4429-8FC3-4F23AC099931}"/>
                    </a:ext>
                  </a:extLst>
                </p:cNvPr>
                <p:cNvCxnSpPr>
                  <a:cxnSpLocks/>
                </p:cNvCxnSpPr>
                <p:nvPr/>
              </p:nvCxnSpPr>
              <p:spPr bwMode="gray">
                <a:xfrm>
                  <a:off x="7297201"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87" name="Straight Connector 1386">
                  <a:extLst>
                    <a:ext uri="{FF2B5EF4-FFF2-40B4-BE49-F238E27FC236}">
                      <a16:creationId xmlns:a16="http://schemas.microsoft.com/office/drawing/2014/main" id="{7470F373-1AAA-44A1-A41C-3F6649F2DC1E}"/>
                    </a:ext>
                  </a:extLst>
                </p:cNvPr>
                <p:cNvCxnSpPr>
                  <a:cxnSpLocks/>
                </p:cNvCxnSpPr>
                <p:nvPr/>
              </p:nvCxnSpPr>
              <p:spPr bwMode="gray">
                <a:xfrm>
                  <a:off x="7421458"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207" name="Group 1206">
                <a:extLst>
                  <a:ext uri="{FF2B5EF4-FFF2-40B4-BE49-F238E27FC236}">
                    <a16:creationId xmlns:a16="http://schemas.microsoft.com/office/drawing/2014/main" id="{9718B5BC-DF19-4E1E-854F-4D12B115ABDA}"/>
                  </a:ext>
                </a:extLst>
              </p:cNvPr>
              <p:cNvGrpSpPr/>
              <p:nvPr/>
            </p:nvGrpSpPr>
            <p:grpSpPr bwMode="gray">
              <a:xfrm>
                <a:off x="9046993" y="7274735"/>
                <a:ext cx="568946" cy="0"/>
                <a:chOff x="6675906" y="3450265"/>
                <a:chExt cx="834871" cy="0"/>
              </a:xfrm>
              <a:noFill/>
            </p:grpSpPr>
            <p:cxnSp>
              <p:nvCxnSpPr>
                <p:cNvPr id="1374" name="Straight Connector 1373">
                  <a:extLst>
                    <a:ext uri="{FF2B5EF4-FFF2-40B4-BE49-F238E27FC236}">
                      <a16:creationId xmlns:a16="http://schemas.microsoft.com/office/drawing/2014/main" id="{EE0AB1EC-1A19-4E9C-9C4C-3B5681F01C2B}"/>
                    </a:ext>
                  </a:extLst>
                </p:cNvPr>
                <p:cNvCxnSpPr>
                  <a:cxnSpLocks/>
                </p:cNvCxnSpPr>
                <p:nvPr/>
              </p:nvCxnSpPr>
              <p:spPr bwMode="gray">
                <a:xfrm>
                  <a:off x="6675906"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75" name="Straight Connector 1374">
                  <a:extLst>
                    <a:ext uri="{FF2B5EF4-FFF2-40B4-BE49-F238E27FC236}">
                      <a16:creationId xmlns:a16="http://schemas.microsoft.com/office/drawing/2014/main" id="{BD67FF7F-0B8A-456B-87CE-7C400BEB996C}"/>
                    </a:ext>
                  </a:extLst>
                </p:cNvPr>
                <p:cNvCxnSpPr>
                  <a:cxnSpLocks/>
                </p:cNvCxnSpPr>
                <p:nvPr/>
              </p:nvCxnSpPr>
              <p:spPr bwMode="gray">
                <a:xfrm>
                  <a:off x="6800165"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76" name="Straight Connector 1375">
                  <a:extLst>
                    <a:ext uri="{FF2B5EF4-FFF2-40B4-BE49-F238E27FC236}">
                      <a16:creationId xmlns:a16="http://schemas.microsoft.com/office/drawing/2014/main" id="{F46B75F9-FF42-409D-B346-E2444DE6817D}"/>
                    </a:ext>
                  </a:extLst>
                </p:cNvPr>
                <p:cNvCxnSpPr>
                  <a:cxnSpLocks/>
                </p:cNvCxnSpPr>
                <p:nvPr/>
              </p:nvCxnSpPr>
              <p:spPr bwMode="gray">
                <a:xfrm>
                  <a:off x="6924424"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77" name="Straight Connector 1376">
                  <a:extLst>
                    <a:ext uri="{FF2B5EF4-FFF2-40B4-BE49-F238E27FC236}">
                      <a16:creationId xmlns:a16="http://schemas.microsoft.com/office/drawing/2014/main" id="{64324B4A-43BD-4755-AEF1-ABBC859341B1}"/>
                    </a:ext>
                  </a:extLst>
                </p:cNvPr>
                <p:cNvCxnSpPr>
                  <a:cxnSpLocks/>
                </p:cNvCxnSpPr>
                <p:nvPr/>
              </p:nvCxnSpPr>
              <p:spPr bwMode="gray">
                <a:xfrm>
                  <a:off x="7048683"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78" name="Straight Connector 1377">
                  <a:extLst>
                    <a:ext uri="{FF2B5EF4-FFF2-40B4-BE49-F238E27FC236}">
                      <a16:creationId xmlns:a16="http://schemas.microsoft.com/office/drawing/2014/main" id="{41A93BA5-0E4A-4985-A2E8-ED8A379FD674}"/>
                    </a:ext>
                  </a:extLst>
                </p:cNvPr>
                <p:cNvCxnSpPr>
                  <a:cxnSpLocks/>
                </p:cNvCxnSpPr>
                <p:nvPr/>
              </p:nvCxnSpPr>
              <p:spPr bwMode="gray">
                <a:xfrm>
                  <a:off x="7172942"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79" name="Straight Connector 1378">
                  <a:extLst>
                    <a:ext uri="{FF2B5EF4-FFF2-40B4-BE49-F238E27FC236}">
                      <a16:creationId xmlns:a16="http://schemas.microsoft.com/office/drawing/2014/main" id="{747B9F3E-C57F-4374-BF33-BEA16238FB48}"/>
                    </a:ext>
                  </a:extLst>
                </p:cNvPr>
                <p:cNvCxnSpPr>
                  <a:cxnSpLocks/>
                </p:cNvCxnSpPr>
                <p:nvPr/>
              </p:nvCxnSpPr>
              <p:spPr bwMode="gray">
                <a:xfrm>
                  <a:off x="7297201"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80" name="Straight Connector 1379">
                  <a:extLst>
                    <a:ext uri="{FF2B5EF4-FFF2-40B4-BE49-F238E27FC236}">
                      <a16:creationId xmlns:a16="http://schemas.microsoft.com/office/drawing/2014/main" id="{109EEB43-CEF2-47DB-B0B5-73B7694360AC}"/>
                    </a:ext>
                  </a:extLst>
                </p:cNvPr>
                <p:cNvCxnSpPr>
                  <a:cxnSpLocks/>
                </p:cNvCxnSpPr>
                <p:nvPr/>
              </p:nvCxnSpPr>
              <p:spPr bwMode="gray">
                <a:xfrm>
                  <a:off x="7421458"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208" name="Group 1207">
                <a:extLst>
                  <a:ext uri="{FF2B5EF4-FFF2-40B4-BE49-F238E27FC236}">
                    <a16:creationId xmlns:a16="http://schemas.microsoft.com/office/drawing/2014/main" id="{C5A0D44D-CBFA-40D0-96C8-750F2D0B6FF9}"/>
                  </a:ext>
                </a:extLst>
              </p:cNvPr>
              <p:cNvGrpSpPr/>
              <p:nvPr/>
            </p:nvGrpSpPr>
            <p:grpSpPr bwMode="gray">
              <a:xfrm>
                <a:off x="9046993" y="7350363"/>
                <a:ext cx="568946" cy="0"/>
                <a:chOff x="6675906" y="3450265"/>
                <a:chExt cx="834871" cy="0"/>
              </a:xfrm>
              <a:noFill/>
            </p:grpSpPr>
            <p:cxnSp>
              <p:nvCxnSpPr>
                <p:cNvPr id="1367" name="Straight Connector 1366">
                  <a:extLst>
                    <a:ext uri="{FF2B5EF4-FFF2-40B4-BE49-F238E27FC236}">
                      <a16:creationId xmlns:a16="http://schemas.microsoft.com/office/drawing/2014/main" id="{3483EF5C-4008-4996-90B0-0C2C615ECBE8}"/>
                    </a:ext>
                  </a:extLst>
                </p:cNvPr>
                <p:cNvCxnSpPr>
                  <a:cxnSpLocks/>
                </p:cNvCxnSpPr>
                <p:nvPr/>
              </p:nvCxnSpPr>
              <p:spPr bwMode="gray">
                <a:xfrm>
                  <a:off x="6675906"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68" name="Straight Connector 1367">
                  <a:extLst>
                    <a:ext uri="{FF2B5EF4-FFF2-40B4-BE49-F238E27FC236}">
                      <a16:creationId xmlns:a16="http://schemas.microsoft.com/office/drawing/2014/main" id="{79253178-8E38-4CB5-99D5-485967DBBA74}"/>
                    </a:ext>
                  </a:extLst>
                </p:cNvPr>
                <p:cNvCxnSpPr>
                  <a:cxnSpLocks/>
                </p:cNvCxnSpPr>
                <p:nvPr/>
              </p:nvCxnSpPr>
              <p:spPr bwMode="gray">
                <a:xfrm>
                  <a:off x="6800165"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69" name="Straight Connector 1368">
                  <a:extLst>
                    <a:ext uri="{FF2B5EF4-FFF2-40B4-BE49-F238E27FC236}">
                      <a16:creationId xmlns:a16="http://schemas.microsoft.com/office/drawing/2014/main" id="{D9BC2B01-BCBF-4EAF-A650-A8A2B5C6756A}"/>
                    </a:ext>
                  </a:extLst>
                </p:cNvPr>
                <p:cNvCxnSpPr>
                  <a:cxnSpLocks/>
                </p:cNvCxnSpPr>
                <p:nvPr/>
              </p:nvCxnSpPr>
              <p:spPr bwMode="gray">
                <a:xfrm>
                  <a:off x="6924424"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70" name="Straight Connector 1369">
                  <a:extLst>
                    <a:ext uri="{FF2B5EF4-FFF2-40B4-BE49-F238E27FC236}">
                      <a16:creationId xmlns:a16="http://schemas.microsoft.com/office/drawing/2014/main" id="{35B170D8-5977-4985-8618-0BFE52B4BB7A}"/>
                    </a:ext>
                  </a:extLst>
                </p:cNvPr>
                <p:cNvCxnSpPr>
                  <a:cxnSpLocks/>
                </p:cNvCxnSpPr>
                <p:nvPr/>
              </p:nvCxnSpPr>
              <p:spPr bwMode="gray">
                <a:xfrm>
                  <a:off x="7048683"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71" name="Straight Connector 1370">
                  <a:extLst>
                    <a:ext uri="{FF2B5EF4-FFF2-40B4-BE49-F238E27FC236}">
                      <a16:creationId xmlns:a16="http://schemas.microsoft.com/office/drawing/2014/main" id="{25CF5EB2-53FB-40E5-BEDE-6E8786B73BFE}"/>
                    </a:ext>
                  </a:extLst>
                </p:cNvPr>
                <p:cNvCxnSpPr>
                  <a:cxnSpLocks/>
                </p:cNvCxnSpPr>
                <p:nvPr/>
              </p:nvCxnSpPr>
              <p:spPr bwMode="gray">
                <a:xfrm>
                  <a:off x="7172942"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72" name="Straight Connector 1371">
                  <a:extLst>
                    <a:ext uri="{FF2B5EF4-FFF2-40B4-BE49-F238E27FC236}">
                      <a16:creationId xmlns:a16="http://schemas.microsoft.com/office/drawing/2014/main" id="{89B38536-07E7-423E-896E-D4EB4F0BCA54}"/>
                    </a:ext>
                  </a:extLst>
                </p:cNvPr>
                <p:cNvCxnSpPr>
                  <a:cxnSpLocks/>
                </p:cNvCxnSpPr>
                <p:nvPr/>
              </p:nvCxnSpPr>
              <p:spPr bwMode="gray">
                <a:xfrm>
                  <a:off x="7297201"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73" name="Straight Connector 1372">
                  <a:extLst>
                    <a:ext uri="{FF2B5EF4-FFF2-40B4-BE49-F238E27FC236}">
                      <a16:creationId xmlns:a16="http://schemas.microsoft.com/office/drawing/2014/main" id="{B61B77CA-6A42-42C9-A5A6-1353C92FED04}"/>
                    </a:ext>
                  </a:extLst>
                </p:cNvPr>
                <p:cNvCxnSpPr>
                  <a:cxnSpLocks/>
                </p:cNvCxnSpPr>
                <p:nvPr/>
              </p:nvCxnSpPr>
              <p:spPr bwMode="gray">
                <a:xfrm>
                  <a:off x="7421458"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209" name="Group 1208">
                <a:extLst>
                  <a:ext uri="{FF2B5EF4-FFF2-40B4-BE49-F238E27FC236}">
                    <a16:creationId xmlns:a16="http://schemas.microsoft.com/office/drawing/2014/main" id="{5E1133A3-1B26-4A30-A443-244338CDBF63}"/>
                  </a:ext>
                </a:extLst>
              </p:cNvPr>
              <p:cNvGrpSpPr/>
              <p:nvPr/>
            </p:nvGrpSpPr>
            <p:grpSpPr bwMode="gray">
              <a:xfrm>
                <a:off x="9046993" y="7425992"/>
                <a:ext cx="568946" cy="0"/>
                <a:chOff x="6675906" y="3450265"/>
                <a:chExt cx="834871" cy="0"/>
              </a:xfrm>
              <a:noFill/>
            </p:grpSpPr>
            <p:cxnSp>
              <p:nvCxnSpPr>
                <p:cNvPr id="1360" name="Straight Connector 1359">
                  <a:extLst>
                    <a:ext uri="{FF2B5EF4-FFF2-40B4-BE49-F238E27FC236}">
                      <a16:creationId xmlns:a16="http://schemas.microsoft.com/office/drawing/2014/main" id="{92DB0D32-B793-4F14-A7CC-CEB502FF07E8}"/>
                    </a:ext>
                  </a:extLst>
                </p:cNvPr>
                <p:cNvCxnSpPr>
                  <a:cxnSpLocks/>
                </p:cNvCxnSpPr>
                <p:nvPr/>
              </p:nvCxnSpPr>
              <p:spPr bwMode="gray">
                <a:xfrm>
                  <a:off x="6675906"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61" name="Straight Connector 1360">
                  <a:extLst>
                    <a:ext uri="{FF2B5EF4-FFF2-40B4-BE49-F238E27FC236}">
                      <a16:creationId xmlns:a16="http://schemas.microsoft.com/office/drawing/2014/main" id="{E7AE9FC2-30C1-49CC-A83C-8D0F5276B544}"/>
                    </a:ext>
                  </a:extLst>
                </p:cNvPr>
                <p:cNvCxnSpPr>
                  <a:cxnSpLocks/>
                </p:cNvCxnSpPr>
                <p:nvPr/>
              </p:nvCxnSpPr>
              <p:spPr bwMode="gray">
                <a:xfrm>
                  <a:off x="6800165"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62" name="Straight Connector 1361">
                  <a:extLst>
                    <a:ext uri="{FF2B5EF4-FFF2-40B4-BE49-F238E27FC236}">
                      <a16:creationId xmlns:a16="http://schemas.microsoft.com/office/drawing/2014/main" id="{14265E69-EBF9-4ACE-8646-95016FC517DF}"/>
                    </a:ext>
                  </a:extLst>
                </p:cNvPr>
                <p:cNvCxnSpPr>
                  <a:cxnSpLocks/>
                </p:cNvCxnSpPr>
                <p:nvPr/>
              </p:nvCxnSpPr>
              <p:spPr bwMode="gray">
                <a:xfrm>
                  <a:off x="6924424"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63" name="Straight Connector 1362">
                  <a:extLst>
                    <a:ext uri="{FF2B5EF4-FFF2-40B4-BE49-F238E27FC236}">
                      <a16:creationId xmlns:a16="http://schemas.microsoft.com/office/drawing/2014/main" id="{41F42518-BF8D-4096-B897-F451896D46EB}"/>
                    </a:ext>
                  </a:extLst>
                </p:cNvPr>
                <p:cNvCxnSpPr>
                  <a:cxnSpLocks/>
                </p:cNvCxnSpPr>
                <p:nvPr/>
              </p:nvCxnSpPr>
              <p:spPr bwMode="gray">
                <a:xfrm>
                  <a:off x="7048683"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64" name="Straight Connector 1363">
                  <a:extLst>
                    <a:ext uri="{FF2B5EF4-FFF2-40B4-BE49-F238E27FC236}">
                      <a16:creationId xmlns:a16="http://schemas.microsoft.com/office/drawing/2014/main" id="{A55A2905-BABD-42D6-8424-23BEB3559393}"/>
                    </a:ext>
                  </a:extLst>
                </p:cNvPr>
                <p:cNvCxnSpPr>
                  <a:cxnSpLocks/>
                </p:cNvCxnSpPr>
                <p:nvPr/>
              </p:nvCxnSpPr>
              <p:spPr bwMode="gray">
                <a:xfrm>
                  <a:off x="7172942"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65" name="Straight Connector 1364">
                  <a:extLst>
                    <a:ext uri="{FF2B5EF4-FFF2-40B4-BE49-F238E27FC236}">
                      <a16:creationId xmlns:a16="http://schemas.microsoft.com/office/drawing/2014/main" id="{7DAA845E-6E00-4D88-807E-59FEF0D05E60}"/>
                    </a:ext>
                  </a:extLst>
                </p:cNvPr>
                <p:cNvCxnSpPr>
                  <a:cxnSpLocks/>
                </p:cNvCxnSpPr>
                <p:nvPr/>
              </p:nvCxnSpPr>
              <p:spPr bwMode="gray">
                <a:xfrm>
                  <a:off x="7297201"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66" name="Straight Connector 1365">
                  <a:extLst>
                    <a:ext uri="{FF2B5EF4-FFF2-40B4-BE49-F238E27FC236}">
                      <a16:creationId xmlns:a16="http://schemas.microsoft.com/office/drawing/2014/main" id="{27B5C627-06E9-4672-B61D-28FF163A5C2C}"/>
                    </a:ext>
                  </a:extLst>
                </p:cNvPr>
                <p:cNvCxnSpPr>
                  <a:cxnSpLocks/>
                </p:cNvCxnSpPr>
                <p:nvPr/>
              </p:nvCxnSpPr>
              <p:spPr bwMode="gray">
                <a:xfrm>
                  <a:off x="7421458"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210" name="Group 1209">
                <a:extLst>
                  <a:ext uri="{FF2B5EF4-FFF2-40B4-BE49-F238E27FC236}">
                    <a16:creationId xmlns:a16="http://schemas.microsoft.com/office/drawing/2014/main" id="{F0E23E29-4FF5-49FD-872C-FF4D2B08F544}"/>
                  </a:ext>
                </a:extLst>
              </p:cNvPr>
              <p:cNvGrpSpPr/>
              <p:nvPr/>
            </p:nvGrpSpPr>
            <p:grpSpPr bwMode="gray">
              <a:xfrm>
                <a:off x="9046993" y="7501621"/>
                <a:ext cx="568946" cy="0"/>
                <a:chOff x="6675906" y="3450265"/>
                <a:chExt cx="834871" cy="0"/>
              </a:xfrm>
              <a:noFill/>
            </p:grpSpPr>
            <p:cxnSp>
              <p:nvCxnSpPr>
                <p:cNvPr id="1353" name="Straight Connector 1352">
                  <a:extLst>
                    <a:ext uri="{FF2B5EF4-FFF2-40B4-BE49-F238E27FC236}">
                      <a16:creationId xmlns:a16="http://schemas.microsoft.com/office/drawing/2014/main" id="{AD165EE4-60DC-41A1-955B-99A8ABE2BAAA}"/>
                    </a:ext>
                  </a:extLst>
                </p:cNvPr>
                <p:cNvCxnSpPr>
                  <a:cxnSpLocks/>
                </p:cNvCxnSpPr>
                <p:nvPr/>
              </p:nvCxnSpPr>
              <p:spPr bwMode="gray">
                <a:xfrm>
                  <a:off x="6675906"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54" name="Straight Connector 1353">
                  <a:extLst>
                    <a:ext uri="{FF2B5EF4-FFF2-40B4-BE49-F238E27FC236}">
                      <a16:creationId xmlns:a16="http://schemas.microsoft.com/office/drawing/2014/main" id="{85D7EBB0-4882-4105-955A-A15028284BA2}"/>
                    </a:ext>
                  </a:extLst>
                </p:cNvPr>
                <p:cNvCxnSpPr>
                  <a:cxnSpLocks/>
                </p:cNvCxnSpPr>
                <p:nvPr/>
              </p:nvCxnSpPr>
              <p:spPr bwMode="gray">
                <a:xfrm>
                  <a:off x="6800165"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55" name="Straight Connector 1354">
                  <a:extLst>
                    <a:ext uri="{FF2B5EF4-FFF2-40B4-BE49-F238E27FC236}">
                      <a16:creationId xmlns:a16="http://schemas.microsoft.com/office/drawing/2014/main" id="{3AED4800-C56E-4BC5-AD6E-C029E37B1BAF}"/>
                    </a:ext>
                  </a:extLst>
                </p:cNvPr>
                <p:cNvCxnSpPr>
                  <a:cxnSpLocks/>
                </p:cNvCxnSpPr>
                <p:nvPr/>
              </p:nvCxnSpPr>
              <p:spPr bwMode="gray">
                <a:xfrm>
                  <a:off x="6924424"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56" name="Straight Connector 1355">
                  <a:extLst>
                    <a:ext uri="{FF2B5EF4-FFF2-40B4-BE49-F238E27FC236}">
                      <a16:creationId xmlns:a16="http://schemas.microsoft.com/office/drawing/2014/main" id="{A0E65D94-A088-4860-AE14-827284865798}"/>
                    </a:ext>
                  </a:extLst>
                </p:cNvPr>
                <p:cNvCxnSpPr>
                  <a:cxnSpLocks/>
                </p:cNvCxnSpPr>
                <p:nvPr/>
              </p:nvCxnSpPr>
              <p:spPr bwMode="gray">
                <a:xfrm>
                  <a:off x="7048683"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57" name="Straight Connector 1356">
                  <a:extLst>
                    <a:ext uri="{FF2B5EF4-FFF2-40B4-BE49-F238E27FC236}">
                      <a16:creationId xmlns:a16="http://schemas.microsoft.com/office/drawing/2014/main" id="{71461009-3272-434E-9352-A642D27D2A18}"/>
                    </a:ext>
                  </a:extLst>
                </p:cNvPr>
                <p:cNvCxnSpPr>
                  <a:cxnSpLocks/>
                </p:cNvCxnSpPr>
                <p:nvPr/>
              </p:nvCxnSpPr>
              <p:spPr bwMode="gray">
                <a:xfrm>
                  <a:off x="7172942"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58" name="Straight Connector 1357">
                  <a:extLst>
                    <a:ext uri="{FF2B5EF4-FFF2-40B4-BE49-F238E27FC236}">
                      <a16:creationId xmlns:a16="http://schemas.microsoft.com/office/drawing/2014/main" id="{F2570253-DFDC-41FD-9704-CBB426DEC311}"/>
                    </a:ext>
                  </a:extLst>
                </p:cNvPr>
                <p:cNvCxnSpPr>
                  <a:cxnSpLocks/>
                </p:cNvCxnSpPr>
                <p:nvPr/>
              </p:nvCxnSpPr>
              <p:spPr bwMode="gray">
                <a:xfrm>
                  <a:off x="7297201"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359" name="Straight Connector 1358">
                  <a:extLst>
                    <a:ext uri="{FF2B5EF4-FFF2-40B4-BE49-F238E27FC236}">
                      <a16:creationId xmlns:a16="http://schemas.microsoft.com/office/drawing/2014/main" id="{4594C3B5-28AB-4A2A-8158-C8FCC2B86DEA}"/>
                    </a:ext>
                  </a:extLst>
                </p:cNvPr>
                <p:cNvCxnSpPr>
                  <a:cxnSpLocks/>
                </p:cNvCxnSpPr>
                <p:nvPr/>
              </p:nvCxnSpPr>
              <p:spPr bwMode="gray">
                <a:xfrm>
                  <a:off x="7421458"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sp>
            <p:nvSpPr>
              <p:cNvPr id="1232" name="Rectangle 1231">
                <a:extLst>
                  <a:ext uri="{FF2B5EF4-FFF2-40B4-BE49-F238E27FC236}">
                    <a16:creationId xmlns:a16="http://schemas.microsoft.com/office/drawing/2014/main" id="{FD91BC8C-DDDF-46FB-8AE4-0C3DF38A869F}"/>
                  </a:ext>
                </a:extLst>
              </p:cNvPr>
              <p:cNvSpPr/>
              <p:nvPr/>
            </p:nvSpPr>
            <p:spPr bwMode="gray">
              <a:xfrm>
                <a:off x="8955506" y="7265650"/>
                <a:ext cx="45381" cy="161898"/>
              </a:xfrm>
              <a:prstGeom prst="rect">
                <a:avLst/>
              </a:prstGeom>
              <a:no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234" name="Rectangle 1233">
                <a:extLst>
                  <a:ext uri="{FF2B5EF4-FFF2-40B4-BE49-F238E27FC236}">
                    <a16:creationId xmlns:a16="http://schemas.microsoft.com/office/drawing/2014/main" id="{BD16C361-A943-46B2-9023-03F61AEBE62C}"/>
                  </a:ext>
                </a:extLst>
              </p:cNvPr>
              <p:cNvSpPr/>
              <p:nvPr/>
            </p:nvSpPr>
            <p:spPr bwMode="gray">
              <a:xfrm>
                <a:off x="9570336" y="7582683"/>
                <a:ext cx="75296" cy="35082"/>
              </a:xfrm>
              <a:prstGeom prst="rect">
                <a:avLst/>
              </a:prstGeom>
              <a:no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grpSp>
        <p:grpSp>
          <p:nvGrpSpPr>
            <p:cNvPr id="1450" name="Group 1449">
              <a:extLst>
                <a:ext uri="{FF2B5EF4-FFF2-40B4-BE49-F238E27FC236}">
                  <a16:creationId xmlns:a16="http://schemas.microsoft.com/office/drawing/2014/main" id="{2E0B8C30-3A15-4135-997E-C3CD5ED3BF7B}"/>
                </a:ext>
              </a:extLst>
            </p:cNvPr>
            <p:cNvGrpSpPr/>
            <p:nvPr/>
          </p:nvGrpSpPr>
          <p:grpSpPr bwMode="gray">
            <a:xfrm>
              <a:off x="5859355" y="5431984"/>
              <a:ext cx="595013" cy="255651"/>
              <a:chOff x="6570557" y="8088576"/>
              <a:chExt cx="1109390" cy="476657"/>
            </a:xfrm>
          </p:grpSpPr>
          <p:sp>
            <p:nvSpPr>
              <p:cNvPr id="1180" name="Rectangle 1179">
                <a:extLst>
                  <a:ext uri="{FF2B5EF4-FFF2-40B4-BE49-F238E27FC236}">
                    <a16:creationId xmlns:a16="http://schemas.microsoft.com/office/drawing/2014/main" id="{F86F31E6-0C30-4AA6-915A-767BAFB521EB}"/>
                  </a:ext>
                </a:extLst>
              </p:cNvPr>
              <p:cNvSpPr/>
              <p:nvPr/>
            </p:nvSpPr>
            <p:spPr bwMode="gray">
              <a:xfrm>
                <a:off x="6570557" y="8088576"/>
                <a:ext cx="811776" cy="476657"/>
              </a:xfrm>
              <a:prstGeom prst="rect">
                <a:avLst/>
              </a:prstGeom>
              <a:no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dirty="0" err="1"/>
              </a:p>
            </p:txBody>
          </p:sp>
          <p:grpSp>
            <p:nvGrpSpPr>
              <p:cNvPr id="1235" name="Group 1234">
                <a:extLst>
                  <a:ext uri="{FF2B5EF4-FFF2-40B4-BE49-F238E27FC236}">
                    <a16:creationId xmlns:a16="http://schemas.microsoft.com/office/drawing/2014/main" id="{019D27C0-3012-4AFD-B930-212C0BFB2A70}"/>
                  </a:ext>
                </a:extLst>
              </p:cNvPr>
              <p:cNvGrpSpPr/>
              <p:nvPr/>
            </p:nvGrpSpPr>
            <p:grpSpPr bwMode="gray">
              <a:xfrm>
                <a:off x="6578118" y="8187663"/>
                <a:ext cx="1101829" cy="282978"/>
                <a:chOff x="6978916" y="3497447"/>
                <a:chExt cx="1264433" cy="324739"/>
              </a:xfrm>
              <a:noFill/>
            </p:grpSpPr>
            <p:sp>
              <p:nvSpPr>
                <p:cNvPr id="1260" name="Rectangle 1259">
                  <a:extLst>
                    <a:ext uri="{FF2B5EF4-FFF2-40B4-BE49-F238E27FC236}">
                      <a16:creationId xmlns:a16="http://schemas.microsoft.com/office/drawing/2014/main" id="{2AB284F5-9757-451D-9873-EC7C36BB9815}"/>
                    </a:ext>
                  </a:extLst>
                </p:cNvPr>
                <p:cNvSpPr/>
                <p:nvPr/>
              </p:nvSpPr>
              <p:spPr bwMode="gray">
                <a:xfrm>
                  <a:off x="7781188" y="3620568"/>
                  <a:ext cx="462161" cy="78495"/>
                </a:xfrm>
                <a:prstGeom prst="rect">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dirty="0" err="1"/>
                </a:p>
              </p:txBody>
            </p:sp>
            <p:sp>
              <p:nvSpPr>
                <p:cNvPr id="1261" name="Trapezoid 1260">
                  <a:extLst>
                    <a:ext uri="{FF2B5EF4-FFF2-40B4-BE49-F238E27FC236}">
                      <a16:creationId xmlns:a16="http://schemas.microsoft.com/office/drawing/2014/main" id="{6D14D2D0-55E5-4718-8BB0-C70376770CA6}"/>
                    </a:ext>
                  </a:extLst>
                </p:cNvPr>
                <p:cNvSpPr/>
                <p:nvPr/>
              </p:nvSpPr>
              <p:spPr bwMode="gray">
                <a:xfrm rot="16200000" flipH="1" flipV="1">
                  <a:off x="7391350" y="3584329"/>
                  <a:ext cx="324739" cy="150975"/>
                </a:xfrm>
                <a:prstGeom prst="trapezoid">
                  <a:avLst>
                    <a:gd name="adj" fmla="val 68413"/>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dirty="0" err="1"/>
                </a:p>
              </p:txBody>
            </p:sp>
            <p:sp>
              <p:nvSpPr>
                <p:cNvPr id="1262" name="Trapezoid 1261">
                  <a:extLst>
                    <a:ext uri="{FF2B5EF4-FFF2-40B4-BE49-F238E27FC236}">
                      <a16:creationId xmlns:a16="http://schemas.microsoft.com/office/drawing/2014/main" id="{CC6E327B-FAEE-433D-9669-D336902F4357}"/>
                    </a:ext>
                  </a:extLst>
                </p:cNvPr>
                <p:cNvSpPr/>
                <p:nvPr/>
              </p:nvSpPr>
              <p:spPr bwMode="gray">
                <a:xfrm rot="5400000" flipV="1">
                  <a:off x="7124238" y="3584329"/>
                  <a:ext cx="324739" cy="150975"/>
                </a:xfrm>
                <a:prstGeom prst="trapezoid">
                  <a:avLst>
                    <a:gd name="adj" fmla="val 68413"/>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dirty="0" err="1"/>
                </a:p>
              </p:txBody>
            </p:sp>
            <p:sp>
              <p:nvSpPr>
                <p:cNvPr id="1263" name="Trapezoid 1262">
                  <a:extLst>
                    <a:ext uri="{FF2B5EF4-FFF2-40B4-BE49-F238E27FC236}">
                      <a16:creationId xmlns:a16="http://schemas.microsoft.com/office/drawing/2014/main" id="{10868589-94EE-42A8-9C62-246FCA2B57CC}"/>
                    </a:ext>
                  </a:extLst>
                </p:cNvPr>
                <p:cNvSpPr/>
                <p:nvPr/>
              </p:nvSpPr>
              <p:spPr bwMode="gray">
                <a:xfrm rot="16200000" flipH="1" flipV="1">
                  <a:off x="6972250" y="3584329"/>
                  <a:ext cx="324739" cy="150975"/>
                </a:xfrm>
                <a:prstGeom prst="trapezoid">
                  <a:avLst>
                    <a:gd name="adj" fmla="val 68413"/>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dirty="0" err="1"/>
                </a:p>
              </p:txBody>
            </p:sp>
            <p:sp>
              <p:nvSpPr>
                <p:cNvPr id="1264" name="Rectangle 1263">
                  <a:extLst>
                    <a:ext uri="{FF2B5EF4-FFF2-40B4-BE49-F238E27FC236}">
                      <a16:creationId xmlns:a16="http://schemas.microsoft.com/office/drawing/2014/main" id="{D90D7E3C-33FB-4B1F-A5B8-32BB5DB76E63}"/>
                    </a:ext>
                  </a:extLst>
                </p:cNvPr>
                <p:cNvSpPr/>
                <p:nvPr/>
              </p:nvSpPr>
              <p:spPr bwMode="gray">
                <a:xfrm>
                  <a:off x="7362095" y="3620261"/>
                  <a:ext cx="116137" cy="79110"/>
                </a:xfrm>
                <a:prstGeom prst="rect">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dirty="0" err="1"/>
                </a:p>
              </p:txBody>
            </p:sp>
            <p:sp>
              <p:nvSpPr>
                <p:cNvPr id="1265" name="Trapezoid 1264">
                  <a:extLst>
                    <a:ext uri="{FF2B5EF4-FFF2-40B4-BE49-F238E27FC236}">
                      <a16:creationId xmlns:a16="http://schemas.microsoft.com/office/drawing/2014/main" id="{810CD413-50A7-4D21-8B49-3D4585EECB12}"/>
                    </a:ext>
                  </a:extLst>
                </p:cNvPr>
                <p:cNvSpPr/>
                <p:nvPr/>
              </p:nvSpPr>
              <p:spPr bwMode="gray">
                <a:xfrm rot="5400000" flipV="1">
                  <a:off x="7543338" y="3584329"/>
                  <a:ext cx="324739" cy="150975"/>
                </a:xfrm>
                <a:prstGeom prst="trapezoid">
                  <a:avLst>
                    <a:gd name="adj" fmla="val 68413"/>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dirty="0" err="1"/>
                </a:p>
              </p:txBody>
            </p:sp>
            <p:sp>
              <p:nvSpPr>
                <p:cNvPr id="1266" name="Rectangle 1265">
                  <a:extLst>
                    <a:ext uri="{FF2B5EF4-FFF2-40B4-BE49-F238E27FC236}">
                      <a16:creationId xmlns:a16="http://schemas.microsoft.com/office/drawing/2014/main" id="{BAA541A1-24A9-4728-BF9A-68CA223A0134}"/>
                    </a:ext>
                  </a:extLst>
                </p:cNvPr>
                <p:cNvSpPr/>
                <p:nvPr/>
              </p:nvSpPr>
              <p:spPr bwMode="gray">
                <a:xfrm>
                  <a:off x="6978916" y="3620261"/>
                  <a:ext cx="77226" cy="79110"/>
                </a:xfrm>
                <a:prstGeom prst="rect">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dirty="0" err="1"/>
                </a:p>
              </p:txBody>
            </p:sp>
          </p:grpSp>
        </p:grpSp>
        <p:cxnSp>
          <p:nvCxnSpPr>
            <p:cNvPr id="1439" name="Connector: Elbow 1438">
              <a:extLst>
                <a:ext uri="{FF2B5EF4-FFF2-40B4-BE49-F238E27FC236}">
                  <a16:creationId xmlns:a16="http://schemas.microsoft.com/office/drawing/2014/main" id="{CEAE8148-673E-4A7D-89E8-5159A76C2B5F}"/>
                </a:ext>
              </a:extLst>
            </p:cNvPr>
            <p:cNvCxnSpPr>
              <a:cxnSpLocks/>
              <a:stCxn id="1205" idx="0"/>
              <a:endCxn id="1341" idx="0"/>
            </p:cNvCxnSpPr>
            <p:nvPr/>
          </p:nvCxnSpPr>
          <p:spPr bwMode="gray">
            <a:xfrm rot="5400000" flipH="1" flipV="1">
              <a:off x="6868659" y="5197486"/>
              <a:ext cx="24247" cy="444750"/>
            </a:xfrm>
            <a:prstGeom prst="bentConnector3">
              <a:avLst>
                <a:gd name="adj1" fmla="val 1042797"/>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441" name="Connector: Elbow 1440">
              <a:extLst>
                <a:ext uri="{FF2B5EF4-FFF2-40B4-BE49-F238E27FC236}">
                  <a16:creationId xmlns:a16="http://schemas.microsoft.com/office/drawing/2014/main" id="{7032D704-75B5-455F-8243-FA45FDE4ACCD}"/>
                </a:ext>
              </a:extLst>
            </p:cNvPr>
            <p:cNvCxnSpPr>
              <a:cxnSpLocks/>
              <a:stCxn id="1340" idx="0"/>
              <a:endCxn id="1318" idx="2"/>
            </p:cNvCxnSpPr>
            <p:nvPr/>
          </p:nvCxnSpPr>
          <p:spPr bwMode="gray">
            <a:xfrm rot="16200000" flipH="1">
              <a:off x="7484965" y="5163100"/>
              <a:ext cx="68422" cy="557697"/>
            </a:xfrm>
            <a:prstGeom prst="bentConnector5">
              <a:avLst>
                <a:gd name="adj1" fmla="val -334103"/>
                <a:gd name="adj2" fmla="val 44045"/>
                <a:gd name="adj3" fmla="val 43410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grpSp>
        <p:nvGrpSpPr>
          <p:cNvPr id="1871" name="Group 1870">
            <a:extLst>
              <a:ext uri="{FF2B5EF4-FFF2-40B4-BE49-F238E27FC236}">
                <a16:creationId xmlns:a16="http://schemas.microsoft.com/office/drawing/2014/main" id="{2D6919EB-14CD-4792-8F05-736373FC2971}"/>
              </a:ext>
            </a:extLst>
          </p:cNvPr>
          <p:cNvGrpSpPr/>
          <p:nvPr/>
        </p:nvGrpSpPr>
        <p:grpSpPr bwMode="gray">
          <a:xfrm>
            <a:off x="6759730" y="3737800"/>
            <a:ext cx="2702281" cy="912201"/>
            <a:chOff x="6854213" y="3739027"/>
            <a:chExt cx="2702281" cy="912201"/>
          </a:xfrm>
        </p:grpSpPr>
        <p:sp>
          <p:nvSpPr>
            <p:cNvPr id="1181" name="PPTShape_17">
              <a:extLst>
                <a:ext uri="{FF2B5EF4-FFF2-40B4-BE49-F238E27FC236}">
                  <a16:creationId xmlns:a16="http://schemas.microsoft.com/office/drawing/2014/main" id="{058237FB-B185-4E60-B523-ABBAF627B890}"/>
                </a:ext>
              </a:extLst>
            </p:cNvPr>
            <p:cNvSpPr>
              <a:spLocks noChangeArrowheads="1"/>
            </p:cNvSpPr>
            <p:nvPr/>
          </p:nvSpPr>
          <p:spPr bwMode="gray">
            <a:xfrm>
              <a:off x="6854213" y="4345111"/>
              <a:ext cx="483847" cy="306117"/>
            </a:xfrm>
            <a:prstGeom prst="rect">
              <a:avLst/>
            </a:prstGeom>
            <a:noFill/>
            <a:ln w="12700">
              <a:noFill/>
              <a:miter lim="800000"/>
              <a:headEnd/>
              <a:tailEnd/>
            </a:ln>
          </p:spPr>
          <p:txBody>
            <a:bodyPr wrap="square" lIns="0" tIns="0" rIns="0" bIns="0" anchor="t" anchorCtr="0">
              <a:noAutofit/>
            </a:bodyPr>
            <a:lstStyle/>
            <a:p>
              <a:pPr algn="ctr" eaLnBrk="0" fontAlgn="base" hangingPunct="0">
                <a:spcBef>
                  <a:spcPct val="0"/>
                </a:spcBef>
                <a:spcAft>
                  <a:spcPct val="0"/>
                </a:spcAft>
              </a:pPr>
              <a:r>
                <a:rPr lang="de-DE" sz="1000" dirty="0"/>
                <a:t>Gas </a:t>
              </a:r>
              <a:br>
                <a:rPr lang="de-DE" sz="1000" dirty="0"/>
              </a:br>
              <a:r>
                <a:rPr lang="de-DE" sz="1000" dirty="0"/>
                <a:t>turbine</a:t>
              </a:r>
              <a:endParaRPr lang="en-US" sz="1000" dirty="0"/>
            </a:p>
          </p:txBody>
        </p:sp>
        <p:sp>
          <p:nvSpPr>
            <p:cNvPr id="1197" name="PPTShape_17">
              <a:extLst>
                <a:ext uri="{FF2B5EF4-FFF2-40B4-BE49-F238E27FC236}">
                  <a16:creationId xmlns:a16="http://schemas.microsoft.com/office/drawing/2014/main" id="{5B946F1E-E82C-43FA-9C9E-0294CE6B0625}"/>
                </a:ext>
              </a:extLst>
            </p:cNvPr>
            <p:cNvSpPr>
              <a:spLocks noChangeArrowheads="1"/>
            </p:cNvSpPr>
            <p:nvPr/>
          </p:nvSpPr>
          <p:spPr bwMode="gray">
            <a:xfrm>
              <a:off x="7346695" y="4345111"/>
              <a:ext cx="676072" cy="197447"/>
            </a:xfrm>
            <a:prstGeom prst="rect">
              <a:avLst/>
            </a:prstGeom>
            <a:noFill/>
            <a:ln w="12700">
              <a:noFill/>
              <a:miter lim="800000"/>
              <a:headEnd/>
              <a:tailEnd/>
            </a:ln>
          </p:spPr>
          <p:txBody>
            <a:bodyPr wrap="square" lIns="0" tIns="0" rIns="0" bIns="0" anchor="t" anchorCtr="0">
              <a:noAutofit/>
            </a:bodyPr>
            <a:lstStyle/>
            <a:p>
              <a:pPr algn="ctr" eaLnBrk="0" fontAlgn="base" hangingPunct="0">
                <a:spcBef>
                  <a:spcPct val="0"/>
                </a:spcBef>
                <a:spcAft>
                  <a:spcPct val="0"/>
                </a:spcAft>
              </a:pPr>
              <a:r>
                <a:rPr lang="de-DE" sz="1000" dirty="0"/>
                <a:t>Generator</a:t>
              </a:r>
              <a:endParaRPr lang="en-US" sz="1000" dirty="0"/>
            </a:p>
          </p:txBody>
        </p:sp>
        <p:grpSp>
          <p:nvGrpSpPr>
            <p:cNvPr id="1451" name="Group 1450">
              <a:extLst>
                <a:ext uri="{FF2B5EF4-FFF2-40B4-BE49-F238E27FC236}">
                  <a16:creationId xmlns:a16="http://schemas.microsoft.com/office/drawing/2014/main" id="{C8933325-71F1-4552-88EB-CF47A59FF168}"/>
                </a:ext>
              </a:extLst>
            </p:cNvPr>
            <p:cNvGrpSpPr/>
            <p:nvPr/>
          </p:nvGrpSpPr>
          <p:grpSpPr bwMode="gray">
            <a:xfrm>
              <a:off x="6888539" y="4050972"/>
              <a:ext cx="594439" cy="255651"/>
              <a:chOff x="6570555" y="7106026"/>
              <a:chExt cx="1108321" cy="476657"/>
            </a:xfrm>
          </p:grpSpPr>
          <p:sp>
            <p:nvSpPr>
              <p:cNvPr id="1199" name="Rectangle 1198">
                <a:extLst>
                  <a:ext uri="{FF2B5EF4-FFF2-40B4-BE49-F238E27FC236}">
                    <a16:creationId xmlns:a16="http://schemas.microsoft.com/office/drawing/2014/main" id="{0293379E-C99F-479A-9EFA-4F304EF81612}"/>
                  </a:ext>
                </a:extLst>
              </p:cNvPr>
              <p:cNvSpPr/>
              <p:nvPr/>
            </p:nvSpPr>
            <p:spPr bwMode="gray">
              <a:xfrm>
                <a:off x="6570557" y="7106026"/>
                <a:ext cx="811776" cy="476657"/>
              </a:xfrm>
              <a:prstGeom prst="rect">
                <a:avLst/>
              </a:prstGeom>
              <a:no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dirty="0" err="1"/>
              </a:p>
            </p:txBody>
          </p:sp>
          <p:sp>
            <p:nvSpPr>
              <p:cNvPr id="1200" name="Rectangle 1199">
                <a:extLst>
                  <a:ext uri="{FF2B5EF4-FFF2-40B4-BE49-F238E27FC236}">
                    <a16:creationId xmlns:a16="http://schemas.microsoft.com/office/drawing/2014/main" id="{32C8E5AB-AE2B-4C93-ACE4-463704AF710F}"/>
                  </a:ext>
                </a:extLst>
              </p:cNvPr>
              <p:cNvSpPr/>
              <p:nvPr/>
            </p:nvSpPr>
            <p:spPr bwMode="gray">
              <a:xfrm>
                <a:off x="6570557" y="7106026"/>
                <a:ext cx="811776" cy="476657"/>
              </a:xfrm>
              <a:prstGeom prst="rect">
                <a:avLst/>
              </a:prstGeom>
              <a:noFill/>
              <a:ln w="12700" cap="rnd">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dirty="0" err="1"/>
              </a:p>
            </p:txBody>
          </p:sp>
          <p:grpSp>
            <p:nvGrpSpPr>
              <p:cNvPr id="1233" name="Group 1232">
                <a:extLst>
                  <a:ext uri="{FF2B5EF4-FFF2-40B4-BE49-F238E27FC236}">
                    <a16:creationId xmlns:a16="http://schemas.microsoft.com/office/drawing/2014/main" id="{38AF542B-21C2-448F-ACAF-12603734ACE2}"/>
                  </a:ext>
                </a:extLst>
              </p:cNvPr>
              <p:cNvGrpSpPr/>
              <p:nvPr/>
            </p:nvGrpSpPr>
            <p:grpSpPr bwMode="gray">
              <a:xfrm>
                <a:off x="6578132" y="7205106"/>
                <a:ext cx="1100744" cy="282981"/>
                <a:chOff x="6978916" y="3497436"/>
                <a:chExt cx="1265138" cy="324742"/>
              </a:xfrm>
              <a:noFill/>
            </p:grpSpPr>
            <p:sp>
              <p:nvSpPr>
                <p:cNvPr id="1267" name="Rectangle 1266">
                  <a:extLst>
                    <a:ext uri="{FF2B5EF4-FFF2-40B4-BE49-F238E27FC236}">
                      <a16:creationId xmlns:a16="http://schemas.microsoft.com/office/drawing/2014/main" id="{79003EE1-1EF1-47C2-A431-ED62AD7370EC}"/>
                    </a:ext>
                  </a:extLst>
                </p:cNvPr>
                <p:cNvSpPr/>
                <p:nvPr/>
              </p:nvSpPr>
              <p:spPr bwMode="gray">
                <a:xfrm>
                  <a:off x="7781179" y="3620754"/>
                  <a:ext cx="462875" cy="78108"/>
                </a:xfrm>
                <a:prstGeom prst="rect">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268" name="Trapezoid 1267">
                  <a:extLst>
                    <a:ext uri="{FF2B5EF4-FFF2-40B4-BE49-F238E27FC236}">
                      <a16:creationId xmlns:a16="http://schemas.microsoft.com/office/drawing/2014/main" id="{8F264C46-C9C4-4DE6-AFF8-403219EB51A0}"/>
                    </a:ext>
                  </a:extLst>
                </p:cNvPr>
                <p:cNvSpPr/>
                <p:nvPr/>
              </p:nvSpPr>
              <p:spPr bwMode="gray">
                <a:xfrm rot="16200000" flipH="1" flipV="1">
                  <a:off x="7100624" y="3455931"/>
                  <a:ext cx="324738" cy="407747"/>
                </a:xfrm>
                <a:prstGeom prst="trapezoid">
                  <a:avLst>
                    <a:gd name="adj" fmla="val 29498"/>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269" name="Rectangle 1268">
                  <a:extLst>
                    <a:ext uri="{FF2B5EF4-FFF2-40B4-BE49-F238E27FC236}">
                      <a16:creationId xmlns:a16="http://schemas.microsoft.com/office/drawing/2014/main" id="{527FCDA6-A710-4754-8146-30390C56D82C}"/>
                    </a:ext>
                  </a:extLst>
                </p:cNvPr>
                <p:cNvSpPr/>
                <p:nvPr/>
              </p:nvSpPr>
              <p:spPr bwMode="gray">
                <a:xfrm>
                  <a:off x="7466867" y="3620250"/>
                  <a:ext cx="164501" cy="79110"/>
                </a:xfrm>
                <a:prstGeom prst="rect">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270" name="Trapezoid 1269">
                  <a:extLst>
                    <a:ext uri="{FF2B5EF4-FFF2-40B4-BE49-F238E27FC236}">
                      <a16:creationId xmlns:a16="http://schemas.microsoft.com/office/drawing/2014/main" id="{F6C760AF-B85B-403E-AD89-AA95DB58EC8A}"/>
                    </a:ext>
                  </a:extLst>
                </p:cNvPr>
                <p:cNvSpPr/>
                <p:nvPr/>
              </p:nvSpPr>
              <p:spPr bwMode="gray">
                <a:xfrm rot="5400000" flipV="1">
                  <a:off x="7543323" y="3584322"/>
                  <a:ext cx="324738" cy="150974"/>
                </a:xfrm>
                <a:prstGeom prst="trapezoid">
                  <a:avLst>
                    <a:gd name="adj" fmla="val 68413"/>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271" name="Rectangle 1270">
                  <a:extLst>
                    <a:ext uri="{FF2B5EF4-FFF2-40B4-BE49-F238E27FC236}">
                      <a16:creationId xmlns:a16="http://schemas.microsoft.com/office/drawing/2014/main" id="{87A0E71F-5BE8-4748-B4E8-C61844A0F55A}"/>
                    </a:ext>
                  </a:extLst>
                </p:cNvPr>
                <p:cNvSpPr/>
                <p:nvPr/>
              </p:nvSpPr>
              <p:spPr bwMode="gray">
                <a:xfrm>
                  <a:off x="6978916" y="3620261"/>
                  <a:ext cx="77226" cy="79110"/>
                </a:xfrm>
                <a:prstGeom prst="rect">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grpSp>
        </p:grpSp>
        <p:grpSp>
          <p:nvGrpSpPr>
            <p:cNvPr id="1499" name="Group 1498">
              <a:extLst>
                <a:ext uri="{FF2B5EF4-FFF2-40B4-BE49-F238E27FC236}">
                  <a16:creationId xmlns:a16="http://schemas.microsoft.com/office/drawing/2014/main" id="{62053B52-B577-4A9E-9D4A-4ADA9B92A449}"/>
                </a:ext>
              </a:extLst>
            </p:cNvPr>
            <p:cNvGrpSpPr/>
            <p:nvPr/>
          </p:nvGrpSpPr>
          <p:grpSpPr bwMode="gray">
            <a:xfrm>
              <a:off x="8075048" y="4026125"/>
              <a:ext cx="251761" cy="343647"/>
              <a:chOff x="8031389" y="3177600"/>
              <a:chExt cx="648000" cy="884507"/>
            </a:xfrm>
            <a:noFill/>
          </p:grpSpPr>
          <p:sp>
            <p:nvSpPr>
              <p:cNvPr id="1500" name="Rectangle 1499">
                <a:extLst>
                  <a:ext uri="{FF2B5EF4-FFF2-40B4-BE49-F238E27FC236}">
                    <a16:creationId xmlns:a16="http://schemas.microsoft.com/office/drawing/2014/main" id="{2392768B-EC11-4D09-BCF5-900B86183558}"/>
                  </a:ext>
                </a:extLst>
              </p:cNvPr>
              <p:cNvSpPr/>
              <p:nvPr/>
            </p:nvSpPr>
            <p:spPr bwMode="gray">
              <a:xfrm>
                <a:off x="8031389" y="3349738"/>
                <a:ext cx="648000" cy="661968"/>
              </a:xfrm>
              <a:prstGeom prst="rect">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501" name="Rectangle 1500">
                <a:extLst>
                  <a:ext uri="{FF2B5EF4-FFF2-40B4-BE49-F238E27FC236}">
                    <a16:creationId xmlns:a16="http://schemas.microsoft.com/office/drawing/2014/main" id="{AC9369C5-CC5A-46CC-9C49-5092196D345F}"/>
                  </a:ext>
                </a:extLst>
              </p:cNvPr>
              <p:cNvSpPr/>
              <p:nvPr/>
            </p:nvSpPr>
            <p:spPr bwMode="gray">
              <a:xfrm>
                <a:off x="8103389" y="4011707"/>
                <a:ext cx="504000" cy="50400"/>
              </a:xfrm>
              <a:prstGeom prst="rect">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502" name="Trapezoid 1501">
                <a:extLst>
                  <a:ext uri="{FF2B5EF4-FFF2-40B4-BE49-F238E27FC236}">
                    <a16:creationId xmlns:a16="http://schemas.microsoft.com/office/drawing/2014/main" id="{B577D8C3-750D-41D4-BC5C-36EBE3A3AE23}"/>
                  </a:ext>
                </a:extLst>
              </p:cNvPr>
              <p:cNvSpPr/>
              <p:nvPr/>
            </p:nvSpPr>
            <p:spPr bwMode="gray">
              <a:xfrm>
                <a:off x="8467878" y="3177601"/>
                <a:ext cx="128082" cy="172137"/>
              </a:xfrm>
              <a:prstGeom prst="trapezoid">
                <a:avLst>
                  <a:gd name="adj" fmla="val 36899"/>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503" name="Trapezoid 1502">
                <a:extLst>
                  <a:ext uri="{FF2B5EF4-FFF2-40B4-BE49-F238E27FC236}">
                    <a16:creationId xmlns:a16="http://schemas.microsoft.com/office/drawing/2014/main" id="{E5E2CDD5-D732-4256-B43A-3318E54A4AE0}"/>
                  </a:ext>
                </a:extLst>
              </p:cNvPr>
              <p:cNvSpPr/>
              <p:nvPr/>
            </p:nvSpPr>
            <p:spPr bwMode="gray">
              <a:xfrm>
                <a:off x="8114818" y="3177600"/>
                <a:ext cx="128082" cy="172137"/>
              </a:xfrm>
              <a:prstGeom prst="trapezoid">
                <a:avLst>
                  <a:gd name="adj" fmla="val 36899"/>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grpSp>
            <p:nvGrpSpPr>
              <p:cNvPr id="1504" name="Group 1503">
                <a:extLst>
                  <a:ext uri="{FF2B5EF4-FFF2-40B4-BE49-F238E27FC236}">
                    <a16:creationId xmlns:a16="http://schemas.microsoft.com/office/drawing/2014/main" id="{B598269A-CAF0-477D-8A9A-017771E49473}"/>
                  </a:ext>
                </a:extLst>
              </p:cNvPr>
              <p:cNvGrpSpPr/>
              <p:nvPr/>
            </p:nvGrpSpPr>
            <p:grpSpPr bwMode="gray">
              <a:xfrm>
                <a:off x="8105199" y="3412578"/>
                <a:ext cx="500381" cy="475671"/>
                <a:chOff x="8102389" y="3412578"/>
                <a:chExt cx="500381" cy="475671"/>
              </a:xfrm>
              <a:grpFill/>
            </p:grpSpPr>
            <p:grpSp>
              <p:nvGrpSpPr>
                <p:cNvPr id="1505" name="Group 1504">
                  <a:extLst>
                    <a:ext uri="{FF2B5EF4-FFF2-40B4-BE49-F238E27FC236}">
                      <a16:creationId xmlns:a16="http://schemas.microsoft.com/office/drawing/2014/main" id="{0950852E-435A-40F0-A67B-9A4A63AB36F4}"/>
                    </a:ext>
                  </a:extLst>
                </p:cNvPr>
                <p:cNvGrpSpPr/>
                <p:nvPr/>
              </p:nvGrpSpPr>
              <p:grpSpPr bwMode="gray">
                <a:xfrm>
                  <a:off x="8455449" y="3412578"/>
                  <a:ext cx="147321" cy="475671"/>
                  <a:chOff x="8455449" y="3412578"/>
                  <a:chExt cx="147321" cy="475671"/>
                </a:xfrm>
                <a:grpFill/>
              </p:grpSpPr>
              <p:cxnSp>
                <p:nvCxnSpPr>
                  <p:cNvPr id="1510" name="Straight Connector 1509">
                    <a:extLst>
                      <a:ext uri="{FF2B5EF4-FFF2-40B4-BE49-F238E27FC236}">
                        <a16:creationId xmlns:a16="http://schemas.microsoft.com/office/drawing/2014/main" id="{57AAF4EC-9F09-45C0-83C3-1DC9ABF43BC5}"/>
                      </a:ext>
                    </a:extLst>
                  </p:cNvPr>
                  <p:cNvCxnSpPr>
                    <a:cxnSpLocks/>
                  </p:cNvCxnSpPr>
                  <p:nvPr/>
                </p:nvCxnSpPr>
                <p:spPr bwMode="gray">
                  <a:xfrm flipV="1">
                    <a:off x="8529109" y="3412578"/>
                    <a:ext cx="1" cy="475671"/>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11" name="Straight Connector 1510">
                    <a:extLst>
                      <a:ext uri="{FF2B5EF4-FFF2-40B4-BE49-F238E27FC236}">
                        <a16:creationId xmlns:a16="http://schemas.microsoft.com/office/drawing/2014/main" id="{54DC7674-53CE-4F80-A802-A0730C7D4464}"/>
                      </a:ext>
                    </a:extLst>
                  </p:cNvPr>
                  <p:cNvCxnSpPr>
                    <a:cxnSpLocks/>
                  </p:cNvCxnSpPr>
                  <p:nvPr/>
                </p:nvCxnSpPr>
                <p:spPr bwMode="gray">
                  <a:xfrm flipV="1">
                    <a:off x="8455449" y="3412578"/>
                    <a:ext cx="1" cy="475671"/>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12" name="Straight Connector 1511">
                    <a:extLst>
                      <a:ext uri="{FF2B5EF4-FFF2-40B4-BE49-F238E27FC236}">
                        <a16:creationId xmlns:a16="http://schemas.microsoft.com/office/drawing/2014/main" id="{AD1F37E8-7C52-4286-8ACD-939DAA1F7890}"/>
                      </a:ext>
                    </a:extLst>
                  </p:cNvPr>
                  <p:cNvCxnSpPr>
                    <a:cxnSpLocks/>
                  </p:cNvCxnSpPr>
                  <p:nvPr/>
                </p:nvCxnSpPr>
                <p:spPr bwMode="gray">
                  <a:xfrm flipV="1">
                    <a:off x="8602769" y="3412578"/>
                    <a:ext cx="1" cy="475671"/>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506" name="Group 1505">
                  <a:extLst>
                    <a:ext uri="{FF2B5EF4-FFF2-40B4-BE49-F238E27FC236}">
                      <a16:creationId xmlns:a16="http://schemas.microsoft.com/office/drawing/2014/main" id="{3F58F7DC-46FD-49C2-A0EF-C7813DA3131C}"/>
                    </a:ext>
                  </a:extLst>
                </p:cNvPr>
                <p:cNvGrpSpPr/>
                <p:nvPr/>
              </p:nvGrpSpPr>
              <p:grpSpPr bwMode="gray">
                <a:xfrm>
                  <a:off x="8102389" y="3412578"/>
                  <a:ext cx="147321" cy="475671"/>
                  <a:chOff x="8455449" y="3412578"/>
                  <a:chExt cx="147321" cy="475671"/>
                </a:xfrm>
                <a:grpFill/>
              </p:grpSpPr>
              <p:cxnSp>
                <p:nvCxnSpPr>
                  <p:cNvPr id="1507" name="Straight Connector 1506">
                    <a:extLst>
                      <a:ext uri="{FF2B5EF4-FFF2-40B4-BE49-F238E27FC236}">
                        <a16:creationId xmlns:a16="http://schemas.microsoft.com/office/drawing/2014/main" id="{732C09E0-3515-46C0-BF07-58437070B660}"/>
                      </a:ext>
                    </a:extLst>
                  </p:cNvPr>
                  <p:cNvCxnSpPr>
                    <a:cxnSpLocks/>
                  </p:cNvCxnSpPr>
                  <p:nvPr/>
                </p:nvCxnSpPr>
                <p:spPr bwMode="gray">
                  <a:xfrm flipV="1">
                    <a:off x="8529109" y="3412578"/>
                    <a:ext cx="1" cy="475671"/>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08" name="Straight Connector 1507">
                    <a:extLst>
                      <a:ext uri="{FF2B5EF4-FFF2-40B4-BE49-F238E27FC236}">
                        <a16:creationId xmlns:a16="http://schemas.microsoft.com/office/drawing/2014/main" id="{256514E2-3FFD-4BAD-895D-2B6340AED0C3}"/>
                      </a:ext>
                    </a:extLst>
                  </p:cNvPr>
                  <p:cNvCxnSpPr>
                    <a:cxnSpLocks/>
                  </p:cNvCxnSpPr>
                  <p:nvPr/>
                </p:nvCxnSpPr>
                <p:spPr bwMode="gray">
                  <a:xfrm flipV="1">
                    <a:off x="8455449" y="3412578"/>
                    <a:ext cx="1" cy="475671"/>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09" name="Straight Connector 1508">
                    <a:extLst>
                      <a:ext uri="{FF2B5EF4-FFF2-40B4-BE49-F238E27FC236}">
                        <a16:creationId xmlns:a16="http://schemas.microsoft.com/office/drawing/2014/main" id="{F0770234-91E6-49FE-925D-E6EB004DB8EE}"/>
                      </a:ext>
                    </a:extLst>
                  </p:cNvPr>
                  <p:cNvCxnSpPr>
                    <a:cxnSpLocks/>
                  </p:cNvCxnSpPr>
                  <p:nvPr/>
                </p:nvCxnSpPr>
                <p:spPr bwMode="gray">
                  <a:xfrm flipV="1">
                    <a:off x="8602769" y="3412578"/>
                    <a:ext cx="1" cy="475671"/>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1513" name="Group 1512">
              <a:extLst>
                <a:ext uri="{FF2B5EF4-FFF2-40B4-BE49-F238E27FC236}">
                  <a16:creationId xmlns:a16="http://schemas.microsoft.com/office/drawing/2014/main" id="{1D7002A9-4D0B-44DD-8A48-50C3D1475E5F}"/>
                </a:ext>
              </a:extLst>
            </p:cNvPr>
            <p:cNvGrpSpPr/>
            <p:nvPr/>
          </p:nvGrpSpPr>
          <p:grpSpPr bwMode="gray">
            <a:xfrm>
              <a:off x="8652909" y="3739027"/>
              <a:ext cx="348603" cy="363821"/>
              <a:chOff x="6224588" y="2559050"/>
              <a:chExt cx="400050" cy="417513"/>
            </a:xfrm>
            <a:noFill/>
          </p:grpSpPr>
          <p:sp>
            <p:nvSpPr>
              <p:cNvPr id="1514" name="Line 505">
                <a:extLst>
                  <a:ext uri="{FF2B5EF4-FFF2-40B4-BE49-F238E27FC236}">
                    <a16:creationId xmlns:a16="http://schemas.microsoft.com/office/drawing/2014/main" id="{F3AC7DAC-84E3-4D83-B181-E34F432E595E}"/>
                  </a:ext>
                </a:extLst>
              </p:cNvPr>
              <p:cNvSpPr>
                <a:spLocks noChangeShapeType="1"/>
              </p:cNvSpPr>
              <p:nvPr/>
            </p:nvSpPr>
            <p:spPr bwMode="gray">
              <a:xfrm>
                <a:off x="6577013" y="2559050"/>
                <a:ext cx="0" cy="417513"/>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15" name="Freeform 506">
                <a:extLst>
                  <a:ext uri="{FF2B5EF4-FFF2-40B4-BE49-F238E27FC236}">
                    <a16:creationId xmlns:a16="http://schemas.microsoft.com/office/drawing/2014/main" id="{2AF47378-0E58-49AF-8311-B79BC11CE994}"/>
                  </a:ext>
                </a:extLst>
              </p:cNvPr>
              <p:cNvSpPr>
                <a:spLocks/>
              </p:cNvSpPr>
              <p:nvPr/>
            </p:nvSpPr>
            <p:spPr bwMode="gray">
              <a:xfrm>
                <a:off x="6224588" y="2568575"/>
                <a:ext cx="400050" cy="407988"/>
              </a:xfrm>
              <a:custGeom>
                <a:avLst/>
                <a:gdLst>
                  <a:gd name="T0" fmla="*/ 252 w 252"/>
                  <a:gd name="T1" fmla="*/ 257 h 257"/>
                  <a:gd name="T2" fmla="*/ 252 w 252"/>
                  <a:gd name="T3" fmla="*/ 18 h 257"/>
                  <a:gd name="T4" fmla="*/ 252 w 252"/>
                  <a:gd name="T5" fmla="*/ 0 h 257"/>
                  <a:gd name="T6" fmla="*/ 0 w 252"/>
                  <a:gd name="T7" fmla="*/ 0 h 257"/>
                  <a:gd name="T8" fmla="*/ 0 w 252"/>
                  <a:gd name="T9" fmla="*/ 18 h 257"/>
                  <a:gd name="T10" fmla="*/ 0 w 252"/>
                  <a:gd name="T11" fmla="*/ 257 h 257"/>
                </a:gdLst>
                <a:ahLst/>
                <a:cxnLst>
                  <a:cxn ang="0">
                    <a:pos x="T0" y="T1"/>
                  </a:cxn>
                  <a:cxn ang="0">
                    <a:pos x="T2" y="T3"/>
                  </a:cxn>
                  <a:cxn ang="0">
                    <a:pos x="T4" y="T5"/>
                  </a:cxn>
                  <a:cxn ang="0">
                    <a:pos x="T6" y="T7"/>
                  </a:cxn>
                  <a:cxn ang="0">
                    <a:pos x="T8" y="T9"/>
                  </a:cxn>
                  <a:cxn ang="0">
                    <a:pos x="T10" y="T11"/>
                  </a:cxn>
                </a:cxnLst>
                <a:rect l="0" t="0" r="r" b="b"/>
                <a:pathLst>
                  <a:path w="252" h="257">
                    <a:moveTo>
                      <a:pt x="252" y="257"/>
                    </a:moveTo>
                    <a:lnTo>
                      <a:pt x="252" y="18"/>
                    </a:lnTo>
                    <a:lnTo>
                      <a:pt x="252" y="0"/>
                    </a:lnTo>
                    <a:lnTo>
                      <a:pt x="0" y="0"/>
                    </a:lnTo>
                    <a:lnTo>
                      <a:pt x="0" y="18"/>
                    </a:lnTo>
                    <a:lnTo>
                      <a:pt x="0" y="257"/>
                    </a:lnTo>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16" name="Line 507">
                <a:extLst>
                  <a:ext uri="{FF2B5EF4-FFF2-40B4-BE49-F238E27FC236}">
                    <a16:creationId xmlns:a16="http://schemas.microsoft.com/office/drawing/2014/main" id="{99829B1B-096C-47F4-A647-A6AFCDE7A318}"/>
                  </a:ext>
                </a:extLst>
              </p:cNvPr>
              <p:cNvSpPr>
                <a:spLocks noChangeShapeType="1"/>
              </p:cNvSpPr>
              <p:nvPr/>
            </p:nvSpPr>
            <p:spPr bwMode="gray">
              <a:xfrm>
                <a:off x="6272213" y="2559050"/>
                <a:ext cx="0" cy="417513"/>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17" name="Rectangle 508">
                <a:extLst>
                  <a:ext uri="{FF2B5EF4-FFF2-40B4-BE49-F238E27FC236}">
                    <a16:creationId xmlns:a16="http://schemas.microsoft.com/office/drawing/2014/main" id="{37AD07D4-FE91-4A2C-B16B-D41731712AF9}"/>
                  </a:ext>
                </a:extLst>
              </p:cNvPr>
              <p:cNvSpPr>
                <a:spLocks noChangeArrowheads="1"/>
              </p:cNvSpPr>
              <p:nvPr/>
            </p:nvSpPr>
            <p:spPr bwMode="gray">
              <a:xfrm>
                <a:off x="6319838" y="2814638"/>
                <a:ext cx="209550" cy="152400"/>
              </a:xfrm>
              <a:prstGeom prst="rect">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18" name="Line 509">
                <a:extLst>
                  <a:ext uri="{FF2B5EF4-FFF2-40B4-BE49-F238E27FC236}">
                    <a16:creationId xmlns:a16="http://schemas.microsoft.com/office/drawing/2014/main" id="{5555CD10-7324-43E4-9571-0A7A0618B6B9}"/>
                  </a:ext>
                </a:extLst>
              </p:cNvPr>
              <p:cNvSpPr>
                <a:spLocks noChangeShapeType="1"/>
              </p:cNvSpPr>
              <p:nvPr/>
            </p:nvSpPr>
            <p:spPr bwMode="gray">
              <a:xfrm>
                <a:off x="6348413" y="2852738"/>
                <a:ext cx="38100" cy="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19" name="Line 510">
                <a:extLst>
                  <a:ext uri="{FF2B5EF4-FFF2-40B4-BE49-F238E27FC236}">
                    <a16:creationId xmlns:a16="http://schemas.microsoft.com/office/drawing/2014/main" id="{7241F7C9-7C36-44E7-8136-0F9E18E0D55F}"/>
                  </a:ext>
                </a:extLst>
              </p:cNvPr>
              <p:cNvSpPr>
                <a:spLocks noChangeShapeType="1"/>
              </p:cNvSpPr>
              <p:nvPr/>
            </p:nvSpPr>
            <p:spPr bwMode="gray">
              <a:xfrm>
                <a:off x="6405563" y="2852738"/>
                <a:ext cx="38100" cy="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20" name="Line 511">
                <a:extLst>
                  <a:ext uri="{FF2B5EF4-FFF2-40B4-BE49-F238E27FC236}">
                    <a16:creationId xmlns:a16="http://schemas.microsoft.com/office/drawing/2014/main" id="{94C28560-FEA4-4E4C-B009-BAE1E0F1C8C2}"/>
                  </a:ext>
                </a:extLst>
              </p:cNvPr>
              <p:cNvSpPr>
                <a:spLocks noChangeShapeType="1"/>
              </p:cNvSpPr>
              <p:nvPr/>
            </p:nvSpPr>
            <p:spPr bwMode="gray">
              <a:xfrm>
                <a:off x="6462713" y="2852738"/>
                <a:ext cx="38100" cy="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21" name="Rectangle 512">
                <a:extLst>
                  <a:ext uri="{FF2B5EF4-FFF2-40B4-BE49-F238E27FC236}">
                    <a16:creationId xmlns:a16="http://schemas.microsoft.com/office/drawing/2014/main" id="{30B8603F-1A10-42E6-A993-B47A4FD6838C}"/>
                  </a:ext>
                </a:extLst>
              </p:cNvPr>
              <p:cNvSpPr>
                <a:spLocks noChangeArrowheads="1"/>
              </p:cNvSpPr>
              <p:nvPr/>
            </p:nvSpPr>
            <p:spPr bwMode="gray">
              <a:xfrm>
                <a:off x="6405563" y="2776538"/>
                <a:ext cx="38100" cy="38100"/>
              </a:xfrm>
              <a:prstGeom prst="rect">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22" name="Rectangle 513">
                <a:extLst>
                  <a:ext uri="{FF2B5EF4-FFF2-40B4-BE49-F238E27FC236}">
                    <a16:creationId xmlns:a16="http://schemas.microsoft.com/office/drawing/2014/main" id="{8C83D985-5256-4361-A91B-476B21C96084}"/>
                  </a:ext>
                </a:extLst>
              </p:cNvPr>
              <p:cNvSpPr>
                <a:spLocks noChangeArrowheads="1"/>
              </p:cNvSpPr>
              <p:nvPr/>
            </p:nvSpPr>
            <p:spPr bwMode="gray">
              <a:xfrm>
                <a:off x="6472238" y="2776538"/>
                <a:ext cx="38100" cy="38100"/>
              </a:xfrm>
              <a:prstGeom prst="rect">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23" name="Rectangle 514">
                <a:extLst>
                  <a:ext uri="{FF2B5EF4-FFF2-40B4-BE49-F238E27FC236}">
                    <a16:creationId xmlns:a16="http://schemas.microsoft.com/office/drawing/2014/main" id="{D1E93811-C8A0-414D-B338-ABD660731F96}"/>
                  </a:ext>
                </a:extLst>
              </p:cNvPr>
              <p:cNvSpPr>
                <a:spLocks noChangeArrowheads="1"/>
              </p:cNvSpPr>
              <p:nvPr/>
            </p:nvSpPr>
            <p:spPr bwMode="gray">
              <a:xfrm>
                <a:off x="6338888" y="2776538"/>
                <a:ext cx="38100" cy="38100"/>
              </a:xfrm>
              <a:prstGeom prst="rect">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24" name="Freeform 515">
                <a:extLst>
                  <a:ext uri="{FF2B5EF4-FFF2-40B4-BE49-F238E27FC236}">
                    <a16:creationId xmlns:a16="http://schemas.microsoft.com/office/drawing/2014/main" id="{D557640E-8CD8-479E-B5F9-BA79E86AAE60}"/>
                  </a:ext>
                </a:extLst>
              </p:cNvPr>
              <p:cNvSpPr>
                <a:spLocks/>
              </p:cNvSpPr>
              <p:nvPr/>
            </p:nvSpPr>
            <p:spPr bwMode="gray">
              <a:xfrm>
                <a:off x="6338888" y="2559050"/>
                <a:ext cx="171450" cy="47625"/>
              </a:xfrm>
              <a:custGeom>
                <a:avLst/>
                <a:gdLst>
                  <a:gd name="T0" fmla="*/ 108 w 108"/>
                  <a:gd name="T1" fmla="*/ 0 h 30"/>
                  <a:gd name="T2" fmla="*/ 108 w 108"/>
                  <a:gd name="T3" fmla="*/ 30 h 30"/>
                  <a:gd name="T4" fmla="*/ 0 w 108"/>
                  <a:gd name="T5" fmla="*/ 30 h 30"/>
                  <a:gd name="T6" fmla="*/ 0 w 108"/>
                  <a:gd name="T7" fmla="*/ 0 h 30"/>
                </a:gdLst>
                <a:ahLst/>
                <a:cxnLst>
                  <a:cxn ang="0">
                    <a:pos x="T0" y="T1"/>
                  </a:cxn>
                  <a:cxn ang="0">
                    <a:pos x="T2" y="T3"/>
                  </a:cxn>
                  <a:cxn ang="0">
                    <a:pos x="T4" y="T5"/>
                  </a:cxn>
                  <a:cxn ang="0">
                    <a:pos x="T6" y="T7"/>
                  </a:cxn>
                </a:cxnLst>
                <a:rect l="0" t="0" r="r" b="b"/>
                <a:pathLst>
                  <a:path w="108" h="30">
                    <a:moveTo>
                      <a:pt x="108" y="0"/>
                    </a:moveTo>
                    <a:lnTo>
                      <a:pt x="108" y="30"/>
                    </a:lnTo>
                    <a:lnTo>
                      <a:pt x="0" y="30"/>
                    </a:lnTo>
                    <a:lnTo>
                      <a:pt x="0" y="0"/>
                    </a:lnTo>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25" name="Line 516">
                <a:extLst>
                  <a:ext uri="{FF2B5EF4-FFF2-40B4-BE49-F238E27FC236}">
                    <a16:creationId xmlns:a16="http://schemas.microsoft.com/office/drawing/2014/main" id="{1D43DC24-1319-46D2-8501-ABAD09940777}"/>
                  </a:ext>
                </a:extLst>
              </p:cNvPr>
              <p:cNvSpPr>
                <a:spLocks noChangeShapeType="1"/>
              </p:cNvSpPr>
              <p:nvPr/>
            </p:nvSpPr>
            <p:spPr bwMode="gray">
              <a:xfrm flipV="1">
                <a:off x="6357938" y="2682875"/>
                <a:ext cx="0" cy="103188"/>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26" name="Line 517">
                <a:extLst>
                  <a:ext uri="{FF2B5EF4-FFF2-40B4-BE49-F238E27FC236}">
                    <a16:creationId xmlns:a16="http://schemas.microsoft.com/office/drawing/2014/main" id="{D491B708-C17A-4EA5-B2EA-C4EABAB5E694}"/>
                  </a:ext>
                </a:extLst>
              </p:cNvPr>
              <p:cNvSpPr>
                <a:spLocks noChangeShapeType="1"/>
              </p:cNvSpPr>
              <p:nvPr/>
            </p:nvSpPr>
            <p:spPr bwMode="gray">
              <a:xfrm flipV="1">
                <a:off x="6424613" y="2682875"/>
                <a:ext cx="0" cy="103188"/>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27" name="Line 518">
                <a:extLst>
                  <a:ext uri="{FF2B5EF4-FFF2-40B4-BE49-F238E27FC236}">
                    <a16:creationId xmlns:a16="http://schemas.microsoft.com/office/drawing/2014/main" id="{54683A53-01A3-4B07-B07A-88F90DF9856D}"/>
                  </a:ext>
                </a:extLst>
              </p:cNvPr>
              <p:cNvSpPr>
                <a:spLocks noChangeShapeType="1"/>
              </p:cNvSpPr>
              <p:nvPr/>
            </p:nvSpPr>
            <p:spPr bwMode="gray">
              <a:xfrm flipV="1">
                <a:off x="6491288" y="2682875"/>
                <a:ext cx="0" cy="103188"/>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28" name="Line 519">
                <a:extLst>
                  <a:ext uri="{FF2B5EF4-FFF2-40B4-BE49-F238E27FC236}">
                    <a16:creationId xmlns:a16="http://schemas.microsoft.com/office/drawing/2014/main" id="{D88360E6-8D53-4BBE-AC55-1280BEFF70AA}"/>
                  </a:ext>
                </a:extLst>
              </p:cNvPr>
              <p:cNvSpPr>
                <a:spLocks noChangeShapeType="1"/>
              </p:cNvSpPr>
              <p:nvPr/>
            </p:nvSpPr>
            <p:spPr bwMode="gray">
              <a:xfrm flipV="1">
                <a:off x="6357938" y="2606675"/>
                <a:ext cx="0"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29" name="Line 520">
                <a:extLst>
                  <a:ext uri="{FF2B5EF4-FFF2-40B4-BE49-F238E27FC236}">
                    <a16:creationId xmlns:a16="http://schemas.microsoft.com/office/drawing/2014/main" id="{ACD7205F-ABB3-47EC-B52E-3045EC78CFF3}"/>
                  </a:ext>
                </a:extLst>
              </p:cNvPr>
              <p:cNvSpPr>
                <a:spLocks noChangeShapeType="1"/>
              </p:cNvSpPr>
              <p:nvPr/>
            </p:nvSpPr>
            <p:spPr bwMode="gray">
              <a:xfrm flipV="1">
                <a:off x="6424613" y="2606675"/>
                <a:ext cx="0"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30" name="Line 521">
                <a:extLst>
                  <a:ext uri="{FF2B5EF4-FFF2-40B4-BE49-F238E27FC236}">
                    <a16:creationId xmlns:a16="http://schemas.microsoft.com/office/drawing/2014/main" id="{354E382A-48F4-433E-BB1D-9D2EC570812B}"/>
                  </a:ext>
                </a:extLst>
              </p:cNvPr>
              <p:cNvSpPr>
                <a:spLocks noChangeShapeType="1"/>
              </p:cNvSpPr>
              <p:nvPr/>
            </p:nvSpPr>
            <p:spPr bwMode="gray">
              <a:xfrm flipV="1">
                <a:off x="6491288" y="2606675"/>
                <a:ext cx="0"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31" name="Line 522">
                <a:extLst>
                  <a:ext uri="{FF2B5EF4-FFF2-40B4-BE49-F238E27FC236}">
                    <a16:creationId xmlns:a16="http://schemas.microsoft.com/office/drawing/2014/main" id="{57A1E8E2-2FFE-475F-8546-693BCC8B787C}"/>
                  </a:ext>
                </a:extLst>
              </p:cNvPr>
              <p:cNvSpPr>
                <a:spLocks noChangeShapeType="1"/>
              </p:cNvSpPr>
              <p:nvPr/>
            </p:nvSpPr>
            <p:spPr bwMode="gray">
              <a:xfrm flipV="1">
                <a:off x="6224588" y="2616200"/>
                <a:ext cx="47625"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32" name="Line 523">
                <a:extLst>
                  <a:ext uri="{FF2B5EF4-FFF2-40B4-BE49-F238E27FC236}">
                    <a16:creationId xmlns:a16="http://schemas.microsoft.com/office/drawing/2014/main" id="{2B655EFE-643B-464C-BA2F-5BB6F2DC1470}"/>
                  </a:ext>
                </a:extLst>
              </p:cNvPr>
              <p:cNvSpPr>
                <a:spLocks noChangeShapeType="1"/>
              </p:cNvSpPr>
              <p:nvPr/>
            </p:nvSpPr>
            <p:spPr bwMode="gray">
              <a:xfrm flipV="1">
                <a:off x="6224588" y="2749550"/>
                <a:ext cx="47625" cy="36513"/>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33" name="Line 524">
                <a:extLst>
                  <a:ext uri="{FF2B5EF4-FFF2-40B4-BE49-F238E27FC236}">
                    <a16:creationId xmlns:a16="http://schemas.microsoft.com/office/drawing/2014/main" id="{AA430D09-FB1F-411D-8A47-05F36229D754}"/>
                  </a:ext>
                </a:extLst>
              </p:cNvPr>
              <p:cNvSpPr>
                <a:spLocks noChangeShapeType="1"/>
              </p:cNvSpPr>
              <p:nvPr/>
            </p:nvSpPr>
            <p:spPr bwMode="gray">
              <a:xfrm flipV="1">
                <a:off x="6224588" y="2881313"/>
                <a:ext cx="47625"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34" name="Line 525">
                <a:extLst>
                  <a:ext uri="{FF2B5EF4-FFF2-40B4-BE49-F238E27FC236}">
                    <a16:creationId xmlns:a16="http://schemas.microsoft.com/office/drawing/2014/main" id="{E26613A4-2D41-4AF3-87C6-B5FB96D1CC09}"/>
                  </a:ext>
                </a:extLst>
              </p:cNvPr>
              <p:cNvSpPr>
                <a:spLocks noChangeShapeType="1"/>
              </p:cNvSpPr>
              <p:nvPr/>
            </p:nvSpPr>
            <p:spPr bwMode="gray">
              <a:xfrm flipV="1">
                <a:off x="6577013" y="2616200"/>
                <a:ext cx="47625"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35" name="Line 526">
                <a:extLst>
                  <a:ext uri="{FF2B5EF4-FFF2-40B4-BE49-F238E27FC236}">
                    <a16:creationId xmlns:a16="http://schemas.microsoft.com/office/drawing/2014/main" id="{7295509D-30AB-44C0-9A9C-DD51CB4F2274}"/>
                  </a:ext>
                </a:extLst>
              </p:cNvPr>
              <p:cNvSpPr>
                <a:spLocks noChangeShapeType="1"/>
              </p:cNvSpPr>
              <p:nvPr/>
            </p:nvSpPr>
            <p:spPr bwMode="gray">
              <a:xfrm flipV="1">
                <a:off x="6577013" y="2749550"/>
                <a:ext cx="47625" cy="36513"/>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36" name="Line 527">
                <a:extLst>
                  <a:ext uri="{FF2B5EF4-FFF2-40B4-BE49-F238E27FC236}">
                    <a16:creationId xmlns:a16="http://schemas.microsoft.com/office/drawing/2014/main" id="{6B80DC7B-93C5-4AB6-9B48-B0105BE6A325}"/>
                  </a:ext>
                </a:extLst>
              </p:cNvPr>
              <p:cNvSpPr>
                <a:spLocks noChangeShapeType="1"/>
              </p:cNvSpPr>
              <p:nvPr/>
            </p:nvSpPr>
            <p:spPr bwMode="gray">
              <a:xfrm flipV="1">
                <a:off x="6577013" y="2881313"/>
                <a:ext cx="47625" cy="38100"/>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grpSp>
        <p:grpSp>
          <p:nvGrpSpPr>
            <p:cNvPr id="1537" name="Group 1536">
              <a:extLst>
                <a:ext uri="{FF2B5EF4-FFF2-40B4-BE49-F238E27FC236}">
                  <a16:creationId xmlns:a16="http://schemas.microsoft.com/office/drawing/2014/main" id="{893D966A-F45D-467A-85A6-281508CE5DFD}"/>
                </a:ext>
              </a:extLst>
            </p:cNvPr>
            <p:cNvGrpSpPr/>
            <p:nvPr/>
          </p:nvGrpSpPr>
          <p:grpSpPr bwMode="gray">
            <a:xfrm>
              <a:off x="9079081" y="3755626"/>
              <a:ext cx="261454" cy="347222"/>
              <a:chOff x="5618163" y="2616200"/>
              <a:chExt cx="300038" cy="398463"/>
            </a:xfrm>
            <a:noFill/>
          </p:grpSpPr>
          <p:sp>
            <p:nvSpPr>
              <p:cNvPr id="1538" name="Line 431">
                <a:extLst>
                  <a:ext uri="{FF2B5EF4-FFF2-40B4-BE49-F238E27FC236}">
                    <a16:creationId xmlns:a16="http://schemas.microsoft.com/office/drawing/2014/main" id="{B9AE4768-FF23-4DC8-821D-0ED7A4BF3245}"/>
                  </a:ext>
                </a:extLst>
              </p:cNvPr>
              <p:cNvSpPr>
                <a:spLocks noChangeShapeType="1"/>
              </p:cNvSpPr>
              <p:nvPr/>
            </p:nvSpPr>
            <p:spPr bwMode="gray">
              <a:xfrm>
                <a:off x="5664201" y="2692400"/>
                <a:ext cx="0" cy="47625"/>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39" name="Line 432">
                <a:extLst>
                  <a:ext uri="{FF2B5EF4-FFF2-40B4-BE49-F238E27FC236}">
                    <a16:creationId xmlns:a16="http://schemas.microsoft.com/office/drawing/2014/main" id="{DCC86FAE-A8A3-4F23-B4FE-B08BEFD3ACF2}"/>
                  </a:ext>
                </a:extLst>
              </p:cNvPr>
              <p:cNvSpPr>
                <a:spLocks noChangeShapeType="1"/>
              </p:cNvSpPr>
              <p:nvPr/>
            </p:nvSpPr>
            <p:spPr bwMode="gray">
              <a:xfrm>
                <a:off x="5664201" y="2824163"/>
                <a:ext cx="0" cy="47625"/>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40" name="Freeform 433">
                <a:extLst>
                  <a:ext uri="{FF2B5EF4-FFF2-40B4-BE49-F238E27FC236}">
                    <a16:creationId xmlns:a16="http://schemas.microsoft.com/office/drawing/2014/main" id="{FB6F654C-E104-4938-BF25-B0757DE7C8D9}"/>
                  </a:ext>
                </a:extLst>
              </p:cNvPr>
              <p:cNvSpPr>
                <a:spLocks/>
              </p:cNvSpPr>
              <p:nvPr/>
            </p:nvSpPr>
            <p:spPr bwMode="gray">
              <a:xfrm>
                <a:off x="5618163" y="2616200"/>
                <a:ext cx="300038" cy="76200"/>
              </a:xfrm>
              <a:custGeom>
                <a:avLst/>
                <a:gdLst>
                  <a:gd name="T0" fmla="*/ 189 w 189"/>
                  <a:gd name="T1" fmla="*/ 48 h 48"/>
                  <a:gd name="T2" fmla="*/ 102 w 189"/>
                  <a:gd name="T3" fmla="*/ 0 h 48"/>
                  <a:gd name="T4" fmla="*/ 89 w 189"/>
                  <a:gd name="T5" fmla="*/ 0 h 48"/>
                  <a:gd name="T6" fmla="*/ 0 w 189"/>
                  <a:gd name="T7" fmla="*/ 48 h 48"/>
                  <a:gd name="T8" fmla="*/ 189 w 189"/>
                  <a:gd name="T9" fmla="*/ 48 h 48"/>
                </a:gdLst>
                <a:ahLst/>
                <a:cxnLst>
                  <a:cxn ang="0">
                    <a:pos x="T0" y="T1"/>
                  </a:cxn>
                  <a:cxn ang="0">
                    <a:pos x="T2" y="T3"/>
                  </a:cxn>
                  <a:cxn ang="0">
                    <a:pos x="T4" y="T5"/>
                  </a:cxn>
                  <a:cxn ang="0">
                    <a:pos x="T6" y="T7"/>
                  </a:cxn>
                  <a:cxn ang="0">
                    <a:pos x="T8" y="T9"/>
                  </a:cxn>
                </a:cxnLst>
                <a:rect l="0" t="0" r="r" b="b"/>
                <a:pathLst>
                  <a:path w="189" h="48">
                    <a:moveTo>
                      <a:pt x="189" y="48"/>
                    </a:moveTo>
                    <a:lnTo>
                      <a:pt x="102" y="0"/>
                    </a:lnTo>
                    <a:lnTo>
                      <a:pt x="89" y="0"/>
                    </a:lnTo>
                    <a:lnTo>
                      <a:pt x="0" y="48"/>
                    </a:lnTo>
                    <a:lnTo>
                      <a:pt x="189" y="48"/>
                    </a:lnTo>
                    <a:close/>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41" name="Freeform 434">
                <a:extLst>
                  <a:ext uri="{FF2B5EF4-FFF2-40B4-BE49-F238E27FC236}">
                    <a16:creationId xmlns:a16="http://schemas.microsoft.com/office/drawing/2014/main" id="{7C12FC47-F65D-4E89-B7A5-4C829D9D637C}"/>
                  </a:ext>
                </a:extLst>
              </p:cNvPr>
              <p:cNvSpPr>
                <a:spLocks/>
              </p:cNvSpPr>
              <p:nvPr/>
            </p:nvSpPr>
            <p:spPr bwMode="gray">
              <a:xfrm>
                <a:off x="5618163" y="2749550"/>
                <a:ext cx="300038" cy="74613"/>
              </a:xfrm>
              <a:custGeom>
                <a:avLst/>
                <a:gdLst>
                  <a:gd name="T0" fmla="*/ 189 w 189"/>
                  <a:gd name="T1" fmla="*/ 47 h 47"/>
                  <a:gd name="T2" fmla="*/ 102 w 189"/>
                  <a:gd name="T3" fmla="*/ 0 h 47"/>
                  <a:gd name="T4" fmla="*/ 89 w 189"/>
                  <a:gd name="T5" fmla="*/ 0 h 47"/>
                  <a:gd name="T6" fmla="*/ 0 w 189"/>
                  <a:gd name="T7" fmla="*/ 47 h 47"/>
                  <a:gd name="T8" fmla="*/ 189 w 189"/>
                  <a:gd name="T9" fmla="*/ 47 h 47"/>
                </a:gdLst>
                <a:ahLst/>
                <a:cxnLst>
                  <a:cxn ang="0">
                    <a:pos x="T0" y="T1"/>
                  </a:cxn>
                  <a:cxn ang="0">
                    <a:pos x="T2" y="T3"/>
                  </a:cxn>
                  <a:cxn ang="0">
                    <a:pos x="T4" y="T5"/>
                  </a:cxn>
                  <a:cxn ang="0">
                    <a:pos x="T6" y="T7"/>
                  </a:cxn>
                  <a:cxn ang="0">
                    <a:pos x="T8" y="T9"/>
                  </a:cxn>
                </a:cxnLst>
                <a:rect l="0" t="0" r="r" b="b"/>
                <a:pathLst>
                  <a:path w="189" h="47">
                    <a:moveTo>
                      <a:pt x="189" y="47"/>
                    </a:moveTo>
                    <a:lnTo>
                      <a:pt x="102" y="0"/>
                    </a:lnTo>
                    <a:lnTo>
                      <a:pt x="89" y="0"/>
                    </a:lnTo>
                    <a:lnTo>
                      <a:pt x="0" y="47"/>
                    </a:lnTo>
                    <a:lnTo>
                      <a:pt x="189" y="47"/>
                    </a:lnTo>
                    <a:close/>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42" name="Line 435">
                <a:extLst>
                  <a:ext uri="{FF2B5EF4-FFF2-40B4-BE49-F238E27FC236}">
                    <a16:creationId xmlns:a16="http://schemas.microsoft.com/office/drawing/2014/main" id="{9D2D5AAA-99E0-49C3-97A9-FA433FB7DF56}"/>
                  </a:ext>
                </a:extLst>
              </p:cNvPr>
              <p:cNvSpPr>
                <a:spLocks noChangeShapeType="1"/>
              </p:cNvSpPr>
              <p:nvPr/>
            </p:nvSpPr>
            <p:spPr bwMode="gray">
              <a:xfrm>
                <a:off x="5873751" y="2692400"/>
                <a:ext cx="0" cy="47625"/>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43" name="Line 436">
                <a:extLst>
                  <a:ext uri="{FF2B5EF4-FFF2-40B4-BE49-F238E27FC236}">
                    <a16:creationId xmlns:a16="http://schemas.microsoft.com/office/drawing/2014/main" id="{09761F3F-215C-4264-B0E7-05F31C9B9377}"/>
                  </a:ext>
                </a:extLst>
              </p:cNvPr>
              <p:cNvSpPr>
                <a:spLocks noChangeShapeType="1"/>
              </p:cNvSpPr>
              <p:nvPr/>
            </p:nvSpPr>
            <p:spPr bwMode="gray">
              <a:xfrm>
                <a:off x="5873751" y="2824163"/>
                <a:ext cx="0" cy="47625"/>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44" name="Freeform 437">
                <a:extLst>
                  <a:ext uri="{FF2B5EF4-FFF2-40B4-BE49-F238E27FC236}">
                    <a16:creationId xmlns:a16="http://schemas.microsoft.com/office/drawing/2014/main" id="{AFA5AE91-2184-4C77-B7E4-E4AFDE6F97EE}"/>
                  </a:ext>
                </a:extLst>
              </p:cNvPr>
              <p:cNvSpPr>
                <a:spLocks/>
              </p:cNvSpPr>
              <p:nvPr/>
            </p:nvSpPr>
            <p:spPr bwMode="gray">
              <a:xfrm>
                <a:off x="5632451" y="2635250"/>
                <a:ext cx="212725" cy="379413"/>
              </a:xfrm>
              <a:custGeom>
                <a:avLst/>
                <a:gdLst>
                  <a:gd name="T0" fmla="*/ 56 w 134"/>
                  <a:gd name="T1" fmla="*/ 0 h 239"/>
                  <a:gd name="T2" fmla="*/ 56 w 134"/>
                  <a:gd name="T3" fmla="*/ 121 h 239"/>
                  <a:gd name="T4" fmla="*/ 0 w 134"/>
                  <a:gd name="T5" fmla="*/ 239 h 239"/>
                  <a:gd name="T6" fmla="*/ 15 w 134"/>
                  <a:gd name="T7" fmla="*/ 239 h 239"/>
                  <a:gd name="T8" fmla="*/ 134 w 134"/>
                  <a:gd name="T9" fmla="*/ 155 h 239"/>
                </a:gdLst>
                <a:ahLst/>
                <a:cxnLst>
                  <a:cxn ang="0">
                    <a:pos x="T0" y="T1"/>
                  </a:cxn>
                  <a:cxn ang="0">
                    <a:pos x="T2" y="T3"/>
                  </a:cxn>
                  <a:cxn ang="0">
                    <a:pos x="T4" y="T5"/>
                  </a:cxn>
                  <a:cxn ang="0">
                    <a:pos x="T6" y="T7"/>
                  </a:cxn>
                  <a:cxn ang="0">
                    <a:pos x="T8" y="T9"/>
                  </a:cxn>
                </a:cxnLst>
                <a:rect l="0" t="0" r="r" b="b"/>
                <a:pathLst>
                  <a:path w="134" h="239">
                    <a:moveTo>
                      <a:pt x="56" y="0"/>
                    </a:moveTo>
                    <a:lnTo>
                      <a:pt x="56" y="121"/>
                    </a:lnTo>
                    <a:lnTo>
                      <a:pt x="0" y="239"/>
                    </a:lnTo>
                    <a:lnTo>
                      <a:pt x="15" y="239"/>
                    </a:lnTo>
                    <a:lnTo>
                      <a:pt x="134" y="155"/>
                    </a:lnTo>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sp>
            <p:nvSpPr>
              <p:cNvPr id="1545" name="Freeform 438">
                <a:extLst>
                  <a:ext uri="{FF2B5EF4-FFF2-40B4-BE49-F238E27FC236}">
                    <a16:creationId xmlns:a16="http://schemas.microsoft.com/office/drawing/2014/main" id="{8B9AA3E3-C69A-430A-BF2C-4D97E6387CDD}"/>
                  </a:ext>
                </a:extLst>
              </p:cNvPr>
              <p:cNvSpPr>
                <a:spLocks/>
              </p:cNvSpPr>
              <p:nvPr/>
            </p:nvSpPr>
            <p:spPr bwMode="gray">
              <a:xfrm>
                <a:off x="5692776" y="2635250"/>
                <a:ext cx="209550" cy="379413"/>
              </a:xfrm>
              <a:custGeom>
                <a:avLst/>
                <a:gdLst>
                  <a:gd name="T0" fmla="*/ 78 w 132"/>
                  <a:gd name="T1" fmla="*/ 0 h 239"/>
                  <a:gd name="T2" fmla="*/ 78 w 132"/>
                  <a:gd name="T3" fmla="*/ 121 h 239"/>
                  <a:gd name="T4" fmla="*/ 132 w 132"/>
                  <a:gd name="T5" fmla="*/ 239 h 239"/>
                  <a:gd name="T6" fmla="*/ 118 w 132"/>
                  <a:gd name="T7" fmla="*/ 239 h 239"/>
                  <a:gd name="T8" fmla="*/ 0 w 132"/>
                  <a:gd name="T9" fmla="*/ 155 h 239"/>
                </a:gdLst>
                <a:ahLst/>
                <a:cxnLst>
                  <a:cxn ang="0">
                    <a:pos x="T0" y="T1"/>
                  </a:cxn>
                  <a:cxn ang="0">
                    <a:pos x="T2" y="T3"/>
                  </a:cxn>
                  <a:cxn ang="0">
                    <a:pos x="T4" y="T5"/>
                  </a:cxn>
                  <a:cxn ang="0">
                    <a:pos x="T6" y="T7"/>
                  </a:cxn>
                  <a:cxn ang="0">
                    <a:pos x="T8" y="T9"/>
                  </a:cxn>
                </a:cxnLst>
                <a:rect l="0" t="0" r="r" b="b"/>
                <a:pathLst>
                  <a:path w="132" h="239">
                    <a:moveTo>
                      <a:pt x="78" y="0"/>
                    </a:moveTo>
                    <a:lnTo>
                      <a:pt x="78" y="121"/>
                    </a:lnTo>
                    <a:lnTo>
                      <a:pt x="132" y="239"/>
                    </a:lnTo>
                    <a:lnTo>
                      <a:pt x="118" y="239"/>
                    </a:lnTo>
                    <a:lnTo>
                      <a:pt x="0" y="155"/>
                    </a:lnTo>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endParaRPr lang="de-DE" sz="1000"/>
              </a:p>
            </p:txBody>
          </p:sp>
        </p:grpSp>
        <p:grpSp>
          <p:nvGrpSpPr>
            <p:cNvPr id="1546" name="Group 1545">
              <a:extLst>
                <a:ext uri="{FF2B5EF4-FFF2-40B4-BE49-F238E27FC236}">
                  <a16:creationId xmlns:a16="http://schemas.microsoft.com/office/drawing/2014/main" id="{8937974E-04EE-425A-84E3-155C8028898A}"/>
                </a:ext>
              </a:extLst>
            </p:cNvPr>
            <p:cNvGrpSpPr/>
            <p:nvPr/>
          </p:nvGrpSpPr>
          <p:grpSpPr bwMode="gray">
            <a:xfrm>
              <a:off x="7484006" y="4050372"/>
              <a:ext cx="415891" cy="277112"/>
              <a:chOff x="8955506" y="7106026"/>
              <a:chExt cx="768020" cy="511739"/>
            </a:xfrm>
          </p:grpSpPr>
          <p:sp>
            <p:nvSpPr>
              <p:cNvPr id="1547" name="Rectangle 1546">
                <a:extLst>
                  <a:ext uri="{FF2B5EF4-FFF2-40B4-BE49-F238E27FC236}">
                    <a16:creationId xmlns:a16="http://schemas.microsoft.com/office/drawing/2014/main" id="{B52D0EE4-F36C-4B29-BEAA-F978BD9CB4E4}"/>
                  </a:ext>
                </a:extLst>
              </p:cNvPr>
              <p:cNvSpPr/>
              <p:nvPr/>
            </p:nvSpPr>
            <p:spPr bwMode="gray">
              <a:xfrm>
                <a:off x="9664474" y="7310155"/>
                <a:ext cx="59052" cy="68400"/>
              </a:xfrm>
              <a:prstGeom prst="rect">
                <a:avLst/>
              </a:prstGeom>
              <a:no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548" name="Rectangle 1547">
                <a:extLst>
                  <a:ext uri="{FF2B5EF4-FFF2-40B4-BE49-F238E27FC236}">
                    <a16:creationId xmlns:a16="http://schemas.microsoft.com/office/drawing/2014/main" id="{1BEE70C2-704A-4D88-8DE0-97E60307EA0F}"/>
                  </a:ext>
                </a:extLst>
              </p:cNvPr>
              <p:cNvSpPr/>
              <p:nvPr/>
            </p:nvSpPr>
            <p:spPr bwMode="gray">
              <a:xfrm>
                <a:off x="9017297" y="7582683"/>
                <a:ext cx="75296" cy="35082"/>
              </a:xfrm>
              <a:prstGeom prst="rect">
                <a:avLst/>
              </a:prstGeom>
              <a:no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549" name="Rectangle 1548">
                <a:extLst>
                  <a:ext uri="{FF2B5EF4-FFF2-40B4-BE49-F238E27FC236}">
                    <a16:creationId xmlns:a16="http://schemas.microsoft.com/office/drawing/2014/main" id="{5BC7B2F9-89EC-4718-9DD1-092913D1E579}"/>
                  </a:ext>
                </a:extLst>
              </p:cNvPr>
              <p:cNvSpPr/>
              <p:nvPr/>
            </p:nvSpPr>
            <p:spPr bwMode="gray">
              <a:xfrm>
                <a:off x="9001157" y="7106026"/>
                <a:ext cx="660617" cy="476658"/>
              </a:xfrm>
              <a:prstGeom prst="rect">
                <a:avLst/>
              </a:prstGeom>
              <a:no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grpSp>
            <p:nvGrpSpPr>
              <p:cNvPr id="1550" name="Group 1549">
                <a:extLst>
                  <a:ext uri="{FF2B5EF4-FFF2-40B4-BE49-F238E27FC236}">
                    <a16:creationId xmlns:a16="http://schemas.microsoft.com/office/drawing/2014/main" id="{D7A61DD0-6242-4A49-8DDC-7C383E1CD5DF}"/>
                  </a:ext>
                </a:extLst>
              </p:cNvPr>
              <p:cNvGrpSpPr/>
              <p:nvPr/>
            </p:nvGrpSpPr>
            <p:grpSpPr bwMode="gray">
              <a:xfrm>
                <a:off x="9046993" y="7199106"/>
                <a:ext cx="568946" cy="0"/>
                <a:chOff x="6675906" y="3450265"/>
                <a:chExt cx="834871" cy="0"/>
              </a:xfrm>
              <a:noFill/>
            </p:grpSpPr>
            <p:cxnSp>
              <p:nvCxnSpPr>
                <p:cNvPr id="1585" name="Straight Connector 1584">
                  <a:extLst>
                    <a:ext uri="{FF2B5EF4-FFF2-40B4-BE49-F238E27FC236}">
                      <a16:creationId xmlns:a16="http://schemas.microsoft.com/office/drawing/2014/main" id="{B9BED7EB-E907-4DD6-AD70-2238627693E9}"/>
                    </a:ext>
                  </a:extLst>
                </p:cNvPr>
                <p:cNvCxnSpPr>
                  <a:cxnSpLocks/>
                </p:cNvCxnSpPr>
                <p:nvPr/>
              </p:nvCxnSpPr>
              <p:spPr bwMode="gray">
                <a:xfrm>
                  <a:off x="6675906"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86" name="Straight Connector 1585">
                  <a:extLst>
                    <a:ext uri="{FF2B5EF4-FFF2-40B4-BE49-F238E27FC236}">
                      <a16:creationId xmlns:a16="http://schemas.microsoft.com/office/drawing/2014/main" id="{5C8BE069-7A35-4A90-AEAA-984DCCBBFBAC}"/>
                    </a:ext>
                  </a:extLst>
                </p:cNvPr>
                <p:cNvCxnSpPr>
                  <a:cxnSpLocks/>
                </p:cNvCxnSpPr>
                <p:nvPr/>
              </p:nvCxnSpPr>
              <p:spPr bwMode="gray">
                <a:xfrm>
                  <a:off x="6800165"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87" name="Straight Connector 1586">
                  <a:extLst>
                    <a:ext uri="{FF2B5EF4-FFF2-40B4-BE49-F238E27FC236}">
                      <a16:creationId xmlns:a16="http://schemas.microsoft.com/office/drawing/2014/main" id="{557E2018-A669-4166-A123-110E6F9C9E3C}"/>
                    </a:ext>
                  </a:extLst>
                </p:cNvPr>
                <p:cNvCxnSpPr>
                  <a:cxnSpLocks/>
                </p:cNvCxnSpPr>
                <p:nvPr/>
              </p:nvCxnSpPr>
              <p:spPr bwMode="gray">
                <a:xfrm>
                  <a:off x="6924424"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88" name="Straight Connector 1587">
                  <a:extLst>
                    <a:ext uri="{FF2B5EF4-FFF2-40B4-BE49-F238E27FC236}">
                      <a16:creationId xmlns:a16="http://schemas.microsoft.com/office/drawing/2014/main" id="{52685BB1-9167-4ADB-B600-EBB0E7CCDF13}"/>
                    </a:ext>
                  </a:extLst>
                </p:cNvPr>
                <p:cNvCxnSpPr>
                  <a:cxnSpLocks/>
                </p:cNvCxnSpPr>
                <p:nvPr/>
              </p:nvCxnSpPr>
              <p:spPr bwMode="gray">
                <a:xfrm>
                  <a:off x="7048683"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89" name="Straight Connector 1588">
                  <a:extLst>
                    <a:ext uri="{FF2B5EF4-FFF2-40B4-BE49-F238E27FC236}">
                      <a16:creationId xmlns:a16="http://schemas.microsoft.com/office/drawing/2014/main" id="{CEAA35E4-1E5E-42E4-BA19-1968CF25F110}"/>
                    </a:ext>
                  </a:extLst>
                </p:cNvPr>
                <p:cNvCxnSpPr>
                  <a:cxnSpLocks/>
                </p:cNvCxnSpPr>
                <p:nvPr/>
              </p:nvCxnSpPr>
              <p:spPr bwMode="gray">
                <a:xfrm>
                  <a:off x="7172942"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90" name="Straight Connector 1589">
                  <a:extLst>
                    <a:ext uri="{FF2B5EF4-FFF2-40B4-BE49-F238E27FC236}">
                      <a16:creationId xmlns:a16="http://schemas.microsoft.com/office/drawing/2014/main" id="{01F402CF-4619-4582-B971-59F4F0A13C79}"/>
                    </a:ext>
                  </a:extLst>
                </p:cNvPr>
                <p:cNvCxnSpPr>
                  <a:cxnSpLocks/>
                </p:cNvCxnSpPr>
                <p:nvPr/>
              </p:nvCxnSpPr>
              <p:spPr bwMode="gray">
                <a:xfrm>
                  <a:off x="7297201"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91" name="Straight Connector 1590">
                  <a:extLst>
                    <a:ext uri="{FF2B5EF4-FFF2-40B4-BE49-F238E27FC236}">
                      <a16:creationId xmlns:a16="http://schemas.microsoft.com/office/drawing/2014/main" id="{2D7C912F-043E-4F19-B947-79EE09DE35EF}"/>
                    </a:ext>
                  </a:extLst>
                </p:cNvPr>
                <p:cNvCxnSpPr>
                  <a:cxnSpLocks/>
                </p:cNvCxnSpPr>
                <p:nvPr/>
              </p:nvCxnSpPr>
              <p:spPr bwMode="gray">
                <a:xfrm>
                  <a:off x="7421458"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551" name="Group 1550">
                <a:extLst>
                  <a:ext uri="{FF2B5EF4-FFF2-40B4-BE49-F238E27FC236}">
                    <a16:creationId xmlns:a16="http://schemas.microsoft.com/office/drawing/2014/main" id="{2852DE5C-E928-44EB-A84B-B14062A6AFC1}"/>
                  </a:ext>
                </a:extLst>
              </p:cNvPr>
              <p:cNvGrpSpPr/>
              <p:nvPr/>
            </p:nvGrpSpPr>
            <p:grpSpPr bwMode="gray">
              <a:xfrm>
                <a:off x="9046993" y="7274735"/>
                <a:ext cx="568946" cy="0"/>
                <a:chOff x="6675906" y="3450265"/>
                <a:chExt cx="834871" cy="0"/>
              </a:xfrm>
              <a:noFill/>
            </p:grpSpPr>
            <p:cxnSp>
              <p:nvCxnSpPr>
                <p:cNvPr id="1578" name="Straight Connector 1577">
                  <a:extLst>
                    <a:ext uri="{FF2B5EF4-FFF2-40B4-BE49-F238E27FC236}">
                      <a16:creationId xmlns:a16="http://schemas.microsoft.com/office/drawing/2014/main" id="{55EF679A-4C69-4502-BB13-B40C1FCC9306}"/>
                    </a:ext>
                  </a:extLst>
                </p:cNvPr>
                <p:cNvCxnSpPr>
                  <a:cxnSpLocks/>
                </p:cNvCxnSpPr>
                <p:nvPr/>
              </p:nvCxnSpPr>
              <p:spPr bwMode="gray">
                <a:xfrm>
                  <a:off x="6675906"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79" name="Straight Connector 1578">
                  <a:extLst>
                    <a:ext uri="{FF2B5EF4-FFF2-40B4-BE49-F238E27FC236}">
                      <a16:creationId xmlns:a16="http://schemas.microsoft.com/office/drawing/2014/main" id="{E06FDF6B-2A9B-4ED0-8F8B-A82ECA15237F}"/>
                    </a:ext>
                  </a:extLst>
                </p:cNvPr>
                <p:cNvCxnSpPr>
                  <a:cxnSpLocks/>
                </p:cNvCxnSpPr>
                <p:nvPr/>
              </p:nvCxnSpPr>
              <p:spPr bwMode="gray">
                <a:xfrm>
                  <a:off x="6800165"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80" name="Straight Connector 1579">
                  <a:extLst>
                    <a:ext uri="{FF2B5EF4-FFF2-40B4-BE49-F238E27FC236}">
                      <a16:creationId xmlns:a16="http://schemas.microsoft.com/office/drawing/2014/main" id="{2F50C9C5-C754-4BB3-8EAF-6E18C242658E}"/>
                    </a:ext>
                  </a:extLst>
                </p:cNvPr>
                <p:cNvCxnSpPr>
                  <a:cxnSpLocks/>
                </p:cNvCxnSpPr>
                <p:nvPr/>
              </p:nvCxnSpPr>
              <p:spPr bwMode="gray">
                <a:xfrm>
                  <a:off x="6924424"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81" name="Straight Connector 1580">
                  <a:extLst>
                    <a:ext uri="{FF2B5EF4-FFF2-40B4-BE49-F238E27FC236}">
                      <a16:creationId xmlns:a16="http://schemas.microsoft.com/office/drawing/2014/main" id="{856FFEA4-19B9-4358-BF71-28C79068859A}"/>
                    </a:ext>
                  </a:extLst>
                </p:cNvPr>
                <p:cNvCxnSpPr>
                  <a:cxnSpLocks/>
                </p:cNvCxnSpPr>
                <p:nvPr/>
              </p:nvCxnSpPr>
              <p:spPr bwMode="gray">
                <a:xfrm>
                  <a:off x="7048683"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82" name="Straight Connector 1581">
                  <a:extLst>
                    <a:ext uri="{FF2B5EF4-FFF2-40B4-BE49-F238E27FC236}">
                      <a16:creationId xmlns:a16="http://schemas.microsoft.com/office/drawing/2014/main" id="{61DC0451-ABAB-4230-B237-E88BC403C094}"/>
                    </a:ext>
                  </a:extLst>
                </p:cNvPr>
                <p:cNvCxnSpPr>
                  <a:cxnSpLocks/>
                </p:cNvCxnSpPr>
                <p:nvPr/>
              </p:nvCxnSpPr>
              <p:spPr bwMode="gray">
                <a:xfrm>
                  <a:off x="7172942"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83" name="Straight Connector 1582">
                  <a:extLst>
                    <a:ext uri="{FF2B5EF4-FFF2-40B4-BE49-F238E27FC236}">
                      <a16:creationId xmlns:a16="http://schemas.microsoft.com/office/drawing/2014/main" id="{12C859E7-22B3-403B-B3FA-9F58FA5546C8}"/>
                    </a:ext>
                  </a:extLst>
                </p:cNvPr>
                <p:cNvCxnSpPr>
                  <a:cxnSpLocks/>
                </p:cNvCxnSpPr>
                <p:nvPr/>
              </p:nvCxnSpPr>
              <p:spPr bwMode="gray">
                <a:xfrm>
                  <a:off x="7297201"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84" name="Straight Connector 1583">
                  <a:extLst>
                    <a:ext uri="{FF2B5EF4-FFF2-40B4-BE49-F238E27FC236}">
                      <a16:creationId xmlns:a16="http://schemas.microsoft.com/office/drawing/2014/main" id="{D17F6EA5-BBDD-4B87-BF28-45338E1A23F1}"/>
                    </a:ext>
                  </a:extLst>
                </p:cNvPr>
                <p:cNvCxnSpPr>
                  <a:cxnSpLocks/>
                </p:cNvCxnSpPr>
                <p:nvPr/>
              </p:nvCxnSpPr>
              <p:spPr bwMode="gray">
                <a:xfrm>
                  <a:off x="7421458"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552" name="Group 1551">
                <a:extLst>
                  <a:ext uri="{FF2B5EF4-FFF2-40B4-BE49-F238E27FC236}">
                    <a16:creationId xmlns:a16="http://schemas.microsoft.com/office/drawing/2014/main" id="{87388C07-F791-44BB-B31A-D02059ADD4AC}"/>
                  </a:ext>
                </a:extLst>
              </p:cNvPr>
              <p:cNvGrpSpPr/>
              <p:nvPr/>
            </p:nvGrpSpPr>
            <p:grpSpPr bwMode="gray">
              <a:xfrm>
                <a:off x="9046993" y="7350363"/>
                <a:ext cx="568946" cy="0"/>
                <a:chOff x="6675906" y="3450265"/>
                <a:chExt cx="834871" cy="0"/>
              </a:xfrm>
              <a:noFill/>
            </p:grpSpPr>
            <p:cxnSp>
              <p:nvCxnSpPr>
                <p:cNvPr id="1571" name="Straight Connector 1570">
                  <a:extLst>
                    <a:ext uri="{FF2B5EF4-FFF2-40B4-BE49-F238E27FC236}">
                      <a16:creationId xmlns:a16="http://schemas.microsoft.com/office/drawing/2014/main" id="{DF43DDAA-34A6-4C63-A946-F7D58A06C85D}"/>
                    </a:ext>
                  </a:extLst>
                </p:cNvPr>
                <p:cNvCxnSpPr>
                  <a:cxnSpLocks/>
                </p:cNvCxnSpPr>
                <p:nvPr/>
              </p:nvCxnSpPr>
              <p:spPr bwMode="gray">
                <a:xfrm>
                  <a:off x="6675906"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72" name="Straight Connector 1571">
                  <a:extLst>
                    <a:ext uri="{FF2B5EF4-FFF2-40B4-BE49-F238E27FC236}">
                      <a16:creationId xmlns:a16="http://schemas.microsoft.com/office/drawing/2014/main" id="{98A8452C-69EF-40DD-9A08-61983725CB65}"/>
                    </a:ext>
                  </a:extLst>
                </p:cNvPr>
                <p:cNvCxnSpPr>
                  <a:cxnSpLocks/>
                </p:cNvCxnSpPr>
                <p:nvPr/>
              </p:nvCxnSpPr>
              <p:spPr bwMode="gray">
                <a:xfrm>
                  <a:off x="6800165"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73" name="Straight Connector 1572">
                  <a:extLst>
                    <a:ext uri="{FF2B5EF4-FFF2-40B4-BE49-F238E27FC236}">
                      <a16:creationId xmlns:a16="http://schemas.microsoft.com/office/drawing/2014/main" id="{B14D2834-DA1C-452D-93FC-F72A569853FF}"/>
                    </a:ext>
                  </a:extLst>
                </p:cNvPr>
                <p:cNvCxnSpPr>
                  <a:cxnSpLocks/>
                </p:cNvCxnSpPr>
                <p:nvPr/>
              </p:nvCxnSpPr>
              <p:spPr bwMode="gray">
                <a:xfrm>
                  <a:off x="6924424"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74" name="Straight Connector 1573">
                  <a:extLst>
                    <a:ext uri="{FF2B5EF4-FFF2-40B4-BE49-F238E27FC236}">
                      <a16:creationId xmlns:a16="http://schemas.microsoft.com/office/drawing/2014/main" id="{3F7DE687-88FF-4CBE-A45E-D6EF44545F64}"/>
                    </a:ext>
                  </a:extLst>
                </p:cNvPr>
                <p:cNvCxnSpPr>
                  <a:cxnSpLocks/>
                </p:cNvCxnSpPr>
                <p:nvPr/>
              </p:nvCxnSpPr>
              <p:spPr bwMode="gray">
                <a:xfrm>
                  <a:off x="7048683"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75" name="Straight Connector 1574">
                  <a:extLst>
                    <a:ext uri="{FF2B5EF4-FFF2-40B4-BE49-F238E27FC236}">
                      <a16:creationId xmlns:a16="http://schemas.microsoft.com/office/drawing/2014/main" id="{CC7956BC-1AD0-41A7-9B2C-57DC2E279390}"/>
                    </a:ext>
                  </a:extLst>
                </p:cNvPr>
                <p:cNvCxnSpPr>
                  <a:cxnSpLocks/>
                </p:cNvCxnSpPr>
                <p:nvPr/>
              </p:nvCxnSpPr>
              <p:spPr bwMode="gray">
                <a:xfrm>
                  <a:off x="7172942"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76" name="Straight Connector 1575">
                  <a:extLst>
                    <a:ext uri="{FF2B5EF4-FFF2-40B4-BE49-F238E27FC236}">
                      <a16:creationId xmlns:a16="http://schemas.microsoft.com/office/drawing/2014/main" id="{D932C369-F5B3-4E57-806E-E0DAA975D485}"/>
                    </a:ext>
                  </a:extLst>
                </p:cNvPr>
                <p:cNvCxnSpPr>
                  <a:cxnSpLocks/>
                </p:cNvCxnSpPr>
                <p:nvPr/>
              </p:nvCxnSpPr>
              <p:spPr bwMode="gray">
                <a:xfrm>
                  <a:off x="7297201"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77" name="Straight Connector 1576">
                  <a:extLst>
                    <a:ext uri="{FF2B5EF4-FFF2-40B4-BE49-F238E27FC236}">
                      <a16:creationId xmlns:a16="http://schemas.microsoft.com/office/drawing/2014/main" id="{594A9F86-50AF-4754-891C-4EA88F0BF791}"/>
                    </a:ext>
                  </a:extLst>
                </p:cNvPr>
                <p:cNvCxnSpPr>
                  <a:cxnSpLocks/>
                </p:cNvCxnSpPr>
                <p:nvPr/>
              </p:nvCxnSpPr>
              <p:spPr bwMode="gray">
                <a:xfrm>
                  <a:off x="7421458"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553" name="Group 1552">
                <a:extLst>
                  <a:ext uri="{FF2B5EF4-FFF2-40B4-BE49-F238E27FC236}">
                    <a16:creationId xmlns:a16="http://schemas.microsoft.com/office/drawing/2014/main" id="{27F09406-06CB-4143-B37A-C8AFE22F6517}"/>
                  </a:ext>
                </a:extLst>
              </p:cNvPr>
              <p:cNvGrpSpPr/>
              <p:nvPr/>
            </p:nvGrpSpPr>
            <p:grpSpPr bwMode="gray">
              <a:xfrm>
                <a:off x="9046993" y="7425992"/>
                <a:ext cx="568946" cy="0"/>
                <a:chOff x="6675906" y="3450265"/>
                <a:chExt cx="834871" cy="0"/>
              </a:xfrm>
              <a:noFill/>
            </p:grpSpPr>
            <p:cxnSp>
              <p:nvCxnSpPr>
                <p:cNvPr id="1564" name="Straight Connector 1563">
                  <a:extLst>
                    <a:ext uri="{FF2B5EF4-FFF2-40B4-BE49-F238E27FC236}">
                      <a16:creationId xmlns:a16="http://schemas.microsoft.com/office/drawing/2014/main" id="{00A4F1E1-751D-4E40-A178-6A0EDCB056B4}"/>
                    </a:ext>
                  </a:extLst>
                </p:cNvPr>
                <p:cNvCxnSpPr>
                  <a:cxnSpLocks/>
                </p:cNvCxnSpPr>
                <p:nvPr/>
              </p:nvCxnSpPr>
              <p:spPr bwMode="gray">
                <a:xfrm>
                  <a:off x="6675906"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65" name="Straight Connector 1564">
                  <a:extLst>
                    <a:ext uri="{FF2B5EF4-FFF2-40B4-BE49-F238E27FC236}">
                      <a16:creationId xmlns:a16="http://schemas.microsoft.com/office/drawing/2014/main" id="{52CECF83-79C5-437C-B8EC-F7C54B95FDA2}"/>
                    </a:ext>
                  </a:extLst>
                </p:cNvPr>
                <p:cNvCxnSpPr>
                  <a:cxnSpLocks/>
                </p:cNvCxnSpPr>
                <p:nvPr/>
              </p:nvCxnSpPr>
              <p:spPr bwMode="gray">
                <a:xfrm>
                  <a:off x="6800165"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66" name="Straight Connector 1565">
                  <a:extLst>
                    <a:ext uri="{FF2B5EF4-FFF2-40B4-BE49-F238E27FC236}">
                      <a16:creationId xmlns:a16="http://schemas.microsoft.com/office/drawing/2014/main" id="{7A6D0D3A-77B8-42E6-A92E-528C0B94665A}"/>
                    </a:ext>
                  </a:extLst>
                </p:cNvPr>
                <p:cNvCxnSpPr>
                  <a:cxnSpLocks/>
                </p:cNvCxnSpPr>
                <p:nvPr/>
              </p:nvCxnSpPr>
              <p:spPr bwMode="gray">
                <a:xfrm>
                  <a:off x="6924424"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67" name="Straight Connector 1566">
                  <a:extLst>
                    <a:ext uri="{FF2B5EF4-FFF2-40B4-BE49-F238E27FC236}">
                      <a16:creationId xmlns:a16="http://schemas.microsoft.com/office/drawing/2014/main" id="{F23FFAC9-8FE8-4493-AA35-5DEC38C2D834}"/>
                    </a:ext>
                  </a:extLst>
                </p:cNvPr>
                <p:cNvCxnSpPr>
                  <a:cxnSpLocks/>
                </p:cNvCxnSpPr>
                <p:nvPr/>
              </p:nvCxnSpPr>
              <p:spPr bwMode="gray">
                <a:xfrm>
                  <a:off x="7048683"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68" name="Straight Connector 1567">
                  <a:extLst>
                    <a:ext uri="{FF2B5EF4-FFF2-40B4-BE49-F238E27FC236}">
                      <a16:creationId xmlns:a16="http://schemas.microsoft.com/office/drawing/2014/main" id="{1C5CA214-328B-4EDF-AFBB-4782D419926C}"/>
                    </a:ext>
                  </a:extLst>
                </p:cNvPr>
                <p:cNvCxnSpPr>
                  <a:cxnSpLocks/>
                </p:cNvCxnSpPr>
                <p:nvPr/>
              </p:nvCxnSpPr>
              <p:spPr bwMode="gray">
                <a:xfrm>
                  <a:off x="7172942"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69" name="Straight Connector 1568">
                  <a:extLst>
                    <a:ext uri="{FF2B5EF4-FFF2-40B4-BE49-F238E27FC236}">
                      <a16:creationId xmlns:a16="http://schemas.microsoft.com/office/drawing/2014/main" id="{A65B5E3D-7CF9-416F-A501-B17D1D448E98}"/>
                    </a:ext>
                  </a:extLst>
                </p:cNvPr>
                <p:cNvCxnSpPr>
                  <a:cxnSpLocks/>
                </p:cNvCxnSpPr>
                <p:nvPr/>
              </p:nvCxnSpPr>
              <p:spPr bwMode="gray">
                <a:xfrm>
                  <a:off x="7297201"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70" name="Straight Connector 1569">
                  <a:extLst>
                    <a:ext uri="{FF2B5EF4-FFF2-40B4-BE49-F238E27FC236}">
                      <a16:creationId xmlns:a16="http://schemas.microsoft.com/office/drawing/2014/main" id="{EC5C9C19-1F19-44C1-B265-B8B8A21EED04}"/>
                    </a:ext>
                  </a:extLst>
                </p:cNvPr>
                <p:cNvCxnSpPr>
                  <a:cxnSpLocks/>
                </p:cNvCxnSpPr>
                <p:nvPr/>
              </p:nvCxnSpPr>
              <p:spPr bwMode="gray">
                <a:xfrm>
                  <a:off x="7421458"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554" name="Group 1553">
                <a:extLst>
                  <a:ext uri="{FF2B5EF4-FFF2-40B4-BE49-F238E27FC236}">
                    <a16:creationId xmlns:a16="http://schemas.microsoft.com/office/drawing/2014/main" id="{94031140-5DA3-4645-B256-9CD2916B11C1}"/>
                  </a:ext>
                </a:extLst>
              </p:cNvPr>
              <p:cNvGrpSpPr/>
              <p:nvPr/>
            </p:nvGrpSpPr>
            <p:grpSpPr bwMode="gray">
              <a:xfrm>
                <a:off x="9046993" y="7501621"/>
                <a:ext cx="568946" cy="0"/>
                <a:chOff x="6675906" y="3450265"/>
                <a:chExt cx="834871" cy="0"/>
              </a:xfrm>
              <a:noFill/>
            </p:grpSpPr>
            <p:cxnSp>
              <p:nvCxnSpPr>
                <p:cNvPr id="1557" name="Straight Connector 1556">
                  <a:extLst>
                    <a:ext uri="{FF2B5EF4-FFF2-40B4-BE49-F238E27FC236}">
                      <a16:creationId xmlns:a16="http://schemas.microsoft.com/office/drawing/2014/main" id="{AA39927B-7365-4BCB-82FC-E03F2752223A}"/>
                    </a:ext>
                  </a:extLst>
                </p:cNvPr>
                <p:cNvCxnSpPr>
                  <a:cxnSpLocks/>
                </p:cNvCxnSpPr>
                <p:nvPr/>
              </p:nvCxnSpPr>
              <p:spPr bwMode="gray">
                <a:xfrm>
                  <a:off x="6675906"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58" name="Straight Connector 1557">
                  <a:extLst>
                    <a:ext uri="{FF2B5EF4-FFF2-40B4-BE49-F238E27FC236}">
                      <a16:creationId xmlns:a16="http://schemas.microsoft.com/office/drawing/2014/main" id="{50267EE8-33BD-4536-A0A4-D9FD240CAD5D}"/>
                    </a:ext>
                  </a:extLst>
                </p:cNvPr>
                <p:cNvCxnSpPr>
                  <a:cxnSpLocks/>
                </p:cNvCxnSpPr>
                <p:nvPr/>
              </p:nvCxnSpPr>
              <p:spPr bwMode="gray">
                <a:xfrm>
                  <a:off x="6800165"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59" name="Straight Connector 1558">
                  <a:extLst>
                    <a:ext uri="{FF2B5EF4-FFF2-40B4-BE49-F238E27FC236}">
                      <a16:creationId xmlns:a16="http://schemas.microsoft.com/office/drawing/2014/main" id="{4E4BCC3C-5B9E-47BA-8175-F65EDCB731B2}"/>
                    </a:ext>
                  </a:extLst>
                </p:cNvPr>
                <p:cNvCxnSpPr>
                  <a:cxnSpLocks/>
                </p:cNvCxnSpPr>
                <p:nvPr/>
              </p:nvCxnSpPr>
              <p:spPr bwMode="gray">
                <a:xfrm>
                  <a:off x="6924424"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60" name="Straight Connector 1559">
                  <a:extLst>
                    <a:ext uri="{FF2B5EF4-FFF2-40B4-BE49-F238E27FC236}">
                      <a16:creationId xmlns:a16="http://schemas.microsoft.com/office/drawing/2014/main" id="{AE4E965B-0E0A-4E7A-8E4E-EF4D5E153458}"/>
                    </a:ext>
                  </a:extLst>
                </p:cNvPr>
                <p:cNvCxnSpPr>
                  <a:cxnSpLocks/>
                </p:cNvCxnSpPr>
                <p:nvPr/>
              </p:nvCxnSpPr>
              <p:spPr bwMode="gray">
                <a:xfrm>
                  <a:off x="7048683"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61" name="Straight Connector 1560">
                  <a:extLst>
                    <a:ext uri="{FF2B5EF4-FFF2-40B4-BE49-F238E27FC236}">
                      <a16:creationId xmlns:a16="http://schemas.microsoft.com/office/drawing/2014/main" id="{3AC63245-AE28-4425-85BB-57B076C145D7}"/>
                    </a:ext>
                  </a:extLst>
                </p:cNvPr>
                <p:cNvCxnSpPr>
                  <a:cxnSpLocks/>
                </p:cNvCxnSpPr>
                <p:nvPr/>
              </p:nvCxnSpPr>
              <p:spPr bwMode="gray">
                <a:xfrm>
                  <a:off x="7172942"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62" name="Straight Connector 1561">
                  <a:extLst>
                    <a:ext uri="{FF2B5EF4-FFF2-40B4-BE49-F238E27FC236}">
                      <a16:creationId xmlns:a16="http://schemas.microsoft.com/office/drawing/2014/main" id="{EFA145A6-71C0-4045-BACA-3C8B61513FBB}"/>
                    </a:ext>
                  </a:extLst>
                </p:cNvPr>
                <p:cNvCxnSpPr>
                  <a:cxnSpLocks/>
                </p:cNvCxnSpPr>
                <p:nvPr/>
              </p:nvCxnSpPr>
              <p:spPr bwMode="gray">
                <a:xfrm>
                  <a:off x="7297201"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cxnSp>
              <p:nvCxnSpPr>
                <p:cNvPr id="1563" name="Straight Connector 1562">
                  <a:extLst>
                    <a:ext uri="{FF2B5EF4-FFF2-40B4-BE49-F238E27FC236}">
                      <a16:creationId xmlns:a16="http://schemas.microsoft.com/office/drawing/2014/main" id="{BC112965-7FD5-479A-AE9D-B21367699626}"/>
                    </a:ext>
                  </a:extLst>
                </p:cNvPr>
                <p:cNvCxnSpPr>
                  <a:cxnSpLocks/>
                </p:cNvCxnSpPr>
                <p:nvPr/>
              </p:nvCxnSpPr>
              <p:spPr bwMode="gray">
                <a:xfrm>
                  <a:off x="7421458" y="3450265"/>
                  <a:ext cx="89319" cy="0"/>
                </a:xfrm>
                <a:prstGeom prst="line">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grpSp>
          <p:sp>
            <p:nvSpPr>
              <p:cNvPr id="1555" name="Rectangle 1554">
                <a:extLst>
                  <a:ext uri="{FF2B5EF4-FFF2-40B4-BE49-F238E27FC236}">
                    <a16:creationId xmlns:a16="http://schemas.microsoft.com/office/drawing/2014/main" id="{F448F46E-2DC7-4FE9-AB54-BE42EB3DB320}"/>
                  </a:ext>
                </a:extLst>
              </p:cNvPr>
              <p:cNvSpPr/>
              <p:nvPr/>
            </p:nvSpPr>
            <p:spPr bwMode="gray">
              <a:xfrm>
                <a:off x="8955506" y="7265650"/>
                <a:ext cx="45381" cy="161898"/>
              </a:xfrm>
              <a:prstGeom prst="rect">
                <a:avLst/>
              </a:prstGeom>
              <a:no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sp>
            <p:nvSpPr>
              <p:cNvPr id="1556" name="Rectangle 1555">
                <a:extLst>
                  <a:ext uri="{FF2B5EF4-FFF2-40B4-BE49-F238E27FC236}">
                    <a16:creationId xmlns:a16="http://schemas.microsoft.com/office/drawing/2014/main" id="{A5183BF8-B420-4F44-AEEA-449716613F31}"/>
                  </a:ext>
                </a:extLst>
              </p:cNvPr>
              <p:cNvSpPr/>
              <p:nvPr/>
            </p:nvSpPr>
            <p:spPr bwMode="gray">
              <a:xfrm>
                <a:off x="9570336" y="7582683"/>
                <a:ext cx="75296" cy="35082"/>
              </a:xfrm>
              <a:prstGeom prst="rect">
                <a:avLst/>
              </a:prstGeom>
              <a:no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dirty="0" err="1"/>
              </a:p>
            </p:txBody>
          </p:sp>
        </p:grpSp>
        <p:cxnSp>
          <p:nvCxnSpPr>
            <p:cNvPr id="1592" name="Connector: Elbow 1591">
              <a:extLst>
                <a:ext uri="{FF2B5EF4-FFF2-40B4-BE49-F238E27FC236}">
                  <a16:creationId xmlns:a16="http://schemas.microsoft.com/office/drawing/2014/main" id="{987002BC-B253-4CE8-A3AC-2FC73E5D0872}"/>
                </a:ext>
              </a:extLst>
            </p:cNvPr>
            <p:cNvCxnSpPr>
              <a:cxnSpLocks/>
              <a:stCxn id="1549" idx="0"/>
              <a:endCxn id="1503" idx="0"/>
            </p:cNvCxnSpPr>
            <p:nvPr/>
          </p:nvCxnSpPr>
          <p:spPr bwMode="gray">
            <a:xfrm rot="5400000" flipH="1" flipV="1">
              <a:off x="7897845" y="3815874"/>
              <a:ext cx="24247" cy="444750"/>
            </a:xfrm>
            <a:prstGeom prst="bentConnector3">
              <a:avLst>
                <a:gd name="adj1" fmla="val 1042797"/>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593" name="Connector: Elbow 1592">
              <a:extLst>
                <a:ext uri="{FF2B5EF4-FFF2-40B4-BE49-F238E27FC236}">
                  <a16:creationId xmlns:a16="http://schemas.microsoft.com/office/drawing/2014/main" id="{C71B8FC4-61C6-4108-9ADE-92BF6EB7D511}"/>
                </a:ext>
              </a:extLst>
            </p:cNvPr>
            <p:cNvCxnSpPr>
              <a:cxnSpLocks/>
              <a:stCxn id="1502" idx="0"/>
              <a:endCxn id="1517" idx="2"/>
            </p:cNvCxnSpPr>
            <p:nvPr/>
          </p:nvCxnSpPr>
          <p:spPr bwMode="gray">
            <a:xfrm rot="16200000" flipH="1">
              <a:off x="8514151" y="3781488"/>
              <a:ext cx="68422" cy="557697"/>
            </a:xfrm>
            <a:prstGeom prst="bentConnector5">
              <a:avLst>
                <a:gd name="adj1" fmla="val -334103"/>
                <a:gd name="adj2" fmla="val 44045"/>
                <a:gd name="adj3" fmla="val 43410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594" name="PPTShape_17">
              <a:extLst>
                <a:ext uri="{FF2B5EF4-FFF2-40B4-BE49-F238E27FC236}">
                  <a16:creationId xmlns:a16="http://schemas.microsoft.com/office/drawing/2014/main" id="{82A68E4D-95F6-4D7D-A910-B335E069C88C}"/>
                </a:ext>
              </a:extLst>
            </p:cNvPr>
            <p:cNvSpPr>
              <a:spLocks noChangeArrowheads="1"/>
            </p:cNvSpPr>
            <p:nvPr/>
          </p:nvSpPr>
          <p:spPr bwMode="gray">
            <a:xfrm>
              <a:off x="9072201" y="4141877"/>
              <a:ext cx="484293" cy="197447"/>
            </a:xfrm>
            <a:prstGeom prst="rect">
              <a:avLst/>
            </a:prstGeom>
            <a:noFill/>
            <a:ln w="12700">
              <a:noFill/>
              <a:miter lim="800000"/>
              <a:headEnd/>
              <a:tailEnd/>
            </a:ln>
          </p:spPr>
          <p:txBody>
            <a:bodyPr wrap="square" lIns="0" tIns="0" rIns="0" bIns="0" anchor="t" anchorCtr="0">
              <a:noAutofit/>
            </a:bodyPr>
            <a:lstStyle/>
            <a:p>
              <a:pPr eaLnBrk="0" fontAlgn="base" hangingPunct="0">
                <a:spcBef>
                  <a:spcPct val="0"/>
                </a:spcBef>
                <a:spcAft>
                  <a:spcPct val="0"/>
                </a:spcAft>
              </a:pPr>
              <a:r>
                <a:rPr lang="de-DE" sz="1000" dirty="0"/>
                <a:t>Electric power</a:t>
              </a:r>
              <a:endParaRPr lang="en-US" sz="1000" dirty="0"/>
            </a:p>
          </p:txBody>
        </p:sp>
      </p:grpSp>
      <p:grpSp>
        <p:nvGrpSpPr>
          <p:cNvPr id="1600" name="Group 1599">
            <a:extLst>
              <a:ext uri="{FF2B5EF4-FFF2-40B4-BE49-F238E27FC236}">
                <a16:creationId xmlns:a16="http://schemas.microsoft.com/office/drawing/2014/main" id="{E354759C-2DD4-45EA-B9D7-3294FDA1B96D}"/>
              </a:ext>
            </a:extLst>
          </p:cNvPr>
          <p:cNvGrpSpPr/>
          <p:nvPr/>
        </p:nvGrpSpPr>
        <p:grpSpPr bwMode="gray">
          <a:xfrm>
            <a:off x="3385702" y="3431243"/>
            <a:ext cx="842400" cy="540419"/>
            <a:chOff x="3496037" y="4910525"/>
            <a:chExt cx="842400" cy="540419"/>
          </a:xfrm>
        </p:grpSpPr>
        <p:sp>
          <p:nvSpPr>
            <p:cNvPr id="1601" name="Rectangle: Rounded Corners 1600">
              <a:extLst>
                <a:ext uri="{FF2B5EF4-FFF2-40B4-BE49-F238E27FC236}">
                  <a16:creationId xmlns:a16="http://schemas.microsoft.com/office/drawing/2014/main" id="{D118934C-3AD1-4CB0-90F2-905FAA5A11E5}"/>
                </a:ext>
              </a:extLst>
            </p:cNvPr>
            <p:cNvSpPr/>
            <p:nvPr/>
          </p:nvSpPr>
          <p:spPr bwMode="gray">
            <a:xfrm>
              <a:off x="3587672" y="4910525"/>
              <a:ext cx="659130" cy="307738"/>
            </a:xfrm>
            <a:prstGeom prst="roundRect">
              <a:avLst>
                <a:gd name="adj" fmla="val 50000"/>
              </a:avLst>
            </a:prstGeom>
            <a:solidFill>
              <a:schemeClr val="bg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sp>
          <p:nvSpPr>
            <p:cNvPr id="1602" name="Rectangle 1601">
              <a:extLst>
                <a:ext uri="{FF2B5EF4-FFF2-40B4-BE49-F238E27FC236}">
                  <a16:creationId xmlns:a16="http://schemas.microsoft.com/office/drawing/2014/main" id="{50D3582D-9789-42DD-AA9C-D11A7688E920}"/>
                </a:ext>
              </a:extLst>
            </p:cNvPr>
            <p:cNvSpPr/>
            <p:nvPr/>
          </p:nvSpPr>
          <p:spPr bwMode="gray">
            <a:xfrm>
              <a:off x="3496037" y="5221262"/>
              <a:ext cx="842400" cy="2296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Air separator</a:t>
              </a:r>
            </a:p>
          </p:txBody>
        </p:sp>
      </p:grpSp>
      <p:grpSp>
        <p:nvGrpSpPr>
          <p:cNvPr id="1611" name="Group 1610">
            <a:extLst>
              <a:ext uri="{FF2B5EF4-FFF2-40B4-BE49-F238E27FC236}">
                <a16:creationId xmlns:a16="http://schemas.microsoft.com/office/drawing/2014/main" id="{965EE2B8-85A8-4FCD-9040-9BCAC1AEDA28}"/>
              </a:ext>
            </a:extLst>
          </p:cNvPr>
          <p:cNvGrpSpPr/>
          <p:nvPr/>
        </p:nvGrpSpPr>
        <p:grpSpPr bwMode="gray">
          <a:xfrm>
            <a:off x="7580991" y="1981274"/>
            <a:ext cx="686358" cy="827159"/>
            <a:chOff x="-1824278" y="3119489"/>
            <a:chExt cx="686358" cy="827159"/>
          </a:xfrm>
        </p:grpSpPr>
        <p:grpSp>
          <p:nvGrpSpPr>
            <p:cNvPr id="1603" name="Group 1602">
              <a:extLst>
                <a:ext uri="{FF2B5EF4-FFF2-40B4-BE49-F238E27FC236}">
                  <a16:creationId xmlns:a16="http://schemas.microsoft.com/office/drawing/2014/main" id="{5C8D4C41-E203-4B33-ADE3-B3BED3E2800E}"/>
                </a:ext>
              </a:extLst>
            </p:cNvPr>
            <p:cNvGrpSpPr/>
            <p:nvPr/>
          </p:nvGrpSpPr>
          <p:grpSpPr bwMode="gray">
            <a:xfrm>
              <a:off x="-1633065" y="3119489"/>
              <a:ext cx="303933" cy="667622"/>
              <a:chOff x="3833047" y="2969533"/>
              <a:chExt cx="967802" cy="2125881"/>
            </a:xfrm>
          </p:grpSpPr>
          <p:sp>
            <p:nvSpPr>
              <p:cNvPr id="1604" name="Rectangle: Rounded Corners 1603">
                <a:extLst>
                  <a:ext uri="{FF2B5EF4-FFF2-40B4-BE49-F238E27FC236}">
                    <a16:creationId xmlns:a16="http://schemas.microsoft.com/office/drawing/2014/main" id="{2F3AE836-AA11-4E7C-8834-9931CD192922}"/>
                  </a:ext>
                </a:extLst>
              </p:cNvPr>
              <p:cNvSpPr/>
              <p:nvPr/>
            </p:nvSpPr>
            <p:spPr bwMode="gray">
              <a:xfrm>
                <a:off x="3833047" y="2969533"/>
                <a:ext cx="967802" cy="2125881"/>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cxnSp>
            <p:nvCxnSpPr>
              <p:cNvPr id="1605" name="Straight Connector 1604">
                <a:extLst>
                  <a:ext uri="{FF2B5EF4-FFF2-40B4-BE49-F238E27FC236}">
                    <a16:creationId xmlns:a16="http://schemas.microsoft.com/office/drawing/2014/main" id="{7CD22C25-12D1-4110-AAC0-BFA5941C3544}"/>
                  </a:ext>
                </a:extLst>
              </p:cNvPr>
              <p:cNvCxnSpPr>
                <a:cxnSpLocks/>
              </p:cNvCxnSpPr>
              <p:nvPr/>
            </p:nvCxnSpPr>
            <p:spPr bwMode="gray">
              <a:xfrm flipH="1"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06" name="Straight Connector 1605">
                <a:extLst>
                  <a:ext uri="{FF2B5EF4-FFF2-40B4-BE49-F238E27FC236}">
                    <a16:creationId xmlns:a16="http://schemas.microsoft.com/office/drawing/2014/main" id="{F20154D2-7AAD-4E3D-8801-10DD155AA75F}"/>
                  </a:ext>
                </a:extLst>
              </p:cNvPr>
              <p:cNvCxnSpPr>
                <a:cxnSpLocks/>
              </p:cNvCxnSpPr>
              <p:nvPr/>
            </p:nvCxnSpPr>
            <p:spPr bwMode="gray">
              <a:xfrm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607" name="Rectangle 1606">
                <a:extLst>
                  <a:ext uri="{FF2B5EF4-FFF2-40B4-BE49-F238E27FC236}">
                    <a16:creationId xmlns:a16="http://schemas.microsoft.com/office/drawing/2014/main" id="{6E86E9AD-6719-4E90-A93E-564853A83210}"/>
                  </a:ext>
                </a:extLst>
              </p:cNvPr>
              <p:cNvSpPr/>
              <p:nvPr/>
            </p:nvSpPr>
            <p:spPr bwMode="gray">
              <a:xfrm>
                <a:off x="3833047" y="3414210"/>
                <a:ext cx="967802" cy="1236529"/>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endParaRPr lang="de-DE" sz="1000" dirty="0">
                  <a:solidFill>
                    <a:schemeClr val="tx1"/>
                  </a:solidFill>
                </a:endParaRPr>
              </a:p>
            </p:txBody>
          </p:sp>
        </p:grpSp>
        <p:sp>
          <p:nvSpPr>
            <p:cNvPr id="1609" name="Rectangle 1608">
              <a:extLst>
                <a:ext uri="{FF2B5EF4-FFF2-40B4-BE49-F238E27FC236}">
                  <a16:creationId xmlns:a16="http://schemas.microsoft.com/office/drawing/2014/main" id="{6DFC75A2-B2D9-47B8-8DD0-FCB6BAA9EBB1}"/>
                </a:ext>
              </a:extLst>
            </p:cNvPr>
            <p:cNvSpPr/>
            <p:nvPr/>
          </p:nvSpPr>
          <p:spPr bwMode="gray">
            <a:xfrm>
              <a:off x="-1824278" y="3781618"/>
              <a:ext cx="686358"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Shift reactor</a:t>
              </a:r>
            </a:p>
          </p:txBody>
        </p:sp>
      </p:grpSp>
      <p:grpSp>
        <p:nvGrpSpPr>
          <p:cNvPr id="1612" name="Group 1611">
            <a:extLst>
              <a:ext uri="{FF2B5EF4-FFF2-40B4-BE49-F238E27FC236}">
                <a16:creationId xmlns:a16="http://schemas.microsoft.com/office/drawing/2014/main" id="{D63722A2-C42A-4442-94D0-E41D1F8A8B95}"/>
              </a:ext>
            </a:extLst>
          </p:cNvPr>
          <p:cNvGrpSpPr/>
          <p:nvPr/>
        </p:nvGrpSpPr>
        <p:grpSpPr bwMode="gray">
          <a:xfrm>
            <a:off x="8262288" y="1981274"/>
            <a:ext cx="947270" cy="827159"/>
            <a:chOff x="-1954734" y="3119489"/>
            <a:chExt cx="947270" cy="827159"/>
          </a:xfrm>
        </p:grpSpPr>
        <p:sp>
          <p:nvSpPr>
            <p:cNvPr id="1615" name="Rectangle: Rounded Corners 1614">
              <a:extLst>
                <a:ext uri="{FF2B5EF4-FFF2-40B4-BE49-F238E27FC236}">
                  <a16:creationId xmlns:a16="http://schemas.microsoft.com/office/drawing/2014/main" id="{8C272F77-D695-4E44-8B4E-FA3F39367184}"/>
                </a:ext>
              </a:extLst>
            </p:cNvPr>
            <p:cNvSpPr/>
            <p:nvPr/>
          </p:nvSpPr>
          <p:spPr bwMode="gray">
            <a:xfrm>
              <a:off x="-1633065" y="3119489"/>
              <a:ext cx="303933" cy="667622"/>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sp>
          <p:nvSpPr>
            <p:cNvPr id="1614" name="Rectangle 1613">
              <a:extLst>
                <a:ext uri="{FF2B5EF4-FFF2-40B4-BE49-F238E27FC236}">
                  <a16:creationId xmlns:a16="http://schemas.microsoft.com/office/drawing/2014/main" id="{9DD4C8B5-F460-4B31-AAB4-F32FB8B0B597}"/>
                </a:ext>
              </a:extLst>
            </p:cNvPr>
            <p:cNvSpPr/>
            <p:nvPr/>
          </p:nvSpPr>
          <p:spPr bwMode="gray">
            <a:xfrm>
              <a:off x="-1954734" y="3781618"/>
              <a:ext cx="94727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Synthesis gas conversion</a:t>
              </a:r>
            </a:p>
          </p:txBody>
        </p:sp>
      </p:grpSp>
      <p:grpSp>
        <p:nvGrpSpPr>
          <p:cNvPr id="1634" name="Group 1633">
            <a:extLst>
              <a:ext uri="{FF2B5EF4-FFF2-40B4-BE49-F238E27FC236}">
                <a16:creationId xmlns:a16="http://schemas.microsoft.com/office/drawing/2014/main" id="{811BEA5F-BEE7-4EBE-BDC1-3C33C1322EDD}"/>
              </a:ext>
            </a:extLst>
          </p:cNvPr>
          <p:cNvGrpSpPr/>
          <p:nvPr/>
        </p:nvGrpSpPr>
        <p:grpSpPr bwMode="gray">
          <a:xfrm>
            <a:off x="1813297" y="4692849"/>
            <a:ext cx="842400" cy="474191"/>
            <a:chOff x="4425924" y="2338295"/>
            <a:chExt cx="842400" cy="474191"/>
          </a:xfrm>
        </p:grpSpPr>
        <p:grpSp>
          <p:nvGrpSpPr>
            <p:cNvPr id="1635" name="Group 1634">
              <a:extLst>
                <a:ext uri="{FF2B5EF4-FFF2-40B4-BE49-F238E27FC236}">
                  <a16:creationId xmlns:a16="http://schemas.microsoft.com/office/drawing/2014/main" id="{269A6290-B249-4A91-856D-736E7B5AC69B}"/>
                </a:ext>
              </a:extLst>
            </p:cNvPr>
            <p:cNvGrpSpPr/>
            <p:nvPr/>
          </p:nvGrpSpPr>
          <p:grpSpPr bwMode="gray">
            <a:xfrm>
              <a:off x="4647099" y="2338295"/>
              <a:ext cx="400050" cy="251862"/>
              <a:chOff x="1188527" y="2467129"/>
              <a:chExt cx="400050" cy="251862"/>
            </a:xfrm>
            <a:solidFill>
              <a:schemeClr val="accent5"/>
            </a:solidFill>
          </p:grpSpPr>
          <p:sp>
            <p:nvSpPr>
              <p:cNvPr id="1637" name="Freeform: Shape 1636">
                <a:extLst>
                  <a:ext uri="{FF2B5EF4-FFF2-40B4-BE49-F238E27FC236}">
                    <a16:creationId xmlns:a16="http://schemas.microsoft.com/office/drawing/2014/main" id="{2235789F-61A0-43DE-9833-68315AE67734}"/>
                  </a:ext>
                </a:extLst>
              </p:cNvPr>
              <p:cNvSpPr>
                <a:spLocks/>
              </p:cNvSpPr>
              <p:nvPr/>
            </p:nvSpPr>
            <p:spPr bwMode="gray">
              <a:xfrm>
                <a:off x="1188527" y="2481222"/>
                <a:ext cx="281257" cy="199668"/>
              </a:xfrm>
              <a:custGeom>
                <a:avLst/>
                <a:gdLst>
                  <a:gd name="connsiteX0" fmla="*/ 190497 w 281257"/>
                  <a:gd name="connsiteY0" fmla="*/ 0 h 199668"/>
                  <a:gd name="connsiteX1" fmla="*/ 281257 w 281257"/>
                  <a:gd name="connsiteY1" fmla="*/ 0 h 199668"/>
                  <a:gd name="connsiteX2" fmla="*/ 281257 w 281257"/>
                  <a:gd name="connsiteY2" fmla="*/ 36242 h 199668"/>
                  <a:gd name="connsiteX3" fmla="*/ 247649 w 281257"/>
                  <a:gd name="connsiteY3" fmla="*/ 77432 h 199668"/>
                  <a:gd name="connsiteX4" fmla="*/ 247650 w 281257"/>
                  <a:gd name="connsiteY4" fmla="*/ 199668 h 199668"/>
                  <a:gd name="connsiteX5" fmla="*/ 123825 w 281257"/>
                  <a:gd name="connsiteY5" fmla="*/ 199668 h 199668"/>
                  <a:gd name="connsiteX6" fmla="*/ 123489 w 281257"/>
                  <a:gd name="connsiteY6" fmla="*/ 199668 h 199668"/>
                  <a:gd name="connsiteX7" fmla="*/ 112666 w 281257"/>
                  <a:gd name="connsiteY7" fmla="*/ 174083 h 199668"/>
                  <a:gd name="connsiteX8" fmla="*/ 85725 w 281257"/>
                  <a:gd name="connsiteY8" fmla="*/ 163156 h 199668"/>
                  <a:gd name="connsiteX9" fmla="*/ 58784 w 281257"/>
                  <a:gd name="connsiteY9" fmla="*/ 174083 h 199668"/>
                  <a:gd name="connsiteX10" fmla="*/ 47961 w 281257"/>
                  <a:gd name="connsiteY10" fmla="*/ 199668 h 199668"/>
                  <a:gd name="connsiteX11" fmla="*/ 47625 w 281257"/>
                  <a:gd name="connsiteY11" fmla="*/ 199668 h 199668"/>
                  <a:gd name="connsiteX12" fmla="*/ 0 w 281257"/>
                  <a:gd name="connsiteY12" fmla="*/ 199668 h 199668"/>
                  <a:gd name="connsiteX13" fmla="*/ 0 w 281257"/>
                  <a:gd name="connsiteY13" fmla="*/ 77432 h 199668"/>
                  <a:gd name="connsiteX14" fmla="*/ 190497 w 281257"/>
                  <a:gd name="connsiteY14" fmla="*/ 77432 h 19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257" h="199668">
                    <a:moveTo>
                      <a:pt x="190497" y="0"/>
                    </a:moveTo>
                    <a:lnTo>
                      <a:pt x="281257" y="0"/>
                    </a:lnTo>
                    <a:lnTo>
                      <a:pt x="281257" y="36242"/>
                    </a:lnTo>
                    <a:lnTo>
                      <a:pt x="247649" y="77432"/>
                    </a:lnTo>
                    <a:cubicBezTo>
                      <a:pt x="247649" y="118177"/>
                      <a:pt x="247650" y="158923"/>
                      <a:pt x="247650" y="199668"/>
                    </a:cubicBezTo>
                    <a:lnTo>
                      <a:pt x="123825" y="199668"/>
                    </a:lnTo>
                    <a:lnTo>
                      <a:pt x="123489" y="199668"/>
                    </a:lnTo>
                    <a:lnTo>
                      <a:pt x="112666" y="174083"/>
                    </a:lnTo>
                    <a:cubicBezTo>
                      <a:pt x="105771" y="167332"/>
                      <a:pt x="96246" y="163156"/>
                      <a:pt x="85725" y="163156"/>
                    </a:cubicBezTo>
                    <a:cubicBezTo>
                      <a:pt x="75204" y="163156"/>
                      <a:pt x="65679" y="167332"/>
                      <a:pt x="58784" y="174083"/>
                    </a:cubicBezTo>
                    <a:lnTo>
                      <a:pt x="47961" y="199668"/>
                    </a:lnTo>
                    <a:lnTo>
                      <a:pt x="47625" y="199668"/>
                    </a:lnTo>
                    <a:lnTo>
                      <a:pt x="0" y="199668"/>
                    </a:lnTo>
                    <a:lnTo>
                      <a:pt x="0" y="77432"/>
                    </a:lnTo>
                    <a:lnTo>
                      <a:pt x="190497" y="77432"/>
                    </a:lnTo>
                    <a:close/>
                  </a:path>
                </a:pathLst>
              </a:cu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noAutofit/>
              </a:bodyPr>
              <a:lstStyle/>
              <a:p>
                <a:endParaRPr lang="de-DE"/>
              </a:p>
            </p:txBody>
          </p:sp>
          <p:sp>
            <p:nvSpPr>
              <p:cNvPr id="1638" name="Freeform: Shape 1637">
                <a:extLst>
                  <a:ext uri="{FF2B5EF4-FFF2-40B4-BE49-F238E27FC236}">
                    <a16:creationId xmlns:a16="http://schemas.microsoft.com/office/drawing/2014/main" id="{ECA6D678-D5ED-444F-98EE-7537A11F0182}"/>
                  </a:ext>
                </a:extLst>
              </p:cNvPr>
              <p:cNvSpPr>
                <a:spLocks/>
              </p:cNvSpPr>
              <p:nvPr/>
            </p:nvSpPr>
            <p:spPr bwMode="gray">
              <a:xfrm>
                <a:off x="1436177" y="2541270"/>
                <a:ext cx="95250" cy="55483"/>
              </a:xfrm>
              <a:custGeom>
                <a:avLst/>
                <a:gdLst>
                  <a:gd name="connsiteX0" fmla="*/ 13774 w 95250"/>
                  <a:gd name="connsiteY0" fmla="*/ 0 h 55483"/>
                  <a:gd name="connsiteX1" fmla="*/ 88167 w 95250"/>
                  <a:gd name="connsiteY1" fmla="*/ 0 h 55483"/>
                  <a:gd name="connsiteX2" fmla="*/ 95250 w 95250"/>
                  <a:gd name="connsiteY2" fmla="*/ 55483 h 55483"/>
                  <a:gd name="connsiteX3" fmla="*/ 0 w 95250"/>
                  <a:gd name="connsiteY3" fmla="*/ 55483 h 55483"/>
                  <a:gd name="connsiteX4" fmla="*/ 0 w 95250"/>
                  <a:gd name="connsiteY4" fmla="*/ 17384 h 5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55483">
                    <a:moveTo>
                      <a:pt x="13774" y="0"/>
                    </a:moveTo>
                    <a:lnTo>
                      <a:pt x="88167" y="0"/>
                    </a:lnTo>
                    <a:lnTo>
                      <a:pt x="95250" y="55483"/>
                    </a:lnTo>
                    <a:lnTo>
                      <a:pt x="0" y="55483"/>
                    </a:lnTo>
                    <a:lnTo>
                      <a:pt x="0" y="17384"/>
                    </a:lnTo>
                    <a:close/>
                  </a:path>
                </a:pathLst>
              </a:cu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noAutofit/>
              </a:bodyPr>
              <a:lstStyle/>
              <a:p>
                <a:endParaRPr lang="de-DE"/>
              </a:p>
            </p:txBody>
          </p:sp>
          <p:sp>
            <p:nvSpPr>
              <p:cNvPr id="1639" name="Freeform 83">
                <a:extLst>
                  <a:ext uri="{FF2B5EF4-FFF2-40B4-BE49-F238E27FC236}">
                    <a16:creationId xmlns:a16="http://schemas.microsoft.com/office/drawing/2014/main" id="{70D7160B-2F13-4DED-BE7D-14ED7A17D8B0}"/>
                  </a:ext>
                </a:extLst>
              </p:cNvPr>
              <p:cNvSpPr>
                <a:spLocks/>
              </p:cNvSpPr>
              <p:nvPr/>
            </p:nvSpPr>
            <p:spPr bwMode="gray">
              <a:xfrm>
                <a:off x="1436177" y="2596753"/>
                <a:ext cx="152400" cy="84138"/>
              </a:xfrm>
              <a:custGeom>
                <a:avLst/>
                <a:gdLst>
                  <a:gd name="T0" fmla="*/ 72 w 96"/>
                  <a:gd name="T1" fmla="*/ 53 h 53"/>
                  <a:gd name="T2" fmla="*/ 96 w 96"/>
                  <a:gd name="T3" fmla="*/ 53 h 53"/>
                  <a:gd name="T4" fmla="*/ 96 w 96"/>
                  <a:gd name="T5" fmla="*/ 0 h 53"/>
                  <a:gd name="T6" fmla="*/ 0 w 96"/>
                  <a:gd name="T7" fmla="*/ 0 h 53"/>
                  <a:gd name="T8" fmla="*/ 0 w 96"/>
                  <a:gd name="T9" fmla="*/ 53 h 53"/>
                  <a:gd name="T10" fmla="*/ 24 w 96"/>
                  <a:gd name="T11" fmla="*/ 53 h 53"/>
                </a:gdLst>
                <a:ahLst/>
                <a:cxnLst>
                  <a:cxn ang="0">
                    <a:pos x="T0" y="T1"/>
                  </a:cxn>
                  <a:cxn ang="0">
                    <a:pos x="T2" y="T3"/>
                  </a:cxn>
                  <a:cxn ang="0">
                    <a:pos x="T4" y="T5"/>
                  </a:cxn>
                  <a:cxn ang="0">
                    <a:pos x="T6" y="T7"/>
                  </a:cxn>
                  <a:cxn ang="0">
                    <a:pos x="T8" y="T9"/>
                  </a:cxn>
                  <a:cxn ang="0">
                    <a:pos x="T10" y="T11"/>
                  </a:cxn>
                </a:cxnLst>
                <a:rect l="0" t="0" r="r" b="b"/>
                <a:pathLst>
                  <a:path w="96" h="53">
                    <a:moveTo>
                      <a:pt x="72" y="53"/>
                    </a:moveTo>
                    <a:lnTo>
                      <a:pt x="96" y="53"/>
                    </a:lnTo>
                    <a:lnTo>
                      <a:pt x="96" y="0"/>
                    </a:lnTo>
                    <a:lnTo>
                      <a:pt x="0" y="0"/>
                    </a:lnTo>
                    <a:lnTo>
                      <a:pt x="0" y="53"/>
                    </a:lnTo>
                    <a:lnTo>
                      <a:pt x="24" y="53"/>
                    </a:lnTo>
                  </a:path>
                </a:pathLst>
              </a:cu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640" name="Freeform 84">
                <a:extLst>
                  <a:ext uri="{FF2B5EF4-FFF2-40B4-BE49-F238E27FC236}">
                    <a16:creationId xmlns:a16="http://schemas.microsoft.com/office/drawing/2014/main" id="{E6EA98AA-A79E-409C-B20A-EEBB9741DC75}"/>
                  </a:ext>
                </a:extLst>
              </p:cNvPr>
              <p:cNvSpPr>
                <a:spLocks/>
              </p:cNvSpPr>
              <p:nvPr/>
            </p:nvSpPr>
            <p:spPr bwMode="gray">
              <a:xfrm>
                <a:off x="1474277" y="2644378"/>
                <a:ext cx="76200" cy="74613"/>
              </a:xfrm>
              <a:prstGeom prst="ellipse">
                <a:avLst/>
              </a:pr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641" name="Freeform 85">
                <a:extLst>
                  <a:ext uri="{FF2B5EF4-FFF2-40B4-BE49-F238E27FC236}">
                    <a16:creationId xmlns:a16="http://schemas.microsoft.com/office/drawing/2014/main" id="{88CB996D-7A45-44BD-AC70-8E19029A1C7C}"/>
                  </a:ext>
                </a:extLst>
              </p:cNvPr>
              <p:cNvSpPr>
                <a:spLocks/>
              </p:cNvSpPr>
              <p:nvPr/>
            </p:nvSpPr>
            <p:spPr bwMode="gray">
              <a:xfrm>
                <a:off x="1236152" y="2644378"/>
                <a:ext cx="76200" cy="74613"/>
              </a:xfrm>
              <a:prstGeom prst="ellipse">
                <a:avLst/>
              </a:pr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642" name="Line 86">
                <a:extLst>
                  <a:ext uri="{FF2B5EF4-FFF2-40B4-BE49-F238E27FC236}">
                    <a16:creationId xmlns:a16="http://schemas.microsoft.com/office/drawing/2014/main" id="{1615C644-1D8D-4598-BA5C-EFD1BA45B07D}"/>
                  </a:ext>
                </a:extLst>
              </p:cNvPr>
              <p:cNvSpPr>
                <a:spLocks noChangeShapeType="1"/>
              </p:cNvSpPr>
              <p:nvPr/>
            </p:nvSpPr>
            <p:spPr bwMode="gray">
              <a:xfrm>
                <a:off x="1588577" y="2680890"/>
                <a:ext cx="0" cy="0"/>
              </a:xfrm>
              <a:prstGeom prst="line">
                <a:avLst/>
              </a:pr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643" name="Freeform: Shape 1642">
                <a:extLst>
                  <a:ext uri="{FF2B5EF4-FFF2-40B4-BE49-F238E27FC236}">
                    <a16:creationId xmlns:a16="http://schemas.microsoft.com/office/drawing/2014/main" id="{07F07EB4-8CB4-4F2D-8C27-B90664AD116F}"/>
                  </a:ext>
                </a:extLst>
              </p:cNvPr>
              <p:cNvSpPr/>
              <p:nvPr/>
            </p:nvSpPr>
            <p:spPr bwMode="gray">
              <a:xfrm>
                <a:off x="1192526" y="2467129"/>
                <a:ext cx="186499" cy="91523"/>
              </a:xfrm>
              <a:custGeom>
                <a:avLst/>
                <a:gdLst>
                  <a:gd name="connsiteX0" fmla="*/ 104016 w 186499"/>
                  <a:gd name="connsiteY0" fmla="*/ 0 h 91523"/>
                  <a:gd name="connsiteX1" fmla="*/ 112195 w 186499"/>
                  <a:gd name="connsiteY1" fmla="*/ 9910 h 91523"/>
                  <a:gd name="connsiteX2" fmla="*/ 112193 w 186499"/>
                  <a:gd name="connsiteY2" fmla="*/ 9948 h 91523"/>
                  <a:gd name="connsiteX3" fmla="*/ 116443 w 186499"/>
                  <a:gd name="connsiteY3" fmla="*/ 3346 h 91523"/>
                  <a:gd name="connsiteX4" fmla="*/ 125942 w 186499"/>
                  <a:gd name="connsiteY4" fmla="*/ 18099 h 91523"/>
                  <a:gd name="connsiteX5" fmla="*/ 136437 w 186499"/>
                  <a:gd name="connsiteY5" fmla="*/ 12186 h 91523"/>
                  <a:gd name="connsiteX6" fmla="*/ 142894 w 186499"/>
                  <a:gd name="connsiteY6" fmla="*/ 20010 h 91523"/>
                  <a:gd name="connsiteX7" fmla="*/ 153271 w 186499"/>
                  <a:gd name="connsiteY7" fmla="*/ 5928 h 91523"/>
                  <a:gd name="connsiteX8" fmla="*/ 159446 w 186499"/>
                  <a:gd name="connsiteY8" fmla="*/ 8683 h 91523"/>
                  <a:gd name="connsiteX9" fmla="*/ 164369 w 186499"/>
                  <a:gd name="connsiteY9" fmla="*/ 21555 h 91523"/>
                  <a:gd name="connsiteX10" fmla="*/ 179873 w 186499"/>
                  <a:gd name="connsiteY10" fmla="*/ 21555 h 91523"/>
                  <a:gd name="connsiteX11" fmla="*/ 182629 w 186499"/>
                  <a:gd name="connsiteY11" fmla="*/ 29169 h 91523"/>
                  <a:gd name="connsiteX12" fmla="*/ 186499 w 186499"/>
                  <a:gd name="connsiteY12" fmla="*/ 28452 h 91523"/>
                  <a:gd name="connsiteX13" fmla="*/ 186499 w 186499"/>
                  <a:gd name="connsiteY13" fmla="*/ 91523 h 91523"/>
                  <a:gd name="connsiteX14" fmla="*/ 3177 w 186499"/>
                  <a:gd name="connsiteY14" fmla="*/ 91523 h 91523"/>
                  <a:gd name="connsiteX15" fmla="*/ 0 w 186499"/>
                  <a:gd name="connsiteY15" fmla="*/ 82743 h 91523"/>
                  <a:gd name="connsiteX16" fmla="*/ 4865 w 186499"/>
                  <a:gd name="connsiteY16" fmla="*/ 69300 h 91523"/>
                  <a:gd name="connsiteX17" fmla="*/ 17503 w 186499"/>
                  <a:gd name="connsiteY17" fmla="*/ 45313 h 91523"/>
                  <a:gd name="connsiteX18" fmla="*/ 31994 w 186499"/>
                  <a:gd name="connsiteY18" fmla="*/ 43031 h 91523"/>
                  <a:gd name="connsiteX19" fmla="*/ 33150 w 186499"/>
                  <a:gd name="connsiteY19" fmla="*/ 46548 h 91523"/>
                  <a:gd name="connsiteX20" fmla="*/ 42988 w 186499"/>
                  <a:gd name="connsiteY20" fmla="*/ 46548 h 91523"/>
                  <a:gd name="connsiteX21" fmla="*/ 44874 w 186499"/>
                  <a:gd name="connsiteY21" fmla="*/ 24871 h 91523"/>
                  <a:gd name="connsiteX22" fmla="*/ 60687 w 186499"/>
                  <a:gd name="connsiteY22" fmla="*/ 24871 h 91523"/>
                  <a:gd name="connsiteX23" fmla="*/ 67955 w 186499"/>
                  <a:gd name="connsiteY23" fmla="*/ 19892 h 91523"/>
                  <a:gd name="connsiteX24" fmla="*/ 74131 w 186499"/>
                  <a:gd name="connsiteY24" fmla="*/ 22646 h 91523"/>
                  <a:gd name="connsiteX25" fmla="*/ 74713 w 186499"/>
                  <a:gd name="connsiteY25" fmla="*/ 24169 h 91523"/>
                  <a:gd name="connsiteX26" fmla="*/ 75659 w 186499"/>
                  <a:gd name="connsiteY26" fmla="*/ 21555 h 91523"/>
                  <a:gd name="connsiteX27" fmla="*/ 87816 w 186499"/>
                  <a:gd name="connsiteY27" fmla="*/ 21555 h 91523"/>
                  <a:gd name="connsiteX28" fmla="*/ 88527 w 186499"/>
                  <a:gd name="connsiteY28" fmla="*/ 8728 h 91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6499" h="91523">
                    <a:moveTo>
                      <a:pt x="104016" y="0"/>
                    </a:moveTo>
                    <a:lnTo>
                      <a:pt x="112195" y="9910"/>
                    </a:lnTo>
                    <a:cubicBezTo>
                      <a:pt x="112194" y="9923"/>
                      <a:pt x="112193" y="9935"/>
                      <a:pt x="112193" y="9948"/>
                    </a:cubicBezTo>
                    <a:lnTo>
                      <a:pt x="116443" y="3346"/>
                    </a:lnTo>
                    <a:lnTo>
                      <a:pt x="125942" y="18099"/>
                    </a:lnTo>
                    <a:lnTo>
                      <a:pt x="136437" y="12186"/>
                    </a:lnTo>
                    <a:lnTo>
                      <a:pt x="142894" y="20010"/>
                    </a:lnTo>
                    <a:lnTo>
                      <a:pt x="153271" y="5928"/>
                    </a:lnTo>
                    <a:lnTo>
                      <a:pt x="159446" y="8683"/>
                    </a:lnTo>
                    <a:lnTo>
                      <a:pt x="164369" y="21555"/>
                    </a:lnTo>
                    <a:lnTo>
                      <a:pt x="179873" y="21555"/>
                    </a:lnTo>
                    <a:lnTo>
                      <a:pt x="182629" y="29169"/>
                    </a:lnTo>
                    <a:lnTo>
                      <a:pt x="186499" y="28452"/>
                    </a:lnTo>
                    <a:lnTo>
                      <a:pt x="186499" y="91523"/>
                    </a:lnTo>
                    <a:lnTo>
                      <a:pt x="3177" y="91523"/>
                    </a:lnTo>
                    <a:lnTo>
                      <a:pt x="0" y="82743"/>
                    </a:lnTo>
                    <a:lnTo>
                      <a:pt x="4865" y="69300"/>
                    </a:lnTo>
                    <a:lnTo>
                      <a:pt x="17503" y="45313"/>
                    </a:lnTo>
                    <a:lnTo>
                      <a:pt x="31994" y="43031"/>
                    </a:lnTo>
                    <a:lnTo>
                      <a:pt x="33150" y="46548"/>
                    </a:lnTo>
                    <a:lnTo>
                      <a:pt x="42988" y="46548"/>
                    </a:lnTo>
                    <a:lnTo>
                      <a:pt x="44874" y="24871"/>
                    </a:lnTo>
                    <a:lnTo>
                      <a:pt x="60687" y="24871"/>
                    </a:lnTo>
                    <a:lnTo>
                      <a:pt x="67955" y="19892"/>
                    </a:lnTo>
                    <a:lnTo>
                      <a:pt x="74131" y="22646"/>
                    </a:lnTo>
                    <a:lnTo>
                      <a:pt x="74713" y="24169"/>
                    </a:lnTo>
                    <a:lnTo>
                      <a:pt x="75659" y="21555"/>
                    </a:lnTo>
                    <a:lnTo>
                      <a:pt x="87816" y="21555"/>
                    </a:lnTo>
                    <a:lnTo>
                      <a:pt x="88527" y="8728"/>
                    </a:lnTo>
                    <a:close/>
                  </a:path>
                </a:pathLst>
              </a:custGeom>
              <a:grpFill/>
              <a:ln w="12700">
                <a:solidFill>
                  <a:schemeClr val="tx1"/>
                </a:solidFill>
                <a:prstDash val="solid"/>
                <a:miter lim="800000"/>
                <a:headEnd/>
                <a:tailEnd/>
              </a:ln>
              <a:extLst/>
            </p:spPr>
            <p:txBody>
              <a:bodyPr vert="horz" wrap="square" lIns="91440" tIns="45720" rIns="91440" bIns="45720" numCol="1" anchor="t" anchorCtr="0" compatLnSpc="1">
                <a:prstTxWarp prst="textNoShape">
                  <a:avLst/>
                </a:prstTxWarp>
                <a:noAutofit/>
              </a:bodyPr>
              <a:lstStyle/>
              <a:p>
                <a:endParaRPr lang="en-US"/>
              </a:p>
            </p:txBody>
          </p:sp>
        </p:grpSp>
        <p:sp>
          <p:nvSpPr>
            <p:cNvPr id="1636" name="Rectangle 1635">
              <a:extLst>
                <a:ext uri="{FF2B5EF4-FFF2-40B4-BE49-F238E27FC236}">
                  <a16:creationId xmlns:a16="http://schemas.microsoft.com/office/drawing/2014/main" id="{DA03BFA9-8EBC-40E2-A1C2-4730E1B69A3E}"/>
                </a:ext>
              </a:extLst>
            </p:cNvPr>
            <p:cNvSpPr/>
            <p:nvPr/>
          </p:nvSpPr>
          <p:spPr bwMode="gray">
            <a:xfrm>
              <a:off x="4425924" y="2582804"/>
              <a:ext cx="842400" cy="2296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Solid by-product</a:t>
              </a:r>
            </a:p>
          </p:txBody>
        </p:sp>
      </p:grpSp>
      <p:grpSp>
        <p:nvGrpSpPr>
          <p:cNvPr id="1644" name="Group 1643">
            <a:extLst>
              <a:ext uri="{FF2B5EF4-FFF2-40B4-BE49-F238E27FC236}">
                <a16:creationId xmlns:a16="http://schemas.microsoft.com/office/drawing/2014/main" id="{5CBDA3F4-996F-4D35-88BB-3BE56867A821}"/>
              </a:ext>
            </a:extLst>
          </p:cNvPr>
          <p:cNvGrpSpPr/>
          <p:nvPr/>
        </p:nvGrpSpPr>
        <p:grpSpPr bwMode="gray">
          <a:xfrm>
            <a:off x="4647213" y="3141034"/>
            <a:ext cx="634944" cy="474191"/>
            <a:chOff x="4529652" y="2338295"/>
            <a:chExt cx="634944" cy="474191"/>
          </a:xfrm>
        </p:grpSpPr>
        <p:grpSp>
          <p:nvGrpSpPr>
            <p:cNvPr id="1645" name="Group 1644">
              <a:extLst>
                <a:ext uri="{FF2B5EF4-FFF2-40B4-BE49-F238E27FC236}">
                  <a16:creationId xmlns:a16="http://schemas.microsoft.com/office/drawing/2014/main" id="{EBB302D8-7472-418E-B4C8-3F964C29E402}"/>
                </a:ext>
              </a:extLst>
            </p:cNvPr>
            <p:cNvGrpSpPr/>
            <p:nvPr/>
          </p:nvGrpSpPr>
          <p:grpSpPr bwMode="gray">
            <a:xfrm>
              <a:off x="4647099" y="2338295"/>
              <a:ext cx="400050" cy="251862"/>
              <a:chOff x="1188527" y="2467129"/>
              <a:chExt cx="400050" cy="251862"/>
            </a:xfrm>
            <a:solidFill>
              <a:schemeClr val="accent5"/>
            </a:solidFill>
          </p:grpSpPr>
          <p:sp>
            <p:nvSpPr>
              <p:cNvPr id="1647" name="Freeform: Shape 1646">
                <a:extLst>
                  <a:ext uri="{FF2B5EF4-FFF2-40B4-BE49-F238E27FC236}">
                    <a16:creationId xmlns:a16="http://schemas.microsoft.com/office/drawing/2014/main" id="{72B52ABA-C28F-4CC8-A718-5909009105FD}"/>
                  </a:ext>
                </a:extLst>
              </p:cNvPr>
              <p:cNvSpPr>
                <a:spLocks/>
              </p:cNvSpPr>
              <p:nvPr/>
            </p:nvSpPr>
            <p:spPr bwMode="gray">
              <a:xfrm>
                <a:off x="1188527" y="2481222"/>
                <a:ext cx="281257" cy="199668"/>
              </a:xfrm>
              <a:custGeom>
                <a:avLst/>
                <a:gdLst>
                  <a:gd name="connsiteX0" fmla="*/ 190497 w 281257"/>
                  <a:gd name="connsiteY0" fmla="*/ 0 h 199668"/>
                  <a:gd name="connsiteX1" fmla="*/ 281257 w 281257"/>
                  <a:gd name="connsiteY1" fmla="*/ 0 h 199668"/>
                  <a:gd name="connsiteX2" fmla="*/ 281257 w 281257"/>
                  <a:gd name="connsiteY2" fmla="*/ 36242 h 199668"/>
                  <a:gd name="connsiteX3" fmla="*/ 247649 w 281257"/>
                  <a:gd name="connsiteY3" fmla="*/ 77432 h 199668"/>
                  <a:gd name="connsiteX4" fmla="*/ 247650 w 281257"/>
                  <a:gd name="connsiteY4" fmla="*/ 199668 h 199668"/>
                  <a:gd name="connsiteX5" fmla="*/ 123825 w 281257"/>
                  <a:gd name="connsiteY5" fmla="*/ 199668 h 199668"/>
                  <a:gd name="connsiteX6" fmla="*/ 123489 w 281257"/>
                  <a:gd name="connsiteY6" fmla="*/ 199668 h 199668"/>
                  <a:gd name="connsiteX7" fmla="*/ 112666 w 281257"/>
                  <a:gd name="connsiteY7" fmla="*/ 174083 h 199668"/>
                  <a:gd name="connsiteX8" fmla="*/ 85725 w 281257"/>
                  <a:gd name="connsiteY8" fmla="*/ 163156 h 199668"/>
                  <a:gd name="connsiteX9" fmla="*/ 58784 w 281257"/>
                  <a:gd name="connsiteY9" fmla="*/ 174083 h 199668"/>
                  <a:gd name="connsiteX10" fmla="*/ 47961 w 281257"/>
                  <a:gd name="connsiteY10" fmla="*/ 199668 h 199668"/>
                  <a:gd name="connsiteX11" fmla="*/ 47625 w 281257"/>
                  <a:gd name="connsiteY11" fmla="*/ 199668 h 199668"/>
                  <a:gd name="connsiteX12" fmla="*/ 0 w 281257"/>
                  <a:gd name="connsiteY12" fmla="*/ 199668 h 199668"/>
                  <a:gd name="connsiteX13" fmla="*/ 0 w 281257"/>
                  <a:gd name="connsiteY13" fmla="*/ 77432 h 199668"/>
                  <a:gd name="connsiteX14" fmla="*/ 190497 w 281257"/>
                  <a:gd name="connsiteY14" fmla="*/ 77432 h 19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257" h="199668">
                    <a:moveTo>
                      <a:pt x="190497" y="0"/>
                    </a:moveTo>
                    <a:lnTo>
                      <a:pt x="281257" y="0"/>
                    </a:lnTo>
                    <a:lnTo>
                      <a:pt x="281257" y="36242"/>
                    </a:lnTo>
                    <a:lnTo>
                      <a:pt x="247649" y="77432"/>
                    </a:lnTo>
                    <a:cubicBezTo>
                      <a:pt x="247649" y="118177"/>
                      <a:pt x="247650" y="158923"/>
                      <a:pt x="247650" y="199668"/>
                    </a:cubicBezTo>
                    <a:lnTo>
                      <a:pt x="123825" y="199668"/>
                    </a:lnTo>
                    <a:lnTo>
                      <a:pt x="123489" y="199668"/>
                    </a:lnTo>
                    <a:lnTo>
                      <a:pt x="112666" y="174083"/>
                    </a:lnTo>
                    <a:cubicBezTo>
                      <a:pt x="105771" y="167332"/>
                      <a:pt x="96246" y="163156"/>
                      <a:pt x="85725" y="163156"/>
                    </a:cubicBezTo>
                    <a:cubicBezTo>
                      <a:pt x="75204" y="163156"/>
                      <a:pt x="65679" y="167332"/>
                      <a:pt x="58784" y="174083"/>
                    </a:cubicBezTo>
                    <a:lnTo>
                      <a:pt x="47961" y="199668"/>
                    </a:lnTo>
                    <a:lnTo>
                      <a:pt x="47625" y="199668"/>
                    </a:lnTo>
                    <a:lnTo>
                      <a:pt x="0" y="199668"/>
                    </a:lnTo>
                    <a:lnTo>
                      <a:pt x="0" y="77432"/>
                    </a:lnTo>
                    <a:lnTo>
                      <a:pt x="190497" y="77432"/>
                    </a:lnTo>
                    <a:close/>
                  </a:path>
                </a:pathLst>
              </a:cu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noAutofit/>
              </a:bodyPr>
              <a:lstStyle/>
              <a:p>
                <a:endParaRPr lang="de-DE"/>
              </a:p>
            </p:txBody>
          </p:sp>
          <p:sp>
            <p:nvSpPr>
              <p:cNvPr id="1648" name="Freeform: Shape 1647">
                <a:extLst>
                  <a:ext uri="{FF2B5EF4-FFF2-40B4-BE49-F238E27FC236}">
                    <a16:creationId xmlns:a16="http://schemas.microsoft.com/office/drawing/2014/main" id="{28A2F94B-25B2-4CA5-9684-8450DEDC1F58}"/>
                  </a:ext>
                </a:extLst>
              </p:cNvPr>
              <p:cNvSpPr>
                <a:spLocks/>
              </p:cNvSpPr>
              <p:nvPr/>
            </p:nvSpPr>
            <p:spPr bwMode="gray">
              <a:xfrm>
                <a:off x="1436177" y="2541270"/>
                <a:ext cx="95250" cy="55483"/>
              </a:xfrm>
              <a:custGeom>
                <a:avLst/>
                <a:gdLst>
                  <a:gd name="connsiteX0" fmla="*/ 13774 w 95250"/>
                  <a:gd name="connsiteY0" fmla="*/ 0 h 55483"/>
                  <a:gd name="connsiteX1" fmla="*/ 88167 w 95250"/>
                  <a:gd name="connsiteY1" fmla="*/ 0 h 55483"/>
                  <a:gd name="connsiteX2" fmla="*/ 95250 w 95250"/>
                  <a:gd name="connsiteY2" fmla="*/ 55483 h 55483"/>
                  <a:gd name="connsiteX3" fmla="*/ 0 w 95250"/>
                  <a:gd name="connsiteY3" fmla="*/ 55483 h 55483"/>
                  <a:gd name="connsiteX4" fmla="*/ 0 w 95250"/>
                  <a:gd name="connsiteY4" fmla="*/ 17384 h 5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55483">
                    <a:moveTo>
                      <a:pt x="13774" y="0"/>
                    </a:moveTo>
                    <a:lnTo>
                      <a:pt x="88167" y="0"/>
                    </a:lnTo>
                    <a:lnTo>
                      <a:pt x="95250" y="55483"/>
                    </a:lnTo>
                    <a:lnTo>
                      <a:pt x="0" y="55483"/>
                    </a:lnTo>
                    <a:lnTo>
                      <a:pt x="0" y="17384"/>
                    </a:lnTo>
                    <a:close/>
                  </a:path>
                </a:pathLst>
              </a:cu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noAutofit/>
              </a:bodyPr>
              <a:lstStyle/>
              <a:p>
                <a:endParaRPr lang="de-DE"/>
              </a:p>
            </p:txBody>
          </p:sp>
          <p:sp>
            <p:nvSpPr>
              <p:cNvPr id="1649" name="Freeform 83">
                <a:extLst>
                  <a:ext uri="{FF2B5EF4-FFF2-40B4-BE49-F238E27FC236}">
                    <a16:creationId xmlns:a16="http://schemas.microsoft.com/office/drawing/2014/main" id="{28E05319-651C-46E1-9E45-A60AC35F70A8}"/>
                  </a:ext>
                </a:extLst>
              </p:cNvPr>
              <p:cNvSpPr>
                <a:spLocks/>
              </p:cNvSpPr>
              <p:nvPr/>
            </p:nvSpPr>
            <p:spPr bwMode="gray">
              <a:xfrm>
                <a:off x="1436177" y="2596753"/>
                <a:ext cx="152400" cy="84138"/>
              </a:xfrm>
              <a:custGeom>
                <a:avLst/>
                <a:gdLst>
                  <a:gd name="T0" fmla="*/ 72 w 96"/>
                  <a:gd name="T1" fmla="*/ 53 h 53"/>
                  <a:gd name="T2" fmla="*/ 96 w 96"/>
                  <a:gd name="T3" fmla="*/ 53 h 53"/>
                  <a:gd name="T4" fmla="*/ 96 w 96"/>
                  <a:gd name="T5" fmla="*/ 0 h 53"/>
                  <a:gd name="T6" fmla="*/ 0 w 96"/>
                  <a:gd name="T7" fmla="*/ 0 h 53"/>
                  <a:gd name="T8" fmla="*/ 0 w 96"/>
                  <a:gd name="T9" fmla="*/ 53 h 53"/>
                  <a:gd name="T10" fmla="*/ 24 w 96"/>
                  <a:gd name="T11" fmla="*/ 53 h 53"/>
                </a:gdLst>
                <a:ahLst/>
                <a:cxnLst>
                  <a:cxn ang="0">
                    <a:pos x="T0" y="T1"/>
                  </a:cxn>
                  <a:cxn ang="0">
                    <a:pos x="T2" y="T3"/>
                  </a:cxn>
                  <a:cxn ang="0">
                    <a:pos x="T4" y="T5"/>
                  </a:cxn>
                  <a:cxn ang="0">
                    <a:pos x="T6" y="T7"/>
                  </a:cxn>
                  <a:cxn ang="0">
                    <a:pos x="T8" y="T9"/>
                  </a:cxn>
                  <a:cxn ang="0">
                    <a:pos x="T10" y="T11"/>
                  </a:cxn>
                </a:cxnLst>
                <a:rect l="0" t="0" r="r" b="b"/>
                <a:pathLst>
                  <a:path w="96" h="53">
                    <a:moveTo>
                      <a:pt x="72" y="53"/>
                    </a:moveTo>
                    <a:lnTo>
                      <a:pt x="96" y="53"/>
                    </a:lnTo>
                    <a:lnTo>
                      <a:pt x="96" y="0"/>
                    </a:lnTo>
                    <a:lnTo>
                      <a:pt x="0" y="0"/>
                    </a:lnTo>
                    <a:lnTo>
                      <a:pt x="0" y="53"/>
                    </a:lnTo>
                    <a:lnTo>
                      <a:pt x="24" y="53"/>
                    </a:lnTo>
                  </a:path>
                </a:pathLst>
              </a:cu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650" name="Freeform 84">
                <a:extLst>
                  <a:ext uri="{FF2B5EF4-FFF2-40B4-BE49-F238E27FC236}">
                    <a16:creationId xmlns:a16="http://schemas.microsoft.com/office/drawing/2014/main" id="{73ACB01C-64BC-4AD2-995D-71D5642372F8}"/>
                  </a:ext>
                </a:extLst>
              </p:cNvPr>
              <p:cNvSpPr>
                <a:spLocks/>
              </p:cNvSpPr>
              <p:nvPr/>
            </p:nvSpPr>
            <p:spPr bwMode="gray">
              <a:xfrm>
                <a:off x="1474277" y="2644378"/>
                <a:ext cx="76200" cy="74613"/>
              </a:xfrm>
              <a:prstGeom prst="ellipse">
                <a:avLst/>
              </a:pr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651" name="Freeform 85">
                <a:extLst>
                  <a:ext uri="{FF2B5EF4-FFF2-40B4-BE49-F238E27FC236}">
                    <a16:creationId xmlns:a16="http://schemas.microsoft.com/office/drawing/2014/main" id="{BF2418A5-13F6-4A6C-A875-BFB999659600}"/>
                  </a:ext>
                </a:extLst>
              </p:cNvPr>
              <p:cNvSpPr>
                <a:spLocks/>
              </p:cNvSpPr>
              <p:nvPr/>
            </p:nvSpPr>
            <p:spPr bwMode="gray">
              <a:xfrm>
                <a:off x="1236152" y="2644378"/>
                <a:ext cx="76200" cy="74613"/>
              </a:xfrm>
              <a:prstGeom prst="ellipse">
                <a:avLst/>
              </a:pr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652" name="Line 86">
                <a:extLst>
                  <a:ext uri="{FF2B5EF4-FFF2-40B4-BE49-F238E27FC236}">
                    <a16:creationId xmlns:a16="http://schemas.microsoft.com/office/drawing/2014/main" id="{8E3A251E-1834-4E77-9076-0DF8F1748E34}"/>
                  </a:ext>
                </a:extLst>
              </p:cNvPr>
              <p:cNvSpPr>
                <a:spLocks noChangeShapeType="1"/>
              </p:cNvSpPr>
              <p:nvPr/>
            </p:nvSpPr>
            <p:spPr bwMode="gray">
              <a:xfrm>
                <a:off x="1588577" y="2680890"/>
                <a:ext cx="0" cy="0"/>
              </a:xfrm>
              <a:prstGeom prst="line">
                <a:avLst/>
              </a:pr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653" name="Freeform: Shape 1652">
                <a:extLst>
                  <a:ext uri="{FF2B5EF4-FFF2-40B4-BE49-F238E27FC236}">
                    <a16:creationId xmlns:a16="http://schemas.microsoft.com/office/drawing/2014/main" id="{4FD316CD-BDFE-4F51-A602-91783163FFD7}"/>
                  </a:ext>
                </a:extLst>
              </p:cNvPr>
              <p:cNvSpPr/>
              <p:nvPr/>
            </p:nvSpPr>
            <p:spPr bwMode="gray">
              <a:xfrm>
                <a:off x="1192526" y="2467129"/>
                <a:ext cx="186499" cy="91523"/>
              </a:xfrm>
              <a:custGeom>
                <a:avLst/>
                <a:gdLst>
                  <a:gd name="connsiteX0" fmla="*/ 104016 w 186499"/>
                  <a:gd name="connsiteY0" fmla="*/ 0 h 91523"/>
                  <a:gd name="connsiteX1" fmla="*/ 112195 w 186499"/>
                  <a:gd name="connsiteY1" fmla="*/ 9910 h 91523"/>
                  <a:gd name="connsiteX2" fmla="*/ 112193 w 186499"/>
                  <a:gd name="connsiteY2" fmla="*/ 9948 h 91523"/>
                  <a:gd name="connsiteX3" fmla="*/ 116443 w 186499"/>
                  <a:gd name="connsiteY3" fmla="*/ 3346 h 91523"/>
                  <a:gd name="connsiteX4" fmla="*/ 125942 w 186499"/>
                  <a:gd name="connsiteY4" fmla="*/ 18099 h 91523"/>
                  <a:gd name="connsiteX5" fmla="*/ 136437 w 186499"/>
                  <a:gd name="connsiteY5" fmla="*/ 12186 h 91523"/>
                  <a:gd name="connsiteX6" fmla="*/ 142894 w 186499"/>
                  <a:gd name="connsiteY6" fmla="*/ 20010 h 91523"/>
                  <a:gd name="connsiteX7" fmla="*/ 153271 w 186499"/>
                  <a:gd name="connsiteY7" fmla="*/ 5928 h 91523"/>
                  <a:gd name="connsiteX8" fmla="*/ 159446 w 186499"/>
                  <a:gd name="connsiteY8" fmla="*/ 8683 h 91523"/>
                  <a:gd name="connsiteX9" fmla="*/ 164369 w 186499"/>
                  <a:gd name="connsiteY9" fmla="*/ 21555 h 91523"/>
                  <a:gd name="connsiteX10" fmla="*/ 179873 w 186499"/>
                  <a:gd name="connsiteY10" fmla="*/ 21555 h 91523"/>
                  <a:gd name="connsiteX11" fmla="*/ 182629 w 186499"/>
                  <a:gd name="connsiteY11" fmla="*/ 29169 h 91523"/>
                  <a:gd name="connsiteX12" fmla="*/ 186499 w 186499"/>
                  <a:gd name="connsiteY12" fmla="*/ 28452 h 91523"/>
                  <a:gd name="connsiteX13" fmla="*/ 186499 w 186499"/>
                  <a:gd name="connsiteY13" fmla="*/ 91523 h 91523"/>
                  <a:gd name="connsiteX14" fmla="*/ 3177 w 186499"/>
                  <a:gd name="connsiteY14" fmla="*/ 91523 h 91523"/>
                  <a:gd name="connsiteX15" fmla="*/ 0 w 186499"/>
                  <a:gd name="connsiteY15" fmla="*/ 82743 h 91523"/>
                  <a:gd name="connsiteX16" fmla="*/ 4865 w 186499"/>
                  <a:gd name="connsiteY16" fmla="*/ 69300 h 91523"/>
                  <a:gd name="connsiteX17" fmla="*/ 17503 w 186499"/>
                  <a:gd name="connsiteY17" fmla="*/ 45313 h 91523"/>
                  <a:gd name="connsiteX18" fmla="*/ 31994 w 186499"/>
                  <a:gd name="connsiteY18" fmla="*/ 43031 h 91523"/>
                  <a:gd name="connsiteX19" fmla="*/ 33150 w 186499"/>
                  <a:gd name="connsiteY19" fmla="*/ 46548 h 91523"/>
                  <a:gd name="connsiteX20" fmla="*/ 42988 w 186499"/>
                  <a:gd name="connsiteY20" fmla="*/ 46548 h 91523"/>
                  <a:gd name="connsiteX21" fmla="*/ 44874 w 186499"/>
                  <a:gd name="connsiteY21" fmla="*/ 24871 h 91523"/>
                  <a:gd name="connsiteX22" fmla="*/ 60687 w 186499"/>
                  <a:gd name="connsiteY22" fmla="*/ 24871 h 91523"/>
                  <a:gd name="connsiteX23" fmla="*/ 67955 w 186499"/>
                  <a:gd name="connsiteY23" fmla="*/ 19892 h 91523"/>
                  <a:gd name="connsiteX24" fmla="*/ 74131 w 186499"/>
                  <a:gd name="connsiteY24" fmla="*/ 22646 h 91523"/>
                  <a:gd name="connsiteX25" fmla="*/ 74713 w 186499"/>
                  <a:gd name="connsiteY25" fmla="*/ 24169 h 91523"/>
                  <a:gd name="connsiteX26" fmla="*/ 75659 w 186499"/>
                  <a:gd name="connsiteY26" fmla="*/ 21555 h 91523"/>
                  <a:gd name="connsiteX27" fmla="*/ 87816 w 186499"/>
                  <a:gd name="connsiteY27" fmla="*/ 21555 h 91523"/>
                  <a:gd name="connsiteX28" fmla="*/ 88527 w 186499"/>
                  <a:gd name="connsiteY28" fmla="*/ 8728 h 91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6499" h="91523">
                    <a:moveTo>
                      <a:pt x="104016" y="0"/>
                    </a:moveTo>
                    <a:lnTo>
                      <a:pt x="112195" y="9910"/>
                    </a:lnTo>
                    <a:cubicBezTo>
                      <a:pt x="112194" y="9923"/>
                      <a:pt x="112193" y="9935"/>
                      <a:pt x="112193" y="9948"/>
                    </a:cubicBezTo>
                    <a:lnTo>
                      <a:pt x="116443" y="3346"/>
                    </a:lnTo>
                    <a:lnTo>
                      <a:pt x="125942" y="18099"/>
                    </a:lnTo>
                    <a:lnTo>
                      <a:pt x="136437" y="12186"/>
                    </a:lnTo>
                    <a:lnTo>
                      <a:pt x="142894" y="20010"/>
                    </a:lnTo>
                    <a:lnTo>
                      <a:pt x="153271" y="5928"/>
                    </a:lnTo>
                    <a:lnTo>
                      <a:pt x="159446" y="8683"/>
                    </a:lnTo>
                    <a:lnTo>
                      <a:pt x="164369" y="21555"/>
                    </a:lnTo>
                    <a:lnTo>
                      <a:pt x="179873" y="21555"/>
                    </a:lnTo>
                    <a:lnTo>
                      <a:pt x="182629" y="29169"/>
                    </a:lnTo>
                    <a:lnTo>
                      <a:pt x="186499" y="28452"/>
                    </a:lnTo>
                    <a:lnTo>
                      <a:pt x="186499" y="91523"/>
                    </a:lnTo>
                    <a:lnTo>
                      <a:pt x="3177" y="91523"/>
                    </a:lnTo>
                    <a:lnTo>
                      <a:pt x="0" y="82743"/>
                    </a:lnTo>
                    <a:lnTo>
                      <a:pt x="4865" y="69300"/>
                    </a:lnTo>
                    <a:lnTo>
                      <a:pt x="17503" y="45313"/>
                    </a:lnTo>
                    <a:lnTo>
                      <a:pt x="31994" y="43031"/>
                    </a:lnTo>
                    <a:lnTo>
                      <a:pt x="33150" y="46548"/>
                    </a:lnTo>
                    <a:lnTo>
                      <a:pt x="42988" y="46548"/>
                    </a:lnTo>
                    <a:lnTo>
                      <a:pt x="44874" y="24871"/>
                    </a:lnTo>
                    <a:lnTo>
                      <a:pt x="60687" y="24871"/>
                    </a:lnTo>
                    <a:lnTo>
                      <a:pt x="67955" y="19892"/>
                    </a:lnTo>
                    <a:lnTo>
                      <a:pt x="74131" y="22646"/>
                    </a:lnTo>
                    <a:lnTo>
                      <a:pt x="74713" y="24169"/>
                    </a:lnTo>
                    <a:lnTo>
                      <a:pt x="75659" y="21555"/>
                    </a:lnTo>
                    <a:lnTo>
                      <a:pt x="87816" y="21555"/>
                    </a:lnTo>
                    <a:lnTo>
                      <a:pt x="88527" y="8728"/>
                    </a:lnTo>
                    <a:close/>
                  </a:path>
                </a:pathLst>
              </a:custGeom>
              <a:grpFill/>
              <a:ln w="12700">
                <a:solidFill>
                  <a:schemeClr val="tx1"/>
                </a:solidFill>
                <a:prstDash val="solid"/>
                <a:miter lim="800000"/>
                <a:headEnd/>
                <a:tailEnd/>
              </a:ln>
              <a:extLst/>
            </p:spPr>
            <p:txBody>
              <a:bodyPr vert="horz" wrap="square" lIns="91440" tIns="45720" rIns="91440" bIns="45720" numCol="1" anchor="t" anchorCtr="0" compatLnSpc="1">
                <a:prstTxWarp prst="textNoShape">
                  <a:avLst/>
                </a:prstTxWarp>
                <a:noAutofit/>
              </a:bodyPr>
              <a:lstStyle/>
              <a:p>
                <a:endParaRPr lang="en-US"/>
              </a:p>
            </p:txBody>
          </p:sp>
        </p:grpSp>
        <p:sp>
          <p:nvSpPr>
            <p:cNvPr id="1646" name="Rectangle 1645">
              <a:extLst>
                <a:ext uri="{FF2B5EF4-FFF2-40B4-BE49-F238E27FC236}">
                  <a16:creationId xmlns:a16="http://schemas.microsoft.com/office/drawing/2014/main" id="{F3B24FFB-F56C-46D2-AA15-BAC154678CBE}"/>
                </a:ext>
              </a:extLst>
            </p:cNvPr>
            <p:cNvSpPr/>
            <p:nvPr/>
          </p:nvSpPr>
          <p:spPr bwMode="gray">
            <a:xfrm>
              <a:off x="4529652" y="2582804"/>
              <a:ext cx="634944" cy="2296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Solid by-product</a:t>
              </a:r>
            </a:p>
          </p:txBody>
        </p:sp>
      </p:grpSp>
      <p:grpSp>
        <p:nvGrpSpPr>
          <p:cNvPr id="1654" name="Group 1653">
            <a:extLst>
              <a:ext uri="{FF2B5EF4-FFF2-40B4-BE49-F238E27FC236}">
                <a16:creationId xmlns:a16="http://schemas.microsoft.com/office/drawing/2014/main" id="{90D2918E-7A0A-4C91-939B-9E2849B9E357}"/>
              </a:ext>
            </a:extLst>
          </p:cNvPr>
          <p:cNvGrpSpPr/>
          <p:nvPr/>
        </p:nvGrpSpPr>
        <p:grpSpPr bwMode="gray">
          <a:xfrm>
            <a:off x="5720354" y="3141034"/>
            <a:ext cx="666130" cy="474191"/>
            <a:chOff x="4514059" y="2338295"/>
            <a:chExt cx="666130" cy="474191"/>
          </a:xfrm>
        </p:grpSpPr>
        <p:grpSp>
          <p:nvGrpSpPr>
            <p:cNvPr id="1655" name="Group 1654">
              <a:extLst>
                <a:ext uri="{FF2B5EF4-FFF2-40B4-BE49-F238E27FC236}">
                  <a16:creationId xmlns:a16="http://schemas.microsoft.com/office/drawing/2014/main" id="{1FD78D7A-239C-4F94-8444-301B267C826A}"/>
                </a:ext>
              </a:extLst>
            </p:cNvPr>
            <p:cNvGrpSpPr/>
            <p:nvPr/>
          </p:nvGrpSpPr>
          <p:grpSpPr bwMode="gray">
            <a:xfrm>
              <a:off x="4647099" y="2338295"/>
              <a:ext cx="400050" cy="251862"/>
              <a:chOff x="1188527" y="2467129"/>
              <a:chExt cx="400050" cy="251862"/>
            </a:xfrm>
            <a:solidFill>
              <a:schemeClr val="accent5"/>
            </a:solidFill>
          </p:grpSpPr>
          <p:sp>
            <p:nvSpPr>
              <p:cNvPr id="1657" name="Freeform: Shape 1656">
                <a:extLst>
                  <a:ext uri="{FF2B5EF4-FFF2-40B4-BE49-F238E27FC236}">
                    <a16:creationId xmlns:a16="http://schemas.microsoft.com/office/drawing/2014/main" id="{D638912A-6AE7-4D7A-AFFE-C7FF8472A175}"/>
                  </a:ext>
                </a:extLst>
              </p:cNvPr>
              <p:cNvSpPr>
                <a:spLocks/>
              </p:cNvSpPr>
              <p:nvPr/>
            </p:nvSpPr>
            <p:spPr bwMode="gray">
              <a:xfrm>
                <a:off x="1188527" y="2481222"/>
                <a:ext cx="281257" cy="199668"/>
              </a:xfrm>
              <a:custGeom>
                <a:avLst/>
                <a:gdLst>
                  <a:gd name="connsiteX0" fmla="*/ 190497 w 281257"/>
                  <a:gd name="connsiteY0" fmla="*/ 0 h 199668"/>
                  <a:gd name="connsiteX1" fmla="*/ 281257 w 281257"/>
                  <a:gd name="connsiteY1" fmla="*/ 0 h 199668"/>
                  <a:gd name="connsiteX2" fmla="*/ 281257 w 281257"/>
                  <a:gd name="connsiteY2" fmla="*/ 36242 h 199668"/>
                  <a:gd name="connsiteX3" fmla="*/ 247649 w 281257"/>
                  <a:gd name="connsiteY3" fmla="*/ 77432 h 199668"/>
                  <a:gd name="connsiteX4" fmla="*/ 247650 w 281257"/>
                  <a:gd name="connsiteY4" fmla="*/ 199668 h 199668"/>
                  <a:gd name="connsiteX5" fmla="*/ 123825 w 281257"/>
                  <a:gd name="connsiteY5" fmla="*/ 199668 h 199668"/>
                  <a:gd name="connsiteX6" fmla="*/ 123489 w 281257"/>
                  <a:gd name="connsiteY6" fmla="*/ 199668 h 199668"/>
                  <a:gd name="connsiteX7" fmla="*/ 112666 w 281257"/>
                  <a:gd name="connsiteY7" fmla="*/ 174083 h 199668"/>
                  <a:gd name="connsiteX8" fmla="*/ 85725 w 281257"/>
                  <a:gd name="connsiteY8" fmla="*/ 163156 h 199668"/>
                  <a:gd name="connsiteX9" fmla="*/ 58784 w 281257"/>
                  <a:gd name="connsiteY9" fmla="*/ 174083 h 199668"/>
                  <a:gd name="connsiteX10" fmla="*/ 47961 w 281257"/>
                  <a:gd name="connsiteY10" fmla="*/ 199668 h 199668"/>
                  <a:gd name="connsiteX11" fmla="*/ 47625 w 281257"/>
                  <a:gd name="connsiteY11" fmla="*/ 199668 h 199668"/>
                  <a:gd name="connsiteX12" fmla="*/ 0 w 281257"/>
                  <a:gd name="connsiteY12" fmla="*/ 199668 h 199668"/>
                  <a:gd name="connsiteX13" fmla="*/ 0 w 281257"/>
                  <a:gd name="connsiteY13" fmla="*/ 77432 h 199668"/>
                  <a:gd name="connsiteX14" fmla="*/ 190497 w 281257"/>
                  <a:gd name="connsiteY14" fmla="*/ 77432 h 19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257" h="199668">
                    <a:moveTo>
                      <a:pt x="190497" y="0"/>
                    </a:moveTo>
                    <a:lnTo>
                      <a:pt x="281257" y="0"/>
                    </a:lnTo>
                    <a:lnTo>
                      <a:pt x="281257" y="36242"/>
                    </a:lnTo>
                    <a:lnTo>
                      <a:pt x="247649" y="77432"/>
                    </a:lnTo>
                    <a:cubicBezTo>
                      <a:pt x="247649" y="118177"/>
                      <a:pt x="247650" y="158923"/>
                      <a:pt x="247650" y="199668"/>
                    </a:cubicBezTo>
                    <a:lnTo>
                      <a:pt x="123825" y="199668"/>
                    </a:lnTo>
                    <a:lnTo>
                      <a:pt x="123489" y="199668"/>
                    </a:lnTo>
                    <a:lnTo>
                      <a:pt x="112666" y="174083"/>
                    </a:lnTo>
                    <a:cubicBezTo>
                      <a:pt x="105771" y="167332"/>
                      <a:pt x="96246" y="163156"/>
                      <a:pt x="85725" y="163156"/>
                    </a:cubicBezTo>
                    <a:cubicBezTo>
                      <a:pt x="75204" y="163156"/>
                      <a:pt x="65679" y="167332"/>
                      <a:pt x="58784" y="174083"/>
                    </a:cubicBezTo>
                    <a:lnTo>
                      <a:pt x="47961" y="199668"/>
                    </a:lnTo>
                    <a:lnTo>
                      <a:pt x="47625" y="199668"/>
                    </a:lnTo>
                    <a:lnTo>
                      <a:pt x="0" y="199668"/>
                    </a:lnTo>
                    <a:lnTo>
                      <a:pt x="0" y="77432"/>
                    </a:lnTo>
                    <a:lnTo>
                      <a:pt x="190497" y="77432"/>
                    </a:lnTo>
                    <a:close/>
                  </a:path>
                </a:pathLst>
              </a:cu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noAutofit/>
              </a:bodyPr>
              <a:lstStyle/>
              <a:p>
                <a:endParaRPr lang="de-DE"/>
              </a:p>
            </p:txBody>
          </p:sp>
          <p:sp>
            <p:nvSpPr>
              <p:cNvPr id="1658" name="Freeform: Shape 1657">
                <a:extLst>
                  <a:ext uri="{FF2B5EF4-FFF2-40B4-BE49-F238E27FC236}">
                    <a16:creationId xmlns:a16="http://schemas.microsoft.com/office/drawing/2014/main" id="{9DD413A9-57BA-47FE-9CF7-705BB8587D9C}"/>
                  </a:ext>
                </a:extLst>
              </p:cNvPr>
              <p:cNvSpPr>
                <a:spLocks/>
              </p:cNvSpPr>
              <p:nvPr/>
            </p:nvSpPr>
            <p:spPr bwMode="gray">
              <a:xfrm>
                <a:off x="1436177" y="2541270"/>
                <a:ext cx="95250" cy="55483"/>
              </a:xfrm>
              <a:custGeom>
                <a:avLst/>
                <a:gdLst>
                  <a:gd name="connsiteX0" fmla="*/ 13774 w 95250"/>
                  <a:gd name="connsiteY0" fmla="*/ 0 h 55483"/>
                  <a:gd name="connsiteX1" fmla="*/ 88167 w 95250"/>
                  <a:gd name="connsiteY1" fmla="*/ 0 h 55483"/>
                  <a:gd name="connsiteX2" fmla="*/ 95250 w 95250"/>
                  <a:gd name="connsiteY2" fmla="*/ 55483 h 55483"/>
                  <a:gd name="connsiteX3" fmla="*/ 0 w 95250"/>
                  <a:gd name="connsiteY3" fmla="*/ 55483 h 55483"/>
                  <a:gd name="connsiteX4" fmla="*/ 0 w 95250"/>
                  <a:gd name="connsiteY4" fmla="*/ 17384 h 55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55483">
                    <a:moveTo>
                      <a:pt x="13774" y="0"/>
                    </a:moveTo>
                    <a:lnTo>
                      <a:pt x="88167" y="0"/>
                    </a:lnTo>
                    <a:lnTo>
                      <a:pt x="95250" y="55483"/>
                    </a:lnTo>
                    <a:lnTo>
                      <a:pt x="0" y="55483"/>
                    </a:lnTo>
                    <a:lnTo>
                      <a:pt x="0" y="17384"/>
                    </a:lnTo>
                    <a:close/>
                  </a:path>
                </a:pathLst>
              </a:cu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noAutofit/>
              </a:bodyPr>
              <a:lstStyle/>
              <a:p>
                <a:endParaRPr lang="de-DE"/>
              </a:p>
            </p:txBody>
          </p:sp>
          <p:sp>
            <p:nvSpPr>
              <p:cNvPr id="1659" name="Freeform 83">
                <a:extLst>
                  <a:ext uri="{FF2B5EF4-FFF2-40B4-BE49-F238E27FC236}">
                    <a16:creationId xmlns:a16="http://schemas.microsoft.com/office/drawing/2014/main" id="{1FD264F3-8945-4AFB-8508-DB16425C9368}"/>
                  </a:ext>
                </a:extLst>
              </p:cNvPr>
              <p:cNvSpPr>
                <a:spLocks/>
              </p:cNvSpPr>
              <p:nvPr/>
            </p:nvSpPr>
            <p:spPr bwMode="gray">
              <a:xfrm>
                <a:off x="1436177" y="2596753"/>
                <a:ext cx="152400" cy="84138"/>
              </a:xfrm>
              <a:custGeom>
                <a:avLst/>
                <a:gdLst>
                  <a:gd name="T0" fmla="*/ 72 w 96"/>
                  <a:gd name="T1" fmla="*/ 53 h 53"/>
                  <a:gd name="T2" fmla="*/ 96 w 96"/>
                  <a:gd name="T3" fmla="*/ 53 h 53"/>
                  <a:gd name="T4" fmla="*/ 96 w 96"/>
                  <a:gd name="T5" fmla="*/ 0 h 53"/>
                  <a:gd name="T6" fmla="*/ 0 w 96"/>
                  <a:gd name="T7" fmla="*/ 0 h 53"/>
                  <a:gd name="T8" fmla="*/ 0 w 96"/>
                  <a:gd name="T9" fmla="*/ 53 h 53"/>
                  <a:gd name="T10" fmla="*/ 24 w 96"/>
                  <a:gd name="T11" fmla="*/ 53 h 53"/>
                </a:gdLst>
                <a:ahLst/>
                <a:cxnLst>
                  <a:cxn ang="0">
                    <a:pos x="T0" y="T1"/>
                  </a:cxn>
                  <a:cxn ang="0">
                    <a:pos x="T2" y="T3"/>
                  </a:cxn>
                  <a:cxn ang="0">
                    <a:pos x="T4" y="T5"/>
                  </a:cxn>
                  <a:cxn ang="0">
                    <a:pos x="T6" y="T7"/>
                  </a:cxn>
                  <a:cxn ang="0">
                    <a:pos x="T8" y="T9"/>
                  </a:cxn>
                  <a:cxn ang="0">
                    <a:pos x="T10" y="T11"/>
                  </a:cxn>
                </a:cxnLst>
                <a:rect l="0" t="0" r="r" b="b"/>
                <a:pathLst>
                  <a:path w="96" h="53">
                    <a:moveTo>
                      <a:pt x="72" y="53"/>
                    </a:moveTo>
                    <a:lnTo>
                      <a:pt x="96" y="53"/>
                    </a:lnTo>
                    <a:lnTo>
                      <a:pt x="96" y="0"/>
                    </a:lnTo>
                    <a:lnTo>
                      <a:pt x="0" y="0"/>
                    </a:lnTo>
                    <a:lnTo>
                      <a:pt x="0" y="53"/>
                    </a:lnTo>
                    <a:lnTo>
                      <a:pt x="24" y="53"/>
                    </a:lnTo>
                  </a:path>
                </a:pathLst>
              </a:cu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660" name="Freeform 84">
                <a:extLst>
                  <a:ext uri="{FF2B5EF4-FFF2-40B4-BE49-F238E27FC236}">
                    <a16:creationId xmlns:a16="http://schemas.microsoft.com/office/drawing/2014/main" id="{E54301EB-C60E-4EFE-AEDF-5EA42E76CD0F}"/>
                  </a:ext>
                </a:extLst>
              </p:cNvPr>
              <p:cNvSpPr>
                <a:spLocks/>
              </p:cNvSpPr>
              <p:nvPr/>
            </p:nvSpPr>
            <p:spPr bwMode="gray">
              <a:xfrm>
                <a:off x="1474277" y="2644378"/>
                <a:ext cx="76200" cy="74613"/>
              </a:xfrm>
              <a:prstGeom prst="ellipse">
                <a:avLst/>
              </a:pr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661" name="Freeform 85">
                <a:extLst>
                  <a:ext uri="{FF2B5EF4-FFF2-40B4-BE49-F238E27FC236}">
                    <a16:creationId xmlns:a16="http://schemas.microsoft.com/office/drawing/2014/main" id="{309B9B59-4EFA-4E53-B6BC-7D91F91886A5}"/>
                  </a:ext>
                </a:extLst>
              </p:cNvPr>
              <p:cNvSpPr>
                <a:spLocks/>
              </p:cNvSpPr>
              <p:nvPr/>
            </p:nvSpPr>
            <p:spPr bwMode="gray">
              <a:xfrm>
                <a:off x="1236152" y="2644378"/>
                <a:ext cx="76200" cy="74613"/>
              </a:xfrm>
              <a:prstGeom prst="ellipse">
                <a:avLst/>
              </a:pr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662" name="Line 86">
                <a:extLst>
                  <a:ext uri="{FF2B5EF4-FFF2-40B4-BE49-F238E27FC236}">
                    <a16:creationId xmlns:a16="http://schemas.microsoft.com/office/drawing/2014/main" id="{2AAE6BC1-C28F-42B6-9B26-434CAF7207FE}"/>
                  </a:ext>
                </a:extLst>
              </p:cNvPr>
              <p:cNvSpPr>
                <a:spLocks noChangeShapeType="1"/>
              </p:cNvSpPr>
              <p:nvPr/>
            </p:nvSpPr>
            <p:spPr bwMode="gray">
              <a:xfrm>
                <a:off x="1588577" y="2680890"/>
                <a:ext cx="0" cy="0"/>
              </a:xfrm>
              <a:prstGeom prst="line">
                <a:avLst/>
              </a:prstGeom>
              <a:grpFill/>
              <a:ln w="12700">
                <a:solidFill>
                  <a:srgbClr val="000000"/>
                </a:solidFill>
                <a:prstDash val="solid"/>
                <a:round/>
                <a:headEnd/>
                <a:tailEnd/>
              </a:ln>
              <a:extLst/>
            </p:spPr>
            <p:txBody>
              <a:bodyPr vert="horz" wrap="square" lIns="91440" tIns="45720" rIns="91440" bIns="45720" numCol="1" anchor="t" anchorCtr="0" compatLnSpc="1">
                <a:prstTxWarp prst="textNoShape">
                  <a:avLst/>
                </a:prstTxWarp>
              </a:bodyPr>
              <a:lstStyle/>
              <a:p>
                <a:endParaRPr lang="de-DE"/>
              </a:p>
            </p:txBody>
          </p:sp>
          <p:sp>
            <p:nvSpPr>
              <p:cNvPr id="1663" name="Freeform: Shape 1662">
                <a:extLst>
                  <a:ext uri="{FF2B5EF4-FFF2-40B4-BE49-F238E27FC236}">
                    <a16:creationId xmlns:a16="http://schemas.microsoft.com/office/drawing/2014/main" id="{948251A3-0D5C-452F-90B5-57962FF3C42C}"/>
                  </a:ext>
                </a:extLst>
              </p:cNvPr>
              <p:cNvSpPr/>
              <p:nvPr/>
            </p:nvSpPr>
            <p:spPr bwMode="gray">
              <a:xfrm>
                <a:off x="1192526" y="2467129"/>
                <a:ext cx="186499" cy="91523"/>
              </a:xfrm>
              <a:custGeom>
                <a:avLst/>
                <a:gdLst>
                  <a:gd name="connsiteX0" fmla="*/ 104016 w 186499"/>
                  <a:gd name="connsiteY0" fmla="*/ 0 h 91523"/>
                  <a:gd name="connsiteX1" fmla="*/ 112195 w 186499"/>
                  <a:gd name="connsiteY1" fmla="*/ 9910 h 91523"/>
                  <a:gd name="connsiteX2" fmla="*/ 112193 w 186499"/>
                  <a:gd name="connsiteY2" fmla="*/ 9948 h 91523"/>
                  <a:gd name="connsiteX3" fmla="*/ 116443 w 186499"/>
                  <a:gd name="connsiteY3" fmla="*/ 3346 h 91523"/>
                  <a:gd name="connsiteX4" fmla="*/ 125942 w 186499"/>
                  <a:gd name="connsiteY4" fmla="*/ 18099 h 91523"/>
                  <a:gd name="connsiteX5" fmla="*/ 136437 w 186499"/>
                  <a:gd name="connsiteY5" fmla="*/ 12186 h 91523"/>
                  <a:gd name="connsiteX6" fmla="*/ 142894 w 186499"/>
                  <a:gd name="connsiteY6" fmla="*/ 20010 h 91523"/>
                  <a:gd name="connsiteX7" fmla="*/ 153271 w 186499"/>
                  <a:gd name="connsiteY7" fmla="*/ 5928 h 91523"/>
                  <a:gd name="connsiteX8" fmla="*/ 159446 w 186499"/>
                  <a:gd name="connsiteY8" fmla="*/ 8683 h 91523"/>
                  <a:gd name="connsiteX9" fmla="*/ 164369 w 186499"/>
                  <a:gd name="connsiteY9" fmla="*/ 21555 h 91523"/>
                  <a:gd name="connsiteX10" fmla="*/ 179873 w 186499"/>
                  <a:gd name="connsiteY10" fmla="*/ 21555 h 91523"/>
                  <a:gd name="connsiteX11" fmla="*/ 182629 w 186499"/>
                  <a:gd name="connsiteY11" fmla="*/ 29169 h 91523"/>
                  <a:gd name="connsiteX12" fmla="*/ 186499 w 186499"/>
                  <a:gd name="connsiteY12" fmla="*/ 28452 h 91523"/>
                  <a:gd name="connsiteX13" fmla="*/ 186499 w 186499"/>
                  <a:gd name="connsiteY13" fmla="*/ 91523 h 91523"/>
                  <a:gd name="connsiteX14" fmla="*/ 3177 w 186499"/>
                  <a:gd name="connsiteY14" fmla="*/ 91523 h 91523"/>
                  <a:gd name="connsiteX15" fmla="*/ 0 w 186499"/>
                  <a:gd name="connsiteY15" fmla="*/ 82743 h 91523"/>
                  <a:gd name="connsiteX16" fmla="*/ 4865 w 186499"/>
                  <a:gd name="connsiteY16" fmla="*/ 69300 h 91523"/>
                  <a:gd name="connsiteX17" fmla="*/ 17503 w 186499"/>
                  <a:gd name="connsiteY17" fmla="*/ 45313 h 91523"/>
                  <a:gd name="connsiteX18" fmla="*/ 31994 w 186499"/>
                  <a:gd name="connsiteY18" fmla="*/ 43031 h 91523"/>
                  <a:gd name="connsiteX19" fmla="*/ 33150 w 186499"/>
                  <a:gd name="connsiteY19" fmla="*/ 46548 h 91523"/>
                  <a:gd name="connsiteX20" fmla="*/ 42988 w 186499"/>
                  <a:gd name="connsiteY20" fmla="*/ 46548 h 91523"/>
                  <a:gd name="connsiteX21" fmla="*/ 44874 w 186499"/>
                  <a:gd name="connsiteY21" fmla="*/ 24871 h 91523"/>
                  <a:gd name="connsiteX22" fmla="*/ 60687 w 186499"/>
                  <a:gd name="connsiteY22" fmla="*/ 24871 h 91523"/>
                  <a:gd name="connsiteX23" fmla="*/ 67955 w 186499"/>
                  <a:gd name="connsiteY23" fmla="*/ 19892 h 91523"/>
                  <a:gd name="connsiteX24" fmla="*/ 74131 w 186499"/>
                  <a:gd name="connsiteY24" fmla="*/ 22646 h 91523"/>
                  <a:gd name="connsiteX25" fmla="*/ 74713 w 186499"/>
                  <a:gd name="connsiteY25" fmla="*/ 24169 h 91523"/>
                  <a:gd name="connsiteX26" fmla="*/ 75659 w 186499"/>
                  <a:gd name="connsiteY26" fmla="*/ 21555 h 91523"/>
                  <a:gd name="connsiteX27" fmla="*/ 87816 w 186499"/>
                  <a:gd name="connsiteY27" fmla="*/ 21555 h 91523"/>
                  <a:gd name="connsiteX28" fmla="*/ 88527 w 186499"/>
                  <a:gd name="connsiteY28" fmla="*/ 8728 h 91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6499" h="91523">
                    <a:moveTo>
                      <a:pt x="104016" y="0"/>
                    </a:moveTo>
                    <a:lnTo>
                      <a:pt x="112195" y="9910"/>
                    </a:lnTo>
                    <a:cubicBezTo>
                      <a:pt x="112194" y="9923"/>
                      <a:pt x="112193" y="9935"/>
                      <a:pt x="112193" y="9948"/>
                    </a:cubicBezTo>
                    <a:lnTo>
                      <a:pt x="116443" y="3346"/>
                    </a:lnTo>
                    <a:lnTo>
                      <a:pt x="125942" y="18099"/>
                    </a:lnTo>
                    <a:lnTo>
                      <a:pt x="136437" y="12186"/>
                    </a:lnTo>
                    <a:lnTo>
                      <a:pt x="142894" y="20010"/>
                    </a:lnTo>
                    <a:lnTo>
                      <a:pt x="153271" y="5928"/>
                    </a:lnTo>
                    <a:lnTo>
                      <a:pt x="159446" y="8683"/>
                    </a:lnTo>
                    <a:lnTo>
                      <a:pt x="164369" y="21555"/>
                    </a:lnTo>
                    <a:lnTo>
                      <a:pt x="179873" y="21555"/>
                    </a:lnTo>
                    <a:lnTo>
                      <a:pt x="182629" y="29169"/>
                    </a:lnTo>
                    <a:lnTo>
                      <a:pt x="186499" y="28452"/>
                    </a:lnTo>
                    <a:lnTo>
                      <a:pt x="186499" y="91523"/>
                    </a:lnTo>
                    <a:lnTo>
                      <a:pt x="3177" y="91523"/>
                    </a:lnTo>
                    <a:lnTo>
                      <a:pt x="0" y="82743"/>
                    </a:lnTo>
                    <a:lnTo>
                      <a:pt x="4865" y="69300"/>
                    </a:lnTo>
                    <a:lnTo>
                      <a:pt x="17503" y="45313"/>
                    </a:lnTo>
                    <a:lnTo>
                      <a:pt x="31994" y="43031"/>
                    </a:lnTo>
                    <a:lnTo>
                      <a:pt x="33150" y="46548"/>
                    </a:lnTo>
                    <a:lnTo>
                      <a:pt x="42988" y="46548"/>
                    </a:lnTo>
                    <a:lnTo>
                      <a:pt x="44874" y="24871"/>
                    </a:lnTo>
                    <a:lnTo>
                      <a:pt x="60687" y="24871"/>
                    </a:lnTo>
                    <a:lnTo>
                      <a:pt x="67955" y="19892"/>
                    </a:lnTo>
                    <a:lnTo>
                      <a:pt x="74131" y="22646"/>
                    </a:lnTo>
                    <a:lnTo>
                      <a:pt x="74713" y="24169"/>
                    </a:lnTo>
                    <a:lnTo>
                      <a:pt x="75659" y="21555"/>
                    </a:lnTo>
                    <a:lnTo>
                      <a:pt x="87816" y="21555"/>
                    </a:lnTo>
                    <a:lnTo>
                      <a:pt x="88527" y="8728"/>
                    </a:lnTo>
                    <a:close/>
                  </a:path>
                </a:pathLst>
              </a:custGeom>
              <a:grpFill/>
              <a:ln w="12700">
                <a:solidFill>
                  <a:schemeClr val="tx1"/>
                </a:solidFill>
                <a:prstDash val="solid"/>
                <a:miter lim="800000"/>
                <a:headEnd/>
                <a:tailEnd/>
              </a:ln>
              <a:extLst/>
            </p:spPr>
            <p:txBody>
              <a:bodyPr vert="horz" wrap="square" lIns="91440" tIns="45720" rIns="91440" bIns="45720" numCol="1" anchor="t" anchorCtr="0" compatLnSpc="1">
                <a:prstTxWarp prst="textNoShape">
                  <a:avLst/>
                </a:prstTxWarp>
                <a:noAutofit/>
              </a:bodyPr>
              <a:lstStyle/>
              <a:p>
                <a:endParaRPr lang="en-US"/>
              </a:p>
            </p:txBody>
          </p:sp>
        </p:grpSp>
        <p:sp>
          <p:nvSpPr>
            <p:cNvPr id="1656" name="Rectangle 1655">
              <a:extLst>
                <a:ext uri="{FF2B5EF4-FFF2-40B4-BE49-F238E27FC236}">
                  <a16:creationId xmlns:a16="http://schemas.microsoft.com/office/drawing/2014/main" id="{BCB2C7DC-21D0-49AA-9F43-2A39555599AB}"/>
                </a:ext>
              </a:extLst>
            </p:cNvPr>
            <p:cNvSpPr/>
            <p:nvPr/>
          </p:nvSpPr>
          <p:spPr bwMode="gray">
            <a:xfrm>
              <a:off x="4514059" y="2582804"/>
              <a:ext cx="666130" cy="2296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Sulfur by-product</a:t>
              </a:r>
            </a:p>
          </p:txBody>
        </p:sp>
      </p:grpSp>
      <p:grpSp>
        <p:nvGrpSpPr>
          <p:cNvPr id="1665" name="Group 1664">
            <a:extLst>
              <a:ext uri="{FF2B5EF4-FFF2-40B4-BE49-F238E27FC236}">
                <a16:creationId xmlns:a16="http://schemas.microsoft.com/office/drawing/2014/main" id="{D0F6966C-2F62-49C1-A7AC-A3170C79E338}"/>
              </a:ext>
            </a:extLst>
          </p:cNvPr>
          <p:cNvGrpSpPr/>
          <p:nvPr/>
        </p:nvGrpSpPr>
        <p:grpSpPr bwMode="gray">
          <a:xfrm>
            <a:off x="442796" y="3134360"/>
            <a:ext cx="1083158" cy="441449"/>
            <a:chOff x="1591462" y="3153981"/>
            <a:chExt cx="1083158" cy="441449"/>
          </a:xfrm>
        </p:grpSpPr>
        <p:sp>
          <p:nvSpPr>
            <p:cNvPr id="921" name="Freeform: Shape 920">
              <a:extLst>
                <a:ext uri="{FF2B5EF4-FFF2-40B4-BE49-F238E27FC236}">
                  <a16:creationId xmlns:a16="http://schemas.microsoft.com/office/drawing/2014/main" id="{20ABB4C6-B2DA-44FD-8C0B-AE3A5540F130}"/>
                </a:ext>
              </a:extLst>
            </p:cNvPr>
            <p:cNvSpPr/>
            <p:nvPr/>
          </p:nvSpPr>
          <p:spPr bwMode="gray">
            <a:xfrm>
              <a:off x="1937102" y="3153981"/>
              <a:ext cx="391878" cy="202331"/>
            </a:xfrm>
            <a:custGeom>
              <a:avLst/>
              <a:gdLst>
                <a:gd name="connsiteX0" fmla="*/ 509767 w 930190"/>
                <a:gd name="connsiteY0" fmla="*/ 0 h 336789"/>
                <a:gd name="connsiteX1" fmla="*/ 511596 w 930190"/>
                <a:gd name="connsiteY1" fmla="*/ 117 h 336789"/>
                <a:gd name="connsiteX2" fmla="*/ 512928 w 930190"/>
                <a:gd name="connsiteY2" fmla="*/ 1208 h 336789"/>
                <a:gd name="connsiteX3" fmla="*/ 513201 w 930190"/>
                <a:gd name="connsiteY3" fmla="*/ 2220 h 336789"/>
                <a:gd name="connsiteX4" fmla="*/ 513640 w 930190"/>
                <a:gd name="connsiteY4" fmla="*/ 2008 h 336789"/>
                <a:gd name="connsiteX5" fmla="*/ 515470 w 930190"/>
                <a:gd name="connsiteY5" fmla="*/ 2126 h 336789"/>
                <a:gd name="connsiteX6" fmla="*/ 515929 w 930190"/>
                <a:gd name="connsiteY6" fmla="*/ 2502 h 336789"/>
                <a:gd name="connsiteX7" fmla="*/ 517283 w 930190"/>
                <a:gd name="connsiteY7" fmla="*/ 2495 h 336789"/>
                <a:gd name="connsiteX8" fmla="*/ 518686 w 930190"/>
                <a:gd name="connsiteY8" fmla="*/ 3294 h 336789"/>
                <a:gd name="connsiteX9" fmla="*/ 518966 w 930190"/>
                <a:gd name="connsiteY9" fmla="*/ 3312 h 336789"/>
                <a:gd name="connsiteX10" fmla="*/ 519728 w 930190"/>
                <a:gd name="connsiteY10" fmla="*/ 2719 h 336789"/>
                <a:gd name="connsiteX11" fmla="*/ 521733 w 930190"/>
                <a:gd name="connsiteY11" fmla="*/ 2393 h 336789"/>
                <a:gd name="connsiteX12" fmla="*/ 523321 w 930190"/>
                <a:gd name="connsiteY12" fmla="*/ 3297 h 336789"/>
                <a:gd name="connsiteX13" fmla="*/ 523608 w 930190"/>
                <a:gd name="connsiteY13" fmla="*/ 4026 h 336789"/>
                <a:gd name="connsiteX14" fmla="*/ 524923 w 930190"/>
                <a:gd name="connsiteY14" fmla="*/ 4110 h 336789"/>
                <a:gd name="connsiteX15" fmla="*/ 526255 w 930190"/>
                <a:gd name="connsiteY15" fmla="*/ 5201 h 336789"/>
                <a:gd name="connsiteX16" fmla="*/ 526733 w 930190"/>
                <a:gd name="connsiteY16" fmla="*/ 6972 h 336789"/>
                <a:gd name="connsiteX17" fmla="*/ 526657 w 930190"/>
                <a:gd name="connsiteY17" fmla="*/ 7266 h 336789"/>
                <a:gd name="connsiteX18" fmla="*/ 527002 w 930190"/>
                <a:gd name="connsiteY18" fmla="*/ 7463 h 336789"/>
                <a:gd name="connsiteX19" fmla="*/ 529145 w 930190"/>
                <a:gd name="connsiteY19" fmla="*/ 5797 h 336789"/>
                <a:gd name="connsiteX20" fmla="*/ 534102 w 930190"/>
                <a:gd name="connsiteY20" fmla="*/ 4991 h 336789"/>
                <a:gd name="connsiteX21" fmla="*/ 538026 w 930190"/>
                <a:gd name="connsiteY21" fmla="*/ 7226 h 336789"/>
                <a:gd name="connsiteX22" fmla="*/ 538232 w 930190"/>
                <a:gd name="connsiteY22" fmla="*/ 7750 h 336789"/>
                <a:gd name="connsiteX23" fmla="*/ 538263 w 930190"/>
                <a:gd name="connsiteY23" fmla="*/ 7721 h 336789"/>
                <a:gd name="connsiteX24" fmla="*/ 540034 w 930190"/>
                <a:gd name="connsiteY24" fmla="*/ 7269 h 336789"/>
                <a:gd name="connsiteX25" fmla="*/ 541792 w 930190"/>
                <a:gd name="connsiteY25" fmla="*/ 7762 h 336789"/>
                <a:gd name="connsiteX26" fmla="*/ 542482 w 930190"/>
                <a:gd name="connsiteY26" fmla="*/ 8469 h 336789"/>
                <a:gd name="connsiteX27" fmla="*/ 544521 w 930190"/>
                <a:gd name="connsiteY27" fmla="*/ 7651 h 336789"/>
                <a:gd name="connsiteX28" fmla="*/ 546541 w 930190"/>
                <a:gd name="connsiteY28" fmla="*/ 7892 h 336789"/>
                <a:gd name="connsiteX29" fmla="*/ 547817 w 930190"/>
                <a:gd name="connsiteY29" fmla="*/ 9198 h 336789"/>
                <a:gd name="connsiteX30" fmla="*/ 547970 w 930190"/>
                <a:gd name="connsiteY30" fmla="*/ 10821 h 336789"/>
                <a:gd name="connsiteX31" fmla="*/ 548370 w 930190"/>
                <a:gd name="connsiteY31" fmla="*/ 10869 h 336789"/>
                <a:gd name="connsiteX32" fmla="*/ 549646 w 930190"/>
                <a:gd name="connsiteY32" fmla="*/ 12177 h 336789"/>
                <a:gd name="connsiteX33" fmla="*/ 549713 w 930190"/>
                <a:gd name="connsiteY33" fmla="*/ 12878 h 336789"/>
                <a:gd name="connsiteX34" fmla="*/ 549858 w 930190"/>
                <a:gd name="connsiteY34" fmla="*/ 12736 h 336789"/>
                <a:gd name="connsiteX35" fmla="*/ 552260 w 930190"/>
                <a:gd name="connsiteY35" fmla="*/ 12032 h 336789"/>
                <a:gd name="connsiteX36" fmla="*/ 554593 w 930190"/>
                <a:gd name="connsiteY36" fmla="*/ 12596 h 336789"/>
                <a:gd name="connsiteX37" fmla="*/ 556235 w 930190"/>
                <a:gd name="connsiteY37" fmla="*/ 14276 h 336789"/>
                <a:gd name="connsiteX38" fmla="*/ 556742 w 930190"/>
                <a:gd name="connsiteY38" fmla="*/ 16623 h 336789"/>
                <a:gd name="connsiteX39" fmla="*/ 556267 w 930190"/>
                <a:gd name="connsiteY39" fmla="*/ 18110 h 336789"/>
                <a:gd name="connsiteX40" fmla="*/ 558068 w 930190"/>
                <a:gd name="connsiteY40" fmla="*/ 19135 h 336789"/>
                <a:gd name="connsiteX41" fmla="*/ 558091 w 930190"/>
                <a:gd name="connsiteY41" fmla="*/ 19049 h 336789"/>
                <a:gd name="connsiteX42" fmla="*/ 561323 w 930190"/>
                <a:gd name="connsiteY42" fmla="*/ 15895 h 336789"/>
                <a:gd name="connsiteX43" fmla="*/ 565699 w 930190"/>
                <a:gd name="connsiteY43" fmla="*/ 14778 h 336789"/>
                <a:gd name="connsiteX44" fmla="*/ 570046 w 930190"/>
                <a:gd name="connsiteY44" fmla="*/ 15998 h 336789"/>
                <a:gd name="connsiteX45" fmla="*/ 571377 w 930190"/>
                <a:gd name="connsiteY45" fmla="*/ 17362 h 336789"/>
                <a:gd name="connsiteX46" fmla="*/ 578085 w 930190"/>
                <a:gd name="connsiteY46" fmla="*/ 17362 h 336789"/>
                <a:gd name="connsiteX47" fmla="*/ 579334 w 930190"/>
                <a:gd name="connsiteY47" fmla="*/ 17043 h 336789"/>
                <a:gd name="connsiteX48" fmla="*/ 580471 w 930190"/>
                <a:gd name="connsiteY48" fmla="*/ 17362 h 336789"/>
                <a:gd name="connsiteX49" fmla="*/ 586473 w 930190"/>
                <a:gd name="connsiteY49" fmla="*/ 17362 h 336789"/>
                <a:gd name="connsiteX50" fmla="*/ 588625 w 930190"/>
                <a:gd name="connsiteY50" fmla="*/ 18712 h 336789"/>
                <a:gd name="connsiteX51" fmla="*/ 590429 w 930190"/>
                <a:gd name="connsiteY51" fmla="*/ 17986 h 336789"/>
                <a:gd name="connsiteX52" fmla="*/ 595417 w 930190"/>
                <a:gd name="connsiteY52" fmla="*/ 18581 h 336789"/>
                <a:gd name="connsiteX53" fmla="*/ 598573 w 930190"/>
                <a:gd name="connsiteY53" fmla="*/ 21813 h 336789"/>
                <a:gd name="connsiteX54" fmla="*/ 598890 w 930190"/>
                <a:gd name="connsiteY54" fmla="*/ 25152 h 336789"/>
                <a:gd name="connsiteX55" fmla="*/ 601888 w 930190"/>
                <a:gd name="connsiteY55" fmla="*/ 27034 h 336789"/>
                <a:gd name="connsiteX56" fmla="*/ 602942 w 930190"/>
                <a:gd name="connsiteY56" fmla="*/ 29015 h 336789"/>
                <a:gd name="connsiteX57" fmla="*/ 603095 w 930190"/>
                <a:gd name="connsiteY57" fmla="*/ 29173 h 336789"/>
                <a:gd name="connsiteX58" fmla="*/ 603111 w 930190"/>
                <a:gd name="connsiteY58" fmla="*/ 29334 h 336789"/>
                <a:gd name="connsiteX59" fmla="*/ 603741 w 930190"/>
                <a:gd name="connsiteY59" fmla="*/ 30519 h 336789"/>
                <a:gd name="connsiteX60" fmla="*/ 609555 w 930190"/>
                <a:gd name="connsiteY60" fmla="*/ 28816 h 336789"/>
                <a:gd name="connsiteX61" fmla="*/ 615325 w 930190"/>
                <a:gd name="connsiteY61" fmla="*/ 30209 h 336789"/>
                <a:gd name="connsiteX62" fmla="*/ 619381 w 930190"/>
                <a:gd name="connsiteY62" fmla="*/ 34363 h 336789"/>
                <a:gd name="connsiteX63" fmla="*/ 620274 w 930190"/>
                <a:gd name="connsiteY63" fmla="*/ 38495 h 336789"/>
                <a:gd name="connsiteX64" fmla="*/ 627502 w 930190"/>
                <a:gd name="connsiteY64" fmla="*/ 38496 h 336789"/>
                <a:gd name="connsiteX65" fmla="*/ 642917 w 930190"/>
                <a:gd name="connsiteY65" fmla="*/ 48168 h 336789"/>
                <a:gd name="connsiteX66" fmla="*/ 650319 w 930190"/>
                <a:gd name="connsiteY66" fmla="*/ 62098 h 336789"/>
                <a:gd name="connsiteX67" fmla="*/ 657325 w 930190"/>
                <a:gd name="connsiteY67" fmla="*/ 57701 h 336789"/>
                <a:gd name="connsiteX68" fmla="*/ 675127 w 930190"/>
                <a:gd name="connsiteY68" fmla="*/ 57701 h 336789"/>
                <a:gd name="connsiteX69" fmla="*/ 690543 w 930190"/>
                <a:gd name="connsiteY69" fmla="*/ 67374 h 336789"/>
                <a:gd name="connsiteX70" fmla="*/ 692666 w 930190"/>
                <a:gd name="connsiteY70" fmla="*/ 71373 h 336789"/>
                <a:gd name="connsiteX71" fmla="*/ 701471 w 930190"/>
                <a:gd name="connsiteY71" fmla="*/ 65848 h 336789"/>
                <a:gd name="connsiteX72" fmla="*/ 719272 w 930190"/>
                <a:gd name="connsiteY72" fmla="*/ 65847 h 336789"/>
                <a:gd name="connsiteX73" fmla="*/ 734686 w 930190"/>
                <a:gd name="connsiteY73" fmla="*/ 75520 h 336789"/>
                <a:gd name="connsiteX74" fmla="*/ 743589 w 930190"/>
                <a:gd name="connsiteY74" fmla="*/ 92272 h 336789"/>
                <a:gd name="connsiteX75" fmla="*/ 743588 w 930190"/>
                <a:gd name="connsiteY75" fmla="*/ 108532 h 336789"/>
                <a:gd name="connsiteX76" fmla="*/ 746678 w 930190"/>
                <a:gd name="connsiteY76" fmla="*/ 109424 h 336789"/>
                <a:gd name="connsiteX77" fmla="*/ 755749 w 930190"/>
                <a:gd name="connsiteY77" fmla="*/ 118813 h 336789"/>
                <a:gd name="connsiteX78" fmla="*/ 757362 w 930190"/>
                <a:gd name="connsiteY78" fmla="*/ 124431 h 336789"/>
                <a:gd name="connsiteX79" fmla="*/ 771336 w 930190"/>
                <a:gd name="connsiteY79" fmla="*/ 130859 h 336789"/>
                <a:gd name="connsiteX80" fmla="*/ 777501 w 930190"/>
                <a:gd name="connsiteY80" fmla="*/ 129088 h 336789"/>
                <a:gd name="connsiteX81" fmla="*/ 792981 w 930190"/>
                <a:gd name="connsiteY81" fmla="*/ 136207 h 336789"/>
                <a:gd name="connsiteX82" fmla="*/ 805460 w 930190"/>
                <a:gd name="connsiteY82" fmla="*/ 152650 h 336789"/>
                <a:gd name="connsiteX83" fmla="*/ 811592 w 930190"/>
                <a:gd name="connsiteY83" fmla="*/ 174015 h 336789"/>
                <a:gd name="connsiteX84" fmla="*/ 810651 w 930190"/>
                <a:gd name="connsiteY84" fmla="*/ 184455 h 336789"/>
                <a:gd name="connsiteX85" fmla="*/ 824888 w 930190"/>
                <a:gd name="connsiteY85" fmla="*/ 188561 h 336789"/>
                <a:gd name="connsiteX86" fmla="*/ 838067 w 930190"/>
                <a:gd name="connsiteY86" fmla="*/ 202208 h 336789"/>
                <a:gd name="connsiteX87" fmla="*/ 839959 w 930190"/>
                <a:gd name="connsiteY87" fmla="*/ 208798 h 336789"/>
                <a:gd name="connsiteX88" fmla="*/ 844324 w 930190"/>
                <a:gd name="connsiteY88" fmla="*/ 209886 h 336789"/>
                <a:gd name="connsiteX89" fmla="*/ 858206 w 930190"/>
                <a:gd name="connsiteY89" fmla="*/ 223279 h 336789"/>
                <a:gd name="connsiteX90" fmla="*/ 859309 w 930190"/>
                <a:gd name="connsiteY90" fmla="*/ 227123 h 336789"/>
                <a:gd name="connsiteX91" fmla="*/ 862312 w 930190"/>
                <a:gd name="connsiteY91" fmla="*/ 229826 h 336789"/>
                <a:gd name="connsiteX92" fmla="*/ 862974 w 930190"/>
                <a:gd name="connsiteY92" fmla="*/ 231797 h 336789"/>
                <a:gd name="connsiteX93" fmla="*/ 866880 w 930190"/>
                <a:gd name="connsiteY93" fmla="*/ 229612 h 336789"/>
                <a:gd name="connsiteX94" fmla="*/ 874187 w 930190"/>
                <a:gd name="connsiteY94" fmla="*/ 230428 h 336789"/>
                <a:gd name="connsiteX95" fmla="*/ 880010 w 930190"/>
                <a:gd name="connsiteY95" fmla="*/ 235671 h 336789"/>
                <a:gd name="connsiteX96" fmla="*/ 882787 w 930190"/>
                <a:gd name="connsiteY96" fmla="*/ 243932 h 336789"/>
                <a:gd name="connsiteX97" fmla="*/ 881935 w 930190"/>
                <a:gd name="connsiteY97" fmla="*/ 251555 h 336789"/>
                <a:gd name="connsiteX98" fmla="*/ 883156 w 930190"/>
                <a:gd name="connsiteY98" fmla="*/ 252115 h 336789"/>
                <a:gd name="connsiteX99" fmla="*/ 886389 w 930190"/>
                <a:gd name="connsiteY99" fmla="*/ 256933 h 336789"/>
                <a:gd name="connsiteX100" fmla="*/ 886757 w 930190"/>
                <a:gd name="connsiteY100" fmla="*/ 259639 h 336789"/>
                <a:gd name="connsiteX101" fmla="*/ 892157 w 930190"/>
                <a:gd name="connsiteY101" fmla="*/ 263295 h 336789"/>
                <a:gd name="connsiteX102" fmla="*/ 894781 w 930190"/>
                <a:gd name="connsiteY102" fmla="*/ 262748 h 336789"/>
                <a:gd name="connsiteX103" fmla="*/ 900765 w 930190"/>
                <a:gd name="connsiteY103" fmla="*/ 266794 h 336789"/>
                <a:gd name="connsiteX104" fmla="*/ 905027 w 930190"/>
                <a:gd name="connsiteY104" fmla="*/ 275075 h 336789"/>
                <a:gd name="connsiteX105" fmla="*/ 906425 w 930190"/>
                <a:gd name="connsiteY105" fmla="*/ 285372 h 336789"/>
                <a:gd name="connsiteX106" fmla="*/ 905492 w 930190"/>
                <a:gd name="connsiteY106" fmla="*/ 290223 h 336789"/>
                <a:gd name="connsiteX107" fmla="*/ 911123 w 930190"/>
                <a:gd name="connsiteY107" fmla="*/ 292801 h 336789"/>
                <a:gd name="connsiteX108" fmla="*/ 915818 w 930190"/>
                <a:gd name="connsiteY108" fmla="*/ 299803 h 336789"/>
                <a:gd name="connsiteX109" fmla="*/ 916250 w 930190"/>
                <a:gd name="connsiteY109" fmla="*/ 302978 h 336789"/>
                <a:gd name="connsiteX110" fmla="*/ 917986 w 930190"/>
                <a:gd name="connsiteY110" fmla="*/ 303688 h 336789"/>
                <a:gd name="connsiteX111" fmla="*/ 922983 w 930190"/>
                <a:gd name="connsiteY111" fmla="*/ 310605 h 336789"/>
                <a:gd name="connsiteX112" fmla="*/ 924196 w 930190"/>
                <a:gd name="connsiteY112" fmla="*/ 319543 h 336789"/>
                <a:gd name="connsiteX113" fmla="*/ 923757 w 930190"/>
                <a:gd name="connsiteY113" fmla="*/ 320844 h 336789"/>
                <a:gd name="connsiteX114" fmla="*/ 923976 w 930190"/>
                <a:gd name="connsiteY114" fmla="*/ 320935 h 336789"/>
                <a:gd name="connsiteX115" fmla="*/ 928975 w 930190"/>
                <a:gd name="connsiteY115" fmla="*/ 327851 h 336789"/>
                <a:gd name="connsiteX116" fmla="*/ 930190 w 930190"/>
                <a:gd name="connsiteY116" fmla="*/ 336789 h 336789"/>
                <a:gd name="connsiteX117" fmla="*/ 0 w 930190"/>
                <a:gd name="connsiteY117" fmla="*/ 336789 h 336789"/>
                <a:gd name="connsiteX118" fmla="*/ 1215 w 930190"/>
                <a:gd name="connsiteY118" fmla="*/ 327852 h 336789"/>
                <a:gd name="connsiteX119" fmla="*/ 6212 w 930190"/>
                <a:gd name="connsiteY119" fmla="*/ 320934 h 336789"/>
                <a:gd name="connsiteX120" fmla="*/ 6432 w 930190"/>
                <a:gd name="connsiteY120" fmla="*/ 320844 h 336789"/>
                <a:gd name="connsiteX121" fmla="*/ 5993 w 930190"/>
                <a:gd name="connsiteY121" fmla="*/ 319542 h 336789"/>
                <a:gd name="connsiteX122" fmla="*/ 7206 w 930190"/>
                <a:gd name="connsiteY122" fmla="*/ 310606 h 336789"/>
                <a:gd name="connsiteX123" fmla="*/ 12205 w 930190"/>
                <a:gd name="connsiteY123" fmla="*/ 303688 h 336789"/>
                <a:gd name="connsiteX124" fmla="*/ 13940 w 930190"/>
                <a:gd name="connsiteY124" fmla="*/ 302979 h 336789"/>
                <a:gd name="connsiteX125" fmla="*/ 14372 w 930190"/>
                <a:gd name="connsiteY125" fmla="*/ 299802 h 336789"/>
                <a:gd name="connsiteX126" fmla="*/ 19067 w 930190"/>
                <a:gd name="connsiteY126" fmla="*/ 292801 h 336789"/>
                <a:gd name="connsiteX127" fmla="*/ 24698 w 930190"/>
                <a:gd name="connsiteY127" fmla="*/ 290223 h 336789"/>
                <a:gd name="connsiteX128" fmla="*/ 23765 w 930190"/>
                <a:gd name="connsiteY128" fmla="*/ 285372 h 336789"/>
                <a:gd name="connsiteX129" fmla="*/ 25163 w 930190"/>
                <a:gd name="connsiteY129" fmla="*/ 275075 h 336789"/>
                <a:gd name="connsiteX130" fmla="*/ 29425 w 930190"/>
                <a:gd name="connsiteY130" fmla="*/ 266795 h 336789"/>
                <a:gd name="connsiteX131" fmla="*/ 35408 w 930190"/>
                <a:gd name="connsiteY131" fmla="*/ 262747 h 336789"/>
                <a:gd name="connsiteX132" fmla="*/ 38032 w 930190"/>
                <a:gd name="connsiteY132" fmla="*/ 263295 h 336789"/>
                <a:gd name="connsiteX133" fmla="*/ 43432 w 930190"/>
                <a:gd name="connsiteY133" fmla="*/ 259640 h 336789"/>
                <a:gd name="connsiteX134" fmla="*/ 43800 w 930190"/>
                <a:gd name="connsiteY134" fmla="*/ 256932 h 336789"/>
                <a:gd name="connsiteX135" fmla="*/ 47033 w 930190"/>
                <a:gd name="connsiteY135" fmla="*/ 252113 h 336789"/>
                <a:gd name="connsiteX136" fmla="*/ 48255 w 930190"/>
                <a:gd name="connsiteY136" fmla="*/ 251555 h 336789"/>
                <a:gd name="connsiteX137" fmla="*/ 47403 w 930190"/>
                <a:gd name="connsiteY137" fmla="*/ 243931 h 336789"/>
                <a:gd name="connsiteX138" fmla="*/ 50180 w 930190"/>
                <a:gd name="connsiteY138" fmla="*/ 235670 h 336789"/>
                <a:gd name="connsiteX139" fmla="*/ 56002 w 930190"/>
                <a:gd name="connsiteY139" fmla="*/ 230428 h 336789"/>
                <a:gd name="connsiteX140" fmla="*/ 63310 w 930190"/>
                <a:gd name="connsiteY140" fmla="*/ 229613 h 336789"/>
                <a:gd name="connsiteX141" fmla="*/ 67216 w 930190"/>
                <a:gd name="connsiteY141" fmla="*/ 231797 h 336789"/>
                <a:gd name="connsiteX142" fmla="*/ 67877 w 930190"/>
                <a:gd name="connsiteY142" fmla="*/ 229827 h 336789"/>
                <a:gd name="connsiteX143" fmla="*/ 73701 w 930190"/>
                <a:gd name="connsiteY143" fmla="*/ 224584 h 336789"/>
                <a:gd name="connsiteX144" fmla="*/ 76226 w 930190"/>
                <a:gd name="connsiteY144" fmla="*/ 224303 h 336789"/>
                <a:gd name="connsiteX145" fmla="*/ 80244 w 930190"/>
                <a:gd name="connsiteY145" fmla="*/ 220138 h 336789"/>
                <a:gd name="connsiteX146" fmla="*/ 86873 w 930190"/>
                <a:gd name="connsiteY146" fmla="*/ 218235 h 336789"/>
                <a:gd name="connsiteX147" fmla="*/ 87760 w 930190"/>
                <a:gd name="connsiteY147" fmla="*/ 217436 h 336789"/>
                <a:gd name="connsiteX148" fmla="*/ 88223 w 930190"/>
                <a:gd name="connsiteY148" fmla="*/ 213338 h 336789"/>
                <a:gd name="connsiteX149" fmla="*/ 93215 w 930190"/>
                <a:gd name="connsiteY149" fmla="*/ 206232 h 336789"/>
                <a:gd name="connsiteX150" fmla="*/ 100717 w 930190"/>
                <a:gd name="connsiteY150" fmla="*/ 204079 h 336789"/>
                <a:gd name="connsiteX151" fmla="*/ 103796 w 930190"/>
                <a:gd name="connsiteY151" fmla="*/ 205379 h 336789"/>
                <a:gd name="connsiteX152" fmla="*/ 107986 w 930190"/>
                <a:gd name="connsiteY152" fmla="*/ 201607 h 336789"/>
                <a:gd name="connsiteX153" fmla="*/ 115295 w 930190"/>
                <a:gd name="connsiteY153" fmla="*/ 200789 h 336789"/>
                <a:gd name="connsiteX154" fmla="*/ 122130 w 930190"/>
                <a:gd name="connsiteY154" fmla="*/ 204617 h 336789"/>
                <a:gd name="connsiteX155" fmla="*/ 122807 w 930190"/>
                <a:gd name="connsiteY155" fmla="*/ 205726 h 336789"/>
                <a:gd name="connsiteX156" fmla="*/ 124435 w 930190"/>
                <a:gd name="connsiteY156" fmla="*/ 205259 h 336789"/>
                <a:gd name="connsiteX157" fmla="*/ 125737 w 930190"/>
                <a:gd name="connsiteY157" fmla="*/ 193737 h 336789"/>
                <a:gd name="connsiteX158" fmla="*/ 138076 w 930190"/>
                <a:gd name="connsiteY158" fmla="*/ 176175 h 336789"/>
                <a:gd name="connsiteX159" fmla="*/ 156621 w 930190"/>
                <a:gd name="connsiteY159" fmla="*/ 170851 h 336789"/>
                <a:gd name="connsiteX160" fmla="*/ 158836 w 930190"/>
                <a:gd name="connsiteY160" fmla="*/ 171786 h 336789"/>
                <a:gd name="connsiteX161" fmla="*/ 158836 w 930190"/>
                <a:gd name="connsiteY161" fmla="*/ 171605 h 336789"/>
                <a:gd name="connsiteX162" fmla="*/ 162739 w 930190"/>
                <a:gd name="connsiteY162" fmla="*/ 164847 h 336789"/>
                <a:gd name="connsiteX163" fmla="*/ 169497 w 930190"/>
                <a:gd name="connsiteY163" fmla="*/ 160943 h 336789"/>
                <a:gd name="connsiteX164" fmla="*/ 173717 w 930190"/>
                <a:gd name="connsiteY164" fmla="*/ 160943 h 336789"/>
                <a:gd name="connsiteX165" fmla="*/ 177304 w 930190"/>
                <a:gd name="connsiteY165" fmla="*/ 152266 h 336789"/>
                <a:gd name="connsiteX166" fmla="*/ 184062 w 930190"/>
                <a:gd name="connsiteY166" fmla="*/ 146813 h 336789"/>
                <a:gd name="connsiteX167" fmla="*/ 191868 w 930190"/>
                <a:gd name="connsiteY167" fmla="*/ 146814 h 336789"/>
                <a:gd name="connsiteX168" fmla="*/ 197289 w 930190"/>
                <a:gd name="connsiteY168" fmla="*/ 151187 h 336789"/>
                <a:gd name="connsiteX169" fmla="*/ 198626 w 930190"/>
                <a:gd name="connsiteY169" fmla="*/ 150110 h 336789"/>
                <a:gd name="connsiteX170" fmla="*/ 206433 w 930190"/>
                <a:gd name="connsiteY170" fmla="*/ 150109 h 336789"/>
                <a:gd name="connsiteX171" fmla="*/ 208774 w 930190"/>
                <a:gd name="connsiteY171" fmla="*/ 151997 h 336789"/>
                <a:gd name="connsiteX172" fmla="*/ 208774 w 930190"/>
                <a:gd name="connsiteY172" fmla="*/ 151131 h 336789"/>
                <a:gd name="connsiteX173" fmla="*/ 213790 w 930190"/>
                <a:gd name="connsiteY173" fmla="*/ 141690 h 336789"/>
                <a:gd name="connsiteX174" fmla="*/ 222482 w 930190"/>
                <a:gd name="connsiteY174" fmla="*/ 136236 h 336789"/>
                <a:gd name="connsiteX175" fmla="*/ 232515 w 930190"/>
                <a:gd name="connsiteY175" fmla="*/ 136237 h 336789"/>
                <a:gd name="connsiteX176" fmla="*/ 241206 w 930190"/>
                <a:gd name="connsiteY176" fmla="*/ 141689 h 336789"/>
                <a:gd name="connsiteX177" fmla="*/ 244335 w 930190"/>
                <a:gd name="connsiteY177" fmla="*/ 147579 h 336789"/>
                <a:gd name="connsiteX178" fmla="*/ 252841 w 930190"/>
                <a:gd name="connsiteY178" fmla="*/ 145137 h 336789"/>
                <a:gd name="connsiteX179" fmla="*/ 252649 w 930190"/>
                <a:gd name="connsiteY179" fmla="*/ 144806 h 336789"/>
                <a:gd name="connsiteX180" fmla="*/ 252648 w 930190"/>
                <a:gd name="connsiteY180" fmla="*/ 125514 h 336789"/>
                <a:gd name="connsiteX181" fmla="*/ 262297 w 930190"/>
                <a:gd name="connsiteY181" fmla="*/ 108807 h 336789"/>
                <a:gd name="connsiteX182" fmla="*/ 272073 w 930190"/>
                <a:gd name="connsiteY182" fmla="*/ 103162 h 336789"/>
                <a:gd name="connsiteX183" fmla="*/ 272116 w 930190"/>
                <a:gd name="connsiteY183" fmla="*/ 102836 h 336789"/>
                <a:gd name="connsiteX184" fmla="*/ 273216 w 930190"/>
                <a:gd name="connsiteY184" fmla="*/ 101197 h 336789"/>
                <a:gd name="connsiteX185" fmla="*/ 274533 w 930190"/>
                <a:gd name="connsiteY185" fmla="*/ 100594 h 336789"/>
                <a:gd name="connsiteX186" fmla="*/ 274316 w 930190"/>
                <a:gd name="connsiteY186" fmla="*/ 99459 h 336789"/>
                <a:gd name="connsiteX187" fmla="*/ 274643 w 930190"/>
                <a:gd name="connsiteY187" fmla="*/ 97048 h 336789"/>
                <a:gd name="connsiteX188" fmla="*/ 275640 w 930190"/>
                <a:gd name="connsiteY188" fmla="*/ 95110 h 336789"/>
                <a:gd name="connsiteX189" fmla="*/ 277041 w 930190"/>
                <a:gd name="connsiteY189" fmla="*/ 94163 h 336789"/>
                <a:gd name="connsiteX190" fmla="*/ 277654 w 930190"/>
                <a:gd name="connsiteY190" fmla="*/ 94290 h 336789"/>
                <a:gd name="connsiteX191" fmla="*/ 278918 w 930190"/>
                <a:gd name="connsiteY191" fmla="*/ 93436 h 336789"/>
                <a:gd name="connsiteX192" fmla="*/ 279005 w 930190"/>
                <a:gd name="connsiteY192" fmla="*/ 92801 h 336789"/>
                <a:gd name="connsiteX193" fmla="*/ 279761 w 930190"/>
                <a:gd name="connsiteY193" fmla="*/ 91674 h 336789"/>
                <a:gd name="connsiteX194" fmla="*/ 280047 w 930190"/>
                <a:gd name="connsiteY194" fmla="*/ 91543 h 336789"/>
                <a:gd name="connsiteX195" fmla="*/ 279848 w 930190"/>
                <a:gd name="connsiteY195" fmla="*/ 89759 h 336789"/>
                <a:gd name="connsiteX196" fmla="*/ 280498 w 930190"/>
                <a:gd name="connsiteY196" fmla="*/ 87825 h 336789"/>
                <a:gd name="connsiteX197" fmla="*/ 281861 w 930190"/>
                <a:gd name="connsiteY197" fmla="*/ 86598 h 336789"/>
                <a:gd name="connsiteX198" fmla="*/ 283572 w 930190"/>
                <a:gd name="connsiteY198" fmla="*/ 86407 h 336789"/>
                <a:gd name="connsiteX199" fmla="*/ 284485 w 930190"/>
                <a:gd name="connsiteY199" fmla="*/ 86919 h 336789"/>
                <a:gd name="connsiteX200" fmla="*/ 284641 w 930190"/>
                <a:gd name="connsiteY200" fmla="*/ 86457 h 336789"/>
                <a:gd name="connsiteX201" fmla="*/ 286003 w 930190"/>
                <a:gd name="connsiteY201" fmla="*/ 85231 h 336789"/>
                <a:gd name="connsiteX202" fmla="*/ 286594 w 930190"/>
                <a:gd name="connsiteY202" fmla="*/ 85164 h 336789"/>
                <a:gd name="connsiteX203" fmla="*/ 287535 w 930190"/>
                <a:gd name="connsiteY203" fmla="*/ 84189 h 336789"/>
                <a:gd name="connsiteX204" fmla="*/ 289086 w 930190"/>
                <a:gd name="connsiteY204" fmla="*/ 83744 h 336789"/>
                <a:gd name="connsiteX205" fmla="*/ 289295 w 930190"/>
                <a:gd name="connsiteY205" fmla="*/ 83557 h 336789"/>
                <a:gd name="connsiteX206" fmla="*/ 289403 w 930190"/>
                <a:gd name="connsiteY206" fmla="*/ 82598 h 336789"/>
                <a:gd name="connsiteX207" fmla="*/ 290571 w 930190"/>
                <a:gd name="connsiteY207" fmla="*/ 80934 h 336789"/>
                <a:gd name="connsiteX208" fmla="*/ 292328 w 930190"/>
                <a:gd name="connsiteY208" fmla="*/ 80430 h 336789"/>
                <a:gd name="connsiteX209" fmla="*/ 293047 w 930190"/>
                <a:gd name="connsiteY209" fmla="*/ 80735 h 336789"/>
                <a:gd name="connsiteX210" fmla="*/ 294028 w 930190"/>
                <a:gd name="connsiteY210" fmla="*/ 79852 h 336789"/>
                <a:gd name="connsiteX211" fmla="*/ 295739 w 930190"/>
                <a:gd name="connsiteY211" fmla="*/ 79661 h 336789"/>
                <a:gd name="connsiteX212" fmla="*/ 297340 w 930190"/>
                <a:gd name="connsiteY212" fmla="*/ 80557 h 336789"/>
                <a:gd name="connsiteX213" fmla="*/ 297498 w 930190"/>
                <a:gd name="connsiteY213" fmla="*/ 80816 h 336789"/>
                <a:gd name="connsiteX214" fmla="*/ 297878 w 930190"/>
                <a:gd name="connsiteY214" fmla="*/ 80707 h 336789"/>
                <a:gd name="connsiteX215" fmla="*/ 298184 w 930190"/>
                <a:gd name="connsiteY215" fmla="*/ 78011 h 336789"/>
                <a:gd name="connsiteX216" fmla="*/ 301071 w 930190"/>
                <a:gd name="connsiteY216" fmla="*/ 73900 h 336789"/>
                <a:gd name="connsiteX217" fmla="*/ 305411 w 930190"/>
                <a:gd name="connsiteY217" fmla="*/ 72653 h 336789"/>
                <a:gd name="connsiteX218" fmla="*/ 305930 w 930190"/>
                <a:gd name="connsiteY218" fmla="*/ 72872 h 336789"/>
                <a:gd name="connsiteX219" fmla="*/ 305931 w 930190"/>
                <a:gd name="connsiteY219" fmla="*/ 72830 h 336789"/>
                <a:gd name="connsiteX220" fmla="*/ 306844 w 930190"/>
                <a:gd name="connsiteY220" fmla="*/ 71248 h 336789"/>
                <a:gd name="connsiteX221" fmla="*/ 308426 w 930190"/>
                <a:gd name="connsiteY221" fmla="*/ 70335 h 336789"/>
                <a:gd name="connsiteX222" fmla="*/ 309414 w 930190"/>
                <a:gd name="connsiteY222" fmla="*/ 70335 h 336789"/>
                <a:gd name="connsiteX223" fmla="*/ 310254 w 930190"/>
                <a:gd name="connsiteY223" fmla="*/ 68303 h 336789"/>
                <a:gd name="connsiteX224" fmla="*/ 311836 w 930190"/>
                <a:gd name="connsiteY224" fmla="*/ 67027 h 336789"/>
                <a:gd name="connsiteX225" fmla="*/ 313662 w 930190"/>
                <a:gd name="connsiteY225" fmla="*/ 67027 h 336789"/>
                <a:gd name="connsiteX226" fmla="*/ 314932 w 930190"/>
                <a:gd name="connsiteY226" fmla="*/ 68051 h 336789"/>
                <a:gd name="connsiteX227" fmla="*/ 315245 w 930190"/>
                <a:gd name="connsiteY227" fmla="*/ 67798 h 336789"/>
                <a:gd name="connsiteX228" fmla="*/ 317072 w 930190"/>
                <a:gd name="connsiteY228" fmla="*/ 67798 h 336789"/>
                <a:gd name="connsiteX229" fmla="*/ 317620 w 930190"/>
                <a:gd name="connsiteY229" fmla="*/ 68241 h 336789"/>
                <a:gd name="connsiteX230" fmla="*/ 317620 w 930190"/>
                <a:gd name="connsiteY230" fmla="*/ 68038 h 336789"/>
                <a:gd name="connsiteX231" fmla="*/ 318793 w 930190"/>
                <a:gd name="connsiteY231" fmla="*/ 65827 h 336789"/>
                <a:gd name="connsiteX232" fmla="*/ 320828 w 930190"/>
                <a:gd name="connsiteY232" fmla="*/ 64551 h 336789"/>
                <a:gd name="connsiteX233" fmla="*/ 323176 w 930190"/>
                <a:gd name="connsiteY233" fmla="*/ 64551 h 336789"/>
                <a:gd name="connsiteX234" fmla="*/ 324567 w 930190"/>
                <a:gd name="connsiteY234" fmla="*/ 65424 h 336789"/>
                <a:gd name="connsiteX235" fmla="*/ 326627 w 930190"/>
                <a:gd name="connsiteY235" fmla="*/ 64234 h 336789"/>
                <a:gd name="connsiteX236" fmla="*/ 327889 w 930190"/>
                <a:gd name="connsiteY236" fmla="*/ 64234 h 336789"/>
                <a:gd name="connsiteX237" fmla="*/ 327889 w 930190"/>
                <a:gd name="connsiteY237" fmla="*/ 62042 h 336789"/>
                <a:gd name="connsiteX238" fmla="*/ 330146 w 930190"/>
                <a:gd name="connsiteY238" fmla="*/ 58131 h 336789"/>
                <a:gd name="connsiteX239" fmla="*/ 334057 w 930190"/>
                <a:gd name="connsiteY239" fmla="*/ 55873 h 336789"/>
                <a:gd name="connsiteX240" fmla="*/ 338573 w 930190"/>
                <a:gd name="connsiteY240" fmla="*/ 55874 h 336789"/>
                <a:gd name="connsiteX241" fmla="*/ 339036 w 930190"/>
                <a:gd name="connsiteY241" fmla="*/ 56141 h 336789"/>
                <a:gd name="connsiteX242" fmla="*/ 339037 w 930190"/>
                <a:gd name="connsiteY242" fmla="*/ 53867 h 336789"/>
                <a:gd name="connsiteX243" fmla="*/ 341294 w 930190"/>
                <a:gd name="connsiteY243" fmla="*/ 49956 h 336789"/>
                <a:gd name="connsiteX244" fmla="*/ 343481 w 930190"/>
                <a:gd name="connsiteY244" fmla="*/ 48694 h 336789"/>
                <a:gd name="connsiteX245" fmla="*/ 345922 w 930190"/>
                <a:gd name="connsiteY245" fmla="*/ 42785 h 336789"/>
                <a:gd name="connsiteX246" fmla="*/ 362628 w 930190"/>
                <a:gd name="connsiteY246" fmla="*/ 29309 h 336789"/>
                <a:gd name="connsiteX247" fmla="*/ 381922 w 930190"/>
                <a:gd name="connsiteY247" fmla="*/ 29310 h 336789"/>
                <a:gd name="connsiteX248" fmla="*/ 391120 w 930190"/>
                <a:gd name="connsiteY248" fmla="*/ 36729 h 336789"/>
                <a:gd name="connsiteX249" fmla="*/ 394588 w 930190"/>
                <a:gd name="connsiteY249" fmla="*/ 34726 h 336789"/>
                <a:gd name="connsiteX250" fmla="*/ 397029 w 930190"/>
                <a:gd name="connsiteY250" fmla="*/ 34726 h 336789"/>
                <a:gd name="connsiteX251" fmla="*/ 399104 w 930190"/>
                <a:gd name="connsiteY251" fmla="*/ 29707 h 336789"/>
                <a:gd name="connsiteX252" fmla="*/ 403014 w 930190"/>
                <a:gd name="connsiteY252" fmla="*/ 26552 h 336789"/>
                <a:gd name="connsiteX253" fmla="*/ 407530 w 930190"/>
                <a:gd name="connsiteY253" fmla="*/ 26552 h 336789"/>
                <a:gd name="connsiteX254" fmla="*/ 410667 w 930190"/>
                <a:gd name="connsiteY254" fmla="*/ 29082 h 336789"/>
                <a:gd name="connsiteX255" fmla="*/ 411440 w 930190"/>
                <a:gd name="connsiteY255" fmla="*/ 28459 h 336789"/>
                <a:gd name="connsiteX256" fmla="*/ 415956 w 930190"/>
                <a:gd name="connsiteY256" fmla="*/ 28459 h 336789"/>
                <a:gd name="connsiteX257" fmla="*/ 417311 w 930190"/>
                <a:gd name="connsiteY257" fmla="*/ 29551 h 336789"/>
                <a:gd name="connsiteX258" fmla="*/ 417311 w 930190"/>
                <a:gd name="connsiteY258" fmla="*/ 29050 h 336789"/>
                <a:gd name="connsiteX259" fmla="*/ 420213 w 930190"/>
                <a:gd name="connsiteY259" fmla="*/ 23587 h 336789"/>
                <a:gd name="connsiteX260" fmla="*/ 425241 w 930190"/>
                <a:gd name="connsiteY260" fmla="*/ 20432 h 336789"/>
                <a:gd name="connsiteX261" fmla="*/ 431047 w 930190"/>
                <a:gd name="connsiteY261" fmla="*/ 20433 h 336789"/>
                <a:gd name="connsiteX262" fmla="*/ 433333 w 930190"/>
                <a:gd name="connsiteY262" fmla="*/ 21867 h 336789"/>
                <a:gd name="connsiteX263" fmla="*/ 436110 w 930190"/>
                <a:gd name="connsiteY263" fmla="*/ 16643 h 336789"/>
                <a:gd name="connsiteX264" fmla="*/ 457591 w 930190"/>
                <a:gd name="connsiteY264" fmla="*/ 3166 h 336789"/>
                <a:gd name="connsiteX265" fmla="*/ 482393 w 930190"/>
                <a:gd name="connsiteY265" fmla="*/ 3166 h 336789"/>
                <a:gd name="connsiteX266" fmla="*/ 487924 w 930190"/>
                <a:gd name="connsiteY266" fmla="*/ 6636 h 336789"/>
                <a:gd name="connsiteX267" fmla="*/ 488297 w 930190"/>
                <a:gd name="connsiteY267" fmla="*/ 6580 h 336789"/>
                <a:gd name="connsiteX268" fmla="*/ 488348 w 930190"/>
                <a:gd name="connsiteY268" fmla="*/ 6602 h 336789"/>
                <a:gd name="connsiteX269" fmla="*/ 488495 w 930190"/>
                <a:gd name="connsiteY269" fmla="*/ 6315 h 336789"/>
                <a:gd name="connsiteX270" fmla="*/ 490189 w 930190"/>
                <a:gd name="connsiteY270" fmla="*/ 5056 h 336789"/>
                <a:gd name="connsiteX271" fmla="*/ 492166 w 930190"/>
                <a:gd name="connsiteY271" fmla="*/ 4763 h 336789"/>
                <a:gd name="connsiteX272" fmla="*/ 492568 w 930190"/>
                <a:gd name="connsiteY272" fmla="*/ 4937 h 336789"/>
                <a:gd name="connsiteX273" fmla="*/ 493171 w 930190"/>
                <a:gd name="connsiteY273" fmla="*/ 4490 h 336789"/>
                <a:gd name="connsiteX274" fmla="*/ 495111 w 930190"/>
                <a:gd name="connsiteY274" fmla="*/ 4131 h 336789"/>
                <a:gd name="connsiteX275" fmla="*/ 496464 w 930190"/>
                <a:gd name="connsiteY275" fmla="*/ 4653 h 336789"/>
                <a:gd name="connsiteX276" fmla="*/ 497123 w 930190"/>
                <a:gd name="connsiteY276" fmla="*/ 3703 h 336789"/>
                <a:gd name="connsiteX277" fmla="*/ 499076 w 930190"/>
                <a:gd name="connsiteY277" fmla="*/ 2254 h 336789"/>
                <a:gd name="connsiteX278" fmla="*/ 501161 w 930190"/>
                <a:gd name="connsiteY278" fmla="*/ 1614 h 336789"/>
                <a:gd name="connsiteX279" fmla="*/ 502817 w 930190"/>
                <a:gd name="connsiteY279" fmla="*/ 1954 h 336789"/>
                <a:gd name="connsiteX280" fmla="*/ 503153 w 930190"/>
                <a:gd name="connsiteY280" fmla="*/ 2482 h 336789"/>
                <a:gd name="connsiteX281" fmla="*/ 504650 w 930190"/>
                <a:gd name="connsiteY281" fmla="*/ 2789 h 336789"/>
                <a:gd name="connsiteX282" fmla="*/ 505163 w 930190"/>
                <a:gd name="connsiteY282" fmla="*/ 2408 h 336789"/>
                <a:gd name="connsiteX283" fmla="*/ 506499 w 930190"/>
                <a:gd name="connsiteY283" fmla="*/ 2162 h 336789"/>
                <a:gd name="connsiteX284" fmla="*/ 506792 w 930190"/>
                <a:gd name="connsiteY284" fmla="*/ 2275 h 336789"/>
                <a:gd name="connsiteX285" fmla="*/ 507928 w 930190"/>
                <a:gd name="connsiteY285" fmla="*/ 886 h 33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930190" h="336789">
                  <a:moveTo>
                    <a:pt x="509767" y="0"/>
                  </a:moveTo>
                  <a:lnTo>
                    <a:pt x="511596" y="117"/>
                  </a:lnTo>
                  <a:lnTo>
                    <a:pt x="512928" y="1208"/>
                  </a:lnTo>
                  <a:lnTo>
                    <a:pt x="513201" y="2220"/>
                  </a:lnTo>
                  <a:lnTo>
                    <a:pt x="513640" y="2008"/>
                  </a:lnTo>
                  <a:lnTo>
                    <a:pt x="515470" y="2126"/>
                  </a:lnTo>
                  <a:lnTo>
                    <a:pt x="515929" y="2502"/>
                  </a:lnTo>
                  <a:lnTo>
                    <a:pt x="517283" y="2495"/>
                  </a:lnTo>
                  <a:lnTo>
                    <a:pt x="518686" y="3294"/>
                  </a:lnTo>
                  <a:lnTo>
                    <a:pt x="518966" y="3312"/>
                  </a:lnTo>
                  <a:cubicBezTo>
                    <a:pt x="519220" y="3115"/>
                    <a:pt x="519474" y="2917"/>
                    <a:pt x="519728" y="2719"/>
                  </a:cubicBezTo>
                  <a:lnTo>
                    <a:pt x="521733" y="2393"/>
                  </a:lnTo>
                  <a:lnTo>
                    <a:pt x="523321" y="3297"/>
                  </a:lnTo>
                  <a:lnTo>
                    <a:pt x="523608" y="4026"/>
                  </a:lnTo>
                  <a:lnTo>
                    <a:pt x="524923" y="4110"/>
                  </a:lnTo>
                  <a:lnTo>
                    <a:pt x="526255" y="5201"/>
                  </a:lnTo>
                  <a:lnTo>
                    <a:pt x="526733" y="6972"/>
                  </a:lnTo>
                  <a:lnTo>
                    <a:pt x="526657" y="7266"/>
                  </a:lnTo>
                  <a:lnTo>
                    <a:pt x="527002" y="7463"/>
                  </a:lnTo>
                  <a:cubicBezTo>
                    <a:pt x="527716" y="6907"/>
                    <a:pt x="528430" y="6352"/>
                    <a:pt x="529145" y="5797"/>
                  </a:cubicBezTo>
                  <a:lnTo>
                    <a:pt x="534102" y="4991"/>
                  </a:lnTo>
                  <a:lnTo>
                    <a:pt x="538026" y="7226"/>
                  </a:lnTo>
                  <a:lnTo>
                    <a:pt x="538232" y="7750"/>
                  </a:lnTo>
                  <a:cubicBezTo>
                    <a:pt x="538243" y="7740"/>
                    <a:pt x="538253" y="7731"/>
                    <a:pt x="538263" y="7721"/>
                  </a:cubicBezTo>
                  <a:lnTo>
                    <a:pt x="540034" y="7269"/>
                  </a:lnTo>
                  <a:lnTo>
                    <a:pt x="541792" y="7762"/>
                  </a:lnTo>
                  <a:lnTo>
                    <a:pt x="542482" y="8469"/>
                  </a:lnTo>
                  <a:lnTo>
                    <a:pt x="544521" y="7651"/>
                  </a:lnTo>
                  <a:lnTo>
                    <a:pt x="546541" y="7892"/>
                  </a:lnTo>
                  <a:lnTo>
                    <a:pt x="547817" y="9198"/>
                  </a:lnTo>
                  <a:lnTo>
                    <a:pt x="547970" y="10821"/>
                  </a:lnTo>
                  <a:lnTo>
                    <a:pt x="548370" y="10869"/>
                  </a:lnTo>
                  <a:lnTo>
                    <a:pt x="549646" y="12177"/>
                  </a:lnTo>
                  <a:lnTo>
                    <a:pt x="549713" y="12878"/>
                  </a:lnTo>
                  <a:lnTo>
                    <a:pt x="549858" y="12736"/>
                  </a:lnTo>
                  <a:lnTo>
                    <a:pt x="552260" y="12032"/>
                  </a:lnTo>
                  <a:lnTo>
                    <a:pt x="554593" y="12596"/>
                  </a:lnTo>
                  <a:lnTo>
                    <a:pt x="556235" y="14276"/>
                  </a:lnTo>
                  <a:lnTo>
                    <a:pt x="556742" y="16623"/>
                  </a:lnTo>
                  <a:lnTo>
                    <a:pt x="556267" y="18110"/>
                  </a:lnTo>
                  <a:lnTo>
                    <a:pt x="558068" y="19135"/>
                  </a:lnTo>
                  <a:lnTo>
                    <a:pt x="558091" y="19049"/>
                  </a:lnTo>
                  <a:lnTo>
                    <a:pt x="561323" y="15895"/>
                  </a:lnTo>
                  <a:lnTo>
                    <a:pt x="565699" y="14778"/>
                  </a:lnTo>
                  <a:lnTo>
                    <a:pt x="570046" y="15998"/>
                  </a:lnTo>
                  <a:lnTo>
                    <a:pt x="571377" y="17362"/>
                  </a:lnTo>
                  <a:lnTo>
                    <a:pt x="578085" y="17362"/>
                  </a:lnTo>
                  <a:lnTo>
                    <a:pt x="579334" y="17043"/>
                  </a:lnTo>
                  <a:lnTo>
                    <a:pt x="580471" y="17362"/>
                  </a:lnTo>
                  <a:lnTo>
                    <a:pt x="586473" y="17362"/>
                  </a:lnTo>
                  <a:lnTo>
                    <a:pt x="588625" y="18712"/>
                  </a:lnTo>
                  <a:lnTo>
                    <a:pt x="590429" y="17986"/>
                  </a:lnTo>
                  <a:lnTo>
                    <a:pt x="595417" y="18581"/>
                  </a:lnTo>
                  <a:lnTo>
                    <a:pt x="598573" y="21813"/>
                  </a:lnTo>
                  <a:lnTo>
                    <a:pt x="598890" y="25152"/>
                  </a:lnTo>
                  <a:lnTo>
                    <a:pt x="601888" y="27034"/>
                  </a:lnTo>
                  <a:lnTo>
                    <a:pt x="602942" y="29015"/>
                  </a:lnTo>
                  <a:lnTo>
                    <a:pt x="603095" y="29173"/>
                  </a:lnTo>
                  <a:lnTo>
                    <a:pt x="603111" y="29334"/>
                  </a:lnTo>
                  <a:lnTo>
                    <a:pt x="603741" y="30519"/>
                  </a:lnTo>
                  <a:lnTo>
                    <a:pt x="609555" y="28816"/>
                  </a:lnTo>
                  <a:lnTo>
                    <a:pt x="615325" y="30209"/>
                  </a:lnTo>
                  <a:lnTo>
                    <a:pt x="619381" y="34363"/>
                  </a:lnTo>
                  <a:lnTo>
                    <a:pt x="620274" y="38495"/>
                  </a:lnTo>
                  <a:lnTo>
                    <a:pt x="627502" y="38496"/>
                  </a:lnTo>
                  <a:lnTo>
                    <a:pt x="642917" y="48168"/>
                  </a:lnTo>
                  <a:lnTo>
                    <a:pt x="650319" y="62098"/>
                  </a:lnTo>
                  <a:lnTo>
                    <a:pt x="657325" y="57701"/>
                  </a:lnTo>
                  <a:lnTo>
                    <a:pt x="675127" y="57701"/>
                  </a:lnTo>
                  <a:lnTo>
                    <a:pt x="690543" y="67374"/>
                  </a:lnTo>
                  <a:lnTo>
                    <a:pt x="692666" y="71373"/>
                  </a:lnTo>
                  <a:lnTo>
                    <a:pt x="701471" y="65848"/>
                  </a:lnTo>
                  <a:lnTo>
                    <a:pt x="719272" y="65847"/>
                  </a:lnTo>
                  <a:lnTo>
                    <a:pt x="734686" y="75520"/>
                  </a:lnTo>
                  <a:lnTo>
                    <a:pt x="743589" y="92272"/>
                  </a:lnTo>
                  <a:lnTo>
                    <a:pt x="743588" y="108532"/>
                  </a:lnTo>
                  <a:lnTo>
                    <a:pt x="746678" y="109424"/>
                  </a:lnTo>
                  <a:lnTo>
                    <a:pt x="755749" y="118813"/>
                  </a:lnTo>
                  <a:lnTo>
                    <a:pt x="757362" y="124431"/>
                  </a:lnTo>
                  <a:lnTo>
                    <a:pt x="771336" y="130859"/>
                  </a:lnTo>
                  <a:lnTo>
                    <a:pt x="777501" y="129088"/>
                  </a:lnTo>
                  <a:lnTo>
                    <a:pt x="792981" y="136207"/>
                  </a:lnTo>
                  <a:lnTo>
                    <a:pt x="805460" y="152650"/>
                  </a:lnTo>
                  <a:lnTo>
                    <a:pt x="811592" y="174015"/>
                  </a:lnTo>
                  <a:cubicBezTo>
                    <a:pt x="811278" y="177496"/>
                    <a:pt x="810966" y="180976"/>
                    <a:pt x="810651" y="184455"/>
                  </a:cubicBezTo>
                  <a:lnTo>
                    <a:pt x="824888" y="188561"/>
                  </a:lnTo>
                  <a:lnTo>
                    <a:pt x="838067" y="202208"/>
                  </a:lnTo>
                  <a:lnTo>
                    <a:pt x="839959" y="208798"/>
                  </a:lnTo>
                  <a:lnTo>
                    <a:pt x="844324" y="209886"/>
                  </a:lnTo>
                  <a:lnTo>
                    <a:pt x="858206" y="223279"/>
                  </a:lnTo>
                  <a:lnTo>
                    <a:pt x="859309" y="227123"/>
                  </a:lnTo>
                  <a:lnTo>
                    <a:pt x="862312" y="229826"/>
                  </a:lnTo>
                  <a:lnTo>
                    <a:pt x="862974" y="231797"/>
                  </a:lnTo>
                  <a:lnTo>
                    <a:pt x="866880" y="229612"/>
                  </a:lnTo>
                  <a:lnTo>
                    <a:pt x="874187" y="230428"/>
                  </a:lnTo>
                  <a:lnTo>
                    <a:pt x="880010" y="235671"/>
                  </a:lnTo>
                  <a:lnTo>
                    <a:pt x="882787" y="243932"/>
                  </a:lnTo>
                  <a:lnTo>
                    <a:pt x="881935" y="251555"/>
                  </a:lnTo>
                  <a:lnTo>
                    <a:pt x="883156" y="252115"/>
                  </a:lnTo>
                  <a:lnTo>
                    <a:pt x="886389" y="256933"/>
                  </a:lnTo>
                  <a:lnTo>
                    <a:pt x="886757" y="259639"/>
                  </a:lnTo>
                  <a:lnTo>
                    <a:pt x="892157" y="263295"/>
                  </a:lnTo>
                  <a:lnTo>
                    <a:pt x="894781" y="262748"/>
                  </a:lnTo>
                  <a:lnTo>
                    <a:pt x="900765" y="266794"/>
                  </a:lnTo>
                  <a:lnTo>
                    <a:pt x="905027" y="275075"/>
                  </a:lnTo>
                  <a:lnTo>
                    <a:pt x="906425" y="285372"/>
                  </a:lnTo>
                  <a:cubicBezTo>
                    <a:pt x="906114" y="286988"/>
                    <a:pt x="905803" y="288606"/>
                    <a:pt x="905492" y="290223"/>
                  </a:cubicBezTo>
                  <a:lnTo>
                    <a:pt x="911123" y="292801"/>
                  </a:lnTo>
                  <a:lnTo>
                    <a:pt x="915818" y="299803"/>
                  </a:lnTo>
                  <a:lnTo>
                    <a:pt x="916250" y="302978"/>
                  </a:lnTo>
                  <a:lnTo>
                    <a:pt x="917986" y="303688"/>
                  </a:lnTo>
                  <a:lnTo>
                    <a:pt x="922983" y="310605"/>
                  </a:lnTo>
                  <a:lnTo>
                    <a:pt x="924196" y="319543"/>
                  </a:lnTo>
                  <a:cubicBezTo>
                    <a:pt x="924050" y="319977"/>
                    <a:pt x="923904" y="320410"/>
                    <a:pt x="923757" y="320844"/>
                  </a:cubicBezTo>
                  <a:lnTo>
                    <a:pt x="923976" y="320935"/>
                  </a:lnTo>
                  <a:lnTo>
                    <a:pt x="928975" y="327851"/>
                  </a:lnTo>
                  <a:lnTo>
                    <a:pt x="930190" y="336789"/>
                  </a:lnTo>
                  <a:lnTo>
                    <a:pt x="0" y="336789"/>
                  </a:lnTo>
                  <a:cubicBezTo>
                    <a:pt x="405" y="333809"/>
                    <a:pt x="810" y="330831"/>
                    <a:pt x="1215" y="327852"/>
                  </a:cubicBezTo>
                  <a:lnTo>
                    <a:pt x="6212" y="320934"/>
                  </a:lnTo>
                  <a:lnTo>
                    <a:pt x="6432" y="320844"/>
                  </a:lnTo>
                  <a:lnTo>
                    <a:pt x="5993" y="319542"/>
                  </a:lnTo>
                  <a:lnTo>
                    <a:pt x="7206" y="310606"/>
                  </a:lnTo>
                  <a:lnTo>
                    <a:pt x="12205" y="303688"/>
                  </a:lnTo>
                  <a:lnTo>
                    <a:pt x="13940" y="302979"/>
                  </a:lnTo>
                  <a:cubicBezTo>
                    <a:pt x="14084" y="301920"/>
                    <a:pt x="14228" y="300861"/>
                    <a:pt x="14372" y="299802"/>
                  </a:cubicBezTo>
                  <a:lnTo>
                    <a:pt x="19067" y="292801"/>
                  </a:lnTo>
                  <a:lnTo>
                    <a:pt x="24698" y="290223"/>
                  </a:lnTo>
                  <a:lnTo>
                    <a:pt x="23765" y="285372"/>
                  </a:lnTo>
                  <a:cubicBezTo>
                    <a:pt x="24231" y="281939"/>
                    <a:pt x="24697" y="278507"/>
                    <a:pt x="25163" y="275075"/>
                  </a:cubicBezTo>
                  <a:lnTo>
                    <a:pt x="29425" y="266795"/>
                  </a:lnTo>
                  <a:lnTo>
                    <a:pt x="35408" y="262747"/>
                  </a:lnTo>
                  <a:lnTo>
                    <a:pt x="38032" y="263295"/>
                  </a:lnTo>
                  <a:lnTo>
                    <a:pt x="43432" y="259640"/>
                  </a:lnTo>
                  <a:cubicBezTo>
                    <a:pt x="43556" y="258736"/>
                    <a:pt x="43677" y="257834"/>
                    <a:pt x="43800" y="256932"/>
                  </a:cubicBezTo>
                  <a:lnTo>
                    <a:pt x="47033" y="252113"/>
                  </a:lnTo>
                  <a:lnTo>
                    <a:pt x="48255" y="251555"/>
                  </a:lnTo>
                  <a:lnTo>
                    <a:pt x="47403" y="243931"/>
                  </a:lnTo>
                  <a:lnTo>
                    <a:pt x="50180" y="235670"/>
                  </a:lnTo>
                  <a:lnTo>
                    <a:pt x="56002" y="230428"/>
                  </a:lnTo>
                  <a:lnTo>
                    <a:pt x="63310" y="229613"/>
                  </a:lnTo>
                  <a:lnTo>
                    <a:pt x="67216" y="231797"/>
                  </a:lnTo>
                  <a:lnTo>
                    <a:pt x="67877" y="229827"/>
                  </a:lnTo>
                  <a:lnTo>
                    <a:pt x="73701" y="224584"/>
                  </a:lnTo>
                  <a:lnTo>
                    <a:pt x="76226" y="224303"/>
                  </a:lnTo>
                  <a:lnTo>
                    <a:pt x="80244" y="220138"/>
                  </a:lnTo>
                  <a:lnTo>
                    <a:pt x="86873" y="218235"/>
                  </a:lnTo>
                  <a:lnTo>
                    <a:pt x="87760" y="217436"/>
                  </a:lnTo>
                  <a:cubicBezTo>
                    <a:pt x="87914" y="216070"/>
                    <a:pt x="88068" y="214704"/>
                    <a:pt x="88223" y="213338"/>
                  </a:cubicBezTo>
                  <a:lnTo>
                    <a:pt x="93215" y="206232"/>
                  </a:lnTo>
                  <a:lnTo>
                    <a:pt x="100717" y="204079"/>
                  </a:lnTo>
                  <a:lnTo>
                    <a:pt x="103796" y="205379"/>
                  </a:lnTo>
                  <a:lnTo>
                    <a:pt x="107986" y="201607"/>
                  </a:lnTo>
                  <a:lnTo>
                    <a:pt x="115295" y="200789"/>
                  </a:lnTo>
                  <a:lnTo>
                    <a:pt x="122130" y="204617"/>
                  </a:lnTo>
                  <a:lnTo>
                    <a:pt x="122807" y="205726"/>
                  </a:lnTo>
                  <a:lnTo>
                    <a:pt x="124435" y="205259"/>
                  </a:lnTo>
                  <a:cubicBezTo>
                    <a:pt x="124869" y="201418"/>
                    <a:pt x="125303" y="197578"/>
                    <a:pt x="125737" y="193737"/>
                  </a:cubicBezTo>
                  <a:lnTo>
                    <a:pt x="138076" y="176175"/>
                  </a:lnTo>
                  <a:lnTo>
                    <a:pt x="156621" y="170851"/>
                  </a:lnTo>
                  <a:lnTo>
                    <a:pt x="158836" y="171786"/>
                  </a:lnTo>
                  <a:cubicBezTo>
                    <a:pt x="158835" y="171727"/>
                    <a:pt x="158837" y="171667"/>
                    <a:pt x="158836" y="171605"/>
                  </a:cubicBezTo>
                  <a:lnTo>
                    <a:pt x="162739" y="164847"/>
                  </a:lnTo>
                  <a:lnTo>
                    <a:pt x="169497" y="160943"/>
                  </a:lnTo>
                  <a:lnTo>
                    <a:pt x="173717" y="160943"/>
                  </a:lnTo>
                  <a:lnTo>
                    <a:pt x="177304" y="152266"/>
                  </a:lnTo>
                  <a:lnTo>
                    <a:pt x="184062" y="146813"/>
                  </a:lnTo>
                  <a:lnTo>
                    <a:pt x="191868" y="146814"/>
                  </a:lnTo>
                  <a:lnTo>
                    <a:pt x="197289" y="151187"/>
                  </a:lnTo>
                  <a:lnTo>
                    <a:pt x="198626" y="150110"/>
                  </a:lnTo>
                  <a:lnTo>
                    <a:pt x="206433" y="150109"/>
                  </a:lnTo>
                  <a:lnTo>
                    <a:pt x="208774" y="151997"/>
                  </a:lnTo>
                  <a:lnTo>
                    <a:pt x="208774" y="151131"/>
                  </a:lnTo>
                  <a:lnTo>
                    <a:pt x="213790" y="141690"/>
                  </a:lnTo>
                  <a:lnTo>
                    <a:pt x="222482" y="136236"/>
                  </a:lnTo>
                  <a:lnTo>
                    <a:pt x="232515" y="136237"/>
                  </a:lnTo>
                  <a:lnTo>
                    <a:pt x="241206" y="141689"/>
                  </a:lnTo>
                  <a:lnTo>
                    <a:pt x="244335" y="147579"/>
                  </a:lnTo>
                  <a:lnTo>
                    <a:pt x="252841" y="145137"/>
                  </a:lnTo>
                  <a:lnTo>
                    <a:pt x="252649" y="144806"/>
                  </a:lnTo>
                  <a:lnTo>
                    <a:pt x="252648" y="125514"/>
                  </a:lnTo>
                  <a:lnTo>
                    <a:pt x="262297" y="108807"/>
                  </a:lnTo>
                  <a:lnTo>
                    <a:pt x="272073" y="103162"/>
                  </a:lnTo>
                  <a:lnTo>
                    <a:pt x="272116" y="102836"/>
                  </a:lnTo>
                  <a:lnTo>
                    <a:pt x="273216" y="101197"/>
                  </a:lnTo>
                  <a:lnTo>
                    <a:pt x="274533" y="100594"/>
                  </a:lnTo>
                  <a:lnTo>
                    <a:pt x="274316" y="99459"/>
                  </a:lnTo>
                  <a:cubicBezTo>
                    <a:pt x="274425" y="98655"/>
                    <a:pt x="274534" y="97852"/>
                    <a:pt x="274643" y="97048"/>
                  </a:cubicBezTo>
                  <a:lnTo>
                    <a:pt x="275640" y="95110"/>
                  </a:lnTo>
                  <a:lnTo>
                    <a:pt x="277041" y="94163"/>
                  </a:lnTo>
                  <a:lnTo>
                    <a:pt x="277654" y="94290"/>
                  </a:lnTo>
                  <a:lnTo>
                    <a:pt x="278918" y="93436"/>
                  </a:lnTo>
                  <a:cubicBezTo>
                    <a:pt x="278948" y="93225"/>
                    <a:pt x="278976" y="93013"/>
                    <a:pt x="279005" y="92801"/>
                  </a:cubicBezTo>
                  <a:lnTo>
                    <a:pt x="279761" y="91674"/>
                  </a:lnTo>
                  <a:lnTo>
                    <a:pt x="280047" y="91543"/>
                  </a:lnTo>
                  <a:lnTo>
                    <a:pt x="279848" y="89759"/>
                  </a:lnTo>
                  <a:lnTo>
                    <a:pt x="280498" y="87825"/>
                  </a:lnTo>
                  <a:lnTo>
                    <a:pt x="281861" y="86598"/>
                  </a:lnTo>
                  <a:lnTo>
                    <a:pt x="283572" y="86407"/>
                  </a:lnTo>
                  <a:lnTo>
                    <a:pt x="284485" y="86919"/>
                  </a:lnTo>
                  <a:lnTo>
                    <a:pt x="284641" y="86457"/>
                  </a:lnTo>
                  <a:lnTo>
                    <a:pt x="286003" y="85231"/>
                  </a:lnTo>
                  <a:lnTo>
                    <a:pt x="286594" y="85164"/>
                  </a:lnTo>
                  <a:lnTo>
                    <a:pt x="287535" y="84189"/>
                  </a:lnTo>
                  <a:lnTo>
                    <a:pt x="289086" y="83744"/>
                  </a:lnTo>
                  <a:lnTo>
                    <a:pt x="289295" y="83557"/>
                  </a:lnTo>
                  <a:cubicBezTo>
                    <a:pt x="289330" y="83238"/>
                    <a:pt x="289366" y="82918"/>
                    <a:pt x="289403" y="82598"/>
                  </a:cubicBezTo>
                  <a:lnTo>
                    <a:pt x="290571" y="80934"/>
                  </a:lnTo>
                  <a:lnTo>
                    <a:pt x="292328" y="80430"/>
                  </a:lnTo>
                  <a:lnTo>
                    <a:pt x="293047" y="80735"/>
                  </a:lnTo>
                  <a:lnTo>
                    <a:pt x="294028" y="79852"/>
                  </a:lnTo>
                  <a:lnTo>
                    <a:pt x="295739" y="79661"/>
                  </a:lnTo>
                  <a:lnTo>
                    <a:pt x="297340" y="80557"/>
                  </a:lnTo>
                  <a:lnTo>
                    <a:pt x="297498" y="80816"/>
                  </a:lnTo>
                  <a:lnTo>
                    <a:pt x="297878" y="80707"/>
                  </a:lnTo>
                  <a:cubicBezTo>
                    <a:pt x="297981" y="79808"/>
                    <a:pt x="298081" y="78909"/>
                    <a:pt x="298184" y="78011"/>
                  </a:cubicBezTo>
                  <a:lnTo>
                    <a:pt x="301071" y="73900"/>
                  </a:lnTo>
                  <a:lnTo>
                    <a:pt x="305411" y="72653"/>
                  </a:lnTo>
                  <a:lnTo>
                    <a:pt x="305930" y="72872"/>
                  </a:lnTo>
                  <a:cubicBezTo>
                    <a:pt x="305931" y="72858"/>
                    <a:pt x="305931" y="72844"/>
                    <a:pt x="305931" y="72830"/>
                  </a:cubicBezTo>
                  <a:lnTo>
                    <a:pt x="306844" y="71248"/>
                  </a:lnTo>
                  <a:lnTo>
                    <a:pt x="308426" y="70335"/>
                  </a:lnTo>
                  <a:lnTo>
                    <a:pt x="309414" y="70335"/>
                  </a:lnTo>
                  <a:lnTo>
                    <a:pt x="310254" y="68303"/>
                  </a:lnTo>
                  <a:lnTo>
                    <a:pt x="311836" y="67027"/>
                  </a:lnTo>
                  <a:lnTo>
                    <a:pt x="313662" y="67027"/>
                  </a:lnTo>
                  <a:lnTo>
                    <a:pt x="314932" y="68051"/>
                  </a:lnTo>
                  <a:lnTo>
                    <a:pt x="315245" y="67798"/>
                  </a:lnTo>
                  <a:lnTo>
                    <a:pt x="317072" y="67798"/>
                  </a:lnTo>
                  <a:lnTo>
                    <a:pt x="317620" y="68241"/>
                  </a:lnTo>
                  <a:lnTo>
                    <a:pt x="317620" y="68038"/>
                  </a:lnTo>
                  <a:lnTo>
                    <a:pt x="318793" y="65827"/>
                  </a:lnTo>
                  <a:lnTo>
                    <a:pt x="320828" y="64551"/>
                  </a:lnTo>
                  <a:lnTo>
                    <a:pt x="323176" y="64551"/>
                  </a:lnTo>
                  <a:lnTo>
                    <a:pt x="324567" y="65424"/>
                  </a:lnTo>
                  <a:lnTo>
                    <a:pt x="326627" y="64234"/>
                  </a:lnTo>
                  <a:lnTo>
                    <a:pt x="327889" y="64234"/>
                  </a:lnTo>
                  <a:lnTo>
                    <a:pt x="327889" y="62042"/>
                  </a:lnTo>
                  <a:lnTo>
                    <a:pt x="330146" y="58131"/>
                  </a:lnTo>
                  <a:lnTo>
                    <a:pt x="334057" y="55873"/>
                  </a:lnTo>
                  <a:lnTo>
                    <a:pt x="338573" y="55874"/>
                  </a:lnTo>
                  <a:lnTo>
                    <a:pt x="339036" y="56141"/>
                  </a:lnTo>
                  <a:lnTo>
                    <a:pt x="339037" y="53867"/>
                  </a:lnTo>
                  <a:lnTo>
                    <a:pt x="341294" y="49956"/>
                  </a:lnTo>
                  <a:lnTo>
                    <a:pt x="343481" y="48694"/>
                  </a:lnTo>
                  <a:lnTo>
                    <a:pt x="345922" y="42785"/>
                  </a:lnTo>
                  <a:lnTo>
                    <a:pt x="362628" y="29309"/>
                  </a:lnTo>
                  <a:lnTo>
                    <a:pt x="381922" y="29310"/>
                  </a:lnTo>
                  <a:lnTo>
                    <a:pt x="391120" y="36729"/>
                  </a:lnTo>
                  <a:lnTo>
                    <a:pt x="394588" y="34726"/>
                  </a:lnTo>
                  <a:lnTo>
                    <a:pt x="397029" y="34726"/>
                  </a:lnTo>
                  <a:lnTo>
                    <a:pt x="399104" y="29707"/>
                  </a:lnTo>
                  <a:lnTo>
                    <a:pt x="403014" y="26552"/>
                  </a:lnTo>
                  <a:lnTo>
                    <a:pt x="407530" y="26552"/>
                  </a:lnTo>
                  <a:lnTo>
                    <a:pt x="410667" y="29082"/>
                  </a:lnTo>
                  <a:lnTo>
                    <a:pt x="411440" y="28459"/>
                  </a:lnTo>
                  <a:lnTo>
                    <a:pt x="415956" y="28459"/>
                  </a:lnTo>
                  <a:lnTo>
                    <a:pt x="417311" y="29551"/>
                  </a:lnTo>
                  <a:cubicBezTo>
                    <a:pt x="417310" y="29384"/>
                    <a:pt x="417311" y="29217"/>
                    <a:pt x="417311" y="29050"/>
                  </a:cubicBezTo>
                  <a:lnTo>
                    <a:pt x="420213" y="23587"/>
                  </a:lnTo>
                  <a:lnTo>
                    <a:pt x="425241" y="20432"/>
                  </a:lnTo>
                  <a:lnTo>
                    <a:pt x="431047" y="20433"/>
                  </a:lnTo>
                  <a:lnTo>
                    <a:pt x="433333" y="21867"/>
                  </a:lnTo>
                  <a:lnTo>
                    <a:pt x="436110" y="16643"/>
                  </a:lnTo>
                  <a:lnTo>
                    <a:pt x="457591" y="3166"/>
                  </a:lnTo>
                  <a:lnTo>
                    <a:pt x="482393" y="3166"/>
                  </a:lnTo>
                  <a:lnTo>
                    <a:pt x="487924" y="6636"/>
                  </a:lnTo>
                  <a:lnTo>
                    <a:pt x="488297" y="6580"/>
                  </a:lnTo>
                  <a:lnTo>
                    <a:pt x="488348" y="6602"/>
                  </a:lnTo>
                  <a:lnTo>
                    <a:pt x="488495" y="6315"/>
                  </a:lnTo>
                  <a:lnTo>
                    <a:pt x="490189" y="5056"/>
                  </a:lnTo>
                  <a:lnTo>
                    <a:pt x="492166" y="4763"/>
                  </a:lnTo>
                  <a:lnTo>
                    <a:pt x="492568" y="4937"/>
                  </a:lnTo>
                  <a:cubicBezTo>
                    <a:pt x="492770" y="4788"/>
                    <a:pt x="492971" y="4639"/>
                    <a:pt x="493171" y="4490"/>
                  </a:cubicBezTo>
                  <a:lnTo>
                    <a:pt x="495111" y="4131"/>
                  </a:lnTo>
                  <a:lnTo>
                    <a:pt x="496464" y="4653"/>
                  </a:lnTo>
                  <a:lnTo>
                    <a:pt x="497123" y="3703"/>
                  </a:lnTo>
                  <a:cubicBezTo>
                    <a:pt x="497775" y="3221"/>
                    <a:pt x="498426" y="2737"/>
                    <a:pt x="499076" y="2254"/>
                  </a:cubicBezTo>
                  <a:lnTo>
                    <a:pt x="501161" y="1614"/>
                  </a:lnTo>
                  <a:lnTo>
                    <a:pt x="502817" y="1954"/>
                  </a:lnTo>
                  <a:lnTo>
                    <a:pt x="503153" y="2482"/>
                  </a:lnTo>
                  <a:lnTo>
                    <a:pt x="504650" y="2789"/>
                  </a:lnTo>
                  <a:cubicBezTo>
                    <a:pt x="504821" y="2663"/>
                    <a:pt x="504992" y="2536"/>
                    <a:pt x="505163" y="2408"/>
                  </a:cubicBezTo>
                  <a:lnTo>
                    <a:pt x="506499" y="2162"/>
                  </a:lnTo>
                  <a:lnTo>
                    <a:pt x="506792" y="2275"/>
                  </a:lnTo>
                  <a:lnTo>
                    <a:pt x="507928" y="886"/>
                  </a:lnTo>
                  <a:close/>
                </a:path>
              </a:pathLst>
            </a:custGeom>
            <a:solidFill>
              <a:schemeClr val="accent5"/>
            </a:solidFill>
            <a:ln w="12700">
              <a:solidFill>
                <a:schemeClr val="tx1"/>
              </a:solidFill>
              <a:prstDash val="solid"/>
              <a:round/>
              <a:headEnd/>
              <a:tailEnd/>
            </a:ln>
            <a:extLst/>
          </p:spPr>
          <p:txBody>
            <a:bodyPr vert="horz" wrap="square" lIns="0" tIns="0" rIns="0" bIns="0" numCol="1" anchor="t" anchorCtr="0" compatLnSpc="1">
              <a:prstTxWarp prst="textNoShape">
                <a:avLst/>
              </a:prstTxWarp>
            </a:bodyPr>
            <a:lstStyle/>
            <a:p>
              <a:endParaRPr lang="en-US" sz="1000">
                <a:solidFill>
                  <a:schemeClr val="tx1"/>
                </a:solidFill>
              </a:endParaRPr>
            </a:p>
          </p:txBody>
        </p:sp>
        <p:sp>
          <p:nvSpPr>
            <p:cNvPr id="1664" name="Rectangle 1663">
              <a:extLst>
                <a:ext uri="{FF2B5EF4-FFF2-40B4-BE49-F238E27FC236}">
                  <a16:creationId xmlns:a16="http://schemas.microsoft.com/office/drawing/2014/main" id="{8DFD26FF-1415-41A0-9D8D-9C16B96C7BE3}"/>
                </a:ext>
              </a:extLst>
            </p:cNvPr>
            <p:cNvSpPr/>
            <p:nvPr/>
          </p:nvSpPr>
          <p:spPr bwMode="gray">
            <a:xfrm>
              <a:off x="1591462" y="3365748"/>
              <a:ext cx="1083158" cy="2296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al, petroleum coke, biomass, waste, etc. </a:t>
              </a:r>
            </a:p>
          </p:txBody>
        </p:sp>
      </p:grpSp>
      <p:grpSp>
        <p:nvGrpSpPr>
          <p:cNvPr id="1666" name="Group 1665">
            <a:extLst>
              <a:ext uri="{FF2B5EF4-FFF2-40B4-BE49-F238E27FC236}">
                <a16:creationId xmlns:a16="http://schemas.microsoft.com/office/drawing/2014/main" id="{957A8A43-130C-4075-A472-C83EF0A364E5}"/>
              </a:ext>
            </a:extLst>
          </p:cNvPr>
          <p:cNvGrpSpPr/>
          <p:nvPr/>
        </p:nvGrpSpPr>
        <p:grpSpPr bwMode="gray">
          <a:xfrm>
            <a:off x="9704525" y="4804412"/>
            <a:ext cx="842400" cy="540419"/>
            <a:chOff x="3496037" y="4910525"/>
            <a:chExt cx="842400" cy="540419"/>
          </a:xfrm>
        </p:grpSpPr>
        <p:sp>
          <p:nvSpPr>
            <p:cNvPr id="1667" name="Rectangle: Rounded Corners 1666">
              <a:extLst>
                <a:ext uri="{FF2B5EF4-FFF2-40B4-BE49-F238E27FC236}">
                  <a16:creationId xmlns:a16="http://schemas.microsoft.com/office/drawing/2014/main" id="{54390200-8B31-4A2B-A648-F081764AD975}"/>
                </a:ext>
              </a:extLst>
            </p:cNvPr>
            <p:cNvSpPr/>
            <p:nvPr/>
          </p:nvSpPr>
          <p:spPr bwMode="gray">
            <a:xfrm>
              <a:off x="3587672" y="4910525"/>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sp>
          <p:nvSpPr>
            <p:cNvPr id="1668" name="Rectangle 1667">
              <a:extLst>
                <a:ext uri="{FF2B5EF4-FFF2-40B4-BE49-F238E27FC236}">
                  <a16:creationId xmlns:a16="http://schemas.microsoft.com/office/drawing/2014/main" id="{6BAD5F01-7338-4897-BBAF-84E2C463A990}"/>
                </a:ext>
              </a:extLst>
            </p:cNvPr>
            <p:cNvSpPr/>
            <p:nvPr/>
          </p:nvSpPr>
          <p:spPr bwMode="gray">
            <a:xfrm>
              <a:off x="3496037" y="5221262"/>
              <a:ext cx="842400" cy="2296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Fuel cells</a:t>
              </a:r>
            </a:p>
          </p:txBody>
        </p:sp>
      </p:grpSp>
      <p:grpSp>
        <p:nvGrpSpPr>
          <p:cNvPr id="1682" name="Group 1681">
            <a:extLst>
              <a:ext uri="{FF2B5EF4-FFF2-40B4-BE49-F238E27FC236}">
                <a16:creationId xmlns:a16="http://schemas.microsoft.com/office/drawing/2014/main" id="{B48FF2B3-61FE-4CBE-ACBF-E743CED4DDFA}"/>
              </a:ext>
            </a:extLst>
          </p:cNvPr>
          <p:cNvGrpSpPr/>
          <p:nvPr/>
        </p:nvGrpSpPr>
        <p:grpSpPr bwMode="gray">
          <a:xfrm>
            <a:off x="9769919" y="2267397"/>
            <a:ext cx="729984" cy="603103"/>
            <a:chOff x="8650763" y="1214164"/>
            <a:chExt cx="729984" cy="603103"/>
          </a:xfrm>
        </p:grpSpPr>
        <p:grpSp>
          <p:nvGrpSpPr>
            <p:cNvPr id="894" name="Group 893">
              <a:extLst>
                <a:ext uri="{FF2B5EF4-FFF2-40B4-BE49-F238E27FC236}">
                  <a16:creationId xmlns:a16="http://schemas.microsoft.com/office/drawing/2014/main" id="{E5670996-DEBD-4D58-B707-11C73D05588C}"/>
                </a:ext>
              </a:extLst>
            </p:cNvPr>
            <p:cNvGrpSpPr/>
            <p:nvPr/>
          </p:nvGrpSpPr>
          <p:grpSpPr bwMode="gray">
            <a:xfrm>
              <a:off x="8866213" y="1214164"/>
              <a:ext cx="299085" cy="363985"/>
              <a:chOff x="1196340" y="4627290"/>
              <a:chExt cx="299085" cy="363985"/>
            </a:xfrm>
            <a:solidFill>
              <a:schemeClr val="accent5"/>
            </a:solidFill>
          </p:grpSpPr>
          <p:sp>
            <p:nvSpPr>
              <p:cNvPr id="895" name="Rectangle 894">
                <a:extLst>
                  <a:ext uri="{FF2B5EF4-FFF2-40B4-BE49-F238E27FC236}">
                    <a16:creationId xmlns:a16="http://schemas.microsoft.com/office/drawing/2014/main" id="{9A2A09FC-E88E-4353-869A-23312C3B121E}"/>
                  </a:ext>
                </a:extLst>
              </p:cNvPr>
              <p:cNvSpPr/>
              <p:nvPr/>
            </p:nvSpPr>
            <p:spPr bwMode="gray">
              <a:xfrm>
                <a:off x="1223943" y="4627290"/>
                <a:ext cx="243878" cy="363985"/>
              </a:xfrm>
              <a:prstGeom prst="rect">
                <a:avLst/>
              </a:prstGeom>
              <a:grpFill/>
              <a:ln w="12700">
                <a:solidFill>
                  <a:schemeClr val="tx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US"/>
              </a:p>
            </p:txBody>
          </p:sp>
          <p:cxnSp>
            <p:nvCxnSpPr>
              <p:cNvPr id="896" name="Straight Connector 895">
                <a:extLst>
                  <a:ext uri="{FF2B5EF4-FFF2-40B4-BE49-F238E27FC236}">
                    <a16:creationId xmlns:a16="http://schemas.microsoft.com/office/drawing/2014/main" id="{AEE21786-E5BD-4C6B-BE82-CA6D08E871F8}"/>
                  </a:ext>
                </a:extLst>
              </p:cNvPr>
              <p:cNvCxnSpPr>
                <a:cxnSpLocks/>
              </p:cNvCxnSpPr>
              <p:nvPr/>
            </p:nvCxnSpPr>
            <p:spPr bwMode="gray">
              <a:xfrm>
                <a:off x="1196340" y="4627290"/>
                <a:ext cx="299085" cy="0"/>
              </a:xfrm>
              <a:prstGeom prst="line">
                <a:avLst/>
              </a:prstGeom>
              <a:grpFill/>
              <a:ln w="12700">
                <a:solidFill>
                  <a:schemeClr val="tx1"/>
                </a:solidFill>
                <a:prstDash val="solid"/>
                <a:miter lim="800000"/>
                <a:headEnd/>
                <a:tailEnd/>
              </a:ln>
              <a:extLst/>
            </p:spPr>
          </p:cxnSp>
          <p:cxnSp>
            <p:nvCxnSpPr>
              <p:cNvPr id="897" name="Straight Connector 896">
                <a:extLst>
                  <a:ext uri="{FF2B5EF4-FFF2-40B4-BE49-F238E27FC236}">
                    <a16:creationId xmlns:a16="http://schemas.microsoft.com/office/drawing/2014/main" id="{2B394A2C-7C58-424C-8E0D-55E3ED1AD86D}"/>
                  </a:ext>
                </a:extLst>
              </p:cNvPr>
              <p:cNvCxnSpPr>
                <a:cxnSpLocks/>
              </p:cNvCxnSpPr>
              <p:nvPr/>
            </p:nvCxnSpPr>
            <p:spPr bwMode="gray">
              <a:xfrm>
                <a:off x="1196340" y="4991275"/>
                <a:ext cx="299085" cy="0"/>
              </a:xfrm>
              <a:prstGeom prst="line">
                <a:avLst/>
              </a:prstGeom>
              <a:grpFill/>
              <a:ln w="12700">
                <a:solidFill>
                  <a:schemeClr val="tx1"/>
                </a:solidFill>
                <a:prstDash val="solid"/>
                <a:miter lim="800000"/>
                <a:headEnd/>
                <a:tailEnd/>
              </a:ln>
              <a:extLst/>
            </p:spPr>
          </p:cxnSp>
          <p:cxnSp>
            <p:nvCxnSpPr>
              <p:cNvPr id="898" name="Straight Connector 897">
                <a:extLst>
                  <a:ext uri="{FF2B5EF4-FFF2-40B4-BE49-F238E27FC236}">
                    <a16:creationId xmlns:a16="http://schemas.microsoft.com/office/drawing/2014/main" id="{805C61A6-EA41-4F61-A703-F75BED3BE41F}"/>
                  </a:ext>
                </a:extLst>
              </p:cNvPr>
              <p:cNvCxnSpPr>
                <a:cxnSpLocks/>
              </p:cNvCxnSpPr>
              <p:nvPr/>
            </p:nvCxnSpPr>
            <p:spPr bwMode="gray">
              <a:xfrm>
                <a:off x="1196340" y="4748618"/>
                <a:ext cx="299085" cy="0"/>
              </a:xfrm>
              <a:prstGeom prst="line">
                <a:avLst/>
              </a:prstGeom>
              <a:grpFill/>
              <a:ln w="12700">
                <a:solidFill>
                  <a:schemeClr val="tx1"/>
                </a:solidFill>
                <a:prstDash val="solid"/>
                <a:miter lim="800000"/>
                <a:headEnd/>
                <a:tailEnd/>
              </a:ln>
              <a:extLst/>
            </p:spPr>
          </p:cxnSp>
          <p:cxnSp>
            <p:nvCxnSpPr>
              <p:cNvPr id="899" name="Straight Connector 898">
                <a:extLst>
                  <a:ext uri="{FF2B5EF4-FFF2-40B4-BE49-F238E27FC236}">
                    <a16:creationId xmlns:a16="http://schemas.microsoft.com/office/drawing/2014/main" id="{5687EE21-223A-4AB4-8514-47E890206EF1}"/>
                  </a:ext>
                </a:extLst>
              </p:cNvPr>
              <p:cNvCxnSpPr>
                <a:cxnSpLocks/>
              </p:cNvCxnSpPr>
              <p:nvPr/>
            </p:nvCxnSpPr>
            <p:spPr bwMode="gray">
              <a:xfrm>
                <a:off x="1196340" y="4869946"/>
                <a:ext cx="299085" cy="0"/>
              </a:xfrm>
              <a:prstGeom prst="line">
                <a:avLst/>
              </a:prstGeom>
              <a:grpFill/>
              <a:ln w="12700">
                <a:solidFill>
                  <a:schemeClr val="tx1"/>
                </a:solidFill>
                <a:prstDash val="solid"/>
                <a:miter lim="800000"/>
                <a:headEnd/>
                <a:tailEnd/>
              </a:ln>
              <a:extLst/>
            </p:spPr>
          </p:cxnSp>
        </p:grpSp>
        <p:sp>
          <p:nvSpPr>
            <p:cNvPr id="1681" name="Rectangle 1680">
              <a:extLst>
                <a:ext uri="{FF2B5EF4-FFF2-40B4-BE49-F238E27FC236}">
                  <a16:creationId xmlns:a16="http://schemas.microsoft.com/office/drawing/2014/main" id="{3F05C48D-62A8-48C3-9EBE-313C2ABBE3A0}"/>
                </a:ext>
              </a:extLst>
            </p:cNvPr>
            <p:cNvSpPr/>
            <p:nvPr/>
          </p:nvSpPr>
          <p:spPr bwMode="gray">
            <a:xfrm>
              <a:off x="8650763" y="1587585"/>
              <a:ext cx="729984" cy="2296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Fuels &amp; chemicals</a:t>
              </a:r>
            </a:p>
          </p:txBody>
        </p:sp>
      </p:grpSp>
      <p:grpSp>
        <p:nvGrpSpPr>
          <p:cNvPr id="1685" name="Group 1684">
            <a:extLst>
              <a:ext uri="{FF2B5EF4-FFF2-40B4-BE49-F238E27FC236}">
                <a16:creationId xmlns:a16="http://schemas.microsoft.com/office/drawing/2014/main" id="{793FD64A-8DFD-4D05-AF43-3C58106F3933}"/>
              </a:ext>
            </a:extLst>
          </p:cNvPr>
          <p:cNvGrpSpPr/>
          <p:nvPr/>
        </p:nvGrpSpPr>
        <p:grpSpPr bwMode="gray">
          <a:xfrm>
            <a:off x="8037229" y="4481047"/>
            <a:ext cx="1083158" cy="600367"/>
            <a:chOff x="9243796" y="1216900"/>
            <a:chExt cx="1083158" cy="600367"/>
          </a:xfrm>
        </p:grpSpPr>
        <p:grpSp>
          <p:nvGrpSpPr>
            <p:cNvPr id="1437" name="Group 1436">
              <a:extLst>
                <a:ext uri="{FF2B5EF4-FFF2-40B4-BE49-F238E27FC236}">
                  <a16:creationId xmlns:a16="http://schemas.microsoft.com/office/drawing/2014/main" id="{FEAF1FB7-9E70-4B0C-921B-C0347B46EBEA}"/>
                </a:ext>
              </a:extLst>
            </p:cNvPr>
            <p:cNvGrpSpPr/>
            <p:nvPr/>
          </p:nvGrpSpPr>
          <p:grpSpPr bwMode="gray">
            <a:xfrm>
              <a:off x="9705522" y="1216900"/>
              <a:ext cx="159707" cy="350130"/>
              <a:chOff x="8795138" y="6105871"/>
              <a:chExt cx="398954" cy="874637"/>
            </a:xfrm>
            <a:solidFill>
              <a:schemeClr val="accent5"/>
            </a:solidFill>
          </p:grpSpPr>
          <p:grpSp>
            <p:nvGrpSpPr>
              <p:cNvPr id="1185" name="Gruppieren 254">
                <a:extLst>
                  <a:ext uri="{FF2B5EF4-FFF2-40B4-BE49-F238E27FC236}">
                    <a16:creationId xmlns:a16="http://schemas.microsoft.com/office/drawing/2014/main" id="{1F5587DD-5B53-4CEC-A9BE-C8230F4A5B89}"/>
                  </a:ext>
                </a:extLst>
              </p:cNvPr>
              <p:cNvGrpSpPr/>
              <p:nvPr/>
            </p:nvGrpSpPr>
            <p:grpSpPr bwMode="gray">
              <a:xfrm>
                <a:off x="8795138" y="6251938"/>
                <a:ext cx="398954" cy="728570"/>
                <a:chOff x="8079802" y="3571587"/>
                <a:chExt cx="180000" cy="506664"/>
              </a:xfrm>
              <a:grpFill/>
            </p:grpSpPr>
            <p:sp>
              <p:nvSpPr>
                <p:cNvPr id="1434" name="Trapezoid 1433">
                  <a:extLst>
                    <a:ext uri="{FF2B5EF4-FFF2-40B4-BE49-F238E27FC236}">
                      <a16:creationId xmlns:a16="http://schemas.microsoft.com/office/drawing/2014/main" id="{C6D4036B-0E3E-4FC6-84B8-147BF73015CE}"/>
                    </a:ext>
                  </a:extLst>
                </p:cNvPr>
                <p:cNvSpPr/>
                <p:nvPr/>
              </p:nvSpPr>
              <p:spPr bwMode="gray">
                <a:xfrm>
                  <a:off x="8108643" y="3571587"/>
                  <a:ext cx="122318" cy="457826"/>
                </a:xfrm>
                <a:prstGeom prst="trapezoid">
                  <a:avLst>
                    <a:gd name="adj" fmla="val 20696"/>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dirty="0" err="1"/>
                </a:p>
              </p:txBody>
            </p:sp>
            <p:sp>
              <p:nvSpPr>
                <p:cNvPr id="1435" name="Trapezoid 1434">
                  <a:extLst>
                    <a:ext uri="{FF2B5EF4-FFF2-40B4-BE49-F238E27FC236}">
                      <a16:creationId xmlns:a16="http://schemas.microsoft.com/office/drawing/2014/main" id="{B5388B03-C77F-434A-B26E-9A7F7E9EDD14}"/>
                    </a:ext>
                  </a:extLst>
                </p:cNvPr>
                <p:cNvSpPr/>
                <p:nvPr/>
              </p:nvSpPr>
              <p:spPr bwMode="gray">
                <a:xfrm>
                  <a:off x="8079802" y="4029414"/>
                  <a:ext cx="180000" cy="48837"/>
                </a:xfrm>
                <a:prstGeom prst="trapezoid">
                  <a:avLst>
                    <a:gd name="adj" fmla="val 90120"/>
                  </a:avLst>
                </a:prstGeom>
                <a:grpFill/>
                <a:ln w="12700" cap="rnd">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dirty="0" err="1"/>
                </a:p>
              </p:txBody>
            </p:sp>
          </p:grpSp>
          <p:grpSp>
            <p:nvGrpSpPr>
              <p:cNvPr id="1245" name="Group 1244">
                <a:extLst>
                  <a:ext uri="{FF2B5EF4-FFF2-40B4-BE49-F238E27FC236}">
                    <a16:creationId xmlns:a16="http://schemas.microsoft.com/office/drawing/2014/main" id="{118F247B-40DA-4BCD-A8B8-3F535E21E2C6}"/>
                  </a:ext>
                </a:extLst>
              </p:cNvPr>
              <p:cNvGrpSpPr/>
              <p:nvPr/>
            </p:nvGrpSpPr>
            <p:grpSpPr bwMode="gray">
              <a:xfrm>
                <a:off x="8967629" y="6105871"/>
                <a:ext cx="83287" cy="113799"/>
                <a:chOff x="10242628" y="2645055"/>
                <a:chExt cx="203182" cy="195072"/>
              </a:xfrm>
              <a:grpFill/>
            </p:grpSpPr>
            <p:sp>
              <p:nvSpPr>
                <p:cNvPr id="1258" name="Freeform: Shape 1257">
                  <a:extLst>
                    <a:ext uri="{FF2B5EF4-FFF2-40B4-BE49-F238E27FC236}">
                      <a16:creationId xmlns:a16="http://schemas.microsoft.com/office/drawing/2014/main" id="{E27CBDBF-6665-4C21-8EC4-2A23C1B8B4A0}"/>
                    </a:ext>
                  </a:extLst>
                </p:cNvPr>
                <p:cNvSpPr/>
                <p:nvPr/>
              </p:nvSpPr>
              <p:spPr bwMode="gray">
                <a:xfrm>
                  <a:off x="10242628" y="2645055"/>
                  <a:ext cx="54864" cy="195072"/>
                </a:xfrm>
                <a:custGeom>
                  <a:avLst/>
                  <a:gdLst>
                    <a:gd name="connsiteX0" fmla="*/ 0 w 97536"/>
                    <a:gd name="connsiteY0" fmla="*/ 274320 h 274320"/>
                    <a:gd name="connsiteX1" fmla="*/ 0 w 97536"/>
                    <a:gd name="connsiteY1" fmla="*/ 213360 h 274320"/>
                    <a:gd name="connsiteX2" fmla="*/ 54864 w 97536"/>
                    <a:gd name="connsiteY2" fmla="*/ 158496 h 274320"/>
                    <a:gd name="connsiteX3" fmla="*/ 54864 w 97536"/>
                    <a:gd name="connsiteY3" fmla="*/ 79248 h 274320"/>
                    <a:gd name="connsiteX4" fmla="*/ 97536 w 97536"/>
                    <a:gd name="connsiteY4" fmla="*/ 0 h 274320"/>
                    <a:gd name="connsiteX0" fmla="*/ 0 w 54864"/>
                    <a:gd name="connsiteY0" fmla="*/ 195072 h 195072"/>
                    <a:gd name="connsiteX1" fmla="*/ 0 w 54864"/>
                    <a:gd name="connsiteY1" fmla="*/ 134112 h 195072"/>
                    <a:gd name="connsiteX2" fmla="*/ 54864 w 54864"/>
                    <a:gd name="connsiteY2" fmla="*/ 79248 h 195072"/>
                    <a:gd name="connsiteX3" fmla="*/ 54864 w 54864"/>
                    <a:gd name="connsiteY3" fmla="*/ 0 h 195072"/>
                  </a:gdLst>
                  <a:ahLst/>
                  <a:cxnLst>
                    <a:cxn ang="0">
                      <a:pos x="connsiteX0" y="connsiteY0"/>
                    </a:cxn>
                    <a:cxn ang="0">
                      <a:pos x="connsiteX1" y="connsiteY1"/>
                    </a:cxn>
                    <a:cxn ang="0">
                      <a:pos x="connsiteX2" y="connsiteY2"/>
                    </a:cxn>
                    <a:cxn ang="0">
                      <a:pos x="connsiteX3" y="connsiteY3"/>
                    </a:cxn>
                  </a:cxnLst>
                  <a:rect l="l" t="t" r="r" b="b"/>
                  <a:pathLst>
                    <a:path w="54864" h="195072">
                      <a:moveTo>
                        <a:pt x="0" y="195072"/>
                      </a:moveTo>
                      <a:lnTo>
                        <a:pt x="0" y="134112"/>
                      </a:lnTo>
                      <a:lnTo>
                        <a:pt x="54864" y="79248"/>
                      </a:lnTo>
                      <a:lnTo>
                        <a:pt x="54864" y="0"/>
                      </a:lnTo>
                    </a:path>
                  </a:pathLst>
                </a:custGeom>
                <a:grp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a:p>
              </p:txBody>
            </p:sp>
            <p:sp>
              <p:nvSpPr>
                <p:cNvPr id="1259" name="Freeform: Shape 1258">
                  <a:extLst>
                    <a:ext uri="{FF2B5EF4-FFF2-40B4-BE49-F238E27FC236}">
                      <a16:creationId xmlns:a16="http://schemas.microsoft.com/office/drawing/2014/main" id="{034D72E4-A7CE-402F-8914-AB71541DEB16}"/>
                    </a:ext>
                  </a:extLst>
                </p:cNvPr>
                <p:cNvSpPr/>
                <p:nvPr/>
              </p:nvSpPr>
              <p:spPr bwMode="gray">
                <a:xfrm>
                  <a:off x="10390945" y="2645055"/>
                  <a:ext cx="54865" cy="195072"/>
                </a:xfrm>
                <a:custGeom>
                  <a:avLst/>
                  <a:gdLst>
                    <a:gd name="connsiteX0" fmla="*/ 0 w 97536"/>
                    <a:gd name="connsiteY0" fmla="*/ 274320 h 274320"/>
                    <a:gd name="connsiteX1" fmla="*/ 0 w 97536"/>
                    <a:gd name="connsiteY1" fmla="*/ 213360 h 274320"/>
                    <a:gd name="connsiteX2" fmla="*/ 54864 w 97536"/>
                    <a:gd name="connsiteY2" fmla="*/ 158496 h 274320"/>
                    <a:gd name="connsiteX3" fmla="*/ 54864 w 97536"/>
                    <a:gd name="connsiteY3" fmla="*/ 79248 h 274320"/>
                    <a:gd name="connsiteX4" fmla="*/ 97536 w 97536"/>
                    <a:gd name="connsiteY4" fmla="*/ 0 h 274320"/>
                    <a:gd name="connsiteX0" fmla="*/ 0 w 54864"/>
                    <a:gd name="connsiteY0" fmla="*/ 195072 h 195072"/>
                    <a:gd name="connsiteX1" fmla="*/ 0 w 54864"/>
                    <a:gd name="connsiteY1" fmla="*/ 134112 h 195072"/>
                    <a:gd name="connsiteX2" fmla="*/ 54864 w 54864"/>
                    <a:gd name="connsiteY2" fmla="*/ 79248 h 195072"/>
                    <a:gd name="connsiteX3" fmla="*/ 54864 w 54864"/>
                    <a:gd name="connsiteY3" fmla="*/ 0 h 195072"/>
                  </a:gdLst>
                  <a:ahLst/>
                  <a:cxnLst>
                    <a:cxn ang="0">
                      <a:pos x="connsiteX0" y="connsiteY0"/>
                    </a:cxn>
                    <a:cxn ang="0">
                      <a:pos x="connsiteX1" y="connsiteY1"/>
                    </a:cxn>
                    <a:cxn ang="0">
                      <a:pos x="connsiteX2" y="connsiteY2"/>
                    </a:cxn>
                    <a:cxn ang="0">
                      <a:pos x="connsiteX3" y="connsiteY3"/>
                    </a:cxn>
                  </a:cxnLst>
                  <a:rect l="l" t="t" r="r" b="b"/>
                  <a:pathLst>
                    <a:path w="54864" h="195072">
                      <a:moveTo>
                        <a:pt x="0" y="195072"/>
                      </a:moveTo>
                      <a:lnTo>
                        <a:pt x="0" y="134112"/>
                      </a:lnTo>
                      <a:lnTo>
                        <a:pt x="54864" y="79248"/>
                      </a:lnTo>
                      <a:lnTo>
                        <a:pt x="54864" y="0"/>
                      </a:lnTo>
                    </a:path>
                  </a:pathLst>
                </a:custGeom>
                <a:grpFill/>
                <a:ln w="12700"/>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000" b="1"/>
                </a:p>
              </p:txBody>
            </p:sp>
          </p:grpSp>
        </p:grpSp>
        <p:sp>
          <p:nvSpPr>
            <p:cNvPr id="1684" name="Rectangle 1683">
              <a:extLst>
                <a:ext uri="{FF2B5EF4-FFF2-40B4-BE49-F238E27FC236}">
                  <a16:creationId xmlns:a16="http://schemas.microsoft.com/office/drawing/2014/main" id="{F9691D52-DEC4-439F-83E6-5B4646A834A2}"/>
                </a:ext>
              </a:extLst>
            </p:cNvPr>
            <p:cNvSpPr/>
            <p:nvPr/>
          </p:nvSpPr>
          <p:spPr bwMode="gray">
            <a:xfrm>
              <a:off x="9243796" y="1587585"/>
              <a:ext cx="1083158" cy="2296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Stack</a:t>
              </a:r>
            </a:p>
          </p:txBody>
        </p:sp>
      </p:grpSp>
      <p:grpSp>
        <p:nvGrpSpPr>
          <p:cNvPr id="1686" name="Group 1685">
            <a:extLst>
              <a:ext uri="{FF2B5EF4-FFF2-40B4-BE49-F238E27FC236}">
                <a16:creationId xmlns:a16="http://schemas.microsoft.com/office/drawing/2014/main" id="{040C805C-2E3E-4DB0-8770-4263CFFFACE6}"/>
              </a:ext>
            </a:extLst>
          </p:cNvPr>
          <p:cNvGrpSpPr/>
          <p:nvPr/>
        </p:nvGrpSpPr>
        <p:grpSpPr bwMode="gray">
          <a:xfrm>
            <a:off x="9704525" y="3302335"/>
            <a:ext cx="842400" cy="668073"/>
            <a:chOff x="3496037" y="4910525"/>
            <a:chExt cx="842400" cy="668073"/>
          </a:xfrm>
        </p:grpSpPr>
        <p:sp>
          <p:nvSpPr>
            <p:cNvPr id="1687" name="Rectangle: Rounded Corners 1686">
              <a:extLst>
                <a:ext uri="{FF2B5EF4-FFF2-40B4-BE49-F238E27FC236}">
                  <a16:creationId xmlns:a16="http://schemas.microsoft.com/office/drawing/2014/main" id="{B96AA2B5-B895-4F1B-921F-218222F23651}"/>
                </a:ext>
              </a:extLst>
            </p:cNvPr>
            <p:cNvSpPr/>
            <p:nvPr/>
          </p:nvSpPr>
          <p:spPr bwMode="gray">
            <a:xfrm>
              <a:off x="3587672" y="4910525"/>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sp>
          <p:nvSpPr>
            <p:cNvPr id="1688" name="Rectangle 1687">
              <a:extLst>
                <a:ext uri="{FF2B5EF4-FFF2-40B4-BE49-F238E27FC236}">
                  <a16:creationId xmlns:a16="http://schemas.microsoft.com/office/drawing/2014/main" id="{CC9755CC-236E-45D0-BC49-AB80D627EEA1}"/>
                </a:ext>
              </a:extLst>
            </p:cNvPr>
            <p:cNvSpPr/>
            <p:nvPr/>
          </p:nvSpPr>
          <p:spPr bwMode="gray">
            <a:xfrm>
              <a:off x="3496037" y="5221261"/>
              <a:ext cx="842400" cy="35733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Hydrogen separation</a:t>
              </a:r>
            </a:p>
          </p:txBody>
        </p:sp>
      </p:grpSp>
      <p:grpSp>
        <p:nvGrpSpPr>
          <p:cNvPr id="1696" name="Group 1695">
            <a:extLst>
              <a:ext uri="{FF2B5EF4-FFF2-40B4-BE49-F238E27FC236}">
                <a16:creationId xmlns:a16="http://schemas.microsoft.com/office/drawing/2014/main" id="{DE813B38-41C1-416D-89EE-0C6A78A61981}"/>
              </a:ext>
            </a:extLst>
          </p:cNvPr>
          <p:cNvGrpSpPr/>
          <p:nvPr/>
        </p:nvGrpSpPr>
        <p:grpSpPr bwMode="gray">
          <a:xfrm>
            <a:off x="5430042" y="4595306"/>
            <a:ext cx="1101984" cy="716968"/>
            <a:chOff x="7930445" y="3014746"/>
            <a:chExt cx="1101984" cy="716968"/>
          </a:xfrm>
        </p:grpSpPr>
        <p:sp>
          <p:nvSpPr>
            <p:cNvPr id="1692" name="Rectangle: Single Corner Snipped 1691">
              <a:extLst>
                <a:ext uri="{FF2B5EF4-FFF2-40B4-BE49-F238E27FC236}">
                  <a16:creationId xmlns:a16="http://schemas.microsoft.com/office/drawing/2014/main" id="{C209CC35-E1EE-4E71-834D-D468B38E9326}"/>
                </a:ext>
              </a:extLst>
            </p:cNvPr>
            <p:cNvSpPr/>
            <p:nvPr/>
          </p:nvSpPr>
          <p:spPr bwMode="gray">
            <a:xfrm flipV="1">
              <a:off x="8307436" y="3014746"/>
              <a:ext cx="348003" cy="348003"/>
            </a:xfrm>
            <a:prstGeom prst="snip1Rect">
              <a:avLst>
                <a:gd name="adj" fmla="val 2609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err="1">
                <a:solidFill>
                  <a:schemeClr val="tx1"/>
                </a:solidFill>
              </a:endParaRPr>
            </a:p>
          </p:txBody>
        </p:sp>
        <p:sp>
          <p:nvSpPr>
            <p:cNvPr id="1695" name="Rectangle 1694">
              <a:extLst>
                <a:ext uri="{FF2B5EF4-FFF2-40B4-BE49-F238E27FC236}">
                  <a16:creationId xmlns:a16="http://schemas.microsoft.com/office/drawing/2014/main" id="{7A72DF50-D23B-42DE-94B3-1E9BE0AD7D03}"/>
                </a:ext>
              </a:extLst>
            </p:cNvPr>
            <p:cNvSpPr/>
            <p:nvPr/>
          </p:nvSpPr>
          <p:spPr bwMode="gray">
            <a:xfrm>
              <a:off x="7930445" y="3365748"/>
              <a:ext cx="1101984" cy="36596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Heat recovery steam generator</a:t>
              </a:r>
            </a:p>
          </p:txBody>
        </p:sp>
      </p:grpSp>
      <p:grpSp>
        <p:nvGrpSpPr>
          <p:cNvPr id="1697" name="Group 1696">
            <a:extLst>
              <a:ext uri="{FF2B5EF4-FFF2-40B4-BE49-F238E27FC236}">
                <a16:creationId xmlns:a16="http://schemas.microsoft.com/office/drawing/2014/main" id="{C4804538-FEC9-4C7E-AEAA-C4CE2BFF8C1F}"/>
              </a:ext>
            </a:extLst>
          </p:cNvPr>
          <p:cNvGrpSpPr/>
          <p:nvPr/>
        </p:nvGrpSpPr>
        <p:grpSpPr bwMode="gray">
          <a:xfrm>
            <a:off x="6742789" y="3069726"/>
            <a:ext cx="842400" cy="540419"/>
            <a:chOff x="3496037" y="4910525"/>
            <a:chExt cx="842400" cy="540419"/>
          </a:xfrm>
        </p:grpSpPr>
        <p:sp>
          <p:nvSpPr>
            <p:cNvPr id="1698" name="Rectangle 1697">
              <a:extLst>
                <a:ext uri="{FF2B5EF4-FFF2-40B4-BE49-F238E27FC236}">
                  <a16:creationId xmlns:a16="http://schemas.microsoft.com/office/drawing/2014/main" id="{08E5CF0B-A776-4BD8-990C-FFCEAA937C98}"/>
                </a:ext>
              </a:extLst>
            </p:cNvPr>
            <p:cNvSpPr/>
            <p:nvPr/>
          </p:nvSpPr>
          <p:spPr bwMode="gray">
            <a:xfrm>
              <a:off x="3762437" y="4910525"/>
              <a:ext cx="309600" cy="307738"/>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sp>
          <p:nvSpPr>
            <p:cNvPr id="1699" name="Rectangle 1698">
              <a:extLst>
                <a:ext uri="{FF2B5EF4-FFF2-40B4-BE49-F238E27FC236}">
                  <a16:creationId xmlns:a16="http://schemas.microsoft.com/office/drawing/2014/main" id="{1C29612F-8E36-42DB-9893-70E73584B94A}"/>
                </a:ext>
              </a:extLst>
            </p:cNvPr>
            <p:cNvSpPr/>
            <p:nvPr/>
          </p:nvSpPr>
          <p:spPr bwMode="gray">
            <a:xfrm>
              <a:off x="3496037" y="5221262"/>
              <a:ext cx="842400" cy="2296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mbustor</a:t>
              </a:r>
            </a:p>
          </p:txBody>
        </p:sp>
      </p:grpSp>
      <p:cxnSp>
        <p:nvCxnSpPr>
          <p:cNvPr id="1701" name="Connector: Elbow 1700">
            <a:extLst>
              <a:ext uri="{FF2B5EF4-FFF2-40B4-BE49-F238E27FC236}">
                <a16:creationId xmlns:a16="http://schemas.microsoft.com/office/drawing/2014/main" id="{038E5394-FCDC-4509-81D2-5F972CF2AEB7}"/>
              </a:ext>
            </a:extLst>
          </p:cNvPr>
          <p:cNvCxnSpPr>
            <a:cxnSpLocks/>
            <a:stCxn id="1615" idx="1"/>
            <a:endCxn id="1687" idx="0"/>
          </p:cNvCxnSpPr>
          <p:nvPr/>
        </p:nvCxnSpPr>
        <p:spPr bwMode="gray">
          <a:xfrm rot="10800000" flipH="1" flipV="1">
            <a:off x="8583957" y="2315085"/>
            <a:ext cx="1541768" cy="987250"/>
          </a:xfrm>
          <a:prstGeom prst="bentConnector4">
            <a:avLst>
              <a:gd name="adj1" fmla="val -22735"/>
              <a:gd name="adj2" fmla="val 8543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03" name="Straight Connector 1702">
            <a:extLst>
              <a:ext uri="{FF2B5EF4-FFF2-40B4-BE49-F238E27FC236}">
                <a16:creationId xmlns:a16="http://schemas.microsoft.com/office/drawing/2014/main" id="{6E3E9856-1B0C-470E-93EB-538FA9A526E5}"/>
              </a:ext>
            </a:extLst>
          </p:cNvPr>
          <p:cNvCxnSpPr>
            <a:stCxn id="1607" idx="3"/>
            <a:endCxn id="1615" idx="1"/>
          </p:cNvCxnSpPr>
          <p:nvPr/>
        </p:nvCxnSpPr>
        <p:spPr bwMode="gray">
          <a:xfrm flipV="1">
            <a:off x="8076137" y="2315085"/>
            <a:ext cx="507820" cy="1"/>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08" name="Connector: Elbow 1707">
            <a:extLst>
              <a:ext uri="{FF2B5EF4-FFF2-40B4-BE49-F238E27FC236}">
                <a16:creationId xmlns:a16="http://schemas.microsoft.com/office/drawing/2014/main" id="{CACAF0D1-9E19-47CF-A762-EC26DEEA9CE2}"/>
              </a:ext>
            </a:extLst>
          </p:cNvPr>
          <p:cNvCxnSpPr>
            <a:stCxn id="1699" idx="2"/>
            <a:endCxn id="1200" idx="0"/>
          </p:cNvCxnSpPr>
          <p:nvPr/>
        </p:nvCxnSpPr>
        <p:spPr bwMode="gray">
          <a:xfrm rot="5400000">
            <a:off x="6868071" y="3753827"/>
            <a:ext cx="439600" cy="152237"/>
          </a:xfrm>
          <a:prstGeom prst="bentConnector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10" name="Connector: Elbow 1709">
            <a:extLst>
              <a:ext uri="{FF2B5EF4-FFF2-40B4-BE49-F238E27FC236}">
                <a16:creationId xmlns:a16="http://schemas.microsoft.com/office/drawing/2014/main" id="{C9102860-5ED0-47BA-AE0B-1270CFBAD630}"/>
              </a:ext>
            </a:extLst>
          </p:cNvPr>
          <p:cNvCxnSpPr>
            <a:stCxn id="1271" idx="1"/>
            <a:endCxn id="1698" idx="1"/>
          </p:cNvCxnSpPr>
          <p:nvPr/>
        </p:nvCxnSpPr>
        <p:spPr bwMode="gray">
          <a:xfrm rot="10800000" flipH="1">
            <a:off x="6798119" y="3223595"/>
            <a:ext cx="211069" cy="955182"/>
          </a:xfrm>
          <a:prstGeom prst="bentConnector3">
            <a:avLst>
              <a:gd name="adj1" fmla="val -108306"/>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11" name="Connector: Elbow 1710">
            <a:extLst>
              <a:ext uri="{FF2B5EF4-FFF2-40B4-BE49-F238E27FC236}">
                <a16:creationId xmlns:a16="http://schemas.microsoft.com/office/drawing/2014/main" id="{5B7D7D57-C404-4834-90B8-44BC02C22087}"/>
              </a:ext>
            </a:extLst>
          </p:cNvPr>
          <p:cNvCxnSpPr>
            <a:cxnSpLocks/>
            <a:stCxn id="1271" idx="1"/>
            <a:endCxn id="1601" idx="3"/>
          </p:cNvCxnSpPr>
          <p:nvPr/>
        </p:nvCxnSpPr>
        <p:spPr bwMode="gray">
          <a:xfrm rot="10800000">
            <a:off x="4136467" y="3585113"/>
            <a:ext cx="2661654" cy="593665"/>
          </a:xfrm>
          <a:prstGeom prst="bentConnector3">
            <a:avLst>
              <a:gd name="adj1" fmla="val 8733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14" name="Connector: Elbow 1713">
            <a:extLst>
              <a:ext uri="{FF2B5EF4-FFF2-40B4-BE49-F238E27FC236}">
                <a16:creationId xmlns:a16="http://schemas.microsoft.com/office/drawing/2014/main" id="{A43BCACA-403C-45DE-BCFD-452B51CAE542}"/>
              </a:ext>
            </a:extLst>
          </p:cNvPr>
          <p:cNvCxnSpPr>
            <a:cxnSpLocks/>
            <a:stCxn id="1601" idx="1"/>
            <a:endCxn id="913" idx="3"/>
          </p:cNvCxnSpPr>
          <p:nvPr/>
        </p:nvCxnSpPr>
        <p:spPr bwMode="gray">
          <a:xfrm rot="10800000">
            <a:off x="2668535" y="3302254"/>
            <a:ext cx="808803" cy="282859"/>
          </a:xfrm>
          <a:prstGeom prst="bentConnector3">
            <a:avLst>
              <a:gd name="adj1" fmla="val 13949"/>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18" name="Connector: Elbow 1717">
            <a:extLst>
              <a:ext uri="{FF2B5EF4-FFF2-40B4-BE49-F238E27FC236}">
                <a16:creationId xmlns:a16="http://schemas.microsoft.com/office/drawing/2014/main" id="{C7A34BCF-1AAD-4B7C-B711-4F73BAE4B124}"/>
              </a:ext>
            </a:extLst>
          </p:cNvPr>
          <p:cNvCxnSpPr>
            <a:cxnSpLocks/>
            <a:stCxn id="1181" idx="1"/>
            <a:endCxn id="1692" idx="1"/>
          </p:cNvCxnSpPr>
          <p:nvPr/>
        </p:nvCxnSpPr>
        <p:spPr bwMode="gray">
          <a:xfrm rot="10800000" flipV="1">
            <a:off x="5981036" y="4496942"/>
            <a:ext cx="778695" cy="98363"/>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24" name="Connector: Elbow 1723">
            <a:extLst>
              <a:ext uri="{FF2B5EF4-FFF2-40B4-BE49-F238E27FC236}">
                <a16:creationId xmlns:a16="http://schemas.microsoft.com/office/drawing/2014/main" id="{93DD5E2F-8D28-4CFA-822B-D09AFA3790EA}"/>
              </a:ext>
            </a:extLst>
          </p:cNvPr>
          <p:cNvCxnSpPr>
            <a:cxnSpLocks/>
            <a:stCxn id="1180" idx="0"/>
            <a:endCxn id="1695" idx="2"/>
          </p:cNvCxnSpPr>
          <p:nvPr/>
        </p:nvCxnSpPr>
        <p:spPr bwMode="gray">
          <a:xfrm rot="16200000" flipV="1">
            <a:off x="5922560" y="5370749"/>
            <a:ext cx="118483" cy="1533"/>
          </a:xfrm>
          <a:prstGeom prst="bentConnector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1728" name="Group 1727">
            <a:extLst>
              <a:ext uri="{FF2B5EF4-FFF2-40B4-BE49-F238E27FC236}">
                <a16:creationId xmlns:a16="http://schemas.microsoft.com/office/drawing/2014/main" id="{E626EF49-BFBA-485C-9D76-1DAC436D1847}"/>
              </a:ext>
            </a:extLst>
          </p:cNvPr>
          <p:cNvGrpSpPr/>
          <p:nvPr/>
        </p:nvGrpSpPr>
        <p:grpSpPr bwMode="gray">
          <a:xfrm>
            <a:off x="4334793" y="1981274"/>
            <a:ext cx="1259784" cy="856835"/>
            <a:chOff x="-2110991" y="3119489"/>
            <a:chExt cx="1259784" cy="856835"/>
          </a:xfrm>
        </p:grpSpPr>
        <p:sp>
          <p:nvSpPr>
            <p:cNvPr id="1729" name="Rectangle: Rounded Corners 1728">
              <a:extLst>
                <a:ext uri="{FF2B5EF4-FFF2-40B4-BE49-F238E27FC236}">
                  <a16:creationId xmlns:a16="http://schemas.microsoft.com/office/drawing/2014/main" id="{C2C27799-B620-4BB8-8ADD-E5133DBD3A1D}"/>
                </a:ext>
              </a:extLst>
            </p:cNvPr>
            <p:cNvSpPr/>
            <p:nvPr/>
          </p:nvSpPr>
          <p:spPr bwMode="gray">
            <a:xfrm>
              <a:off x="-1633065" y="3119489"/>
              <a:ext cx="303933" cy="667622"/>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sp>
          <p:nvSpPr>
            <p:cNvPr id="1730" name="Rectangle 1729">
              <a:extLst>
                <a:ext uri="{FF2B5EF4-FFF2-40B4-BE49-F238E27FC236}">
                  <a16:creationId xmlns:a16="http://schemas.microsoft.com/office/drawing/2014/main" id="{93E9AAB9-EF06-443C-A469-08AB512DD29B}"/>
                </a:ext>
              </a:extLst>
            </p:cNvPr>
            <p:cNvSpPr/>
            <p:nvPr/>
          </p:nvSpPr>
          <p:spPr bwMode="gray">
            <a:xfrm>
              <a:off x="-2110991" y="3781618"/>
              <a:ext cx="1259784" cy="19470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err="1">
                  <a:solidFill>
                    <a:schemeClr val="tx1"/>
                  </a:solidFill>
                </a:rPr>
                <a:t>Particulate</a:t>
              </a:r>
              <a:r>
                <a:rPr lang="de-DE" sz="1000" dirty="0">
                  <a:solidFill>
                    <a:schemeClr val="tx1"/>
                  </a:solidFill>
                </a:rPr>
                <a:t> removal</a:t>
              </a:r>
            </a:p>
          </p:txBody>
        </p:sp>
      </p:grpSp>
      <p:grpSp>
        <p:nvGrpSpPr>
          <p:cNvPr id="1731" name="Group 1730">
            <a:extLst>
              <a:ext uri="{FF2B5EF4-FFF2-40B4-BE49-F238E27FC236}">
                <a16:creationId xmlns:a16="http://schemas.microsoft.com/office/drawing/2014/main" id="{59A585A0-40FB-4F0E-AB00-3BC7714A96A4}"/>
              </a:ext>
            </a:extLst>
          </p:cNvPr>
          <p:cNvGrpSpPr/>
          <p:nvPr/>
        </p:nvGrpSpPr>
        <p:grpSpPr bwMode="gray">
          <a:xfrm>
            <a:off x="5639724" y="1981274"/>
            <a:ext cx="827390" cy="856835"/>
            <a:chOff x="-1894794" y="3119489"/>
            <a:chExt cx="827390" cy="856835"/>
          </a:xfrm>
        </p:grpSpPr>
        <p:sp>
          <p:nvSpPr>
            <p:cNvPr id="1732" name="Rectangle: Rounded Corners 1731">
              <a:extLst>
                <a:ext uri="{FF2B5EF4-FFF2-40B4-BE49-F238E27FC236}">
                  <a16:creationId xmlns:a16="http://schemas.microsoft.com/office/drawing/2014/main" id="{797947D7-2189-408B-A2A5-D308EE082DD4}"/>
                </a:ext>
              </a:extLst>
            </p:cNvPr>
            <p:cNvSpPr/>
            <p:nvPr/>
          </p:nvSpPr>
          <p:spPr bwMode="gray">
            <a:xfrm>
              <a:off x="-1633065" y="3119489"/>
              <a:ext cx="303933" cy="667622"/>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sp>
          <p:nvSpPr>
            <p:cNvPr id="1733" name="Rectangle 1732">
              <a:extLst>
                <a:ext uri="{FF2B5EF4-FFF2-40B4-BE49-F238E27FC236}">
                  <a16:creationId xmlns:a16="http://schemas.microsoft.com/office/drawing/2014/main" id="{25C49407-0517-4AE8-B4E6-3A2B84BE6171}"/>
                </a:ext>
              </a:extLst>
            </p:cNvPr>
            <p:cNvSpPr/>
            <p:nvPr/>
          </p:nvSpPr>
          <p:spPr bwMode="gray">
            <a:xfrm>
              <a:off x="-1894794" y="3781618"/>
              <a:ext cx="827390" cy="19470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Gas cleanup</a:t>
              </a:r>
            </a:p>
          </p:txBody>
        </p:sp>
      </p:grpSp>
      <p:cxnSp>
        <p:nvCxnSpPr>
          <p:cNvPr id="1735" name="Connector: Elbow 1734">
            <a:extLst>
              <a:ext uri="{FF2B5EF4-FFF2-40B4-BE49-F238E27FC236}">
                <a16:creationId xmlns:a16="http://schemas.microsoft.com/office/drawing/2014/main" id="{12020D9B-A89D-468B-AED7-F9DEAEA109AD}"/>
              </a:ext>
            </a:extLst>
          </p:cNvPr>
          <p:cNvCxnSpPr>
            <a:stCxn id="1692" idx="2"/>
          </p:cNvCxnSpPr>
          <p:nvPr/>
        </p:nvCxnSpPr>
        <p:spPr bwMode="gray">
          <a:xfrm rot="10800000">
            <a:off x="2653117" y="3953843"/>
            <a:ext cx="3153917" cy="815465"/>
          </a:xfrm>
          <a:prstGeom prst="bentConnector3">
            <a:avLst>
              <a:gd name="adj1" fmla="val 93006"/>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1747" name="Group 1746">
            <a:extLst>
              <a:ext uri="{FF2B5EF4-FFF2-40B4-BE49-F238E27FC236}">
                <a16:creationId xmlns:a16="http://schemas.microsoft.com/office/drawing/2014/main" id="{0197F985-06EF-42B6-85EC-44B2CDDCCBCA}"/>
              </a:ext>
            </a:extLst>
          </p:cNvPr>
          <p:cNvGrpSpPr/>
          <p:nvPr/>
        </p:nvGrpSpPr>
        <p:grpSpPr bwMode="gray">
          <a:xfrm>
            <a:off x="10927876" y="4935125"/>
            <a:ext cx="572978" cy="576257"/>
            <a:chOff x="10859352" y="3794314"/>
            <a:chExt cx="572978" cy="576257"/>
          </a:xfrm>
        </p:grpSpPr>
        <p:grpSp>
          <p:nvGrpSpPr>
            <p:cNvPr id="1737" name="Group 1736">
              <a:extLst>
                <a:ext uri="{FF2B5EF4-FFF2-40B4-BE49-F238E27FC236}">
                  <a16:creationId xmlns:a16="http://schemas.microsoft.com/office/drawing/2014/main" id="{430E28E8-7A22-4820-9431-4B1530D83E93}"/>
                </a:ext>
              </a:extLst>
            </p:cNvPr>
            <p:cNvGrpSpPr/>
            <p:nvPr/>
          </p:nvGrpSpPr>
          <p:grpSpPr bwMode="gray">
            <a:xfrm>
              <a:off x="11015113" y="3794314"/>
              <a:ext cx="261454" cy="347222"/>
              <a:chOff x="5618163" y="2616200"/>
              <a:chExt cx="300038" cy="398463"/>
            </a:xfrm>
            <a:noFill/>
          </p:grpSpPr>
          <p:sp>
            <p:nvSpPr>
              <p:cNvPr id="1738" name="Line 431">
                <a:extLst>
                  <a:ext uri="{FF2B5EF4-FFF2-40B4-BE49-F238E27FC236}">
                    <a16:creationId xmlns:a16="http://schemas.microsoft.com/office/drawing/2014/main" id="{9A03DA2D-D727-4E54-8875-5381EF8BAF19}"/>
                  </a:ext>
                </a:extLst>
              </p:cNvPr>
              <p:cNvSpPr>
                <a:spLocks noChangeShapeType="1"/>
              </p:cNvSpPr>
              <p:nvPr/>
            </p:nvSpPr>
            <p:spPr bwMode="gray">
              <a:xfrm>
                <a:off x="5664201" y="2692400"/>
                <a:ext cx="0" cy="47625"/>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pPr algn="ctr"/>
                <a:endParaRPr lang="de-DE" sz="1000"/>
              </a:p>
            </p:txBody>
          </p:sp>
          <p:sp>
            <p:nvSpPr>
              <p:cNvPr id="1739" name="Line 432">
                <a:extLst>
                  <a:ext uri="{FF2B5EF4-FFF2-40B4-BE49-F238E27FC236}">
                    <a16:creationId xmlns:a16="http://schemas.microsoft.com/office/drawing/2014/main" id="{E6597CF7-CDF7-4352-9256-993E777A9456}"/>
                  </a:ext>
                </a:extLst>
              </p:cNvPr>
              <p:cNvSpPr>
                <a:spLocks noChangeShapeType="1"/>
              </p:cNvSpPr>
              <p:nvPr/>
            </p:nvSpPr>
            <p:spPr bwMode="gray">
              <a:xfrm>
                <a:off x="5664201" y="2824163"/>
                <a:ext cx="0" cy="47625"/>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pPr algn="ctr"/>
                <a:endParaRPr lang="de-DE" sz="1000"/>
              </a:p>
            </p:txBody>
          </p:sp>
          <p:sp>
            <p:nvSpPr>
              <p:cNvPr id="1740" name="Freeform 433">
                <a:extLst>
                  <a:ext uri="{FF2B5EF4-FFF2-40B4-BE49-F238E27FC236}">
                    <a16:creationId xmlns:a16="http://schemas.microsoft.com/office/drawing/2014/main" id="{1108DD51-45C2-4A58-8865-3160002BEBA8}"/>
                  </a:ext>
                </a:extLst>
              </p:cNvPr>
              <p:cNvSpPr>
                <a:spLocks/>
              </p:cNvSpPr>
              <p:nvPr/>
            </p:nvSpPr>
            <p:spPr bwMode="gray">
              <a:xfrm>
                <a:off x="5618163" y="2616200"/>
                <a:ext cx="300038" cy="76200"/>
              </a:xfrm>
              <a:custGeom>
                <a:avLst/>
                <a:gdLst>
                  <a:gd name="T0" fmla="*/ 189 w 189"/>
                  <a:gd name="T1" fmla="*/ 48 h 48"/>
                  <a:gd name="T2" fmla="*/ 102 w 189"/>
                  <a:gd name="T3" fmla="*/ 0 h 48"/>
                  <a:gd name="T4" fmla="*/ 89 w 189"/>
                  <a:gd name="T5" fmla="*/ 0 h 48"/>
                  <a:gd name="T6" fmla="*/ 0 w 189"/>
                  <a:gd name="T7" fmla="*/ 48 h 48"/>
                  <a:gd name="T8" fmla="*/ 189 w 189"/>
                  <a:gd name="T9" fmla="*/ 48 h 48"/>
                </a:gdLst>
                <a:ahLst/>
                <a:cxnLst>
                  <a:cxn ang="0">
                    <a:pos x="T0" y="T1"/>
                  </a:cxn>
                  <a:cxn ang="0">
                    <a:pos x="T2" y="T3"/>
                  </a:cxn>
                  <a:cxn ang="0">
                    <a:pos x="T4" y="T5"/>
                  </a:cxn>
                  <a:cxn ang="0">
                    <a:pos x="T6" y="T7"/>
                  </a:cxn>
                  <a:cxn ang="0">
                    <a:pos x="T8" y="T9"/>
                  </a:cxn>
                </a:cxnLst>
                <a:rect l="0" t="0" r="r" b="b"/>
                <a:pathLst>
                  <a:path w="189" h="48">
                    <a:moveTo>
                      <a:pt x="189" y="48"/>
                    </a:moveTo>
                    <a:lnTo>
                      <a:pt x="102" y="0"/>
                    </a:lnTo>
                    <a:lnTo>
                      <a:pt x="89" y="0"/>
                    </a:lnTo>
                    <a:lnTo>
                      <a:pt x="0" y="48"/>
                    </a:lnTo>
                    <a:lnTo>
                      <a:pt x="189" y="48"/>
                    </a:lnTo>
                    <a:close/>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pPr algn="ctr"/>
                <a:endParaRPr lang="de-DE" sz="1000"/>
              </a:p>
            </p:txBody>
          </p:sp>
          <p:sp>
            <p:nvSpPr>
              <p:cNvPr id="1741" name="Freeform 434">
                <a:extLst>
                  <a:ext uri="{FF2B5EF4-FFF2-40B4-BE49-F238E27FC236}">
                    <a16:creationId xmlns:a16="http://schemas.microsoft.com/office/drawing/2014/main" id="{7F777B59-F26D-464E-868B-29C28F24D5D5}"/>
                  </a:ext>
                </a:extLst>
              </p:cNvPr>
              <p:cNvSpPr>
                <a:spLocks/>
              </p:cNvSpPr>
              <p:nvPr/>
            </p:nvSpPr>
            <p:spPr bwMode="gray">
              <a:xfrm>
                <a:off x="5618163" y="2749550"/>
                <a:ext cx="300038" cy="74613"/>
              </a:xfrm>
              <a:custGeom>
                <a:avLst/>
                <a:gdLst>
                  <a:gd name="T0" fmla="*/ 189 w 189"/>
                  <a:gd name="T1" fmla="*/ 47 h 47"/>
                  <a:gd name="T2" fmla="*/ 102 w 189"/>
                  <a:gd name="T3" fmla="*/ 0 h 47"/>
                  <a:gd name="T4" fmla="*/ 89 w 189"/>
                  <a:gd name="T5" fmla="*/ 0 h 47"/>
                  <a:gd name="T6" fmla="*/ 0 w 189"/>
                  <a:gd name="T7" fmla="*/ 47 h 47"/>
                  <a:gd name="T8" fmla="*/ 189 w 189"/>
                  <a:gd name="T9" fmla="*/ 47 h 47"/>
                </a:gdLst>
                <a:ahLst/>
                <a:cxnLst>
                  <a:cxn ang="0">
                    <a:pos x="T0" y="T1"/>
                  </a:cxn>
                  <a:cxn ang="0">
                    <a:pos x="T2" y="T3"/>
                  </a:cxn>
                  <a:cxn ang="0">
                    <a:pos x="T4" y="T5"/>
                  </a:cxn>
                  <a:cxn ang="0">
                    <a:pos x="T6" y="T7"/>
                  </a:cxn>
                  <a:cxn ang="0">
                    <a:pos x="T8" y="T9"/>
                  </a:cxn>
                </a:cxnLst>
                <a:rect l="0" t="0" r="r" b="b"/>
                <a:pathLst>
                  <a:path w="189" h="47">
                    <a:moveTo>
                      <a:pt x="189" y="47"/>
                    </a:moveTo>
                    <a:lnTo>
                      <a:pt x="102" y="0"/>
                    </a:lnTo>
                    <a:lnTo>
                      <a:pt x="89" y="0"/>
                    </a:lnTo>
                    <a:lnTo>
                      <a:pt x="0" y="47"/>
                    </a:lnTo>
                    <a:lnTo>
                      <a:pt x="189" y="47"/>
                    </a:lnTo>
                    <a:close/>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pPr algn="ctr"/>
                <a:endParaRPr lang="de-DE" sz="1000"/>
              </a:p>
            </p:txBody>
          </p:sp>
          <p:sp>
            <p:nvSpPr>
              <p:cNvPr id="1742" name="Line 435">
                <a:extLst>
                  <a:ext uri="{FF2B5EF4-FFF2-40B4-BE49-F238E27FC236}">
                    <a16:creationId xmlns:a16="http://schemas.microsoft.com/office/drawing/2014/main" id="{E70BF8C6-4239-4C8D-81B0-AEBC7A5A21F2}"/>
                  </a:ext>
                </a:extLst>
              </p:cNvPr>
              <p:cNvSpPr>
                <a:spLocks noChangeShapeType="1"/>
              </p:cNvSpPr>
              <p:nvPr/>
            </p:nvSpPr>
            <p:spPr bwMode="gray">
              <a:xfrm>
                <a:off x="5873751" y="2692400"/>
                <a:ext cx="0" cy="47625"/>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pPr algn="ctr"/>
                <a:endParaRPr lang="de-DE" sz="1000"/>
              </a:p>
            </p:txBody>
          </p:sp>
          <p:sp>
            <p:nvSpPr>
              <p:cNvPr id="1743" name="Line 436">
                <a:extLst>
                  <a:ext uri="{FF2B5EF4-FFF2-40B4-BE49-F238E27FC236}">
                    <a16:creationId xmlns:a16="http://schemas.microsoft.com/office/drawing/2014/main" id="{74FE5891-408E-4842-8DBC-C8F71882B721}"/>
                  </a:ext>
                </a:extLst>
              </p:cNvPr>
              <p:cNvSpPr>
                <a:spLocks noChangeShapeType="1"/>
              </p:cNvSpPr>
              <p:nvPr/>
            </p:nvSpPr>
            <p:spPr bwMode="gray">
              <a:xfrm>
                <a:off x="5873751" y="2824163"/>
                <a:ext cx="0" cy="47625"/>
              </a:xfrm>
              <a:prstGeom prst="line">
                <a:avLst/>
              </a:pr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pPr algn="ctr"/>
                <a:endParaRPr lang="de-DE" sz="1000"/>
              </a:p>
            </p:txBody>
          </p:sp>
          <p:sp>
            <p:nvSpPr>
              <p:cNvPr id="1744" name="Freeform 437">
                <a:extLst>
                  <a:ext uri="{FF2B5EF4-FFF2-40B4-BE49-F238E27FC236}">
                    <a16:creationId xmlns:a16="http://schemas.microsoft.com/office/drawing/2014/main" id="{E46673AA-74FA-4EAE-A7B3-5852ED974AE2}"/>
                  </a:ext>
                </a:extLst>
              </p:cNvPr>
              <p:cNvSpPr>
                <a:spLocks/>
              </p:cNvSpPr>
              <p:nvPr/>
            </p:nvSpPr>
            <p:spPr bwMode="gray">
              <a:xfrm>
                <a:off x="5632451" y="2635250"/>
                <a:ext cx="212725" cy="379413"/>
              </a:xfrm>
              <a:custGeom>
                <a:avLst/>
                <a:gdLst>
                  <a:gd name="T0" fmla="*/ 56 w 134"/>
                  <a:gd name="T1" fmla="*/ 0 h 239"/>
                  <a:gd name="T2" fmla="*/ 56 w 134"/>
                  <a:gd name="T3" fmla="*/ 121 h 239"/>
                  <a:gd name="T4" fmla="*/ 0 w 134"/>
                  <a:gd name="T5" fmla="*/ 239 h 239"/>
                  <a:gd name="T6" fmla="*/ 15 w 134"/>
                  <a:gd name="T7" fmla="*/ 239 h 239"/>
                  <a:gd name="T8" fmla="*/ 134 w 134"/>
                  <a:gd name="T9" fmla="*/ 155 h 239"/>
                </a:gdLst>
                <a:ahLst/>
                <a:cxnLst>
                  <a:cxn ang="0">
                    <a:pos x="T0" y="T1"/>
                  </a:cxn>
                  <a:cxn ang="0">
                    <a:pos x="T2" y="T3"/>
                  </a:cxn>
                  <a:cxn ang="0">
                    <a:pos x="T4" y="T5"/>
                  </a:cxn>
                  <a:cxn ang="0">
                    <a:pos x="T6" y="T7"/>
                  </a:cxn>
                  <a:cxn ang="0">
                    <a:pos x="T8" y="T9"/>
                  </a:cxn>
                </a:cxnLst>
                <a:rect l="0" t="0" r="r" b="b"/>
                <a:pathLst>
                  <a:path w="134" h="239">
                    <a:moveTo>
                      <a:pt x="56" y="0"/>
                    </a:moveTo>
                    <a:lnTo>
                      <a:pt x="56" y="121"/>
                    </a:lnTo>
                    <a:lnTo>
                      <a:pt x="0" y="239"/>
                    </a:lnTo>
                    <a:lnTo>
                      <a:pt x="15" y="239"/>
                    </a:lnTo>
                    <a:lnTo>
                      <a:pt x="134" y="155"/>
                    </a:lnTo>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pPr algn="ctr"/>
                <a:endParaRPr lang="de-DE" sz="1000"/>
              </a:p>
            </p:txBody>
          </p:sp>
          <p:sp>
            <p:nvSpPr>
              <p:cNvPr id="1745" name="Freeform 438">
                <a:extLst>
                  <a:ext uri="{FF2B5EF4-FFF2-40B4-BE49-F238E27FC236}">
                    <a16:creationId xmlns:a16="http://schemas.microsoft.com/office/drawing/2014/main" id="{C6FAA633-FAC8-4669-8ED7-C02B82AC7558}"/>
                  </a:ext>
                </a:extLst>
              </p:cNvPr>
              <p:cNvSpPr>
                <a:spLocks/>
              </p:cNvSpPr>
              <p:nvPr/>
            </p:nvSpPr>
            <p:spPr bwMode="gray">
              <a:xfrm>
                <a:off x="5692776" y="2635250"/>
                <a:ext cx="209550" cy="379413"/>
              </a:xfrm>
              <a:custGeom>
                <a:avLst/>
                <a:gdLst>
                  <a:gd name="T0" fmla="*/ 78 w 132"/>
                  <a:gd name="T1" fmla="*/ 0 h 239"/>
                  <a:gd name="T2" fmla="*/ 78 w 132"/>
                  <a:gd name="T3" fmla="*/ 121 h 239"/>
                  <a:gd name="T4" fmla="*/ 132 w 132"/>
                  <a:gd name="T5" fmla="*/ 239 h 239"/>
                  <a:gd name="T6" fmla="*/ 118 w 132"/>
                  <a:gd name="T7" fmla="*/ 239 h 239"/>
                  <a:gd name="T8" fmla="*/ 0 w 132"/>
                  <a:gd name="T9" fmla="*/ 155 h 239"/>
                </a:gdLst>
                <a:ahLst/>
                <a:cxnLst>
                  <a:cxn ang="0">
                    <a:pos x="T0" y="T1"/>
                  </a:cxn>
                  <a:cxn ang="0">
                    <a:pos x="T2" y="T3"/>
                  </a:cxn>
                  <a:cxn ang="0">
                    <a:pos x="T4" y="T5"/>
                  </a:cxn>
                  <a:cxn ang="0">
                    <a:pos x="T6" y="T7"/>
                  </a:cxn>
                  <a:cxn ang="0">
                    <a:pos x="T8" y="T9"/>
                  </a:cxn>
                </a:cxnLst>
                <a:rect l="0" t="0" r="r" b="b"/>
                <a:pathLst>
                  <a:path w="132" h="239">
                    <a:moveTo>
                      <a:pt x="78" y="0"/>
                    </a:moveTo>
                    <a:lnTo>
                      <a:pt x="78" y="121"/>
                    </a:lnTo>
                    <a:lnTo>
                      <a:pt x="132" y="239"/>
                    </a:lnTo>
                    <a:lnTo>
                      <a:pt x="118" y="239"/>
                    </a:lnTo>
                    <a:lnTo>
                      <a:pt x="0" y="155"/>
                    </a:lnTo>
                  </a:path>
                </a:pathLst>
              </a:custGeom>
              <a:grpFill/>
              <a:ln w="12700" cap="flat">
                <a:solidFill>
                  <a:schemeClr val="accent1"/>
                </a:solidFill>
              </a:ln>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anchor="t" anchorCtr="0" compatLnSpc="1">
                <a:prstTxWarp prst="textNoShape">
                  <a:avLst/>
                </a:prstTxWarp>
              </a:bodyPr>
              <a:lstStyle/>
              <a:p>
                <a:pPr algn="ctr"/>
                <a:endParaRPr lang="de-DE" sz="1000"/>
              </a:p>
            </p:txBody>
          </p:sp>
        </p:grpSp>
        <p:sp>
          <p:nvSpPr>
            <p:cNvPr id="1746" name="PPTShape_17">
              <a:extLst>
                <a:ext uri="{FF2B5EF4-FFF2-40B4-BE49-F238E27FC236}">
                  <a16:creationId xmlns:a16="http://schemas.microsoft.com/office/drawing/2014/main" id="{59AAE3BE-3DE5-4127-AF7C-9CBDC4E90C03}"/>
                </a:ext>
              </a:extLst>
            </p:cNvPr>
            <p:cNvSpPr>
              <a:spLocks noChangeArrowheads="1"/>
            </p:cNvSpPr>
            <p:nvPr/>
          </p:nvSpPr>
          <p:spPr bwMode="gray">
            <a:xfrm>
              <a:off x="10859352" y="4173124"/>
              <a:ext cx="572978" cy="197447"/>
            </a:xfrm>
            <a:prstGeom prst="rect">
              <a:avLst/>
            </a:prstGeom>
            <a:noFill/>
            <a:ln w="12700">
              <a:noFill/>
              <a:miter lim="800000"/>
              <a:headEnd/>
              <a:tailEnd/>
            </a:ln>
          </p:spPr>
          <p:txBody>
            <a:bodyPr wrap="square" lIns="0" tIns="0" rIns="0" bIns="0" anchor="t" anchorCtr="0">
              <a:noAutofit/>
            </a:bodyPr>
            <a:lstStyle/>
            <a:p>
              <a:pPr algn="ctr" eaLnBrk="0" fontAlgn="base" hangingPunct="0">
                <a:spcBef>
                  <a:spcPct val="0"/>
                </a:spcBef>
                <a:spcAft>
                  <a:spcPct val="0"/>
                </a:spcAft>
              </a:pPr>
              <a:r>
                <a:rPr lang="de-DE" sz="1000" dirty="0"/>
                <a:t>Electric power</a:t>
              </a:r>
              <a:endParaRPr lang="en-US" sz="1000" dirty="0"/>
            </a:p>
          </p:txBody>
        </p:sp>
      </p:grpSp>
      <p:cxnSp>
        <p:nvCxnSpPr>
          <p:cNvPr id="1749" name="Connector: Elbow 1748">
            <a:extLst>
              <a:ext uri="{FF2B5EF4-FFF2-40B4-BE49-F238E27FC236}">
                <a16:creationId xmlns:a16="http://schemas.microsoft.com/office/drawing/2014/main" id="{AF52573E-CB54-4776-BF9A-5C3A98312B35}"/>
              </a:ext>
            </a:extLst>
          </p:cNvPr>
          <p:cNvCxnSpPr>
            <a:cxnSpLocks/>
            <a:stCxn id="1667" idx="3"/>
            <a:endCxn id="1746" idx="1"/>
          </p:cNvCxnSpPr>
          <p:nvPr/>
        </p:nvCxnSpPr>
        <p:spPr bwMode="gray">
          <a:xfrm>
            <a:off x="10455290" y="4958281"/>
            <a:ext cx="472586" cy="454378"/>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56" name="Connector: Elbow 1755">
            <a:extLst>
              <a:ext uri="{FF2B5EF4-FFF2-40B4-BE49-F238E27FC236}">
                <a16:creationId xmlns:a16="http://schemas.microsoft.com/office/drawing/2014/main" id="{F48FEFBC-CC04-4071-9789-0F0A70DA99BE}"/>
              </a:ext>
            </a:extLst>
          </p:cNvPr>
          <p:cNvCxnSpPr>
            <a:stCxn id="1615" idx="3"/>
            <a:endCxn id="895" idx="1"/>
          </p:cNvCxnSpPr>
          <p:nvPr/>
        </p:nvCxnSpPr>
        <p:spPr bwMode="gray">
          <a:xfrm>
            <a:off x="8887890" y="2315085"/>
            <a:ext cx="1125082" cy="134305"/>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58" name="Straight Connector 1757">
            <a:extLst>
              <a:ext uri="{FF2B5EF4-FFF2-40B4-BE49-F238E27FC236}">
                <a16:creationId xmlns:a16="http://schemas.microsoft.com/office/drawing/2014/main" id="{4A5305E1-EC8F-4E07-A4E7-9D03B8F99443}"/>
              </a:ext>
            </a:extLst>
          </p:cNvPr>
          <p:cNvCxnSpPr>
            <a:stCxn id="1732" idx="3"/>
            <a:endCxn id="1607" idx="1"/>
          </p:cNvCxnSpPr>
          <p:nvPr/>
        </p:nvCxnSpPr>
        <p:spPr bwMode="gray">
          <a:xfrm>
            <a:off x="6205386" y="2315085"/>
            <a:ext cx="1566818" cy="1"/>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60" name="Straight Connector 1759">
            <a:extLst>
              <a:ext uri="{FF2B5EF4-FFF2-40B4-BE49-F238E27FC236}">
                <a16:creationId xmlns:a16="http://schemas.microsoft.com/office/drawing/2014/main" id="{82B91FE7-0703-4012-B7C8-075C39CCEEE4}"/>
              </a:ext>
            </a:extLst>
          </p:cNvPr>
          <p:cNvCxnSpPr>
            <a:stCxn id="1729" idx="3"/>
            <a:endCxn id="1732" idx="1"/>
          </p:cNvCxnSpPr>
          <p:nvPr/>
        </p:nvCxnSpPr>
        <p:spPr bwMode="gray">
          <a:xfrm>
            <a:off x="5116652" y="2315085"/>
            <a:ext cx="784801"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65" name="Straight Connector 1764">
            <a:extLst>
              <a:ext uri="{FF2B5EF4-FFF2-40B4-BE49-F238E27FC236}">
                <a16:creationId xmlns:a16="http://schemas.microsoft.com/office/drawing/2014/main" id="{19738626-1AD3-4E1B-97FF-EA0E6F715B8B}"/>
              </a:ext>
            </a:extLst>
          </p:cNvPr>
          <p:cNvCxnSpPr>
            <a:cxnSpLocks/>
            <a:stCxn id="1730" idx="2"/>
          </p:cNvCxnSpPr>
          <p:nvPr/>
        </p:nvCxnSpPr>
        <p:spPr bwMode="gray">
          <a:xfrm>
            <a:off x="4964685" y="2838109"/>
            <a:ext cx="0" cy="239144"/>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68" name="Straight Connector 1767">
            <a:extLst>
              <a:ext uri="{FF2B5EF4-FFF2-40B4-BE49-F238E27FC236}">
                <a16:creationId xmlns:a16="http://schemas.microsoft.com/office/drawing/2014/main" id="{786C2FF6-9121-430A-862A-E2BAE337B251}"/>
              </a:ext>
            </a:extLst>
          </p:cNvPr>
          <p:cNvCxnSpPr>
            <a:cxnSpLocks/>
          </p:cNvCxnSpPr>
          <p:nvPr/>
        </p:nvCxnSpPr>
        <p:spPr bwMode="gray">
          <a:xfrm>
            <a:off x="6053419" y="2838109"/>
            <a:ext cx="0" cy="239144"/>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74" name="Straight Connector 1773">
            <a:extLst>
              <a:ext uri="{FF2B5EF4-FFF2-40B4-BE49-F238E27FC236}">
                <a16:creationId xmlns:a16="http://schemas.microsoft.com/office/drawing/2014/main" id="{7A0E06A2-16B6-4878-9540-E4E4E3CCE37D}"/>
              </a:ext>
            </a:extLst>
          </p:cNvPr>
          <p:cNvCxnSpPr>
            <a:stCxn id="909" idx="2"/>
          </p:cNvCxnSpPr>
          <p:nvPr/>
        </p:nvCxnSpPr>
        <p:spPr bwMode="gray">
          <a:xfrm flipH="1">
            <a:off x="2234287" y="4365953"/>
            <a:ext cx="420" cy="273387"/>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76" name="Connector: Elbow 1775">
            <a:extLst>
              <a:ext uri="{FF2B5EF4-FFF2-40B4-BE49-F238E27FC236}">
                <a16:creationId xmlns:a16="http://schemas.microsoft.com/office/drawing/2014/main" id="{1FE90442-419F-4E5F-8AED-7DDC7513C627}"/>
              </a:ext>
            </a:extLst>
          </p:cNvPr>
          <p:cNvCxnSpPr>
            <a:stCxn id="1664" idx="3"/>
            <a:endCxn id="919" idx="1"/>
          </p:cNvCxnSpPr>
          <p:nvPr/>
        </p:nvCxnSpPr>
        <p:spPr bwMode="gray">
          <a:xfrm flipV="1">
            <a:off x="1525954" y="3365438"/>
            <a:ext cx="274086" cy="95530"/>
          </a:xfrm>
          <a:prstGeom prst="bentConnector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78" name="Connector: Elbow 1777">
            <a:extLst>
              <a:ext uri="{FF2B5EF4-FFF2-40B4-BE49-F238E27FC236}">
                <a16:creationId xmlns:a16="http://schemas.microsoft.com/office/drawing/2014/main" id="{AE3F6BD7-4AB4-4951-A4F8-5A2F2A38DAEA}"/>
              </a:ext>
            </a:extLst>
          </p:cNvPr>
          <p:cNvCxnSpPr>
            <a:stCxn id="909" idx="0"/>
            <a:endCxn id="1729" idx="1"/>
          </p:cNvCxnSpPr>
          <p:nvPr/>
        </p:nvCxnSpPr>
        <p:spPr bwMode="gray">
          <a:xfrm rot="5400000" flipH="1" flipV="1">
            <a:off x="3498797" y="1050996"/>
            <a:ext cx="49833" cy="2578012"/>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80" name="Connector: Elbow 1779">
            <a:extLst>
              <a:ext uri="{FF2B5EF4-FFF2-40B4-BE49-F238E27FC236}">
                <a16:creationId xmlns:a16="http://schemas.microsoft.com/office/drawing/2014/main" id="{F5A9AD66-91D0-44CF-954F-6C50C94F1882}"/>
              </a:ext>
            </a:extLst>
          </p:cNvPr>
          <p:cNvCxnSpPr>
            <a:cxnSpLocks/>
            <a:stCxn id="1732" idx="3"/>
            <a:endCxn id="1698" idx="0"/>
          </p:cNvCxnSpPr>
          <p:nvPr/>
        </p:nvCxnSpPr>
        <p:spPr bwMode="gray">
          <a:xfrm>
            <a:off x="6205386" y="2315085"/>
            <a:ext cx="958603" cy="754641"/>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84" name="Connector: Elbow 1783">
            <a:extLst>
              <a:ext uri="{FF2B5EF4-FFF2-40B4-BE49-F238E27FC236}">
                <a16:creationId xmlns:a16="http://schemas.microsoft.com/office/drawing/2014/main" id="{ABEA15B0-AE7E-4F77-895C-B0DA1E0D911B}"/>
              </a:ext>
            </a:extLst>
          </p:cNvPr>
          <p:cNvCxnSpPr>
            <a:cxnSpLocks/>
            <a:stCxn id="1692" idx="0"/>
            <a:endCxn id="1435" idx="1"/>
          </p:cNvCxnSpPr>
          <p:nvPr/>
        </p:nvCxnSpPr>
        <p:spPr bwMode="gray">
          <a:xfrm>
            <a:off x="6155036" y="4769307"/>
            <a:ext cx="2356587" cy="47814"/>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798" name="Connector: Elbow 1797">
            <a:extLst>
              <a:ext uri="{FF2B5EF4-FFF2-40B4-BE49-F238E27FC236}">
                <a16:creationId xmlns:a16="http://schemas.microsoft.com/office/drawing/2014/main" id="{75871B93-0C30-4E99-A6AC-9A697617641D}"/>
              </a:ext>
            </a:extLst>
          </p:cNvPr>
          <p:cNvCxnSpPr>
            <a:cxnSpLocks/>
            <a:stCxn id="1730" idx="2"/>
            <a:endCxn id="910" idx="3"/>
          </p:cNvCxnSpPr>
          <p:nvPr/>
        </p:nvCxnSpPr>
        <p:spPr bwMode="gray">
          <a:xfrm rot="5400000">
            <a:off x="3774092" y="1732552"/>
            <a:ext cx="85036" cy="2296151"/>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806" name="Rectangle 1805">
            <a:extLst>
              <a:ext uri="{FF2B5EF4-FFF2-40B4-BE49-F238E27FC236}">
                <a16:creationId xmlns:a16="http://schemas.microsoft.com/office/drawing/2014/main" id="{0B58B89E-CD28-42A6-84B6-7421C516D2BB}"/>
              </a:ext>
            </a:extLst>
          </p:cNvPr>
          <p:cNvSpPr/>
          <p:nvPr/>
        </p:nvSpPr>
        <p:spPr bwMode="gray">
          <a:xfrm>
            <a:off x="3616430" y="3111385"/>
            <a:ext cx="380944" cy="17541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Air</a:t>
            </a:r>
          </a:p>
        </p:txBody>
      </p:sp>
      <p:cxnSp>
        <p:nvCxnSpPr>
          <p:cNvPr id="1808" name="Straight Arrow Connector 1807">
            <a:extLst>
              <a:ext uri="{FF2B5EF4-FFF2-40B4-BE49-F238E27FC236}">
                <a16:creationId xmlns:a16="http://schemas.microsoft.com/office/drawing/2014/main" id="{DE194EEA-9EB5-462B-B3C8-808CA6FA6524}"/>
              </a:ext>
            </a:extLst>
          </p:cNvPr>
          <p:cNvCxnSpPr>
            <a:cxnSpLocks/>
            <a:stCxn id="1806" idx="2"/>
            <a:endCxn id="1601" idx="0"/>
          </p:cNvCxnSpPr>
          <p:nvPr/>
        </p:nvCxnSpPr>
        <p:spPr bwMode="gray">
          <a:xfrm>
            <a:off x="3806902" y="3286803"/>
            <a:ext cx="0" cy="144440"/>
          </a:xfrm>
          <a:prstGeom prst="straightConnector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11" name="Connector: Elbow 1810">
            <a:extLst>
              <a:ext uri="{FF2B5EF4-FFF2-40B4-BE49-F238E27FC236}">
                <a16:creationId xmlns:a16="http://schemas.microsoft.com/office/drawing/2014/main" id="{AAEA9809-49DA-4B34-8E46-2822A81CEC04}"/>
              </a:ext>
            </a:extLst>
          </p:cNvPr>
          <p:cNvCxnSpPr>
            <a:endCxn id="916" idx="3"/>
          </p:cNvCxnSpPr>
          <p:nvPr/>
        </p:nvCxnSpPr>
        <p:spPr bwMode="gray">
          <a:xfrm rot="10800000">
            <a:off x="2668535" y="3681361"/>
            <a:ext cx="1801445" cy="497417"/>
          </a:xfrm>
          <a:prstGeom prst="bentConnector3">
            <a:avLst>
              <a:gd name="adj1" fmla="val 77636"/>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814" name="Rectangle 1813">
            <a:extLst>
              <a:ext uri="{FF2B5EF4-FFF2-40B4-BE49-F238E27FC236}">
                <a16:creationId xmlns:a16="http://schemas.microsoft.com/office/drawing/2014/main" id="{B50111CB-E8AD-497C-8C00-E3C8C78ACE24}"/>
              </a:ext>
            </a:extLst>
          </p:cNvPr>
          <p:cNvSpPr/>
          <p:nvPr/>
        </p:nvSpPr>
        <p:spPr bwMode="gray">
          <a:xfrm>
            <a:off x="3145379" y="4183265"/>
            <a:ext cx="380944" cy="17541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Air</a:t>
            </a:r>
          </a:p>
        </p:txBody>
      </p:sp>
      <p:sp>
        <p:nvSpPr>
          <p:cNvPr id="1815" name="Rectangle 1814">
            <a:extLst>
              <a:ext uri="{FF2B5EF4-FFF2-40B4-BE49-F238E27FC236}">
                <a16:creationId xmlns:a16="http://schemas.microsoft.com/office/drawing/2014/main" id="{49309293-0CC7-4DE0-88D6-78619C904158}"/>
              </a:ext>
            </a:extLst>
          </p:cNvPr>
          <p:cNvSpPr/>
          <p:nvPr/>
        </p:nvSpPr>
        <p:spPr bwMode="gray">
          <a:xfrm>
            <a:off x="3050248" y="4587125"/>
            <a:ext cx="571206" cy="17541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Steam</a:t>
            </a:r>
          </a:p>
        </p:txBody>
      </p:sp>
      <p:cxnSp>
        <p:nvCxnSpPr>
          <p:cNvPr id="1817" name="Straight Arrow Connector 1816">
            <a:extLst>
              <a:ext uri="{FF2B5EF4-FFF2-40B4-BE49-F238E27FC236}">
                <a16:creationId xmlns:a16="http://schemas.microsoft.com/office/drawing/2014/main" id="{612CA3D1-7CA5-4F4A-B642-70DAE85072AB}"/>
              </a:ext>
            </a:extLst>
          </p:cNvPr>
          <p:cNvCxnSpPr>
            <a:cxnSpLocks/>
          </p:cNvCxnSpPr>
          <p:nvPr/>
        </p:nvCxnSpPr>
        <p:spPr bwMode="gray">
          <a:xfrm>
            <a:off x="3806902" y="4770163"/>
            <a:ext cx="0" cy="144440"/>
          </a:xfrm>
          <a:prstGeom prst="straightConnector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818" name="Rectangle 1817">
            <a:extLst>
              <a:ext uri="{FF2B5EF4-FFF2-40B4-BE49-F238E27FC236}">
                <a16:creationId xmlns:a16="http://schemas.microsoft.com/office/drawing/2014/main" id="{10A4C6AF-30BB-476C-BA51-7996A748D565}"/>
              </a:ext>
            </a:extLst>
          </p:cNvPr>
          <p:cNvSpPr/>
          <p:nvPr/>
        </p:nvSpPr>
        <p:spPr bwMode="gray">
          <a:xfrm>
            <a:off x="3521299" y="4912339"/>
            <a:ext cx="571206" cy="17541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Steam</a:t>
            </a:r>
          </a:p>
        </p:txBody>
      </p:sp>
      <p:sp>
        <p:nvSpPr>
          <p:cNvPr id="1820" name="Rectangle 1819">
            <a:extLst>
              <a:ext uri="{FF2B5EF4-FFF2-40B4-BE49-F238E27FC236}">
                <a16:creationId xmlns:a16="http://schemas.microsoft.com/office/drawing/2014/main" id="{B412DECF-3F8C-4222-BE94-A2096DF237CA}"/>
              </a:ext>
            </a:extLst>
          </p:cNvPr>
          <p:cNvSpPr/>
          <p:nvPr/>
        </p:nvSpPr>
        <p:spPr bwMode="gray">
          <a:xfrm>
            <a:off x="6266155" y="4255367"/>
            <a:ext cx="283284" cy="17541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Air</a:t>
            </a:r>
          </a:p>
        </p:txBody>
      </p:sp>
      <p:cxnSp>
        <p:nvCxnSpPr>
          <p:cNvPr id="1822" name="Connector: Elbow 1821">
            <a:extLst>
              <a:ext uri="{FF2B5EF4-FFF2-40B4-BE49-F238E27FC236}">
                <a16:creationId xmlns:a16="http://schemas.microsoft.com/office/drawing/2014/main" id="{38456D03-DE3D-40F8-9C13-23CCC28FF7DC}"/>
              </a:ext>
            </a:extLst>
          </p:cNvPr>
          <p:cNvCxnSpPr>
            <a:cxnSpLocks/>
            <a:stCxn id="1820" idx="3"/>
          </p:cNvCxnSpPr>
          <p:nvPr/>
        </p:nvCxnSpPr>
        <p:spPr bwMode="gray">
          <a:xfrm flipV="1">
            <a:off x="6549439" y="4247990"/>
            <a:ext cx="236997" cy="95086"/>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827" name="Rectangle 1826">
            <a:extLst>
              <a:ext uri="{FF2B5EF4-FFF2-40B4-BE49-F238E27FC236}">
                <a16:creationId xmlns:a16="http://schemas.microsoft.com/office/drawing/2014/main" id="{6E9E5D08-9B2A-455B-93E2-17EA6C1A3764}"/>
              </a:ext>
            </a:extLst>
          </p:cNvPr>
          <p:cNvSpPr/>
          <p:nvPr/>
        </p:nvSpPr>
        <p:spPr bwMode="gray">
          <a:xfrm>
            <a:off x="4637748" y="4183265"/>
            <a:ext cx="1226920" cy="17541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mpressed air</a:t>
            </a:r>
          </a:p>
        </p:txBody>
      </p:sp>
      <p:sp>
        <p:nvSpPr>
          <p:cNvPr id="1829" name="Rectangle 1828">
            <a:extLst>
              <a:ext uri="{FF2B5EF4-FFF2-40B4-BE49-F238E27FC236}">
                <a16:creationId xmlns:a16="http://schemas.microsoft.com/office/drawing/2014/main" id="{159E2D6D-BA63-449F-9B58-565861F15312}"/>
              </a:ext>
            </a:extLst>
          </p:cNvPr>
          <p:cNvSpPr/>
          <p:nvPr/>
        </p:nvSpPr>
        <p:spPr bwMode="gray">
          <a:xfrm>
            <a:off x="2774243" y="3118394"/>
            <a:ext cx="567078" cy="17541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Oxygen</a:t>
            </a:r>
          </a:p>
        </p:txBody>
      </p:sp>
      <p:cxnSp>
        <p:nvCxnSpPr>
          <p:cNvPr id="1832" name="Connector: Elbow 1831">
            <a:extLst>
              <a:ext uri="{FF2B5EF4-FFF2-40B4-BE49-F238E27FC236}">
                <a16:creationId xmlns:a16="http://schemas.microsoft.com/office/drawing/2014/main" id="{808DEE59-7EBA-40FF-9E72-9FC07D232D1A}"/>
              </a:ext>
            </a:extLst>
          </p:cNvPr>
          <p:cNvCxnSpPr>
            <a:cxnSpLocks/>
            <a:stCxn id="1687" idx="1"/>
            <a:endCxn id="1698" idx="0"/>
          </p:cNvCxnSpPr>
          <p:nvPr/>
        </p:nvCxnSpPr>
        <p:spPr bwMode="gray">
          <a:xfrm rot="10800000">
            <a:off x="7163990" y="3069726"/>
            <a:ext cx="2632171" cy="386478"/>
          </a:xfrm>
          <a:prstGeom prst="bentConnector4">
            <a:avLst>
              <a:gd name="adj1" fmla="val 83017"/>
              <a:gd name="adj2" fmla="val 15915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838" name="PPTShape_17">
            <a:extLst>
              <a:ext uri="{FF2B5EF4-FFF2-40B4-BE49-F238E27FC236}">
                <a16:creationId xmlns:a16="http://schemas.microsoft.com/office/drawing/2014/main" id="{B4923CB7-74FD-49AD-B4DF-890467353148}"/>
              </a:ext>
            </a:extLst>
          </p:cNvPr>
          <p:cNvSpPr>
            <a:spLocks noChangeArrowheads="1"/>
          </p:cNvSpPr>
          <p:nvPr/>
        </p:nvSpPr>
        <p:spPr bwMode="gray">
          <a:xfrm>
            <a:off x="10863080" y="4102886"/>
            <a:ext cx="702570" cy="197447"/>
          </a:xfrm>
          <a:prstGeom prst="rect">
            <a:avLst/>
          </a:prstGeom>
          <a:noFill/>
          <a:ln w="12700">
            <a:noFill/>
            <a:miter lim="800000"/>
            <a:headEnd/>
            <a:tailEnd/>
          </a:ln>
        </p:spPr>
        <p:txBody>
          <a:bodyPr wrap="square" lIns="0" tIns="0" rIns="0" bIns="0" anchor="ctr" anchorCtr="0">
            <a:noAutofit/>
          </a:bodyPr>
          <a:lstStyle/>
          <a:p>
            <a:pPr algn="ctr" eaLnBrk="0" fontAlgn="base" hangingPunct="0">
              <a:spcBef>
                <a:spcPct val="0"/>
              </a:spcBef>
              <a:spcAft>
                <a:spcPct val="0"/>
              </a:spcAft>
            </a:pPr>
            <a:r>
              <a:rPr lang="de-DE" sz="1000" dirty="0"/>
              <a:t>Hydrogen</a:t>
            </a:r>
            <a:endParaRPr lang="en-US" sz="1000" dirty="0"/>
          </a:p>
        </p:txBody>
      </p:sp>
      <p:cxnSp>
        <p:nvCxnSpPr>
          <p:cNvPr id="1840" name="Connector: Elbow 1839">
            <a:extLst>
              <a:ext uri="{FF2B5EF4-FFF2-40B4-BE49-F238E27FC236}">
                <a16:creationId xmlns:a16="http://schemas.microsoft.com/office/drawing/2014/main" id="{E374E168-6D68-4034-8E5F-9DB8257143DD}"/>
              </a:ext>
            </a:extLst>
          </p:cNvPr>
          <p:cNvCxnSpPr>
            <a:cxnSpLocks/>
            <a:stCxn id="1688" idx="2"/>
            <a:endCxn id="1838" idx="1"/>
          </p:cNvCxnSpPr>
          <p:nvPr/>
        </p:nvCxnSpPr>
        <p:spPr bwMode="gray">
          <a:xfrm rot="16200000" flipH="1">
            <a:off x="10378801" y="3717331"/>
            <a:ext cx="231202" cy="737355"/>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859" name="Straight Connector 1858">
            <a:extLst>
              <a:ext uri="{FF2B5EF4-FFF2-40B4-BE49-F238E27FC236}">
                <a16:creationId xmlns:a16="http://schemas.microsoft.com/office/drawing/2014/main" id="{47EB79E0-C925-463F-B923-35C177166207}"/>
              </a:ext>
            </a:extLst>
          </p:cNvPr>
          <p:cNvCxnSpPr>
            <a:cxnSpLocks/>
            <a:stCxn id="1688" idx="2"/>
            <a:endCxn id="1667" idx="0"/>
          </p:cNvCxnSpPr>
          <p:nvPr/>
        </p:nvCxnSpPr>
        <p:spPr bwMode="gray">
          <a:xfrm>
            <a:off x="10125725" y="3970408"/>
            <a:ext cx="0" cy="834004"/>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863" name="PPTShape_17">
            <a:extLst>
              <a:ext uri="{FF2B5EF4-FFF2-40B4-BE49-F238E27FC236}">
                <a16:creationId xmlns:a16="http://schemas.microsoft.com/office/drawing/2014/main" id="{7C865FD7-530A-4C7F-9649-54CFDE2EE14E}"/>
              </a:ext>
            </a:extLst>
          </p:cNvPr>
          <p:cNvSpPr>
            <a:spLocks noChangeArrowheads="1"/>
          </p:cNvSpPr>
          <p:nvPr/>
        </p:nvSpPr>
        <p:spPr bwMode="gray">
          <a:xfrm>
            <a:off x="10679525" y="3357595"/>
            <a:ext cx="1069680" cy="197447"/>
          </a:xfrm>
          <a:prstGeom prst="rect">
            <a:avLst/>
          </a:prstGeom>
          <a:noFill/>
          <a:ln w="12700">
            <a:noFill/>
            <a:miter lim="800000"/>
            <a:headEnd/>
            <a:tailEnd/>
          </a:ln>
        </p:spPr>
        <p:txBody>
          <a:bodyPr wrap="square" lIns="0" tIns="0" rIns="0" bIns="0" anchor="ctr" anchorCtr="0">
            <a:noAutofit/>
          </a:bodyPr>
          <a:lstStyle/>
          <a:p>
            <a:pPr algn="ctr" eaLnBrk="0" fontAlgn="base" hangingPunct="0">
              <a:spcBef>
                <a:spcPct val="0"/>
              </a:spcBef>
              <a:spcAft>
                <a:spcPct val="0"/>
              </a:spcAft>
            </a:pPr>
            <a:r>
              <a:rPr lang="de-DE" sz="1000" dirty="0"/>
              <a:t>Carbon dioxide sequestration</a:t>
            </a:r>
            <a:endParaRPr lang="en-US" sz="1000" dirty="0"/>
          </a:p>
        </p:txBody>
      </p:sp>
      <p:cxnSp>
        <p:nvCxnSpPr>
          <p:cNvPr id="1867" name="Straight Connector 1866">
            <a:extLst>
              <a:ext uri="{FF2B5EF4-FFF2-40B4-BE49-F238E27FC236}">
                <a16:creationId xmlns:a16="http://schemas.microsoft.com/office/drawing/2014/main" id="{F0ED1F1F-29D2-47EB-93FB-07B5D404AF1B}"/>
              </a:ext>
            </a:extLst>
          </p:cNvPr>
          <p:cNvCxnSpPr>
            <a:cxnSpLocks/>
            <a:stCxn id="1687" idx="3"/>
            <a:endCxn id="1863" idx="1"/>
          </p:cNvCxnSpPr>
          <p:nvPr/>
        </p:nvCxnSpPr>
        <p:spPr bwMode="gray">
          <a:xfrm>
            <a:off x="10455290" y="3456204"/>
            <a:ext cx="224235" cy="115"/>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882" name="Date Placeholder 1881">
            <a:extLst>
              <a:ext uri="{FF2B5EF4-FFF2-40B4-BE49-F238E27FC236}">
                <a16:creationId xmlns:a16="http://schemas.microsoft.com/office/drawing/2014/main" id="{62D80DD9-61E4-48FC-9D91-71E532B0341D}"/>
              </a:ext>
            </a:extLst>
          </p:cNvPr>
          <p:cNvSpPr>
            <a:spLocks noGrp="1"/>
          </p:cNvSpPr>
          <p:nvPr>
            <p:ph type="dt" sz="half" idx="14"/>
          </p:nvPr>
        </p:nvSpPr>
        <p:spPr bwMode="gray"/>
        <p:txBody>
          <a:bodyPr/>
          <a:lstStyle/>
          <a:p>
            <a:fld id="{CBD888E5-86AF-4905-935B-D7EC97F02023}" type="datetime4">
              <a:rPr lang="en-US" smtClean="0"/>
              <a:t>September 8, 2019</a:t>
            </a:fld>
            <a:endParaRPr lang="en-US" dirty="0"/>
          </a:p>
        </p:txBody>
      </p:sp>
      <p:sp>
        <p:nvSpPr>
          <p:cNvPr id="1883" name="Footer Placeholder 1882">
            <a:extLst>
              <a:ext uri="{FF2B5EF4-FFF2-40B4-BE49-F238E27FC236}">
                <a16:creationId xmlns:a16="http://schemas.microsoft.com/office/drawing/2014/main" id="{C42B30FA-E389-4197-AF7C-2D115C5F892B}"/>
              </a:ext>
            </a:extLst>
          </p:cNvPr>
          <p:cNvSpPr>
            <a:spLocks noGrp="1"/>
          </p:cNvSpPr>
          <p:nvPr>
            <p:ph type="ftr" sz="quarter" idx="15"/>
          </p:nvPr>
        </p:nvSpPr>
        <p:spPr bwMode="gray"/>
        <p:txBody>
          <a:bodyPr/>
          <a:lstStyle/>
          <a:p>
            <a:pPr lvl="8"/>
            <a:endParaRPr lang="en-US" dirty="0"/>
          </a:p>
        </p:txBody>
      </p:sp>
      <p:sp>
        <p:nvSpPr>
          <p:cNvPr id="1884" name="Slide Number Placeholder 1883">
            <a:extLst>
              <a:ext uri="{FF2B5EF4-FFF2-40B4-BE49-F238E27FC236}">
                <a16:creationId xmlns:a16="http://schemas.microsoft.com/office/drawing/2014/main" id="{DD87281E-769E-42F1-8E28-9099FE85F260}"/>
              </a:ext>
            </a:extLst>
          </p:cNvPr>
          <p:cNvSpPr>
            <a:spLocks noGrp="1"/>
          </p:cNvSpPr>
          <p:nvPr>
            <p:ph type="sldNum" sz="quarter" idx="16"/>
          </p:nvPr>
        </p:nvSpPr>
        <p:spPr bwMode="gray"/>
        <p:txBody>
          <a:bodyPr/>
          <a:lstStyle/>
          <a:p>
            <a:r>
              <a:rPr lang="en-US"/>
              <a:t>Slide </a:t>
            </a:r>
            <a:fld id="{619F89D8-7AE3-494A-97F3-03D680869632}" type="slidenum">
              <a:rPr lang="en-US" smtClean="0"/>
              <a:pPr/>
              <a:t>58</a:t>
            </a:fld>
            <a:endParaRPr lang="en-US" dirty="0"/>
          </a:p>
        </p:txBody>
      </p:sp>
    </p:spTree>
    <p:custDataLst>
      <p:tags r:id="rId1"/>
    </p:custDataLst>
    <p:extLst>
      <p:ext uri="{BB962C8B-B14F-4D97-AF65-F5344CB8AC3E}">
        <p14:creationId xmlns:p14="http://schemas.microsoft.com/office/powerpoint/2010/main" val="313992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02BB33-CB7C-49D4-AED6-C4D9A4575FA5}"/>
              </a:ext>
            </a:extLst>
          </p:cNvPr>
          <p:cNvSpPr>
            <a:spLocks noGrp="1"/>
          </p:cNvSpPr>
          <p:nvPr>
            <p:ph type="title"/>
          </p:nvPr>
        </p:nvSpPr>
        <p:spPr bwMode="gray"/>
        <p:txBody>
          <a:bodyPr/>
          <a:lstStyle/>
          <a:p>
            <a:r>
              <a:rPr lang="de-DE" dirty="0"/>
              <a:t>Other </a:t>
            </a:r>
            <a:r>
              <a:rPr lang="de-DE" dirty="0" err="1"/>
              <a:t>applications</a:t>
            </a:r>
            <a:endParaRPr lang="en-US" dirty="0"/>
          </a:p>
        </p:txBody>
      </p:sp>
      <p:sp>
        <p:nvSpPr>
          <p:cNvPr id="7" name="Subtitle 6">
            <a:extLst>
              <a:ext uri="{FF2B5EF4-FFF2-40B4-BE49-F238E27FC236}">
                <a16:creationId xmlns:a16="http://schemas.microsoft.com/office/drawing/2014/main" id="{E4023EB8-CB59-4562-9898-2F4554AEB741}"/>
              </a:ext>
            </a:extLst>
          </p:cNvPr>
          <p:cNvSpPr>
            <a:spLocks noGrp="1"/>
          </p:cNvSpPr>
          <p:nvPr>
            <p:ph type="subTitle" idx="13"/>
          </p:nvPr>
        </p:nvSpPr>
        <p:spPr bwMode="gray"/>
        <p:txBody>
          <a:bodyPr/>
          <a:lstStyle/>
          <a:p>
            <a:r>
              <a:rPr lang="de-DE" dirty="0" err="1"/>
              <a:t>Petrochemical</a:t>
            </a:r>
            <a:r>
              <a:rPr lang="de-DE" dirty="0"/>
              <a:t> </a:t>
            </a:r>
            <a:r>
              <a:rPr lang="de-DE" dirty="0" err="1"/>
              <a:t>industry</a:t>
            </a:r>
            <a:endParaRPr lang="en-US" dirty="0"/>
          </a:p>
        </p:txBody>
      </p:sp>
      <p:sp>
        <p:nvSpPr>
          <p:cNvPr id="101" name="Content Placeholder 3">
            <a:extLst>
              <a:ext uri="{FF2B5EF4-FFF2-40B4-BE49-F238E27FC236}">
                <a16:creationId xmlns:a16="http://schemas.microsoft.com/office/drawing/2014/main" id="{70CCC7DC-D976-455A-916D-FA7FCD34C22D}"/>
              </a:ext>
            </a:extLst>
          </p:cNvPr>
          <p:cNvSpPr txBox="1">
            <a:spLocks/>
          </p:cNvSpPr>
          <p:nvPr/>
        </p:nvSpPr>
        <p:spPr bwMode="gray">
          <a:xfrm>
            <a:off x="333263" y="2989131"/>
            <a:ext cx="3643199" cy="23532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spcBef>
                <a:spcPts val="500"/>
              </a:spcBef>
            </a:pPr>
            <a:r>
              <a:rPr lang="en-US" b="1" dirty="0"/>
              <a:t>Flue gas oxygen for efficiency</a:t>
            </a:r>
          </a:p>
          <a:p>
            <a:pPr lvl="1">
              <a:spcBef>
                <a:spcPts val="500"/>
              </a:spcBef>
            </a:pPr>
            <a:r>
              <a:rPr lang="en-US" dirty="0"/>
              <a:t>O</a:t>
            </a:r>
            <a:r>
              <a:rPr lang="en-US" baseline="-25000" dirty="0"/>
              <a:t>2</a:t>
            </a:r>
            <a:r>
              <a:rPr lang="en-US" dirty="0"/>
              <a:t> and CO (optional)</a:t>
            </a:r>
          </a:p>
          <a:p>
            <a:pPr lvl="1">
              <a:spcBef>
                <a:spcPts val="500"/>
              </a:spcBef>
            </a:pPr>
            <a:endParaRPr lang="en-US" dirty="0"/>
          </a:p>
        </p:txBody>
      </p:sp>
      <p:sp>
        <p:nvSpPr>
          <p:cNvPr id="102" name="Content Placeholder 3">
            <a:extLst>
              <a:ext uri="{FF2B5EF4-FFF2-40B4-BE49-F238E27FC236}">
                <a16:creationId xmlns:a16="http://schemas.microsoft.com/office/drawing/2014/main" id="{1B834033-27AC-4260-A6A0-346FF8CC994B}"/>
              </a:ext>
            </a:extLst>
          </p:cNvPr>
          <p:cNvSpPr txBox="1">
            <a:spLocks/>
          </p:cNvSpPr>
          <p:nvPr/>
        </p:nvSpPr>
        <p:spPr bwMode="gray">
          <a:xfrm>
            <a:off x="4269068" y="2989131"/>
            <a:ext cx="3643199" cy="23532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spcBef>
                <a:spcPts val="500"/>
              </a:spcBef>
            </a:pPr>
            <a:r>
              <a:rPr lang="en-US" b="1" dirty="0"/>
              <a:t>Determine regenerator efficiency</a:t>
            </a:r>
          </a:p>
          <a:p>
            <a:pPr lvl="1">
              <a:spcBef>
                <a:spcPts val="500"/>
              </a:spcBef>
            </a:pPr>
            <a:r>
              <a:rPr lang="en-US" dirty="0"/>
              <a:t>O</a:t>
            </a:r>
            <a:r>
              <a:rPr lang="en-US" baseline="-25000" dirty="0"/>
              <a:t>2</a:t>
            </a:r>
            <a:r>
              <a:rPr lang="en-US" dirty="0"/>
              <a:t>, CO, CO</a:t>
            </a:r>
            <a:r>
              <a:rPr lang="en-US" baseline="-25000" dirty="0"/>
              <a:t>2</a:t>
            </a:r>
          </a:p>
          <a:p>
            <a:pPr lvl="1">
              <a:spcBef>
                <a:spcPts val="500"/>
              </a:spcBef>
            </a:pPr>
            <a:endParaRPr lang="en-US" dirty="0"/>
          </a:p>
        </p:txBody>
      </p:sp>
      <p:sp>
        <p:nvSpPr>
          <p:cNvPr id="103" name="Content Placeholder 3">
            <a:extLst>
              <a:ext uri="{FF2B5EF4-FFF2-40B4-BE49-F238E27FC236}">
                <a16:creationId xmlns:a16="http://schemas.microsoft.com/office/drawing/2014/main" id="{4CDC421D-47B0-4B5B-AC59-1E93601DFC42}"/>
              </a:ext>
            </a:extLst>
          </p:cNvPr>
          <p:cNvSpPr txBox="1">
            <a:spLocks/>
          </p:cNvSpPr>
          <p:nvPr/>
        </p:nvSpPr>
        <p:spPr bwMode="gray">
          <a:xfrm>
            <a:off x="8210063" y="2989131"/>
            <a:ext cx="3643199" cy="23532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spcBef>
                <a:spcPts val="500"/>
              </a:spcBef>
            </a:pPr>
            <a:r>
              <a:rPr lang="en-US" b="1" dirty="0"/>
              <a:t>Regulatory requirement</a:t>
            </a:r>
          </a:p>
          <a:p>
            <a:pPr lvl="1">
              <a:spcBef>
                <a:spcPts val="500"/>
              </a:spcBef>
            </a:pPr>
            <a:r>
              <a:rPr lang="en-US" dirty="0"/>
              <a:t>CO, CO</a:t>
            </a:r>
            <a:r>
              <a:rPr lang="en-US" baseline="-25000" dirty="0"/>
              <a:t>2</a:t>
            </a:r>
            <a:r>
              <a:rPr lang="en-US" dirty="0"/>
              <a:t>, NO, NO</a:t>
            </a:r>
            <a:r>
              <a:rPr lang="en-US" baseline="-25000" dirty="0"/>
              <a:t>2</a:t>
            </a:r>
            <a:r>
              <a:rPr lang="en-US" dirty="0"/>
              <a:t>, SO</a:t>
            </a:r>
            <a:r>
              <a:rPr lang="en-US" baseline="-25000" dirty="0"/>
              <a:t>2</a:t>
            </a:r>
            <a:r>
              <a:rPr lang="en-US" dirty="0"/>
              <a:t>, TOC</a:t>
            </a:r>
          </a:p>
        </p:txBody>
      </p:sp>
      <p:sp>
        <p:nvSpPr>
          <p:cNvPr id="104" name="Text Placeholder 11">
            <a:extLst>
              <a:ext uri="{FF2B5EF4-FFF2-40B4-BE49-F238E27FC236}">
                <a16:creationId xmlns:a16="http://schemas.microsoft.com/office/drawing/2014/main" id="{07C13B2C-00F1-4D3B-B3F1-6D038F8E3C5E}"/>
              </a:ext>
            </a:extLst>
          </p:cNvPr>
          <p:cNvSpPr txBox="1">
            <a:spLocks/>
          </p:cNvSpPr>
          <p:nvPr/>
        </p:nvSpPr>
        <p:spPr bwMode="gray">
          <a:xfrm>
            <a:off x="333264" y="2602571"/>
            <a:ext cx="3643200" cy="252000"/>
          </a:xfrm>
          <a:prstGeom prst="rect">
            <a:avLst/>
          </a:prstGeom>
        </p:spPr>
        <p:txBody>
          <a:bodyPr vert="horz" lIns="0" tIns="0" rIns="0" bIns="0" rtlCol="0" anchor="t">
            <a:noAutofit/>
          </a:bodyPr>
          <a:lstStyle>
            <a:defPPr>
              <a:defRPr lang="en-US"/>
            </a:defPPr>
            <a:lvl1pPr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r>
              <a:rPr lang="en-US" dirty="0"/>
              <a:t>Process heaters / Furnaces </a:t>
            </a:r>
          </a:p>
        </p:txBody>
      </p:sp>
      <p:cxnSp>
        <p:nvCxnSpPr>
          <p:cNvPr id="105" name="Straight Connector 104">
            <a:extLst>
              <a:ext uri="{FF2B5EF4-FFF2-40B4-BE49-F238E27FC236}">
                <a16:creationId xmlns:a16="http://schemas.microsoft.com/office/drawing/2014/main" id="{EE3744F3-F4AF-426C-B931-1D110A91BC2A}"/>
              </a:ext>
            </a:extLst>
          </p:cNvPr>
          <p:cNvCxnSpPr>
            <a:cxnSpLocks/>
          </p:cNvCxnSpPr>
          <p:nvPr/>
        </p:nvCxnSpPr>
        <p:spPr bwMode="gray">
          <a:xfrm>
            <a:off x="333264" y="2909984"/>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6" name="Text Placeholder 11">
            <a:extLst>
              <a:ext uri="{FF2B5EF4-FFF2-40B4-BE49-F238E27FC236}">
                <a16:creationId xmlns:a16="http://schemas.microsoft.com/office/drawing/2014/main" id="{9156F6F2-B080-4C69-A4A6-5E60885FCA6E}"/>
              </a:ext>
            </a:extLst>
          </p:cNvPr>
          <p:cNvSpPr txBox="1">
            <a:spLocks/>
          </p:cNvSpPr>
          <p:nvPr/>
        </p:nvSpPr>
        <p:spPr bwMode="gray">
          <a:xfrm>
            <a:off x="4269069" y="2602571"/>
            <a:ext cx="3643200" cy="252000"/>
          </a:xfrm>
          <a:prstGeom prst="rect">
            <a:avLst/>
          </a:prstGeom>
        </p:spPr>
        <p:txBody>
          <a:bodyPr vert="horz" lIns="0" tIns="0" rIns="0" bIns="0" rtlCol="0" anchor="t">
            <a:noAutofit/>
          </a:bodyPr>
          <a:lstStyle>
            <a:defPPr>
              <a:defRPr lang="en-US"/>
            </a:defPPr>
            <a:lvl1pPr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r>
              <a:rPr lang="de-DE" altLang="de-DE" dirty="0" err="1"/>
              <a:t>Catalyst</a:t>
            </a:r>
            <a:r>
              <a:rPr lang="de-DE" altLang="de-DE" dirty="0"/>
              <a:t> regeneration </a:t>
            </a:r>
          </a:p>
        </p:txBody>
      </p:sp>
      <p:cxnSp>
        <p:nvCxnSpPr>
          <p:cNvPr id="107" name="Straight Connector 106">
            <a:extLst>
              <a:ext uri="{FF2B5EF4-FFF2-40B4-BE49-F238E27FC236}">
                <a16:creationId xmlns:a16="http://schemas.microsoft.com/office/drawing/2014/main" id="{402B662C-B13A-47C6-80D2-1110BC2F8211}"/>
              </a:ext>
            </a:extLst>
          </p:cNvPr>
          <p:cNvCxnSpPr>
            <a:cxnSpLocks/>
          </p:cNvCxnSpPr>
          <p:nvPr/>
        </p:nvCxnSpPr>
        <p:spPr bwMode="gray">
          <a:xfrm>
            <a:off x="4271664" y="2909984"/>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8" name="Straight Connector 107">
            <a:extLst>
              <a:ext uri="{FF2B5EF4-FFF2-40B4-BE49-F238E27FC236}">
                <a16:creationId xmlns:a16="http://schemas.microsoft.com/office/drawing/2014/main" id="{6065CFB0-3430-48CA-9F22-E87552085688}"/>
              </a:ext>
            </a:extLst>
          </p:cNvPr>
          <p:cNvCxnSpPr>
            <a:cxnSpLocks/>
          </p:cNvCxnSpPr>
          <p:nvPr/>
        </p:nvCxnSpPr>
        <p:spPr bwMode="gray">
          <a:xfrm>
            <a:off x="8210064" y="2909984"/>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9" name="Text Placeholder 11">
            <a:extLst>
              <a:ext uri="{FF2B5EF4-FFF2-40B4-BE49-F238E27FC236}">
                <a16:creationId xmlns:a16="http://schemas.microsoft.com/office/drawing/2014/main" id="{15C0D53B-6626-46B8-8835-52F464D4F3CC}"/>
              </a:ext>
            </a:extLst>
          </p:cNvPr>
          <p:cNvSpPr txBox="1">
            <a:spLocks/>
          </p:cNvSpPr>
          <p:nvPr/>
        </p:nvSpPr>
        <p:spPr bwMode="gray">
          <a:xfrm>
            <a:off x="8210064" y="2602571"/>
            <a:ext cx="3643200" cy="252000"/>
          </a:xfrm>
          <a:prstGeom prst="rect">
            <a:avLst/>
          </a:prstGeom>
        </p:spPr>
        <p:txBody>
          <a:bodyPr vert="horz" lIns="0" tIns="0" rIns="0" bIns="0" rtlCol="0" anchor="t">
            <a:noAutofit/>
          </a:bodyPr>
          <a:lstStyle>
            <a:defPPr>
              <a:defRPr lang="en-US"/>
            </a:defPPr>
            <a:lvl1pPr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r>
              <a:rPr lang="de-DE" altLang="de-DE" dirty="0"/>
              <a:t>Emission monitoring </a:t>
            </a:r>
          </a:p>
        </p:txBody>
      </p:sp>
      <p:grpSp>
        <p:nvGrpSpPr>
          <p:cNvPr id="130" name="Group 129">
            <a:extLst>
              <a:ext uri="{FF2B5EF4-FFF2-40B4-BE49-F238E27FC236}">
                <a16:creationId xmlns:a16="http://schemas.microsoft.com/office/drawing/2014/main" id="{EBC1B57B-678C-493F-AB0E-D4361FD9F285}"/>
              </a:ext>
            </a:extLst>
          </p:cNvPr>
          <p:cNvGrpSpPr/>
          <p:nvPr/>
        </p:nvGrpSpPr>
        <p:grpSpPr bwMode="gray">
          <a:xfrm>
            <a:off x="8233214" y="3954797"/>
            <a:ext cx="452927" cy="558459"/>
            <a:chOff x="7299467" y="2222900"/>
            <a:chExt cx="648907" cy="800102"/>
          </a:xfrm>
        </p:grpSpPr>
        <p:sp>
          <p:nvSpPr>
            <p:cNvPr id="131" name="Freeform 565">
              <a:extLst>
                <a:ext uri="{FF2B5EF4-FFF2-40B4-BE49-F238E27FC236}">
                  <a16:creationId xmlns:a16="http://schemas.microsoft.com/office/drawing/2014/main" id="{2E000B85-B21F-4EAB-BF8C-48E04C7FEF08}"/>
                </a:ext>
              </a:extLst>
            </p:cNvPr>
            <p:cNvSpPr>
              <a:spLocks noChangeAspect="1"/>
            </p:cNvSpPr>
            <p:nvPr/>
          </p:nvSpPr>
          <p:spPr bwMode="gray">
            <a:xfrm>
              <a:off x="7490645" y="2480076"/>
              <a:ext cx="323850" cy="200026"/>
            </a:xfrm>
            <a:custGeom>
              <a:avLst/>
              <a:gdLst>
                <a:gd name="T0" fmla="*/ 0 w 102"/>
                <a:gd name="T1" fmla="*/ 26 h 63"/>
                <a:gd name="T2" fmla="*/ 39 w 102"/>
                <a:gd name="T3" fmla="*/ 63 h 63"/>
                <a:gd name="T4" fmla="*/ 102 w 102"/>
                <a:gd name="T5" fmla="*/ 0 h 63"/>
              </a:gdLst>
              <a:ahLst/>
              <a:cxnLst>
                <a:cxn ang="0">
                  <a:pos x="T0" y="T1"/>
                </a:cxn>
                <a:cxn ang="0">
                  <a:pos x="T2" y="T3"/>
                </a:cxn>
                <a:cxn ang="0">
                  <a:pos x="T4" y="T5"/>
                </a:cxn>
              </a:cxnLst>
              <a:rect l="0" t="0" r="r" b="b"/>
              <a:pathLst>
                <a:path w="102" h="63">
                  <a:moveTo>
                    <a:pt x="0" y="26"/>
                  </a:moveTo>
                  <a:lnTo>
                    <a:pt x="39" y="63"/>
                  </a:lnTo>
                  <a:lnTo>
                    <a:pt x="102" y="0"/>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32" name="Freeform: Shape 131">
              <a:extLst>
                <a:ext uri="{FF2B5EF4-FFF2-40B4-BE49-F238E27FC236}">
                  <a16:creationId xmlns:a16="http://schemas.microsoft.com/office/drawing/2014/main" id="{608AACCB-4D3F-4ABB-8A03-B43C5D30474C}"/>
                </a:ext>
              </a:extLst>
            </p:cNvPr>
            <p:cNvSpPr>
              <a:spLocks noChangeAspect="1"/>
            </p:cNvSpPr>
            <p:nvPr/>
          </p:nvSpPr>
          <p:spPr bwMode="gray">
            <a:xfrm flipH="1">
              <a:off x="7299467" y="2222900"/>
              <a:ext cx="648907" cy="800102"/>
            </a:xfrm>
            <a:custGeom>
              <a:avLst/>
              <a:gdLst>
                <a:gd name="connsiteX0" fmla="*/ 325054 w 648907"/>
                <a:gd name="connsiteY0" fmla="*/ 0 h 800102"/>
                <a:gd name="connsiteX1" fmla="*/ 324454 w 648907"/>
                <a:gd name="connsiteY1" fmla="*/ 1678 h 800102"/>
                <a:gd name="connsiteX2" fmla="*/ 323853 w 648907"/>
                <a:gd name="connsiteY2" fmla="*/ 0 h 800102"/>
                <a:gd name="connsiteX3" fmla="*/ 0 w 648907"/>
                <a:gd name="connsiteY3" fmla="*/ 152420 h 800102"/>
                <a:gd name="connsiteX4" fmla="*/ 323853 w 648907"/>
                <a:gd name="connsiteY4" fmla="*/ 800102 h 800102"/>
                <a:gd name="connsiteX5" fmla="*/ 324454 w 648907"/>
                <a:gd name="connsiteY5" fmla="*/ 799344 h 800102"/>
                <a:gd name="connsiteX6" fmla="*/ 325054 w 648907"/>
                <a:gd name="connsiteY6" fmla="*/ 800102 h 800102"/>
                <a:gd name="connsiteX7" fmla="*/ 648907 w 648907"/>
                <a:gd name="connsiteY7" fmla="*/ 152420 h 800102"/>
                <a:gd name="connsiteX8" fmla="*/ 325054 w 648907"/>
                <a:gd name="connsiteY8" fmla="*/ 0 h 80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8907" h="800102">
                  <a:moveTo>
                    <a:pt x="325054" y="0"/>
                  </a:moveTo>
                  <a:lnTo>
                    <a:pt x="324454" y="1678"/>
                  </a:lnTo>
                  <a:lnTo>
                    <a:pt x="323853" y="0"/>
                  </a:lnTo>
                  <a:cubicBezTo>
                    <a:pt x="214002" y="121296"/>
                    <a:pt x="111794" y="156820"/>
                    <a:pt x="0" y="152420"/>
                  </a:cubicBezTo>
                  <a:cubicBezTo>
                    <a:pt x="3822" y="651523"/>
                    <a:pt x="252088" y="769618"/>
                    <a:pt x="323853" y="800102"/>
                  </a:cubicBezTo>
                  <a:lnTo>
                    <a:pt x="324454" y="799344"/>
                  </a:lnTo>
                  <a:lnTo>
                    <a:pt x="325054" y="800102"/>
                  </a:lnTo>
                  <a:cubicBezTo>
                    <a:pt x="396820" y="769618"/>
                    <a:pt x="645086" y="651523"/>
                    <a:pt x="648907" y="152420"/>
                  </a:cubicBezTo>
                  <a:cubicBezTo>
                    <a:pt x="537113" y="156820"/>
                    <a:pt x="434905" y="121296"/>
                    <a:pt x="325054" y="0"/>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e-DE" dirty="0"/>
            </a:p>
          </p:txBody>
        </p:sp>
      </p:grpSp>
      <p:sp>
        <p:nvSpPr>
          <p:cNvPr id="133" name="Content Placeholder 3">
            <a:extLst>
              <a:ext uri="{FF2B5EF4-FFF2-40B4-BE49-F238E27FC236}">
                <a16:creationId xmlns:a16="http://schemas.microsoft.com/office/drawing/2014/main" id="{6A1F31BB-F515-4B5A-B311-50A5AE180EEC}"/>
              </a:ext>
            </a:extLst>
          </p:cNvPr>
          <p:cNvSpPr txBox="1">
            <a:spLocks/>
          </p:cNvSpPr>
          <p:nvPr/>
        </p:nvSpPr>
        <p:spPr bwMode="gray">
          <a:xfrm>
            <a:off x="333263" y="4976269"/>
            <a:ext cx="3643199" cy="23532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500"/>
              </a:spcBef>
            </a:pPr>
            <a:r>
              <a:rPr lang="en-US" dirty="0"/>
              <a:t>H</a:t>
            </a:r>
            <a:r>
              <a:rPr lang="en-US" baseline="-25000" dirty="0"/>
              <a:t>2</a:t>
            </a:r>
            <a:r>
              <a:rPr lang="en-US" dirty="0"/>
              <a:t>/HC stream and C1 (optional)</a:t>
            </a:r>
          </a:p>
          <a:p>
            <a:pPr lvl="1">
              <a:spcBef>
                <a:spcPts val="500"/>
              </a:spcBef>
            </a:pPr>
            <a:endParaRPr lang="en-US" dirty="0"/>
          </a:p>
        </p:txBody>
      </p:sp>
      <p:sp>
        <p:nvSpPr>
          <p:cNvPr id="134" name="Content Placeholder 3">
            <a:extLst>
              <a:ext uri="{FF2B5EF4-FFF2-40B4-BE49-F238E27FC236}">
                <a16:creationId xmlns:a16="http://schemas.microsoft.com/office/drawing/2014/main" id="{25AEA0AA-BA13-45CB-841A-8B55A1CE6232}"/>
              </a:ext>
            </a:extLst>
          </p:cNvPr>
          <p:cNvSpPr txBox="1">
            <a:spLocks/>
          </p:cNvSpPr>
          <p:nvPr/>
        </p:nvSpPr>
        <p:spPr bwMode="gray">
          <a:xfrm>
            <a:off x="4269068" y="4976269"/>
            <a:ext cx="3643199" cy="23532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spcBef>
                <a:spcPts val="500"/>
              </a:spcBef>
            </a:pPr>
            <a:r>
              <a:rPr lang="en-US" b="1" dirty="0"/>
              <a:t>Combustion efficiency, </a:t>
            </a:r>
            <a:br>
              <a:rPr lang="en-US" b="1" dirty="0"/>
            </a:br>
            <a:r>
              <a:rPr lang="en-US" b="1" dirty="0" err="1"/>
              <a:t>DeNOx</a:t>
            </a:r>
            <a:r>
              <a:rPr lang="en-US" b="1" dirty="0"/>
              <a:t> control, emission monitoring</a:t>
            </a:r>
          </a:p>
          <a:p>
            <a:pPr lvl="1">
              <a:spcBef>
                <a:spcPts val="500"/>
              </a:spcBef>
            </a:pPr>
            <a:r>
              <a:rPr lang="en-US" dirty="0"/>
              <a:t>O</a:t>
            </a:r>
            <a:r>
              <a:rPr lang="en-US" baseline="-25000" dirty="0"/>
              <a:t>2</a:t>
            </a:r>
            <a:r>
              <a:rPr lang="en-US" dirty="0"/>
              <a:t> and CO (optional)</a:t>
            </a:r>
          </a:p>
          <a:p>
            <a:pPr lvl="1">
              <a:spcBef>
                <a:spcPts val="500"/>
              </a:spcBef>
            </a:pPr>
            <a:r>
              <a:rPr lang="en-US" dirty="0"/>
              <a:t>CO, CO</a:t>
            </a:r>
            <a:r>
              <a:rPr lang="en-US" baseline="-25000" dirty="0"/>
              <a:t>2</a:t>
            </a:r>
            <a:r>
              <a:rPr lang="en-US" dirty="0"/>
              <a:t>, NO, NO</a:t>
            </a:r>
            <a:r>
              <a:rPr lang="en-US" baseline="-25000" dirty="0"/>
              <a:t>2</a:t>
            </a:r>
            <a:r>
              <a:rPr lang="en-US" dirty="0"/>
              <a:t>, SO</a:t>
            </a:r>
            <a:r>
              <a:rPr lang="en-US" baseline="-25000" dirty="0"/>
              <a:t>2</a:t>
            </a:r>
            <a:r>
              <a:rPr lang="en-US" dirty="0"/>
              <a:t>, TOC, NH</a:t>
            </a:r>
            <a:r>
              <a:rPr lang="en-US" baseline="-25000" dirty="0"/>
              <a:t>3</a:t>
            </a:r>
          </a:p>
        </p:txBody>
      </p:sp>
      <p:sp>
        <p:nvSpPr>
          <p:cNvPr id="135" name="Content Placeholder 3">
            <a:extLst>
              <a:ext uri="{FF2B5EF4-FFF2-40B4-BE49-F238E27FC236}">
                <a16:creationId xmlns:a16="http://schemas.microsoft.com/office/drawing/2014/main" id="{A782B640-2FB1-4E63-99F1-D8C469B5ADFA}"/>
              </a:ext>
            </a:extLst>
          </p:cNvPr>
          <p:cNvSpPr txBox="1">
            <a:spLocks/>
          </p:cNvSpPr>
          <p:nvPr/>
        </p:nvSpPr>
        <p:spPr bwMode="gray">
          <a:xfrm>
            <a:off x="8210063" y="4976269"/>
            <a:ext cx="3643199" cy="23532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spcBef>
                <a:spcPts val="500"/>
              </a:spcBef>
            </a:pPr>
            <a:r>
              <a:rPr lang="en-US" b="1" dirty="0"/>
              <a:t>Flare lines, vent headers, </a:t>
            </a:r>
            <a:br>
              <a:rPr lang="en-US" b="1" dirty="0"/>
            </a:br>
            <a:r>
              <a:rPr lang="en-US" b="1" dirty="0"/>
              <a:t>vapor recovery, leak detection</a:t>
            </a:r>
          </a:p>
          <a:p>
            <a:pPr lvl="1">
              <a:spcBef>
                <a:spcPts val="500"/>
              </a:spcBef>
            </a:pPr>
            <a:r>
              <a:rPr lang="en-US" dirty="0"/>
              <a:t>O</a:t>
            </a:r>
            <a:r>
              <a:rPr lang="en-US" baseline="-25000" dirty="0"/>
              <a:t>2</a:t>
            </a:r>
            <a:r>
              <a:rPr lang="en-US" b="1" dirty="0"/>
              <a:t> </a:t>
            </a:r>
            <a:endParaRPr lang="en-US" dirty="0"/>
          </a:p>
          <a:p>
            <a:pPr lvl="1">
              <a:spcBef>
                <a:spcPts val="500"/>
              </a:spcBef>
            </a:pPr>
            <a:r>
              <a:rPr lang="de-DE" dirty="0"/>
              <a:t>TOC</a:t>
            </a:r>
            <a:endParaRPr lang="en-US" dirty="0"/>
          </a:p>
        </p:txBody>
      </p:sp>
      <p:sp>
        <p:nvSpPr>
          <p:cNvPr id="136" name="Text Placeholder 11">
            <a:extLst>
              <a:ext uri="{FF2B5EF4-FFF2-40B4-BE49-F238E27FC236}">
                <a16:creationId xmlns:a16="http://schemas.microsoft.com/office/drawing/2014/main" id="{F6AC9E47-4CC1-4E0F-825A-28A0CE2D7372}"/>
              </a:ext>
            </a:extLst>
          </p:cNvPr>
          <p:cNvSpPr txBox="1">
            <a:spLocks/>
          </p:cNvSpPr>
          <p:nvPr/>
        </p:nvSpPr>
        <p:spPr bwMode="gray">
          <a:xfrm>
            <a:off x="333264" y="4589709"/>
            <a:ext cx="3643200" cy="252000"/>
          </a:xfrm>
          <a:prstGeom prst="rect">
            <a:avLst/>
          </a:prstGeom>
        </p:spPr>
        <p:txBody>
          <a:bodyPr vert="horz" lIns="0" tIns="0" rIns="0" bIns="0" rtlCol="0" anchor="t">
            <a:noAutofit/>
          </a:bodyPr>
          <a:lstStyle>
            <a:defPPr>
              <a:defRPr lang="en-US"/>
            </a:defPPr>
            <a:lvl1pPr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r>
              <a:rPr lang="en-US" dirty="0"/>
              <a:t>Hydrogen recycling</a:t>
            </a:r>
          </a:p>
        </p:txBody>
      </p:sp>
      <p:cxnSp>
        <p:nvCxnSpPr>
          <p:cNvPr id="137" name="Straight Connector 136">
            <a:extLst>
              <a:ext uri="{FF2B5EF4-FFF2-40B4-BE49-F238E27FC236}">
                <a16:creationId xmlns:a16="http://schemas.microsoft.com/office/drawing/2014/main" id="{55794664-A8B0-4A35-8BA7-B88F26FBD189}"/>
              </a:ext>
            </a:extLst>
          </p:cNvPr>
          <p:cNvCxnSpPr>
            <a:cxnSpLocks/>
          </p:cNvCxnSpPr>
          <p:nvPr/>
        </p:nvCxnSpPr>
        <p:spPr bwMode="gray">
          <a:xfrm>
            <a:off x="333264" y="4897122"/>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8" name="Text Placeholder 11">
            <a:extLst>
              <a:ext uri="{FF2B5EF4-FFF2-40B4-BE49-F238E27FC236}">
                <a16:creationId xmlns:a16="http://schemas.microsoft.com/office/drawing/2014/main" id="{B246E785-5A6E-4533-ACFF-2584F34F2A93}"/>
              </a:ext>
            </a:extLst>
          </p:cNvPr>
          <p:cNvSpPr txBox="1">
            <a:spLocks/>
          </p:cNvSpPr>
          <p:nvPr/>
        </p:nvSpPr>
        <p:spPr bwMode="gray">
          <a:xfrm>
            <a:off x="4269069" y="4589709"/>
            <a:ext cx="3643200" cy="252000"/>
          </a:xfrm>
          <a:prstGeom prst="rect">
            <a:avLst/>
          </a:prstGeom>
        </p:spPr>
        <p:txBody>
          <a:bodyPr vert="horz" lIns="0" tIns="0" rIns="0" bIns="0" rtlCol="0" anchor="t">
            <a:noAutofit/>
          </a:bodyPr>
          <a:lstStyle>
            <a:defPPr>
              <a:defRPr lang="en-US"/>
            </a:defPPr>
            <a:lvl1pPr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r>
              <a:rPr lang="de-DE" altLang="de-DE" dirty="0"/>
              <a:t>Power plants </a:t>
            </a:r>
          </a:p>
        </p:txBody>
      </p:sp>
      <p:cxnSp>
        <p:nvCxnSpPr>
          <p:cNvPr id="139" name="Straight Connector 138">
            <a:extLst>
              <a:ext uri="{FF2B5EF4-FFF2-40B4-BE49-F238E27FC236}">
                <a16:creationId xmlns:a16="http://schemas.microsoft.com/office/drawing/2014/main" id="{A1C7B0EA-8DF7-4F16-B7FD-ADBADA73E915}"/>
              </a:ext>
            </a:extLst>
          </p:cNvPr>
          <p:cNvCxnSpPr>
            <a:cxnSpLocks/>
          </p:cNvCxnSpPr>
          <p:nvPr/>
        </p:nvCxnSpPr>
        <p:spPr bwMode="gray">
          <a:xfrm>
            <a:off x="4271664" y="4897122"/>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0" name="Straight Connector 139">
            <a:extLst>
              <a:ext uri="{FF2B5EF4-FFF2-40B4-BE49-F238E27FC236}">
                <a16:creationId xmlns:a16="http://schemas.microsoft.com/office/drawing/2014/main" id="{F14F2482-FC4F-4B3A-8CF2-4ADCDEBC267D}"/>
              </a:ext>
            </a:extLst>
          </p:cNvPr>
          <p:cNvCxnSpPr>
            <a:cxnSpLocks/>
          </p:cNvCxnSpPr>
          <p:nvPr/>
        </p:nvCxnSpPr>
        <p:spPr bwMode="gray">
          <a:xfrm>
            <a:off x="8210064" y="4897122"/>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1" name="Text Placeholder 11">
            <a:extLst>
              <a:ext uri="{FF2B5EF4-FFF2-40B4-BE49-F238E27FC236}">
                <a16:creationId xmlns:a16="http://schemas.microsoft.com/office/drawing/2014/main" id="{414274C9-2DD6-4173-9A96-D2ACDE6585D6}"/>
              </a:ext>
            </a:extLst>
          </p:cNvPr>
          <p:cNvSpPr txBox="1">
            <a:spLocks/>
          </p:cNvSpPr>
          <p:nvPr/>
        </p:nvSpPr>
        <p:spPr bwMode="gray">
          <a:xfrm>
            <a:off x="8210064" y="4589709"/>
            <a:ext cx="3643200" cy="252000"/>
          </a:xfrm>
          <a:prstGeom prst="rect">
            <a:avLst/>
          </a:prstGeom>
        </p:spPr>
        <p:txBody>
          <a:bodyPr vert="horz" lIns="0" tIns="0" rIns="0" bIns="0" rtlCol="0" anchor="t">
            <a:noAutofit/>
          </a:bodyPr>
          <a:lstStyle>
            <a:defPPr>
              <a:defRPr lang="en-US"/>
            </a:defPPr>
            <a:lvl1pPr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r>
              <a:rPr lang="de-DE" altLang="de-DE" dirty="0"/>
              <a:t>Safety issues </a:t>
            </a:r>
          </a:p>
        </p:txBody>
      </p:sp>
      <p:grpSp>
        <p:nvGrpSpPr>
          <p:cNvPr id="142" name="Group 141">
            <a:extLst>
              <a:ext uri="{FF2B5EF4-FFF2-40B4-BE49-F238E27FC236}">
                <a16:creationId xmlns:a16="http://schemas.microsoft.com/office/drawing/2014/main" id="{101AB6A6-D293-458D-9682-CF13CB867346}"/>
              </a:ext>
            </a:extLst>
          </p:cNvPr>
          <p:cNvGrpSpPr/>
          <p:nvPr/>
        </p:nvGrpSpPr>
        <p:grpSpPr bwMode="gray">
          <a:xfrm flipH="1">
            <a:off x="8233214" y="1982828"/>
            <a:ext cx="490270" cy="543290"/>
            <a:chOff x="3427334" y="4059097"/>
            <a:chExt cx="365569" cy="405103"/>
          </a:xfrm>
        </p:grpSpPr>
        <p:grpSp>
          <p:nvGrpSpPr>
            <p:cNvPr id="143" name="Group 294">
              <a:extLst>
                <a:ext uri="{FF2B5EF4-FFF2-40B4-BE49-F238E27FC236}">
                  <a16:creationId xmlns:a16="http://schemas.microsoft.com/office/drawing/2014/main" id="{448218BD-0FDB-49B5-B41B-BD196493FA99}"/>
                </a:ext>
              </a:extLst>
            </p:cNvPr>
            <p:cNvGrpSpPr/>
            <p:nvPr/>
          </p:nvGrpSpPr>
          <p:grpSpPr bwMode="gray">
            <a:xfrm>
              <a:off x="3489622" y="4343400"/>
              <a:ext cx="303281" cy="120800"/>
              <a:chOff x="-8266018" y="5025387"/>
              <a:chExt cx="585355" cy="233152"/>
            </a:xfrm>
            <a:noFill/>
          </p:grpSpPr>
          <p:sp>
            <p:nvSpPr>
              <p:cNvPr id="145" name="Snip Same Side Corner Rectangle 180">
                <a:extLst>
                  <a:ext uri="{FF2B5EF4-FFF2-40B4-BE49-F238E27FC236}">
                    <a16:creationId xmlns:a16="http://schemas.microsoft.com/office/drawing/2014/main" id="{4411745B-5E45-453C-A540-E8C149D3E73E}"/>
                  </a:ext>
                </a:extLst>
              </p:cNvPr>
              <p:cNvSpPr/>
              <p:nvPr/>
            </p:nvSpPr>
            <p:spPr bwMode="gray">
              <a:xfrm>
                <a:off x="-7766117" y="5031525"/>
                <a:ext cx="85454" cy="227014"/>
              </a:xfrm>
              <a:custGeom>
                <a:avLst/>
                <a:gdLst/>
                <a:ahLst/>
                <a:cxnLst/>
                <a:rect l="l" t="t" r="r" b="b"/>
                <a:pathLst>
                  <a:path w="85454" h="227014">
                    <a:moveTo>
                      <a:pt x="14243" y="0"/>
                    </a:moveTo>
                    <a:lnTo>
                      <a:pt x="71211" y="0"/>
                    </a:lnTo>
                    <a:lnTo>
                      <a:pt x="85454" y="14243"/>
                    </a:lnTo>
                    <a:lnTo>
                      <a:pt x="85454" y="80751"/>
                    </a:lnTo>
                    <a:lnTo>
                      <a:pt x="85454" y="146263"/>
                    </a:lnTo>
                    <a:lnTo>
                      <a:pt x="85454" y="212771"/>
                    </a:lnTo>
                    <a:lnTo>
                      <a:pt x="71211" y="227014"/>
                    </a:lnTo>
                    <a:lnTo>
                      <a:pt x="14243" y="227014"/>
                    </a:lnTo>
                    <a:lnTo>
                      <a:pt x="0" y="212771"/>
                    </a:lnTo>
                    <a:lnTo>
                      <a:pt x="0" y="146263"/>
                    </a:lnTo>
                    <a:lnTo>
                      <a:pt x="0" y="80751"/>
                    </a:lnTo>
                    <a:lnTo>
                      <a:pt x="0" y="14243"/>
                    </a:ln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146" name="Rounded Rectangle 187">
                <a:extLst>
                  <a:ext uri="{FF2B5EF4-FFF2-40B4-BE49-F238E27FC236}">
                    <a16:creationId xmlns:a16="http://schemas.microsoft.com/office/drawing/2014/main" id="{DEAAD883-C7A0-4F8F-B054-AC4EF0052282}"/>
                  </a:ext>
                </a:extLst>
              </p:cNvPr>
              <p:cNvSpPr/>
              <p:nvPr/>
            </p:nvSpPr>
            <p:spPr bwMode="gray">
              <a:xfrm>
                <a:off x="-8266018" y="5025387"/>
                <a:ext cx="498871" cy="208395"/>
              </a:xfrm>
              <a:custGeom>
                <a:avLst/>
                <a:gdLst/>
                <a:ahLst/>
                <a:cxnLst/>
                <a:rect l="l" t="t" r="r" b="b"/>
                <a:pathLst>
                  <a:path w="800325" h="334322">
                    <a:moveTo>
                      <a:pt x="0" y="268126"/>
                    </a:moveTo>
                    <a:cubicBezTo>
                      <a:pt x="0" y="268126"/>
                      <a:pt x="0" y="268127"/>
                      <a:pt x="0" y="268127"/>
                    </a:cubicBezTo>
                    <a:lnTo>
                      <a:pt x="0" y="268127"/>
                    </a:lnTo>
                    <a:close/>
                    <a:moveTo>
                      <a:pt x="296454" y="0"/>
                    </a:moveTo>
                    <a:lnTo>
                      <a:pt x="599347" y="0"/>
                    </a:lnTo>
                    <a:lnTo>
                      <a:pt x="600712" y="276"/>
                    </a:lnTo>
                    <a:lnTo>
                      <a:pt x="625001" y="0"/>
                    </a:lnTo>
                    <a:lnTo>
                      <a:pt x="800325" y="69525"/>
                    </a:lnTo>
                    <a:lnTo>
                      <a:pt x="800325" y="296238"/>
                    </a:lnTo>
                    <a:lnTo>
                      <a:pt x="555476" y="296238"/>
                    </a:lnTo>
                    <a:lnTo>
                      <a:pt x="334294" y="334321"/>
                    </a:lnTo>
                    <a:lnTo>
                      <a:pt x="126443" y="334320"/>
                    </a:lnTo>
                    <a:cubicBezTo>
                      <a:pt x="126440" y="334322"/>
                      <a:pt x="126437" y="334322"/>
                      <a:pt x="126434" y="334322"/>
                    </a:cubicBezTo>
                    <a:lnTo>
                      <a:pt x="66195" y="334321"/>
                    </a:lnTo>
                    <a:cubicBezTo>
                      <a:pt x="29637" y="334321"/>
                      <a:pt x="0" y="304685"/>
                      <a:pt x="0" y="268127"/>
                    </a:cubicBezTo>
                    <a:cubicBezTo>
                      <a:pt x="0" y="231569"/>
                      <a:pt x="29637" y="201932"/>
                      <a:pt x="66195" y="201932"/>
                    </a:cubicBezTo>
                    <a:lnTo>
                      <a:pt x="126435" y="201932"/>
                    </a:lnTo>
                    <a:lnTo>
                      <a:pt x="126440" y="201933"/>
                    </a:lnTo>
                    <a:lnTo>
                      <a:pt x="322506" y="201933"/>
                    </a:lnTo>
                    <a:lnTo>
                      <a:pt x="398289" y="145096"/>
                    </a:lnTo>
                    <a:lnTo>
                      <a:pt x="510133" y="145096"/>
                    </a:lnTo>
                    <a:lnTo>
                      <a:pt x="510133" y="135258"/>
                    </a:lnTo>
                    <a:lnTo>
                      <a:pt x="296454" y="135257"/>
                    </a:lnTo>
                    <a:cubicBezTo>
                      <a:pt x="259104" y="135257"/>
                      <a:pt x="228826" y="104979"/>
                      <a:pt x="228825" y="67629"/>
                    </a:cubicBezTo>
                    <a:cubicBezTo>
                      <a:pt x="228826" y="30279"/>
                      <a:pt x="259104" y="0"/>
                      <a:pt x="296454" y="0"/>
                    </a:cubicBez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grpSp>
        <p:sp>
          <p:nvSpPr>
            <p:cNvPr id="144" name="Freeform: Shape 143">
              <a:extLst>
                <a:ext uri="{FF2B5EF4-FFF2-40B4-BE49-F238E27FC236}">
                  <a16:creationId xmlns:a16="http://schemas.microsoft.com/office/drawing/2014/main" id="{2B9961CC-4DD5-43FD-B948-F235B6212415}"/>
                </a:ext>
              </a:extLst>
            </p:cNvPr>
            <p:cNvSpPr/>
            <p:nvPr/>
          </p:nvSpPr>
          <p:spPr bwMode="gray">
            <a:xfrm rot="21367046">
              <a:off x="3427334" y="4059097"/>
              <a:ext cx="132171" cy="242717"/>
            </a:xfrm>
            <a:custGeom>
              <a:avLst/>
              <a:gdLst>
                <a:gd name="connsiteX0" fmla="*/ 177809 w 290212"/>
                <a:gd name="connsiteY0" fmla="*/ 215268 h 539353"/>
                <a:gd name="connsiteX1" fmla="*/ 229031 w 290212"/>
                <a:gd name="connsiteY1" fmla="*/ 256720 h 539353"/>
                <a:gd name="connsiteX2" fmla="*/ 167733 w 290212"/>
                <a:gd name="connsiteY2" fmla="*/ 323083 h 539353"/>
                <a:gd name="connsiteX3" fmla="*/ 58051 w 290212"/>
                <a:gd name="connsiteY3" fmla="*/ 279590 h 539353"/>
                <a:gd name="connsiteX4" fmla="*/ 133422 w 290212"/>
                <a:gd name="connsiteY4" fmla="*/ 215116 h 539353"/>
                <a:gd name="connsiteX5" fmla="*/ 177809 w 290212"/>
                <a:gd name="connsiteY5" fmla="*/ 215268 h 539353"/>
                <a:gd name="connsiteX6" fmla="*/ 190043 w 290212"/>
                <a:gd name="connsiteY6" fmla="*/ 5405 h 539353"/>
                <a:gd name="connsiteX7" fmla="*/ 127994 w 290212"/>
                <a:gd name="connsiteY7" fmla="*/ 1263 h 539353"/>
                <a:gd name="connsiteX8" fmla="*/ 35436 w 290212"/>
                <a:gd name="connsiteY8" fmla="*/ 29733 h 539353"/>
                <a:gd name="connsiteX9" fmla="*/ 56451 w 290212"/>
                <a:gd name="connsiteY9" fmla="*/ 85827 h 539353"/>
                <a:gd name="connsiteX10" fmla="*/ 146418 w 290212"/>
                <a:gd name="connsiteY10" fmla="*/ 58181 h 539353"/>
                <a:gd name="connsiteX11" fmla="*/ 214621 w 290212"/>
                <a:gd name="connsiteY11" fmla="*/ 126970 h 539353"/>
                <a:gd name="connsiteX12" fmla="*/ 167231 w 290212"/>
                <a:gd name="connsiteY12" fmla="*/ 153161 h 539353"/>
                <a:gd name="connsiteX13" fmla="*/ 166473 w 290212"/>
                <a:gd name="connsiteY13" fmla="*/ 153337 h 539353"/>
                <a:gd name="connsiteX14" fmla="*/ 165216 w 290212"/>
                <a:gd name="connsiteY14" fmla="*/ 152470 h 539353"/>
                <a:gd name="connsiteX15" fmla="*/ 87058 w 290212"/>
                <a:gd name="connsiteY15" fmla="*/ 164425 h 539353"/>
                <a:gd name="connsiteX16" fmla="*/ 1155 w 290212"/>
                <a:gd name="connsiteY16" fmla="*/ 269408 h 539353"/>
                <a:gd name="connsiteX17" fmla="*/ 33039 w 290212"/>
                <a:gd name="connsiteY17" fmla="*/ 323765 h 539353"/>
                <a:gd name="connsiteX18" fmla="*/ 60557 w 290212"/>
                <a:gd name="connsiteY18" fmla="*/ 338167 h 539353"/>
                <a:gd name="connsiteX19" fmla="*/ 31878 w 290212"/>
                <a:gd name="connsiteY19" fmla="*/ 358634 h 539353"/>
                <a:gd name="connsiteX20" fmla="*/ 4066 w 290212"/>
                <a:gd name="connsiteY20" fmla="*/ 423098 h 539353"/>
                <a:gd name="connsiteX21" fmla="*/ 103383 w 290212"/>
                <a:gd name="connsiteY21" fmla="*/ 533692 h 539353"/>
                <a:gd name="connsiteX22" fmla="*/ 168263 w 290212"/>
                <a:gd name="connsiteY22" fmla="*/ 538031 h 539353"/>
                <a:gd name="connsiteX23" fmla="*/ 265043 w 290212"/>
                <a:gd name="connsiteY23" fmla="*/ 508211 h 539353"/>
                <a:gd name="connsiteX24" fmla="*/ 243069 w 290212"/>
                <a:gd name="connsiteY24" fmla="*/ 449458 h 539353"/>
                <a:gd name="connsiteX25" fmla="*/ 148998 w 290212"/>
                <a:gd name="connsiteY25" fmla="*/ 478414 h 539353"/>
                <a:gd name="connsiteX26" fmla="*/ 77684 w 290212"/>
                <a:gd name="connsiteY26" fmla="*/ 406364 h 539353"/>
                <a:gd name="connsiteX27" fmla="*/ 127236 w 290212"/>
                <a:gd name="connsiteY27" fmla="*/ 378931 h 539353"/>
                <a:gd name="connsiteX28" fmla="*/ 128028 w 290212"/>
                <a:gd name="connsiteY28" fmla="*/ 378746 h 539353"/>
                <a:gd name="connsiteX29" fmla="*/ 129343 w 290212"/>
                <a:gd name="connsiteY29" fmla="*/ 379655 h 539353"/>
                <a:gd name="connsiteX30" fmla="*/ 140601 w 290212"/>
                <a:gd name="connsiteY30" fmla="*/ 377929 h 539353"/>
                <a:gd name="connsiteX31" fmla="*/ 140897 w 290212"/>
                <a:gd name="connsiteY31" fmla="*/ 373368 h 539353"/>
                <a:gd name="connsiteX32" fmla="*/ 155650 w 290212"/>
                <a:gd name="connsiteY32" fmla="*/ 376404 h 539353"/>
                <a:gd name="connsiteX33" fmla="*/ 289517 w 290212"/>
                <a:gd name="connsiteY33" fmla="*/ 302279 h 539353"/>
                <a:gd name="connsiteX34" fmla="*/ 244067 w 290212"/>
                <a:gd name="connsiteY34" fmla="*/ 203129 h 539353"/>
                <a:gd name="connsiteX35" fmla="*/ 228089 w 290212"/>
                <a:gd name="connsiteY35" fmla="*/ 194154 h 539353"/>
                <a:gd name="connsiteX36" fmla="*/ 258429 w 290212"/>
                <a:gd name="connsiteY36" fmla="*/ 172539 h 539353"/>
                <a:gd name="connsiteX37" fmla="*/ 285027 w 290212"/>
                <a:gd name="connsiteY37" fmla="*/ 110993 h 539353"/>
                <a:gd name="connsiteX38" fmla="*/ 190043 w 290212"/>
                <a:gd name="connsiteY38" fmla="*/ 5405 h 539353"/>
                <a:gd name="connsiteX0" fmla="*/ 177809 w 290212"/>
                <a:gd name="connsiteY0" fmla="*/ 215268 h 539353"/>
                <a:gd name="connsiteX1" fmla="*/ 229031 w 290212"/>
                <a:gd name="connsiteY1" fmla="*/ 256720 h 539353"/>
                <a:gd name="connsiteX2" fmla="*/ 167733 w 290212"/>
                <a:gd name="connsiteY2" fmla="*/ 323083 h 539353"/>
                <a:gd name="connsiteX3" fmla="*/ 58051 w 290212"/>
                <a:gd name="connsiteY3" fmla="*/ 279590 h 539353"/>
                <a:gd name="connsiteX4" fmla="*/ 133422 w 290212"/>
                <a:gd name="connsiteY4" fmla="*/ 215116 h 539353"/>
                <a:gd name="connsiteX5" fmla="*/ 177809 w 290212"/>
                <a:gd name="connsiteY5" fmla="*/ 215268 h 539353"/>
                <a:gd name="connsiteX6" fmla="*/ 190043 w 290212"/>
                <a:gd name="connsiteY6" fmla="*/ 5405 h 539353"/>
                <a:gd name="connsiteX7" fmla="*/ 127994 w 290212"/>
                <a:gd name="connsiteY7" fmla="*/ 1263 h 539353"/>
                <a:gd name="connsiteX8" fmla="*/ 35436 w 290212"/>
                <a:gd name="connsiteY8" fmla="*/ 29733 h 539353"/>
                <a:gd name="connsiteX9" fmla="*/ 56451 w 290212"/>
                <a:gd name="connsiteY9" fmla="*/ 85827 h 539353"/>
                <a:gd name="connsiteX10" fmla="*/ 146418 w 290212"/>
                <a:gd name="connsiteY10" fmla="*/ 58181 h 539353"/>
                <a:gd name="connsiteX11" fmla="*/ 214621 w 290212"/>
                <a:gd name="connsiteY11" fmla="*/ 126970 h 539353"/>
                <a:gd name="connsiteX12" fmla="*/ 167231 w 290212"/>
                <a:gd name="connsiteY12" fmla="*/ 153161 h 539353"/>
                <a:gd name="connsiteX13" fmla="*/ 166473 w 290212"/>
                <a:gd name="connsiteY13" fmla="*/ 153337 h 539353"/>
                <a:gd name="connsiteX14" fmla="*/ 165216 w 290212"/>
                <a:gd name="connsiteY14" fmla="*/ 152470 h 539353"/>
                <a:gd name="connsiteX15" fmla="*/ 87058 w 290212"/>
                <a:gd name="connsiteY15" fmla="*/ 164425 h 539353"/>
                <a:gd name="connsiteX16" fmla="*/ 1155 w 290212"/>
                <a:gd name="connsiteY16" fmla="*/ 269408 h 539353"/>
                <a:gd name="connsiteX17" fmla="*/ 33039 w 290212"/>
                <a:gd name="connsiteY17" fmla="*/ 323765 h 539353"/>
                <a:gd name="connsiteX18" fmla="*/ 60557 w 290212"/>
                <a:gd name="connsiteY18" fmla="*/ 338167 h 539353"/>
                <a:gd name="connsiteX19" fmla="*/ 31878 w 290212"/>
                <a:gd name="connsiteY19" fmla="*/ 358634 h 539353"/>
                <a:gd name="connsiteX20" fmla="*/ 4066 w 290212"/>
                <a:gd name="connsiteY20" fmla="*/ 423098 h 539353"/>
                <a:gd name="connsiteX21" fmla="*/ 103383 w 290212"/>
                <a:gd name="connsiteY21" fmla="*/ 533692 h 539353"/>
                <a:gd name="connsiteX22" fmla="*/ 168263 w 290212"/>
                <a:gd name="connsiteY22" fmla="*/ 538031 h 539353"/>
                <a:gd name="connsiteX23" fmla="*/ 265043 w 290212"/>
                <a:gd name="connsiteY23" fmla="*/ 508211 h 539353"/>
                <a:gd name="connsiteX24" fmla="*/ 243069 w 290212"/>
                <a:gd name="connsiteY24" fmla="*/ 449458 h 539353"/>
                <a:gd name="connsiteX25" fmla="*/ 148998 w 290212"/>
                <a:gd name="connsiteY25" fmla="*/ 478414 h 539353"/>
                <a:gd name="connsiteX26" fmla="*/ 77684 w 290212"/>
                <a:gd name="connsiteY26" fmla="*/ 406364 h 539353"/>
                <a:gd name="connsiteX27" fmla="*/ 127236 w 290212"/>
                <a:gd name="connsiteY27" fmla="*/ 378931 h 539353"/>
                <a:gd name="connsiteX28" fmla="*/ 128028 w 290212"/>
                <a:gd name="connsiteY28" fmla="*/ 378746 h 539353"/>
                <a:gd name="connsiteX29" fmla="*/ 129343 w 290212"/>
                <a:gd name="connsiteY29" fmla="*/ 379655 h 539353"/>
                <a:gd name="connsiteX30" fmla="*/ 140601 w 290212"/>
                <a:gd name="connsiteY30" fmla="*/ 377929 h 539353"/>
                <a:gd name="connsiteX31" fmla="*/ 155650 w 290212"/>
                <a:gd name="connsiteY31" fmla="*/ 376404 h 539353"/>
                <a:gd name="connsiteX32" fmla="*/ 289517 w 290212"/>
                <a:gd name="connsiteY32" fmla="*/ 302279 h 539353"/>
                <a:gd name="connsiteX33" fmla="*/ 244067 w 290212"/>
                <a:gd name="connsiteY33" fmla="*/ 203129 h 539353"/>
                <a:gd name="connsiteX34" fmla="*/ 228089 w 290212"/>
                <a:gd name="connsiteY34" fmla="*/ 194154 h 539353"/>
                <a:gd name="connsiteX35" fmla="*/ 258429 w 290212"/>
                <a:gd name="connsiteY35" fmla="*/ 172539 h 539353"/>
                <a:gd name="connsiteX36" fmla="*/ 285027 w 290212"/>
                <a:gd name="connsiteY36" fmla="*/ 110993 h 539353"/>
                <a:gd name="connsiteX37" fmla="*/ 190043 w 290212"/>
                <a:gd name="connsiteY37" fmla="*/ 5405 h 539353"/>
                <a:gd name="connsiteX0" fmla="*/ 177809 w 290212"/>
                <a:gd name="connsiteY0" fmla="*/ 215268 h 539353"/>
                <a:gd name="connsiteX1" fmla="*/ 229031 w 290212"/>
                <a:gd name="connsiteY1" fmla="*/ 256720 h 539353"/>
                <a:gd name="connsiteX2" fmla="*/ 167733 w 290212"/>
                <a:gd name="connsiteY2" fmla="*/ 323083 h 539353"/>
                <a:gd name="connsiteX3" fmla="*/ 58051 w 290212"/>
                <a:gd name="connsiteY3" fmla="*/ 279590 h 539353"/>
                <a:gd name="connsiteX4" fmla="*/ 133422 w 290212"/>
                <a:gd name="connsiteY4" fmla="*/ 215116 h 539353"/>
                <a:gd name="connsiteX5" fmla="*/ 177809 w 290212"/>
                <a:gd name="connsiteY5" fmla="*/ 215268 h 539353"/>
                <a:gd name="connsiteX6" fmla="*/ 190043 w 290212"/>
                <a:gd name="connsiteY6" fmla="*/ 5405 h 539353"/>
                <a:gd name="connsiteX7" fmla="*/ 127994 w 290212"/>
                <a:gd name="connsiteY7" fmla="*/ 1263 h 539353"/>
                <a:gd name="connsiteX8" fmla="*/ 35436 w 290212"/>
                <a:gd name="connsiteY8" fmla="*/ 29733 h 539353"/>
                <a:gd name="connsiteX9" fmla="*/ 56451 w 290212"/>
                <a:gd name="connsiteY9" fmla="*/ 85827 h 539353"/>
                <a:gd name="connsiteX10" fmla="*/ 146418 w 290212"/>
                <a:gd name="connsiteY10" fmla="*/ 58181 h 539353"/>
                <a:gd name="connsiteX11" fmla="*/ 214621 w 290212"/>
                <a:gd name="connsiteY11" fmla="*/ 126970 h 539353"/>
                <a:gd name="connsiteX12" fmla="*/ 167231 w 290212"/>
                <a:gd name="connsiteY12" fmla="*/ 153161 h 539353"/>
                <a:gd name="connsiteX13" fmla="*/ 166473 w 290212"/>
                <a:gd name="connsiteY13" fmla="*/ 153337 h 539353"/>
                <a:gd name="connsiteX14" fmla="*/ 165216 w 290212"/>
                <a:gd name="connsiteY14" fmla="*/ 152470 h 539353"/>
                <a:gd name="connsiteX15" fmla="*/ 87058 w 290212"/>
                <a:gd name="connsiteY15" fmla="*/ 164425 h 539353"/>
                <a:gd name="connsiteX16" fmla="*/ 1155 w 290212"/>
                <a:gd name="connsiteY16" fmla="*/ 269408 h 539353"/>
                <a:gd name="connsiteX17" fmla="*/ 33039 w 290212"/>
                <a:gd name="connsiteY17" fmla="*/ 323765 h 539353"/>
                <a:gd name="connsiteX18" fmla="*/ 60557 w 290212"/>
                <a:gd name="connsiteY18" fmla="*/ 338167 h 539353"/>
                <a:gd name="connsiteX19" fmla="*/ 31878 w 290212"/>
                <a:gd name="connsiteY19" fmla="*/ 358634 h 539353"/>
                <a:gd name="connsiteX20" fmla="*/ 4066 w 290212"/>
                <a:gd name="connsiteY20" fmla="*/ 423098 h 539353"/>
                <a:gd name="connsiteX21" fmla="*/ 103383 w 290212"/>
                <a:gd name="connsiteY21" fmla="*/ 533692 h 539353"/>
                <a:gd name="connsiteX22" fmla="*/ 168263 w 290212"/>
                <a:gd name="connsiteY22" fmla="*/ 538031 h 539353"/>
                <a:gd name="connsiteX23" fmla="*/ 265043 w 290212"/>
                <a:gd name="connsiteY23" fmla="*/ 508211 h 539353"/>
                <a:gd name="connsiteX24" fmla="*/ 243069 w 290212"/>
                <a:gd name="connsiteY24" fmla="*/ 449458 h 539353"/>
                <a:gd name="connsiteX25" fmla="*/ 148998 w 290212"/>
                <a:gd name="connsiteY25" fmla="*/ 478414 h 539353"/>
                <a:gd name="connsiteX26" fmla="*/ 77684 w 290212"/>
                <a:gd name="connsiteY26" fmla="*/ 406364 h 539353"/>
                <a:gd name="connsiteX27" fmla="*/ 127236 w 290212"/>
                <a:gd name="connsiteY27" fmla="*/ 378931 h 539353"/>
                <a:gd name="connsiteX28" fmla="*/ 128028 w 290212"/>
                <a:gd name="connsiteY28" fmla="*/ 378746 h 539353"/>
                <a:gd name="connsiteX29" fmla="*/ 129343 w 290212"/>
                <a:gd name="connsiteY29" fmla="*/ 379655 h 539353"/>
                <a:gd name="connsiteX30" fmla="*/ 142949 w 290212"/>
                <a:gd name="connsiteY30" fmla="*/ 427733 h 539353"/>
                <a:gd name="connsiteX31" fmla="*/ 155650 w 290212"/>
                <a:gd name="connsiteY31" fmla="*/ 376404 h 539353"/>
                <a:gd name="connsiteX32" fmla="*/ 289517 w 290212"/>
                <a:gd name="connsiteY32" fmla="*/ 302279 h 539353"/>
                <a:gd name="connsiteX33" fmla="*/ 244067 w 290212"/>
                <a:gd name="connsiteY33" fmla="*/ 203129 h 539353"/>
                <a:gd name="connsiteX34" fmla="*/ 228089 w 290212"/>
                <a:gd name="connsiteY34" fmla="*/ 194154 h 539353"/>
                <a:gd name="connsiteX35" fmla="*/ 258429 w 290212"/>
                <a:gd name="connsiteY35" fmla="*/ 172539 h 539353"/>
                <a:gd name="connsiteX36" fmla="*/ 285027 w 290212"/>
                <a:gd name="connsiteY36" fmla="*/ 110993 h 539353"/>
                <a:gd name="connsiteX37" fmla="*/ 190043 w 290212"/>
                <a:gd name="connsiteY37" fmla="*/ 5405 h 539353"/>
                <a:gd name="connsiteX0" fmla="*/ 177809 w 290212"/>
                <a:gd name="connsiteY0" fmla="*/ 215268 h 539353"/>
                <a:gd name="connsiteX1" fmla="*/ 229031 w 290212"/>
                <a:gd name="connsiteY1" fmla="*/ 256720 h 539353"/>
                <a:gd name="connsiteX2" fmla="*/ 167733 w 290212"/>
                <a:gd name="connsiteY2" fmla="*/ 323083 h 539353"/>
                <a:gd name="connsiteX3" fmla="*/ 58051 w 290212"/>
                <a:gd name="connsiteY3" fmla="*/ 279590 h 539353"/>
                <a:gd name="connsiteX4" fmla="*/ 133422 w 290212"/>
                <a:gd name="connsiteY4" fmla="*/ 215116 h 539353"/>
                <a:gd name="connsiteX5" fmla="*/ 177809 w 290212"/>
                <a:gd name="connsiteY5" fmla="*/ 215268 h 539353"/>
                <a:gd name="connsiteX6" fmla="*/ 190043 w 290212"/>
                <a:gd name="connsiteY6" fmla="*/ 5405 h 539353"/>
                <a:gd name="connsiteX7" fmla="*/ 127994 w 290212"/>
                <a:gd name="connsiteY7" fmla="*/ 1263 h 539353"/>
                <a:gd name="connsiteX8" fmla="*/ 35436 w 290212"/>
                <a:gd name="connsiteY8" fmla="*/ 29733 h 539353"/>
                <a:gd name="connsiteX9" fmla="*/ 56451 w 290212"/>
                <a:gd name="connsiteY9" fmla="*/ 85827 h 539353"/>
                <a:gd name="connsiteX10" fmla="*/ 146418 w 290212"/>
                <a:gd name="connsiteY10" fmla="*/ 58181 h 539353"/>
                <a:gd name="connsiteX11" fmla="*/ 214621 w 290212"/>
                <a:gd name="connsiteY11" fmla="*/ 126970 h 539353"/>
                <a:gd name="connsiteX12" fmla="*/ 167231 w 290212"/>
                <a:gd name="connsiteY12" fmla="*/ 153161 h 539353"/>
                <a:gd name="connsiteX13" fmla="*/ 166473 w 290212"/>
                <a:gd name="connsiteY13" fmla="*/ 153337 h 539353"/>
                <a:gd name="connsiteX14" fmla="*/ 165216 w 290212"/>
                <a:gd name="connsiteY14" fmla="*/ 152470 h 539353"/>
                <a:gd name="connsiteX15" fmla="*/ 87058 w 290212"/>
                <a:gd name="connsiteY15" fmla="*/ 164425 h 539353"/>
                <a:gd name="connsiteX16" fmla="*/ 1155 w 290212"/>
                <a:gd name="connsiteY16" fmla="*/ 269408 h 539353"/>
                <a:gd name="connsiteX17" fmla="*/ 33039 w 290212"/>
                <a:gd name="connsiteY17" fmla="*/ 323765 h 539353"/>
                <a:gd name="connsiteX18" fmla="*/ 60557 w 290212"/>
                <a:gd name="connsiteY18" fmla="*/ 338167 h 539353"/>
                <a:gd name="connsiteX19" fmla="*/ 31878 w 290212"/>
                <a:gd name="connsiteY19" fmla="*/ 358634 h 539353"/>
                <a:gd name="connsiteX20" fmla="*/ 4066 w 290212"/>
                <a:gd name="connsiteY20" fmla="*/ 423098 h 539353"/>
                <a:gd name="connsiteX21" fmla="*/ 103383 w 290212"/>
                <a:gd name="connsiteY21" fmla="*/ 533692 h 539353"/>
                <a:gd name="connsiteX22" fmla="*/ 168263 w 290212"/>
                <a:gd name="connsiteY22" fmla="*/ 538031 h 539353"/>
                <a:gd name="connsiteX23" fmla="*/ 265043 w 290212"/>
                <a:gd name="connsiteY23" fmla="*/ 508211 h 539353"/>
                <a:gd name="connsiteX24" fmla="*/ 243069 w 290212"/>
                <a:gd name="connsiteY24" fmla="*/ 449458 h 539353"/>
                <a:gd name="connsiteX25" fmla="*/ 148998 w 290212"/>
                <a:gd name="connsiteY25" fmla="*/ 478414 h 539353"/>
                <a:gd name="connsiteX26" fmla="*/ 77684 w 290212"/>
                <a:gd name="connsiteY26" fmla="*/ 406364 h 539353"/>
                <a:gd name="connsiteX27" fmla="*/ 127236 w 290212"/>
                <a:gd name="connsiteY27" fmla="*/ 378931 h 539353"/>
                <a:gd name="connsiteX28" fmla="*/ 128028 w 290212"/>
                <a:gd name="connsiteY28" fmla="*/ 378746 h 539353"/>
                <a:gd name="connsiteX29" fmla="*/ 129343 w 290212"/>
                <a:gd name="connsiteY29" fmla="*/ 379655 h 539353"/>
                <a:gd name="connsiteX30" fmla="*/ 155650 w 290212"/>
                <a:gd name="connsiteY30" fmla="*/ 376404 h 539353"/>
                <a:gd name="connsiteX31" fmla="*/ 289517 w 290212"/>
                <a:gd name="connsiteY31" fmla="*/ 302279 h 539353"/>
                <a:gd name="connsiteX32" fmla="*/ 244067 w 290212"/>
                <a:gd name="connsiteY32" fmla="*/ 203129 h 539353"/>
                <a:gd name="connsiteX33" fmla="*/ 228089 w 290212"/>
                <a:gd name="connsiteY33" fmla="*/ 194154 h 539353"/>
                <a:gd name="connsiteX34" fmla="*/ 258429 w 290212"/>
                <a:gd name="connsiteY34" fmla="*/ 172539 h 539353"/>
                <a:gd name="connsiteX35" fmla="*/ 285027 w 290212"/>
                <a:gd name="connsiteY35" fmla="*/ 110993 h 539353"/>
                <a:gd name="connsiteX36" fmla="*/ 190043 w 290212"/>
                <a:gd name="connsiteY36" fmla="*/ 5405 h 539353"/>
                <a:gd name="connsiteX0" fmla="*/ 177809 w 290212"/>
                <a:gd name="connsiteY0" fmla="*/ 215268 h 539353"/>
                <a:gd name="connsiteX1" fmla="*/ 229031 w 290212"/>
                <a:gd name="connsiteY1" fmla="*/ 256720 h 539353"/>
                <a:gd name="connsiteX2" fmla="*/ 167733 w 290212"/>
                <a:gd name="connsiteY2" fmla="*/ 323083 h 539353"/>
                <a:gd name="connsiteX3" fmla="*/ 58051 w 290212"/>
                <a:gd name="connsiteY3" fmla="*/ 279590 h 539353"/>
                <a:gd name="connsiteX4" fmla="*/ 133422 w 290212"/>
                <a:gd name="connsiteY4" fmla="*/ 215116 h 539353"/>
                <a:gd name="connsiteX5" fmla="*/ 177809 w 290212"/>
                <a:gd name="connsiteY5" fmla="*/ 215268 h 539353"/>
                <a:gd name="connsiteX6" fmla="*/ 190043 w 290212"/>
                <a:gd name="connsiteY6" fmla="*/ 5405 h 539353"/>
                <a:gd name="connsiteX7" fmla="*/ 127994 w 290212"/>
                <a:gd name="connsiteY7" fmla="*/ 1263 h 539353"/>
                <a:gd name="connsiteX8" fmla="*/ 35436 w 290212"/>
                <a:gd name="connsiteY8" fmla="*/ 29733 h 539353"/>
                <a:gd name="connsiteX9" fmla="*/ 56451 w 290212"/>
                <a:gd name="connsiteY9" fmla="*/ 85827 h 539353"/>
                <a:gd name="connsiteX10" fmla="*/ 146418 w 290212"/>
                <a:gd name="connsiteY10" fmla="*/ 58181 h 539353"/>
                <a:gd name="connsiteX11" fmla="*/ 214621 w 290212"/>
                <a:gd name="connsiteY11" fmla="*/ 126970 h 539353"/>
                <a:gd name="connsiteX12" fmla="*/ 167231 w 290212"/>
                <a:gd name="connsiteY12" fmla="*/ 153161 h 539353"/>
                <a:gd name="connsiteX13" fmla="*/ 166473 w 290212"/>
                <a:gd name="connsiteY13" fmla="*/ 153337 h 539353"/>
                <a:gd name="connsiteX14" fmla="*/ 165216 w 290212"/>
                <a:gd name="connsiteY14" fmla="*/ 152470 h 539353"/>
                <a:gd name="connsiteX15" fmla="*/ 87058 w 290212"/>
                <a:gd name="connsiteY15" fmla="*/ 164425 h 539353"/>
                <a:gd name="connsiteX16" fmla="*/ 1155 w 290212"/>
                <a:gd name="connsiteY16" fmla="*/ 269408 h 539353"/>
                <a:gd name="connsiteX17" fmla="*/ 33039 w 290212"/>
                <a:gd name="connsiteY17" fmla="*/ 323765 h 539353"/>
                <a:gd name="connsiteX18" fmla="*/ 60557 w 290212"/>
                <a:gd name="connsiteY18" fmla="*/ 338167 h 539353"/>
                <a:gd name="connsiteX19" fmla="*/ 31878 w 290212"/>
                <a:gd name="connsiteY19" fmla="*/ 358634 h 539353"/>
                <a:gd name="connsiteX20" fmla="*/ 4066 w 290212"/>
                <a:gd name="connsiteY20" fmla="*/ 423098 h 539353"/>
                <a:gd name="connsiteX21" fmla="*/ 103383 w 290212"/>
                <a:gd name="connsiteY21" fmla="*/ 533692 h 539353"/>
                <a:gd name="connsiteX22" fmla="*/ 168263 w 290212"/>
                <a:gd name="connsiteY22" fmla="*/ 538031 h 539353"/>
                <a:gd name="connsiteX23" fmla="*/ 265043 w 290212"/>
                <a:gd name="connsiteY23" fmla="*/ 508211 h 539353"/>
                <a:gd name="connsiteX24" fmla="*/ 243069 w 290212"/>
                <a:gd name="connsiteY24" fmla="*/ 449458 h 539353"/>
                <a:gd name="connsiteX25" fmla="*/ 148998 w 290212"/>
                <a:gd name="connsiteY25" fmla="*/ 478414 h 539353"/>
                <a:gd name="connsiteX26" fmla="*/ 77684 w 290212"/>
                <a:gd name="connsiteY26" fmla="*/ 406364 h 539353"/>
                <a:gd name="connsiteX27" fmla="*/ 127236 w 290212"/>
                <a:gd name="connsiteY27" fmla="*/ 378931 h 539353"/>
                <a:gd name="connsiteX28" fmla="*/ 128028 w 290212"/>
                <a:gd name="connsiteY28" fmla="*/ 378746 h 539353"/>
                <a:gd name="connsiteX29" fmla="*/ 138296 w 290212"/>
                <a:gd name="connsiteY29" fmla="*/ 416541 h 539353"/>
                <a:gd name="connsiteX30" fmla="*/ 155650 w 290212"/>
                <a:gd name="connsiteY30" fmla="*/ 376404 h 539353"/>
                <a:gd name="connsiteX31" fmla="*/ 289517 w 290212"/>
                <a:gd name="connsiteY31" fmla="*/ 302279 h 539353"/>
                <a:gd name="connsiteX32" fmla="*/ 244067 w 290212"/>
                <a:gd name="connsiteY32" fmla="*/ 203129 h 539353"/>
                <a:gd name="connsiteX33" fmla="*/ 228089 w 290212"/>
                <a:gd name="connsiteY33" fmla="*/ 194154 h 539353"/>
                <a:gd name="connsiteX34" fmla="*/ 258429 w 290212"/>
                <a:gd name="connsiteY34" fmla="*/ 172539 h 539353"/>
                <a:gd name="connsiteX35" fmla="*/ 285027 w 290212"/>
                <a:gd name="connsiteY35" fmla="*/ 110993 h 539353"/>
                <a:gd name="connsiteX36" fmla="*/ 190043 w 290212"/>
                <a:gd name="connsiteY36" fmla="*/ 5405 h 539353"/>
                <a:gd name="connsiteX0" fmla="*/ 177809 w 290212"/>
                <a:gd name="connsiteY0" fmla="*/ 215268 h 539353"/>
                <a:gd name="connsiteX1" fmla="*/ 229031 w 290212"/>
                <a:gd name="connsiteY1" fmla="*/ 256720 h 539353"/>
                <a:gd name="connsiteX2" fmla="*/ 167733 w 290212"/>
                <a:gd name="connsiteY2" fmla="*/ 323083 h 539353"/>
                <a:gd name="connsiteX3" fmla="*/ 58051 w 290212"/>
                <a:gd name="connsiteY3" fmla="*/ 279590 h 539353"/>
                <a:gd name="connsiteX4" fmla="*/ 133422 w 290212"/>
                <a:gd name="connsiteY4" fmla="*/ 215116 h 539353"/>
                <a:gd name="connsiteX5" fmla="*/ 177809 w 290212"/>
                <a:gd name="connsiteY5" fmla="*/ 215268 h 539353"/>
                <a:gd name="connsiteX6" fmla="*/ 190043 w 290212"/>
                <a:gd name="connsiteY6" fmla="*/ 5405 h 539353"/>
                <a:gd name="connsiteX7" fmla="*/ 127994 w 290212"/>
                <a:gd name="connsiteY7" fmla="*/ 1263 h 539353"/>
                <a:gd name="connsiteX8" fmla="*/ 35436 w 290212"/>
                <a:gd name="connsiteY8" fmla="*/ 29733 h 539353"/>
                <a:gd name="connsiteX9" fmla="*/ 56451 w 290212"/>
                <a:gd name="connsiteY9" fmla="*/ 85827 h 539353"/>
                <a:gd name="connsiteX10" fmla="*/ 146418 w 290212"/>
                <a:gd name="connsiteY10" fmla="*/ 58181 h 539353"/>
                <a:gd name="connsiteX11" fmla="*/ 214621 w 290212"/>
                <a:gd name="connsiteY11" fmla="*/ 126970 h 539353"/>
                <a:gd name="connsiteX12" fmla="*/ 167231 w 290212"/>
                <a:gd name="connsiteY12" fmla="*/ 153161 h 539353"/>
                <a:gd name="connsiteX13" fmla="*/ 166473 w 290212"/>
                <a:gd name="connsiteY13" fmla="*/ 153337 h 539353"/>
                <a:gd name="connsiteX14" fmla="*/ 165216 w 290212"/>
                <a:gd name="connsiteY14" fmla="*/ 152470 h 539353"/>
                <a:gd name="connsiteX15" fmla="*/ 87058 w 290212"/>
                <a:gd name="connsiteY15" fmla="*/ 164425 h 539353"/>
                <a:gd name="connsiteX16" fmla="*/ 1155 w 290212"/>
                <a:gd name="connsiteY16" fmla="*/ 269408 h 539353"/>
                <a:gd name="connsiteX17" fmla="*/ 33039 w 290212"/>
                <a:gd name="connsiteY17" fmla="*/ 323765 h 539353"/>
                <a:gd name="connsiteX18" fmla="*/ 60557 w 290212"/>
                <a:gd name="connsiteY18" fmla="*/ 338167 h 539353"/>
                <a:gd name="connsiteX19" fmla="*/ 31878 w 290212"/>
                <a:gd name="connsiteY19" fmla="*/ 358634 h 539353"/>
                <a:gd name="connsiteX20" fmla="*/ 4066 w 290212"/>
                <a:gd name="connsiteY20" fmla="*/ 423098 h 539353"/>
                <a:gd name="connsiteX21" fmla="*/ 103383 w 290212"/>
                <a:gd name="connsiteY21" fmla="*/ 533692 h 539353"/>
                <a:gd name="connsiteX22" fmla="*/ 168263 w 290212"/>
                <a:gd name="connsiteY22" fmla="*/ 538031 h 539353"/>
                <a:gd name="connsiteX23" fmla="*/ 265043 w 290212"/>
                <a:gd name="connsiteY23" fmla="*/ 508211 h 539353"/>
                <a:gd name="connsiteX24" fmla="*/ 243069 w 290212"/>
                <a:gd name="connsiteY24" fmla="*/ 449458 h 539353"/>
                <a:gd name="connsiteX25" fmla="*/ 148998 w 290212"/>
                <a:gd name="connsiteY25" fmla="*/ 478414 h 539353"/>
                <a:gd name="connsiteX26" fmla="*/ 77684 w 290212"/>
                <a:gd name="connsiteY26" fmla="*/ 406364 h 539353"/>
                <a:gd name="connsiteX27" fmla="*/ 127236 w 290212"/>
                <a:gd name="connsiteY27" fmla="*/ 378931 h 539353"/>
                <a:gd name="connsiteX28" fmla="*/ 128028 w 290212"/>
                <a:gd name="connsiteY28" fmla="*/ 378746 h 539353"/>
                <a:gd name="connsiteX29" fmla="*/ 155650 w 290212"/>
                <a:gd name="connsiteY29" fmla="*/ 376404 h 539353"/>
                <a:gd name="connsiteX30" fmla="*/ 289517 w 290212"/>
                <a:gd name="connsiteY30" fmla="*/ 302279 h 539353"/>
                <a:gd name="connsiteX31" fmla="*/ 244067 w 290212"/>
                <a:gd name="connsiteY31" fmla="*/ 203129 h 539353"/>
                <a:gd name="connsiteX32" fmla="*/ 228089 w 290212"/>
                <a:gd name="connsiteY32" fmla="*/ 194154 h 539353"/>
                <a:gd name="connsiteX33" fmla="*/ 258429 w 290212"/>
                <a:gd name="connsiteY33" fmla="*/ 172539 h 539353"/>
                <a:gd name="connsiteX34" fmla="*/ 285027 w 290212"/>
                <a:gd name="connsiteY34" fmla="*/ 110993 h 539353"/>
                <a:gd name="connsiteX35" fmla="*/ 190043 w 290212"/>
                <a:gd name="connsiteY35" fmla="*/ 5405 h 539353"/>
                <a:gd name="connsiteX0" fmla="*/ 177809 w 290212"/>
                <a:gd name="connsiteY0" fmla="*/ 215268 h 539353"/>
                <a:gd name="connsiteX1" fmla="*/ 229031 w 290212"/>
                <a:gd name="connsiteY1" fmla="*/ 256720 h 539353"/>
                <a:gd name="connsiteX2" fmla="*/ 167733 w 290212"/>
                <a:gd name="connsiteY2" fmla="*/ 323083 h 539353"/>
                <a:gd name="connsiteX3" fmla="*/ 58051 w 290212"/>
                <a:gd name="connsiteY3" fmla="*/ 279590 h 539353"/>
                <a:gd name="connsiteX4" fmla="*/ 133422 w 290212"/>
                <a:gd name="connsiteY4" fmla="*/ 215116 h 539353"/>
                <a:gd name="connsiteX5" fmla="*/ 177809 w 290212"/>
                <a:gd name="connsiteY5" fmla="*/ 215268 h 539353"/>
                <a:gd name="connsiteX6" fmla="*/ 190043 w 290212"/>
                <a:gd name="connsiteY6" fmla="*/ 5405 h 539353"/>
                <a:gd name="connsiteX7" fmla="*/ 127994 w 290212"/>
                <a:gd name="connsiteY7" fmla="*/ 1263 h 539353"/>
                <a:gd name="connsiteX8" fmla="*/ 35436 w 290212"/>
                <a:gd name="connsiteY8" fmla="*/ 29733 h 539353"/>
                <a:gd name="connsiteX9" fmla="*/ 56451 w 290212"/>
                <a:gd name="connsiteY9" fmla="*/ 85827 h 539353"/>
                <a:gd name="connsiteX10" fmla="*/ 146418 w 290212"/>
                <a:gd name="connsiteY10" fmla="*/ 58181 h 539353"/>
                <a:gd name="connsiteX11" fmla="*/ 214621 w 290212"/>
                <a:gd name="connsiteY11" fmla="*/ 126970 h 539353"/>
                <a:gd name="connsiteX12" fmla="*/ 167231 w 290212"/>
                <a:gd name="connsiteY12" fmla="*/ 153161 h 539353"/>
                <a:gd name="connsiteX13" fmla="*/ 166473 w 290212"/>
                <a:gd name="connsiteY13" fmla="*/ 153337 h 539353"/>
                <a:gd name="connsiteX14" fmla="*/ 165216 w 290212"/>
                <a:gd name="connsiteY14" fmla="*/ 152470 h 539353"/>
                <a:gd name="connsiteX15" fmla="*/ 87058 w 290212"/>
                <a:gd name="connsiteY15" fmla="*/ 164425 h 539353"/>
                <a:gd name="connsiteX16" fmla="*/ 1155 w 290212"/>
                <a:gd name="connsiteY16" fmla="*/ 269408 h 539353"/>
                <a:gd name="connsiteX17" fmla="*/ 33039 w 290212"/>
                <a:gd name="connsiteY17" fmla="*/ 323765 h 539353"/>
                <a:gd name="connsiteX18" fmla="*/ 60557 w 290212"/>
                <a:gd name="connsiteY18" fmla="*/ 338167 h 539353"/>
                <a:gd name="connsiteX19" fmla="*/ 31878 w 290212"/>
                <a:gd name="connsiteY19" fmla="*/ 358634 h 539353"/>
                <a:gd name="connsiteX20" fmla="*/ 4066 w 290212"/>
                <a:gd name="connsiteY20" fmla="*/ 423098 h 539353"/>
                <a:gd name="connsiteX21" fmla="*/ 103383 w 290212"/>
                <a:gd name="connsiteY21" fmla="*/ 533692 h 539353"/>
                <a:gd name="connsiteX22" fmla="*/ 168263 w 290212"/>
                <a:gd name="connsiteY22" fmla="*/ 538031 h 539353"/>
                <a:gd name="connsiteX23" fmla="*/ 265043 w 290212"/>
                <a:gd name="connsiteY23" fmla="*/ 508211 h 539353"/>
                <a:gd name="connsiteX24" fmla="*/ 243069 w 290212"/>
                <a:gd name="connsiteY24" fmla="*/ 449458 h 539353"/>
                <a:gd name="connsiteX25" fmla="*/ 148998 w 290212"/>
                <a:gd name="connsiteY25" fmla="*/ 478414 h 539353"/>
                <a:gd name="connsiteX26" fmla="*/ 77684 w 290212"/>
                <a:gd name="connsiteY26" fmla="*/ 406364 h 539353"/>
                <a:gd name="connsiteX27" fmla="*/ 127236 w 290212"/>
                <a:gd name="connsiteY27" fmla="*/ 378931 h 539353"/>
                <a:gd name="connsiteX28" fmla="*/ 123547 w 290212"/>
                <a:gd name="connsiteY28" fmla="*/ 416629 h 539353"/>
                <a:gd name="connsiteX29" fmla="*/ 155650 w 290212"/>
                <a:gd name="connsiteY29" fmla="*/ 376404 h 539353"/>
                <a:gd name="connsiteX30" fmla="*/ 289517 w 290212"/>
                <a:gd name="connsiteY30" fmla="*/ 302279 h 539353"/>
                <a:gd name="connsiteX31" fmla="*/ 244067 w 290212"/>
                <a:gd name="connsiteY31" fmla="*/ 203129 h 539353"/>
                <a:gd name="connsiteX32" fmla="*/ 228089 w 290212"/>
                <a:gd name="connsiteY32" fmla="*/ 194154 h 539353"/>
                <a:gd name="connsiteX33" fmla="*/ 258429 w 290212"/>
                <a:gd name="connsiteY33" fmla="*/ 172539 h 539353"/>
                <a:gd name="connsiteX34" fmla="*/ 285027 w 290212"/>
                <a:gd name="connsiteY34" fmla="*/ 110993 h 539353"/>
                <a:gd name="connsiteX35" fmla="*/ 190043 w 290212"/>
                <a:gd name="connsiteY35" fmla="*/ 5405 h 539353"/>
                <a:gd name="connsiteX0" fmla="*/ 177809 w 290212"/>
                <a:gd name="connsiteY0" fmla="*/ 215268 h 539353"/>
                <a:gd name="connsiteX1" fmla="*/ 229031 w 290212"/>
                <a:gd name="connsiteY1" fmla="*/ 256720 h 539353"/>
                <a:gd name="connsiteX2" fmla="*/ 167733 w 290212"/>
                <a:gd name="connsiteY2" fmla="*/ 323083 h 539353"/>
                <a:gd name="connsiteX3" fmla="*/ 58051 w 290212"/>
                <a:gd name="connsiteY3" fmla="*/ 279590 h 539353"/>
                <a:gd name="connsiteX4" fmla="*/ 133422 w 290212"/>
                <a:gd name="connsiteY4" fmla="*/ 215116 h 539353"/>
                <a:gd name="connsiteX5" fmla="*/ 177809 w 290212"/>
                <a:gd name="connsiteY5" fmla="*/ 215268 h 539353"/>
                <a:gd name="connsiteX6" fmla="*/ 190043 w 290212"/>
                <a:gd name="connsiteY6" fmla="*/ 5405 h 539353"/>
                <a:gd name="connsiteX7" fmla="*/ 127994 w 290212"/>
                <a:gd name="connsiteY7" fmla="*/ 1263 h 539353"/>
                <a:gd name="connsiteX8" fmla="*/ 35436 w 290212"/>
                <a:gd name="connsiteY8" fmla="*/ 29733 h 539353"/>
                <a:gd name="connsiteX9" fmla="*/ 56451 w 290212"/>
                <a:gd name="connsiteY9" fmla="*/ 85827 h 539353"/>
                <a:gd name="connsiteX10" fmla="*/ 146418 w 290212"/>
                <a:gd name="connsiteY10" fmla="*/ 58181 h 539353"/>
                <a:gd name="connsiteX11" fmla="*/ 214621 w 290212"/>
                <a:gd name="connsiteY11" fmla="*/ 126970 h 539353"/>
                <a:gd name="connsiteX12" fmla="*/ 167231 w 290212"/>
                <a:gd name="connsiteY12" fmla="*/ 153161 h 539353"/>
                <a:gd name="connsiteX13" fmla="*/ 166473 w 290212"/>
                <a:gd name="connsiteY13" fmla="*/ 153337 h 539353"/>
                <a:gd name="connsiteX14" fmla="*/ 165216 w 290212"/>
                <a:gd name="connsiteY14" fmla="*/ 152470 h 539353"/>
                <a:gd name="connsiteX15" fmla="*/ 87058 w 290212"/>
                <a:gd name="connsiteY15" fmla="*/ 164425 h 539353"/>
                <a:gd name="connsiteX16" fmla="*/ 1155 w 290212"/>
                <a:gd name="connsiteY16" fmla="*/ 269408 h 539353"/>
                <a:gd name="connsiteX17" fmla="*/ 33039 w 290212"/>
                <a:gd name="connsiteY17" fmla="*/ 323765 h 539353"/>
                <a:gd name="connsiteX18" fmla="*/ 60557 w 290212"/>
                <a:gd name="connsiteY18" fmla="*/ 338167 h 539353"/>
                <a:gd name="connsiteX19" fmla="*/ 31878 w 290212"/>
                <a:gd name="connsiteY19" fmla="*/ 358634 h 539353"/>
                <a:gd name="connsiteX20" fmla="*/ 4066 w 290212"/>
                <a:gd name="connsiteY20" fmla="*/ 423098 h 539353"/>
                <a:gd name="connsiteX21" fmla="*/ 103383 w 290212"/>
                <a:gd name="connsiteY21" fmla="*/ 533692 h 539353"/>
                <a:gd name="connsiteX22" fmla="*/ 168263 w 290212"/>
                <a:gd name="connsiteY22" fmla="*/ 538031 h 539353"/>
                <a:gd name="connsiteX23" fmla="*/ 265043 w 290212"/>
                <a:gd name="connsiteY23" fmla="*/ 508211 h 539353"/>
                <a:gd name="connsiteX24" fmla="*/ 243069 w 290212"/>
                <a:gd name="connsiteY24" fmla="*/ 449458 h 539353"/>
                <a:gd name="connsiteX25" fmla="*/ 148998 w 290212"/>
                <a:gd name="connsiteY25" fmla="*/ 478414 h 539353"/>
                <a:gd name="connsiteX26" fmla="*/ 77684 w 290212"/>
                <a:gd name="connsiteY26" fmla="*/ 406364 h 539353"/>
                <a:gd name="connsiteX27" fmla="*/ 127236 w 290212"/>
                <a:gd name="connsiteY27" fmla="*/ 378931 h 539353"/>
                <a:gd name="connsiteX28" fmla="*/ 155650 w 290212"/>
                <a:gd name="connsiteY28" fmla="*/ 376404 h 539353"/>
                <a:gd name="connsiteX29" fmla="*/ 289517 w 290212"/>
                <a:gd name="connsiteY29" fmla="*/ 302279 h 539353"/>
                <a:gd name="connsiteX30" fmla="*/ 244067 w 290212"/>
                <a:gd name="connsiteY30" fmla="*/ 203129 h 539353"/>
                <a:gd name="connsiteX31" fmla="*/ 228089 w 290212"/>
                <a:gd name="connsiteY31" fmla="*/ 194154 h 539353"/>
                <a:gd name="connsiteX32" fmla="*/ 258429 w 290212"/>
                <a:gd name="connsiteY32" fmla="*/ 172539 h 539353"/>
                <a:gd name="connsiteX33" fmla="*/ 285027 w 290212"/>
                <a:gd name="connsiteY33" fmla="*/ 110993 h 539353"/>
                <a:gd name="connsiteX34" fmla="*/ 190043 w 290212"/>
                <a:gd name="connsiteY34" fmla="*/ 5405 h 539353"/>
                <a:gd name="connsiteX0" fmla="*/ 177809 w 290212"/>
                <a:gd name="connsiteY0" fmla="*/ 216133 h 540218"/>
                <a:gd name="connsiteX1" fmla="*/ 229031 w 290212"/>
                <a:gd name="connsiteY1" fmla="*/ 257585 h 540218"/>
                <a:gd name="connsiteX2" fmla="*/ 167733 w 290212"/>
                <a:gd name="connsiteY2" fmla="*/ 323948 h 540218"/>
                <a:gd name="connsiteX3" fmla="*/ 58051 w 290212"/>
                <a:gd name="connsiteY3" fmla="*/ 280455 h 540218"/>
                <a:gd name="connsiteX4" fmla="*/ 133422 w 290212"/>
                <a:gd name="connsiteY4" fmla="*/ 215981 h 540218"/>
                <a:gd name="connsiteX5" fmla="*/ 177809 w 290212"/>
                <a:gd name="connsiteY5" fmla="*/ 216133 h 540218"/>
                <a:gd name="connsiteX6" fmla="*/ 190043 w 290212"/>
                <a:gd name="connsiteY6" fmla="*/ 6270 h 540218"/>
                <a:gd name="connsiteX7" fmla="*/ 127994 w 290212"/>
                <a:gd name="connsiteY7" fmla="*/ 2128 h 540218"/>
                <a:gd name="connsiteX8" fmla="*/ 36062 w 290212"/>
                <a:gd name="connsiteY8" fmla="*/ 34196 h 540218"/>
                <a:gd name="connsiteX9" fmla="*/ 56451 w 290212"/>
                <a:gd name="connsiteY9" fmla="*/ 86692 h 540218"/>
                <a:gd name="connsiteX10" fmla="*/ 146418 w 290212"/>
                <a:gd name="connsiteY10" fmla="*/ 59046 h 540218"/>
                <a:gd name="connsiteX11" fmla="*/ 214621 w 290212"/>
                <a:gd name="connsiteY11" fmla="*/ 127835 h 540218"/>
                <a:gd name="connsiteX12" fmla="*/ 167231 w 290212"/>
                <a:gd name="connsiteY12" fmla="*/ 154026 h 540218"/>
                <a:gd name="connsiteX13" fmla="*/ 166473 w 290212"/>
                <a:gd name="connsiteY13" fmla="*/ 154202 h 540218"/>
                <a:gd name="connsiteX14" fmla="*/ 165216 w 290212"/>
                <a:gd name="connsiteY14" fmla="*/ 153335 h 540218"/>
                <a:gd name="connsiteX15" fmla="*/ 87058 w 290212"/>
                <a:gd name="connsiteY15" fmla="*/ 165290 h 540218"/>
                <a:gd name="connsiteX16" fmla="*/ 1155 w 290212"/>
                <a:gd name="connsiteY16" fmla="*/ 270273 h 540218"/>
                <a:gd name="connsiteX17" fmla="*/ 33039 w 290212"/>
                <a:gd name="connsiteY17" fmla="*/ 324630 h 540218"/>
                <a:gd name="connsiteX18" fmla="*/ 60557 w 290212"/>
                <a:gd name="connsiteY18" fmla="*/ 339032 h 540218"/>
                <a:gd name="connsiteX19" fmla="*/ 31878 w 290212"/>
                <a:gd name="connsiteY19" fmla="*/ 359499 h 540218"/>
                <a:gd name="connsiteX20" fmla="*/ 4066 w 290212"/>
                <a:gd name="connsiteY20" fmla="*/ 423963 h 540218"/>
                <a:gd name="connsiteX21" fmla="*/ 103383 w 290212"/>
                <a:gd name="connsiteY21" fmla="*/ 534557 h 540218"/>
                <a:gd name="connsiteX22" fmla="*/ 168263 w 290212"/>
                <a:gd name="connsiteY22" fmla="*/ 538896 h 540218"/>
                <a:gd name="connsiteX23" fmla="*/ 265043 w 290212"/>
                <a:gd name="connsiteY23" fmla="*/ 509076 h 540218"/>
                <a:gd name="connsiteX24" fmla="*/ 243069 w 290212"/>
                <a:gd name="connsiteY24" fmla="*/ 450323 h 540218"/>
                <a:gd name="connsiteX25" fmla="*/ 148998 w 290212"/>
                <a:gd name="connsiteY25" fmla="*/ 479279 h 540218"/>
                <a:gd name="connsiteX26" fmla="*/ 77684 w 290212"/>
                <a:gd name="connsiteY26" fmla="*/ 407229 h 540218"/>
                <a:gd name="connsiteX27" fmla="*/ 127236 w 290212"/>
                <a:gd name="connsiteY27" fmla="*/ 379796 h 540218"/>
                <a:gd name="connsiteX28" fmla="*/ 155650 w 290212"/>
                <a:gd name="connsiteY28" fmla="*/ 377269 h 540218"/>
                <a:gd name="connsiteX29" fmla="*/ 289517 w 290212"/>
                <a:gd name="connsiteY29" fmla="*/ 303144 h 540218"/>
                <a:gd name="connsiteX30" fmla="*/ 244067 w 290212"/>
                <a:gd name="connsiteY30" fmla="*/ 203994 h 540218"/>
                <a:gd name="connsiteX31" fmla="*/ 228089 w 290212"/>
                <a:gd name="connsiteY31" fmla="*/ 195019 h 540218"/>
                <a:gd name="connsiteX32" fmla="*/ 258429 w 290212"/>
                <a:gd name="connsiteY32" fmla="*/ 173404 h 540218"/>
                <a:gd name="connsiteX33" fmla="*/ 285027 w 290212"/>
                <a:gd name="connsiteY33" fmla="*/ 111858 h 540218"/>
                <a:gd name="connsiteX34" fmla="*/ 190043 w 290212"/>
                <a:gd name="connsiteY34" fmla="*/ 6270 h 540218"/>
                <a:gd name="connsiteX0" fmla="*/ 177809 w 290212"/>
                <a:gd name="connsiteY0" fmla="*/ 216133 h 540218"/>
                <a:gd name="connsiteX1" fmla="*/ 229031 w 290212"/>
                <a:gd name="connsiteY1" fmla="*/ 257585 h 540218"/>
                <a:gd name="connsiteX2" fmla="*/ 167733 w 290212"/>
                <a:gd name="connsiteY2" fmla="*/ 323948 h 540218"/>
                <a:gd name="connsiteX3" fmla="*/ 58051 w 290212"/>
                <a:gd name="connsiteY3" fmla="*/ 280455 h 540218"/>
                <a:gd name="connsiteX4" fmla="*/ 133422 w 290212"/>
                <a:gd name="connsiteY4" fmla="*/ 215981 h 540218"/>
                <a:gd name="connsiteX5" fmla="*/ 177809 w 290212"/>
                <a:gd name="connsiteY5" fmla="*/ 216133 h 540218"/>
                <a:gd name="connsiteX6" fmla="*/ 190043 w 290212"/>
                <a:gd name="connsiteY6" fmla="*/ 6270 h 540218"/>
                <a:gd name="connsiteX7" fmla="*/ 127994 w 290212"/>
                <a:gd name="connsiteY7" fmla="*/ 2128 h 540218"/>
                <a:gd name="connsiteX8" fmla="*/ 36062 w 290212"/>
                <a:gd name="connsiteY8" fmla="*/ 34196 h 540218"/>
                <a:gd name="connsiteX9" fmla="*/ 56451 w 290212"/>
                <a:gd name="connsiteY9" fmla="*/ 86692 h 540218"/>
                <a:gd name="connsiteX10" fmla="*/ 146418 w 290212"/>
                <a:gd name="connsiteY10" fmla="*/ 59046 h 540218"/>
                <a:gd name="connsiteX11" fmla="*/ 214621 w 290212"/>
                <a:gd name="connsiteY11" fmla="*/ 127835 h 540218"/>
                <a:gd name="connsiteX12" fmla="*/ 167231 w 290212"/>
                <a:gd name="connsiteY12" fmla="*/ 154026 h 540218"/>
                <a:gd name="connsiteX13" fmla="*/ 166473 w 290212"/>
                <a:gd name="connsiteY13" fmla="*/ 154202 h 540218"/>
                <a:gd name="connsiteX14" fmla="*/ 165216 w 290212"/>
                <a:gd name="connsiteY14" fmla="*/ 153335 h 540218"/>
                <a:gd name="connsiteX15" fmla="*/ 87058 w 290212"/>
                <a:gd name="connsiteY15" fmla="*/ 165290 h 540218"/>
                <a:gd name="connsiteX16" fmla="*/ 1155 w 290212"/>
                <a:gd name="connsiteY16" fmla="*/ 270273 h 540218"/>
                <a:gd name="connsiteX17" fmla="*/ 33039 w 290212"/>
                <a:gd name="connsiteY17" fmla="*/ 324630 h 540218"/>
                <a:gd name="connsiteX18" fmla="*/ 60557 w 290212"/>
                <a:gd name="connsiteY18" fmla="*/ 339032 h 540218"/>
                <a:gd name="connsiteX19" fmla="*/ 31878 w 290212"/>
                <a:gd name="connsiteY19" fmla="*/ 359499 h 540218"/>
                <a:gd name="connsiteX20" fmla="*/ 4066 w 290212"/>
                <a:gd name="connsiteY20" fmla="*/ 423963 h 540218"/>
                <a:gd name="connsiteX21" fmla="*/ 103383 w 290212"/>
                <a:gd name="connsiteY21" fmla="*/ 534557 h 540218"/>
                <a:gd name="connsiteX22" fmla="*/ 168263 w 290212"/>
                <a:gd name="connsiteY22" fmla="*/ 538896 h 540218"/>
                <a:gd name="connsiteX23" fmla="*/ 265043 w 290212"/>
                <a:gd name="connsiteY23" fmla="*/ 509076 h 540218"/>
                <a:gd name="connsiteX24" fmla="*/ 243069 w 290212"/>
                <a:gd name="connsiteY24" fmla="*/ 450323 h 540218"/>
                <a:gd name="connsiteX25" fmla="*/ 148998 w 290212"/>
                <a:gd name="connsiteY25" fmla="*/ 479279 h 540218"/>
                <a:gd name="connsiteX26" fmla="*/ 77684 w 290212"/>
                <a:gd name="connsiteY26" fmla="*/ 407229 h 540218"/>
                <a:gd name="connsiteX27" fmla="*/ 127236 w 290212"/>
                <a:gd name="connsiteY27" fmla="*/ 379796 h 540218"/>
                <a:gd name="connsiteX28" fmla="*/ 155650 w 290212"/>
                <a:gd name="connsiteY28" fmla="*/ 377269 h 540218"/>
                <a:gd name="connsiteX29" fmla="*/ 289517 w 290212"/>
                <a:gd name="connsiteY29" fmla="*/ 303144 h 540218"/>
                <a:gd name="connsiteX30" fmla="*/ 244067 w 290212"/>
                <a:gd name="connsiteY30" fmla="*/ 203994 h 540218"/>
                <a:gd name="connsiteX31" fmla="*/ 228089 w 290212"/>
                <a:gd name="connsiteY31" fmla="*/ 195019 h 540218"/>
                <a:gd name="connsiteX32" fmla="*/ 258429 w 290212"/>
                <a:gd name="connsiteY32" fmla="*/ 173404 h 540218"/>
                <a:gd name="connsiteX33" fmla="*/ 285027 w 290212"/>
                <a:gd name="connsiteY33" fmla="*/ 111858 h 540218"/>
                <a:gd name="connsiteX34" fmla="*/ 190043 w 290212"/>
                <a:gd name="connsiteY34" fmla="*/ 6270 h 540218"/>
                <a:gd name="connsiteX0" fmla="*/ 177809 w 290212"/>
                <a:gd name="connsiteY0" fmla="*/ 217024 h 541109"/>
                <a:gd name="connsiteX1" fmla="*/ 229031 w 290212"/>
                <a:gd name="connsiteY1" fmla="*/ 258476 h 541109"/>
                <a:gd name="connsiteX2" fmla="*/ 167733 w 290212"/>
                <a:gd name="connsiteY2" fmla="*/ 324839 h 541109"/>
                <a:gd name="connsiteX3" fmla="*/ 58051 w 290212"/>
                <a:gd name="connsiteY3" fmla="*/ 281346 h 541109"/>
                <a:gd name="connsiteX4" fmla="*/ 133422 w 290212"/>
                <a:gd name="connsiteY4" fmla="*/ 216872 h 541109"/>
                <a:gd name="connsiteX5" fmla="*/ 177809 w 290212"/>
                <a:gd name="connsiteY5" fmla="*/ 217024 h 541109"/>
                <a:gd name="connsiteX6" fmla="*/ 285027 w 290212"/>
                <a:gd name="connsiteY6" fmla="*/ 112749 h 541109"/>
                <a:gd name="connsiteX7" fmla="*/ 127994 w 290212"/>
                <a:gd name="connsiteY7" fmla="*/ 3019 h 541109"/>
                <a:gd name="connsiteX8" fmla="*/ 36062 w 290212"/>
                <a:gd name="connsiteY8" fmla="*/ 35087 h 541109"/>
                <a:gd name="connsiteX9" fmla="*/ 56451 w 290212"/>
                <a:gd name="connsiteY9" fmla="*/ 87583 h 541109"/>
                <a:gd name="connsiteX10" fmla="*/ 146418 w 290212"/>
                <a:gd name="connsiteY10" fmla="*/ 59937 h 541109"/>
                <a:gd name="connsiteX11" fmla="*/ 214621 w 290212"/>
                <a:gd name="connsiteY11" fmla="*/ 128726 h 541109"/>
                <a:gd name="connsiteX12" fmla="*/ 167231 w 290212"/>
                <a:gd name="connsiteY12" fmla="*/ 154917 h 541109"/>
                <a:gd name="connsiteX13" fmla="*/ 166473 w 290212"/>
                <a:gd name="connsiteY13" fmla="*/ 155093 h 541109"/>
                <a:gd name="connsiteX14" fmla="*/ 165216 w 290212"/>
                <a:gd name="connsiteY14" fmla="*/ 154226 h 541109"/>
                <a:gd name="connsiteX15" fmla="*/ 87058 w 290212"/>
                <a:gd name="connsiteY15" fmla="*/ 166181 h 541109"/>
                <a:gd name="connsiteX16" fmla="*/ 1155 w 290212"/>
                <a:gd name="connsiteY16" fmla="*/ 271164 h 541109"/>
                <a:gd name="connsiteX17" fmla="*/ 33039 w 290212"/>
                <a:gd name="connsiteY17" fmla="*/ 325521 h 541109"/>
                <a:gd name="connsiteX18" fmla="*/ 60557 w 290212"/>
                <a:gd name="connsiteY18" fmla="*/ 339923 h 541109"/>
                <a:gd name="connsiteX19" fmla="*/ 31878 w 290212"/>
                <a:gd name="connsiteY19" fmla="*/ 360390 h 541109"/>
                <a:gd name="connsiteX20" fmla="*/ 4066 w 290212"/>
                <a:gd name="connsiteY20" fmla="*/ 424854 h 541109"/>
                <a:gd name="connsiteX21" fmla="*/ 103383 w 290212"/>
                <a:gd name="connsiteY21" fmla="*/ 535448 h 541109"/>
                <a:gd name="connsiteX22" fmla="*/ 168263 w 290212"/>
                <a:gd name="connsiteY22" fmla="*/ 539787 h 541109"/>
                <a:gd name="connsiteX23" fmla="*/ 265043 w 290212"/>
                <a:gd name="connsiteY23" fmla="*/ 509967 h 541109"/>
                <a:gd name="connsiteX24" fmla="*/ 243069 w 290212"/>
                <a:gd name="connsiteY24" fmla="*/ 451214 h 541109"/>
                <a:gd name="connsiteX25" fmla="*/ 148998 w 290212"/>
                <a:gd name="connsiteY25" fmla="*/ 480170 h 541109"/>
                <a:gd name="connsiteX26" fmla="*/ 77684 w 290212"/>
                <a:gd name="connsiteY26" fmla="*/ 408120 h 541109"/>
                <a:gd name="connsiteX27" fmla="*/ 127236 w 290212"/>
                <a:gd name="connsiteY27" fmla="*/ 380687 h 541109"/>
                <a:gd name="connsiteX28" fmla="*/ 155650 w 290212"/>
                <a:gd name="connsiteY28" fmla="*/ 378160 h 541109"/>
                <a:gd name="connsiteX29" fmla="*/ 289517 w 290212"/>
                <a:gd name="connsiteY29" fmla="*/ 304035 h 541109"/>
                <a:gd name="connsiteX30" fmla="*/ 244067 w 290212"/>
                <a:gd name="connsiteY30" fmla="*/ 204885 h 541109"/>
                <a:gd name="connsiteX31" fmla="*/ 228089 w 290212"/>
                <a:gd name="connsiteY31" fmla="*/ 195910 h 541109"/>
                <a:gd name="connsiteX32" fmla="*/ 258429 w 290212"/>
                <a:gd name="connsiteY32" fmla="*/ 174295 h 541109"/>
                <a:gd name="connsiteX33" fmla="*/ 285027 w 290212"/>
                <a:gd name="connsiteY33" fmla="*/ 112749 h 541109"/>
                <a:gd name="connsiteX0" fmla="*/ 177809 w 290212"/>
                <a:gd name="connsiteY0" fmla="*/ 208135 h 532220"/>
                <a:gd name="connsiteX1" fmla="*/ 229031 w 290212"/>
                <a:gd name="connsiteY1" fmla="*/ 249587 h 532220"/>
                <a:gd name="connsiteX2" fmla="*/ 167733 w 290212"/>
                <a:gd name="connsiteY2" fmla="*/ 315950 h 532220"/>
                <a:gd name="connsiteX3" fmla="*/ 58051 w 290212"/>
                <a:gd name="connsiteY3" fmla="*/ 272457 h 532220"/>
                <a:gd name="connsiteX4" fmla="*/ 133422 w 290212"/>
                <a:gd name="connsiteY4" fmla="*/ 207983 h 532220"/>
                <a:gd name="connsiteX5" fmla="*/ 177809 w 290212"/>
                <a:gd name="connsiteY5" fmla="*/ 208135 h 532220"/>
                <a:gd name="connsiteX6" fmla="*/ 285027 w 290212"/>
                <a:gd name="connsiteY6" fmla="*/ 103860 h 532220"/>
                <a:gd name="connsiteX7" fmla="*/ 166213 w 290212"/>
                <a:gd name="connsiteY7" fmla="*/ 3906 h 532220"/>
                <a:gd name="connsiteX8" fmla="*/ 36062 w 290212"/>
                <a:gd name="connsiteY8" fmla="*/ 26198 h 532220"/>
                <a:gd name="connsiteX9" fmla="*/ 56451 w 290212"/>
                <a:gd name="connsiteY9" fmla="*/ 78694 h 532220"/>
                <a:gd name="connsiteX10" fmla="*/ 146418 w 290212"/>
                <a:gd name="connsiteY10" fmla="*/ 51048 h 532220"/>
                <a:gd name="connsiteX11" fmla="*/ 214621 w 290212"/>
                <a:gd name="connsiteY11" fmla="*/ 119837 h 532220"/>
                <a:gd name="connsiteX12" fmla="*/ 167231 w 290212"/>
                <a:gd name="connsiteY12" fmla="*/ 146028 h 532220"/>
                <a:gd name="connsiteX13" fmla="*/ 166473 w 290212"/>
                <a:gd name="connsiteY13" fmla="*/ 146204 h 532220"/>
                <a:gd name="connsiteX14" fmla="*/ 165216 w 290212"/>
                <a:gd name="connsiteY14" fmla="*/ 145337 h 532220"/>
                <a:gd name="connsiteX15" fmla="*/ 87058 w 290212"/>
                <a:gd name="connsiteY15" fmla="*/ 157292 h 532220"/>
                <a:gd name="connsiteX16" fmla="*/ 1155 w 290212"/>
                <a:gd name="connsiteY16" fmla="*/ 262275 h 532220"/>
                <a:gd name="connsiteX17" fmla="*/ 33039 w 290212"/>
                <a:gd name="connsiteY17" fmla="*/ 316632 h 532220"/>
                <a:gd name="connsiteX18" fmla="*/ 60557 w 290212"/>
                <a:gd name="connsiteY18" fmla="*/ 331034 h 532220"/>
                <a:gd name="connsiteX19" fmla="*/ 31878 w 290212"/>
                <a:gd name="connsiteY19" fmla="*/ 351501 h 532220"/>
                <a:gd name="connsiteX20" fmla="*/ 4066 w 290212"/>
                <a:gd name="connsiteY20" fmla="*/ 415965 h 532220"/>
                <a:gd name="connsiteX21" fmla="*/ 103383 w 290212"/>
                <a:gd name="connsiteY21" fmla="*/ 526559 h 532220"/>
                <a:gd name="connsiteX22" fmla="*/ 168263 w 290212"/>
                <a:gd name="connsiteY22" fmla="*/ 530898 h 532220"/>
                <a:gd name="connsiteX23" fmla="*/ 265043 w 290212"/>
                <a:gd name="connsiteY23" fmla="*/ 501078 h 532220"/>
                <a:gd name="connsiteX24" fmla="*/ 243069 w 290212"/>
                <a:gd name="connsiteY24" fmla="*/ 442325 h 532220"/>
                <a:gd name="connsiteX25" fmla="*/ 148998 w 290212"/>
                <a:gd name="connsiteY25" fmla="*/ 471281 h 532220"/>
                <a:gd name="connsiteX26" fmla="*/ 77684 w 290212"/>
                <a:gd name="connsiteY26" fmla="*/ 399231 h 532220"/>
                <a:gd name="connsiteX27" fmla="*/ 127236 w 290212"/>
                <a:gd name="connsiteY27" fmla="*/ 371798 h 532220"/>
                <a:gd name="connsiteX28" fmla="*/ 155650 w 290212"/>
                <a:gd name="connsiteY28" fmla="*/ 369271 h 532220"/>
                <a:gd name="connsiteX29" fmla="*/ 289517 w 290212"/>
                <a:gd name="connsiteY29" fmla="*/ 295146 h 532220"/>
                <a:gd name="connsiteX30" fmla="*/ 244067 w 290212"/>
                <a:gd name="connsiteY30" fmla="*/ 195996 h 532220"/>
                <a:gd name="connsiteX31" fmla="*/ 228089 w 290212"/>
                <a:gd name="connsiteY31" fmla="*/ 187021 h 532220"/>
                <a:gd name="connsiteX32" fmla="*/ 258429 w 290212"/>
                <a:gd name="connsiteY32" fmla="*/ 165406 h 532220"/>
                <a:gd name="connsiteX33" fmla="*/ 285027 w 290212"/>
                <a:gd name="connsiteY33" fmla="*/ 103860 h 532220"/>
                <a:gd name="connsiteX0" fmla="*/ 177809 w 290212"/>
                <a:gd name="connsiteY0" fmla="*/ 207584 h 531669"/>
                <a:gd name="connsiteX1" fmla="*/ 229031 w 290212"/>
                <a:gd name="connsiteY1" fmla="*/ 249036 h 531669"/>
                <a:gd name="connsiteX2" fmla="*/ 167733 w 290212"/>
                <a:gd name="connsiteY2" fmla="*/ 315399 h 531669"/>
                <a:gd name="connsiteX3" fmla="*/ 58051 w 290212"/>
                <a:gd name="connsiteY3" fmla="*/ 271906 h 531669"/>
                <a:gd name="connsiteX4" fmla="*/ 133422 w 290212"/>
                <a:gd name="connsiteY4" fmla="*/ 207432 h 531669"/>
                <a:gd name="connsiteX5" fmla="*/ 177809 w 290212"/>
                <a:gd name="connsiteY5" fmla="*/ 207584 h 531669"/>
                <a:gd name="connsiteX6" fmla="*/ 278675 w 290212"/>
                <a:gd name="connsiteY6" fmla="*/ 94870 h 531669"/>
                <a:gd name="connsiteX7" fmla="*/ 166213 w 290212"/>
                <a:gd name="connsiteY7" fmla="*/ 3355 h 531669"/>
                <a:gd name="connsiteX8" fmla="*/ 36062 w 290212"/>
                <a:gd name="connsiteY8" fmla="*/ 25647 h 531669"/>
                <a:gd name="connsiteX9" fmla="*/ 56451 w 290212"/>
                <a:gd name="connsiteY9" fmla="*/ 78143 h 531669"/>
                <a:gd name="connsiteX10" fmla="*/ 146418 w 290212"/>
                <a:gd name="connsiteY10" fmla="*/ 50497 h 531669"/>
                <a:gd name="connsiteX11" fmla="*/ 214621 w 290212"/>
                <a:gd name="connsiteY11" fmla="*/ 119286 h 531669"/>
                <a:gd name="connsiteX12" fmla="*/ 167231 w 290212"/>
                <a:gd name="connsiteY12" fmla="*/ 145477 h 531669"/>
                <a:gd name="connsiteX13" fmla="*/ 166473 w 290212"/>
                <a:gd name="connsiteY13" fmla="*/ 145653 h 531669"/>
                <a:gd name="connsiteX14" fmla="*/ 165216 w 290212"/>
                <a:gd name="connsiteY14" fmla="*/ 144786 h 531669"/>
                <a:gd name="connsiteX15" fmla="*/ 87058 w 290212"/>
                <a:gd name="connsiteY15" fmla="*/ 156741 h 531669"/>
                <a:gd name="connsiteX16" fmla="*/ 1155 w 290212"/>
                <a:gd name="connsiteY16" fmla="*/ 261724 h 531669"/>
                <a:gd name="connsiteX17" fmla="*/ 33039 w 290212"/>
                <a:gd name="connsiteY17" fmla="*/ 316081 h 531669"/>
                <a:gd name="connsiteX18" fmla="*/ 60557 w 290212"/>
                <a:gd name="connsiteY18" fmla="*/ 330483 h 531669"/>
                <a:gd name="connsiteX19" fmla="*/ 31878 w 290212"/>
                <a:gd name="connsiteY19" fmla="*/ 350950 h 531669"/>
                <a:gd name="connsiteX20" fmla="*/ 4066 w 290212"/>
                <a:gd name="connsiteY20" fmla="*/ 415414 h 531669"/>
                <a:gd name="connsiteX21" fmla="*/ 103383 w 290212"/>
                <a:gd name="connsiteY21" fmla="*/ 526008 h 531669"/>
                <a:gd name="connsiteX22" fmla="*/ 168263 w 290212"/>
                <a:gd name="connsiteY22" fmla="*/ 530347 h 531669"/>
                <a:gd name="connsiteX23" fmla="*/ 265043 w 290212"/>
                <a:gd name="connsiteY23" fmla="*/ 500527 h 531669"/>
                <a:gd name="connsiteX24" fmla="*/ 243069 w 290212"/>
                <a:gd name="connsiteY24" fmla="*/ 441774 h 531669"/>
                <a:gd name="connsiteX25" fmla="*/ 148998 w 290212"/>
                <a:gd name="connsiteY25" fmla="*/ 470730 h 531669"/>
                <a:gd name="connsiteX26" fmla="*/ 77684 w 290212"/>
                <a:gd name="connsiteY26" fmla="*/ 398680 h 531669"/>
                <a:gd name="connsiteX27" fmla="*/ 127236 w 290212"/>
                <a:gd name="connsiteY27" fmla="*/ 371247 h 531669"/>
                <a:gd name="connsiteX28" fmla="*/ 155650 w 290212"/>
                <a:gd name="connsiteY28" fmla="*/ 368720 h 531669"/>
                <a:gd name="connsiteX29" fmla="*/ 289517 w 290212"/>
                <a:gd name="connsiteY29" fmla="*/ 294595 h 531669"/>
                <a:gd name="connsiteX30" fmla="*/ 244067 w 290212"/>
                <a:gd name="connsiteY30" fmla="*/ 195445 h 531669"/>
                <a:gd name="connsiteX31" fmla="*/ 228089 w 290212"/>
                <a:gd name="connsiteY31" fmla="*/ 186470 h 531669"/>
                <a:gd name="connsiteX32" fmla="*/ 258429 w 290212"/>
                <a:gd name="connsiteY32" fmla="*/ 164855 h 531669"/>
                <a:gd name="connsiteX33" fmla="*/ 278675 w 290212"/>
                <a:gd name="connsiteY33" fmla="*/ 94870 h 531669"/>
                <a:gd name="connsiteX0" fmla="*/ 177809 w 290212"/>
                <a:gd name="connsiteY0" fmla="*/ 207584 h 531669"/>
                <a:gd name="connsiteX1" fmla="*/ 229031 w 290212"/>
                <a:gd name="connsiteY1" fmla="*/ 249036 h 531669"/>
                <a:gd name="connsiteX2" fmla="*/ 167733 w 290212"/>
                <a:gd name="connsiteY2" fmla="*/ 315399 h 531669"/>
                <a:gd name="connsiteX3" fmla="*/ 58051 w 290212"/>
                <a:gd name="connsiteY3" fmla="*/ 271906 h 531669"/>
                <a:gd name="connsiteX4" fmla="*/ 133422 w 290212"/>
                <a:gd name="connsiteY4" fmla="*/ 207432 h 531669"/>
                <a:gd name="connsiteX5" fmla="*/ 177809 w 290212"/>
                <a:gd name="connsiteY5" fmla="*/ 207584 h 531669"/>
                <a:gd name="connsiteX6" fmla="*/ 278675 w 290212"/>
                <a:gd name="connsiteY6" fmla="*/ 94870 h 531669"/>
                <a:gd name="connsiteX7" fmla="*/ 166213 w 290212"/>
                <a:gd name="connsiteY7" fmla="*/ 3355 h 531669"/>
                <a:gd name="connsiteX8" fmla="*/ 36062 w 290212"/>
                <a:gd name="connsiteY8" fmla="*/ 25647 h 531669"/>
                <a:gd name="connsiteX9" fmla="*/ 56451 w 290212"/>
                <a:gd name="connsiteY9" fmla="*/ 78143 h 531669"/>
                <a:gd name="connsiteX10" fmla="*/ 146418 w 290212"/>
                <a:gd name="connsiteY10" fmla="*/ 50497 h 531669"/>
                <a:gd name="connsiteX11" fmla="*/ 214621 w 290212"/>
                <a:gd name="connsiteY11" fmla="*/ 119286 h 531669"/>
                <a:gd name="connsiteX12" fmla="*/ 167231 w 290212"/>
                <a:gd name="connsiteY12" fmla="*/ 145477 h 531669"/>
                <a:gd name="connsiteX13" fmla="*/ 166473 w 290212"/>
                <a:gd name="connsiteY13" fmla="*/ 145653 h 531669"/>
                <a:gd name="connsiteX14" fmla="*/ 165216 w 290212"/>
                <a:gd name="connsiteY14" fmla="*/ 144786 h 531669"/>
                <a:gd name="connsiteX15" fmla="*/ 87058 w 290212"/>
                <a:gd name="connsiteY15" fmla="*/ 156741 h 531669"/>
                <a:gd name="connsiteX16" fmla="*/ 1155 w 290212"/>
                <a:gd name="connsiteY16" fmla="*/ 261724 h 531669"/>
                <a:gd name="connsiteX17" fmla="*/ 33039 w 290212"/>
                <a:gd name="connsiteY17" fmla="*/ 316081 h 531669"/>
                <a:gd name="connsiteX18" fmla="*/ 60557 w 290212"/>
                <a:gd name="connsiteY18" fmla="*/ 330483 h 531669"/>
                <a:gd name="connsiteX19" fmla="*/ 31878 w 290212"/>
                <a:gd name="connsiteY19" fmla="*/ 350950 h 531669"/>
                <a:gd name="connsiteX20" fmla="*/ 4066 w 290212"/>
                <a:gd name="connsiteY20" fmla="*/ 415414 h 531669"/>
                <a:gd name="connsiteX21" fmla="*/ 103383 w 290212"/>
                <a:gd name="connsiteY21" fmla="*/ 526008 h 531669"/>
                <a:gd name="connsiteX22" fmla="*/ 168263 w 290212"/>
                <a:gd name="connsiteY22" fmla="*/ 530347 h 531669"/>
                <a:gd name="connsiteX23" fmla="*/ 265043 w 290212"/>
                <a:gd name="connsiteY23" fmla="*/ 500527 h 531669"/>
                <a:gd name="connsiteX24" fmla="*/ 243069 w 290212"/>
                <a:gd name="connsiteY24" fmla="*/ 441774 h 531669"/>
                <a:gd name="connsiteX25" fmla="*/ 148998 w 290212"/>
                <a:gd name="connsiteY25" fmla="*/ 470730 h 531669"/>
                <a:gd name="connsiteX26" fmla="*/ 77684 w 290212"/>
                <a:gd name="connsiteY26" fmla="*/ 398680 h 531669"/>
                <a:gd name="connsiteX27" fmla="*/ 127236 w 290212"/>
                <a:gd name="connsiteY27" fmla="*/ 371247 h 531669"/>
                <a:gd name="connsiteX28" fmla="*/ 155650 w 290212"/>
                <a:gd name="connsiteY28" fmla="*/ 368720 h 531669"/>
                <a:gd name="connsiteX29" fmla="*/ 289517 w 290212"/>
                <a:gd name="connsiteY29" fmla="*/ 294595 h 531669"/>
                <a:gd name="connsiteX30" fmla="*/ 244067 w 290212"/>
                <a:gd name="connsiteY30" fmla="*/ 195445 h 531669"/>
                <a:gd name="connsiteX31" fmla="*/ 228089 w 290212"/>
                <a:gd name="connsiteY31" fmla="*/ 186470 h 531669"/>
                <a:gd name="connsiteX32" fmla="*/ 258429 w 290212"/>
                <a:gd name="connsiteY32" fmla="*/ 164855 h 531669"/>
                <a:gd name="connsiteX33" fmla="*/ 278675 w 290212"/>
                <a:gd name="connsiteY33" fmla="*/ 94870 h 531669"/>
                <a:gd name="connsiteX0" fmla="*/ 177809 w 290212"/>
                <a:gd name="connsiteY0" fmla="*/ 205696 h 529781"/>
                <a:gd name="connsiteX1" fmla="*/ 229031 w 290212"/>
                <a:gd name="connsiteY1" fmla="*/ 247148 h 529781"/>
                <a:gd name="connsiteX2" fmla="*/ 167733 w 290212"/>
                <a:gd name="connsiteY2" fmla="*/ 313511 h 529781"/>
                <a:gd name="connsiteX3" fmla="*/ 58051 w 290212"/>
                <a:gd name="connsiteY3" fmla="*/ 270018 h 529781"/>
                <a:gd name="connsiteX4" fmla="*/ 133422 w 290212"/>
                <a:gd name="connsiteY4" fmla="*/ 205544 h 529781"/>
                <a:gd name="connsiteX5" fmla="*/ 177809 w 290212"/>
                <a:gd name="connsiteY5" fmla="*/ 205696 h 529781"/>
                <a:gd name="connsiteX6" fmla="*/ 278675 w 290212"/>
                <a:gd name="connsiteY6" fmla="*/ 92982 h 529781"/>
                <a:gd name="connsiteX7" fmla="*/ 166213 w 290212"/>
                <a:gd name="connsiteY7" fmla="*/ 1467 h 529781"/>
                <a:gd name="connsiteX8" fmla="*/ 36062 w 290212"/>
                <a:gd name="connsiteY8" fmla="*/ 23759 h 529781"/>
                <a:gd name="connsiteX9" fmla="*/ 56451 w 290212"/>
                <a:gd name="connsiteY9" fmla="*/ 76255 h 529781"/>
                <a:gd name="connsiteX10" fmla="*/ 146418 w 290212"/>
                <a:gd name="connsiteY10" fmla="*/ 48609 h 529781"/>
                <a:gd name="connsiteX11" fmla="*/ 214621 w 290212"/>
                <a:gd name="connsiteY11" fmla="*/ 117398 h 529781"/>
                <a:gd name="connsiteX12" fmla="*/ 167231 w 290212"/>
                <a:gd name="connsiteY12" fmla="*/ 143589 h 529781"/>
                <a:gd name="connsiteX13" fmla="*/ 166473 w 290212"/>
                <a:gd name="connsiteY13" fmla="*/ 143765 h 529781"/>
                <a:gd name="connsiteX14" fmla="*/ 165216 w 290212"/>
                <a:gd name="connsiteY14" fmla="*/ 142898 h 529781"/>
                <a:gd name="connsiteX15" fmla="*/ 87058 w 290212"/>
                <a:gd name="connsiteY15" fmla="*/ 154853 h 529781"/>
                <a:gd name="connsiteX16" fmla="*/ 1155 w 290212"/>
                <a:gd name="connsiteY16" fmla="*/ 259836 h 529781"/>
                <a:gd name="connsiteX17" fmla="*/ 33039 w 290212"/>
                <a:gd name="connsiteY17" fmla="*/ 314193 h 529781"/>
                <a:gd name="connsiteX18" fmla="*/ 60557 w 290212"/>
                <a:gd name="connsiteY18" fmla="*/ 328595 h 529781"/>
                <a:gd name="connsiteX19" fmla="*/ 31878 w 290212"/>
                <a:gd name="connsiteY19" fmla="*/ 349062 h 529781"/>
                <a:gd name="connsiteX20" fmla="*/ 4066 w 290212"/>
                <a:gd name="connsiteY20" fmla="*/ 413526 h 529781"/>
                <a:gd name="connsiteX21" fmla="*/ 103383 w 290212"/>
                <a:gd name="connsiteY21" fmla="*/ 524120 h 529781"/>
                <a:gd name="connsiteX22" fmla="*/ 168263 w 290212"/>
                <a:gd name="connsiteY22" fmla="*/ 528459 h 529781"/>
                <a:gd name="connsiteX23" fmla="*/ 265043 w 290212"/>
                <a:gd name="connsiteY23" fmla="*/ 498639 h 529781"/>
                <a:gd name="connsiteX24" fmla="*/ 243069 w 290212"/>
                <a:gd name="connsiteY24" fmla="*/ 439886 h 529781"/>
                <a:gd name="connsiteX25" fmla="*/ 148998 w 290212"/>
                <a:gd name="connsiteY25" fmla="*/ 468842 h 529781"/>
                <a:gd name="connsiteX26" fmla="*/ 77684 w 290212"/>
                <a:gd name="connsiteY26" fmla="*/ 396792 h 529781"/>
                <a:gd name="connsiteX27" fmla="*/ 127236 w 290212"/>
                <a:gd name="connsiteY27" fmla="*/ 369359 h 529781"/>
                <a:gd name="connsiteX28" fmla="*/ 155650 w 290212"/>
                <a:gd name="connsiteY28" fmla="*/ 366832 h 529781"/>
                <a:gd name="connsiteX29" fmla="*/ 289517 w 290212"/>
                <a:gd name="connsiteY29" fmla="*/ 292707 h 529781"/>
                <a:gd name="connsiteX30" fmla="*/ 244067 w 290212"/>
                <a:gd name="connsiteY30" fmla="*/ 193557 h 529781"/>
                <a:gd name="connsiteX31" fmla="*/ 228089 w 290212"/>
                <a:gd name="connsiteY31" fmla="*/ 184582 h 529781"/>
                <a:gd name="connsiteX32" fmla="*/ 258429 w 290212"/>
                <a:gd name="connsiteY32" fmla="*/ 162967 h 529781"/>
                <a:gd name="connsiteX33" fmla="*/ 278675 w 290212"/>
                <a:gd name="connsiteY33" fmla="*/ 92982 h 529781"/>
                <a:gd name="connsiteX0" fmla="*/ 177809 w 290212"/>
                <a:gd name="connsiteY0" fmla="*/ 207086 h 531171"/>
                <a:gd name="connsiteX1" fmla="*/ 229031 w 290212"/>
                <a:gd name="connsiteY1" fmla="*/ 248538 h 531171"/>
                <a:gd name="connsiteX2" fmla="*/ 167733 w 290212"/>
                <a:gd name="connsiteY2" fmla="*/ 314901 h 531171"/>
                <a:gd name="connsiteX3" fmla="*/ 58051 w 290212"/>
                <a:gd name="connsiteY3" fmla="*/ 271408 h 531171"/>
                <a:gd name="connsiteX4" fmla="*/ 133422 w 290212"/>
                <a:gd name="connsiteY4" fmla="*/ 206934 h 531171"/>
                <a:gd name="connsiteX5" fmla="*/ 177809 w 290212"/>
                <a:gd name="connsiteY5" fmla="*/ 207086 h 531171"/>
                <a:gd name="connsiteX6" fmla="*/ 278675 w 290212"/>
                <a:gd name="connsiteY6" fmla="*/ 94372 h 531171"/>
                <a:gd name="connsiteX7" fmla="*/ 157675 w 290212"/>
                <a:gd name="connsiteY7" fmla="*/ 1372 h 531171"/>
                <a:gd name="connsiteX8" fmla="*/ 36062 w 290212"/>
                <a:gd name="connsiteY8" fmla="*/ 25149 h 531171"/>
                <a:gd name="connsiteX9" fmla="*/ 56451 w 290212"/>
                <a:gd name="connsiteY9" fmla="*/ 77645 h 531171"/>
                <a:gd name="connsiteX10" fmla="*/ 146418 w 290212"/>
                <a:gd name="connsiteY10" fmla="*/ 49999 h 531171"/>
                <a:gd name="connsiteX11" fmla="*/ 214621 w 290212"/>
                <a:gd name="connsiteY11" fmla="*/ 118788 h 531171"/>
                <a:gd name="connsiteX12" fmla="*/ 167231 w 290212"/>
                <a:gd name="connsiteY12" fmla="*/ 144979 h 531171"/>
                <a:gd name="connsiteX13" fmla="*/ 166473 w 290212"/>
                <a:gd name="connsiteY13" fmla="*/ 145155 h 531171"/>
                <a:gd name="connsiteX14" fmla="*/ 165216 w 290212"/>
                <a:gd name="connsiteY14" fmla="*/ 144288 h 531171"/>
                <a:gd name="connsiteX15" fmla="*/ 87058 w 290212"/>
                <a:gd name="connsiteY15" fmla="*/ 156243 h 531171"/>
                <a:gd name="connsiteX16" fmla="*/ 1155 w 290212"/>
                <a:gd name="connsiteY16" fmla="*/ 261226 h 531171"/>
                <a:gd name="connsiteX17" fmla="*/ 33039 w 290212"/>
                <a:gd name="connsiteY17" fmla="*/ 315583 h 531171"/>
                <a:gd name="connsiteX18" fmla="*/ 60557 w 290212"/>
                <a:gd name="connsiteY18" fmla="*/ 329985 h 531171"/>
                <a:gd name="connsiteX19" fmla="*/ 31878 w 290212"/>
                <a:gd name="connsiteY19" fmla="*/ 350452 h 531171"/>
                <a:gd name="connsiteX20" fmla="*/ 4066 w 290212"/>
                <a:gd name="connsiteY20" fmla="*/ 414916 h 531171"/>
                <a:gd name="connsiteX21" fmla="*/ 103383 w 290212"/>
                <a:gd name="connsiteY21" fmla="*/ 525510 h 531171"/>
                <a:gd name="connsiteX22" fmla="*/ 168263 w 290212"/>
                <a:gd name="connsiteY22" fmla="*/ 529849 h 531171"/>
                <a:gd name="connsiteX23" fmla="*/ 265043 w 290212"/>
                <a:gd name="connsiteY23" fmla="*/ 500029 h 531171"/>
                <a:gd name="connsiteX24" fmla="*/ 243069 w 290212"/>
                <a:gd name="connsiteY24" fmla="*/ 441276 h 531171"/>
                <a:gd name="connsiteX25" fmla="*/ 148998 w 290212"/>
                <a:gd name="connsiteY25" fmla="*/ 470232 h 531171"/>
                <a:gd name="connsiteX26" fmla="*/ 77684 w 290212"/>
                <a:gd name="connsiteY26" fmla="*/ 398182 h 531171"/>
                <a:gd name="connsiteX27" fmla="*/ 127236 w 290212"/>
                <a:gd name="connsiteY27" fmla="*/ 370749 h 531171"/>
                <a:gd name="connsiteX28" fmla="*/ 155650 w 290212"/>
                <a:gd name="connsiteY28" fmla="*/ 368222 h 531171"/>
                <a:gd name="connsiteX29" fmla="*/ 289517 w 290212"/>
                <a:gd name="connsiteY29" fmla="*/ 294097 h 531171"/>
                <a:gd name="connsiteX30" fmla="*/ 244067 w 290212"/>
                <a:gd name="connsiteY30" fmla="*/ 194947 h 531171"/>
                <a:gd name="connsiteX31" fmla="*/ 228089 w 290212"/>
                <a:gd name="connsiteY31" fmla="*/ 185972 h 531171"/>
                <a:gd name="connsiteX32" fmla="*/ 258429 w 290212"/>
                <a:gd name="connsiteY32" fmla="*/ 164357 h 531171"/>
                <a:gd name="connsiteX33" fmla="*/ 278675 w 290212"/>
                <a:gd name="connsiteY33" fmla="*/ 94372 h 531171"/>
                <a:gd name="connsiteX0" fmla="*/ 177809 w 290212"/>
                <a:gd name="connsiteY0" fmla="*/ 206832 h 530917"/>
                <a:gd name="connsiteX1" fmla="*/ 229031 w 290212"/>
                <a:gd name="connsiteY1" fmla="*/ 248284 h 530917"/>
                <a:gd name="connsiteX2" fmla="*/ 167733 w 290212"/>
                <a:gd name="connsiteY2" fmla="*/ 314647 h 530917"/>
                <a:gd name="connsiteX3" fmla="*/ 58051 w 290212"/>
                <a:gd name="connsiteY3" fmla="*/ 271154 h 530917"/>
                <a:gd name="connsiteX4" fmla="*/ 133422 w 290212"/>
                <a:gd name="connsiteY4" fmla="*/ 206680 h 530917"/>
                <a:gd name="connsiteX5" fmla="*/ 177809 w 290212"/>
                <a:gd name="connsiteY5" fmla="*/ 206832 h 530917"/>
                <a:gd name="connsiteX6" fmla="*/ 278675 w 290212"/>
                <a:gd name="connsiteY6" fmla="*/ 94118 h 530917"/>
                <a:gd name="connsiteX7" fmla="*/ 157675 w 290212"/>
                <a:gd name="connsiteY7" fmla="*/ 1118 h 530917"/>
                <a:gd name="connsiteX8" fmla="*/ 36062 w 290212"/>
                <a:gd name="connsiteY8" fmla="*/ 24895 h 530917"/>
                <a:gd name="connsiteX9" fmla="*/ 56451 w 290212"/>
                <a:gd name="connsiteY9" fmla="*/ 77391 h 530917"/>
                <a:gd name="connsiteX10" fmla="*/ 146418 w 290212"/>
                <a:gd name="connsiteY10" fmla="*/ 49745 h 530917"/>
                <a:gd name="connsiteX11" fmla="*/ 214621 w 290212"/>
                <a:gd name="connsiteY11" fmla="*/ 118534 h 530917"/>
                <a:gd name="connsiteX12" fmla="*/ 167231 w 290212"/>
                <a:gd name="connsiteY12" fmla="*/ 144725 h 530917"/>
                <a:gd name="connsiteX13" fmla="*/ 166473 w 290212"/>
                <a:gd name="connsiteY13" fmla="*/ 144901 h 530917"/>
                <a:gd name="connsiteX14" fmla="*/ 165216 w 290212"/>
                <a:gd name="connsiteY14" fmla="*/ 144034 h 530917"/>
                <a:gd name="connsiteX15" fmla="*/ 87058 w 290212"/>
                <a:gd name="connsiteY15" fmla="*/ 155989 h 530917"/>
                <a:gd name="connsiteX16" fmla="*/ 1155 w 290212"/>
                <a:gd name="connsiteY16" fmla="*/ 260972 h 530917"/>
                <a:gd name="connsiteX17" fmla="*/ 33039 w 290212"/>
                <a:gd name="connsiteY17" fmla="*/ 315329 h 530917"/>
                <a:gd name="connsiteX18" fmla="*/ 60557 w 290212"/>
                <a:gd name="connsiteY18" fmla="*/ 329731 h 530917"/>
                <a:gd name="connsiteX19" fmla="*/ 31878 w 290212"/>
                <a:gd name="connsiteY19" fmla="*/ 350198 h 530917"/>
                <a:gd name="connsiteX20" fmla="*/ 4066 w 290212"/>
                <a:gd name="connsiteY20" fmla="*/ 414662 h 530917"/>
                <a:gd name="connsiteX21" fmla="*/ 103383 w 290212"/>
                <a:gd name="connsiteY21" fmla="*/ 525256 h 530917"/>
                <a:gd name="connsiteX22" fmla="*/ 168263 w 290212"/>
                <a:gd name="connsiteY22" fmla="*/ 529595 h 530917"/>
                <a:gd name="connsiteX23" fmla="*/ 265043 w 290212"/>
                <a:gd name="connsiteY23" fmla="*/ 499775 h 530917"/>
                <a:gd name="connsiteX24" fmla="*/ 243069 w 290212"/>
                <a:gd name="connsiteY24" fmla="*/ 441022 h 530917"/>
                <a:gd name="connsiteX25" fmla="*/ 148998 w 290212"/>
                <a:gd name="connsiteY25" fmla="*/ 469978 h 530917"/>
                <a:gd name="connsiteX26" fmla="*/ 77684 w 290212"/>
                <a:gd name="connsiteY26" fmla="*/ 397928 h 530917"/>
                <a:gd name="connsiteX27" fmla="*/ 127236 w 290212"/>
                <a:gd name="connsiteY27" fmla="*/ 370495 h 530917"/>
                <a:gd name="connsiteX28" fmla="*/ 155650 w 290212"/>
                <a:gd name="connsiteY28" fmla="*/ 367968 h 530917"/>
                <a:gd name="connsiteX29" fmla="*/ 289517 w 290212"/>
                <a:gd name="connsiteY29" fmla="*/ 293843 h 530917"/>
                <a:gd name="connsiteX30" fmla="*/ 244067 w 290212"/>
                <a:gd name="connsiteY30" fmla="*/ 194693 h 530917"/>
                <a:gd name="connsiteX31" fmla="*/ 228089 w 290212"/>
                <a:gd name="connsiteY31" fmla="*/ 185718 h 530917"/>
                <a:gd name="connsiteX32" fmla="*/ 258429 w 290212"/>
                <a:gd name="connsiteY32" fmla="*/ 164103 h 530917"/>
                <a:gd name="connsiteX33" fmla="*/ 278675 w 290212"/>
                <a:gd name="connsiteY33" fmla="*/ 94118 h 530917"/>
                <a:gd name="connsiteX0" fmla="*/ 177809 w 290212"/>
                <a:gd name="connsiteY0" fmla="*/ 206583 h 530668"/>
                <a:gd name="connsiteX1" fmla="*/ 229031 w 290212"/>
                <a:gd name="connsiteY1" fmla="*/ 248035 h 530668"/>
                <a:gd name="connsiteX2" fmla="*/ 167733 w 290212"/>
                <a:gd name="connsiteY2" fmla="*/ 314398 h 530668"/>
                <a:gd name="connsiteX3" fmla="*/ 58051 w 290212"/>
                <a:gd name="connsiteY3" fmla="*/ 270905 h 530668"/>
                <a:gd name="connsiteX4" fmla="*/ 133422 w 290212"/>
                <a:gd name="connsiteY4" fmla="*/ 206431 h 530668"/>
                <a:gd name="connsiteX5" fmla="*/ 177809 w 290212"/>
                <a:gd name="connsiteY5" fmla="*/ 206583 h 530668"/>
                <a:gd name="connsiteX6" fmla="*/ 278675 w 290212"/>
                <a:gd name="connsiteY6" fmla="*/ 93869 h 530668"/>
                <a:gd name="connsiteX7" fmla="*/ 157675 w 290212"/>
                <a:gd name="connsiteY7" fmla="*/ 869 h 530668"/>
                <a:gd name="connsiteX8" fmla="*/ 36062 w 290212"/>
                <a:gd name="connsiteY8" fmla="*/ 24646 h 530668"/>
                <a:gd name="connsiteX9" fmla="*/ 56451 w 290212"/>
                <a:gd name="connsiteY9" fmla="*/ 77142 h 530668"/>
                <a:gd name="connsiteX10" fmla="*/ 146418 w 290212"/>
                <a:gd name="connsiteY10" fmla="*/ 49496 h 530668"/>
                <a:gd name="connsiteX11" fmla="*/ 214621 w 290212"/>
                <a:gd name="connsiteY11" fmla="*/ 118285 h 530668"/>
                <a:gd name="connsiteX12" fmla="*/ 167231 w 290212"/>
                <a:gd name="connsiteY12" fmla="*/ 144476 h 530668"/>
                <a:gd name="connsiteX13" fmla="*/ 166473 w 290212"/>
                <a:gd name="connsiteY13" fmla="*/ 144652 h 530668"/>
                <a:gd name="connsiteX14" fmla="*/ 165216 w 290212"/>
                <a:gd name="connsiteY14" fmla="*/ 143785 h 530668"/>
                <a:gd name="connsiteX15" fmla="*/ 87058 w 290212"/>
                <a:gd name="connsiteY15" fmla="*/ 155740 h 530668"/>
                <a:gd name="connsiteX16" fmla="*/ 1155 w 290212"/>
                <a:gd name="connsiteY16" fmla="*/ 260723 h 530668"/>
                <a:gd name="connsiteX17" fmla="*/ 33039 w 290212"/>
                <a:gd name="connsiteY17" fmla="*/ 315080 h 530668"/>
                <a:gd name="connsiteX18" fmla="*/ 60557 w 290212"/>
                <a:gd name="connsiteY18" fmla="*/ 329482 h 530668"/>
                <a:gd name="connsiteX19" fmla="*/ 31878 w 290212"/>
                <a:gd name="connsiteY19" fmla="*/ 349949 h 530668"/>
                <a:gd name="connsiteX20" fmla="*/ 4066 w 290212"/>
                <a:gd name="connsiteY20" fmla="*/ 414413 h 530668"/>
                <a:gd name="connsiteX21" fmla="*/ 103383 w 290212"/>
                <a:gd name="connsiteY21" fmla="*/ 525007 h 530668"/>
                <a:gd name="connsiteX22" fmla="*/ 168263 w 290212"/>
                <a:gd name="connsiteY22" fmla="*/ 529346 h 530668"/>
                <a:gd name="connsiteX23" fmla="*/ 265043 w 290212"/>
                <a:gd name="connsiteY23" fmla="*/ 499526 h 530668"/>
                <a:gd name="connsiteX24" fmla="*/ 243069 w 290212"/>
                <a:gd name="connsiteY24" fmla="*/ 440773 h 530668"/>
                <a:gd name="connsiteX25" fmla="*/ 148998 w 290212"/>
                <a:gd name="connsiteY25" fmla="*/ 469729 h 530668"/>
                <a:gd name="connsiteX26" fmla="*/ 77684 w 290212"/>
                <a:gd name="connsiteY26" fmla="*/ 397679 h 530668"/>
                <a:gd name="connsiteX27" fmla="*/ 127236 w 290212"/>
                <a:gd name="connsiteY27" fmla="*/ 370246 h 530668"/>
                <a:gd name="connsiteX28" fmla="*/ 155650 w 290212"/>
                <a:gd name="connsiteY28" fmla="*/ 367719 h 530668"/>
                <a:gd name="connsiteX29" fmla="*/ 289517 w 290212"/>
                <a:gd name="connsiteY29" fmla="*/ 293594 h 530668"/>
                <a:gd name="connsiteX30" fmla="*/ 244067 w 290212"/>
                <a:gd name="connsiteY30" fmla="*/ 194444 h 530668"/>
                <a:gd name="connsiteX31" fmla="*/ 228089 w 290212"/>
                <a:gd name="connsiteY31" fmla="*/ 185469 h 530668"/>
                <a:gd name="connsiteX32" fmla="*/ 258429 w 290212"/>
                <a:gd name="connsiteY32" fmla="*/ 163854 h 530668"/>
                <a:gd name="connsiteX33" fmla="*/ 278675 w 290212"/>
                <a:gd name="connsiteY33" fmla="*/ 93869 h 530668"/>
                <a:gd name="connsiteX0" fmla="*/ 177809 w 290212"/>
                <a:gd name="connsiteY0" fmla="*/ 206904 h 530989"/>
                <a:gd name="connsiteX1" fmla="*/ 229031 w 290212"/>
                <a:gd name="connsiteY1" fmla="*/ 248356 h 530989"/>
                <a:gd name="connsiteX2" fmla="*/ 167733 w 290212"/>
                <a:gd name="connsiteY2" fmla="*/ 314719 h 530989"/>
                <a:gd name="connsiteX3" fmla="*/ 58051 w 290212"/>
                <a:gd name="connsiteY3" fmla="*/ 271226 h 530989"/>
                <a:gd name="connsiteX4" fmla="*/ 133422 w 290212"/>
                <a:gd name="connsiteY4" fmla="*/ 206752 h 530989"/>
                <a:gd name="connsiteX5" fmla="*/ 177809 w 290212"/>
                <a:gd name="connsiteY5" fmla="*/ 206904 h 530989"/>
                <a:gd name="connsiteX6" fmla="*/ 278675 w 290212"/>
                <a:gd name="connsiteY6" fmla="*/ 94190 h 530989"/>
                <a:gd name="connsiteX7" fmla="*/ 157675 w 290212"/>
                <a:gd name="connsiteY7" fmla="*/ 1190 h 530989"/>
                <a:gd name="connsiteX8" fmla="*/ 36062 w 290212"/>
                <a:gd name="connsiteY8" fmla="*/ 24967 h 530989"/>
                <a:gd name="connsiteX9" fmla="*/ 56451 w 290212"/>
                <a:gd name="connsiteY9" fmla="*/ 77463 h 530989"/>
                <a:gd name="connsiteX10" fmla="*/ 146418 w 290212"/>
                <a:gd name="connsiteY10" fmla="*/ 49817 h 530989"/>
                <a:gd name="connsiteX11" fmla="*/ 214621 w 290212"/>
                <a:gd name="connsiteY11" fmla="*/ 118606 h 530989"/>
                <a:gd name="connsiteX12" fmla="*/ 167231 w 290212"/>
                <a:gd name="connsiteY12" fmla="*/ 144797 h 530989"/>
                <a:gd name="connsiteX13" fmla="*/ 166473 w 290212"/>
                <a:gd name="connsiteY13" fmla="*/ 144973 h 530989"/>
                <a:gd name="connsiteX14" fmla="*/ 165216 w 290212"/>
                <a:gd name="connsiteY14" fmla="*/ 144106 h 530989"/>
                <a:gd name="connsiteX15" fmla="*/ 87058 w 290212"/>
                <a:gd name="connsiteY15" fmla="*/ 156061 h 530989"/>
                <a:gd name="connsiteX16" fmla="*/ 1155 w 290212"/>
                <a:gd name="connsiteY16" fmla="*/ 261044 h 530989"/>
                <a:gd name="connsiteX17" fmla="*/ 33039 w 290212"/>
                <a:gd name="connsiteY17" fmla="*/ 315401 h 530989"/>
                <a:gd name="connsiteX18" fmla="*/ 60557 w 290212"/>
                <a:gd name="connsiteY18" fmla="*/ 329803 h 530989"/>
                <a:gd name="connsiteX19" fmla="*/ 31878 w 290212"/>
                <a:gd name="connsiteY19" fmla="*/ 350270 h 530989"/>
                <a:gd name="connsiteX20" fmla="*/ 4066 w 290212"/>
                <a:gd name="connsiteY20" fmla="*/ 414734 h 530989"/>
                <a:gd name="connsiteX21" fmla="*/ 103383 w 290212"/>
                <a:gd name="connsiteY21" fmla="*/ 525328 h 530989"/>
                <a:gd name="connsiteX22" fmla="*/ 168263 w 290212"/>
                <a:gd name="connsiteY22" fmla="*/ 529667 h 530989"/>
                <a:gd name="connsiteX23" fmla="*/ 265043 w 290212"/>
                <a:gd name="connsiteY23" fmla="*/ 499847 h 530989"/>
                <a:gd name="connsiteX24" fmla="*/ 243069 w 290212"/>
                <a:gd name="connsiteY24" fmla="*/ 441094 h 530989"/>
                <a:gd name="connsiteX25" fmla="*/ 148998 w 290212"/>
                <a:gd name="connsiteY25" fmla="*/ 470050 h 530989"/>
                <a:gd name="connsiteX26" fmla="*/ 77684 w 290212"/>
                <a:gd name="connsiteY26" fmla="*/ 398000 h 530989"/>
                <a:gd name="connsiteX27" fmla="*/ 127236 w 290212"/>
                <a:gd name="connsiteY27" fmla="*/ 370567 h 530989"/>
                <a:gd name="connsiteX28" fmla="*/ 155650 w 290212"/>
                <a:gd name="connsiteY28" fmla="*/ 368040 h 530989"/>
                <a:gd name="connsiteX29" fmla="*/ 289517 w 290212"/>
                <a:gd name="connsiteY29" fmla="*/ 293915 h 530989"/>
                <a:gd name="connsiteX30" fmla="*/ 244067 w 290212"/>
                <a:gd name="connsiteY30" fmla="*/ 194765 h 530989"/>
                <a:gd name="connsiteX31" fmla="*/ 228089 w 290212"/>
                <a:gd name="connsiteY31" fmla="*/ 185790 h 530989"/>
                <a:gd name="connsiteX32" fmla="*/ 258429 w 290212"/>
                <a:gd name="connsiteY32" fmla="*/ 164175 h 530989"/>
                <a:gd name="connsiteX33" fmla="*/ 278675 w 290212"/>
                <a:gd name="connsiteY33" fmla="*/ 94190 h 530989"/>
                <a:gd name="connsiteX0" fmla="*/ 177809 w 290212"/>
                <a:gd name="connsiteY0" fmla="*/ 207400 h 531485"/>
                <a:gd name="connsiteX1" fmla="*/ 229031 w 290212"/>
                <a:gd name="connsiteY1" fmla="*/ 248852 h 531485"/>
                <a:gd name="connsiteX2" fmla="*/ 167733 w 290212"/>
                <a:gd name="connsiteY2" fmla="*/ 315215 h 531485"/>
                <a:gd name="connsiteX3" fmla="*/ 58051 w 290212"/>
                <a:gd name="connsiteY3" fmla="*/ 271722 h 531485"/>
                <a:gd name="connsiteX4" fmla="*/ 133422 w 290212"/>
                <a:gd name="connsiteY4" fmla="*/ 207248 h 531485"/>
                <a:gd name="connsiteX5" fmla="*/ 177809 w 290212"/>
                <a:gd name="connsiteY5" fmla="*/ 207400 h 531485"/>
                <a:gd name="connsiteX6" fmla="*/ 278675 w 290212"/>
                <a:gd name="connsiteY6" fmla="*/ 94686 h 531485"/>
                <a:gd name="connsiteX7" fmla="*/ 162891 w 290212"/>
                <a:gd name="connsiteY7" fmla="*/ 1162 h 531485"/>
                <a:gd name="connsiteX8" fmla="*/ 36062 w 290212"/>
                <a:gd name="connsiteY8" fmla="*/ 25463 h 531485"/>
                <a:gd name="connsiteX9" fmla="*/ 56451 w 290212"/>
                <a:gd name="connsiteY9" fmla="*/ 77959 h 531485"/>
                <a:gd name="connsiteX10" fmla="*/ 146418 w 290212"/>
                <a:gd name="connsiteY10" fmla="*/ 50313 h 531485"/>
                <a:gd name="connsiteX11" fmla="*/ 214621 w 290212"/>
                <a:gd name="connsiteY11" fmla="*/ 119102 h 531485"/>
                <a:gd name="connsiteX12" fmla="*/ 167231 w 290212"/>
                <a:gd name="connsiteY12" fmla="*/ 145293 h 531485"/>
                <a:gd name="connsiteX13" fmla="*/ 166473 w 290212"/>
                <a:gd name="connsiteY13" fmla="*/ 145469 h 531485"/>
                <a:gd name="connsiteX14" fmla="*/ 165216 w 290212"/>
                <a:gd name="connsiteY14" fmla="*/ 144602 h 531485"/>
                <a:gd name="connsiteX15" fmla="*/ 87058 w 290212"/>
                <a:gd name="connsiteY15" fmla="*/ 156557 h 531485"/>
                <a:gd name="connsiteX16" fmla="*/ 1155 w 290212"/>
                <a:gd name="connsiteY16" fmla="*/ 261540 h 531485"/>
                <a:gd name="connsiteX17" fmla="*/ 33039 w 290212"/>
                <a:gd name="connsiteY17" fmla="*/ 315897 h 531485"/>
                <a:gd name="connsiteX18" fmla="*/ 60557 w 290212"/>
                <a:gd name="connsiteY18" fmla="*/ 330299 h 531485"/>
                <a:gd name="connsiteX19" fmla="*/ 31878 w 290212"/>
                <a:gd name="connsiteY19" fmla="*/ 350766 h 531485"/>
                <a:gd name="connsiteX20" fmla="*/ 4066 w 290212"/>
                <a:gd name="connsiteY20" fmla="*/ 415230 h 531485"/>
                <a:gd name="connsiteX21" fmla="*/ 103383 w 290212"/>
                <a:gd name="connsiteY21" fmla="*/ 525824 h 531485"/>
                <a:gd name="connsiteX22" fmla="*/ 168263 w 290212"/>
                <a:gd name="connsiteY22" fmla="*/ 530163 h 531485"/>
                <a:gd name="connsiteX23" fmla="*/ 265043 w 290212"/>
                <a:gd name="connsiteY23" fmla="*/ 500343 h 531485"/>
                <a:gd name="connsiteX24" fmla="*/ 243069 w 290212"/>
                <a:gd name="connsiteY24" fmla="*/ 441590 h 531485"/>
                <a:gd name="connsiteX25" fmla="*/ 148998 w 290212"/>
                <a:gd name="connsiteY25" fmla="*/ 470546 h 531485"/>
                <a:gd name="connsiteX26" fmla="*/ 77684 w 290212"/>
                <a:gd name="connsiteY26" fmla="*/ 398496 h 531485"/>
                <a:gd name="connsiteX27" fmla="*/ 127236 w 290212"/>
                <a:gd name="connsiteY27" fmla="*/ 371063 h 531485"/>
                <a:gd name="connsiteX28" fmla="*/ 155650 w 290212"/>
                <a:gd name="connsiteY28" fmla="*/ 368536 h 531485"/>
                <a:gd name="connsiteX29" fmla="*/ 289517 w 290212"/>
                <a:gd name="connsiteY29" fmla="*/ 294411 h 531485"/>
                <a:gd name="connsiteX30" fmla="*/ 244067 w 290212"/>
                <a:gd name="connsiteY30" fmla="*/ 195261 h 531485"/>
                <a:gd name="connsiteX31" fmla="*/ 228089 w 290212"/>
                <a:gd name="connsiteY31" fmla="*/ 186286 h 531485"/>
                <a:gd name="connsiteX32" fmla="*/ 258429 w 290212"/>
                <a:gd name="connsiteY32" fmla="*/ 164671 h 531485"/>
                <a:gd name="connsiteX33" fmla="*/ 278675 w 290212"/>
                <a:gd name="connsiteY33" fmla="*/ 94686 h 531485"/>
                <a:gd name="connsiteX0" fmla="*/ 177809 w 290212"/>
                <a:gd name="connsiteY0" fmla="*/ 209319 h 533404"/>
                <a:gd name="connsiteX1" fmla="*/ 229031 w 290212"/>
                <a:gd name="connsiteY1" fmla="*/ 250771 h 533404"/>
                <a:gd name="connsiteX2" fmla="*/ 167733 w 290212"/>
                <a:gd name="connsiteY2" fmla="*/ 317134 h 533404"/>
                <a:gd name="connsiteX3" fmla="*/ 58051 w 290212"/>
                <a:gd name="connsiteY3" fmla="*/ 273641 h 533404"/>
                <a:gd name="connsiteX4" fmla="*/ 133422 w 290212"/>
                <a:gd name="connsiteY4" fmla="*/ 209167 h 533404"/>
                <a:gd name="connsiteX5" fmla="*/ 177809 w 290212"/>
                <a:gd name="connsiteY5" fmla="*/ 209319 h 533404"/>
                <a:gd name="connsiteX6" fmla="*/ 275295 w 290212"/>
                <a:gd name="connsiteY6" fmla="*/ 95481 h 533404"/>
                <a:gd name="connsiteX7" fmla="*/ 162891 w 290212"/>
                <a:gd name="connsiteY7" fmla="*/ 3081 h 533404"/>
                <a:gd name="connsiteX8" fmla="*/ 36062 w 290212"/>
                <a:gd name="connsiteY8" fmla="*/ 27382 h 533404"/>
                <a:gd name="connsiteX9" fmla="*/ 56451 w 290212"/>
                <a:gd name="connsiteY9" fmla="*/ 79878 h 533404"/>
                <a:gd name="connsiteX10" fmla="*/ 146418 w 290212"/>
                <a:gd name="connsiteY10" fmla="*/ 52232 h 533404"/>
                <a:gd name="connsiteX11" fmla="*/ 214621 w 290212"/>
                <a:gd name="connsiteY11" fmla="*/ 121021 h 533404"/>
                <a:gd name="connsiteX12" fmla="*/ 167231 w 290212"/>
                <a:gd name="connsiteY12" fmla="*/ 147212 h 533404"/>
                <a:gd name="connsiteX13" fmla="*/ 166473 w 290212"/>
                <a:gd name="connsiteY13" fmla="*/ 147388 h 533404"/>
                <a:gd name="connsiteX14" fmla="*/ 165216 w 290212"/>
                <a:gd name="connsiteY14" fmla="*/ 146521 h 533404"/>
                <a:gd name="connsiteX15" fmla="*/ 87058 w 290212"/>
                <a:gd name="connsiteY15" fmla="*/ 158476 h 533404"/>
                <a:gd name="connsiteX16" fmla="*/ 1155 w 290212"/>
                <a:gd name="connsiteY16" fmla="*/ 263459 h 533404"/>
                <a:gd name="connsiteX17" fmla="*/ 33039 w 290212"/>
                <a:gd name="connsiteY17" fmla="*/ 317816 h 533404"/>
                <a:gd name="connsiteX18" fmla="*/ 60557 w 290212"/>
                <a:gd name="connsiteY18" fmla="*/ 332218 h 533404"/>
                <a:gd name="connsiteX19" fmla="*/ 31878 w 290212"/>
                <a:gd name="connsiteY19" fmla="*/ 352685 h 533404"/>
                <a:gd name="connsiteX20" fmla="*/ 4066 w 290212"/>
                <a:gd name="connsiteY20" fmla="*/ 417149 h 533404"/>
                <a:gd name="connsiteX21" fmla="*/ 103383 w 290212"/>
                <a:gd name="connsiteY21" fmla="*/ 527743 h 533404"/>
                <a:gd name="connsiteX22" fmla="*/ 168263 w 290212"/>
                <a:gd name="connsiteY22" fmla="*/ 532082 h 533404"/>
                <a:gd name="connsiteX23" fmla="*/ 265043 w 290212"/>
                <a:gd name="connsiteY23" fmla="*/ 502262 h 533404"/>
                <a:gd name="connsiteX24" fmla="*/ 243069 w 290212"/>
                <a:gd name="connsiteY24" fmla="*/ 443509 h 533404"/>
                <a:gd name="connsiteX25" fmla="*/ 148998 w 290212"/>
                <a:gd name="connsiteY25" fmla="*/ 472465 h 533404"/>
                <a:gd name="connsiteX26" fmla="*/ 77684 w 290212"/>
                <a:gd name="connsiteY26" fmla="*/ 400415 h 533404"/>
                <a:gd name="connsiteX27" fmla="*/ 127236 w 290212"/>
                <a:gd name="connsiteY27" fmla="*/ 372982 h 533404"/>
                <a:gd name="connsiteX28" fmla="*/ 155650 w 290212"/>
                <a:gd name="connsiteY28" fmla="*/ 370455 h 533404"/>
                <a:gd name="connsiteX29" fmla="*/ 289517 w 290212"/>
                <a:gd name="connsiteY29" fmla="*/ 296330 h 533404"/>
                <a:gd name="connsiteX30" fmla="*/ 244067 w 290212"/>
                <a:gd name="connsiteY30" fmla="*/ 197180 h 533404"/>
                <a:gd name="connsiteX31" fmla="*/ 228089 w 290212"/>
                <a:gd name="connsiteY31" fmla="*/ 188205 h 533404"/>
                <a:gd name="connsiteX32" fmla="*/ 258429 w 290212"/>
                <a:gd name="connsiteY32" fmla="*/ 166590 h 533404"/>
                <a:gd name="connsiteX33" fmla="*/ 275295 w 290212"/>
                <a:gd name="connsiteY33" fmla="*/ 95481 h 533404"/>
                <a:gd name="connsiteX0" fmla="*/ 177809 w 290212"/>
                <a:gd name="connsiteY0" fmla="*/ 207462 h 531547"/>
                <a:gd name="connsiteX1" fmla="*/ 229031 w 290212"/>
                <a:gd name="connsiteY1" fmla="*/ 248914 h 531547"/>
                <a:gd name="connsiteX2" fmla="*/ 167733 w 290212"/>
                <a:gd name="connsiteY2" fmla="*/ 315277 h 531547"/>
                <a:gd name="connsiteX3" fmla="*/ 58051 w 290212"/>
                <a:gd name="connsiteY3" fmla="*/ 271784 h 531547"/>
                <a:gd name="connsiteX4" fmla="*/ 133422 w 290212"/>
                <a:gd name="connsiteY4" fmla="*/ 207310 h 531547"/>
                <a:gd name="connsiteX5" fmla="*/ 177809 w 290212"/>
                <a:gd name="connsiteY5" fmla="*/ 207462 h 531547"/>
                <a:gd name="connsiteX6" fmla="*/ 275295 w 290212"/>
                <a:gd name="connsiteY6" fmla="*/ 93624 h 531547"/>
                <a:gd name="connsiteX7" fmla="*/ 162891 w 290212"/>
                <a:gd name="connsiteY7" fmla="*/ 1224 h 531547"/>
                <a:gd name="connsiteX8" fmla="*/ 36062 w 290212"/>
                <a:gd name="connsiteY8" fmla="*/ 25525 h 531547"/>
                <a:gd name="connsiteX9" fmla="*/ 56451 w 290212"/>
                <a:gd name="connsiteY9" fmla="*/ 78021 h 531547"/>
                <a:gd name="connsiteX10" fmla="*/ 146418 w 290212"/>
                <a:gd name="connsiteY10" fmla="*/ 50375 h 531547"/>
                <a:gd name="connsiteX11" fmla="*/ 214621 w 290212"/>
                <a:gd name="connsiteY11" fmla="*/ 119164 h 531547"/>
                <a:gd name="connsiteX12" fmla="*/ 167231 w 290212"/>
                <a:gd name="connsiteY12" fmla="*/ 145355 h 531547"/>
                <a:gd name="connsiteX13" fmla="*/ 166473 w 290212"/>
                <a:gd name="connsiteY13" fmla="*/ 145531 h 531547"/>
                <a:gd name="connsiteX14" fmla="*/ 165216 w 290212"/>
                <a:gd name="connsiteY14" fmla="*/ 144664 h 531547"/>
                <a:gd name="connsiteX15" fmla="*/ 87058 w 290212"/>
                <a:gd name="connsiteY15" fmla="*/ 156619 h 531547"/>
                <a:gd name="connsiteX16" fmla="*/ 1155 w 290212"/>
                <a:gd name="connsiteY16" fmla="*/ 261602 h 531547"/>
                <a:gd name="connsiteX17" fmla="*/ 33039 w 290212"/>
                <a:gd name="connsiteY17" fmla="*/ 315959 h 531547"/>
                <a:gd name="connsiteX18" fmla="*/ 60557 w 290212"/>
                <a:gd name="connsiteY18" fmla="*/ 330361 h 531547"/>
                <a:gd name="connsiteX19" fmla="*/ 31878 w 290212"/>
                <a:gd name="connsiteY19" fmla="*/ 350828 h 531547"/>
                <a:gd name="connsiteX20" fmla="*/ 4066 w 290212"/>
                <a:gd name="connsiteY20" fmla="*/ 415292 h 531547"/>
                <a:gd name="connsiteX21" fmla="*/ 103383 w 290212"/>
                <a:gd name="connsiteY21" fmla="*/ 525886 h 531547"/>
                <a:gd name="connsiteX22" fmla="*/ 168263 w 290212"/>
                <a:gd name="connsiteY22" fmla="*/ 530225 h 531547"/>
                <a:gd name="connsiteX23" fmla="*/ 265043 w 290212"/>
                <a:gd name="connsiteY23" fmla="*/ 500405 h 531547"/>
                <a:gd name="connsiteX24" fmla="*/ 243069 w 290212"/>
                <a:gd name="connsiteY24" fmla="*/ 441652 h 531547"/>
                <a:gd name="connsiteX25" fmla="*/ 148998 w 290212"/>
                <a:gd name="connsiteY25" fmla="*/ 470608 h 531547"/>
                <a:gd name="connsiteX26" fmla="*/ 77684 w 290212"/>
                <a:gd name="connsiteY26" fmla="*/ 398558 h 531547"/>
                <a:gd name="connsiteX27" fmla="*/ 127236 w 290212"/>
                <a:gd name="connsiteY27" fmla="*/ 371125 h 531547"/>
                <a:gd name="connsiteX28" fmla="*/ 155650 w 290212"/>
                <a:gd name="connsiteY28" fmla="*/ 368598 h 531547"/>
                <a:gd name="connsiteX29" fmla="*/ 289517 w 290212"/>
                <a:gd name="connsiteY29" fmla="*/ 294473 h 531547"/>
                <a:gd name="connsiteX30" fmla="*/ 244067 w 290212"/>
                <a:gd name="connsiteY30" fmla="*/ 195323 h 531547"/>
                <a:gd name="connsiteX31" fmla="*/ 228089 w 290212"/>
                <a:gd name="connsiteY31" fmla="*/ 186348 h 531547"/>
                <a:gd name="connsiteX32" fmla="*/ 258429 w 290212"/>
                <a:gd name="connsiteY32" fmla="*/ 164733 h 531547"/>
                <a:gd name="connsiteX33" fmla="*/ 275295 w 290212"/>
                <a:gd name="connsiteY33" fmla="*/ 93624 h 531547"/>
                <a:gd name="connsiteX0" fmla="*/ 177809 w 290212"/>
                <a:gd name="connsiteY0" fmla="*/ 208185 h 532270"/>
                <a:gd name="connsiteX1" fmla="*/ 229031 w 290212"/>
                <a:gd name="connsiteY1" fmla="*/ 249637 h 532270"/>
                <a:gd name="connsiteX2" fmla="*/ 167733 w 290212"/>
                <a:gd name="connsiteY2" fmla="*/ 316000 h 532270"/>
                <a:gd name="connsiteX3" fmla="*/ 58051 w 290212"/>
                <a:gd name="connsiteY3" fmla="*/ 272507 h 532270"/>
                <a:gd name="connsiteX4" fmla="*/ 133422 w 290212"/>
                <a:gd name="connsiteY4" fmla="*/ 208033 h 532270"/>
                <a:gd name="connsiteX5" fmla="*/ 177809 w 290212"/>
                <a:gd name="connsiteY5" fmla="*/ 208185 h 532270"/>
                <a:gd name="connsiteX6" fmla="*/ 275295 w 290212"/>
                <a:gd name="connsiteY6" fmla="*/ 94347 h 532270"/>
                <a:gd name="connsiteX7" fmla="*/ 164669 w 290212"/>
                <a:gd name="connsiteY7" fmla="*/ 1183 h 532270"/>
                <a:gd name="connsiteX8" fmla="*/ 36062 w 290212"/>
                <a:gd name="connsiteY8" fmla="*/ 26248 h 532270"/>
                <a:gd name="connsiteX9" fmla="*/ 56451 w 290212"/>
                <a:gd name="connsiteY9" fmla="*/ 78744 h 532270"/>
                <a:gd name="connsiteX10" fmla="*/ 146418 w 290212"/>
                <a:gd name="connsiteY10" fmla="*/ 51098 h 532270"/>
                <a:gd name="connsiteX11" fmla="*/ 214621 w 290212"/>
                <a:gd name="connsiteY11" fmla="*/ 119887 h 532270"/>
                <a:gd name="connsiteX12" fmla="*/ 167231 w 290212"/>
                <a:gd name="connsiteY12" fmla="*/ 146078 h 532270"/>
                <a:gd name="connsiteX13" fmla="*/ 166473 w 290212"/>
                <a:gd name="connsiteY13" fmla="*/ 146254 h 532270"/>
                <a:gd name="connsiteX14" fmla="*/ 165216 w 290212"/>
                <a:gd name="connsiteY14" fmla="*/ 145387 h 532270"/>
                <a:gd name="connsiteX15" fmla="*/ 87058 w 290212"/>
                <a:gd name="connsiteY15" fmla="*/ 157342 h 532270"/>
                <a:gd name="connsiteX16" fmla="*/ 1155 w 290212"/>
                <a:gd name="connsiteY16" fmla="*/ 262325 h 532270"/>
                <a:gd name="connsiteX17" fmla="*/ 33039 w 290212"/>
                <a:gd name="connsiteY17" fmla="*/ 316682 h 532270"/>
                <a:gd name="connsiteX18" fmla="*/ 60557 w 290212"/>
                <a:gd name="connsiteY18" fmla="*/ 331084 h 532270"/>
                <a:gd name="connsiteX19" fmla="*/ 31878 w 290212"/>
                <a:gd name="connsiteY19" fmla="*/ 351551 h 532270"/>
                <a:gd name="connsiteX20" fmla="*/ 4066 w 290212"/>
                <a:gd name="connsiteY20" fmla="*/ 416015 h 532270"/>
                <a:gd name="connsiteX21" fmla="*/ 103383 w 290212"/>
                <a:gd name="connsiteY21" fmla="*/ 526609 h 532270"/>
                <a:gd name="connsiteX22" fmla="*/ 168263 w 290212"/>
                <a:gd name="connsiteY22" fmla="*/ 530948 h 532270"/>
                <a:gd name="connsiteX23" fmla="*/ 265043 w 290212"/>
                <a:gd name="connsiteY23" fmla="*/ 501128 h 532270"/>
                <a:gd name="connsiteX24" fmla="*/ 243069 w 290212"/>
                <a:gd name="connsiteY24" fmla="*/ 442375 h 532270"/>
                <a:gd name="connsiteX25" fmla="*/ 148998 w 290212"/>
                <a:gd name="connsiteY25" fmla="*/ 471331 h 532270"/>
                <a:gd name="connsiteX26" fmla="*/ 77684 w 290212"/>
                <a:gd name="connsiteY26" fmla="*/ 399281 h 532270"/>
                <a:gd name="connsiteX27" fmla="*/ 127236 w 290212"/>
                <a:gd name="connsiteY27" fmla="*/ 371848 h 532270"/>
                <a:gd name="connsiteX28" fmla="*/ 155650 w 290212"/>
                <a:gd name="connsiteY28" fmla="*/ 369321 h 532270"/>
                <a:gd name="connsiteX29" fmla="*/ 289517 w 290212"/>
                <a:gd name="connsiteY29" fmla="*/ 295196 h 532270"/>
                <a:gd name="connsiteX30" fmla="*/ 244067 w 290212"/>
                <a:gd name="connsiteY30" fmla="*/ 196046 h 532270"/>
                <a:gd name="connsiteX31" fmla="*/ 228089 w 290212"/>
                <a:gd name="connsiteY31" fmla="*/ 187071 h 532270"/>
                <a:gd name="connsiteX32" fmla="*/ 258429 w 290212"/>
                <a:gd name="connsiteY32" fmla="*/ 165456 h 532270"/>
                <a:gd name="connsiteX33" fmla="*/ 275295 w 290212"/>
                <a:gd name="connsiteY33" fmla="*/ 94347 h 532270"/>
                <a:gd name="connsiteX0" fmla="*/ 177809 w 290212"/>
                <a:gd name="connsiteY0" fmla="*/ 208185 h 532270"/>
                <a:gd name="connsiteX1" fmla="*/ 229031 w 290212"/>
                <a:gd name="connsiteY1" fmla="*/ 249637 h 532270"/>
                <a:gd name="connsiteX2" fmla="*/ 167733 w 290212"/>
                <a:gd name="connsiteY2" fmla="*/ 316000 h 532270"/>
                <a:gd name="connsiteX3" fmla="*/ 58051 w 290212"/>
                <a:gd name="connsiteY3" fmla="*/ 272507 h 532270"/>
                <a:gd name="connsiteX4" fmla="*/ 133422 w 290212"/>
                <a:gd name="connsiteY4" fmla="*/ 208033 h 532270"/>
                <a:gd name="connsiteX5" fmla="*/ 177809 w 290212"/>
                <a:gd name="connsiteY5" fmla="*/ 208185 h 532270"/>
                <a:gd name="connsiteX6" fmla="*/ 275295 w 290212"/>
                <a:gd name="connsiteY6" fmla="*/ 94347 h 532270"/>
                <a:gd name="connsiteX7" fmla="*/ 164669 w 290212"/>
                <a:gd name="connsiteY7" fmla="*/ 1183 h 532270"/>
                <a:gd name="connsiteX8" fmla="*/ 36062 w 290212"/>
                <a:gd name="connsiteY8" fmla="*/ 26248 h 532270"/>
                <a:gd name="connsiteX9" fmla="*/ 56451 w 290212"/>
                <a:gd name="connsiteY9" fmla="*/ 78744 h 532270"/>
                <a:gd name="connsiteX10" fmla="*/ 146418 w 290212"/>
                <a:gd name="connsiteY10" fmla="*/ 51098 h 532270"/>
                <a:gd name="connsiteX11" fmla="*/ 214621 w 290212"/>
                <a:gd name="connsiteY11" fmla="*/ 119887 h 532270"/>
                <a:gd name="connsiteX12" fmla="*/ 167231 w 290212"/>
                <a:gd name="connsiteY12" fmla="*/ 146078 h 532270"/>
                <a:gd name="connsiteX13" fmla="*/ 166473 w 290212"/>
                <a:gd name="connsiteY13" fmla="*/ 146254 h 532270"/>
                <a:gd name="connsiteX14" fmla="*/ 165216 w 290212"/>
                <a:gd name="connsiteY14" fmla="*/ 145387 h 532270"/>
                <a:gd name="connsiteX15" fmla="*/ 87058 w 290212"/>
                <a:gd name="connsiteY15" fmla="*/ 157342 h 532270"/>
                <a:gd name="connsiteX16" fmla="*/ 1155 w 290212"/>
                <a:gd name="connsiteY16" fmla="*/ 262325 h 532270"/>
                <a:gd name="connsiteX17" fmla="*/ 33039 w 290212"/>
                <a:gd name="connsiteY17" fmla="*/ 316682 h 532270"/>
                <a:gd name="connsiteX18" fmla="*/ 60557 w 290212"/>
                <a:gd name="connsiteY18" fmla="*/ 331084 h 532270"/>
                <a:gd name="connsiteX19" fmla="*/ 31878 w 290212"/>
                <a:gd name="connsiteY19" fmla="*/ 351551 h 532270"/>
                <a:gd name="connsiteX20" fmla="*/ 4066 w 290212"/>
                <a:gd name="connsiteY20" fmla="*/ 416015 h 532270"/>
                <a:gd name="connsiteX21" fmla="*/ 103383 w 290212"/>
                <a:gd name="connsiteY21" fmla="*/ 526609 h 532270"/>
                <a:gd name="connsiteX22" fmla="*/ 168263 w 290212"/>
                <a:gd name="connsiteY22" fmla="*/ 530948 h 532270"/>
                <a:gd name="connsiteX23" fmla="*/ 265043 w 290212"/>
                <a:gd name="connsiteY23" fmla="*/ 501128 h 532270"/>
                <a:gd name="connsiteX24" fmla="*/ 243069 w 290212"/>
                <a:gd name="connsiteY24" fmla="*/ 442375 h 532270"/>
                <a:gd name="connsiteX25" fmla="*/ 148998 w 290212"/>
                <a:gd name="connsiteY25" fmla="*/ 471331 h 532270"/>
                <a:gd name="connsiteX26" fmla="*/ 77684 w 290212"/>
                <a:gd name="connsiteY26" fmla="*/ 399281 h 532270"/>
                <a:gd name="connsiteX27" fmla="*/ 127236 w 290212"/>
                <a:gd name="connsiteY27" fmla="*/ 371848 h 532270"/>
                <a:gd name="connsiteX28" fmla="*/ 155650 w 290212"/>
                <a:gd name="connsiteY28" fmla="*/ 369321 h 532270"/>
                <a:gd name="connsiteX29" fmla="*/ 289517 w 290212"/>
                <a:gd name="connsiteY29" fmla="*/ 295196 h 532270"/>
                <a:gd name="connsiteX30" fmla="*/ 244067 w 290212"/>
                <a:gd name="connsiteY30" fmla="*/ 196046 h 532270"/>
                <a:gd name="connsiteX31" fmla="*/ 228089 w 290212"/>
                <a:gd name="connsiteY31" fmla="*/ 187071 h 532270"/>
                <a:gd name="connsiteX32" fmla="*/ 258429 w 290212"/>
                <a:gd name="connsiteY32" fmla="*/ 165456 h 532270"/>
                <a:gd name="connsiteX33" fmla="*/ 275295 w 290212"/>
                <a:gd name="connsiteY33" fmla="*/ 94347 h 532270"/>
                <a:gd name="connsiteX0" fmla="*/ 177809 w 290212"/>
                <a:gd name="connsiteY0" fmla="*/ 208185 h 532270"/>
                <a:gd name="connsiteX1" fmla="*/ 229031 w 290212"/>
                <a:gd name="connsiteY1" fmla="*/ 249637 h 532270"/>
                <a:gd name="connsiteX2" fmla="*/ 167733 w 290212"/>
                <a:gd name="connsiteY2" fmla="*/ 316000 h 532270"/>
                <a:gd name="connsiteX3" fmla="*/ 58051 w 290212"/>
                <a:gd name="connsiteY3" fmla="*/ 272507 h 532270"/>
                <a:gd name="connsiteX4" fmla="*/ 133422 w 290212"/>
                <a:gd name="connsiteY4" fmla="*/ 208033 h 532270"/>
                <a:gd name="connsiteX5" fmla="*/ 177809 w 290212"/>
                <a:gd name="connsiteY5" fmla="*/ 208185 h 532270"/>
                <a:gd name="connsiteX6" fmla="*/ 275295 w 290212"/>
                <a:gd name="connsiteY6" fmla="*/ 94347 h 532270"/>
                <a:gd name="connsiteX7" fmla="*/ 164669 w 290212"/>
                <a:gd name="connsiteY7" fmla="*/ 1183 h 532270"/>
                <a:gd name="connsiteX8" fmla="*/ 36062 w 290212"/>
                <a:gd name="connsiteY8" fmla="*/ 26248 h 532270"/>
                <a:gd name="connsiteX9" fmla="*/ 56451 w 290212"/>
                <a:gd name="connsiteY9" fmla="*/ 78744 h 532270"/>
                <a:gd name="connsiteX10" fmla="*/ 146418 w 290212"/>
                <a:gd name="connsiteY10" fmla="*/ 51098 h 532270"/>
                <a:gd name="connsiteX11" fmla="*/ 214621 w 290212"/>
                <a:gd name="connsiteY11" fmla="*/ 119887 h 532270"/>
                <a:gd name="connsiteX12" fmla="*/ 167231 w 290212"/>
                <a:gd name="connsiteY12" fmla="*/ 146078 h 532270"/>
                <a:gd name="connsiteX13" fmla="*/ 166473 w 290212"/>
                <a:gd name="connsiteY13" fmla="*/ 146254 h 532270"/>
                <a:gd name="connsiteX14" fmla="*/ 165216 w 290212"/>
                <a:gd name="connsiteY14" fmla="*/ 145387 h 532270"/>
                <a:gd name="connsiteX15" fmla="*/ 87058 w 290212"/>
                <a:gd name="connsiteY15" fmla="*/ 157342 h 532270"/>
                <a:gd name="connsiteX16" fmla="*/ 1155 w 290212"/>
                <a:gd name="connsiteY16" fmla="*/ 262325 h 532270"/>
                <a:gd name="connsiteX17" fmla="*/ 33039 w 290212"/>
                <a:gd name="connsiteY17" fmla="*/ 316682 h 532270"/>
                <a:gd name="connsiteX18" fmla="*/ 60557 w 290212"/>
                <a:gd name="connsiteY18" fmla="*/ 331084 h 532270"/>
                <a:gd name="connsiteX19" fmla="*/ 31878 w 290212"/>
                <a:gd name="connsiteY19" fmla="*/ 351551 h 532270"/>
                <a:gd name="connsiteX20" fmla="*/ 4066 w 290212"/>
                <a:gd name="connsiteY20" fmla="*/ 416015 h 532270"/>
                <a:gd name="connsiteX21" fmla="*/ 103383 w 290212"/>
                <a:gd name="connsiteY21" fmla="*/ 526609 h 532270"/>
                <a:gd name="connsiteX22" fmla="*/ 168263 w 290212"/>
                <a:gd name="connsiteY22" fmla="*/ 530948 h 532270"/>
                <a:gd name="connsiteX23" fmla="*/ 265043 w 290212"/>
                <a:gd name="connsiteY23" fmla="*/ 501128 h 532270"/>
                <a:gd name="connsiteX24" fmla="*/ 243069 w 290212"/>
                <a:gd name="connsiteY24" fmla="*/ 442375 h 532270"/>
                <a:gd name="connsiteX25" fmla="*/ 148998 w 290212"/>
                <a:gd name="connsiteY25" fmla="*/ 471331 h 532270"/>
                <a:gd name="connsiteX26" fmla="*/ 77684 w 290212"/>
                <a:gd name="connsiteY26" fmla="*/ 399281 h 532270"/>
                <a:gd name="connsiteX27" fmla="*/ 127236 w 290212"/>
                <a:gd name="connsiteY27" fmla="*/ 371848 h 532270"/>
                <a:gd name="connsiteX28" fmla="*/ 155650 w 290212"/>
                <a:gd name="connsiteY28" fmla="*/ 369321 h 532270"/>
                <a:gd name="connsiteX29" fmla="*/ 289517 w 290212"/>
                <a:gd name="connsiteY29" fmla="*/ 295196 h 532270"/>
                <a:gd name="connsiteX30" fmla="*/ 244067 w 290212"/>
                <a:gd name="connsiteY30" fmla="*/ 196046 h 532270"/>
                <a:gd name="connsiteX31" fmla="*/ 228089 w 290212"/>
                <a:gd name="connsiteY31" fmla="*/ 187071 h 532270"/>
                <a:gd name="connsiteX32" fmla="*/ 258429 w 290212"/>
                <a:gd name="connsiteY32" fmla="*/ 165456 h 532270"/>
                <a:gd name="connsiteX33" fmla="*/ 275295 w 290212"/>
                <a:gd name="connsiteY33" fmla="*/ 94347 h 532270"/>
                <a:gd name="connsiteX0" fmla="*/ 177809 w 290212"/>
                <a:gd name="connsiteY0" fmla="*/ 208185 h 532270"/>
                <a:gd name="connsiteX1" fmla="*/ 229031 w 290212"/>
                <a:gd name="connsiteY1" fmla="*/ 249637 h 532270"/>
                <a:gd name="connsiteX2" fmla="*/ 167733 w 290212"/>
                <a:gd name="connsiteY2" fmla="*/ 316000 h 532270"/>
                <a:gd name="connsiteX3" fmla="*/ 58051 w 290212"/>
                <a:gd name="connsiteY3" fmla="*/ 272507 h 532270"/>
                <a:gd name="connsiteX4" fmla="*/ 133422 w 290212"/>
                <a:gd name="connsiteY4" fmla="*/ 208033 h 532270"/>
                <a:gd name="connsiteX5" fmla="*/ 177809 w 290212"/>
                <a:gd name="connsiteY5" fmla="*/ 208185 h 532270"/>
                <a:gd name="connsiteX6" fmla="*/ 275295 w 290212"/>
                <a:gd name="connsiteY6" fmla="*/ 94347 h 532270"/>
                <a:gd name="connsiteX7" fmla="*/ 164669 w 290212"/>
                <a:gd name="connsiteY7" fmla="*/ 1183 h 532270"/>
                <a:gd name="connsiteX8" fmla="*/ 36062 w 290212"/>
                <a:gd name="connsiteY8" fmla="*/ 26248 h 532270"/>
                <a:gd name="connsiteX9" fmla="*/ 56451 w 290212"/>
                <a:gd name="connsiteY9" fmla="*/ 78744 h 532270"/>
                <a:gd name="connsiteX10" fmla="*/ 146418 w 290212"/>
                <a:gd name="connsiteY10" fmla="*/ 51098 h 532270"/>
                <a:gd name="connsiteX11" fmla="*/ 214621 w 290212"/>
                <a:gd name="connsiteY11" fmla="*/ 119887 h 532270"/>
                <a:gd name="connsiteX12" fmla="*/ 167231 w 290212"/>
                <a:gd name="connsiteY12" fmla="*/ 146078 h 532270"/>
                <a:gd name="connsiteX13" fmla="*/ 166473 w 290212"/>
                <a:gd name="connsiteY13" fmla="*/ 146254 h 532270"/>
                <a:gd name="connsiteX14" fmla="*/ 165216 w 290212"/>
                <a:gd name="connsiteY14" fmla="*/ 145387 h 532270"/>
                <a:gd name="connsiteX15" fmla="*/ 87058 w 290212"/>
                <a:gd name="connsiteY15" fmla="*/ 157342 h 532270"/>
                <a:gd name="connsiteX16" fmla="*/ 1155 w 290212"/>
                <a:gd name="connsiteY16" fmla="*/ 262325 h 532270"/>
                <a:gd name="connsiteX17" fmla="*/ 33039 w 290212"/>
                <a:gd name="connsiteY17" fmla="*/ 316682 h 532270"/>
                <a:gd name="connsiteX18" fmla="*/ 60557 w 290212"/>
                <a:gd name="connsiteY18" fmla="*/ 331084 h 532270"/>
                <a:gd name="connsiteX19" fmla="*/ 31878 w 290212"/>
                <a:gd name="connsiteY19" fmla="*/ 351551 h 532270"/>
                <a:gd name="connsiteX20" fmla="*/ 4066 w 290212"/>
                <a:gd name="connsiteY20" fmla="*/ 416015 h 532270"/>
                <a:gd name="connsiteX21" fmla="*/ 103383 w 290212"/>
                <a:gd name="connsiteY21" fmla="*/ 526609 h 532270"/>
                <a:gd name="connsiteX22" fmla="*/ 168263 w 290212"/>
                <a:gd name="connsiteY22" fmla="*/ 530948 h 532270"/>
                <a:gd name="connsiteX23" fmla="*/ 265043 w 290212"/>
                <a:gd name="connsiteY23" fmla="*/ 501128 h 532270"/>
                <a:gd name="connsiteX24" fmla="*/ 243069 w 290212"/>
                <a:gd name="connsiteY24" fmla="*/ 442375 h 532270"/>
                <a:gd name="connsiteX25" fmla="*/ 148998 w 290212"/>
                <a:gd name="connsiteY25" fmla="*/ 471331 h 532270"/>
                <a:gd name="connsiteX26" fmla="*/ 77684 w 290212"/>
                <a:gd name="connsiteY26" fmla="*/ 399281 h 532270"/>
                <a:gd name="connsiteX27" fmla="*/ 127236 w 290212"/>
                <a:gd name="connsiteY27" fmla="*/ 371848 h 532270"/>
                <a:gd name="connsiteX28" fmla="*/ 155650 w 290212"/>
                <a:gd name="connsiteY28" fmla="*/ 369321 h 532270"/>
                <a:gd name="connsiteX29" fmla="*/ 289517 w 290212"/>
                <a:gd name="connsiteY29" fmla="*/ 295196 h 532270"/>
                <a:gd name="connsiteX30" fmla="*/ 244067 w 290212"/>
                <a:gd name="connsiteY30" fmla="*/ 196046 h 532270"/>
                <a:gd name="connsiteX31" fmla="*/ 228089 w 290212"/>
                <a:gd name="connsiteY31" fmla="*/ 187071 h 532270"/>
                <a:gd name="connsiteX32" fmla="*/ 258429 w 290212"/>
                <a:gd name="connsiteY32" fmla="*/ 165456 h 532270"/>
                <a:gd name="connsiteX33" fmla="*/ 275295 w 290212"/>
                <a:gd name="connsiteY33" fmla="*/ 94347 h 532270"/>
                <a:gd name="connsiteX0" fmla="*/ 177809 w 290212"/>
                <a:gd name="connsiteY0" fmla="*/ 208185 h 532270"/>
                <a:gd name="connsiteX1" fmla="*/ 229031 w 290212"/>
                <a:gd name="connsiteY1" fmla="*/ 249637 h 532270"/>
                <a:gd name="connsiteX2" fmla="*/ 167733 w 290212"/>
                <a:gd name="connsiteY2" fmla="*/ 316000 h 532270"/>
                <a:gd name="connsiteX3" fmla="*/ 58051 w 290212"/>
                <a:gd name="connsiteY3" fmla="*/ 272507 h 532270"/>
                <a:gd name="connsiteX4" fmla="*/ 133422 w 290212"/>
                <a:gd name="connsiteY4" fmla="*/ 208033 h 532270"/>
                <a:gd name="connsiteX5" fmla="*/ 177809 w 290212"/>
                <a:gd name="connsiteY5" fmla="*/ 208185 h 532270"/>
                <a:gd name="connsiteX6" fmla="*/ 276330 w 290212"/>
                <a:gd name="connsiteY6" fmla="*/ 91754 h 532270"/>
                <a:gd name="connsiteX7" fmla="*/ 164669 w 290212"/>
                <a:gd name="connsiteY7" fmla="*/ 1183 h 532270"/>
                <a:gd name="connsiteX8" fmla="*/ 36062 w 290212"/>
                <a:gd name="connsiteY8" fmla="*/ 26248 h 532270"/>
                <a:gd name="connsiteX9" fmla="*/ 56451 w 290212"/>
                <a:gd name="connsiteY9" fmla="*/ 78744 h 532270"/>
                <a:gd name="connsiteX10" fmla="*/ 146418 w 290212"/>
                <a:gd name="connsiteY10" fmla="*/ 51098 h 532270"/>
                <a:gd name="connsiteX11" fmla="*/ 214621 w 290212"/>
                <a:gd name="connsiteY11" fmla="*/ 119887 h 532270"/>
                <a:gd name="connsiteX12" fmla="*/ 167231 w 290212"/>
                <a:gd name="connsiteY12" fmla="*/ 146078 h 532270"/>
                <a:gd name="connsiteX13" fmla="*/ 166473 w 290212"/>
                <a:gd name="connsiteY13" fmla="*/ 146254 h 532270"/>
                <a:gd name="connsiteX14" fmla="*/ 165216 w 290212"/>
                <a:gd name="connsiteY14" fmla="*/ 145387 h 532270"/>
                <a:gd name="connsiteX15" fmla="*/ 87058 w 290212"/>
                <a:gd name="connsiteY15" fmla="*/ 157342 h 532270"/>
                <a:gd name="connsiteX16" fmla="*/ 1155 w 290212"/>
                <a:gd name="connsiteY16" fmla="*/ 262325 h 532270"/>
                <a:gd name="connsiteX17" fmla="*/ 33039 w 290212"/>
                <a:gd name="connsiteY17" fmla="*/ 316682 h 532270"/>
                <a:gd name="connsiteX18" fmla="*/ 60557 w 290212"/>
                <a:gd name="connsiteY18" fmla="*/ 331084 h 532270"/>
                <a:gd name="connsiteX19" fmla="*/ 31878 w 290212"/>
                <a:gd name="connsiteY19" fmla="*/ 351551 h 532270"/>
                <a:gd name="connsiteX20" fmla="*/ 4066 w 290212"/>
                <a:gd name="connsiteY20" fmla="*/ 416015 h 532270"/>
                <a:gd name="connsiteX21" fmla="*/ 103383 w 290212"/>
                <a:gd name="connsiteY21" fmla="*/ 526609 h 532270"/>
                <a:gd name="connsiteX22" fmla="*/ 168263 w 290212"/>
                <a:gd name="connsiteY22" fmla="*/ 530948 h 532270"/>
                <a:gd name="connsiteX23" fmla="*/ 265043 w 290212"/>
                <a:gd name="connsiteY23" fmla="*/ 501128 h 532270"/>
                <a:gd name="connsiteX24" fmla="*/ 243069 w 290212"/>
                <a:gd name="connsiteY24" fmla="*/ 442375 h 532270"/>
                <a:gd name="connsiteX25" fmla="*/ 148998 w 290212"/>
                <a:gd name="connsiteY25" fmla="*/ 471331 h 532270"/>
                <a:gd name="connsiteX26" fmla="*/ 77684 w 290212"/>
                <a:gd name="connsiteY26" fmla="*/ 399281 h 532270"/>
                <a:gd name="connsiteX27" fmla="*/ 127236 w 290212"/>
                <a:gd name="connsiteY27" fmla="*/ 371848 h 532270"/>
                <a:gd name="connsiteX28" fmla="*/ 155650 w 290212"/>
                <a:gd name="connsiteY28" fmla="*/ 369321 h 532270"/>
                <a:gd name="connsiteX29" fmla="*/ 289517 w 290212"/>
                <a:gd name="connsiteY29" fmla="*/ 295196 h 532270"/>
                <a:gd name="connsiteX30" fmla="*/ 244067 w 290212"/>
                <a:gd name="connsiteY30" fmla="*/ 196046 h 532270"/>
                <a:gd name="connsiteX31" fmla="*/ 228089 w 290212"/>
                <a:gd name="connsiteY31" fmla="*/ 187071 h 532270"/>
                <a:gd name="connsiteX32" fmla="*/ 258429 w 290212"/>
                <a:gd name="connsiteY32" fmla="*/ 165456 h 532270"/>
                <a:gd name="connsiteX33" fmla="*/ 276330 w 290212"/>
                <a:gd name="connsiteY33" fmla="*/ 91754 h 532270"/>
                <a:gd name="connsiteX0" fmla="*/ 177809 w 290212"/>
                <a:gd name="connsiteY0" fmla="*/ 208185 h 532270"/>
                <a:gd name="connsiteX1" fmla="*/ 229031 w 290212"/>
                <a:gd name="connsiteY1" fmla="*/ 249637 h 532270"/>
                <a:gd name="connsiteX2" fmla="*/ 167733 w 290212"/>
                <a:gd name="connsiteY2" fmla="*/ 316000 h 532270"/>
                <a:gd name="connsiteX3" fmla="*/ 58051 w 290212"/>
                <a:gd name="connsiteY3" fmla="*/ 272507 h 532270"/>
                <a:gd name="connsiteX4" fmla="*/ 133422 w 290212"/>
                <a:gd name="connsiteY4" fmla="*/ 208033 h 532270"/>
                <a:gd name="connsiteX5" fmla="*/ 177809 w 290212"/>
                <a:gd name="connsiteY5" fmla="*/ 208185 h 532270"/>
                <a:gd name="connsiteX6" fmla="*/ 276330 w 290212"/>
                <a:gd name="connsiteY6" fmla="*/ 91754 h 532270"/>
                <a:gd name="connsiteX7" fmla="*/ 164669 w 290212"/>
                <a:gd name="connsiteY7" fmla="*/ 1183 h 532270"/>
                <a:gd name="connsiteX8" fmla="*/ 36062 w 290212"/>
                <a:gd name="connsiteY8" fmla="*/ 26248 h 532270"/>
                <a:gd name="connsiteX9" fmla="*/ 56451 w 290212"/>
                <a:gd name="connsiteY9" fmla="*/ 78744 h 532270"/>
                <a:gd name="connsiteX10" fmla="*/ 146418 w 290212"/>
                <a:gd name="connsiteY10" fmla="*/ 51098 h 532270"/>
                <a:gd name="connsiteX11" fmla="*/ 214621 w 290212"/>
                <a:gd name="connsiteY11" fmla="*/ 119887 h 532270"/>
                <a:gd name="connsiteX12" fmla="*/ 167231 w 290212"/>
                <a:gd name="connsiteY12" fmla="*/ 146078 h 532270"/>
                <a:gd name="connsiteX13" fmla="*/ 166473 w 290212"/>
                <a:gd name="connsiteY13" fmla="*/ 146254 h 532270"/>
                <a:gd name="connsiteX14" fmla="*/ 165216 w 290212"/>
                <a:gd name="connsiteY14" fmla="*/ 145387 h 532270"/>
                <a:gd name="connsiteX15" fmla="*/ 87058 w 290212"/>
                <a:gd name="connsiteY15" fmla="*/ 157342 h 532270"/>
                <a:gd name="connsiteX16" fmla="*/ 1155 w 290212"/>
                <a:gd name="connsiteY16" fmla="*/ 262325 h 532270"/>
                <a:gd name="connsiteX17" fmla="*/ 33039 w 290212"/>
                <a:gd name="connsiteY17" fmla="*/ 316682 h 532270"/>
                <a:gd name="connsiteX18" fmla="*/ 60557 w 290212"/>
                <a:gd name="connsiteY18" fmla="*/ 331084 h 532270"/>
                <a:gd name="connsiteX19" fmla="*/ 31878 w 290212"/>
                <a:gd name="connsiteY19" fmla="*/ 351551 h 532270"/>
                <a:gd name="connsiteX20" fmla="*/ 4066 w 290212"/>
                <a:gd name="connsiteY20" fmla="*/ 416015 h 532270"/>
                <a:gd name="connsiteX21" fmla="*/ 103383 w 290212"/>
                <a:gd name="connsiteY21" fmla="*/ 526609 h 532270"/>
                <a:gd name="connsiteX22" fmla="*/ 168263 w 290212"/>
                <a:gd name="connsiteY22" fmla="*/ 530948 h 532270"/>
                <a:gd name="connsiteX23" fmla="*/ 265043 w 290212"/>
                <a:gd name="connsiteY23" fmla="*/ 501128 h 532270"/>
                <a:gd name="connsiteX24" fmla="*/ 243069 w 290212"/>
                <a:gd name="connsiteY24" fmla="*/ 442375 h 532270"/>
                <a:gd name="connsiteX25" fmla="*/ 148998 w 290212"/>
                <a:gd name="connsiteY25" fmla="*/ 471331 h 532270"/>
                <a:gd name="connsiteX26" fmla="*/ 77684 w 290212"/>
                <a:gd name="connsiteY26" fmla="*/ 399281 h 532270"/>
                <a:gd name="connsiteX27" fmla="*/ 127236 w 290212"/>
                <a:gd name="connsiteY27" fmla="*/ 371848 h 532270"/>
                <a:gd name="connsiteX28" fmla="*/ 155650 w 290212"/>
                <a:gd name="connsiteY28" fmla="*/ 369321 h 532270"/>
                <a:gd name="connsiteX29" fmla="*/ 289517 w 290212"/>
                <a:gd name="connsiteY29" fmla="*/ 295196 h 532270"/>
                <a:gd name="connsiteX30" fmla="*/ 244067 w 290212"/>
                <a:gd name="connsiteY30" fmla="*/ 196046 h 532270"/>
                <a:gd name="connsiteX31" fmla="*/ 228089 w 290212"/>
                <a:gd name="connsiteY31" fmla="*/ 187071 h 532270"/>
                <a:gd name="connsiteX32" fmla="*/ 258429 w 290212"/>
                <a:gd name="connsiteY32" fmla="*/ 165456 h 532270"/>
                <a:gd name="connsiteX33" fmla="*/ 276330 w 290212"/>
                <a:gd name="connsiteY33" fmla="*/ 91754 h 532270"/>
                <a:gd name="connsiteX0" fmla="*/ 177809 w 290212"/>
                <a:gd name="connsiteY0" fmla="*/ 208185 h 532270"/>
                <a:gd name="connsiteX1" fmla="*/ 229031 w 290212"/>
                <a:gd name="connsiteY1" fmla="*/ 249637 h 532270"/>
                <a:gd name="connsiteX2" fmla="*/ 167733 w 290212"/>
                <a:gd name="connsiteY2" fmla="*/ 316000 h 532270"/>
                <a:gd name="connsiteX3" fmla="*/ 58051 w 290212"/>
                <a:gd name="connsiteY3" fmla="*/ 272507 h 532270"/>
                <a:gd name="connsiteX4" fmla="*/ 133422 w 290212"/>
                <a:gd name="connsiteY4" fmla="*/ 208033 h 532270"/>
                <a:gd name="connsiteX5" fmla="*/ 177809 w 290212"/>
                <a:gd name="connsiteY5" fmla="*/ 208185 h 532270"/>
                <a:gd name="connsiteX6" fmla="*/ 276330 w 290212"/>
                <a:gd name="connsiteY6" fmla="*/ 91754 h 532270"/>
                <a:gd name="connsiteX7" fmla="*/ 164669 w 290212"/>
                <a:gd name="connsiteY7" fmla="*/ 1183 h 532270"/>
                <a:gd name="connsiteX8" fmla="*/ 36062 w 290212"/>
                <a:gd name="connsiteY8" fmla="*/ 26248 h 532270"/>
                <a:gd name="connsiteX9" fmla="*/ 56451 w 290212"/>
                <a:gd name="connsiteY9" fmla="*/ 78744 h 532270"/>
                <a:gd name="connsiteX10" fmla="*/ 146418 w 290212"/>
                <a:gd name="connsiteY10" fmla="*/ 51098 h 532270"/>
                <a:gd name="connsiteX11" fmla="*/ 214621 w 290212"/>
                <a:gd name="connsiteY11" fmla="*/ 119887 h 532270"/>
                <a:gd name="connsiteX12" fmla="*/ 167231 w 290212"/>
                <a:gd name="connsiteY12" fmla="*/ 146078 h 532270"/>
                <a:gd name="connsiteX13" fmla="*/ 166473 w 290212"/>
                <a:gd name="connsiteY13" fmla="*/ 146254 h 532270"/>
                <a:gd name="connsiteX14" fmla="*/ 165216 w 290212"/>
                <a:gd name="connsiteY14" fmla="*/ 145387 h 532270"/>
                <a:gd name="connsiteX15" fmla="*/ 87058 w 290212"/>
                <a:gd name="connsiteY15" fmla="*/ 157342 h 532270"/>
                <a:gd name="connsiteX16" fmla="*/ 1155 w 290212"/>
                <a:gd name="connsiteY16" fmla="*/ 262325 h 532270"/>
                <a:gd name="connsiteX17" fmla="*/ 33039 w 290212"/>
                <a:gd name="connsiteY17" fmla="*/ 316682 h 532270"/>
                <a:gd name="connsiteX18" fmla="*/ 60557 w 290212"/>
                <a:gd name="connsiteY18" fmla="*/ 331084 h 532270"/>
                <a:gd name="connsiteX19" fmla="*/ 31878 w 290212"/>
                <a:gd name="connsiteY19" fmla="*/ 351551 h 532270"/>
                <a:gd name="connsiteX20" fmla="*/ 4066 w 290212"/>
                <a:gd name="connsiteY20" fmla="*/ 416015 h 532270"/>
                <a:gd name="connsiteX21" fmla="*/ 103383 w 290212"/>
                <a:gd name="connsiteY21" fmla="*/ 526609 h 532270"/>
                <a:gd name="connsiteX22" fmla="*/ 168263 w 290212"/>
                <a:gd name="connsiteY22" fmla="*/ 530948 h 532270"/>
                <a:gd name="connsiteX23" fmla="*/ 265043 w 290212"/>
                <a:gd name="connsiteY23" fmla="*/ 501128 h 532270"/>
                <a:gd name="connsiteX24" fmla="*/ 243069 w 290212"/>
                <a:gd name="connsiteY24" fmla="*/ 442375 h 532270"/>
                <a:gd name="connsiteX25" fmla="*/ 148998 w 290212"/>
                <a:gd name="connsiteY25" fmla="*/ 471331 h 532270"/>
                <a:gd name="connsiteX26" fmla="*/ 77684 w 290212"/>
                <a:gd name="connsiteY26" fmla="*/ 399281 h 532270"/>
                <a:gd name="connsiteX27" fmla="*/ 127236 w 290212"/>
                <a:gd name="connsiteY27" fmla="*/ 371848 h 532270"/>
                <a:gd name="connsiteX28" fmla="*/ 155650 w 290212"/>
                <a:gd name="connsiteY28" fmla="*/ 369321 h 532270"/>
                <a:gd name="connsiteX29" fmla="*/ 289517 w 290212"/>
                <a:gd name="connsiteY29" fmla="*/ 295196 h 532270"/>
                <a:gd name="connsiteX30" fmla="*/ 244067 w 290212"/>
                <a:gd name="connsiteY30" fmla="*/ 196046 h 532270"/>
                <a:gd name="connsiteX31" fmla="*/ 228089 w 290212"/>
                <a:gd name="connsiteY31" fmla="*/ 187071 h 532270"/>
                <a:gd name="connsiteX32" fmla="*/ 258429 w 290212"/>
                <a:gd name="connsiteY32" fmla="*/ 165456 h 532270"/>
                <a:gd name="connsiteX33" fmla="*/ 276330 w 290212"/>
                <a:gd name="connsiteY33" fmla="*/ 91754 h 532270"/>
                <a:gd name="connsiteX0" fmla="*/ 177809 w 290212"/>
                <a:gd name="connsiteY0" fmla="*/ 208185 h 532270"/>
                <a:gd name="connsiteX1" fmla="*/ 229031 w 290212"/>
                <a:gd name="connsiteY1" fmla="*/ 249637 h 532270"/>
                <a:gd name="connsiteX2" fmla="*/ 167733 w 290212"/>
                <a:gd name="connsiteY2" fmla="*/ 316000 h 532270"/>
                <a:gd name="connsiteX3" fmla="*/ 58051 w 290212"/>
                <a:gd name="connsiteY3" fmla="*/ 272507 h 532270"/>
                <a:gd name="connsiteX4" fmla="*/ 133422 w 290212"/>
                <a:gd name="connsiteY4" fmla="*/ 208033 h 532270"/>
                <a:gd name="connsiteX5" fmla="*/ 177809 w 290212"/>
                <a:gd name="connsiteY5" fmla="*/ 208185 h 532270"/>
                <a:gd name="connsiteX6" fmla="*/ 274902 w 290212"/>
                <a:gd name="connsiteY6" fmla="*/ 87212 h 532270"/>
                <a:gd name="connsiteX7" fmla="*/ 164669 w 290212"/>
                <a:gd name="connsiteY7" fmla="*/ 1183 h 532270"/>
                <a:gd name="connsiteX8" fmla="*/ 36062 w 290212"/>
                <a:gd name="connsiteY8" fmla="*/ 26248 h 532270"/>
                <a:gd name="connsiteX9" fmla="*/ 56451 w 290212"/>
                <a:gd name="connsiteY9" fmla="*/ 78744 h 532270"/>
                <a:gd name="connsiteX10" fmla="*/ 146418 w 290212"/>
                <a:gd name="connsiteY10" fmla="*/ 51098 h 532270"/>
                <a:gd name="connsiteX11" fmla="*/ 214621 w 290212"/>
                <a:gd name="connsiteY11" fmla="*/ 119887 h 532270"/>
                <a:gd name="connsiteX12" fmla="*/ 167231 w 290212"/>
                <a:gd name="connsiteY12" fmla="*/ 146078 h 532270"/>
                <a:gd name="connsiteX13" fmla="*/ 166473 w 290212"/>
                <a:gd name="connsiteY13" fmla="*/ 146254 h 532270"/>
                <a:gd name="connsiteX14" fmla="*/ 165216 w 290212"/>
                <a:gd name="connsiteY14" fmla="*/ 145387 h 532270"/>
                <a:gd name="connsiteX15" fmla="*/ 87058 w 290212"/>
                <a:gd name="connsiteY15" fmla="*/ 157342 h 532270"/>
                <a:gd name="connsiteX16" fmla="*/ 1155 w 290212"/>
                <a:gd name="connsiteY16" fmla="*/ 262325 h 532270"/>
                <a:gd name="connsiteX17" fmla="*/ 33039 w 290212"/>
                <a:gd name="connsiteY17" fmla="*/ 316682 h 532270"/>
                <a:gd name="connsiteX18" fmla="*/ 60557 w 290212"/>
                <a:gd name="connsiteY18" fmla="*/ 331084 h 532270"/>
                <a:gd name="connsiteX19" fmla="*/ 31878 w 290212"/>
                <a:gd name="connsiteY19" fmla="*/ 351551 h 532270"/>
                <a:gd name="connsiteX20" fmla="*/ 4066 w 290212"/>
                <a:gd name="connsiteY20" fmla="*/ 416015 h 532270"/>
                <a:gd name="connsiteX21" fmla="*/ 103383 w 290212"/>
                <a:gd name="connsiteY21" fmla="*/ 526609 h 532270"/>
                <a:gd name="connsiteX22" fmla="*/ 168263 w 290212"/>
                <a:gd name="connsiteY22" fmla="*/ 530948 h 532270"/>
                <a:gd name="connsiteX23" fmla="*/ 265043 w 290212"/>
                <a:gd name="connsiteY23" fmla="*/ 501128 h 532270"/>
                <a:gd name="connsiteX24" fmla="*/ 243069 w 290212"/>
                <a:gd name="connsiteY24" fmla="*/ 442375 h 532270"/>
                <a:gd name="connsiteX25" fmla="*/ 148998 w 290212"/>
                <a:gd name="connsiteY25" fmla="*/ 471331 h 532270"/>
                <a:gd name="connsiteX26" fmla="*/ 77684 w 290212"/>
                <a:gd name="connsiteY26" fmla="*/ 399281 h 532270"/>
                <a:gd name="connsiteX27" fmla="*/ 127236 w 290212"/>
                <a:gd name="connsiteY27" fmla="*/ 371848 h 532270"/>
                <a:gd name="connsiteX28" fmla="*/ 155650 w 290212"/>
                <a:gd name="connsiteY28" fmla="*/ 369321 h 532270"/>
                <a:gd name="connsiteX29" fmla="*/ 289517 w 290212"/>
                <a:gd name="connsiteY29" fmla="*/ 295196 h 532270"/>
                <a:gd name="connsiteX30" fmla="*/ 244067 w 290212"/>
                <a:gd name="connsiteY30" fmla="*/ 196046 h 532270"/>
                <a:gd name="connsiteX31" fmla="*/ 228089 w 290212"/>
                <a:gd name="connsiteY31" fmla="*/ 187071 h 532270"/>
                <a:gd name="connsiteX32" fmla="*/ 258429 w 290212"/>
                <a:gd name="connsiteY32" fmla="*/ 165456 h 532270"/>
                <a:gd name="connsiteX33" fmla="*/ 274902 w 290212"/>
                <a:gd name="connsiteY33" fmla="*/ 87212 h 532270"/>
                <a:gd name="connsiteX0" fmla="*/ 177809 w 290212"/>
                <a:gd name="connsiteY0" fmla="*/ 208185 h 532270"/>
                <a:gd name="connsiteX1" fmla="*/ 229031 w 290212"/>
                <a:gd name="connsiteY1" fmla="*/ 249637 h 532270"/>
                <a:gd name="connsiteX2" fmla="*/ 167733 w 290212"/>
                <a:gd name="connsiteY2" fmla="*/ 316000 h 532270"/>
                <a:gd name="connsiteX3" fmla="*/ 58051 w 290212"/>
                <a:gd name="connsiteY3" fmla="*/ 272507 h 532270"/>
                <a:gd name="connsiteX4" fmla="*/ 133422 w 290212"/>
                <a:gd name="connsiteY4" fmla="*/ 208033 h 532270"/>
                <a:gd name="connsiteX5" fmla="*/ 177809 w 290212"/>
                <a:gd name="connsiteY5" fmla="*/ 208185 h 532270"/>
                <a:gd name="connsiteX6" fmla="*/ 274902 w 290212"/>
                <a:gd name="connsiteY6" fmla="*/ 87212 h 532270"/>
                <a:gd name="connsiteX7" fmla="*/ 164669 w 290212"/>
                <a:gd name="connsiteY7" fmla="*/ 1183 h 532270"/>
                <a:gd name="connsiteX8" fmla="*/ 36062 w 290212"/>
                <a:gd name="connsiteY8" fmla="*/ 26248 h 532270"/>
                <a:gd name="connsiteX9" fmla="*/ 56451 w 290212"/>
                <a:gd name="connsiteY9" fmla="*/ 78744 h 532270"/>
                <a:gd name="connsiteX10" fmla="*/ 146418 w 290212"/>
                <a:gd name="connsiteY10" fmla="*/ 51098 h 532270"/>
                <a:gd name="connsiteX11" fmla="*/ 214621 w 290212"/>
                <a:gd name="connsiteY11" fmla="*/ 119887 h 532270"/>
                <a:gd name="connsiteX12" fmla="*/ 167231 w 290212"/>
                <a:gd name="connsiteY12" fmla="*/ 146078 h 532270"/>
                <a:gd name="connsiteX13" fmla="*/ 166473 w 290212"/>
                <a:gd name="connsiteY13" fmla="*/ 146254 h 532270"/>
                <a:gd name="connsiteX14" fmla="*/ 165216 w 290212"/>
                <a:gd name="connsiteY14" fmla="*/ 145387 h 532270"/>
                <a:gd name="connsiteX15" fmla="*/ 87058 w 290212"/>
                <a:gd name="connsiteY15" fmla="*/ 157342 h 532270"/>
                <a:gd name="connsiteX16" fmla="*/ 1155 w 290212"/>
                <a:gd name="connsiteY16" fmla="*/ 262325 h 532270"/>
                <a:gd name="connsiteX17" fmla="*/ 33039 w 290212"/>
                <a:gd name="connsiteY17" fmla="*/ 316682 h 532270"/>
                <a:gd name="connsiteX18" fmla="*/ 60557 w 290212"/>
                <a:gd name="connsiteY18" fmla="*/ 331084 h 532270"/>
                <a:gd name="connsiteX19" fmla="*/ 31878 w 290212"/>
                <a:gd name="connsiteY19" fmla="*/ 351551 h 532270"/>
                <a:gd name="connsiteX20" fmla="*/ 4066 w 290212"/>
                <a:gd name="connsiteY20" fmla="*/ 416015 h 532270"/>
                <a:gd name="connsiteX21" fmla="*/ 103383 w 290212"/>
                <a:gd name="connsiteY21" fmla="*/ 526609 h 532270"/>
                <a:gd name="connsiteX22" fmla="*/ 168263 w 290212"/>
                <a:gd name="connsiteY22" fmla="*/ 530948 h 532270"/>
                <a:gd name="connsiteX23" fmla="*/ 265043 w 290212"/>
                <a:gd name="connsiteY23" fmla="*/ 501128 h 532270"/>
                <a:gd name="connsiteX24" fmla="*/ 243069 w 290212"/>
                <a:gd name="connsiteY24" fmla="*/ 442375 h 532270"/>
                <a:gd name="connsiteX25" fmla="*/ 148998 w 290212"/>
                <a:gd name="connsiteY25" fmla="*/ 471331 h 532270"/>
                <a:gd name="connsiteX26" fmla="*/ 77684 w 290212"/>
                <a:gd name="connsiteY26" fmla="*/ 399281 h 532270"/>
                <a:gd name="connsiteX27" fmla="*/ 127236 w 290212"/>
                <a:gd name="connsiteY27" fmla="*/ 371848 h 532270"/>
                <a:gd name="connsiteX28" fmla="*/ 155650 w 290212"/>
                <a:gd name="connsiteY28" fmla="*/ 369321 h 532270"/>
                <a:gd name="connsiteX29" fmla="*/ 289517 w 290212"/>
                <a:gd name="connsiteY29" fmla="*/ 295196 h 532270"/>
                <a:gd name="connsiteX30" fmla="*/ 244067 w 290212"/>
                <a:gd name="connsiteY30" fmla="*/ 196046 h 532270"/>
                <a:gd name="connsiteX31" fmla="*/ 228089 w 290212"/>
                <a:gd name="connsiteY31" fmla="*/ 187071 h 532270"/>
                <a:gd name="connsiteX32" fmla="*/ 254291 w 290212"/>
                <a:gd name="connsiteY32" fmla="*/ 175827 h 532270"/>
                <a:gd name="connsiteX33" fmla="*/ 274902 w 290212"/>
                <a:gd name="connsiteY33" fmla="*/ 87212 h 532270"/>
                <a:gd name="connsiteX0" fmla="*/ 177809 w 290212"/>
                <a:gd name="connsiteY0" fmla="*/ 208185 h 532270"/>
                <a:gd name="connsiteX1" fmla="*/ 229031 w 290212"/>
                <a:gd name="connsiteY1" fmla="*/ 249637 h 532270"/>
                <a:gd name="connsiteX2" fmla="*/ 167733 w 290212"/>
                <a:gd name="connsiteY2" fmla="*/ 316000 h 532270"/>
                <a:gd name="connsiteX3" fmla="*/ 58051 w 290212"/>
                <a:gd name="connsiteY3" fmla="*/ 272507 h 532270"/>
                <a:gd name="connsiteX4" fmla="*/ 133422 w 290212"/>
                <a:gd name="connsiteY4" fmla="*/ 208033 h 532270"/>
                <a:gd name="connsiteX5" fmla="*/ 177809 w 290212"/>
                <a:gd name="connsiteY5" fmla="*/ 208185 h 532270"/>
                <a:gd name="connsiteX6" fmla="*/ 274902 w 290212"/>
                <a:gd name="connsiteY6" fmla="*/ 87212 h 532270"/>
                <a:gd name="connsiteX7" fmla="*/ 164669 w 290212"/>
                <a:gd name="connsiteY7" fmla="*/ 1183 h 532270"/>
                <a:gd name="connsiteX8" fmla="*/ 36062 w 290212"/>
                <a:gd name="connsiteY8" fmla="*/ 26248 h 532270"/>
                <a:gd name="connsiteX9" fmla="*/ 56451 w 290212"/>
                <a:gd name="connsiteY9" fmla="*/ 78744 h 532270"/>
                <a:gd name="connsiteX10" fmla="*/ 146418 w 290212"/>
                <a:gd name="connsiteY10" fmla="*/ 51098 h 532270"/>
                <a:gd name="connsiteX11" fmla="*/ 214621 w 290212"/>
                <a:gd name="connsiteY11" fmla="*/ 119887 h 532270"/>
                <a:gd name="connsiteX12" fmla="*/ 167231 w 290212"/>
                <a:gd name="connsiteY12" fmla="*/ 146078 h 532270"/>
                <a:gd name="connsiteX13" fmla="*/ 166473 w 290212"/>
                <a:gd name="connsiteY13" fmla="*/ 146254 h 532270"/>
                <a:gd name="connsiteX14" fmla="*/ 165216 w 290212"/>
                <a:gd name="connsiteY14" fmla="*/ 145387 h 532270"/>
                <a:gd name="connsiteX15" fmla="*/ 87058 w 290212"/>
                <a:gd name="connsiteY15" fmla="*/ 157342 h 532270"/>
                <a:gd name="connsiteX16" fmla="*/ 1155 w 290212"/>
                <a:gd name="connsiteY16" fmla="*/ 262325 h 532270"/>
                <a:gd name="connsiteX17" fmla="*/ 33039 w 290212"/>
                <a:gd name="connsiteY17" fmla="*/ 316682 h 532270"/>
                <a:gd name="connsiteX18" fmla="*/ 60557 w 290212"/>
                <a:gd name="connsiteY18" fmla="*/ 331084 h 532270"/>
                <a:gd name="connsiteX19" fmla="*/ 31878 w 290212"/>
                <a:gd name="connsiteY19" fmla="*/ 351551 h 532270"/>
                <a:gd name="connsiteX20" fmla="*/ 4066 w 290212"/>
                <a:gd name="connsiteY20" fmla="*/ 416015 h 532270"/>
                <a:gd name="connsiteX21" fmla="*/ 103383 w 290212"/>
                <a:gd name="connsiteY21" fmla="*/ 526609 h 532270"/>
                <a:gd name="connsiteX22" fmla="*/ 168263 w 290212"/>
                <a:gd name="connsiteY22" fmla="*/ 530948 h 532270"/>
                <a:gd name="connsiteX23" fmla="*/ 265043 w 290212"/>
                <a:gd name="connsiteY23" fmla="*/ 501128 h 532270"/>
                <a:gd name="connsiteX24" fmla="*/ 243069 w 290212"/>
                <a:gd name="connsiteY24" fmla="*/ 442375 h 532270"/>
                <a:gd name="connsiteX25" fmla="*/ 148998 w 290212"/>
                <a:gd name="connsiteY25" fmla="*/ 471331 h 532270"/>
                <a:gd name="connsiteX26" fmla="*/ 77684 w 290212"/>
                <a:gd name="connsiteY26" fmla="*/ 399281 h 532270"/>
                <a:gd name="connsiteX27" fmla="*/ 127236 w 290212"/>
                <a:gd name="connsiteY27" fmla="*/ 371848 h 532270"/>
                <a:gd name="connsiteX28" fmla="*/ 155650 w 290212"/>
                <a:gd name="connsiteY28" fmla="*/ 369321 h 532270"/>
                <a:gd name="connsiteX29" fmla="*/ 289517 w 290212"/>
                <a:gd name="connsiteY29" fmla="*/ 295196 h 532270"/>
                <a:gd name="connsiteX30" fmla="*/ 244067 w 290212"/>
                <a:gd name="connsiteY30" fmla="*/ 196046 h 532270"/>
                <a:gd name="connsiteX31" fmla="*/ 228089 w 290212"/>
                <a:gd name="connsiteY31" fmla="*/ 187071 h 532270"/>
                <a:gd name="connsiteX32" fmla="*/ 254291 w 290212"/>
                <a:gd name="connsiteY32" fmla="*/ 175827 h 532270"/>
                <a:gd name="connsiteX33" fmla="*/ 274902 w 290212"/>
                <a:gd name="connsiteY33" fmla="*/ 87212 h 532270"/>
                <a:gd name="connsiteX0" fmla="*/ 177809 w 290212"/>
                <a:gd name="connsiteY0" fmla="*/ 208185 h 532270"/>
                <a:gd name="connsiteX1" fmla="*/ 229031 w 290212"/>
                <a:gd name="connsiteY1" fmla="*/ 249637 h 532270"/>
                <a:gd name="connsiteX2" fmla="*/ 167733 w 290212"/>
                <a:gd name="connsiteY2" fmla="*/ 316000 h 532270"/>
                <a:gd name="connsiteX3" fmla="*/ 58051 w 290212"/>
                <a:gd name="connsiteY3" fmla="*/ 272507 h 532270"/>
                <a:gd name="connsiteX4" fmla="*/ 133422 w 290212"/>
                <a:gd name="connsiteY4" fmla="*/ 208033 h 532270"/>
                <a:gd name="connsiteX5" fmla="*/ 177809 w 290212"/>
                <a:gd name="connsiteY5" fmla="*/ 208185 h 532270"/>
                <a:gd name="connsiteX6" fmla="*/ 274902 w 290212"/>
                <a:gd name="connsiteY6" fmla="*/ 87212 h 532270"/>
                <a:gd name="connsiteX7" fmla="*/ 164669 w 290212"/>
                <a:gd name="connsiteY7" fmla="*/ 1183 h 532270"/>
                <a:gd name="connsiteX8" fmla="*/ 36062 w 290212"/>
                <a:gd name="connsiteY8" fmla="*/ 26248 h 532270"/>
                <a:gd name="connsiteX9" fmla="*/ 56451 w 290212"/>
                <a:gd name="connsiteY9" fmla="*/ 78744 h 532270"/>
                <a:gd name="connsiteX10" fmla="*/ 146418 w 290212"/>
                <a:gd name="connsiteY10" fmla="*/ 51098 h 532270"/>
                <a:gd name="connsiteX11" fmla="*/ 214621 w 290212"/>
                <a:gd name="connsiteY11" fmla="*/ 119887 h 532270"/>
                <a:gd name="connsiteX12" fmla="*/ 167231 w 290212"/>
                <a:gd name="connsiteY12" fmla="*/ 146078 h 532270"/>
                <a:gd name="connsiteX13" fmla="*/ 166473 w 290212"/>
                <a:gd name="connsiteY13" fmla="*/ 146254 h 532270"/>
                <a:gd name="connsiteX14" fmla="*/ 165216 w 290212"/>
                <a:gd name="connsiteY14" fmla="*/ 145387 h 532270"/>
                <a:gd name="connsiteX15" fmla="*/ 87058 w 290212"/>
                <a:gd name="connsiteY15" fmla="*/ 157342 h 532270"/>
                <a:gd name="connsiteX16" fmla="*/ 1155 w 290212"/>
                <a:gd name="connsiteY16" fmla="*/ 262325 h 532270"/>
                <a:gd name="connsiteX17" fmla="*/ 33039 w 290212"/>
                <a:gd name="connsiteY17" fmla="*/ 316682 h 532270"/>
                <a:gd name="connsiteX18" fmla="*/ 60557 w 290212"/>
                <a:gd name="connsiteY18" fmla="*/ 331084 h 532270"/>
                <a:gd name="connsiteX19" fmla="*/ 31878 w 290212"/>
                <a:gd name="connsiteY19" fmla="*/ 351551 h 532270"/>
                <a:gd name="connsiteX20" fmla="*/ 4066 w 290212"/>
                <a:gd name="connsiteY20" fmla="*/ 416015 h 532270"/>
                <a:gd name="connsiteX21" fmla="*/ 103383 w 290212"/>
                <a:gd name="connsiteY21" fmla="*/ 526609 h 532270"/>
                <a:gd name="connsiteX22" fmla="*/ 168263 w 290212"/>
                <a:gd name="connsiteY22" fmla="*/ 530948 h 532270"/>
                <a:gd name="connsiteX23" fmla="*/ 265043 w 290212"/>
                <a:gd name="connsiteY23" fmla="*/ 501128 h 532270"/>
                <a:gd name="connsiteX24" fmla="*/ 243069 w 290212"/>
                <a:gd name="connsiteY24" fmla="*/ 442375 h 532270"/>
                <a:gd name="connsiteX25" fmla="*/ 148998 w 290212"/>
                <a:gd name="connsiteY25" fmla="*/ 471331 h 532270"/>
                <a:gd name="connsiteX26" fmla="*/ 77684 w 290212"/>
                <a:gd name="connsiteY26" fmla="*/ 399281 h 532270"/>
                <a:gd name="connsiteX27" fmla="*/ 127236 w 290212"/>
                <a:gd name="connsiteY27" fmla="*/ 371848 h 532270"/>
                <a:gd name="connsiteX28" fmla="*/ 155650 w 290212"/>
                <a:gd name="connsiteY28" fmla="*/ 369321 h 532270"/>
                <a:gd name="connsiteX29" fmla="*/ 289517 w 290212"/>
                <a:gd name="connsiteY29" fmla="*/ 295196 h 532270"/>
                <a:gd name="connsiteX30" fmla="*/ 244067 w 290212"/>
                <a:gd name="connsiteY30" fmla="*/ 196046 h 532270"/>
                <a:gd name="connsiteX31" fmla="*/ 228089 w 290212"/>
                <a:gd name="connsiteY31" fmla="*/ 187071 h 532270"/>
                <a:gd name="connsiteX32" fmla="*/ 254291 w 290212"/>
                <a:gd name="connsiteY32" fmla="*/ 175827 h 532270"/>
                <a:gd name="connsiteX33" fmla="*/ 274902 w 290212"/>
                <a:gd name="connsiteY33" fmla="*/ 87212 h 532270"/>
                <a:gd name="connsiteX0" fmla="*/ 177809 w 290212"/>
                <a:gd name="connsiteY0" fmla="*/ 208185 h 532270"/>
                <a:gd name="connsiteX1" fmla="*/ 229031 w 290212"/>
                <a:gd name="connsiteY1" fmla="*/ 249637 h 532270"/>
                <a:gd name="connsiteX2" fmla="*/ 167733 w 290212"/>
                <a:gd name="connsiteY2" fmla="*/ 316000 h 532270"/>
                <a:gd name="connsiteX3" fmla="*/ 58051 w 290212"/>
                <a:gd name="connsiteY3" fmla="*/ 272507 h 532270"/>
                <a:gd name="connsiteX4" fmla="*/ 133422 w 290212"/>
                <a:gd name="connsiteY4" fmla="*/ 208033 h 532270"/>
                <a:gd name="connsiteX5" fmla="*/ 177809 w 290212"/>
                <a:gd name="connsiteY5" fmla="*/ 208185 h 532270"/>
                <a:gd name="connsiteX6" fmla="*/ 275077 w 290212"/>
                <a:gd name="connsiteY6" fmla="*/ 84559 h 532270"/>
                <a:gd name="connsiteX7" fmla="*/ 164669 w 290212"/>
                <a:gd name="connsiteY7" fmla="*/ 1183 h 532270"/>
                <a:gd name="connsiteX8" fmla="*/ 36062 w 290212"/>
                <a:gd name="connsiteY8" fmla="*/ 26248 h 532270"/>
                <a:gd name="connsiteX9" fmla="*/ 56451 w 290212"/>
                <a:gd name="connsiteY9" fmla="*/ 78744 h 532270"/>
                <a:gd name="connsiteX10" fmla="*/ 146418 w 290212"/>
                <a:gd name="connsiteY10" fmla="*/ 51098 h 532270"/>
                <a:gd name="connsiteX11" fmla="*/ 214621 w 290212"/>
                <a:gd name="connsiteY11" fmla="*/ 119887 h 532270"/>
                <a:gd name="connsiteX12" fmla="*/ 167231 w 290212"/>
                <a:gd name="connsiteY12" fmla="*/ 146078 h 532270"/>
                <a:gd name="connsiteX13" fmla="*/ 166473 w 290212"/>
                <a:gd name="connsiteY13" fmla="*/ 146254 h 532270"/>
                <a:gd name="connsiteX14" fmla="*/ 165216 w 290212"/>
                <a:gd name="connsiteY14" fmla="*/ 145387 h 532270"/>
                <a:gd name="connsiteX15" fmla="*/ 87058 w 290212"/>
                <a:gd name="connsiteY15" fmla="*/ 157342 h 532270"/>
                <a:gd name="connsiteX16" fmla="*/ 1155 w 290212"/>
                <a:gd name="connsiteY16" fmla="*/ 262325 h 532270"/>
                <a:gd name="connsiteX17" fmla="*/ 33039 w 290212"/>
                <a:gd name="connsiteY17" fmla="*/ 316682 h 532270"/>
                <a:gd name="connsiteX18" fmla="*/ 60557 w 290212"/>
                <a:gd name="connsiteY18" fmla="*/ 331084 h 532270"/>
                <a:gd name="connsiteX19" fmla="*/ 31878 w 290212"/>
                <a:gd name="connsiteY19" fmla="*/ 351551 h 532270"/>
                <a:gd name="connsiteX20" fmla="*/ 4066 w 290212"/>
                <a:gd name="connsiteY20" fmla="*/ 416015 h 532270"/>
                <a:gd name="connsiteX21" fmla="*/ 103383 w 290212"/>
                <a:gd name="connsiteY21" fmla="*/ 526609 h 532270"/>
                <a:gd name="connsiteX22" fmla="*/ 168263 w 290212"/>
                <a:gd name="connsiteY22" fmla="*/ 530948 h 532270"/>
                <a:gd name="connsiteX23" fmla="*/ 265043 w 290212"/>
                <a:gd name="connsiteY23" fmla="*/ 501128 h 532270"/>
                <a:gd name="connsiteX24" fmla="*/ 243069 w 290212"/>
                <a:gd name="connsiteY24" fmla="*/ 442375 h 532270"/>
                <a:gd name="connsiteX25" fmla="*/ 148998 w 290212"/>
                <a:gd name="connsiteY25" fmla="*/ 471331 h 532270"/>
                <a:gd name="connsiteX26" fmla="*/ 77684 w 290212"/>
                <a:gd name="connsiteY26" fmla="*/ 399281 h 532270"/>
                <a:gd name="connsiteX27" fmla="*/ 127236 w 290212"/>
                <a:gd name="connsiteY27" fmla="*/ 371848 h 532270"/>
                <a:gd name="connsiteX28" fmla="*/ 155650 w 290212"/>
                <a:gd name="connsiteY28" fmla="*/ 369321 h 532270"/>
                <a:gd name="connsiteX29" fmla="*/ 289517 w 290212"/>
                <a:gd name="connsiteY29" fmla="*/ 295196 h 532270"/>
                <a:gd name="connsiteX30" fmla="*/ 244067 w 290212"/>
                <a:gd name="connsiteY30" fmla="*/ 196046 h 532270"/>
                <a:gd name="connsiteX31" fmla="*/ 228089 w 290212"/>
                <a:gd name="connsiteY31" fmla="*/ 187071 h 532270"/>
                <a:gd name="connsiteX32" fmla="*/ 254291 w 290212"/>
                <a:gd name="connsiteY32" fmla="*/ 175827 h 532270"/>
                <a:gd name="connsiteX33" fmla="*/ 275077 w 290212"/>
                <a:gd name="connsiteY33" fmla="*/ 84559 h 532270"/>
                <a:gd name="connsiteX0" fmla="*/ 177809 w 290212"/>
                <a:gd name="connsiteY0" fmla="*/ 208185 h 532270"/>
                <a:gd name="connsiteX1" fmla="*/ 229031 w 290212"/>
                <a:gd name="connsiteY1" fmla="*/ 249637 h 532270"/>
                <a:gd name="connsiteX2" fmla="*/ 167733 w 290212"/>
                <a:gd name="connsiteY2" fmla="*/ 316000 h 532270"/>
                <a:gd name="connsiteX3" fmla="*/ 58051 w 290212"/>
                <a:gd name="connsiteY3" fmla="*/ 272507 h 532270"/>
                <a:gd name="connsiteX4" fmla="*/ 133422 w 290212"/>
                <a:gd name="connsiteY4" fmla="*/ 208033 h 532270"/>
                <a:gd name="connsiteX5" fmla="*/ 177809 w 290212"/>
                <a:gd name="connsiteY5" fmla="*/ 208185 h 532270"/>
                <a:gd name="connsiteX6" fmla="*/ 275077 w 290212"/>
                <a:gd name="connsiteY6" fmla="*/ 84559 h 532270"/>
                <a:gd name="connsiteX7" fmla="*/ 164669 w 290212"/>
                <a:gd name="connsiteY7" fmla="*/ 1183 h 532270"/>
                <a:gd name="connsiteX8" fmla="*/ 36062 w 290212"/>
                <a:gd name="connsiteY8" fmla="*/ 26248 h 532270"/>
                <a:gd name="connsiteX9" fmla="*/ 56451 w 290212"/>
                <a:gd name="connsiteY9" fmla="*/ 78744 h 532270"/>
                <a:gd name="connsiteX10" fmla="*/ 146418 w 290212"/>
                <a:gd name="connsiteY10" fmla="*/ 51098 h 532270"/>
                <a:gd name="connsiteX11" fmla="*/ 214621 w 290212"/>
                <a:gd name="connsiteY11" fmla="*/ 119887 h 532270"/>
                <a:gd name="connsiteX12" fmla="*/ 167231 w 290212"/>
                <a:gd name="connsiteY12" fmla="*/ 146078 h 532270"/>
                <a:gd name="connsiteX13" fmla="*/ 166473 w 290212"/>
                <a:gd name="connsiteY13" fmla="*/ 146254 h 532270"/>
                <a:gd name="connsiteX14" fmla="*/ 165216 w 290212"/>
                <a:gd name="connsiteY14" fmla="*/ 145387 h 532270"/>
                <a:gd name="connsiteX15" fmla="*/ 87058 w 290212"/>
                <a:gd name="connsiteY15" fmla="*/ 157342 h 532270"/>
                <a:gd name="connsiteX16" fmla="*/ 1155 w 290212"/>
                <a:gd name="connsiteY16" fmla="*/ 262325 h 532270"/>
                <a:gd name="connsiteX17" fmla="*/ 33039 w 290212"/>
                <a:gd name="connsiteY17" fmla="*/ 316682 h 532270"/>
                <a:gd name="connsiteX18" fmla="*/ 60557 w 290212"/>
                <a:gd name="connsiteY18" fmla="*/ 331084 h 532270"/>
                <a:gd name="connsiteX19" fmla="*/ 31878 w 290212"/>
                <a:gd name="connsiteY19" fmla="*/ 351551 h 532270"/>
                <a:gd name="connsiteX20" fmla="*/ 4066 w 290212"/>
                <a:gd name="connsiteY20" fmla="*/ 416015 h 532270"/>
                <a:gd name="connsiteX21" fmla="*/ 103383 w 290212"/>
                <a:gd name="connsiteY21" fmla="*/ 526609 h 532270"/>
                <a:gd name="connsiteX22" fmla="*/ 168263 w 290212"/>
                <a:gd name="connsiteY22" fmla="*/ 530948 h 532270"/>
                <a:gd name="connsiteX23" fmla="*/ 265043 w 290212"/>
                <a:gd name="connsiteY23" fmla="*/ 501128 h 532270"/>
                <a:gd name="connsiteX24" fmla="*/ 243069 w 290212"/>
                <a:gd name="connsiteY24" fmla="*/ 442375 h 532270"/>
                <a:gd name="connsiteX25" fmla="*/ 148998 w 290212"/>
                <a:gd name="connsiteY25" fmla="*/ 471331 h 532270"/>
                <a:gd name="connsiteX26" fmla="*/ 77684 w 290212"/>
                <a:gd name="connsiteY26" fmla="*/ 399281 h 532270"/>
                <a:gd name="connsiteX27" fmla="*/ 127236 w 290212"/>
                <a:gd name="connsiteY27" fmla="*/ 371848 h 532270"/>
                <a:gd name="connsiteX28" fmla="*/ 155650 w 290212"/>
                <a:gd name="connsiteY28" fmla="*/ 369321 h 532270"/>
                <a:gd name="connsiteX29" fmla="*/ 289517 w 290212"/>
                <a:gd name="connsiteY29" fmla="*/ 295196 h 532270"/>
                <a:gd name="connsiteX30" fmla="*/ 244067 w 290212"/>
                <a:gd name="connsiteY30" fmla="*/ 196046 h 532270"/>
                <a:gd name="connsiteX31" fmla="*/ 229691 w 290212"/>
                <a:gd name="connsiteY31" fmla="*/ 188959 h 532270"/>
                <a:gd name="connsiteX32" fmla="*/ 254291 w 290212"/>
                <a:gd name="connsiteY32" fmla="*/ 175827 h 532270"/>
                <a:gd name="connsiteX33" fmla="*/ 275077 w 290212"/>
                <a:gd name="connsiteY33" fmla="*/ 84559 h 532270"/>
                <a:gd name="connsiteX0" fmla="*/ 177809 w 290337"/>
                <a:gd name="connsiteY0" fmla="*/ 208185 h 532270"/>
                <a:gd name="connsiteX1" fmla="*/ 229031 w 290337"/>
                <a:gd name="connsiteY1" fmla="*/ 249637 h 532270"/>
                <a:gd name="connsiteX2" fmla="*/ 167733 w 290337"/>
                <a:gd name="connsiteY2" fmla="*/ 316000 h 532270"/>
                <a:gd name="connsiteX3" fmla="*/ 58051 w 290337"/>
                <a:gd name="connsiteY3" fmla="*/ 272507 h 532270"/>
                <a:gd name="connsiteX4" fmla="*/ 133422 w 290337"/>
                <a:gd name="connsiteY4" fmla="*/ 208033 h 532270"/>
                <a:gd name="connsiteX5" fmla="*/ 177809 w 290337"/>
                <a:gd name="connsiteY5" fmla="*/ 208185 h 532270"/>
                <a:gd name="connsiteX6" fmla="*/ 275077 w 290337"/>
                <a:gd name="connsiteY6" fmla="*/ 84559 h 532270"/>
                <a:gd name="connsiteX7" fmla="*/ 164669 w 290337"/>
                <a:gd name="connsiteY7" fmla="*/ 1183 h 532270"/>
                <a:gd name="connsiteX8" fmla="*/ 36062 w 290337"/>
                <a:gd name="connsiteY8" fmla="*/ 26248 h 532270"/>
                <a:gd name="connsiteX9" fmla="*/ 56451 w 290337"/>
                <a:gd name="connsiteY9" fmla="*/ 78744 h 532270"/>
                <a:gd name="connsiteX10" fmla="*/ 146418 w 290337"/>
                <a:gd name="connsiteY10" fmla="*/ 51098 h 532270"/>
                <a:gd name="connsiteX11" fmla="*/ 214621 w 290337"/>
                <a:gd name="connsiteY11" fmla="*/ 119887 h 532270"/>
                <a:gd name="connsiteX12" fmla="*/ 167231 w 290337"/>
                <a:gd name="connsiteY12" fmla="*/ 146078 h 532270"/>
                <a:gd name="connsiteX13" fmla="*/ 166473 w 290337"/>
                <a:gd name="connsiteY13" fmla="*/ 146254 h 532270"/>
                <a:gd name="connsiteX14" fmla="*/ 165216 w 290337"/>
                <a:gd name="connsiteY14" fmla="*/ 145387 h 532270"/>
                <a:gd name="connsiteX15" fmla="*/ 87058 w 290337"/>
                <a:gd name="connsiteY15" fmla="*/ 157342 h 532270"/>
                <a:gd name="connsiteX16" fmla="*/ 1155 w 290337"/>
                <a:gd name="connsiteY16" fmla="*/ 262325 h 532270"/>
                <a:gd name="connsiteX17" fmla="*/ 33039 w 290337"/>
                <a:gd name="connsiteY17" fmla="*/ 316682 h 532270"/>
                <a:gd name="connsiteX18" fmla="*/ 60557 w 290337"/>
                <a:gd name="connsiteY18" fmla="*/ 331084 h 532270"/>
                <a:gd name="connsiteX19" fmla="*/ 31878 w 290337"/>
                <a:gd name="connsiteY19" fmla="*/ 351551 h 532270"/>
                <a:gd name="connsiteX20" fmla="*/ 4066 w 290337"/>
                <a:gd name="connsiteY20" fmla="*/ 416015 h 532270"/>
                <a:gd name="connsiteX21" fmla="*/ 103383 w 290337"/>
                <a:gd name="connsiteY21" fmla="*/ 526609 h 532270"/>
                <a:gd name="connsiteX22" fmla="*/ 168263 w 290337"/>
                <a:gd name="connsiteY22" fmla="*/ 530948 h 532270"/>
                <a:gd name="connsiteX23" fmla="*/ 265043 w 290337"/>
                <a:gd name="connsiteY23" fmla="*/ 501128 h 532270"/>
                <a:gd name="connsiteX24" fmla="*/ 243069 w 290337"/>
                <a:gd name="connsiteY24" fmla="*/ 442375 h 532270"/>
                <a:gd name="connsiteX25" fmla="*/ 148998 w 290337"/>
                <a:gd name="connsiteY25" fmla="*/ 471331 h 532270"/>
                <a:gd name="connsiteX26" fmla="*/ 77684 w 290337"/>
                <a:gd name="connsiteY26" fmla="*/ 399281 h 532270"/>
                <a:gd name="connsiteX27" fmla="*/ 127236 w 290337"/>
                <a:gd name="connsiteY27" fmla="*/ 371848 h 532270"/>
                <a:gd name="connsiteX28" fmla="*/ 155650 w 290337"/>
                <a:gd name="connsiteY28" fmla="*/ 369321 h 532270"/>
                <a:gd name="connsiteX29" fmla="*/ 289517 w 290337"/>
                <a:gd name="connsiteY29" fmla="*/ 295196 h 532270"/>
                <a:gd name="connsiteX30" fmla="*/ 244635 w 290337"/>
                <a:gd name="connsiteY30" fmla="*/ 200528 h 532270"/>
                <a:gd name="connsiteX31" fmla="*/ 229691 w 290337"/>
                <a:gd name="connsiteY31" fmla="*/ 188959 h 532270"/>
                <a:gd name="connsiteX32" fmla="*/ 254291 w 290337"/>
                <a:gd name="connsiteY32" fmla="*/ 175827 h 532270"/>
                <a:gd name="connsiteX33" fmla="*/ 275077 w 290337"/>
                <a:gd name="connsiteY33" fmla="*/ 84559 h 532270"/>
                <a:gd name="connsiteX0" fmla="*/ 177809 w 290120"/>
                <a:gd name="connsiteY0" fmla="*/ 208185 h 532270"/>
                <a:gd name="connsiteX1" fmla="*/ 229031 w 290120"/>
                <a:gd name="connsiteY1" fmla="*/ 249637 h 532270"/>
                <a:gd name="connsiteX2" fmla="*/ 167733 w 290120"/>
                <a:gd name="connsiteY2" fmla="*/ 316000 h 532270"/>
                <a:gd name="connsiteX3" fmla="*/ 58051 w 290120"/>
                <a:gd name="connsiteY3" fmla="*/ 272507 h 532270"/>
                <a:gd name="connsiteX4" fmla="*/ 133422 w 290120"/>
                <a:gd name="connsiteY4" fmla="*/ 208033 h 532270"/>
                <a:gd name="connsiteX5" fmla="*/ 177809 w 290120"/>
                <a:gd name="connsiteY5" fmla="*/ 208185 h 532270"/>
                <a:gd name="connsiteX6" fmla="*/ 275077 w 290120"/>
                <a:gd name="connsiteY6" fmla="*/ 84559 h 532270"/>
                <a:gd name="connsiteX7" fmla="*/ 164669 w 290120"/>
                <a:gd name="connsiteY7" fmla="*/ 1183 h 532270"/>
                <a:gd name="connsiteX8" fmla="*/ 36062 w 290120"/>
                <a:gd name="connsiteY8" fmla="*/ 26248 h 532270"/>
                <a:gd name="connsiteX9" fmla="*/ 56451 w 290120"/>
                <a:gd name="connsiteY9" fmla="*/ 78744 h 532270"/>
                <a:gd name="connsiteX10" fmla="*/ 146418 w 290120"/>
                <a:gd name="connsiteY10" fmla="*/ 51098 h 532270"/>
                <a:gd name="connsiteX11" fmla="*/ 214621 w 290120"/>
                <a:gd name="connsiteY11" fmla="*/ 119887 h 532270"/>
                <a:gd name="connsiteX12" fmla="*/ 167231 w 290120"/>
                <a:gd name="connsiteY12" fmla="*/ 146078 h 532270"/>
                <a:gd name="connsiteX13" fmla="*/ 166473 w 290120"/>
                <a:gd name="connsiteY13" fmla="*/ 146254 h 532270"/>
                <a:gd name="connsiteX14" fmla="*/ 165216 w 290120"/>
                <a:gd name="connsiteY14" fmla="*/ 145387 h 532270"/>
                <a:gd name="connsiteX15" fmla="*/ 87058 w 290120"/>
                <a:gd name="connsiteY15" fmla="*/ 157342 h 532270"/>
                <a:gd name="connsiteX16" fmla="*/ 1155 w 290120"/>
                <a:gd name="connsiteY16" fmla="*/ 262325 h 532270"/>
                <a:gd name="connsiteX17" fmla="*/ 33039 w 290120"/>
                <a:gd name="connsiteY17" fmla="*/ 316682 h 532270"/>
                <a:gd name="connsiteX18" fmla="*/ 60557 w 290120"/>
                <a:gd name="connsiteY18" fmla="*/ 331084 h 532270"/>
                <a:gd name="connsiteX19" fmla="*/ 31878 w 290120"/>
                <a:gd name="connsiteY19" fmla="*/ 351551 h 532270"/>
                <a:gd name="connsiteX20" fmla="*/ 4066 w 290120"/>
                <a:gd name="connsiteY20" fmla="*/ 416015 h 532270"/>
                <a:gd name="connsiteX21" fmla="*/ 103383 w 290120"/>
                <a:gd name="connsiteY21" fmla="*/ 526609 h 532270"/>
                <a:gd name="connsiteX22" fmla="*/ 168263 w 290120"/>
                <a:gd name="connsiteY22" fmla="*/ 530948 h 532270"/>
                <a:gd name="connsiteX23" fmla="*/ 265043 w 290120"/>
                <a:gd name="connsiteY23" fmla="*/ 501128 h 532270"/>
                <a:gd name="connsiteX24" fmla="*/ 243069 w 290120"/>
                <a:gd name="connsiteY24" fmla="*/ 442375 h 532270"/>
                <a:gd name="connsiteX25" fmla="*/ 148998 w 290120"/>
                <a:gd name="connsiteY25" fmla="*/ 471331 h 532270"/>
                <a:gd name="connsiteX26" fmla="*/ 77684 w 290120"/>
                <a:gd name="connsiteY26" fmla="*/ 399281 h 532270"/>
                <a:gd name="connsiteX27" fmla="*/ 127236 w 290120"/>
                <a:gd name="connsiteY27" fmla="*/ 371848 h 532270"/>
                <a:gd name="connsiteX28" fmla="*/ 155650 w 290120"/>
                <a:gd name="connsiteY28" fmla="*/ 369321 h 532270"/>
                <a:gd name="connsiteX29" fmla="*/ 289517 w 290120"/>
                <a:gd name="connsiteY29" fmla="*/ 295196 h 532270"/>
                <a:gd name="connsiteX30" fmla="*/ 244635 w 290120"/>
                <a:gd name="connsiteY30" fmla="*/ 200528 h 532270"/>
                <a:gd name="connsiteX31" fmla="*/ 229691 w 290120"/>
                <a:gd name="connsiteY31" fmla="*/ 188959 h 532270"/>
                <a:gd name="connsiteX32" fmla="*/ 254291 w 290120"/>
                <a:gd name="connsiteY32" fmla="*/ 175827 h 532270"/>
                <a:gd name="connsiteX33" fmla="*/ 275077 w 290120"/>
                <a:gd name="connsiteY33" fmla="*/ 84559 h 532270"/>
                <a:gd name="connsiteX0" fmla="*/ 177809 w 291744"/>
                <a:gd name="connsiteY0" fmla="*/ 208185 h 532270"/>
                <a:gd name="connsiteX1" fmla="*/ 229031 w 291744"/>
                <a:gd name="connsiteY1" fmla="*/ 249637 h 532270"/>
                <a:gd name="connsiteX2" fmla="*/ 167733 w 291744"/>
                <a:gd name="connsiteY2" fmla="*/ 316000 h 532270"/>
                <a:gd name="connsiteX3" fmla="*/ 58051 w 291744"/>
                <a:gd name="connsiteY3" fmla="*/ 272507 h 532270"/>
                <a:gd name="connsiteX4" fmla="*/ 133422 w 291744"/>
                <a:gd name="connsiteY4" fmla="*/ 208033 h 532270"/>
                <a:gd name="connsiteX5" fmla="*/ 177809 w 291744"/>
                <a:gd name="connsiteY5" fmla="*/ 208185 h 532270"/>
                <a:gd name="connsiteX6" fmla="*/ 275077 w 291744"/>
                <a:gd name="connsiteY6" fmla="*/ 84559 h 532270"/>
                <a:gd name="connsiteX7" fmla="*/ 164669 w 291744"/>
                <a:gd name="connsiteY7" fmla="*/ 1183 h 532270"/>
                <a:gd name="connsiteX8" fmla="*/ 36062 w 291744"/>
                <a:gd name="connsiteY8" fmla="*/ 26248 h 532270"/>
                <a:gd name="connsiteX9" fmla="*/ 56451 w 291744"/>
                <a:gd name="connsiteY9" fmla="*/ 78744 h 532270"/>
                <a:gd name="connsiteX10" fmla="*/ 146418 w 291744"/>
                <a:gd name="connsiteY10" fmla="*/ 51098 h 532270"/>
                <a:gd name="connsiteX11" fmla="*/ 214621 w 291744"/>
                <a:gd name="connsiteY11" fmla="*/ 119887 h 532270"/>
                <a:gd name="connsiteX12" fmla="*/ 167231 w 291744"/>
                <a:gd name="connsiteY12" fmla="*/ 146078 h 532270"/>
                <a:gd name="connsiteX13" fmla="*/ 166473 w 291744"/>
                <a:gd name="connsiteY13" fmla="*/ 146254 h 532270"/>
                <a:gd name="connsiteX14" fmla="*/ 165216 w 291744"/>
                <a:gd name="connsiteY14" fmla="*/ 145387 h 532270"/>
                <a:gd name="connsiteX15" fmla="*/ 87058 w 291744"/>
                <a:gd name="connsiteY15" fmla="*/ 157342 h 532270"/>
                <a:gd name="connsiteX16" fmla="*/ 1155 w 291744"/>
                <a:gd name="connsiteY16" fmla="*/ 262325 h 532270"/>
                <a:gd name="connsiteX17" fmla="*/ 33039 w 291744"/>
                <a:gd name="connsiteY17" fmla="*/ 316682 h 532270"/>
                <a:gd name="connsiteX18" fmla="*/ 60557 w 291744"/>
                <a:gd name="connsiteY18" fmla="*/ 331084 h 532270"/>
                <a:gd name="connsiteX19" fmla="*/ 31878 w 291744"/>
                <a:gd name="connsiteY19" fmla="*/ 351551 h 532270"/>
                <a:gd name="connsiteX20" fmla="*/ 4066 w 291744"/>
                <a:gd name="connsiteY20" fmla="*/ 416015 h 532270"/>
                <a:gd name="connsiteX21" fmla="*/ 103383 w 291744"/>
                <a:gd name="connsiteY21" fmla="*/ 526609 h 532270"/>
                <a:gd name="connsiteX22" fmla="*/ 168263 w 291744"/>
                <a:gd name="connsiteY22" fmla="*/ 530948 h 532270"/>
                <a:gd name="connsiteX23" fmla="*/ 265043 w 291744"/>
                <a:gd name="connsiteY23" fmla="*/ 501128 h 532270"/>
                <a:gd name="connsiteX24" fmla="*/ 243069 w 291744"/>
                <a:gd name="connsiteY24" fmla="*/ 442375 h 532270"/>
                <a:gd name="connsiteX25" fmla="*/ 148998 w 291744"/>
                <a:gd name="connsiteY25" fmla="*/ 471331 h 532270"/>
                <a:gd name="connsiteX26" fmla="*/ 77684 w 291744"/>
                <a:gd name="connsiteY26" fmla="*/ 399281 h 532270"/>
                <a:gd name="connsiteX27" fmla="*/ 127236 w 291744"/>
                <a:gd name="connsiteY27" fmla="*/ 371848 h 532270"/>
                <a:gd name="connsiteX28" fmla="*/ 155650 w 291744"/>
                <a:gd name="connsiteY28" fmla="*/ 369321 h 532270"/>
                <a:gd name="connsiteX29" fmla="*/ 289517 w 291744"/>
                <a:gd name="connsiteY29" fmla="*/ 295196 h 532270"/>
                <a:gd name="connsiteX30" fmla="*/ 250595 w 291744"/>
                <a:gd name="connsiteY30" fmla="*/ 201833 h 532270"/>
                <a:gd name="connsiteX31" fmla="*/ 229691 w 291744"/>
                <a:gd name="connsiteY31" fmla="*/ 188959 h 532270"/>
                <a:gd name="connsiteX32" fmla="*/ 254291 w 291744"/>
                <a:gd name="connsiteY32" fmla="*/ 175827 h 532270"/>
                <a:gd name="connsiteX33" fmla="*/ 275077 w 291744"/>
                <a:gd name="connsiteY33" fmla="*/ 84559 h 532270"/>
                <a:gd name="connsiteX0" fmla="*/ 177809 w 291179"/>
                <a:gd name="connsiteY0" fmla="*/ 208185 h 532270"/>
                <a:gd name="connsiteX1" fmla="*/ 229031 w 291179"/>
                <a:gd name="connsiteY1" fmla="*/ 249637 h 532270"/>
                <a:gd name="connsiteX2" fmla="*/ 167733 w 291179"/>
                <a:gd name="connsiteY2" fmla="*/ 316000 h 532270"/>
                <a:gd name="connsiteX3" fmla="*/ 58051 w 291179"/>
                <a:gd name="connsiteY3" fmla="*/ 272507 h 532270"/>
                <a:gd name="connsiteX4" fmla="*/ 133422 w 291179"/>
                <a:gd name="connsiteY4" fmla="*/ 208033 h 532270"/>
                <a:gd name="connsiteX5" fmla="*/ 177809 w 291179"/>
                <a:gd name="connsiteY5" fmla="*/ 208185 h 532270"/>
                <a:gd name="connsiteX6" fmla="*/ 275077 w 291179"/>
                <a:gd name="connsiteY6" fmla="*/ 84559 h 532270"/>
                <a:gd name="connsiteX7" fmla="*/ 164669 w 291179"/>
                <a:gd name="connsiteY7" fmla="*/ 1183 h 532270"/>
                <a:gd name="connsiteX8" fmla="*/ 36062 w 291179"/>
                <a:gd name="connsiteY8" fmla="*/ 26248 h 532270"/>
                <a:gd name="connsiteX9" fmla="*/ 56451 w 291179"/>
                <a:gd name="connsiteY9" fmla="*/ 78744 h 532270"/>
                <a:gd name="connsiteX10" fmla="*/ 146418 w 291179"/>
                <a:gd name="connsiteY10" fmla="*/ 51098 h 532270"/>
                <a:gd name="connsiteX11" fmla="*/ 214621 w 291179"/>
                <a:gd name="connsiteY11" fmla="*/ 119887 h 532270"/>
                <a:gd name="connsiteX12" fmla="*/ 167231 w 291179"/>
                <a:gd name="connsiteY12" fmla="*/ 146078 h 532270"/>
                <a:gd name="connsiteX13" fmla="*/ 166473 w 291179"/>
                <a:gd name="connsiteY13" fmla="*/ 146254 h 532270"/>
                <a:gd name="connsiteX14" fmla="*/ 165216 w 291179"/>
                <a:gd name="connsiteY14" fmla="*/ 145387 h 532270"/>
                <a:gd name="connsiteX15" fmla="*/ 87058 w 291179"/>
                <a:gd name="connsiteY15" fmla="*/ 157342 h 532270"/>
                <a:gd name="connsiteX16" fmla="*/ 1155 w 291179"/>
                <a:gd name="connsiteY16" fmla="*/ 262325 h 532270"/>
                <a:gd name="connsiteX17" fmla="*/ 33039 w 291179"/>
                <a:gd name="connsiteY17" fmla="*/ 316682 h 532270"/>
                <a:gd name="connsiteX18" fmla="*/ 60557 w 291179"/>
                <a:gd name="connsiteY18" fmla="*/ 331084 h 532270"/>
                <a:gd name="connsiteX19" fmla="*/ 31878 w 291179"/>
                <a:gd name="connsiteY19" fmla="*/ 351551 h 532270"/>
                <a:gd name="connsiteX20" fmla="*/ 4066 w 291179"/>
                <a:gd name="connsiteY20" fmla="*/ 416015 h 532270"/>
                <a:gd name="connsiteX21" fmla="*/ 103383 w 291179"/>
                <a:gd name="connsiteY21" fmla="*/ 526609 h 532270"/>
                <a:gd name="connsiteX22" fmla="*/ 168263 w 291179"/>
                <a:gd name="connsiteY22" fmla="*/ 530948 h 532270"/>
                <a:gd name="connsiteX23" fmla="*/ 265043 w 291179"/>
                <a:gd name="connsiteY23" fmla="*/ 501128 h 532270"/>
                <a:gd name="connsiteX24" fmla="*/ 243069 w 291179"/>
                <a:gd name="connsiteY24" fmla="*/ 442375 h 532270"/>
                <a:gd name="connsiteX25" fmla="*/ 148998 w 291179"/>
                <a:gd name="connsiteY25" fmla="*/ 471331 h 532270"/>
                <a:gd name="connsiteX26" fmla="*/ 77684 w 291179"/>
                <a:gd name="connsiteY26" fmla="*/ 399281 h 532270"/>
                <a:gd name="connsiteX27" fmla="*/ 127236 w 291179"/>
                <a:gd name="connsiteY27" fmla="*/ 371848 h 532270"/>
                <a:gd name="connsiteX28" fmla="*/ 155650 w 291179"/>
                <a:gd name="connsiteY28" fmla="*/ 369321 h 532270"/>
                <a:gd name="connsiteX29" fmla="*/ 289517 w 291179"/>
                <a:gd name="connsiteY29" fmla="*/ 295196 h 532270"/>
                <a:gd name="connsiteX30" fmla="*/ 248817 w 291179"/>
                <a:gd name="connsiteY30" fmla="*/ 202597 h 532270"/>
                <a:gd name="connsiteX31" fmla="*/ 229691 w 291179"/>
                <a:gd name="connsiteY31" fmla="*/ 188959 h 532270"/>
                <a:gd name="connsiteX32" fmla="*/ 254291 w 291179"/>
                <a:gd name="connsiteY32" fmla="*/ 175827 h 532270"/>
                <a:gd name="connsiteX33" fmla="*/ 275077 w 291179"/>
                <a:gd name="connsiteY33" fmla="*/ 84559 h 532270"/>
                <a:gd name="connsiteX0" fmla="*/ 177809 w 289517"/>
                <a:gd name="connsiteY0" fmla="*/ 208185 h 532270"/>
                <a:gd name="connsiteX1" fmla="*/ 229031 w 289517"/>
                <a:gd name="connsiteY1" fmla="*/ 249637 h 532270"/>
                <a:gd name="connsiteX2" fmla="*/ 167733 w 289517"/>
                <a:gd name="connsiteY2" fmla="*/ 316000 h 532270"/>
                <a:gd name="connsiteX3" fmla="*/ 58051 w 289517"/>
                <a:gd name="connsiteY3" fmla="*/ 272507 h 532270"/>
                <a:gd name="connsiteX4" fmla="*/ 133422 w 289517"/>
                <a:gd name="connsiteY4" fmla="*/ 208033 h 532270"/>
                <a:gd name="connsiteX5" fmla="*/ 177809 w 289517"/>
                <a:gd name="connsiteY5" fmla="*/ 208185 h 532270"/>
                <a:gd name="connsiteX6" fmla="*/ 275077 w 289517"/>
                <a:gd name="connsiteY6" fmla="*/ 84559 h 532270"/>
                <a:gd name="connsiteX7" fmla="*/ 164669 w 289517"/>
                <a:gd name="connsiteY7" fmla="*/ 1183 h 532270"/>
                <a:gd name="connsiteX8" fmla="*/ 36062 w 289517"/>
                <a:gd name="connsiteY8" fmla="*/ 26248 h 532270"/>
                <a:gd name="connsiteX9" fmla="*/ 56451 w 289517"/>
                <a:gd name="connsiteY9" fmla="*/ 78744 h 532270"/>
                <a:gd name="connsiteX10" fmla="*/ 146418 w 289517"/>
                <a:gd name="connsiteY10" fmla="*/ 51098 h 532270"/>
                <a:gd name="connsiteX11" fmla="*/ 214621 w 289517"/>
                <a:gd name="connsiteY11" fmla="*/ 119887 h 532270"/>
                <a:gd name="connsiteX12" fmla="*/ 167231 w 289517"/>
                <a:gd name="connsiteY12" fmla="*/ 146078 h 532270"/>
                <a:gd name="connsiteX13" fmla="*/ 166473 w 289517"/>
                <a:gd name="connsiteY13" fmla="*/ 146254 h 532270"/>
                <a:gd name="connsiteX14" fmla="*/ 165216 w 289517"/>
                <a:gd name="connsiteY14" fmla="*/ 145387 h 532270"/>
                <a:gd name="connsiteX15" fmla="*/ 87058 w 289517"/>
                <a:gd name="connsiteY15" fmla="*/ 157342 h 532270"/>
                <a:gd name="connsiteX16" fmla="*/ 1155 w 289517"/>
                <a:gd name="connsiteY16" fmla="*/ 262325 h 532270"/>
                <a:gd name="connsiteX17" fmla="*/ 33039 w 289517"/>
                <a:gd name="connsiteY17" fmla="*/ 316682 h 532270"/>
                <a:gd name="connsiteX18" fmla="*/ 60557 w 289517"/>
                <a:gd name="connsiteY18" fmla="*/ 331084 h 532270"/>
                <a:gd name="connsiteX19" fmla="*/ 31878 w 289517"/>
                <a:gd name="connsiteY19" fmla="*/ 351551 h 532270"/>
                <a:gd name="connsiteX20" fmla="*/ 4066 w 289517"/>
                <a:gd name="connsiteY20" fmla="*/ 416015 h 532270"/>
                <a:gd name="connsiteX21" fmla="*/ 103383 w 289517"/>
                <a:gd name="connsiteY21" fmla="*/ 526609 h 532270"/>
                <a:gd name="connsiteX22" fmla="*/ 168263 w 289517"/>
                <a:gd name="connsiteY22" fmla="*/ 530948 h 532270"/>
                <a:gd name="connsiteX23" fmla="*/ 265043 w 289517"/>
                <a:gd name="connsiteY23" fmla="*/ 501128 h 532270"/>
                <a:gd name="connsiteX24" fmla="*/ 243069 w 289517"/>
                <a:gd name="connsiteY24" fmla="*/ 442375 h 532270"/>
                <a:gd name="connsiteX25" fmla="*/ 148998 w 289517"/>
                <a:gd name="connsiteY25" fmla="*/ 471331 h 532270"/>
                <a:gd name="connsiteX26" fmla="*/ 77684 w 289517"/>
                <a:gd name="connsiteY26" fmla="*/ 399281 h 532270"/>
                <a:gd name="connsiteX27" fmla="*/ 127236 w 289517"/>
                <a:gd name="connsiteY27" fmla="*/ 371848 h 532270"/>
                <a:gd name="connsiteX28" fmla="*/ 155650 w 289517"/>
                <a:gd name="connsiteY28" fmla="*/ 369321 h 532270"/>
                <a:gd name="connsiteX29" fmla="*/ 289517 w 289517"/>
                <a:gd name="connsiteY29" fmla="*/ 295196 h 532270"/>
                <a:gd name="connsiteX30" fmla="*/ 248817 w 289517"/>
                <a:gd name="connsiteY30" fmla="*/ 202597 h 532270"/>
                <a:gd name="connsiteX31" fmla="*/ 229691 w 289517"/>
                <a:gd name="connsiteY31" fmla="*/ 188959 h 532270"/>
                <a:gd name="connsiteX32" fmla="*/ 254291 w 289517"/>
                <a:gd name="connsiteY32" fmla="*/ 175827 h 532270"/>
                <a:gd name="connsiteX33" fmla="*/ 275077 w 289517"/>
                <a:gd name="connsiteY33" fmla="*/ 84559 h 532270"/>
                <a:gd name="connsiteX0" fmla="*/ 177809 w 284592"/>
                <a:gd name="connsiteY0" fmla="*/ 208185 h 532270"/>
                <a:gd name="connsiteX1" fmla="*/ 229031 w 284592"/>
                <a:gd name="connsiteY1" fmla="*/ 249637 h 532270"/>
                <a:gd name="connsiteX2" fmla="*/ 167733 w 284592"/>
                <a:gd name="connsiteY2" fmla="*/ 316000 h 532270"/>
                <a:gd name="connsiteX3" fmla="*/ 58051 w 284592"/>
                <a:gd name="connsiteY3" fmla="*/ 272507 h 532270"/>
                <a:gd name="connsiteX4" fmla="*/ 133422 w 284592"/>
                <a:gd name="connsiteY4" fmla="*/ 208033 h 532270"/>
                <a:gd name="connsiteX5" fmla="*/ 177809 w 284592"/>
                <a:gd name="connsiteY5" fmla="*/ 208185 h 532270"/>
                <a:gd name="connsiteX6" fmla="*/ 275077 w 284592"/>
                <a:gd name="connsiteY6" fmla="*/ 84559 h 532270"/>
                <a:gd name="connsiteX7" fmla="*/ 164669 w 284592"/>
                <a:gd name="connsiteY7" fmla="*/ 1183 h 532270"/>
                <a:gd name="connsiteX8" fmla="*/ 36062 w 284592"/>
                <a:gd name="connsiteY8" fmla="*/ 26248 h 532270"/>
                <a:gd name="connsiteX9" fmla="*/ 56451 w 284592"/>
                <a:gd name="connsiteY9" fmla="*/ 78744 h 532270"/>
                <a:gd name="connsiteX10" fmla="*/ 146418 w 284592"/>
                <a:gd name="connsiteY10" fmla="*/ 51098 h 532270"/>
                <a:gd name="connsiteX11" fmla="*/ 214621 w 284592"/>
                <a:gd name="connsiteY11" fmla="*/ 119887 h 532270"/>
                <a:gd name="connsiteX12" fmla="*/ 167231 w 284592"/>
                <a:gd name="connsiteY12" fmla="*/ 146078 h 532270"/>
                <a:gd name="connsiteX13" fmla="*/ 166473 w 284592"/>
                <a:gd name="connsiteY13" fmla="*/ 146254 h 532270"/>
                <a:gd name="connsiteX14" fmla="*/ 165216 w 284592"/>
                <a:gd name="connsiteY14" fmla="*/ 145387 h 532270"/>
                <a:gd name="connsiteX15" fmla="*/ 87058 w 284592"/>
                <a:gd name="connsiteY15" fmla="*/ 157342 h 532270"/>
                <a:gd name="connsiteX16" fmla="*/ 1155 w 284592"/>
                <a:gd name="connsiteY16" fmla="*/ 262325 h 532270"/>
                <a:gd name="connsiteX17" fmla="*/ 33039 w 284592"/>
                <a:gd name="connsiteY17" fmla="*/ 316682 h 532270"/>
                <a:gd name="connsiteX18" fmla="*/ 60557 w 284592"/>
                <a:gd name="connsiteY18" fmla="*/ 331084 h 532270"/>
                <a:gd name="connsiteX19" fmla="*/ 31878 w 284592"/>
                <a:gd name="connsiteY19" fmla="*/ 351551 h 532270"/>
                <a:gd name="connsiteX20" fmla="*/ 4066 w 284592"/>
                <a:gd name="connsiteY20" fmla="*/ 416015 h 532270"/>
                <a:gd name="connsiteX21" fmla="*/ 103383 w 284592"/>
                <a:gd name="connsiteY21" fmla="*/ 526609 h 532270"/>
                <a:gd name="connsiteX22" fmla="*/ 168263 w 284592"/>
                <a:gd name="connsiteY22" fmla="*/ 530948 h 532270"/>
                <a:gd name="connsiteX23" fmla="*/ 265043 w 284592"/>
                <a:gd name="connsiteY23" fmla="*/ 501128 h 532270"/>
                <a:gd name="connsiteX24" fmla="*/ 243069 w 284592"/>
                <a:gd name="connsiteY24" fmla="*/ 442375 h 532270"/>
                <a:gd name="connsiteX25" fmla="*/ 148998 w 284592"/>
                <a:gd name="connsiteY25" fmla="*/ 471331 h 532270"/>
                <a:gd name="connsiteX26" fmla="*/ 77684 w 284592"/>
                <a:gd name="connsiteY26" fmla="*/ 399281 h 532270"/>
                <a:gd name="connsiteX27" fmla="*/ 127236 w 284592"/>
                <a:gd name="connsiteY27" fmla="*/ 371848 h 532270"/>
                <a:gd name="connsiteX28" fmla="*/ 155650 w 284592"/>
                <a:gd name="connsiteY28" fmla="*/ 369321 h 532270"/>
                <a:gd name="connsiteX29" fmla="*/ 284592 w 284592"/>
                <a:gd name="connsiteY29" fmla="*/ 291298 h 532270"/>
                <a:gd name="connsiteX30" fmla="*/ 248817 w 284592"/>
                <a:gd name="connsiteY30" fmla="*/ 202597 h 532270"/>
                <a:gd name="connsiteX31" fmla="*/ 229691 w 284592"/>
                <a:gd name="connsiteY31" fmla="*/ 188959 h 532270"/>
                <a:gd name="connsiteX32" fmla="*/ 254291 w 284592"/>
                <a:gd name="connsiteY32" fmla="*/ 175827 h 532270"/>
                <a:gd name="connsiteX33" fmla="*/ 275077 w 284592"/>
                <a:gd name="connsiteY33" fmla="*/ 84559 h 532270"/>
                <a:gd name="connsiteX0" fmla="*/ 177809 w 286191"/>
                <a:gd name="connsiteY0" fmla="*/ 208185 h 532270"/>
                <a:gd name="connsiteX1" fmla="*/ 229031 w 286191"/>
                <a:gd name="connsiteY1" fmla="*/ 249637 h 532270"/>
                <a:gd name="connsiteX2" fmla="*/ 167733 w 286191"/>
                <a:gd name="connsiteY2" fmla="*/ 316000 h 532270"/>
                <a:gd name="connsiteX3" fmla="*/ 58051 w 286191"/>
                <a:gd name="connsiteY3" fmla="*/ 272507 h 532270"/>
                <a:gd name="connsiteX4" fmla="*/ 133422 w 286191"/>
                <a:gd name="connsiteY4" fmla="*/ 208033 h 532270"/>
                <a:gd name="connsiteX5" fmla="*/ 177809 w 286191"/>
                <a:gd name="connsiteY5" fmla="*/ 208185 h 532270"/>
                <a:gd name="connsiteX6" fmla="*/ 275077 w 286191"/>
                <a:gd name="connsiteY6" fmla="*/ 84559 h 532270"/>
                <a:gd name="connsiteX7" fmla="*/ 164669 w 286191"/>
                <a:gd name="connsiteY7" fmla="*/ 1183 h 532270"/>
                <a:gd name="connsiteX8" fmla="*/ 36062 w 286191"/>
                <a:gd name="connsiteY8" fmla="*/ 26248 h 532270"/>
                <a:gd name="connsiteX9" fmla="*/ 56451 w 286191"/>
                <a:gd name="connsiteY9" fmla="*/ 78744 h 532270"/>
                <a:gd name="connsiteX10" fmla="*/ 146418 w 286191"/>
                <a:gd name="connsiteY10" fmla="*/ 51098 h 532270"/>
                <a:gd name="connsiteX11" fmla="*/ 214621 w 286191"/>
                <a:gd name="connsiteY11" fmla="*/ 119887 h 532270"/>
                <a:gd name="connsiteX12" fmla="*/ 167231 w 286191"/>
                <a:gd name="connsiteY12" fmla="*/ 146078 h 532270"/>
                <a:gd name="connsiteX13" fmla="*/ 166473 w 286191"/>
                <a:gd name="connsiteY13" fmla="*/ 146254 h 532270"/>
                <a:gd name="connsiteX14" fmla="*/ 165216 w 286191"/>
                <a:gd name="connsiteY14" fmla="*/ 145387 h 532270"/>
                <a:gd name="connsiteX15" fmla="*/ 87058 w 286191"/>
                <a:gd name="connsiteY15" fmla="*/ 157342 h 532270"/>
                <a:gd name="connsiteX16" fmla="*/ 1155 w 286191"/>
                <a:gd name="connsiteY16" fmla="*/ 262325 h 532270"/>
                <a:gd name="connsiteX17" fmla="*/ 33039 w 286191"/>
                <a:gd name="connsiteY17" fmla="*/ 316682 h 532270"/>
                <a:gd name="connsiteX18" fmla="*/ 60557 w 286191"/>
                <a:gd name="connsiteY18" fmla="*/ 331084 h 532270"/>
                <a:gd name="connsiteX19" fmla="*/ 31878 w 286191"/>
                <a:gd name="connsiteY19" fmla="*/ 351551 h 532270"/>
                <a:gd name="connsiteX20" fmla="*/ 4066 w 286191"/>
                <a:gd name="connsiteY20" fmla="*/ 416015 h 532270"/>
                <a:gd name="connsiteX21" fmla="*/ 103383 w 286191"/>
                <a:gd name="connsiteY21" fmla="*/ 526609 h 532270"/>
                <a:gd name="connsiteX22" fmla="*/ 168263 w 286191"/>
                <a:gd name="connsiteY22" fmla="*/ 530948 h 532270"/>
                <a:gd name="connsiteX23" fmla="*/ 265043 w 286191"/>
                <a:gd name="connsiteY23" fmla="*/ 501128 h 532270"/>
                <a:gd name="connsiteX24" fmla="*/ 243069 w 286191"/>
                <a:gd name="connsiteY24" fmla="*/ 442375 h 532270"/>
                <a:gd name="connsiteX25" fmla="*/ 148998 w 286191"/>
                <a:gd name="connsiteY25" fmla="*/ 471331 h 532270"/>
                <a:gd name="connsiteX26" fmla="*/ 77684 w 286191"/>
                <a:gd name="connsiteY26" fmla="*/ 399281 h 532270"/>
                <a:gd name="connsiteX27" fmla="*/ 127236 w 286191"/>
                <a:gd name="connsiteY27" fmla="*/ 371848 h 532270"/>
                <a:gd name="connsiteX28" fmla="*/ 155650 w 286191"/>
                <a:gd name="connsiteY28" fmla="*/ 369321 h 532270"/>
                <a:gd name="connsiteX29" fmla="*/ 284592 w 286191"/>
                <a:gd name="connsiteY29" fmla="*/ 291298 h 532270"/>
                <a:gd name="connsiteX30" fmla="*/ 248817 w 286191"/>
                <a:gd name="connsiteY30" fmla="*/ 202597 h 532270"/>
                <a:gd name="connsiteX31" fmla="*/ 229691 w 286191"/>
                <a:gd name="connsiteY31" fmla="*/ 188959 h 532270"/>
                <a:gd name="connsiteX32" fmla="*/ 254291 w 286191"/>
                <a:gd name="connsiteY32" fmla="*/ 175827 h 532270"/>
                <a:gd name="connsiteX33" fmla="*/ 275077 w 286191"/>
                <a:gd name="connsiteY33" fmla="*/ 84559 h 532270"/>
                <a:gd name="connsiteX0" fmla="*/ 177809 w 286191"/>
                <a:gd name="connsiteY0" fmla="*/ 208185 h 532270"/>
                <a:gd name="connsiteX1" fmla="*/ 229031 w 286191"/>
                <a:gd name="connsiteY1" fmla="*/ 249637 h 532270"/>
                <a:gd name="connsiteX2" fmla="*/ 167733 w 286191"/>
                <a:gd name="connsiteY2" fmla="*/ 316000 h 532270"/>
                <a:gd name="connsiteX3" fmla="*/ 58051 w 286191"/>
                <a:gd name="connsiteY3" fmla="*/ 272507 h 532270"/>
                <a:gd name="connsiteX4" fmla="*/ 133422 w 286191"/>
                <a:gd name="connsiteY4" fmla="*/ 208033 h 532270"/>
                <a:gd name="connsiteX5" fmla="*/ 177809 w 286191"/>
                <a:gd name="connsiteY5" fmla="*/ 208185 h 532270"/>
                <a:gd name="connsiteX6" fmla="*/ 275077 w 286191"/>
                <a:gd name="connsiteY6" fmla="*/ 84559 h 532270"/>
                <a:gd name="connsiteX7" fmla="*/ 164669 w 286191"/>
                <a:gd name="connsiteY7" fmla="*/ 1183 h 532270"/>
                <a:gd name="connsiteX8" fmla="*/ 36062 w 286191"/>
                <a:gd name="connsiteY8" fmla="*/ 26248 h 532270"/>
                <a:gd name="connsiteX9" fmla="*/ 56451 w 286191"/>
                <a:gd name="connsiteY9" fmla="*/ 78744 h 532270"/>
                <a:gd name="connsiteX10" fmla="*/ 146418 w 286191"/>
                <a:gd name="connsiteY10" fmla="*/ 51098 h 532270"/>
                <a:gd name="connsiteX11" fmla="*/ 214621 w 286191"/>
                <a:gd name="connsiteY11" fmla="*/ 119887 h 532270"/>
                <a:gd name="connsiteX12" fmla="*/ 167231 w 286191"/>
                <a:gd name="connsiteY12" fmla="*/ 146078 h 532270"/>
                <a:gd name="connsiteX13" fmla="*/ 166473 w 286191"/>
                <a:gd name="connsiteY13" fmla="*/ 146254 h 532270"/>
                <a:gd name="connsiteX14" fmla="*/ 165216 w 286191"/>
                <a:gd name="connsiteY14" fmla="*/ 145387 h 532270"/>
                <a:gd name="connsiteX15" fmla="*/ 87058 w 286191"/>
                <a:gd name="connsiteY15" fmla="*/ 157342 h 532270"/>
                <a:gd name="connsiteX16" fmla="*/ 1155 w 286191"/>
                <a:gd name="connsiteY16" fmla="*/ 262325 h 532270"/>
                <a:gd name="connsiteX17" fmla="*/ 33039 w 286191"/>
                <a:gd name="connsiteY17" fmla="*/ 316682 h 532270"/>
                <a:gd name="connsiteX18" fmla="*/ 60557 w 286191"/>
                <a:gd name="connsiteY18" fmla="*/ 331084 h 532270"/>
                <a:gd name="connsiteX19" fmla="*/ 31878 w 286191"/>
                <a:gd name="connsiteY19" fmla="*/ 351551 h 532270"/>
                <a:gd name="connsiteX20" fmla="*/ 4066 w 286191"/>
                <a:gd name="connsiteY20" fmla="*/ 416015 h 532270"/>
                <a:gd name="connsiteX21" fmla="*/ 103383 w 286191"/>
                <a:gd name="connsiteY21" fmla="*/ 526609 h 532270"/>
                <a:gd name="connsiteX22" fmla="*/ 168263 w 286191"/>
                <a:gd name="connsiteY22" fmla="*/ 530948 h 532270"/>
                <a:gd name="connsiteX23" fmla="*/ 265043 w 286191"/>
                <a:gd name="connsiteY23" fmla="*/ 501128 h 532270"/>
                <a:gd name="connsiteX24" fmla="*/ 243069 w 286191"/>
                <a:gd name="connsiteY24" fmla="*/ 442375 h 532270"/>
                <a:gd name="connsiteX25" fmla="*/ 148998 w 286191"/>
                <a:gd name="connsiteY25" fmla="*/ 471331 h 532270"/>
                <a:gd name="connsiteX26" fmla="*/ 77684 w 286191"/>
                <a:gd name="connsiteY26" fmla="*/ 399281 h 532270"/>
                <a:gd name="connsiteX27" fmla="*/ 127236 w 286191"/>
                <a:gd name="connsiteY27" fmla="*/ 371848 h 532270"/>
                <a:gd name="connsiteX28" fmla="*/ 155650 w 286191"/>
                <a:gd name="connsiteY28" fmla="*/ 369321 h 532270"/>
                <a:gd name="connsiteX29" fmla="*/ 284592 w 286191"/>
                <a:gd name="connsiteY29" fmla="*/ 291298 h 532270"/>
                <a:gd name="connsiteX30" fmla="*/ 248817 w 286191"/>
                <a:gd name="connsiteY30" fmla="*/ 202597 h 532270"/>
                <a:gd name="connsiteX31" fmla="*/ 229691 w 286191"/>
                <a:gd name="connsiteY31" fmla="*/ 188959 h 532270"/>
                <a:gd name="connsiteX32" fmla="*/ 254291 w 286191"/>
                <a:gd name="connsiteY32" fmla="*/ 175827 h 532270"/>
                <a:gd name="connsiteX33" fmla="*/ 275077 w 286191"/>
                <a:gd name="connsiteY33" fmla="*/ 84559 h 532270"/>
                <a:gd name="connsiteX0" fmla="*/ 177809 w 286191"/>
                <a:gd name="connsiteY0" fmla="*/ 208185 h 532270"/>
                <a:gd name="connsiteX1" fmla="*/ 229031 w 286191"/>
                <a:gd name="connsiteY1" fmla="*/ 249637 h 532270"/>
                <a:gd name="connsiteX2" fmla="*/ 167733 w 286191"/>
                <a:gd name="connsiteY2" fmla="*/ 316000 h 532270"/>
                <a:gd name="connsiteX3" fmla="*/ 58051 w 286191"/>
                <a:gd name="connsiteY3" fmla="*/ 272507 h 532270"/>
                <a:gd name="connsiteX4" fmla="*/ 133422 w 286191"/>
                <a:gd name="connsiteY4" fmla="*/ 208033 h 532270"/>
                <a:gd name="connsiteX5" fmla="*/ 177809 w 286191"/>
                <a:gd name="connsiteY5" fmla="*/ 208185 h 532270"/>
                <a:gd name="connsiteX6" fmla="*/ 275077 w 286191"/>
                <a:gd name="connsiteY6" fmla="*/ 84559 h 532270"/>
                <a:gd name="connsiteX7" fmla="*/ 164669 w 286191"/>
                <a:gd name="connsiteY7" fmla="*/ 1183 h 532270"/>
                <a:gd name="connsiteX8" fmla="*/ 36062 w 286191"/>
                <a:gd name="connsiteY8" fmla="*/ 26248 h 532270"/>
                <a:gd name="connsiteX9" fmla="*/ 56451 w 286191"/>
                <a:gd name="connsiteY9" fmla="*/ 78744 h 532270"/>
                <a:gd name="connsiteX10" fmla="*/ 146418 w 286191"/>
                <a:gd name="connsiteY10" fmla="*/ 51098 h 532270"/>
                <a:gd name="connsiteX11" fmla="*/ 214621 w 286191"/>
                <a:gd name="connsiteY11" fmla="*/ 119887 h 532270"/>
                <a:gd name="connsiteX12" fmla="*/ 167231 w 286191"/>
                <a:gd name="connsiteY12" fmla="*/ 146078 h 532270"/>
                <a:gd name="connsiteX13" fmla="*/ 166473 w 286191"/>
                <a:gd name="connsiteY13" fmla="*/ 146254 h 532270"/>
                <a:gd name="connsiteX14" fmla="*/ 165216 w 286191"/>
                <a:gd name="connsiteY14" fmla="*/ 145387 h 532270"/>
                <a:gd name="connsiteX15" fmla="*/ 87058 w 286191"/>
                <a:gd name="connsiteY15" fmla="*/ 157342 h 532270"/>
                <a:gd name="connsiteX16" fmla="*/ 1155 w 286191"/>
                <a:gd name="connsiteY16" fmla="*/ 262325 h 532270"/>
                <a:gd name="connsiteX17" fmla="*/ 33039 w 286191"/>
                <a:gd name="connsiteY17" fmla="*/ 316682 h 532270"/>
                <a:gd name="connsiteX18" fmla="*/ 60557 w 286191"/>
                <a:gd name="connsiteY18" fmla="*/ 331084 h 532270"/>
                <a:gd name="connsiteX19" fmla="*/ 31878 w 286191"/>
                <a:gd name="connsiteY19" fmla="*/ 351551 h 532270"/>
                <a:gd name="connsiteX20" fmla="*/ 4066 w 286191"/>
                <a:gd name="connsiteY20" fmla="*/ 416015 h 532270"/>
                <a:gd name="connsiteX21" fmla="*/ 103383 w 286191"/>
                <a:gd name="connsiteY21" fmla="*/ 526609 h 532270"/>
                <a:gd name="connsiteX22" fmla="*/ 168263 w 286191"/>
                <a:gd name="connsiteY22" fmla="*/ 530948 h 532270"/>
                <a:gd name="connsiteX23" fmla="*/ 265043 w 286191"/>
                <a:gd name="connsiteY23" fmla="*/ 501128 h 532270"/>
                <a:gd name="connsiteX24" fmla="*/ 243069 w 286191"/>
                <a:gd name="connsiteY24" fmla="*/ 442375 h 532270"/>
                <a:gd name="connsiteX25" fmla="*/ 148998 w 286191"/>
                <a:gd name="connsiteY25" fmla="*/ 471331 h 532270"/>
                <a:gd name="connsiteX26" fmla="*/ 77684 w 286191"/>
                <a:gd name="connsiteY26" fmla="*/ 399281 h 532270"/>
                <a:gd name="connsiteX27" fmla="*/ 127236 w 286191"/>
                <a:gd name="connsiteY27" fmla="*/ 371848 h 532270"/>
                <a:gd name="connsiteX28" fmla="*/ 156393 w 286191"/>
                <a:gd name="connsiteY28" fmla="*/ 371150 h 532270"/>
                <a:gd name="connsiteX29" fmla="*/ 284592 w 286191"/>
                <a:gd name="connsiteY29" fmla="*/ 291298 h 532270"/>
                <a:gd name="connsiteX30" fmla="*/ 248817 w 286191"/>
                <a:gd name="connsiteY30" fmla="*/ 202597 h 532270"/>
                <a:gd name="connsiteX31" fmla="*/ 229691 w 286191"/>
                <a:gd name="connsiteY31" fmla="*/ 188959 h 532270"/>
                <a:gd name="connsiteX32" fmla="*/ 254291 w 286191"/>
                <a:gd name="connsiteY32" fmla="*/ 175827 h 532270"/>
                <a:gd name="connsiteX33" fmla="*/ 275077 w 286191"/>
                <a:gd name="connsiteY33" fmla="*/ 84559 h 532270"/>
                <a:gd name="connsiteX0" fmla="*/ 177809 w 286191"/>
                <a:gd name="connsiteY0" fmla="*/ 208185 h 532270"/>
                <a:gd name="connsiteX1" fmla="*/ 229031 w 286191"/>
                <a:gd name="connsiteY1" fmla="*/ 249637 h 532270"/>
                <a:gd name="connsiteX2" fmla="*/ 167733 w 286191"/>
                <a:gd name="connsiteY2" fmla="*/ 316000 h 532270"/>
                <a:gd name="connsiteX3" fmla="*/ 58051 w 286191"/>
                <a:gd name="connsiteY3" fmla="*/ 272507 h 532270"/>
                <a:gd name="connsiteX4" fmla="*/ 133422 w 286191"/>
                <a:gd name="connsiteY4" fmla="*/ 208033 h 532270"/>
                <a:gd name="connsiteX5" fmla="*/ 177809 w 286191"/>
                <a:gd name="connsiteY5" fmla="*/ 208185 h 532270"/>
                <a:gd name="connsiteX6" fmla="*/ 275077 w 286191"/>
                <a:gd name="connsiteY6" fmla="*/ 84559 h 532270"/>
                <a:gd name="connsiteX7" fmla="*/ 164669 w 286191"/>
                <a:gd name="connsiteY7" fmla="*/ 1183 h 532270"/>
                <a:gd name="connsiteX8" fmla="*/ 36062 w 286191"/>
                <a:gd name="connsiteY8" fmla="*/ 26248 h 532270"/>
                <a:gd name="connsiteX9" fmla="*/ 56451 w 286191"/>
                <a:gd name="connsiteY9" fmla="*/ 78744 h 532270"/>
                <a:gd name="connsiteX10" fmla="*/ 146418 w 286191"/>
                <a:gd name="connsiteY10" fmla="*/ 51098 h 532270"/>
                <a:gd name="connsiteX11" fmla="*/ 214621 w 286191"/>
                <a:gd name="connsiteY11" fmla="*/ 119887 h 532270"/>
                <a:gd name="connsiteX12" fmla="*/ 167231 w 286191"/>
                <a:gd name="connsiteY12" fmla="*/ 146078 h 532270"/>
                <a:gd name="connsiteX13" fmla="*/ 166473 w 286191"/>
                <a:gd name="connsiteY13" fmla="*/ 146254 h 532270"/>
                <a:gd name="connsiteX14" fmla="*/ 165216 w 286191"/>
                <a:gd name="connsiteY14" fmla="*/ 145387 h 532270"/>
                <a:gd name="connsiteX15" fmla="*/ 87058 w 286191"/>
                <a:gd name="connsiteY15" fmla="*/ 157342 h 532270"/>
                <a:gd name="connsiteX16" fmla="*/ 1155 w 286191"/>
                <a:gd name="connsiteY16" fmla="*/ 262325 h 532270"/>
                <a:gd name="connsiteX17" fmla="*/ 33039 w 286191"/>
                <a:gd name="connsiteY17" fmla="*/ 316682 h 532270"/>
                <a:gd name="connsiteX18" fmla="*/ 60557 w 286191"/>
                <a:gd name="connsiteY18" fmla="*/ 331084 h 532270"/>
                <a:gd name="connsiteX19" fmla="*/ 31878 w 286191"/>
                <a:gd name="connsiteY19" fmla="*/ 351551 h 532270"/>
                <a:gd name="connsiteX20" fmla="*/ 4066 w 286191"/>
                <a:gd name="connsiteY20" fmla="*/ 416015 h 532270"/>
                <a:gd name="connsiteX21" fmla="*/ 103383 w 286191"/>
                <a:gd name="connsiteY21" fmla="*/ 526609 h 532270"/>
                <a:gd name="connsiteX22" fmla="*/ 168263 w 286191"/>
                <a:gd name="connsiteY22" fmla="*/ 530948 h 532270"/>
                <a:gd name="connsiteX23" fmla="*/ 265043 w 286191"/>
                <a:gd name="connsiteY23" fmla="*/ 501128 h 532270"/>
                <a:gd name="connsiteX24" fmla="*/ 243069 w 286191"/>
                <a:gd name="connsiteY24" fmla="*/ 442375 h 532270"/>
                <a:gd name="connsiteX25" fmla="*/ 148998 w 286191"/>
                <a:gd name="connsiteY25" fmla="*/ 471331 h 532270"/>
                <a:gd name="connsiteX26" fmla="*/ 77684 w 286191"/>
                <a:gd name="connsiteY26" fmla="*/ 399281 h 532270"/>
                <a:gd name="connsiteX27" fmla="*/ 127002 w 286191"/>
                <a:gd name="connsiteY27" fmla="*/ 375385 h 532270"/>
                <a:gd name="connsiteX28" fmla="*/ 156393 w 286191"/>
                <a:gd name="connsiteY28" fmla="*/ 371150 h 532270"/>
                <a:gd name="connsiteX29" fmla="*/ 284592 w 286191"/>
                <a:gd name="connsiteY29" fmla="*/ 291298 h 532270"/>
                <a:gd name="connsiteX30" fmla="*/ 248817 w 286191"/>
                <a:gd name="connsiteY30" fmla="*/ 202597 h 532270"/>
                <a:gd name="connsiteX31" fmla="*/ 229691 w 286191"/>
                <a:gd name="connsiteY31" fmla="*/ 188959 h 532270"/>
                <a:gd name="connsiteX32" fmla="*/ 254291 w 286191"/>
                <a:gd name="connsiteY32" fmla="*/ 175827 h 532270"/>
                <a:gd name="connsiteX33" fmla="*/ 275077 w 286191"/>
                <a:gd name="connsiteY33" fmla="*/ 84559 h 532270"/>
                <a:gd name="connsiteX0" fmla="*/ 177809 w 286191"/>
                <a:gd name="connsiteY0" fmla="*/ 208185 h 532270"/>
                <a:gd name="connsiteX1" fmla="*/ 229031 w 286191"/>
                <a:gd name="connsiteY1" fmla="*/ 249637 h 532270"/>
                <a:gd name="connsiteX2" fmla="*/ 167733 w 286191"/>
                <a:gd name="connsiteY2" fmla="*/ 316000 h 532270"/>
                <a:gd name="connsiteX3" fmla="*/ 58051 w 286191"/>
                <a:gd name="connsiteY3" fmla="*/ 272507 h 532270"/>
                <a:gd name="connsiteX4" fmla="*/ 133422 w 286191"/>
                <a:gd name="connsiteY4" fmla="*/ 208033 h 532270"/>
                <a:gd name="connsiteX5" fmla="*/ 177809 w 286191"/>
                <a:gd name="connsiteY5" fmla="*/ 208185 h 532270"/>
                <a:gd name="connsiteX6" fmla="*/ 275077 w 286191"/>
                <a:gd name="connsiteY6" fmla="*/ 84559 h 532270"/>
                <a:gd name="connsiteX7" fmla="*/ 164669 w 286191"/>
                <a:gd name="connsiteY7" fmla="*/ 1183 h 532270"/>
                <a:gd name="connsiteX8" fmla="*/ 36062 w 286191"/>
                <a:gd name="connsiteY8" fmla="*/ 26248 h 532270"/>
                <a:gd name="connsiteX9" fmla="*/ 56451 w 286191"/>
                <a:gd name="connsiteY9" fmla="*/ 78744 h 532270"/>
                <a:gd name="connsiteX10" fmla="*/ 146418 w 286191"/>
                <a:gd name="connsiteY10" fmla="*/ 51098 h 532270"/>
                <a:gd name="connsiteX11" fmla="*/ 214621 w 286191"/>
                <a:gd name="connsiteY11" fmla="*/ 119887 h 532270"/>
                <a:gd name="connsiteX12" fmla="*/ 167231 w 286191"/>
                <a:gd name="connsiteY12" fmla="*/ 146078 h 532270"/>
                <a:gd name="connsiteX13" fmla="*/ 166473 w 286191"/>
                <a:gd name="connsiteY13" fmla="*/ 146254 h 532270"/>
                <a:gd name="connsiteX14" fmla="*/ 165216 w 286191"/>
                <a:gd name="connsiteY14" fmla="*/ 145387 h 532270"/>
                <a:gd name="connsiteX15" fmla="*/ 87058 w 286191"/>
                <a:gd name="connsiteY15" fmla="*/ 157342 h 532270"/>
                <a:gd name="connsiteX16" fmla="*/ 1155 w 286191"/>
                <a:gd name="connsiteY16" fmla="*/ 262325 h 532270"/>
                <a:gd name="connsiteX17" fmla="*/ 33039 w 286191"/>
                <a:gd name="connsiteY17" fmla="*/ 316682 h 532270"/>
                <a:gd name="connsiteX18" fmla="*/ 60557 w 286191"/>
                <a:gd name="connsiteY18" fmla="*/ 331084 h 532270"/>
                <a:gd name="connsiteX19" fmla="*/ 31878 w 286191"/>
                <a:gd name="connsiteY19" fmla="*/ 351551 h 532270"/>
                <a:gd name="connsiteX20" fmla="*/ 4066 w 286191"/>
                <a:gd name="connsiteY20" fmla="*/ 416015 h 532270"/>
                <a:gd name="connsiteX21" fmla="*/ 103383 w 286191"/>
                <a:gd name="connsiteY21" fmla="*/ 526609 h 532270"/>
                <a:gd name="connsiteX22" fmla="*/ 168263 w 286191"/>
                <a:gd name="connsiteY22" fmla="*/ 530948 h 532270"/>
                <a:gd name="connsiteX23" fmla="*/ 265043 w 286191"/>
                <a:gd name="connsiteY23" fmla="*/ 501128 h 532270"/>
                <a:gd name="connsiteX24" fmla="*/ 243069 w 286191"/>
                <a:gd name="connsiteY24" fmla="*/ 442375 h 532270"/>
                <a:gd name="connsiteX25" fmla="*/ 148998 w 286191"/>
                <a:gd name="connsiteY25" fmla="*/ 471331 h 532270"/>
                <a:gd name="connsiteX26" fmla="*/ 73720 w 286191"/>
                <a:gd name="connsiteY26" fmla="*/ 407000 h 532270"/>
                <a:gd name="connsiteX27" fmla="*/ 127002 w 286191"/>
                <a:gd name="connsiteY27" fmla="*/ 375385 h 532270"/>
                <a:gd name="connsiteX28" fmla="*/ 156393 w 286191"/>
                <a:gd name="connsiteY28" fmla="*/ 371150 h 532270"/>
                <a:gd name="connsiteX29" fmla="*/ 284592 w 286191"/>
                <a:gd name="connsiteY29" fmla="*/ 291298 h 532270"/>
                <a:gd name="connsiteX30" fmla="*/ 248817 w 286191"/>
                <a:gd name="connsiteY30" fmla="*/ 202597 h 532270"/>
                <a:gd name="connsiteX31" fmla="*/ 229691 w 286191"/>
                <a:gd name="connsiteY31" fmla="*/ 188959 h 532270"/>
                <a:gd name="connsiteX32" fmla="*/ 254291 w 286191"/>
                <a:gd name="connsiteY32" fmla="*/ 175827 h 532270"/>
                <a:gd name="connsiteX33" fmla="*/ 275077 w 286191"/>
                <a:gd name="connsiteY33" fmla="*/ 84559 h 532270"/>
                <a:gd name="connsiteX0" fmla="*/ 177809 w 286191"/>
                <a:gd name="connsiteY0" fmla="*/ 208185 h 532270"/>
                <a:gd name="connsiteX1" fmla="*/ 229031 w 286191"/>
                <a:gd name="connsiteY1" fmla="*/ 249637 h 532270"/>
                <a:gd name="connsiteX2" fmla="*/ 167733 w 286191"/>
                <a:gd name="connsiteY2" fmla="*/ 316000 h 532270"/>
                <a:gd name="connsiteX3" fmla="*/ 58051 w 286191"/>
                <a:gd name="connsiteY3" fmla="*/ 272507 h 532270"/>
                <a:gd name="connsiteX4" fmla="*/ 133422 w 286191"/>
                <a:gd name="connsiteY4" fmla="*/ 208033 h 532270"/>
                <a:gd name="connsiteX5" fmla="*/ 177809 w 286191"/>
                <a:gd name="connsiteY5" fmla="*/ 208185 h 532270"/>
                <a:gd name="connsiteX6" fmla="*/ 275077 w 286191"/>
                <a:gd name="connsiteY6" fmla="*/ 84559 h 532270"/>
                <a:gd name="connsiteX7" fmla="*/ 164669 w 286191"/>
                <a:gd name="connsiteY7" fmla="*/ 1183 h 532270"/>
                <a:gd name="connsiteX8" fmla="*/ 36062 w 286191"/>
                <a:gd name="connsiteY8" fmla="*/ 26248 h 532270"/>
                <a:gd name="connsiteX9" fmla="*/ 56451 w 286191"/>
                <a:gd name="connsiteY9" fmla="*/ 78744 h 532270"/>
                <a:gd name="connsiteX10" fmla="*/ 146418 w 286191"/>
                <a:gd name="connsiteY10" fmla="*/ 51098 h 532270"/>
                <a:gd name="connsiteX11" fmla="*/ 214621 w 286191"/>
                <a:gd name="connsiteY11" fmla="*/ 119887 h 532270"/>
                <a:gd name="connsiteX12" fmla="*/ 167231 w 286191"/>
                <a:gd name="connsiteY12" fmla="*/ 146078 h 532270"/>
                <a:gd name="connsiteX13" fmla="*/ 166473 w 286191"/>
                <a:gd name="connsiteY13" fmla="*/ 146254 h 532270"/>
                <a:gd name="connsiteX14" fmla="*/ 165216 w 286191"/>
                <a:gd name="connsiteY14" fmla="*/ 145387 h 532270"/>
                <a:gd name="connsiteX15" fmla="*/ 87058 w 286191"/>
                <a:gd name="connsiteY15" fmla="*/ 157342 h 532270"/>
                <a:gd name="connsiteX16" fmla="*/ 1155 w 286191"/>
                <a:gd name="connsiteY16" fmla="*/ 262325 h 532270"/>
                <a:gd name="connsiteX17" fmla="*/ 33039 w 286191"/>
                <a:gd name="connsiteY17" fmla="*/ 316682 h 532270"/>
                <a:gd name="connsiteX18" fmla="*/ 60557 w 286191"/>
                <a:gd name="connsiteY18" fmla="*/ 331084 h 532270"/>
                <a:gd name="connsiteX19" fmla="*/ 31878 w 286191"/>
                <a:gd name="connsiteY19" fmla="*/ 351551 h 532270"/>
                <a:gd name="connsiteX20" fmla="*/ 4066 w 286191"/>
                <a:gd name="connsiteY20" fmla="*/ 416015 h 532270"/>
                <a:gd name="connsiteX21" fmla="*/ 103383 w 286191"/>
                <a:gd name="connsiteY21" fmla="*/ 526609 h 532270"/>
                <a:gd name="connsiteX22" fmla="*/ 168263 w 286191"/>
                <a:gd name="connsiteY22" fmla="*/ 530948 h 532270"/>
                <a:gd name="connsiteX23" fmla="*/ 265043 w 286191"/>
                <a:gd name="connsiteY23" fmla="*/ 501128 h 532270"/>
                <a:gd name="connsiteX24" fmla="*/ 243069 w 286191"/>
                <a:gd name="connsiteY24" fmla="*/ 442375 h 532270"/>
                <a:gd name="connsiteX25" fmla="*/ 148998 w 286191"/>
                <a:gd name="connsiteY25" fmla="*/ 471331 h 532270"/>
                <a:gd name="connsiteX26" fmla="*/ 73720 w 286191"/>
                <a:gd name="connsiteY26" fmla="*/ 407000 h 532270"/>
                <a:gd name="connsiteX27" fmla="*/ 127002 w 286191"/>
                <a:gd name="connsiteY27" fmla="*/ 375385 h 532270"/>
                <a:gd name="connsiteX28" fmla="*/ 156393 w 286191"/>
                <a:gd name="connsiteY28" fmla="*/ 371150 h 532270"/>
                <a:gd name="connsiteX29" fmla="*/ 284592 w 286191"/>
                <a:gd name="connsiteY29" fmla="*/ 291298 h 532270"/>
                <a:gd name="connsiteX30" fmla="*/ 248817 w 286191"/>
                <a:gd name="connsiteY30" fmla="*/ 202597 h 532270"/>
                <a:gd name="connsiteX31" fmla="*/ 229691 w 286191"/>
                <a:gd name="connsiteY31" fmla="*/ 188959 h 532270"/>
                <a:gd name="connsiteX32" fmla="*/ 254291 w 286191"/>
                <a:gd name="connsiteY32" fmla="*/ 175827 h 532270"/>
                <a:gd name="connsiteX33" fmla="*/ 275077 w 286191"/>
                <a:gd name="connsiteY33" fmla="*/ 84559 h 532270"/>
                <a:gd name="connsiteX0" fmla="*/ 177809 w 286191"/>
                <a:gd name="connsiteY0" fmla="*/ 208185 h 532270"/>
                <a:gd name="connsiteX1" fmla="*/ 229031 w 286191"/>
                <a:gd name="connsiteY1" fmla="*/ 249637 h 532270"/>
                <a:gd name="connsiteX2" fmla="*/ 167733 w 286191"/>
                <a:gd name="connsiteY2" fmla="*/ 316000 h 532270"/>
                <a:gd name="connsiteX3" fmla="*/ 58051 w 286191"/>
                <a:gd name="connsiteY3" fmla="*/ 272507 h 532270"/>
                <a:gd name="connsiteX4" fmla="*/ 133422 w 286191"/>
                <a:gd name="connsiteY4" fmla="*/ 208033 h 532270"/>
                <a:gd name="connsiteX5" fmla="*/ 177809 w 286191"/>
                <a:gd name="connsiteY5" fmla="*/ 208185 h 532270"/>
                <a:gd name="connsiteX6" fmla="*/ 275077 w 286191"/>
                <a:gd name="connsiteY6" fmla="*/ 84559 h 532270"/>
                <a:gd name="connsiteX7" fmla="*/ 164669 w 286191"/>
                <a:gd name="connsiteY7" fmla="*/ 1183 h 532270"/>
                <a:gd name="connsiteX8" fmla="*/ 36062 w 286191"/>
                <a:gd name="connsiteY8" fmla="*/ 26248 h 532270"/>
                <a:gd name="connsiteX9" fmla="*/ 56451 w 286191"/>
                <a:gd name="connsiteY9" fmla="*/ 78744 h 532270"/>
                <a:gd name="connsiteX10" fmla="*/ 146418 w 286191"/>
                <a:gd name="connsiteY10" fmla="*/ 51098 h 532270"/>
                <a:gd name="connsiteX11" fmla="*/ 214621 w 286191"/>
                <a:gd name="connsiteY11" fmla="*/ 119887 h 532270"/>
                <a:gd name="connsiteX12" fmla="*/ 167231 w 286191"/>
                <a:gd name="connsiteY12" fmla="*/ 146078 h 532270"/>
                <a:gd name="connsiteX13" fmla="*/ 166473 w 286191"/>
                <a:gd name="connsiteY13" fmla="*/ 146254 h 532270"/>
                <a:gd name="connsiteX14" fmla="*/ 165216 w 286191"/>
                <a:gd name="connsiteY14" fmla="*/ 145387 h 532270"/>
                <a:gd name="connsiteX15" fmla="*/ 87058 w 286191"/>
                <a:gd name="connsiteY15" fmla="*/ 157342 h 532270"/>
                <a:gd name="connsiteX16" fmla="*/ 1155 w 286191"/>
                <a:gd name="connsiteY16" fmla="*/ 262325 h 532270"/>
                <a:gd name="connsiteX17" fmla="*/ 33039 w 286191"/>
                <a:gd name="connsiteY17" fmla="*/ 316682 h 532270"/>
                <a:gd name="connsiteX18" fmla="*/ 60557 w 286191"/>
                <a:gd name="connsiteY18" fmla="*/ 331084 h 532270"/>
                <a:gd name="connsiteX19" fmla="*/ 31878 w 286191"/>
                <a:gd name="connsiteY19" fmla="*/ 351551 h 532270"/>
                <a:gd name="connsiteX20" fmla="*/ 4066 w 286191"/>
                <a:gd name="connsiteY20" fmla="*/ 416015 h 532270"/>
                <a:gd name="connsiteX21" fmla="*/ 103383 w 286191"/>
                <a:gd name="connsiteY21" fmla="*/ 526609 h 532270"/>
                <a:gd name="connsiteX22" fmla="*/ 168263 w 286191"/>
                <a:gd name="connsiteY22" fmla="*/ 530948 h 532270"/>
                <a:gd name="connsiteX23" fmla="*/ 265043 w 286191"/>
                <a:gd name="connsiteY23" fmla="*/ 501128 h 532270"/>
                <a:gd name="connsiteX24" fmla="*/ 243069 w 286191"/>
                <a:gd name="connsiteY24" fmla="*/ 442375 h 532270"/>
                <a:gd name="connsiteX25" fmla="*/ 148998 w 286191"/>
                <a:gd name="connsiteY25" fmla="*/ 471331 h 532270"/>
                <a:gd name="connsiteX26" fmla="*/ 73603 w 286191"/>
                <a:gd name="connsiteY26" fmla="*/ 408769 h 532270"/>
                <a:gd name="connsiteX27" fmla="*/ 127002 w 286191"/>
                <a:gd name="connsiteY27" fmla="*/ 375385 h 532270"/>
                <a:gd name="connsiteX28" fmla="*/ 156393 w 286191"/>
                <a:gd name="connsiteY28" fmla="*/ 371150 h 532270"/>
                <a:gd name="connsiteX29" fmla="*/ 284592 w 286191"/>
                <a:gd name="connsiteY29" fmla="*/ 291298 h 532270"/>
                <a:gd name="connsiteX30" fmla="*/ 248817 w 286191"/>
                <a:gd name="connsiteY30" fmla="*/ 202597 h 532270"/>
                <a:gd name="connsiteX31" fmla="*/ 229691 w 286191"/>
                <a:gd name="connsiteY31" fmla="*/ 188959 h 532270"/>
                <a:gd name="connsiteX32" fmla="*/ 254291 w 286191"/>
                <a:gd name="connsiteY32" fmla="*/ 175827 h 532270"/>
                <a:gd name="connsiteX33" fmla="*/ 275077 w 286191"/>
                <a:gd name="connsiteY33" fmla="*/ 84559 h 532270"/>
                <a:gd name="connsiteX0" fmla="*/ 177809 w 286191"/>
                <a:gd name="connsiteY0" fmla="*/ 208185 h 532270"/>
                <a:gd name="connsiteX1" fmla="*/ 229031 w 286191"/>
                <a:gd name="connsiteY1" fmla="*/ 249637 h 532270"/>
                <a:gd name="connsiteX2" fmla="*/ 167733 w 286191"/>
                <a:gd name="connsiteY2" fmla="*/ 316000 h 532270"/>
                <a:gd name="connsiteX3" fmla="*/ 58051 w 286191"/>
                <a:gd name="connsiteY3" fmla="*/ 272507 h 532270"/>
                <a:gd name="connsiteX4" fmla="*/ 133422 w 286191"/>
                <a:gd name="connsiteY4" fmla="*/ 208033 h 532270"/>
                <a:gd name="connsiteX5" fmla="*/ 177809 w 286191"/>
                <a:gd name="connsiteY5" fmla="*/ 208185 h 532270"/>
                <a:gd name="connsiteX6" fmla="*/ 275077 w 286191"/>
                <a:gd name="connsiteY6" fmla="*/ 84559 h 532270"/>
                <a:gd name="connsiteX7" fmla="*/ 164669 w 286191"/>
                <a:gd name="connsiteY7" fmla="*/ 1183 h 532270"/>
                <a:gd name="connsiteX8" fmla="*/ 36062 w 286191"/>
                <a:gd name="connsiteY8" fmla="*/ 26248 h 532270"/>
                <a:gd name="connsiteX9" fmla="*/ 56451 w 286191"/>
                <a:gd name="connsiteY9" fmla="*/ 78744 h 532270"/>
                <a:gd name="connsiteX10" fmla="*/ 146418 w 286191"/>
                <a:gd name="connsiteY10" fmla="*/ 51098 h 532270"/>
                <a:gd name="connsiteX11" fmla="*/ 214621 w 286191"/>
                <a:gd name="connsiteY11" fmla="*/ 119887 h 532270"/>
                <a:gd name="connsiteX12" fmla="*/ 167231 w 286191"/>
                <a:gd name="connsiteY12" fmla="*/ 146078 h 532270"/>
                <a:gd name="connsiteX13" fmla="*/ 166473 w 286191"/>
                <a:gd name="connsiteY13" fmla="*/ 146254 h 532270"/>
                <a:gd name="connsiteX14" fmla="*/ 165216 w 286191"/>
                <a:gd name="connsiteY14" fmla="*/ 145387 h 532270"/>
                <a:gd name="connsiteX15" fmla="*/ 87058 w 286191"/>
                <a:gd name="connsiteY15" fmla="*/ 157342 h 532270"/>
                <a:gd name="connsiteX16" fmla="*/ 1155 w 286191"/>
                <a:gd name="connsiteY16" fmla="*/ 262325 h 532270"/>
                <a:gd name="connsiteX17" fmla="*/ 33039 w 286191"/>
                <a:gd name="connsiteY17" fmla="*/ 316682 h 532270"/>
                <a:gd name="connsiteX18" fmla="*/ 60557 w 286191"/>
                <a:gd name="connsiteY18" fmla="*/ 331084 h 532270"/>
                <a:gd name="connsiteX19" fmla="*/ 31878 w 286191"/>
                <a:gd name="connsiteY19" fmla="*/ 351551 h 532270"/>
                <a:gd name="connsiteX20" fmla="*/ 4066 w 286191"/>
                <a:gd name="connsiteY20" fmla="*/ 416015 h 532270"/>
                <a:gd name="connsiteX21" fmla="*/ 103383 w 286191"/>
                <a:gd name="connsiteY21" fmla="*/ 526609 h 532270"/>
                <a:gd name="connsiteX22" fmla="*/ 168263 w 286191"/>
                <a:gd name="connsiteY22" fmla="*/ 530948 h 532270"/>
                <a:gd name="connsiteX23" fmla="*/ 265043 w 286191"/>
                <a:gd name="connsiteY23" fmla="*/ 501128 h 532270"/>
                <a:gd name="connsiteX24" fmla="*/ 243069 w 286191"/>
                <a:gd name="connsiteY24" fmla="*/ 442375 h 532270"/>
                <a:gd name="connsiteX25" fmla="*/ 148998 w 286191"/>
                <a:gd name="connsiteY25" fmla="*/ 471331 h 532270"/>
                <a:gd name="connsiteX26" fmla="*/ 73603 w 286191"/>
                <a:gd name="connsiteY26" fmla="*/ 408769 h 532270"/>
                <a:gd name="connsiteX27" fmla="*/ 127002 w 286191"/>
                <a:gd name="connsiteY27" fmla="*/ 375385 h 532270"/>
                <a:gd name="connsiteX28" fmla="*/ 156393 w 286191"/>
                <a:gd name="connsiteY28" fmla="*/ 371150 h 532270"/>
                <a:gd name="connsiteX29" fmla="*/ 284592 w 286191"/>
                <a:gd name="connsiteY29" fmla="*/ 291298 h 532270"/>
                <a:gd name="connsiteX30" fmla="*/ 248817 w 286191"/>
                <a:gd name="connsiteY30" fmla="*/ 202597 h 532270"/>
                <a:gd name="connsiteX31" fmla="*/ 229691 w 286191"/>
                <a:gd name="connsiteY31" fmla="*/ 188959 h 532270"/>
                <a:gd name="connsiteX32" fmla="*/ 254291 w 286191"/>
                <a:gd name="connsiteY32" fmla="*/ 175827 h 532270"/>
                <a:gd name="connsiteX33" fmla="*/ 275077 w 286191"/>
                <a:gd name="connsiteY33" fmla="*/ 84559 h 532270"/>
                <a:gd name="connsiteX0" fmla="*/ 177809 w 286191"/>
                <a:gd name="connsiteY0" fmla="*/ 208185 h 532270"/>
                <a:gd name="connsiteX1" fmla="*/ 229031 w 286191"/>
                <a:gd name="connsiteY1" fmla="*/ 249637 h 532270"/>
                <a:gd name="connsiteX2" fmla="*/ 167733 w 286191"/>
                <a:gd name="connsiteY2" fmla="*/ 316000 h 532270"/>
                <a:gd name="connsiteX3" fmla="*/ 58051 w 286191"/>
                <a:gd name="connsiteY3" fmla="*/ 272507 h 532270"/>
                <a:gd name="connsiteX4" fmla="*/ 133422 w 286191"/>
                <a:gd name="connsiteY4" fmla="*/ 208033 h 532270"/>
                <a:gd name="connsiteX5" fmla="*/ 177809 w 286191"/>
                <a:gd name="connsiteY5" fmla="*/ 208185 h 532270"/>
                <a:gd name="connsiteX6" fmla="*/ 275077 w 286191"/>
                <a:gd name="connsiteY6" fmla="*/ 84559 h 532270"/>
                <a:gd name="connsiteX7" fmla="*/ 164669 w 286191"/>
                <a:gd name="connsiteY7" fmla="*/ 1183 h 532270"/>
                <a:gd name="connsiteX8" fmla="*/ 36062 w 286191"/>
                <a:gd name="connsiteY8" fmla="*/ 26248 h 532270"/>
                <a:gd name="connsiteX9" fmla="*/ 56451 w 286191"/>
                <a:gd name="connsiteY9" fmla="*/ 78744 h 532270"/>
                <a:gd name="connsiteX10" fmla="*/ 146418 w 286191"/>
                <a:gd name="connsiteY10" fmla="*/ 51098 h 532270"/>
                <a:gd name="connsiteX11" fmla="*/ 214621 w 286191"/>
                <a:gd name="connsiteY11" fmla="*/ 119887 h 532270"/>
                <a:gd name="connsiteX12" fmla="*/ 167231 w 286191"/>
                <a:gd name="connsiteY12" fmla="*/ 146078 h 532270"/>
                <a:gd name="connsiteX13" fmla="*/ 166473 w 286191"/>
                <a:gd name="connsiteY13" fmla="*/ 146254 h 532270"/>
                <a:gd name="connsiteX14" fmla="*/ 165216 w 286191"/>
                <a:gd name="connsiteY14" fmla="*/ 145387 h 532270"/>
                <a:gd name="connsiteX15" fmla="*/ 87058 w 286191"/>
                <a:gd name="connsiteY15" fmla="*/ 157342 h 532270"/>
                <a:gd name="connsiteX16" fmla="*/ 1155 w 286191"/>
                <a:gd name="connsiteY16" fmla="*/ 262325 h 532270"/>
                <a:gd name="connsiteX17" fmla="*/ 33039 w 286191"/>
                <a:gd name="connsiteY17" fmla="*/ 316682 h 532270"/>
                <a:gd name="connsiteX18" fmla="*/ 60557 w 286191"/>
                <a:gd name="connsiteY18" fmla="*/ 331084 h 532270"/>
                <a:gd name="connsiteX19" fmla="*/ 31878 w 286191"/>
                <a:gd name="connsiteY19" fmla="*/ 351551 h 532270"/>
                <a:gd name="connsiteX20" fmla="*/ 4066 w 286191"/>
                <a:gd name="connsiteY20" fmla="*/ 416015 h 532270"/>
                <a:gd name="connsiteX21" fmla="*/ 103383 w 286191"/>
                <a:gd name="connsiteY21" fmla="*/ 526609 h 532270"/>
                <a:gd name="connsiteX22" fmla="*/ 168263 w 286191"/>
                <a:gd name="connsiteY22" fmla="*/ 530948 h 532270"/>
                <a:gd name="connsiteX23" fmla="*/ 265043 w 286191"/>
                <a:gd name="connsiteY23" fmla="*/ 501128 h 532270"/>
                <a:gd name="connsiteX24" fmla="*/ 246215 w 286191"/>
                <a:gd name="connsiteY24" fmla="*/ 447036 h 532270"/>
                <a:gd name="connsiteX25" fmla="*/ 148998 w 286191"/>
                <a:gd name="connsiteY25" fmla="*/ 471331 h 532270"/>
                <a:gd name="connsiteX26" fmla="*/ 73603 w 286191"/>
                <a:gd name="connsiteY26" fmla="*/ 408769 h 532270"/>
                <a:gd name="connsiteX27" fmla="*/ 127002 w 286191"/>
                <a:gd name="connsiteY27" fmla="*/ 375385 h 532270"/>
                <a:gd name="connsiteX28" fmla="*/ 156393 w 286191"/>
                <a:gd name="connsiteY28" fmla="*/ 371150 h 532270"/>
                <a:gd name="connsiteX29" fmla="*/ 284592 w 286191"/>
                <a:gd name="connsiteY29" fmla="*/ 291298 h 532270"/>
                <a:gd name="connsiteX30" fmla="*/ 248817 w 286191"/>
                <a:gd name="connsiteY30" fmla="*/ 202597 h 532270"/>
                <a:gd name="connsiteX31" fmla="*/ 229691 w 286191"/>
                <a:gd name="connsiteY31" fmla="*/ 188959 h 532270"/>
                <a:gd name="connsiteX32" fmla="*/ 254291 w 286191"/>
                <a:gd name="connsiteY32" fmla="*/ 175827 h 532270"/>
                <a:gd name="connsiteX33" fmla="*/ 275077 w 286191"/>
                <a:gd name="connsiteY33" fmla="*/ 84559 h 532270"/>
                <a:gd name="connsiteX0" fmla="*/ 177809 w 286191"/>
                <a:gd name="connsiteY0" fmla="*/ 208185 h 532270"/>
                <a:gd name="connsiteX1" fmla="*/ 229031 w 286191"/>
                <a:gd name="connsiteY1" fmla="*/ 249637 h 532270"/>
                <a:gd name="connsiteX2" fmla="*/ 167733 w 286191"/>
                <a:gd name="connsiteY2" fmla="*/ 316000 h 532270"/>
                <a:gd name="connsiteX3" fmla="*/ 58051 w 286191"/>
                <a:gd name="connsiteY3" fmla="*/ 272507 h 532270"/>
                <a:gd name="connsiteX4" fmla="*/ 133422 w 286191"/>
                <a:gd name="connsiteY4" fmla="*/ 208033 h 532270"/>
                <a:gd name="connsiteX5" fmla="*/ 177809 w 286191"/>
                <a:gd name="connsiteY5" fmla="*/ 208185 h 532270"/>
                <a:gd name="connsiteX6" fmla="*/ 275077 w 286191"/>
                <a:gd name="connsiteY6" fmla="*/ 84559 h 532270"/>
                <a:gd name="connsiteX7" fmla="*/ 164669 w 286191"/>
                <a:gd name="connsiteY7" fmla="*/ 1183 h 532270"/>
                <a:gd name="connsiteX8" fmla="*/ 36062 w 286191"/>
                <a:gd name="connsiteY8" fmla="*/ 26248 h 532270"/>
                <a:gd name="connsiteX9" fmla="*/ 56451 w 286191"/>
                <a:gd name="connsiteY9" fmla="*/ 78744 h 532270"/>
                <a:gd name="connsiteX10" fmla="*/ 146418 w 286191"/>
                <a:gd name="connsiteY10" fmla="*/ 51098 h 532270"/>
                <a:gd name="connsiteX11" fmla="*/ 214621 w 286191"/>
                <a:gd name="connsiteY11" fmla="*/ 119887 h 532270"/>
                <a:gd name="connsiteX12" fmla="*/ 167231 w 286191"/>
                <a:gd name="connsiteY12" fmla="*/ 146078 h 532270"/>
                <a:gd name="connsiteX13" fmla="*/ 166473 w 286191"/>
                <a:gd name="connsiteY13" fmla="*/ 146254 h 532270"/>
                <a:gd name="connsiteX14" fmla="*/ 165216 w 286191"/>
                <a:gd name="connsiteY14" fmla="*/ 145387 h 532270"/>
                <a:gd name="connsiteX15" fmla="*/ 87058 w 286191"/>
                <a:gd name="connsiteY15" fmla="*/ 157342 h 532270"/>
                <a:gd name="connsiteX16" fmla="*/ 1155 w 286191"/>
                <a:gd name="connsiteY16" fmla="*/ 262325 h 532270"/>
                <a:gd name="connsiteX17" fmla="*/ 33039 w 286191"/>
                <a:gd name="connsiteY17" fmla="*/ 316682 h 532270"/>
                <a:gd name="connsiteX18" fmla="*/ 60557 w 286191"/>
                <a:gd name="connsiteY18" fmla="*/ 331084 h 532270"/>
                <a:gd name="connsiteX19" fmla="*/ 31878 w 286191"/>
                <a:gd name="connsiteY19" fmla="*/ 351551 h 532270"/>
                <a:gd name="connsiteX20" fmla="*/ 4066 w 286191"/>
                <a:gd name="connsiteY20" fmla="*/ 416015 h 532270"/>
                <a:gd name="connsiteX21" fmla="*/ 103383 w 286191"/>
                <a:gd name="connsiteY21" fmla="*/ 526609 h 532270"/>
                <a:gd name="connsiteX22" fmla="*/ 168263 w 286191"/>
                <a:gd name="connsiteY22" fmla="*/ 530948 h 532270"/>
                <a:gd name="connsiteX23" fmla="*/ 265043 w 286191"/>
                <a:gd name="connsiteY23" fmla="*/ 501128 h 532270"/>
                <a:gd name="connsiteX24" fmla="*/ 246215 w 286191"/>
                <a:gd name="connsiteY24" fmla="*/ 447036 h 532270"/>
                <a:gd name="connsiteX25" fmla="*/ 151344 w 286191"/>
                <a:gd name="connsiteY25" fmla="*/ 475049 h 532270"/>
                <a:gd name="connsiteX26" fmla="*/ 73603 w 286191"/>
                <a:gd name="connsiteY26" fmla="*/ 408769 h 532270"/>
                <a:gd name="connsiteX27" fmla="*/ 127002 w 286191"/>
                <a:gd name="connsiteY27" fmla="*/ 375385 h 532270"/>
                <a:gd name="connsiteX28" fmla="*/ 156393 w 286191"/>
                <a:gd name="connsiteY28" fmla="*/ 371150 h 532270"/>
                <a:gd name="connsiteX29" fmla="*/ 284592 w 286191"/>
                <a:gd name="connsiteY29" fmla="*/ 291298 h 532270"/>
                <a:gd name="connsiteX30" fmla="*/ 248817 w 286191"/>
                <a:gd name="connsiteY30" fmla="*/ 202597 h 532270"/>
                <a:gd name="connsiteX31" fmla="*/ 229691 w 286191"/>
                <a:gd name="connsiteY31" fmla="*/ 188959 h 532270"/>
                <a:gd name="connsiteX32" fmla="*/ 254291 w 286191"/>
                <a:gd name="connsiteY32" fmla="*/ 175827 h 532270"/>
                <a:gd name="connsiteX33" fmla="*/ 275077 w 286191"/>
                <a:gd name="connsiteY33" fmla="*/ 84559 h 532270"/>
                <a:gd name="connsiteX0" fmla="*/ 177809 w 286191"/>
                <a:gd name="connsiteY0" fmla="*/ 208185 h 532270"/>
                <a:gd name="connsiteX1" fmla="*/ 229031 w 286191"/>
                <a:gd name="connsiteY1" fmla="*/ 249637 h 532270"/>
                <a:gd name="connsiteX2" fmla="*/ 167733 w 286191"/>
                <a:gd name="connsiteY2" fmla="*/ 316000 h 532270"/>
                <a:gd name="connsiteX3" fmla="*/ 58051 w 286191"/>
                <a:gd name="connsiteY3" fmla="*/ 272507 h 532270"/>
                <a:gd name="connsiteX4" fmla="*/ 133422 w 286191"/>
                <a:gd name="connsiteY4" fmla="*/ 208033 h 532270"/>
                <a:gd name="connsiteX5" fmla="*/ 177809 w 286191"/>
                <a:gd name="connsiteY5" fmla="*/ 208185 h 532270"/>
                <a:gd name="connsiteX6" fmla="*/ 275077 w 286191"/>
                <a:gd name="connsiteY6" fmla="*/ 84559 h 532270"/>
                <a:gd name="connsiteX7" fmla="*/ 164669 w 286191"/>
                <a:gd name="connsiteY7" fmla="*/ 1183 h 532270"/>
                <a:gd name="connsiteX8" fmla="*/ 36062 w 286191"/>
                <a:gd name="connsiteY8" fmla="*/ 26248 h 532270"/>
                <a:gd name="connsiteX9" fmla="*/ 56451 w 286191"/>
                <a:gd name="connsiteY9" fmla="*/ 78744 h 532270"/>
                <a:gd name="connsiteX10" fmla="*/ 146418 w 286191"/>
                <a:gd name="connsiteY10" fmla="*/ 51098 h 532270"/>
                <a:gd name="connsiteX11" fmla="*/ 214621 w 286191"/>
                <a:gd name="connsiteY11" fmla="*/ 119887 h 532270"/>
                <a:gd name="connsiteX12" fmla="*/ 167231 w 286191"/>
                <a:gd name="connsiteY12" fmla="*/ 146078 h 532270"/>
                <a:gd name="connsiteX13" fmla="*/ 166473 w 286191"/>
                <a:gd name="connsiteY13" fmla="*/ 146254 h 532270"/>
                <a:gd name="connsiteX14" fmla="*/ 165216 w 286191"/>
                <a:gd name="connsiteY14" fmla="*/ 145387 h 532270"/>
                <a:gd name="connsiteX15" fmla="*/ 87058 w 286191"/>
                <a:gd name="connsiteY15" fmla="*/ 157342 h 532270"/>
                <a:gd name="connsiteX16" fmla="*/ 1155 w 286191"/>
                <a:gd name="connsiteY16" fmla="*/ 262325 h 532270"/>
                <a:gd name="connsiteX17" fmla="*/ 33039 w 286191"/>
                <a:gd name="connsiteY17" fmla="*/ 316682 h 532270"/>
                <a:gd name="connsiteX18" fmla="*/ 60557 w 286191"/>
                <a:gd name="connsiteY18" fmla="*/ 331084 h 532270"/>
                <a:gd name="connsiteX19" fmla="*/ 31878 w 286191"/>
                <a:gd name="connsiteY19" fmla="*/ 351551 h 532270"/>
                <a:gd name="connsiteX20" fmla="*/ 4066 w 286191"/>
                <a:gd name="connsiteY20" fmla="*/ 416015 h 532270"/>
                <a:gd name="connsiteX21" fmla="*/ 103383 w 286191"/>
                <a:gd name="connsiteY21" fmla="*/ 526609 h 532270"/>
                <a:gd name="connsiteX22" fmla="*/ 168263 w 286191"/>
                <a:gd name="connsiteY22" fmla="*/ 530948 h 532270"/>
                <a:gd name="connsiteX23" fmla="*/ 265043 w 286191"/>
                <a:gd name="connsiteY23" fmla="*/ 501128 h 532270"/>
                <a:gd name="connsiteX24" fmla="*/ 246215 w 286191"/>
                <a:gd name="connsiteY24" fmla="*/ 447036 h 532270"/>
                <a:gd name="connsiteX25" fmla="*/ 151344 w 286191"/>
                <a:gd name="connsiteY25" fmla="*/ 475049 h 532270"/>
                <a:gd name="connsiteX26" fmla="*/ 73603 w 286191"/>
                <a:gd name="connsiteY26" fmla="*/ 408769 h 532270"/>
                <a:gd name="connsiteX27" fmla="*/ 127002 w 286191"/>
                <a:gd name="connsiteY27" fmla="*/ 375385 h 532270"/>
                <a:gd name="connsiteX28" fmla="*/ 156393 w 286191"/>
                <a:gd name="connsiteY28" fmla="*/ 371150 h 532270"/>
                <a:gd name="connsiteX29" fmla="*/ 284592 w 286191"/>
                <a:gd name="connsiteY29" fmla="*/ 291298 h 532270"/>
                <a:gd name="connsiteX30" fmla="*/ 248817 w 286191"/>
                <a:gd name="connsiteY30" fmla="*/ 202597 h 532270"/>
                <a:gd name="connsiteX31" fmla="*/ 229691 w 286191"/>
                <a:gd name="connsiteY31" fmla="*/ 188959 h 532270"/>
                <a:gd name="connsiteX32" fmla="*/ 254291 w 286191"/>
                <a:gd name="connsiteY32" fmla="*/ 175827 h 532270"/>
                <a:gd name="connsiteX33" fmla="*/ 275077 w 286191"/>
                <a:gd name="connsiteY33" fmla="*/ 84559 h 532270"/>
                <a:gd name="connsiteX0" fmla="*/ 177809 w 286191"/>
                <a:gd name="connsiteY0" fmla="*/ 208185 h 532270"/>
                <a:gd name="connsiteX1" fmla="*/ 229031 w 286191"/>
                <a:gd name="connsiteY1" fmla="*/ 249637 h 532270"/>
                <a:gd name="connsiteX2" fmla="*/ 167733 w 286191"/>
                <a:gd name="connsiteY2" fmla="*/ 316000 h 532270"/>
                <a:gd name="connsiteX3" fmla="*/ 58051 w 286191"/>
                <a:gd name="connsiteY3" fmla="*/ 272507 h 532270"/>
                <a:gd name="connsiteX4" fmla="*/ 133422 w 286191"/>
                <a:gd name="connsiteY4" fmla="*/ 208033 h 532270"/>
                <a:gd name="connsiteX5" fmla="*/ 177809 w 286191"/>
                <a:gd name="connsiteY5" fmla="*/ 208185 h 532270"/>
                <a:gd name="connsiteX6" fmla="*/ 275077 w 286191"/>
                <a:gd name="connsiteY6" fmla="*/ 84559 h 532270"/>
                <a:gd name="connsiteX7" fmla="*/ 164669 w 286191"/>
                <a:gd name="connsiteY7" fmla="*/ 1183 h 532270"/>
                <a:gd name="connsiteX8" fmla="*/ 36062 w 286191"/>
                <a:gd name="connsiteY8" fmla="*/ 26248 h 532270"/>
                <a:gd name="connsiteX9" fmla="*/ 56451 w 286191"/>
                <a:gd name="connsiteY9" fmla="*/ 78744 h 532270"/>
                <a:gd name="connsiteX10" fmla="*/ 146418 w 286191"/>
                <a:gd name="connsiteY10" fmla="*/ 51098 h 532270"/>
                <a:gd name="connsiteX11" fmla="*/ 214621 w 286191"/>
                <a:gd name="connsiteY11" fmla="*/ 119887 h 532270"/>
                <a:gd name="connsiteX12" fmla="*/ 167231 w 286191"/>
                <a:gd name="connsiteY12" fmla="*/ 146078 h 532270"/>
                <a:gd name="connsiteX13" fmla="*/ 166473 w 286191"/>
                <a:gd name="connsiteY13" fmla="*/ 146254 h 532270"/>
                <a:gd name="connsiteX14" fmla="*/ 165216 w 286191"/>
                <a:gd name="connsiteY14" fmla="*/ 145387 h 532270"/>
                <a:gd name="connsiteX15" fmla="*/ 87058 w 286191"/>
                <a:gd name="connsiteY15" fmla="*/ 157342 h 532270"/>
                <a:gd name="connsiteX16" fmla="*/ 1155 w 286191"/>
                <a:gd name="connsiteY16" fmla="*/ 262325 h 532270"/>
                <a:gd name="connsiteX17" fmla="*/ 33039 w 286191"/>
                <a:gd name="connsiteY17" fmla="*/ 316682 h 532270"/>
                <a:gd name="connsiteX18" fmla="*/ 60557 w 286191"/>
                <a:gd name="connsiteY18" fmla="*/ 331084 h 532270"/>
                <a:gd name="connsiteX19" fmla="*/ 31878 w 286191"/>
                <a:gd name="connsiteY19" fmla="*/ 351551 h 532270"/>
                <a:gd name="connsiteX20" fmla="*/ 4066 w 286191"/>
                <a:gd name="connsiteY20" fmla="*/ 416015 h 532270"/>
                <a:gd name="connsiteX21" fmla="*/ 103383 w 286191"/>
                <a:gd name="connsiteY21" fmla="*/ 526609 h 532270"/>
                <a:gd name="connsiteX22" fmla="*/ 168263 w 286191"/>
                <a:gd name="connsiteY22" fmla="*/ 530948 h 532270"/>
                <a:gd name="connsiteX23" fmla="*/ 265043 w 286191"/>
                <a:gd name="connsiteY23" fmla="*/ 501128 h 532270"/>
                <a:gd name="connsiteX24" fmla="*/ 246215 w 286191"/>
                <a:gd name="connsiteY24" fmla="*/ 447036 h 532270"/>
                <a:gd name="connsiteX25" fmla="*/ 151344 w 286191"/>
                <a:gd name="connsiteY25" fmla="*/ 475049 h 532270"/>
                <a:gd name="connsiteX26" fmla="*/ 73603 w 286191"/>
                <a:gd name="connsiteY26" fmla="*/ 408769 h 532270"/>
                <a:gd name="connsiteX27" fmla="*/ 127002 w 286191"/>
                <a:gd name="connsiteY27" fmla="*/ 375385 h 532270"/>
                <a:gd name="connsiteX28" fmla="*/ 156393 w 286191"/>
                <a:gd name="connsiteY28" fmla="*/ 371150 h 532270"/>
                <a:gd name="connsiteX29" fmla="*/ 284592 w 286191"/>
                <a:gd name="connsiteY29" fmla="*/ 291298 h 532270"/>
                <a:gd name="connsiteX30" fmla="*/ 248817 w 286191"/>
                <a:gd name="connsiteY30" fmla="*/ 202597 h 532270"/>
                <a:gd name="connsiteX31" fmla="*/ 229691 w 286191"/>
                <a:gd name="connsiteY31" fmla="*/ 188959 h 532270"/>
                <a:gd name="connsiteX32" fmla="*/ 254291 w 286191"/>
                <a:gd name="connsiteY32" fmla="*/ 175827 h 532270"/>
                <a:gd name="connsiteX33" fmla="*/ 275077 w 286191"/>
                <a:gd name="connsiteY33" fmla="*/ 84559 h 532270"/>
                <a:gd name="connsiteX0" fmla="*/ 177809 w 286191"/>
                <a:gd name="connsiteY0" fmla="*/ 208185 h 530679"/>
                <a:gd name="connsiteX1" fmla="*/ 229031 w 286191"/>
                <a:gd name="connsiteY1" fmla="*/ 249637 h 530679"/>
                <a:gd name="connsiteX2" fmla="*/ 167733 w 286191"/>
                <a:gd name="connsiteY2" fmla="*/ 316000 h 530679"/>
                <a:gd name="connsiteX3" fmla="*/ 58051 w 286191"/>
                <a:gd name="connsiteY3" fmla="*/ 272507 h 530679"/>
                <a:gd name="connsiteX4" fmla="*/ 133422 w 286191"/>
                <a:gd name="connsiteY4" fmla="*/ 208033 h 530679"/>
                <a:gd name="connsiteX5" fmla="*/ 177809 w 286191"/>
                <a:gd name="connsiteY5" fmla="*/ 208185 h 530679"/>
                <a:gd name="connsiteX6" fmla="*/ 275077 w 286191"/>
                <a:gd name="connsiteY6" fmla="*/ 84559 h 530679"/>
                <a:gd name="connsiteX7" fmla="*/ 164669 w 286191"/>
                <a:gd name="connsiteY7" fmla="*/ 1183 h 530679"/>
                <a:gd name="connsiteX8" fmla="*/ 36062 w 286191"/>
                <a:gd name="connsiteY8" fmla="*/ 26248 h 530679"/>
                <a:gd name="connsiteX9" fmla="*/ 56451 w 286191"/>
                <a:gd name="connsiteY9" fmla="*/ 78744 h 530679"/>
                <a:gd name="connsiteX10" fmla="*/ 146418 w 286191"/>
                <a:gd name="connsiteY10" fmla="*/ 51098 h 530679"/>
                <a:gd name="connsiteX11" fmla="*/ 214621 w 286191"/>
                <a:gd name="connsiteY11" fmla="*/ 119887 h 530679"/>
                <a:gd name="connsiteX12" fmla="*/ 167231 w 286191"/>
                <a:gd name="connsiteY12" fmla="*/ 146078 h 530679"/>
                <a:gd name="connsiteX13" fmla="*/ 166473 w 286191"/>
                <a:gd name="connsiteY13" fmla="*/ 146254 h 530679"/>
                <a:gd name="connsiteX14" fmla="*/ 165216 w 286191"/>
                <a:gd name="connsiteY14" fmla="*/ 145387 h 530679"/>
                <a:gd name="connsiteX15" fmla="*/ 87058 w 286191"/>
                <a:gd name="connsiteY15" fmla="*/ 157342 h 530679"/>
                <a:gd name="connsiteX16" fmla="*/ 1155 w 286191"/>
                <a:gd name="connsiteY16" fmla="*/ 262325 h 530679"/>
                <a:gd name="connsiteX17" fmla="*/ 33039 w 286191"/>
                <a:gd name="connsiteY17" fmla="*/ 316682 h 530679"/>
                <a:gd name="connsiteX18" fmla="*/ 60557 w 286191"/>
                <a:gd name="connsiteY18" fmla="*/ 331084 h 530679"/>
                <a:gd name="connsiteX19" fmla="*/ 31878 w 286191"/>
                <a:gd name="connsiteY19" fmla="*/ 351551 h 530679"/>
                <a:gd name="connsiteX20" fmla="*/ 4066 w 286191"/>
                <a:gd name="connsiteY20" fmla="*/ 416015 h 530679"/>
                <a:gd name="connsiteX21" fmla="*/ 103383 w 286191"/>
                <a:gd name="connsiteY21" fmla="*/ 526609 h 530679"/>
                <a:gd name="connsiteX22" fmla="*/ 265043 w 286191"/>
                <a:gd name="connsiteY22" fmla="*/ 501128 h 530679"/>
                <a:gd name="connsiteX23" fmla="*/ 246215 w 286191"/>
                <a:gd name="connsiteY23" fmla="*/ 447036 h 530679"/>
                <a:gd name="connsiteX24" fmla="*/ 151344 w 286191"/>
                <a:gd name="connsiteY24" fmla="*/ 475049 h 530679"/>
                <a:gd name="connsiteX25" fmla="*/ 73603 w 286191"/>
                <a:gd name="connsiteY25" fmla="*/ 408769 h 530679"/>
                <a:gd name="connsiteX26" fmla="*/ 127002 w 286191"/>
                <a:gd name="connsiteY26" fmla="*/ 375385 h 530679"/>
                <a:gd name="connsiteX27" fmla="*/ 156393 w 286191"/>
                <a:gd name="connsiteY27" fmla="*/ 371150 h 530679"/>
                <a:gd name="connsiteX28" fmla="*/ 284592 w 286191"/>
                <a:gd name="connsiteY28" fmla="*/ 291298 h 530679"/>
                <a:gd name="connsiteX29" fmla="*/ 248817 w 286191"/>
                <a:gd name="connsiteY29" fmla="*/ 202597 h 530679"/>
                <a:gd name="connsiteX30" fmla="*/ 229691 w 286191"/>
                <a:gd name="connsiteY30" fmla="*/ 188959 h 530679"/>
                <a:gd name="connsiteX31" fmla="*/ 254291 w 286191"/>
                <a:gd name="connsiteY31" fmla="*/ 175827 h 530679"/>
                <a:gd name="connsiteX32" fmla="*/ 275077 w 286191"/>
                <a:gd name="connsiteY32" fmla="*/ 84559 h 530679"/>
                <a:gd name="connsiteX0" fmla="*/ 177809 w 286191"/>
                <a:gd name="connsiteY0" fmla="*/ 208185 h 527957"/>
                <a:gd name="connsiteX1" fmla="*/ 229031 w 286191"/>
                <a:gd name="connsiteY1" fmla="*/ 249637 h 527957"/>
                <a:gd name="connsiteX2" fmla="*/ 167733 w 286191"/>
                <a:gd name="connsiteY2" fmla="*/ 316000 h 527957"/>
                <a:gd name="connsiteX3" fmla="*/ 58051 w 286191"/>
                <a:gd name="connsiteY3" fmla="*/ 272507 h 527957"/>
                <a:gd name="connsiteX4" fmla="*/ 133422 w 286191"/>
                <a:gd name="connsiteY4" fmla="*/ 208033 h 527957"/>
                <a:gd name="connsiteX5" fmla="*/ 177809 w 286191"/>
                <a:gd name="connsiteY5" fmla="*/ 208185 h 527957"/>
                <a:gd name="connsiteX6" fmla="*/ 275077 w 286191"/>
                <a:gd name="connsiteY6" fmla="*/ 84559 h 527957"/>
                <a:gd name="connsiteX7" fmla="*/ 164669 w 286191"/>
                <a:gd name="connsiteY7" fmla="*/ 1183 h 527957"/>
                <a:gd name="connsiteX8" fmla="*/ 36062 w 286191"/>
                <a:gd name="connsiteY8" fmla="*/ 26248 h 527957"/>
                <a:gd name="connsiteX9" fmla="*/ 56451 w 286191"/>
                <a:gd name="connsiteY9" fmla="*/ 78744 h 527957"/>
                <a:gd name="connsiteX10" fmla="*/ 146418 w 286191"/>
                <a:gd name="connsiteY10" fmla="*/ 51098 h 527957"/>
                <a:gd name="connsiteX11" fmla="*/ 214621 w 286191"/>
                <a:gd name="connsiteY11" fmla="*/ 119887 h 527957"/>
                <a:gd name="connsiteX12" fmla="*/ 167231 w 286191"/>
                <a:gd name="connsiteY12" fmla="*/ 146078 h 527957"/>
                <a:gd name="connsiteX13" fmla="*/ 166473 w 286191"/>
                <a:gd name="connsiteY13" fmla="*/ 146254 h 527957"/>
                <a:gd name="connsiteX14" fmla="*/ 165216 w 286191"/>
                <a:gd name="connsiteY14" fmla="*/ 145387 h 527957"/>
                <a:gd name="connsiteX15" fmla="*/ 87058 w 286191"/>
                <a:gd name="connsiteY15" fmla="*/ 157342 h 527957"/>
                <a:gd name="connsiteX16" fmla="*/ 1155 w 286191"/>
                <a:gd name="connsiteY16" fmla="*/ 262325 h 527957"/>
                <a:gd name="connsiteX17" fmla="*/ 33039 w 286191"/>
                <a:gd name="connsiteY17" fmla="*/ 316682 h 527957"/>
                <a:gd name="connsiteX18" fmla="*/ 60557 w 286191"/>
                <a:gd name="connsiteY18" fmla="*/ 331084 h 527957"/>
                <a:gd name="connsiteX19" fmla="*/ 31878 w 286191"/>
                <a:gd name="connsiteY19" fmla="*/ 351551 h 527957"/>
                <a:gd name="connsiteX20" fmla="*/ 4066 w 286191"/>
                <a:gd name="connsiteY20" fmla="*/ 416015 h 527957"/>
                <a:gd name="connsiteX21" fmla="*/ 97541 w 286191"/>
                <a:gd name="connsiteY21" fmla="*/ 523536 h 527957"/>
                <a:gd name="connsiteX22" fmla="*/ 265043 w 286191"/>
                <a:gd name="connsiteY22" fmla="*/ 501128 h 527957"/>
                <a:gd name="connsiteX23" fmla="*/ 246215 w 286191"/>
                <a:gd name="connsiteY23" fmla="*/ 447036 h 527957"/>
                <a:gd name="connsiteX24" fmla="*/ 151344 w 286191"/>
                <a:gd name="connsiteY24" fmla="*/ 475049 h 527957"/>
                <a:gd name="connsiteX25" fmla="*/ 73603 w 286191"/>
                <a:gd name="connsiteY25" fmla="*/ 408769 h 527957"/>
                <a:gd name="connsiteX26" fmla="*/ 127002 w 286191"/>
                <a:gd name="connsiteY26" fmla="*/ 375385 h 527957"/>
                <a:gd name="connsiteX27" fmla="*/ 156393 w 286191"/>
                <a:gd name="connsiteY27" fmla="*/ 371150 h 527957"/>
                <a:gd name="connsiteX28" fmla="*/ 284592 w 286191"/>
                <a:gd name="connsiteY28" fmla="*/ 291298 h 527957"/>
                <a:gd name="connsiteX29" fmla="*/ 248817 w 286191"/>
                <a:gd name="connsiteY29" fmla="*/ 202597 h 527957"/>
                <a:gd name="connsiteX30" fmla="*/ 229691 w 286191"/>
                <a:gd name="connsiteY30" fmla="*/ 188959 h 527957"/>
                <a:gd name="connsiteX31" fmla="*/ 254291 w 286191"/>
                <a:gd name="connsiteY31" fmla="*/ 175827 h 527957"/>
                <a:gd name="connsiteX32" fmla="*/ 275077 w 286191"/>
                <a:gd name="connsiteY32" fmla="*/ 84559 h 527957"/>
                <a:gd name="connsiteX0" fmla="*/ 177809 w 286191"/>
                <a:gd name="connsiteY0" fmla="*/ 208185 h 527115"/>
                <a:gd name="connsiteX1" fmla="*/ 229031 w 286191"/>
                <a:gd name="connsiteY1" fmla="*/ 249637 h 527115"/>
                <a:gd name="connsiteX2" fmla="*/ 167733 w 286191"/>
                <a:gd name="connsiteY2" fmla="*/ 316000 h 527115"/>
                <a:gd name="connsiteX3" fmla="*/ 58051 w 286191"/>
                <a:gd name="connsiteY3" fmla="*/ 272507 h 527115"/>
                <a:gd name="connsiteX4" fmla="*/ 133422 w 286191"/>
                <a:gd name="connsiteY4" fmla="*/ 208033 h 527115"/>
                <a:gd name="connsiteX5" fmla="*/ 177809 w 286191"/>
                <a:gd name="connsiteY5" fmla="*/ 208185 h 527115"/>
                <a:gd name="connsiteX6" fmla="*/ 275077 w 286191"/>
                <a:gd name="connsiteY6" fmla="*/ 84559 h 527115"/>
                <a:gd name="connsiteX7" fmla="*/ 164669 w 286191"/>
                <a:gd name="connsiteY7" fmla="*/ 1183 h 527115"/>
                <a:gd name="connsiteX8" fmla="*/ 36062 w 286191"/>
                <a:gd name="connsiteY8" fmla="*/ 26248 h 527115"/>
                <a:gd name="connsiteX9" fmla="*/ 56451 w 286191"/>
                <a:gd name="connsiteY9" fmla="*/ 78744 h 527115"/>
                <a:gd name="connsiteX10" fmla="*/ 146418 w 286191"/>
                <a:gd name="connsiteY10" fmla="*/ 51098 h 527115"/>
                <a:gd name="connsiteX11" fmla="*/ 214621 w 286191"/>
                <a:gd name="connsiteY11" fmla="*/ 119887 h 527115"/>
                <a:gd name="connsiteX12" fmla="*/ 167231 w 286191"/>
                <a:gd name="connsiteY12" fmla="*/ 146078 h 527115"/>
                <a:gd name="connsiteX13" fmla="*/ 166473 w 286191"/>
                <a:gd name="connsiteY13" fmla="*/ 146254 h 527115"/>
                <a:gd name="connsiteX14" fmla="*/ 165216 w 286191"/>
                <a:gd name="connsiteY14" fmla="*/ 145387 h 527115"/>
                <a:gd name="connsiteX15" fmla="*/ 87058 w 286191"/>
                <a:gd name="connsiteY15" fmla="*/ 157342 h 527115"/>
                <a:gd name="connsiteX16" fmla="*/ 1155 w 286191"/>
                <a:gd name="connsiteY16" fmla="*/ 262325 h 527115"/>
                <a:gd name="connsiteX17" fmla="*/ 33039 w 286191"/>
                <a:gd name="connsiteY17" fmla="*/ 316682 h 527115"/>
                <a:gd name="connsiteX18" fmla="*/ 60557 w 286191"/>
                <a:gd name="connsiteY18" fmla="*/ 331084 h 527115"/>
                <a:gd name="connsiteX19" fmla="*/ 31878 w 286191"/>
                <a:gd name="connsiteY19" fmla="*/ 351551 h 527115"/>
                <a:gd name="connsiteX20" fmla="*/ 8407 w 286191"/>
                <a:gd name="connsiteY20" fmla="*/ 428755 h 527115"/>
                <a:gd name="connsiteX21" fmla="*/ 97541 w 286191"/>
                <a:gd name="connsiteY21" fmla="*/ 523536 h 527115"/>
                <a:gd name="connsiteX22" fmla="*/ 265043 w 286191"/>
                <a:gd name="connsiteY22" fmla="*/ 501128 h 527115"/>
                <a:gd name="connsiteX23" fmla="*/ 246215 w 286191"/>
                <a:gd name="connsiteY23" fmla="*/ 447036 h 527115"/>
                <a:gd name="connsiteX24" fmla="*/ 151344 w 286191"/>
                <a:gd name="connsiteY24" fmla="*/ 475049 h 527115"/>
                <a:gd name="connsiteX25" fmla="*/ 73603 w 286191"/>
                <a:gd name="connsiteY25" fmla="*/ 408769 h 527115"/>
                <a:gd name="connsiteX26" fmla="*/ 127002 w 286191"/>
                <a:gd name="connsiteY26" fmla="*/ 375385 h 527115"/>
                <a:gd name="connsiteX27" fmla="*/ 156393 w 286191"/>
                <a:gd name="connsiteY27" fmla="*/ 371150 h 527115"/>
                <a:gd name="connsiteX28" fmla="*/ 284592 w 286191"/>
                <a:gd name="connsiteY28" fmla="*/ 291298 h 527115"/>
                <a:gd name="connsiteX29" fmla="*/ 248817 w 286191"/>
                <a:gd name="connsiteY29" fmla="*/ 202597 h 527115"/>
                <a:gd name="connsiteX30" fmla="*/ 229691 w 286191"/>
                <a:gd name="connsiteY30" fmla="*/ 188959 h 527115"/>
                <a:gd name="connsiteX31" fmla="*/ 254291 w 286191"/>
                <a:gd name="connsiteY31" fmla="*/ 175827 h 527115"/>
                <a:gd name="connsiteX32" fmla="*/ 275077 w 286191"/>
                <a:gd name="connsiteY32" fmla="*/ 84559 h 527115"/>
                <a:gd name="connsiteX0" fmla="*/ 177809 w 286191"/>
                <a:gd name="connsiteY0" fmla="*/ 208185 h 527115"/>
                <a:gd name="connsiteX1" fmla="*/ 229031 w 286191"/>
                <a:gd name="connsiteY1" fmla="*/ 249637 h 527115"/>
                <a:gd name="connsiteX2" fmla="*/ 167733 w 286191"/>
                <a:gd name="connsiteY2" fmla="*/ 316000 h 527115"/>
                <a:gd name="connsiteX3" fmla="*/ 58051 w 286191"/>
                <a:gd name="connsiteY3" fmla="*/ 272507 h 527115"/>
                <a:gd name="connsiteX4" fmla="*/ 133422 w 286191"/>
                <a:gd name="connsiteY4" fmla="*/ 208033 h 527115"/>
                <a:gd name="connsiteX5" fmla="*/ 177809 w 286191"/>
                <a:gd name="connsiteY5" fmla="*/ 208185 h 527115"/>
                <a:gd name="connsiteX6" fmla="*/ 275077 w 286191"/>
                <a:gd name="connsiteY6" fmla="*/ 84559 h 527115"/>
                <a:gd name="connsiteX7" fmla="*/ 164669 w 286191"/>
                <a:gd name="connsiteY7" fmla="*/ 1183 h 527115"/>
                <a:gd name="connsiteX8" fmla="*/ 36062 w 286191"/>
                <a:gd name="connsiteY8" fmla="*/ 26248 h 527115"/>
                <a:gd name="connsiteX9" fmla="*/ 56451 w 286191"/>
                <a:gd name="connsiteY9" fmla="*/ 78744 h 527115"/>
                <a:gd name="connsiteX10" fmla="*/ 146418 w 286191"/>
                <a:gd name="connsiteY10" fmla="*/ 51098 h 527115"/>
                <a:gd name="connsiteX11" fmla="*/ 214621 w 286191"/>
                <a:gd name="connsiteY11" fmla="*/ 119887 h 527115"/>
                <a:gd name="connsiteX12" fmla="*/ 167231 w 286191"/>
                <a:gd name="connsiteY12" fmla="*/ 146078 h 527115"/>
                <a:gd name="connsiteX13" fmla="*/ 166473 w 286191"/>
                <a:gd name="connsiteY13" fmla="*/ 146254 h 527115"/>
                <a:gd name="connsiteX14" fmla="*/ 165216 w 286191"/>
                <a:gd name="connsiteY14" fmla="*/ 145387 h 527115"/>
                <a:gd name="connsiteX15" fmla="*/ 87058 w 286191"/>
                <a:gd name="connsiteY15" fmla="*/ 157342 h 527115"/>
                <a:gd name="connsiteX16" fmla="*/ 1155 w 286191"/>
                <a:gd name="connsiteY16" fmla="*/ 262325 h 527115"/>
                <a:gd name="connsiteX17" fmla="*/ 33039 w 286191"/>
                <a:gd name="connsiteY17" fmla="*/ 316682 h 527115"/>
                <a:gd name="connsiteX18" fmla="*/ 60557 w 286191"/>
                <a:gd name="connsiteY18" fmla="*/ 331084 h 527115"/>
                <a:gd name="connsiteX19" fmla="*/ 8407 w 286191"/>
                <a:gd name="connsiteY19" fmla="*/ 428755 h 527115"/>
                <a:gd name="connsiteX20" fmla="*/ 97541 w 286191"/>
                <a:gd name="connsiteY20" fmla="*/ 523536 h 527115"/>
                <a:gd name="connsiteX21" fmla="*/ 265043 w 286191"/>
                <a:gd name="connsiteY21" fmla="*/ 501128 h 527115"/>
                <a:gd name="connsiteX22" fmla="*/ 246215 w 286191"/>
                <a:gd name="connsiteY22" fmla="*/ 447036 h 527115"/>
                <a:gd name="connsiteX23" fmla="*/ 151344 w 286191"/>
                <a:gd name="connsiteY23" fmla="*/ 475049 h 527115"/>
                <a:gd name="connsiteX24" fmla="*/ 73603 w 286191"/>
                <a:gd name="connsiteY24" fmla="*/ 408769 h 527115"/>
                <a:gd name="connsiteX25" fmla="*/ 127002 w 286191"/>
                <a:gd name="connsiteY25" fmla="*/ 375385 h 527115"/>
                <a:gd name="connsiteX26" fmla="*/ 156393 w 286191"/>
                <a:gd name="connsiteY26" fmla="*/ 371150 h 527115"/>
                <a:gd name="connsiteX27" fmla="*/ 284592 w 286191"/>
                <a:gd name="connsiteY27" fmla="*/ 291298 h 527115"/>
                <a:gd name="connsiteX28" fmla="*/ 248817 w 286191"/>
                <a:gd name="connsiteY28" fmla="*/ 202597 h 527115"/>
                <a:gd name="connsiteX29" fmla="*/ 229691 w 286191"/>
                <a:gd name="connsiteY29" fmla="*/ 188959 h 527115"/>
                <a:gd name="connsiteX30" fmla="*/ 254291 w 286191"/>
                <a:gd name="connsiteY30" fmla="*/ 175827 h 527115"/>
                <a:gd name="connsiteX31" fmla="*/ 275077 w 286191"/>
                <a:gd name="connsiteY31" fmla="*/ 84559 h 527115"/>
                <a:gd name="connsiteX0" fmla="*/ 177809 w 286191"/>
                <a:gd name="connsiteY0" fmla="*/ 208185 h 527115"/>
                <a:gd name="connsiteX1" fmla="*/ 229031 w 286191"/>
                <a:gd name="connsiteY1" fmla="*/ 249637 h 527115"/>
                <a:gd name="connsiteX2" fmla="*/ 167733 w 286191"/>
                <a:gd name="connsiteY2" fmla="*/ 316000 h 527115"/>
                <a:gd name="connsiteX3" fmla="*/ 58051 w 286191"/>
                <a:gd name="connsiteY3" fmla="*/ 272507 h 527115"/>
                <a:gd name="connsiteX4" fmla="*/ 133422 w 286191"/>
                <a:gd name="connsiteY4" fmla="*/ 208033 h 527115"/>
                <a:gd name="connsiteX5" fmla="*/ 177809 w 286191"/>
                <a:gd name="connsiteY5" fmla="*/ 208185 h 527115"/>
                <a:gd name="connsiteX6" fmla="*/ 275077 w 286191"/>
                <a:gd name="connsiteY6" fmla="*/ 84559 h 527115"/>
                <a:gd name="connsiteX7" fmla="*/ 164669 w 286191"/>
                <a:gd name="connsiteY7" fmla="*/ 1183 h 527115"/>
                <a:gd name="connsiteX8" fmla="*/ 36062 w 286191"/>
                <a:gd name="connsiteY8" fmla="*/ 26248 h 527115"/>
                <a:gd name="connsiteX9" fmla="*/ 56451 w 286191"/>
                <a:gd name="connsiteY9" fmla="*/ 78744 h 527115"/>
                <a:gd name="connsiteX10" fmla="*/ 146418 w 286191"/>
                <a:gd name="connsiteY10" fmla="*/ 51098 h 527115"/>
                <a:gd name="connsiteX11" fmla="*/ 214621 w 286191"/>
                <a:gd name="connsiteY11" fmla="*/ 119887 h 527115"/>
                <a:gd name="connsiteX12" fmla="*/ 167231 w 286191"/>
                <a:gd name="connsiteY12" fmla="*/ 146078 h 527115"/>
                <a:gd name="connsiteX13" fmla="*/ 166473 w 286191"/>
                <a:gd name="connsiteY13" fmla="*/ 146254 h 527115"/>
                <a:gd name="connsiteX14" fmla="*/ 165216 w 286191"/>
                <a:gd name="connsiteY14" fmla="*/ 145387 h 527115"/>
                <a:gd name="connsiteX15" fmla="*/ 87058 w 286191"/>
                <a:gd name="connsiteY15" fmla="*/ 157342 h 527115"/>
                <a:gd name="connsiteX16" fmla="*/ 1155 w 286191"/>
                <a:gd name="connsiteY16" fmla="*/ 262325 h 527115"/>
                <a:gd name="connsiteX17" fmla="*/ 33039 w 286191"/>
                <a:gd name="connsiteY17" fmla="*/ 316682 h 527115"/>
                <a:gd name="connsiteX18" fmla="*/ 59464 w 286191"/>
                <a:gd name="connsiteY18" fmla="*/ 334562 h 527115"/>
                <a:gd name="connsiteX19" fmla="*/ 8407 w 286191"/>
                <a:gd name="connsiteY19" fmla="*/ 428755 h 527115"/>
                <a:gd name="connsiteX20" fmla="*/ 97541 w 286191"/>
                <a:gd name="connsiteY20" fmla="*/ 523536 h 527115"/>
                <a:gd name="connsiteX21" fmla="*/ 265043 w 286191"/>
                <a:gd name="connsiteY21" fmla="*/ 501128 h 527115"/>
                <a:gd name="connsiteX22" fmla="*/ 246215 w 286191"/>
                <a:gd name="connsiteY22" fmla="*/ 447036 h 527115"/>
                <a:gd name="connsiteX23" fmla="*/ 151344 w 286191"/>
                <a:gd name="connsiteY23" fmla="*/ 475049 h 527115"/>
                <a:gd name="connsiteX24" fmla="*/ 73603 w 286191"/>
                <a:gd name="connsiteY24" fmla="*/ 408769 h 527115"/>
                <a:gd name="connsiteX25" fmla="*/ 127002 w 286191"/>
                <a:gd name="connsiteY25" fmla="*/ 375385 h 527115"/>
                <a:gd name="connsiteX26" fmla="*/ 156393 w 286191"/>
                <a:gd name="connsiteY26" fmla="*/ 371150 h 527115"/>
                <a:gd name="connsiteX27" fmla="*/ 284592 w 286191"/>
                <a:gd name="connsiteY27" fmla="*/ 291298 h 527115"/>
                <a:gd name="connsiteX28" fmla="*/ 248817 w 286191"/>
                <a:gd name="connsiteY28" fmla="*/ 202597 h 527115"/>
                <a:gd name="connsiteX29" fmla="*/ 229691 w 286191"/>
                <a:gd name="connsiteY29" fmla="*/ 188959 h 527115"/>
                <a:gd name="connsiteX30" fmla="*/ 254291 w 286191"/>
                <a:gd name="connsiteY30" fmla="*/ 175827 h 527115"/>
                <a:gd name="connsiteX31" fmla="*/ 275077 w 286191"/>
                <a:gd name="connsiteY31" fmla="*/ 84559 h 527115"/>
                <a:gd name="connsiteX0" fmla="*/ 177809 w 286191"/>
                <a:gd name="connsiteY0" fmla="*/ 208185 h 527115"/>
                <a:gd name="connsiteX1" fmla="*/ 229031 w 286191"/>
                <a:gd name="connsiteY1" fmla="*/ 249637 h 527115"/>
                <a:gd name="connsiteX2" fmla="*/ 167733 w 286191"/>
                <a:gd name="connsiteY2" fmla="*/ 316000 h 527115"/>
                <a:gd name="connsiteX3" fmla="*/ 58051 w 286191"/>
                <a:gd name="connsiteY3" fmla="*/ 272507 h 527115"/>
                <a:gd name="connsiteX4" fmla="*/ 133422 w 286191"/>
                <a:gd name="connsiteY4" fmla="*/ 208033 h 527115"/>
                <a:gd name="connsiteX5" fmla="*/ 177809 w 286191"/>
                <a:gd name="connsiteY5" fmla="*/ 208185 h 527115"/>
                <a:gd name="connsiteX6" fmla="*/ 275077 w 286191"/>
                <a:gd name="connsiteY6" fmla="*/ 84559 h 527115"/>
                <a:gd name="connsiteX7" fmla="*/ 164669 w 286191"/>
                <a:gd name="connsiteY7" fmla="*/ 1183 h 527115"/>
                <a:gd name="connsiteX8" fmla="*/ 36062 w 286191"/>
                <a:gd name="connsiteY8" fmla="*/ 26248 h 527115"/>
                <a:gd name="connsiteX9" fmla="*/ 56451 w 286191"/>
                <a:gd name="connsiteY9" fmla="*/ 78744 h 527115"/>
                <a:gd name="connsiteX10" fmla="*/ 146418 w 286191"/>
                <a:gd name="connsiteY10" fmla="*/ 51098 h 527115"/>
                <a:gd name="connsiteX11" fmla="*/ 214621 w 286191"/>
                <a:gd name="connsiteY11" fmla="*/ 119887 h 527115"/>
                <a:gd name="connsiteX12" fmla="*/ 167231 w 286191"/>
                <a:gd name="connsiteY12" fmla="*/ 146078 h 527115"/>
                <a:gd name="connsiteX13" fmla="*/ 166473 w 286191"/>
                <a:gd name="connsiteY13" fmla="*/ 146254 h 527115"/>
                <a:gd name="connsiteX14" fmla="*/ 165216 w 286191"/>
                <a:gd name="connsiteY14" fmla="*/ 145387 h 527115"/>
                <a:gd name="connsiteX15" fmla="*/ 87058 w 286191"/>
                <a:gd name="connsiteY15" fmla="*/ 157342 h 527115"/>
                <a:gd name="connsiteX16" fmla="*/ 1155 w 286191"/>
                <a:gd name="connsiteY16" fmla="*/ 262325 h 527115"/>
                <a:gd name="connsiteX17" fmla="*/ 59464 w 286191"/>
                <a:gd name="connsiteY17" fmla="*/ 334562 h 527115"/>
                <a:gd name="connsiteX18" fmla="*/ 8407 w 286191"/>
                <a:gd name="connsiteY18" fmla="*/ 428755 h 527115"/>
                <a:gd name="connsiteX19" fmla="*/ 97541 w 286191"/>
                <a:gd name="connsiteY19" fmla="*/ 523536 h 527115"/>
                <a:gd name="connsiteX20" fmla="*/ 265043 w 286191"/>
                <a:gd name="connsiteY20" fmla="*/ 501128 h 527115"/>
                <a:gd name="connsiteX21" fmla="*/ 246215 w 286191"/>
                <a:gd name="connsiteY21" fmla="*/ 447036 h 527115"/>
                <a:gd name="connsiteX22" fmla="*/ 151344 w 286191"/>
                <a:gd name="connsiteY22" fmla="*/ 475049 h 527115"/>
                <a:gd name="connsiteX23" fmla="*/ 73603 w 286191"/>
                <a:gd name="connsiteY23" fmla="*/ 408769 h 527115"/>
                <a:gd name="connsiteX24" fmla="*/ 127002 w 286191"/>
                <a:gd name="connsiteY24" fmla="*/ 375385 h 527115"/>
                <a:gd name="connsiteX25" fmla="*/ 156393 w 286191"/>
                <a:gd name="connsiteY25" fmla="*/ 371150 h 527115"/>
                <a:gd name="connsiteX26" fmla="*/ 284592 w 286191"/>
                <a:gd name="connsiteY26" fmla="*/ 291298 h 527115"/>
                <a:gd name="connsiteX27" fmla="*/ 248817 w 286191"/>
                <a:gd name="connsiteY27" fmla="*/ 202597 h 527115"/>
                <a:gd name="connsiteX28" fmla="*/ 229691 w 286191"/>
                <a:gd name="connsiteY28" fmla="*/ 188959 h 527115"/>
                <a:gd name="connsiteX29" fmla="*/ 254291 w 286191"/>
                <a:gd name="connsiteY29" fmla="*/ 175827 h 527115"/>
                <a:gd name="connsiteX30" fmla="*/ 275077 w 286191"/>
                <a:gd name="connsiteY30" fmla="*/ 84559 h 527115"/>
                <a:gd name="connsiteX0" fmla="*/ 177809 w 286191"/>
                <a:gd name="connsiteY0" fmla="*/ 208185 h 527115"/>
                <a:gd name="connsiteX1" fmla="*/ 229031 w 286191"/>
                <a:gd name="connsiteY1" fmla="*/ 249637 h 527115"/>
                <a:gd name="connsiteX2" fmla="*/ 167733 w 286191"/>
                <a:gd name="connsiteY2" fmla="*/ 316000 h 527115"/>
                <a:gd name="connsiteX3" fmla="*/ 58051 w 286191"/>
                <a:gd name="connsiteY3" fmla="*/ 272507 h 527115"/>
                <a:gd name="connsiteX4" fmla="*/ 133422 w 286191"/>
                <a:gd name="connsiteY4" fmla="*/ 208033 h 527115"/>
                <a:gd name="connsiteX5" fmla="*/ 177809 w 286191"/>
                <a:gd name="connsiteY5" fmla="*/ 208185 h 527115"/>
                <a:gd name="connsiteX6" fmla="*/ 275077 w 286191"/>
                <a:gd name="connsiteY6" fmla="*/ 84559 h 527115"/>
                <a:gd name="connsiteX7" fmla="*/ 164669 w 286191"/>
                <a:gd name="connsiteY7" fmla="*/ 1183 h 527115"/>
                <a:gd name="connsiteX8" fmla="*/ 36062 w 286191"/>
                <a:gd name="connsiteY8" fmla="*/ 26248 h 527115"/>
                <a:gd name="connsiteX9" fmla="*/ 56451 w 286191"/>
                <a:gd name="connsiteY9" fmla="*/ 78744 h 527115"/>
                <a:gd name="connsiteX10" fmla="*/ 146418 w 286191"/>
                <a:gd name="connsiteY10" fmla="*/ 51098 h 527115"/>
                <a:gd name="connsiteX11" fmla="*/ 214621 w 286191"/>
                <a:gd name="connsiteY11" fmla="*/ 119887 h 527115"/>
                <a:gd name="connsiteX12" fmla="*/ 167231 w 286191"/>
                <a:gd name="connsiteY12" fmla="*/ 146078 h 527115"/>
                <a:gd name="connsiteX13" fmla="*/ 166473 w 286191"/>
                <a:gd name="connsiteY13" fmla="*/ 146254 h 527115"/>
                <a:gd name="connsiteX14" fmla="*/ 165216 w 286191"/>
                <a:gd name="connsiteY14" fmla="*/ 145387 h 527115"/>
                <a:gd name="connsiteX15" fmla="*/ 87058 w 286191"/>
                <a:gd name="connsiteY15" fmla="*/ 157342 h 527115"/>
                <a:gd name="connsiteX16" fmla="*/ 1155 w 286191"/>
                <a:gd name="connsiteY16" fmla="*/ 262325 h 527115"/>
                <a:gd name="connsiteX17" fmla="*/ 59464 w 286191"/>
                <a:gd name="connsiteY17" fmla="*/ 334562 h 527115"/>
                <a:gd name="connsiteX18" fmla="*/ 8407 w 286191"/>
                <a:gd name="connsiteY18" fmla="*/ 428755 h 527115"/>
                <a:gd name="connsiteX19" fmla="*/ 97541 w 286191"/>
                <a:gd name="connsiteY19" fmla="*/ 523536 h 527115"/>
                <a:gd name="connsiteX20" fmla="*/ 265043 w 286191"/>
                <a:gd name="connsiteY20" fmla="*/ 501128 h 527115"/>
                <a:gd name="connsiteX21" fmla="*/ 246215 w 286191"/>
                <a:gd name="connsiteY21" fmla="*/ 447036 h 527115"/>
                <a:gd name="connsiteX22" fmla="*/ 151344 w 286191"/>
                <a:gd name="connsiteY22" fmla="*/ 475049 h 527115"/>
                <a:gd name="connsiteX23" fmla="*/ 73603 w 286191"/>
                <a:gd name="connsiteY23" fmla="*/ 408769 h 527115"/>
                <a:gd name="connsiteX24" fmla="*/ 127002 w 286191"/>
                <a:gd name="connsiteY24" fmla="*/ 375385 h 527115"/>
                <a:gd name="connsiteX25" fmla="*/ 156393 w 286191"/>
                <a:gd name="connsiteY25" fmla="*/ 371150 h 527115"/>
                <a:gd name="connsiteX26" fmla="*/ 284592 w 286191"/>
                <a:gd name="connsiteY26" fmla="*/ 291298 h 527115"/>
                <a:gd name="connsiteX27" fmla="*/ 248817 w 286191"/>
                <a:gd name="connsiteY27" fmla="*/ 202597 h 527115"/>
                <a:gd name="connsiteX28" fmla="*/ 229691 w 286191"/>
                <a:gd name="connsiteY28" fmla="*/ 188959 h 527115"/>
                <a:gd name="connsiteX29" fmla="*/ 254291 w 286191"/>
                <a:gd name="connsiteY29" fmla="*/ 175827 h 527115"/>
                <a:gd name="connsiteX30" fmla="*/ 275077 w 286191"/>
                <a:gd name="connsiteY30" fmla="*/ 84559 h 527115"/>
                <a:gd name="connsiteX0" fmla="*/ 172905 w 281287"/>
                <a:gd name="connsiteY0" fmla="*/ 208185 h 527115"/>
                <a:gd name="connsiteX1" fmla="*/ 224127 w 281287"/>
                <a:gd name="connsiteY1" fmla="*/ 249637 h 527115"/>
                <a:gd name="connsiteX2" fmla="*/ 162829 w 281287"/>
                <a:gd name="connsiteY2" fmla="*/ 316000 h 527115"/>
                <a:gd name="connsiteX3" fmla="*/ 53147 w 281287"/>
                <a:gd name="connsiteY3" fmla="*/ 272507 h 527115"/>
                <a:gd name="connsiteX4" fmla="*/ 128518 w 281287"/>
                <a:gd name="connsiteY4" fmla="*/ 208033 h 527115"/>
                <a:gd name="connsiteX5" fmla="*/ 172905 w 281287"/>
                <a:gd name="connsiteY5" fmla="*/ 208185 h 527115"/>
                <a:gd name="connsiteX6" fmla="*/ 270173 w 281287"/>
                <a:gd name="connsiteY6" fmla="*/ 84559 h 527115"/>
                <a:gd name="connsiteX7" fmla="*/ 159765 w 281287"/>
                <a:gd name="connsiteY7" fmla="*/ 1183 h 527115"/>
                <a:gd name="connsiteX8" fmla="*/ 31158 w 281287"/>
                <a:gd name="connsiteY8" fmla="*/ 26248 h 527115"/>
                <a:gd name="connsiteX9" fmla="*/ 51547 w 281287"/>
                <a:gd name="connsiteY9" fmla="*/ 78744 h 527115"/>
                <a:gd name="connsiteX10" fmla="*/ 141514 w 281287"/>
                <a:gd name="connsiteY10" fmla="*/ 51098 h 527115"/>
                <a:gd name="connsiteX11" fmla="*/ 209717 w 281287"/>
                <a:gd name="connsiteY11" fmla="*/ 119887 h 527115"/>
                <a:gd name="connsiteX12" fmla="*/ 162327 w 281287"/>
                <a:gd name="connsiteY12" fmla="*/ 146078 h 527115"/>
                <a:gd name="connsiteX13" fmla="*/ 161569 w 281287"/>
                <a:gd name="connsiteY13" fmla="*/ 146254 h 527115"/>
                <a:gd name="connsiteX14" fmla="*/ 160312 w 281287"/>
                <a:gd name="connsiteY14" fmla="*/ 145387 h 527115"/>
                <a:gd name="connsiteX15" fmla="*/ 82154 w 281287"/>
                <a:gd name="connsiteY15" fmla="*/ 157342 h 527115"/>
                <a:gd name="connsiteX16" fmla="*/ 1584 w 281287"/>
                <a:gd name="connsiteY16" fmla="*/ 260032 h 527115"/>
                <a:gd name="connsiteX17" fmla="*/ 54560 w 281287"/>
                <a:gd name="connsiteY17" fmla="*/ 334562 h 527115"/>
                <a:gd name="connsiteX18" fmla="*/ 3503 w 281287"/>
                <a:gd name="connsiteY18" fmla="*/ 428755 h 527115"/>
                <a:gd name="connsiteX19" fmla="*/ 92637 w 281287"/>
                <a:gd name="connsiteY19" fmla="*/ 523536 h 527115"/>
                <a:gd name="connsiteX20" fmla="*/ 260139 w 281287"/>
                <a:gd name="connsiteY20" fmla="*/ 501128 h 527115"/>
                <a:gd name="connsiteX21" fmla="*/ 241311 w 281287"/>
                <a:gd name="connsiteY21" fmla="*/ 447036 h 527115"/>
                <a:gd name="connsiteX22" fmla="*/ 146440 w 281287"/>
                <a:gd name="connsiteY22" fmla="*/ 475049 h 527115"/>
                <a:gd name="connsiteX23" fmla="*/ 68699 w 281287"/>
                <a:gd name="connsiteY23" fmla="*/ 408769 h 527115"/>
                <a:gd name="connsiteX24" fmla="*/ 122098 w 281287"/>
                <a:gd name="connsiteY24" fmla="*/ 375385 h 527115"/>
                <a:gd name="connsiteX25" fmla="*/ 151489 w 281287"/>
                <a:gd name="connsiteY25" fmla="*/ 371150 h 527115"/>
                <a:gd name="connsiteX26" fmla="*/ 279688 w 281287"/>
                <a:gd name="connsiteY26" fmla="*/ 291298 h 527115"/>
                <a:gd name="connsiteX27" fmla="*/ 243913 w 281287"/>
                <a:gd name="connsiteY27" fmla="*/ 202597 h 527115"/>
                <a:gd name="connsiteX28" fmla="*/ 224787 w 281287"/>
                <a:gd name="connsiteY28" fmla="*/ 188959 h 527115"/>
                <a:gd name="connsiteX29" fmla="*/ 249387 w 281287"/>
                <a:gd name="connsiteY29" fmla="*/ 175827 h 527115"/>
                <a:gd name="connsiteX30" fmla="*/ 270173 w 281287"/>
                <a:gd name="connsiteY30" fmla="*/ 84559 h 527115"/>
                <a:gd name="connsiteX0" fmla="*/ 171721 w 280103"/>
                <a:gd name="connsiteY0" fmla="*/ 208185 h 527115"/>
                <a:gd name="connsiteX1" fmla="*/ 222943 w 280103"/>
                <a:gd name="connsiteY1" fmla="*/ 249637 h 527115"/>
                <a:gd name="connsiteX2" fmla="*/ 161645 w 280103"/>
                <a:gd name="connsiteY2" fmla="*/ 316000 h 527115"/>
                <a:gd name="connsiteX3" fmla="*/ 51963 w 280103"/>
                <a:gd name="connsiteY3" fmla="*/ 272507 h 527115"/>
                <a:gd name="connsiteX4" fmla="*/ 127334 w 280103"/>
                <a:gd name="connsiteY4" fmla="*/ 208033 h 527115"/>
                <a:gd name="connsiteX5" fmla="*/ 171721 w 280103"/>
                <a:gd name="connsiteY5" fmla="*/ 208185 h 527115"/>
                <a:gd name="connsiteX6" fmla="*/ 268989 w 280103"/>
                <a:gd name="connsiteY6" fmla="*/ 84559 h 527115"/>
                <a:gd name="connsiteX7" fmla="*/ 158581 w 280103"/>
                <a:gd name="connsiteY7" fmla="*/ 1183 h 527115"/>
                <a:gd name="connsiteX8" fmla="*/ 29974 w 280103"/>
                <a:gd name="connsiteY8" fmla="*/ 26248 h 527115"/>
                <a:gd name="connsiteX9" fmla="*/ 50363 w 280103"/>
                <a:gd name="connsiteY9" fmla="*/ 78744 h 527115"/>
                <a:gd name="connsiteX10" fmla="*/ 140330 w 280103"/>
                <a:gd name="connsiteY10" fmla="*/ 51098 h 527115"/>
                <a:gd name="connsiteX11" fmla="*/ 208533 w 280103"/>
                <a:gd name="connsiteY11" fmla="*/ 119887 h 527115"/>
                <a:gd name="connsiteX12" fmla="*/ 161143 w 280103"/>
                <a:gd name="connsiteY12" fmla="*/ 146078 h 527115"/>
                <a:gd name="connsiteX13" fmla="*/ 160385 w 280103"/>
                <a:gd name="connsiteY13" fmla="*/ 146254 h 527115"/>
                <a:gd name="connsiteX14" fmla="*/ 159128 w 280103"/>
                <a:gd name="connsiteY14" fmla="*/ 145387 h 527115"/>
                <a:gd name="connsiteX15" fmla="*/ 80970 w 280103"/>
                <a:gd name="connsiteY15" fmla="*/ 157342 h 527115"/>
                <a:gd name="connsiteX16" fmla="*/ 400 w 280103"/>
                <a:gd name="connsiteY16" fmla="*/ 260032 h 527115"/>
                <a:gd name="connsiteX17" fmla="*/ 53376 w 280103"/>
                <a:gd name="connsiteY17" fmla="*/ 334562 h 527115"/>
                <a:gd name="connsiteX18" fmla="*/ 2319 w 280103"/>
                <a:gd name="connsiteY18" fmla="*/ 428755 h 527115"/>
                <a:gd name="connsiteX19" fmla="*/ 91453 w 280103"/>
                <a:gd name="connsiteY19" fmla="*/ 523536 h 527115"/>
                <a:gd name="connsiteX20" fmla="*/ 258955 w 280103"/>
                <a:gd name="connsiteY20" fmla="*/ 501128 h 527115"/>
                <a:gd name="connsiteX21" fmla="*/ 240127 w 280103"/>
                <a:gd name="connsiteY21" fmla="*/ 447036 h 527115"/>
                <a:gd name="connsiteX22" fmla="*/ 145256 w 280103"/>
                <a:gd name="connsiteY22" fmla="*/ 475049 h 527115"/>
                <a:gd name="connsiteX23" fmla="*/ 67515 w 280103"/>
                <a:gd name="connsiteY23" fmla="*/ 408769 h 527115"/>
                <a:gd name="connsiteX24" fmla="*/ 120914 w 280103"/>
                <a:gd name="connsiteY24" fmla="*/ 375385 h 527115"/>
                <a:gd name="connsiteX25" fmla="*/ 150305 w 280103"/>
                <a:gd name="connsiteY25" fmla="*/ 371150 h 527115"/>
                <a:gd name="connsiteX26" fmla="*/ 278504 w 280103"/>
                <a:gd name="connsiteY26" fmla="*/ 291298 h 527115"/>
                <a:gd name="connsiteX27" fmla="*/ 242729 w 280103"/>
                <a:gd name="connsiteY27" fmla="*/ 202597 h 527115"/>
                <a:gd name="connsiteX28" fmla="*/ 223603 w 280103"/>
                <a:gd name="connsiteY28" fmla="*/ 188959 h 527115"/>
                <a:gd name="connsiteX29" fmla="*/ 248203 w 280103"/>
                <a:gd name="connsiteY29" fmla="*/ 175827 h 527115"/>
                <a:gd name="connsiteX30" fmla="*/ 268989 w 280103"/>
                <a:gd name="connsiteY30" fmla="*/ 84559 h 527115"/>
                <a:gd name="connsiteX0" fmla="*/ 171721 w 280103"/>
                <a:gd name="connsiteY0" fmla="*/ 208185 h 527115"/>
                <a:gd name="connsiteX1" fmla="*/ 222943 w 280103"/>
                <a:gd name="connsiteY1" fmla="*/ 249637 h 527115"/>
                <a:gd name="connsiteX2" fmla="*/ 161645 w 280103"/>
                <a:gd name="connsiteY2" fmla="*/ 316000 h 527115"/>
                <a:gd name="connsiteX3" fmla="*/ 51963 w 280103"/>
                <a:gd name="connsiteY3" fmla="*/ 272507 h 527115"/>
                <a:gd name="connsiteX4" fmla="*/ 127334 w 280103"/>
                <a:gd name="connsiteY4" fmla="*/ 208033 h 527115"/>
                <a:gd name="connsiteX5" fmla="*/ 171721 w 280103"/>
                <a:gd name="connsiteY5" fmla="*/ 208185 h 527115"/>
                <a:gd name="connsiteX6" fmla="*/ 268989 w 280103"/>
                <a:gd name="connsiteY6" fmla="*/ 84559 h 527115"/>
                <a:gd name="connsiteX7" fmla="*/ 158581 w 280103"/>
                <a:gd name="connsiteY7" fmla="*/ 1183 h 527115"/>
                <a:gd name="connsiteX8" fmla="*/ 29974 w 280103"/>
                <a:gd name="connsiteY8" fmla="*/ 26248 h 527115"/>
                <a:gd name="connsiteX9" fmla="*/ 50363 w 280103"/>
                <a:gd name="connsiteY9" fmla="*/ 78744 h 527115"/>
                <a:gd name="connsiteX10" fmla="*/ 140330 w 280103"/>
                <a:gd name="connsiteY10" fmla="*/ 51098 h 527115"/>
                <a:gd name="connsiteX11" fmla="*/ 208533 w 280103"/>
                <a:gd name="connsiteY11" fmla="*/ 119887 h 527115"/>
                <a:gd name="connsiteX12" fmla="*/ 161143 w 280103"/>
                <a:gd name="connsiteY12" fmla="*/ 146078 h 527115"/>
                <a:gd name="connsiteX13" fmla="*/ 160385 w 280103"/>
                <a:gd name="connsiteY13" fmla="*/ 146254 h 527115"/>
                <a:gd name="connsiteX14" fmla="*/ 159128 w 280103"/>
                <a:gd name="connsiteY14" fmla="*/ 145387 h 527115"/>
                <a:gd name="connsiteX15" fmla="*/ 80970 w 280103"/>
                <a:gd name="connsiteY15" fmla="*/ 157342 h 527115"/>
                <a:gd name="connsiteX16" fmla="*/ 400 w 280103"/>
                <a:gd name="connsiteY16" fmla="*/ 260032 h 527115"/>
                <a:gd name="connsiteX17" fmla="*/ 53376 w 280103"/>
                <a:gd name="connsiteY17" fmla="*/ 334562 h 527115"/>
                <a:gd name="connsiteX18" fmla="*/ 2319 w 280103"/>
                <a:gd name="connsiteY18" fmla="*/ 428755 h 527115"/>
                <a:gd name="connsiteX19" fmla="*/ 91453 w 280103"/>
                <a:gd name="connsiteY19" fmla="*/ 523536 h 527115"/>
                <a:gd name="connsiteX20" fmla="*/ 258955 w 280103"/>
                <a:gd name="connsiteY20" fmla="*/ 501128 h 527115"/>
                <a:gd name="connsiteX21" fmla="*/ 240127 w 280103"/>
                <a:gd name="connsiteY21" fmla="*/ 447036 h 527115"/>
                <a:gd name="connsiteX22" fmla="*/ 145256 w 280103"/>
                <a:gd name="connsiteY22" fmla="*/ 475049 h 527115"/>
                <a:gd name="connsiteX23" fmla="*/ 67515 w 280103"/>
                <a:gd name="connsiteY23" fmla="*/ 408769 h 527115"/>
                <a:gd name="connsiteX24" fmla="*/ 120914 w 280103"/>
                <a:gd name="connsiteY24" fmla="*/ 375385 h 527115"/>
                <a:gd name="connsiteX25" fmla="*/ 150305 w 280103"/>
                <a:gd name="connsiteY25" fmla="*/ 371150 h 527115"/>
                <a:gd name="connsiteX26" fmla="*/ 278504 w 280103"/>
                <a:gd name="connsiteY26" fmla="*/ 291298 h 527115"/>
                <a:gd name="connsiteX27" fmla="*/ 242729 w 280103"/>
                <a:gd name="connsiteY27" fmla="*/ 202597 h 527115"/>
                <a:gd name="connsiteX28" fmla="*/ 223603 w 280103"/>
                <a:gd name="connsiteY28" fmla="*/ 188959 h 527115"/>
                <a:gd name="connsiteX29" fmla="*/ 248203 w 280103"/>
                <a:gd name="connsiteY29" fmla="*/ 175827 h 527115"/>
                <a:gd name="connsiteX30" fmla="*/ 268989 w 280103"/>
                <a:gd name="connsiteY30" fmla="*/ 84559 h 527115"/>
                <a:gd name="connsiteX0" fmla="*/ 171491 w 279873"/>
                <a:gd name="connsiteY0" fmla="*/ 208185 h 527115"/>
                <a:gd name="connsiteX1" fmla="*/ 222713 w 279873"/>
                <a:gd name="connsiteY1" fmla="*/ 249637 h 527115"/>
                <a:gd name="connsiteX2" fmla="*/ 161415 w 279873"/>
                <a:gd name="connsiteY2" fmla="*/ 316000 h 527115"/>
                <a:gd name="connsiteX3" fmla="*/ 51733 w 279873"/>
                <a:gd name="connsiteY3" fmla="*/ 272507 h 527115"/>
                <a:gd name="connsiteX4" fmla="*/ 127104 w 279873"/>
                <a:gd name="connsiteY4" fmla="*/ 208033 h 527115"/>
                <a:gd name="connsiteX5" fmla="*/ 171491 w 279873"/>
                <a:gd name="connsiteY5" fmla="*/ 208185 h 527115"/>
                <a:gd name="connsiteX6" fmla="*/ 268759 w 279873"/>
                <a:gd name="connsiteY6" fmla="*/ 84559 h 527115"/>
                <a:gd name="connsiteX7" fmla="*/ 158351 w 279873"/>
                <a:gd name="connsiteY7" fmla="*/ 1183 h 527115"/>
                <a:gd name="connsiteX8" fmla="*/ 29744 w 279873"/>
                <a:gd name="connsiteY8" fmla="*/ 26248 h 527115"/>
                <a:gd name="connsiteX9" fmla="*/ 50133 w 279873"/>
                <a:gd name="connsiteY9" fmla="*/ 78744 h 527115"/>
                <a:gd name="connsiteX10" fmla="*/ 140100 w 279873"/>
                <a:gd name="connsiteY10" fmla="*/ 51098 h 527115"/>
                <a:gd name="connsiteX11" fmla="*/ 208303 w 279873"/>
                <a:gd name="connsiteY11" fmla="*/ 119887 h 527115"/>
                <a:gd name="connsiteX12" fmla="*/ 160913 w 279873"/>
                <a:gd name="connsiteY12" fmla="*/ 146078 h 527115"/>
                <a:gd name="connsiteX13" fmla="*/ 160155 w 279873"/>
                <a:gd name="connsiteY13" fmla="*/ 146254 h 527115"/>
                <a:gd name="connsiteX14" fmla="*/ 158898 w 279873"/>
                <a:gd name="connsiteY14" fmla="*/ 145387 h 527115"/>
                <a:gd name="connsiteX15" fmla="*/ 80740 w 279873"/>
                <a:gd name="connsiteY15" fmla="*/ 157342 h 527115"/>
                <a:gd name="connsiteX16" fmla="*/ 170 w 279873"/>
                <a:gd name="connsiteY16" fmla="*/ 260032 h 527115"/>
                <a:gd name="connsiteX17" fmla="*/ 53146 w 279873"/>
                <a:gd name="connsiteY17" fmla="*/ 334562 h 527115"/>
                <a:gd name="connsiteX18" fmla="*/ 2089 w 279873"/>
                <a:gd name="connsiteY18" fmla="*/ 428755 h 527115"/>
                <a:gd name="connsiteX19" fmla="*/ 91223 w 279873"/>
                <a:gd name="connsiteY19" fmla="*/ 523536 h 527115"/>
                <a:gd name="connsiteX20" fmla="*/ 258725 w 279873"/>
                <a:gd name="connsiteY20" fmla="*/ 501128 h 527115"/>
                <a:gd name="connsiteX21" fmla="*/ 239897 w 279873"/>
                <a:gd name="connsiteY21" fmla="*/ 447036 h 527115"/>
                <a:gd name="connsiteX22" fmla="*/ 145026 w 279873"/>
                <a:gd name="connsiteY22" fmla="*/ 475049 h 527115"/>
                <a:gd name="connsiteX23" fmla="*/ 67285 w 279873"/>
                <a:gd name="connsiteY23" fmla="*/ 408769 h 527115"/>
                <a:gd name="connsiteX24" fmla="*/ 120684 w 279873"/>
                <a:gd name="connsiteY24" fmla="*/ 375385 h 527115"/>
                <a:gd name="connsiteX25" fmla="*/ 150075 w 279873"/>
                <a:gd name="connsiteY25" fmla="*/ 371150 h 527115"/>
                <a:gd name="connsiteX26" fmla="*/ 278274 w 279873"/>
                <a:gd name="connsiteY26" fmla="*/ 291298 h 527115"/>
                <a:gd name="connsiteX27" fmla="*/ 242499 w 279873"/>
                <a:gd name="connsiteY27" fmla="*/ 202597 h 527115"/>
                <a:gd name="connsiteX28" fmla="*/ 223373 w 279873"/>
                <a:gd name="connsiteY28" fmla="*/ 188959 h 527115"/>
                <a:gd name="connsiteX29" fmla="*/ 247973 w 279873"/>
                <a:gd name="connsiteY29" fmla="*/ 175827 h 527115"/>
                <a:gd name="connsiteX30" fmla="*/ 268759 w 279873"/>
                <a:gd name="connsiteY30" fmla="*/ 84559 h 527115"/>
                <a:gd name="connsiteX0" fmla="*/ 171491 w 279873"/>
                <a:gd name="connsiteY0" fmla="*/ 208185 h 527115"/>
                <a:gd name="connsiteX1" fmla="*/ 222713 w 279873"/>
                <a:gd name="connsiteY1" fmla="*/ 249637 h 527115"/>
                <a:gd name="connsiteX2" fmla="*/ 161415 w 279873"/>
                <a:gd name="connsiteY2" fmla="*/ 316000 h 527115"/>
                <a:gd name="connsiteX3" fmla="*/ 51733 w 279873"/>
                <a:gd name="connsiteY3" fmla="*/ 272507 h 527115"/>
                <a:gd name="connsiteX4" fmla="*/ 127104 w 279873"/>
                <a:gd name="connsiteY4" fmla="*/ 208033 h 527115"/>
                <a:gd name="connsiteX5" fmla="*/ 171491 w 279873"/>
                <a:gd name="connsiteY5" fmla="*/ 208185 h 527115"/>
                <a:gd name="connsiteX6" fmla="*/ 268759 w 279873"/>
                <a:gd name="connsiteY6" fmla="*/ 84559 h 527115"/>
                <a:gd name="connsiteX7" fmla="*/ 158351 w 279873"/>
                <a:gd name="connsiteY7" fmla="*/ 1183 h 527115"/>
                <a:gd name="connsiteX8" fmla="*/ 29744 w 279873"/>
                <a:gd name="connsiteY8" fmla="*/ 26248 h 527115"/>
                <a:gd name="connsiteX9" fmla="*/ 50133 w 279873"/>
                <a:gd name="connsiteY9" fmla="*/ 78744 h 527115"/>
                <a:gd name="connsiteX10" fmla="*/ 140100 w 279873"/>
                <a:gd name="connsiteY10" fmla="*/ 51098 h 527115"/>
                <a:gd name="connsiteX11" fmla="*/ 208303 w 279873"/>
                <a:gd name="connsiteY11" fmla="*/ 119887 h 527115"/>
                <a:gd name="connsiteX12" fmla="*/ 160913 w 279873"/>
                <a:gd name="connsiteY12" fmla="*/ 146078 h 527115"/>
                <a:gd name="connsiteX13" fmla="*/ 160155 w 279873"/>
                <a:gd name="connsiteY13" fmla="*/ 146254 h 527115"/>
                <a:gd name="connsiteX14" fmla="*/ 158898 w 279873"/>
                <a:gd name="connsiteY14" fmla="*/ 145387 h 527115"/>
                <a:gd name="connsiteX15" fmla="*/ 80740 w 279873"/>
                <a:gd name="connsiteY15" fmla="*/ 157342 h 527115"/>
                <a:gd name="connsiteX16" fmla="*/ 170 w 279873"/>
                <a:gd name="connsiteY16" fmla="*/ 260032 h 527115"/>
                <a:gd name="connsiteX17" fmla="*/ 53146 w 279873"/>
                <a:gd name="connsiteY17" fmla="*/ 334562 h 527115"/>
                <a:gd name="connsiteX18" fmla="*/ 2089 w 279873"/>
                <a:gd name="connsiteY18" fmla="*/ 428755 h 527115"/>
                <a:gd name="connsiteX19" fmla="*/ 91223 w 279873"/>
                <a:gd name="connsiteY19" fmla="*/ 523536 h 527115"/>
                <a:gd name="connsiteX20" fmla="*/ 258725 w 279873"/>
                <a:gd name="connsiteY20" fmla="*/ 501128 h 527115"/>
                <a:gd name="connsiteX21" fmla="*/ 239897 w 279873"/>
                <a:gd name="connsiteY21" fmla="*/ 447036 h 527115"/>
                <a:gd name="connsiteX22" fmla="*/ 145026 w 279873"/>
                <a:gd name="connsiteY22" fmla="*/ 475049 h 527115"/>
                <a:gd name="connsiteX23" fmla="*/ 67285 w 279873"/>
                <a:gd name="connsiteY23" fmla="*/ 408769 h 527115"/>
                <a:gd name="connsiteX24" fmla="*/ 120684 w 279873"/>
                <a:gd name="connsiteY24" fmla="*/ 375385 h 527115"/>
                <a:gd name="connsiteX25" fmla="*/ 150075 w 279873"/>
                <a:gd name="connsiteY25" fmla="*/ 371150 h 527115"/>
                <a:gd name="connsiteX26" fmla="*/ 278274 w 279873"/>
                <a:gd name="connsiteY26" fmla="*/ 291298 h 527115"/>
                <a:gd name="connsiteX27" fmla="*/ 242499 w 279873"/>
                <a:gd name="connsiteY27" fmla="*/ 202597 h 527115"/>
                <a:gd name="connsiteX28" fmla="*/ 223373 w 279873"/>
                <a:gd name="connsiteY28" fmla="*/ 188959 h 527115"/>
                <a:gd name="connsiteX29" fmla="*/ 247973 w 279873"/>
                <a:gd name="connsiteY29" fmla="*/ 175827 h 527115"/>
                <a:gd name="connsiteX30" fmla="*/ 268759 w 279873"/>
                <a:gd name="connsiteY30" fmla="*/ 84559 h 527115"/>
                <a:gd name="connsiteX0" fmla="*/ 171321 w 279703"/>
                <a:gd name="connsiteY0" fmla="*/ 208185 h 527115"/>
                <a:gd name="connsiteX1" fmla="*/ 222543 w 279703"/>
                <a:gd name="connsiteY1" fmla="*/ 249637 h 527115"/>
                <a:gd name="connsiteX2" fmla="*/ 161245 w 279703"/>
                <a:gd name="connsiteY2" fmla="*/ 316000 h 527115"/>
                <a:gd name="connsiteX3" fmla="*/ 51563 w 279703"/>
                <a:gd name="connsiteY3" fmla="*/ 272507 h 527115"/>
                <a:gd name="connsiteX4" fmla="*/ 126934 w 279703"/>
                <a:gd name="connsiteY4" fmla="*/ 208033 h 527115"/>
                <a:gd name="connsiteX5" fmla="*/ 171321 w 279703"/>
                <a:gd name="connsiteY5" fmla="*/ 208185 h 527115"/>
                <a:gd name="connsiteX6" fmla="*/ 268589 w 279703"/>
                <a:gd name="connsiteY6" fmla="*/ 84559 h 527115"/>
                <a:gd name="connsiteX7" fmla="*/ 158181 w 279703"/>
                <a:gd name="connsiteY7" fmla="*/ 1183 h 527115"/>
                <a:gd name="connsiteX8" fmla="*/ 29574 w 279703"/>
                <a:gd name="connsiteY8" fmla="*/ 26248 h 527115"/>
                <a:gd name="connsiteX9" fmla="*/ 49963 w 279703"/>
                <a:gd name="connsiteY9" fmla="*/ 78744 h 527115"/>
                <a:gd name="connsiteX10" fmla="*/ 139930 w 279703"/>
                <a:gd name="connsiteY10" fmla="*/ 51098 h 527115"/>
                <a:gd name="connsiteX11" fmla="*/ 208133 w 279703"/>
                <a:gd name="connsiteY11" fmla="*/ 119887 h 527115"/>
                <a:gd name="connsiteX12" fmla="*/ 160743 w 279703"/>
                <a:gd name="connsiteY12" fmla="*/ 146078 h 527115"/>
                <a:gd name="connsiteX13" fmla="*/ 159985 w 279703"/>
                <a:gd name="connsiteY13" fmla="*/ 146254 h 527115"/>
                <a:gd name="connsiteX14" fmla="*/ 158728 w 279703"/>
                <a:gd name="connsiteY14" fmla="*/ 145387 h 527115"/>
                <a:gd name="connsiteX15" fmla="*/ 80570 w 279703"/>
                <a:gd name="connsiteY15" fmla="*/ 157342 h 527115"/>
                <a:gd name="connsiteX16" fmla="*/ 0 w 279703"/>
                <a:gd name="connsiteY16" fmla="*/ 260032 h 527115"/>
                <a:gd name="connsiteX17" fmla="*/ 52976 w 279703"/>
                <a:gd name="connsiteY17" fmla="*/ 334562 h 527115"/>
                <a:gd name="connsiteX18" fmla="*/ 1919 w 279703"/>
                <a:gd name="connsiteY18" fmla="*/ 428755 h 527115"/>
                <a:gd name="connsiteX19" fmla="*/ 91053 w 279703"/>
                <a:gd name="connsiteY19" fmla="*/ 523536 h 527115"/>
                <a:gd name="connsiteX20" fmla="*/ 258555 w 279703"/>
                <a:gd name="connsiteY20" fmla="*/ 501128 h 527115"/>
                <a:gd name="connsiteX21" fmla="*/ 239727 w 279703"/>
                <a:gd name="connsiteY21" fmla="*/ 447036 h 527115"/>
                <a:gd name="connsiteX22" fmla="*/ 144856 w 279703"/>
                <a:gd name="connsiteY22" fmla="*/ 475049 h 527115"/>
                <a:gd name="connsiteX23" fmla="*/ 67115 w 279703"/>
                <a:gd name="connsiteY23" fmla="*/ 408769 h 527115"/>
                <a:gd name="connsiteX24" fmla="*/ 120514 w 279703"/>
                <a:gd name="connsiteY24" fmla="*/ 375385 h 527115"/>
                <a:gd name="connsiteX25" fmla="*/ 149905 w 279703"/>
                <a:gd name="connsiteY25" fmla="*/ 371150 h 527115"/>
                <a:gd name="connsiteX26" fmla="*/ 278104 w 279703"/>
                <a:gd name="connsiteY26" fmla="*/ 291298 h 527115"/>
                <a:gd name="connsiteX27" fmla="*/ 242329 w 279703"/>
                <a:gd name="connsiteY27" fmla="*/ 202597 h 527115"/>
                <a:gd name="connsiteX28" fmla="*/ 223203 w 279703"/>
                <a:gd name="connsiteY28" fmla="*/ 188959 h 527115"/>
                <a:gd name="connsiteX29" fmla="*/ 247803 w 279703"/>
                <a:gd name="connsiteY29" fmla="*/ 175827 h 527115"/>
                <a:gd name="connsiteX30" fmla="*/ 268589 w 279703"/>
                <a:gd name="connsiteY30" fmla="*/ 84559 h 527115"/>
                <a:gd name="connsiteX0" fmla="*/ 174760 w 283142"/>
                <a:gd name="connsiteY0" fmla="*/ 208185 h 527115"/>
                <a:gd name="connsiteX1" fmla="*/ 225982 w 283142"/>
                <a:gd name="connsiteY1" fmla="*/ 249637 h 527115"/>
                <a:gd name="connsiteX2" fmla="*/ 164684 w 283142"/>
                <a:gd name="connsiteY2" fmla="*/ 316000 h 527115"/>
                <a:gd name="connsiteX3" fmla="*/ 55002 w 283142"/>
                <a:gd name="connsiteY3" fmla="*/ 272507 h 527115"/>
                <a:gd name="connsiteX4" fmla="*/ 130373 w 283142"/>
                <a:gd name="connsiteY4" fmla="*/ 208033 h 527115"/>
                <a:gd name="connsiteX5" fmla="*/ 174760 w 283142"/>
                <a:gd name="connsiteY5" fmla="*/ 208185 h 527115"/>
                <a:gd name="connsiteX6" fmla="*/ 272028 w 283142"/>
                <a:gd name="connsiteY6" fmla="*/ 84559 h 527115"/>
                <a:gd name="connsiteX7" fmla="*/ 161620 w 283142"/>
                <a:gd name="connsiteY7" fmla="*/ 1183 h 527115"/>
                <a:gd name="connsiteX8" fmla="*/ 33013 w 283142"/>
                <a:gd name="connsiteY8" fmla="*/ 26248 h 527115"/>
                <a:gd name="connsiteX9" fmla="*/ 53402 w 283142"/>
                <a:gd name="connsiteY9" fmla="*/ 78744 h 527115"/>
                <a:gd name="connsiteX10" fmla="*/ 143369 w 283142"/>
                <a:gd name="connsiteY10" fmla="*/ 51098 h 527115"/>
                <a:gd name="connsiteX11" fmla="*/ 211572 w 283142"/>
                <a:gd name="connsiteY11" fmla="*/ 119887 h 527115"/>
                <a:gd name="connsiteX12" fmla="*/ 164182 w 283142"/>
                <a:gd name="connsiteY12" fmla="*/ 146078 h 527115"/>
                <a:gd name="connsiteX13" fmla="*/ 163424 w 283142"/>
                <a:gd name="connsiteY13" fmla="*/ 146254 h 527115"/>
                <a:gd name="connsiteX14" fmla="*/ 162167 w 283142"/>
                <a:gd name="connsiteY14" fmla="*/ 145387 h 527115"/>
                <a:gd name="connsiteX15" fmla="*/ 84009 w 283142"/>
                <a:gd name="connsiteY15" fmla="*/ 157342 h 527115"/>
                <a:gd name="connsiteX16" fmla="*/ 0 w 283142"/>
                <a:gd name="connsiteY16" fmla="*/ 259792 h 527115"/>
                <a:gd name="connsiteX17" fmla="*/ 56415 w 283142"/>
                <a:gd name="connsiteY17" fmla="*/ 334562 h 527115"/>
                <a:gd name="connsiteX18" fmla="*/ 5358 w 283142"/>
                <a:gd name="connsiteY18" fmla="*/ 428755 h 527115"/>
                <a:gd name="connsiteX19" fmla="*/ 94492 w 283142"/>
                <a:gd name="connsiteY19" fmla="*/ 523536 h 527115"/>
                <a:gd name="connsiteX20" fmla="*/ 261994 w 283142"/>
                <a:gd name="connsiteY20" fmla="*/ 501128 h 527115"/>
                <a:gd name="connsiteX21" fmla="*/ 243166 w 283142"/>
                <a:gd name="connsiteY21" fmla="*/ 447036 h 527115"/>
                <a:gd name="connsiteX22" fmla="*/ 148295 w 283142"/>
                <a:gd name="connsiteY22" fmla="*/ 475049 h 527115"/>
                <a:gd name="connsiteX23" fmla="*/ 70554 w 283142"/>
                <a:gd name="connsiteY23" fmla="*/ 408769 h 527115"/>
                <a:gd name="connsiteX24" fmla="*/ 123953 w 283142"/>
                <a:gd name="connsiteY24" fmla="*/ 375385 h 527115"/>
                <a:gd name="connsiteX25" fmla="*/ 153344 w 283142"/>
                <a:gd name="connsiteY25" fmla="*/ 371150 h 527115"/>
                <a:gd name="connsiteX26" fmla="*/ 281543 w 283142"/>
                <a:gd name="connsiteY26" fmla="*/ 291298 h 527115"/>
                <a:gd name="connsiteX27" fmla="*/ 245768 w 283142"/>
                <a:gd name="connsiteY27" fmla="*/ 202597 h 527115"/>
                <a:gd name="connsiteX28" fmla="*/ 226642 w 283142"/>
                <a:gd name="connsiteY28" fmla="*/ 188959 h 527115"/>
                <a:gd name="connsiteX29" fmla="*/ 251242 w 283142"/>
                <a:gd name="connsiteY29" fmla="*/ 175827 h 527115"/>
                <a:gd name="connsiteX30" fmla="*/ 272028 w 283142"/>
                <a:gd name="connsiteY30" fmla="*/ 84559 h 527115"/>
                <a:gd name="connsiteX0" fmla="*/ 174785 w 283167"/>
                <a:gd name="connsiteY0" fmla="*/ 208185 h 527115"/>
                <a:gd name="connsiteX1" fmla="*/ 226007 w 283167"/>
                <a:gd name="connsiteY1" fmla="*/ 249637 h 527115"/>
                <a:gd name="connsiteX2" fmla="*/ 164709 w 283167"/>
                <a:gd name="connsiteY2" fmla="*/ 316000 h 527115"/>
                <a:gd name="connsiteX3" fmla="*/ 55027 w 283167"/>
                <a:gd name="connsiteY3" fmla="*/ 272507 h 527115"/>
                <a:gd name="connsiteX4" fmla="*/ 130398 w 283167"/>
                <a:gd name="connsiteY4" fmla="*/ 208033 h 527115"/>
                <a:gd name="connsiteX5" fmla="*/ 174785 w 283167"/>
                <a:gd name="connsiteY5" fmla="*/ 208185 h 527115"/>
                <a:gd name="connsiteX6" fmla="*/ 272053 w 283167"/>
                <a:gd name="connsiteY6" fmla="*/ 84559 h 527115"/>
                <a:gd name="connsiteX7" fmla="*/ 161645 w 283167"/>
                <a:gd name="connsiteY7" fmla="*/ 1183 h 527115"/>
                <a:gd name="connsiteX8" fmla="*/ 33038 w 283167"/>
                <a:gd name="connsiteY8" fmla="*/ 26248 h 527115"/>
                <a:gd name="connsiteX9" fmla="*/ 53427 w 283167"/>
                <a:gd name="connsiteY9" fmla="*/ 78744 h 527115"/>
                <a:gd name="connsiteX10" fmla="*/ 143394 w 283167"/>
                <a:gd name="connsiteY10" fmla="*/ 51098 h 527115"/>
                <a:gd name="connsiteX11" fmla="*/ 211597 w 283167"/>
                <a:gd name="connsiteY11" fmla="*/ 119887 h 527115"/>
                <a:gd name="connsiteX12" fmla="*/ 164207 w 283167"/>
                <a:gd name="connsiteY12" fmla="*/ 146078 h 527115"/>
                <a:gd name="connsiteX13" fmla="*/ 163449 w 283167"/>
                <a:gd name="connsiteY13" fmla="*/ 146254 h 527115"/>
                <a:gd name="connsiteX14" fmla="*/ 162192 w 283167"/>
                <a:gd name="connsiteY14" fmla="*/ 145387 h 527115"/>
                <a:gd name="connsiteX15" fmla="*/ 84034 w 283167"/>
                <a:gd name="connsiteY15" fmla="*/ 157342 h 527115"/>
                <a:gd name="connsiteX16" fmla="*/ 25 w 283167"/>
                <a:gd name="connsiteY16" fmla="*/ 259792 h 527115"/>
                <a:gd name="connsiteX17" fmla="*/ 56440 w 283167"/>
                <a:gd name="connsiteY17" fmla="*/ 334562 h 527115"/>
                <a:gd name="connsiteX18" fmla="*/ 5383 w 283167"/>
                <a:gd name="connsiteY18" fmla="*/ 428755 h 527115"/>
                <a:gd name="connsiteX19" fmla="*/ 94517 w 283167"/>
                <a:gd name="connsiteY19" fmla="*/ 523536 h 527115"/>
                <a:gd name="connsiteX20" fmla="*/ 262019 w 283167"/>
                <a:gd name="connsiteY20" fmla="*/ 501128 h 527115"/>
                <a:gd name="connsiteX21" fmla="*/ 243191 w 283167"/>
                <a:gd name="connsiteY21" fmla="*/ 447036 h 527115"/>
                <a:gd name="connsiteX22" fmla="*/ 148320 w 283167"/>
                <a:gd name="connsiteY22" fmla="*/ 475049 h 527115"/>
                <a:gd name="connsiteX23" fmla="*/ 70579 w 283167"/>
                <a:gd name="connsiteY23" fmla="*/ 408769 h 527115"/>
                <a:gd name="connsiteX24" fmla="*/ 123978 w 283167"/>
                <a:gd name="connsiteY24" fmla="*/ 375385 h 527115"/>
                <a:gd name="connsiteX25" fmla="*/ 153369 w 283167"/>
                <a:gd name="connsiteY25" fmla="*/ 371150 h 527115"/>
                <a:gd name="connsiteX26" fmla="*/ 281568 w 283167"/>
                <a:gd name="connsiteY26" fmla="*/ 291298 h 527115"/>
                <a:gd name="connsiteX27" fmla="*/ 245793 w 283167"/>
                <a:gd name="connsiteY27" fmla="*/ 202597 h 527115"/>
                <a:gd name="connsiteX28" fmla="*/ 226667 w 283167"/>
                <a:gd name="connsiteY28" fmla="*/ 188959 h 527115"/>
                <a:gd name="connsiteX29" fmla="*/ 251267 w 283167"/>
                <a:gd name="connsiteY29" fmla="*/ 175827 h 527115"/>
                <a:gd name="connsiteX30" fmla="*/ 272053 w 283167"/>
                <a:gd name="connsiteY30" fmla="*/ 84559 h 527115"/>
                <a:gd name="connsiteX0" fmla="*/ 174805 w 283187"/>
                <a:gd name="connsiteY0" fmla="*/ 208185 h 527115"/>
                <a:gd name="connsiteX1" fmla="*/ 226027 w 283187"/>
                <a:gd name="connsiteY1" fmla="*/ 249637 h 527115"/>
                <a:gd name="connsiteX2" fmla="*/ 164729 w 283187"/>
                <a:gd name="connsiteY2" fmla="*/ 316000 h 527115"/>
                <a:gd name="connsiteX3" fmla="*/ 55047 w 283187"/>
                <a:gd name="connsiteY3" fmla="*/ 272507 h 527115"/>
                <a:gd name="connsiteX4" fmla="*/ 130418 w 283187"/>
                <a:gd name="connsiteY4" fmla="*/ 208033 h 527115"/>
                <a:gd name="connsiteX5" fmla="*/ 174805 w 283187"/>
                <a:gd name="connsiteY5" fmla="*/ 208185 h 527115"/>
                <a:gd name="connsiteX6" fmla="*/ 272073 w 283187"/>
                <a:gd name="connsiteY6" fmla="*/ 84559 h 527115"/>
                <a:gd name="connsiteX7" fmla="*/ 161665 w 283187"/>
                <a:gd name="connsiteY7" fmla="*/ 1183 h 527115"/>
                <a:gd name="connsiteX8" fmla="*/ 33058 w 283187"/>
                <a:gd name="connsiteY8" fmla="*/ 26248 h 527115"/>
                <a:gd name="connsiteX9" fmla="*/ 53447 w 283187"/>
                <a:gd name="connsiteY9" fmla="*/ 78744 h 527115"/>
                <a:gd name="connsiteX10" fmla="*/ 143414 w 283187"/>
                <a:gd name="connsiteY10" fmla="*/ 51098 h 527115"/>
                <a:gd name="connsiteX11" fmla="*/ 211617 w 283187"/>
                <a:gd name="connsiteY11" fmla="*/ 119887 h 527115"/>
                <a:gd name="connsiteX12" fmla="*/ 164227 w 283187"/>
                <a:gd name="connsiteY12" fmla="*/ 146078 h 527115"/>
                <a:gd name="connsiteX13" fmla="*/ 163469 w 283187"/>
                <a:gd name="connsiteY13" fmla="*/ 146254 h 527115"/>
                <a:gd name="connsiteX14" fmla="*/ 162212 w 283187"/>
                <a:gd name="connsiteY14" fmla="*/ 145387 h 527115"/>
                <a:gd name="connsiteX15" fmla="*/ 84054 w 283187"/>
                <a:gd name="connsiteY15" fmla="*/ 157342 h 527115"/>
                <a:gd name="connsiteX16" fmla="*/ 45 w 283187"/>
                <a:gd name="connsiteY16" fmla="*/ 259792 h 527115"/>
                <a:gd name="connsiteX17" fmla="*/ 56460 w 283187"/>
                <a:gd name="connsiteY17" fmla="*/ 334562 h 527115"/>
                <a:gd name="connsiteX18" fmla="*/ 5403 w 283187"/>
                <a:gd name="connsiteY18" fmla="*/ 428755 h 527115"/>
                <a:gd name="connsiteX19" fmla="*/ 94537 w 283187"/>
                <a:gd name="connsiteY19" fmla="*/ 523536 h 527115"/>
                <a:gd name="connsiteX20" fmla="*/ 262039 w 283187"/>
                <a:gd name="connsiteY20" fmla="*/ 501128 h 527115"/>
                <a:gd name="connsiteX21" fmla="*/ 243211 w 283187"/>
                <a:gd name="connsiteY21" fmla="*/ 447036 h 527115"/>
                <a:gd name="connsiteX22" fmla="*/ 148340 w 283187"/>
                <a:gd name="connsiteY22" fmla="*/ 475049 h 527115"/>
                <a:gd name="connsiteX23" fmla="*/ 70599 w 283187"/>
                <a:gd name="connsiteY23" fmla="*/ 408769 h 527115"/>
                <a:gd name="connsiteX24" fmla="*/ 123998 w 283187"/>
                <a:gd name="connsiteY24" fmla="*/ 375385 h 527115"/>
                <a:gd name="connsiteX25" fmla="*/ 153389 w 283187"/>
                <a:gd name="connsiteY25" fmla="*/ 371150 h 527115"/>
                <a:gd name="connsiteX26" fmla="*/ 281588 w 283187"/>
                <a:gd name="connsiteY26" fmla="*/ 291298 h 527115"/>
                <a:gd name="connsiteX27" fmla="*/ 245813 w 283187"/>
                <a:gd name="connsiteY27" fmla="*/ 202597 h 527115"/>
                <a:gd name="connsiteX28" fmla="*/ 226687 w 283187"/>
                <a:gd name="connsiteY28" fmla="*/ 188959 h 527115"/>
                <a:gd name="connsiteX29" fmla="*/ 251287 w 283187"/>
                <a:gd name="connsiteY29" fmla="*/ 175827 h 527115"/>
                <a:gd name="connsiteX30" fmla="*/ 272073 w 283187"/>
                <a:gd name="connsiteY30" fmla="*/ 84559 h 527115"/>
                <a:gd name="connsiteX0" fmla="*/ 173598 w 281980"/>
                <a:gd name="connsiteY0" fmla="*/ 208185 h 527115"/>
                <a:gd name="connsiteX1" fmla="*/ 224820 w 281980"/>
                <a:gd name="connsiteY1" fmla="*/ 24963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42207 w 281980"/>
                <a:gd name="connsiteY10" fmla="*/ 51098 h 527115"/>
                <a:gd name="connsiteX11" fmla="*/ 210410 w 281980"/>
                <a:gd name="connsiteY11" fmla="*/ 119887 h 527115"/>
                <a:gd name="connsiteX12" fmla="*/ 163020 w 281980"/>
                <a:gd name="connsiteY12" fmla="*/ 146078 h 527115"/>
                <a:gd name="connsiteX13" fmla="*/ 162262 w 281980"/>
                <a:gd name="connsiteY13" fmla="*/ 146254 h 527115"/>
                <a:gd name="connsiteX14" fmla="*/ 161005 w 281980"/>
                <a:gd name="connsiteY14" fmla="*/ 145387 h 527115"/>
                <a:gd name="connsiteX15" fmla="*/ 82847 w 281980"/>
                <a:gd name="connsiteY15" fmla="*/ 157342 h 527115"/>
                <a:gd name="connsiteX16" fmla="*/ 47 w 281980"/>
                <a:gd name="connsiteY16" fmla="*/ 254546 h 527115"/>
                <a:gd name="connsiteX17" fmla="*/ 55253 w 281980"/>
                <a:gd name="connsiteY17" fmla="*/ 334562 h 527115"/>
                <a:gd name="connsiteX18" fmla="*/ 4196 w 281980"/>
                <a:gd name="connsiteY18" fmla="*/ 428755 h 527115"/>
                <a:gd name="connsiteX19" fmla="*/ 93330 w 281980"/>
                <a:gd name="connsiteY19" fmla="*/ 523536 h 527115"/>
                <a:gd name="connsiteX20" fmla="*/ 260832 w 281980"/>
                <a:gd name="connsiteY20" fmla="*/ 501128 h 527115"/>
                <a:gd name="connsiteX21" fmla="*/ 242004 w 281980"/>
                <a:gd name="connsiteY21" fmla="*/ 447036 h 527115"/>
                <a:gd name="connsiteX22" fmla="*/ 147133 w 281980"/>
                <a:gd name="connsiteY22" fmla="*/ 475049 h 527115"/>
                <a:gd name="connsiteX23" fmla="*/ 69392 w 281980"/>
                <a:gd name="connsiteY23" fmla="*/ 408769 h 527115"/>
                <a:gd name="connsiteX24" fmla="*/ 122791 w 281980"/>
                <a:gd name="connsiteY24" fmla="*/ 375385 h 527115"/>
                <a:gd name="connsiteX25" fmla="*/ 152182 w 281980"/>
                <a:gd name="connsiteY25" fmla="*/ 371150 h 527115"/>
                <a:gd name="connsiteX26" fmla="*/ 280381 w 281980"/>
                <a:gd name="connsiteY26" fmla="*/ 291298 h 527115"/>
                <a:gd name="connsiteX27" fmla="*/ 244606 w 281980"/>
                <a:gd name="connsiteY27" fmla="*/ 202597 h 527115"/>
                <a:gd name="connsiteX28" fmla="*/ 225480 w 281980"/>
                <a:gd name="connsiteY28" fmla="*/ 188959 h 527115"/>
                <a:gd name="connsiteX29" fmla="*/ 250080 w 281980"/>
                <a:gd name="connsiteY29" fmla="*/ 175827 h 527115"/>
                <a:gd name="connsiteX30" fmla="*/ 270866 w 281980"/>
                <a:gd name="connsiteY30" fmla="*/ 84559 h 527115"/>
                <a:gd name="connsiteX0" fmla="*/ 173598 w 281980"/>
                <a:gd name="connsiteY0" fmla="*/ 208185 h 527115"/>
                <a:gd name="connsiteX1" fmla="*/ 224820 w 281980"/>
                <a:gd name="connsiteY1" fmla="*/ 24963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42207 w 281980"/>
                <a:gd name="connsiteY10" fmla="*/ 51098 h 527115"/>
                <a:gd name="connsiteX11" fmla="*/ 210410 w 281980"/>
                <a:gd name="connsiteY11" fmla="*/ 119887 h 527115"/>
                <a:gd name="connsiteX12" fmla="*/ 163020 w 281980"/>
                <a:gd name="connsiteY12" fmla="*/ 146078 h 527115"/>
                <a:gd name="connsiteX13" fmla="*/ 162262 w 281980"/>
                <a:gd name="connsiteY13" fmla="*/ 146254 h 527115"/>
                <a:gd name="connsiteX14" fmla="*/ 161005 w 281980"/>
                <a:gd name="connsiteY14" fmla="*/ 145387 h 527115"/>
                <a:gd name="connsiteX15" fmla="*/ 82847 w 281980"/>
                <a:gd name="connsiteY15" fmla="*/ 157342 h 527115"/>
                <a:gd name="connsiteX16" fmla="*/ 47 w 281980"/>
                <a:gd name="connsiteY16" fmla="*/ 254546 h 527115"/>
                <a:gd name="connsiteX17" fmla="*/ 55253 w 281980"/>
                <a:gd name="connsiteY17" fmla="*/ 334562 h 527115"/>
                <a:gd name="connsiteX18" fmla="*/ 4196 w 281980"/>
                <a:gd name="connsiteY18" fmla="*/ 428755 h 527115"/>
                <a:gd name="connsiteX19" fmla="*/ 93330 w 281980"/>
                <a:gd name="connsiteY19" fmla="*/ 523536 h 527115"/>
                <a:gd name="connsiteX20" fmla="*/ 260832 w 281980"/>
                <a:gd name="connsiteY20" fmla="*/ 501128 h 527115"/>
                <a:gd name="connsiteX21" fmla="*/ 242004 w 281980"/>
                <a:gd name="connsiteY21" fmla="*/ 447036 h 527115"/>
                <a:gd name="connsiteX22" fmla="*/ 147133 w 281980"/>
                <a:gd name="connsiteY22" fmla="*/ 475049 h 527115"/>
                <a:gd name="connsiteX23" fmla="*/ 69392 w 281980"/>
                <a:gd name="connsiteY23" fmla="*/ 408769 h 527115"/>
                <a:gd name="connsiteX24" fmla="*/ 122791 w 281980"/>
                <a:gd name="connsiteY24" fmla="*/ 375385 h 527115"/>
                <a:gd name="connsiteX25" fmla="*/ 152182 w 281980"/>
                <a:gd name="connsiteY25" fmla="*/ 371150 h 527115"/>
                <a:gd name="connsiteX26" fmla="*/ 280381 w 281980"/>
                <a:gd name="connsiteY26" fmla="*/ 291298 h 527115"/>
                <a:gd name="connsiteX27" fmla="*/ 244606 w 281980"/>
                <a:gd name="connsiteY27" fmla="*/ 202597 h 527115"/>
                <a:gd name="connsiteX28" fmla="*/ 225480 w 281980"/>
                <a:gd name="connsiteY28" fmla="*/ 188959 h 527115"/>
                <a:gd name="connsiteX29" fmla="*/ 250080 w 281980"/>
                <a:gd name="connsiteY29" fmla="*/ 175827 h 527115"/>
                <a:gd name="connsiteX30" fmla="*/ 270866 w 281980"/>
                <a:gd name="connsiteY30" fmla="*/ 84559 h 527115"/>
                <a:gd name="connsiteX0" fmla="*/ 173598 w 281980"/>
                <a:gd name="connsiteY0" fmla="*/ 208185 h 527115"/>
                <a:gd name="connsiteX1" fmla="*/ 224820 w 281980"/>
                <a:gd name="connsiteY1" fmla="*/ 24963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42207 w 281980"/>
                <a:gd name="connsiteY10" fmla="*/ 51098 h 527115"/>
                <a:gd name="connsiteX11" fmla="*/ 210410 w 281980"/>
                <a:gd name="connsiteY11" fmla="*/ 119887 h 527115"/>
                <a:gd name="connsiteX12" fmla="*/ 163020 w 281980"/>
                <a:gd name="connsiteY12" fmla="*/ 146078 h 527115"/>
                <a:gd name="connsiteX13" fmla="*/ 162262 w 281980"/>
                <a:gd name="connsiteY13" fmla="*/ 146254 h 527115"/>
                <a:gd name="connsiteX14" fmla="*/ 161005 w 281980"/>
                <a:gd name="connsiteY14" fmla="*/ 145387 h 527115"/>
                <a:gd name="connsiteX15" fmla="*/ 82847 w 281980"/>
                <a:gd name="connsiteY15" fmla="*/ 157342 h 527115"/>
                <a:gd name="connsiteX16" fmla="*/ 47 w 281980"/>
                <a:gd name="connsiteY16" fmla="*/ 254546 h 527115"/>
                <a:gd name="connsiteX17" fmla="*/ 55253 w 281980"/>
                <a:gd name="connsiteY17" fmla="*/ 334562 h 527115"/>
                <a:gd name="connsiteX18" fmla="*/ 4196 w 281980"/>
                <a:gd name="connsiteY18" fmla="*/ 428755 h 527115"/>
                <a:gd name="connsiteX19" fmla="*/ 93330 w 281980"/>
                <a:gd name="connsiteY19" fmla="*/ 523536 h 527115"/>
                <a:gd name="connsiteX20" fmla="*/ 260832 w 281980"/>
                <a:gd name="connsiteY20" fmla="*/ 501128 h 527115"/>
                <a:gd name="connsiteX21" fmla="*/ 242004 w 281980"/>
                <a:gd name="connsiteY21" fmla="*/ 447036 h 527115"/>
                <a:gd name="connsiteX22" fmla="*/ 147133 w 281980"/>
                <a:gd name="connsiteY22" fmla="*/ 475049 h 527115"/>
                <a:gd name="connsiteX23" fmla="*/ 69392 w 281980"/>
                <a:gd name="connsiteY23" fmla="*/ 408769 h 527115"/>
                <a:gd name="connsiteX24" fmla="*/ 122791 w 281980"/>
                <a:gd name="connsiteY24" fmla="*/ 375385 h 527115"/>
                <a:gd name="connsiteX25" fmla="*/ 152182 w 281980"/>
                <a:gd name="connsiteY25" fmla="*/ 371150 h 527115"/>
                <a:gd name="connsiteX26" fmla="*/ 280381 w 281980"/>
                <a:gd name="connsiteY26" fmla="*/ 291298 h 527115"/>
                <a:gd name="connsiteX27" fmla="*/ 244606 w 281980"/>
                <a:gd name="connsiteY27" fmla="*/ 202597 h 527115"/>
                <a:gd name="connsiteX28" fmla="*/ 225480 w 281980"/>
                <a:gd name="connsiteY28" fmla="*/ 188959 h 527115"/>
                <a:gd name="connsiteX29" fmla="*/ 250080 w 281980"/>
                <a:gd name="connsiteY29" fmla="*/ 175827 h 527115"/>
                <a:gd name="connsiteX30" fmla="*/ 270866 w 281980"/>
                <a:gd name="connsiteY30" fmla="*/ 84559 h 527115"/>
                <a:gd name="connsiteX0" fmla="*/ 173598 w 281980"/>
                <a:gd name="connsiteY0" fmla="*/ 208185 h 527115"/>
                <a:gd name="connsiteX1" fmla="*/ 224820 w 281980"/>
                <a:gd name="connsiteY1" fmla="*/ 24963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42207 w 281980"/>
                <a:gd name="connsiteY10" fmla="*/ 51098 h 527115"/>
                <a:gd name="connsiteX11" fmla="*/ 210410 w 281980"/>
                <a:gd name="connsiteY11" fmla="*/ 119887 h 527115"/>
                <a:gd name="connsiteX12" fmla="*/ 163020 w 281980"/>
                <a:gd name="connsiteY12" fmla="*/ 146078 h 527115"/>
                <a:gd name="connsiteX13" fmla="*/ 162262 w 281980"/>
                <a:gd name="connsiteY13" fmla="*/ 146254 h 527115"/>
                <a:gd name="connsiteX14" fmla="*/ 161005 w 281980"/>
                <a:gd name="connsiteY14" fmla="*/ 145387 h 527115"/>
                <a:gd name="connsiteX15" fmla="*/ 88064 w 281980"/>
                <a:gd name="connsiteY15" fmla="*/ 156818 h 527115"/>
                <a:gd name="connsiteX16" fmla="*/ 47 w 281980"/>
                <a:gd name="connsiteY16" fmla="*/ 254546 h 527115"/>
                <a:gd name="connsiteX17" fmla="*/ 55253 w 281980"/>
                <a:gd name="connsiteY17" fmla="*/ 334562 h 527115"/>
                <a:gd name="connsiteX18" fmla="*/ 4196 w 281980"/>
                <a:gd name="connsiteY18" fmla="*/ 428755 h 527115"/>
                <a:gd name="connsiteX19" fmla="*/ 93330 w 281980"/>
                <a:gd name="connsiteY19" fmla="*/ 523536 h 527115"/>
                <a:gd name="connsiteX20" fmla="*/ 260832 w 281980"/>
                <a:gd name="connsiteY20" fmla="*/ 501128 h 527115"/>
                <a:gd name="connsiteX21" fmla="*/ 242004 w 281980"/>
                <a:gd name="connsiteY21" fmla="*/ 447036 h 527115"/>
                <a:gd name="connsiteX22" fmla="*/ 147133 w 281980"/>
                <a:gd name="connsiteY22" fmla="*/ 475049 h 527115"/>
                <a:gd name="connsiteX23" fmla="*/ 69392 w 281980"/>
                <a:gd name="connsiteY23" fmla="*/ 408769 h 527115"/>
                <a:gd name="connsiteX24" fmla="*/ 122791 w 281980"/>
                <a:gd name="connsiteY24" fmla="*/ 375385 h 527115"/>
                <a:gd name="connsiteX25" fmla="*/ 152182 w 281980"/>
                <a:gd name="connsiteY25" fmla="*/ 371150 h 527115"/>
                <a:gd name="connsiteX26" fmla="*/ 280381 w 281980"/>
                <a:gd name="connsiteY26" fmla="*/ 291298 h 527115"/>
                <a:gd name="connsiteX27" fmla="*/ 244606 w 281980"/>
                <a:gd name="connsiteY27" fmla="*/ 202597 h 527115"/>
                <a:gd name="connsiteX28" fmla="*/ 225480 w 281980"/>
                <a:gd name="connsiteY28" fmla="*/ 188959 h 527115"/>
                <a:gd name="connsiteX29" fmla="*/ 250080 w 281980"/>
                <a:gd name="connsiteY29" fmla="*/ 175827 h 527115"/>
                <a:gd name="connsiteX30" fmla="*/ 270866 w 281980"/>
                <a:gd name="connsiteY30" fmla="*/ 84559 h 527115"/>
                <a:gd name="connsiteX0" fmla="*/ 173598 w 281980"/>
                <a:gd name="connsiteY0" fmla="*/ 208185 h 527115"/>
                <a:gd name="connsiteX1" fmla="*/ 224820 w 281980"/>
                <a:gd name="connsiteY1" fmla="*/ 24963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42207 w 281980"/>
                <a:gd name="connsiteY10" fmla="*/ 51098 h 527115"/>
                <a:gd name="connsiteX11" fmla="*/ 210410 w 281980"/>
                <a:gd name="connsiteY11" fmla="*/ 119887 h 527115"/>
                <a:gd name="connsiteX12" fmla="*/ 163020 w 281980"/>
                <a:gd name="connsiteY12" fmla="*/ 146078 h 527115"/>
                <a:gd name="connsiteX13" fmla="*/ 162262 w 281980"/>
                <a:gd name="connsiteY13" fmla="*/ 146254 h 527115"/>
                <a:gd name="connsiteX14" fmla="*/ 161005 w 281980"/>
                <a:gd name="connsiteY14" fmla="*/ 145387 h 527115"/>
                <a:gd name="connsiteX15" fmla="*/ 88064 w 281980"/>
                <a:gd name="connsiteY15" fmla="*/ 156818 h 527115"/>
                <a:gd name="connsiteX16" fmla="*/ 47 w 281980"/>
                <a:gd name="connsiteY16" fmla="*/ 254546 h 527115"/>
                <a:gd name="connsiteX17" fmla="*/ 55253 w 281980"/>
                <a:gd name="connsiteY17" fmla="*/ 334562 h 527115"/>
                <a:gd name="connsiteX18" fmla="*/ 4196 w 281980"/>
                <a:gd name="connsiteY18" fmla="*/ 428755 h 527115"/>
                <a:gd name="connsiteX19" fmla="*/ 93330 w 281980"/>
                <a:gd name="connsiteY19" fmla="*/ 523536 h 527115"/>
                <a:gd name="connsiteX20" fmla="*/ 260832 w 281980"/>
                <a:gd name="connsiteY20" fmla="*/ 501128 h 527115"/>
                <a:gd name="connsiteX21" fmla="*/ 242004 w 281980"/>
                <a:gd name="connsiteY21" fmla="*/ 447036 h 527115"/>
                <a:gd name="connsiteX22" fmla="*/ 147133 w 281980"/>
                <a:gd name="connsiteY22" fmla="*/ 475049 h 527115"/>
                <a:gd name="connsiteX23" fmla="*/ 69392 w 281980"/>
                <a:gd name="connsiteY23" fmla="*/ 408769 h 527115"/>
                <a:gd name="connsiteX24" fmla="*/ 122791 w 281980"/>
                <a:gd name="connsiteY24" fmla="*/ 375385 h 527115"/>
                <a:gd name="connsiteX25" fmla="*/ 152182 w 281980"/>
                <a:gd name="connsiteY25" fmla="*/ 371150 h 527115"/>
                <a:gd name="connsiteX26" fmla="*/ 280381 w 281980"/>
                <a:gd name="connsiteY26" fmla="*/ 291298 h 527115"/>
                <a:gd name="connsiteX27" fmla="*/ 244606 w 281980"/>
                <a:gd name="connsiteY27" fmla="*/ 202597 h 527115"/>
                <a:gd name="connsiteX28" fmla="*/ 225480 w 281980"/>
                <a:gd name="connsiteY28" fmla="*/ 188959 h 527115"/>
                <a:gd name="connsiteX29" fmla="*/ 250080 w 281980"/>
                <a:gd name="connsiteY29" fmla="*/ 175827 h 527115"/>
                <a:gd name="connsiteX30" fmla="*/ 270866 w 281980"/>
                <a:gd name="connsiteY30" fmla="*/ 84559 h 527115"/>
                <a:gd name="connsiteX0" fmla="*/ 173598 w 281980"/>
                <a:gd name="connsiteY0" fmla="*/ 208185 h 527115"/>
                <a:gd name="connsiteX1" fmla="*/ 224820 w 281980"/>
                <a:gd name="connsiteY1" fmla="*/ 24963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42207 w 281980"/>
                <a:gd name="connsiteY10" fmla="*/ 51098 h 527115"/>
                <a:gd name="connsiteX11" fmla="*/ 210410 w 281980"/>
                <a:gd name="connsiteY11" fmla="*/ 119887 h 527115"/>
                <a:gd name="connsiteX12" fmla="*/ 163020 w 281980"/>
                <a:gd name="connsiteY12" fmla="*/ 146078 h 527115"/>
                <a:gd name="connsiteX13" fmla="*/ 162262 w 281980"/>
                <a:gd name="connsiteY13" fmla="*/ 146254 h 527115"/>
                <a:gd name="connsiteX14" fmla="*/ 143142 w 281980"/>
                <a:gd name="connsiteY14" fmla="*/ 128149 h 527115"/>
                <a:gd name="connsiteX15" fmla="*/ 88064 w 281980"/>
                <a:gd name="connsiteY15" fmla="*/ 156818 h 527115"/>
                <a:gd name="connsiteX16" fmla="*/ 47 w 281980"/>
                <a:gd name="connsiteY16" fmla="*/ 254546 h 527115"/>
                <a:gd name="connsiteX17" fmla="*/ 55253 w 281980"/>
                <a:gd name="connsiteY17" fmla="*/ 334562 h 527115"/>
                <a:gd name="connsiteX18" fmla="*/ 4196 w 281980"/>
                <a:gd name="connsiteY18" fmla="*/ 428755 h 527115"/>
                <a:gd name="connsiteX19" fmla="*/ 93330 w 281980"/>
                <a:gd name="connsiteY19" fmla="*/ 523536 h 527115"/>
                <a:gd name="connsiteX20" fmla="*/ 260832 w 281980"/>
                <a:gd name="connsiteY20" fmla="*/ 501128 h 527115"/>
                <a:gd name="connsiteX21" fmla="*/ 242004 w 281980"/>
                <a:gd name="connsiteY21" fmla="*/ 447036 h 527115"/>
                <a:gd name="connsiteX22" fmla="*/ 147133 w 281980"/>
                <a:gd name="connsiteY22" fmla="*/ 475049 h 527115"/>
                <a:gd name="connsiteX23" fmla="*/ 69392 w 281980"/>
                <a:gd name="connsiteY23" fmla="*/ 408769 h 527115"/>
                <a:gd name="connsiteX24" fmla="*/ 122791 w 281980"/>
                <a:gd name="connsiteY24" fmla="*/ 375385 h 527115"/>
                <a:gd name="connsiteX25" fmla="*/ 152182 w 281980"/>
                <a:gd name="connsiteY25" fmla="*/ 371150 h 527115"/>
                <a:gd name="connsiteX26" fmla="*/ 280381 w 281980"/>
                <a:gd name="connsiteY26" fmla="*/ 291298 h 527115"/>
                <a:gd name="connsiteX27" fmla="*/ 244606 w 281980"/>
                <a:gd name="connsiteY27" fmla="*/ 202597 h 527115"/>
                <a:gd name="connsiteX28" fmla="*/ 225480 w 281980"/>
                <a:gd name="connsiteY28" fmla="*/ 188959 h 527115"/>
                <a:gd name="connsiteX29" fmla="*/ 250080 w 281980"/>
                <a:gd name="connsiteY29" fmla="*/ 175827 h 527115"/>
                <a:gd name="connsiteX30" fmla="*/ 270866 w 281980"/>
                <a:gd name="connsiteY30" fmla="*/ 84559 h 527115"/>
                <a:gd name="connsiteX0" fmla="*/ 173598 w 281980"/>
                <a:gd name="connsiteY0" fmla="*/ 208185 h 527115"/>
                <a:gd name="connsiteX1" fmla="*/ 224820 w 281980"/>
                <a:gd name="connsiteY1" fmla="*/ 24963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42207 w 281980"/>
                <a:gd name="connsiteY10" fmla="*/ 51098 h 527115"/>
                <a:gd name="connsiteX11" fmla="*/ 210410 w 281980"/>
                <a:gd name="connsiteY11" fmla="*/ 119887 h 527115"/>
                <a:gd name="connsiteX12" fmla="*/ 163020 w 281980"/>
                <a:gd name="connsiteY12" fmla="*/ 146078 h 527115"/>
                <a:gd name="connsiteX13" fmla="*/ 162262 w 281980"/>
                <a:gd name="connsiteY13" fmla="*/ 146254 h 527115"/>
                <a:gd name="connsiteX14" fmla="*/ 88064 w 281980"/>
                <a:gd name="connsiteY14" fmla="*/ 156818 h 527115"/>
                <a:gd name="connsiteX15" fmla="*/ 47 w 281980"/>
                <a:gd name="connsiteY15" fmla="*/ 254546 h 527115"/>
                <a:gd name="connsiteX16" fmla="*/ 55253 w 281980"/>
                <a:gd name="connsiteY16" fmla="*/ 334562 h 527115"/>
                <a:gd name="connsiteX17" fmla="*/ 4196 w 281980"/>
                <a:gd name="connsiteY17" fmla="*/ 428755 h 527115"/>
                <a:gd name="connsiteX18" fmla="*/ 93330 w 281980"/>
                <a:gd name="connsiteY18" fmla="*/ 523536 h 527115"/>
                <a:gd name="connsiteX19" fmla="*/ 260832 w 281980"/>
                <a:gd name="connsiteY19" fmla="*/ 501128 h 527115"/>
                <a:gd name="connsiteX20" fmla="*/ 242004 w 281980"/>
                <a:gd name="connsiteY20" fmla="*/ 447036 h 527115"/>
                <a:gd name="connsiteX21" fmla="*/ 147133 w 281980"/>
                <a:gd name="connsiteY21" fmla="*/ 475049 h 527115"/>
                <a:gd name="connsiteX22" fmla="*/ 69392 w 281980"/>
                <a:gd name="connsiteY22" fmla="*/ 408769 h 527115"/>
                <a:gd name="connsiteX23" fmla="*/ 122791 w 281980"/>
                <a:gd name="connsiteY23" fmla="*/ 375385 h 527115"/>
                <a:gd name="connsiteX24" fmla="*/ 152182 w 281980"/>
                <a:gd name="connsiteY24" fmla="*/ 371150 h 527115"/>
                <a:gd name="connsiteX25" fmla="*/ 280381 w 281980"/>
                <a:gd name="connsiteY25" fmla="*/ 291298 h 527115"/>
                <a:gd name="connsiteX26" fmla="*/ 244606 w 281980"/>
                <a:gd name="connsiteY26" fmla="*/ 202597 h 527115"/>
                <a:gd name="connsiteX27" fmla="*/ 225480 w 281980"/>
                <a:gd name="connsiteY27" fmla="*/ 188959 h 527115"/>
                <a:gd name="connsiteX28" fmla="*/ 250080 w 281980"/>
                <a:gd name="connsiteY28" fmla="*/ 175827 h 527115"/>
                <a:gd name="connsiteX29" fmla="*/ 270866 w 281980"/>
                <a:gd name="connsiteY29" fmla="*/ 84559 h 527115"/>
                <a:gd name="connsiteX0" fmla="*/ 173598 w 281980"/>
                <a:gd name="connsiteY0" fmla="*/ 208185 h 527115"/>
                <a:gd name="connsiteX1" fmla="*/ 224820 w 281980"/>
                <a:gd name="connsiteY1" fmla="*/ 24963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42207 w 281980"/>
                <a:gd name="connsiteY10" fmla="*/ 51098 h 527115"/>
                <a:gd name="connsiteX11" fmla="*/ 210410 w 281980"/>
                <a:gd name="connsiteY11" fmla="*/ 119887 h 527115"/>
                <a:gd name="connsiteX12" fmla="*/ 163020 w 281980"/>
                <a:gd name="connsiteY12" fmla="*/ 146078 h 527115"/>
                <a:gd name="connsiteX13" fmla="*/ 165526 w 281980"/>
                <a:gd name="connsiteY13" fmla="*/ 149147 h 527115"/>
                <a:gd name="connsiteX14" fmla="*/ 88064 w 281980"/>
                <a:gd name="connsiteY14" fmla="*/ 156818 h 527115"/>
                <a:gd name="connsiteX15" fmla="*/ 47 w 281980"/>
                <a:gd name="connsiteY15" fmla="*/ 254546 h 527115"/>
                <a:gd name="connsiteX16" fmla="*/ 55253 w 281980"/>
                <a:gd name="connsiteY16" fmla="*/ 334562 h 527115"/>
                <a:gd name="connsiteX17" fmla="*/ 4196 w 281980"/>
                <a:gd name="connsiteY17" fmla="*/ 428755 h 527115"/>
                <a:gd name="connsiteX18" fmla="*/ 93330 w 281980"/>
                <a:gd name="connsiteY18" fmla="*/ 523536 h 527115"/>
                <a:gd name="connsiteX19" fmla="*/ 260832 w 281980"/>
                <a:gd name="connsiteY19" fmla="*/ 501128 h 527115"/>
                <a:gd name="connsiteX20" fmla="*/ 242004 w 281980"/>
                <a:gd name="connsiteY20" fmla="*/ 447036 h 527115"/>
                <a:gd name="connsiteX21" fmla="*/ 147133 w 281980"/>
                <a:gd name="connsiteY21" fmla="*/ 475049 h 527115"/>
                <a:gd name="connsiteX22" fmla="*/ 69392 w 281980"/>
                <a:gd name="connsiteY22" fmla="*/ 408769 h 527115"/>
                <a:gd name="connsiteX23" fmla="*/ 122791 w 281980"/>
                <a:gd name="connsiteY23" fmla="*/ 375385 h 527115"/>
                <a:gd name="connsiteX24" fmla="*/ 152182 w 281980"/>
                <a:gd name="connsiteY24" fmla="*/ 371150 h 527115"/>
                <a:gd name="connsiteX25" fmla="*/ 280381 w 281980"/>
                <a:gd name="connsiteY25" fmla="*/ 291298 h 527115"/>
                <a:gd name="connsiteX26" fmla="*/ 244606 w 281980"/>
                <a:gd name="connsiteY26" fmla="*/ 202597 h 527115"/>
                <a:gd name="connsiteX27" fmla="*/ 225480 w 281980"/>
                <a:gd name="connsiteY27" fmla="*/ 188959 h 527115"/>
                <a:gd name="connsiteX28" fmla="*/ 250080 w 281980"/>
                <a:gd name="connsiteY28" fmla="*/ 175827 h 527115"/>
                <a:gd name="connsiteX29" fmla="*/ 270866 w 281980"/>
                <a:gd name="connsiteY29" fmla="*/ 84559 h 527115"/>
                <a:gd name="connsiteX0" fmla="*/ 173598 w 281980"/>
                <a:gd name="connsiteY0" fmla="*/ 208185 h 527115"/>
                <a:gd name="connsiteX1" fmla="*/ 224820 w 281980"/>
                <a:gd name="connsiteY1" fmla="*/ 24963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42207 w 281980"/>
                <a:gd name="connsiteY10" fmla="*/ 51098 h 527115"/>
                <a:gd name="connsiteX11" fmla="*/ 210410 w 281980"/>
                <a:gd name="connsiteY11" fmla="*/ 119887 h 527115"/>
                <a:gd name="connsiteX12" fmla="*/ 163020 w 281980"/>
                <a:gd name="connsiteY12" fmla="*/ 146078 h 527115"/>
                <a:gd name="connsiteX13" fmla="*/ 166984 w 281980"/>
                <a:gd name="connsiteY13" fmla="*/ 127039 h 527115"/>
                <a:gd name="connsiteX14" fmla="*/ 88064 w 281980"/>
                <a:gd name="connsiteY14" fmla="*/ 156818 h 527115"/>
                <a:gd name="connsiteX15" fmla="*/ 47 w 281980"/>
                <a:gd name="connsiteY15" fmla="*/ 254546 h 527115"/>
                <a:gd name="connsiteX16" fmla="*/ 55253 w 281980"/>
                <a:gd name="connsiteY16" fmla="*/ 334562 h 527115"/>
                <a:gd name="connsiteX17" fmla="*/ 4196 w 281980"/>
                <a:gd name="connsiteY17" fmla="*/ 428755 h 527115"/>
                <a:gd name="connsiteX18" fmla="*/ 93330 w 281980"/>
                <a:gd name="connsiteY18" fmla="*/ 523536 h 527115"/>
                <a:gd name="connsiteX19" fmla="*/ 260832 w 281980"/>
                <a:gd name="connsiteY19" fmla="*/ 501128 h 527115"/>
                <a:gd name="connsiteX20" fmla="*/ 242004 w 281980"/>
                <a:gd name="connsiteY20" fmla="*/ 447036 h 527115"/>
                <a:gd name="connsiteX21" fmla="*/ 147133 w 281980"/>
                <a:gd name="connsiteY21" fmla="*/ 475049 h 527115"/>
                <a:gd name="connsiteX22" fmla="*/ 69392 w 281980"/>
                <a:gd name="connsiteY22" fmla="*/ 408769 h 527115"/>
                <a:gd name="connsiteX23" fmla="*/ 122791 w 281980"/>
                <a:gd name="connsiteY23" fmla="*/ 375385 h 527115"/>
                <a:gd name="connsiteX24" fmla="*/ 152182 w 281980"/>
                <a:gd name="connsiteY24" fmla="*/ 371150 h 527115"/>
                <a:gd name="connsiteX25" fmla="*/ 280381 w 281980"/>
                <a:gd name="connsiteY25" fmla="*/ 291298 h 527115"/>
                <a:gd name="connsiteX26" fmla="*/ 244606 w 281980"/>
                <a:gd name="connsiteY26" fmla="*/ 202597 h 527115"/>
                <a:gd name="connsiteX27" fmla="*/ 225480 w 281980"/>
                <a:gd name="connsiteY27" fmla="*/ 188959 h 527115"/>
                <a:gd name="connsiteX28" fmla="*/ 250080 w 281980"/>
                <a:gd name="connsiteY28" fmla="*/ 175827 h 527115"/>
                <a:gd name="connsiteX29" fmla="*/ 270866 w 281980"/>
                <a:gd name="connsiteY29" fmla="*/ 84559 h 527115"/>
                <a:gd name="connsiteX0" fmla="*/ 173598 w 281980"/>
                <a:gd name="connsiteY0" fmla="*/ 208185 h 527115"/>
                <a:gd name="connsiteX1" fmla="*/ 224820 w 281980"/>
                <a:gd name="connsiteY1" fmla="*/ 24963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42207 w 281980"/>
                <a:gd name="connsiteY10" fmla="*/ 51098 h 527115"/>
                <a:gd name="connsiteX11" fmla="*/ 210410 w 281980"/>
                <a:gd name="connsiteY11" fmla="*/ 119887 h 527115"/>
                <a:gd name="connsiteX12" fmla="*/ 163020 w 281980"/>
                <a:gd name="connsiteY12" fmla="*/ 146078 h 527115"/>
                <a:gd name="connsiteX13" fmla="*/ 88064 w 281980"/>
                <a:gd name="connsiteY13" fmla="*/ 156818 h 527115"/>
                <a:gd name="connsiteX14" fmla="*/ 47 w 281980"/>
                <a:gd name="connsiteY14" fmla="*/ 254546 h 527115"/>
                <a:gd name="connsiteX15" fmla="*/ 55253 w 281980"/>
                <a:gd name="connsiteY15" fmla="*/ 334562 h 527115"/>
                <a:gd name="connsiteX16" fmla="*/ 4196 w 281980"/>
                <a:gd name="connsiteY16" fmla="*/ 428755 h 527115"/>
                <a:gd name="connsiteX17" fmla="*/ 93330 w 281980"/>
                <a:gd name="connsiteY17" fmla="*/ 523536 h 527115"/>
                <a:gd name="connsiteX18" fmla="*/ 260832 w 281980"/>
                <a:gd name="connsiteY18" fmla="*/ 501128 h 527115"/>
                <a:gd name="connsiteX19" fmla="*/ 242004 w 281980"/>
                <a:gd name="connsiteY19" fmla="*/ 447036 h 527115"/>
                <a:gd name="connsiteX20" fmla="*/ 147133 w 281980"/>
                <a:gd name="connsiteY20" fmla="*/ 475049 h 527115"/>
                <a:gd name="connsiteX21" fmla="*/ 69392 w 281980"/>
                <a:gd name="connsiteY21" fmla="*/ 408769 h 527115"/>
                <a:gd name="connsiteX22" fmla="*/ 122791 w 281980"/>
                <a:gd name="connsiteY22" fmla="*/ 375385 h 527115"/>
                <a:gd name="connsiteX23" fmla="*/ 152182 w 281980"/>
                <a:gd name="connsiteY23" fmla="*/ 371150 h 527115"/>
                <a:gd name="connsiteX24" fmla="*/ 280381 w 281980"/>
                <a:gd name="connsiteY24" fmla="*/ 291298 h 527115"/>
                <a:gd name="connsiteX25" fmla="*/ 244606 w 281980"/>
                <a:gd name="connsiteY25" fmla="*/ 202597 h 527115"/>
                <a:gd name="connsiteX26" fmla="*/ 225480 w 281980"/>
                <a:gd name="connsiteY26" fmla="*/ 188959 h 527115"/>
                <a:gd name="connsiteX27" fmla="*/ 250080 w 281980"/>
                <a:gd name="connsiteY27" fmla="*/ 175827 h 527115"/>
                <a:gd name="connsiteX28" fmla="*/ 270866 w 281980"/>
                <a:gd name="connsiteY28" fmla="*/ 84559 h 527115"/>
                <a:gd name="connsiteX0" fmla="*/ 173598 w 281980"/>
                <a:gd name="connsiteY0" fmla="*/ 208185 h 527115"/>
                <a:gd name="connsiteX1" fmla="*/ 224820 w 281980"/>
                <a:gd name="connsiteY1" fmla="*/ 24963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42207 w 281980"/>
                <a:gd name="connsiteY10" fmla="*/ 51098 h 527115"/>
                <a:gd name="connsiteX11" fmla="*/ 210410 w 281980"/>
                <a:gd name="connsiteY11" fmla="*/ 119887 h 527115"/>
                <a:gd name="connsiteX12" fmla="*/ 167260 w 281980"/>
                <a:gd name="connsiteY12" fmla="*/ 147263 h 527115"/>
                <a:gd name="connsiteX13" fmla="*/ 88064 w 281980"/>
                <a:gd name="connsiteY13" fmla="*/ 156818 h 527115"/>
                <a:gd name="connsiteX14" fmla="*/ 47 w 281980"/>
                <a:gd name="connsiteY14" fmla="*/ 254546 h 527115"/>
                <a:gd name="connsiteX15" fmla="*/ 55253 w 281980"/>
                <a:gd name="connsiteY15" fmla="*/ 334562 h 527115"/>
                <a:gd name="connsiteX16" fmla="*/ 4196 w 281980"/>
                <a:gd name="connsiteY16" fmla="*/ 428755 h 527115"/>
                <a:gd name="connsiteX17" fmla="*/ 93330 w 281980"/>
                <a:gd name="connsiteY17" fmla="*/ 523536 h 527115"/>
                <a:gd name="connsiteX18" fmla="*/ 260832 w 281980"/>
                <a:gd name="connsiteY18" fmla="*/ 501128 h 527115"/>
                <a:gd name="connsiteX19" fmla="*/ 242004 w 281980"/>
                <a:gd name="connsiteY19" fmla="*/ 447036 h 527115"/>
                <a:gd name="connsiteX20" fmla="*/ 147133 w 281980"/>
                <a:gd name="connsiteY20" fmla="*/ 475049 h 527115"/>
                <a:gd name="connsiteX21" fmla="*/ 69392 w 281980"/>
                <a:gd name="connsiteY21" fmla="*/ 408769 h 527115"/>
                <a:gd name="connsiteX22" fmla="*/ 122791 w 281980"/>
                <a:gd name="connsiteY22" fmla="*/ 375385 h 527115"/>
                <a:gd name="connsiteX23" fmla="*/ 152182 w 281980"/>
                <a:gd name="connsiteY23" fmla="*/ 371150 h 527115"/>
                <a:gd name="connsiteX24" fmla="*/ 280381 w 281980"/>
                <a:gd name="connsiteY24" fmla="*/ 291298 h 527115"/>
                <a:gd name="connsiteX25" fmla="*/ 244606 w 281980"/>
                <a:gd name="connsiteY25" fmla="*/ 202597 h 527115"/>
                <a:gd name="connsiteX26" fmla="*/ 225480 w 281980"/>
                <a:gd name="connsiteY26" fmla="*/ 188959 h 527115"/>
                <a:gd name="connsiteX27" fmla="*/ 250080 w 281980"/>
                <a:gd name="connsiteY27" fmla="*/ 175827 h 527115"/>
                <a:gd name="connsiteX28" fmla="*/ 270866 w 281980"/>
                <a:gd name="connsiteY28" fmla="*/ 84559 h 527115"/>
                <a:gd name="connsiteX0" fmla="*/ 173598 w 281980"/>
                <a:gd name="connsiteY0" fmla="*/ 208185 h 527115"/>
                <a:gd name="connsiteX1" fmla="*/ 224820 w 281980"/>
                <a:gd name="connsiteY1" fmla="*/ 24963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42207 w 281980"/>
                <a:gd name="connsiteY10" fmla="*/ 51098 h 527115"/>
                <a:gd name="connsiteX11" fmla="*/ 210410 w 281980"/>
                <a:gd name="connsiteY11" fmla="*/ 119887 h 527115"/>
                <a:gd name="connsiteX12" fmla="*/ 167260 w 281980"/>
                <a:gd name="connsiteY12" fmla="*/ 147263 h 527115"/>
                <a:gd name="connsiteX13" fmla="*/ 88064 w 281980"/>
                <a:gd name="connsiteY13" fmla="*/ 156818 h 527115"/>
                <a:gd name="connsiteX14" fmla="*/ 47 w 281980"/>
                <a:gd name="connsiteY14" fmla="*/ 254546 h 527115"/>
                <a:gd name="connsiteX15" fmla="*/ 55253 w 281980"/>
                <a:gd name="connsiteY15" fmla="*/ 334562 h 527115"/>
                <a:gd name="connsiteX16" fmla="*/ 4196 w 281980"/>
                <a:gd name="connsiteY16" fmla="*/ 428755 h 527115"/>
                <a:gd name="connsiteX17" fmla="*/ 93330 w 281980"/>
                <a:gd name="connsiteY17" fmla="*/ 523536 h 527115"/>
                <a:gd name="connsiteX18" fmla="*/ 260832 w 281980"/>
                <a:gd name="connsiteY18" fmla="*/ 501128 h 527115"/>
                <a:gd name="connsiteX19" fmla="*/ 242004 w 281980"/>
                <a:gd name="connsiteY19" fmla="*/ 447036 h 527115"/>
                <a:gd name="connsiteX20" fmla="*/ 147133 w 281980"/>
                <a:gd name="connsiteY20" fmla="*/ 475049 h 527115"/>
                <a:gd name="connsiteX21" fmla="*/ 69392 w 281980"/>
                <a:gd name="connsiteY21" fmla="*/ 408769 h 527115"/>
                <a:gd name="connsiteX22" fmla="*/ 122791 w 281980"/>
                <a:gd name="connsiteY22" fmla="*/ 375385 h 527115"/>
                <a:gd name="connsiteX23" fmla="*/ 152182 w 281980"/>
                <a:gd name="connsiteY23" fmla="*/ 371150 h 527115"/>
                <a:gd name="connsiteX24" fmla="*/ 280381 w 281980"/>
                <a:gd name="connsiteY24" fmla="*/ 291298 h 527115"/>
                <a:gd name="connsiteX25" fmla="*/ 244606 w 281980"/>
                <a:gd name="connsiteY25" fmla="*/ 202597 h 527115"/>
                <a:gd name="connsiteX26" fmla="*/ 225480 w 281980"/>
                <a:gd name="connsiteY26" fmla="*/ 188959 h 527115"/>
                <a:gd name="connsiteX27" fmla="*/ 250080 w 281980"/>
                <a:gd name="connsiteY27" fmla="*/ 175827 h 527115"/>
                <a:gd name="connsiteX28" fmla="*/ 270866 w 281980"/>
                <a:gd name="connsiteY28" fmla="*/ 84559 h 527115"/>
                <a:gd name="connsiteX0" fmla="*/ 173598 w 281980"/>
                <a:gd name="connsiteY0" fmla="*/ 208185 h 527115"/>
                <a:gd name="connsiteX1" fmla="*/ 224820 w 281980"/>
                <a:gd name="connsiteY1" fmla="*/ 24963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33319 w 281980"/>
                <a:gd name="connsiteY10" fmla="*/ 54920 h 527115"/>
                <a:gd name="connsiteX11" fmla="*/ 210410 w 281980"/>
                <a:gd name="connsiteY11" fmla="*/ 119887 h 527115"/>
                <a:gd name="connsiteX12" fmla="*/ 167260 w 281980"/>
                <a:gd name="connsiteY12" fmla="*/ 147263 h 527115"/>
                <a:gd name="connsiteX13" fmla="*/ 88064 w 281980"/>
                <a:gd name="connsiteY13" fmla="*/ 156818 h 527115"/>
                <a:gd name="connsiteX14" fmla="*/ 47 w 281980"/>
                <a:gd name="connsiteY14" fmla="*/ 254546 h 527115"/>
                <a:gd name="connsiteX15" fmla="*/ 55253 w 281980"/>
                <a:gd name="connsiteY15" fmla="*/ 334562 h 527115"/>
                <a:gd name="connsiteX16" fmla="*/ 4196 w 281980"/>
                <a:gd name="connsiteY16" fmla="*/ 428755 h 527115"/>
                <a:gd name="connsiteX17" fmla="*/ 93330 w 281980"/>
                <a:gd name="connsiteY17" fmla="*/ 523536 h 527115"/>
                <a:gd name="connsiteX18" fmla="*/ 260832 w 281980"/>
                <a:gd name="connsiteY18" fmla="*/ 501128 h 527115"/>
                <a:gd name="connsiteX19" fmla="*/ 242004 w 281980"/>
                <a:gd name="connsiteY19" fmla="*/ 447036 h 527115"/>
                <a:gd name="connsiteX20" fmla="*/ 147133 w 281980"/>
                <a:gd name="connsiteY20" fmla="*/ 475049 h 527115"/>
                <a:gd name="connsiteX21" fmla="*/ 69392 w 281980"/>
                <a:gd name="connsiteY21" fmla="*/ 408769 h 527115"/>
                <a:gd name="connsiteX22" fmla="*/ 122791 w 281980"/>
                <a:gd name="connsiteY22" fmla="*/ 375385 h 527115"/>
                <a:gd name="connsiteX23" fmla="*/ 152182 w 281980"/>
                <a:gd name="connsiteY23" fmla="*/ 371150 h 527115"/>
                <a:gd name="connsiteX24" fmla="*/ 280381 w 281980"/>
                <a:gd name="connsiteY24" fmla="*/ 291298 h 527115"/>
                <a:gd name="connsiteX25" fmla="*/ 244606 w 281980"/>
                <a:gd name="connsiteY25" fmla="*/ 202597 h 527115"/>
                <a:gd name="connsiteX26" fmla="*/ 225480 w 281980"/>
                <a:gd name="connsiteY26" fmla="*/ 188959 h 527115"/>
                <a:gd name="connsiteX27" fmla="*/ 250080 w 281980"/>
                <a:gd name="connsiteY27" fmla="*/ 175827 h 527115"/>
                <a:gd name="connsiteX28" fmla="*/ 270866 w 281980"/>
                <a:gd name="connsiteY28" fmla="*/ 84559 h 527115"/>
                <a:gd name="connsiteX0" fmla="*/ 173598 w 281980"/>
                <a:gd name="connsiteY0" fmla="*/ 208185 h 527115"/>
                <a:gd name="connsiteX1" fmla="*/ 222241 w 281980"/>
                <a:gd name="connsiteY1" fmla="*/ 249457 h 527115"/>
                <a:gd name="connsiteX2" fmla="*/ 163522 w 281980"/>
                <a:gd name="connsiteY2" fmla="*/ 316000 h 527115"/>
                <a:gd name="connsiteX3" fmla="*/ 53840 w 281980"/>
                <a:gd name="connsiteY3" fmla="*/ 272507 h 527115"/>
                <a:gd name="connsiteX4" fmla="*/ 129211 w 281980"/>
                <a:gd name="connsiteY4" fmla="*/ 208033 h 527115"/>
                <a:gd name="connsiteX5" fmla="*/ 173598 w 281980"/>
                <a:gd name="connsiteY5" fmla="*/ 208185 h 527115"/>
                <a:gd name="connsiteX6" fmla="*/ 270866 w 281980"/>
                <a:gd name="connsiteY6" fmla="*/ 84559 h 527115"/>
                <a:gd name="connsiteX7" fmla="*/ 160458 w 281980"/>
                <a:gd name="connsiteY7" fmla="*/ 1183 h 527115"/>
                <a:gd name="connsiteX8" fmla="*/ 31851 w 281980"/>
                <a:gd name="connsiteY8" fmla="*/ 26248 h 527115"/>
                <a:gd name="connsiteX9" fmla="*/ 52240 w 281980"/>
                <a:gd name="connsiteY9" fmla="*/ 78744 h 527115"/>
                <a:gd name="connsiteX10" fmla="*/ 133319 w 281980"/>
                <a:gd name="connsiteY10" fmla="*/ 54920 h 527115"/>
                <a:gd name="connsiteX11" fmla="*/ 210410 w 281980"/>
                <a:gd name="connsiteY11" fmla="*/ 119887 h 527115"/>
                <a:gd name="connsiteX12" fmla="*/ 167260 w 281980"/>
                <a:gd name="connsiteY12" fmla="*/ 147263 h 527115"/>
                <a:gd name="connsiteX13" fmla="*/ 88064 w 281980"/>
                <a:gd name="connsiteY13" fmla="*/ 156818 h 527115"/>
                <a:gd name="connsiteX14" fmla="*/ 47 w 281980"/>
                <a:gd name="connsiteY14" fmla="*/ 254546 h 527115"/>
                <a:gd name="connsiteX15" fmla="*/ 55253 w 281980"/>
                <a:gd name="connsiteY15" fmla="*/ 334562 h 527115"/>
                <a:gd name="connsiteX16" fmla="*/ 4196 w 281980"/>
                <a:gd name="connsiteY16" fmla="*/ 428755 h 527115"/>
                <a:gd name="connsiteX17" fmla="*/ 93330 w 281980"/>
                <a:gd name="connsiteY17" fmla="*/ 523536 h 527115"/>
                <a:gd name="connsiteX18" fmla="*/ 260832 w 281980"/>
                <a:gd name="connsiteY18" fmla="*/ 501128 h 527115"/>
                <a:gd name="connsiteX19" fmla="*/ 242004 w 281980"/>
                <a:gd name="connsiteY19" fmla="*/ 447036 h 527115"/>
                <a:gd name="connsiteX20" fmla="*/ 147133 w 281980"/>
                <a:gd name="connsiteY20" fmla="*/ 475049 h 527115"/>
                <a:gd name="connsiteX21" fmla="*/ 69392 w 281980"/>
                <a:gd name="connsiteY21" fmla="*/ 408769 h 527115"/>
                <a:gd name="connsiteX22" fmla="*/ 122791 w 281980"/>
                <a:gd name="connsiteY22" fmla="*/ 375385 h 527115"/>
                <a:gd name="connsiteX23" fmla="*/ 152182 w 281980"/>
                <a:gd name="connsiteY23" fmla="*/ 371150 h 527115"/>
                <a:gd name="connsiteX24" fmla="*/ 280381 w 281980"/>
                <a:gd name="connsiteY24" fmla="*/ 291298 h 527115"/>
                <a:gd name="connsiteX25" fmla="*/ 244606 w 281980"/>
                <a:gd name="connsiteY25" fmla="*/ 202597 h 527115"/>
                <a:gd name="connsiteX26" fmla="*/ 225480 w 281980"/>
                <a:gd name="connsiteY26" fmla="*/ 188959 h 527115"/>
                <a:gd name="connsiteX27" fmla="*/ 250080 w 281980"/>
                <a:gd name="connsiteY27" fmla="*/ 175827 h 527115"/>
                <a:gd name="connsiteX28" fmla="*/ 270866 w 281980"/>
                <a:gd name="connsiteY28" fmla="*/ 84559 h 527115"/>
                <a:gd name="connsiteX0" fmla="*/ 129211 w 281980"/>
                <a:gd name="connsiteY0" fmla="*/ 208033 h 527115"/>
                <a:gd name="connsiteX1" fmla="*/ 222241 w 281980"/>
                <a:gd name="connsiteY1" fmla="*/ 249457 h 527115"/>
                <a:gd name="connsiteX2" fmla="*/ 163522 w 281980"/>
                <a:gd name="connsiteY2" fmla="*/ 316000 h 527115"/>
                <a:gd name="connsiteX3" fmla="*/ 53840 w 281980"/>
                <a:gd name="connsiteY3" fmla="*/ 272507 h 527115"/>
                <a:gd name="connsiteX4" fmla="*/ 129211 w 281980"/>
                <a:gd name="connsiteY4" fmla="*/ 208033 h 527115"/>
                <a:gd name="connsiteX5" fmla="*/ 270866 w 281980"/>
                <a:gd name="connsiteY5" fmla="*/ 84559 h 527115"/>
                <a:gd name="connsiteX6" fmla="*/ 160458 w 281980"/>
                <a:gd name="connsiteY6" fmla="*/ 1183 h 527115"/>
                <a:gd name="connsiteX7" fmla="*/ 31851 w 281980"/>
                <a:gd name="connsiteY7" fmla="*/ 26248 h 527115"/>
                <a:gd name="connsiteX8" fmla="*/ 52240 w 281980"/>
                <a:gd name="connsiteY8" fmla="*/ 78744 h 527115"/>
                <a:gd name="connsiteX9" fmla="*/ 133319 w 281980"/>
                <a:gd name="connsiteY9" fmla="*/ 54920 h 527115"/>
                <a:gd name="connsiteX10" fmla="*/ 210410 w 281980"/>
                <a:gd name="connsiteY10" fmla="*/ 119887 h 527115"/>
                <a:gd name="connsiteX11" fmla="*/ 167260 w 281980"/>
                <a:gd name="connsiteY11" fmla="*/ 147263 h 527115"/>
                <a:gd name="connsiteX12" fmla="*/ 88064 w 281980"/>
                <a:gd name="connsiteY12" fmla="*/ 156818 h 527115"/>
                <a:gd name="connsiteX13" fmla="*/ 47 w 281980"/>
                <a:gd name="connsiteY13" fmla="*/ 254546 h 527115"/>
                <a:gd name="connsiteX14" fmla="*/ 55253 w 281980"/>
                <a:gd name="connsiteY14" fmla="*/ 334562 h 527115"/>
                <a:gd name="connsiteX15" fmla="*/ 4196 w 281980"/>
                <a:gd name="connsiteY15" fmla="*/ 428755 h 527115"/>
                <a:gd name="connsiteX16" fmla="*/ 93330 w 281980"/>
                <a:gd name="connsiteY16" fmla="*/ 523536 h 527115"/>
                <a:gd name="connsiteX17" fmla="*/ 260832 w 281980"/>
                <a:gd name="connsiteY17" fmla="*/ 501128 h 527115"/>
                <a:gd name="connsiteX18" fmla="*/ 242004 w 281980"/>
                <a:gd name="connsiteY18" fmla="*/ 447036 h 527115"/>
                <a:gd name="connsiteX19" fmla="*/ 147133 w 281980"/>
                <a:gd name="connsiteY19" fmla="*/ 475049 h 527115"/>
                <a:gd name="connsiteX20" fmla="*/ 69392 w 281980"/>
                <a:gd name="connsiteY20" fmla="*/ 408769 h 527115"/>
                <a:gd name="connsiteX21" fmla="*/ 122791 w 281980"/>
                <a:gd name="connsiteY21" fmla="*/ 375385 h 527115"/>
                <a:gd name="connsiteX22" fmla="*/ 152182 w 281980"/>
                <a:gd name="connsiteY22" fmla="*/ 371150 h 527115"/>
                <a:gd name="connsiteX23" fmla="*/ 280381 w 281980"/>
                <a:gd name="connsiteY23" fmla="*/ 291298 h 527115"/>
                <a:gd name="connsiteX24" fmla="*/ 244606 w 281980"/>
                <a:gd name="connsiteY24" fmla="*/ 202597 h 527115"/>
                <a:gd name="connsiteX25" fmla="*/ 225480 w 281980"/>
                <a:gd name="connsiteY25" fmla="*/ 188959 h 527115"/>
                <a:gd name="connsiteX26" fmla="*/ 250080 w 281980"/>
                <a:gd name="connsiteY26" fmla="*/ 175827 h 527115"/>
                <a:gd name="connsiteX27" fmla="*/ 270866 w 281980"/>
                <a:gd name="connsiteY27" fmla="*/ 84559 h 527115"/>
                <a:gd name="connsiteX0" fmla="*/ 129211 w 281980"/>
                <a:gd name="connsiteY0" fmla="*/ 208033 h 527115"/>
                <a:gd name="connsiteX1" fmla="*/ 222241 w 281980"/>
                <a:gd name="connsiteY1" fmla="*/ 249457 h 527115"/>
                <a:gd name="connsiteX2" fmla="*/ 163522 w 281980"/>
                <a:gd name="connsiteY2" fmla="*/ 316000 h 527115"/>
                <a:gd name="connsiteX3" fmla="*/ 53840 w 281980"/>
                <a:gd name="connsiteY3" fmla="*/ 272507 h 527115"/>
                <a:gd name="connsiteX4" fmla="*/ 129211 w 281980"/>
                <a:gd name="connsiteY4" fmla="*/ 208033 h 527115"/>
                <a:gd name="connsiteX5" fmla="*/ 270866 w 281980"/>
                <a:gd name="connsiteY5" fmla="*/ 84559 h 527115"/>
                <a:gd name="connsiteX6" fmla="*/ 160458 w 281980"/>
                <a:gd name="connsiteY6" fmla="*/ 1183 h 527115"/>
                <a:gd name="connsiteX7" fmla="*/ 31851 w 281980"/>
                <a:gd name="connsiteY7" fmla="*/ 26248 h 527115"/>
                <a:gd name="connsiteX8" fmla="*/ 52240 w 281980"/>
                <a:gd name="connsiteY8" fmla="*/ 78744 h 527115"/>
                <a:gd name="connsiteX9" fmla="*/ 133319 w 281980"/>
                <a:gd name="connsiteY9" fmla="*/ 54920 h 527115"/>
                <a:gd name="connsiteX10" fmla="*/ 210410 w 281980"/>
                <a:gd name="connsiteY10" fmla="*/ 119887 h 527115"/>
                <a:gd name="connsiteX11" fmla="*/ 167260 w 281980"/>
                <a:gd name="connsiteY11" fmla="*/ 147263 h 527115"/>
                <a:gd name="connsiteX12" fmla="*/ 88064 w 281980"/>
                <a:gd name="connsiteY12" fmla="*/ 156818 h 527115"/>
                <a:gd name="connsiteX13" fmla="*/ 47 w 281980"/>
                <a:gd name="connsiteY13" fmla="*/ 254546 h 527115"/>
                <a:gd name="connsiteX14" fmla="*/ 55253 w 281980"/>
                <a:gd name="connsiteY14" fmla="*/ 334562 h 527115"/>
                <a:gd name="connsiteX15" fmla="*/ 4196 w 281980"/>
                <a:gd name="connsiteY15" fmla="*/ 428755 h 527115"/>
                <a:gd name="connsiteX16" fmla="*/ 93330 w 281980"/>
                <a:gd name="connsiteY16" fmla="*/ 523536 h 527115"/>
                <a:gd name="connsiteX17" fmla="*/ 260832 w 281980"/>
                <a:gd name="connsiteY17" fmla="*/ 501128 h 527115"/>
                <a:gd name="connsiteX18" fmla="*/ 242004 w 281980"/>
                <a:gd name="connsiteY18" fmla="*/ 447036 h 527115"/>
                <a:gd name="connsiteX19" fmla="*/ 147133 w 281980"/>
                <a:gd name="connsiteY19" fmla="*/ 475049 h 527115"/>
                <a:gd name="connsiteX20" fmla="*/ 69392 w 281980"/>
                <a:gd name="connsiteY20" fmla="*/ 408769 h 527115"/>
                <a:gd name="connsiteX21" fmla="*/ 122791 w 281980"/>
                <a:gd name="connsiteY21" fmla="*/ 375385 h 527115"/>
                <a:gd name="connsiteX22" fmla="*/ 152182 w 281980"/>
                <a:gd name="connsiteY22" fmla="*/ 371150 h 527115"/>
                <a:gd name="connsiteX23" fmla="*/ 280381 w 281980"/>
                <a:gd name="connsiteY23" fmla="*/ 291298 h 527115"/>
                <a:gd name="connsiteX24" fmla="*/ 244606 w 281980"/>
                <a:gd name="connsiteY24" fmla="*/ 202597 h 527115"/>
                <a:gd name="connsiteX25" fmla="*/ 225480 w 281980"/>
                <a:gd name="connsiteY25" fmla="*/ 188959 h 527115"/>
                <a:gd name="connsiteX26" fmla="*/ 250080 w 281980"/>
                <a:gd name="connsiteY26" fmla="*/ 175827 h 527115"/>
                <a:gd name="connsiteX27" fmla="*/ 270866 w 281980"/>
                <a:gd name="connsiteY27" fmla="*/ 84559 h 527115"/>
                <a:gd name="connsiteX0" fmla="*/ 129211 w 281980"/>
                <a:gd name="connsiteY0" fmla="*/ 208033 h 527115"/>
                <a:gd name="connsiteX1" fmla="*/ 222241 w 281980"/>
                <a:gd name="connsiteY1" fmla="*/ 249457 h 527115"/>
                <a:gd name="connsiteX2" fmla="*/ 163522 w 281980"/>
                <a:gd name="connsiteY2" fmla="*/ 316000 h 527115"/>
                <a:gd name="connsiteX3" fmla="*/ 59857 w 281980"/>
                <a:gd name="connsiteY3" fmla="*/ 272927 h 527115"/>
                <a:gd name="connsiteX4" fmla="*/ 129211 w 281980"/>
                <a:gd name="connsiteY4" fmla="*/ 208033 h 527115"/>
                <a:gd name="connsiteX5" fmla="*/ 270866 w 281980"/>
                <a:gd name="connsiteY5" fmla="*/ 84559 h 527115"/>
                <a:gd name="connsiteX6" fmla="*/ 160458 w 281980"/>
                <a:gd name="connsiteY6" fmla="*/ 1183 h 527115"/>
                <a:gd name="connsiteX7" fmla="*/ 31851 w 281980"/>
                <a:gd name="connsiteY7" fmla="*/ 26248 h 527115"/>
                <a:gd name="connsiteX8" fmla="*/ 52240 w 281980"/>
                <a:gd name="connsiteY8" fmla="*/ 78744 h 527115"/>
                <a:gd name="connsiteX9" fmla="*/ 133319 w 281980"/>
                <a:gd name="connsiteY9" fmla="*/ 54920 h 527115"/>
                <a:gd name="connsiteX10" fmla="*/ 210410 w 281980"/>
                <a:gd name="connsiteY10" fmla="*/ 119887 h 527115"/>
                <a:gd name="connsiteX11" fmla="*/ 167260 w 281980"/>
                <a:gd name="connsiteY11" fmla="*/ 147263 h 527115"/>
                <a:gd name="connsiteX12" fmla="*/ 88064 w 281980"/>
                <a:gd name="connsiteY12" fmla="*/ 156818 h 527115"/>
                <a:gd name="connsiteX13" fmla="*/ 47 w 281980"/>
                <a:gd name="connsiteY13" fmla="*/ 254546 h 527115"/>
                <a:gd name="connsiteX14" fmla="*/ 55253 w 281980"/>
                <a:gd name="connsiteY14" fmla="*/ 334562 h 527115"/>
                <a:gd name="connsiteX15" fmla="*/ 4196 w 281980"/>
                <a:gd name="connsiteY15" fmla="*/ 428755 h 527115"/>
                <a:gd name="connsiteX16" fmla="*/ 93330 w 281980"/>
                <a:gd name="connsiteY16" fmla="*/ 523536 h 527115"/>
                <a:gd name="connsiteX17" fmla="*/ 260832 w 281980"/>
                <a:gd name="connsiteY17" fmla="*/ 501128 h 527115"/>
                <a:gd name="connsiteX18" fmla="*/ 242004 w 281980"/>
                <a:gd name="connsiteY18" fmla="*/ 447036 h 527115"/>
                <a:gd name="connsiteX19" fmla="*/ 147133 w 281980"/>
                <a:gd name="connsiteY19" fmla="*/ 475049 h 527115"/>
                <a:gd name="connsiteX20" fmla="*/ 69392 w 281980"/>
                <a:gd name="connsiteY20" fmla="*/ 408769 h 527115"/>
                <a:gd name="connsiteX21" fmla="*/ 122791 w 281980"/>
                <a:gd name="connsiteY21" fmla="*/ 375385 h 527115"/>
                <a:gd name="connsiteX22" fmla="*/ 152182 w 281980"/>
                <a:gd name="connsiteY22" fmla="*/ 371150 h 527115"/>
                <a:gd name="connsiteX23" fmla="*/ 280381 w 281980"/>
                <a:gd name="connsiteY23" fmla="*/ 291298 h 527115"/>
                <a:gd name="connsiteX24" fmla="*/ 244606 w 281980"/>
                <a:gd name="connsiteY24" fmla="*/ 202597 h 527115"/>
                <a:gd name="connsiteX25" fmla="*/ 225480 w 281980"/>
                <a:gd name="connsiteY25" fmla="*/ 188959 h 527115"/>
                <a:gd name="connsiteX26" fmla="*/ 250080 w 281980"/>
                <a:gd name="connsiteY26" fmla="*/ 175827 h 527115"/>
                <a:gd name="connsiteX27" fmla="*/ 270866 w 281980"/>
                <a:gd name="connsiteY27" fmla="*/ 84559 h 527115"/>
                <a:gd name="connsiteX0" fmla="*/ 129211 w 281980"/>
                <a:gd name="connsiteY0" fmla="*/ 208033 h 527115"/>
                <a:gd name="connsiteX1" fmla="*/ 222241 w 281980"/>
                <a:gd name="connsiteY1" fmla="*/ 249457 h 527115"/>
                <a:gd name="connsiteX2" fmla="*/ 163522 w 281980"/>
                <a:gd name="connsiteY2" fmla="*/ 316000 h 527115"/>
                <a:gd name="connsiteX3" fmla="*/ 59857 w 281980"/>
                <a:gd name="connsiteY3" fmla="*/ 272927 h 527115"/>
                <a:gd name="connsiteX4" fmla="*/ 129211 w 281980"/>
                <a:gd name="connsiteY4" fmla="*/ 208033 h 527115"/>
                <a:gd name="connsiteX5" fmla="*/ 270866 w 281980"/>
                <a:gd name="connsiteY5" fmla="*/ 84559 h 527115"/>
                <a:gd name="connsiteX6" fmla="*/ 160458 w 281980"/>
                <a:gd name="connsiteY6" fmla="*/ 1183 h 527115"/>
                <a:gd name="connsiteX7" fmla="*/ 31851 w 281980"/>
                <a:gd name="connsiteY7" fmla="*/ 26248 h 527115"/>
                <a:gd name="connsiteX8" fmla="*/ 52240 w 281980"/>
                <a:gd name="connsiteY8" fmla="*/ 78744 h 527115"/>
                <a:gd name="connsiteX9" fmla="*/ 133319 w 281980"/>
                <a:gd name="connsiteY9" fmla="*/ 54920 h 527115"/>
                <a:gd name="connsiteX10" fmla="*/ 210410 w 281980"/>
                <a:gd name="connsiteY10" fmla="*/ 119887 h 527115"/>
                <a:gd name="connsiteX11" fmla="*/ 167260 w 281980"/>
                <a:gd name="connsiteY11" fmla="*/ 147263 h 527115"/>
                <a:gd name="connsiteX12" fmla="*/ 88064 w 281980"/>
                <a:gd name="connsiteY12" fmla="*/ 156818 h 527115"/>
                <a:gd name="connsiteX13" fmla="*/ 47 w 281980"/>
                <a:gd name="connsiteY13" fmla="*/ 254546 h 527115"/>
                <a:gd name="connsiteX14" fmla="*/ 55253 w 281980"/>
                <a:gd name="connsiteY14" fmla="*/ 334562 h 527115"/>
                <a:gd name="connsiteX15" fmla="*/ 4196 w 281980"/>
                <a:gd name="connsiteY15" fmla="*/ 428755 h 527115"/>
                <a:gd name="connsiteX16" fmla="*/ 93330 w 281980"/>
                <a:gd name="connsiteY16" fmla="*/ 523536 h 527115"/>
                <a:gd name="connsiteX17" fmla="*/ 260832 w 281980"/>
                <a:gd name="connsiteY17" fmla="*/ 501128 h 527115"/>
                <a:gd name="connsiteX18" fmla="*/ 242004 w 281980"/>
                <a:gd name="connsiteY18" fmla="*/ 447036 h 527115"/>
                <a:gd name="connsiteX19" fmla="*/ 147133 w 281980"/>
                <a:gd name="connsiteY19" fmla="*/ 475049 h 527115"/>
                <a:gd name="connsiteX20" fmla="*/ 69392 w 281980"/>
                <a:gd name="connsiteY20" fmla="*/ 408769 h 527115"/>
                <a:gd name="connsiteX21" fmla="*/ 122791 w 281980"/>
                <a:gd name="connsiteY21" fmla="*/ 375385 h 527115"/>
                <a:gd name="connsiteX22" fmla="*/ 152182 w 281980"/>
                <a:gd name="connsiteY22" fmla="*/ 371150 h 527115"/>
                <a:gd name="connsiteX23" fmla="*/ 280381 w 281980"/>
                <a:gd name="connsiteY23" fmla="*/ 291298 h 527115"/>
                <a:gd name="connsiteX24" fmla="*/ 244606 w 281980"/>
                <a:gd name="connsiteY24" fmla="*/ 202597 h 527115"/>
                <a:gd name="connsiteX25" fmla="*/ 225480 w 281980"/>
                <a:gd name="connsiteY25" fmla="*/ 188959 h 527115"/>
                <a:gd name="connsiteX26" fmla="*/ 250080 w 281980"/>
                <a:gd name="connsiteY26" fmla="*/ 175827 h 527115"/>
                <a:gd name="connsiteX27" fmla="*/ 270866 w 281980"/>
                <a:gd name="connsiteY27" fmla="*/ 84559 h 527115"/>
                <a:gd name="connsiteX0" fmla="*/ 129211 w 281980"/>
                <a:gd name="connsiteY0" fmla="*/ 208033 h 527115"/>
                <a:gd name="connsiteX1" fmla="*/ 222241 w 281980"/>
                <a:gd name="connsiteY1" fmla="*/ 249457 h 527115"/>
                <a:gd name="connsiteX2" fmla="*/ 163522 w 281980"/>
                <a:gd name="connsiteY2" fmla="*/ 316000 h 527115"/>
                <a:gd name="connsiteX3" fmla="*/ 59857 w 281980"/>
                <a:gd name="connsiteY3" fmla="*/ 272927 h 527115"/>
                <a:gd name="connsiteX4" fmla="*/ 129211 w 281980"/>
                <a:gd name="connsiteY4" fmla="*/ 208033 h 527115"/>
                <a:gd name="connsiteX5" fmla="*/ 270866 w 281980"/>
                <a:gd name="connsiteY5" fmla="*/ 84559 h 527115"/>
                <a:gd name="connsiteX6" fmla="*/ 160458 w 281980"/>
                <a:gd name="connsiteY6" fmla="*/ 1183 h 527115"/>
                <a:gd name="connsiteX7" fmla="*/ 31851 w 281980"/>
                <a:gd name="connsiteY7" fmla="*/ 26248 h 527115"/>
                <a:gd name="connsiteX8" fmla="*/ 52240 w 281980"/>
                <a:gd name="connsiteY8" fmla="*/ 78744 h 527115"/>
                <a:gd name="connsiteX9" fmla="*/ 133319 w 281980"/>
                <a:gd name="connsiteY9" fmla="*/ 54920 h 527115"/>
                <a:gd name="connsiteX10" fmla="*/ 210410 w 281980"/>
                <a:gd name="connsiteY10" fmla="*/ 119887 h 527115"/>
                <a:gd name="connsiteX11" fmla="*/ 167260 w 281980"/>
                <a:gd name="connsiteY11" fmla="*/ 147263 h 527115"/>
                <a:gd name="connsiteX12" fmla="*/ 88064 w 281980"/>
                <a:gd name="connsiteY12" fmla="*/ 156818 h 527115"/>
                <a:gd name="connsiteX13" fmla="*/ 47 w 281980"/>
                <a:gd name="connsiteY13" fmla="*/ 254546 h 527115"/>
                <a:gd name="connsiteX14" fmla="*/ 55253 w 281980"/>
                <a:gd name="connsiteY14" fmla="*/ 334562 h 527115"/>
                <a:gd name="connsiteX15" fmla="*/ 4196 w 281980"/>
                <a:gd name="connsiteY15" fmla="*/ 428755 h 527115"/>
                <a:gd name="connsiteX16" fmla="*/ 93330 w 281980"/>
                <a:gd name="connsiteY16" fmla="*/ 523536 h 527115"/>
                <a:gd name="connsiteX17" fmla="*/ 260832 w 281980"/>
                <a:gd name="connsiteY17" fmla="*/ 501128 h 527115"/>
                <a:gd name="connsiteX18" fmla="*/ 242004 w 281980"/>
                <a:gd name="connsiteY18" fmla="*/ 447036 h 527115"/>
                <a:gd name="connsiteX19" fmla="*/ 147133 w 281980"/>
                <a:gd name="connsiteY19" fmla="*/ 475049 h 527115"/>
                <a:gd name="connsiteX20" fmla="*/ 69392 w 281980"/>
                <a:gd name="connsiteY20" fmla="*/ 408769 h 527115"/>
                <a:gd name="connsiteX21" fmla="*/ 122791 w 281980"/>
                <a:gd name="connsiteY21" fmla="*/ 375385 h 527115"/>
                <a:gd name="connsiteX22" fmla="*/ 152182 w 281980"/>
                <a:gd name="connsiteY22" fmla="*/ 371150 h 527115"/>
                <a:gd name="connsiteX23" fmla="*/ 280381 w 281980"/>
                <a:gd name="connsiteY23" fmla="*/ 291298 h 527115"/>
                <a:gd name="connsiteX24" fmla="*/ 244606 w 281980"/>
                <a:gd name="connsiteY24" fmla="*/ 202597 h 527115"/>
                <a:gd name="connsiteX25" fmla="*/ 225480 w 281980"/>
                <a:gd name="connsiteY25" fmla="*/ 188959 h 527115"/>
                <a:gd name="connsiteX26" fmla="*/ 250080 w 281980"/>
                <a:gd name="connsiteY26" fmla="*/ 175827 h 527115"/>
                <a:gd name="connsiteX27" fmla="*/ 270866 w 281980"/>
                <a:gd name="connsiteY27" fmla="*/ 84559 h 527115"/>
                <a:gd name="connsiteX0" fmla="*/ 129211 w 281980"/>
                <a:gd name="connsiteY0" fmla="*/ 208033 h 526962"/>
                <a:gd name="connsiteX1" fmla="*/ 222241 w 281980"/>
                <a:gd name="connsiteY1" fmla="*/ 249457 h 526962"/>
                <a:gd name="connsiteX2" fmla="*/ 163522 w 281980"/>
                <a:gd name="connsiteY2" fmla="*/ 316000 h 526962"/>
                <a:gd name="connsiteX3" fmla="*/ 59857 w 281980"/>
                <a:gd name="connsiteY3" fmla="*/ 272927 h 526962"/>
                <a:gd name="connsiteX4" fmla="*/ 129211 w 281980"/>
                <a:gd name="connsiteY4" fmla="*/ 208033 h 526962"/>
                <a:gd name="connsiteX5" fmla="*/ 270866 w 281980"/>
                <a:gd name="connsiteY5" fmla="*/ 84559 h 526962"/>
                <a:gd name="connsiteX6" fmla="*/ 160458 w 281980"/>
                <a:gd name="connsiteY6" fmla="*/ 1183 h 526962"/>
                <a:gd name="connsiteX7" fmla="*/ 31851 w 281980"/>
                <a:gd name="connsiteY7" fmla="*/ 26248 h 526962"/>
                <a:gd name="connsiteX8" fmla="*/ 52240 w 281980"/>
                <a:gd name="connsiteY8" fmla="*/ 78744 h 526962"/>
                <a:gd name="connsiteX9" fmla="*/ 133319 w 281980"/>
                <a:gd name="connsiteY9" fmla="*/ 54920 h 526962"/>
                <a:gd name="connsiteX10" fmla="*/ 210410 w 281980"/>
                <a:gd name="connsiteY10" fmla="*/ 119887 h 526962"/>
                <a:gd name="connsiteX11" fmla="*/ 167260 w 281980"/>
                <a:gd name="connsiteY11" fmla="*/ 147263 h 526962"/>
                <a:gd name="connsiteX12" fmla="*/ 88064 w 281980"/>
                <a:gd name="connsiteY12" fmla="*/ 156818 h 526962"/>
                <a:gd name="connsiteX13" fmla="*/ 47 w 281980"/>
                <a:gd name="connsiteY13" fmla="*/ 254546 h 526962"/>
                <a:gd name="connsiteX14" fmla="*/ 55253 w 281980"/>
                <a:gd name="connsiteY14" fmla="*/ 334562 h 526962"/>
                <a:gd name="connsiteX15" fmla="*/ 4196 w 281980"/>
                <a:gd name="connsiteY15" fmla="*/ 428755 h 526962"/>
                <a:gd name="connsiteX16" fmla="*/ 93330 w 281980"/>
                <a:gd name="connsiteY16" fmla="*/ 523536 h 526962"/>
                <a:gd name="connsiteX17" fmla="*/ 260890 w 281980"/>
                <a:gd name="connsiteY17" fmla="*/ 500243 h 526962"/>
                <a:gd name="connsiteX18" fmla="*/ 242004 w 281980"/>
                <a:gd name="connsiteY18" fmla="*/ 447036 h 526962"/>
                <a:gd name="connsiteX19" fmla="*/ 147133 w 281980"/>
                <a:gd name="connsiteY19" fmla="*/ 475049 h 526962"/>
                <a:gd name="connsiteX20" fmla="*/ 69392 w 281980"/>
                <a:gd name="connsiteY20" fmla="*/ 408769 h 526962"/>
                <a:gd name="connsiteX21" fmla="*/ 122791 w 281980"/>
                <a:gd name="connsiteY21" fmla="*/ 375385 h 526962"/>
                <a:gd name="connsiteX22" fmla="*/ 152182 w 281980"/>
                <a:gd name="connsiteY22" fmla="*/ 371150 h 526962"/>
                <a:gd name="connsiteX23" fmla="*/ 280381 w 281980"/>
                <a:gd name="connsiteY23" fmla="*/ 291298 h 526962"/>
                <a:gd name="connsiteX24" fmla="*/ 244606 w 281980"/>
                <a:gd name="connsiteY24" fmla="*/ 202597 h 526962"/>
                <a:gd name="connsiteX25" fmla="*/ 225480 w 281980"/>
                <a:gd name="connsiteY25" fmla="*/ 188959 h 526962"/>
                <a:gd name="connsiteX26" fmla="*/ 250080 w 281980"/>
                <a:gd name="connsiteY26" fmla="*/ 175827 h 526962"/>
                <a:gd name="connsiteX27" fmla="*/ 270866 w 281980"/>
                <a:gd name="connsiteY27" fmla="*/ 84559 h 526962"/>
                <a:gd name="connsiteX0" fmla="*/ 129211 w 281980"/>
                <a:gd name="connsiteY0" fmla="*/ 208033 h 528611"/>
                <a:gd name="connsiteX1" fmla="*/ 222241 w 281980"/>
                <a:gd name="connsiteY1" fmla="*/ 249457 h 528611"/>
                <a:gd name="connsiteX2" fmla="*/ 163522 w 281980"/>
                <a:gd name="connsiteY2" fmla="*/ 316000 h 528611"/>
                <a:gd name="connsiteX3" fmla="*/ 59857 w 281980"/>
                <a:gd name="connsiteY3" fmla="*/ 272927 h 528611"/>
                <a:gd name="connsiteX4" fmla="*/ 129211 w 281980"/>
                <a:gd name="connsiteY4" fmla="*/ 208033 h 528611"/>
                <a:gd name="connsiteX5" fmla="*/ 270866 w 281980"/>
                <a:gd name="connsiteY5" fmla="*/ 84559 h 528611"/>
                <a:gd name="connsiteX6" fmla="*/ 160458 w 281980"/>
                <a:gd name="connsiteY6" fmla="*/ 1183 h 528611"/>
                <a:gd name="connsiteX7" fmla="*/ 31851 w 281980"/>
                <a:gd name="connsiteY7" fmla="*/ 26248 h 528611"/>
                <a:gd name="connsiteX8" fmla="*/ 52240 w 281980"/>
                <a:gd name="connsiteY8" fmla="*/ 78744 h 528611"/>
                <a:gd name="connsiteX9" fmla="*/ 133319 w 281980"/>
                <a:gd name="connsiteY9" fmla="*/ 54920 h 528611"/>
                <a:gd name="connsiteX10" fmla="*/ 210410 w 281980"/>
                <a:gd name="connsiteY10" fmla="*/ 119887 h 528611"/>
                <a:gd name="connsiteX11" fmla="*/ 167260 w 281980"/>
                <a:gd name="connsiteY11" fmla="*/ 147263 h 528611"/>
                <a:gd name="connsiteX12" fmla="*/ 88064 w 281980"/>
                <a:gd name="connsiteY12" fmla="*/ 156818 h 528611"/>
                <a:gd name="connsiteX13" fmla="*/ 47 w 281980"/>
                <a:gd name="connsiteY13" fmla="*/ 254546 h 528611"/>
                <a:gd name="connsiteX14" fmla="*/ 55253 w 281980"/>
                <a:gd name="connsiteY14" fmla="*/ 334562 h 528611"/>
                <a:gd name="connsiteX15" fmla="*/ 4196 w 281980"/>
                <a:gd name="connsiteY15" fmla="*/ 428755 h 528611"/>
                <a:gd name="connsiteX16" fmla="*/ 93330 w 281980"/>
                <a:gd name="connsiteY16" fmla="*/ 523536 h 528611"/>
                <a:gd name="connsiteX17" fmla="*/ 260890 w 281980"/>
                <a:gd name="connsiteY17" fmla="*/ 500243 h 528611"/>
                <a:gd name="connsiteX18" fmla="*/ 242004 w 281980"/>
                <a:gd name="connsiteY18" fmla="*/ 447036 h 528611"/>
                <a:gd name="connsiteX19" fmla="*/ 147133 w 281980"/>
                <a:gd name="connsiteY19" fmla="*/ 475049 h 528611"/>
                <a:gd name="connsiteX20" fmla="*/ 69392 w 281980"/>
                <a:gd name="connsiteY20" fmla="*/ 408769 h 528611"/>
                <a:gd name="connsiteX21" fmla="*/ 122791 w 281980"/>
                <a:gd name="connsiteY21" fmla="*/ 375385 h 528611"/>
                <a:gd name="connsiteX22" fmla="*/ 152182 w 281980"/>
                <a:gd name="connsiteY22" fmla="*/ 371150 h 528611"/>
                <a:gd name="connsiteX23" fmla="*/ 280381 w 281980"/>
                <a:gd name="connsiteY23" fmla="*/ 291298 h 528611"/>
                <a:gd name="connsiteX24" fmla="*/ 244606 w 281980"/>
                <a:gd name="connsiteY24" fmla="*/ 202597 h 528611"/>
                <a:gd name="connsiteX25" fmla="*/ 225480 w 281980"/>
                <a:gd name="connsiteY25" fmla="*/ 188959 h 528611"/>
                <a:gd name="connsiteX26" fmla="*/ 250080 w 281980"/>
                <a:gd name="connsiteY26" fmla="*/ 175827 h 528611"/>
                <a:gd name="connsiteX27" fmla="*/ 270866 w 281980"/>
                <a:gd name="connsiteY27" fmla="*/ 84559 h 528611"/>
                <a:gd name="connsiteX0" fmla="*/ 129211 w 281980"/>
                <a:gd name="connsiteY0" fmla="*/ 208033 h 528611"/>
                <a:gd name="connsiteX1" fmla="*/ 222241 w 281980"/>
                <a:gd name="connsiteY1" fmla="*/ 249457 h 528611"/>
                <a:gd name="connsiteX2" fmla="*/ 163522 w 281980"/>
                <a:gd name="connsiteY2" fmla="*/ 316000 h 528611"/>
                <a:gd name="connsiteX3" fmla="*/ 59857 w 281980"/>
                <a:gd name="connsiteY3" fmla="*/ 272927 h 528611"/>
                <a:gd name="connsiteX4" fmla="*/ 129211 w 281980"/>
                <a:gd name="connsiteY4" fmla="*/ 208033 h 528611"/>
                <a:gd name="connsiteX5" fmla="*/ 270866 w 281980"/>
                <a:gd name="connsiteY5" fmla="*/ 84559 h 528611"/>
                <a:gd name="connsiteX6" fmla="*/ 160458 w 281980"/>
                <a:gd name="connsiteY6" fmla="*/ 1183 h 528611"/>
                <a:gd name="connsiteX7" fmla="*/ 31851 w 281980"/>
                <a:gd name="connsiteY7" fmla="*/ 26248 h 528611"/>
                <a:gd name="connsiteX8" fmla="*/ 52240 w 281980"/>
                <a:gd name="connsiteY8" fmla="*/ 78744 h 528611"/>
                <a:gd name="connsiteX9" fmla="*/ 133319 w 281980"/>
                <a:gd name="connsiteY9" fmla="*/ 54920 h 528611"/>
                <a:gd name="connsiteX10" fmla="*/ 210410 w 281980"/>
                <a:gd name="connsiteY10" fmla="*/ 119887 h 528611"/>
                <a:gd name="connsiteX11" fmla="*/ 167260 w 281980"/>
                <a:gd name="connsiteY11" fmla="*/ 147263 h 528611"/>
                <a:gd name="connsiteX12" fmla="*/ 88064 w 281980"/>
                <a:gd name="connsiteY12" fmla="*/ 156818 h 528611"/>
                <a:gd name="connsiteX13" fmla="*/ 47 w 281980"/>
                <a:gd name="connsiteY13" fmla="*/ 254546 h 528611"/>
                <a:gd name="connsiteX14" fmla="*/ 55253 w 281980"/>
                <a:gd name="connsiteY14" fmla="*/ 334562 h 528611"/>
                <a:gd name="connsiteX15" fmla="*/ 4196 w 281980"/>
                <a:gd name="connsiteY15" fmla="*/ 428755 h 528611"/>
                <a:gd name="connsiteX16" fmla="*/ 93330 w 281980"/>
                <a:gd name="connsiteY16" fmla="*/ 523536 h 528611"/>
                <a:gd name="connsiteX17" fmla="*/ 260890 w 281980"/>
                <a:gd name="connsiteY17" fmla="*/ 500243 h 528611"/>
                <a:gd name="connsiteX18" fmla="*/ 242004 w 281980"/>
                <a:gd name="connsiteY18" fmla="*/ 447036 h 528611"/>
                <a:gd name="connsiteX19" fmla="*/ 147133 w 281980"/>
                <a:gd name="connsiteY19" fmla="*/ 475049 h 528611"/>
                <a:gd name="connsiteX20" fmla="*/ 69392 w 281980"/>
                <a:gd name="connsiteY20" fmla="*/ 408769 h 528611"/>
                <a:gd name="connsiteX21" fmla="*/ 122791 w 281980"/>
                <a:gd name="connsiteY21" fmla="*/ 375385 h 528611"/>
                <a:gd name="connsiteX22" fmla="*/ 152182 w 281980"/>
                <a:gd name="connsiteY22" fmla="*/ 371150 h 528611"/>
                <a:gd name="connsiteX23" fmla="*/ 280381 w 281980"/>
                <a:gd name="connsiteY23" fmla="*/ 291298 h 528611"/>
                <a:gd name="connsiteX24" fmla="*/ 244606 w 281980"/>
                <a:gd name="connsiteY24" fmla="*/ 202597 h 528611"/>
                <a:gd name="connsiteX25" fmla="*/ 225480 w 281980"/>
                <a:gd name="connsiteY25" fmla="*/ 188959 h 528611"/>
                <a:gd name="connsiteX26" fmla="*/ 250080 w 281980"/>
                <a:gd name="connsiteY26" fmla="*/ 175827 h 528611"/>
                <a:gd name="connsiteX27" fmla="*/ 270866 w 281980"/>
                <a:gd name="connsiteY27" fmla="*/ 84559 h 528611"/>
                <a:gd name="connsiteX0" fmla="*/ 129211 w 281980"/>
                <a:gd name="connsiteY0" fmla="*/ 208033 h 528611"/>
                <a:gd name="connsiteX1" fmla="*/ 222241 w 281980"/>
                <a:gd name="connsiteY1" fmla="*/ 249457 h 528611"/>
                <a:gd name="connsiteX2" fmla="*/ 163522 w 281980"/>
                <a:gd name="connsiteY2" fmla="*/ 316000 h 528611"/>
                <a:gd name="connsiteX3" fmla="*/ 59857 w 281980"/>
                <a:gd name="connsiteY3" fmla="*/ 272927 h 528611"/>
                <a:gd name="connsiteX4" fmla="*/ 129211 w 281980"/>
                <a:gd name="connsiteY4" fmla="*/ 208033 h 528611"/>
                <a:gd name="connsiteX5" fmla="*/ 270866 w 281980"/>
                <a:gd name="connsiteY5" fmla="*/ 84559 h 528611"/>
                <a:gd name="connsiteX6" fmla="*/ 160458 w 281980"/>
                <a:gd name="connsiteY6" fmla="*/ 1183 h 528611"/>
                <a:gd name="connsiteX7" fmla="*/ 31851 w 281980"/>
                <a:gd name="connsiteY7" fmla="*/ 26248 h 528611"/>
                <a:gd name="connsiteX8" fmla="*/ 52240 w 281980"/>
                <a:gd name="connsiteY8" fmla="*/ 78744 h 528611"/>
                <a:gd name="connsiteX9" fmla="*/ 133319 w 281980"/>
                <a:gd name="connsiteY9" fmla="*/ 54920 h 528611"/>
                <a:gd name="connsiteX10" fmla="*/ 210410 w 281980"/>
                <a:gd name="connsiteY10" fmla="*/ 119887 h 528611"/>
                <a:gd name="connsiteX11" fmla="*/ 167260 w 281980"/>
                <a:gd name="connsiteY11" fmla="*/ 147263 h 528611"/>
                <a:gd name="connsiteX12" fmla="*/ 88064 w 281980"/>
                <a:gd name="connsiteY12" fmla="*/ 156818 h 528611"/>
                <a:gd name="connsiteX13" fmla="*/ 47 w 281980"/>
                <a:gd name="connsiteY13" fmla="*/ 254546 h 528611"/>
                <a:gd name="connsiteX14" fmla="*/ 55253 w 281980"/>
                <a:gd name="connsiteY14" fmla="*/ 334562 h 528611"/>
                <a:gd name="connsiteX15" fmla="*/ 4196 w 281980"/>
                <a:gd name="connsiteY15" fmla="*/ 428755 h 528611"/>
                <a:gd name="connsiteX16" fmla="*/ 93330 w 281980"/>
                <a:gd name="connsiteY16" fmla="*/ 523536 h 528611"/>
                <a:gd name="connsiteX17" fmla="*/ 260890 w 281980"/>
                <a:gd name="connsiteY17" fmla="*/ 500243 h 528611"/>
                <a:gd name="connsiteX18" fmla="*/ 242004 w 281980"/>
                <a:gd name="connsiteY18" fmla="*/ 447036 h 528611"/>
                <a:gd name="connsiteX19" fmla="*/ 147133 w 281980"/>
                <a:gd name="connsiteY19" fmla="*/ 475049 h 528611"/>
                <a:gd name="connsiteX20" fmla="*/ 69392 w 281980"/>
                <a:gd name="connsiteY20" fmla="*/ 408769 h 528611"/>
                <a:gd name="connsiteX21" fmla="*/ 122791 w 281980"/>
                <a:gd name="connsiteY21" fmla="*/ 375385 h 528611"/>
                <a:gd name="connsiteX22" fmla="*/ 152182 w 281980"/>
                <a:gd name="connsiteY22" fmla="*/ 371150 h 528611"/>
                <a:gd name="connsiteX23" fmla="*/ 280381 w 281980"/>
                <a:gd name="connsiteY23" fmla="*/ 291298 h 528611"/>
                <a:gd name="connsiteX24" fmla="*/ 244606 w 281980"/>
                <a:gd name="connsiteY24" fmla="*/ 202597 h 528611"/>
                <a:gd name="connsiteX25" fmla="*/ 225480 w 281980"/>
                <a:gd name="connsiteY25" fmla="*/ 188959 h 528611"/>
                <a:gd name="connsiteX26" fmla="*/ 250080 w 281980"/>
                <a:gd name="connsiteY26" fmla="*/ 175827 h 528611"/>
                <a:gd name="connsiteX27" fmla="*/ 270866 w 281980"/>
                <a:gd name="connsiteY27" fmla="*/ 84559 h 528611"/>
                <a:gd name="connsiteX0" fmla="*/ 129211 w 281980"/>
                <a:gd name="connsiteY0" fmla="*/ 208033 h 528611"/>
                <a:gd name="connsiteX1" fmla="*/ 222241 w 281980"/>
                <a:gd name="connsiteY1" fmla="*/ 249457 h 528611"/>
                <a:gd name="connsiteX2" fmla="*/ 163522 w 281980"/>
                <a:gd name="connsiteY2" fmla="*/ 316000 h 528611"/>
                <a:gd name="connsiteX3" fmla="*/ 59857 w 281980"/>
                <a:gd name="connsiteY3" fmla="*/ 272927 h 528611"/>
                <a:gd name="connsiteX4" fmla="*/ 129211 w 281980"/>
                <a:gd name="connsiteY4" fmla="*/ 208033 h 528611"/>
                <a:gd name="connsiteX5" fmla="*/ 270866 w 281980"/>
                <a:gd name="connsiteY5" fmla="*/ 84559 h 528611"/>
                <a:gd name="connsiteX6" fmla="*/ 160458 w 281980"/>
                <a:gd name="connsiteY6" fmla="*/ 1183 h 528611"/>
                <a:gd name="connsiteX7" fmla="*/ 31851 w 281980"/>
                <a:gd name="connsiteY7" fmla="*/ 26248 h 528611"/>
                <a:gd name="connsiteX8" fmla="*/ 52240 w 281980"/>
                <a:gd name="connsiteY8" fmla="*/ 78744 h 528611"/>
                <a:gd name="connsiteX9" fmla="*/ 133319 w 281980"/>
                <a:gd name="connsiteY9" fmla="*/ 54920 h 528611"/>
                <a:gd name="connsiteX10" fmla="*/ 210410 w 281980"/>
                <a:gd name="connsiteY10" fmla="*/ 119887 h 528611"/>
                <a:gd name="connsiteX11" fmla="*/ 167260 w 281980"/>
                <a:gd name="connsiteY11" fmla="*/ 147263 h 528611"/>
                <a:gd name="connsiteX12" fmla="*/ 88064 w 281980"/>
                <a:gd name="connsiteY12" fmla="*/ 156818 h 528611"/>
                <a:gd name="connsiteX13" fmla="*/ 47 w 281980"/>
                <a:gd name="connsiteY13" fmla="*/ 254546 h 528611"/>
                <a:gd name="connsiteX14" fmla="*/ 55253 w 281980"/>
                <a:gd name="connsiteY14" fmla="*/ 334562 h 528611"/>
                <a:gd name="connsiteX15" fmla="*/ 4196 w 281980"/>
                <a:gd name="connsiteY15" fmla="*/ 428755 h 528611"/>
                <a:gd name="connsiteX16" fmla="*/ 93330 w 281980"/>
                <a:gd name="connsiteY16" fmla="*/ 523536 h 528611"/>
                <a:gd name="connsiteX17" fmla="*/ 260890 w 281980"/>
                <a:gd name="connsiteY17" fmla="*/ 500243 h 528611"/>
                <a:gd name="connsiteX18" fmla="*/ 242004 w 281980"/>
                <a:gd name="connsiteY18" fmla="*/ 447036 h 528611"/>
                <a:gd name="connsiteX19" fmla="*/ 147133 w 281980"/>
                <a:gd name="connsiteY19" fmla="*/ 475049 h 528611"/>
                <a:gd name="connsiteX20" fmla="*/ 69392 w 281980"/>
                <a:gd name="connsiteY20" fmla="*/ 408769 h 528611"/>
                <a:gd name="connsiteX21" fmla="*/ 122791 w 281980"/>
                <a:gd name="connsiteY21" fmla="*/ 375385 h 528611"/>
                <a:gd name="connsiteX22" fmla="*/ 152182 w 281980"/>
                <a:gd name="connsiteY22" fmla="*/ 371150 h 528611"/>
                <a:gd name="connsiteX23" fmla="*/ 280381 w 281980"/>
                <a:gd name="connsiteY23" fmla="*/ 291298 h 528611"/>
                <a:gd name="connsiteX24" fmla="*/ 244606 w 281980"/>
                <a:gd name="connsiteY24" fmla="*/ 202597 h 528611"/>
                <a:gd name="connsiteX25" fmla="*/ 225480 w 281980"/>
                <a:gd name="connsiteY25" fmla="*/ 188959 h 528611"/>
                <a:gd name="connsiteX26" fmla="*/ 250080 w 281980"/>
                <a:gd name="connsiteY26" fmla="*/ 175827 h 528611"/>
                <a:gd name="connsiteX27" fmla="*/ 270866 w 281980"/>
                <a:gd name="connsiteY27" fmla="*/ 84559 h 528611"/>
                <a:gd name="connsiteX0" fmla="*/ 129211 w 281980"/>
                <a:gd name="connsiteY0" fmla="*/ 208033 h 528611"/>
                <a:gd name="connsiteX1" fmla="*/ 222241 w 281980"/>
                <a:gd name="connsiteY1" fmla="*/ 249457 h 528611"/>
                <a:gd name="connsiteX2" fmla="*/ 163522 w 281980"/>
                <a:gd name="connsiteY2" fmla="*/ 316000 h 528611"/>
                <a:gd name="connsiteX3" fmla="*/ 59857 w 281980"/>
                <a:gd name="connsiteY3" fmla="*/ 272927 h 528611"/>
                <a:gd name="connsiteX4" fmla="*/ 129211 w 281980"/>
                <a:gd name="connsiteY4" fmla="*/ 208033 h 528611"/>
                <a:gd name="connsiteX5" fmla="*/ 270866 w 281980"/>
                <a:gd name="connsiteY5" fmla="*/ 84559 h 528611"/>
                <a:gd name="connsiteX6" fmla="*/ 160458 w 281980"/>
                <a:gd name="connsiteY6" fmla="*/ 1183 h 528611"/>
                <a:gd name="connsiteX7" fmla="*/ 31851 w 281980"/>
                <a:gd name="connsiteY7" fmla="*/ 26248 h 528611"/>
                <a:gd name="connsiteX8" fmla="*/ 52240 w 281980"/>
                <a:gd name="connsiteY8" fmla="*/ 78744 h 528611"/>
                <a:gd name="connsiteX9" fmla="*/ 133319 w 281980"/>
                <a:gd name="connsiteY9" fmla="*/ 54920 h 528611"/>
                <a:gd name="connsiteX10" fmla="*/ 210410 w 281980"/>
                <a:gd name="connsiteY10" fmla="*/ 119887 h 528611"/>
                <a:gd name="connsiteX11" fmla="*/ 167260 w 281980"/>
                <a:gd name="connsiteY11" fmla="*/ 147263 h 528611"/>
                <a:gd name="connsiteX12" fmla="*/ 88064 w 281980"/>
                <a:gd name="connsiteY12" fmla="*/ 156818 h 528611"/>
                <a:gd name="connsiteX13" fmla="*/ 47 w 281980"/>
                <a:gd name="connsiteY13" fmla="*/ 254546 h 528611"/>
                <a:gd name="connsiteX14" fmla="*/ 55253 w 281980"/>
                <a:gd name="connsiteY14" fmla="*/ 334562 h 528611"/>
                <a:gd name="connsiteX15" fmla="*/ 4196 w 281980"/>
                <a:gd name="connsiteY15" fmla="*/ 428755 h 528611"/>
                <a:gd name="connsiteX16" fmla="*/ 93330 w 281980"/>
                <a:gd name="connsiteY16" fmla="*/ 523536 h 528611"/>
                <a:gd name="connsiteX17" fmla="*/ 260890 w 281980"/>
                <a:gd name="connsiteY17" fmla="*/ 500243 h 528611"/>
                <a:gd name="connsiteX18" fmla="*/ 241887 w 281980"/>
                <a:gd name="connsiteY18" fmla="*/ 448804 h 528611"/>
                <a:gd name="connsiteX19" fmla="*/ 147133 w 281980"/>
                <a:gd name="connsiteY19" fmla="*/ 475049 h 528611"/>
                <a:gd name="connsiteX20" fmla="*/ 69392 w 281980"/>
                <a:gd name="connsiteY20" fmla="*/ 408769 h 528611"/>
                <a:gd name="connsiteX21" fmla="*/ 122791 w 281980"/>
                <a:gd name="connsiteY21" fmla="*/ 375385 h 528611"/>
                <a:gd name="connsiteX22" fmla="*/ 152182 w 281980"/>
                <a:gd name="connsiteY22" fmla="*/ 371150 h 528611"/>
                <a:gd name="connsiteX23" fmla="*/ 280381 w 281980"/>
                <a:gd name="connsiteY23" fmla="*/ 291298 h 528611"/>
                <a:gd name="connsiteX24" fmla="*/ 244606 w 281980"/>
                <a:gd name="connsiteY24" fmla="*/ 202597 h 528611"/>
                <a:gd name="connsiteX25" fmla="*/ 225480 w 281980"/>
                <a:gd name="connsiteY25" fmla="*/ 188959 h 528611"/>
                <a:gd name="connsiteX26" fmla="*/ 250080 w 281980"/>
                <a:gd name="connsiteY26" fmla="*/ 175827 h 528611"/>
                <a:gd name="connsiteX27" fmla="*/ 270866 w 281980"/>
                <a:gd name="connsiteY27" fmla="*/ 84559 h 528611"/>
                <a:gd name="connsiteX0" fmla="*/ 129211 w 281980"/>
                <a:gd name="connsiteY0" fmla="*/ 208033 h 528611"/>
                <a:gd name="connsiteX1" fmla="*/ 222241 w 281980"/>
                <a:gd name="connsiteY1" fmla="*/ 249457 h 528611"/>
                <a:gd name="connsiteX2" fmla="*/ 163522 w 281980"/>
                <a:gd name="connsiteY2" fmla="*/ 316000 h 528611"/>
                <a:gd name="connsiteX3" fmla="*/ 59857 w 281980"/>
                <a:gd name="connsiteY3" fmla="*/ 272927 h 528611"/>
                <a:gd name="connsiteX4" fmla="*/ 129211 w 281980"/>
                <a:gd name="connsiteY4" fmla="*/ 208033 h 528611"/>
                <a:gd name="connsiteX5" fmla="*/ 270866 w 281980"/>
                <a:gd name="connsiteY5" fmla="*/ 84559 h 528611"/>
                <a:gd name="connsiteX6" fmla="*/ 160458 w 281980"/>
                <a:gd name="connsiteY6" fmla="*/ 1183 h 528611"/>
                <a:gd name="connsiteX7" fmla="*/ 31851 w 281980"/>
                <a:gd name="connsiteY7" fmla="*/ 26248 h 528611"/>
                <a:gd name="connsiteX8" fmla="*/ 52240 w 281980"/>
                <a:gd name="connsiteY8" fmla="*/ 78744 h 528611"/>
                <a:gd name="connsiteX9" fmla="*/ 133319 w 281980"/>
                <a:gd name="connsiteY9" fmla="*/ 54920 h 528611"/>
                <a:gd name="connsiteX10" fmla="*/ 210410 w 281980"/>
                <a:gd name="connsiteY10" fmla="*/ 119887 h 528611"/>
                <a:gd name="connsiteX11" fmla="*/ 167260 w 281980"/>
                <a:gd name="connsiteY11" fmla="*/ 147263 h 528611"/>
                <a:gd name="connsiteX12" fmla="*/ 88064 w 281980"/>
                <a:gd name="connsiteY12" fmla="*/ 156818 h 528611"/>
                <a:gd name="connsiteX13" fmla="*/ 47 w 281980"/>
                <a:gd name="connsiteY13" fmla="*/ 254546 h 528611"/>
                <a:gd name="connsiteX14" fmla="*/ 55253 w 281980"/>
                <a:gd name="connsiteY14" fmla="*/ 334562 h 528611"/>
                <a:gd name="connsiteX15" fmla="*/ 4196 w 281980"/>
                <a:gd name="connsiteY15" fmla="*/ 428755 h 528611"/>
                <a:gd name="connsiteX16" fmla="*/ 93330 w 281980"/>
                <a:gd name="connsiteY16" fmla="*/ 523536 h 528611"/>
                <a:gd name="connsiteX17" fmla="*/ 260890 w 281980"/>
                <a:gd name="connsiteY17" fmla="*/ 500243 h 528611"/>
                <a:gd name="connsiteX18" fmla="*/ 241887 w 281980"/>
                <a:gd name="connsiteY18" fmla="*/ 448804 h 528611"/>
                <a:gd name="connsiteX19" fmla="*/ 147133 w 281980"/>
                <a:gd name="connsiteY19" fmla="*/ 475049 h 528611"/>
                <a:gd name="connsiteX20" fmla="*/ 69392 w 281980"/>
                <a:gd name="connsiteY20" fmla="*/ 408769 h 528611"/>
                <a:gd name="connsiteX21" fmla="*/ 122791 w 281980"/>
                <a:gd name="connsiteY21" fmla="*/ 375385 h 528611"/>
                <a:gd name="connsiteX22" fmla="*/ 152182 w 281980"/>
                <a:gd name="connsiteY22" fmla="*/ 371150 h 528611"/>
                <a:gd name="connsiteX23" fmla="*/ 280381 w 281980"/>
                <a:gd name="connsiteY23" fmla="*/ 291298 h 528611"/>
                <a:gd name="connsiteX24" fmla="*/ 244606 w 281980"/>
                <a:gd name="connsiteY24" fmla="*/ 202597 h 528611"/>
                <a:gd name="connsiteX25" fmla="*/ 225480 w 281980"/>
                <a:gd name="connsiteY25" fmla="*/ 188959 h 528611"/>
                <a:gd name="connsiteX26" fmla="*/ 250080 w 281980"/>
                <a:gd name="connsiteY26" fmla="*/ 175827 h 528611"/>
                <a:gd name="connsiteX27" fmla="*/ 270866 w 281980"/>
                <a:gd name="connsiteY27" fmla="*/ 84559 h 528611"/>
                <a:gd name="connsiteX0" fmla="*/ 129211 w 281980"/>
                <a:gd name="connsiteY0" fmla="*/ 208033 h 528611"/>
                <a:gd name="connsiteX1" fmla="*/ 222241 w 281980"/>
                <a:gd name="connsiteY1" fmla="*/ 249457 h 528611"/>
                <a:gd name="connsiteX2" fmla="*/ 163522 w 281980"/>
                <a:gd name="connsiteY2" fmla="*/ 316000 h 528611"/>
                <a:gd name="connsiteX3" fmla="*/ 59857 w 281980"/>
                <a:gd name="connsiteY3" fmla="*/ 272927 h 528611"/>
                <a:gd name="connsiteX4" fmla="*/ 129211 w 281980"/>
                <a:gd name="connsiteY4" fmla="*/ 208033 h 528611"/>
                <a:gd name="connsiteX5" fmla="*/ 270866 w 281980"/>
                <a:gd name="connsiteY5" fmla="*/ 84559 h 528611"/>
                <a:gd name="connsiteX6" fmla="*/ 160458 w 281980"/>
                <a:gd name="connsiteY6" fmla="*/ 1183 h 528611"/>
                <a:gd name="connsiteX7" fmla="*/ 31851 w 281980"/>
                <a:gd name="connsiteY7" fmla="*/ 26248 h 528611"/>
                <a:gd name="connsiteX8" fmla="*/ 52240 w 281980"/>
                <a:gd name="connsiteY8" fmla="*/ 78744 h 528611"/>
                <a:gd name="connsiteX9" fmla="*/ 133319 w 281980"/>
                <a:gd name="connsiteY9" fmla="*/ 54920 h 528611"/>
                <a:gd name="connsiteX10" fmla="*/ 210410 w 281980"/>
                <a:gd name="connsiteY10" fmla="*/ 119887 h 528611"/>
                <a:gd name="connsiteX11" fmla="*/ 167260 w 281980"/>
                <a:gd name="connsiteY11" fmla="*/ 147263 h 528611"/>
                <a:gd name="connsiteX12" fmla="*/ 88064 w 281980"/>
                <a:gd name="connsiteY12" fmla="*/ 156818 h 528611"/>
                <a:gd name="connsiteX13" fmla="*/ 47 w 281980"/>
                <a:gd name="connsiteY13" fmla="*/ 254546 h 528611"/>
                <a:gd name="connsiteX14" fmla="*/ 55253 w 281980"/>
                <a:gd name="connsiteY14" fmla="*/ 334562 h 528611"/>
                <a:gd name="connsiteX15" fmla="*/ 4196 w 281980"/>
                <a:gd name="connsiteY15" fmla="*/ 428755 h 528611"/>
                <a:gd name="connsiteX16" fmla="*/ 93330 w 281980"/>
                <a:gd name="connsiteY16" fmla="*/ 523536 h 528611"/>
                <a:gd name="connsiteX17" fmla="*/ 260890 w 281980"/>
                <a:gd name="connsiteY17" fmla="*/ 500243 h 528611"/>
                <a:gd name="connsiteX18" fmla="*/ 241887 w 281980"/>
                <a:gd name="connsiteY18" fmla="*/ 448804 h 528611"/>
                <a:gd name="connsiteX19" fmla="*/ 147133 w 281980"/>
                <a:gd name="connsiteY19" fmla="*/ 475049 h 528611"/>
                <a:gd name="connsiteX20" fmla="*/ 69392 w 281980"/>
                <a:gd name="connsiteY20" fmla="*/ 408769 h 528611"/>
                <a:gd name="connsiteX21" fmla="*/ 122791 w 281980"/>
                <a:gd name="connsiteY21" fmla="*/ 375385 h 528611"/>
                <a:gd name="connsiteX22" fmla="*/ 152182 w 281980"/>
                <a:gd name="connsiteY22" fmla="*/ 371150 h 528611"/>
                <a:gd name="connsiteX23" fmla="*/ 280381 w 281980"/>
                <a:gd name="connsiteY23" fmla="*/ 291298 h 528611"/>
                <a:gd name="connsiteX24" fmla="*/ 244606 w 281980"/>
                <a:gd name="connsiteY24" fmla="*/ 202597 h 528611"/>
                <a:gd name="connsiteX25" fmla="*/ 225480 w 281980"/>
                <a:gd name="connsiteY25" fmla="*/ 188959 h 528611"/>
                <a:gd name="connsiteX26" fmla="*/ 250080 w 281980"/>
                <a:gd name="connsiteY26" fmla="*/ 175827 h 528611"/>
                <a:gd name="connsiteX27" fmla="*/ 270866 w 281980"/>
                <a:gd name="connsiteY27" fmla="*/ 84559 h 528611"/>
                <a:gd name="connsiteX0" fmla="*/ 129211 w 281980"/>
                <a:gd name="connsiteY0" fmla="*/ 208033 h 528611"/>
                <a:gd name="connsiteX1" fmla="*/ 222241 w 281980"/>
                <a:gd name="connsiteY1" fmla="*/ 249457 h 528611"/>
                <a:gd name="connsiteX2" fmla="*/ 163522 w 281980"/>
                <a:gd name="connsiteY2" fmla="*/ 316000 h 528611"/>
                <a:gd name="connsiteX3" fmla="*/ 59857 w 281980"/>
                <a:gd name="connsiteY3" fmla="*/ 272927 h 528611"/>
                <a:gd name="connsiteX4" fmla="*/ 129211 w 281980"/>
                <a:gd name="connsiteY4" fmla="*/ 208033 h 528611"/>
                <a:gd name="connsiteX5" fmla="*/ 270866 w 281980"/>
                <a:gd name="connsiteY5" fmla="*/ 84559 h 528611"/>
                <a:gd name="connsiteX6" fmla="*/ 160458 w 281980"/>
                <a:gd name="connsiteY6" fmla="*/ 1183 h 528611"/>
                <a:gd name="connsiteX7" fmla="*/ 31851 w 281980"/>
                <a:gd name="connsiteY7" fmla="*/ 26248 h 528611"/>
                <a:gd name="connsiteX8" fmla="*/ 52240 w 281980"/>
                <a:gd name="connsiteY8" fmla="*/ 78744 h 528611"/>
                <a:gd name="connsiteX9" fmla="*/ 133319 w 281980"/>
                <a:gd name="connsiteY9" fmla="*/ 54920 h 528611"/>
                <a:gd name="connsiteX10" fmla="*/ 210410 w 281980"/>
                <a:gd name="connsiteY10" fmla="*/ 119887 h 528611"/>
                <a:gd name="connsiteX11" fmla="*/ 167260 w 281980"/>
                <a:gd name="connsiteY11" fmla="*/ 147263 h 528611"/>
                <a:gd name="connsiteX12" fmla="*/ 88064 w 281980"/>
                <a:gd name="connsiteY12" fmla="*/ 156818 h 528611"/>
                <a:gd name="connsiteX13" fmla="*/ 47 w 281980"/>
                <a:gd name="connsiteY13" fmla="*/ 254546 h 528611"/>
                <a:gd name="connsiteX14" fmla="*/ 55253 w 281980"/>
                <a:gd name="connsiteY14" fmla="*/ 334562 h 528611"/>
                <a:gd name="connsiteX15" fmla="*/ 4196 w 281980"/>
                <a:gd name="connsiteY15" fmla="*/ 428755 h 528611"/>
                <a:gd name="connsiteX16" fmla="*/ 93330 w 281980"/>
                <a:gd name="connsiteY16" fmla="*/ 523536 h 528611"/>
                <a:gd name="connsiteX17" fmla="*/ 260890 w 281980"/>
                <a:gd name="connsiteY17" fmla="*/ 500243 h 528611"/>
                <a:gd name="connsiteX18" fmla="*/ 241887 w 281980"/>
                <a:gd name="connsiteY18" fmla="*/ 448804 h 528611"/>
                <a:gd name="connsiteX19" fmla="*/ 147133 w 281980"/>
                <a:gd name="connsiteY19" fmla="*/ 475049 h 528611"/>
                <a:gd name="connsiteX20" fmla="*/ 69392 w 281980"/>
                <a:gd name="connsiteY20" fmla="*/ 408769 h 528611"/>
                <a:gd name="connsiteX21" fmla="*/ 122791 w 281980"/>
                <a:gd name="connsiteY21" fmla="*/ 375385 h 528611"/>
                <a:gd name="connsiteX22" fmla="*/ 152182 w 281980"/>
                <a:gd name="connsiteY22" fmla="*/ 371150 h 528611"/>
                <a:gd name="connsiteX23" fmla="*/ 280381 w 281980"/>
                <a:gd name="connsiteY23" fmla="*/ 291298 h 528611"/>
                <a:gd name="connsiteX24" fmla="*/ 244606 w 281980"/>
                <a:gd name="connsiteY24" fmla="*/ 202597 h 528611"/>
                <a:gd name="connsiteX25" fmla="*/ 225480 w 281980"/>
                <a:gd name="connsiteY25" fmla="*/ 188959 h 528611"/>
                <a:gd name="connsiteX26" fmla="*/ 250080 w 281980"/>
                <a:gd name="connsiteY26" fmla="*/ 175827 h 528611"/>
                <a:gd name="connsiteX27" fmla="*/ 270866 w 281980"/>
                <a:gd name="connsiteY27" fmla="*/ 84559 h 528611"/>
                <a:gd name="connsiteX0" fmla="*/ 129211 w 281980"/>
                <a:gd name="connsiteY0" fmla="*/ 208033 h 528611"/>
                <a:gd name="connsiteX1" fmla="*/ 222241 w 281980"/>
                <a:gd name="connsiteY1" fmla="*/ 249457 h 528611"/>
                <a:gd name="connsiteX2" fmla="*/ 163522 w 281980"/>
                <a:gd name="connsiteY2" fmla="*/ 316000 h 528611"/>
                <a:gd name="connsiteX3" fmla="*/ 59857 w 281980"/>
                <a:gd name="connsiteY3" fmla="*/ 272927 h 528611"/>
                <a:gd name="connsiteX4" fmla="*/ 129211 w 281980"/>
                <a:gd name="connsiteY4" fmla="*/ 208033 h 528611"/>
                <a:gd name="connsiteX5" fmla="*/ 270866 w 281980"/>
                <a:gd name="connsiteY5" fmla="*/ 84559 h 528611"/>
                <a:gd name="connsiteX6" fmla="*/ 160458 w 281980"/>
                <a:gd name="connsiteY6" fmla="*/ 1183 h 528611"/>
                <a:gd name="connsiteX7" fmla="*/ 31851 w 281980"/>
                <a:gd name="connsiteY7" fmla="*/ 26248 h 528611"/>
                <a:gd name="connsiteX8" fmla="*/ 52240 w 281980"/>
                <a:gd name="connsiteY8" fmla="*/ 78744 h 528611"/>
                <a:gd name="connsiteX9" fmla="*/ 133319 w 281980"/>
                <a:gd name="connsiteY9" fmla="*/ 54920 h 528611"/>
                <a:gd name="connsiteX10" fmla="*/ 210410 w 281980"/>
                <a:gd name="connsiteY10" fmla="*/ 119887 h 528611"/>
                <a:gd name="connsiteX11" fmla="*/ 167260 w 281980"/>
                <a:gd name="connsiteY11" fmla="*/ 147263 h 528611"/>
                <a:gd name="connsiteX12" fmla="*/ 88064 w 281980"/>
                <a:gd name="connsiteY12" fmla="*/ 156818 h 528611"/>
                <a:gd name="connsiteX13" fmla="*/ 47 w 281980"/>
                <a:gd name="connsiteY13" fmla="*/ 254546 h 528611"/>
                <a:gd name="connsiteX14" fmla="*/ 55253 w 281980"/>
                <a:gd name="connsiteY14" fmla="*/ 334562 h 528611"/>
                <a:gd name="connsiteX15" fmla="*/ 4196 w 281980"/>
                <a:gd name="connsiteY15" fmla="*/ 428755 h 528611"/>
                <a:gd name="connsiteX16" fmla="*/ 93330 w 281980"/>
                <a:gd name="connsiteY16" fmla="*/ 523536 h 528611"/>
                <a:gd name="connsiteX17" fmla="*/ 260890 w 281980"/>
                <a:gd name="connsiteY17" fmla="*/ 500243 h 528611"/>
                <a:gd name="connsiteX18" fmla="*/ 241887 w 281980"/>
                <a:gd name="connsiteY18" fmla="*/ 448804 h 528611"/>
                <a:gd name="connsiteX19" fmla="*/ 147133 w 281980"/>
                <a:gd name="connsiteY19" fmla="*/ 475049 h 528611"/>
                <a:gd name="connsiteX20" fmla="*/ 69392 w 281980"/>
                <a:gd name="connsiteY20" fmla="*/ 408769 h 528611"/>
                <a:gd name="connsiteX21" fmla="*/ 122791 w 281980"/>
                <a:gd name="connsiteY21" fmla="*/ 375385 h 528611"/>
                <a:gd name="connsiteX22" fmla="*/ 152182 w 281980"/>
                <a:gd name="connsiteY22" fmla="*/ 371150 h 528611"/>
                <a:gd name="connsiteX23" fmla="*/ 280381 w 281980"/>
                <a:gd name="connsiteY23" fmla="*/ 291298 h 528611"/>
                <a:gd name="connsiteX24" fmla="*/ 244606 w 281980"/>
                <a:gd name="connsiteY24" fmla="*/ 202597 h 528611"/>
                <a:gd name="connsiteX25" fmla="*/ 225480 w 281980"/>
                <a:gd name="connsiteY25" fmla="*/ 188959 h 528611"/>
                <a:gd name="connsiteX26" fmla="*/ 250080 w 281980"/>
                <a:gd name="connsiteY26" fmla="*/ 175827 h 528611"/>
                <a:gd name="connsiteX27" fmla="*/ 270866 w 281980"/>
                <a:gd name="connsiteY27" fmla="*/ 84559 h 528611"/>
                <a:gd name="connsiteX0" fmla="*/ 129211 w 281980"/>
                <a:gd name="connsiteY0" fmla="*/ 208033 h 528611"/>
                <a:gd name="connsiteX1" fmla="*/ 222241 w 281980"/>
                <a:gd name="connsiteY1" fmla="*/ 249457 h 528611"/>
                <a:gd name="connsiteX2" fmla="*/ 163522 w 281980"/>
                <a:gd name="connsiteY2" fmla="*/ 316000 h 528611"/>
                <a:gd name="connsiteX3" fmla="*/ 59857 w 281980"/>
                <a:gd name="connsiteY3" fmla="*/ 272927 h 528611"/>
                <a:gd name="connsiteX4" fmla="*/ 129211 w 281980"/>
                <a:gd name="connsiteY4" fmla="*/ 208033 h 528611"/>
                <a:gd name="connsiteX5" fmla="*/ 270866 w 281980"/>
                <a:gd name="connsiteY5" fmla="*/ 84559 h 528611"/>
                <a:gd name="connsiteX6" fmla="*/ 160458 w 281980"/>
                <a:gd name="connsiteY6" fmla="*/ 1183 h 528611"/>
                <a:gd name="connsiteX7" fmla="*/ 31851 w 281980"/>
                <a:gd name="connsiteY7" fmla="*/ 26248 h 528611"/>
                <a:gd name="connsiteX8" fmla="*/ 52240 w 281980"/>
                <a:gd name="connsiteY8" fmla="*/ 78744 h 528611"/>
                <a:gd name="connsiteX9" fmla="*/ 133319 w 281980"/>
                <a:gd name="connsiteY9" fmla="*/ 54920 h 528611"/>
                <a:gd name="connsiteX10" fmla="*/ 210410 w 281980"/>
                <a:gd name="connsiteY10" fmla="*/ 119887 h 528611"/>
                <a:gd name="connsiteX11" fmla="*/ 167260 w 281980"/>
                <a:gd name="connsiteY11" fmla="*/ 147263 h 528611"/>
                <a:gd name="connsiteX12" fmla="*/ 88064 w 281980"/>
                <a:gd name="connsiteY12" fmla="*/ 156818 h 528611"/>
                <a:gd name="connsiteX13" fmla="*/ 47 w 281980"/>
                <a:gd name="connsiteY13" fmla="*/ 254546 h 528611"/>
                <a:gd name="connsiteX14" fmla="*/ 55253 w 281980"/>
                <a:gd name="connsiteY14" fmla="*/ 334562 h 528611"/>
                <a:gd name="connsiteX15" fmla="*/ 4196 w 281980"/>
                <a:gd name="connsiteY15" fmla="*/ 428755 h 528611"/>
                <a:gd name="connsiteX16" fmla="*/ 93330 w 281980"/>
                <a:gd name="connsiteY16" fmla="*/ 523536 h 528611"/>
                <a:gd name="connsiteX17" fmla="*/ 260890 w 281980"/>
                <a:gd name="connsiteY17" fmla="*/ 500243 h 528611"/>
                <a:gd name="connsiteX18" fmla="*/ 241887 w 281980"/>
                <a:gd name="connsiteY18" fmla="*/ 448804 h 528611"/>
                <a:gd name="connsiteX19" fmla="*/ 147133 w 281980"/>
                <a:gd name="connsiteY19" fmla="*/ 475049 h 528611"/>
                <a:gd name="connsiteX20" fmla="*/ 69392 w 281980"/>
                <a:gd name="connsiteY20" fmla="*/ 408769 h 528611"/>
                <a:gd name="connsiteX21" fmla="*/ 122791 w 281980"/>
                <a:gd name="connsiteY21" fmla="*/ 375385 h 528611"/>
                <a:gd name="connsiteX22" fmla="*/ 152182 w 281980"/>
                <a:gd name="connsiteY22" fmla="*/ 371150 h 528611"/>
                <a:gd name="connsiteX23" fmla="*/ 280381 w 281980"/>
                <a:gd name="connsiteY23" fmla="*/ 291298 h 528611"/>
                <a:gd name="connsiteX24" fmla="*/ 244606 w 281980"/>
                <a:gd name="connsiteY24" fmla="*/ 202597 h 528611"/>
                <a:gd name="connsiteX25" fmla="*/ 225480 w 281980"/>
                <a:gd name="connsiteY25" fmla="*/ 188959 h 528611"/>
                <a:gd name="connsiteX26" fmla="*/ 250080 w 281980"/>
                <a:gd name="connsiteY26" fmla="*/ 175827 h 528611"/>
                <a:gd name="connsiteX27" fmla="*/ 270866 w 281980"/>
                <a:gd name="connsiteY27" fmla="*/ 84559 h 528611"/>
                <a:gd name="connsiteX0" fmla="*/ 129211 w 281980"/>
                <a:gd name="connsiteY0" fmla="*/ 208033 h 528611"/>
                <a:gd name="connsiteX1" fmla="*/ 222241 w 281980"/>
                <a:gd name="connsiteY1" fmla="*/ 249457 h 528611"/>
                <a:gd name="connsiteX2" fmla="*/ 163522 w 281980"/>
                <a:gd name="connsiteY2" fmla="*/ 316000 h 528611"/>
                <a:gd name="connsiteX3" fmla="*/ 59857 w 281980"/>
                <a:gd name="connsiteY3" fmla="*/ 272927 h 528611"/>
                <a:gd name="connsiteX4" fmla="*/ 129211 w 281980"/>
                <a:gd name="connsiteY4" fmla="*/ 208033 h 528611"/>
                <a:gd name="connsiteX5" fmla="*/ 270866 w 281980"/>
                <a:gd name="connsiteY5" fmla="*/ 84559 h 528611"/>
                <a:gd name="connsiteX6" fmla="*/ 160458 w 281980"/>
                <a:gd name="connsiteY6" fmla="*/ 1183 h 528611"/>
                <a:gd name="connsiteX7" fmla="*/ 31851 w 281980"/>
                <a:gd name="connsiteY7" fmla="*/ 26248 h 528611"/>
                <a:gd name="connsiteX8" fmla="*/ 52240 w 281980"/>
                <a:gd name="connsiteY8" fmla="*/ 78744 h 528611"/>
                <a:gd name="connsiteX9" fmla="*/ 133319 w 281980"/>
                <a:gd name="connsiteY9" fmla="*/ 54920 h 528611"/>
                <a:gd name="connsiteX10" fmla="*/ 210410 w 281980"/>
                <a:gd name="connsiteY10" fmla="*/ 119887 h 528611"/>
                <a:gd name="connsiteX11" fmla="*/ 167260 w 281980"/>
                <a:gd name="connsiteY11" fmla="*/ 147263 h 528611"/>
                <a:gd name="connsiteX12" fmla="*/ 88064 w 281980"/>
                <a:gd name="connsiteY12" fmla="*/ 156818 h 528611"/>
                <a:gd name="connsiteX13" fmla="*/ 47 w 281980"/>
                <a:gd name="connsiteY13" fmla="*/ 254546 h 528611"/>
                <a:gd name="connsiteX14" fmla="*/ 55253 w 281980"/>
                <a:gd name="connsiteY14" fmla="*/ 334562 h 528611"/>
                <a:gd name="connsiteX15" fmla="*/ 4196 w 281980"/>
                <a:gd name="connsiteY15" fmla="*/ 428755 h 528611"/>
                <a:gd name="connsiteX16" fmla="*/ 93330 w 281980"/>
                <a:gd name="connsiteY16" fmla="*/ 523536 h 528611"/>
                <a:gd name="connsiteX17" fmla="*/ 260890 w 281980"/>
                <a:gd name="connsiteY17" fmla="*/ 500243 h 528611"/>
                <a:gd name="connsiteX18" fmla="*/ 241887 w 281980"/>
                <a:gd name="connsiteY18" fmla="*/ 448804 h 528611"/>
                <a:gd name="connsiteX19" fmla="*/ 147133 w 281980"/>
                <a:gd name="connsiteY19" fmla="*/ 475049 h 528611"/>
                <a:gd name="connsiteX20" fmla="*/ 69392 w 281980"/>
                <a:gd name="connsiteY20" fmla="*/ 408769 h 528611"/>
                <a:gd name="connsiteX21" fmla="*/ 122791 w 281980"/>
                <a:gd name="connsiteY21" fmla="*/ 375385 h 528611"/>
                <a:gd name="connsiteX22" fmla="*/ 152182 w 281980"/>
                <a:gd name="connsiteY22" fmla="*/ 371150 h 528611"/>
                <a:gd name="connsiteX23" fmla="*/ 280381 w 281980"/>
                <a:gd name="connsiteY23" fmla="*/ 291298 h 528611"/>
                <a:gd name="connsiteX24" fmla="*/ 244606 w 281980"/>
                <a:gd name="connsiteY24" fmla="*/ 202597 h 528611"/>
                <a:gd name="connsiteX25" fmla="*/ 225480 w 281980"/>
                <a:gd name="connsiteY25" fmla="*/ 188959 h 528611"/>
                <a:gd name="connsiteX26" fmla="*/ 250080 w 281980"/>
                <a:gd name="connsiteY26" fmla="*/ 175827 h 528611"/>
                <a:gd name="connsiteX27" fmla="*/ 270866 w 281980"/>
                <a:gd name="connsiteY27" fmla="*/ 84559 h 528611"/>
                <a:gd name="connsiteX0" fmla="*/ 129211 w 281980"/>
                <a:gd name="connsiteY0" fmla="*/ 208033 h 528611"/>
                <a:gd name="connsiteX1" fmla="*/ 222241 w 281980"/>
                <a:gd name="connsiteY1" fmla="*/ 249457 h 528611"/>
                <a:gd name="connsiteX2" fmla="*/ 163522 w 281980"/>
                <a:gd name="connsiteY2" fmla="*/ 316000 h 528611"/>
                <a:gd name="connsiteX3" fmla="*/ 59857 w 281980"/>
                <a:gd name="connsiteY3" fmla="*/ 272927 h 528611"/>
                <a:gd name="connsiteX4" fmla="*/ 129211 w 281980"/>
                <a:gd name="connsiteY4" fmla="*/ 208033 h 528611"/>
                <a:gd name="connsiteX5" fmla="*/ 270866 w 281980"/>
                <a:gd name="connsiteY5" fmla="*/ 84559 h 528611"/>
                <a:gd name="connsiteX6" fmla="*/ 160458 w 281980"/>
                <a:gd name="connsiteY6" fmla="*/ 1183 h 528611"/>
                <a:gd name="connsiteX7" fmla="*/ 31851 w 281980"/>
                <a:gd name="connsiteY7" fmla="*/ 26248 h 528611"/>
                <a:gd name="connsiteX8" fmla="*/ 52356 w 281980"/>
                <a:gd name="connsiteY8" fmla="*/ 76975 h 528611"/>
                <a:gd name="connsiteX9" fmla="*/ 133319 w 281980"/>
                <a:gd name="connsiteY9" fmla="*/ 54920 h 528611"/>
                <a:gd name="connsiteX10" fmla="*/ 210410 w 281980"/>
                <a:gd name="connsiteY10" fmla="*/ 119887 h 528611"/>
                <a:gd name="connsiteX11" fmla="*/ 167260 w 281980"/>
                <a:gd name="connsiteY11" fmla="*/ 147263 h 528611"/>
                <a:gd name="connsiteX12" fmla="*/ 88064 w 281980"/>
                <a:gd name="connsiteY12" fmla="*/ 156818 h 528611"/>
                <a:gd name="connsiteX13" fmla="*/ 47 w 281980"/>
                <a:gd name="connsiteY13" fmla="*/ 254546 h 528611"/>
                <a:gd name="connsiteX14" fmla="*/ 55253 w 281980"/>
                <a:gd name="connsiteY14" fmla="*/ 334562 h 528611"/>
                <a:gd name="connsiteX15" fmla="*/ 4196 w 281980"/>
                <a:gd name="connsiteY15" fmla="*/ 428755 h 528611"/>
                <a:gd name="connsiteX16" fmla="*/ 93330 w 281980"/>
                <a:gd name="connsiteY16" fmla="*/ 523536 h 528611"/>
                <a:gd name="connsiteX17" fmla="*/ 260890 w 281980"/>
                <a:gd name="connsiteY17" fmla="*/ 500243 h 528611"/>
                <a:gd name="connsiteX18" fmla="*/ 241887 w 281980"/>
                <a:gd name="connsiteY18" fmla="*/ 448804 h 528611"/>
                <a:gd name="connsiteX19" fmla="*/ 147133 w 281980"/>
                <a:gd name="connsiteY19" fmla="*/ 475049 h 528611"/>
                <a:gd name="connsiteX20" fmla="*/ 69392 w 281980"/>
                <a:gd name="connsiteY20" fmla="*/ 408769 h 528611"/>
                <a:gd name="connsiteX21" fmla="*/ 122791 w 281980"/>
                <a:gd name="connsiteY21" fmla="*/ 375385 h 528611"/>
                <a:gd name="connsiteX22" fmla="*/ 152182 w 281980"/>
                <a:gd name="connsiteY22" fmla="*/ 371150 h 528611"/>
                <a:gd name="connsiteX23" fmla="*/ 280381 w 281980"/>
                <a:gd name="connsiteY23" fmla="*/ 291298 h 528611"/>
                <a:gd name="connsiteX24" fmla="*/ 244606 w 281980"/>
                <a:gd name="connsiteY24" fmla="*/ 202597 h 528611"/>
                <a:gd name="connsiteX25" fmla="*/ 225480 w 281980"/>
                <a:gd name="connsiteY25" fmla="*/ 188959 h 528611"/>
                <a:gd name="connsiteX26" fmla="*/ 250080 w 281980"/>
                <a:gd name="connsiteY26" fmla="*/ 175827 h 528611"/>
                <a:gd name="connsiteX27" fmla="*/ 270866 w 281980"/>
                <a:gd name="connsiteY27" fmla="*/ 84559 h 528611"/>
                <a:gd name="connsiteX0" fmla="*/ 129211 w 281980"/>
                <a:gd name="connsiteY0" fmla="*/ 208033 h 528611"/>
                <a:gd name="connsiteX1" fmla="*/ 222241 w 281980"/>
                <a:gd name="connsiteY1" fmla="*/ 249457 h 528611"/>
                <a:gd name="connsiteX2" fmla="*/ 163522 w 281980"/>
                <a:gd name="connsiteY2" fmla="*/ 316000 h 528611"/>
                <a:gd name="connsiteX3" fmla="*/ 59857 w 281980"/>
                <a:gd name="connsiteY3" fmla="*/ 272927 h 528611"/>
                <a:gd name="connsiteX4" fmla="*/ 129211 w 281980"/>
                <a:gd name="connsiteY4" fmla="*/ 208033 h 528611"/>
                <a:gd name="connsiteX5" fmla="*/ 270866 w 281980"/>
                <a:gd name="connsiteY5" fmla="*/ 84559 h 528611"/>
                <a:gd name="connsiteX6" fmla="*/ 160458 w 281980"/>
                <a:gd name="connsiteY6" fmla="*/ 1183 h 528611"/>
                <a:gd name="connsiteX7" fmla="*/ 31851 w 281980"/>
                <a:gd name="connsiteY7" fmla="*/ 26248 h 528611"/>
                <a:gd name="connsiteX8" fmla="*/ 52356 w 281980"/>
                <a:gd name="connsiteY8" fmla="*/ 76975 h 528611"/>
                <a:gd name="connsiteX9" fmla="*/ 133319 w 281980"/>
                <a:gd name="connsiteY9" fmla="*/ 54920 h 528611"/>
                <a:gd name="connsiteX10" fmla="*/ 210410 w 281980"/>
                <a:gd name="connsiteY10" fmla="*/ 119887 h 528611"/>
                <a:gd name="connsiteX11" fmla="*/ 167260 w 281980"/>
                <a:gd name="connsiteY11" fmla="*/ 147263 h 528611"/>
                <a:gd name="connsiteX12" fmla="*/ 88064 w 281980"/>
                <a:gd name="connsiteY12" fmla="*/ 156818 h 528611"/>
                <a:gd name="connsiteX13" fmla="*/ 47 w 281980"/>
                <a:gd name="connsiteY13" fmla="*/ 254546 h 528611"/>
                <a:gd name="connsiteX14" fmla="*/ 55253 w 281980"/>
                <a:gd name="connsiteY14" fmla="*/ 334562 h 528611"/>
                <a:gd name="connsiteX15" fmla="*/ 4196 w 281980"/>
                <a:gd name="connsiteY15" fmla="*/ 428755 h 528611"/>
                <a:gd name="connsiteX16" fmla="*/ 93330 w 281980"/>
                <a:gd name="connsiteY16" fmla="*/ 523536 h 528611"/>
                <a:gd name="connsiteX17" fmla="*/ 260890 w 281980"/>
                <a:gd name="connsiteY17" fmla="*/ 500243 h 528611"/>
                <a:gd name="connsiteX18" fmla="*/ 241887 w 281980"/>
                <a:gd name="connsiteY18" fmla="*/ 448804 h 528611"/>
                <a:gd name="connsiteX19" fmla="*/ 147133 w 281980"/>
                <a:gd name="connsiteY19" fmla="*/ 475049 h 528611"/>
                <a:gd name="connsiteX20" fmla="*/ 69392 w 281980"/>
                <a:gd name="connsiteY20" fmla="*/ 408769 h 528611"/>
                <a:gd name="connsiteX21" fmla="*/ 122791 w 281980"/>
                <a:gd name="connsiteY21" fmla="*/ 375385 h 528611"/>
                <a:gd name="connsiteX22" fmla="*/ 152182 w 281980"/>
                <a:gd name="connsiteY22" fmla="*/ 371150 h 528611"/>
                <a:gd name="connsiteX23" fmla="*/ 280381 w 281980"/>
                <a:gd name="connsiteY23" fmla="*/ 291298 h 528611"/>
                <a:gd name="connsiteX24" fmla="*/ 244606 w 281980"/>
                <a:gd name="connsiteY24" fmla="*/ 202597 h 528611"/>
                <a:gd name="connsiteX25" fmla="*/ 225480 w 281980"/>
                <a:gd name="connsiteY25" fmla="*/ 188959 h 528611"/>
                <a:gd name="connsiteX26" fmla="*/ 250080 w 281980"/>
                <a:gd name="connsiteY26" fmla="*/ 175827 h 528611"/>
                <a:gd name="connsiteX27" fmla="*/ 270866 w 281980"/>
                <a:gd name="connsiteY27" fmla="*/ 84559 h 528611"/>
                <a:gd name="connsiteX0" fmla="*/ 129211 w 281980"/>
                <a:gd name="connsiteY0" fmla="*/ 207866 h 528444"/>
                <a:gd name="connsiteX1" fmla="*/ 222241 w 281980"/>
                <a:gd name="connsiteY1" fmla="*/ 249290 h 528444"/>
                <a:gd name="connsiteX2" fmla="*/ 163522 w 281980"/>
                <a:gd name="connsiteY2" fmla="*/ 315833 h 528444"/>
                <a:gd name="connsiteX3" fmla="*/ 59857 w 281980"/>
                <a:gd name="connsiteY3" fmla="*/ 272760 h 528444"/>
                <a:gd name="connsiteX4" fmla="*/ 129211 w 281980"/>
                <a:gd name="connsiteY4" fmla="*/ 207866 h 528444"/>
                <a:gd name="connsiteX5" fmla="*/ 270866 w 281980"/>
                <a:gd name="connsiteY5" fmla="*/ 84392 h 528444"/>
                <a:gd name="connsiteX6" fmla="*/ 160458 w 281980"/>
                <a:gd name="connsiteY6" fmla="*/ 1016 h 528444"/>
                <a:gd name="connsiteX7" fmla="*/ 31851 w 281980"/>
                <a:gd name="connsiteY7" fmla="*/ 26081 h 528444"/>
                <a:gd name="connsiteX8" fmla="*/ 52356 w 281980"/>
                <a:gd name="connsiteY8" fmla="*/ 76808 h 528444"/>
                <a:gd name="connsiteX9" fmla="*/ 133319 w 281980"/>
                <a:gd name="connsiteY9" fmla="*/ 54753 h 528444"/>
                <a:gd name="connsiteX10" fmla="*/ 210410 w 281980"/>
                <a:gd name="connsiteY10" fmla="*/ 119720 h 528444"/>
                <a:gd name="connsiteX11" fmla="*/ 167260 w 281980"/>
                <a:gd name="connsiteY11" fmla="*/ 147096 h 528444"/>
                <a:gd name="connsiteX12" fmla="*/ 88064 w 281980"/>
                <a:gd name="connsiteY12" fmla="*/ 156651 h 528444"/>
                <a:gd name="connsiteX13" fmla="*/ 47 w 281980"/>
                <a:gd name="connsiteY13" fmla="*/ 254379 h 528444"/>
                <a:gd name="connsiteX14" fmla="*/ 55253 w 281980"/>
                <a:gd name="connsiteY14" fmla="*/ 334395 h 528444"/>
                <a:gd name="connsiteX15" fmla="*/ 4196 w 281980"/>
                <a:gd name="connsiteY15" fmla="*/ 428588 h 528444"/>
                <a:gd name="connsiteX16" fmla="*/ 93330 w 281980"/>
                <a:gd name="connsiteY16" fmla="*/ 523369 h 528444"/>
                <a:gd name="connsiteX17" fmla="*/ 260890 w 281980"/>
                <a:gd name="connsiteY17" fmla="*/ 500076 h 528444"/>
                <a:gd name="connsiteX18" fmla="*/ 241887 w 281980"/>
                <a:gd name="connsiteY18" fmla="*/ 448637 h 528444"/>
                <a:gd name="connsiteX19" fmla="*/ 147133 w 281980"/>
                <a:gd name="connsiteY19" fmla="*/ 474882 h 528444"/>
                <a:gd name="connsiteX20" fmla="*/ 69392 w 281980"/>
                <a:gd name="connsiteY20" fmla="*/ 408602 h 528444"/>
                <a:gd name="connsiteX21" fmla="*/ 122791 w 281980"/>
                <a:gd name="connsiteY21" fmla="*/ 375218 h 528444"/>
                <a:gd name="connsiteX22" fmla="*/ 152182 w 281980"/>
                <a:gd name="connsiteY22" fmla="*/ 370983 h 528444"/>
                <a:gd name="connsiteX23" fmla="*/ 280381 w 281980"/>
                <a:gd name="connsiteY23" fmla="*/ 291131 h 528444"/>
                <a:gd name="connsiteX24" fmla="*/ 244606 w 281980"/>
                <a:gd name="connsiteY24" fmla="*/ 202430 h 528444"/>
                <a:gd name="connsiteX25" fmla="*/ 225480 w 281980"/>
                <a:gd name="connsiteY25" fmla="*/ 188792 h 528444"/>
                <a:gd name="connsiteX26" fmla="*/ 250080 w 281980"/>
                <a:gd name="connsiteY26" fmla="*/ 175660 h 528444"/>
                <a:gd name="connsiteX27" fmla="*/ 270866 w 281980"/>
                <a:gd name="connsiteY27" fmla="*/ 84392 h 528444"/>
                <a:gd name="connsiteX0" fmla="*/ 129211 w 281980"/>
                <a:gd name="connsiteY0" fmla="*/ 207866 h 528444"/>
                <a:gd name="connsiteX1" fmla="*/ 222241 w 281980"/>
                <a:gd name="connsiteY1" fmla="*/ 249290 h 528444"/>
                <a:gd name="connsiteX2" fmla="*/ 163522 w 281980"/>
                <a:gd name="connsiteY2" fmla="*/ 315833 h 528444"/>
                <a:gd name="connsiteX3" fmla="*/ 59857 w 281980"/>
                <a:gd name="connsiteY3" fmla="*/ 272760 h 528444"/>
                <a:gd name="connsiteX4" fmla="*/ 129211 w 281980"/>
                <a:gd name="connsiteY4" fmla="*/ 207866 h 528444"/>
                <a:gd name="connsiteX5" fmla="*/ 270866 w 281980"/>
                <a:gd name="connsiteY5" fmla="*/ 84392 h 528444"/>
                <a:gd name="connsiteX6" fmla="*/ 160458 w 281980"/>
                <a:gd name="connsiteY6" fmla="*/ 1016 h 528444"/>
                <a:gd name="connsiteX7" fmla="*/ 31851 w 281980"/>
                <a:gd name="connsiteY7" fmla="*/ 26081 h 528444"/>
                <a:gd name="connsiteX8" fmla="*/ 52356 w 281980"/>
                <a:gd name="connsiteY8" fmla="*/ 76808 h 528444"/>
                <a:gd name="connsiteX9" fmla="*/ 133319 w 281980"/>
                <a:gd name="connsiteY9" fmla="*/ 54753 h 528444"/>
                <a:gd name="connsiteX10" fmla="*/ 210410 w 281980"/>
                <a:gd name="connsiteY10" fmla="*/ 119720 h 528444"/>
                <a:gd name="connsiteX11" fmla="*/ 167260 w 281980"/>
                <a:gd name="connsiteY11" fmla="*/ 147096 h 528444"/>
                <a:gd name="connsiteX12" fmla="*/ 88064 w 281980"/>
                <a:gd name="connsiteY12" fmla="*/ 156651 h 528444"/>
                <a:gd name="connsiteX13" fmla="*/ 47 w 281980"/>
                <a:gd name="connsiteY13" fmla="*/ 254379 h 528444"/>
                <a:gd name="connsiteX14" fmla="*/ 55253 w 281980"/>
                <a:gd name="connsiteY14" fmla="*/ 334395 h 528444"/>
                <a:gd name="connsiteX15" fmla="*/ 4196 w 281980"/>
                <a:gd name="connsiteY15" fmla="*/ 428588 h 528444"/>
                <a:gd name="connsiteX16" fmla="*/ 93330 w 281980"/>
                <a:gd name="connsiteY16" fmla="*/ 523369 h 528444"/>
                <a:gd name="connsiteX17" fmla="*/ 260890 w 281980"/>
                <a:gd name="connsiteY17" fmla="*/ 500076 h 528444"/>
                <a:gd name="connsiteX18" fmla="*/ 241887 w 281980"/>
                <a:gd name="connsiteY18" fmla="*/ 448637 h 528444"/>
                <a:gd name="connsiteX19" fmla="*/ 147133 w 281980"/>
                <a:gd name="connsiteY19" fmla="*/ 474882 h 528444"/>
                <a:gd name="connsiteX20" fmla="*/ 69392 w 281980"/>
                <a:gd name="connsiteY20" fmla="*/ 408602 h 528444"/>
                <a:gd name="connsiteX21" fmla="*/ 122791 w 281980"/>
                <a:gd name="connsiteY21" fmla="*/ 375218 h 528444"/>
                <a:gd name="connsiteX22" fmla="*/ 152182 w 281980"/>
                <a:gd name="connsiteY22" fmla="*/ 370983 h 528444"/>
                <a:gd name="connsiteX23" fmla="*/ 280381 w 281980"/>
                <a:gd name="connsiteY23" fmla="*/ 291131 h 528444"/>
                <a:gd name="connsiteX24" fmla="*/ 244606 w 281980"/>
                <a:gd name="connsiteY24" fmla="*/ 202430 h 528444"/>
                <a:gd name="connsiteX25" fmla="*/ 225480 w 281980"/>
                <a:gd name="connsiteY25" fmla="*/ 188792 h 528444"/>
                <a:gd name="connsiteX26" fmla="*/ 270866 w 281980"/>
                <a:gd name="connsiteY26" fmla="*/ 84392 h 528444"/>
                <a:gd name="connsiteX0" fmla="*/ 129211 w 281980"/>
                <a:gd name="connsiteY0" fmla="*/ 207866 h 528444"/>
                <a:gd name="connsiteX1" fmla="*/ 222241 w 281980"/>
                <a:gd name="connsiteY1" fmla="*/ 249290 h 528444"/>
                <a:gd name="connsiteX2" fmla="*/ 163522 w 281980"/>
                <a:gd name="connsiteY2" fmla="*/ 315833 h 528444"/>
                <a:gd name="connsiteX3" fmla="*/ 59857 w 281980"/>
                <a:gd name="connsiteY3" fmla="*/ 272760 h 528444"/>
                <a:gd name="connsiteX4" fmla="*/ 129211 w 281980"/>
                <a:gd name="connsiteY4" fmla="*/ 207866 h 528444"/>
                <a:gd name="connsiteX5" fmla="*/ 270866 w 281980"/>
                <a:gd name="connsiteY5" fmla="*/ 84392 h 528444"/>
                <a:gd name="connsiteX6" fmla="*/ 160458 w 281980"/>
                <a:gd name="connsiteY6" fmla="*/ 1016 h 528444"/>
                <a:gd name="connsiteX7" fmla="*/ 31851 w 281980"/>
                <a:gd name="connsiteY7" fmla="*/ 26081 h 528444"/>
                <a:gd name="connsiteX8" fmla="*/ 52356 w 281980"/>
                <a:gd name="connsiteY8" fmla="*/ 76808 h 528444"/>
                <a:gd name="connsiteX9" fmla="*/ 133319 w 281980"/>
                <a:gd name="connsiteY9" fmla="*/ 54753 h 528444"/>
                <a:gd name="connsiteX10" fmla="*/ 210410 w 281980"/>
                <a:gd name="connsiteY10" fmla="*/ 119720 h 528444"/>
                <a:gd name="connsiteX11" fmla="*/ 167260 w 281980"/>
                <a:gd name="connsiteY11" fmla="*/ 147096 h 528444"/>
                <a:gd name="connsiteX12" fmla="*/ 88064 w 281980"/>
                <a:gd name="connsiteY12" fmla="*/ 156651 h 528444"/>
                <a:gd name="connsiteX13" fmla="*/ 47 w 281980"/>
                <a:gd name="connsiteY13" fmla="*/ 254379 h 528444"/>
                <a:gd name="connsiteX14" fmla="*/ 55253 w 281980"/>
                <a:gd name="connsiteY14" fmla="*/ 334395 h 528444"/>
                <a:gd name="connsiteX15" fmla="*/ 4196 w 281980"/>
                <a:gd name="connsiteY15" fmla="*/ 428588 h 528444"/>
                <a:gd name="connsiteX16" fmla="*/ 93330 w 281980"/>
                <a:gd name="connsiteY16" fmla="*/ 523369 h 528444"/>
                <a:gd name="connsiteX17" fmla="*/ 260890 w 281980"/>
                <a:gd name="connsiteY17" fmla="*/ 500076 h 528444"/>
                <a:gd name="connsiteX18" fmla="*/ 241887 w 281980"/>
                <a:gd name="connsiteY18" fmla="*/ 448637 h 528444"/>
                <a:gd name="connsiteX19" fmla="*/ 147133 w 281980"/>
                <a:gd name="connsiteY19" fmla="*/ 474882 h 528444"/>
                <a:gd name="connsiteX20" fmla="*/ 69392 w 281980"/>
                <a:gd name="connsiteY20" fmla="*/ 408602 h 528444"/>
                <a:gd name="connsiteX21" fmla="*/ 122791 w 281980"/>
                <a:gd name="connsiteY21" fmla="*/ 375218 h 528444"/>
                <a:gd name="connsiteX22" fmla="*/ 152182 w 281980"/>
                <a:gd name="connsiteY22" fmla="*/ 370983 h 528444"/>
                <a:gd name="connsiteX23" fmla="*/ 280381 w 281980"/>
                <a:gd name="connsiteY23" fmla="*/ 291131 h 528444"/>
                <a:gd name="connsiteX24" fmla="*/ 244606 w 281980"/>
                <a:gd name="connsiteY24" fmla="*/ 202430 h 528444"/>
                <a:gd name="connsiteX25" fmla="*/ 225480 w 281980"/>
                <a:gd name="connsiteY25" fmla="*/ 188792 h 528444"/>
                <a:gd name="connsiteX26" fmla="*/ 270866 w 281980"/>
                <a:gd name="connsiteY26" fmla="*/ 84392 h 528444"/>
                <a:gd name="connsiteX0" fmla="*/ 129211 w 281980"/>
                <a:gd name="connsiteY0" fmla="*/ 207866 h 528444"/>
                <a:gd name="connsiteX1" fmla="*/ 222241 w 281980"/>
                <a:gd name="connsiteY1" fmla="*/ 249290 h 528444"/>
                <a:gd name="connsiteX2" fmla="*/ 163522 w 281980"/>
                <a:gd name="connsiteY2" fmla="*/ 315833 h 528444"/>
                <a:gd name="connsiteX3" fmla="*/ 59857 w 281980"/>
                <a:gd name="connsiteY3" fmla="*/ 272760 h 528444"/>
                <a:gd name="connsiteX4" fmla="*/ 129211 w 281980"/>
                <a:gd name="connsiteY4" fmla="*/ 207866 h 528444"/>
                <a:gd name="connsiteX5" fmla="*/ 270866 w 281980"/>
                <a:gd name="connsiteY5" fmla="*/ 84392 h 528444"/>
                <a:gd name="connsiteX6" fmla="*/ 160458 w 281980"/>
                <a:gd name="connsiteY6" fmla="*/ 1016 h 528444"/>
                <a:gd name="connsiteX7" fmla="*/ 31851 w 281980"/>
                <a:gd name="connsiteY7" fmla="*/ 26081 h 528444"/>
                <a:gd name="connsiteX8" fmla="*/ 52356 w 281980"/>
                <a:gd name="connsiteY8" fmla="*/ 76808 h 528444"/>
                <a:gd name="connsiteX9" fmla="*/ 133319 w 281980"/>
                <a:gd name="connsiteY9" fmla="*/ 54753 h 528444"/>
                <a:gd name="connsiteX10" fmla="*/ 210410 w 281980"/>
                <a:gd name="connsiteY10" fmla="*/ 119720 h 528444"/>
                <a:gd name="connsiteX11" fmla="*/ 167260 w 281980"/>
                <a:gd name="connsiteY11" fmla="*/ 147096 h 528444"/>
                <a:gd name="connsiteX12" fmla="*/ 88064 w 281980"/>
                <a:gd name="connsiteY12" fmla="*/ 156651 h 528444"/>
                <a:gd name="connsiteX13" fmla="*/ 47 w 281980"/>
                <a:gd name="connsiteY13" fmla="*/ 254379 h 528444"/>
                <a:gd name="connsiteX14" fmla="*/ 55253 w 281980"/>
                <a:gd name="connsiteY14" fmla="*/ 334395 h 528444"/>
                <a:gd name="connsiteX15" fmla="*/ 4196 w 281980"/>
                <a:gd name="connsiteY15" fmla="*/ 428588 h 528444"/>
                <a:gd name="connsiteX16" fmla="*/ 93330 w 281980"/>
                <a:gd name="connsiteY16" fmla="*/ 523369 h 528444"/>
                <a:gd name="connsiteX17" fmla="*/ 260890 w 281980"/>
                <a:gd name="connsiteY17" fmla="*/ 500076 h 528444"/>
                <a:gd name="connsiteX18" fmla="*/ 241887 w 281980"/>
                <a:gd name="connsiteY18" fmla="*/ 448637 h 528444"/>
                <a:gd name="connsiteX19" fmla="*/ 147133 w 281980"/>
                <a:gd name="connsiteY19" fmla="*/ 474882 h 528444"/>
                <a:gd name="connsiteX20" fmla="*/ 69392 w 281980"/>
                <a:gd name="connsiteY20" fmla="*/ 408602 h 528444"/>
                <a:gd name="connsiteX21" fmla="*/ 122791 w 281980"/>
                <a:gd name="connsiteY21" fmla="*/ 375218 h 528444"/>
                <a:gd name="connsiteX22" fmla="*/ 152182 w 281980"/>
                <a:gd name="connsiteY22" fmla="*/ 370983 h 528444"/>
                <a:gd name="connsiteX23" fmla="*/ 280381 w 281980"/>
                <a:gd name="connsiteY23" fmla="*/ 291131 h 528444"/>
                <a:gd name="connsiteX24" fmla="*/ 244606 w 281980"/>
                <a:gd name="connsiteY24" fmla="*/ 202430 h 528444"/>
                <a:gd name="connsiteX25" fmla="*/ 225480 w 281980"/>
                <a:gd name="connsiteY25" fmla="*/ 188792 h 528444"/>
                <a:gd name="connsiteX26" fmla="*/ 270866 w 281980"/>
                <a:gd name="connsiteY26" fmla="*/ 84392 h 528444"/>
                <a:gd name="connsiteX0" fmla="*/ 129211 w 281980"/>
                <a:gd name="connsiteY0" fmla="*/ 207866 h 528444"/>
                <a:gd name="connsiteX1" fmla="*/ 222241 w 281980"/>
                <a:gd name="connsiteY1" fmla="*/ 249290 h 528444"/>
                <a:gd name="connsiteX2" fmla="*/ 163522 w 281980"/>
                <a:gd name="connsiteY2" fmla="*/ 315833 h 528444"/>
                <a:gd name="connsiteX3" fmla="*/ 59857 w 281980"/>
                <a:gd name="connsiteY3" fmla="*/ 272760 h 528444"/>
                <a:gd name="connsiteX4" fmla="*/ 129211 w 281980"/>
                <a:gd name="connsiteY4" fmla="*/ 207866 h 528444"/>
                <a:gd name="connsiteX5" fmla="*/ 270866 w 281980"/>
                <a:gd name="connsiteY5" fmla="*/ 84392 h 528444"/>
                <a:gd name="connsiteX6" fmla="*/ 160458 w 281980"/>
                <a:gd name="connsiteY6" fmla="*/ 1016 h 528444"/>
                <a:gd name="connsiteX7" fmla="*/ 31851 w 281980"/>
                <a:gd name="connsiteY7" fmla="*/ 26081 h 528444"/>
                <a:gd name="connsiteX8" fmla="*/ 52356 w 281980"/>
                <a:gd name="connsiteY8" fmla="*/ 76808 h 528444"/>
                <a:gd name="connsiteX9" fmla="*/ 133319 w 281980"/>
                <a:gd name="connsiteY9" fmla="*/ 54753 h 528444"/>
                <a:gd name="connsiteX10" fmla="*/ 210410 w 281980"/>
                <a:gd name="connsiteY10" fmla="*/ 119720 h 528444"/>
                <a:gd name="connsiteX11" fmla="*/ 167260 w 281980"/>
                <a:gd name="connsiteY11" fmla="*/ 147096 h 528444"/>
                <a:gd name="connsiteX12" fmla="*/ 88064 w 281980"/>
                <a:gd name="connsiteY12" fmla="*/ 156651 h 528444"/>
                <a:gd name="connsiteX13" fmla="*/ 47 w 281980"/>
                <a:gd name="connsiteY13" fmla="*/ 254379 h 528444"/>
                <a:gd name="connsiteX14" fmla="*/ 55253 w 281980"/>
                <a:gd name="connsiteY14" fmla="*/ 334395 h 528444"/>
                <a:gd name="connsiteX15" fmla="*/ 4196 w 281980"/>
                <a:gd name="connsiteY15" fmla="*/ 428588 h 528444"/>
                <a:gd name="connsiteX16" fmla="*/ 93330 w 281980"/>
                <a:gd name="connsiteY16" fmla="*/ 523369 h 528444"/>
                <a:gd name="connsiteX17" fmla="*/ 260890 w 281980"/>
                <a:gd name="connsiteY17" fmla="*/ 500076 h 528444"/>
                <a:gd name="connsiteX18" fmla="*/ 241887 w 281980"/>
                <a:gd name="connsiteY18" fmla="*/ 448637 h 528444"/>
                <a:gd name="connsiteX19" fmla="*/ 147133 w 281980"/>
                <a:gd name="connsiteY19" fmla="*/ 474882 h 528444"/>
                <a:gd name="connsiteX20" fmla="*/ 69392 w 281980"/>
                <a:gd name="connsiteY20" fmla="*/ 408602 h 528444"/>
                <a:gd name="connsiteX21" fmla="*/ 122791 w 281980"/>
                <a:gd name="connsiteY21" fmla="*/ 375218 h 528444"/>
                <a:gd name="connsiteX22" fmla="*/ 152182 w 281980"/>
                <a:gd name="connsiteY22" fmla="*/ 370983 h 528444"/>
                <a:gd name="connsiteX23" fmla="*/ 280381 w 281980"/>
                <a:gd name="connsiteY23" fmla="*/ 291131 h 528444"/>
                <a:gd name="connsiteX24" fmla="*/ 244606 w 281980"/>
                <a:gd name="connsiteY24" fmla="*/ 202430 h 528444"/>
                <a:gd name="connsiteX25" fmla="*/ 225480 w 281980"/>
                <a:gd name="connsiteY25" fmla="*/ 188792 h 528444"/>
                <a:gd name="connsiteX26" fmla="*/ 270866 w 281980"/>
                <a:gd name="connsiteY26" fmla="*/ 84392 h 528444"/>
                <a:gd name="connsiteX0" fmla="*/ 129211 w 281980"/>
                <a:gd name="connsiteY0" fmla="*/ 207866 h 528444"/>
                <a:gd name="connsiteX1" fmla="*/ 222241 w 281980"/>
                <a:gd name="connsiteY1" fmla="*/ 249290 h 528444"/>
                <a:gd name="connsiteX2" fmla="*/ 163522 w 281980"/>
                <a:gd name="connsiteY2" fmla="*/ 315833 h 528444"/>
                <a:gd name="connsiteX3" fmla="*/ 59857 w 281980"/>
                <a:gd name="connsiteY3" fmla="*/ 272760 h 528444"/>
                <a:gd name="connsiteX4" fmla="*/ 129211 w 281980"/>
                <a:gd name="connsiteY4" fmla="*/ 207866 h 528444"/>
                <a:gd name="connsiteX5" fmla="*/ 270866 w 281980"/>
                <a:gd name="connsiteY5" fmla="*/ 84392 h 528444"/>
                <a:gd name="connsiteX6" fmla="*/ 160458 w 281980"/>
                <a:gd name="connsiteY6" fmla="*/ 1016 h 528444"/>
                <a:gd name="connsiteX7" fmla="*/ 31851 w 281980"/>
                <a:gd name="connsiteY7" fmla="*/ 26081 h 528444"/>
                <a:gd name="connsiteX8" fmla="*/ 52356 w 281980"/>
                <a:gd name="connsiteY8" fmla="*/ 76808 h 528444"/>
                <a:gd name="connsiteX9" fmla="*/ 133319 w 281980"/>
                <a:gd name="connsiteY9" fmla="*/ 54753 h 528444"/>
                <a:gd name="connsiteX10" fmla="*/ 210410 w 281980"/>
                <a:gd name="connsiteY10" fmla="*/ 119720 h 528444"/>
                <a:gd name="connsiteX11" fmla="*/ 167260 w 281980"/>
                <a:gd name="connsiteY11" fmla="*/ 147096 h 528444"/>
                <a:gd name="connsiteX12" fmla="*/ 88064 w 281980"/>
                <a:gd name="connsiteY12" fmla="*/ 156651 h 528444"/>
                <a:gd name="connsiteX13" fmla="*/ 47 w 281980"/>
                <a:gd name="connsiteY13" fmla="*/ 254379 h 528444"/>
                <a:gd name="connsiteX14" fmla="*/ 55253 w 281980"/>
                <a:gd name="connsiteY14" fmla="*/ 334395 h 528444"/>
                <a:gd name="connsiteX15" fmla="*/ 4196 w 281980"/>
                <a:gd name="connsiteY15" fmla="*/ 428588 h 528444"/>
                <a:gd name="connsiteX16" fmla="*/ 93330 w 281980"/>
                <a:gd name="connsiteY16" fmla="*/ 523369 h 528444"/>
                <a:gd name="connsiteX17" fmla="*/ 260890 w 281980"/>
                <a:gd name="connsiteY17" fmla="*/ 500076 h 528444"/>
                <a:gd name="connsiteX18" fmla="*/ 241887 w 281980"/>
                <a:gd name="connsiteY18" fmla="*/ 448637 h 528444"/>
                <a:gd name="connsiteX19" fmla="*/ 147133 w 281980"/>
                <a:gd name="connsiteY19" fmla="*/ 474882 h 528444"/>
                <a:gd name="connsiteX20" fmla="*/ 69392 w 281980"/>
                <a:gd name="connsiteY20" fmla="*/ 408602 h 528444"/>
                <a:gd name="connsiteX21" fmla="*/ 122791 w 281980"/>
                <a:gd name="connsiteY21" fmla="*/ 375218 h 528444"/>
                <a:gd name="connsiteX22" fmla="*/ 152182 w 281980"/>
                <a:gd name="connsiteY22" fmla="*/ 370983 h 528444"/>
                <a:gd name="connsiteX23" fmla="*/ 280381 w 281980"/>
                <a:gd name="connsiteY23" fmla="*/ 291131 h 528444"/>
                <a:gd name="connsiteX24" fmla="*/ 244606 w 281980"/>
                <a:gd name="connsiteY24" fmla="*/ 202430 h 528444"/>
                <a:gd name="connsiteX25" fmla="*/ 225480 w 281980"/>
                <a:gd name="connsiteY25" fmla="*/ 188792 h 528444"/>
                <a:gd name="connsiteX26" fmla="*/ 270866 w 281980"/>
                <a:gd name="connsiteY26" fmla="*/ 84392 h 528444"/>
                <a:gd name="connsiteX0" fmla="*/ 129211 w 281980"/>
                <a:gd name="connsiteY0" fmla="*/ 207866 h 528444"/>
                <a:gd name="connsiteX1" fmla="*/ 222241 w 281980"/>
                <a:gd name="connsiteY1" fmla="*/ 249290 h 528444"/>
                <a:gd name="connsiteX2" fmla="*/ 163522 w 281980"/>
                <a:gd name="connsiteY2" fmla="*/ 315833 h 528444"/>
                <a:gd name="connsiteX3" fmla="*/ 59857 w 281980"/>
                <a:gd name="connsiteY3" fmla="*/ 272760 h 528444"/>
                <a:gd name="connsiteX4" fmla="*/ 129211 w 281980"/>
                <a:gd name="connsiteY4" fmla="*/ 207866 h 528444"/>
                <a:gd name="connsiteX5" fmla="*/ 270866 w 281980"/>
                <a:gd name="connsiteY5" fmla="*/ 84392 h 528444"/>
                <a:gd name="connsiteX6" fmla="*/ 160458 w 281980"/>
                <a:gd name="connsiteY6" fmla="*/ 1016 h 528444"/>
                <a:gd name="connsiteX7" fmla="*/ 31851 w 281980"/>
                <a:gd name="connsiteY7" fmla="*/ 26081 h 528444"/>
                <a:gd name="connsiteX8" fmla="*/ 52356 w 281980"/>
                <a:gd name="connsiteY8" fmla="*/ 76808 h 528444"/>
                <a:gd name="connsiteX9" fmla="*/ 133319 w 281980"/>
                <a:gd name="connsiteY9" fmla="*/ 54753 h 528444"/>
                <a:gd name="connsiteX10" fmla="*/ 210410 w 281980"/>
                <a:gd name="connsiteY10" fmla="*/ 119720 h 528444"/>
                <a:gd name="connsiteX11" fmla="*/ 167260 w 281980"/>
                <a:gd name="connsiteY11" fmla="*/ 147096 h 528444"/>
                <a:gd name="connsiteX12" fmla="*/ 88064 w 281980"/>
                <a:gd name="connsiteY12" fmla="*/ 156651 h 528444"/>
                <a:gd name="connsiteX13" fmla="*/ 47 w 281980"/>
                <a:gd name="connsiteY13" fmla="*/ 254379 h 528444"/>
                <a:gd name="connsiteX14" fmla="*/ 55253 w 281980"/>
                <a:gd name="connsiteY14" fmla="*/ 334395 h 528444"/>
                <a:gd name="connsiteX15" fmla="*/ 4196 w 281980"/>
                <a:gd name="connsiteY15" fmla="*/ 428588 h 528444"/>
                <a:gd name="connsiteX16" fmla="*/ 93330 w 281980"/>
                <a:gd name="connsiteY16" fmla="*/ 523369 h 528444"/>
                <a:gd name="connsiteX17" fmla="*/ 260890 w 281980"/>
                <a:gd name="connsiteY17" fmla="*/ 500076 h 528444"/>
                <a:gd name="connsiteX18" fmla="*/ 241887 w 281980"/>
                <a:gd name="connsiteY18" fmla="*/ 448637 h 528444"/>
                <a:gd name="connsiteX19" fmla="*/ 147133 w 281980"/>
                <a:gd name="connsiteY19" fmla="*/ 474882 h 528444"/>
                <a:gd name="connsiteX20" fmla="*/ 69392 w 281980"/>
                <a:gd name="connsiteY20" fmla="*/ 408602 h 528444"/>
                <a:gd name="connsiteX21" fmla="*/ 122791 w 281980"/>
                <a:gd name="connsiteY21" fmla="*/ 375218 h 528444"/>
                <a:gd name="connsiteX22" fmla="*/ 152182 w 281980"/>
                <a:gd name="connsiteY22" fmla="*/ 370983 h 528444"/>
                <a:gd name="connsiteX23" fmla="*/ 280381 w 281980"/>
                <a:gd name="connsiteY23" fmla="*/ 291131 h 528444"/>
                <a:gd name="connsiteX24" fmla="*/ 244606 w 281980"/>
                <a:gd name="connsiteY24" fmla="*/ 202430 h 528444"/>
                <a:gd name="connsiteX25" fmla="*/ 225480 w 281980"/>
                <a:gd name="connsiteY25" fmla="*/ 188792 h 528444"/>
                <a:gd name="connsiteX26" fmla="*/ 270866 w 281980"/>
                <a:gd name="connsiteY26" fmla="*/ 84392 h 528444"/>
                <a:gd name="connsiteX0" fmla="*/ 129211 w 281897"/>
                <a:gd name="connsiteY0" fmla="*/ 207866 h 528444"/>
                <a:gd name="connsiteX1" fmla="*/ 222241 w 281897"/>
                <a:gd name="connsiteY1" fmla="*/ 249290 h 528444"/>
                <a:gd name="connsiteX2" fmla="*/ 163522 w 281897"/>
                <a:gd name="connsiteY2" fmla="*/ 315833 h 528444"/>
                <a:gd name="connsiteX3" fmla="*/ 59857 w 281897"/>
                <a:gd name="connsiteY3" fmla="*/ 272760 h 528444"/>
                <a:gd name="connsiteX4" fmla="*/ 129211 w 281897"/>
                <a:gd name="connsiteY4" fmla="*/ 207866 h 528444"/>
                <a:gd name="connsiteX5" fmla="*/ 270866 w 281897"/>
                <a:gd name="connsiteY5" fmla="*/ 84392 h 528444"/>
                <a:gd name="connsiteX6" fmla="*/ 160458 w 281897"/>
                <a:gd name="connsiteY6" fmla="*/ 1016 h 528444"/>
                <a:gd name="connsiteX7" fmla="*/ 31851 w 281897"/>
                <a:gd name="connsiteY7" fmla="*/ 26081 h 528444"/>
                <a:gd name="connsiteX8" fmla="*/ 52356 w 281897"/>
                <a:gd name="connsiteY8" fmla="*/ 76808 h 528444"/>
                <a:gd name="connsiteX9" fmla="*/ 133319 w 281897"/>
                <a:gd name="connsiteY9" fmla="*/ 54753 h 528444"/>
                <a:gd name="connsiteX10" fmla="*/ 210410 w 281897"/>
                <a:gd name="connsiteY10" fmla="*/ 119720 h 528444"/>
                <a:gd name="connsiteX11" fmla="*/ 167260 w 281897"/>
                <a:gd name="connsiteY11" fmla="*/ 147096 h 528444"/>
                <a:gd name="connsiteX12" fmla="*/ 88064 w 281897"/>
                <a:gd name="connsiteY12" fmla="*/ 156651 h 528444"/>
                <a:gd name="connsiteX13" fmla="*/ 47 w 281897"/>
                <a:gd name="connsiteY13" fmla="*/ 254379 h 528444"/>
                <a:gd name="connsiteX14" fmla="*/ 55253 w 281897"/>
                <a:gd name="connsiteY14" fmla="*/ 334395 h 528444"/>
                <a:gd name="connsiteX15" fmla="*/ 4196 w 281897"/>
                <a:gd name="connsiteY15" fmla="*/ 428588 h 528444"/>
                <a:gd name="connsiteX16" fmla="*/ 93330 w 281897"/>
                <a:gd name="connsiteY16" fmla="*/ 523369 h 528444"/>
                <a:gd name="connsiteX17" fmla="*/ 260890 w 281897"/>
                <a:gd name="connsiteY17" fmla="*/ 500076 h 528444"/>
                <a:gd name="connsiteX18" fmla="*/ 241887 w 281897"/>
                <a:gd name="connsiteY18" fmla="*/ 448637 h 528444"/>
                <a:gd name="connsiteX19" fmla="*/ 147133 w 281897"/>
                <a:gd name="connsiteY19" fmla="*/ 474882 h 528444"/>
                <a:gd name="connsiteX20" fmla="*/ 69392 w 281897"/>
                <a:gd name="connsiteY20" fmla="*/ 408602 h 528444"/>
                <a:gd name="connsiteX21" fmla="*/ 122791 w 281897"/>
                <a:gd name="connsiteY21" fmla="*/ 375218 h 528444"/>
                <a:gd name="connsiteX22" fmla="*/ 152182 w 281897"/>
                <a:gd name="connsiteY22" fmla="*/ 370983 h 528444"/>
                <a:gd name="connsiteX23" fmla="*/ 280381 w 281897"/>
                <a:gd name="connsiteY23" fmla="*/ 291131 h 528444"/>
                <a:gd name="connsiteX24" fmla="*/ 225480 w 281897"/>
                <a:gd name="connsiteY24" fmla="*/ 188792 h 528444"/>
                <a:gd name="connsiteX25" fmla="*/ 270866 w 281897"/>
                <a:gd name="connsiteY25" fmla="*/ 84392 h 528444"/>
                <a:gd name="connsiteX0" fmla="*/ 129211 w 283056"/>
                <a:gd name="connsiteY0" fmla="*/ 207866 h 528444"/>
                <a:gd name="connsiteX1" fmla="*/ 222241 w 283056"/>
                <a:gd name="connsiteY1" fmla="*/ 249290 h 528444"/>
                <a:gd name="connsiteX2" fmla="*/ 163522 w 283056"/>
                <a:gd name="connsiteY2" fmla="*/ 315833 h 528444"/>
                <a:gd name="connsiteX3" fmla="*/ 59857 w 283056"/>
                <a:gd name="connsiteY3" fmla="*/ 272760 h 528444"/>
                <a:gd name="connsiteX4" fmla="*/ 129211 w 283056"/>
                <a:gd name="connsiteY4" fmla="*/ 207866 h 528444"/>
                <a:gd name="connsiteX5" fmla="*/ 270866 w 283056"/>
                <a:gd name="connsiteY5" fmla="*/ 84392 h 528444"/>
                <a:gd name="connsiteX6" fmla="*/ 160458 w 283056"/>
                <a:gd name="connsiteY6" fmla="*/ 1016 h 528444"/>
                <a:gd name="connsiteX7" fmla="*/ 31851 w 283056"/>
                <a:gd name="connsiteY7" fmla="*/ 26081 h 528444"/>
                <a:gd name="connsiteX8" fmla="*/ 52356 w 283056"/>
                <a:gd name="connsiteY8" fmla="*/ 76808 h 528444"/>
                <a:gd name="connsiteX9" fmla="*/ 133319 w 283056"/>
                <a:gd name="connsiteY9" fmla="*/ 54753 h 528444"/>
                <a:gd name="connsiteX10" fmla="*/ 210410 w 283056"/>
                <a:gd name="connsiteY10" fmla="*/ 119720 h 528444"/>
                <a:gd name="connsiteX11" fmla="*/ 167260 w 283056"/>
                <a:gd name="connsiteY11" fmla="*/ 147096 h 528444"/>
                <a:gd name="connsiteX12" fmla="*/ 88064 w 283056"/>
                <a:gd name="connsiteY12" fmla="*/ 156651 h 528444"/>
                <a:gd name="connsiteX13" fmla="*/ 47 w 283056"/>
                <a:gd name="connsiteY13" fmla="*/ 254379 h 528444"/>
                <a:gd name="connsiteX14" fmla="*/ 55253 w 283056"/>
                <a:gd name="connsiteY14" fmla="*/ 334395 h 528444"/>
                <a:gd name="connsiteX15" fmla="*/ 4196 w 283056"/>
                <a:gd name="connsiteY15" fmla="*/ 428588 h 528444"/>
                <a:gd name="connsiteX16" fmla="*/ 93330 w 283056"/>
                <a:gd name="connsiteY16" fmla="*/ 523369 h 528444"/>
                <a:gd name="connsiteX17" fmla="*/ 260890 w 283056"/>
                <a:gd name="connsiteY17" fmla="*/ 500076 h 528444"/>
                <a:gd name="connsiteX18" fmla="*/ 241887 w 283056"/>
                <a:gd name="connsiteY18" fmla="*/ 448637 h 528444"/>
                <a:gd name="connsiteX19" fmla="*/ 147133 w 283056"/>
                <a:gd name="connsiteY19" fmla="*/ 474882 h 528444"/>
                <a:gd name="connsiteX20" fmla="*/ 69392 w 283056"/>
                <a:gd name="connsiteY20" fmla="*/ 408602 h 528444"/>
                <a:gd name="connsiteX21" fmla="*/ 122791 w 283056"/>
                <a:gd name="connsiteY21" fmla="*/ 375218 h 528444"/>
                <a:gd name="connsiteX22" fmla="*/ 152182 w 283056"/>
                <a:gd name="connsiteY22" fmla="*/ 370983 h 528444"/>
                <a:gd name="connsiteX23" fmla="*/ 280381 w 283056"/>
                <a:gd name="connsiteY23" fmla="*/ 291131 h 528444"/>
                <a:gd name="connsiteX24" fmla="*/ 225480 w 283056"/>
                <a:gd name="connsiteY24" fmla="*/ 188792 h 528444"/>
                <a:gd name="connsiteX25" fmla="*/ 270866 w 283056"/>
                <a:gd name="connsiteY25" fmla="*/ 84392 h 528444"/>
                <a:gd name="connsiteX0" fmla="*/ 129211 w 283056"/>
                <a:gd name="connsiteY0" fmla="*/ 207866 h 528444"/>
                <a:gd name="connsiteX1" fmla="*/ 222241 w 283056"/>
                <a:gd name="connsiteY1" fmla="*/ 249290 h 528444"/>
                <a:gd name="connsiteX2" fmla="*/ 163522 w 283056"/>
                <a:gd name="connsiteY2" fmla="*/ 315833 h 528444"/>
                <a:gd name="connsiteX3" fmla="*/ 59857 w 283056"/>
                <a:gd name="connsiteY3" fmla="*/ 272760 h 528444"/>
                <a:gd name="connsiteX4" fmla="*/ 129211 w 283056"/>
                <a:gd name="connsiteY4" fmla="*/ 207866 h 528444"/>
                <a:gd name="connsiteX5" fmla="*/ 270866 w 283056"/>
                <a:gd name="connsiteY5" fmla="*/ 84392 h 528444"/>
                <a:gd name="connsiteX6" fmla="*/ 160458 w 283056"/>
                <a:gd name="connsiteY6" fmla="*/ 1016 h 528444"/>
                <a:gd name="connsiteX7" fmla="*/ 31851 w 283056"/>
                <a:gd name="connsiteY7" fmla="*/ 26081 h 528444"/>
                <a:gd name="connsiteX8" fmla="*/ 52356 w 283056"/>
                <a:gd name="connsiteY8" fmla="*/ 76808 h 528444"/>
                <a:gd name="connsiteX9" fmla="*/ 133319 w 283056"/>
                <a:gd name="connsiteY9" fmla="*/ 54753 h 528444"/>
                <a:gd name="connsiteX10" fmla="*/ 210410 w 283056"/>
                <a:gd name="connsiteY10" fmla="*/ 119720 h 528444"/>
                <a:gd name="connsiteX11" fmla="*/ 167260 w 283056"/>
                <a:gd name="connsiteY11" fmla="*/ 147096 h 528444"/>
                <a:gd name="connsiteX12" fmla="*/ 88064 w 283056"/>
                <a:gd name="connsiteY12" fmla="*/ 156651 h 528444"/>
                <a:gd name="connsiteX13" fmla="*/ 47 w 283056"/>
                <a:gd name="connsiteY13" fmla="*/ 254379 h 528444"/>
                <a:gd name="connsiteX14" fmla="*/ 55253 w 283056"/>
                <a:gd name="connsiteY14" fmla="*/ 334395 h 528444"/>
                <a:gd name="connsiteX15" fmla="*/ 4196 w 283056"/>
                <a:gd name="connsiteY15" fmla="*/ 428588 h 528444"/>
                <a:gd name="connsiteX16" fmla="*/ 93330 w 283056"/>
                <a:gd name="connsiteY16" fmla="*/ 523369 h 528444"/>
                <a:gd name="connsiteX17" fmla="*/ 260890 w 283056"/>
                <a:gd name="connsiteY17" fmla="*/ 500076 h 528444"/>
                <a:gd name="connsiteX18" fmla="*/ 241887 w 283056"/>
                <a:gd name="connsiteY18" fmla="*/ 448637 h 528444"/>
                <a:gd name="connsiteX19" fmla="*/ 147133 w 283056"/>
                <a:gd name="connsiteY19" fmla="*/ 474882 h 528444"/>
                <a:gd name="connsiteX20" fmla="*/ 69392 w 283056"/>
                <a:gd name="connsiteY20" fmla="*/ 408602 h 528444"/>
                <a:gd name="connsiteX21" fmla="*/ 122791 w 283056"/>
                <a:gd name="connsiteY21" fmla="*/ 375218 h 528444"/>
                <a:gd name="connsiteX22" fmla="*/ 152182 w 283056"/>
                <a:gd name="connsiteY22" fmla="*/ 370983 h 528444"/>
                <a:gd name="connsiteX23" fmla="*/ 280381 w 283056"/>
                <a:gd name="connsiteY23" fmla="*/ 291131 h 528444"/>
                <a:gd name="connsiteX24" fmla="*/ 225480 w 283056"/>
                <a:gd name="connsiteY24" fmla="*/ 188792 h 528444"/>
                <a:gd name="connsiteX25" fmla="*/ 270866 w 283056"/>
                <a:gd name="connsiteY25" fmla="*/ 84392 h 528444"/>
                <a:gd name="connsiteX0" fmla="*/ 129211 w 281053"/>
                <a:gd name="connsiteY0" fmla="*/ 207866 h 528444"/>
                <a:gd name="connsiteX1" fmla="*/ 222241 w 281053"/>
                <a:gd name="connsiteY1" fmla="*/ 249290 h 528444"/>
                <a:gd name="connsiteX2" fmla="*/ 163522 w 281053"/>
                <a:gd name="connsiteY2" fmla="*/ 315833 h 528444"/>
                <a:gd name="connsiteX3" fmla="*/ 59857 w 281053"/>
                <a:gd name="connsiteY3" fmla="*/ 272760 h 528444"/>
                <a:gd name="connsiteX4" fmla="*/ 129211 w 281053"/>
                <a:gd name="connsiteY4" fmla="*/ 207866 h 528444"/>
                <a:gd name="connsiteX5" fmla="*/ 270866 w 281053"/>
                <a:gd name="connsiteY5" fmla="*/ 84392 h 528444"/>
                <a:gd name="connsiteX6" fmla="*/ 160458 w 281053"/>
                <a:gd name="connsiteY6" fmla="*/ 1016 h 528444"/>
                <a:gd name="connsiteX7" fmla="*/ 31851 w 281053"/>
                <a:gd name="connsiteY7" fmla="*/ 26081 h 528444"/>
                <a:gd name="connsiteX8" fmla="*/ 52356 w 281053"/>
                <a:gd name="connsiteY8" fmla="*/ 76808 h 528444"/>
                <a:gd name="connsiteX9" fmla="*/ 133319 w 281053"/>
                <a:gd name="connsiteY9" fmla="*/ 54753 h 528444"/>
                <a:gd name="connsiteX10" fmla="*/ 210410 w 281053"/>
                <a:gd name="connsiteY10" fmla="*/ 119720 h 528444"/>
                <a:gd name="connsiteX11" fmla="*/ 167260 w 281053"/>
                <a:gd name="connsiteY11" fmla="*/ 147096 h 528444"/>
                <a:gd name="connsiteX12" fmla="*/ 88064 w 281053"/>
                <a:gd name="connsiteY12" fmla="*/ 156651 h 528444"/>
                <a:gd name="connsiteX13" fmla="*/ 47 w 281053"/>
                <a:gd name="connsiteY13" fmla="*/ 254379 h 528444"/>
                <a:gd name="connsiteX14" fmla="*/ 55253 w 281053"/>
                <a:gd name="connsiteY14" fmla="*/ 334395 h 528444"/>
                <a:gd name="connsiteX15" fmla="*/ 4196 w 281053"/>
                <a:gd name="connsiteY15" fmla="*/ 428588 h 528444"/>
                <a:gd name="connsiteX16" fmla="*/ 93330 w 281053"/>
                <a:gd name="connsiteY16" fmla="*/ 523369 h 528444"/>
                <a:gd name="connsiteX17" fmla="*/ 260890 w 281053"/>
                <a:gd name="connsiteY17" fmla="*/ 500076 h 528444"/>
                <a:gd name="connsiteX18" fmla="*/ 241887 w 281053"/>
                <a:gd name="connsiteY18" fmla="*/ 448637 h 528444"/>
                <a:gd name="connsiteX19" fmla="*/ 147133 w 281053"/>
                <a:gd name="connsiteY19" fmla="*/ 474882 h 528444"/>
                <a:gd name="connsiteX20" fmla="*/ 69392 w 281053"/>
                <a:gd name="connsiteY20" fmla="*/ 408602 h 528444"/>
                <a:gd name="connsiteX21" fmla="*/ 122791 w 281053"/>
                <a:gd name="connsiteY21" fmla="*/ 375218 h 528444"/>
                <a:gd name="connsiteX22" fmla="*/ 152182 w 281053"/>
                <a:gd name="connsiteY22" fmla="*/ 370983 h 528444"/>
                <a:gd name="connsiteX23" fmla="*/ 280381 w 281053"/>
                <a:gd name="connsiteY23" fmla="*/ 291131 h 528444"/>
                <a:gd name="connsiteX24" fmla="*/ 225480 w 281053"/>
                <a:gd name="connsiteY24" fmla="*/ 188792 h 528444"/>
                <a:gd name="connsiteX25" fmla="*/ 270866 w 281053"/>
                <a:gd name="connsiteY25" fmla="*/ 84392 h 528444"/>
                <a:gd name="connsiteX0" fmla="*/ 129211 w 281053"/>
                <a:gd name="connsiteY0" fmla="*/ 207866 h 528444"/>
                <a:gd name="connsiteX1" fmla="*/ 222241 w 281053"/>
                <a:gd name="connsiteY1" fmla="*/ 249290 h 528444"/>
                <a:gd name="connsiteX2" fmla="*/ 163522 w 281053"/>
                <a:gd name="connsiteY2" fmla="*/ 315833 h 528444"/>
                <a:gd name="connsiteX3" fmla="*/ 59857 w 281053"/>
                <a:gd name="connsiteY3" fmla="*/ 272760 h 528444"/>
                <a:gd name="connsiteX4" fmla="*/ 129211 w 281053"/>
                <a:gd name="connsiteY4" fmla="*/ 207866 h 528444"/>
                <a:gd name="connsiteX5" fmla="*/ 270866 w 281053"/>
                <a:gd name="connsiteY5" fmla="*/ 84392 h 528444"/>
                <a:gd name="connsiteX6" fmla="*/ 160458 w 281053"/>
                <a:gd name="connsiteY6" fmla="*/ 1016 h 528444"/>
                <a:gd name="connsiteX7" fmla="*/ 31851 w 281053"/>
                <a:gd name="connsiteY7" fmla="*/ 26081 h 528444"/>
                <a:gd name="connsiteX8" fmla="*/ 52356 w 281053"/>
                <a:gd name="connsiteY8" fmla="*/ 76808 h 528444"/>
                <a:gd name="connsiteX9" fmla="*/ 133319 w 281053"/>
                <a:gd name="connsiteY9" fmla="*/ 54753 h 528444"/>
                <a:gd name="connsiteX10" fmla="*/ 210410 w 281053"/>
                <a:gd name="connsiteY10" fmla="*/ 119720 h 528444"/>
                <a:gd name="connsiteX11" fmla="*/ 167260 w 281053"/>
                <a:gd name="connsiteY11" fmla="*/ 147096 h 528444"/>
                <a:gd name="connsiteX12" fmla="*/ 88064 w 281053"/>
                <a:gd name="connsiteY12" fmla="*/ 156651 h 528444"/>
                <a:gd name="connsiteX13" fmla="*/ 47 w 281053"/>
                <a:gd name="connsiteY13" fmla="*/ 254379 h 528444"/>
                <a:gd name="connsiteX14" fmla="*/ 55253 w 281053"/>
                <a:gd name="connsiteY14" fmla="*/ 334395 h 528444"/>
                <a:gd name="connsiteX15" fmla="*/ 4196 w 281053"/>
                <a:gd name="connsiteY15" fmla="*/ 428588 h 528444"/>
                <a:gd name="connsiteX16" fmla="*/ 93330 w 281053"/>
                <a:gd name="connsiteY16" fmla="*/ 523369 h 528444"/>
                <a:gd name="connsiteX17" fmla="*/ 260890 w 281053"/>
                <a:gd name="connsiteY17" fmla="*/ 500076 h 528444"/>
                <a:gd name="connsiteX18" fmla="*/ 241887 w 281053"/>
                <a:gd name="connsiteY18" fmla="*/ 448637 h 528444"/>
                <a:gd name="connsiteX19" fmla="*/ 147133 w 281053"/>
                <a:gd name="connsiteY19" fmla="*/ 474882 h 528444"/>
                <a:gd name="connsiteX20" fmla="*/ 69392 w 281053"/>
                <a:gd name="connsiteY20" fmla="*/ 408602 h 528444"/>
                <a:gd name="connsiteX21" fmla="*/ 122791 w 281053"/>
                <a:gd name="connsiteY21" fmla="*/ 375218 h 528444"/>
                <a:gd name="connsiteX22" fmla="*/ 280381 w 281053"/>
                <a:gd name="connsiteY22" fmla="*/ 291131 h 528444"/>
                <a:gd name="connsiteX23" fmla="*/ 225480 w 281053"/>
                <a:gd name="connsiteY23" fmla="*/ 188792 h 528444"/>
                <a:gd name="connsiteX24" fmla="*/ 270866 w 281053"/>
                <a:gd name="connsiteY24" fmla="*/ 84392 h 528444"/>
                <a:gd name="connsiteX0" fmla="*/ 129211 w 288079"/>
                <a:gd name="connsiteY0" fmla="*/ 207866 h 528444"/>
                <a:gd name="connsiteX1" fmla="*/ 222241 w 288079"/>
                <a:gd name="connsiteY1" fmla="*/ 249290 h 528444"/>
                <a:gd name="connsiteX2" fmla="*/ 163522 w 288079"/>
                <a:gd name="connsiteY2" fmla="*/ 315833 h 528444"/>
                <a:gd name="connsiteX3" fmla="*/ 59857 w 288079"/>
                <a:gd name="connsiteY3" fmla="*/ 272760 h 528444"/>
                <a:gd name="connsiteX4" fmla="*/ 129211 w 288079"/>
                <a:gd name="connsiteY4" fmla="*/ 207866 h 528444"/>
                <a:gd name="connsiteX5" fmla="*/ 270866 w 288079"/>
                <a:gd name="connsiteY5" fmla="*/ 84392 h 528444"/>
                <a:gd name="connsiteX6" fmla="*/ 160458 w 288079"/>
                <a:gd name="connsiteY6" fmla="*/ 1016 h 528444"/>
                <a:gd name="connsiteX7" fmla="*/ 31851 w 288079"/>
                <a:gd name="connsiteY7" fmla="*/ 26081 h 528444"/>
                <a:gd name="connsiteX8" fmla="*/ 52356 w 288079"/>
                <a:gd name="connsiteY8" fmla="*/ 76808 h 528444"/>
                <a:gd name="connsiteX9" fmla="*/ 133319 w 288079"/>
                <a:gd name="connsiteY9" fmla="*/ 54753 h 528444"/>
                <a:gd name="connsiteX10" fmla="*/ 210410 w 288079"/>
                <a:gd name="connsiteY10" fmla="*/ 119720 h 528444"/>
                <a:gd name="connsiteX11" fmla="*/ 167260 w 288079"/>
                <a:gd name="connsiteY11" fmla="*/ 147096 h 528444"/>
                <a:gd name="connsiteX12" fmla="*/ 88064 w 288079"/>
                <a:gd name="connsiteY12" fmla="*/ 156651 h 528444"/>
                <a:gd name="connsiteX13" fmla="*/ 47 w 288079"/>
                <a:gd name="connsiteY13" fmla="*/ 254379 h 528444"/>
                <a:gd name="connsiteX14" fmla="*/ 55253 w 288079"/>
                <a:gd name="connsiteY14" fmla="*/ 334395 h 528444"/>
                <a:gd name="connsiteX15" fmla="*/ 4196 w 288079"/>
                <a:gd name="connsiteY15" fmla="*/ 428588 h 528444"/>
                <a:gd name="connsiteX16" fmla="*/ 93330 w 288079"/>
                <a:gd name="connsiteY16" fmla="*/ 523369 h 528444"/>
                <a:gd name="connsiteX17" fmla="*/ 260890 w 288079"/>
                <a:gd name="connsiteY17" fmla="*/ 500076 h 528444"/>
                <a:gd name="connsiteX18" fmla="*/ 241887 w 288079"/>
                <a:gd name="connsiteY18" fmla="*/ 448637 h 528444"/>
                <a:gd name="connsiteX19" fmla="*/ 147133 w 288079"/>
                <a:gd name="connsiteY19" fmla="*/ 474882 h 528444"/>
                <a:gd name="connsiteX20" fmla="*/ 69392 w 288079"/>
                <a:gd name="connsiteY20" fmla="*/ 408602 h 528444"/>
                <a:gd name="connsiteX21" fmla="*/ 280381 w 288079"/>
                <a:gd name="connsiteY21" fmla="*/ 291131 h 528444"/>
                <a:gd name="connsiteX22" fmla="*/ 225480 w 288079"/>
                <a:gd name="connsiteY22" fmla="*/ 188792 h 528444"/>
                <a:gd name="connsiteX23" fmla="*/ 270866 w 288079"/>
                <a:gd name="connsiteY23" fmla="*/ 84392 h 528444"/>
                <a:gd name="connsiteX0" fmla="*/ 129211 w 280663"/>
                <a:gd name="connsiteY0" fmla="*/ 207866 h 528444"/>
                <a:gd name="connsiteX1" fmla="*/ 222241 w 280663"/>
                <a:gd name="connsiteY1" fmla="*/ 249290 h 528444"/>
                <a:gd name="connsiteX2" fmla="*/ 163522 w 280663"/>
                <a:gd name="connsiteY2" fmla="*/ 315833 h 528444"/>
                <a:gd name="connsiteX3" fmla="*/ 59857 w 280663"/>
                <a:gd name="connsiteY3" fmla="*/ 272760 h 528444"/>
                <a:gd name="connsiteX4" fmla="*/ 129211 w 280663"/>
                <a:gd name="connsiteY4" fmla="*/ 207866 h 528444"/>
                <a:gd name="connsiteX5" fmla="*/ 270866 w 280663"/>
                <a:gd name="connsiteY5" fmla="*/ 84392 h 528444"/>
                <a:gd name="connsiteX6" fmla="*/ 160458 w 280663"/>
                <a:gd name="connsiteY6" fmla="*/ 1016 h 528444"/>
                <a:gd name="connsiteX7" fmla="*/ 31851 w 280663"/>
                <a:gd name="connsiteY7" fmla="*/ 26081 h 528444"/>
                <a:gd name="connsiteX8" fmla="*/ 52356 w 280663"/>
                <a:gd name="connsiteY8" fmla="*/ 76808 h 528444"/>
                <a:gd name="connsiteX9" fmla="*/ 133319 w 280663"/>
                <a:gd name="connsiteY9" fmla="*/ 54753 h 528444"/>
                <a:gd name="connsiteX10" fmla="*/ 210410 w 280663"/>
                <a:gd name="connsiteY10" fmla="*/ 119720 h 528444"/>
                <a:gd name="connsiteX11" fmla="*/ 167260 w 280663"/>
                <a:gd name="connsiteY11" fmla="*/ 147096 h 528444"/>
                <a:gd name="connsiteX12" fmla="*/ 88064 w 280663"/>
                <a:gd name="connsiteY12" fmla="*/ 156651 h 528444"/>
                <a:gd name="connsiteX13" fmla="*/ 47 w 280663"/>
                <a:gd name="connsiteY13" fmla="*/ 254379 h 528444"/>
                <a:gd name="connsiteX14" fmla="*/ 55253 w 280663"/>
                <a:gd name="connsiteY14" fmla="*/ 334395 h 528444"/>
                <a:gd name="connsiteX15" fmla="*/ 4196 w 280663"/>
                <a:gd name="connsiteY15" fmla="*/ 428588 h 528444"/>
                <a:gd name="connsiteX16" fmla="*/ 93330 w 280663"/>
                <a:gd name="connsiteY16" fmla="*/ 523369 h 528444"/>
                <a:gd name="connsiteX17" fmla="*/ 260890 w 280663"/>
                <a:gd name="connsiteY17" fmla="*/ 500076 h 528444"/>
                <a:gd name="connsiteX18" fmla="*/ 241887 w 280663"/>
                <a:gd name="connsiteY18" fmla="*/ 448637 h 528444"/>
                <a:gd name="connsiteX19" fmla="*/ 147133 w 280663"/>
                <a:gd name="connsiteY19" fmla="*/ 474882 h 528444"/>
                <a:gd name="connsiteX20" fmla="*/ 69392 w 280663"/>
                <a:gd name="connsiteY20" fmla="*/ 408602 h 528444"/>
                <a:gd name="connsiteX21" fmla="*/ 280381 w 280663"/>
                <a:gd name="connsiteY21" fmla="*/ 291131 h 528444"/>
                <a:gd name="connsiteX22" fmla="*/ 225480 w 280663"/>
                <a:gd name="connsiteY22" fmla="*/ 188792 h 528444"/>
                <a:gd name="connsiteX23" fmla="*/ 270866 w 280663"/>
                <a:gd name="connsiteY23" fmla="*/ 84392 h 528444"/>
                <a:gd name="connsiteX0" fmla="*/ 129211 w 286311"/>
                <a:gd name="connsiteY0" fmla="*/ 207866 h 528444"/>
                <a:gd name="connsiteX1" fmla="*/ 222241 w 286311"/>
                <a:gd name="connsiteY1" fmla="*/ 249290 h 528444"/>
                <a:gd name="connsiteX2" fmla="*/ 163522 w 286311"/>
                <a:gd name="connsiteY2" fmla="*/ 315833 h 528444"/>
                <a:gd name="connsiteX3" fmla="*/ 59857 w 286311"/>
                <a:gd name="connsiteY3" fmla="*/ 272760 h 528444"/>
                <a:gd name="connsiteX4" fmla="*/ 129211 w 286311"/>
                <a:gd name="connsiteY4" fmla="*/ 207866 h 528444"/>
                <a:gd name="connsiteX5" fmla="*/ 270866 w 286311"/>
                <a:gd name="connsiteY5" fmla="*/ 84392 h 528444"/>
                <a:gd name="connsiteX6" fmla="*/ 160458 w 286311"/>
                <a:gd name="connsiteY6" fmla="*/ 1016 h 528444"/>
                <a:gd name="connsiteX7" fmla="*/ 31851 w 286311"/>
                <a:gd name="connsiteY7" fmla="*/ 26081 h 528444"/>
                <a:gd name="connsiteX8" fmla="*/ 52356 w 286311"/>
                <a:gd name="connsiteY8" fmla="*/ 76808 h 528444"/>
                <a:gd name="connsiteX9" fmla="*/ 133319 w 286311"/>
                <a:gd name="connsiteY9" fmla="*/ 54753 h 528444"/>
                <a:gd name="connsiteX10" fmla="*/ 210410 w 286311"/>
                <a:gd name="connsiteY10" fmla="*/ 119720 h 528444"/>
                <a:gd name="connsiteX11" fmla="*/ 167260 w 286311"/>
                <a:gd name="connsiteY11" fmla="*/ 147096 h 528444"/>
                <a:gd name="connsiteX12" fmla="*/ 88064 w 286311"/>
                <a:gd name="connsiteY12" fmla="*/ 156651 h 528444"/>
                <a:gd name="connsiteX13" fmla="*/ 47 w 286311"/>
                <a:gd name="connsiteY13" fmla="*/ 254379 h 528444"/>
                <a:gd name="connsiteX14" fmla="*/ 55253 w 286311"/>
                <a:gd name="connsiteY14" fmla="*/ 334395 h 528444"/>
                <a:gd name="connsiteX15" fmla="*/ 4196 w 286311"/>
                <a:gd name="connsiteY15" fmla="*/ 428588 h 528444"/>
                <a:gd name="connsiteX16" fmla="*/ 93330 w 286311"/>
                <a:gd name="connsiteY16" fmla="*/ 523369 h 528444"/>
                <a:gd name="connsiteX17" fmla="*/ 260890 w 286311"/>
                <a:gd name="connsiteY17" fmla="*/ 500076 h 528444"/>
                <a:gd name="connsiteX18" fmla="*/ 241887 w 286311"/>
                <a:gd name="connsiteY18" fmla="*/ 448637 h 528444"/>
                <a:gd name="connsiteX19" fmla="*/ 147133 w 286311"/>
                <a:gd name="connsiteY19" fmla="*/ 474882 h 528444"/>
                <a:gd name="connsiteX20" fmla="*/ 97049 w 286311"/>
                <a:gd name="connsiteY20" fmla="*/ 382104 h 528444"/>
                <a:gd name="connsiteX21" fmla="*/ 280381 w 286311"/>
                <a:gd name="connsiteY21" fmla="*/ 291131 h 528444"/>
                <a:gd name="connsiteX22" fmla="*/ 225480 w 286311"/>
                <a:gd name="connsiteY22" fmla="*/ 188792 h 528444"/>
                <a:gd name="connsiteX23" fmla="*/ 270866 w 286311"/>
                <a:gd name="connsiteY23" fmla="*/ 84392 h 528444"/>
                <a:gd name="connsiteX0" fmla="*/ 129211 w 279342"/>
                <a:gd name="connsiteY0" fmla="*/ 207866 h 528444"/>
                <a:gd name="connsiteX1" fmla="*/ 222241 w 279342"/>
                <a:gd name="connsiteY1" fmla="*/ 249290 h 528444"/>
                <a:gd name="connsiteX2" fmla="*/ 163522 w 279342"/>
                <a:gd name="connsiteY2" fmla="*/ 315833 h 528444"/>
                <a:gd name="connsiteX3" fmla="*/ 59857 w 279342"/>
                <a:gd name="connsiteY3" fmla="*/ 272760 h 528444"/>
                <a:gd name="connsiteX4" fmla="*/ 129211 w 279342"/>
                <a:gd name="connsiteY4" fmla="*/ 207866 h 528444"/>
                <a:gd name="connsiteX5" fmla="*/ 270866 w 279342"/>
                <a:gd name="connsiteY5" fmla="*/ 84392 h 528444"/>
                <a:gd name="connsiteX6" fmla="*/ 160458 w 279342"/>
                <a:gd name="connsiteY6" fmla="*/ 1016 h 528444"/>
                <a:gd name="connsiteX7" fmla="*/ 31851 w 279342"/>
                <a:gd name="connsiteY7" fmla="*/ 26081 h 528444"/>
                <a:gd name="connsiteX8" fmla="*/ 52356 w 279342"/>
                <a:gd name="connsiteY8" fmla="*/ 76808 h 528444"/>
                <a:gd name="connsiteX9" fmla="*/ 133319 w 279342"/>
                <a:gd name="connsiteY9" fmla="*/ 54753 h 528444"/>
                <a:gd name="connsiteX10" fmla="*/ 210410 w 279342"/>
                <a:gd name="connsiteY10" fmla="*/ 119720 h 528444"/>
                <a:gd name="connsiteX11" fmla="*/ 167260 w 279342"/>
                <a:gd name="connsiteY11" fmla="*/ 147096 h 528444"/>
                <a:gd name="connsiteX12" fmla="*/ 88064 w 279342"/>
                <a:gd name="connsiteY12" fmla="*/ 156651 h 528444"/>
                <a:gd name="connsiteX13" fmla="*/ 47 w 279342"/>
                <a:gd name="connsiteY13" fmla="*/ 254379 h 528444"/>
                <a:gd name="connsiteX14" fmla="*/ 55253 w 279342"/>
                <a:gd name="connsiteY14" fmla="*/ 334395 h 528444"/>
                <a:gd name="connsiteX15" fmla="*/ 4196 w 279342"/>
                <a:gd name="connsiteY15" fmla="*/ 428588 h 528444"/>
                <a:gd name="connsiteX16" fmla="*/ 93330 w 279342"/>
                <a:gd name="connsiteY16" fmla="*/ 523369 h 528444"/>
                <a:gd name="connsiteX17" fmla="*/ 260890 w 279342"/>
                <a:gd name="connsiteY17" fmla="*/ 500076 h 528444"/>
                <a:gd name="connsiteX18" fmla="*/ 241887 w 279342"/>
                <a:gd name="connsiteY18" fmla="*/ 448637 h 528444"/>
                <a:gd name="connsiteX19" fmla="*/ 147133 w 279342"/>
                <a:gd name="connsiteY19" fmla="*/ 474882 h 528444"/>
                <a:gd name="connsiteX20" fmla="*/ 97049 w 279342"/>
                <a:gd name="connsiteY20" fmla="*/ 382104 h 528444"/>
                <a:gd name="connsiteX21" fmla="*/ 272555 w 279342"/>
                <a:gd name="connsiteY21" fmla="*/ 318125 h 528444"/>
                <a:gd name="connsiteX22" fmla="*/ 225480 w 279342"/>
                <a:gd name="connsiteY22" fmla="*/ 188792 h 528444"/>
                <a:gd name="connsiteX23" fmla="*/ 270866 w 279342"/>
                <a:gd name="connsiteY23" fmla="*/ 84392 h 528444"/>
                <a:gd name="connsiteX0" fmla="*/ 129211 w 277769"/>
                <a:gd name="connsiteY0" fmla="*/ 207866 h 528444"/>
                <a:gd name="connsiteX1" fmla="*/ 222241 w 277769"/>
                <a:gd name="connsiteY1" fmla="*/ 249290 h 528444"/>
                <a:gd name="connsiteX2" fmla="*/ 163522 w 277769"/>
                <a:gd name="connsiteY2" fmla="*/ 315833 h 528444"/>
                <a:gd name="connsiteX3" fmla="*/ 59857 w 277769"/>
                <a:gd name="connsiteY3" fmla="*/ 272760 h 528444"/>
                <a:gd name="connsiteX4" fmla="*/ 129211 w 277769"/>
                <a:gd name="connsiteY4" fmla="*/ 207866 h 528444"/>
                <a:gd name="connsiteX5" fmla="*/ 270866 w 277769"/>
                <a:gd name="connsiteY5" fmla="*/ 84392 h 528444"/>
                <a:gd name="connsiteX6" fmla="*/ 160458 w 277769"/>
                <a:gd name="connsiteY6" fmla="*/ 1016 h 528444"/>
                <a:gd name="connsiteX7" fmla="*/ 31851 w 277769"/>
                <a:gd name="connsiteY7" fmla="*/ 26081 h 528444"/>
                <a:gd name="connsiteX8" fmla="*/ 52356 w 277769"/>
                <a:gd name="connsiteY8" fmla="*/ 76808 h 528444"/>
                <a:gd name="connsiteX9" fmla="*/ 133319 w 277769"/>
                <a:gd name="connsiteY9" fmla="*/ 54753 h 528444"/>
                <a:gd name="connsiteX10" fmla="*/ 210410 w 277769"/>
                <a:gd name="connsiteY10" fmla="*/ 119720 h 528444"/>
                <a:gd name="connsiteX11" fmla="*/ 167260 w 277769"/>
                <a:gd name="connsiteY11" fmla="*/ 147096 h 528444"/>
                <a:gd name="connsiteX12" fmla="*/ 88064 w 277769"/>
                <a:gd name="connsiteY12" fmla="*/ 156651 h 528444"/>
                <a:gd name="connsiteX13" fmla="*/ 47 w 277769"/>
                <a:gd name="connsiteY13" fmla="*/ 254379 h 528444"/>
                <a:gd name="connsiteX14" fmla="*/ 55253 w 277769"/>
                <a:gd name="connsiteY14" fmla="*/ 334395 h 528444"/>
                <a:gd name="connsiteX15" fmla="*/ 4196 w 277769"/>
                <a:gd name="connsiteY15" fmla="*/ 428588 h 528444"/>
                <a:gd name="connsiteX16" fmla="*/ 93330 w 277769"/>
                <a:gd name="connsiteY16" fmla="*/ 523369 h 528444"/>
                <a:gd name="connsiteX17" fmla="*/ 260890 w 277769"/>
                <a:gd name="connsiteY17" fmla="*/ 500076 h 528444"/>
                <a:gd name="connsiteX18" fmla="*/ 241887 w 277769"/>
                <a:gd name="connsiteY18" fmla="*/ 448637 h 528444"/>
                <a:gd name="connsiteX19" fmla="*/ 147133 w 277769"/>
                <a:gd name="connsiteY19" fmla="*/ 474882 h 528444"/>
                <a:gd name="connsiteX20" fmla="*/ 97049 w 277769"/>
                <a:gd name="connsiteY20" fmla="*/ 382104 h 528444"/>
                <a:gd name="connsiteX21" fmla="*/ 272555 w 277769"/>
                <a:gd name="connsiteY21" fmla="*/ 318125 h 528444"/>
                <a:gd name="connsiteX22" fmla="*/ 225480 w 277769"/>
                <a:gd name="connsiteY22" fmla="*/ 188792 h 528444"/>
                <a:gd name="connsiteX23" fmla="*/ 270866 w 277769"/>
                <a:gd name="connsiteY23" fmla="*/ 84392 h 528444"/>
                <a:gd name="connsiteX0" fmla="*/ 129211 w 281685"/>
                <a:gd name="connsiteY0" fmla="*/ 207866 h 528444"/>
                <a:gd name="connsiteX1" fmla="*/ 222241 w 281685"/>
                <a:gd name="connsiteY1" fmla="*/ 249290 h 528444"/>
                <a:gd name="connsiteX2" fmla="*/ 163522 w 281685"/>
                <a:gd name="connsiteY2" fmla="*/ 315833 h 528444"/>
                <a:gd name="connsiteX3" fmla="*/ 59857 w 281685"/>
                <a:gd name="connsiteY3" fmla="*/ 272760 h 528444"/>
                <a:gd name="connsiteX4" fmla="*/ 129211 w 281685"/>
                <a:gd name="connsiteY4" fmla="*/ 207866 h 528444"/>
                <a:gd name="connsiteX5" fmla="*/ 270866 w 281685"/>
                <a:gd name="connsiteY5" fmla="*/ 84392 h 528444"/>
                <a:gd name="connsiteX6" fmla="*/ 160458 w 281685"/>
                <a:gd name="connsiteY6" fmla="*/ 1016 h 528444"/>
                <a:gd name="connsiteX7" fmla="*/ 31851 w 281685"/>
                <a:gd name="connsiteY7" fmla="*/ 26081 h 528444"/>
                <a:gd name="connsiteX8" fmla="*/ 52356 w 281685"/>
                <a:gd name="connsiteY8" fmla="*/ 76808 h 528444"/>
                <a:gd name="connsiteX9" fmla="*/ 133319 w 281685"/>
                <a:gd name="connsiteY9" fmla="*/ 54753 h 528444"/>
                <a:gd name="connsiteX10" fmla="*/ 210410 w 281685"/>
                <a:gd name="connsiteY10" fmla="*/ 119720 h 528444"/>
                <a:gd name="connsiteX11" fmla="*/ 167260 w 281685"/>
                <a:gd name="connsiteY11" fmla="*/ 147096 h 528444"/>
                <a:gd name="connsiteX12" fmla="*/ 88064 w 281685"/>
                <a:gd name="connsiteY12" fmla="*/ 156651 h 528444"/>
                <a:gd name="connsiteX13" fmla="*/ 47 w 281685"/>
                <a:gd name="connsiteY13" fmla="*/ 254379 h 528444"/>
                <a:gd name="connsiteX14" fmla="*/ 55253 w 281685"/>
                <a:gd name="connsiteY14" fmla="*/ 334395 h 528444"/>
                <a:gd name="connsiteX15" fmla="*/ 4196 w 281685"/>
                <a:gd name="connsiteY15" fmla="*/ 428588 h 528444"/>
                <a:gd name="connsiteX16" fmla="*/ 93330 w 281685"/>
                <a:gd name="connsiteY16" fmla="*/ 523369 h 528444"/>
                <a:gd name="connsiteX17" fmla="*/ 260890 w 281685"/>
                <a:gd name="connsiteY17" fmla="*/ 500076 h 528444"/>
                <a:gd name="connsiteX18" fmla="*/ 241887 w 281685"/>
                <a:gd name="connsiteY18" fmla="*/ 448637 h 528444"/>
                <a:gd name="connsiteX19" fmla="*/ 147133 w 281685"/>
                <a:gd name="connsiteY19" fmla="*/ 474882 h 528444"/>
                <a:gd name="connsiteX20" fmla="*/ 97049 w 281685"/>
                <a:gd name="connsiteY20" fmla="*/ 382104 h 528444"/>
                <a:gd name="connsiteX21" fmla="*/ 272555 w 281685"/>
                <a:gd name="connsiteY21" fmla="*/ 318125 h 528444"/>
                <a:gd name="connsiteX22" fmla="*/ 225480 w 281685"/>
                <a:gd name="connsiteY22" fmla="*/ 188792 h 528444"/>
                <a:gd name="connsiteX23" fmla="*/ 270866 w 281685"/>
                <a:gd name="connsiteY23" fmla="*/ 84392 h 528444"/>
                <a:gd name="connsiteX0" fmla="*/ 129211 w 280544"/>
                <a:gd name="connsiteY0" fmla="*/ 207866 h 528444"/>
                <a:gd name="connsiteX1" fmla="*/ 222241 w 280544"/>
                <a:gd name="connsiteY1" fmla="*/ 249290 h 528444"/>
                <a:gd name="connsiteX2" fmla="*/ 163522 w 280544"/>
                <a:gd name="connsiteY2" fmla="*/ 315833 h 528444"/>
                <a:gd name="connsiteX3" fmla="*/ 59857 w 280544"/>
                <a:gd name="connsiteY3" fmla="*/ 272760 h 528444"/>
                <a:gd name="connsiteX4" fmla="*/ 129211 w 280544"/>
                <a:gd name="connsiteY4" fmla="*/ 207866 h 528444"/>
                <a:gd name="connsiteX5" fmla="*/ 270866 w 280544"/>
                <a:gd name="connsiteY5" fmla="*/ 84392 h 528444"/>
                <a:gd name="connsiteX6" fmla="*/ 160458 w 280544"/>
                <a:gd name="connsiteY6" fmla="*/ 1016 h 528444"/>
                <a:gd name="connsiteX7" fmla="*/ 31851 w 280544"/>
                <a:gd name="connsiteY7" fmla="*/ 26081 h 528444"/>
                <a:gd name="connsiteX8" fmla="*/ 52356 w 280544"/>
                <a:gd name="connsiteY8" fmla="*/ 76808 h 528444"/>
                <a:gd name="connsiteX9" fmla="*/ 133319 w 280544"/>
                <a:gd name="connsiteY9" fmla="*/ 54753 h 528444"/>
                <a:gd name="connsiteX10" fmla="*/ 210410 w 280544"/>
                <a:gd name="connsiteY10" fmla="*/ 119720 h 528444"/>
                <a:gd name="connsiteX11" fmla="*/ 167260 w 280544"/>
                <a:gd name="connsiteY11" fmla="*/ 147096 h 528444"/>
                <a:gd name="connsiteX12" fmla="*/ 88064 w 280544"/>
                <a:gd name="connsiteY12" fmla="*/ 156651 h 528444"/>
                <a:gd name="connsiteX13" fmla="*/ 47 w 280544"/>
                <a:gd name="connsiteY13" fmla="*/ 254379 h 528444"/>
                <a:gd name="connsiteX14" fmla="*/ 55253 w 280544"/>
                <a:gd name="connsiteY14" fmla="*/ 334395 h 528444"/>
                <a:gd name="connsiteX15" fmla="*/ 4196 w 280544"/>
                <a:gd name="connsiteY15" fmla="*/ 428588 h 528444"/>
                <a:gd name="connsiteX16" fmla="*/ 93330 w 280544"/>
                <a:gd name="connsiteY16" fmla="*/ 523369 h 528444"/>
                <a:gd name="connsiteX17" fmla="*/ 260890 w 280544"/>
                <a:gd name="connsiteY17" fmla="*/ 500076 h 528444"/>
                <a:gd name="connsiteX18" fmla="*/ 241887 w 280544"/>
                <a:gd name="connsiteY18" fmla="*/ 448637 h 528444"/>
                <a:gd name="connsiteX19" fmla="*/ 147133 w 280544"/>
                <a:gd name="connsiteY19" fmla="*/ 474882 h 528444"/>
                <a:gd name="connsiteX20" fmla="*/ 97049 w 280544"/>
                <a:gd name="connsiteY20" fmla="*/ 382104 h 528444"/>
                <a:gd name="connsiteX21" fmla="*/ 272555 w 280544"/>
                <a:gd name="connsiteY21" fmla="*/ 318125 h 528444"/>
                <a:gd name="connsiteX22" fmla="*/ 225480 w 280544"/>
                <a:gd name="connsiteY22" fmla="*/ 188792 h 528444"/>
                <a:gd name="connsiteX23" fmla="*/ 270866 w 280544"/>
                <a:gd name="connsiteY23" fmla="*/ 84392 h 528444"/>
                <a:gd name="connsiteX0" fmla="*/ 129211 w 280544"/>
                <a:gd name="connsiteY0" fmla="*/ 207866 h 528444"/>
                <a:gd name="connsiteX1" fmla="*/ 222241 w 280544"/>
                <a:gd name="connsiteY1" fmla="*/ 249290 h 528444"/>
                <a:gd name="connsiteX2" fmla="*/ 163522 w 280544"/>
                <a:gd name="connsiteY2" fmla="*/ 315833 h 528444"/>
                <a:gd name="connsiteX3" fmla="*/ 59857 w 280544"/>
                <a:gd name="connsiteY3" fmla="*/ 272760 h 528444"/>
                <a:gd name="connsiteX4" fmla="*/ 129211 w 280544"/>
                <a:gd name="connsiteY4" fmla="*/ 207866 h 528444"/>
                <a:gd name="connsiteX5" fmla="*/ 270866 w 280544"/>
                <a:gd name="connsiteY5" fmla="*/ 84392 h 528444"/>
                <a:gd name="connsiteX6" fmla="*/ 160458 w 280544"/>
                <a:gd name="connsiteY6" fmla="*/ 1016 h 528444"/>
                <a:gd name="connsiteX7" fmla="*/ 31851 w 280544"/>
                <a:gd name="connsiteY7" fmla="*/ 26081 h 528444"/>
                <a:gd name="connsiteX8" fmla="*/ 52356 w 280544"/>
                <a:gd name="connsiteY8" fmla="*/ 76808 h 528444"/>
                <a:gd name="connsiteX9" fmla="*/ 133319 w 280544"/>
                <a:gd name="connsiteY9" fmla="*/ 54753 h 528444"/>
                <a:gd name="connsiteX10" fmla="*/ 210410 w 280544"/>
                <a:gd name="connsiteY10" fmla="*/ 119720 h 528444"/>
                <a:gd name="connsiteX11" fmla="*/ 167260 w 280544"/>
                <a:gd name="connsiteY11" fmla="*/ 147096 h 528444"/>
                <a:gd name="connsiteX12" fmla="*/ 88064 w 280544"/>
                <a:gd name="connsiteY12" fmla="*/ 156651 h 528444"/>
                <a:gd name="connsiteX13" fmla="*/ 47 w 280544"/>
                <a:gd name="connsiteY13" fmla="*/ 254379 h 528444"/>
                <a:gd name="connsiteX14" fmla="*/ 55253 w 280544"/>
                <a:gd name="connsiteY14" fmla="*/ 334395 h 528444"/>
                <a:gd name="connsiteX15" fmla="*/ 4196 w 280544"/>
                <a:gd name="connsiteY15" fmla="*/ 428588 h 528444"/>
                <a:gd name="connsiteX16" fmla="*/ 93330 w 280544"/>
                <a:gd name="connsiteY16" fmla="*/ 523369 h 528444"/>
                <a:gd name="connsiteX17" fmla="*/ 260890 w 280544"/>
                <a:gd name="connsiteY17" fmla="*/ 500076 h 528444"/>
                <a:gd name="connsiteX18" fmla="*/ 241887 w 280544"/>
                <a:gd name="connsiteY18" fmla="*/ 448637 h 528444"/>
                <a:gd name="connsiteX19" fmla="*/ 147133 w 280544"/>
                <a:gd name="connsiteY19" fmla="*/ 474882 h 528444"/>
                <a:gd name="connsiteX20" fmla="*/ 97049 w 280544"/>
                <a:gd name="connsiteY20" fmla="*/ 382104 h 528444"/>
                <a:gd name="connsiteX21" fmla="*/ 272555 w 280544"/>
                <a:gd name="connsiteY21" fmla="*/ 318125 h 528444"/>
                <a:gd name="connsiteX22" fmla="*/ 225480 w 280544"/>
                <a:gd name="connsiteY22" fmla="*/ 188792 h 528444"/>
                <a:gd name="connsiteX23" fmla="*/ 270866 w 280544"/>
                <a:gd name="connsiteY23" fmla="*/ 84392 h 528444"/>
                <a:gd name="connsiteX0" fmla="*/ 129211 w 280544"/>
                <a:gd name="connsiteY0" fmla="*/ 207866 h 528444"/>
                <a:gd name="connsiteX1" fmla="*/ 222241 w 280544"/>
                <a:gd name="connsiteY1" fmla="*/ 249290 h 528444"/>
                <a:gd name="connsiteX2" fmla="*/ 163522 w 280544"/>
                <a:gd name="connsiteY2" fmla="*/ 315833 h 528444"/>
                <a:gd name="connsiteX3" fmla="*/ 59857 w 280544"/>
                <a:gd name="connsiteY3" fmla="*/ 272760 h 528444"/>
                <a:gd name="connsiteX4" fmla="*/ 129211 w 280544"/>
                <a:gd name="connsiteY4" fmla="*/ 207866 h 528444"/>
                <a:gd name="connsiteX5" fmla="*/ 270866 w 280544"/>
                <a:gd name="connsiteY5" fmla="*/ 84392 h 528444"/>
                <a:gd name="connsiteX6" fmla="*/ 160458 w 280544"/>
                <a:gd name="connsiteY6" fmla="*/ 1016 h 528444"/>
                <a:gd name="connsiteX7" fmla="*/ 31851 w 280544"/>
                <a:gd name="connsiteY7" fmla="*/ 26081 h 528444"/>
                <a:gd name="connsiteX8" fmla="*/ 52356 w 280544"/>
                <a:gd name="connsiteY8" fmla="*/ 76808 h 528444"/>
                <a:gd name="connsiteX9" fmla="*/ 133319 w 280544"/>
                <a:gd name="connsiteY9" fmla="*/ 54753 h 528444"/>
                <a:gd name="connsiteX10" fmla="*/ 210410 w 280544"/>
                <a:gd name="connsiteY10" fmla="*/ 119720 h 528444"/>
                <a:gd name="connsiteX11" fmla="*/ 167260 w 280544"/>
                <a:gd name="connsiteY11" fmla="*/ 147096 h 528444"/>
                <a:gd name="connsiteX12" fmla="*/ 88064 w 280544"/>
                <a:gd name="connsiteY12" fmla="*/ 156651 h 528444"/>
                <a:gd name="connsiteX13" fmla="*/ 47 w 280544"/>
                <a:gd name="connsiteY13" fmla="*/ 254379 h 528444"/>
                <a:gd name="connsiteX14" fmla="*/ 55253 w 280544"/>
                <a:gd name="connsiteY14" fmla="*/ 334395 h 528444"/>
                <a:gd name="connsiteX15" fmla="*/ 4196 w 280544"/>
                <a:gd name="connsiteY15" fmla="*/ 428588 h 528444"/>
                <a:gd name="connsiteX16" fmla="*/ 93330 w 280544"/>
                <a:gd name="connsiteY16" fmla="*/ 523369 h 528444"/>
                <a:gd name="connsiteX17" fmla="*/ 260890 w 280544"/>
                <a:gd name="connsiteY17" fmla="*/ 500076 h 528444"/>
                <a:gd name="connsiteX18" fmla="*/ 241887 w 280544"/>
                <a:gd name="connsiteY18" fmla="*/ 448637 h 528444"/>
                <a:gd name="connsiteX19" fmla="*/ 147133 w 280544"/>
                <a:gd name="connsiteY19" fmla="*/ 474882 h 528444"/>
                <a:gd name="connsiteX20" fmla="*/ 97049 w 280544"/>
                <a:gd name="connsiteY20" fmla="*/ 382104 h 528444"/>
                <a:gd name="connsiteX21" fmla="*/ 272555 w 280544"/>
                <a:gd name="connsiteY21" fmla="*/ 318125 h 528444"/>
                <a:gd name="connsiteX22" fmla="*/ 225480 w 280544"/>
                <a:gd name="connsiteY22" fmla="*/ 188792 h 528444"/>
                <a:gd name="connsiteX23" fmla="*/ 270866 w 280544"/>
                <a:gd name="connsiteY23" fmla="*/ 84392 h 528444"/>
                <a:gd name="connsiteX0" fmla="*/ 129211 w 280544"/>
                <a:gd name="connsiteY0" fmla="*/ 207866 h 528444"/>
                <a:gd name="connsiteX1" fmla="*/ 222241 w 280544"/>
                <a:gd name="connsiteY1" fmla="*/ 249290 h 528444"/>
                <a:gd name="connsiteX2" fmla="*/ 163522 w 280544"/>
                <a:gd name="connsiteY2" fmla="*/ 315833 h 528444"/>
                <a:gd name="connsiteX3" fmla="*/ 59857 w 280544"/>
                <a:gd name="connsiteY3" fmla="*/ 272760 h 528444"/>
                <a:gd name="connsiteX4" fmla="*/ 129211 w 280544"/>
                <a:gd name="connsiteY4" fmla="*/ 207866 h 528444"/>
                <a:gd name="connsiteX5" fmla="*/ 270866 w 280544"/>
                <a:gd name="connsiteY5" fmla="*/ 84392 h 528444"/>
                <a:gd name="connsiteX6" fmla="*/ 160458 w 280544"/>
                <a:gd name="connsiteY6" fmla="*/ 1016 h 528444"/>
                <a:gd name="connsiteX7" fmla="*/ 31851 w 280544"/>
                <a:gd name="connsiteY7" fmla="*/ 26081 h 528444"/>
                <a:gd name="connsiteX8" fmla="*/ 52356 w 280544"/>
                <a:gd name="connsiteY8" fmla="*/ 76808 h 528444"/>
                <a:gd name="connsiteX9" fmla="*/ 133319 w 280544"/>
                <a:gd name="connsiteY9" fmla="*/ 54753 h 528444"/>
                <a:gd name="connsiteX10" fmla="*/ 210410 w 280544"/>
                <a:gd name="connsiteY10" fmla="*/ 119720 h 528444"/>
                <a:gd name="connsiteX11" fmla="*/ 167260 w 280544"/>
                <a:gd name="connsiteY11" fmla="*/ 147096 h 528444"/>
                <a:gd name="connsiteX12" fmla="*/ 88064 w 280544"/>
                <a:gd name="connsiteY12" fmla="*/ 156651 h 528444"/>
                <a:gd name="connsiteX13" fmla="*/ 47 w 280544"/>
                <a:gd name="connsiteY13" fmla="*/ 254379 h 528444"/>
                <a:gd name="connsiteX14" fmla="*/ 55253 w 280544"/>
                <a:gd name="connsiteY14" fmla="*/ 334395 h 528444"/>
                <a:gd name="connsiteX15" fmla="*/ 4196 w 280544"/>
                <a:gd name="connsiteY15" fmla="*/ 428588 h 528444"/>
                <a:gd name="connsiteX16" fmla="*/ 93330 w 280544"/>
                <a:gd name="connsiteY16" fmla="*/ 523369 h 528444"/>
                <a:gd name="connsiteX17" fmla="*/ 260890 w 280544"/>
                <a:gd name="connsiteY17" fmla="*/ 500076 h 528444"/>
                <a:gd name="connsiteX18" fmla="*/ 241887 w 280544"/>
                <a:gd name="connsiteY18" fmla="*/ 448637 h 528444"/>
                <a:gd name="connsiteX19" fmla="*/ 147133 w 280544"/>
                <a:gd name="connsiteY19" fmla="*/ 474882 h 528444"/>
                <a:gd name="connsiteX20" fmla="*/ 97049 w 280544"/>
                <a:gd name="connsiteY20" fmla="*/ 382104 h 528444"/>
                <a:gd name="connsiteX21" fmla="*/ 272555 w 280544"/>
                <a:gd name="connsiteY21" fmla="*/ 318125 h 528444"/>
                <a:gd name="connsiteX22" fmla="*/ 225480 w 280544"/>
                <a:gd name="connsiteY22" fmla="*/ 188792 h 528444"/>
                <a:gd name="connsiteX23" fmla="*/ 270866 w 280544"/>
                <a:gd name="connsiteY23" fmla="*/ 84392 h 528444"/>
                <a:gd name="connsiteX0" fmla="*/ 129211 w 280544"/>
                <a:gd name="connsiteY0" fmla="*/ 207866 h 528444"/>
                <a:gd name="connsiteX1" fmla="*/ 222241 w 280544"/>
                <a:gd name="connsiteY1" fmla="*/ 249290 h 528444"/>
                <a:gd name="connsiteX2" fmla="*/ 163522 w 280544"/>
                <a:gd name="connsiteY2" fmla="*/ 315833 h 528444"/>
                <a:gd name="connsiteX3" fmla="*/ 59857 w 280544"/>
                <a:gd name="connsiteY3" fmla="*/ 272760 h 528444"/>
                <a:gd name="connsiteX4" fmla="*/ 129211 w 280544"/>
                <a:gd name="connsiteY4" fmla="*/ 207866 h 528444"/>
                <a:gd name="connsiteX5" fmla="*/ 270866 w 280544"/>
                <a:gd name="connsiteY5" fmla="*/ 84392 h 528444"/>
                <a:gd name="connsiteX6" fmla="*/ 160458 w 280544"/>
                <a:gd name="connsiteY6" fmla="*/ 1016 h 528444"/>
                <a:gd name="connsiteX7" fmla="*/ 31851 w 280544"/>
                <a:gd name="connsiteY7" fmla="*/ 26081 h 528444"/>
                <a:gd name="connsiteX8" fmla="*/ 52356 w 280544"/>
                <a:gd name="connsiteY8" fmla="*/ 76808 h 528444"/>
                <a:gd name="connsiteX9" fmla="*/ 133319 w 280544"/>
                <a:gd name="connsiteY9" fmla="*/ 54753 h 528444"/>
                <a:gd name="connsiteX10" fmla="*/ 210410 w 280544"/>
                <a:gd name="connsiteY10" fmla="*/ 119720 h 528444"/>
                <a:gd name="connsiteX11" fmla="*/ 167260 w 280544"/>
                <a:gd name="connsiteY11" fmla="*/ 147096 h 528444"/>
                <a:gd name="connsiteX12" fmla="*/ 88064 w 280544"/>
                <a:gd name="connsiteY12" fmla="*/ 156651 h 528444"/>
                <a:gd name="connsiteX13" fmla="*/ 47 w 280544"/>
                <a:gd name="connsiteY13" fmla="*/ 254379 h 528444"/>
                <a:gd name="connsiteX14" fmla="*/ 55253 w 280544"/>
                <a:gd name="connsiteY14" fmla="*/ 334395 h 528444"/>
                <a:gd name="connsiteX15" fmla="*/ 4196 w 280544"/>
                <a:gd name="connsiteY15" fmla="*/ 428588 h 528444"/>
                <a:gd name="connsiteX16" fmla="*/ 93330 w 280544"/>
                <a:gd name="connsiteY16" fmla="*/ 523369 h 528444"/>
                <a:gd name="connsiteX17" fmla="*/ 260890 w 280544"/>
                <a:gd name="connsiteY17" fmla="*/ 500076 h 528444"/>
                <a:gd name="connsiteX18" fmla="*/ 241887 w 280544"/>
                <a:gd name="connsiteY18" fmla="*/ 448637 h 528444"/>
                <a:gd name="connsiteX19" fmla="*/ 147133 w 280544"/>
                <a:gd name="connsiteY19" fmla="*/ 474882 h 528444"/>
                <a:gd name="connsiteX20" fmla="*/ 97049 w 280544"/>
                <a:gd name="connsiteY20" fmla="*/ 382104 h 528444"/>
                <a:gd name="connsiteX21" fmla="*/ 272555 w 280544"/>
                <a:gd name="connsiteY21" fmla="*/ 318125 h 528444"/>
                <a:gd name="connsiteX22" fmla="*/ 225480 w 280544"/>
                <a:gd name="connsiteY22" fmla="*/ 188792 h 528444"/>
                <a:gd name="connsiteX23" fmla="*/ 270866 w 280544"/>
                <a:gd name="connsiteY23" fmla="*/ 84392 h 528444"/>
                <a:gd name="connsiteX0" fmla="*/ 129211 w 280544"/>
                <a:gd name="connsiteY0" fmla="*/ 207866 h 528444"/>
                <a:gd name="connsiteX1" fmla="*/ 222241 w 280544"/>
                <a:gd name="connsiteY1" fmla="*/ 249290 h 528444"/>
                <a:gd name="connsiteX2" fmla="*/ 163522 w 280544"/>
                <a:gd name="connsiteY2" fmla="*/ 315833 h 528444"/>
                <a:gd name="connsiteX3" fmla="*/ 59857 w 280544"/>
                <a:gd name="connsiteY3" fmla="*/ 272760 h 528444"/>
                <a:gd name="connsiteX4" fmla="*/ 129211 w 280544"/>
                <a:gd name="connsiteY4" fmla="*/ 207866 h 528444"/>
                <a:gd name="connsiteX5" fmla="*/ 270866 w 280544"/>
                <a:gd name="connsiteY5" fmla="*/ 84392 h 528444"/>
                <a:gd name="connsiteX6" fmla="*/ 160458 w 280544"/>
                <a:gd name="connsiteY6" fmla="*/ 1016 h 528444"/>
                <a:gd name="connsiteX7" fmla="*/ 31851 w 280544"/>
                <a:gd name="connsiteY7" fmla="*/ 26081 h 528444"/>
                <a:gd name="connsiteX8" fmla="*/ 52356 w 280544"/>
                <a:gd name="connsiteY8" fmla="*/ 76808 h 528444"/>
                <a:gd name="connsiteX9" fmla="*/ 133319 w 280544"/>
                <a:gd name="connsiteY9" fmla="*/ 54753 h 528444"/>
                <a:gd name="connsiteX10" fmla="*/ 210410 w 280544"/>
                <a:gd name="connsiteY10" fmla="*/ 119720 h 528444"/>
                <a:gd name="connsiteX11" fmla="*/ 167260 w 280544"/>
                <a:gd name="connsiteY11" fmla="*/ 147096 h 528444"/>
                <a:gd name="connsiteX12" fmla="*/ 88064 w 280544"/>
                <a:gd name="connsiteY12" fmla="*/ 156651 h 528444"/>
                <a:gd name="connsiteX13" fmla="*/ 47 w 280544"/>
                <a:gd name="connsiteY13" fmla="*/ 254379 h 528444"/>
                <a:gd name="connsiteX14" fmla="*/ 55253 w 280544"/>
                <a:gd name="connsiteY14" fmla="*/ 334395 h 528444"/>
                <a:gd name="connsiteX15" fmla="*/ 4196 w 280544"/>
                <a:gd name="connsiteY15" fmla="*/ 428588 h 528444"/>
                <a:gd name="connsiteX16" fmla="*/ 93330 w 280544"/>
                <a:gd name="connsiteY16" fmla="*/ 523369 h 528444"/>
                <a:gd name="connsiteX17" fmla="*/ 260890 w 280544"/>
                <a:gd name="connsiteY17" fmla="*/ 500076 h 528444"/>
                <a:gd name="connsiteX18" fmla="*/ 241887 w 280544"/>
                <a:gd name="connsiteY18" fmla="*/ 448637 h 528444"/>
                <a:gd name="connsiteX19" fmla="*/ 147133 w 280544"/>
                <a:gd name="connsiteY19" fmla="*/ 474882 h 528444"/>
                <a:gd name="connsiteX20" fmla="*/ 97049 w 280544"/>
                <a:gd name="connsiteY20" fmla="*/ 382104 h 528444"/>
                <a:gd name="connsiteX21" fmla="*/ 272555 w 280544"/>
                <a:gd name="connsiteY21" fmla="*/ 318125 h 528444"/>
                <a:gd name="connsiteX22" fmla="*/ 225480 w 280544"/>
                <a:gd name="connsiteY22" fmla="*/ 188792 h 528444"/>
                <a:gd name="connsiteX23" fmla="*/ 270866 w 280544"/>
                <a:gd name="connsiteY23" fmla="*/ 84392 h 528444"/>
                <a:gd name="connsiteX0" fmla="*/ 129211 w 280544"/>
                <a:gd name="connsiteY0" fmla="*/ 207866 h 527572"/>
                <a:gd name="connsiteX1" fmla="*/ 222241 w 280544"/>
                <a:gd name="connsiteY1" fmla="*/ 249290 h 527572"/>
                <a:gd name="connsiteX2" fmla="*/ 163522 w 280544"/>
                <a:gd name="connsiteY2" fmla="*/ 315833 h 527572"/>
                <a:gd name="connsiteX3" fmla="*/ 59857 w 280544"/>
                <a:gd name="connsiteY3" fmla="*/ 272760 h 527572"/>
                <a:gd name="connsiteX4" fmla="*/ 129211 w 280544"/>
                <a:gd name="connsiteY4" fmla="*/ 207866 h 527572"/>
                <a:gd name="connsiteX5" fmla="*/ 270866 w 280544"/>
                <a:gd name="connsiteY5" fmla="*/ 84392 h 527572"/>
                <a:gd name="connsiteX6" fmla="*/ 160458 w 280544"/>
                <a:gd name="connsiteY6" fmla="*/ 1016 h 527572"/>
                <a:gd name="connsiteX7" fmla="*/ 31851 w 280544"/>
                <a:gd name="connsiteY7" fmla="*/ 26081 h 527572"/>
                <a:gd name="connsiteX8" fmla="*/ 52356 w 280544"/>
                <a:gd name="connsiteY8" fmla="*/ 76808 h 527572"/>
                <a:gd name="connsiteX9" fmla="*/ 133319 w 280544"/>
                <a:gd name="connsiteY9" fmla="*/ 54753 h 527572"/>
                <a:gd name="connsiteX10" fmla="*/ 210410 w 280544"/>
                <a:gd name="connsiteY10" fmla="*/ 119720 h 527572"/>
                <a:gd name="connsiteX11" fmla="*/ 167260 w 280544"/>
                <a:gd name="connsiteY11" fmla="*/ 147096 h 527572"/>
                <a:gd name="connsiteX12" fmla="*/ 88064 w 280544"/>
                <a:gd name="connsiteY12" fmla="*/ 156651 h 527572"/>
                <a:gd name="connsiteX13" fmla="*/ 47 w 280544"/>
                <a:gd name="connsiteY13" fmla="*/ 254379 h 527572"/>
                <a:gd name="connsiteX14" fmla="*/ 55253 w 280544"/>
                <a:gd name="connsiteY14" fmla="*/ 334395 h 527572"/>
                <a:gd name="connsiteX15" fmla="*/ 4196 w 280544"/>
                <a:gd name="connsiteY15" fmla="*/ 428588 h 527572"/>
                <a:gd name="connsiteX16" fmla="*/ 93330 w 280544"/>
                <a:gd name="connsiteY16" fmla="*/ 523369 h 527572"/>
                <a:gd name="connsiteX17" fmla="*/ 261983 w 280544"/>
                <a:gd name="connsiteY17" fmla="*/ 496599 h 527572"/>
                <a:gd name="connsiteX18" fmla="*/ 241887 w 280544"/>
                <a:gd name="connsiteY18" fmla="*/ 448637 h 527572"/>
                <a:gd name="connsiteX19" fmla="*/ 147133 w 280544"/>
                <a:gd name="connsiteY19" fmla="*/ 474882 h 527572"/>
                <a:gd name="connsiteX20" fmla="*/ 97049 w 280544"/>
                <a:gd name="connsiteY20" fmla="*/ 382104 h 527572"/>
                <a:gd name="connsiteX21" fmla="*/ 272555 w 280544"/>
                <a:gd name="connsiteY21" fmla="*/ 318125 h 527572"/>
                <a:gd name="connsiteX22" fmla="*/ 225480 w 280544"/>
                <a:gd name="connsiteY22" fmla="*/ 188792 h 527572"/>
                <a:gd name="connsiteX23" fmla="*/ 270866 w 280544"/>
                <a:gd name="connsiteY23" fmla="*/ 84392 h 527572"/>
                <a:gd name="connsiteX0" fmla="*/ 129211 w 280544"/>
                <a:gd name="connsiteY0" fmla="*/ 207866 h 530944"/>
                <a:gd name="connsiteX1" fmla="*/ 222241 w 280544"/>
                <a:gd name="connsiteY1" fmla="*/ 249290 h 530944"/>
                <a:gd name="connsiteX2" fmla="*/ 163522 w 280544"/>
                <a:gd name="connsiteY2" fmla="*/ 315833 h 530944"/>
                <a:gd name="connsiteX3" fmla="*/ 59857 w 280544"/>
                <a:gd name="connsiteY3" fmla="*/ 272760 h 530944"/>
                <a:gd name="connsiteX4" fmla="*/ 129211 w 280544"/>
                <a:gd name="connsiteY4" fmla="*/ 207866 h 530944"/>
                <a:gd name="connsiteX5" fmla="*/ 270866 w 280544"/>
                <a:gd name="connsiteY5" fmla="*/ 84392 h 530944"/>
                <a:gd name="connsiteX6" fmla="*/ 160458 w 280544"/>
                <a:gd name="connsiteY6" fmla="*/ 1016 h 530944"/>
                <a:gd name="connsiteX7" fmla="*/ 31851 w 280544"/>
                <a:gd name="connsiteY7" fmla="*/ 26081 h 530944"/>
                <a:gd name="connsiteX8" fmla="*/ 52356 w 280544"/>
                <a:gd name="connsiteY8" fmla="*/ 76808 h 530944"/>
                <a:gd name="connsiteX9" fmla="*/ 133319 w 280544"/>
                <a:gd name="connsiteY9" fmla="*/ 54753 h 530944"/>
                <a:gd name="connsiteX10" fmla="*/ 210410 w 280544"/>
                <a:gd name="connsiteY10" fmla="*/ 119720 h 530944"/>
                <a:gd name="connsiteX11" fmla="*/ 167260 w 280544"/>
                <a:gd name="connsiteY11" fmla="*/ 147096 h 530944"/>
                <a:gd name="connsiteX12" fmla="*/ 88064 w 280544"/>
                <a:gd name="connsiteY12" fmla="*/ 156651 h 530944"/>
                <a:gd name="connsiteX13" fmla="*/ 47 w 280544"/>
                <a:gd name="connsiteY13" fmla="*/ 254379 h 530944"/>
                <a:gd name="connsiteX14" fmla="*/ 55253 w 280544"/>
                <a:gd name="connsiteY14" fmla="*/ 334395 h 530944"/>
                <a:gd name="connsiteX15" fmla="*/ 4196 w 280544"/>
                <a:gd name="connsiteY15" fmla="*/ 428588 h 530944"/>
                <a:gd name="connsiteX16" fmla="*/ 93330 w 280544"/>
                <a:gd name="connsiteY16" fmla="*/ 523369 h 530944"/>
                <a:gd name="connsiteX17" fmla="*/ 261983 w 280544"/>
                <a:gd name="connsiteY17" fmla="*/ 496599 h 530944"/>
                <a:gd name="connsiteX18" fmla="*/ 241887 w 280544"/>
                <a:gd name="connsiteY18" fmla="*/ 448637 h 530944"/>
                <a:gd name="connsiteX19" fmla="*/ 147133 w 280544"/>
                <a:gd name="connsiteY19" fmla="*/ 474882 h 530944"/>
                <a:gd name="connsiteX20" fmla="*/ 97049 w 280544"/>
                <a:gd name="connsiteY20" fmla="*/ 382104 h 530944"/>
                <a:gd name="connsiteX21" fmla="*/ 272555 w 280544"/>
                <a:gd name="connsiteY21" fmla="*/ 318125 h 530944"/>
                <a:gd name="connsiteX22" fmla="*/ 225480 w 280544"/>
                <a:gd name="connsiteY22" fmla="*/ 188792 h 530944"/>
                <a:gd name="connsiteX23" fmla="*/ 270866 w 280544"/>
                <a:gd name="connsiteY23" fmla="*/ 84392 h 530944"/>
                <a:gd name="connsiteX0" fmla="*/ 129211 w 280544"/>
                <a:gd name="connsiteY0" fmla="*/ 207866 h 530920"/>
                <a:gd name="connsiteX1" fmla="*/ 222241 w 280544"/>
                <a:gd name="connsiteY1" fmla="*/ 249290 h 530920"/>
                <a:gd name="connsiteX2" fmla="*/ 163522 w 280544"/>
                <a:gd name="connsiteY2" fmla="*/ 315833 h 530920"/>
                <a:gd name="connsiteX3" fmla="*/ 59857 w 280544"/>
                <a:gd name="connsiteY3" fmla="*/ 272760 h 530920"/>
                <a:gd name="connsiteX4" fmla="*/ 129211 w 280544"/>
                <a:gd name="connsiteY4" fmla="*/ 207866 h 530920"/>
                <a:gd name="connsiteX5" fmla="*/ 270866 w 280544"/>
                <a:gd name="connsiteY5" fmla="*/ 84392 h 530920"/>
                <a:gd name="connsiteX6" fmla="*/ 160458 w 280544"/>
                <a:gd name="connsiteY6" fmla="*/ 1016 h 530920"/>
                <a:gd name="connsiteX7" fmla="*/ 31851 w 280544"/>
                <a:gd name="connsiteY7" fmla="*/ 26081 h 530920"/>
                <a:gd name="connsiteX8" fmla="*/ 52356 w 280544"/>
                <a:gd name="connsiteY8" fmla="*/ 76808 h 530920"/>
                <a:gd name="connsiteX9" fmla="*/ 133319 w 280544"/>
                <a:gd name="connsiteY9" fmla="*/ 54753 h 530920"/>
                <a:gd name="connsiteX10" fmla="*/ 210410 w 280544"/>
                <a:gd name="connsiteY10" fmla="*/ 119720 h 530920"/>
                <a:gd name="connsiteX11" fmla="*/ 167260 w 280544"/>
                <a:gd name="connsiteY11" fmla="*/ 147096 h 530920"/>
                <a:gd name="connsiteX12" fmla="*/ 88064 w 280544"/>
                <a:gd name="connsiteY12" fmla="*/ 156651 h 530920"/>
                <a:gd name="connsiteX13" fmla="*/ 47 w 280544"/>
                <a:gd name="connsiteY13" fmla="*/ 254379 h 530920"/>
                <a:gd name="connsiteX14" fmla="*/ 55253 w 280544"/>
                <a:gd name="connsiteY14" fmla="*/ 334395 h 530920"/>
                <a:gd name="connsiteX15" fmla="*/ 4196 w 280544"/>
                <a:gd name="connsiteY15" fmla="*/ 428588 h 530920"/>
                <a:gd name="connsiteX16" fmla="*/ 93330 w 280544"/>
                <a:gd name="connsiteY16" fmla="*/ 523369 h 530920"/>
                <a:gd name="connsiteX17" fmla="*/ 261123 w 280544"/>
                <a:gd name="connsiteY17" fmla="*/ 496539 h 530920"/>
                <a:gd name="connsiteX18" fmla="*/ 241887 w 280544"/>
                <a:gd name="connsiteY18" fmla="*/ 448637 h 530920"/>
                <a:gd name="connsiteX19" fmla="*/ 147133 w 280544"/>
                <a:gd name="connsiteY19" fmla="*/ 474882 h 530920"/>
                <a:gd name="connsiteX20" fmla="*/ 97049 w 280544"/>
                <a:gd name="connsiteY20" fmla="*/ 382104 h 530920"/>
                <a:gd name="connsiteX21" fmla="*/ 272555 w 280544"/>
                <a:gd name="connsiteY21" fmla="*/ 318125 h 530920"/>
                <a:gd name="connsiteX22" fmla="*/ 225480 w 280544"/>
                <a:gd name="connsiteY22" fmla="*/ 188792 h 530920"/>
                <a:gd name="connsiteX23" fmla="*/ 270866 w 280544"/>
                <a:gd name="connsiteY23" fmla="*/ 84392 h 530920"/>
                <a:gd name="connsiteX0" fmla="*/ 129211 w 280544"/>
                <a:gd name="connsiteY0" fmla="*/ 207866 h 530920"/>
                <a:gd name="connsiteX1" fmla="*/ 222241 w 280544"/>
                <a:gd name="connsiteY1" fmla="*/ 249290 h 530920"/>
                <a:gd name="connsiteX2" fmla="*/ 163522 w 280544"/>
                <a:gd name="connsiteY2" fmla="*/ 315833 h 530920"/>
                <a:gd name="connsiteX3" fmla="*/ 59857 w 280544"/>
                <a:gd name="connsiteY3" fmla="*/ 272760 h 530920"/>
                <a:gd name="connsiteX4" fmla="*/ 129211 w 280544"/>
                <a:gd name="connsiteY4" fmla="*/ 207866 h 530920"/>
                <a:gd name="connsiteX5" fmla="*/ 270866 w 280544"/>
                <a:gd name="connsiteY5" fmla="*/ 84392 h 530920"/>
                <a:gd name="connsiteX6" fmla="*/ 160458 w 280544"/>
                <a:gd name="connsiteY6" fmla="*/ 1016 h 530920"/>
                <a:gd name="connsiteX7" fmla="*/ 31851 w 280544"/>
                <a:gd name="connsiteY7" fmla="*/ 26081 h 530920"/>
                <a:gd name="connsiteX8" fmla="*/ 52356 w 280544"/>
                <a:gd name="connsiteY8" fmla="*/ 76808 h 530920"/>
                <a:gd name="connsiteX9" fmla="*/ 133319 w 280544"/>
                <a:gd name="connsiteY9" fmla="*/ 54753 h 530920"/>
                <a:gd name="connsiteX10" fmla="*/ 210410 w 280544"/>
                <a:gd name="connsiteY10" fmla="*/ 119720 h 530920"/>
                <a:gd name="connsiteX11" fmla="*/ 167260 w 280544"/>
                <a:gd name="connsiteY11" fmla="*/ 147096 h 530920"/>
                <a:gd name="connsiteX12" fmla="*/ 88064 w 280544"/>
                <a:gd name="connsiteY12" fmla="*/ 156651 h 530920"/>
                <a:gd name="connsiteX13" fmla="*/ 47 w 280544"/>
                <a:gd name="connsiteY13" fmla="*/ 254379 h 530920"/>
                <a:gd name="connsiteX14" fmla="*/ 55253 w 280544"/>
                <a:gd name="connsiteY14" fmla="*/ 334395 h 530920"/>
                <a:gd name="connsiteX15" fmla="*/ 4196 w 280544"/>
                <a:gd name="connsiteY15" fmla="*/ 428588 h 530920"/>
                <a:gd name="connsiteX16" fmla="*/ 93330 w 280544"/>
                <a:gd name="connsiteY16" fmla="*/ 523369 h 530920"/>
                <a:gd name="connsiteX17" fmla="*/ 261123 w 280544"/>
                <a:gd name="connsiteY17" fmla="*/ 496539 h 530920"/>
                <a:gd name="connsiteX18" fmla="*/ 241887 w 280544"/>
                <a:gd name="connsiteY18" fmla="*/ 448637 h 530920"/>
                <a:gd name="connsiteX19" fmla="*/ 147133 w 280544"/>
                <a:gd name="connsiteY19" fmla="*/ 474882 h 530920"/>
                <a:gd name="connsiteX20" fmla="*/ 97049 w 280544"/>
                <a:gd name="connsiteY20" fmla="*/ 382104 h 530920"/>
                <a:gd name="connsiteX21" fmla="*/ 272555 w 280544"/>
                <a:gd name="connsiteY21" fmla="*/ 318125 h 530920"/>
                <a:gd name="connsiteX22" fmla="*/ 225480 w 280544"/>
                <a:gd name="connsiteY22" fmla="*/ 188792 h 530920"/>
                <a:gd name="connsiteX23" fmla="*/ 270866 w 280544"/>
                <a:gd name="connsiteY23" fmla="*/ 84392 h 530920"/>
                <a:gd name="connsiteX0" fmla="*/ 129211 w 280544"/>
                <a:gd name="connsiteY0" fmla="*/ 207866 h 526912"/>
                <a:gd name="connsiteX1" fmla="*/ 222241 w 280544"/>
                <a:gd name="connsiteY1" fmla="*/ 249290 h 526912"/>
                <a:gd name="connsiteX2" fmla="*/ 163522 w 280544"/>
                <a:gd name="connsiteY2" fmla="*/ 315833 h 526912"/>
                <a:gd name="connsiteX3" fmla="*/ 59857 w 280544"/>
                <a:gd name="connsiteY3" fmla="*/ 272760 h 526912"/>
                <a:gd name="connsiteX4" fmla="*/ 129211 w 280544"/>
                <a:gd name="connsiteY4" fmla="*/ 207866 h 526912"/>
                <a:gd name="connsiteX5" fmla="*/ 270866 w 280544"/>
                <a:gd name="connsiteY5" fmla="*/ 84392 h 526912"/>
                <a:gd name="connsiteX6" fmla="*/ 160458 w 280544"/>
                <a:gd name="connsiteY6" fmla="*/ 1016 h 526912"/>
                <a:gd name="connsiteX7" fmla="*/ 31851 w 280544"/>
                <a:gd name="connsiteY7" fmla="*/ 26081 h 526912"/>
                <a:gd name="connsiteX8" fmla="*/ 52356 w 280544"/>
                <a:gd name="connsiteY8" fmla="*/ 76808 h 526912"/>
                <a:gd name="connsiteX9" fmla="*/ 133319 w 280544"/>
                <a:gd name="connsiteY9" fmla="*/ 54753 h 526912"/>
                <a:gd name="connsiteX10" fmla="*/ 210410 w 280544"/>
                <a:gd name="connsiteY10" fmla="*/ 119720 h 526912"/>
                <a:gd name="connsiteX11" fmla="*/ 167260 w 280544"/>
                <a:gd name="connsiteY11" fmla="*/ 147096 h 526912"/>
                <a:gd name="connsiteX12" fmla="*/ 88064 w 280544"/>
                <a:gd name="connsiteY12" fmla="*/ 156651 h 526912"/>
                <a:gd name="connsiteX13" fmla="*/ 47 w 280544"/>
                <a:gd name="connsiteY13" fmla="*/ 254379 h 526912"/>
                <a:gd name="connsiteX14" fmla="*/ 55253 w 280544"/>
                <a:gd name="connsiteY14" fmla="*/ 334395 h 526912"/>
                <a:gd name="connsiteX15" fmla="*/ 4196 w 280544"/>
                <a:gd name="connsiteY15" fmla="*/ 428588 h 526912"/>
                <a:gd name="connsiteX16" fmla="*/ 93330 w 280544"/>
                <a:gd name="connsiteY16" fmla="*/ 523369 h 526912"/>
                <a:gd name="connsiteX17" fmla="*/ 261123 w 280544"/>
                <a:gd name="connsiteY17" fmla="*/ 496539 h 526912"/>
                <a:gd name="connsiteX18" fmla="*/ 241887 w 280544"/>
                <a:gd name="connsiteY18" fmla="*/ 448637 h 526912"/>
                <a:gd name="connsiteX19" fmla="*/ 147133 w 280544"/>
                <a:gd name="connsiteY19" fmla="*/ 474882 h 526912"/>
                <a:gd name="connsiteX20" fmla="*/ 97049 w 280544"/>
                <a:gd name="connsiteY20" fmla="*/ 382104 h 526912"/>
                <a:gd name="connsiteX21" fmla="*/ 272555 w 280544"/>
                <a:gd name="connsiteY21" fmla="*/ 318125 h 526912"/>
                <a:gd name="connsiteX22" fmla="*/ 225480 w 280544"/>
                <a:gd name="connsiteY22" fmla="*/ 188792 h 526912"/>
                <a:gd name="connsiteX23" fmla="*/ 270866 w 280544"/>
                <a:gd name="connsiteY23" fmla="*/ 84392 h 526912"/>
                <a:gd name="connsiteX0" fmla="*/ 129211 w 280544"/>
                <a:gd name="connsiteY0" fmla="*/ 207866 h 526912"/>
                <a:gd name="connsiteX1" fmla="*/ 222241 w 280544"/>
                <a:gd name="connsiteY1" fmla="*/ 249290 h 526912"/>
                <a:gd name="connsiteX2" fmla="*/ 163522 w 280544"/>
                <a:gd name="connsiteY2" fmla="*/ 315833 h 526912"/>
                <a:gd name="connsiteX3" fmla="*/ 59857 w 280544"/>
                <a:gd name="connsiteY3" fmla="*/ 272760 h 526912"/>
                <a:gd name="connsiteX4" fmla="*/ 129211 w 280544"/>
                <a:gd name="connsiteY4" fmla="*/ 207866 h 526912"/>
                <a:gd name="connsiteX5" fmla="*/ 270866 w 280544"/>
                <a:gd name="connsiteY5" fmla="*/ 84392 h 526912"/>
                <a:gd name="connsiteX6" fmla="*/ 160458 w 280544"/>
                <a:gd name="connsiteY6" fmla="*/ 1016 h 526912"/>
                <a:gd name="connsiteX7" fmla="*/ 31851 w 280544"/>
                <a:gd name="connsiteY7" fmla="*/ 26081 h 526912"/>
                <a:gd name="connsiteX8" fmla="*/ 52356 w 280544"/>
                <a:gd name="connsiteY8" fmla="*/ 76808 h 526912"/>
                <a:gd name="connsiteX9" fmla="*/ 133319 w 280544"/>
                <a:gd name="connsiteY9" fmla="*/ 54753 h 526912"/>
                <a:gd name="connsiteX10" fmla="*/ 210410 w 280544"/>
                <a:gd name="connsiteY10" fmla="*/ 119720 h 526912"/>
                <a:gd name="connsiteX11" fmla="*/ 167260 w 280544"/>
                <a:gd name="connsiteY11" fmla="*/ 147096 h 526912"/>
                <a:gd name="connsiteX12" fmla="*/ 88064 w 280544"/>
                <a:gd name="connsiteY12" fmla="*/ 156651 h 526912"/>
                <a:gd name="connsiteX13" fmla="*/ 47 w 280544"/>
                <a:gd name="connsiteY13" fmla="*/ 254379 h 526912"/>
                <a:gd name="connsiteX14" fmla="*/ 55253 w 280544"/>
                <a:gd name="connsiteY14" fmla="*/ 334395 h 526912"/>
                <a:gd name="connsiteX15" fmla="*/ 4196 w 280544"/>
                <a:gd name="connsiteY15" fmla="*/ 428588 h 526912"/>
                <a:gd name="connsiteX16" fmla="*/ 93330 w 280544"/>
                <a:gd name="connsiteY16" fmla="*/ 523369 h 526912"/>
                <a:gd name="connsiteX17" fmla="*/ 261123 w 280544"/>
                <a:gd name="connsiteY17" fmla="*/ 496539 h 526912"/>
                <a:gd name="connsiteX18" fmla="*/ 241887 w 280544"/>
                <a:gd name="connsiteY18" fmla="*/ 448637 h 526912"/>
                <a:gd name="connsiteX19" fmla="*/ 147133 w 280544"/>
                <a:gd name="connsiteY19" fmla="*/ 474882 h 526912"/>
                <a:gd name="connsiteX20" fmla="*/ 97049 w 280544"/>
                <a:gd name="connsiteY20" fmla="*/ 382104 h 526912"/>
                <a:gd name="connsiteX21" fmla="*/ 272555 w 280544"/>
                <a:gd name="connsiteY21" fmla="*/ 318125 h 526912"/>
                <a:gd name="connsiteX22" fmla="*/ 225480 w 280544"/>
                <a:gd name="connsiteY22" fmla="*/ 188792 h 526912"/>
                <a:gd name="connsiteX23" fmla="*/ 270866 w 280544"/>
                <a:gd name="connsiteY23" fmla="*/ 84392 h 526912"/>
                <a:gd name="connsiteX0" fmla="*/ 129211 w 280544"/>
                <a:gd name="connsiteY0" fmla="*/ 207866 h 526912"/>
                <a:gd name="connsiteX1" fmla="*/ 222241 w 280544"/>
                <a:gd name="connsiteY1" fmla="*/ 249290 h 526912"/>
                <a:gd name="connsiteX2" fmla="*/ 163522 w 280544"/>
                <a:gd name="connsiteY2" fmla="*/ 315833 h 526912"/>
                <a:gd name="connsiteX3" fmla="*/ 59857 w 280544"/>
                <a:gd name="connsiteY3" fmla="*/ 272760 h 526912"/>
                <a:gd name="connsiteX4" fmla="*/ 129211 w 280544"/>
                <a:gd name="connsiteY4" fmla="*/ 207866 h 526912"/>
                <a:gd name="connsiteX5" fmla="*/ 270866 w 280544"/>
                <a:gd name="connsiteY5" fmla="*/ 84392 h 526912"/>
                <a:gd name="connsiteX6" fmla="*/ 160458 w 280544"/>
                <a:gd name="connsiteY6" fmla="*/ 1016 h 526912"/>
                <a:gd name="connsiteX7" fmla="*/ 31851 w 280544"/>
                <a:gd name="connsiteY7" fmla="*/ 26081 h 526912"/>
                <a:gd name="connsiteX8" fmla="*/ 52356 w 280544"/>
                <a:gd name="connsiteY8" fmla="*/ 76808 h 526912"/>
                <a:gd name="connsiteX9" fmla="*/ 133319 w 280544"/>
                <a:gd name="connsiteY9" fmla="*/ 54753 h 526912"/>
                <a:gd name="connsiteX10" fmla="*/ 210410 w 280544"/>
                <a:gd name="connsiteY10" fmla="*/ 119720 h 526912"/>
                <a:gd name="connsiteX11" fmla="*/ 167260 w 280544"/>
                <a:gd name="connsiteY11" fmla="*/ 147096 h 526912"/>
                <a:gd name="connsiteX12" fmla="*/ 88064 w 280544"/>
                <a:gd name="connsiteY12" fmla="*/ 156651 h 526912"/>
                <a:gd name="connsiteX13" fmla="*/ 47 w 280544"/>
                <a:gd name="connsiteY13" fmla="*/ 254379 h 526912"/>
                <a:gd name="connsiteX14" fmla="*/ 55253 w 280544"/>
                <a:gd name="connsiteY14" fmla="*/ 334395 h 526912"/>
                <a:gd name="connsiteX15" fmla="*/ 4196 w 280544"/>
                <a:gd name="connsiteY15" fmla="*/ 428588 h 526912"/>
                <a:gd name="connsiteX16" fmla="*/ 93330 w 280544"/>
                <a:gd name="connsiteY16" fmla="*/ 523369 h 526912"/>
                <a:gd name="connsiteX17" fmla="*/ 261123 w 280544"/>
                <a:gd name="connsiteY17" fmla="*/ 496539 h 526912"/>
                <a:gd name="connsiteX18" fmla="*/ 241887 w 280544"/>
                <a:gd name="connsiteY18" fmla="*/ 448637 h 526912"/>
                <a:gd name="connsiteX19" fmla="*/ 147133 w 280544"/>
                <a:gd name="connsiteY19" fmla="*/ 474882 h 526912"/>
                <a:gd name="connsiteX20" fmla="*/ 97049 w 280544"/>
                <a:gd name="connsiteY20" fmla="*/ 382104 h 526912"/>
                <a:gd name="connsiteX21" fmla="*/ 272555 w 280544"/>
                <a:gd name="connsiteY21" fmla="*/ 318125 h 526912"/>
                <a:gd name="connsiteX22" fmla="*/ 225480 w 280544"/>
                <a:gd name="connsiteY22" fmla="*/ 188792 h 526912"/>
                <a:gd name="connsiteX23" fmla="*/ 270866 w 280544"/>
                <a:gd name="connsiteY23" fmla="*/ 84392 h 526912"/>
                <a:gd name="connsiteX0" fmla="*/ 129211 w 280544"/>
                <a:gd name="connsiteY0" fmla="*/ 207866 h 530067"/>
                <a:gd name="connsiteX1" fmla="*/ 222241 w 280544"/>
                <a:gd name="connsiteY1" fmla="*/ 249290 h 530067"/>
                <a:gd name="connsiteX2" fmla="*/ 163522 w 280544"/>
                <a:gd name="connsiteY2" fmla="*/ 315833 h 530067"/>
                <a:gd name="connsiteX3" fmla="*/ 59857 w 280544"/>
                <a:gd name="connsiteY3" fmla="*/ 272760 h 530067"/>
                <a:gd name="connsiteX4" fmla="*/ 129211 w 280544"/>
                <a:gd name="connsiteY4" fmla="*/ 207866 h 530067"/>
                <a:gd name="connsiteX5" fmla="*/ 270866 w 280544"/>
                <a:gd name="connsiteY5" fmla="*/ 84392 h 530067"/>
                <a:gd name="connsiteX6" fmla="*/ 160458 w 280544"/>
                <a:gd name="connsiteY6" fmla="*/ 1016 h 530067"/>
                <a:gd name="connsiteX7" fmla="*/ 31851 w 280544"/>
                <a:gd name="connsiteY7" fmla="*/ 26081 h 530067"/>
                <a:gd name="connsiteX8" fmla="*/ 52356 w 280544"/>
                <a:gd name="connsiteY8" fmla="*/ 76808 h 530067"/>
                <a:gd name="connsiteX9" fmla="*/ 133319 w 280544"/>
                <a:gd name="connsiteY9" fmla="*/ 54753 h 530067"/>
                <a:gd name="connsiteX10" fmla="*/ 210410 w 280544"/>
                <a:gd name="connsiteY10" fmla="*/ 119720 h 530067"/>
                <a:gd name="connsiteX11" fmla="*/ 167260 w 280544"/>
                <a:gd name="connsiteY11" fmla="*/ 147096 h 530067"/>
                <a:gd name="connsiteX12" fmla="*/ 88064 w 280544"/>
                <a:gd name="connsiteY12" fmla="*/ 156651 h 530067"/>
                <a:gd name="connsiteX13" fmla="*/ 47 w 280544"/>
                <a:gd name="connsiteY13" fmla="*/ 254379 h 530067"/>
                <a:gd name="connsiteX14" fmla="*/ 55253 w 280544"/>
                <a:gd name="connsiteY14" fmla="*/ 334395 h 530067"/>
                <a:gd name="connsiteX15" fmla="*/ 4196 w 280544"/>
                <a:gd name="connsiteY15" fmla="*/ 428588 h 530067"/>
                <a:gd name="connsiteX16" fmla="*/ 93096 w 280544"/>
                <a:gd name="connsiteY16" fmla="*/ 526907 h 530067"/>
                <a:gd name="connsiteX17" fmla="*/ 261123 w 280544"/>
                <a:gd name="connsiteY17" fmla="*/ 496539 h 530067"/>
                <a:gd name="connsiteX18" fmla="*/ 241887 w 280544"/>
                <a:gd name="connsiteY18" fmla="*/ 448637 h 530067"/>
                <a:gd name="connsiteX19" fmla="*/ 147133 w 280544"/>
                <a:gd name="connsiteY19" fmla="*/ 474882 h 530067"/>
                <a:gd name="connsiteX20" fmla="*/ 97049 w 280544"/>
                <a:gd name="connsiteY20" fmla="*/ 382104 h 530067"/>
                <a:gd name="connsiteX21" fmla="*/ 272555 w 280544"/>
                <a:gd name="connsiteY21" fmla="*/ 318125 h 530067"/>
                <a:gd name="connsiteX22" fmla="*/ 225480 w 280544"/>
                <a:gd name="connsiteY22" fmla="*/ 188792 h 530067"/>
                <a:gd name="connsiteX23" fmla="*/ 270866 w 280544"/>
                <a:gd name="connsiteY23" fmla="*/ 84392 h 530067"/>
                <a:gd name="connsiteX0" fmla="*/ 129211 w 280544"/>
                <a:gd name="connsiteY0" fmla="*/ 207866 h 529956"/>
                <a:gd name="connsiteX1" fmla="*/ 222241 w 280544"/>
                <a:gd name="connsiteY1" fmla="*/ 249290 h 529956"/>
                <a:gd name="connsiteX2" fmla="*/ 163522 w 280544"/>
                <a:gd name="connsiteY2" fmla="*/ 315833 h 529956"/>
                <a:gd name="connsiteX3" fmla="*/ 59857 w 280544"/>
                <a:gd name="connsiteY3" fmla="*/ 272760 h 529956"/>
                <a:gd name="connsiteX4" fmla="*/ 129211 w 280544"/>
                <a:gd name="connsiteY4" fmla="*/ 207866 h 529956"/>
                <a:gd name="connsiteX5" fmla="*/ 270866 w 280544"/>
                <a:gd name="connsiteY5" fmla="*/ 84392 h 529956"/>
                <a:gd name="connsiteX6" fmla="*/ 160458 w 280544"/>
                <a:gd name="connsiteY6" fmla="*/ 1016 h 529956"/>
                <a:gd name="connsiteX7" fmla="*/ 31851 w 280544"/>
                <a:gd name="connsiteY7" fmla="*/ 26081 h 529956"/>
                <a:gd name="connsiteX8" fmla="*/ 52356 w 280544"/>
                <a:gd name="connsiteY8" fmla="*/ 76808 h 529956"/>
                <a:gd name="connsiteX9" fmla="*/ 133319 w 280544"/>
                <a:gd name="connsiteY9" fmla="*/ 54753 h 529956"/>
                <a:gd name="connsiteX10" fmla="*/ 210410 w 280544"/>
                <a:gd name="connsiteY10" fmla="*/ 119720 h 529956"/>
                <a:gd name="connsiteX11" fmla="*/ 167260 w 280544"/>
                <a:gd name="connsiteY11" fmla="*/ 147096 h 529956"/>
                <a:gd name="connsiteX12" fmla="*/ 88064 w 280544"/>
                <a:gd name="connsiteY12" fmla="*/ 156651 h 529956"/>
                <a:gd name="connsiteX13" fmla="*/ 47 w 280544"/>
                <a:gd name="connsiteY13" fmla="*/ 254379 h 529956"/>
                <a:gd name="connsiteX14" fmla="*/ 55253 w 280544"/>
                <a:gd name="connsiteY14" fmla="*/ 334395 h 529956"/>
                <a:gd name="connsiteX15" fmla="*/ 4080 w 280544"/>
                <a:gd name="connsiteY15" fmla="*/ 430357 h 529956"/>
                <a:gd name="connsiteX16" fmla="*/ 93096 w 280544"/>
                <a:gd name="connsiteY16" fmla="*/ 526907 h 529956"/>
                <a:gd name="connsiteX17" fmla="*/ 261123 w 280544"/>
                <a:gd name="connsiteY17" fmla="*/ 496539 h 529956"/>
                <a:gd name="connsiteX18" fmla="*/ 241887 w 280544"/>
                <a:gd name="connsiteY18" fmla="*/ 448637 h 529956"/>
                <a:gd name="connsiteX19" fmla="*/ 147133 w 280544"/>
                <a:gd name="connsiteY19" fmla="*/ 474882 h 529956"/>
                <a:gd name="connsiteX20" fmla="*/ 97049 w 280544"/>
                <a:gd name="connsiteY20" fmla="*/ 382104 h 529956"/>
                <a:gd name="connsiteX21" fmla="*/ 272555 w 280544"/>
                <a:gd name="connsiteY21" fmla="*/ 318125 h 529956"/>
                <a:gd name="connsiteX22" fmla="*/ 225480 w 280544"/>
                <a:gd name="connsiteY22" fmla="*/ 188792 h 529956"/>
                <a:gd name="connsiteX23" fmla="*/ 270866 w 280544"/>
                <a:gd name="connsiteY23" fmla="*/ 84392 h 529956"/>
                <a:gd name="connsiteX0" fmla="*/ 129211 w 280544"/>
                <a:gd name="connsiteY0" fmla="*/ 207866 h 529956"/>
                <a:gd name="connsiteX1" fmla="*/ 222241 w 280544"/>
                <a:gd name="connsiteY1" fmla="*/ 249290 h 529956"/>
                <a:gd name="connsiteX2" fmla="*/ 163522 w 280544"/>
                <a:gd name="connsiteY2" fmla="*/ 315833 h 529956"/>
                <a:gd name="connsiteX3" fmla="*/ 59857 w 280544"/>
                <a:gd name="connsiteY3" fmla="*/ 272760 h 529956"/>
                <a:gd name="connsiteX4" fmla="*/ 129211 w 280544"/>
                <a:gd name="connsiteY4" fmla="*/ 207866 h 529956"/>
                <a:gd name="connsiteX5" fmla="*/ 270866 w 280544"/>
                <a:gd name="connsiteY5" fmla="*/ 84392 h 529956"/>
                <a:gd name="connsiteX6" fmla="*/ 160458 w 280544"/>
                <a:gd name="connsiteY6" fmla="*/ 1016 h 529956"/>
                <a:gd name="connsiteX7" fmla="*/ 31851 w 280544"/>
                <a:gd name="connsiteY7" fmla="*/ 26081 h 529956"/>
                <a:gd name="connsiteX8" fmla="*/ 52356 w 280544"/>
                <a:gd name="connsiteY8" fmla="*/ 76808 h 529956"/>
                <a:gd name="connsiteX9" fmla="*/ 133163 w 280544"/>
                <a:gd name="connsiteY9" fmla="*/ 57116 h 529956"/>
                <a:gd name="connsiteX10" fmla="*/ 210410 w 280544"/>
                <a:gd name="connsiteY10" fmla="*/ 119720 h 529956"/>
                <a:gd name="connsiteX11" fmla="*/ 167260 w 280544"/>
                <a:gd name="connsiteY11" fmla="*/ 147096 h 529956"/>
                <a:gd name="connsiteX12" fmla="*/ 88064 w 280544"/>
                <a:gd name="connsiteY12" fmla="*/ 156651 h 529956"/>
                <a:gd name="connsiteX13" fmla="*/ 47 w 280544"/>
                <a:gd name="connsiteY13" fmla="*/ 254379 h 529956"/>
                <a:gd name="connsiteX14" fmla="*/ 55253 w 280544"/>
                <a:gd name="connsiteY14" fmla="*/ 334395 h 529956"/>
                <a:gd name="connsiteX15" fmla="*/ 4080 w 280544"/>
                <a:gd name="connsiteY15" fmla="*/ 430357 h 529956"/>
                <a:gd name="connsiteX16" fmla="*/ 93096 w 280544"/>
                <a:gd name="connsiteY16" fmla="*/ 526907 h 529956"/>
                <a:gd name="connsiteX17" fmla="*/ 261123 w 280544"/>
                <a:gd name="connsiteY17" fmla="*/ 496539 h 529956"/>
                <a:gd name="connsiteX18" fmla="*/ 241887 w 280544"/>
                <a:gd name="connsiteY18" fmla="*/ 448637 h 529956"/>
                <a:gd name="connsiteX19" fmla="*/ 147133 w 280544"/>
                <a:gd name="connsiteY19" fmla="*/ 474882 h 529956"/>
                <a:gd name="connsiteX20" fmla="*/ 97049 w 280544"/>
                <a:gd name="connsiteY20" fmla="*/ 382104 h 529956"/>
                <a:gd name="connsiteX21" fmla="*/ 272555 w 280544"/>
                <a:gd name="connsiteY21" fmla="*/ 318125 h 529956"/>
                <a:gd name="connsiteX22" fmla="*/ 225480 w 280544"/>
                <a:gd name="connsiteY22" fmla="*/ 188792 h 529956"/>
                <a:gd name="connsiteX23" fmla="*/ 270866 w 280544"/>
                <a:gd name="connsiteY23" fmla="*/ 84392 h 529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0544" h="529956">
                  <a:moveTo>
                    <a:pt x="129211" y="207866"/>
                  </a:moveTo>
                  <a:cubicBezTo>
                    <a:pt x="157278" y="204024"/>
                    <a:pt x="209092" y="213008"/>
                    <a:pt x="222241" y="249290"/>
                  </a:cubicBezTo>
                  <a:cubicBezTo>
                    <a:pt x="228999" y="271890"/>
                    <a:pt x="223552" y="308142"/>
                    <a:pt x="163522" y="315833"/>
                  </a:cubicBezTo>
                  <a:cubicBezTo>
                    <a:pt x="90396" y="321622"/>
                    <a:pt x="65686" y="293931"/>
                    <a:pt x="59857" y="272760"/>
                  </a:cubicBezTo>
                  <a:cubicBezTo>
                    <a:pt x="56540" y="246888"/>
                    <a:pt x="59445" y="212262"/>
                    <a:pt x="129211" y="207866"/>
                  </a:cubicBezTo>
                  <a:close/>
                  <a:moveTo>
                    <a:pt x="270866" y="84392"/>
                  </a:moveTo>
                  <a:cubicBezTo>
                    <a:pt x="265728" y="49059"/>
                    <a:pt x="226412" y="9745"/>
                    <a:pt x="160458" y="1016"/>
                  </a:cubicBezTo>
                  <a:cubicBezTo>
                    <a:pt x="119361" y="-4423"/>
                    <a:pt x="60705" y="13142"/>
                    <a:pt x="31851" y="26081"/>
                  </a:cubicBezTo>
                  <a:lnTo>
                    <a:pt x="52356" y="76808"/>
                  </a:lnTo>
                  <a:cubicBezTo>
                    <a:pt x="92895" y="64896"/>
                    <a:pt x="105874" y="57700"/>
                    <a:pt x="133163" y="57116"/>
                  </a:cubicBezTo>
                  <a:cubicBezTo>
                    <a:pt x="201527" y="55653"/>
                    <a:pt x="217152" y="85944"/>
                    <a:pt x="210410" y="119720"/>
                  </a:cubicBezTo>
                  <a:cubicBezTo>
                    <a:pt x="208070" y="128537"/>
                    <a:pt x="198470" y="140260"/>
                    <a:pt x="167260" y="147096"/>
                  </a:cubicBezTo>
                  <a:lnTo>
                    <a:pt x="88064" y="156651"/>
                  </a:lnTo>
                  <a:cubicBezTo>
                    <a:pt x="52052" y="163542"/>
                    <a:pt x="6326" y="168679"/>
                    <a:pt x="47" y="254379"/>
                  </a:cubicBezTo>
                  <a:cubicBezTo>
                    <a:pt x="-1463" y="289460"/>
                    <a:pt x="33906" y="323908"/>
                    <a:pt x="55253" y="334395"/>
                  </a:cubicBezTo>
                  <a:cubicBezTo>
                    <a:pt x="33617" y="344149"/>
                    <a:pt x="1241" y="372698"/>
                    <a:pt x="4080" y="430357"/>
                  </a:cubicBezTo>
                  <a:cubicBezTo>
                    <a:pt x="7590" y="477509"/>
                    <a:pt x="50256" y="515877"/>
                    <a:pt x="93096" y="526907"/>
                  </a:cubicBezTo>
                  <a:cubicBezTo>
                    <a:pt x="135937" y="537937"/>
                    <a:pt x="225707" y="517020"/>
                    <a:pt x="261123" y="496539"/>
                  </a:cubicBezTo>
                  <a:lnTo>
                    <a:pt x="241887" y="448637"/>
                  </a:lnTo>
                  <a:cubicBezTo>
                    <a:pt x="194510" y="461759"/>
                    <a:pt x="188342" y="469018"/>
                    <a:pt x="147133" y="474882"/>
                  </a:cubicBezTo>
                  <a:cubicBezTo>
                    <a:pt x="71458" y="485723"/>
                    <a:pt x="35215" y="410103"/>
                    <a:pt x="97049" y="382104"/>
                  </a:cubicBezTo>
                  <a:cubicBezTo>
                    <a:pt x="131394" y="363876"/>
                    <a:pt x="245476" y="390521"/>
                    <a:pt x="272555" y="318125"/>
                  </a:cubicBezTo>
                  <a:cubicBezTo>
                    <a:pt x="296929" y="252960"/>
                    <a:pt x="261017" y="206073"/>
                    <a:pt x="225480" y="188792"/>
                  </a:cubicBezTo>
                  <a:cubicBezTo>
                    <a:pt x="245156" y="172853"/>
                    <a:pt x="280340" y="162109"/>
                    <a:pt x="270866" y="84392"/>
                  </a:cubicBez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lt1"/>
                </a:solidFill>
              </a:endParaRPr>
            </a:p>
          </p:txBody>
        </p:sp>
      </p:grpSp>
      <p:grpSp>
        <p:nvGrpSpPr>
          <p:cNvPr id="147" name="Group 146">
            <a:extLst>
              <a:ext uri="{FF2B5EF4-FFF2-40B4-BE49-F238E27FC236}">
                <a16:creationId xmlns:a16="http://schemas.microsoft.com/office/drawing/2014/main" id="{091C934E-A320-4A1D-B79C-E6966BB63AA9}"/>
              </a:ext>
            </a:extLst>
          </p:cNvPr>
          <p:cNvGrpSpPr/>
          <p:nvPr/>
        </p:nvGrpSpPr>
        <p:grpSpPr bwMode="gray">
          <a:xfrm>
            <a:off x="4292219" y="3946277"/>
            <a:ext cx="673771" cy="566980"/>
            <a:chOff x="2376666" y="4883265"/>
            <a:chExt cx="493848" cy="415576"/>
          </a:xfrm>
        </p:grpSpPr>
        <p:sp>
          <p:nvSpPr>
            <p:cNvPr id="148" name="Freeform: Shape 147">
              <a:extLst>
                <a:ext uri="{FF2B5EF4-FFF2-40B4-BE49-F238E27FC236}">
                  <a16:creationId xmlns:a16="http://schemas.microsoft.com/office/drawing/2014/main" id="{9556D05A-4796-4F17-8DC3-576C701ED51E}"/>
                </a:ext>
              </a:extLst>
            </p:cNvPr>
            <p:cNvSpPr/>
            <p:nvPr/>
          </p:nvSpPr>
          <p:spPr bwMode="gray">
            <a:xfrm flipH="1">
              <a:off x="2622892" y="4992279"/>
              <a:ext cx="247622" cy="306306"/>
            </a:xfrm>
            <a:custGeom>
              <a:avLst/>
              <a:gdLst>
                <a:gd name="connsiteX0" fmla="*/ 2730978 w 3034522"/>
                <a:gd name="connsiteY0" fmla="*/ 0 h 3753658"/>
                <a:gd name="connsiteX1" fmla="*/ 846325 w 3034522"/>
                <a:gd name="connsiteY1" fmla="*/ 0 h 3753658"/>
                <a:gd name="connsiteX2" fmla="*/ 542781 w 3034522"/>
                <a:gd name="connsiteY2" fmla="*/ 303544 h 3753658"/>
                <a:gd name="connsiteX3" fmla="*/ 542781 w 3034522"/>
                <a:gd name="connsiteY3" fmla="*/ 365095 h 3753658"/>
                <a:gd name="connsiteX4" fmla="*/ 567713 w 3034522"/>
                <a:gd name="connsiteY4" fmla="*/ 476238 h 3753658"/>
                <a:gd name="connsiteX5" fmla="*/ 644394 w 3034522"/>
                <a:gd name="connsiteY5" fmla="*/ 1303794 h 3753658"/>
                <a:gd name="connsiteX6" fmla="*/ 23706 w 3034522"/>
                <a:gd name="connsiteY6" fmla="*/ 3451232 h 3753658"/>
                <a:gd name="connsiteX7" fmla="*/ 0 w 3034522"/>
                <a:gd name="connsiteY7" fmla="*/ 3480156 h 3753658"/>
                <a:gd name="connsiteX8" fmla="*/ 11 w 3034522"/>
                <a:gd name="connsiteY8" fmla="*/ 3525025 h 3753658"/>
                <a:gd name="connsiteX9" fmla="*/ 228644 w 3034522"/>
                <a:gd name="connsiteY9" fmla="*/ 3753658 h 3753658"/>
                <a:gd name="connsiteX10" fmla="*/ 236348 w 3034522"/>
                <a:gd name="connsiteY10" fmla="*/ 3753658 h 3753658"/>
                <a:gd name="connsiteX11" fmla="*/ 1876454 w 3034522"/>
                <a:gd name="connsiteY11" fmla="*/ 3753658 h 3753658"/>
                <a:gd name="connsiteX12" fmla="*/ 1650956 w 3034522"/>
                <a:gd name="connsiteY12" fmla="*/ 3528160 h 3753658"/>
                <a:gd name="connsiteX13" fmla="*/ 1650425 w 3034522"/>
                <a:gd name="connsiteY13" fmla="*/ 1480485 h 3753658"/>
                <a:gd name="connsiteX14" fmla="*/ 1835273 w 3034522"/>
                <a:gd name="connsiteY14" fmla="*/ 1337807 h 3753658"/>
                <a:gd name="connsiteX15" fmla="*/ 2934094 w 3034522"/>
                <a:gd name="connsiteY15" fmla="*/ 1337807 h 3753658"/>
                <a:gd name="connsiteX16" fmla="*/ 2932910 w 3034522"/>
                <a:gd name="connsiteY16" fmla="*/ 1303794 h 3753658"/>
                <a:gd name="connsiteX17" fmla="*/ 3009591 w 3034522"/>
                <a:gd name="connsiteY17" fmla="*/ 476238 h 3753658"/>
                <a:gd name="connsiteX18" fmla="*/ 3034522 w 3034522"/>
                <a:gd name="connsiteY18" fmla="*/ 365100 h 3753658"/>
                <a:gd name="connsiteX19" fmla="*/ 3034522 w 3034522"/>
                <a:gd name="connsiteY19" fmla="*/ 303544 h 3753658"/>
                <a:gd name="connsiteX20" fmla="*/ 2730978 w 3034522"/>
                <a:gd name="connsiteY20" fmla="*/ 0 h 3753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34522" h="3753658">
                  <a:moveTo>
                    <a:pt x="2730978" y="0"/>
                  </a:moveTo>
                  <a:lnTo>
                    <a:pt x="846325" y="0"/>
                  </a:lnTo>
                  <a:cubicBezTo>
                    <a:pt x="678682" y="0"/>
                    <a:pt x="542781" y="135901"/>
                    <a:pt x="542781" y="303544"/>
                  </a:cubicBezTo>
                  <a:lnTo>
                    <a:pt x="542781" y="365095"/>
                  </a:lnTo>
                  <a:lnTo>
                    <a:pt x="567713" y="476238"/>
                  </a:lnTo>
                  <a:cubicBezTo>
                    <a:pt x="617548" y="737663"/>
                    <a:pt x="644394" y="1015613"/>
                    <a:pt x="644394" y="1303794"/>
                  </a:cubicBezTo>
                  <a:cubicBezTo>
                    <a:pt x="644394" y="2168337"/>
                    <a:pt x="402776" y="2940803"/>
                    <a:pt x="23706" y="3451232"/>
                  </a:cubicBezTo>
                  <a:lnTo>
                    <a:pt x="0" y="3480156"/>
                  </a:lnTo>
                  <a:lnTo>
                    <a:pt x="11" y="3525025"/>
                  </a:lnTo>
                  <a:lnTo>
                    <a:pt x="228644" y="3753658"/>
                  </a:lnTo>
                  <a:lnTo>
                    <a:pt x="236348" y="3753658"/>
                  </a:lnTo>
                  <a:lnTo>
                    <a:pt x="1876454" y="3753658"/>
                  </a:lnTo>
                  <a:lnTo>
                    <a:pt x="1650956" y="3528160"/>
                  </a:lnTo>
                  <a:lnTo>
                    <a:pt x="1650425" y="1480485"/>
                  </a:lnTo>
                  <a:lnTo>
                    <a:pt x="1835273" y="1337807"/>
                  </a:lnTo>
                  <a:lnTo>
                    <a:pt x="2934094" y="1337807"/>
                  </a:lnTo>
                  <a:lnTo>
                    <a:pt x="2932910" y="1303794"/>
                  </a:lnTo>
                  <a:cubicBezTo>
                    <a:pt x="2932910" y="1015613"/>
                    <a:pt x="2959757" y="737663"/>
                    <a:pt x="3009591" y="476238"/>
                  </a:cubicBezTo>
                  <a:lnTo>
                    <a:pt x="3034522" y="365100"/>
                  </a:lnTo>
                  <a:lnTo>
                    <a:pt x="3034522" y="303544"/>
                  </a:lnTo>
                  <a:cubicBezTo>
                    <a:pt x="3034522" y="135901"/>
                    <a:pt x="2898621" y="0"/>
                    <a:pt x="2730978" y="0"/>
                  </a:cubicBez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149" name="Freeform: Shape 148">
              <a:extLst>
                <a:ext uri="{FF2B5EF4-FFF2-40B4-BE49-F238E27FC236}">
                  <a16:creationId xmlns:a16="http://schemas.microsoft.com/office/drawing/2014/main" id="{42683B71-94D0-4E17-BA81-54D61EE478F7}"/>
                </a:ext>
              </a:extLst>
            </p:cNvPr>
            <p:cNvSpPr/>
            <p:nvPr/>
          </p:nvSpPr>
          <p:spPr bwMode="gray">
            <a:xfrm flipH="1">
              <a:off x="2401726" y="4942409"/>
              <a:ext cx="77557" cy="81242"/>
            </a:xfrm>
            <a:custGeom>
              <a:avLst/>
              <a:gdLst>
                <a:gd name="connsiteX0" fmla="*/ 673636 w 950436"/>
                <a:gd name="connsiteY0" fmla="*/ 0 h 995585"/>
                <a:gd name="connsiteX1" fmla="*/ 276804 w 950436"/>
                <a:gd name="connsiteY1" fmla="*/ 0 h 995585"/>
                <a:gd name="connsiteX2" fmla="*/ 107611 w 950436"/>
                <a:gd name="connsiteY2" fmla="*/ 169193 h 995585"/>
                <a:gd name="connsiteX3" fmla="*/ 0 w 950436"/>
                <a:gd name="connsiteY3" fmla="*/ 995585 h 995585"/>
                <a:gd name="connsiteX4" fmla="*/ 950436 w 950436"/>
                <a:gd name="connsiteY4" fmla="*/ 995585 h 995585"/>
                <a:gd name="connsiteX5" fmla="*/ 842829 w 950436"/>
                <a:gd name="connsiteY5" fmla="*/ 169193 h 99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0436" h="995585">
                  <a:moveTo>
                    <a:pt x="673636" y="0"/>
                  </a:moveTo>
                  <a:lnTo>
                    <a:pt x="276804" y="0"/>
                  </a:lnTo>
                  <a:lnTo>
                    <a:pt x="107611" y="169193"/>
                  </a:lnTo>
                  <a:lnTo>
                    <a:pt x="0" y="995585"/>
                  </a:lnTo>
                  <a:lnTo>
                    <a:pt x="950436" y="995585"/>
                  </a:lnTo>
                  <a:lnTo>
                    <a:pt x="842829" y="169193"/>
                  </a:ln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150" name="Freeform: Shape 149">
              <a:extLst>
                <a:ext uri="{FF2B5EF4-FFF2-40B4-BE49-F238E27FC236}">
                  <a16:creationId xmlns:a16="http://schemas.microsoft.com/office/drawing/2014/main" id="{AE44FA21-F683-47D3-97ED-16A7CA869D83}"/>
                </a:ext>
              </a:extLst>
            </p:cNvPr>
            <p:cNvSpPr/>
            <p:nvPr/>
          </p:nvSpPr>
          <p:spPr bwMode="gray">
            <a:xfrm flipH="1">
              <a:off x="2493916" y="4942409"/>
              <a:ext cx="88233" cy="213269"/>
            </a:xfrm>
            <a:custGeom>
              <a:avLst/>
              <a:gdLst>
                <a:gd name="connsiteX0" fmla="*/ 797781 w 1081270"/>
                <a:gd name="connsiteY0" fmla="*/ 0 h 2613525"/>
                <a:gd name="connsiteX1" fmla="*/ 400949 w 1081270"/>
                <a:gd name="connsiteY1" fmla="*/ 0 h 2613525"/>
                <a:gd name="connsiteX2" fmla="*/ 231756 w 1081270"/>
                <a:gd name="connsiteY2" fmla="*/ 169193 h 2613525"/>
                <a:gd name="connsiteX3" fmla="*/ 0 w 1081270"/>
                <a:gd name="connsiteY3" fmla="*/ 1948948 h 2613525"/>
                <a:gd name="connsiteX4" fmla="*/ 260843 w 1081270"/>
                <a:gd name="connsiteY4" fmla="*/ 1948948 h 2613525"/>
                <a:gd name="connsiteX5" fmla="*/ 445691 w 1081270"/>
                <a:gd name="connsiteY5" fmla="*/ 2091626 h 2613525"/>
                <a:gd name="connsiteX6" fmla="*/ 445691 w 1081270"/>
                <a:gd name="connsiteY6" fmla="*/ 2491764 h 2613525"/>
                <a:gd name="connsiteX7" fmla="*/ 452479 w 1081270"/>
                <a:gd name="connsiteY7" fmla="*/ 2492342 h 2613525"/>
                <a:gd name="connsiteX8" fmla="*/ 609479 w 1081270"/>
                <a:gd name="connsiteY8" fmla="*/ 2613525 h 2613525"/>
                <a:gd name="connsiteX9" fmla="*/ 808280 w 1081270"/>
                <a:gd name="connsiteY9" fmla="*/ 2613525 h 2613525"/>
                <a:gd name="connsiteX10" fmla="*/ 962970 w 1081270"/>
                <a:gd name="connsiteY10" fmla="*/ 2494126 h 2613525"/>
                <a:gd name="connsiteX11" fmla="*/ 962970 w 1081270"/>
                <a:gd name="connsiteY11" fmla="*/ 1138263 h 2613525"/>
                <a:gd name="connsiteX12" fmla="*/ 1081270 w 1081270"/>
                <a:gd name="connsiteY12" fmla="*/ 1046952 h 2613525"/>
                <a:gd name="connsiteX13" fmla="*/ 966974 w 1081270"/>
                <a:gd name="connsiteY13" fmla="*/ 169193 h 2613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81270" h="2613525">
                  <a:moveTo>
                    <a:pt x="797781" y="0"/>
                  </a:moveTo>
                  <a:lnTo>
                    <a:pt x="400949" y="0"/>
                  </a:lnTo>
                  <a:lnTo>
                    <a:pt x="231756" y="169193"/>
                  </a:lnTo>
                  <a:lnTo>
                    <a:pt x="0" y="1948948"/>
                  </a:lnTo>
                  <a:lnTo>
                    <a:pt x="260843" y="1948948"/>
                  </a:lnTo>
                  <a:lnTo>
                    <a:pt x="445691" y="2091626"/>
                  </a:lnTo>
                  <a:lnTo>
                    <a:pt x="445691" y="2491764"/>
                  </a:lnTo>
                  <a:lnTo>
                    <a:pt x="452479" y="2492342"/>
                  </a:lnTo>
                  <a:lnTo>
                    <a:pt x="609479" y="2613525"/>
                  </a:lnTo>
                  <a:lnTo>
                    <a:pt x="808280" y="2613525"/>
                  </a:lnTo>
                  <a:lnTo>
                    <a:pt x="962970" y="2494126"/>
                  </a:lnTo>
                  <a:lnTo>
                    <a:pt x="962970" y="1138263"/>
                  </a:lnTo>
                  <a:lnTo>
                    <a:pt x="1081270" y="1046952"/>
                  </a:lnTo>
                  <a:lnTo>
                    <a:pt x="966974" y="169193"/>
                  </a:ln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151" name="Freeform: Shape 150">
              <a:extLst>
                <a:ext uri="{FF2B5EF4-FFF2-40B4-BE49-F238E27FC236}">
                  <a16:creationId xmlns:a16="http://schemas.microsoft.com/office/drawing/2014/main" id="{942423B7-79EE-4AA6-9E7D-11A99ACC9B06}"/>
                </a:ext>
              </a:extLst>
            </p:cNvPr>
            <p:cNvSpPr/>
            <p:nvPr/>
          </p:nvSpPr>
          <p:spPr bwMode="gray">
            <a:xfrm flipH="1">
              <a:off x="2376666" y="5023651"/>
              <a:ext cx="359171" cy="275190"/>
            </a:xfrm>
            <a:custGeom>
              <a:avLst/>
              <a:gdLst>
                <a:gd name="connsiteX0" fmla="*/ 4216671 w 4401519"/>
                <a:gd name="connsiteY0" fmla="*/ 0 h 3372349"/>
                <a:gd name="connsiteX1" fmla="*/ 3031202 w 4401519"/>
                <a:gd name="connsiteY1" fmla="*/ 0 h 3372349"/>
                <a:gd name="connsiteX2" fmla="*/ 2846354 w 4401519"/>
                <a:gd name="connsiteY2" fmla="*/ 142678 h 3372349"/>
                <a:gd name="connsiteX3" fmla="*/ 2846354 w 4401519"/>
                <a:gd name="connsiteY3" fmla="*/ 1498541 h 3372349"/>
                <a:gd name="connsiteX4" fmla="*/ 2691664 w 4401519"/>
                <a:gd name="connsiteY4" fmla="*/ 1617940 h 3372349"/>
                <a:gd name="connsiteX5" fmla="*/ 2598410 w 4401519"/>
                <a:gd name="connsiteY5" fmla="*/ 1617940 h 3372349"/>
                <a:gd name="connsiteX6" fmla="*/ 2586118 w 4401519"/>
                <a:gd name="connsiteY6" fmla="*/ 1617940 h 3372349"/>
                <a:gd name="connsiteX7" fmla="*/ 2492863 w 4401519"/>
                <a:gd name="connsiteY7" fmla="*/ 1617940 h 3372349"/>
                <a:gd name="connsiteX8" fmla="*/ 2335863 w 4401519"/>
                <a:gd name="connsiteY8" fmla="*/ 1496757 h 3372349"/>
                <a:gd name="connsiteX9" fmla="*/ 2329075 w 4401519"/>
                <a:gd name="connsiteY9" fmla="*/ 1496179 h 3372349"/>
                <a:gd name="connsiteX10" fmla="*/ 2329075 w 4401519"/>
                <a:gd name="connsiteY10" fmla="*/ 1096041 h 3372349"/>
                <a:gd name="connsiteX11" fmla="*/ 2144227 w 4401519"/>
                <a:gd name="connsiteY11" fmla="*/ 953363 h 3372349"/>
                <a:gd name="connsiteX12" fmla="*/ 184848 w 4401519"/>
                <a:gd name="connsiteY12" fmla="*/ 953363 h 3372349"/>
                <a:gd name="connsiteX13" fmla="*/ 0 w 4401519"/>
                <a:gd name="connsiteY13" fmla="*/ 1096041 h 3372349"/>
                <a:gd name="connsiteX14" fmla="*/ 0 w 4401519"/>
                <a:gd name="connsiteY14" fmla="*/ 2717339 h 3372349"/>
                <a:gd name="connsiteX15" fmla="*/ 531 w 4401519"/>
                <a:gd name="connsiteY15" fmla="*/ 2717339 h 3372349"/>
                <a:gd name="connsiteX16" fmla="*/ 531 w 4401519"/>
                <a:gd name="connsiteY16" fmla="*/ 3143716 h 3372349"/>
                <a:gd name="connsiteX17" fmla="*/ 229164 w 4401519"/>
                <a:gd name="connsiteY17" fmla="*/ 3372349 h 3372349"/>
                <a:gd name="connsiteX18" fmla="*/ 236868 w 4401519"/>
                <a:gd name="connsiteY18" fmla="*/ 3372349 h 3372349"/>
                <a:gd name="connsiteX19" fmla="*/ 4165181 w 4401519"/>
                <a:gd name="connsiteY19" fmla="*/ 3372349 h 3372349"/>
                <a:gd name="connsiteX20" fmla="*/ 4172886 w 4401519"/>
                <a:gd name="connsiteY20" fmla="*/ 3372349 h 3372349"/>
                <a:gd name="connsiteX21" fmla="*/ 4401519 w 4401519"/>
                <a:gd name="connsiteY21" fmla="*/ 3143716 h 3372349"/>
                <a:gd name="connsiteX22" fmla="*/ 4401519 w 4401519"/>
                <a:gd name="connsiteY22" fmla="*/ 2396956 h 3372349"/>
                <a:gd name="connsiteX23" fmla="*/ 4401519 w 4401519"/>
                <a:gd name="connsiteY23" fmla="*/ 889438 h 3372349"/>
                <a:gd name="connsiteX24" fmla="*/ 4401519 w 4401519"/>
                <a:gd name="connsiteY24" fmla="*/ 142678 h 3372349"/>
                <a:gd name="connsiteX0" fmla="*/ 4216671 w 4401519"/>
                <a:gd name="connsiteY0" fmla="*/ 0 h 3372349"/>
                <a:gd name="connsiteX1" fmla="*/ 3031202 w 4401519"/>
                <a:gd name="connsiteY1" fmla="*/ 0 h 3372349"/>
                <a:gd name="connsiteX2" fmla="*/ 2846354 w 4401519"/>
                <a:gd name="connsiteY2" fmla="*/ 142678 h 3372349"/>
                <a:gd name="connsiteX3" fmla="*/ 2846354 w 4401519"/>
                <a:gd name="connsiteY3" fmla="*/ 1498541 h 3372349"/>
                <a:gd name="connsiteX4" fmla="*/ 2691664 w 4401519"/>
                <a:gd name="connsiteY4" fmla="*/ 1617940 h 3372349"/>
                <a:gd name="connsiteX5" fmla="*/ 2598410 w 4401519"/>
                <a:gd name="connsiteY5" fmla="*/ 1617940 h 3372349"/>
                <a:gd name="connsiteX6" fmla="*/ 2586118 w 4401519"/>
                <a:gd name="connsiteY6" fmla="*/ 1617940 h 3372349"/>
                <a:gd name="connsiteX7" fmla="*/ 2492863 w 4401519"/>
                <a:gd name="connsiteY7" fmla="*/ 1617940 h 3372349"/>
                <a:gd name="connsiteX8" fmla="*/ 2335863 w 4401519"/>
                <a:gd name="connsiteY8" fmla="*/ 1496757 h 3372349"/>
                <a:gd name="connsiteX9" fmla="*/ 2329075 w 4401519"/>
                <a:gd name="connsiteY9" fmla="*/ 1496179 h 3372349"/>
                <a:gd name="connsiteX10" fmla="*/ 2329075 w 4401519"/>
                <a:gd name="connsiteY10" fmla="*/ 1096041 h 3372349"/>
                <a:gd name="connsiteX11" fmla="*/ 2144227 w 4401519"/>
                <a:gd name="connsiteY11" fmla="*/ 953363 h 3372349"/>
                <a:gd name="connsiteX12" fmla="*/ 184848 w 4401519"/>
                <a:gd name="connsiteY12" fmla="*/ 953363 h 3372349"/>
                <a:gd name="connsiteX13" fmla="*/ 0 w 4401519"/>
                <a:gd name="connsiteY13" fmla="*/ 1096041 h 3372349"/>
                <a:gd name="connsiteX14" fmla="*/ 0 w 4401519"/>
                <a:gd name="connsiteY14" fmla="*/ 2717339 h 3372349"/>
                <a:gd name="connsiteX15" fmla="*/ 531 w 4401519"/>
                <a:gd name="connsiteY15" fmla="*/ 2717339 h 3372349"/>
                <a:gd name="connsiteX16" fmla="*/ 531 w 4401519"/>
                <a:gd name="connsiteY16" fmla="*/ 3143716 h 3372349"/>
                <a:gd name="connsiteX17" fmla="*/ 229164 w 4401519"/>
                <a:gd name="connsiteY17" fmla="*/ 3372349 h 3372349"/>
                <a:gd name="connsiteX18" fmla="*/ 236868 w 4401519"/>
                <a:gd name="connsiteY18" fmla="*/ 3372349 h 3372349"/>
                <a:gd name="connsiteX19" fmla="*/ 4165181 w 4401519"/>
                <a:gd name="connsiteY19" fmla="*/ 3372349 h 3372349"/>
                <a:gd name="connsiteX20" fmla="*/ 4172886 w 4401519"/>
                <a:gd name="connsiteY20" fmla="*/ 3372349 h 3372349"/>
                <a:gd name="connsiteX21" fmla="*/ 4401519 w 4401519"/>
                <a:gd name="connsiteY21" fmla="*/ 3143716 h 3372349"/>
                <a:gd name="connsiteX22" fmla="*/ 4401519 w 4401519"/>
                <a:gd name="connsiteY22" fmla="*/ 2396956 h 3372349"/>
                <a:gd name="connsiteX23" fmla="*/ 4401519 w 4401519"/>
                <a:gd name="connsiteY23" fmla="*/ 142678 h 3372349"/>
                <a:gd name="connsiteX24" fmla="*/ 4216671 w 4401519"/>
                <a:gd name="connsiteY24" fmla="*/ 0 h 3372349"/>
                <a:gd name="connsiteX0" fmla="*/ 4216671 w 4401519"/>
                <a:gd name="connsiteY0" fmla="*/ 0 h 3372349"/>
                <a:gd name="connsiteX1" fmla="*/ 3031202 w 4401519"/>
                <a:gd name="connsiteY1" fmla="*/ 0 h 3372349"/>
                <a:gd name="connsiteX2" fmla="*/ 2846354 w 4401519"/>
                <a:gd name="connsiteY2" fmla="*/ 142678 h 3372349"/>
                <a:gd name="connsiteX3" fmla="*/ 2846354 w 4401519"/>
                <a:gd name="connsiteY3" fmla="*/ 1498541 h 3372349"/>
                <a:gd name="connsiteX4" fmla="*/ 2691664 w 4401519"/>
                <a:gd name="connsiteY4" fmla="*/ 1617940 h 3372349"/>
                <a:gd name="connsiteX5" fmla="*/ 2598410 w 4401519"/>
                <a:gd name="connsiteY5" fmla="*/ 1617940 h 3372349"/>
                <a:gd name="connsiteX6" fmla="*/ 2586118 w 4401519"/>
                <a:gd name="connsiteY6" fmla="*/ 1617940 h 3372349"/>
                <a:gd name="connsiteX7" fmla="*/ 2492863 w 4401519"/>
                <a:gd name="connsiteY7" fmla="*/ 1617940 h 3372349"/>
                <a:gd name="connsiteX8" fmla="*/ 2335863 w 4401519"/>
                <a:gd name="connsiteY8" fmla="*/ 1496757 h 3372349"/>
                <a:gd name="connsiteX9" fmla="*/ 2329075 w 4401519"/>
                <a:gd name="connsiteY9" fmla="*/ 1496179 h 3372349"/>
                <a:gd name="connsiteX10" fmla="*/ 2329075 w 4401519"/>
                <a:gd name="connsiteY10" fmla="*/ 1096041 h 3372349"/>
                <a:gd name="connsiteX11" fmla="*/ 2144227 w 4401519"/>
                <a:gd name="connsiteY11" fmla="*/ 953363 h 3372349"/>
                <a:gd name="connsiteX12" fmla="*/ 184848 w 4401519"/>
                <a:gd name="connsiteY12" fmla="*/ 953363 h 3372349"/>
                <a:gd name="connsiteX13" fmla="*/ 0 w 4401519"/>
                <a:gd name="connsiteY13" fmla="*/ 1096041 h 3372349"/>
                <a:gd name="connsiteX14" fmla="*/ 0 w 4401519"/>
                <a:gd name="connsiteY14" fmla="*/ 2717339 h 3372349"/>
                <a:gd name="connsiteX15" fmla="*/ 531 w 4401519"/>
                <a:gd name="connsiteY15" fmla="*/ 2717339 h 3372349"/>
                <a:gd name="connsiteX16" fmla="*/ 531 w 4401519"/>
                <a:gd name="connsiteY16" fmla="*/ 3143716 h 3372349"/>
                <a:gd name="connsiteX17" fmla="*/ 229164 w 4401519"/>
                <a:gd name="connsiteY17" fmla="*/ 3372349 h 3372349"/>
                <a:gd name="connsiteX18" fmla="*/ 236868 w 4401519"/>
                <a:gd name="connsiteY18" fmla="*/ 3372349 h 3372349"/>
                <a:gd name="connsiteX19" fmla="*/ 4165181 w 4401519"/>
                <a:gd name="connsiteY19" fmla="*/ 3372349 h 3372349"/>
                <a:gd name="connsiteX20" fmla="*/ 4172886 w 4401519"/>
                <a:gd name="connsiteY20" fmla="*/ 3372349 h 3372349"/>
                <a:gd name="connsiteX21" fmla="*/ 4401519 w 4401519"/>
                <a:gd name="connsiteY21" fmla="*/ 3143716 h 3372349"/>
                <a:gd name="connsiteX22" fmla="*/ 4401519 w 4401519"/>
                <a:gd name="connsiteY22" fmla="*/ 142678 h 3372349"/>
                <a:gd name="connsiteX23" fmla="*/ 4216671 w 4401519"/>
                <a:gd name="connsiteY23" fmla="*/ 0 h 3372349"/>
                <a:gd name="connsiteX0" fmla="*/ 4216671 w 4401519"/>
                <a:gd name="connsiteY0" fmla="*/ 0 h 3372349"/>
                <a:gd name="connsiteX1" fmla="*/ 3031202 w 4401519"/>
                <a:gd name="connsiteY1" fmla="*/ 0 h 3372349"/>
                <a:gd name="connsiteX2" fmla="*/ 2846354 w 4401519"/>
                <a:gd name="connsiteY2" fmla="*/ 142678 h 3372349"/>
                <a:gd name="connsiteX3" fmla="*/ 2846354 w 4401519"/>
                <a:gd name="connsiteY3" fmla="*/ 1498541 h 3372349"/>
                <a:gd name="connsiteX4" fmla="*/ 2691664 w 4401519"/>
                <a:gd name="connsiteY4" fmla="*/ 1617940 h 3372349"/>
                <a:gd name="connsiteX5" fmla="*/ 2598410 w 4401519"/>
                <a:gd name="connsiteY5" fmla="*/ 1617940 h 3372349"/>
                <a:gd name="connsiteX6" fmla="*/ 2586118 w 4401519"/>
                <a:gd name="connsiteY6" fmla="*/ 1617940 h 3372349"/>
                <a:gd name="connsiteX7" fmla="*/ 2492863 w 4401519"/>
                <a:gd name="connsiteY7" fmla="*/ 1617940 h 3372349"/>
                <a:gd name="connsiteX8" fmla="*/ 2335863 w 4401519"/>
                <a:gd name="connsiteY8" fmla="*/ 1496757 h 3372349"/>
                <a:gd name="connsiteX9" fmla="*/ 2329075 w 4401519"/>
                <a:gd name="connsiteY9" fmla="*/ 1496179 h 3372349"/>
                <a:gd name="connsiteX10" fmla="*/ 2329075 w 4401519"/>
                <a:gd name="connsiteY10" fmla="*/ 1096041 h 3372349"/>
                <a:gd name="connsiteX11" fmla="*/ 2144227 w 4401519"/>
                <a:gd name="connsiteY11" fmla="*/ 953363 h 3372349"/>
                <a:gd name="connsiteX12" fmla="*/ 184848 w 4401519"/>
                <a:gd name="connsiteY12" fmla="*/ 953363 h 3372349"/>
                <a:gd name="connsiteX13" fmla="*/ 0 w 4401519"/>
                <a:gd name="connsiteY13" fmla="*/ 1096041 h 3372349"/>
                <a:gd name="connsiteX14" fmla="*/ 0 w 4401519"/>
                <a:gd name="connsiteY14" fmla="*/ 2717339 h 3372349"/>
                <a:gd name="connsiteX15" fmla="*/ 531 w 4401519"/>
                <a:gd name="connsiteY15" fmla="*/ 3143716 h 3372349"/>
                <a:gd name="connsiteX16" fmla="*/ 229164 w 4401519"/>
                <a:gd name="connsiteY16" fmla="*/ 3372349 h 3372349"/>
                <a:gd name="connsiteX17" fmla="*/ 236868 w 4401519"/>
                <a:gd name="connsiteY17" fmla="*/ 3372349 h 3372349"/>
                <a:gd name="connsiteX18" fmla="*/ 4165181 w 4401519"/>
                <a:gd name="connsiteY18" fmla="*/ 3372349 h 3372349"/>
                <a:gd name="connsiteX19" fmla="*/ 4172886 w 4401519"/>
                <a:gd name="connsiteY19" fmla="*/ 3372349 h 3372349"/>
                <a:gd name="connsiteX20" fmla="*/ 4401519 w 4401519"/>
                <a:gd name="connsiteY20" fmla="*/ 3143716 h 3372349"/>
                <a:gd name="connsiteX21" fmla="*/ 4401519 w 4401519"/>
                <a:gd name="connsiteY21" fmla="*/ 142678 h 3372349"/>
                <a:gd name="connsiteX22" fmla="*/ 4216671 w 4401519"/>
                <a:gd name="connsiteY22" fmla="*/ 0 h 3372349"/>
                <a:gd name="connsiteX0" fmla="*/ 4216671 w 4401519"/>
                <a:gd name="connsiteY0" fmla="*/ 0 h 3372349"/>
                <a:gd name="connsiteX1" fmla="*/ 3031202 w 4401519"/>
                <a:gd name="connsiteY1" fmla="*/ 0 h 3372349"/>
                <a:gd name="connsiteX2" fmla="*/ 2846354 w 4401519"/>
                <a:gd name="connsiteY2" fmla="*/ 142678 h 3372349"/>
                <a:gd name="connsiteX3" fmla="*/ 2846354 w 4401519"/>
                <a:gd name="connsiteY3" fmla="*/ 1498541 h 3372349"/>
                <a:gd name="connsiteX4" fmla="*/ 2691664 w 4401519"/>
                <a:gd name="connsiteY4" fmla="*/ 1617940 h 3372349"/>
                <a:gd name="connsiteX5" fmla="*/ 2598410 w 4401519"/>
                <a:gd name="connsiteY5" fmla="*/ 1617940 h 3372349"/>
                <a:gd name="connsiteX6" fmla="*/ 2492863 w 4401519"/>
                <a:gd name="connsiteY6" fmla="*/ 1617940 h 3372349"/>
                <a:gd name="connsiteX7" fmla="*/ 2335863 w 4401519"/>
                <a:gd name="connsiteY7" fmla="*/ 1496757 h 3372349"/>
                <a:gd name="connsiteX8" fmla="*/ 2329075 w 4401519"/>
                <a:gd name="connsiteY8" fmla="*/ 1496179 h 3372349"/>
                <a:gd name="connsiteX9" fmla="*/ 2329075 w 4401519"/>
                <a:gd name="connsiteY9" fmla="*/ 1096041 h 3372349"/>
                <a:gd name="connsiteX10" fmla="*/ 2144227 w 4401519"/>
                <a:gd name="connsiteY10" fmla="*/ 953363 h 3372349"/>
                <a:gd name="connsiteX11" fmla="*/ 184848 w 4401519"/>
                <a:gd name="connsiteY11" fmla="*/ 953363 h 3372349"/>
                <a:gd name="connsiteX12" fmla="*/ 0 w 4401519"/>
                <a:gd name="connsiteY12" fmla="*/ 1096041 h 3372349"/>
                <a:gd name="connsiteX13" fmla="*/ 0 w 4401519"/>
                <a:gd name="connsiteY13" fmla="*/ 2717339 h 3372349"/>
                <a:gd name="connsiteX14" fmla="*/ 531 w 4401519"/>
                <a:gd name="connsiteY14" fmla="*/ 3143716 h 3372349"/>
                <a:gd name="connsiteX15" fmla="*/ 229164 w 4401519"/>
                <a:gd name="connsiteY15" fmla="*/ 3372349 h 3372349"/>
                <a:gd name="connsiteX16" fmla="*/ 236868 w 4401519"/>
                <a:gd name="connsiteY16" fmla="*/ 3372349 h 3372349"/>
                <a:gd name="connsiteX17" fmla="*/ 4165181 w 4401519"/>
                <a:gd name="connsiteY17" fmla="*/ 3372349 h 3372349"/>
                <a:gd name="connsiteX18" fmla="*/ 4172886 w 4401519"/>
                <a:gd name="connsiteY18" fmla="*/ 3372349 h 3372349"/>
                <a:gd name="connsiteX19" fmla="*/ 4401519 w 4401519"/>
                <a:gd name="connsiteY19" fmla="*/ 3143716 h 3372349"/>
                <a:gd name="connsiteX20" fmla="*/ 4401519 w 4401519"/>
                <a:gd name="connsiteY20" fmla="*/ 142678 h 3372349"/>
                <a:gd name="connsiteX21" fmla="*/ 4216671 w 4401519"/>
                <a:gd name="connsiteY21" fmla="*/ 0 h 3372349"/>
                <a:gd name="connsiteX0" fmla="*/ 4216671 w 4401519"/>
                <a:gd name="connsiteY0" fmla="*/ 0 h 3372349"/>
                <a:gd name="connsiteX1" fmla="*/ 3031202 w 4401519"/>
                <a:gd name="connsiteY1" fmla="*/ 0 h 3372349"/>
                <a:gd name="connsiteX2" fmla="*/ 2846354 w 4401519"/>
                <a:gd name="connsiteY2" fmla="*/ 142678 h 3372349"/>
                <a:gd name="connsiteX3" fmla="*/ 2846354 w 4401519"/>
                <a:gd name="connsiteY3" fmla="*/ 1498541 h 3372349"/>
                <a:gd name="connsiteX4" fmla="*/ 2691664 w 4401519"/>
                <a:gd name="connsiteY4" fmla="*/ 1617940 h 3372349"/>
                <a:gd name="connsiteX5" fmla="*/ 2492863 w 4401519"/>
                <a:gd name="connsiteY5" fmla="*/ 1617940 h 3372349"/>
                <a:gd name="connsiteX6" fmla="*/ 2335863 w 4401519"/>
                <a:gd name="connsiteY6" fmla="*/ 1496757 h 3372349"/>
                <a:gd name="connsiteX7" fmla="*/ 2329075 w 4401519"/>
                <a:gd name="connsiteY7" fmla="*/ 1496179 h 3372349"/>
                <a:gd name="connsiteX8" fmla="*/ 2329075 w 4401519"/>
                <a:gd name="connsiteY8" fmla="*/ 1096041 h 3372349"/>
                <a:gd name="connsiteX9" fmla="*/ 2144227 w 4401519"/>
                <a:gd name="connsiteY9" fmla="*/ 953363 h 3372349"/>
                <a:gd name="connsiteX10" fmla="*/ 184848 w 4401519"/>
                <a:gd name="connsiteY10" fmla="*/ 953363 h 3372349"/>
                <a:gd name="connsiteX11" fmla="*/ 0 w 4401519"/>
                <a:gd name="connsiteY11" fmla="*/ 1096041 h 3372349"/>
                <a:gd name="connsiteX12" fmla="*/ 0 w 4401519"/>
                <a:gd name="connsiteY12" fmla="*/ 2717339 h 3372349"/>
                <a:gd name="connsiteX13" fmla="*/ 531 w 4401519"/>
                <a:gd name="connsiteY13" fmla="*/ 3143716 h 3372349"/>
                <a:gd name="connsiteX14" fmla="*/ 229164 w 4401519"/>
                <a:gd name="connsiteY14" fmla="*/ 3372349 h 3372349"/>
                <a:gd name="connsiteX15" fmla="*/ 236868 w 4401519"/>
                <a:gd name="connsiteY15" fmla="*/ 3372349 h 3372349"/>
                <a:gd name="connsiteX16" fmla="*/ 4165181 w 4401519"/>
                <a:gd name="connsiteY16" fmla="*/ 3372349 h 3372349"/>
                <a:gd name="connsiteX17" fmla="*/ 4172886 w 4401519"/>
                <a:gd name="connsiteY17" fmla="*/ 3372349 h 3372349"/>
                <a:gd name="connsiteX18" fmla="*/ 4401519 w 4401519"/>
                <a:gd name="connsiteY18" fmla="*/ 3143716 h 3372349"/>
                <a:gd name="connsiteX19" fmla="*/ 4401519 w 4401519"/>
                <a:gd name="connsiteY19" fmla="*/ 142678 h 3372349"/>
                <a:gd name="connsiteX20" fmla="*/ 4216671 w 4401519"/>
                <a:gd name="connsiteY20" fmla="*/ 0 h 3372349"/>
                <a:gd name="connsiteX0" fmla="*/ 4216671 w 4401519"/>
                <a:gd name="connsiteY0" fmla="*/ 0 h 3372349"/>
                <a:gd name="connsiteX1" fmla="*/ 3031202 w 4401519"/>
                <a:gd name="connsiteY1" fmla="*/ 0 h 3372349"/>
                <a:gd name="connsiteX2" fmla="*/ 2846354 w 4401519"/>
                <a:gd name="connsiteY2" fmla="*/ 142678 h 3372349"/>
                <a:gd name="connsiteX3" fmla="*/ 2846354 w 4401519"/>
                <a:gd name="connsiteY3" fmla="*/ 1498541 h 3372349"/>
                <a:gd name="connsiteX4" fmla="*/ 2691664 w 4401519"/>
                <a:gd name="connsiteY4" fmla="*/ 1617940 h 3372349"/>
                <a:gd name="connsiteX5" fmla="*/ 2492863 w 4401519"/>
                <a:gd name="connsiteY5" fmla="*/ 1617940 h 3372349"/>
                <a:gd name="connsiteX6" fmla="*/ 2335863 w 4401519"/>
                <a:gd name="connsiteY6" fmla="*/ 1496757 h 3372349"/>
                <a:gd name="connsiteX7" fmla="*/ 2329075 w 4401519"/>
                <a:gd name="connsiteY7" fmla="*/ 1496179 h 3372349"/>
                <a:gd name="connsiteX8" fmla="*/ 2329075 w 4401519"/>
                <a:gd name="connsiteY8" fmla="*/ 1096041 h 3372349"/>
                <a:gd name="connsiteX9" fmla="*/ 2144227 w 4401519"/>
                <a:gd name="connsiteY9" fmla="*/ 953363 h 3372349"/>
                <a:gd name="connsiteX10" fmla="*/ 184848 w 4401519"/>
                <a:gd name="connsiteY10" fmla="*/ 953363 h 3372349"/>
                <a:gd name="connsiteX11" fmla="*/ 0 w 4401519"/>
                <a:gd name="connsiteY11" fmla="*/ 1096041 h 3372349"/>
                <a:gd name="connsiteX12" fmla="*/ 531 w 4401519"/>
                <a:gd name="connsiteY12" fmla="*/ 3143716 h 3372349"/>
                <a:gd name="connsiteX13" fmla="*/ 229164 w 4401519"/>
                <a:gd name="connsiteY13" fmla="*/ 3372349 h 3372349"/>
                <a:gd name="connsiteX14" fmla="*/ 236868 w 4401519"/>
                <a:gd name="connsiteY14" fmla="*/ 3372349 h 3372349"/>
                <a:gd name="connsiteX15" fmla="*/ 4165181 w 4401519"/>
                <a:gd name="connsiteY15" fmla="*/ 3372349 h 3372349"/>
                <a:gd name="connsiteX16" fmla="*/ 4172886 w 4401519"/>
                <a:gd name="connsiteY16" fmla="*/ 3372349 h 3372349"/>
                <a:gd name="connsiteX17" fmla="*/ 4401519 w 4401519"/>
                <a:gd name="connsiteY17" fmla="*/ 3143716 h 3372349"/>
                <a:gd name="connsiteX18" fmla="*/ 4401519 w 4401519"/>
                <a:gd name="connsiteY18" fmla="*/ 142678 h 3372349"/>
                <a:gd name="connsiteX19" fmla="*/ 4216671 w 4401519"/>
                <a:gd name="connsiteY19" fmla="*/ 0 h 3372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401519" h="3372349">
                  <a:moveTo>
                    <a:pt x="4216671" y="0"/>
                  </a:moveTo>
                  <a:lnTo>
                    <a:pt x="3031202" y="0"/>
                  </a:lnTo>
                  <a:lnTo>
                    <a:pt x="2846354" y="142678"/>
                  </a:lnTo>
                  <a:lnTo>
                    <a:pt x="2846354" y="1498541"/>
                  </a:lnTo>
                  <a:lnTo>
                    <a:pt x="2691664" y="1617940"/>
                  </a:lnTo>
                  <a:lnTo>
                    <a:pt x="2492863" y="1617940"/>
                  </a:lnTo>
                  <a:lnTo>
                    <a:pt x="2335863" y="1496757"/>
                  </a:lnTo>
                  <a:lnTo>
                    <a:pt x="2329075" y="1496179"/>
                  </a:lnTo>
                  <a:lnTo>
                    <a:pt x="2329075" y="1096041"/>
                  </a:lnTo>
                  <a:lnTo>
                    <a:pt x="2144227" y="953363"/>
                  </a:lnTo>
                  <a:lnTo>
                    <a:pt x="184848" y="953363"/>
                  </a:lnTo>
                  <a:lnTo>
                    <a:pt x="0" y="1096041"/>
                  </a:lnTo>
                  <a:lnTo>
                    <a:pt x="531" y="3143716"/>
                  </a:lnTo>
                  <a:lnTo>
                    <a:pt x="229164" y="3372349"/>
                  </a:lnTo>
                  <a:lnTo>
                    <a:pt x="236868" y="3372349"/>
                  </a:lnTo>
                  <a:lnTo>
                    <a:pt x="4165181" y="3372349"/>
                  </a:lnTo>
                  <a:lnTo>
                    <a:pt x="4172886" y="3372349"/>
                  </a:lnTo>
                  <a:lnTo>
                    <a:pt x="4401519" y="3143716"/>
                  </a:lnTo>
                  <a:lnTo>
                    <a:pt x="4401519" y="142678"/>
                  </a:lnTo>
                  <a:lnTo>
                    <a:pt x="4216671" y="0"/>
                  </a:ln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cxnSp>
          <p:nvCxnSpPr>
            <p:cNvPr id="152" name="Straight Connector 151">
              <a:extLst>
                <a:ext uri="{FF2B5EF4-FFF2-40B4-BE49-F238E27FC236}">
                  <a16:creationId xmlns:a16="http://schemas.microsoft.com/office/drawing/2014/main" id="{3564EF12-F4CC-404A-8473-C4B96580EABF}"/>
                </a:ext>
              </a:extLst>
            </p:cNvPr>
            <p:cNvCxnSpPr>
              <a:cxnSpLocks/>
            </p:cNvCxnSpPr>
            <p:nvPr/>
          </p:nvCxnSpPr>
          <p:spPr bwMode="gray">
            <a:xfrm>
              <a:off x="2630927" y="5086051"/>
              <a:ext cx="188135" cy="0"/>
            </a:xfrm>
            <a:prstGeom prst="line">
              <a:avLst/>
            </a:pr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cxnSp>
        <p:cxnSp>
          <p:nvCxnSpPr>
            <p:cNvPr id="153" name="Straight Connector 152">
              <a:extLst>
                <a:ext uri="{FF2B5EF4-FFF2-40B4-BE49-F238E27FC236}">
                  <a16:creationId xmlns:a16="http://schemas.microsoft.com/office/drawing/2014/main" id="{0B683E16-03C8-4F42-8AE2-DB9E5A451ECF}"/>
                </a:ext>
              </a:extLst>
            </p:cNvPr>
            <p:cNvCxnSpPr>
              <a:cxnSpLocks/>
            </p:cNvCxnSpPr>
            <p:nvPr/>
          </p:nvCxnSpPr>
          <p:spPr bwMode="gray">
            <a:xfrm>
              <a:off x="2735837" y="5119564"/>
              <a:ext cx="83225" cy="0"/>
            </a:xfrm>
            <a:prstGeom prst="line">
              <a:avLst/>
            </a:pr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cxnSp>
        <p:sp>
          <p:nvSpPr>
            <p:cNvPr id="154" name="Freeform: Shape 153">
              <a:extLst>
                <a:ext uri="{FF2B5EF4-FFF2-40B4-BE49-F238E27FC236}">
                  <a16:creationId xmlns:a16="http://schemas.microsoft.com/office/drawing/2014/main" id="{5A310D9A-9D85-4E65-B437-69469B278F5A}"/>
                </a:ext>
              </a:extLst>
            </p:cNvPr>
            <p:cNvSpPr/>
            <p:nvPr/>
          </p:nvSpPr>
          <p:spPr bwMode="gray">
            <a:xfrm>
              <a:off x="2753768" y="4883265"/>
              <a:ext cx="19897" cy="84565"/>
            </a:xfrm>
            <a:custGeom>
              <a:avLst/>
              <a:gdLst>
                <a:gd name="connsiteX0" fmla="*/ 0 w 243840"/>
                <a:gd name="connsiteY0" fmla="*/ 1036320 h 1036320"/>
                <a:gd name="connsiteX1" fmla="*/ 0 w 243840"/>
                <a:gd name="connsiteY1" fmla="*/ 708660 h 1036320"/>
                <a:gd name="connsiteX2" fmla="*/ 236220 w 243840"/>
                <a:gd name="connsiteY2" fmla="*/ 342900 h 1036320"/>
                <a:gd name="connsiteX3" fmla="*/ 236220 w 243840"/>
                <a:gd name="connsiteY3" fmla="*/ 0 h 1036320"/>
                <a:gd name="connsiteX4" fmla="*/ 243840 w 243840"/>
                <a:gd name="connsiteY4" fmla="*/ 0 h 1036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40" h="1036320">
                  <a:moveTo>
                    <a:pt x="0" y="1036320"/>
                  </a:moveTo>
                  <a:lnTo>
                    <a:pt x="0" y="708660"/>
                  </a:lnTo>
                  <a:lnTo>
                    <a:pt x="236220" y="342900"/>
                  </a:lnTo>
                  <a:lnTo>
                    <a:pt x="236220" y="0"/>
                  </a:lnTo>
                  <a:lnTo>
                    <a:pt x="243840" y="0"/>
                  </a:lnTo>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155" name="Freeform: Shape 154">
              <a:extLst>
                <a:ext uri="{FF2B5EF4-FFF2-40B4-BE49-F238E27FC236}">
                  <a16:creationId xmlns:a16="http://schemas.microsoft.com/office/drawing/2014/main" id="{25BCEA22-3D83-481C-8AB5-82F484A7D146}"/>
                </a:ext>
              </a:extLst>
            </p:cNvPr>
            <p:cNvSpPr/>
            <p:nvPr/>
          </p:nvSpPr>
          <p:spPr bwMode="gray">
            <a:xfrm>
              <a:off x="2706511" y="4883265"/>
              <a:ext cx="19897" cy="84565"/>
            </a:xfrm>
            <a:custGeom>
              <a:avLst/>
              <a:gdLst>
                <a:gd name="connsiteX0" fmla="*/ 0 w 243840"/>
                <a:gd name="connsiteY0" fmla="*/ 1036320 h 1036320"/>
                <a:gd name="connsiteX1" fmla="*/ 0 w 243840"/>
                <a:gd name="connsiteY1" fmla="*/ 708660 h 1036320"/>
                <a:gd name="connsiteX2" fmla="*/ 236220 w 243840"/>
                <a:gd name="connsiteY2" fmla="*/ 342900 h 1036320"/>
                <a:gd name="connsiteX3" fmla="*/ 236220 w 243840"/>
                <a:gd name="connsiteY3" fmla="*/ 0 h 1036320"/>
                <a:gd name="connsiteX4" fmla="*/ 243840 w 243840"/>
                <a:gd name="connsiteY4" fmla="*/ 0 h 1036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840" h="1036320">
                  <a:moveTo>
                    <a:pt x="0" y="1036320"/>
                  </a:moveTo>
                  <a:lnTo>
                    <a:pt x="0" y="708660"/>
                  </a:lnTo>
                  <a:lnTo>
                    <a:pt x="236220" y="342900"/>
                  </a:lnTo>
                  <a:lnTo>
                    <a:pt x="236220" y="0"/>
                  </a:lnTo>
                  <a:lnTo>
                    <a:pt x="243840" y="0"/>
                  </a:lnTo>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156" name="Rectangle 173">
              <a:extLst>
                <a:ext uri="{FF2B5EF4-FFF2-40B4-BE49-F238E27FC236}">
                  <a16:creationId xmlns:a16="http://schemas.microsoft.com/office/drawing/2014/main" id="{DF1D735D-59AC-4765-B5E1-0259A65201D1}"/>
                </a:ext>
              </a:extLst>
            </p:cNvPr>
            <p:cNvSpPr>
              <a:spLocks noChangeArrowheads="1"/>
            </p:cNvSpPr>
            <p:nvPr/>
          </p:nvSpPr>
          <p:spPr bwMode="gray">
            <a:xfrm>
              <a:off x="2430251" y="5201616"/>
              <a:ext cx="0" cy="35237"/>
            </a:xfrm>
            <a:custGeom>
              <a:avLst/>
              <a:gdLst>
                <a:gd name="connsiteX0" fmla="*/ 0 w 22853"/>
                <a:gd name="connsiteY0" fmla="*/ 0 h 35237"/>
                <a:gd name="connsiteX1" fmla="*/ 22853 w 22853"/>
                <a:gd name="connsiteY1" fmla="*/ 0 h 35237"/>
                <a:gd name="connsiteX2" fmla="*/ 22853 w 22853"/>
                <a:gd name="connsiteY2" fmla="*/ 35237 h 35237"/>
                <a:gd name="connsiteX3" fmla="*/ 0 w 22853"/>
                <a:gd name="connsiteY3" fmla="*/ 35237 h 35237"/>
                <a:gd name="connsiteX4" fmla="*/ 0 w 22853"/>
                <a:gd name="connsiteY4" fmla="*/ 0 h 35237"/>
                <a:gd name="connsiteX0" fmla="*/ 0 w 22853"/>
                <a:gd name="connsiteY0" fmla="*/ 35237 h 35237"/>
                <a:gd name="connsiteX1" fmla="*/ 22853 w 22853"/>
                <a:gd name="connsiteY1" fmla="*/ 0 h 35237"/>
                <a:gd name="connsiteX2" fmla="*/ 22853 w 22853"/>
                <a:gd name="connsiteY2" fmla="*/ 35237 h 35237"/>
                <a:gd name="connsiteX3" fmla="*/ 0 w 22853"/>
                <a:gd name="connsiteY3" fmla="*/ 35237 h 35237"/>
                <a:gd name="connsiteX0" fmla="*/ 0 w 0"/>
                <a:gd name="connsiteY0" fmla="*/ 35237 h 35237"/>
                <a:gd name="connsiteX1" fmla="*/ 0 w 0"/>
                <a:gd name="connsiteY1" fmla="*/ 0 h 35237"/>
                <a:gd name="connsiteX2" fmla="*/ 0 w 0"/>
                <a:gd name="connsiteY2" fmla="*/ 35237 h 35237"/>
              </a:gdLst>
              <a:ahLst/>
              <a:cxnLst>
                <a:cxn ang="0">
                  <a:pos x="connsiteX0" y="connsiteY0"/>
                </a:cxn>
                <a:cxn ang="0">
                  <a:pos x="connsiteX1" y="connsiteY1"/>
                </a:cxn>
                <a:cxn ang="0">
                  <a:pos x="connsiteX2" y="connsiteY2"/>
                </a:cxn>
              </a:cxnLst>
              <a:rect l="l" t="t" r="r" b="b"/>
              <a:pathLst>
                <a:path h="35237">
                  <a:moveTo>
                    <a:pt x="0" y="35237"/>
                  </a:moveTo>
                  <a:lnTo>
                    <a:pt x="0" y="0"/>
                  </a:lnTo>
                  <a:lnTo>
                    <a:pt x="0" y="35237"/>
                  </a:ln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157" name="Rectangle 173">
              <a:extLst>
                <a:ext uri="{FF2B5EF4-FFF2-40B4-BE49-F238E27FC236}">
                  <a16:creationId xmlns:a16="http://schemas.microsoft.com/office/drawing/2014/main" id="{E8B2BE03-DECE-47D1-9D33-61F0CB831117}"/>
                </a:ext>
              </a:extLst>
            </p:cNvPr>
            <p:cNvSpPr>
              <a:spLocks noChangeArrowheads="1"/>
            </p:cNvSpPr>
            <p:nvPr/>
          </p:nvSpPr>
          <p:spPr bwMode="gray">
            <a:xfrm>
              <a:off x="2682251" y="5201616"/>
              <a:ext cx="0" cy="35237"/>
            </a:xfrm>
            <a:custGeom>
              <a:avLst/>
              <a:gdLst>
                <a:gd name="connsiteX0" fmla="*/ 0 w 22853"/>
                <a:gd name="connsiteY0" fmla="*/ 0 h 35237"/>
                <a:gd name="connsiteX1" fmla="*/ 22853 w 22853"/>
                <a:gd name="connsiteY1" fmla="*/ 0 h 35237"/>
                <a:gd name="connsiteX2" fmla="*/ 22853 w 22853"/>
                <a:gd name="connsiteY2" fmla="*/ 35237 h 35237"/>
                <a:gd name="connsiteX3" fmla="*/ 0 w 22853"/>
                <a:gd name="connsiteY3" fmla="*/ 35237 h 35237"/>
                <a:gd name="connsiteX4" fmla="*/ 0 w 22853"/>
                <a:gd name="connsiteY4" fmla="*/ 0 h 35237"/>
                <a:gd name="connsiteX0" fmla="*/ 0 w 22853"/>
                <a:gd name="connsiteY0" fmla="*/ 0 h 35237"/>
                <a:gd name="connsiteX1" fmla="*/ 22853 w 22853"/>
                <a:gd name="connsiteY1" fmla="*/ 35237 h 35237"/>
                <a:gd name="connsiteX2" fmla="*/ 0 w 22853"/>
                <a:gd name="connsiteY2" fmla="*/ 35237 h 35237"/>
                <a:gd name="connsiteX3" fmla="*/ 0 w 22853"/>
                <a:gd name="connsiteY3" fmla="*/ 0 h 35237"/>
                <a:gd name="connsiteX0" fmla="*/ 0 w 0"/>
                <a:gd name="connsiteY0" fmla="*/ 0 h 35237"/>
                <a:gd name="connsiteX1" fmla="*/ 0 w 0"/>
                <a:gd name="connsiteY1" fmla="*/ 35237 h 35237"/>
                <a:gd name="connsiteX2" fmla="*/ 0 w 0"/>
                <a:gd name="connsiteY2" fmla="*/ 0 h 35237"/>
              </a:gdLst>
              <a:ahLst/>
              <a:cxnLst>
                <a:cxn ang="0">
                  <a:pos x="connsiteX0" y="connsiteY0"/>
                </a:cxn>
                <a:cxn ang="0">
                  <a:pos x="connsiteX1" y="connsiteY1"/>
                </a:cxn>
                <a:cxn ang="0">
                  <a:pos x="connsiteX2" y="connsiteY2"/>
                </a:cxn>
              </a:cxnLst>
              <a:rect l="l" t="t" r="r" b="b"/>
              <a:pathLst>
                <a:path h="35237">
                  <a:moveTo>
                    <a:pt x="0" y="0"/>
                  </a:moveTo>
                  <a:lnTo>
                    <a:pt x="0" y="35237"/>
                  </a:lnTo>
                  <a:lnTo>
                    <a:pt x="0" y="0"/>
                  </a:ln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158" name="Rectangle 173">
              <a:extLst>
                <a:ext uri="{FF2B5EF4-FFF2-40B4-BE49-F238E27FC236}">
                  <a16:creationId xmlns:a16="http://schemas.microsoft.com/office/drawing/2014/main" id="{F8DFD52C-3997-4407-B940-9283E0E83E09}"/>
                </a:ext>
              </a:extLst>
            </p:cNvPr>
            <p:cNvSpPr>
              <a:spLocks noChangeArrowheads="1"/>
            </p:cNvSpPr>
            <p:nvPr/>
          </p:nvSpPr>
          <p:spPr bwMode="gray">
            <a:xfrm>
              <a:off x="2472251" y="5201616"/>
              <a:ext cx="0" cy="35237"/>
            </a:xfrm>
            <a:custGeom>
              <a:avLst/>
              <a:gdLst>
                <a:gd name="connsiteX0" fmla="*/ 0 w 22853"/>
                <a:gd name="connsiteY0" fmla="*/ 0 h 35237"/>
                <a:gd name="connsiteX1" fmla="*/ 22853 w 22853"/>
                <a:gd name="connsiteY1" fmla="*/ 0 h 35237"/>
                <a:gd name="connsiteX2" fmla="*/ 22853 w 22853"/>
                <a:gd name="connsiteY2" fmla="*/ 35237 h 35237"/>
                <a:gd name="connsiteX3" fmla="*/ 0 w 22853"/>
                <a:gd name="connsiteY3" fmla="*/ 35237 h 35237"/>
                <a:gd name="connsiteX4" fmla="*/ 0 w 22853"/>
                <a:gd name="connsiteY4" fmla="*/ 0 h 35237"/>
                <a:gd name="connsiteX0" fmla="*/ 0 w 22853"/>
                <a:gd name="connsiteY0" fmla="*/ 35237 h 35237"/>
                <a:gd name="connsiteX1" fmla="*/ 22853 w 22853"/>
                <a:gd name="connsiteY1" fmla="*/ 0 h 35237"/>
                <a:gd name="connsiteX2" fmla="*/ 22853 w 22853"/>
                <a:gd name="connsiteY2" fmla="*/ 35237 h 35237"/>
                <a:gd name="connsiteX3" fmla="*/ 0 w 22853"/>
                <a:gd name="connsiteY3" fmla="*/ 35237 h 35237"/>
                <a:gd name="connsiteX0" fmla="*/ 0 w 0"/>
                <a:gd name="connsiteY0" fmla="*/ 35237 h 35237"/>
                <a:gd name="connsiteX1" fmla="*/ 0 w 0"/>
                <a:gd name="connsiteY1" fmla="*/ 0 h 35237"/>
                <a:gd name="connsiteX2" fmla="*/ 0 w 0"/>
                <a:gd name="connsiteY2" fmla="*/ 35237 h 35237"/>
              </a:gdLst>
              <a:ahLst/>
              <a:cxnLst>
                <a:cxn ang="0">
                  <a:pos x="connsiteX0" y="connsiteY0"/>
                </a:cxn>
                <a:cxn ang="0">
                  <a:pos x="connsiteX1" y="connsiteY1"/>
                </a:cxn>
                <a:cxn ang="0">
                  <a:pos x="connsiteX2" y="connsiteY2"/>
                </a:cxn>
              </a:cxnLst>
              <a:rect l="l" t="t" r="r" b="b"/>
              <a:pathLst>
                <a:path h="35237">
                  <a:moveTo>
                    <a:pt x="0" y="35237"/>
                  </a:moveTo>
                  <a:lnTo>
                    <a:pt x="0" y="0"/>
                  </a:lnTo>
                  <a:lnTo>
                    <a:pt x="0" y="35237"/>
                  </a:ln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159" name="Rectangle 173">
              <a:extLst>
                <a:ext uri="{FF2B5EF4-FFF2-40B4-BE49-F238E27FC236}">
                  <a16:creationId xmlns:a16="http://schemas.microsoft.com/office/drawing/2014/main" id="{29E805F2-0E00-4EB6-8F47-523BBEEF5591}"/>
                </a:ext>
              </a:extLst>
            </p:cNvPr>
            <p:cNvSpPr>
              <a:spLocks noChangeArrowheads="1"/>
            </p:cNvSpPr>
            <p:nvPr/>
          </p:nvSpPr>
          <p:spPr bwMode="gray">
            <a:xfrm>
              <a:off x="2514251" y="5201616"/>
              <a:ext cx="0" cy="35237"/>
            </a:xfrm>
            <a:custGeom>
              <a:avLst/>
              <a:gdLst>
                <a:gd name="connsiteX0" fmla="*/ 0 w 22853"/>
                <a:gd name="connsiteY0" fmla="*/ 0 h 35237"/>
                <a:gd name="connsiteX1" fmla="*/ 22853 w 22853"/>
                <a:gd name="connsiteY1" fmla="*/ 0 h 35237"/>
                <a:gd name="connsiteX2" fmla="*/ 22853 w 22853"/>
                <a:gd name="connsiteY2" fmla="*/ 35237 h 35237"/>
                <a:gd name="connsiteX3" fmla="*/ 0 w 22853"/>
                <a:gd name="connsiteY3" fmla="*/ 35237 h 35237"/>
                <a:gd name="connsiteX4" fmla="*/ 0 w 22853"/>
                <a:gd name="connsiteY4" fmla="*/ 0 h 35237"/>
                <a:gd name="connsiteX0" fmla="*/ 0 w 22853"/>
                <a:gd name="connsiteY0" fmla="*/ 35237 h 35237"/>
                <a:gd name="connsiteX1" fmla="*/ 22853 w 22853"/>
                <a:gd name="connsiteY1" fmla="*/ 0 h 35237"/>
                <a:gd name="connsiteX2" fmla="*/ 22853 w 22853"/>
                <a:gd name="connsiteY2" fmla="*/ 35237 h 35237"/>
                <a:gd name="connsiteX3" fmla="*/ 0 w 22853"/>
                <a:gd name="connsiteY3" fmla="*/ 35237 h 35237"/>
                <a:gd name="connsiteX0" fmla="*/ 0 w 0"/>
                <a:gd name="connsiteY0" fmla="*/ 35237 h 35237"/>
                <a:gd name="connsiteX1" fmla="*/ 0 w 0"/>
                <a:gd name="connsiteY1" fmla="*/ 0 h 35237"/>
                <a:gd name="connsiteX2" fmla="*/ 0 w 0"/>
                <a:gd name="connsiteY2" fmla="*/ 35237 h 35237"/>
              </a:gdLst>
              <a:ahLst/>
              <a:cxnLst>
                <a:cxn ang="0">
                  <a:pos x="connsiteX0" y="connsiteY0"/>
                </a:cxn>
                <a:cxn ang="0">
                  <a:pos x="connsiteX1" y="connsiteY1"/>
                </a:cxn>
                <a:cxn ang="0">
                  <a:pos x="connsiteX2" y="connsiteY2"/>
                </a:cxn>
              </a:cxnLst>
              <a:rect l="l" t="t" r="r" b="b"/>
              <a:pathLst>
                <a:path h="35237">
                  <a:moveTo>
                    <a:pt x="0" y="35237"/>
                  </a:moveTo>
                  <a:lnTo>
                    <a:pt x="0" y="0"/>
                  </a:lnTo>
                  <a:lnTo>
                    <a:pt x="0" y="35237"/>
                  </a:ln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160" name="Rectangle 173">
              <a:extLst>
                <a:ext uri="{FF2B5EF4-FFF2-40B4-BE49-F238E27FC236}">
                  <a16:creationId xmlns:a16="http://schemas.microsoft.com/office/drawing/2014/main" id="{6481C37E-9AF3-4CDA-B1C6-2B516639D66D}"/>
                </a:ext>
              </a:extLst>
            </p:cNvPr>
            <p:cNvSpPr>
              <a:spLocks noChangeArrowheads="1"/>
            </p:cNvSpPr>
            <p:nvPr/>
          </p:nvSpPr>
          <p:spPr bwMode="gray">
            <a:xfrm>
              <a:off x="2556251" y="5201616"/>
              <a:ext cx="0" cy="35237"/>
            </a:xfrm>
            <a:custGeom>
              <a:avLst/>
              <a:gdLst>
                <a:gd name="connsiteX0" fmla="*/ 0 w 22853"/>
                <a:gd name="connsiteY0" fmla="*/ 0 h 35237"/>
                <a:gd name="connsiteX1" fmla="*/ 22853 w 22853"/>
                <a:gd name="connsiteY1" fmla="*/ 0 h 35237"/>
                <a:gd name="connsiteX2" fmla="*/ 22853 w 22853"/>
                <a:gd name="connsiteY2" fmla="*/ 35237 h 35237"/>
                <a:gd name="connsiteX3" fmla="*/ 0 w 22853"/>
                <a:gd name="connsiteY3" fmla="*/ 35237 h 35237"/>
                <a:gd name="connsiteX4" fmla="*/ 0 w 22853"/>
                <a:gd name="connsiteY4" fmla="*/ 0 h 35237"/>
                <a:gd name="connsiteX0" fmla="*/ 0 w 22853"/>
                <a:gd name="connsiteY0" fmla="*/ 35237 h 35237"/>
                <a:gd name="connsiteX1" fmla="*/ 22853 w 22853"/>
                <a:gd name="connsiteY1" fmla="*/ 0 h 35237"/>
                <a:gd name="connsiteX2" fmla="*/ 22853 w 22853"/>
                <a:gd name="connsiteY2" fmla="*/ 35237 h 35237"/>
                <a:gd name="connsiteX3" fmla="*/ 0 w 22853"/>
                <a:gd name="connsiteY3" fmla="*/ 35237 h 35237"/>
                <a:gd name="connsiteX0" fmla="*/ 0 w 0"/>
                <a:gd name="connsiteY0" fmla="*/ 35237 h 35237"/>
                <a:gd name="connsiteX1" fmla="*/ 0 w 0"/>
                <a:gd name="connsiteY1" fmla="*/ 0 h 35237"/>
                <a:gd name="connsiteX2" fmla="*/ 0 w 0"/>
                <a:gd name="connsiteY2" fmla="*/ 35237 h 35237"/>
              </a:gdLst>
              <a:ahLst/>
              <a:cxnLst>
                <a:cxn ang="0">
                  <a:pos x="connsiteX0" y="connsiteY0"/>
                </a:cxn>
                <a:cxn ang="0">
                  <a:pos x="connsiteX1" y="connsiteY1"/>
                </a:cxn>
                <a:cxn ang="0">
                  <a:pos x="connsiteX2" y="connsiteY2"/>
                </a:cxn>
              </a:cxnLst>
              <a:rect l="l" t="t" r="r" b="b"/>
              <a:pathLst>
                <a:path h="35237">
                  <a:moveTo>
                    <a:pt x="0" y="35237"/>
                  </a:moveTo>
                  <a:lnTo>
                    <a:pt x="0" y="0"/>
                  </a:lnTo>
                  <a:lnTo>
                    <a:pt x="0" y="35237"/>
                  </a:ln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161" name="Rectangle 173">
              <a:extLst>
                <a:ext uri="{FF2B5EF4-FFF2-40B4-BE49-F238E27FC236}">
                  <a16:creationId xmlns:a16="http://schemas.microsoft.com/office/drawing/2014/main" id="{6A2BB0FC-D20D-4F62-9532-EC78842485C9}"/>
                </a:ext>
              </a:extLst>
            </p:cNvPr>
            <p:cNvSpPr>
              <a:spLocks noChangeArrowheads="1"/>
            </p:cNvSpPr>
            <p:nvPr/>
          </p:nvSpPr>
          <p:spPr bwMode="gray">
            <a:xfrm>
              <a:off x="2598250" y="5201616"/>
              <a:ext cx="0" cy="35237"/>
            </a:xfrm>
            <a:custGeom>
              <a:avLst/>
              <a:gdLst>
                <a:gd name="connsiteX0" fmla="*/ 0 w 22853"/>
                <a:gd name="connsiteY0" fmla="*/ 0 h 35237"/>
                <a:gd name="connsiteX1" fmla="*/ 22853 w 22853"/>
                <a:gd name="connsiteY1" fmla="*/ 0 h 35237"/>
                <a:gd name="connsiteX2" fmla="*/ 22853 w 22853"/>
                <a:gd name="connsiteY2" fmla="*/ 35237 h 35237"/>
                <a:gd name="connsiteX3" fmla="*/ 0 w 22853"/>
                <a:gd name="connsiteY3" fmla="*/ 35237 h 35237"/>
                <a:gd name="connsiteX4" fmla="*/ 0 w 22853"/>
                <a:gd name="connsiteY4" fmla="*/ 0 h 35237"/>
                <a:gd name="connsiteX0" fmla="*/ 0 w 22853"/>
                <a:gd name="connsiteY0" fmla="*/ 35237 h 35237"/>
                <a:gd name="connsiteX1" fmla="*/ 22853 w 22853"/>
                <a:gd name="connsiteY1" fmla="*/ 0 h 35237"/>
                <a:gd name="connsiteX2" fmla="*/ 22853 w 22853"/>
                <a:gd name="connsiteY2" fmla="*/ 35237 h 35237"/>
                <a:gd name="connsiteX3" fmla="*/ 0 w 22853"/>
                <a:gd name="connsiteY3" fmla="*/ 35237 h 35237"/>
                <a:gd name="connsiteX0" fmla="*/ 0 w 0"/>
                <a:gd name="connsiteY0" fmla="*/ 35237 h 35237"/>
                <a:gd name="connsiteX1" fmla="*/ 0 w 0"/>
                <a:gd name="connsiteY1" fmla="*/ 0 h 35237"/>
                <a:gd name="connsiteX2" fmla="*/ 0 w 0"/>
                <a:gd name="connsiteY2" fmla="*/ 35237 h 35237"/>
              </a:gdLst>
              <a:ahLst/>
              <a:cxnLst>
                <a:cxn ang="0">
                  <a:pos x="connsiteX0" y="connsiteY0"/>
                </a:cxn>
                <a:cxn ang="0">
                  <a:pos x="connsiteX1" y="connsiteY1"/>
                </a:cxn>
                <a:cxn ang="0">
                  <a:pos x="connsiteX2" y="connsiteY2"/>
                </a:cxn>
              </a:cxnLst>
              <a:rect l="l" t="t" r="r" b="b"/>
              <a:pathLst>
                <a:path h="35237">
                  <a:moveTo>
                    <a:pt x="0" y="35237"/>
                  </a:moveTo>
                  <a:lnTo>
                    <a:pt x="0" y="0"/>
                  </a:lnTo>
                  <a:lnTo>
                    <a:pt x="0" y="35237"/>
                  </a:ln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162" name="Rectangle 173">
              <a:extLst>
                <a:ext uri="{FF2B5EF4-FFF2-40B4-BE49-F238E27FC236}">
                  <a16:creationId xmlns:a16="http://schemas.microsoft.com/office/drawing/2014/main" id="{04995091-28C8-4FF5-BB0E-71AD568571D8}"/>
                </a:ext>
              </a:extLst>
            </p:cNvPr>
            <p:cNvSpPr>
              <a:spLocks noChangeArrowheads="1"/>
            </p:cNvSpPr>
            <p:nvPr/>
          </p:nvSpPr>
          <p:spPr bwMode="gray">
            <a:xfrm>
              <a:off x="2640250" y="5201616"/>
              <a:ext cx="0" cy="35237"/>
            </a:xfrm>
            <a:custGeom>
              <a:avLst/>
              <a:gdLst>
                <a:gd name="connsiteX0" fmla="*/ 0 w 22853"/>
                <a:gd name="connsiteY0" fmla="*/ 0 h 35237"/>
                <a:gd name="connsiteX1" fmla="*/ 22853 w 22853"/>
                <a:gd name="connsiteY1" fmla="*/ 0 h 35237"/>
                <a:gd name="connsiteX2" fmla="*/ 22853 w 22853"/>
                <a:gd name="connsiteY2" fmla="*/ 35237 h 35237"/>
                <a:gd name="connsiteX3" fmla="*/ 0 w 22853"/>
                <a:gd name="connsiteY3" fmla="*/ 35237 h 35237"/>
                <a:gd name="connsiteX4" fmla="*/ 0 w 22853"/>
                <a:gd name="connsiteY4" fmla="*/ 0 h 35237"/>
                <a:gd name="connsiteX0" fmla="*/ 0 w 22853"/>
                <a:gd name="connsiteY0" fmla="*/ 35237 h 35237"/>
                <a:gd name="connsiteX1" fmla="*/ 22853 w 22853"/>
                <a:gd name="connsiteY1" fmla="*/ 0 h 35237"/>
                <a:gd name="connsiteX2" fmla="*/ 22853 w 22853"/>
                <a:gd name="connsiteY2" fmla="*/ 35237 h 35237"/>
                <a:gd name="connsiteX3" fmla="*/ 0 w 22853"/>
                <a:gd name="connsiteY3" fmla="*/ 35237 h 35237"/>
                <a:gd name="connsiteX0" fmla="*/ 0 w 0"/>
                <a:gd name="connsiteY0" fmla="*/ 35237 h 35237"/>
                <a:gd name="connsiteX1" fmla="*/ 0 w 0"/>
                <a:gd name="connsiteY1" fmla="*/ 0 h 35237"/>
                <a:gd name="connsiteX2" fmla="*/ 0 w 0"/>
                <a:gd name="connsiteY2" fmla="*/ 35237 h 35237"/>
              </a:gdLst>
              <a:ahLst/>
              <a:cxnLst>
                <a:cxn ang="0">
                  <a:pos x="connsiteX0" y="connsiteY0"/>
                </a:cxn>
                <a:cxn ang="0">
                  <a:pos x="connsiteX1" y="connsiteY1"/>
                </a:cxn>
                <a:cxn ang="0">
                  <a:pos x="connsiteX2" y="connsiteY2"/>
                </a:cxn>
              </a:cxnLst>
              <a:rect l="l" t="t" r="r" b="b"/>
              <a:pathLst>
                <a:path h="35237">
                  <a:moveTo>
                    <a:pt x="0" y="35237"/>
                  </a:moveTo>
                  <a:lnTo>
                    <a:pt x="0" y="0"/>
                  </a:lnTo>
                  <a:lnTo>
                    <a:pt x="0" y="35237"/>
                  </a:ln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grpSp>
      <p:grpSp>
        <p:nvGrpSpPr>
          <p:cNvPr id="165" name="Group 164">
            <a:extLst>
              <a:ext uri="{FF2B5EF4-FFF2-40B4-BE49-F238E27FC236}">
                <a16:creationId xmlns:a16="http://schemas.microsoft.com/office/drawing/2014/main" id="{06913184-CD0D-407A-8261-C9112FE6C9C2}"/>
              </a:ext>
            </a:extLst>
          </p:cNvPr>
          <p:cNvGrpSpPr/>
          <p:nvPr/>
        </p:nvGrpSpPr>
        <p:grpSpPr bwMode="gray">
          <a:xfrm>
            <a:off x="362255" y="1955891"/>
            <a:ext cx="392379" cy="570227"/>
            <a:chOff x="5044761" y="4587404"/>
            <a:chExt cx="225279" cy="327388"/>
          </a:xfrm>
        </p:grpSpPr>
        <p:sp>
          <p:nvSpPr>
            <p:cNvPr id="163" name="Freeform: Shape 162">
              <a:extLst>
                <a:ext uri="{FF2B5EF4-FFF2-40B4-BE49-F238E27FC236}">
                  <a16:creationId xmlns:a16="http://schemas.microsoft.com/office/drawing/2014/main" id="{E3452803-6C80-462F-83A3-BCD4DB4691ED}"/>
                </a:ext>
              </a:extLst>
            </p:cNvPr>
            <p:cNvSpPr/>
            <p:nvPr/>
          </p:nvSpPr>
          <p:spPr bwMode="gray">
            <a:xfrm>
              <a:off x="5044761" y="4587404"/>
              <a:ext cx="225279" cy="327388"/>
            </a:xfrm>
            <a:custGeom>
              <a:avLst/>
              <a:gdLst>
                <a:gd name="connsiteX0" fmla="*/ 102434 w 309600"/>
                <a:gd name="connsiteY0" fmla="*/ 0 h 310736"/>
                <a:gd name="connsiteX1" fmla="*/ 207166 w 309600"/>
                <a:gd name="connsiteY1" fmla="*/ 0 h 310736"/>
                <a:gd name="connsiteX2" fmla="*/ 207166 w 309600"/>
                <a:gd name="connsiteY2" fmla="*/ 62212 h 310736"/>
                <a:gd name="connsiteX3" fmla="*/ 243258 w 309600"/>
                <a:gd name="connsiteY3" fmla="*/ 62212 h 310736"/>
                <a:gd name="connsiteX4" fmla="*/ 243258 w 309600"/>
                <a:gd name="connsiteY4" fmla="*/ 90930 h 310736"/>
                <a:gd name="connsiteX5" fmla="*/ 309600 w 309600"/>
                <a:gd name="connsiteY5" fmla="*/ 90930 h 310736"/>
                <a:gd name="connsiteX6" fmla="*/ 309600 w 309600"/>
                <a:gd name="connsiteY6" fmla="*/ 310736 h 310736"/>
                <a:gd name="connsiteX7" fmla="*/ 0 w 309600"/>
                <a:gd name="connsiteY7" fmla="*/ 310736 h 310736"/>
                <a:gd name="connsiteX8" fmla="*/ 0 w 309600"/>
                <a:gd name="connsiteY8" fmla="*/ 90930 h 310736"/>
                <a:gd name="connsiteX9" fmla="*/ 66343 w 309600"/>
                <a:gd name="connsiteY9" fmla="*/ 90930 h 310736"/>
                <a:gd name="connsiteX10" fmla="*/ 66343 w 309600"/>
                <a:gd name="connsiteY10" fmla="*/ 62212 h 310736"/>
                <a:gd name="connsiteX11" fmla="*/ 102434 w 309600"/>
                <a:gd name="connsiteY11" fmla="*/ 62212 h 310736"/>
                <a:gd name="connsiteX0" fmla="*/ 102434 w 309600"/>
                <a:gd name="connsiteY0" fmla="*/ 0 h 310736"/>
                <a:gd name="connsiteX1" fmla="*/ 207166 w 309600"/>
                <a:gd name="connsiteY1" fmla="*/ 0 h 310736"/>
                <a:gd name="connsiteX2" fmla="*/ 207166 w 309600"/>
                <a:gd name="connsiteY2" fmla="*/ 62212 h 310736"/>
                <a:gd name="connsiteX3" fmla="*/ 243258 w 309600"/>
                <a:gd name="connsiteY3" fmla="*/ 90930 h 310736"/>
                <a:gd name="connsiteX4" fmla="*/ 309600 w 309600"/>
                <a:gd name="connsiteY4" fmla="*/ 90930 h 310736"/>
                <a:gd name="connsiteX5" fmla="*/ 309600 w 309600"/>
                <a:gd name="connsiteY5" fmla="*/ 310736 h 310736"/>
                <a:gd name="connsiteX6" fmla="*/ 0 w 309600"/>
                <a:gd name="connsiteY6" fmla="*/ 310736 h 310736"/>
                <a:gd name="connsiteX7" fmla="*/ 0 w 309600"/>
                <a:gd name="connsiteY7" fmla="*/ 90930 h 310736"/>
                <a:gd name="connsiteX8" fmla="*/ 66343 w 309600"/>
                <a:gd name="connsiteY8" fmla="*/ 90930 h 310736"/>
                <a:gd name="connsiteX9" fmla="*/ 66343 w 309600"/>
                <a:gd name="connsiteY9" fmla="*/ 62212 h 310736"/>
                <a:gd name="connsiteX10" fmla="*/ 102434 w 309600"/>
                <a:gd name="connsiteY10" fmla="*/ 62212 h 310736"/>
                <a:gd name="connsiteX11" fmla="*/ 102434 w 309600"/>
                <a:gd name="connsiteY11" fmla="*/ 0 h 310736"/>
                <a:gd name="connsiteX0" fmla="*/ 102434 w 309600"/>
                <a:gd name="connsiteY0" fmla="*/ 0 h 310736"/>
                <a:gd name="connsiteX1" fmla="*/ 207166 w 309600"/>
                <a:gd name="connsiteY1" fmla="*/ 0 h 310736"/>
                <a:gd name="connsiteX2" fmla="*/ 207166 w 309600"/>
                <a:gd name="connsiteY2" fmla="*/ 62212 h 310736"/>
                <a:gd name="connsiteX3" fmla="*/ 309600 w 309600"/>
                <a:gd name="connsiteY3" fmla="*/ 90930 h 310736"/>
                <a:gd name="connsiteX4" fmla="*/ 309600 w 309600"/>
                <a:gd name="connsiteY4" fmla="*/ 310736 h 310736"/>
                <a:gd name="connsiteX5" fmla="*/ 0 w 309600"/>
                <a:gd name="connsiteY5" fmla="*/ 310736 h 310736"/>
                <a:gd name="connsiteX6" fmla="*/ 0 w 309600"/>
                <a:gd name="connsiteY6" fmla="*/ 90930 h 310736"/>
                <a:gd name="connsiteX7" fmla="*/ 66343 w 309600"/>
                <a:gd name="connsiteY7" fmla="*/ 90930 h 310736"/>
                <a:gd name="connsiteX8" fmla="*/ 66343 w 309600"/>
                <a:gd name="connsiteY8" fmla="*/ 62212 h 310736"/>
                <a:gd name="connsiteX9" fmla="*/ 102434 w 309600"/>
                <a:gd name="connsiteY9" fmla="*/ 62212 h 310736"/>
                <a:gd name="connsiteX10" fmla="*/ 102434 w 309600"/>
                <a:gd name="connsiteY10" fmla="*/ 0 h 310736"/>
                <a:gd name="connsiteX0" fmla="*/ 102434 w 309600"/>
                <a:gd name="connsiteY0" fmla="*/ 0 h 310736"/>
                <a:gd name="connsiteX1" fmla="*/ 207166 w 309600"/>
                <a:gd name="connsiteY1" fmla="*/ 0 h 310736"/>
                <a:gd name="connsiteX2" fmla="*/ 207166 w 309600"/>
                <a:gd name="connsiteY2" fmla="*/ 62212 h 310736"/>
                <a:gd name="connsiteX3" fmla="*/ 309600 w 309600"/>
                <a:gd name="connsiteY3" fmla="*/ 90930 h 310736"/>
                <a:gd name="connsiteX4" fmla="*/ 309600 w 309600"/>
                <a:gd name="connsiteY4" fmla="*/ 310736 h 310736"/>
                <a:gd name="connsiteX5" fmla="*/ 0 w 309600"/>
                <a:gd name="connsiteY5" fmla="*/ 310736 h 310736"/>
                <a:gd name="connsiteX6" fmla="*/ 0 w 309600"/>
                <a:gd name="connsiteY6" fmla="*/ 90930 h 310736"/>
                <a:gd name="connsiteX7" fmla="*/ 66343 w 309600"/>
                <a:gd name="connsiteY7" fmla="*/ 62212 h 310736"/>
                <a:gd name="connsiteX8" fmla="*/ 102434 w 309600"/>
                <a:gd name="connsiteY8" fmla="*/ 62212 h 310736"/>
                <a:gd name="connsiteX9" fmla="*/ 102434 w 309600"/>
                <a:gd name="connsiteY9" fmla="*/ 0 h 310736"/>
                <a:gd name="connsiteX0" fmla="*/ 102434 w 309600"/>
                <a:gd name="connsiteY0" fmla="*/ 0 h 310736"/>
                <a:gd name="connsiteX1" fmla="*/ 207166 w 309600"/>
                <a:gd name="connsiteY1" fmla="*/ 0 h 310736"/>
                <a:gd name="connsiteX2" fmla="*/ 207166 w 309600"/>
                <a:gd name="connsiteY2" fmla="*/ 62212 h 310736"/>
                <a:gd name="connsiteX3" fmla="*/ 309600 w 309600"/>
                <a:gd name="connsiteY3" fmla="*/ 90930 h 310736"/>
                <a:gd name="connsiteX4" fmla="*/ 309600 w 309600"/>
                <a:gd name="connsiteY4" fmla="*/ 310736 h 310736"/>
                <a:gd name="connsiteX5" fmla="*/ 0 w 309600"/>
                <a:gd name="connsiteY5" fmla="*/ 310736 h 310736"/>
                <a:gd name="connsiteX6" fmla="*/ 0 w 309600"/>
                <a:gd name="connsiteY6" fmla="*/ 90930 h 310736"/>
                <a:gd name="connsiteX7" fmla="*/ 102434 w 309600"/>
                <a:gd name="connsiteY7" fmla="*/ 62212 h 310736"/>
                <a:gd name="connsiteX8" fmla="*/ 102434 w 309600"/>
                <a:gd name="connsiteY8" fmla="*/ 0 h 310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600" h="310736">
                  <a:moveTo>
                    <a:pt x="102434" y="0"/>
                  </a:moveTo>
                  <a:lnTo>
                    <a:pt x="207166" y="0"/>
                  </a:lnTo>
                  <a:lnTo>
                    <a:pt x="207166" y="62212"/>
                  </a:lnTo>
                  <a:lnTo>
                    <a:pt x="309600" y="90930"/>
                  </a:lnTo>
                  <a:lnTo>
                    <a:pt x="309600" y="310736"/>
                  </a:lnTo>
                  <a:lnTo>
                    <a:pt x="0" y="310736"/>
                  </a:lnTo>
                  <a:lnTo>
                    <a:pt x="0" y="90930"/>
                  </a:lnTo>
                  <a:lnTo>
                    <a:pt x="102434" y="62212"/>
                  </a:lnTo>
                  <a:lnTo>
                    <a:pt x="102434" y="0"/>
                  </a:lnTo>
                  <a:close/>
                </a:path>
              </a:pathLst>
            </a:cu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164" name="Freeform: Shape 163">
              <a:extLst>
                <a:ext uri="{FF2B5EF4-FFF2-40B4-BE49-F238E27FC236}">
                  <a16:creationId xmlns:a16="http://schemas.microsoft.com/office/drawing/2014/main" id="{92074B9B-A491-464A-BC88-29B4DB5C9A3F}"/>
                </a:ext>
              </a:extLst>
            </p:cNvPr>
            <p:cNvSpPr/>
            <p:nvPr/>
          </p:nvSpPr>
          <p:spPr bwMode="gray">
            <a:xfrm>
              <a:off x="5044761" y="4751098"/>
              <a:ext cx="225279" cy="135778"/>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grpSp>
      <p:grpSp>
        <p:nvGrpSpPr>
          <p:cNvPr id="166" name="Group 165">
            <a:extLst>
              <a:ext uri="{FF2B5EF4-FFF2-40B4-BE49-F238E27FC236}">
                <a16:creationId xmlns:a16="http://schemas.microsoft.com/office/drawing/2014/main" id="{B51A6E9E-BFC9-4D32-B6BD-723209FA07F6}"/>
              </a:ext>
            </a:extLst>
          </p:cNvPr>
          <p:cNvGrpSpPr>
            <a:grpSpLocks noChangeAspect="1"/>
          </p:cNvGrpSpPr>
          <p:nvPr/>
        </p:nvGrpSpPr>
        <p:grpSpPr bwMode="gray">
          <a:xfrm>
            <a:off x="362255" y="3954797"/>
            <a:ext cx="174551" cy="558460"/>
            <a:chOff x="4043941" y="2189509"/>
            <a:chExt cx="152710" cy="488583"/>
          </a:xfrm>
        </p:grpSpPr>
        <p:sp>
          <p:nvSpPr>
            <p:cNvPr id="167" name="Rectangle: Rounded Corners 49">
              <a:extLst>
                <a:ext uri="{FF2B5EF4-FFF2-40B4-BE49-F238E27FC236}">
                  <a16:creationId xmlns:a16="http://schemas.microsoft.com/office/drawing/2014/main" id="{98FD51DC-B619-4A76-8818-21069C35AE79}"/>
                </a:ext>
              </a:extLst>
            </p:cNvPr>
            <p:cNvSpPr/>
            <p:nvPr/>
          </p:nvSpPr>
          <p:spPr bwMode="gray">
            <a:xfrm>
              <a:off x="4043941" y="2300556"/>
              <a:ext cx="144617" cy="329961"/>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lt1"/>
                </a:solidFill>
              </a:endParaRPr>
            </a:p>
          </p:txBody>
        </p:sp>
        <p:sp>
          <p:nvSpPr>
            <p:cNvPr id="168" name="Freeform: Shape 167">
              <a:extLst>
                <a:ext uri="{FF2B5EF4-FFF2-40B4-BE49-F238E27FC236}">
                  <a16:creationId xmlns:a16="http://schemas.microsoft.com/office/drawing/2014/main" id="{7E4F6F2C-663C-4D63-985C-22C7518E22AA}"/>
                </a:ext>
              </a:extLst>
            </p:cNvPr>
            <p:cNvSpPr/>
            <p:nvPr/>
          </p:nvSpPr>
          <p:spPr bwMode="gray">
            <a:xfrm>
              <a:off x="4088889" y="2221228"/>
              <a:ext cx="54722" cy="81912"/>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lt1"/>
                </a:solidFill>
              </a:endParaRPr>
            </a:p>
          </p:txBody>
        </p:sp>
        <p:cxnSp>
          <p:nvCxnSpPr>
            <p:cNvPr id="169" name="Straight Connector 168">
              <a:extLst>
                <a:ext uri="{FF2B5EF4-FFF2-40B4-BE49-F238E27FC236}">
                  <a16:creationId xmlns:a16="http://schemas.microsoft.com/office/drawing/2014/main" id="{AF3B7BE9-C094-4BF7-86C2-ECA4ABD833C2}"/>
                </a:ext>
              </a:extLst>
            </p:cNvPr>
            <p:cNvCxnSpPr>
              <a:cxnSpLocks/>
            </p:cNvCxnSpPr>
            <p:nvPr/>
          </p:nvCxnSpPr>
          <p:spPr bwMode="gray">
            <a:xfrm>
              <a:off x="4145456" y="2262855"/>
              <a:ext cx="51195" cy="0"/>
            </a:xfrm>
            <a:prstGeom prst="line">
              <a:avLst/>
            </a:pr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cxnSp>
        <p:sp>
          <p:nvSpPr>
            <p:cNvPr id="170" name="Rectangle: Rounded Corners 49">
              <a:extLst>
                <a:ext uri="{FF2B5EF4-FFF2-40B4-BE49-F238E27FC236}">
                  <a16:creationId xmlns:a16="http://schemas.microsoft.com/office/drawing/2014/main" id="{36D50A61-37A0-4146-A8ED-578132E33A32}"/>
                </a:ext>
              </a:extLst>
            </p:cNvPr>
            <p:cNvSpPr/>
            <p:nvPr/>
          </p:nvSpPr>
          <p:spPr bwMode="gray">
            <a:xfrm>
              <a:off x="4043941" y="2630516"/>
              <a:ext cx="144617" cy="47576"/>
            </a:xfrm>
            <a:prstGeom prst="rect">
              <a:avLst/>
            </a:pr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lt1"/>
                </a:solidFill>
              </a:endParaRPr>
            </a:p>
          </p:txBody>
        </p:sp>
        <p:cxnSp>
          <p:nvCxnSpPr>
            <p:cNvPr id="171" name="Straight Connector 170">
              <a:extLst>
                <a:ext uri="{FF2B5EF4-FFF2-40B4-BE49-F238E27FC236}">
                  <a16:creationId xmlns:a16="http://schemas.microsoft.com/office/drawing/2014/main" id="{CFCB42AD-9733-44DA-9A80-985924A34392}"/>
                </a:ext>
              </a:extLst>
            </p:cNvPr>
            <p:cNvCxnSpPr>
              <a:cxnSpLocks/>
            </p:cNvCxnSpPr>
            <p:nvPr/>
          </p:nvCxnSpPr>
          <p:spPr bwMode="gray">
            <a:xfrm>
              <a:off x="4088889" y="2189509"/>
              <a:ext cx="54722" cy="0"/>
            </a:xfrm>
            <a:prstGeom prst="line">
              <a:avLst/>
            </a:pr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cxnSp>
        <p:cxnSp>
          <p:nvCxnSpPr>
            <p:cNvPr id="172" name="Straight Connector 171">
              <a:extLst>
                <a:ext uri="{FF2B5EF4-FFF2-40B4-BE49-F238E27FC236}">
                  <a16:creationId xmlns:a16="http://schemas.microsoft.com/office/drawing/2014/main" id="{4C52D7CA-CB3A-482F-98EE-82531B6D8F8A}"/>
                </a:ext>
              </a:extLst>
            </p:cNvPr>
            <p:cNvCxnSpPr>
              <a:cxnSpLocks/>
            </p:cNvCxnSpPr>
            <p:nvPr/>
          </p:nvCxnSpPr>
          <p:spPr bwMode="gray">
            <a:xfrm>
              <a:off x="4116249" y="2191180"/>
              <a:ext cx="0" cy="25200"/>
            </a:xfrm>
            <a:prstGeom prst="line">
              <a:avLst/>
            </a:pr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cxnSp>
        <p:grpSp>
          <p:nvGrpSpPr>
            <p:cNvPr id="173" name="Group 172">
              <a:extLst>
                <a:ext uri="{FF2B5EF4-FFF2-40B4-BE49-F238E27FC236}">
                  <a16:creationId xmlns:a16="http://schemas.microsoft.com/office/drawing/2014/main" id="{1DB16A72-2538-4075-9D0A-8908EFD326A9}"/>
                </a:ext>
              </a:extLst>
            </p:cNvPr>
            <p:cNvGrpSpPr/>
            <p:nvPr/>
          </p:nvGrpSpPr>
          <p:grpSpPr bwMode="gray">
            <a:xfrm>
              <a:off x="4075492" y="2418278"/>
              <a:ext cx="45719" cy="94518"/>
              <a:chOff x="4071570" y="2418278"/>
              <a:chExt cx="54722" cy="94518"/>
            </a:xfrm>
          </p:grpSpPr>
          <p:cxnSp>
            <p:nvCxnSpPr>
              <p:cNvPr id="175" name="Straight Connector 174">
                <a:extLst>
                  <a:ext uri="{FF2B5EF4-FFF2-40B4-BE49-F238E27FC236}">
                    <a16:creationId xmlns:a16="http://schemas.microsoft.com/office/drawing/2014/main" id="{98DF752F-12BF-4BA6-8499-2FE462E2C32B}"/>
                  </a:ext>
                </a:extLst>
              </p:cNvPr>
              <p:cNvCxnSpPr>
                <a:cxnSpLocks/>
              </p:cNvCxnSpPr>
              <p:nvPr/>
            </p:nvCxnSpPr>
            <p:spPr bwMode="gray">
              <a:xfrm rot="5400000">
                <a:off x="4024311" y="2465537"/>
                <a:ext cx="94518" cy="0"/>
              </a:xfrm>
              <a:prstGeom prst="line">
                <a:avLst/>
              </a:pr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cxnSp>
          <p:cxnSp>
            <p:nvCxnSpPr>
              <p:cNvPr id="176" name="Straight Connector 175">
                <a:extLst>
                  <a:ext uri="{FF2B5EF4-FFF2-40B4-BE49-F238E27FC236}">
                    <a16:creationId xmlns:a16="http://schemas.microsoft.com/office/drawing/2014/main" id="{533FEBCA-3422-4535-B7B0-38B4628CF961}"/>
                  </a:ext>
                </a:extLst>
              </p:cNvPr>
              <p:cNvCxnSpPr>
                <a:cxnSpLocks/>
              </p:cNvCxnSpPr>
              <p:nvPr/>
            </p:nvCxnSpPr>
            <p:spPr bwMode="gray">
              <a:xfrm rot="5400000">
                <a:off x="4079033" y="2465537"/>
                <a:ext cx="94518" cy="0"/>
              </a:xfrm>
              <a:prstGeom prst="line">
                <a:avLst/>
              </a:pr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a:extLst>
                  <a:ext uri="{FF2B5EF4-FFF2-40B4-BE49-F238E27FC236}">
                    <a16:creationId xmlns:a16="http://schemas.microsoft.com/office/drawing/2014/main" id="{732227D3-B661-4869-AEE4-8D42A91AD4BA}"/>
                  </a:ext>
                </a:extLst>
              </p:cNvPr>
              <p:cNvCxnSpPr/>
              <p:nvPr/>
            </p:nvCxnSpPr>
            <p:spPr bwMode="gray">
              <a:xfrm>
                <a:off x="4073332" y="2465537"/>
                <a:ext cx="51195" cy="0"/>
              </a:xfrm>
              <a:prstGeom prst="line">
                <a:avLst/>
              </a:pr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cxnSp>
        </p:grpSp>
        <p:sp>
          <p:nvSpPr>
            <p:cNvPr id="174" name="Freeform: Shape 173">
              <a:extLst>
                <a:ext uri="{FF2B5EF4-FFF2-40B4-BE49-F238E27FC236}">
                  <a16:creationId xmlns:a16="http://schemas.microsoft.com/office/drawing/2014/main" id="{2C3BC3CB-DAED-416D-BEE2-71D744A99600}"/>
                </a:ext>
              </a:extLst>
            </p:cNvPr>
            <p:cNvSpPr/>
            <p:nvPr/>
          </p:nvSpPr>
          <p:spPr bwMode="gray">
            <a:xfrm>
              <a:off x="4142967" y="2509672"/>
              <a:ext cx="19819" cy="31404"/>
            </a:xfrm>
            <a:custGeom>
              <a:avLst/>
              <a:gdLst>
                <a:gd name="connsiteX0" fmla="*/ 0 w 89535"/>
                <a:gd name="connsiteY0" fmla="*/ 0 h 68580"/>
                <a:gd name="connsiteX1" fmla="*/ 89535 w 89535"/>
                <a:gd name="connsiteY1" fmla="*/ 68580 h 68580"/>
                <a:gd name="connsiteX0" fmla="*/ 0 w 138637"/>
                <a:gd name="connsiteY0" fmla="*/ 0 h 362909"/>
                <a:gd name="connsiteX1" fmla="*/ 138637 w 138637"/>
                <a:gd name="connsiteY1" fmla="*/ 362909 h 362909"/>
                <a:gd name="connsiteX0" fmla="*/ 0 w 138637"/>
                <a:gd name="connsiteY0" fmla="*/ 0 h 362909"/>
                <a:gd name="connsiteX1" fmla="*/ 67051 w 138637"/>
                <a:gd name="connsiteY1" fmla="*/ 173432 h 362909"/>
                <a:gd name="connsiteX2" fmla="*/ 138637 w 138637"/>
                <a:gd name="connsiteY2" fmla="*/ 362909 h 362909"/>
                <a:gd name="connsiteX0" fmla="*/ 0 w 138637"/>
                <a:gd name="connsiteY0" fmla="*/ 0 h 362909"/>
                <a:gd name="connsiteX1" fmla="*/ 136101 w 138637"/>
                <a:gd name="connsiteY1" fmla="*/ 30554 h 362909"/>
                <a:gd name="connsiteX2" fmla="*/ 138637 w 138637"/>
                <a:gd name="connsiteY2" fmla="*/ 362909 h 362909"/>
                <a:gd name="connsiteX0" fmla="*/ 0 w 138637"/>
                <a:gd name="connsiteY0" fmla="*/ 0 h 362909"/>
                <a:gd name="connsiteX1" fmla="*/ 136101 w 138637"/>
                <a:gd name="connsiteY1" fmla="*/ 30554 h 362909"/>
                <a:gd name="connsiteX2" fmla="*/ 138637 w 138637"/>
                <a:gd name="connsiteY2" fmla="*/ 362909 h 362909"/>
                <a:gd name="connsiteX0" fmla="*/ 0 w 140705"/>
                <a:gd name="connsiteY0" fmla="*/ 0 h 362909"/>
                <a:gd name="connsiteX1" fmla="*/ 140705 w 140705"/>
                <a:gd name="connsiteY1" fmla="*/ 36269 h 362909"/>
                <a:gd name="connsiteX2" fmla="*/ 138637 w 140705"/>
                <a:gd name="connsiteY2" fmla="*/ 362909 h 362909"/>
                <a:gd name="connsiteX0" fmla="*/ 0 w 140705"/>
                <a:gd name="connsiteY0" fmla="*/ 0 h 362909"/>
                <a:gd name="connsiteX1" fmla="*/ 140705 w 140705"/>
                <a:gd name="connsiteY1" fmla="*/ 36269 h 362909"/>
                <a:gd name="connsiteX2" fmla="*/ 138637 w 140705"/>
                <a:gd name="connsiteY2" fmla="*/ 362909 h 362909"/>
                <a:gd name="connsiteX0" fmla="*/ 0 w 160782"/>
                <a:gd name="connsiteY0" fmla="*/ 0 h 362909"/>
                <a:gd name="connsiteX1" fmla="*/ 140705 w 160782"/>
                <a:gd name="connsiteY1" fmla="*/ 36269 h 362909"/>
                <a:gd name="connsiteX2" fmla="*/ 138637 w 160782"/>
                <a:gd name="connsiteY2" fmla="*/ 362909 h 362909"/>
                <a:gd name="connsiteX0" fmla="*/ 0 w 160782"/>
                <a:gd name="connsiteY0" fmla="*/ 22407 h 385316"/>
                <a:gd name="connsiteX1" fmla="*/ 140705 w 160782"/>
                <a:gd name="connsiteY1" fmla="*/ 58676 h 385316"/>
                <a:gd name="connsiteX2" fmla="*/ 138637 w 160782"/>
                <a:gd name="connsiteY2" fmla="*/ 385316 h 385316"/>
                <a:gd name="connsiteX0" fmla="*/ 0 w 160782"/>
                <a:gd name="connsiteY0" fmla="*/ 52045 h 414954"/>
                <a:gd name="connsiteX1" fmla="*/ 140705 w 160782"/>
                <a:gd name="connsiteY1" fmla="*/ 88314 h 414954"/>
                <a:gd name="connsiteX2" fmla="*/ 138637 w 160782"/>
                <a:gd name="connsiteY2" fmla="*/ 414954 h 414954"/>
                <a:gd name="connsiteX0" fmla="*/ 0 w 160782"/>
                <a:gd name="connsiteY0" fmla="*/ 57888 h 420797"/>
                <a:gd name="connsiteX1" fmla="*/ 140705 w 160782"/>
                <a:gd name="connsiteY1" fmla="*/ 94157 h 420797"/>
                <a:gd name="connsiteX2" fmla="*/ 138637 w 160782"/>
                <a:gd name="connsiteY2" fmla="*/ 420797 h 420797"/>
                <a:gd name="connsiteX0" fmla="*/ 0 w 158143"/>
                <a:gd name="connsiteY0" fmla="*/ 55588 h 418497"/>
                <a:gd name="connsiteX1" fmla="*/ 137636 w 158143"/>
                <a:gd name="connsiteY1" fmla="*/ 97572 h 418497"/>
                <a:gd name="connsiteX2" fmla="*/ 138637 w 158143"/>
                <a:gd name="connsiteY2" fmla="*/ 418497 h 418497"/>
                <a:gd name="connsiteX0" fmla="*/ 0 w 138637"/>
                <a:gd name="connsiteY0" fmla="*/ 55588 h 418497"/>
                <a:gd name="connsiteX1" fmla="*/ 137636 w 138637"/>
                <a:gd name="connsiteY1" fmla="*/ 97572 h 418497"/>
                <a:gd name="connsiteX2" fmla="*/ 138637 w 138637"/>
                <a:gd name="connsiteY2" fmla="*/ 418497 h 418497"/>
                <a:gd name="connsiteX0" fmla="*/ 4055 w 141691"/>
                <a:gd name="connsiteY0" fmla="*/ 55588 h 415639"/>
                <a:gd name="connsiteX1" fmla="*/ 141691 w 141691"/>
                <a:gd name="connsiteY1" fmla="*/ 97572 h 415639"/>
                <a:gd name="connsiteX2" fmla="*/ 7662 w 141691"/>
                <a:gd name="connsiteY2" fmla="*/ 415639 h 415639"/>
                <a:gd name="connsiteX0" fmla="*/ 0 w 137636"/>
                <a:gd name="connsiteY0" fmla="*/ 55588 h 415639"/>
                <a:gd name="connsiteX1" fmla="*/ 137636 w 137636"/>
                <a:gd name="connsiteY1" fmla="*/ 97572 h 415639"/>
                <a:gd name="connsiteX2" fmla="*/ 3607 w 137636"/>
                <a:gd name="connsiteY2" fmla="*/ 415639 h 415639"/>
                <a:gd name="connsiteX0" fmla="*/ 0 w 137636"/>
                <a:gd name="connsiteY0" fmla="*/ 52352 h 412403"/>
                <a:gd name="connsiteX1" fmla="*/ 137636 w 137636"/>
                <a:gd name="connsiteY1" fmla="*/ 102909 h 412403"/>
                <a:gd name="connsiteX2" fmla="*/ 3607 w 137636"/>
                <a:gd name="connsiteY2" fmla="*/ 412403 h 412403"/>
                <a:gd name="connsiteX0" fmla="*/ 0 w 134567"/>
                <a:gd name="connsiteY0" fmla="*/ 52352 h 412403"/>
                <a:gd name="connsiteX1" fmla="*/ 134567 w 134567"/>
                <a:gd name="connsiteY1" fmla="*/ 102909 h 412403"/>
                <a:gd name="connsiteX2" fmla="*/ 3607 w 134567"/>
                <a:gd name="connsiteY2" fmla="*/ 412403 h 412403"/>
                <a:gd name="connsiteX0" fmla="*/ 5680 w 140250"/>
                <a:gd name="connsiteY0" fmla="*/ 52352 h 415190"/>
                <a:gd name="connsiteX1" fmla="*/ 140247 w 140250"/>
                <a:gd name="connsiteY1" fmla="*/ 102909 h 415190"/>
                <a:gd name="connsiteX2" fmla="*/ 9820 w 140250"/>
                <a:gd name="connsiteY2" fmla="*/ 382950 h 415190"/>
                <a:gd name="connsiteX3" fmla="*/ 9287 w 140250"/>
                <a:gd name="connsiteY3" fmla="*/ 412403 h 415190"/>
                <a:gd name="connsiteX0" fmla="*/ 0 w 140171"/>
                <a:gd name="connsiteY0" fmla="*/ 52352 h 416750"/>
                <a:gd name="connsiteX1" fmla="*/ 134567 w 140171"/>
                <a:gd name="connsiteY1" fmla="*/ 102909 h 416750"/>
                <a:gd name="connsiteX2" fmla="*/ 4140 w 140171"/>
                <a:gd name="connsiteY2" fmla="*/ 382950 h 416750"/>
                <a:gd name="connsiteX3" fmla="*/ 140171 w 140171"/>
                <a:gd name="connsiteY3" fmla="*/ 415261 h 416750"/>
                <a:gd name="connsiteX0" fmla="*/ 0 w 134570"/>
                <a:gd name="connsiteY0" fmla="*/ 52352 h 566711"/>
                <a:gd name="connsiteX1" fmla="*/ 134567 w 134570"/>
                <a:gd name="connsiteY1" fmla="*/ 102909 h 566711"/>
                <a:gd name="connsiteX2" fmla="*/ 4140 w 134570"/>
                <a:gd name="connsiteY2" fmla="*/ 382950 h 566711"/>
                <a:gd name="connsiteX3" fmla="*/ 68053 w 134570"/>
                <a:gd name="connsiteY3" fmla="*/ 566711 h 566711"/>
                <a:gd name="connsiteX0" fmla="*/ 746 w 135316"/>
                <a:gd name="connsiteY0" fmla="*/ 52352 h 566711"/>
                <a:gd name="connsiteX1" fmla="*/ 135313 w 135316"/>
                <a:gd name="connsiteY1" fmla="*/ 102909 h 566711"/>
                <a:gd name="connsiteX2" fmla="*/ 4886 w 135316"/>
                <a:gd name="connsiteY2" fmla="*/ 382950 h 566711"/>
                <a:gd name="connsiteX3" fmla="*/ 68799 w 135316"/>
                <a:gd name="connsiteY3" fmla="*/ 566711 h 566711"/>
                <a:gd name="connsiteX0" fmla="*/ 0 w 144776"/>
                <a:gd name="connsiteY0" fmla="*/ 52352 h 420976"/>
                <a:gd name="connsiteX1" fmla="*/ 134567 w 144776"/>
                <a:gd name="connsiteY1" fmla="*/ 102909 h 420976"/>
                <a:gd name="connsiteX2" fmla="*/ 4140 w 144776"/>
                <a:gd name="connsiteY2" fmla="*/ 382950 h 420976"/>
                <a:gd name="connsiteX3" fmla="*/ 144775 w 144776"/>
                <a:gd name="connsiteY3" fmla="*/ 420976 h 420976"/>
                <a:gd name="connsiteX0" fmla="*/ 0 w 144775"/>
                <a:gd name="connsiteY0" fmla="*/ 52352 h 421674"/>
                <a:gd name="connsiteX1" fmla="*/ 134567 w 144775"/>
                <a:gd name="connsiteY1" fmla="*/ 102909 h 421674"/>
                <a:gd name="connsiteX2" fmla="*/ 4140 w 144775"/>
                <a:gd name="connsiteY2" fmla="*/ 382950 h 421674"/>
                <a:gd name="connsiteX3" fmla="*/ 144775 w 144775"/>
                <a:gd name="connsiteY3" fmla="*/ 420976 h 421674"/>
                <a:gd name="connsiteX0" fmla="*/ 0 w 140172"/>
                <a:gd name="connsiteY0" fmla="*/ 52352 h 417927"/>
                <a:gd name="connsiteX1" fmla="*/ 134567 w 140172"/>
                <a:gd name="connsiteY1" fmla="*/ 102909 h 417927"/>
                <a:gd name="connsiteX2" fmla="*/ 4140 w 140172"/>
                <a:gd name="connsiteY2" fmla="*/ 382950 h 417927"/>
                <a:gd name="connsiteX3" fmla="*/ 140172 w 140172"/>
                <a:gd name="connsiteY3" fmla="*/ 415261 h 417927"/>
                <a:gd name="connsiteX0" fmla="*/ 1216 w 141388"/>
                <a:gd name="connsiteY0" fmla="*/ 52352 h 430929"/>
                <a:gd name="connsiteX1" fmla="*/ 135783 w 141388"/>
                <a:gd name="connsiteY1" fmla="*/ 102909 h 430929"/>
                <a:gd name="connsiteX2" fmla="*/ 3822 w 141388"/>
                <a:gd name="connsiteY2" fmla="*/ 405811 h 430929"/>
                <a:gd name="connsiteX3" fmla="*/ 141388 w 141388"/>
                <a:gd name="connsiteY3" fmla="*/ 415261 h 430929"/>
                <a:gd name="connsiteX0" fmla="*/ 0 w 140172"/>
                <a:gd name="connsiteY0" fmla="*/ 52352 h 415261"/>
                <a:gd name="connsiteX1" fmla="*/ 134567 w 140172"/>
                <a:gd name="connsiteY1" fmla="*/ 102909 h 415261"/>
                <a:gd name="connsiteX2" fmla="*/ 2606 w 140172"/>
                <a:gd name="connsiteY2" fmla="*/ 405811 h 415261"/>
                <a:gd name="connsiteX3" fmla="*/ 140172 w 140172"/>
                <a:gd name="connsiteY3" fmla="*/ 415261 h 415261"/>
                <a:gd name="connsiteX0" fmla="*/ 463 w 140635"/>
                <a:gd name="connsiteY0" fmla="*/ 52352 h 415512"/>
                <a:gd name="connsiteX1" fmla="*/ 135030 w 140635"/>
                <a:gd name="connsiteY1" fmla="*/ 102909 h 415512"/>
                <a:gd name="connsiteX2" fmla="*/ 0 w 140635"/>
                <a:gd name="connsiteY2" fmla="*/ 414383 h 415512"/>
                <a:gd name="connsiteX3" fmla="*/ 140635 w 140635"/>
                <a:gd name="connsiteY3" fmla="*/ 415261 h 415512"/>
                <a:gd name="connsiteX0" fmla="*/ 463 w 140635"/>
                <a:gd name="connsiteY0" fmla="*/ 52352 h 415261"/>
                <a:gd name="connsiteX1" fmla="*/ 135030 w 140635"/>
                <a:gd name="connsiteY1" fmla="*/ 102909 h 415261"/>
                <a:gd name="connsiteX2" fmla="*/ 0 w 140635"/>
                <a:gd name="connsiteY2" fmla="*/ 408667 h 415261"/>
                <a:gd name="connsiteX3" fmla="*/ 140635 w 140635"/>
                <a:gd name="connsiteY3" fmla="*/ 415261 h 415261"/>
                <a:gd name="connsiteX0" fmla="*/ 463 w 140635"/>
                <a:gd name="connsiteY0" fmla="*/ 52352 h 415510"/>
                <a:gd name="connsiteX1" fmla="*/ 135030 w 140635"/>
                <a:gd name="connsiteY1" fmla="*/ 102909 h 415510"/>
                <a:gd name="connsiteX2" fmla="*/ 0 w 140635"/>
                <a:gd name="connsiteY2" fmla="*/ 414382 h 415510"/>
                <a:gd name="connsiteX3" fmla="*/ 140635 w 140635"/>
                <a:gd name="connsiteY3" fmla="*/ 415261 h 415510"/>
                <a:gd name="connsiteX0" fmla="*/ 463 w 140635"/>
                <a:gd name="connsiteY0" fmla="*/ 52352 h 415510"/>
                <a:gd name="connsiteX1" fmla="*/ 135030 w 140635"/>
                <a:gd name="connsiteY1" fmla="*/ 102909 h 415510"/>
                <a:gd name="connsiteX2" fmla="*/ 0 w 140635"/>
                <a:gd name="connsiteY2" fmla="*/ 414382 h 415510"/>
                <a:gd name="connsiteX3" fmla="*/ 140635 w 140635"/>
                <a:gd name="connsiteY3" fmla="*/ 415261 h 415510"/>
                <a:gd name="connsiteX0" fmla="*/ 636 w 140808"/>
                <a:gd name="connsiteY0" fmla="*/ 52352 h 415510"/>
                <a:gd name="connsiteX1" fmla="*/ 135203 w 140808"/>
                <a:gd name="connsiteY1" fmla="*/ 102909 h 415510"/>
                <a:gd name="connsiteX2" fmla="*/ 173 w 140808"/>
                <a:gd name="connsiteY2" fmla="*/ 414382 h 415510"/>
                <a:gd name="connsiteX3" fmla="*/ 140808 w 140808"/>
                <a:gd name="connsiteY3" fmla="*/ 415261 h 415510"/>
                <a:gd name="connsiteX0" fmla="*/ 637 w 140809"/>
                <a:gd name="connsiteY0" fmla="*/ 52352 h 415510"/>
                <a:gd name="connsiteX1" fmla="*/ 135204 w 140809"/>
                <a:gd name="connsiteY1" fmla="*/ 102909 h 415510"/>
                <a:gd name="connsiteX2" fmla="*/ 174 w 140809"/>
                <a:gd name="connsiteY2" fmla="*/ 414382 h 415510"/>
                <a:gd name="connsiteX3" fmla="*/ 140809 w 140809"/>
                <a:gd name="connsiteY3" fmla="*/ 415261 h 415510"/>
                <a:gd name="connsiteX0" fmla="*/ 0 w 140172"/>
                <a:gd name="connsiteY0" fmla="*/ 52352 h 415510"/>
                <a:gd name="connsiteX1" fmla="*/ 134567 w 140172"/>
                <a:gd name="connsiteY1" fmla="*/ 102909 h 415510"/>
                <a:gd name="connsiteX2" fmla="*/ 1071 w 140172"/>
                <a:gd name="connsiteY2" fmla="*/ 414382 h 415510"/>
                <a:gd name="connsiteX3" fmla="*/ 140172 w 140172"/>
                <a:gd name="connsiteY3" fmla="*/ 415261 h 415510"/>
                <a:gd name="connsiteX0" fmla="*/ 0 w 141706"/>
                <a:gd name="connsiteY0" fmla="*/ 52352 h 415510"/>
                <a:gd name="connsiteX1" fmla="*/ 134567 w 141706"/>
                <a:gd name="connsiteY1" fmla="*/ 102909 h 415510"/>
                <a:gd name="connsiteX2" fmla="*/ 1071 w 141706"/>
                <a:gd name="connsiteY2" fmla="*/ 414382 h 415510"/>
                <a:gd name="connsiteX3" fmla="*/ 141706 w 141706"/>
                <a:gd name="connsiteY3" fmla="*/ 415261 h 415510"/>
                <a:gd name="connsiteX0" fmla="*/ 2175 w 140812"/>
                <a:gd name="connsiteY0" fmla="*/ 52353 h 415510"/>
                <a:gd name="connsiteX1" fmla="*/ 133673 w 140812"/>
                <a:gd name="connsiteY1" fmla="*/ 102909 h 415510"/>
                <a:gd name="connsiteX2" fmla="*/ 177 w 140812"/>
                <a:gd name="connsiteY2" fmla="*/ 414382 h 415510"/>
                <a:gd name="connsiteX3" fmla="*/ 140812 w 140812"/>
                <a:gd name="connsiteY3" fmla="*/ 415261 h 415510"/>
              </a:gdLst>
              <a:ahLst/>
              <a:cxnLst>
                <a:cxn ang="0">
                  <a:pos x="connsiteX0" y="connsiteY0"/>
                </a:cxn>
                <a:cxn ang="0">
                  <a:pos x="connsiteX1" y="connsiteY1"/>
                </a:cxn>
                <a:cxn ang="0">
                  <a:pos x="connsiteX2" y="connsiteY2"/>
                </a:cxn>
                <a:cxn ang="0">
                  <a:pos x="connsiteX3" y="connsiteY3"/>
                </a:cxn>
              </a:cxnLst>
              <a:rect l="l" t="t" r="r" b="b"/>
              <a:pathLst>
                <a:path w="140812" h="415510">
                  <a:moveTo>
                    <a:pt x="2175" y="52353"/>
                  </a:moveTo>
                  <a:cubicBezTo>
                    <a:pt x="36801" y="-34619"/>
                    <a:pt x="132804" y="-10148"/>
                    <a:pt x="133673" y="102909"/>
                  </a:cubicBezTo>
                  <a:cubicBezTo>
                    <a:pt x="132829" y="255166"/>
                    <a:pt x="-5616" y="171344"/>
                    <a:pt x="177" y="414382"/>
                  </a:cubicBezTo>
                  <a:cubicBezTo>
                    <a:pt x="50469" y="417385"/>
                    <a:pt x="56506" y="413209"/>
                    <a:pt x="140812" y="415261"/>
                  </a:cubicBezTo>
                </a:path>
              </a:pathLst>
            </a:custGeom>
            <a:grpFill/>
            <a:ln w="19050" cap="rnd">
              <a:solidFill>
                <a:schemeClr val="tx1"/>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lt1"/>
                </a:solidFill>
              </a:endParaRPr>
            </a:p>
          </p:txBody>
        </p:sp>
      </p:grpSp>
      <p:sp>
        <p:nvSpPr>
          <p:cNvPr id="180" name="Date Placeholder 179">
            <a:extLst>
              <a:ext uri="{FF2B5EF4-FFF2-40B4-BE49-F238E27FC236}">
                <a16:creationId xmlns:a16="http://schemas.microsoft.com/office/drawing/2014/main" id="{6812CA87-7679-40CC-9B50-C38C1463417B}"/>
              </a:ext>
            </a:extLst>
          </p:cNvPr>
          <p:cNvSpPr>
            <a:spLocks noGrp="1"/>
          </p:cNvSpPr>
          <p:nvPr>
            <p:ph type="dt" sz="half" idx="14"/>
          </p:nvPr>
        </p:nvSpPr>
        <p:spPr bwMode="gray"/>
        <p:txBody>
          <a:bodyPr/>
          <a:lstStyle/>
          <a:p>
            <a:fld id="{173C8D4B-B4F1-4AE8-8F77-02021F9561E8}" type="datetime4">
              <a:rPr lang="en-US" smtClean="0"/>
              <a:t>September 8, 2019</a:t>
            </a:fld>
            <a:endParaRPr lang="en-US" dirty="0"/>
          </a:p>
        </p:txBody>
      </p:sp>
      <p:sp>
        <p:nvSpPr>
          <p:cNvPr id="181" name="Footer Placeholder 180">
            <a:extLst>
              <a:ext uri="{FF2B5EF4-FFF2-40B4-BE49-F238E27FC236}">
                <a16:creationId xmlns:a16="http://schemas.microsoft.com/office/drawing/2014/main" id="{D506FADC-76AC-4201-AA8B-86C58C27CBE4}"/>
              </a:ext>
            </a:extLst>
          </p:cNvPr>
          <p:cNvSpPr>
            <a:spLocks noGrp="1"/>
          </p:cNvSpPr>
          <p:nvPr>
            <p:ph type="ftr" sz="quarter" idx="15"/>
          </p:nvPr>
        </p:nvSpPr>
        <p:spPr bwMode="gray"/>
        <p:txBody>
          <a:bodyPr/>
          <a:lstStyle/>
          <a:p>
            <a:pPr lvl="8"/>
            <a:endParaRPr lang="en-US" dirty="0"/>
          </a:p>
        </p:txBody>
      </p:sp>
      <p:sp>
        <p:nvSpPr>
          <p:cNvPr id="182" name="Slide Number Placeholder 181">
            <a:extLst>
              <a:ext uri="{FF2B5EF4-FFF2-40B4-BE49-F238E27FC236}">
                <a16:creationId xmlns:a16="http://schemas.microsoft.com/office/drawing/2014/main" id="{E9A3BDDE-9C68-4B35-BAEE-EE4872F2ABD0}"/>
              </a:ext>
            </a:extLst>
          </p:cNvPr>
          <p:cNvSpPr>
            <a:spLocks noGrp="1"/>
          </p:cNvSpPr>
          <p:nvPr>
            <p:ph type="sldNum" sz="quarter" idx="16"/>
          </p:nvPr>
        </p:nvSpPr>
        <p:spPr bwMode="gray"/>
        <p:txBody>
          <a:bodyPr/>
          <a:lstStyle/>
          <a:p>
            <a:r>
              <a:rPr lang="en-US"/>
              <a:t>Slide </a:t>
            </a:r>
            <a:fld id="{619F89D8-7AE3-494A-97F3-03D680869632}" type="slidenum">
              <a:rPr lang="en-US" smtClean="0"/>
              <a:pPr/>
              <a:t>59</a:t>
            </a:fld>
            <a:endParaRPr lang="en-US" dirty="0"/>
          </a:p>
        </p:txBody>
      </p:sp>
      <p:grpSp>
        <p:nvGrpSpPr>
          <p:cNvPr id="220" name="Group 219">
            <a:extLst>
              <a:ext uri="{FF2B5EF4-FFF2-40B4-BE49-F238E27FC236}">
                <a16:creationId xmlns:a16="http://schemas.microsoft.com/office/drawing/2014/main" id="{35AE30F2-8B8E-4877-AEDD-54FCFC50B616}"/>
              </a:ext>
            </a:extLst>
          </p:cNvPr>
          <p:cNvGrpSpPr/>
          <p:nvPr/>
        </p:nvGrpSpPr>
        <p:grpSpPr bwMode="gray">
          <a:xfrm>
            <a:off x="4326290" y="1933575"/>
            <a:ext cx="297992" cy="589851"/>
            <a:chOff x="6041020" y="3568066"/>
            <a:chExt cx="448153" cy="887083"/>
          </a:xfrm>
        </p:grpSpPr>
        <p:sp>
          <p:nvSpPr>
            <p:cNvPr id="183" name="Freeform: Shape 182">
              <a:extLst>
                <a:ext uri="{FF2B5EF4-FFF2-40B4-BE49-F238E27FC236}">
                  <a16:creationId xmlns:a16="http://schemas.microsoft.com/office/drawing/2014/main" id="{ABC9DACA-C278-4F68-B9C1-28643A378821}"/>
                </a:ext>
              </a:extLst>
            </p:cNvPr>
            <p:cNvSpPr/>
            <p:nvPr/>
          </p:nvSpPr>
          <p:spPr bwMode="gray">
            <a:xfrm rot="16200000">
              <a:off x="5941754" y="3725452"/>
              <a:ext cx="558458" cy="359925"/>
            </a:xfrm>
            <a:custGeom>
              <a:avLst/>
              <a:gdLst>
                <a:gd name="connsiteX0" fmla="*/ 1155851 w 1155851"/>
                <a:gd name="connsiteY0" fmla="*/ 320484 h 640968"/>
                <a:gd name="connsiteX1" fmla="*/ 1124592 w 1155851"/>
                <a:gd name="connsiteY1" fmla="*/ 515536 h 640968"/>
                <a:gd name="connsiteX2" fmla="*/ 1008053 w 1155851"/>
                <a:gd name="connsiteY2" fmla="*/ 639654 h 640968"/>
                <a:gd name="connsiteX3" fmla="*/ 572851 w 1155851"/>
                <a:gd name="connsiteY3" fmla="*/ 639654 h 640968"/>
                <a:gd name="connsiteX4" fmla="*/ 572851 w 1155851"/>
                <a:gd name="connsiteY4" fmla="*/ 640968 h 640968"/>
                <a:gd name="connsiteX5" fmla="*/ 114570 w 1155851"/>
                <a:gd name="connsiteY5" fmla="*/ 640968 h 640968"/>
                <a:gd name="connsiteX6" fmla="*/ 0 w 1155851"/>
                <a:gd name="connsiteY6" fmla="*/ 320484 h 640968"/>
                <a:gd name="connsiteX7" fmla="*/ 114570 w 1155851"/>
                <a:gd name="connsiteY7" fmla="*/ 0 h 640968"/>
                <a:gd name="connsiteX8" fmla="*/ 572851 w 1155851"/>
                <a:gd name="connsiteY8" fmla="*/ 0 h 640968"/>
                <a:gd name="connsiteX9" fmla="*/ 572851 w 1155851"/>
                <a:gd name="connsiteY9" fmla="*/ 1314 h 640968"/>
                <a:gd name="connsiteX10" fmla="*/ 1008053 w 1155851"/>
                <a:gd name="connsiteY10" fmla="*/ 1314 h 640968"/>
                <a:gd name="connsiteX11" fmla="*/ 1124592 w 1155851"/>
                <a:gd name="connsiteY11" fmla="*/ 125432 h 640968"/>
                <a:gd name="connsiteX12" fmla="*/ 1155851 w 1155851"/>
                <a:gd name="connsiteY12" fmla="*/ 320484 h 640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5851" h="640968">
                  <a:moveTo>
                    <a:pt x="1155851" y="320484"/>
                  </a:moveTo>
                  <a:cubicBezTo>
                    <a:pt x="1153556" y="387530"/>
                    <a:pt x="1151651" y="425630"/>
                    <a:pt x="1124592" y="515536"/>
                  </a:cubicBezTo>
                  <a:cubicBezTo>
                    <a:pt x="1105674" y="576351"/>
                    <a:pt x="1069530" y="635478"/>
                    <a:pt x="1008053" y="639654"/>
                  </a:cubicBezTo>
                  <a:lnTo>
                    <a:pt x="572851" y="639654"/>
                  </a:lnTo>
                  <a:lnTo>
                    <a:pt x="572851" y="640968"/>
                  </a:lnTo>
                  <a:lnTo>
                    <a:pt x="114570" y="640968"/>
                  </a:lnTo>
                  <a:lnTo>
                    <a:pt x="0" y="320484"/>
                  </a:lnTo>
                  <a:lnTo>
                    <a:pt x="114570" y="0"/>
                  </a:lnTo>
                  <a:lnTo>
                    <a:pt x="572851" y="0"/>
                  </a:lnTo>
                  <a:lnTo>
                    <a:pt x="572851" y="1314"/>
                  </a:lnTo>
                  <a:lnTo>
                    <a:pt x="1008053" y="1314"/>
                  </a:lnTo>
                  <a:cubicBezTo>
                    <a:pt x="1069530" y="5490"/>
                    <a:pt x="1105674" y="64617"/>
                    <a:pt x="1124592" y="125432"/>
                  </a:cubicBezTo>
                  <a:cubicBezTo>
                    <a:pt x="1151651" y="215338"/>
                    <a:pt x="1153556" y="253438"/>
                    <a:pt x="1155851" y="320484"/>
                  </a:cubicBezTo>
                  <a:close/>
                </a:path>
              </a:pathLst>
            </a:cu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sp>
          <p:nvSpPr>
            <p:cNvPr id="184" name="Flowchart: Off-page Connector 183">
              <a:extLst>
                <a:ext uri="{FF2B5EF4-FFF2-40B4-BE49-F238E27FC236}">
                  <a16:creationId xmlns:a16="http://schemas.microsoft.com/office/drawing/2014/main" id="{96A1F6D4-C00C-4643-B856-8D74D74BD81F}"/>
                </a:ext>
              </a:extLst>
            </p:cNvPr>
            <p:cNvSpPr/>
            <p:nvPr/>
          </p:nvSpPr>
          <p:spPr bwMode="gray">
            <a:xfrm>
              <a:off x="6257693" y="3819943"/>
              <a:ext cx="61596" cy="132668"/>
            </a:xfrm>
            <a:prstGeom prst="flowChartOffpageConnector">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85" name="Flowchart: Off-page Connector 184">
              <a:extLst>
                <a:ext uri="{FF2B5EF4-FFF2-40B4-BE49-F238E27FC236}">
                  <a16:creationId xmlns:a16="http://schemas.microsoft.com/office/drawing/2014/main" id="{0DF9F0D1-5A43-4F70-B0CF-4BBE35F0D594}"/>
                </a:ext>
              </a:extLst>
            </p:cNvPr>
            <p:cNvSpPr/>
            <p:nvPr/>
          </p:nvSpPr>
          <p:spPr bwMode="gray">
            <a:xfrm>
              <a:off x="6133233" y="3844803"/>
              <a:ext cx="61596" cy="107807"/>
            </a:xfrm>
            <a:prstGeom prst="flowChartOffpageConnector">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186" name="Straight Connector 185">
              <a:extLst>
                <a:ext uri="{FF2B5EF4-FFF2-40B4-BE49-F238E27FC236}">
                  <a16:creationId xmlns:a16="http://schemas.microsoft.com/office/drawing/2014/main" id="{A5F7AB3B-EDA8-4F83-BA1C-B7271AE12ABB}"/>
                </a:ext>
              </a:extLst>
            </p:cNvPr>
            <p:cNvCxnSpPr>
              <a:cxnSpLocks/>
              <a:endCxn id="184" idx="0"/>
            </p:cNvCxnSpPr>
            <p:nvPr/>
          </p:nvCxnSpPr>
          <p:spPr bwMode="gray">
            <a:xfrm>
              <a:off x="6288491" y="3773805"/>
              <a:ext cx="0" cy="46138"/>
            </a:xfrm>
            <a:prstGeom prst="line">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0" name="Straight Connector 189">
              <a:extLst>
                <a:ext uri="{FF2B5EF4-FFF2-40B4-BE49-F238E27FC236}">
                  <a16:creationId xmlns:a16="http://schemas.microsoft.com/office/drawing/2014/main" id="{EF308C5E-9441-4333-BD9B-24F6F7CB6810}"/>
                </a:ext>
              </a:extLst>
            </p:cNvPr>
            <p:cNvCxnSpPr>
              <a:cxnSpLocks/>
            </p:cNvCxnSpPr>
            <p:nvPr/>
          </p:nvCxnSpPr>
          <p:spPr bwMode="gray">
            <a:xfrm>
              <a:off x="6164031" y="3819943"/>
              <a:ext cx="124460" cy="0"/>
            </a:xfrm>
            <a:prstGeom prst="line">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2" name="Straight Connector 191">
              <a:extLst>
                <a:ext uri="{FF2B5EF4-FFF2-40B4-BE49-F238E27FC236}">
                  <a16:creationId xmlns:a16="http://schemas.microsoft.com/office/drawing/2014/main" id="{5DED92E0-EBAB-499C-926D-FA2A1EDFED06}"/>
                </a:ext>
              </a:extLst>
            </p:cNvPr>
            <p:cNvCxnSpPr>
              <a:cxnSpLocks/>
            </p:cNvCxnSpPr>
            <p:nvPr/>
          </p:nvCxnSpPr>
          <p:spPr bwMode="gray">
            <a:xfrm>
              <a:off x="6041021" y="3985511"/>
              <a:ext cx="359925" cy="0"/>
            </a:xfrm>
            <a:prstGeom prst="line">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5" name="Straight Connector 194">
              <a:extLst>
                <a:ext uri="{FF2B5EF4-FFF2-40B4-BE49-F238E27FC236}">
                  <a16:creationId xmlns:a16="http://schemas.microsoft.com/office/drawing/2014/main" id="{082F6CA3-6678-4A7C-A177-033E04CFA738}"/>
                </a:ext>
              </a:extLst>
            </p:cNvPr>
            <p:cNvCxnSpPr>
              <a:cxnSpLocks/>
              <a:stCxn id="184" idx="2"/>
            </p:cNvCxnSpPr>
            <p:nvPr/>
          </p:nvCxnSpPr>
          <p:spPr bwMode="gray">
            <a:xfrm>
              <a:off x="6288491" y="3952611"/>
              <a:ext cx="0" cy="86022"/>
            </a:xfrm>
            <a:prstGeom prst="line">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198" name="Straight Connector 197">
              <a:extLst>
                <a:ext uri="{FF2B5EF4-FFF2-40B4-BE49-F238E27FC236}">
                  <a16:creationId xmlns:a16="http://schemas.microsoft.com/office/drawing/2014/main" id="{96337D92-0ABB-4B61-9EE6-219AAB768F75}"/>
                </a:ext>
              </a:extLst>
            </p:cNvPr>
            <p:cNvCxnSpPr>
              <a:cxnSpLocks/>
            </p:cNvCxnSpPr>
            <p:nvPr/>
          </p:nvCxnSpPr>
          <p:spPr bwMode="gray">
            <a:xfrm>
              <a:off x="6164031" y="3952611"/>
              <a:ext cx="0" cy="86022"/>
            </a:xfrm>
            <a:prstGeom prst="line">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0" name="Straight Connector 199">
              <a:extLst>
                <a:ext uri="{FF2B5EF4-FFF2-40B4-BE49-F238E27FC236}">
                  <a16:creationId xmlns:a16="http://schemas.microsoft.com/office/drawing/2014/main" id="{C819702F-060C-49CD-9CB0-86B5026E9185}"/>
                </a:ext>
              </a:extLst>
            </p:cNvPr>
            <p:cNvCxnSpPr>
              <a:cxnSpLocks/>
            </p:cNvCxnSpPr>
            <p:nvPr/>
          </p:nvCxnSpPr>
          <p:spPr bwMode="gray">
            <a:xfrm>
              <a:off x="6220983" y="4095007"/>
              <a:ext cx="0" cy="360142"/>
            </a:xfrm>
            <a:prstGeom prst="line">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5A592230-1A55-437F-83C7-D55D53A73981}"/>
                </a:ext>
              </a:extLst>
            </p:cNvPr>
            <p:cNvCxnSpPr/>
            <p:nvPr/>
          </p:nvCxnSpPr>
          <p:spPr bwMode="gray">
            <a:xfrm>
              <a:off x="6104790" y="4084679"/>
              <a:ext cx="232386" cy="0"/>
            </a:xfrm>
            <a:prstGeom prst="line">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4" name="Straight Connector 203">
              <a:extLst>
                <a:ext uri="{FF2B5EF4-FFF2-40B4-BE49-F238E27FC236}">
                  <a16:creationId xmlns:a16="http://schemas.microsoft.com/office/drawing/2014/main" id="{19D7014E-FB0F-4FA9-8D2C-96C948429039}"/>
                </a:ext>
              </a:extLst>
            </p:cNvPr>
            <p:cNvCxnSpPr>
              <a:cxnSpLocks/>
            </p:cNvCxnSpPr>
            <p:nvPr/>
          </p:nvCxnSpPr>
          <p:spPr bwMode="gray">
            <a:xfrm>
              <a:off x="6319490" y="4156469"/>
              <a:ext cx="32740" cy="95506"/>
            </a:xfrm>
            <a:prstGeom prst="line">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08" name="Straight Connector 207">
              <a:extLst>
                <a:ext uri="{FF2B5EF4-FFF2-40B4-BE49-F238E27FC236}">
                  <a16:creationId xmlns:a16="http://schemas.microsoft.com/office/drawing/2014/main" id="{590BF3A4-FA60-44FD-BEE7-29E0D77582F5}"/>
                </a:ext>
              </a:extLst>
            </p:cNvPr>
            <p:cNvCxnSpPr>
              <a:cxnSpLocks/>
            </p:cNvCxnSpPr>
            <p:nvPr/>
          </p:nvCxnSpPr>
          <p:spPr bwMode="gray">
            <a:xfrm flipV="1">
              <a:off x="6400946" y="3995623"/>
              <a:ext cx="88227" cy="64748"/>
            </a:xfrm>
            <a:prstGeom prst="line">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2" name="Straight Connector 211">
              <a:extLst>
                <a:ext uri="{FF2B5EF4-FFF2-40B4-BE49-F238E27FC236}">
                  <a16:creationId xmlns:a16="http://schemas.microsoft.com/office/drawing/2014/main" id="{C238D5A5-0A54-43AF-9363-2402F3AD305E}"/>
                </a:ext>
              </a:extLst>
            </p:cNvPr>
            <p:cNvCxnSpPr>
              <a:cxnSpLocks/>
              <a:stCxn id="183" idx="0"/>
            </p:cNvCxnSpPr>
            <p:nvPr/>
          </p:nvCxnSpPr>
          <p:spPr bwMode="gray">
            <a:xfrm flipV="1">
              <a:off x="6220983" y="3568066"/>
              <a:ext cx="0" cy="58120"/>
            </a:xfrm>
            <a:prstGeom prst="line">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7" name="Straight Connector 216">
              <a:extLst>
                <a:ext uri="{FF2B5EF4-FFF2-40B4-BE49-F238E27FC236}">
                  <a16:creationId xmlns:a16="http://schemas.microsoft.com/office/drawing/2014/main" id="{B4AFD03A-EEF6-4A23-BD8A-CE3B06C963FE}"/>
                </a:ext>
              </a:extLst>
            </p:cNvPr>
            <p:cNvCxnSpPr/>
            <p:nvPr/>
          </p:nvCxnSpPr>
          <p:spPr bwMode="gray">
            <a:xfrm>
              <a:off x="6109347" y="4087456"/>
              <a:ext cx="116194" cy="52577"/>
            </a:xfrm>
            <a:prstGeom prst="line">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18" name="Straight Connector 217">
              <a:extLst>
                <a:ext uri="{FF2B5EF4-FFF2-40B4-BE49-F238E27FC236}">
                  <a16:creationId xmlns:a16="http://schemas.microsoft.com/office/drawing/2014/main" id="{2BB187EF-CD14-497A-877E-6CE82ADA4951}"/>
                </a:ext>
              </a:extLst>
            </p:cNvPr>
            <p:cNvCxnSpPr>
              <a:cxnSpLocks/>
            </p:cNvCxnSpPr>
            <p:nvPr/>
          </p:nvCxnSpPr>
          <p:spPr bwMode="gray">
            <a:xfrm flipH="1">
              <a:off x="6220982" y="4087456"/>
              <a:ext cx="116194" cy="52577"/>
            </a:xfrm>
            <a:prstGeom prst="line">
              <a:avLst/>
            </a:prstGeom>
            <a:grpFill/>
            <a:ln w="19050" cap="rnd">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grpSp>
    </p:spTree>
    <p:custDataLst>
      <p:tags r:id="rId1"/>
    </p:custDataLst>
    <p:extLst>
      <p:ext uri="{BB962C8B-B14F-4D97-AF65-F5344CB8AC3E}">
        <p14:creationId xmlns:p14="http://schemas.microsoft.com/office/powerpoint/2010/main" val="1898056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105"/>
                                        </p:tgtEl>
                                        <p:attrNameLst>
                                          <p:attrName>style.visibility</p:attrName>
                                        </p:attrNameLst>
                                      </p:cBhvr>
                                      <p:to>
                                        <p:strVal val="visible"/>
                                      </p:to>
                                    </p:set>
                                    <p:animEffect transition="in" filter="fade">
                                      <p:cBhvr>
                                        <p:cTn id="7" dur="1000"/>
                                        <p:tgtEl>
                                          <p:spTgt spid="105"/>
                                        </p:tgtEl>
                                      </p:cBhvr>
                                    </p:animEffect>
                                    <p:anim calcmode="lin" valueType="num">
                                      <p:cBhvr>
                                        <p:cTn id="8" dur="1000" fill="hold"/>
                                        <p:tgtEl>
                                          <p:spTgt spid="105"/>
                                        </p:tgtEl>
                                        <p:attrNameLst>
                                          <p:attrName>ppt_x</p:attrName>
                                        </p:attrNameLst>
                                      </p:cBhvr>
                                      <p:tavLst>
                                        <p:tav tm="0">
                                          <p:val>
                                            <p:strVal val="#ppt_x"/>
                                          </p:val>
                                        </p:tav>
                                        <p:tav tm="100000">
                                          <p:val>
                                            <p:strVal val="#ppt_x"/>
                                          </p:val>
                                        </p:tav>
                                      </p:tavLst>
                                    </p:anim>
                                    <p:anim calcmode="lin" valueType="num">
                                      <p:cBhvr>
                                        <p:cTn id="9" dur="1000" fill="hold"/>
                                        <p:tgtEl>
                                          <p:spTgt spid="105"/>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165"/>
                                        </p:tgtEl>
                                        <p:attrNameLst>
                                          <p:attrName>style.visibility</p:attrName>
                                        </p:attrNameLst>
                                      </p:cBhvr>
                                      <p:to>
                                        <p:strVal val="visible"/>
                                      </p:to>
                                    </p:set>
                                    <p:animEffect transition="in" filter="fade">
                                      <p:cBhvr>
                                        <p:cTn id="12" dur="1000"/>
                                        <p:tgtEl>
                                          <p:spTgt spid="165"/>
                                        </p:tgtEl>
                                      </p:cBhvr>
                                    </p:animEffect>
                                    <p:anim calcmode="lin" valueType="num">
                                      <p:cBhvr>
                                        <p:cTn id="13" dur="1000" fill="hold"/>
                                        <p:tgtEl>
                                          <p:spTgt spid="165"/>
                                        </p:tgtEl>
                                        <p:attrNameLst>
                                          <p:attrName>ppt_x</p:attrName>
                                        </p:attrNameLst>
                                      </p:cBhvr>
                                      <p:tavLst>
                                        <p:tav tm="0">
                                          <p:val>
                                            <p:strVal val="#ppt_x"/>
                                          </p:val>
                                        </p:tav>
                                        <p:tav tm="100000">
                                          <p:val>
                                            <p:strVal val="#ppt_x"/>
                                          </p:val>
                                        </p:tav>
                                      </p:tavLst>
                                    </p:anim>
                                    <p:anim calcmode="lin" valueType="num">
                                      <p:cBhvr>
                                        <p:cTn id="14" dur="1000" fill="hold"/>
                                        <p:tgtEl>
                                          <p:spTgt spid="165"/>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1000"/>
                                        <p:tgtEl>
                                          <p:spTgt spid="104"/>
                                        </p:tgtEl>
                                      </p:cBhvr>
                                    </p:animEffect>
                                    <p:anim calcmode="lin" valueType="num">
                                      <p:cBhvr>
                                        <p:cTn id="18" dur="1000" fill="hold"/>
                                        <p:tgtEl>
                                          <p:spTgt spid="104"/>
                                        </p:tgtEl>
                                        <p:attrNameLst>
                                          <p:attrName>ppt_x</p:attrName>
                                        </p:attrNameLst>
                                      </p:cBhvr>
                                      <p:tavLst>
                                        <p:tav tm="0">
                                          <p:val>
                                            <p:strVal val="#ppt_x"/>
                                          </p:val>
                                        </p:tav>
                                        <p:tav tm="100000">
                                          <p:val>
                                            <p:strVal val="#ppt_x"/>
                                          </p:val>
                                        </p:tav>
                                      </p:tavLst>
                                    </p:anim>
                                    <p:anim calcmode="lin" valueType="num">
                                      <p:cBhvr>
                                        <p:cTn id="19" dur="1000" fill="hold"/>
                                        <p:tgtEl>
                                          <p:spTgt spid="10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01">
                                            <p:txEl>
                                              <p:pRg st="0" end="0"/>
                                            </p:txEl>
                                          </p:spTgt>
                                        </p:tgtEl>
                                        <p:attrNameLst>
                                          <p:attrName>style.visibility</p:attrName>
                                        </p:attrNameLst>
                                      </p:cBhvr>
                                      <p:to>
                                        <p:strVal val="visible"/>
                                      </p:to>
                                    </p:set>
                                    <p:animEffect transition="in" filter="fade">
                                      <p:cBhvr>
                                        <p:cTn id="22" dur="1000"/>
                                        <p:tgtEl>
                                          <p:spTgt spid="101">
                                            <p:txEl>
                                              <p:pRg st="0" end="0"/>
                                            </p:txEl>
                                          </p:spTgt>
                                        </p:tgtEl>
                                      </p:cBhvr>
                                    </p:animEffect>
                                    <p:anim calcmode="lin" valueType="num">
                                      <p:cBhvr>
                                        <p:cTn id="23" dur="1000" fill="hold"/>
                                        <p:tgtEl>
                                          <p:spTgt spid="101">
                                            <p:txEl>
                                              <p:pRg st="0" end="0"/>
                                            </p:txEl>
                                          </p:spTgt>
                                        </p:tgtEl>
                                        <p:attrNameLst>
                                          <p:attrName>ppt_x</p:attrName>
                                        </p:attrNameLst>
                                      </p:cBhvr>
                                      <p:tavLst>
                                        <p:tav tm="0">
                                          <p:val>
                                            <p:strVal val="#ppt_x"/>
                                          </p:val>
                                        </p:tav>
                                        <p:tav tm="100000">
                                          <p:val>
                                            <p:strVal val="#ppt_x"/>
                                          </p:val>
                                        </p:tav>
                                      </p:tavLst>
                                    </p:anim>
                                    <p:anim calcmode="lin" valueType="num">
                                      <p:cBhvr>
                                        <p:cTn id="24" dur="1000" fill="hold"/>
                                        <p:tgtEl>
                                          <p:spTgt spid="101">
                                            <p:txEl>
                                              <p:pRg st="0" end="0"/>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01">
                                            <p:txEl>
                                              <p:pRg st="1" end="1"/>
                                            </p:txEl>
                                          </p:spTgt>
                                        </p:tgtEl>
                                        <p:attrNameLst>
                                          <p:attrName>style.visibility</p:attrName>
                                        </p:attrNameLst>
                                      </p:cBhvr>
                                      <p:to>
                                        <p:strVal val="visible"/>
                                      </p:to>
                                    </p:set>
                                    <p:animEffect transition="in" filter="fade">
                                      <p:cBhvr>
                                        <p:cTn id="27" dur="1000"/>
                                        <p:tgtEl>
                                          <p:spTgt spid="101">
                                            <p:txEl>
                                              <p:pRg st="1" end="1"/>
                                            </p:txEl>
                                          </p:spTgt>
                                        </p:tgtEl>
                                      </p:cBhvr>
                                    </p:animEffect>
                                    <p:anim calcmode="lin" valueType="num">
                                      <p:cBhvr>
                                        <p:cTn id="28" dur="1000" fill="hold"/>
                                        <p:tgtEl>
                                          <p:spTgt spid="101">
                                            <p:txEl>
                                              <p:pRg st="1" end="1"/>
                                            </p:txEl>
                                          </p:spTgt>
                                        </p:tgtEl>
                                        <p:attrNameLst>
                                          <p:attrName>ppt_x</p:attrName>
                                        </p:attrNameLst>
                                      </p:cBhvr>
                                      <p:tavLst>
                                        <p:tav tm="0">
                                          <p:val>
                                            <p:strVal val="#ppt_x"/>
                                          </p:val>
                                        </p:tav>
                                        <p:tav tm="100000">
                                          <p:val>
                                            <p:strVal val="#ppt_x"/>
                                          </p:val>
                                        </p:tav>
                                      </p:tavLst>
                                    </p:anim>
                                    <p:anim calcmode="lin" valueType="num">
                                      <p:cBhvr>
                                        <p:cTn id="29" dur="1000" fill="hold"/>
                                        <p:tgtEl>
                                          <p:spTgt spid="101">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7" presetClass="entr" presetSubtype="0" fill="hold" nodeType="clickEffect">
                                  <p:stCondLst>
                                    <p:cond delay="0"/>
                                  </p:stCondLst>
                                  <p:childTnLst>
                                    <p:set>
                                      <p:cBhvr>
                                        <p:cTn id="33" dur="1" fill="hold">
                                          <p:stCondLst>
                                            <p:cond delay="0"/>
                                          </p:stCondLst>
                                        </p:cTn>
                                        <p:tgtEl>
                                          <p:spTgt spid="107"/>
                                        </p:tgtEl>
                                        <p:attrNameLst>
                                          <p:attrName>style.visibility</p:attrName>
                                        </p:attrNameLst>
                                      </p:cBhvr>
                                      <p:to>
                                        <p:strVal val="visible"/>
                                      </p:to>
                                    </p:set>
                                    <p:animEffect transition="in" filter="fade">
                                      <p:cBhvr>
                                        <p:cTn id="34" dur="1000"/>
                                        <p:tgtEl>
                                          <p:spTgt spid="107"/>
                                        </p:tgtEl>
                                      </p:cBhvr>
                                    </p:animEffect>
                                    <p:anim calcmode="lin" valueType="num">
                                      <p:cBhvr>
                                        <p:cTn id="35" dur="1000" fill="hold"/>
                                        <p:tgtEl>
                                          <p:spTgt spid="107"/>
                                        </p:tgtEl>
                                        <p:attrNameLst>
                                          <p:attrName>ppt_x</p:attrName>
                                        </p:attrNameLst>
                                      </p:cBhvr>
                                      <p:tavLst>
                                        <p:tav tm="0">
                                          <p:val>
                                            <p:strVal val="#ppt_x"/>
                                          </p:val>
                                        </p:tav>
                                        <p:tav tm="100000">
                                          <p:val>
                                            <p:strVal val="#ppt_x"/>
                                          </p:val>
                                        </p:tav>
                                      </p:tavLst>
                                    </p:anim>
                                    <p:anim calcmode="lin" valueType="num">
                                      <p:cBhvr>
                                        <p:cTn id="36" dur="1000" fill="hold"/>
                                        <p:tgtEl>
                                          <p:spTgt spid="107"/>
                                        </p:tgtEl>
                                        <p:attrNameLst>
                                          <p:attrName>ppt_y</p:attrName>
                                        </p:attrNameLst>
                                      </p:cBhvr>
                                      <p:tavLst>
                                        <p:tav tm="0">
                                          <p:val>
                                            <p:strVal val="#ppt_y-.1"/>
                                          </p:val>
                                        </p:tav>
                                        <p:tav tm="100000">
                                          <p:val>
                                            <p:strVal val="#ppt_y"/>
                                          </p:val>
                                        </p:tav>
                                      </p:tavLst>
                                    </p:anim>
                                  </p:childTnLst>
                                </p:cTn>
                              </p:par>
                              <p:par>
                                <p:cTn id="37" presetID="47" presetClass="entr" presetSubtype="0" fill="hold" nodeType="withEffect">
                                  <p:stCondLst>
                                    <p:cond delay="0"/>
                                  </p:stCondLst>
                                  <p:childTnLst>
                                    <p:set>
                                      <p:cBhvr>
                                        <p:cTn id="38" dur="1" fill="hold">
                                          <p:stCondLst>
                                            <p:cond delay="0"/>
                                          </p:stCondLst>
                                        </p:cTn>
                                        <p:tgtEl>
                                          <p:spTgt spid="220"/>
                                        </p:tgtEl>
                                        <p:attrNameLst>
                                          <p:attrName>style.visibility</p:attrName>
                                        </p:attrNameLst>
                                      </p:cBhvr>
                                      <p:to>
                                        <p:strVal val="visible"/>
                                      </p:to>
                                    </p:set>
                                    <p:animEffect transition="in" filter="fade">
                                      <p:cBhvr>
                                        <p:cTn id="39" dur="1000"/>
                                        <p:tgtEl>
                                          <p:spTgt spid="220"/>
                                        </p:tgtEl>
                                      </p:cBhvr>
                                    </p:animEffect>
                                    <p:anim calcmode="lin" valueType="num">
                                      <p:cBhvr>
                                        <p:cTn id="40" dur="1000" fill="hold"/>
                                        <p:tgtEl>
                                          <p:spTgt spid="220"/>
                                        </p:tgtEl>
                                        <p:attrNameLst>
                                          <p:attrName>ppt_x</p:attrName>
                                        </p:attrNameLst>
                                      </p:cBhvr>
                                      <p:tavLst>
                                        <p:tav tm="0">
                                          <p:val>
                                            <p:strVal val="#ppt_x"/>
                                          </p:val>
                                        </p:tav>
                                        <p:tav tm="100000">
                                          <p:val>
                                            <p:strVal val="#ppt_x"/>
                                          </p:val>
                                        </p:tav>
                                      </p:tavLst>
                                    </p:anim>
                                    <p:anim calcmode="lin" valueType="num">
                                      <p:cBhvr>
                                        <p:cTn id="41" dur="1000" fill="hold"/>
                                        <p:tgtEl>
                                          <p:spTgt spid="220"/>
                                        </p:tgtEl>
                                        <p:attrNameLst>
                                          <p:attrName>ppt_y</p:attrName>
                                        </p:attrNameLst>
                                      </p:cBhvr>
                                      <p:tavLst>
                                        <p:tav tm="0">
                                          <p:val>
                                            <p:strVal val="#ppt_y-.1"/>
                                          </p:val>
                                        </p:tav>
                                        <p:tav tm="100000">
                                          <p:val>
                                            <p:strVal val="#ppt_y"/>
                                          </p:val>
                                        </p:tav>
                                      </p:tavLst>
                                    </p:anim>
                                  </p:childTnLst>
                                </p:cTn>
                              </p:par>
                              <p:par>
                                <p:cTn id="42" presetID="47" presetClass="entr" presetSubtype="0" fill="hold" grpId="0" nodeType="withEffect">
                                  <p:stCondLst>
                                    <p:cond delay="0"/>
                                  </p:stCondLst>
                                  <p:childTnLst>
                                    <p:set>
                                      <p:cBhvr>
                                        <p:cTn id="43" dur="1" fill="hold">
                                          <p:stCondLst>
                                            <p:cond delay="0"/>
                                          </p:stCondLst>
                                        </p:cTn>
                                        <p:tgtEl>
                                          <p:spTgt spid="106"/>
                                        </p:tgtEl>
                                        <p:attrNameLst>
                                          <p:attrName>style.visibility</p:attrName>
                                        </p:attrNameLst>
                                      </p:cBhvr>
                                      <p:to>
                                        <p:strVal val="visible"/>
                                      </p:to>
                                    </p:set>
                                    <p:animEffect transition="in" filter="fade">
                                      <p:cBhvr>
                                        <p:cTn id="44" dur="1000"/>
                                        <p:tgtEl>
                                          <p:spTgt spid="106"/>
                                        </p:tgtEl>
                                      </p:cBhvr>
                                    </p:animEffect>
                                    <p:anim calcmode="lin" valueType="num">
                                      <p:cBhvr>
                                        <p:cTn id="45" dur="1000" fill="hold"/>
                                        <p:tgtEl>
                                          <p:spTgt spid="106"/>
                                        </p:tgtEl>
                                        <p:attrNameLst>
                                          <p:attrName>ppt_x</p:attrName>
                                        </p:attrNameLst>
                                      </p:cBhvr>
                                      <p:tavLst>
                                        <p:tav tm="0">
                                          <p:val>
                                            <p:strVal val="#ppt_x"/>
                                          </p:val>
                                        </p:tav>
                                        <p:tav tm="100000">
                                          <p:val>
                                            <p:strVal val="#ppt_x"/>
                                          </p:val>
                                        </p:tav>
                                      </p:tavLst>
                                    </p:anim>
                                    <p:anim calcmode="lin" valueType="num">
                                      <p:cBhvr>
                                        <p:cTn id="46" dur="1000" fill="hold"/>
                                        <p:tgtEl>
                                          <p:spTgt spid="106"/>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102">
                                            <p:txEl>
                                              <p:pRg st="0" end="0"/>
                                            </p:txEl>
                                          </p:spTgt>
                                        </p:tgtEl>
                                        <p:attrNameLst>
                                          <p:attrName>style.visibility</p:attrName>
                                        </p:attrNameLst>
                                      </p:cBhvr>
                                      <p:to>
                                        <p:strVal val="visible"/>
                                      </p:to>
                                    </p:set>
                                    <p:animEffect transition="in" filter="fade">
                                      <p:cBhvr>
                                        <p:cTn id="49" dur="1000"/>
                                        <p:tgtEl>
                                          <p:spTgt spid="102">
                                            <p:txEl>
                                              <p:pRg st="0" end="0"/>
                                            </p:txEl>
                                          </p:spTgt>
                                        </p:tgtEl>
                                      </p:cBhvr>
                                    </p:animEffect>
                                    <p:anim calcmode="lin" valueType="num">
                                      <p:cBhvr>
                                        <p:cTn id="50" dur="1000" fill="hold"/>
                                        <p:tgtEl>
                                          <p:spTgt spid="102">
                                            <p:txEl>
                                              <p:pRg st="0" end="0"/>
                                            </p:txEl>
                                          </p:spTgt>
                                        </p:tgtEl>
                                        <p:attrNameLst>
                                          <p:attrName>ppt_x</p:attrName>
                                        </p:attrNameLst>
                                      </p:cBhvr>
                                      <p:tavLst>
                                        <p:tav tm="0">
                                          <p:val>
                                            <p:strVal val="#ppt_x"/>
                                          </p:val>
                                        </p:tav>
                                        <p:tav tm="100000">
                                          <p:val>
                                            <p:strVal val="#ppt_x"/>
                                          </p:val>
                                        </p:tav>
                                      </p:tavLst>
                                    </p:anim>
                                    <p:anim calcmode="lin" valueType="num">
                                      <p:cBhvr>
                                        <p:cTn id="51" dur="1000" fill="hold"/>
                                        <p:tgtEl>
                                          <p:spTgt spid="102">
                                            <p:txEl>
                                              <p:pRg st="0" end="0"/>
                                            </p:txEl>
                                          </p:spTgt>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102">
                                            <p:txEl>
                                              <p:pRg st="1" end="1"/>
                                            </p:txEl>
                                          </p:spTgt>
                                        </p:tgtEl>
                                        <p:attrNameLst>
                                          <p:attrName>style.visibility</p:attrName>
                                        </p:attrNameLst>
                                      </p:cBhvr>
                                      <p:to>
                                        <p:strVal val="visible"/>
                                      </p:to>
                                    </p:set>
                                    <p:animEffect transition="in" filter="fade">
                                      <p:cBhvr>
                                        <p:cTn id="54" dur="1000"/>
                                        <p:tgtEl>
                                          <p:spTgt spid="102">
                                            <p:txEl>
                                              <p:pRg st="1" end="1"/>
                                            </p:txEl>
                                          </p:spTgt>
                                        </p:tgtEl>
                                      </p:cBhvr>
                                    </p:animEffect>
                                    <p:anim calcmode="lin" valueType="num">
                                      <p:cBhvr>
                                        <p:cTn id="55" dur="1000" fill="hold"/>
                                        <p:tgtEl>
                                          <p:spTgt spid="102">
                                            <p:txEl>
                                              <p:pRg st="1" end="1"/>
                                            </p:txEl>
                                          </p:spTgt>
                                        </p:tgtEl>
                                        <p:attrNameLst>
                                          <p:attrName>ppt_x</p:attrName>
                                        </p:attrNameLst>
                                      </p:cBhvr>
                                      <p:tavLst>
                                        <p:tav tm="0">
                                          <p:val>
                                            <p:strVal val="#ppt_x"/>
                                          </p:val>
                                        </p:tav>
                                        <p:tav tm="100000">
                                          <p:val>
                                            <p:strVal val="#ppt_x"/>
                                          </p:val>
                                        </p:tav>
                                      </p:tavLst>
                                    </p:anim>
                                    <p:anim calcmode="lin" valueType="num">
                                      <p:cBhvr>
                                        <p:cTn id="56" dur="1000" fill="hold"/>
                                        <p:tgtEl>
                                          <p:spTgt spid="102">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7" presetClass="entr" presetSubtype="0" fill="hold" nodeType="clickEffect">
                                  <p:stCondLst>
                                    <p:cond delay="0"/>
                                  </p:stCondLst>
                                  <p:childTnLst>
                                    <p:set>
                                      <p:cBhvr>
                                        <p:cTn id="60" dur="1" fill="hold">
                                          <p:stCondLst>
                                            <p:cond delay="0"/>
                                          </p:stCondLst>
                                        </p:cTn>
                                        <p:tgtEl>
                                          <p:spTgt spid="108"/>
                                        </p:tgtEl>
                                        <p:attrNameLst>
                                          <p:attrName>style.visibility</p:attrName>
                                        </p:attrNameLst>
                                      </p:cBhvr>
                                      <p:to>
                                        <p:strVal val="visible"/>
                                      </p:to>
                                    </p:set>
                                    <p:animEffect transition="in" filter="fade">
                                      <p:cBhvr>
                                        <p:cTn id="61" dur="1000"/>
                                        <p:tgtEl>
                                          <p:spTgt spid="108"/>
                                        </p:tgtEl>
                                      </p:cBhvr>
                                    </p:animEffect>
                                    <p:anim calcmode="lin" valueType="num">
                                      <p:cBhvr>
                                        <p:cTn id="62" dur="1000" fill="hold"/>
                                        <p:tgtEl>
                                          <p:spTgt spid="108"/>
                                        </p:tgtEl>
                                        <p:attrNameLst>
                                          <p:attrName>ppt_x</p:attrName>
                                        </p:attrNameLst>
                                      </p:cBhvr>
                                      <p:tavLst>
                                        <p:tav tm="0">
                                          <p:val>
                                            <p:strVal val="#ppt_x"/>
                                          </p:val>
                                        </p:tav>
                                        <p:tav tm="100000">
                                          <p:val>
                                            <p:strVal val="#ppt_x"/>
                                          </p:val>
                                        </p:tav>
                                      </p:tavLst>
                                    </p:anim>
                                    <p:anim calcmode="lin" valueType="num">
                                      <p:cBhvr>
                                        <p:cTn id="63" dur="1000" fill="hold"/>
                                        <p:tgtEl>
                                          <p:spTgt spid="108"/>
                                        </p:tgtEl>
                                        <p:attrNameLst>
                                          <p:attrName>ppt_y</p:attrName>
                                        </p:attrNameLst>
                                      </p:cBhvr>
                                      <p:tavLst>
                                        <p:tav tm="0">
                                          <p:val>
                                            <p:strVal val="#ppt_y-.1"/>
                                          </p:val>
                                        </p:tav>
                                        <p:tav tm="100000">
                                          <p:val>
                                            <p:strVal val="#ppt_y"/>
                                          </p:val>
                                        </p:tav>
                                      </p:tavLst>
                                    </p:anim>
                                  </p:childTnLst>
                                </p:cTn>
                              </p:par>
                              <p:par>
                                <p:cTn id="64" presetID="47" presetClass="entr" presetSubtype="0" fill="hold" nodeType="withEffect">
                                  <p:stCondLst>
                                    <p:cond delay="0"/>
                                  </p:stCondLst>
                                  <p:childTnLst>
                                    <p:set>
                                      <p:cBhvr>
                                        <p:cTn id="65" dur="1" fill="hold">
                                          <p:stCondLst>
                                            <p:cond delay="0"/>
                                          </p:stCondLst>
                                        </p:cTn>
                                        <p:tgtEl>
                                          <p:spTgt spid="142"/>
                                        </p:tgtEl>
                                        <p:attrNameLst>
                                          <p:attrName>style.visibility</p:attrName>
                                        </p:attrNameLst>
                                      </p:cBhvr>
                                      <p:to>
                                        <p:strVal val="visible"/>
                                      </p:to>
                                    </p:set>
                                    <p:animEffect transition="in" filter="fade">
                                      <p:cBhvr>
                                        <p:cTn id="66" dur="1000"/>
                                        <p:tgtEl>
                                          <p:spTgt spid="142"/>
                                        </p:tgtEl>
                                      </p:cBhvr>
                                    </p:animEffect>
                                    <p:anim calcmode="lin" valueType="num">
                                      <p:cBhvr>
                                        <p:cTn id="67" dur="1000" fill="hold"/>
                                        <p:tgtEl>
                                          <p:spTgt spid="142"/>
                                        </p:tgtEl>
                                        <p:attrNameLst>
                                          <p:attrName>ppt_x</p:attrName>
                                        </p:attrNameLst>
                                      </p:cBhvr>
                                      <p:tavLst>
                                        <p:tav tm="0">
                                          <p:val>
                                            <p:strVal val="#ppt_x"/>
                                          </p:val>
                                        </p:tav>
                                        <p:tav tm="100000">
                                          <p:val>
                                            <p:strVal val="#ppt_x"/>
                                          </p:val>
                                        </p:tav>
                                      </p:tavLst>
                                    </p:anim>
                                    <p:anim calcmode="lin" valueType="num">
                                      <p:cBhvr>
                                        <p:cTn id="68" dur="1000" fill="hold"/>
                                        <p:tgtEl>
                                          <p:spTgt spid="142"/>
                                        </p:tgtEl>
                                        <p:attrNameLst>
                                          <p:attrName>ppt_y</p:attrName>
                                        </p:attrNameLst>
                                      </p:cBhvr>
                                      <p:tavLst>
                                        <p:tav tm="0">
                                          <p:val>
                                            <p:strVal val="#ppt_y-.1"/>
                                          </p:val>
                                        </p:tav>
                                        <p:tav tm="100000">
                                          <p:val>
                                            <p:strVal val="#ppt_y"/>
                                          </p:val>
                                        </p:tav>
                                      </p:tavLst>
                                    </p:anim>
                                  </p:childTnLst>
                                </p:cTn>
                              </p:par>
                              <p:par>
                                <p:cTn id="69" presetID="47" presetClass="entr" presetSubtype="0" fill="hold" grpId="0" nodeType="withEffect">
                                  <p:stCondLst>
                                    <p:cond delay="0"/>
                                  </p:stCondLst>
                                  <p:childTnLst>
                                    <p:set>
                                      <p:cBhvr>
                                        <p:cTn id="70" dur="1" fill="hold">
                                          <p:stCondLst>
                                            <p:cond delay="0"/>
                                          </p:stCondLst>
                                        </p:cTn>
                                        <p:tgtEl>
                                          <p:spTgt spid="109"/>
                                        </p:tgtEl>
                                        <p:attrNameLst>
                                          <p:attrName>style.visibility</p:attrName>
                                        </p:attrNameLst>
                                      </p:cBhvr>
                                      <p:to>
                                        <p:strVal val="visible"/>
                                      </p:to>
                                    </p:set>
                                    <p:animEffect transition="in" filter="fade">
                                      <p:cBhvr>
                                        <p:cTn id="71" dur="1000"/>
                                        <p:tgtEl>
                                          <p:spTgt spid="109"/>
                                        </p:tgtEl>
                                      </p:cBhvr>
                                    </p:animEffect>
                                    <p:anim calcmode="lin" valueType="num">
                                      <p:cBhvr>
                                        <p:cTn id="72" dur="1000" fill="hold"/>
                                        <p:tgtEl>
                                          <p:spTgt spid="109"/>
                                        </p:tgtEl>
                                        <p:attrNameLst>
                                          <p:attrName>ppt_x</p:attrName>
                                        </p:attrNameLst>
                                      </p:cBhvr>
                                      <p:tavLst>
                                        <p:tav tm="0">
                                          <p:val>
                                            <p:strVal val="#ppt_x"/>
                                          </p:val>
                                        </p:tav>
                                        <p:tav tm="100000">
                                          <p:val>
                                            <p:strVal val="#ppt_x"/>
                                          </p:val>
                                        </p:tav>
                                      </p:tavLst>
                                    </p:anim>
                                    <p:anim calcmode="lin" valueType="num">
                                      <p:cBhvr>
                                        <p:cTn id="73" dur="1000" fill="hold"/>
                                        <p:tgtEl>
                                          <p:spTgt spid="109"/>
                                        </p:tgtEl>
                                        <p:attrNameLst>
                                          <p:attrName>ppt_y</p:attrName>
                                        </p:attrNameLst>
                                      </p:cBhvr>
                                      <p:tavLst>
                                        <p:tav tm="0">
                                          <p:val>
                                            <p:strVal val="#ppt_y-.1"/>
                                          </p:val>
                                        </p:tav>
                                        <p:tav tm="100000">
                                          <p:val>
                                            <p:strVal val="#ppt_y"/>
                                          </p:val>
                                        </p:tav>
                                      </p:tavLst>
                                    </p:anim>
                                  </p:childTnLst>
                                </p:cTn>
                              </p:par>
                              <p:par>
                                <p:cTn id="74" presetID="42" presetClass="entr" presetSubtype="0" fill="hold" grpId="0" nodeType="withEffect">
                                  <p:stCondLst>
                                    <p:cond delay="0"/>
                                  </p:stCondLst>
                                  <p:childTnLst>
                                    <p:set>
                                      <p:cBhvr>
                                        <p:cTn id="75" dur="1" fill="hold">
                                          <p:stCondLst>
                                            <p:cond delay="0"/>
                                          </p:stCondLst>
                                        </p:cTn>
                                        <p:tgtEl>
                                          <p:spTgt spid="103">
                                            <p:txEl>
                                              <p:pRg st="0" end="0"/>
                                            </p:txEl>
                                          </p:spTgt>
                                        </p:tgtEl>
                                        <p:attrNameLst>
                                          <p:attrName>style.visibility</p:attrName>
                                        </p:attrNameLst>
                                      </p:cBhvr>
                                      <p:to>
                                        <p:strVal val="visible"/>
                                      </p:to>
                                    </p:set>
                                    <p:animEffect transition="in" filter="fade">
                                      <p:cBhvr>
                                        <p:cTn id="76" dur="1000"/>
                                        <p:tgtEl>
                                          <p:spTgt spid="103">
                                            <p:txEl>
                                              <p:pRg st="0" end="0"/>
                                            </p:txEl>
                                          </p:spTgt>
                                        </p:tgtEl>
                                      </p:cBhvr>
                                    </p:animEffect>
                                    <p:anim calcmode="lin" valueType="num">
                                      <p:cBhvr>
                                        <p:cTn id="77" dur="1000" fill="hold"/>
                                        <p:tgtEl>
                                          <p:spTgt spid="103">
                                            <p:txEl>
                                              <p:pRg st="0" end="0"/>
                                            </p:txEl>
                                          </p:spTgt>
                                        </p:tgtEl>
                                        <p:attrNameLst>
                                          <p:attrName>ppt_x</p:attrName>
                                        </p:attrNameLst>
                                      </p:cBhvr>
                                      <p:tavLst>
                                        <p:tav tm="0">
                                          <p:val>
                                            <p:strVal val="#ppt_x"/>
                                          </p:val>
                                        </p:tav>
                                        <p:tav tm="100000">
                                          <p:val>
                                            <p:strVal val="#ppt_x"/>
                                          </p:val>
                                        </p:tav>
                                      </p:tavLst>
                                    </p:anim>
                                    <p:anim calcmode="lin" valueType="num">
                                      <p:cBhvr>
                                        <p:cTn id="78" dur="1000" fill="hold"/>
                                        <p:tgtEl>
                                          <p:spTgt spid="103">
                                            <p:txEl>
                                              <p:pRg st="0" end="0"/>
                                            </p:txEl>
                                          </p:spTgt>
                                        </p:tgtEl>
                                        <p:attrNameLst>
                                          <p:attrName>ppt_y</p:attrName>
                                        </p:attrNameLst>
                                      </p:cBhvr>
                                      <p:tavLst>
                                        <p:tav tm="0">
                                          <p:val>
                                            <p:strVal val="#ppt_y+.1"/>
                                          </p:val>
                                        </p:tav>
                                        <p:tav tm="100000">
                                          <p:val>
                                            <p:strVal val="#ppt_y"/>
                                          </p:val>
                                        </p:tav>
                                      </p:tavLst>
                                    </p:anim>
                                  </p:childTnLst>
                                </p:cTn>
                              </p:par>
                              <p:par>
                                <p:cTn id="79" presetID="42" presetClass="entr" presetSubtype="0" fill="hold" nodeType="withEffect">
                                  <p:stCondLst>
                                    <p:cond delay="0"/>
                                  </p:stCondLst>
                                  <p:childTnLst>
                                    <p:set>
                                      <p:cBhvr>
                                        <p:cTn id="80" dur="1" fill="hold">
                                          <p:stCondLst>
                                            <p:cond delay="0"/>
                                          </p:stCondLst>
                                        </p:cTn>
                                        <p:tgtEl>
                                          <p:spTgt spid="103">
                                            <p:txEl>
                                              <p:pRg st="1" end="1"/>
                                            </p:txEl>
                                          </p:spTgt>
                                        </p:tgtEl>
                                        <p:attrNameLst>
                                          <p:attrName>style.visibility</p:attrName>
                                        </p:attrNameLst>
                                      </p:cBhvr>
                                      <p:to>
                                        <p:strVal val="visible"/>
                                      </p:to>
                                    </p:set>
                                    <p:animEffect transition="in" filter="fade">
                                      <p:cBhvr>
                                        <p:cTn id="81" dur="1000"/>
                                        <p:tgtEl>
                                          <p:spTgt spid="103">
                                            <p:txEl>
                                              <p:pRg st="1" end="1"/>
                                            </p:txEl>
                                          </p:spTgt>
                                        </p:tgtEl>
                                      </p:cBhvr>
                                    </p:animEffect>
                                    <p:anim calcmode="lin" valueType="num">
                                      <p:cBhvr>
                                        <p:cTn id="82" dur="1000" fill="hold"/>
                                        <p:tgtEl>
                                          <p:spTgt spid="103">
                                            <p:txEl>
                                              <p:pRg st="1" end="1"/>
                                            </p:txEl>
                                          </p:spTgt>
                                        </p:tgtEl>
                                        <p:attrNameLst>
                                          <p:attrName>ppt_x</p:attrName>
                                        </p:attrNameLst>
                                      </p:cBhvr>
                                      <p:tavLst>
                                        <p:tav tm="0">
                                          <p:val>
                                            <p:strVal val="#ppt_x"/>
                                          </p:val>
                                        </p:tav>
                                        <p:tav tm="100000">
                                          <p:val>
                                            <p:strVal val="#ppt_x"/>
                                          </p:val>
                                        </p:tav>
                                      </p:tavLst>
                                    </p:anim>
                                    <p:anim calcmode="lin" valueType="num">
                                      <p:cBhvr>
                                        <p:cTn id="83" dur="1000" fill="hold"/>
                                        <p:tgtEl>
                                          <p:spTgt spid="10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84" fill="hold">
                      <p:stCondLst>
                        <p:cond delay="indefinite"/>
                      </p:stCondLst>
                      <p:childTnLst>
                        <p:par>
                          <p:cTn id="85" fill="hold">
                            <p:stCondLst>
                              <p:cond delay="0"/>
                            </p:stCondLst>
                            <p:childTnLst>
                              <p:par>
                                <p:cTn id="86" presetID="47" presetClass="entr" presetSubtype="0" fill="hold" nodeType="clickEffect">
                                  <p:stCondLst>
                                    <p:cond delay="0"/>
                                  </p:stCondLst>
                                  <p:childTnLst>
                                    <p:set>
                                      <p:cBhvr>
                                        <p:cTn id="87" dur="1" fill="hold">
                                          <p:stCondLst>
                                            <p:cond delay="0"/>
                                          </p:stCondLst>
                                        </p:cTn>
                                        <p:tgtEl>
                                          <p:spTgt spid="137"/>
                                        </p:tgtEl>
                                        <p:attrNameLst>
                                          <p:attrName>style.visibility</p:attrName>
                                        </p:attrNameLst>
                                      </p:cBhvr>
                                      <p:to>
                                        <p:strVal val="visible"/>
                                      </p:to>
                                    </p:set>
                                    <p:animEffect transition="in" filter="fade">
                                      <p:cBhvr>
                                        <p:cTn id="88" dur="1000"/>
                                        <p:tgtEl>
                                          <p:spTgt spid="137"/>
                                        </p:tgtEl>
                                      </p:cBhvr>
                                    </p:animEffect>
                                    <p:anim calcmode="lin" valueType="num">
                                      <p:cBhvr>
                                        <p:cTn id="89" dur="1000" fill="hold"/>
                                        <p:tgtEl>
                                          <p:spTgt spid="137"/>
                                        </p:tgtEl>
                                        <p:attrNameLst>
                                          <p:attrName>ppt_x</p:attrName>
                                        </p:attrNameLst>
                                      </p:cBhvr>
                                      <p:tavLst>
                                        <p:tav tm="0">
                                          <p:val>
                                            <p:strVal val="#ppt_x"/>
                                          </p:val>
                                        </p:tav>
                                        <p:tav tm="100000">
                                          <p:val>
                                            <p:strVal val="#ppt_x"/>
                                          </p:val>
                                        </p:tav>
                                      </p:tavLst>
                                    </p:anim>
                                    <p:anim calcmode="lin" valueType="num">
                                      <p:cBhvr>
                                        <p:cTn id="90" dur="1000" fill="hold"/>
                                        <p:tgtEl>
                                          <p:spTgt spid="137"/>
                                        </p:tgtEl>
                                        <p:attrNameLst>
                                          <p:attrName>ppt_y</p:attrName>
                                        </p:attrNameLst>
                                      </p:cBhvr>
                                      <p:tavLst>
                                        <p:tav tm="0">
                                          <p:val>
                                            <p:strVal val="#ppt_y-.1"/>
                                          </p:val>
                                        </p:tav>
                                        <p:tav tm="100000">
                                          <p:val>
                                            <p:strVal val="#ppt_y"/>
                                          </p:val>
                                        </p:tav>
                                      </p:tavLst>
                                    </p:anim>
                                  </p:childTnLst>
                                </p:cTn>
                              </p:par>
                              <p:par>
                                <p:cTn id="91" presetID="47" presetClass="entr" presetSubtype="0" fill="hold" nodeType="withEffect">
                                  <p:stCondLst>
                                    <p:cond delay="0"/>
                                  </p:stCondLst>
                                  <p:childTnLst>
                                    <p:set>
                                      <p:cBhvr>
                                        <p:cTn id="92" dur="1" fill="hold">
                                          <p:stCondLst>
                                            <p:cond delay="0"/>
                                          </p:stCondLst>
                                        </p:cTn>
                                        <p:tgtEl>
                                          <p:spTgt spid="166"/>
                                        </p:tgtEl>
                                        <p:attrNameLst>
                                          <p:attrName>style.visibility</p:attrName>
                                        </p:attrNameLst>
                                      </p:cBhvr>
                                      <p:to>
                                        <p:strVal val="visible"/>
                                      </p:to>
                                    </p:set>
                                    <p:animEffect transition="in" filter="fade">
                                      <p:cBhvr>
                                        <p:cTn id="93" dur="1000"/>
                                        <p:tgtEl>
                                          <p:spTgt spid="166"/>
                                        </p:tgtEl>
                                      </p:cBhvr>
                                    </p:animEffect>
                                    <p:anim calcmode="lin" valueType="num">
                                      <p:cBhvr>
                                        <p:cTn id="94" dur="1000" fill="hold"/>
                                        <p:tgtEl>
                                          <p:spTgt spid="166"/>
                                        </p:tgtEl>
                                        <p:attrNameLst>
                                          <p:attrName>ppt_x</p:attrName>
                                        </p:attrNameLst>
                                      </p:cBhvr>
                                      <p:tavLst>
                                        <p:tav tm="0">
                                          <p:val>
                                            <p:strVal val="#ppt_x"/>
                                          </p:val>
                                        </p:tav>
                                        <p:tav tm="100000">
                                          <p:val>
                                            <p:strVal val="#ppt_x"/>
                                          </p:val>
                                        </p:tav>
                                      </p:tavLst>
                                    </p:anim>
                                    <p:anim calcmode="lin" valueType="num">
                                      <p:cBhvr>
                                        <p:cTn id="95" dur="1000" fill="hold"/>
                                        <p:tgtEl>
                                          <p:spTgt spid="166"/>
                                        </p:tgtEl>
                                        <p:attrNameLst>
                                          <p:attrName>ppt_y</p:attrName>
                                        </p:attrNameLst>
                                      </p:cBhvr>
                                      <p:tavLst>
                                        <p:tav tm="0">
                                          <p:val>
                                            <p:strVal val="#ppt_y-.1"/>
                                          </p:val>
                                        </p:tav>
                                        <p:tav tm="100000">
                                          <p:val>
                                            <p:strVal val="#ppt_y"/>
                                          </p:val>
                                        </p:tav>
                                      </p:tavLst>
                                    </p:anim>
                                  </p:childTnLst>
                                </p:cTn>
                              </p:par>
                              <p:par>
                                <p:cTn id="96" presetID="47" presetClass="entr" presetSubtype="0" fill="hold" grpId="0" nodeType="withEffect">
                                  <p:stCondLst>
                                    <p:cond delay="0"/>
                                  </p:stCondLst>
                                  <p:childTnLst>
                                    <p:set>
                                      <p:cBhvr>
                                        <p:cTn id="97" dur="1" fill="hold">
                                          <p:stCondLst>
                                            <p:cond delay="0"/>
                                          </p:stCondLst>
                                        </p:cTn>
                                        <p:tgtEl>
                                          <p:spTgt spid="136"/>
                                        </p:tgtEl>
                                        <p:attrNameLst>
                                          <p:attrName>style.visibility</p:attrName>
                                        </p:attrNameLst>
                                      </p:cBhvr>
                                      <p:to>
                                        <p:strVal val="visible"/>
                                      </p:to>
                                    </p:set>
                                    <p:animEffect transition="in" filter="fade">
                                      <p:cBhvr>
                                        <p:cTn id="98" dur="1000"/>
                                        <p:tgtEl>
                                          <p:spTgt spid="136"/>
                                        </p:tgtEl>
                                      </p:cBhvr>
                                    </p:animEffect>
                                    <p:anim calcmode="lin" valueType="num">
                                      <p:cBhvr>
                                        <p:cTn id="99" dur="1000" fill="hold"/>
                                        <p:tgtEl>
                                          <p:spTgt spid="136"/>
                                        </p:tgtEl>
                                        <p:attrNameLst>
                                          <p:attrName>ppt_x</p:attrName>
                                        </p:attrNameLst>
                                      </p:cBhvr>
                                      <p:tavLst>
                                        <p:tav tm="0">
                                          <p:val>
                                            <p:strVal val="#ppt_x"/>
                                          </p:val>
                                        </p:tav>
                                        <p:tav tm="100000">
                                          <p:val>
                                            <p:strVal val="#ppt_x"/>
                                          </p:val>
                                        </p:tav>
                                      </p:tavLst>
                                    </p:anim>
                                    <p:anim calcmode="lin" valueType="num">
                                      <p:cBhvr>
                                        <p:cTn id="100" dur="1000" fill="hold"/>
                                        <p:tgtEl>
                                          <p:spTgt spid="136"/>
                                        </p:tgtEl>
                                        <p:attrNameLst>
                                          <p:attrName>ppt_y</p:attrName>
                                        </p:attrNameLst>
                                      </p:cBhvr>
                                      <p:tavLst>
                                        <p:tav tm="0">
                                          <p:val>
                                            <p:strVal val="#ppt_y-.1"/>
                                          </p:val>
                                        </p:tav>
                                        <p:tav tm="100000">
                                          <p:val>
                                            <p:strVal val="#ppt_y"/>
                                          </p:val>
                                        </p:tav>
                                      </p:tavLst>
                                    </p:anim>
                                  </p:childTnLst>
                                </p:cTn>
                              </p:par>
                              <p:par>
                                <p:cTn id="101" presetID="42" presetClass="entr" presetSubtype="0" fill="hold" nodeType="withEffect">
                                  <p:stCondLst>
                                    <p:cond delay="0"/>
                                  </p:stCondLst>
                                  <p:childTnLst>
                                    <p:set>
                                      <p:cBhvr>
                                        <p:cTn id="102" dur="1" fill="hold">
                                          <p:stCondLst>
                                            <p:cond delay="0"/>
                                          </p:stCondLst>
                                        </p:cTn>
                                        <p:tgtEl>
                                          <p:spTgt spid="133">
                                            <p:txEl>
                                              <p:pRg st="0" end="0"/>
                                            </p:txEl>
                                          </p:spTgt>
                                        </p:tgtEl>
                                        <p:attrNameLst>
                                          <p:attrName>style.visibility</p:attrName>
                                        </p:attrNameLst>
                                      </p:cBhvr>
                                      <p:to>
                                        <p:strVal val="visible"/>
                                      </p:to>
                                    </p:set>
                                    <p:animEffect transition="in" filter="fade">
                                      <p:cBhvr>
                                        <p:cTn id="103" dur="1000"/>
                                        <p:tgtEl>
                                          <p:spTgt spid="133">
                                            <p:txEl>
                                              <p:pRg st="0" end="0"/>
                                            </p:txEl>
                                          </p:spTgt>
                                        </p:tgtEl>
                                      </p:cBhvr>
                                    </p:animEffect>
                                    <p:anim calcmode="lin" valueType="num">
                                      <p:cBhvr>
                                        <p:cTn id="104" dur="1000" fill="hold"/>
                                        <p:tgtEl>
                                          <p:spTgt spid="133">
                                            <p:txEl>
                                              <p:pRg st="0" end="0"/>
                                            </p:txEl>
                                          </p:spTgt>
                                        </p:tgtEl>
                                        <p:attrNameLst>
                                          <p:attrName>ppt_x</p:attrName>
                                        </p:attrNameLst>
                                      </p:cBhvr>
                                      <p:tavLst>
                                        <p:tav tm="0">
                                          <p:val>
                                            <p:strVal val="#ppt_x"/>
                                          </p:val>
                                        </p:tav>
                                        <p:tav tm="100000">
                                          <p:val>
                                            <p:strVal val="#ppt_x"/>
                                          </p:val>
                                        </p:tav>
                                      </p:tavLst>
                                    </p:anim>
                                    <p:anim calcmode="lin" valueType="num">
                                      <p:cBhvr>
                                        <p:cTn id="105" dur="1000" fill="hold"/>
                                        <p:tgtEl>
                                          <p:spTgt spid="13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6" fill="hold">
                      <p:stCondLst>
                        <p:cond delay="indefinite"/>
                      </p:stCondLst>
                      <p:childTnLst>
                        <p:par>
                          <p:cTn id="107" fill="hold">
                            <p:stCondLst>
                              <p:cond delay="0"/>
                            </p:stCondLst>
                            <p:childTnLst>
                              <p:par>
                                <p:cTn id="108" presetID="47" presetClass="entr" presetSubtype="0" fill="hold" nodeType="clickEffect">
                                  <p:stCondLst>
                                    <p:cond delay="0"/>
                                  </p:stCondLst>
                                  <p:childTnLst>
                                    <p:set>
                                      <p:cBhvr>
                                        <p:cTn id="109" dur="1" fill="hold">
                                          <p:stCondLst>
                                            <p:cond delay="0"/>
                                          </p:stCondLst>
                                        </p:cTn>
                                        <p:tgtEl>
                                          <p:spTgt spid="139"/>
                                        </p:tgtEl>
                                        <p:attrNameLst>
                                          <p:attrName>style.visibility</p:attrName>
                                        </p:attrNameLst>
                                      </p:cBhvr>
                                      <p:to>
                                        <p:strVal val="visible"/>
                                      </p:to>
                                    </p:set>
                                    <p:animEffect transition="in" filter="fade">
                                      <p:cBhvr>
                                        <p:cTn id="110" dur="1000"/>
                                        <p:tgtEl>
                                          <p:spTgt spid="139"/>
                                        </p:tgtEl>
                                      </p:cBhvr>
                                    </p:animEffect>
                                    <p:anim calcmode="lin" valueType="num">
                                      <p:cBhvr>
                                        <p:cTn id="111" dur="1000" fill="hold"/>
                                        <p:tgtEl>
                                          <p:spTgt spid="139"/>
                                        </p:tgtEl>
                                        <p:attrNameLst>
                                          <p:attrName>ppt_x</p:attrName>
                                        </p:attrNameLst>
                                      </p:cBhvr>
                                      <p:tavLst>
                                        <p:tav tm="0">
                                          <p:val>
                                            <p:strVal val="#ppt_x"/>
                                          </p:val>
                                        </p:tav>
                                        <p:tav tm="100000">
                                          <p:val>
                                            <p:strVal val="#ppt_x"/>
                                          </p:val>
                                        </p:tav>
                                      </p:tavLst>
                                    </p:anim>
                                    <p:anim calcmode="lin" valueType="num">
                                      <p:cBhvr>
                                        <p:cTn id="112" dur="1000" fill="hold"/>
                                        <p:tgtEl>
                                          <p:spTgt spid="139"/>
                                        </p:tgtEl>
                                        <p:attrNameLst>
                                          <p:attrName>ppt_y</p:attrName>
                                        </p:attrNameLst>
                                      </p:cBhvr>
                                      <p:tavLst>
                                        <p:tav tm="0">
                                          <p:val>
                                            <p:strVal val="#ppt_y-.1"/>
                                          </p:val>
                                        </p:tav>
                                        <p:tav tm="100000">
                                          <p:val>
                                            <p:strVal val="#ppt_y"/>
                                          </p:val>
                                        </p:tav>
                                      </p:tavLst>
                                    </p:anim>
                                  </p:childTnLst>
                                </p:cTn>
                              </p:par>
                              <p:par>
                                <p:cTn id="113" presetID="47" presetClass="entr" presetSubtype="0" fill="hold" nodeType="withEffect">
                                  <p:stCondLst>
                                    <p:cond delay="0"/>
                                  </p:stCondLst>
                                  <p:childTnLst>
                                    <p:set>
                                      <p:cBhvr>
                                        <p:cTn id="114" dur="1" fill="hold">
                                          <p:stCondLst>
                                            <p:cond delay="0"/>
                                          </p:stCondLst>
                                        </p:cTn>
                                        <p:tgtEl>
                                          <p:spTgt spid="147"/>
                                        </p:tgtEl>
                                        <p:attrNameLst>
                                          <p:attrName>style.visibility</p:attrName>
                                        </p:attrNameLst>
                                      </p:cBhvr>
                                      <p:to>
                                        <p:strVal val="visible"/>
                                      </p:to>
                                    </p:set>
                                    <p:animEffect transition="in" filter="fade">
                                      <p:cBhvr>
                                        <p:cTn id="115" dur="1000"/>
                                        <p:tgtEl>
                                          <p:spTgt spid="147"/>
                                        </p:tgtEl>
                                      </p:cBhvr>
                                    </p:animEffect>
                                    <p:anim calcmode="lin" valueType="num">
                                      <p:cBhvr>
                                        <p:cTn id="116" dur="1000" fill="hold"/>
                                        <p:tgtEl>
                                          <p:spTgt spid="147"/>
                                        </p:tgtEl>
                                        <p:attrNameLst>
                                          <p:attrName>ppt_x</p:attrName>
                                        </p:attrNameLst>
                                      </p:cBhvr>
                                      <p:tavLst>
                                        <p:tav tm="0">
                                          <p:val>
                                            <p:strVal val="#ppt_x"/>
                                          </p:val>
                                        </p:tav>
                                        <p:tav tm="100000">
                                          <p:val>
                                            <p:strVal val="#ppt_x"/>
                                          </p:val>
                                        </p:tav>
                                      </p:tavLst>
                                    </p:anim>
                                    <p:anim calcmode="lin" valueType="num">
                                      <p:cBhvr>
                                        <p:cTn id="117" dur="1000" fill="hold"/>
                                        <p:tgtEl>
                                          <p:spTgt spid="147"/>
                                        </p:tgtEl>
                                        <p:attrNameLst>
                                          <p:attrName>ppt_y</p:attrName>
                                        </p:attrNameLst>
                                      </p:cBhvr>
                                      <p:tavLst>
                                        <p:tav tm="0">
                                          <p:val>
                                            <p:strVal val="#ppt_y-.1"/>
                                          </p:val>
                                        </p:tav>
                                        <p:tav tm="100000">
                                          <p:val>
                                            <p:strVal val="#ppt_y"/>
                                          </p:val>
                                        </p:tav>
                                      </p:tavLst>
                                    </p:anim>
                                  </p:childTnLst>
                                </p:cTn>
                              </p:par>
                              <p:par>
                                <p:cTn id="118" presetID="47" presetClass="entr" presetSubtype="0" fill="hold" grpId="0" nodeType="withEffect">
                                  <p:stCondLst>
                                    <p:cond delay="0"/>
                                  </p:stCondLst>
                                  <p:childTnLst>
                                    <p:set>
                                      <p:cBhvr>
                                        <p:cTn id="119" dur="1" fill="hold">
                                          <p:stCondLst>
                                            <p:cond delay="0"/>
                                          </p:stCondLst>
                                        </p:cTn>
                                        <p:tgtEl>
                                          <p:spTgt spid="138"/>
                                        </p:tgtEl>
                                        <p:attrNameLst>
                                          <p:attrName>style.visibility</p:attrName>
                                        </p:attrNameLst>
                                      </p:cBhvr>
                                      <p:to>
                                        <p:strVal val="visible"/>
                                      </p:to>
                                    </p:set>
                                    <p:animEffect transition="in" filter="fade">
                                      <p:cBhvr>
                                        <p:cTn id="120" dur="1000"/>
                                        <p:tgtEl>
                                          <p:spTgt spid="138"/>
                                        </p:tgtEl>
                                      </p:cBhvr>
                                    </p:animEffect>
                                    <p:anim calcmode="lin" valueType="num">
                                      <p:cBhvr>
                                        <p:cTn id="121" dur="1000" fill="hold"/>
                                        <p:tgtEl>
                                          <p:spTgt spid="138"/>
                                        </p:tgtEl>
                                        <p:attrNameLst>
                                          <p:attrName>ppt_x</p:attrName>
                                        </p:attrNameLst>
                                      </p:cBhvr>
                                      <p:tavLst>
                                        <p:tav tm="0">
                                          <p:val>
                                            <p:strVal val="#ppt_x"/>
                                          </p:val>
                                        </p:tav>
                                        <p:tav tm="100000">
                                          <p:val>
                                            <p:strVal val="#ppt_x"/>
                                          </p:val>
                                        </p:tav>
                                      </p:tavLst>
                                    </p:anim>
                                    <p:anim calcmode="lin" valueType="num">
                                      <p:cBhvr>
                                        <p:cTn id="122" dur="1000" fill="hold"/>
                                        <p:tgtEl>
                                          <p:spTgt spid="138"/>
                                        </p:tgtEl>
                                        <p:attrNameLst>
                                          <p:attrName>ppt_y</p:attrName>
                                        </p:attrNameLst>
                                      </p:cBhvr>
                                      <p:tavLst>
                                        <p:tav tm="0">
                                          <p:val>
                                            <p:strVal val="#ppt_y-.1"/>
                                          </p:val>
                                        </p:tav>
                                        <p:tav tm="100000">
                                          <p:val>
                                            <p:strVal val="#ppt_y"/>
                                          </p:val>
                                        </p:tav>
                                      </p:tavLst>
                                    </p:anim>
                                  </p:childTnLst>
                                </p:cTn>
                              </p:par>
                              <p:par>
                                <p:cTn id="123" presetID="42" presetClass="entr" presetSubtype="0" fill="hold" nodeType="withEffect">
                                  <p:stCondLst>
                                    <p:cond delay="0"/>
                                  </p:stCondLst>
                                  <p:childTnLst>
                                    <p:set>
                                      <p:cBhvr>
                                        <p:cTn id="124" dur="1" fill="hold">
                                          <p:stCondLst>
                                            <p:cond delay="0"/>
                                          </p:stCondLst>
                                        </p:cTn>
                                        <p:tgtEl>
                                          <p:spTgt spid="134">
                                            <p:txEl>
                                              <p:pRg st="0" end="0"/>
                                            </p:txEl>
                                          </p:spTgt>
                                        </p:tgtEl>
                                        <p:attrNameLst>
                                          <p:attrName>style.visibility</p:attrName>
                                        </p:attrNameLst>
                                      </p:cBhvr>
                                      <p:to>
                                        <p:strVal val="visible"/>
                                      </p:to>
                                    </p:set>
                                    <p:animEffect transition="in" filter="fade">
                                      <p:cBhvr>
                                        <p:cTn id="125" dur="1000"/>
                                        <p:tgtEl>
                                          <p:spTgt spid="134">
                                            <p:txEl>
                                              <p:pRg st="0" end="0"/>
                                            </p:txEl>
                                          </p:spTgt>
                                        </p:tgtEl>
                                      </p:cBhvr>
                                    </p:animEffect>
                                    <p:anim calcmode="lin" valueType="num">
                                      <p:cBhvr>
                                        <p:cTn id="126" dur="1000" fill="hold"/>
                                        <p:tgtEl>
                                          <p:spTgt spid="134">
                                            <p:txEl>
                                              <p:pRg st="0" end="0"/>
                                            </p:txEl>
                                          </p:spTgt>
                                        </p:tgtEl>
                                        <p:attrNameLst>
                                          <p:attrName>ppt_x</p:attrName>
                                        </p:attrNameLst>
                                      </p:cBhvr>
                                      <p:tavLst>
                                        <p:tav tm="0">
                                          <p:val>
                                            <p:strVal val="#ppt_x"/>
                                          </p:val>
                                        </p:tav>
                                        <p:tav tm="100000">
                                          <p:val>
                                            <p:strVal val="#ppt_x"/>
                                          </p:val>
                                        </p:tav>
                                      </p:tavLst>
                                    </p:anim>
                                    <p:anim calcmode="lin" valueType="num">
                                      <p:cBhvr>
                                        <p:cTn id="127" dur="1000" fill="hold"/>
                                        <p:tgtEl>
                                          <p:spTgt spid="134">
                                            <p:txEl>
                                              <p:pRg st="0" end="0"/>
                                            </p:txEl>
                                          </p:spTgt>
                                        </p:tgtEl>
                                        <p:attrNameLst>
                                          <p:attrName>ppt_y</p:attrName>
                                        </p:attrNameLst>
                                      </p:cBhvr>
                                      <p:tavLst>
                                        <p:tav tm="0">
                                          <p:val>
                                            <p:strVal val="#ppt_y+.1"/>
                                          </p:val>
                                        </p:tav>
                                        <p:tav tm="100000">
                                          <p:val>
                                            <p:strVal val="#ppt_y"/>
                                          </p:val>
                                        </p:tav>
                                      </p:tavLst>
                                    </p:anim>
                                  </p:childTnLst>
                                </p:cTn>
                              </p:par>
                              <p:par>
                                <p:cTn id="128" presetID="42" presetClass="entr" presetSubtype="0" fill="hold" nodeType="withEffect">
                                  <p:stCondLst>
                                    <p:cond delay="0"/>
                                  </p:stCondLst>
                                  <p:childTnLst>
                                    <p:set>
                                      <p:cBhvr>
                                        <p:cTn id="129" dur="1" fill="hold">
                                          <p:stCondLst>
                                            <p:cond delay="0"/>
                                          </p:stCondLst>
                                        </p:cTn>
                                        <p:tgtEl>
                                          <p:spTgt spid="134">
                                            <p:txEl>
                                              <p:pRg st="1" end="1"/>
                                            </p:txEl>
                                          </p:spTgt>
                                        </p:tgtEl>
                                        <p:attrNameLst>
                                          <p:attrName>style.visibility</p:attrName>
                                        </p:attrNameLst>
                                      </p:cBhvr>
                                      <p:to>
                                        <p:strVal val="visible"/>
                                      </p:to>
                                    </p:set>
                                    <p:animEffect transition="in" filter="fade">
                                      <p:cBhvr>
                                        <p:cTn id="130" dur="1000"/>
                                        <p:tgtEl>
                                          <p:spTgt spid="134">
                                            <p:txEl>
                                              <p:pRg st="1" end="1"/>
                                            </p:txEl>
                                          </p:spTgt>
                                        </p:tgtEl>
                                      </p:cBhvr>
                                    </p:animEffect>
                                    <p:anim calcmode="lin" valueType="num">
                                      <p:cBhvr>
                                        <p:cTn id="131" dur="1000" fill="hold"/>
                                        <p:tgtEl>
                                          <p:spTgt spid="134">
                                            <p:txEl>
                                              <p:pRg st="1" end="1"/>
                                            </p:txEl>
                                          </p:spTgt>
                                        </p:tgtEl>
                                        <p:attrNameLst>
                                          <p:attrName>ppt_x</p:attrName>
                                        </p:attrNameLst>
                                      </p:cBhvr>
                                      <p:tavLst>
                                        <p:tav tm="0">
                                          <p:val>
                                            <p:strVal val="#ppt_x"/>
                                          </p:val>
                                        </p:tav>
                                        <p:tav tm="100000">
                                          <p:val>
                                            <p:strVal val="#ppt_x"/>
                                          </p:val>
                                        </p:tav>
                                      </p:tavLst>
                                    </p:anim>
                                    <p:anim calcmode="lin" valueType="num">
                                      <p:cBhvr>
                                        <p:cTn id="132" dur="1000" fill="hold"/>
                                        <p:tgtEl>
                                          <p:spTgt spid="134">
                                            <p:txEl>
                                              <p:pRg st="1" end="1"/>
                                            </p:txEl>
                                          </p:spTgt>
                                        </p:tgtEl>
                                        <p:attrNameLst>
                                          <p:attrName>ppt_y</p:attrName>
                                        </p:attrNameLst>
                                      </p:cBhvr>
                                      <p:tavLst>
                                        <p:tav tm="0">
                                          <p:val>
                                            <p:strVal val="#ppt_y+.1"/>
                                          </p:val>
                                        </p:tav>
                                        <p:tav tm="100000">
                                          <p:val>
                                            <p:strVal val="#ppt_y"/>
                                          </p:val>
                                        </p:tav>
                                      </p:tavLst>
                                    </p:anim>
                                  </p:childTnLst>
                                </p:cTn>
                              </p:par>
                              <p:par>
                                <p:cTn id="133" presetID="42" presetClass="entr" presetSubtype="0" fill="hold" nodeType="withEffect">
                                  <p:stCondLst>
                                    <p:cond delay="0"/>
                                  </p:stCondLst>
                                  <p:childTnLst>
                                    <p:set>
                                      <p:cBhvr>
                                        <p:cTn id="134" dur="1" fill="hold">
                                          <p:stCondLst>
                                            <p:cond delay="0"/>
                                          </p:stCondLst>
                                        </p:cTn>
                                        <p:tgtEl>
                                          <p:spTgt spid="134">
                                            <p:txEl>
                                              <p:pRg st="2" end="2"/>
                                            </p:txEl>
                                          </p:spTgt>
                                        </p:tgtEl>
                                        <p:attrNameLst>
                                          <p:attrName>style.visibility</p:attrName>
                                        </p:attrNameLst>
                                      </p:cBhvr>
                                      <p:to>
                                        <p:strVal val="visible"/>
                                      </p:to>
                                    </p:set>
                                    <p:animEffect transition="in" filter="fade">
                                      <p:cBhvr>
                                        <p:cTn id="135" dur="1000"/>
                                        <p:tgtEl>
                                          <p:spTgt spid="134">
                                            <p:txEl>
                                              <p:pRg st="2" end="2"/>
                                            </p:txEl>
                                          </p:spTgt>
                                        </p:tgtEl>
                                      </p:cBhvr>
                                    </p:animEffect>
                                    <p:anim calcmode="lin" valueType="num">
                                      <p:cBhvr>
                                        <p:cTn id="136" dur="1000" fill="hold"/>
                                        <p:tgtEl>
                                          <p:spTgt spid="134">
                                            <p:txEl>
                                              <p:pRg st="2" end="2"/>
                                            </p:txEl>
                                          </p:spTgt>
                                        </p:tgtEl>
                                        <p:attrNameLst>
                                          <p:attrName>ppt_x</p:attrName>
                                        </p:attrNameLst>
                                      </p:cBhvr>
                                      <p:tavLst>
                                        <p:tav tm="0">
                                          <p:val>
                                            <p:strVal val="#ppt_x"/>
                                          </p:val>
                                        </p:tav>
                                        <p:tav tm="100000">
                                          <p:val>
                                            <p:strVal val="#ppt_x"/>
                                          </p:val>
                                        </p:tav>
                                      </p:tavLst>
                                    </p:anim>
                                    <p:anim calcmode="lin" valueType="num">
                                      <p:cBhvr>
                                        <p:cTn id="137" dur="1000" fill="hold"/>
                                        <p:tgtEl>
                                          <p:spTgt spid="13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38" fill="hold">
                      <p:stCondLst>
                        <p:cond delay="indefinite"/>
                      </p:stCondLst>
                      <p:childTnLst>
                        <p:par>
                          <p:cTn id="139" fill="hold">
                            <p:stCondLst>
                              <p:cond delay="0"/>
                            </p:stCondLst>
                            <p:childTnLst>
                              <p:par>
                                <p:cTn id="140" presetID="47" presetClass="entr" presetSubtype="0" fill="hold" nodeType="clickEffect">
                                  <p:stCondLst>
                                    <p:cond delay="0"/>
                                  </p:stCondLst>
                                  <p:childTnLst>
                                    <p:set>
                                      <p:cBhvr>
                                        <p:cTn id="141" dur="1" fill="hold">
                                          <p:stCondLst>
                                            <p:cond delay="0"/>
                                          </p:stCondLst>
                                        </p:cTn>
                                        <p:tgtEl>
                                          <p:spTgt spid="140"/>
                                        </p:tgtEl>
                                        <p:attrNameLst>
                                          <p:attrName>style.visibility</p:attrName>
                                        </p:attrNameLst>
                                      </p:cBhvr>
                                      <p:to>
                                        <p:strVal val="visible"/>
                                      </p:to>
                                    </p:set>
                                    <p:animEffect transition="in" filter="fade">
                                      <p:cBhvr>
                                        <p:cTn id="142" dur="1000"/>
                                        <p:tgtEl>
                                          <p:spTgt spid="140"/>
                                        </p:tgtEl>
                                      </p:cBhvr>
                                    </p:animEffect>
                                    <p:anim calcmode="lin" valueType="num">
                                      <p:cBhvr>
                                        <p:cTn id="143" dur="1000" fill="hold"/>
                                        <p:tgtEl>
                                          <p:spTgt spid="140"/>
                                        </p:tgtEl>
                                        <p:attrNameLst>
                                          <p:attrName>ppt_x</p:attrName>
                                        </p:attrNameLst>
                                      </p:cBhvr>
                                      <p:tavLst>
                                        <p:tav tm="0">
                                          <p:val>
                                            <p:strVal val="#ppt_x"/>
                                          </p:val>
                                        </p:tav>
                                        <p:tav tm="100000">
                                          <p:val>
                                            <p:strVal val="#ppt_x"/>
                                          </p:val>
                                        </p:tav>
                                      </p:tavLst>
                                    </p:anim>
                                    <p:anim calcmode="lin" valueType="num">
                                      <p:cBhvr>
                                        <p:cTn id="144" dur="1000" fill="hold"/>
                                        <p:tgtEl>
                                          <p:spTgt spid="140"/>
                                        </p:tgtEl>
                                        <p:attrNameLst>
                                          <p:attrName>ppt_y</p:attrName>
                                        </p:attrNameLst>
                                      </p:cBhvr>
                                      <p:tavLst>
                                        <p:tav tm="0">
                                          <p:val>
                                            <p:strVal val="#ppt_y-.1"/>
                                          </p:val>
                                        </p:tav>
                                        <p:tav tm="100000">
                                          <p:val>
                                            <p:strVal val="#ppt_y"/>
                                          </p:val>
                                        </p:tav>
                                      </p:tavLst>
                                    </p:anim>
                                  </p:childTnLst>
                                </p:cTn>
                              </p:par>
                              <p:par>
                                <p:cTn id="145" presetID="47" presetClass="entr" presetSubtype="0" fill="hold" nodeType="withEffect">
                                  <p:stCondLst>
                                    <p:cond delay="0"/>
                                  </p:stCondLst>
                                  <p:childTnLst>
                                    <p:set>
                                      <p:cBhvr>
                                        <p:cTn id="146" dur="1" fill="hold">
                                          <p:stCondLst>
                                            <p:cond delay="0"/>
                                          </p:stCondLst>
                                        </p:cTn>
                                        <p:tgtEl>
                                          <p:spTgt spid="130"/>
                                        </p:tgtEl>
                                        <p:attrNameLst>
                                          <p:attrName>style.visibility</p:attrName>
                                        </p:attrNameLst>
                                      </p:cBhvr>
                                      <p:to>
                                        <p:strVal val="visible"/>
                                      </p:to>
                                    </p:set>
                                    <p:animEffect transition="in" filter="fade">
                                      <p:cBhvr>
                                        <p:cTn id="147" dur="1000"/>
                                        <p:tgtEl>
                                          <p:spTgt spid="130"/>
                                        </p:tgtEl>
                                      </p:cBhvr>
                                    </p:animEffect>
                                    <p:anim calcmode="lin" valueType="num">
                                      <p:cBhvr>
                                        <p:cTn id="148" dur="1000" fill="hold"/>
                                        <p:tgtEl>
                                          <p:spTgt spid="130"/>
                                        </p:tgtEl>
                                        <p:attrNameLst>
                                          <p:attrName>ppt_x</p:attrName>
                                        </p:attrNameLst>
                                      </p:cBhvr>
                                      <p:tavLst>
                                        <p:tav tm="0">
                                          <p:val>
                                            <p:strVal val="#ppt_x"/>
                                          </p:val>
                                        </p:tav>
                                        <p:tav tm="100000">
                                          <p:val>
                                            <p:strVal val="#ppt_x"/>
                                          </p:val>
                                        </p:tav>
                                      </p:tavLst>
                                    </p:anim>
                                    <p:anim calcmode="lin" valueType="num">
                                      <p:cBhvr>
                                        <p:cTn id="149" dur="1000" fill="hold"/>
                                        <p:tgtEl>
                                          <p:spTgt spid="130"/>
                                        </p:tgtEl>
                                        <p:attrNameLst>
                                          <p:attrName>ppt_y</p:attrName>
                                        </p:attrNameLst>
                                      </p:cBhvr>
                                      <p:tavLst>
                                        <p:tav tm="0">
                                          <p:val>
                                            <p:strVal val="#ppt_y-.1"/>
                                          </p:val>
                                        </p:tav>
                                        <p:tav tm="100000">
                                          <p:val>
                                            <p:strVal val="#ppt_y"/>
                                          </p:val>
                                        </p:tav>
                                      </p:tavLst>
                                    </p:anim>
                                  </p:childTnLst>
                                </p:cTn>
                              </p:par>
                              <p:par>
                                <p:cTn id="150" presetID="47" presetClass="entr" presetSubtype="0" fill="hold" grpId="0" nodeType="withEffect">
                                  <p:stCondLst>
                                    <p:cond delay="0"/>
                                  </p:stCondLst>
                                  <p:childTnLst>
                                    <p:set>
                                      <p:cBhvr>
                                        <p:cTn id="151" dur="1" fill="hold">
                                          <p:stCondLst>
                                            <p:cond delay="0"/>
                                          </p:stCondLst>
                                        </p:cTn>
                                        <p:tgtEl>
                                          <p:spTgt spid="141"/>
                                        </p:tgtEl>
                                        <p:attrNameLst>
                                          <p:attrName>style.visibility</p:attrName>
                                        </p:attrNameLst>
                                      </p:cBhvr>
                                      <p:to>
                                        <p:strVal val="visible"/>
                                      </p:to>
                                    </p:set>
                                    <p:animEffect transition="in" filter="fade">
                                      <p:cBhvr>
                                        <p:cTn id="152" dur="1000"/>
                                        <p:tgtEl>
                                          <p:spTgt spid="141"/>
                                        </p:tgtEl>
                                      </p:cBhvr>
                                    </p:animEffect>
                                    <p:anim calcmode="lin" valueType="num">
                                      <p:cBhvr>
                                        <p:cTn id="153" dur="1000" fill="hold"/>
                                        <p:tgtEl>
                                          <p:spTgt spid="141"/>
                                        </p:tgtEl>
                                        <p:attrNameLst>
                                          <p:attrName>ppt_x</p:attrName>
                                        </p:attrNameLst>
                                      </p:cBhvr>
                                      <p:tavLst>
                                        <p:tav tm="0">
                                          <p:val>
                                            <p:strVal val="#ppt_x"/>
                                          </p:val>
                                        </p:tav>
                                        <p:tav tm="100000">
                                          <p:val>
                                            <p:strVal val="#ppt_x"/>
                                          </p:val>
                                        </p:tav>
                                      </p:tavLst>
                                    </p:anim>
                                    <p:anim calcmode="lin" valueType="num">
                                      <p:cBhvr>
                                        <p:cTn id="154" dur="1000" fill="hold"/>
                                        <p:tgtEl>
                                          <p:spTgt spid="141"/>
                                        </p:tgtEl>
                                        <p:attrNameLst>
                                          <p:attrName>ppt_y</p:attrName>
                                        </p:attrNameLst>
                                      </p:cBhvr>
                                      <p:tavLst>
                                        <p:tav tm="0">
                                          <p:val>
                                            <p:strVal val="#ppt_y-.1"/>
                                          </p:val>
                                        </p:tav>
                                        <p:tav tm="100000">
                                          <p:val>
                                            <p:strVal val="#ppt_y"/>
                                          </p:val>
                                        </p:tav>
                                      </p:tavLst>
                                    </p:anim>
                                  </p:childTnLst>
                                </p:cTn>
                              </p:par>
                              <p:par>
                                <p:cTn id="155" presetID="42" presetClass="entr" presetSubtype="0" fill="hold" grpId="0" nodeType="withEffect">
                                  <p:stCondLst>
                                    <p:cond delay="0"/>
                                  </p:stCondLst>
                                  <p:childTnLst>
                                    <p:set>
                                      <p:cBhvr>
                                        <p:cTn id="156" dur="1" fill="hold">
                                          <p:stCondLst>
                                            <p:cond delay="0"/>
                                          </p:stCondLst>
                                        </p:cTn>
                                        <p:tgtEl>
                                          <p:spTgt spid="135">
                                            <p:txEl>
                                              <p:pRg st="0" end="0"/>
                                            </p:txEl>
                                          </p:spTgt>
                                        </p:tgtEl>
                                        <p:attrNameLst>
                                          <p:attrName>style.visibility</p:attrName>
                                        </p:attrNameLst>
                                      </p:cBhvr>
                                      <p:to>
                                        <p:strVal val="visible"/>
                                      </p:to>
                                    </p:set>
                                    <p:animEffect transition="in" filter="fade">
                                      <p:cBhvr>
                                        <p:cTn id="157" dur="1000"/>
                                        <p:tgtEl>
                                          <p:spTgt spid="135">
                                            <p:txEl>
                                              <p:pRg st="0" end="0"/>
                                            </p:txEl>
                                          </p:spTgt>
                                        </p:tgtEl>
                                      </p:cBhvr>
                                    </p:animEffect>
                                    <p:anim calcmode="lin" valueType="num">
                                      <p:cBhvr>
                                        <p:cTn id="158" dur="1000" fill="hold"/>
                                        <p:tgtEl>
                                          <p:spTgt spid="135">
                                            <p:txEl>
                                              <p:pRg st="0" end="0"/>
                                            </p:txEl>
                                          </p:spTgt>
                                        </p:tgtEl>
                                        <p:attrNameLst>
                                          <p:attrName>ppt_x</p:attrName>
                                        </p:attrNameLst>
                                      </p:cBhvr>
                                      <p:tavLst>
                                        <p:tav tm="0">
                                          <p:val>
                                            <p:strVal val="#ppt_x"/>
                                          </p:val>
                                        </p:tav>
                                        <p:tav tm="100000">
                                          <p:val>
                                            <p:strVal val="#ppt_x"/>
                                          </p:val>
                                        </p:tav>
                                      </p:tavLst>
                                    </p:anim>
                                    <p:anim calcmode="lin" valueType="num">
                                      <p:cBhvr>
                                        <p:cTn id="159" dur="1000" fill="hold"/>
                                        <p:tgtEl>
                                          <p:spTgt spid="135">
                                            <p:txEl>
                                              <p:pRg st="0" end="0"/>
                                            </p:txEl>
                                          </p:spTgt>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0"/>
                                  </p:stCondLst>
                                  <p:childTnLst>
                                    <p:set>
                                      <p:cBhvr>
                                        <p:cTn id="161" dur="1" fill="hold">
                                          <p:stCondLst>
                                            <p:cond delay="0"/>
                                          </p:stCondLst>
                                        </p:cTn>
                                        <p:tgtEl>
                                          <p:spTgt spid="135">
                                            <p:txEl>
                                              <p:pRg st="1" end="1"/>
                                            </p:txEl>
                                          </p:spTgt>
                                        </p:tgtEl>
                                        <p:attrNameLst>
                                          <p:attrName>style.visibility</p:attrName>
                                        </p:attrNameLst>
                                      </p:cBhvr>
                                      <p:to>
                                        <p:strVal val="visible"/>
                                      </p:to>
                                    </p:set>
                                    <p:animEffect transition="in" filter="fade">
                                      <p:cBhvr>
                                        <p:cTn id="162" dur="1000"/>
                                        <p:tgtEl>
                                          <p:spTgt spid="135">
                                            <p:txEl>
                                              <p:pRg st="1" end="1"/>
                                            </p:txEl>
                                          </p:spTgt>
                                        </p:tgtEl>
                                      </p:cBhvr>
                                    </p:animEffect>
                                    <p:anim calcmode="lin" valueType="num">
                                      <p:cBhvr>
                                        <p:cTn id="163" dur="1000" fill="hold"/>
                                        <p:tgtEl>
                                          <p:spTgt spid="135">
                                            <p:txEl>
                                              <p:pRg st="1" end="1"/>
                                            </p:txEl>
                                          </p:spTgt>
                                        </p:tgtEl>
                                        <p:attrNameLst>
                                          <p:attrName>ppt_x</p:attrName>
                                        </p:attrNameLst>
                                      </p:cBhvr>
                                      <p:tavLst>
                                        <p:tav tm="0">
                                          <p:val>
                                            <p:strVal val="#ppt_x"/>
                                          </p:val>
                                        </p:tav>
                                        <p:tav tm="100000">
                                          <p:val>
                                            <p:strVal val="#ppt_x"/>
                                          </p:val>
                                        </p:tav>
                                      </p:tavLst>
                                    </p:anim>
                                    <p:anim calcmode="lin" valueType="num">
                                      <p:cBhvr>
                                        <p:cTn id="164" dur="1000" fill="hold"/>
                                        <p:tgtEl>
                                          <p:spTgt spid="135">
                                            <p:txEl>
                                              <p:pRg st="1" end="1"/>
                                            </p:txEl>
                                          </p:spTgt>
                                        </p:tgtEl>
                                        <p:attrNameLst>
                                          <p:attrName>ppt_y</p:attrName>
                                        </p:attrNameLst>
                                      </p:cBhvr>
                                      <p:tavLst>
                                        <p:tav tm="0">
                                          <p:val>
                                            <p:strVal val="#ppt_y+.1"/>
                                          </p:val>
                                        </p:tav>
                                        <p:tav tm="100000">
                                          <p:val>
                                            <p:strVal val="#ppt_y"/>
                                          </p:val>
                                        </p:tav>
                                      </p:tavLst>
                                    </p:anim>
                                  </p:childTnLst>
                                </p:cTn>
                              </p:par>
                              <p:par>
                                <p:cTn id="165" presetID="42" presetClass="entr" presetSubtype="0" fill="hold" grpId="0" nodeType="withEffect">
                                  <p:stCondLst>
                                    <p:cond delay="0"/>
                                  </p:stCondLst>
                                  <p:childTnLst>
                                    <p:set>
                                      <p:cBhvr>
                                        <p:cTn id="166" dur="1" fill="hold">
                                          <p:stCondLst>
                                            <p:cond delay="0"/>
                                          </p:stCondLst>
                                        </p:cTn>
                                        <p:tgtEl>
                                          <p:spTgt spid="135">
                                            <p:txEl>
                                              <p:pRg st="2" end="2"/>
                                            </p:txEl>
                                          </p:spTgt>
                                        </p:tgtEl>
                                        <p:attrNameLst>
                                          <p:attrName>style.visibility</p:attrName>
                                        </p:attrNameLst>
                                      </p:cBhvr>
                                      <p:to>
                                        <p:strVal val="visible"/>
                                      </p:to>
                                    </p:set>
                                    <p:animEffect transition="in" filter="fade">
                                      <p:cBhvr>
                                        <p:cTn id="167" dur="1000"/>
                                        <p:tgtEl>
                                          <p:spTgt spid="135">
                                            <p:txEl>
                                              <p:pRg st="2" end="2"/>
                                            </p:txEl>
                                          </p:spTgt>
                                        </p:tgtEl>
                                      </p:cBhvr>
                                    </p:animEffect>
                                    <p:anim calcmode="lin" valueType="num">
                                      <p:cBhvr>
                                        <p:cTn id="168" dur="1000" fill="hold"/>
                                        <p:tgtEl>
                                          <p:spTgt spid="135">
                                            <p:txEl>
                                              <p:pRg st="2" end="2"/>
                                            </p:txEl>
                                          </p:spTgt>
                                        </p:tgtEl>
                                        <p:attrNameLst>
                                          <p:attrName>ppt_x</p:attrName>
                                        </p:attrNameLst>
                                      </p:cBhvr>
                                      <p:tavLst>
                                        <p:tav tm="0">
                                          <p:val>
                                            <p:strVal val="#ppt_x"/>
                                          </p:val>
                                        </p:tav>
                                        <p:tav tm="100000">
                                          <p:val>
                                            <p:strVal val="#ppt_x"/>
                                          </p:val>
                                        </p:tav>
                                      </p:tavLst>
                                    </p:anim>
                                    <p:anim calcmode="lin" valueType="num">
                                      <p:cBhvr>
                                        <p:cTn id="169" dur="1000" fill="hold"/>
                                        <p:tgtEl>
                                          <p:spTgt spid="135">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uiExpand="1" build="allAtOnce"/>
      <p:bldP spid="104" grpId="0"/>
      <p:bldP spid="106" grpId="0"/>
      <p:bldP spid="109" grpId="0"/>
      <p:bldP spid="135" grpId="0" uiExpand="1" build="allAtOnce"/>
      <p:bldP spid="136" grpId="0"/>
      <p:bldP spid="138" grpId="0"/>
      <p:bldP spid="14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2177635-9778-4E82-AD3D-269F895DB502}"/>
              </a:ext>
            </a:extLst>
          </p:cNvPr>
          <p:cNvSpPr>
            <a:spLocks noGrp="1"/>
          </p:cNvSpPr>
          <p:nvPr>
            <p:ph type="title"/>
          </p:nvPr>
        </p:nvSpPr>
        <p:spPr/>
        <p:txBody>
          <a:bodyPr/>
          <a:lstStyle/>
          <a:p>
            <a:r>
              <a:rPr lang="en-US" dirty="0"/>
              <a:t>The analyzer modules</a:t>
            </a:r>
          </a:p>
        </p:txBody>
      </p:sp>
      <p:sp>
        <p:nvSpPr>
          <p:cNvPr id="4" name="Date Placeholder 3">
            <a:extLst>
              <a:ext uri="{FF2B5EF4-FFF2-40B4-BE49-F238E27FC236}">
                <a16:creationId xmlns:a16="http://schemas.microsoft.com/office/drawing/2014/main" id="{07CD06DE-26A5-4D54-8E82-B28FC2D29F84}"/>
              </a:ext>
            </a:extLst>
          </p:cNvPr>
          <p:cNvSpPr>
            <a:spLocks noGrp="1"/>
          </p:cNvSpPr>
          <p:nvPr>
            <p:ph type="dt" sz="half"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AB2352-921F-4DD8-A99A-A1474F6943FF}"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Footer Placeholder 4">
            <a:extLst>
              <a:ext uri="{FF2B5EF4-FFF2-40B4-BE49-F238E27FC236}">
                <a16:creationId xmlns:a16="http://schemas.microsoft.com/office/drawing/2014/main" id="{B664B098-150F-4EFD-8B4D-07C28B54F30F}"/>
              </a:ext>
            </a:extLst>
          </p:cNvPr>
          <p:cNvSpPr>
            <a:spLocks noGrp="1"/>
          </p:cNvSpPr>
          <p:nvPr>
            <p:ph type="ftr" sz="quarter" idx="19"/>
          </p:nvPr>
        </p:nvSpPr>
        <p:spPr/>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9A9A9"/>
                </a:solidFill>
                <a:effectLst/>
                <a:uLnTx/>
                <a:uFillTx/>
                <a:latin typeface="ABBvoice"/>
                <a:ea typeface="ABBvoice"/>
                <a:cs typeface="ABBvoice"/>
              </a:rPr>
              <a:t>* Hartmann &amp; Braun – became part of ABB with the acquisition of </a:t>
            </a:r>
            <a:r>
              <a:rPr kumimoji="0" lang="en-US" sz="1000" b="0" i="0" u="none" strike="noStrike" kern="1200" cap="none" spc="0" normalizeH="0" baseline="0" noProof="0" dirty="0" err="1">
                <a:ln>
                  <a:noFill/>
                </a:ln>
                <a:solidFill>
                  <a:srgbClr val="A9A9A9"/>
                </a:solidFill>
                <a:effectLst/>
                <a:uLnTx/>
                <a:uFillTx/>
                <a:latin typeface="ABBvoice"/>
                <a:ea typeface="ABBvoice"/>
                <a:cs typeface="ABBvoice"/>
              </a:rPr>
              <a:t>Elsag</a:t>
            </a:r>
            <a:r>
              <a:rPr kumimoji="0" lang="en-US" sz="1000" b="0" i="0" u="none" strike="noStrike" kern="1200" cap="none" spc="0" normalizeH="0" baseline="0" noProof="0" dirty="0">
                <a:ln>
                  <a:noFill/>
                </a:ln>
                <a:solidFill>
                  <a:srgbClr val="A9A9A9"/>
                </a:solidFill>
                <a:effectLst/>
                <a:uLnTx/>
                <a:uFillTx/>
                <a:latin typeface="ABBvoice"/>
                <a:ea typeface="ABBvoice"/>
                <a:cs typeface="ABBvoice"/>
              </a:rPr>
              <a:t> Bailey in 1999</a:t>
            </a:r>
          </a:p>
        </p:txBody>
      </p:sp>
      <p:sp>
        <p:nvSpPr>
          <p:cNvPr id="6" name="Slide Number Placeholder 5">
            <a:extLst>
              <a:ext uri="{FF2B5EF4-FFF2-40B4-BE49-F238E27FC236}">
                <a16:creationId xmlns:a16="http://schemas.microsoft.com/office/drawing/2014/main" id="{587BB1C6-87E0-4BBC-AEF5-C2CF36CCB90A}"/>
              </a:ext>
            </a:extLst>
          </p:cNvPr>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7" name="Subtitle 6">
            <a:extLst>
              <a:ext uri="{FF2B5EF4-FFF2-40B4-BE49-F238E27FC236}">
                <a16:creationId xmlns:a16="http://schemas.microsoft.com/office/drawing/2014/main" id="{96DD7ADA-B41A-44CC-9A94-A7EF10D8992C}"/>
              </a:ext>
            </a:extLst>
          </p:cNvPr>
          <p:cNvSpPr>
            <a:spLocks noGrp="1"/>
          </p:cNvSpPr>
          <p:nvPr>
            <p:ph type="subTitle" idx="13"/>
          </p:nvPr>
        </p:nvSpPr>
        <p:spPr/>
        <p:txBody>
          <a:bodyPr/>
          <a:lstStyle/>
          <a:p>
            <a:r>
              <a:rPr lang="en-US" dirty="0"/>
              <a:t>World renowned brand names built on 90 years of rich heritage</a:t>
            </a:r>
          </a:p>
        </p:txBody>
      </p:sp>
      <p:graphicFrame>
        <p:nvGraphicFramePr>
          <p:cNvPr id="71" name="Table 70">
            <a:extLst>
              <a:ext uri="{FF2B5EF4-FFF2-40B4-BE49-F238E27FC236}">
                <a16:creationId xmlns:a16="http://schemas.microsoft.com/office/drawing/2014/main" id="{387D2BEF-8AF5-4A79-AAAF-6AB8C952C988}"/>
              </a:ext>
            </a:extLst>
          </p:cNvPr>
          <p:cNvGraphicFramePr>
            <a:graphicFrameLocks noGrp="1"/>
          </p:cNvGraphicFramePr>
          <p:nvPr>
            <p:extLst/>
          </p:nvPr>
        </p:nvGraphicFramePr>
        <p:xfrm>
          <a:off x="1969478" y="3245742"/>
          <a:ext cx="1645784" cy="2800320"/>
        </p:xfrm>
        <a:graphic>
          <a:graphicData uri="http://schemas.openxmlformats.org/drawingml/2006/table">
            <a:tbl>
              <a:tblPr firstRow="1" bandRow="1">
                <a:tableStyleId>{073A0DAA-6AF3-43AB-8588-CEC1D06C72B9}</a:tableStyleId>
              </a:tblPr>
              <a:tblGrid>
                <a:gridCol w="1645784">
                  <a:extLst>
                    <a:ext uri="{9D8B030D-6E8A-4147-A177-3AD203B41FA5}">
                      <a16:colId xmlns:a16="http://schemas.microsoft.com/office/drawing/2014/main" val="1809814722"/>
                    </a:ext>
                  </a:extLst>
                </a:gridCol>
              </a:tblGrid>
              <a:tr h="370840">
                <a:tc>
                  <a:txBody>
                    <a:bodyPr/>
                    <a:lstStyle/>
                    <a:p>
                      <a:pPr algn="ctr"/>
                      <a:r>
                        <a:rPr lang="en-US" sz="2000" noProof="0">
                          <a:solidFill>
                            <a:schemeClr val="tx2"/>
                          </a:solidFill>
                        </a:rPr>
                        <a:t>Uras</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18118054"/>
                  </a:ext>
                </a:extLst>
              </a:tr>
              <a:tr h="756000">
                <a:tc>
                  <a:txBody>
                    <a:bodyPr/>
                    <a:lstStyle/>
                    <a:p>
                      <a:pPr algn="ctr"/>
                      <a:r>
                        <a:rPr lang="en-US" sz="1400" noProof="0">
                          <a:solidFill>
                            <a:schemeClr val="tx1"/>
                          </a:solidFill>
                        </a:rPr>
                        <a:t>IR photometer</a:t>
                      </a:r>
                    </a:p>
                  </a:txBody>
                  <a:tcPr marL="0" marR="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80783769"/>
                  </a:ext>
                </a:extLst>
              </a:tr>
              <a:tr h="370840">
                <a:tc>
                  <a:txBody>
                    <a:bodyPr/>
                    <a:lstStyle/>
                    <a:p>
                      <a:pPr lvl="0" algn="ctr"/>
                      <a:r>
                        <a:rPr lang="en-US" sz="1200" noProof="0" dirty="0">
                          <a:solidFill>
                            <a:schemeClr val="tx1"/>
                          </a:solidFill>
                        </a:rPr>
                        <a:t>Original BASF license to H&amp;B*, first usable NDIR spectromete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9602902"/>
                  </a:ext>
                </a:extLst>
              </a:tr>
              <a:tr h="504000">
                <a:tc>
                  <a:txBody>
                    <a:bodyPr/>
                    <a:lstStyle/>
                    <a:p>
                      <a:pPr algn="ctr"/>
                      <a:r>
                        <a:rPr lang="en-US" sz="1200" noProof="0">
                          <a:solidFill>
                            <a:schemeClr val="tx1"/>
                          </a:solidFill>
                        </a:rPr>
                        <a:t>CO, NO, SO</a:t>
                      </a:r>
                      <a:r>
                        <a:rPr lang="en-US" sz="1200" baseline="-25000" noProof="0">
                          <a:solidFill>
                            <a:schemeClr val="tx1"/>
                          </a:solidFill>
                        </a:rPr>
                        <a:t>2</a:t>
                      </a:r>
                      <a:r>
                        <a:rPr lang="en-US" sz="1200" noProof="0">
                          <a:solidFill>
                            <a:schemeClr val="tx1"/>
                          </a:solidFill>
                        </a:rPr>
                        <a:t>, CO</a:t>
                      </a:r>
                      <a:r>
                        <a:rPr lang="en-US" sz="1200" kern="1200" baseline="-25000" noProof="0">
                          <a:solidFill>
                            <a:schemeClr val="tx1"/>
                          </a:solidFill>
                          <a:latin typeface="+mn-lt"/>
                          <a:ea typeface="+mn-ea"/>
                          <a:cs typeface="+mn-cs"/>
                        </a:rPr>
                        <a:t>2</a:t>
                      </a:r>
                      <a:r>
                        <a:rPr lang="en-US" sz="1200" noProof="0">
                          <a:solidFill>
                            <a:schemeClr val="tx1"/>
                          </a:solidFill>
                        </a:rPr>
                        <a:t>, …</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34767668"/>
                  </a:ext>
                </a:extLst>
              </a:tr>
              <a:tr h="504000">
                <a:tc>
                  <a:txBody>
                    <a:bodyPr/>
                    <a:lstStyle/>
                    <a:p>
                      <a:pPr algn="ctr"/>
                      <a:r>
                        <a:rPr lang="en-US" sz="1400" b="1" baseline="0" noProof="0" dirty="0">
                          <a:solidFill>
                            <a:schemeClr val="tx1"/>
                          </a:solidFill>
                        </a:rPr>
                        <a:t>Uras26</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2886810"/>
                  </a:ext>
                </a:extLst>
              </a:tr>
            </a:tbl>
          </a:graphicData>
        </a:graphic>
      </p:graphicFrame>
      <p:graphicFrame>
        <p:nvGraphicFramePr>
          <p:cNvPr id="72" name="Table 71">
            <a:extLst>
              <a:ext uri="{FF2B5EF4-FFF2-40B4-BE49-F238E27FC236}">
                <a16:creationId xmlns:a16="http://schemas.microsoft.com/office/drawing/2014/main" id="{B50B10E5-376C-4D41-905E-6D3427F789D0}"/>
              </a:ext>
            </a:extLst>
          </p:cNvPr>
          <p:cNvGraphicFramePr>
            <a:graphicFrameLocks noGrp="1"/>
          </p:cNvGraphicFramePr>
          <p:nvPr>
            <p:extLst/>
          </p:nvPr>
        </p:nvGraphicFramePr>
        <p:xfrm>
          <a:off x="3606880" y="3245742"/>
          <a:ext cx="1645784" cy="2800320"/>
        </p:xfrm>
        <a:graphic>
          <a:graphicData uri="http://schemas.openxmlformats.org/drawingml/2006/table">
            <a:tbl>
              <a:tblPr firstRow="1" bandRow="1">
                <a:tableStyleId>{073A0DAA-6AF3-43AB-8588-CEC1D06C72B9}</a:tableStyleId>
              </a:tblPr>
              <a:tblGrid>
                <a:gridCol w="1645784">
                  <a:extLst>
                    <a:ext uri="{9D8B030D-6E8A-4147-A177-3AD203B41FA5}">
                      <a16:colId xmlns:a16="http://schemas.microsoft.com/office/drawing/2014/main" val="2060801155"/>
                    </a:ext>
                  </a:extLst>
                </a:gridCol>
              </a:tblGrid>
              <a:tr h="370840">
                <a:tc>
                  <a:txBody>
                    <a:bodyPr/>
                    <a:lstStyle/>
                    <a:p>
                      <a:pPr algn="ctr"/>
                      <a:r>
                        <a:rPr lang="en-US" sz="2000" noProof="0">
                          <a:solidFill>
                            <a:schemeClr val="tx2"/>
                          </a:solidFill>
                        </a:rPr>
                        <a:t>Magnos</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99703263"/>
                  </a:ext>
                </a:extLst>
              </a:tr>
              <a:tr h="756000">
                <a:tc>
                  <a:txBody>
                    <a:bodyPr/>
                    <a:lstStyle/>
                    <a:p>
                      <a:pPr algn="ctr"/>
                      <a:r>
                        <a:rPr lang="en-US" sz="1400" noProof="0">
                          <a:solidFill>
                            <a:schemeClr val="tx1"/>
                          </a:solidFill>
                        </a:rPr>
                        <a:t>Paramagnetic</a:t>
                      </a:r>
                    </a:p>
                  </a:txBody>
                  <a:tcPr marL="0" marR="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63444855"/>
                  </a:ext>
                </a:extLst>
              </a:tr>
              <a:tr h="370840">
                <a:tc>
                  <a:txBody>
                    <a:bodyPr/>
                    <a:lstStyle/>
                    <a:p>
                      <a:pPr algn="ctr"/>
                      <a:r>
                        <a:rPr lang="en-US" sz="1200" noProof="0" dirty="0">
                          <a:solidFill>
                            <a:schemeClr val="tx1"/>
                          </a:solidFill>
                        </a:rPr>
                        <a:t>Magnos 3 first H&amp;B analyzer using glass dumbbell</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95169681"/>
                  </a:ext>
                </a:extLst>
              </a:tr>
              <a:tr h="504000">
                <a:tc>
                  <a:txBody>
                    <a:bodyPr/>
                    <a:lstStyle/>
                    <a:p>
                      <a:pPr algn="ctr"/>
                      <a:r>
                        <a:rPr lang="en-US" sz="1200" noProof="0">
                          <a:solidFill>
                            <a:schemeClr val="tx1"/>
                          </a:solidFill>
                        </a:rPr>
                        <a:t>O</a:t>
                      </a:r>
                      <a:r>
                        <a:rPr lang="en-US" sz="1200" kern="1200" baseline="-25000" noProof="0">
                          <a:solidFill>
                            <a:schemeClr val="tx1"/>
                          </a:solidFill>
                          <a:latin typeface="+mn-lt"/>
                          <a:ea typeface="+mn-ea"/>
                          <a:cs typeface="+mn-cs"/>
                        </a:rPr>
                        <a:t>2</a:t>
                      </a:r>
                      <a:r>
                        <a:rPr lang="en-US" sz="1200" noProof="0">
                          <a:solidFill>
                            <a:schemeClr val="tx1"/>
                          </a:solidFill>
                        </a:rPr>
                        <a:t> (vol%)</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00367027"/>
                  </a:ext>
                </a:extLst>
              </a:tr>
              <a:tr h="504000">
                <a:tc>
                  <a:txBody>
                    <a:bodyPr/>
                    <a:lstStyle/>
                    <a:p>
                      <a:pPr algn="ctr"/>
                      <a:r>
                        <a:rPr lang="en-US" sz="1400" b="1" baseline="0" noProof="0" dirty="0">
                          <a:solidFill>
                            <a:schemeClr val="tx1"/>
                          </a:solidFill>
                        </a:rPr>
                        <a:t>Magnos27/28</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02326173"/>
                  </a:ext>
                </a:extLst>
              </a:tr>
            </a:tbl>
          </a:graphicData>
        </a:graphic>
      </p:graphicFrame>
      <p:graphicFrame>
        <p:nvGraphicFramePr>
          <p:cNvPr id="73" name="Table 72">
            <a:extLst>
              <a:ext uri="{FF2B5EF4-FFF2-40B4-BE49-F238E27FC236}">
                <a16:creationId xmlns:a16="http://schemas.microsoft.com/office/drawing/2014/main" id="{3062FDC0-EE09-4F7D-89F1-02F66454E729}"/>
              </a:ext>
            </a:extLst>
          </p:cNvPr>
          <p:cNvGraphicFramePr>
            <a:graphicFrameLocks noGrp="1"/>
          </p:cNvGraphicFramePr>
          <p:nvPr>
            <p:extLst/>
          </p:nvPr>
        </p:nvGraphicFramePr>
        <p:xfrm>
          <a:off x="5263059" y="3245743"/>
          <a:ext cx="1645784" cy="2800318"/>
        </p:xfrm>
        <a:graphic>
          <a:graphicData uri="http://schemas.openxmlformats.org/drawingml/2006/table">
            <a:tbl>
              <a:tblPr firstRow="1" bandRow="1">
                <a:tableStyleId>{073A0DAA-6AF3-43AB-8588-CEC1D06C72B9}</a:tableStyleId>
              </a:tblPr>
              <a:tblGrid>
                <a:gridCol w="1645784">
                  <a:extLst>
                    <a:ext uri="{9D8B030D-6E8A-4147-A177-3AD203B41FA5}">
                      <a16:colId xmlns:a16="http://schemas.microsoft.com/office/drawing/2014/main" val="1615288948"/>
                    </a:ext>
                  </a:extLst>
                </a:gridCol>
              </a:tblGrid>
              <a:tr h="398383">
                <a:tc>
                  <a:txBody>
                    <a:bodyPr/>
                    <a:lstStyle/>
                    <a:p>
                      <a:pPr algn="ctr"/>
                      <a:r>
                        <a:rPr lang="en-US" sz="2000" noProof="0">
                          <a:solidFill>
                            <a:schemeClr val="tx2"/>
                          </a:solidFill>
                        </a:rPr>
                        <a:t>Fidas</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50586333"/>
                  </a:ext>
                </a:extLst>
              </a:tr>
              <a:tr h="752406">
                <a:tc>
                  <a:txBody>
                    <a:bodyPr/>
                    <a:lstStyle/>
                    <a:p>
                      <a:pPr algn="ctr"/>
                      <a:r>
                        <a:rPr lang="en-US" sz="1400" noProof="0" dirty="0">
                          <a:solidFill>
                            <a:schemeClr val="tx1"/>
                          </a:solidFill>
                        </a:rPr>
                        <a:t>Flame Ionization</a:t>
                      </a:r>
                    </a:p>
                  </a:txBody>
                  <a:tcPr marL="0" marR="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893885"/>
                  </a:ext>
                </a:extLst>
              </a:tr>
              <a:tr h="643541">
                <a:tc>
                  <a:txBody>
                    <a:bodyPr/>
                    <a:lstStyle/>
                    <a:p>
                      <a:pPr algn="ctr"/>
                      <a:r>
                        <a:rPr lang="en-US" sz="1200" noProof="0" dirty="0">
                          <a:solidFill>
                            <a:schemeClr val="tx1"/>
                          </a:solidFill>
                        </a:rPr>
                        <a:t>Measure emissions from single-cylinder four-stroke engines</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43712192"/>
                  </a:ext>
                </a:extLst>
              </a:tr>
              <a:tr h="502994">
                <a:tc>
                  <a:txBody>
                    <a:bodyPr/>
                    <a:lstStyle/>
                    <a:p>
                      <a:pPr algn="ctr"/>
                      <a:r>
                        <a:rPr lang="en-US" sz="1200" noProof="0" dirty="0">
                          <a:solidFill>
                            <a:schemeClr val="tx1"/>
                          </a:solidFill>
                        </a:rPr>
                        <a:t>THC, TOC, VOC, </a:t>
                      </a:r>
                      <a:r>
                        <a:rPr lang="en-US" sz="1200" noProof="0" dirty="0" err="1">
                          <a:solidFill>
                            <a:schemeClr val="tx1"/>
                          </a:solidFill>
                        </a:rPr>
                        <a:t>C</a:t>
                      </a:r>
                      <a:r>
                        <a:rPr lang="en-US" sz="1200" kern="1200" baseline="-25000" noProof="0" dirty="0" err="1">
                          <a:solidFill>
                            <a:schemeClr val="tx1"/>
                          </a:solidFill>
                          <a:latin typeface="+mn-lt"/>
                          <a:ea typeface="+mn-ea"/>
                          <a:cs typeface="+mn-cs"/>
                        </a:rPr>
                        <a:t>n</a:t>
                      </a:r>
                      <a:r>
                        <a:rPr lang="en-US" sz="1200" noProof="0" dirty="0" err="1">
                          <a:solidFill>
                            <a:schemeClr val="tx1"/>
                          </a:solidFill>
                        </a:rPr>
                        <a:t>H</a:t>
                      </a:r>
                      <a:r>
                        <a:rPr lang="en-US" sz="1200" kern="1200" baseline="-25000" noProof="0" dirty="0" err="1">
                          <a:solidFill>
                            <a:schemeClr val="tx1"/>
                          </a:solidFill>
                          <a:latin typeface="+mn-lt"/>
                          <a:ea typeface="+mn-ea"/>
                          <a:cs typeface="+mn-cs"/>
                        </a:rPr>
                        <a:t>m</a:t>
                      </a:r>
                      <a:endParaRPr lang="en-US" sz="1200" kern="1200" baseline="-25000" noProof="0" dirty="0">
                        <a:solidFill>
                          <a:schemeClr val="tx1"/>
                        </a:solidFill>
                        <a:latin typeface="+mn-lt"/>
                        <a:ea typeface="+mn-ea"/>
                        <a:cs typeface="+mn-cs"/>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94459891"/>
                  </a:ext>
                </a:extLst>
              </a:tr>
              <a:tr h="502994">
                <a:tc>
                  <a:txBody>
                    <a:bodyPr/>
                    <a:lstStyle/>
                    <a:p>
                      <a:pPr algn="ctr"/>
                      <a:r>
                        <a:rPr lang="en-US" sz="1400" b="1" kern="1200" baseline="0" noProof="0" dirty="0">
                          <a:solidFill>
                            <a:schemeClr val="tx1"/>
                          </a:solidFill>
                          <a:latin typeface="+mn-lt"/>
                          <a:ea typeface="+mn-ea"/>
                          <a:cs typeface="+mn-cs"/>
                        </a:rPr>
                        <a:t>Fidas24</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03590284"/>
                  </a:ext>
                </a:extLst>
              </a:tr>
            </a:tbl>
          </a:graphicData>
        </a:graphic>
      </p:graphicFrame>
      <p:graphicFrame>
        <p:nvGraphicFramePr>
          <p:cNvPr id="74" name="Table 73">
            <a:extLst>
              <a:ext uri="{FF2B5EF4-FFF2-40B4-BE49-F238E27FC236}">
                <a16:creationId xmlns:a16="http://schemas.microsoft.com/office/drawing/2014/main" id="{5BF09866-514D-463C-9019-5D7982BE2F1C}"/>
              </a:ext>
            </a:extLst>
          </p:cNvPr>
          <p:cNvGraphicFramePr>
            <a:graphicFrameLocks noGrp="1"/>
          </p:cNvGraphicFramePr>
          <p:nvPr>
            <p:extLst>
              <p:ext uri="{D42A27DB-BD31-4B8C-83A1-F6EECF244321}">
                <p14:modId xmlns:p14="http://schemas.microsoft.com/office/powerpoint/2010/main" val="326195288"/>
              </p:ext>
            </p:extLst>
          </p:nvPr>
        </p:nvGraphicFramePr>
        <p:xfrm>
          <a:off x="6923702" y="3245742"/>
          <a:ext cx="1645784" cy="2800320"/>
        </p:xfrm>
        <a:graphic>
          <a:graphicData uri="http://schemas.openxmlformats.org/drawingml/2006/table">
            <a:tbl>
              <a:tblPr firstRow="1" bandRow="1">
                <a:tableStyleId>{073A0DAA-6AF3-43AB-8588-CEC1D06C72B9}</a:tableStyleId>
              </a:tblPr>
              <a:tblGrid>
                <a:gridCol w="1645784">
                  <a:extLst>
                    <a:ext uri="{9D8B030D-6E8A-4147-A177-3AD203B41FA5}">
                      <a16:colId xmlns:a16="http://schemas.microsoft.com/office/drawing/2014/main" val="3998905307"/>
                    </a:ext>
                  </a:extLst>
                </a:gridCol>
              </a:tblGrid>
              <a:tr h="370840">
                <a:tc>
                  <a:txBody>
                    <a:bodyPr/>
                    <a:lstStyle/>
                    <a:p>
                      <a:pPr algn="ctr"/>
                      <a:r>
                        <a:rPr lang="en-US" sz="2000" noProof="0">
                          <a:solidFill>
                            <a:schemeClr val="tx2"/>
                          </a:solidFill>
                        </a:rPr>
                        <a:t>Limas</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4109508"/>
                  </a:ext>
                </a:extLst>
              </a:tr>
              <a:tr h="756000">
                <a:tc>
                  <a:txBody>
                    <a:bodyPr/>
                    <a:lstStyle/>
                    <a:p>
                      <a:pPr algn="ctr"/>
                      <a:r>
                        <a:rPr lang="en-US" sz="1400" noProof="0">
                          <a:solidFill>
                            <a:schemeClr val="tx1"/>
                          </a:solidFill>
                        </a:rPr>
                        <a:t>UV photometer</a:t>
                      </a:r>
                    </a:p>
                  </a:txBody>
                  <a:tcPr marL="0" marR="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1673256"/>
                  </a:ext>
                </a:extLst>
              </a:tr>
              <a:tr h="370840">
                <a:tc>
                  <a:txBody>
                    <a:bodyPr/>
                    <a:lstStyle/>
                    <a:p>
                      <a:pPr algn="ctr"/>
                      <a:r>
                        <a:rPr lang="en-US" sz="1200" noProof="0">
                          <a:solidFill>
                            <a:schemeClr val="tx1"/>
                          </a:solidFill>
                        </a:rPr>
                        <a:t>Radas 1G NDUV photometer successful launch</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3220407"/>
                  </a:ext>
                </a:extLst>
              </a:tr>
              <a:tr h="504000">
                <a:tc>
                  <a:txBody>
                    <a:bodyPr/>
                    <a:lstStyle/>
                    <a:p>
                      <a:pPr algn="ctr"/>
                      <a:r>
                        <a:rPr lang="en-US" sz="1200" noProof="0">
                          <a:solidFill>
                            <a:schemeClr val="tx1"/>
                          </a:solidFill>
                        </a:rPr>
                        <a:t>NO, NO</a:t>
                      </a:r>
                      <a:r>
                        <a:rPr lang="en-US" sz="1200" kern="1200" baseline="-25000" noProof="0">
                          <a:solidFill>
                            <a:schemeClr val="tx1"/>
                          </a:solidFill>
                          <a:latin typeface="+mn-lt"/>
                          <a:ea typeface="+mn-ea"/>
                          <a:cs typeface="+mn-cs"/>
                        </a:rPr>
                        <a:t>2</a:t>
                      </a:r>
                      <a:r>
                        <a:rPr lang="en-US" sz="1200" noProof="0">
                          <a:solidFill>
                            <a:schemeClr val="tx1"/>
                          </a:solidFill>
                        </a:rPr>
                        <a:t>, SO</a:t>
                      </a:r>
                      <a:r>
                        <a:rPr lang="en-US" sz="1200" kern="1200" baseline="-25000" noProof="0">
                          <a:solidFill>
                            <a:schemeClr val="tx1"/>
                          </a:solidFill>
                          <a:latin typeface="+mn-lt"/>
                          <a:ea typeface="+mn-ea"/>
                          <a:cs typeface="+mn-cs"/>
                        </a:rPr>
                        <a:t>2</a:t>
                      </a:r>
                      <a:r>
                        <a:rPr lang="en-US" sz="1200" noProof="0">
                          <a:solidFill>
                            <a:schemeClr val="tx1"/>
                          </a:solidFill>
                        </a:rPr>
                        <a:t>, …</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87192907"/>
                  </a:ext>
                </a:extLst>
              </a:tr>
              <a:tr h="504000">
                <a:tc>
                  <a:txBody>
                    <a:bodyPr/>
                    <a:lstStyle/>
                    <a:p>
                      <a:pPr algn="ctr"/>
                      <a:r>
                        <a:rPr lang="en-US" sz="1400" b="1" noProof="0" dirty="0">
                          <a:solidFill>
                            <a:schemeClr val="tx1"/>
                          </a:solidFill>
                        </a:rPr>
                        <a:t>Limas21/2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74272454"/>
                  </a:ext>
                </a:extLst>
              </a:tr>
            </a:tbl>
          </a:graphicData>
        </a:graphic>
      </p:graphicFrame>
      <p:graphicFrame>
        <p:nvGraphicFramePr>
          <p:cNvPr id="75" name="Table 74">
            <a:extLst>
              <a:ext uri="{FF2B5EF4-FFF2-40B4-BE49-F238E27FC236}">
                <a16:creationId xmlns:a16="http://schemas.microsoft.com/office/drawing/2014/main" id="{BB2EA9D9-46A1-49C1-BBAC-2487187F4D65}"/>
              </a:ext>
            </a:extLst>
          </p:cNvPr>
          <p:cNvGraphicFramePr>
            <a:graphicFrameLocks noGrp="1"/>
          </p:cNvGraphicFramePr>
          <p:nvPr>
            <p:extLst/>
          </p:nvPr>
        </p:nvGraphicFramePr>
        <p:xfrm>
          <a:off x="8561724" y="3245742"/>
          <a:ext cx="1645784" cy="2800320"/>
        </p:xfrm>
        <a:graphic>
          <a:graphicData uri="http://schemas.openxmlformats.org/drawingml/2006/table">
            <a:tbl>
              <a:tblPr firstRow="1" bandRow="1">
                <a:tableStyleId>{073A0DAA-6AF3-43AB-8588-CEC1D06C72B9}</a:tableStyleId>
              </a:tblPr>
              <a:tblGrid>
                <a:gridCol w="1645784">
                  <a:extLst>
                    <a:ext uri="{9D8B030D-6E8A-4147-A177-3AD203B41FA5}">
                      <a16:colId xmlns:a16="http://schemas.microsoft.com/office/drawing/2014/main" val="2736909533"/>
                    </a:ext>
                  </a:extLst>
                </a:gridCol>
              </a:tblGrid>
              <a:tr h="402817">
                <a:tc>
                  <a:txBody>
                    <a:bodyPr/>
                    <a:lstStyle/>
                    <a:p>
                      <a:pPr algn="ctr"/>
                      <a:r>
                        <a:rPr lang="en-US" sz="2000" noProof="0">
                          <a:solidFill>
                            <a:schemeClr val="tx2"/>
                          </a:solidFill>
                        </a:rPr>
                        <a:t>O</a:t>
                      </a:r>
                      <a:r>
                        <a:rPr lang="en-US" sz="2000" baseline="-25000" noProof="0">
                          <a:solidFill>
                            <a:schemeClr val="tx2"/>
                          </a:solidFill>
                        </a:rPr>
                        <a:t>2</a:t>
                      </a:r>
                      <a:r>
                        <a:rPr lang="en-US" sz="2000" noProof="0">
                          <a:solidFill>
                            <a:schemeClr val="tx2"/>
                          </a:solidFill>
                        </a:rPr>
                        <a:t> Sensor</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64666933"/>
                  </a:ext>
                </a:extLst>
              </a:tr>
              <a:tr h="768548">
                <a:tc>
                  <a:txBody>
                    <a:bodyPr/>
                    <a:lstStyle/>
                    <a:p>
                      <a:pPr algn="ctr"/>
                      <a:r>
                        <a:rPr lang="en-US" sz="1400" noProof="0">
                          <a:solidFill>
                            <a:schemeClr val="tx1"/>
                          </a:solidFill>
                        </a:rPr>
                        <a:t>Electrochemical</a:t>
                      </a:r>
                    </a:p>
                  </a:txBody>
                  <a:tcPr marL="0" marR="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4906451"/>
                  </a:ext>
                </a:extLst>
              </a:tr>
              <a:tr h="604225">
                <a:tc>
                  <a:txBody>
                    <a:bodyPr/>
                    <a:lstStyle/>
                    <a:p>
                      <a:pPr algn="ctr"/>
                      <a:r>
                        <a:rPr lang="en-US" sz="1100" noProof="0">
                          <a:solidFill>
                            <a:schemeClr val="tx1"/>
                          </a:solidFill>
                        </a:rPr>
                        <a:t>Low initial cost</a:t>
                      </a:r>
                    </a:p>
                    <a:p>
                      <a:pPr algn="ctr"/>
                      <a:r>
                        <a:rPr lang="en-US" sz="1100" noProof="0">
                          <a:solidFill>
                            <a:schemeClr val="tx1"/>
                          </a:solidFill>
                        </a:rPr>
                        <a:t>option for O</a:t>
                      </a:r>
                      <a:r>
                        <a:rPr lang="en-US" sz="1100" baseline="-25000" noProof="0">
                          <a:solidFill>
                            <a:schemeClr val="tx1"/>
                          </a:solidFill>
                        </a:rPr>
                        <a:t>2</a:t>
                      </a:r>
                      <a:r>
                        <a:rPr lang="en-US" sz="1100" noProof="0">
                          <a:solidFill>
                            <a:schemeClr val="tx1"/>
                          </a:solidFill>
                        </a:rPr>
                        <a:t> measurement</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3106675"/>
                  </a:ext>
                </a:extLst>
              </a:tr>
              <a:tr h="512365">
                <a:tc>
                  <a:txBody>
                    <a:bodyPr/>
                    <a:lstStyle/>
                    <a:p>
                      <a:pPr algn="ctr"/>
                      <a:r>
                        <a:rPr lang="en-US" sz="1200" noProof="0">
                          <a:solidFill>
                            <a:schemeClr val="tx1"/>
                          </a:solidFill>
                        </a:rPr>
                        <a:t>O</a:t>
                      </a:r>
                      <a:r>
                        <a:rPr lang="en-US" sz="1200" kern="1200" baseline="-25000" noProof="0">
                          <a:solidFill>
                            <a:schemeClr val="tx1"/>
                          </a:solidFill>
                          <a:latin typeface="+mn-lt"/>
                          <a:ea typeface="+mn-ea"/>
                          <a:cs typeface="+mn-cs"/>
                        </a:rPr>
                        <a:t>2</a:t>
                      </a:r>
                      <a:r>
                        <a:rPr lang="en-US" sz="1200" noProof="0">
                          <a:solidFill>
                            <a:schemeClr val="tx1"/>
                          </a:solidFill>
                        </a:rPr>
                        <a:t> (vol%)</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37609827"/>
                  </a:ext>
                </a:extLst>
              </a:tr>
              <a:tr h="512365">
                <a:tc>
                  <a:txBody>
                    <a:bodyPr/>
                    <a:lstStyle/>
                    <a:p>
                      <a:pPr algn="ctr"/>
                      <a:r>
                        <a:rPr lang="en-US" sz="1400" b="1" noProof="0" dirty="0">
                          <a:solidFill>
                            <a:schemeClr val="tx1"/>
                          </a:solidFill>
                        </a:rPr>
                        <a:t>O</a:t>
                      </a:r>
                      <a:r>
                        <a:rPr lang="en-US" sz="1400" b="1" baseline="-25000" noProof="0" dirty="0">
                          <a:solidFill>
                            <a:schemeClr val="tx1"/>
                          </a:solidFill>
                        </a:rPr>
                        <a:t>2</a:t>
                      </a:r>
                      <a:r>
                        <a:rPr lang="en-US" sz="1400" b="1" noProof="0" dirty="0">
                          <a:solidFill>
                            <a:schemeClr val="tx1"/>
                          </a:solidFill>
                        </a:rPr>
                        <a:t> Sensor</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73334922"/>
                  </a:ext>
                </a:extLst>
              </a:tr>
            </a:tbl>
          </a:graphicData>
        </a:graphic>
      </p:graphicFrame>
      <p:graphicFrame>
        <p:nvGraphicFramePr>
          <p:cNvPr id="76" name="Table 75">
            <a:extLst>
              <a:ext uri="{FF2B5EF4-FFF2-40B4-BE49-F238E27FC236}">
                <a16:creationId xmlns:a16="http://schemas.microsoft.com/office/drawing/2014/main" id="{7428F967-EF7B-4DAE-9810-6AED94525A01}"/>
              </a:ext>
            </a:extLst>
          </p:cNvPr>
          <p:cNvGraphicFramePr>
            <a:graphicFrameLocks noGrp="1"/>
          </p:cNvGraphicFramePr>
          <p:nvPr>
            <p:extLst/>
          </p:nvPr>
        </p:nvGraphicFramePr>
        <p:xfrm>
          <a:off x="10216312" y="3245742"/>
          <a:ext cx="1645784" cy="2800320"/>
        </p:xfrm>
        <a:graphic>
          <a:graphicData uri="http://schemas.openxmlformats.org/drawingml/2006/table">
            <a:tbl>
              <a:tblPr firstRow="1" bandRow="1">
                <a:tableStyleId>{073A0DAA-6AF3-43AB-8588-CEC1D06C72B9}</a:tableStyleId>
              </a:tblPr>
              <a:tblGrid>
                <a:gridCol w="1645784">
                  <a:extLst>
                    <a:ext uri="{9D8B030D-6E8A-4147-A177-3AD203B41FA5}">
                      <a16:colId xmlns:a16="http://schemas.microsoft.com/office/drawing/2014/main" val="2541536703"/>
                    </a:ext>
                  </a:extLst>
                </a:gridCol>
              </a:tblGrid>
              <a:tr h="402817">
                <a:tc>
                  <a:txBody>
                    <a:bodyPr/>
                    <a:lstStyle/>
                    <a:p>
                      <a:pPr algn="ctr"/>
                      <a:r>
                        <a:rPr lang="en-US" sz="2000" noProof="0">
                          <a:solidFill>
                            <a:schemeClr val="tx2"/>
                          </a:solidFill>
                        </a:rPr>
                        <a:t>ZO23</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89854229"/>
                  </a:ext>
                </a:extLst>
              </a:tr>
              <a:tr h="768548">
                <a:tc>
                  <a:txBody>
                    <a:bodyPr/>
                    <a:lstStyle/>
                    <a:p>
                      <a:pPr algn="ctr"/>
                      <a:r>
                        <a:rPr lang="en-US" sz="1400" noProof="0">
                          <a:solidFill>
                            <a:schemeClr val="tx1"/>
                          </a:solidFill>
                        </a:rPr>
                        <a:t>Zirconium</a:t>
                      </a:r>
                    </a:p>
                    <a:p>
                      <a:pPr algn="ctr"/>
                      <a:r>
                        <a:rPr lang="en-US" sz="1400" noProof="0">
                          <a:solidFill>
                            <a:schemeClr val="tx1"/>
                          </a:solidFill>
                        </a:rPr>
                        <a:t>Dioxide</a:t>
                      </a:r>
                    </a:p>
                  </a:txBody>
                  <a:tcPr marL="0" marR="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53300791"/>
                  </a:ext>
                </a:extLst>
              </a:tr>
              <a:tr h="604225">
                <a:tc>
                  <a:txBody>
                    <a:bodyPr/>
                    <a:lstStyle/>
                    <a:p>
                      <a:pPr algn="ctr"/>
                      <a:r>
                        <a:rPr lang="en-US" sz="1100" noProof="0">
                          <a:solidFill>
                            <a:schemeClr val="tx1"/>
                          </a:solidFill>
                        </a:rPr>
                        <a:t>Trace level O</a:t>
                      </a:r>
                      <a:r>
                        <a:rPr lang="en-US" sz="1100" baseline="-25000" noProof="0">
                          <a:solidFill>
                            <a:schemeClr val="tx1"/>
                          </a:solidFill>
                        </a:rPr>
                        <a:t>2</a:t>
                      </a:r>
                      <a:r>
                        <a:rPr lang="en-US" sz="1100" noProof="0">
                          <a:solidFill>
                            <a:schemeClr val="tx1"/>
                          </a:solidFill>
                        </a:rPr>
                        <a:t> measurement with self-check feature</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89678331"/>
                  </a:ext>
                </a:extLst>
              </a:tr>
              <a:tr h="512365">
                <a:tc>
                  <a:txBody>
                    <a:bodyPr/>
                    <a:lstStyle/>
                    <a:p>
                      <a:pPr algn="ctr"/>
                      <a:r>
                        <a:rPr lang="en-US" sz="1200" noProof="0">
                          <a:solidFill>
                            <a:schemeClr val="tx1"/>
                          </a:solidFill>
                        </a:rPr>
                        <a:t>O</a:t>
                      </a:r>
                      <a:r>
                        <a:rPr lang="en-US" sz="1200" kern="1200" baseline="-25000" noProof="0">
                          <a:solidFill>
                            <a:schemeClr val="tx1"/>
                          </a:solidFill>
                          <a:latin typeface="+mn-lt"/>
                          <a:ea typeface="+mn-ea"/>
                          <a:cs typeface="+mn-cs"/>
                        </a:rPr>
                        <a:t>2</a:t>
                      </a:r>
                      <a:r>
                        <a:rPr lang="en-US" sz="1200" noProof="0">
                          <a:solidFill>
                            <a:schemeClr val="tx1"/>
                          </a:solidFill>
                        </a:rPr>
                        <a:t> (ppm)</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7459121"/>
                  </a:ext>
                </a:extLst>
              </a:tr>
              <a:tr h="512365">
                <a:tc>
                  <a:txBody>
                    <a:bodyPr/>
                    <a:lstStyle/>
                    <a:p>
                      <a:pPr algn="ctr"/>
                      <a:r>
                        <a:rPr lang="en-US" sz="1400" b="1" noProof="0" dirty="0">
                          <a:solidFill>
                            <a:schemeClr val="tx1"/>
                          </a:solidFill>
                        </a:rPr>
                        <a:t>ZO23</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77129354"/>
                  </a:ext>
                </a:extLst>
              </a:tr>
            </a:tbl>
          </a:graphicData>
        </a:graphic>
      </p:graphicFrame>
      <p:grpSp>
        <p:nvGrpSpPr>
          <p:cNvPr id="10" name="Group 9">
            <a:extLst>
              <a:ext uri="{FF2B5EF4-FFF2-40B4-BE49-F238E27FC236}">
                <a16:creationId xmlns:a16="http://schemas.microsoft.com/office/drawing/2014/main" id="{B9D8A3EA-D06D-42C4-9E92-F4FD38DCB521}"/>
              </a:ext>
            </a:extLst>
          </p:cNvPr>
          <p:cNvGrpSpPr/>
          <p:nvPr/>
        </p:nvGrpSpPr>
        <p:grpSpPr bwMode="gray">
          <a:xfrm>
            <a:off x="841333" y="2557084"/>
            <a:ext cx="597600" cy="597600"/>
            <a:chOff x="4892270" y="-4691538"/>
            <a:chExt cx="597600" cy="597600"/>
          </a:xfrm>
        </p:grpSpPr>
        <p:sp>
          <p:nvSpPr>
            <p:cNvPr id="11" name="Rechteck 91">
              <a:extLst>
                <a:ext uri="{FF2B5EF4-FFF2-40B4-BE49-F238E27FC236}">
                  <a16:creationId xmlns:a16="http://schemas.microsoft.com/office/drawing/2014/main" id="{52B5AB75-CCC9-4AB4-AE79-092BDE0C5DED}"/>
                </a:ext>
              </a:extLst>
            </p:cNvPr>
            <p:cNvSpPr/>
            <p:nvPr/>
          </p:nvSpPr>
          <p:spPr bwMode="gray">
            <a:xfrm>
              <a:off x="4892270" y="-4691538"/>
              <a:ext cx="597600" cy="597600"/>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90000"/>
                </a:lnSpc>
                <a:spcBef>
                  <a:spcPts val="1100"/>
                </a:spcBef>
                <a:spcAft>
                  <a:spcPts val="0"/>
                </a:spcAft>
                <a:buClr>
                  <a:srgbClr val="002897"/>
                </a:buClr>
                <a:buSzPct val="70000"/>
                <a:buFontTx/>
                <a:buNone/>
                <a:tabLst/>
                <a:defRPr/>
              </a:pPr>
              <a:endParaRPr kumimoji="0" lang="en-US" sz="1000" b="1"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12" name="Rectangle 77">
              <a:extLst>
                <a:ext uri="{FF2B5EF4-FFF2-40B4-BE49-F238E27FC236}">
                  <a16:creationId xmlns:a16="http://schemas.microsoft.com/office/drawing/2014/main" id="{E7244AA5-D447-41C3-B4C8-5D6B7C27D275}"/>
                </a:ext>
              </a:extLst>
            </p:cNvPr>
            <p:cNvSpPr>
              <a:spLocks noChangeAspect="1"/>
            </p:cNvSpPr>
            <p:nvPr/>
          </p:nvSpPr>
          <p:spPr bwMode="gray">
            <a:xfrm>
              <a:off x="4952961" y="-4474155"/>
              <a:ext cx="476218" cy="243413"/>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grpSp>
      <p:grpSp>
        <p:nvGrpSpPr>
          <p:cNvPr id="13" name="Group 12">
            <a:extLst>
              <a:ext uri="{FF2B5EF4-FFF2-40B4-BE49-F238E27FC236}">
                <a16:creationId xmlns:a16="http://schemas.microsoft.com/office/drawing/2014/main" id="{44724AFA-22F7-4DF4-89DD-0E035C6475FB}"/>
              </a:ext>
            </a:extLst>
          </p:cNvPr>
          <p:cNvGrpSpPr/>
          <p:nvPr/>
        </p:nvGrpSpPr>
        <p:grpSpPr bwMode="gray">
          <a:xfrm>
            <a:off x="2493284" y="2557774"/>
            <a:ext cx="597600" cy="597600"/>
            <a:chOff x="2918476" y="-2479741"/>
            <a:chExt cx="597600" cy="597600"/>
          </a:xfrm>
        </p:grpSpPr>
        <p:sp>
          <p:nvSpPr>
            <p:cNvPr id="14" name="Text Box 240">
              <a:extLst>
                <a:ext uri="{FF2B5EF4-FFF2-40B4-BE49-F238E27FC236}">
                  <a16:creationId xmlns:a16="http://schemas.microsoft.com/office/drawing/2014/main" id="{F0178813-5FE0-48A0-85A8-431DD6D988A7}"/>
                </a:ext>
              </a:extLst>
            </p:cNvPr>
            <p:cNvSpPr txBox="1">
              <a:spLocks noChangeArrowheads="1"/>
            </p:cNvSpPr>
            <p:nvPr/>
          </p:nvSpPr>
          <p:spPr bwMode="gray">
            <a:xfrm>
              <a:off x="2918476" y="-2479741"/>
              <a:ext cx="597600" cy="597600"/>
            </a:xfrm>
            <a:prstGeom prst="ellipse">
              <a:avLst/>
            </a:prstGeom>
            <a:solidFill>
              <a:schemeClr val="bg1"/>
            </a:solidFill>
            <a:ln w="28575">
              <a:solidFill>
                <a:schemeClr val="tx1"/>
              </a:solid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15" name="Group 14">
              <a:extLst>
                <a:ext uri="{FF2B5EF4-FFF2-40B4-BE49-F238E27FC236}">
                  <a16:creationId xmlns:a16="http://schemas.microsoft.com/office/drawing/2014/main" id="{A361EBD1-A4CE-4221-9DAB-5032FF75EC0E}"/>
                </a:ext>
              </a:extLst>
            </p:cNvPr>
            <p:cNvGrpSpPr/>
            <p:nvPr/>
          </p:nvGrpSpPr>
          <p:grpSpPr bwMode="gray">
            <a:xfrm>
              <a:off x="2995327" y="-2390656"/>
              <a:ext cx="443898" cy="419429"/>
              <a:chOff x="-640260" y="1957916"/>
              <a:chExt cx="355290" cy="335706"/>
            </a:xfrm>
            <a:solidFill>
              <a:schemeClr val="bg1"/>
            </a:solidFill>
          </p:grpSpPr>
          <p:sp>
            <p:nvSpPr>
              <p:cNvPr id="16" name="Rectangle 17">
                <a:extLst>
                  <a:ext uri="{FF2B5EF4-FFF2-40B4-BE49-F238E27FC236}">
                    <a16:creationId xmlns:a16="http://schemas.microsoft.com/office/drawing/2014/main" id="{C5241770-5D60-4481-BCDF-67C5184A3D03}"/>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17" name="Rectangle 16">
                <a:extLst>
                  <a:ext uri="{FF2B5EF4-FFF2-40B4-BE49-F238E27FC236}">
                    <a16:creationId xmlns:a16="http://schemas.microsoft.com/office/drawing/2014/main" id="{387F717A-4992-4D69-A738-38FEDC6939FA}"/>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cxnSp>
            <p:nvCxnSpPr>
              <p:cNvPr id="18" name="Straight Connector 17">
                <a:extLst>
                  <a:ext uri="{FF2B5EF4-FFF2-40B4-BE49-F238E27FC236}">
                    <a16:creationId xmlns:a16="http://schemas.microsoft.com/office/drawing/2014/main" id="{7A961B28-0424-4279-B40F-5E085FF7D7C6}"/>
                  </a:ext>
                </a:extLst>
              </p:cNvPr>
              <p:cNvCxnSpPr/>
              <p:nvPr/>
            </p:nvCxnSpPr>
            <p:spPr bwMode="gray">
              <a:xfrm rot="5400000" flipH="1">
                <a:off x="-481603" y="1981616"/>
                <a:ext cx="47400" cy="0"/>
              </a:xfrm>
              <a:prstGeom prst="line">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19" name="Straight Connector 18">
                <a:extLst>
                  <a:ext uri="{FF2B5EF4-FFF2-40B4-BE49-F238E27FC236}">
                    <a16:creationId xmlns:a16="http://schemas.microsoft.com/office/drawing/2014/main" id="{69684C19-2090-478C-AAD6-DD06C65B5AB5}"/>
                  </a:ext>
                </a:extLst>
              </p:cNvPr>
              <p:cNvCxnSpPr/>
              <p:nvPr/>
            </p:nvCxnSpPr>
            <p:spPr bwMode="gray">
              <a:xfrm rot="5400000" flipH="1">
                <a:off x="-481603" y="2269922"/>
                <a:ext cx="47400" cy="0"/>
              </a:xfrm>
              <a:prstGeom prst="line">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A104FAA1-B233-4724-9252-8FABE5342E37}"/>
                  </a:ext>
                </a:extLst>
              </p:cNvPr>
              <p:cNvCxnSpPr/>
              <p:nvPr/>
            </p:nvCxnSpPr>
            <p:spPr bwMode="gray">
              <a:xfrm rot="2503489" flipH="1">
                <a:off x="-370223" y="2225091"/>
                <a:ext cx="47400" cy="0"/>
              </a:xfrm>
              <a:prstGeom prst="line">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a:extLst>
                  <a:ext uri="{FF2B5EF4-FFF2-40B4-BE49-F238E27FC236}">
                    <a16:creationId xmlns:a16="http://schemas.microsoft.com/office/drawing/2014/main" id="{85B56382-B2D2-48A5-BB7B-875F15BABE1B}"/>
                  </a:ext>
                </a:extLst>
              </p:cNvPr>
              <p:cNvCxnSpPr/>
              <p:nvPr/>
            </p:nvCxnSpPr>
            <p:spPr bwMode="gray">
              <a:xfrm rot="8296511">
                <a:off x="-370223" y="2026447"/>
                <a:ext cx="47400" cy="0"/>
              </a:xfrm>
              <a:prstGeom prst="line">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22" name="Straight Connector 21">
                <a:extLst>
                  <a:ext uri="{FF2B5EF4-FFF2-40B4-BE49-F238E27FC236}">
                    <a16:creationId xmlns:a16="http://schemas.microsoft.com/office/drawing/2014/main" id="{BD0AECA6-B056-479F-ABB2-12CCE84B0C03}"/>
                  </a:ext>
                </a:extLst>
              </p:cNvPr>
              <p:cNvCxnSpPr/>
              <p:nvPr/>
            </p:nvCxnSpPr>
            <p:spPr bwMode="gray">
              <a:xfrm rot="10800000">
                <a:off x="-332370" y="2125769"/>
                <a:ext cx="47400" cy="0"/>
              </a:xfrm>
              <a:prstGeom prst="line">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nvGrpSpPr>
              <p:cNvPr id="23" name="Group 22">
                <a:extLst>
                  <a:ext uri="{FF2B5EF4-FFF2-40B4-BE49-F238E27FC236}">
                    <a16:creationId xmlns:a16="http://schemas.microsoft.com/office/drawing/2014/main" id="{274D735F-57E9-4349-AB8B-C3B9575AEA32}"/>
                  </a:ext>
                </a:extLst>
              </p:cNvPr>
              <p:cNvGrpSpPr/>
              <p:nvPr/>
            </p:nvGrpSpPr>
            <p:grpSpPr bwMode="gray">
              <a:xfrm>
                <a:off x="-507951" y="2088033"/>
                <a:ext cx="84957" cy="65573"/>
                <a:chOff x="-2412348" y="2111699"/>
                <a:chExt cx="717156" cy="553527"/>
              </a:xfrm>
              <a:grpFill/>
            </p:grpSpPr>
            <p:sp>
              <p:nvSpPr>
                <p:cNvPr id="24" name="Parallelogram 1029">
                  <a:extLst>
                    <a:ext uri="{FF2B5EF4-FFF2-40B4-BE49-F238E27FC236}">
                      <a16:creationId xmlns:a16="http://schemas.microsoft.com/office/drawing/2014/main" id="{AB51847E-E2E3-48C1-8AC4-EE275E7DFC19}"/>
                    </a:ext>
                  </a:extLst>
                </p:cNvPr>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25" name="Rectangle 24">
                  <a:extLst>
                    <a:ext uri="{FF2B5EF4-FFF2-40B4-BE49-F238E27FC236}">
                      <a16:creationId xmlns:a16="http://schemas.microsoft.com/office/drawing/2014/main" id="{A141EFB4-ADB3-426A-8CC0-0C4584D11F24}"/>
                    </a:ext>
                  </a:extLst>
                </p:cNvPr>
                <p:cNvSpPr/>
                <p:nvPr/>
              </p:nvSpPr>
              <p:spPr bwMode="gray">
                <a:xfrm>
                  <a:off x="-2412348" y="2111699"/>
                  <a:ext cx="83823" cy="553527"/>
                </a:xfrm>
                <a:prstGeom prst="rect">
                  <a:avLst/>
                </a:pr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grpSp>
        </p:grpSp>
      </p:grpSp>
      <p:grpSp>
        <p:nvGrpSpPr>
          <p:cNvPr id="26" name="Group 25">
            <a:extLst>
              <a:ext uri="{FF2B5EF4-FFF2-40B4-BE49-F238E27FC236}">
                <a16:creationId xmlns:a16="http://schemas.microsoft.com/office/drawing/2014/main" id="{09699A6E-1B13-44CF-800E-FB7C0E22A227}"/>
              </a:ext>
            </a:extLst>
          </p:cNvPr>
          <p:cNvGrpSpPr/>
          <p:nvPr/>
        </p:nvGrpSpPr>
        <p:grpSpPr bwMode="gray">
          <a:xfrm>
            <a:off x="4150747" y="2556924"/>
            <a:ext cx="597600" cy="597600"/>
            <a:chOff x="3926446" y="-4145799"/>
            <a:chExt cx="597600" cy="597600"/>
          </a:xfrm>
        </p:grpSpPr>
        <p:sp>
          <p:nvSpPr>
            <p:cNvPr id="27" name="Text Box 240">
              <a:extLst>
                <a:ext uri="{FF2B5EF4-FFF2-40B4-BE49-F238E27FC236}">
                  <a16:creationId xmlns:a16="http://schemas.microsoft.com/office/drawing/2014/main" id="{9B15E46E-2C7A-4501-B58A-77F2F8F686A7}"/>
                </a:ext>
              </a:extLst>
            </p:cNvPr>
            <p:cNvSpPr txBox="1">
              <a:spLocks noChangeArrowheads="1"/>
            </p:cNvSpPr>
            <p:nvPr/>
          </p:nvSpPr>
          <p:spPr bwMode="gray">
            <a:xfrm>
              <a:off x="3926446" y="-4145799"/>
              <a:ext cx="597600" cy="597600"/>
            </a:xfrm>
            <a:prstGeom prst="ellipse">
              <a:avLst/>
            </a:prstGeom>
            <a:solidFill>
              <a:schemeClr val="bg1"/>
            </a:solidFill>
            <a:ln w="28575">
              <a:solidFill>
                <a:schemeClr val="tx1"/>
              </a:solid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28" name="Group 27">
              <a:extLst>
                <a:ext uri="{FF2B5EF4-FFF2-40B4-BE49-F238E27FC236}">
                  <a16:creationId xmlns:a16="http://schemas.microsoft.com/office/drawing/2014/main" id="{619D77FD-B85F-4C50-BBC3-5970FAEA0588}"/>
                </a:ext>
              </a:extLst>
            </p:cNvPr>
            <p:cNvGrpSpPr/>
            <p:nvPr/>
          </p:nvGrpSpPr>
          <p:grpSpPr bwMode="gray">
            <a:xfrm>
              <a:off x="3960774" y="-3928443"/>
              <a:ext cx="528943" cy="162889"/>
              <a:chOff x="5561561" y="3580012"/>
              <a:chExt cx="1068879" cy="329166"/>
            </a:xfrm>
            <a:solidFill>
              <a:schemeClr val="bg1"/>
            </a:solidFill>
          </p:grpSpPr>
          <p:sp>
            <p:nvSpPr>
              <p:cNvPr id="29" name="Oval 28">
                <a:extLst>
                  <a:ext uri="{FF2B5EF4-FFF2-40B4-BE49-F238E27FC236}">
                    <a16:creationId xmlns:a16="http://schemas.microsoft.com/office/drawing/2014/main" id="{73E7390B-2791-4C0E-9A1D-89EB4E2E04DF}"/>
                  </a:ext>
                </a:extLst>
              </p:cNvPr>
              <p:cNvSpPr/>
              <p:nvPr/>
            </p:nvSpPr>
            <p:spPr bwMode="gray">
              <a:xfrm>
                <a:off x="5561561" y="3580012"/>
                <a:ext cx="329166" cy="329166"/>
              </a:xfrm>
              <a:prstGeom prst="ellipse">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30" name="Oval 29">
                <a:extLst>
                  <a:ext uri="{FF2B5EF4-FFF2-40B4-BE49-F238E27FC236}">
                    <a16:creationId xmlns:a16="http://schemas.microsoft.com/office/drawing/2014/main" id="{E753EFE5-DA06-4E18-8F88-60D728C6C3A7}"/>
                  </a:ext>
                </a:extLst>
              </p:cNvPr>
              <p:cNvSpPr/>
              <p:nvPr/>
            </p:nvSpPr>
            <p:spPr bwMode="gray">
              <a:xfrm>
                <a:off x="6301274" y="3580012"/>
                <a:ext cx="329166" cy="329166"/>
              </a:xfrm>
              <a:prstGeom prst="ellipse">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cxnSp>
            <p:nvCxnSpPr>
              <p:cNvPr id="31" name="Straight Connector 30">
                <a:extLst>
                  <a:ext uri="{FF2B5EF4-FFF2-40B4-BE49-F238E27FC236}">
                    <a16:creationId xmlns:a16="http://schemas.microsoft.com/office/drawing/2014/main" id="{8634C64F-8FD9-4C8C-A55A-443ADB8721D6}"/>
                  </a:ext>
                </a:extLst>
              </p:cNvPr>
              <p:cNvCxnSpPr>
                <a:stCxn id="29" idx="6"/>
                <a:endCxn id="30" idx="2"/>
              </p:cNvCxnSpPr>
              <p:nvPr/>
            </p:nvCxnSpPr>
            <p:spPr bwMode="gray">
              <a:xfrm>
                <a:off x="5890727" y="3744595"/>
                <a:ext cx="410547" cy="0"/>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F71B57A-5C81-4E13-BA54-CFA7CFF7FBCC}"/>
                  </a:ext>
                </a:extLst>
              </p:cNvPr>
              <p:cNvCxnSpPr/>
              <p:nvPr/>
            </p:nvCxnSpPr>
            <p:spPr bwMode="gray">
              <a:xfrm>
                <a:off x="6062617" y="3669857"/>
                <a:ext cx="66766" cy="149477"/>
              </a:xfrm>
              <a:prstGeom prst="line">
                <a:avLst/>
              </a:prstGeom>
              <a:grpFill/>
              <a:ln w="1905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3" name="Group 32">
            <a:extLst>
              <a:ext uri="{FF2B5EF4-FFF2-40B4-BE49-F238E27FC236}">
                <a16:creationId xmlns:a16="http://schemas.microsoft.com/office/drawing/2014/main" id="{ED06016E-454B-4207-BAA6-CFBB8FB27AD9}"/>
              </a:ext>
            </a:extLst>
          </p:cNvPr>
          <p:cNvGrpSpPr/>
          <p:nvPr/>
        </p:nvGrpSpPr>
        <p:grpSpPr bwMode="gray">
          <a:xfrm>
            <a:off x="5797796" y="2557774"/>
            <a:ext cx="597600" cy="597600"/>
            <a:chOff x="6718394" y="-4671180"/>
            <a:chExt cx="597600" cy="597600"/>
          </a:xfrm>
        </p:grpSpPr>
        <p:sp>
          <p:nvSpPr>
            <p:cNvPr id="34" name="Text Box 240">
              <a:extLst>
                <a:ext uri="{FF2B5EF4-FFF2-40B4-BE49-F238E27FC236}">
                  <a16:creationId xmlns:a16="http://schemas.microsoft.com/office/drawing/2014/main" id="{62576E73-AF03-40E3-9884-AA3C2C5DF2E6}"/>
                </a:ext>
              </a:extLst>
            </p:cNvPr>
            <p:cNvSpPr txBox="1">
              <a:spLocks noChangeArrowheads="1"/>
            </p:cNvSpPr>
            <p:nvPr/>
          </p:nvSpPr>
          <p:spPr bwMode="gray">
            <a:xfrm>
              <a:off x="6718394" y="-4671180"/>
              <a:ext cx="597600" cy="597600"/>
            </a:xfrm>
            <a:prstGeom prst="ellipse">
              <a:avLst/>
            </a:prstGeom>
            <a:solidFill>
              <a:schemeClr val="bg1"/>
            </a:solidFill>
            <a:ln w="28575">
              <a:solidFill>
                <a:schemeClr val="tx1"/>
              </a:solid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35" name="Group 34">
              <a:extLst>
                <a:ext uri="{FF2B5EF4-FFF2-40B4-BE49-F238E27FC236}">
                  <a16:creationId xmlns:a16="http://schemas.microsoft.com/office/drawing/2014/main" id="{FC32D750-40C9-46DD-97B1-A1D1C43498CC}"/>
                </a:ext>
              </a:extLst>
            </p:cNvPr>
            <p:cNvGrpSpPr/>
            <p:nvPr/>
          </p:nvGrpSpPr>
          <p:grpSpPr bwMode="gray">
            <a:xfrm>
              <a:off x="6852638" y="-4522652"/>
              <a:ext cx="329112" cy="300546"/>
              <a:chOff x="-967926" y="3169597"/>
              <a:chExt cx="575910" cy="644168"/>
            </a:xfrm>
            <a:solidFill>
              <a:schemeClr val="bg1"/>
            </a:solidFill>
          </p:grpSpPr>
          <p:sp>
            <p:nvSpPr>
              <p:cNvPr id="36" name="Freeform 404">
                <a:extLst>
                  <a:ext uri="{FF2B5EF4-FFF2-40B4-BE49-F238E27FC236}">
                    <a16:creationId xmlns:a16="http://schemas.microsoft.com/office/drawing/2014/main" id="{0ED51924-0B7E-4786-98EA-84F421B25E50}"/>
                  </a:ext>
                </a:extLst>
              </p:cNvPr>
              <p:cNvSpPr/>
              <p:nvPr/>
            </p:nvSpPr>
            <p:spPr bwMode="gray">
              <a:xfrm>
                <a:off x="-967926" y="3169597"/>
                <a:ext cx="575910" cy="644168"/>
              </a:xfrm>
              <a:custGeom>
                <a:avLst/>
                <a:gdLst>
                  <a:gd name="connsiteX0" fmla="*/ 394445 w 915582"/>
                  <a:gd name="connsiteY0" fmla="*/ 1530534 h 1530534"/>
                  <a:gd name="connsiteX1" fmla="*/ 2559 w 915582"/>
                  <a:gd name="connsiteY1" fmla="*/ 937681 h 1530534"/>
                  <a:gd name="connsiteX2" fmla="*/ 223623 w 915582"/>
                  <a:gd name="connsiteY2" fmla="*/ 596037 h 1530534"/>
                  <a:gd name="connsiteX3" fmla="*/ 193478 w 915582"/>
                  <a:gd name="connsiteY3" fmla="*/ 3184 h 1530534"/>
                  <a:gd name="connsiteX4" fmla="*/ 906911 w 915582"/>
                  <a:gd name="connsiteY4" fmla="*/ 877391 h 1530534"/>
                  <a:gd name="connsiteX5" fmla="*/ 525073 w 915582"/>
                  <a:gd name="connsiteY5" fmla="*/ 1530534 h 1530534"/>
                  <a:gd name="connsiteX0" fmla="*/ 63771 w 1112883"/>
                  <a:gd name="connsiteY0" fmla="*/ 1460487 h 1530534"/>
                  <a:gd name="connsiteX1" fmla="*/ 199860 w 1112883"/>
                  <a:gd name="connsiteY1" fmla="*/ 937681 h 1530534"/>
                  <a:gd name="connsiteX2" fmla="*/ 420924 w 1112883"/>
                  <a:gd name="connsiteY2" fmla="*/ 596037 h 1530534"/>
                  <a:gd name="connsiteX3" fmla="*/ 390779 w 1112883"/>
                  <a:gd name="connsiteY3" fmla="*/ 3184 h 1530534"/>
                  <a:gd name="connsiteX4" fmla="*/ 1104212 w 1112883"/>
                  <a:gd name="connsiteY4" fmla="*/ 877391 h 1530534"/>
                  <a:gd name="connsiteX5" fmla="*/ 722374 w 1112883"/>
                  <a:gd name="connsiteY5" fmla="*/ 1530534 h 1530534"/>
                  <a:gd name="connsiteX0" fmla="*/ 63772 w 1109482"/>
                  <a:gd name="connsiteY0" fmla="*/ 1460487 h 1514369"/>
                  <a:gd name="connsiteX1" fmla="*/ 199861 w 1109482"/>
                  <a:gd name="connsiteY1" fmla="*/ 937681 h 1514369"/>
                  <a:gd name="connsiteX2" fmla="*/ 420925 w 1109482"/>
                  <a:gd name="connsiteY2" fmla="*/ 596037 h 1514369"/>
                  <a:gd name="connsiteX3" fmla="*/ 390780 w 1109482"/>
                  <a:gd name="connsiteY3" fmla="*/ 3184 h 1514369"/>
                  <a:gd name="connsiteX4" fmla="*/ 1104213 w 1109482"/>
                  <a:gd name="connsiteY4" fmla="*/ 877391 h 1514369"/>
                  <a:gd name="connsiteX5" fmla="*/ 548092 w 1109482"/>
                  <a:gd name="connsiteY5" fmla="*/ 1514369 h 1514369"/>
                  <a:gd name="connsiteX0" fmla="*/ 63772 w 874709"/>
                  <a:gd name="connsiteY0" fmla="*/ 1460715 h 1514597"/>
                  <a:gd name="connsiteX1" fmla="*/ 199861 w 874709"/>
                  <a:gd name="connsiteY1" fmla="*/ 937909 h 1514597"/>
                  <a:gd name="connsiteX2" fmla="*/ 420925 w 874709"/>
                  <a:gd name="connsiteY2" fmla="*/ 596265 h 1514597"/>
                  <a:gd name="connsiteX3" fmla="*/ 390780 w 874709"/>
                  <a:gd name="connsiteY3" fmla="*/ 3412 h 1514597"/>
                  <a:gd name="connsiteX4" fmla="*/ 863293 w 874709"/>
                  <a:gd name="connsiteY4" fmla="*/ 888395 h 1514597"/>
                  <a:gd name="connsiteX5" fmla="*/ 548092 w 874709"/>
                  <a:gd name="connsiteY5" fmla="*/ 1514597 h 1514597"/>
                  <a:gd name="connsiteX0" fmla="*/ 191224 w 1002160"/>
                  <a:gd name="connsiteY0" fmla="*/ 1460745 h 1514627"/>
                  <a:gd name="connsiteX1" fmla="*/ 24880 w 1002160"/>
                  <a:gd name="connsiteY1" fmla="*/ 964881 h 1514627"/>
                  <a:gd name="connsiteX2" fmla="*/ 548377 w 1002160"/>
                  <a:gd name="connsiteY2" fmla="*/ 596295 h 1514627"/>
                  <a:gd name="connsiteX3" fmla="*/ 518232 w 1002160"/>
                  <a:gd name="connsiteY3" fmla="*/ 3442 h 1514627"/>
                  <a:gd name="connsiteX4" fmla="*/ 990745 w 1002160"/>
                  <a:gd name="connsiteY4" fmla="*/ 888425 h 1514627"/>
                  <a:gd name="connsiteX5" fmla="*/ 675544 w 1002160"/>
                  <a:gd name="connsiteY5" fmla="*/ 1514627 h 1514627"/>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72063 h 1525945"/>
                  <a:gd name="connsiteX1" fmla="*/ 6383 w 983663"/>
                  <a:gd name="connsiteY1" fmla="*/ 976199 h 1525945"/>
                  <a:gd name="connsiteX2" fmla="*/ 268455 w 983663"/>
                  <a:gd name="connsiteY2" fmla="*/ 532179 h 1525945"/>
                  <a:gd name="connsiteX3" fmla="*/ 499735 w 983663"/>
                  <a:gd name="connsiteY3" fmla="*/ 14760 h 1525945"/>
                  <a:gd name="connsiteX4" fmla="*/ 972248 w 983663"/>
                  <a:gd name="connsiteY4" fmla="*/ 899743 h 1525945"/>
                  <a:gd name="connsiteX5" fmla="*/ 657047 w 983663"/>
                  <a:gd name="connsiteY5" fmla="*/ 1525945 h 1525945"/>
                  <a:gd name="connsiteX0" fmla="*/ 172727 w 983663"/>
                  <a:gd name="connsiteY0" fmla="*/ 1456181 h 1510063"/>
                  <a:gd name="connsiteX1" fmla="*/ 6383 w 983663"/>
                  <a:gd name="connsiteY1" fmla="*/ 960317 h 1510063"/>
                  <a:gd name="connsiteX2" fmla="*/ 268455 w 983663"/>
                  <a:gd name="connsiteY2" fmla="*/ 516297 h 1510063"/>
                  <a:gd name="connsiteX3" fmla="*/ 443349 w 983663"/>
                  <a:gd name="connsiteY3" fmla="*/ 15043 h 1510063"/>
                  <a:gd name="connsiteX4" fmla="*/ 972248 w 983663"/>
                  <a:gd name="connsiteY4" fmla="*/ 883861 h 1510063"/>
                  <a:gd name="connsiteX5" fmla="*/ 657047 w 983663"/>
                  <a:gd name="connsiteY5" fmla="*/ 1510063 h 1510063"/>
                  <a:gd name="connsiteX0" fmla="*/ 171348 w 982284"/>
                  <a:gd name="connsiteY0" fmla="*/ 1447162 h 1501044"/>
                  <a:gd name="connsiteX1" fmla="*/ 5004 w 982284"/>
                  <a:gd name="connsiteY1" fmla="*/ 951298 h 1501044"/>
                  <a:gd name="connsiteX2" fmla="*/ 246573 w 982284"/>
                  <a:gd name="connsiteY2" fmla="*/ 512666 h 1501044"/>
                  <a:gd name="connsiteX3" fmla="*/ 441970 w 982284"/>
                  <a:gd name="connsiteY3" fmla="*/ 6024 h 1501044"/>
                  <a:gd name="connsiteX4" fmla="*/ 970869 w 982284"/>
                  <a:gd name="connsiteY4" fmla="*/ 874842 h 1501044"/>
                  <a:gd name="connsiteX5" fmla="*/ 655668 w 982284"/>
                  <a:gd name="connsiteY5" fmla="*/ 1501044 h 1501044"/>
                  <a:gd name="connsiteX0" fmla="*/ 171348 w 982284"/>
                  <a:gd name="connsiteY0" fmla="*/ 1457131 h 1511013"/>
                  <a:gd name="connsiteX1" fmla="*/ 5004 w 982284"/>
                  <a:gd name="connsiteY1" fmla="*/ 961267 h 1511013"/>
                  <a:gd name="connsiteX2" fmla="*/ 246573 w 982284"/>
                  <a:gd name="connsiteY2" fmla="*/ 522635 h 1511013"/>
                  <a:gd name="connsiteX3" fmla="*/ 441970 w 982284"/>
                  <a:gd name="connsiteY3" fmla="*/ 15993 h 1511013"/>
                  <a:gd name="connsiteX4" fmla="*/ 970869 w 982284"/>
                  <a:gd name="connsiteY4" fmla="*/ 884811 h 1511013"/>
                  <a:gd name="connsiteX5" fmla="*/ 655668 w 982284"/>
                  <a:gd name="connsiteY5" fmla="*/ 1511013 h 1511013"/>
                  <a:gd name="connsiteX0" fmla="*/ 184998 w 995934"/>
                  <a:gd name="connsiteY0" fmla="*/ 1441330 h 1495212"/>
                  <a:gd name="connsiteX1" fmla="*/ 18654 w 995934"/>
                  <a:gd name="connsiteY1" fmla="*/ 945466 h 1495212"/>
                  <a:gd name="connsiteX2" fmla="*/ 455620 w 995934"/>
                  <a:gd name="connsiteY2" fmla="*/ 192 h 1495212"/>
                  <a:gd name="connsiteX3" fmla="*/ 984519 w 995934"/>
                  <a:gd name="connsiteY3" fmla="*/ 869010 h 1495212"/>
                  <a:gd name="connsiteX4" fmla="*/ 669318 w 995934"/>
                  <a:gd name="connsiteY4" fmla="*/ 1495212 h 1495212"/>
                  <a:gd name="connsiteX0" fmla="*/ 184998 w 995934"/>
                  <a:gd name="connsiteY0" fmla="*/ 1462589 h 1516471"/>
                  <a:gd name="connsiteX1" fmla="*/ 18654 w 995934"/>
                  <a:gd name="connsiteY1" fmla="*/ 966725 h 1516471"/>
                  <a:gd name="connsiteX2" fmla="*/ 455620 w 995934"/>
                  <a:gd name="connsiteY2" fmla="*/ 21451 h 1516471"/>
                  <a:gd name="connsiteX3" fmla="*/ 984519 w 995934"/>
                  <a:gd name="connsiteY3" fmla="*/ 890269 h 1516471"/>
                  <a:gd name="connsiteX4" fmla="*/ 669318 w 995934"/>
                  <a:gd name="connsiteY4" fmla="*/ 1516471 h 1516471"/>
                  <a:gd name="connsiteX0" fmla="*/ 178447 w 989383"/>
                  <a:gd name="connsiteY0" fmla="*/ 1462589 h 1516471"/>
                  <a:gd name="connsiteX1" fmla="*/ 12103 w 989383"/>
                  <a:gd name="connsiteY1" fmla="*/ 966725 h 1516471"/>
                  <a:gd name="connsiteX2" fmla="*/ 449069 w 989383"/>
                  <a:gd name="connsiteY2" fmla="*/ 21451 h 1516471"/>
                  <a:gd name="connsiteX3" fmla="*/ 977968 w 989383"/>
                  <a:gd name="connsiteY3" fmla="*/ 890269 h 1516471"/>
                  <a:gd name="connsiteX4" fmla="*/ 662767 w 989383"/>
                  <a:gd name="connsiteY4" fmla="*/ 1516471 h 1516471"/>
                  <a:gd name="connsiteX0" fmla="*/ 172077 w 983013"/>
                  <a:gd name="connsiteY0" fmla="*/ 1462589 h 1516471"/>
                  <a:gd name="connsiteX1" fmla="*/ 5733 w 983013"/>
                  <a:gd name="connsiteY1" fmla="*/ 966725 h 1516471"/>
                  <a:gd name="connsiteX2" fmla="*/ 442699 w 983013"/>
                  <a:gd name="connsiteY2" fmla="*/ 21451 h 1516471"/>
                  <a:gd name="connsiteX3" fmla="*/ 971598 w 983013"/>
                  <a:gd name="connsiteY3" fmla="*/ 890269 h 1516471"/>
                  <a:gd name="connsiteX4" fmla="*/ 656397 w 983013"/>
                  <a:gd name="connsiteY4" fmla="*/ 1516471 h 1516471"/>
                  <a:gd name="connsiteX0" fmla="*/ 167713 w 978649"/>
                  <a:gd name="connsiteY0" fmla="*/ 1462589 h 1516471"/>
                  <a:gd name="connsiteX1" fmla="*/ 1369 w 978649"/>
                  <a:gd name="connsiteY1" fmla="*/ 966725 h 1516471"/>
                  <a:gd name="connsiteX2" fmla="*/ 438335 w 978649"/>
                  <a:gd name="connsiteY2" fmla="*/ 21451 h 1516471"/>
                  <a:gd name="connsiteX3" fmla="*/ 967234 w 978649"/>
                  <a:gd name="connsiteY3" fmla="*/ 890269 h 1516471"/>
                  <a:gd name="connsiteX4" fmla="*/ 652033 w 978649"/>
                  <a:gd name="connsiteY4" fmla="*/ 1516471 h 1516471"/>
                  <a:gd name="connsiteX0" fmla="*/ 194053 w 984485"/>
                  <a:gd name="connsiteY0" fmla="*/ 1489530 h 1516471"/>
                  <a:gd name="connsiteX1" fmla="*/ 7205 w 984485"/>
                  <a:gd name="connsiteY1" fmla="*/ 966725 h 1516471"/>
                  <a:gd name="connsiteX2" fmla="*/ 444171 w 984485"/>
                  <a:gd name="connsiteY2" fmla="*/ 21451 h 1516471"/>
                  <a:gd name="connsiteX3" fmla="*/ 973070 w 984485"/>
                  <a:gd name="connsiteY3" fmla="*/ 890269 h 1516471"/>
                  <a:gd name="connsiteX4" fmla="*/ 657869 w 984485"/>
                  <a:gd name="connsiteY4" fmla="*/ 1516471 h 1516471"/>
                  <a:gd name="connsiteX0" fmla="*/ 194054 w 983258"/>
                  <a:gd name="connsiteY0" fmla="*/ 1489530 h 1489530"/>
                  <a:gd name="connsiteX1" fmla="*/ 7206 w 983258"/>
                  <a:gd name="connsiteY1" fmla="*/ 966725 h 1489530"/>
                  <a:gd name="connsiteX2" fmla="*/ 444172 w 983258"/>
                  <a:gd name="connsiteY2" fmla="*/ 21451 h 1489530"/>
                  <a:gd name="connsiteX3" fmla="*/ 973071 w 983258"/>
                  <a:gd name="connsiteY3" fmla="*/ 890269 h 1489530"/>
                  <a:gd name="connsiteX4" fmla="*/ 632240 w 983258"/>
                  <a:gd name="connsiteY4" fmla="*/ 1489530 h 1489530"/>
                  <a:gd name="connsiteX0" fmla="*/ 194054 w 958856"/>
                  <a:gd name="connsiteY0" fmla="*/ 1468401 h 1468401"/>
                  <a:gd name="connsiteX1" fmla="*/ 7206 w 958856"/>
                  <a:gd name="connsiteY1" fmla="*/ 945596 h 1468401"/>
                  <a:gd name="connsiteX2" fmla="*/ 444172 w 958856"/>
                  <a:gd name="connsiteY2" fmla="*/ 322 h 1468401"/>
                  <a:gd name="connsiteX3" fmla="*/ 947441 w 958856"/>
                  <a:gd name="connsiteY3" fmla="*/ 847587 h 1468401"/>
                  <a:gd name="connsiteX4" fmla="*/ 632240 w 958856"/>
                  <a:gd name="connsiteY4" fmla="*/ 1468401 h 1468401"/>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466 h 1473466"/>
                  <a:gd name="connsiteX1" fmla="*/ 6054 w 957704"/>
                  <a:gd name="connsiteY1" fmla="*/ 950661 h 1473466"/>
                  <a:gd name="connsiteX2" fmla="*/ 417391 w 957704"/>
                  <a:gd name="connsiteY2" fmla="*/ -1 h 1473466"/>
                  <a:gd name="connsiteX3" fmla="*/ 946289 w 957704"/>
                  <a:gd name="connsiteY3" fmla="*/ 852652 h 1473466"/>
                  <a:gd name="connsiteX4" fmla="*/ 631088 w 957704"/>
                  <a:gd name="connsiteY4" fmla="*/ 1473466 h 1473466"/>
                  <a:gd name="connsiteX0" fmla="*/ 192902 w 943205"/>
                  <a:gd name="connsiteY0" fmla="*/ 1473467 h 1473467"/>
                  <a:gd name="connsiteX1" fmla="*/ 6054 w 943205"/>
                  <a:gd name="connsiteY1" fmla="*/ 950662 h 1473467"/>
                  <a:gd name="connsiteX2" fmla="*/ 417391 w 943205"/>
                  <a:gd name="connsiteY2" fmla="*/ 0 h 1473467"/>
                  <a:gd name="connsiteX3" fmla="*/ 930912 w 943205"/>
                  <a:gd name="connsiteY3" fmla="*/ 852653 h 1473467"/>
                  <a:gd name="connsiteX4" fmla="*/ 631088 w 943205"/>
                  <a:gd name="connsiteY4" fmla="*/ 1473467 h 1473467"/>
                  <a:gd name="connsiteX0" fmla="*/ 190405 w 940708"/>
                  <a:gd name="connsiteY0" fmla="*/ 1495020 h 1495020"/>
                  <a:gd name="connsiteX1" fmla="*/ 3557 w 940708"/>
                  <a:gd name="connsiteY1" fmla="*/ 972215 h 1495020"/>
                  <a:gd name="connsiteX2" fmla="*/ 353382 w 940708"/>
                  <a:gd name="connsiteY2" fmla="*/ 0 h 1495020"/>
                  <a:gd name="connsiteX3" fmla="*/ 928415 w 940708"/>
                  <a:gd name="connsiteY3" fmla="*/ 874206 h 1495020"/>
                  <a:gd name="connsiteX4" fmla="*/ 628591 w 940708"/>
                  <a:gd name="connsiteY4" fmla="*/ 1495020 h 1495020"/>
                  <a:gd name="connsiteX0" fmla="*/ 281357 w 1031660"/>
                  <a:gd name="connsiteY0" fmla="*/ 1495020 h 1495020"/>
                  <a:gd name="connsiteX1" fmla="*/ 2242 w 1031660"/>
                  <a:gd name="connsiteY1" fmla="*/ 934498 h 1495020"/>
                  <a:gd name="connsiteX2" fmla="*/ 444334 w 1031660"/>
                  <a:gd name="connsiteY2" fmla="*/ 0 h 1495020"/>
                  <a:gd name="connsiteX3" fmla="*/ 1019367 w 1031660"/>
                  <a:gd name="connsiteY3" fmla="*/ 874206 h 1495020"/>
                  <a:gd name="connsiteX4" fmla="*/ 719543 w 1031660"/>
                  <a:gd name="connsiteY4" fmla="*/ 1495020 h 1495020"/>
                  <a:gd name="connsiteX0" fmla="*/ 280647 w 1030950"/>
                  <a:gd name="connsiteY0" fmla="*/ 1495020 h 1495020"/>
                  <a:gd name="connsiteX1" fmla="*/ 1532 w 1030950"/>
                  <a:gd name="connsiteY1" fmla="*/ 934498 h 1495020"/>
                  <a:gd name="connsiteX2" fmla="*/ 443624 w 1030950"/>
                  <a:gd name="connsiteY2" fmla="*/ 0 h 1495020"/>
                  <a:gd name="connsiteX3" fmla="*/ 1018657 w 1030950"/>
                  <a:gd name="connsiteY3" fmla="*/ 874206 h 1495020"/>
                  <a:gd name="connsiteX4" fmla="*/ 718833 w 1030950"/>
                  <a:gd name="connsiteY4" fmla="*/ 1495020 h 1495020"/>
                  <a:gd name="connsiteX0" fmla="*/ 298745 w 1031106"/>
                  <a:gd name="connsiteY0" fmla="*/ 1503102 h 1503102"/>
                  <a:gd name="connsiteX1" fmla="*/ 1688 w 1031106"/>
                  <a:gd name="connsiteY1" fmla="*/ 934498 h 1503102"/>
                  <a:gd name="connsiteX2" fmla="*/ 443780 w 1031106"/>
                  <a:gd name="connsiteY2" fmla="*/ 0 h 1503102"/>
                  <a:gd name="connsiteX3" fmla="*/ 1018813 w 1031106"/>
                  <a:gd name="connsiteY3" fmla="*/ 874206 h 1503102"/>
                  <a:gd name="connsiteX4" fmla="*/ 718989 w 1031106"/>
                  <a:gd name="connsiteY4" fmla="*/ 1495020 h 1503102"/>
                  <a:gd name="connsiteX0" fmla="*/ 299147 w 1031508"/>
                  <a:gd name="connsiteY0" fmla="*/ 1503102 h 1503102"/>
                  <a:gd name="connsiteX1" fmla="*/ 2090 w 1031508"/>
                  <a:gd name="connsiteY1" fmla="*/ 934498 h 1503102"/>
                  <a:gd name="connsiteX2" fmla="*/ 444182 w 1031508"/>
                  <a:gd name="connsiteY2" fmla="*/ 0 h 1503102"/>
                  <a:gd name="connsiteX3" fmla="*/ 1019215 w 1031508"/>
                  <a:gd name="connsiteY3" fmla="*/ 874206 h 1503102"/>
                  <a:gd name="connsiteX4" fmla="*/ 719391 w 1031508"/>
                  <a:gd name="connsiteY4" fmla="*/ 1495020 h 1503102"/>
                  <a:gd name="connsiteX0" fmla="*/ 301686 w 1034047"/>
                  <a:gd name="connsiteY0" fmla="*/ 1503102 h 1503102"/>
                  <a:gd name="connsiteX1" fmla="*/ 2065 w 1034047"/>
                  <a:gd name="connsiteY1" fmla="*/ 972215 h 1503102"/>
                  <a:gd name="connsiteX2" fmla="*/ 446721 w 1034047"/>
                  <a:gd name="connsiteY2" fmla="*/ 0 h 1503102"/>
                  <a:gd name="connsiteX3" fmla="*/ 1021754 w 1034047"/>
                  <a:gd name="connsiteY3" fmla="*/ 874206 h 1503102"/>
                  <a:gd name="connsiteX4" fmla="*/ 721930 w 1034047"/>
                  <a:gd name="connsiteY4" fmla="*/ 1495020 h 1503102"/>
                  <a:gd name="connsiteX0" fmla="*/ 316925 w 1049286"/>
                  <a:gd name="connsiteY0" fmla="*/ 1503102 h 1503102"/>
                  <a:gd name="connsiteX1" fmla="*/ 1926 w 1049286"/>
                  <a:gd name="connsiteY1" fmla="*/ 988380 h 1503102"/>
                  <a:gd name="connsiteX2" fmla="*/ 461960 w 1049286"/>
                  <a:gd name="connsiteY2" fmla="*/ 0 h 1503102"/>
                  <a:gd name="connsiteX3" fmla="*/ 1036993 w 1049286"/>
                  <a:gd name="connsiteY3" fmla="*/ 874206 h 1503102"/>
                  <a:gd name="connsiteX4" fmla="*/ 737169 w 1049286"/>
                  <a:gd name="connsiteY4" fmla="*/ 1495020 h 1503102"/>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936" h="1434920">
                    <a:moveTo>
                      <a:pt x="316575" y="1434920"/>
                    </a:moveTo>
                    <a:cubicBezTo>
                      <a:pt x="186127" y="1313356"/>
                      <a:pt x="-20068" y="1159351"/>
                      <a:pt x="1576" y="920198"/>
                    </a:cubicBezTo>
                    <a:cubicBezTo>
                      <a:pt x="23220" y="681045"/>
                      <a:pt x="453766" y="420451"/>
                      <a:pt x="446440" y="0"/>
                    </a:cubicBezTo>
                    <a:cubicBezTo>
                      <a:pt x="674910" y="255427"/>
                      <a:pt x="981377" y="551466"/>
                      <a:pt x="1036643" y="806024"/>
                    </a:cubicBezTo>
                    <a:cubicBezTo>
                      <a:pt x="1091909" y="1060582"/>
                      <a:pt x="955371" y="1227545"/>
                      <a:pt x="736819" y="1426838"/>
                    </a:cubicBezTo>
                  </a:path>
                </a:pathLst>
              </a:cu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37" name="Freeform 405">
                <a:extLst>
                  <a:ext uri="{FF2B5EF4-FFF2-40B4-BE49-F238E27FC236}">
                    <a16:creationId xmlns:a16="http://schemas.microsoft.com/office/drawing/2014/main" id="{5752BD87-CBA5-498B-892D-9AB774DE5088}"/>
                  </a:ext>
                </a:extLst>
              </p:cNvPr>
              <p:cNvSpPr/>
              <p:nvPr/>
            </p:nvSpPr>
            <p:spPr bwMode="gray">
              <a:xfrm>
                <a:off x="-886112" y="3346900"/>
                <a:ext cx="408180" cy="466865"/>
              </a:xfrm>
              <a:custGeom>
                <a:avLst/>
                <a:gdLst>
                  <a:gd name="connsiteX0" fmla="*/ 312344 w 730519"/>
                  <a:gd name="connsiteY0" fmla="*/ 1257698 h 1257698"/>
                  <a:gd name="connsiteX1" fmla="*/ 845 w 730519"/>
                  <a:gd name="connsiteY1" fmla="*/ 745232 h 1257698"/>
                  <a:gd name="connsiteX2" fmla="*/ 221909 w 730519"/>
                  <a:gd name="connsiteY2" fmla="*/ 443782 h 1257698"/>
                  <a:gd name="connsiteX3" fmla="*/ 272151 w 730519"/>
                  <a:gd name="connsiteY3" fmla="*/ 1654 h 1257698"/>
                  <a:gd name="connsiteX4" fmla="*/ 724326 w 730519"/>
                  <a:gd name="connsiteY4" fmla="*/ 614604 h 1257698"/>
                  <a:gd name="connsiteX5" fmla="*/ 493214 w 730519"/>
                  <a:gd name="connsiteY5" fmla="*/ 1257698 h 1257698"/>
                  <a:gd name="connsiteX0" fmla="*/ 236291 w 654466"/>
                  <a:gd name="connsiteY0" fmla="*/ 1257760 h 1257760"/>
                  <a:gd name="connsiteX1" fmla="*/ 1236 w 654466"/>
                  <a:gd name="connsiteY1" fmla="*/ 826117 h 1257760"/>
                  <a:gd name="connsiteX2" fmla="*/ 145856 w 654466"/>
                  <a:gd name="connsiteY2" fmla="*/ 443844 h 1257760"/>
                  <a:gd name="connsiteX3" fmla="*/ 196098 w 654466"/>
                  <a:gd name="connsiteY3" fmla="*/ 1716 h 1257760"/>
                  <a:gd name="connsiteX4" fmla="*/ 648273 w 654466"/>
                  <a:gd name="connsiteY4" fmla="*/ 614666 h 1257760"/>
                  <a:gd name="connsiteX5" fmla="*/ 417161 w 654466"/>
                  <a:gd name="connsiteY5" fmla="*/ 1257760 h 1257760"/>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2938 h 1212938"/>
                  <a:gd name="connsiteX1" fmla="*/ 1566 w 654796"/>
                  <a:gd name="connsiteY1" fmla="*/ 781295 h 1212938"/>
                  <a:gd name="connsiteX2" fmla="*/ 146186 w 654796"/>
                  <a:gd name="connsiteY2" fmla="*/ 399022 h 1212938"/>
                  <a:gd name="connsiteX3" fmla="*/ 376615 w 654796"/>
                  <a:gd name="connsiteY3" fmla="*/ -1 h 1212938"/>
                  <a:gd name="connsiteX4" fmla="*/ 648603 w 654796"/>
                  <a:gd name="connsiteY4" fmla="*/ 569844 h 1212938"/>
                  <a:gd name="connsiteX5" fmla="*/ 417491 w 654796"/>
                  <a:gd name="connsiteY5" fmla="*/ 1212938 h 1212938"/>
                  <a:gd name="connsiteX0" fmla="*/ 236621 w 654796"/>
                  <a:gd name="connsiteY0" fmla="*/ 1212939 h 1212939"/>
                  <a:gd name="connsiteX1" fmla="*/ 1566 w 654796"/>
                  <a:gd name="connsiteY1" fmla="*/ 781296 h 1212939"/>
                  <a:gd name="connsiteX2" fmla="*/ 146186 w 654796"/>
                  <a:gd name="connsiteY2" fmla="*/ 399023 h 1212939"/>
                  <a:gd name="connsiteX3" fmla="*/ 376615 w 654796"/>
                  <a:gd name="connsiteY3" fmla="*/ 0 h 1212939"/>
                  <a:gd name="connsiteX4" fmla="*/ 648603 w 654796"/>
                  <a:gd name="connsiteY4" fmla="*/ 569845 h 1212939"/>
                  <a:gd name="connsiteX5" fmla="*/ 417491 w 654796"/>
                  <a:gd name="connsiteY5" fmla="*/ 1212939 h 1212939"/>
                  <a:gd name="connsiteX0" fmla="*/ 236621 w 691880"/>
                  <a:gd name="connsiteY0" fmla="*/ 1212939 h 1212939"/>
                  <a:gd name="connsiteX1" fmla="*/ 1566 w 691880"/>
                  <a:gd name="connsiteY1" fmla="*/ 781296 h 1212939"/>
                  <a:gd name="connsiteX2" fmla="*/ 146186 w 691880"/>
                  <a:gd name="connsiteY2" fmla="*/ 399023 h 1212939"/>
                  <a:gd name="connsiteX3" fmla="*/ 376615 w 691880"/>
                  <a:gd name="connsiteY3" fmla="*/ 0 h 1212939"/>
                  <a:gd name="connsiteX4" fmla="*/ 686825 w 691880"/>
                  <a:gd name="connsiteY4" fmla="*/ 666832 h 1212939"/>
                  <a:gd name="connsiteX5" fmla="*/ 417491 w 691880"/>
                  <a:gd name="connsiteY5" fmla="*/ 1212939 h 1212939"/>
                  <a:gd name="connsiteX0" fmla="*/ 236621 w 701317"/>
                  <a:gd name="connsiteY0" fmla="*/ 1212939 h 1212939"/>
                  <a:gd name="connsiteX1" fmla="*/ 1566 w 701317"/>
                  <a:gd name="connsiteY1" fmla="*/ 781296 h 1212939"/>
                  <a:gd name="connsiteX2" fmla="*/ 146186 w 701317"/>
                  <a:gd name="connsiteY2" fmla="*/ 399023 h 1212939"/>
                  <a:gd name="connsiteX3" fmla="*/ 376615 w 701317"/>
                  <a:gd name="connsiteY3" fmla="*/ 0 h 1212939"/>
                  <a:gd name="connsiteX4" fmla="*/ 686825 w 701317"/>
                  <a:gd name="connsiteY4" fmla="*/ 666832 h 1212939"/>
                  <a:gd name="connsiteX5" fmla="*/ 559456 w 701317"/>
                  <a:gd name="connsiteY5" fmla="*/ 1185998 h 1212939"/>
                  <a:gd name="connsiteX0" fmla="*/ 236621 w 739946"/>
                  <a:gd name="connsiteY0" fmla="*/ 1212939 h 1212939"/>
                  <a:gd name="connsiteX1" fmla="*/ 1566 w 739946"/>
                  <a:gd name="connsiteY1" fmla="*/ 781296 h 1212939"/>
                  <a:gd name="connsiteX2" fmla="*/ 146186 w 739946"/>
                  <a:gd name="connsiteY2" fmla="*/ 399023 h 1212939"/>
                  <a:gd name="connsiteX3" fmla="*/ 376615 w 739946"/>
                  <a:gd name="connsiteY3" fmla="*/ 0 h 1212939"/>
                  <a:gd name="connsiteX4" fmla="*/ 730507 w 739946"/>
                  <a:gd name="connsiteY4" fmla="*/ 634503 h 1212939"/>
                  <a:gd name="connsiteX5" fmla="*/ 559456 w 739946"/>
                  <a:gd name="connsiteY5" fmla="*/ 1185998 h 1212939"/>
                  <a:gd name="connsiteX0" fmla="*/ 236572 w 739897"/>
                  <a:gd name="connsiteY0" fmla="*/ 1164445 h 1164445"/>
                  <a:gd name="connsiteX1" fmla="*/ 1517 w 739897"/>
                  <a:gd name="connsiteY1" fmla="*/ 732802 h 1164445"/>
                  <a:gd name="connsiteX2" fmla="*/ 146137 w 739897"/>
                  <a:gd name="connsiteY2" fmla="*/ 350529 h 1164445"/>
                  <a:gd name="connsiteX3" fmla="*/ 354725 w 739897"/>
                  <a:gd name="connsiteY3" fmla="*/ 0 h 1164445"/>
                  <a:gd name="connsiteX4" fmla="*/ 730458 w 739897"/>
                  <a:gd name="connsiteY4" fmla="*/ 586009 h 1164445"/>
                  <a:gd name="connsiteX5" fmla="*/ 559407 w 739897"/>
                  <a:gd name="connsiteY5"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42766 w 746091"/>
                  <a:gd name="connsiteY0" fmla="*/ 1164445 h 1164445"/>
                  <a:gd name="connsiteX1" fmla="*/ 2250 w 746091"/>
                  <a:gd name="connsiteY1" fmla="*/ 700472 h 1164445"/>
                  <a:gd name="connsiteX2" fmla="*/ 360919 w 746091"/>
                  <a:gd name="connsiteY2" fmla="*/ 0 h 1164445"/>
                  <a:gd name="connsiteX3" fmla="*/ 736652 w 746091"/>
                  <a:gd name="connsiteY3" fmla="*/ 586009 h 1164445"/>
                  <a:gd name="connsiteX4" fmla="*/ 565601 w 746091"/>
                  <a:gd name="connsiteY4" fmla="*/ 1137504 h 1164445"/>
                  <a:gd name="connsiteX0" fmla="*/ 182965 w 751812"/>
                  <a:gd name="connsiteY0" fmla="*/ 1148280 h 1148280"/>
                  <a:gd name="connsiteX1" fmla="*/ 7971 w 751812"/>
                  <a:gd name="connsiteY1" fmla="*/ 700472 h 1148280"/>
                  <a:gd name="connsiteX2" fmla="*/ 366640 w 751812"/>
                  <a:gd name="connsiteY2" fmla="*/ 0 h 1148280"/>
                  <a:gd name="connsiteX3" fmla="*/ 742373 w 751812"/>
                  <a:gd name="connsiteY3" fmla="*/ 586009 h 1148280"/>
                  <a:gd name="connsiteX4" fmla="*/ 571322 w 751812"/>
                  <a:gd name="connsiteY4" fmla="*/ 1137504 h 1148280"/>
                  <a:gd name="connsiteX0" fmla="*/ 205889 w 748841"/>
                  <a:gd name="connsiteY0" fmla="*/ 1142892 h 1142892"/>
                  <a:gd name="connsiteX1" fmla="*/ 5000 w 748841"/>
                  <a:gd name="connsiteY1" fmla="*/ 700472 h 1142892"/>
                  <a:gd name="connsiteX2" fmla="*/ 363669 w 748841"/>
                  <a:gd name="connsiteY2" fmla="*/ 0 h 1142892"/>
                  <a:gd name="connsiteX3" fmla="*/ 739402 w 748841"/>
                  <a:gd name="connsiteY3" fmla="*/ 586009 h 1142892"/>
                  <a:gd name="connsiteX4" fmla="*/ 568351 w 748841"/>
                  <a:gd name="connsiteY4" fmla="*/ 1137504 h 1142892"/>
                  <a:gd name="connsiteX0" fmla="*/ 187451 w 751119"/>
                  <a:gd name="connsiteY0" fmla="*/ 1142892 h 1142892"/>
                  <a:gd name="connsiteX1" fmla="*/ 7278 w 751119"/>
                  <a:gd name="connsiteY1" fmla="*/ 700472 h 1142892"/>
                  <a:gd name="connsiteX2" fmla="*/ 365947 w 751119"/>
                  <a:gd name="connsiteY2" fmla="*/ 0 h 1142892"/>
                  <a:gd name="connsiteX3" fmla="*/ 741680 w 751119"/>
                  <a:gd name="connsiteY3" fmla="*/ 586009 h 1142892"/>
                  <a:gd name="connsiteX4" fmla="*/ 570629 w 751119"/>
                  <a:gd name="connsiteY4" fmla="*/ 1137504 h 1142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119" h="1142892">
                    <a:moveTo>
                      <a:pt x="187451" y="1142892"/>
                    </a:moveTo>
                    <a:cubicBezTo>
                      <a:pt x="39237" y="954485"/>
                      <a:pt x="-22471" y="890954"/>
                      <a:pt x="7278" y="700472"/>
                    </a:cubicBezTo>
                    <a:cubicBezTo>
                      <a:pt x="37027" y="509990"/>
                      <a:pt x="320900" y="272324"/>
                      <a:pt x="365947" y="0"/>
                    </a:cubicBezTo>
                    <a:cubicBezTo>
                      <a:pt x="504285" y="195504"/>
                      <a:pt x="704836" y="376668"/>
                      <a:pt x="741680" y="586009"/>
                    </a:cubicBezTo>
                    <a:cubicBezTo>
                      <a:pt x="778524" y="795350"/>
                      <a:pt x="704607" y="920627"/>
                      <a:pt x="570629" y="1137504"/>
                    </a:cubicBezTo>
                  </a:path>
                </a:pathLst>
              </a:cu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38" name="Freeform 406">
                <a:extLst>
                  <a:ext uri="{FF2B5EF4-FFF2-40B4-BE49-F238E27FC236}">
                    <a16:creationId xmlns:a16="http://schemas.microsoft.com/office/drawing/2014/main" id="{A432EA85-BE69-423F-A8B3-CD1527CA103D}"/>
                  </a:ext>
                </a:extLst>
              </p:cNvPr>
              <p:cNvSpPr/>
              <p:nvPr/>
            </p:nvSpPr>
            <p:spPr bwMode="gray">
              <a:xfrm>
                <a:off x="-820606" y="3535648"/>
                <a:ext cx="273691" cy="278112"/>
              </a:xfrm>
              <a:custGeom>
                <a:avLst/>
                <a:gdLst>
                  <a:gd name="connsiteX0" fmla="*/ 95316 w 319358"/>
                  <a:gd name="connsiteY0" fmla="*/ 870562 h 870562"/>
                  <a:gd name="connsiteX1" fmla="*/ 66 w 319358"/>
                  <a:gd name="connsiteY1" fmla="*/ 483212 h 870562"/>
                  <a:gd name="connsiteX2" fmla="*/ 108016 w 319358"/>
                  <a:gd name="connsiteY2" fmla="*/ 324462 h 870562"/>
                  <a:gd name="connsiteX3" fmla="*/ 165166 w 319358"/>
                  <a:gd name="connsiteY3" fmla="*/ 612 h 870562"/>
                  <a:gd name="connsiteX4" fmla="*/ 317566 w 319358"/>
                  <a:gd name="connsiteY4" fmla="*/ 413362 h 870562"/>
                  <a:gd name="connsiteX5" fmla="*/ 235016 w 319358"/>
                  <a:gd name="connsiteY5" fmla="*/ 864212 h 870562"/>
                  <a:gd name="connsiteX0" fmla="*/ 95316 w 342347"/>
                  <a:gd name="connsiteY0" fmla="*/ 870562 h 870562"/>
                  <a:gd name="connsiteX1" fmla="*/ 66 w 342347"/>
                  <a:gd name="connsiteY1" fmla="*/ 483212 h 870562"/>
                  <a:gd name="connsiteX2" fmla="*/ 108016 w 342347"/>
                  <a:gd name="connsiteY2" fmla="*/ 324462 h 870562"/>
                  <a:gd name="connsiteX3" fmla="*/ 165166 w 342347"/>
                  <a:gd name="connsiteY3" fmla="*/ 612 h 870562"/>
                  <a:gd name="connsiteX4" fmla="*/ 317566 w 342347"/>
                  <a:gd name="connsiteY4" fmla="*/ 413362 h 870562"/>
                  <a:gd name="connsiteX5" fmla="*/ 319044 w 342347"/>
                  <a:gd name="connsiteY5" fmla="*/ 842659 h 870562"/>
                  <a:gd name="connsiteX0" fmla="*/ 95316 w 371927"/>
                  <a:gd name="connsiteY0" fmla="*/ 870562 h 870562"/>
                  <a:gd name="connsiteX1" fmla="*/ 66 w 371927"/>
                  <a:gd name="connsiteY1" fmla="*/ 483212 h 870562"/>
                  <a:gd name="connsiteX2" fmla="*/ 108016 w 371927"/>
                  <a:gd name="connsiteY2" fmla="*/ 324462 h 870562"/>
                  <a:gd name="connsiteX3" fmla="*/ 165166 w 371927"/>
                  <a:gd name="connsiteY3" fmla="*/ 612 h 870562"/>
                  <a:gd name="connsiteX4" fmla="*/ 367982 w 371927"/>
                  <a:gd name="connsiteY4" fmla="*/ 413363 h 870562"/>
                  <a:gd name="connsiteX5" fmla="*/ 319044 w 371927"/>
                  <a:gd name="connsiteY5" fmla="*/ 842659 h 870562"/>
                  <a:gd name="connsiteX0" fmla="*/ 95316 w 371927"/>
                  <a:gd name="connsiteY0" fmla="*/ 827551 h 827551"/>
                  <a:gd name="connsiteX1" fmla="*/ 66 w 371927"/>
                  <a:gd name="connsiteY1" fmla="*/ 440201 h 827551"/>
                  <a:gd name="connsiteX2" fmla="*/ 108016 w 371927"/>
                  <a:gd name="connsiteY2" fmla="*/ 281451 h 827551"/>
                  <a:gd name="connsiteX3" fmla="*/ 205499 w 371927"/>
                  <a:gd name="connsiteY3" fmla="*/ 707 h 827551"/>
                  <a:gd name="connsiteX4" fmla="*/ 367982 w 371927"/>
                  <a:gd name="connsiteY4" fmla="*/ 370352 h 827551"/>
                  <a:gd name="connsiteX5" fmla="*/ 319044 w 371927"/>
                  <a:gd name="connsiteY5" fmla="*/ 799648 h 827551"/>
                  <a:gd name="connsiteX0" fmla="*/ 98435 w 375046"/>
                  <a:gd name="connsiteY0" fmla="*/ 826844 h 826844"/>
                  <a:gd name="connsiteX1" fmla="*/ 3185 w 375046"/>
                  <a:gd name="connsiteY1" fmla="*/ 439494 h 826844"/>
                  <a:gd name="connsiteX2" fmla="*/ 208618 w 375046"/>
                  <a:gd name="connsiteY2" fmla="*/ 0 h 826844"/>
                  <a:gd name="connsiteX3" fmla="*/ 371101 w 375046"/>
                  <a:gd name="connsiteY3" fmla="*/ 369645 h 826844"/>
                  <a:gd name="connsiteX4" fmla="*/ 322163 w 375046"/>
                  <a:gd name="connsiteY4" fmla="*/ 798941 h 826844"/>
                  <a:gd name="connsiteX0" fmla="*/ 47224 w 323835"/>
                  <a:gd name="connsiteY0" fmla="*/ 826845 h 826845"/>
                  <a:gd name="connsiteX1" fmla="*/ 9112 w 323835"/>
                  <a:gd name="connsiteY1" fmla="*/ 374836 h 826845"/>
                  <a:gd name="connsiteX2" fmla="*/ 157407 w 323835"/>
                  <a:gd name="connsiteY2" fmla="*/ 1 h 826845"/>
                  <a:gd name="connsiteX3" fmla="*/ 319890 w 323835"/>
                  <a:gd name="connsiteY3" fmla="*/ 369646 h 826845"/>
                  <a:gd name="connsiteX4" fmla="*/ 270952 w 323835"/>
                  <a:gd name="connsiteY4" fmla="*/ 798942 h 826845"/>
                  <a:gd name="connsiteX0" fmla="*/ 48467 w 325078"/>
                  <a:gd name="connsiteY0" fmla="*/ 810682 h 810682"/>
                  <a:gd name="connsiteX1" fmla="*/ 10355 w 325078"/>
                  <a:gd name="connsiteY1" fmla="*/ 358673 h 810682"/>
                  <a:gd name="connsiteX2" fmla="*/ 175456 w 325078"/>
                  <a:gd name="connsiteY2" fmla="*/ 3 h 810682"/>
                  <a:gd name="connsiteX3" fmla="*/ 321133 w 325078"/>
                  <a:gd name="connsiteY3" fmla="*/ 353483 h 810682"/>
                  <a:gd name="connsiteX4" fmla="*/ 272195 w 325078"/>
                  <a:gd name="connsiteY4" fmla="*/ 782779 h 810682"/>
                  <a:gd name="connsiteX0" fmla="*/ 55744 w 322272"/>
                  <a:gd name="connsiteY0" fmla="*/ 805294 h 805294"/>
                  <a:gd name="connsiteX1" fmla="*/ 7549 w 322272"/>
                  <a:gd name="connsiteY1" fmla="*/ 358673 h 805294"/>
                  <a:gd name="connsiteX2" fmla="*/ 172650 w 322272"/>
                  <a:gd name="connsiteY2" fmla="*/ 3 h 805294"/>
                  <a:gd name="connsiteX3" fmla="*/ 318327 w 322272"/>
                  <a:gd name="connsiteY3" fmla="*/ 353483 h 805294"/>
                  <a:gd name="connsiteX4" fmla="*/ 269389 w 322272"/>
                  <a:gd name="connsiteY4" fmla="*/ 782779 h 805294"/>
                  <a:gd name="connsiteX0" fmla="*/ 55744 w 321540"/>
                  <a:gd name="connsiteY0" fmla="*/ 805294 h 805294"/>
                  <a:gd name="connsiteX1" fmla="*/ 7549 w 321540"/>
                  <a:gd name="connsiteY1" fmla="*/ 358673 h 805294"/>
                  <a:gd name="connsiteX2" fmla="*/ 172650 w 321540"/>
                  <a:gd name="connsiteY2" fmla="*/ 3 h 805294"/>
                  <a:gd name="connsiteX3" fmla="*/ 318327 w 321540"/>
                  <a:gd name="connsiteY3" fmla="*/ 353483 h 805294"/>
                  <a:gd name="connsiteX4" fmla="*/ 262564 w 321540"/>
                  <a:gd name="connsiteY4" fmla="*/ 798944 h 805294"/>
                  <a:gd name="connsiteX0" fmla="*/ 55744 w 321540"/>
                  <a:gd name="connsiteY0" fmla="*/ 789129 h 798944"/>
                  <a:gd name="connsiteX1" fmla="*/ 7549 w 321540"/>
                  <a:gd name="connsiteY1" fmla="*/ 358673 h 798944"/>
                  <a:gd name="connsiteX2" fmla="*/ 172650 w 321540"/>
                  <a:gd name="connsiteY2" fmla="*/ 3 h 798944"/>
                  <a:gd name="connsiteX3" fmla="*/ 318327 w 321540"/>
                  <a:gd name="connsiteY3" fmla="*/ 353483 h 798944"/>
                  <a:gd name="connsiteX4" fmla="*/ 262564 w 321540"/>
                  <a:gd name="connsiteY4" fmla="*/ 798944 h 798944"/>
                  <a:gd name="connsiteX0" fmla="*/ 55744 w 322748"/>
                  <a:gd name="connsiteY0" fmla="*/ 789129 h 789129"/>
                  <a:gd name="connsiteX1" fmla="*/ 7549 w 322748"/>
                  <a:gd name="connsiteY1" fmla="*/ 358673 h 789129"/>
                  <a:gd name="connsiteX2" fmla="*/ 172650 w 322748"/>
                  <a:gd name="connsiteY2" fmla="*/ 3 h 789129"/>
                  <a:gd name="connsiteX3" fmla="*/ 318327 w 322748"/>
                  <a:gd name="connsiteY3" fmla="*/ 353483 h 789129"/>
                  <a:gd name="connsiteX4" fmla="*/ 272801 w 322748"/>
                  <a:gd name="connsiteY4" fmla="*/ 782779 h 789129"/>
                  <a:gd name="connsiteX0" fmla="*/ 61546 w 328550"/>
                  <a:gd name="connsiteY0" fmla="*/ 789600 h 789600"/>
                  <a:gd name="connsiteX1" fmla="*/ 6527 w 328550"/>
                  <a:gd name="connsiteY1" fmla="*/ 426496 h 789600"/>
                  <a:gd name="connsiteX2" fmla="*/ 178452 w 328550"/>
                  <a:gd name="connsiteY2" fmla="*/ 474 h 789600"/>
                  <a:gd name="connsiteX3" fmla="*/ 324129 w 328550"/>
                  <a:gd name="connsiteY3" fmla="*/ 353954 h 789600"/>
                  <a:gd name="connsiteX4" fmla="*/ 278603 w 328550"/>
                  <a:gd name="connsiteY4" fmla="*/ 783250 h 789600"/>
                  <a:gd name="connsiteX0" fmla="*/ 61546 w 331487"/>
                  <a:gd name="connsiteY0" fmla="*/ 789171 h 789171"/>
                  <a:gd name="connsiteX1" fmla="*/ 6527 w 331487"/>
                  <a:gd name="connsiteY1" fmla="*/ 426067 h 789171"/>
                  <a:gd name="connsiteX2" fmla="*/ 178452 w 331487"/>
                  <a:gd name="connsiteY2" fmla="*/ 45 h 789171"/>
                  <a:gd name="connsiteX3" fmla="*/ 327542 w 331487"/>
                  <a:gd name="connsiteY3" fmla="*/ 402018 h 789171"/>
                  <a:gd name="connsiteX4" fmla="*/ 278603 w 331487"/>
                  <a:gd name="connsiteY4" fmla="*/ 782821 h 789171"/>
                  <a:gd name="connsiteX0" fmla="*/ 61895 w 331836"/>
                  <a:gd name="connsiteY0" fmla="*/ 724528 h 724528"/>
                  <a:gd name="connsiteX1" fmla="*/ 6876 w 331836"/>
                  <a:gd name="connsiteY1" fmla="*/ 361424 h 724528"/>
                  <a:gd name="connsiteX2" fmla="*/ 183919 w 331836"/>
                  <a:gd name="connsiteY2" fmla="*/ 61 h 724528"/>
                  <a:gd name="connsiteX3" fmla="*/ 327891 w 331836"/>
                  <a:gd name="connsiteY3" fmla="*/ 337375 h 724528"/>
                  <a:gd name="connsiteX4" fmla="*/ 278952 w 331836"/>
                  <a:gd name="connsiteY4" fmla="*/ 718178 h 72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36" h="724528">
                    <a:moveTo>
                      <a:pt x="61895" y="724528"/>
                    </a:moveTo>
                    <a:cubicBezTo>
                      <a:pt x="13211" y="576361"/>
                      <a:pt x="-13461" y="482169"/>
                      <a:pt x="6876" y="361424"/>
                    </a:cubicBezTo>
                    <a:cubicBezTo>
                      <a:pt x="27213" y="240680"/>
                      <a:pt x="130417" y="4069"/>
                      <a:pt x="183919" y="61"/>
                    </a:cubicBezTo>
                    <a:cubicBezTo>
                      <a:pt x="237422" y="-3947"/>
                      <a:pt x="316249" y="193442"/>
                      <a:pt x="327891" y="337375"/>
                    </a:cubicBezTo>
                    <a:cubicBezTo>
                      <a:pt x="339533" y="481308"/>
                      <a:pt x="326048" y="564719"/>
                      <a:pt x="278952" y="718178"/>
                    </a:cubicBezTo>
                  </a:path>
                </a:pathLst>
              </a:cu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BBvoice"/>
                  <a:ea typeface="ABBvoice"/>
                  <a:cs typeface="ABBvoice"/>
                </a:endParaRPr>
              </a:p>
            </p:txBody>
          </p:sp>
        </p:grpSp>
      </p:grpSp>
      <p:grpSp>
        <p:nvGrpSpPr>
          <p:cNvPr id="39" name="Group 38">
            <a:extLst>
              <a:ext uri="{FF2B5EF4-FFF2-40B4-BE49-F238E27FC236}">
                <a16:creationId xmlns:a16="http://schemas.microsoft.com/office/drawing/2014/main" id="{2D0CB691-5646-4304-A926-F2ED55B72534}"/>
              </a:ext>
            </a:extLst>
          </p:cNvPr>
          <p:cNvGrpSpPr/>
          <p:nvPr/>
        </p:nvGrpSpPr>
        <p:grpSpPr bwMode="gray">
          <a:xfrm>
            <a:off x="7437418" y="2560880"/>
            <a:ext cx="597600" cy="597600"/>
            <a:chOff x="3292882" y="-3416029"/>
            <a:chExt cx="597600" cy="597600"/>
          </a:xfrm>
        </p:grpSpPr>
        <p:sp>
          <p:nvSpPr>
            <p:cNvPr id="40" name="Text Box 240">
              <a:extLst>
                <a:ext uri="{FF2B5EF4-FFF2-40B4-BE49-F238E27FC236}">
                  <a16:creationId xmlns:a16="http://schemas.microsoft.com/office/drawing/2014/main" id="{9AABA7C7-7986-4535-8460-3B1627ED12A1}"/>
                </a:ext>
              </a:extLst>
            </p:cNvPr>
            <p:cNvSpPr txBox="1">
              <a:spLocks noChangeArrowheads="1"/>
            </p:cNvSpPr>
            <p:nvPr/>
          </p:nvSpPr>
          <p:spPr bwMode="gray">
            <a:xfrm>
              <a:off x="3292882" y="-3416029"/>
              <a:ext cx="597600" cy="597600"/>
            </a:xfrm>
            <a:prstGeom prst="ellipse">
              <a:avLst/>
            </a:prstGeom>
            <a:solidFill>
              <a:schemeClr val="bg1"/>
            </a:solidFill>
            <a:ln w="28575">
              <a:solidFill>
                <a:schemeClr val="tx1"/>
              </a:solid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41" name="Group 40">
              <a:extLst>
                <a:ext uri="{FF2B5EF4-FFF2-40B4-BE49-F238E27FC236}">
                  <a16:creationId xmlns:a16="http://schemas.microsoft.com/office/drawing/2014/main" id="{6A45204D-4F60-43BB-8238-29B6DCEDB698}"/>
                </a:ext>
              </a:extLst>
            </p:cNvPr>
            <p:cNvGrpSpPr/>
            <p:nvPr/>
          </p:nvGrpSpPr>
          <p:grpSpPr bwMode="gray">
            <a:xfrm>
              <a:off x="3369733" y="-3326943"/>
              <a:ext cx="443898" cy="419429"/>
              <a:chOff x="-1383434" y="2706826"/>
              <a:chExt cx="355290" cy="335706"/>
            </a:xfrm>
            <a:solidFill>
              <a:schemeClr val="bg1"/>
            </a:solidFill>
          </p:grpSpPr>
          <p:grpSp>
            <p:nvGrpSpPr>
              <p:cNvPr id="42" name="Group 41">
                <a:extLst>
                  <a:ext uri="{FF2B5EF4-FFF2-40B4-BE49-F238E27FC236}">
                    <a16:creationId xmlns:a16="http://schemas.microsoft.com/office/drawing/2014/main" id="{3D9DDC92-96C5-4FD3-8EDC-CA6219670DCA}"/>
                  </a:ext>
                </a:extLst>
              </p:cNvPr>
              <p:cNvGrpSpPr/>
              <p:nvPr/>
            </p:nvGrpSpPr>
            <p:grpSpPr bwMode="gray">
              <a:xfrm rot="5400000">
                <a:off x="-1373642" y="2697034"/>
                <a:ext cx="335706" cy="355290"/>
                <a:chOff x="7048367" y="2836970"/>
                <a:chExt cx="571234" cy="604559"/>
              </a:xfrm>
              <a:grpFill/>
            </p:grpSpPr>
            <p:sp>
              <p:nvSpPr>
                <p:cNvPr id="46" name="Rectangle 17">
                  <a:extLst>
                    <a:ext uri="{FF2B5EF4-FFF2-40B4-BE49-F238E27FC236}">
                      <a16:creationId xmlns:a16="http://schemas.microsoft.com/office/drawing/2014/main" id="{530C0A1D-D466-4161-AE1F-4222D48C4963}"/>
                    </a:ext>
                  </a:extLst>
                </p:cNvPr>
                <p:cNvSpPr/>
                <p:nvPr/>
              </p:nvSpPr>
              <p:spPr bwMode="gray">
                <a:xfrm>
                  <a:off x="7231075" y="3337062"/>
                  <a:ext cx="195681" cy="104467"/>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47" name="Rectangle 16">
                  <a:extLst>
                    <a:ext uri="{FF2B5EF4-FFF2-40B4-BE49-F238E27FC236}">
                      <a16:creationId xmlns:a16="http://schemas.microsoft.com/office/drawing/2014/main" id="{1FD832F2-F08B-495D-B59A-B34951BC9ED3}"/>
                    </a:ext>
                  </a:extLst>
                </p:cNvPr>
                <p:cNvSpPr/>
                <p:nvPr/>
              </p:nvSpPr>
              <p:spPr bwMode="gray">
                <a:xfrm>
                  <a:off x="7175632" y="2976185"/>
                  <a:ext cx="306567" cy="360876"/>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cxnSp>
              <p:nvCxnSpPr>
                <p:cNvPr id="48" name="Straight Connector 47">
                  <a:extLst>
                    <a:ext uri="{FF2B5EF4-FFF2-40B4-BE49-F238E27FC236}">
                      <a16:creationId xmlns:a16="http://schemas.microsoft.com/office/drawing/2014/main" id="{3F309A9E-1E45-4370-AE54-EFE9D559C968}"/>
                    </a:ext>
                  </a:extLst>
                </p:cNvPr>
                <p:cNvCxnSpPr/>
                <p:nvPr/>
              </p:nvCxnSpPr>
              <p:spPr bwMode="gray">
                <a:xfrm flipH="1">
                  <a:off x="7048367" y="3131232"/>
                  <a:ext cx="80655" cy="0"/>
                </a:xfrm>
                <a:prstGeom prst="line">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48">
                  <a:extLst>
                    <a:ext uri="{FF2B5EF4-FFF2-40B4-BE49-F238E27FC236}">
                      <a16:creationId xmlns:a16="http://schemas.microsoft.com/office/drawing/2014/main" id="{0EF88FFD-5F84-4D65-A6FB-6EF0A8F58E7A}"/>
                    </a:ext>
                  </a:extLst>
                </p:cNvPr>
                <p:cNvCxnSpPr/>
                <p:nvPr/>
              </p:nvCxnSpPr>
              <p:spPr bwMode="gray">
                <a:xfrm flipH="1">
                  <a:off x="7538946" y="3131232"/>
                  <a:ext cx="80655" cy="0"/>
                </a:xfrm>
                <a:prstGeom prst="line">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0" name="Straight Connector 49">
                  <a:extLst>
                    <a:ext uri="{FF2B5EF4-FFF2-40B4-BE49-F238E27FC236}">
                      <a16:creationId xmlns:a16="http://schemas.microsoft.com/office/drawing/2014/main" id="{E28970E2-7BD2-4CF5-931B-B8BDB12B8DC5}"/>
                    </a:ext>
                  </a:extLst>
                </p:cNvPr>
                <p:cNvCxnSpPr/>
                <p:nvPr/>
              </p:nvCxnSpPr>
              <p:spPr bwMode="gray">
                <a:xfrm rot="18703489" flipH="1">
                  <a:off x="7462663" y="2941708"/>
                  <a:ext cx="80655" cy="0"/>
                </a:xfrm>
                <a:prstGeom prst="line">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a:extLst>
                    <a:ext uri="{FF2B5EF4-FFF2-40B4-BE49-F238E27FC236}">
                      <a16:creationId xmlns:a16="http://schemas.microsoft.com/office/drawing/2014/main" id="{2387C028-B017-4296-833D-6F7A04D8ABE6}"/>
                    </a:ext>
                  </a:extLst>
                </p:cNvPr>
                <p:cNvCxnSpPr/>
                <p:nvPr/>
              </p:nvCxnSpPr>
              <p:spPr bwMode="gray">
                <a:xfrm rot="2896511">
                  <a:off x="7124651" y="2941708"/>
                  <a:ext cx="80655" cy="0"/>
                </a:xfrm>
                <a:prstGeom prst="line">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a:extLst>
                    <a:ext uri="{FF2B5EF4-FFF2-40B4-BE49-F238E27FC236}">
                      <a16:creationId xmlns:a16="http://schemas.microsoft.com/office/drawing/2014/main" id="{E2955375-016E-4E85-B4CC-C9418F95207C}"/>
                    </a:ext>
                  </a:extLst>
                </p:cNvPr>
                <p:cNvCxnSpPr/>
                <p:nvPr/>
              </p:nvCxnSpPr>
              <p:spPr bwMode="gray">
                <a:xfrm rot="5400000">
                  <a:off x="7293657" y="2877298"/>
                  <a:ext cx="80655" cy="0"/>
                </a:xfrm>
                <a:prstGeom prst="line">
                  <a:avLst/>
                </a:prstGeom>
                <a:grp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43" name="Group 42">
                <a:extLst>
                  <a:ext uri="{FF2B5EF4-FFF2-40B4-BE49-F238E27FC236}">
                    <a16:creationId xmlns:a16="http://schemas.microsoft.com/office/drawing/2014/main" id="{5F2F6D95-F53C-458F-AD70-CD4658B13C84}"/>
                  </a:ext>
                </a:extLst>
              </p:cNvPr>
              <p:cNvGrpSpPr/>
              <p:nvPr/>
            </p:nvGrpSpPr>
            <p:grpSpPr bwMode="gray">
              <a:xfrm>
                <a:off x="-1260274" y="2839530"/>
                <a:ext cx="111063" cy="64198"/>
                <a:chOff x="-2190753" y="2557735"/>
                <a:chExt cx="719458" cy="415868"/>
              </a:xfrm>
              <a:grpFill/>
            </p:grpSpPr>
            <p:sp>
              <p:nvSpPr>
                <p:cNvPr id="44" name="Freeform 448">
                  <a:extLst>
                    <a:ext uri="{FF2B5EF4-FFF2-40B4-BE49-F238E27FC236}">
                      <a16:creationId xmlns:a16="http://schemas.microsoft.com/office/drawing/2014/main" id="{D3391CED-CD57-431F-9798-6394A936446C}"/>
                    </a:ext>
                  </a:extLst>
                </p:cNvPr>
                <p:cNvSpPr/>
                <p:nvPr/>
              </p:nvSpPr>
              <p:spPr bwMode="gray">
                <a:xfrm>
                  <a:off x="-1837055" y="2557735"/>
                  <a:ext cx="365760" cy="409575"/>
                </a:xfrm>
                <a:custGeom>
                  <a:avLst/>
                  <a:gdLst>
                    <a:gd name="connsiteX0" fmla="*/ 0 w 365760"/>
                    <a:gd name="connsiteY0" fmla="*/ 0 h 409575"/>
                    <a:gd name="connsiteX1" fmla="*/ 70485 w 365760"/>
                    <a:gd name="connsiteY1" fmla="*/ 0 h 409575"/>
                    <a:gd name="connsiteX2" fmla="*/ 184785 w 365760"/>
                    <a:gd name="connsiteY2" fmla="*/ 340995 h 409575"/>
                    <a:gd name="connsiteX3" fmla="*/ 300990 w 365760"/>
                    <a:gd name="connsiteY3" fmla="*/ 0 h 409575"/>
                    <a:gd name="connsiteX4" fmla="*/ 365760 w 365760"/>
                    <a:gd name="connsiteY4" fmla="*/ 0 h 409575"/>
                    <a:gd name="connsiteX5" fmla="*/ 217170 w 365760"/>
                    <a:gd name="connsiteY5" fmla="*/ 409575 h 409575"/>
                    <a:gd name="connsiteX6" fmla="*/ 150495 w 365760"/>
                    <a:gd name="connsiteY6" fmla="*/ 409575 h 409575"/>
                    <a:gd name="connsiteX7" fmla="*/ 0 w 365760"/>
                    <a:gd name="connsiteY7" fmla="*/ 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60" h="409575">
                      <a:moveTo>
                        <a:pt x="0" y="0"/>
                      </a:moveTo>
                      <a:lnTo>
                        <a:pt x="70485" y="0"/>
                      </a:lnTo>
                      <a:lnTo>
                        <a:pt x="184785" y="340995"/>
                      </a:lnTo>
                      <a:lnTo>
                        <a:pt x="300990" y="0"/>
                      </a:lnTo>
                      <a:lnTo>
                        <a:pt x="365760" y="0"/>
                      </a:lnTo>
                      <a:lnTo>
                        <a:pt x="217170" y="409575"/>
                      </a:lnTo>
                      <a:lnTo>
                        <a:pt x="150495" y="409575"/>
                      </a:lnTo>
                      <a:lnTo>
                        <a:pt x="0" y="0"/>
                      </a:ln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45" name="Flowchart: Delay 121">
                  <a:extLst>
                    <a:ext uri="{FF2B5EF4-FFF2-40B4-BE49-F238E27FC236}">
                      <a16:creationId xmlns:a16="http://schemas.microsoft.com/office/drawing/2014/main" id="{3A2A7310-0C86-435F-B057-693B85CAA94D}"/>
                    </a:ext>
                  </a:extLst>
                </p:cNvPr>
                <p:cNvSpPr/>
                <p:nvPr/>
              </p:nvSpPr>
              <p:spPr bwMode="gray">
                <a:xfrm rot="16200000" flipH="1">
                  <a:off x="-2233462" y="2601027"/>
                  <a:ext cx="415285" cy="329867"/>
                </a:xfrm>
                <a:custGeom>
                  <a:avLst/>
                  <a:gdLst/>
                  <a:ahLst/>
                  <a:cxnLst/>
                  <a:rect l="l" t="t" r="r" b="b"/>
                  <a:pathLst>
                    <a:path w="415286" h="329868">
                      <a:moveTo>
                        <a:pt x="0" y="0"/>
                      </a:moveTo>
                      <a:lnTo>
                        <a:pt x="0" y="58254"/>
                      </a:lnTo>
                      <a:lnTo>
                        <a:pt x="35612" y="58254"/>
                      </a:lnTo>
                      <a:lnTo>
                        <a:pt x="35612" y="58253"/>
                      </a:lnTo>
                      <a:lnTo>
                        <a:pt x="242796" y="58253"/>
                      </a:lnTo>
                      <a:cubicBezTo>
                        <a:pt x="307575" y="58253"/>
                        <a:pt x="360154" y="105927"/>
                        <a:pt x="360510" y="164934"/>
                      </a:cubicBezTo>
                      <a:cubicBezTo>
                        <a:pt x="360154" y="223941"/>
                        <a:pt x="307575" y="271615"/>
                        <a:pt x="242796" y="271615"/>
                      </a:cubicBezTo>
                      <a:lnTo>
                        <a:pt x="35612" y="271615"/>
                      </a:lnTo>
                      <a:lnTo>
                        <a:pt x="35612" y="271614"/>
                      </a:lnTo>
                      <a:lnTo>
                        <a:pt x="0" y="271614"/>
                      </a:lnTo>
                      <a:lnTo>
                        <a:pt x="0" y="329868"/>
                      </a:lnTo>
                      <a:lnTo>
                        <a:pt x="264652" y="329868"/>
                      </a:lnTo>
                      <a:cubicBezTo>
                        <a:pt x="347267" y="329868"/>
                        <a:pt x="414348" y="256627"/>
                        <a:pt x="414937" y="165886"/>
                      </a:cubicBezTo>
                      <a:lnTo>
                        <a:pt x="415286" y="165886"/>
                      </a:lnTo>
                      <a:cubicBezTo>
                        <a:pt x="415286" y="165568"/>
                        <a:pt x="415285" y="165251"/>
                        <a:pt x="415112" y="164934"/>
                      </a:cubicBezTo>
                      <a:cubicBezTo>
                        <a:pt x="415285" y="164618"/>
                        <a:pt x="415286" y="164300"/>
                        <a:pt x="415286" y="163982"/>
                      </a:cubicBezTo>
                      <a:lnTo>
                        <a:pt x="414937" y="163982"/>
                      </a:lnTo>
                      <a:cubicBezTo>
                        <a:pt x="414348" y="73241"/>
                        <a:pt x="347267" y="0"/>
                        <a:pt x="264652" y="0"/>
                      </a:cubicBez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grpSp>
        </p:grpSp>
      </p:grpSp>
      <p:grpSp>
        <p:nvGrpSpPr>
          <p:cNvPr id="53" name="Group 52">
            <a:extLst>
              <a:ext uri="{FF2B5EF4-FFF2-40B4-BE49-F238E27FC236}">
                <a16:creationId xmlns:a16="http://schemas.microsoft.com/office/drawing/2014/main" id="{5DD24DEA-95BA-4F76-A6A6-EA5A139604B1}"/>
              </a:ext>
            </a:extLst>
          </p:cNvPr>
          <p:cNvGrpSpPr>
            <a:grpSpLocks noChangeAspect="1"/>
          </p:cNvGrpSpPr>
          <p:nvPr/>
        </p:nvGrpSpPr>
        <p:grpSpPr bwMode="gray">
          <a:xfrm>
            <a:off x="9065645" y="2553914"/>
            <a:ext cx="597600" cy="597600"/>
            <a:chOff x="6456283" y="2877364"/>
            <a:chExt cx="598382" cy="598382"/>
          </a:xfrm>
          <a:noFill/>
        </p:grpSpPr>
        <p:sp>
          <p:nvSpPr>
            <p:cNvPr id="54" name="Oval 53">
              <a:extLst>
                <a:ext uri="{FF2B5EF4-FFF2-40B4-BE49-F238E27FC236}">
                  <a16:creationId xmlns:a16="http://schemas.microsoft.com/office/drawing/2014/main" id="{F4BC1C95-E47F-43CB-A407-68D42E745F46}"/>
                </a:ext>
              </a:extLst>
            </p:cNvPr>
            <p:cNvSpPr>
              <a:spLocks noChangeAspect="1"/>
            </p:cNvSpPr>
            <p:nvPr/>
          </p:nvSpPr>
          <p:spPr bwMode="gray">
            <a:xfrm>
              <a:off x="6456283" y="2877364"/>
              <a:ext cx="598382" cy="598382"/>
            </a:xfrm>
            <a:prstGeom prst="ellipse">
              <a:avLst/>
            </a:prstGeom>
            <a:grpFill/>
            <a:ln w="28575">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55" name="Can 29">
              <a:extLst>
                <a:ext uri="{FF2B5EF4-FFF2-40B4-BE49-F238E27FC236}">
                  <a16:creationId xmlns:a16="http://schemas.microsoft.com/office/drawing/2014/main" id="{66A54F90-FAF2-4157-B305-D1D9324050BB}"/>
                </a:ext>
              </a:extLst>
            </p:cNvPr>
            <p:cNvSpPr>
              <a:spLocks noChangeAspect="1"/>
            </p:cNvSpPr>
            <p:nvPr/>
          </p:nvSpPr>
          <p:spPr bwMode="gray">
            <a:xfrm>
              <a:off x="6556329" y="3083731"/>
              <a:ext cx="398290" cy="275457"/>
            </a:xfrm>
            <a:custGeom>
              <a:avLst/>
              <a:gdLst/>
              <a:ahLst/>
              <a:cxnLst/>
              <a:rect l="l" t="t" r="r" b="b"/>
              <a:pathLst>
                <a:path w="352242" h="243610">
                  <a:moveTo>
                    <a:pt x="176121" y="0"/>
                  </a:moveTo>
                  <a:lnTo>
                    <a:pt x="237951" y="3589"/>
                  </a:lnTo>
                  <a:lnTo>
                    <a:pt x="239926" y="3874"/>
                  </a:lnTo>
                  <a:lnTo>
                    <a:pt x="239926" y="44223"/>
                  </a:lnTo>
                  <a:cubicBezTo>
                    <a:pt x="239926" y="52438"/>
                    <a:pt x="255949" y="59098"/>
                    <a:pt x="275713" y="59098"/>
                  </a:cubicBezTo>
                  <a:cubicBezTo>
                    <a:pt x="295478" y="59098"/>
                    <a:pt x="311501" y="52438"/>
                    <a:pt x="311501" y="44223"/>
                  </a:cubicBezTo>
                  <a:cubicBezTo>
                    <a:pt x="311501" y="35710"/>
                    <a:pt x="311501" y="27197"/>
                    <a:pt x="311501" y="18685"/>
                  </a:cubicBezTo>
                  <a:cubicBezTo>
                    <a:pt x="336993" y="27060"/>
                    <a:pt x="352242" y="38333"/>
                    <a:pt x="352242" y="50630"/>
                  </a:cubicBezTo>
                  <a:cubicBezTo>
                    <a:pt x="352242" y="98080"/>
                    <a:pt x="352242" y="145530"/>
                    <a:pt x="352242" y="192980"/>
                  </a:cubicBezTo>
                  <a:cubicBezTo>
                    <a:pt x="352242" y="220942"/>
                    <a:pt x="273389" y="243610"/>
                    <a:pt x="176121" y="243610"/>
                  </a:cubicBezTo>
                  <a:cubicBezTo>
                    <a:pt x="78852" y="243610"/>
                    <a:pt x="0" y="220942"/>
                    <a:pt x="0" y="192980"/>
                  </a:cubicBezTo>
                  <a:cubicBezTo>
                    <a:pt x="0" y="145530"/>
                    <a:pt x="1" y="98080"/>
                    <a:pt x="1" y="50630"/>
                  </a:cubicBezTo>
                  <a:cubicBezTo>
                    <a:pt x="1" y="38012"/>
                    <a:pt x="16055" y="26474"/>
                    <a:pt x="42716" y="17919"/>
                  </a:cubicBezTo>
                  <a:lnTo>
                    <a:pt x="42716" y="44223"/>
                  </a:lnTo>
                  <a:lnTo>
                    <a:pt x="42716" y="44223"/>
                  </a:lnTo>
                  <a:lnTo>
                    <a:pt x="42716" y="44223"/>
                  </a:lnTo>
                  <a:cubicBezTo>
                    <a:pt x="42716" y="52438"/>
                    <a:pt x="58739" y="59098"/>
                    <a:pt x="78504" y="59098"/>
                  </a:cubicBezTo>
                  <a:cubicBezTo>
                    <a:pt x="98269" y="59098"/>
                    <a:pt x="114291" y="52438"/>
                    <a:pt x="114291" y="44223"/>
                  </a:cubicBezTo>
                  <a:cubicBezTo>
                    <a:pt x="114291" y="44223"/>
                    <a:pt x="114291" y="44222"/>
                    <a:pt x="114291" y="44222"/>
                  </a:cubicBezTo>
                  <a:cubicBezTo>
                    <a:pt x="114291" y="30678"/>
                    <a:pt x="114291" y="17133"/>
                    <a:pt x="114292" y="3589"/>
                  </a:cubicBezTo>
                  <a:cubicBezTo>
                    <a:pt x="133500" y="1136"/>
                    <a:pt x="154349" y="0"/>
                    <a:pt x="176121" y="0"/>
                  </a:cubicBezTo>
                  <a:close/>
                </a:path>
              </a:pathLst>
            </a:custGeom>
            <a:grpFill/>
            <a:ln w="19050">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56" name="Oval 119">
              <a:extLst>
                <a:ext uri="{FF2B5EF4-FFF2-40B4-BE49-F238E27FC236}">
                  <a16:creationId xmlns:a16="http://schemas.microsoft.com/office/drawing/2014/main" id="{690003A2-1340-48C5-BC84-43919F9625DA}"/>
                </a:ext>
              </a:extLst>
            </p:cNvPr>
            <p:cNvSpPr>
              <a:spLocks noChangeAspect="1"/>
            </p:cNvSpPr>
            <p:nvPr/>
          </p:nvSpPr>
          <p:spPr bwMode="gray">
            <a:xfrm>
              <a:off x="6556329" y="3083731"/>
              <a:ext cx="398289" cy="114495"/>
            </a:xfrm>
            <a:custGeom>
              <a:avLst/>
              <a:gdLst/>
              <a:ahLst/>
              <a:cxnLst/>
              <a:rect l="l" t="t" r="r" b="b"/>
              <a:pathLst>
                <a:path w="352241" h="101258">
                  <a:moveTo>
                    <a:pt x="176120" y="0"/>
                  </a:moveTo>
                  <a:lnTo>
                    <a:pt x="239926" y="3703"/>
                  </a:lnTo>
                  <a:lnTo>
                    <a:pt x="239925" y="44222"/>
                  </a:lnTo>
                  <a:cubicBezTo>
                    <a:pt x="239925" y="52437"/>
                    <a:pt x="255948" y="59097"/>
                    <a:pt x="275713" y="59097"/>
                  </a:cubicBezTo>
                  <a:cubicBezTo>
                    <a:pt x="295478" y="59097"/>
                    <a:pt x="311500" y="52437"/>
                    <a:pt x="311500" y="44222"/>
                  </a:cubicBezTo>
                  <a:cubicBezTo>
                    <a:pt x="311500" y="35684"/>
                    <a:pt x="311500" y="27145"/>
                    <a:pt x="311500" y="18607"/>
                  </a:cubicBezTo>
                  <a:cubicBezTo>
                    <a:pt x="336984" y="27054"/>
                    <a:pt x="352241" y="38329"/>
                    <a:pt x="352241" y="50629"/>
                  </a:cubicBezTo>
                  <a:cubicBezTo>
                    <a:pt x="352241" y="78591"/>
                    <a:pt x="273389" y="101258"/>
                    <a:pt x="176120" y="101258"/>
                  </a:cubicBezTo>
                  <a:cubicBezTo>
                    <a:pt x="78852" y="101258"/>
                    <a:pt x="0" y="78591"/>
                    <a:pt x="0" y="50629"/>
                  </a:cubicBezTo>
                  <a:cubicBezTo>
                    <a:pt x="0" y="38045"/>
                    <a:pt x="15971" y="26533"/>
                    <a:pt x="42716" y="18610"/>
                  </a:cubicBezTo>
                  <a:lnTo>
                    <a:pt x="42716" y="44223"/>
                  </a:lnTo>
                  <a:cubicBezTo>
                    <a:pt x="42716" y="52438"/>
                    <a:pt x="58739" y="59098"/>
                    <a:pt x="78504" y="59098"/>
                  </a:cubicBezTo>
                  <a:cubicBezTo>
                    <a:pt x="98269" y="59098"/>
                    <a:pt x="114291" y="52438"/>
                    <a:pt x="114291" y="44223"/>
                  </a:cubicBezTo>
                  <a:cubicBezTo>
                    <a:pt x="114291" y="30678"/>
                    <a:pt x="114291" y="17133"/>
                    <a:pt x="114292" y="3588"/>
                  </a:cubicBezTo>
                  <a:cubicBezTo>
                    <a:pt x="133500" y="1136"/>
                    <a:pt x="154348" y="0"/>
                    <a:pt x="176120" y="0"/>
                  </a:cubicBezTo>
                  <a:close/>
                </a:path>
              </a:pathLst>
            </a:custGeom>
            <a:grpFill/>
            <a:ln w="19050">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57" name="Can 221">
              <a:extLst>
                <a:ext uri="{FF2B5EF4-FFF2-40B4-BE49-F238E27FC236}">
                  <a16:creationId xmlns:a16="http://schemas.microsoft.com/office/drawing/2014/main" id="{1EE9C199-9612-4CB5-9E11-9A8DDBDA7A32}"/>
                </a:ext>
              </a:extLst>
            </p:cNvPr>
            <p:cNvSpPr>
              <a:spLocks noChangeAspect="1"/>
            </p:cNvSpPr>
            <p:nvPr/>
          </p:nvSpPr>
          <p:spPr bwMode="gray">
            <a:xfrm>
              <a:off x="6604629" y="3043461"/>
              <a:ext cx="80933" cy="107094"/>
            </a:xfrm>
            <a:custGeom>
              <a:avLst/>
              <a:gdLst/>
              <a:ahLst/>
              <a:cxnLst/>
              <a:rect l="l" t="t" r="r" b="b"/>
              <a:pathLst>
                <a:path w="138065" h="182695">
                  <a:moveTo>
                    <a:pt x="69033" y="0"/>
                  </a:moveTo>
                  <a:cubicBezTo>
                    <a:pt x="107158" y="0"/>
                    <a:pt x="138065" y="12847"/>
                    <a:pt x="138065" y="28694"/>
                  </a:cubicBezTo>
                  <a:cubicBezTo>
                    <a:pt x="138065" y="70463"/>
                    <a:pt x="138064" y="112232"/>
                    <a:pt x="138064" y="154001"/>
                  </a:cubicBezTo>
                  <a:cubicBezTo>
                    <a:pt x="138064" y="169848"/>
                    <a:pt x="107157" y="182695"/>
                    <a:pt x="69032" y="182695"/>
                  </a:cubicBezTo>
                  <a:cubicBezTo>
                    <a:pt x="30907" y="182695"/>
                    <a:pt x="0" y="169848"/>
                    <a:pt x="0" y="154001"/>
                  </a:cubicBezTo>
                  <a:cubicBezTo>
                    <a:pt x="0" y="112232"/>
                    <a:pt x="1" y="70463"/>
                    <a:pt x="1" y="28694"/>
                  </a:cubicBezTo>
                  <a:cubicBezTo>
                    <a:pt x="1" y="12847"/>
                    <a:pt x="30908" y="0"/>
                    <a:pt x="69033" y="0"/>
                  </a:cubicBezTo>
                  <a:close/>
                </a:path>
              </a:pathLst>
            </a:custGeom>
            <a:grpFill/>
            <a:ln w="19050">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58" name="Can 222">
              <a:extLst>
                <a:ext uri="{FF2B5EF4-FFF2-40B4-BE49-F238E27FC236}">
                  <a16:creationId xmlns:a16="http://schemas.microsoft.com/office/drawing/2014/main" id="{B3F6DE83-E647-4F24-A871-6DA347F05C5E}"/>
                </a:ext>
              </a:extLst>
            </p:cNvPr>
            <p:cNvSpPr>
              <a:spLocks noChangeAspect="1"/>
            </p:cNvSpPr>
            <p:nvPr/>
          </p:nvSpPr>
          <p:spPr bwMode="gray">
            <a:xfrm>
              <a:off x="6827620" y="3043461"/>
              <a:ext cx="80933" cy="107094"/>
            </a:xfrm>
            <a:custGeom>
              <a:avLst/>
              <a:gdLst/>
              <a:ahLst/>
              <a:cxnLst/>
              <a:rect l="l" t="t" r="r" b="b"/>
              <a:pathLst>
                <a:path w="138065" h="182695">
                  <a:moveTo>
                    <a:pt x="69033" y="0"/>
                  </a:moveTo>
                  <a:cubicBezTo>
                    <a:pt x="107158" y="0"/>
                    <a:pt x="138065" y="12847"/>
                    <a:pt x="138065" y="28694"/>
                  </a:cubicBezTo>
                  <a:cubicBezTo>
                    <a:pt x="138065" y="70463"/>
                    <a:pt x="138064" y="112232"/>
                    <a:pt x="138064" y="154001"/>
                  </a:cubicBezTo>
                  <a:cubicBezTo>
                    <a:pt x="138064" y="169848"/>
                    <a:pt x="107157" y="182695"/>
                    <a:pt x="69032" y="182695"/>
                  </a:cubicBezTo>
                  <a:cubicBezTo>
                    <a:pt x="30907" y="182695"/>
                    <a:pt x="0" y="169848"/>
                    <a:pt x="0" y="154001"/>
                  </a:cubicBezTo>
                  <a:cubicBezTo>
                    <a:pt x="0" y="112232"/>
                    <a:pt x="1" y="70463"/>
                    <a:pt x="1" y="28694"/>
                  </a:cubicBezTo>
                  <a:cubicBezTo>
                    <a:pt x="1" y="12847"/>
                    <a:pt x="30908" y="0"/>
                    <a:pt x="69033" y="0"/>
                  </a:cubicBezTo>
                  <a:close/>
                </a:path>
              </a:pathLst>
            </a:custGeom>
            <a:grpFill/>
            <a:ln w="19050">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grpSp>
          <p:nvGrpSpPr>
            <p:cNvPr id="59" name="Group 58">
              <a:extLst>
                <a:ext uri="{FF2B5EF4-FFF2-40B4-BE49-F238E27FC236}">
                  <a16:creationId xmlns:a16="http://schemas.microsoft.com/office/drawing/2014/main" id="{9AB3C931-D22D-4B6C-8EC1-15EBDD0131A0}"/>
                </a:ext>
              </a:extLst>
            </p:cNvPr>
            <p:cNvGrpSpPr>
              <a:grpSpLocks noChangeAspect="1"/>
            </p:cNvGrpSpPr>
            <p:nvPr/>
          </p:nvGrpSpPr>
          <p:grpSpPr bwMode="gray">
            <a:xfrm>
              <a:off x="6645096" y="2946863"/>
              <a:ext cx="222982" cy="110243"/>
              <a:chOff x="9985390" y="1226001"/>
              <a:chExt cx="167775" cy="90696"/>
            </a:xfrm>
            <a:grpFill/>
          </p:grpSpPr>
          <p:cxnSp>
            <p:nvCxnSpPr>
              <p:cNvPr id="63" name="Straight Connector 62">
                <a:extLst>
                  <a:ext uri="{FF2B5EF4-FFF2-40B4-BE49-F238E27FC236}">
                    <a16:creationId xmlns:a16="http://schemas.microsoft.com/office/drawing/2014/main" id="{C60DB2DF-A824-4EB0-A5B9-4B05EB11389E}"/>
                  </a:ext>
                </a:extLst>
              </p:cNvPr>
              <p:cNvCxnSpPr/>
              <p:nvPr/>
            </p:nvCxnSpPr>
            <p:spPr bwMode="gray">
              <a:xfrm flipV="1">
                <a:off x="9985451" y="1276774"/>
                <a:ext cx="109" cy="39923"/>
              </a:xfrm>
              <a:prstGeom prst="line">
                <a:avLst/>
              </a:prstGeom>
              <a:grpFill/>
              <a:ln w="19050">
                <a:solidFill>
                  <a:schemeClr val="tx1"/>
                </a:solidFill>
                <a:prstDash val="solid"/>
                <a:round/>
                <a:headEnd/>
                <a:tailEnd/>
              </a:ln>
              <a:extLst/>
            </p:spPr>
          </p:cxnSp>
          <p:sp>
            <p:nvSpPr>
              <p:cNvPr id="64" name="Freeform 102">
                <a:extLst>
                  <a:ext uri="{FF2B5EF4-FFF2-40B4-BE49-F238E27FC236}">
                    <a16:creationId xmlns:a16="http://schemas.microsoft.com/office/drawing/2014/main" id="{AA99DED3-C088-49A1-86ED-1FAAC5B03BCC}"/>
                  </a:ext>
                </a:extLst>
              </p:cNvPr>
              <p:cNvSpPr/>
              <p:nvPr/>
            </p:nvSpPr>
            <p:spPr bwMode="gray">
              <a:xfrm>
                <a:off x="9985390" y="1226001"/>
                <a:ext cx="167622" cy="63112"/>
              </a:xfrm>
              <a:custGeom>
                <a:avLst/>
                <a:gdLst>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31520 w 767554"/>
                  <a:gd name="connsiteY22" fmla="*/ 21619 h 25429"/>
                  <a:gd name="connsiteX23" fmla="*/ 737235 w 767554"/>
                  <a:gd name="connsiteY23" fmla="*/ 19714 h 25429"/>
                  <a:gd name="connsiteX24" fmla="*/ 750570 w 767554"/>
                  <a:gd name="connsiteY24" fmla="*/ 15904 h 25429"/>
                  <a:gd name="connsiteX25" fmla="*/ 762000 w 767554"/>
                  <a:gd name="connsiteY25" fmla="*/ 8284 h 25429"/>
                  <a:gd name="connsiteX26" fmla="*/ 763905 w 767554"/>
                  <a:gd name="connsiteY26" fmla="*/ 2569 h 25429"/>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31520 w 767554"/>
                  <a:gd name="connsiteY22" fmla="*/ 21619 h 25429"/>
                  <a:gd name="connsiteX23" fmla="*/ 750570 w 767554"/>
                  <a:gd name="connsiteY23" fmla="*/ 15904 h 25429"/>
                  <a:gd name="connsiteX24" fmla="*/ 762000 w 767554"/>
                  <a:gd name="connsiteY24" fmla="*/ 8284 h 25429"/>
                  <a:gd name="connsiteX25" fmla="*/ 763905 w 767554"/>
                  <a:gd name="connsiteY25" fmla="*/ 2569 h 25429"/>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50570 w 767554"/>
                  <a:gd name="connsiteY22" fmla="*/ 15904 h 25429"/>
                  <a:gd name="connsiteX23" fmla="*/ 762000 w 767554"/>
                  <a:gd name="connsiteY23" fmla="*/ 8284 h 25429"/>
                  <a:gd name="connsiteX24" fmla="*/ 763905 w 767554"/>
                  <a:gd name="connsiteY24" fmla="*/ 2569 h 25429"/>
                  <a:gd name="connsiteX0" fmla="*/ 0 w 766977"/>
                  <a:gd name="connsiteY0" fmla="*/ 10189 h 25429"/>
                  <a:gd name="connsiteX1" fmla="*/ 11430 w 766977"/>
                  <a:gd name="connsiteY1" fmla="*/ 8284 h 25429"/>
                  <a:gd name="connsiteX2" fmla="*/ 28575 w 766977"/>
                  <a:gd name="connsiteY2" fmla="*/ 4474 h 25429"/>
                  <a:gd name="connsiteX3" fmla="*/ 57150 w 766977"/>
                  <a:gd name="connsiteY3" fmla="*/ 2569 h 25429"/>
                  <a:gd name="connsiteX4" fmla="*/ 104775 w 766977"/>
                  <a:gd name="connsiteY4" fmla="*/ 4474 h 25429"/>
                  <a:gd name="connsiteX5" fmla="*/ 133350 w 766977"/>
                  <a:gd name="connsiteY5" fmla="*/ 6379 h 25429"/>
                  <a:gd name="connsiteX6" fmla="*/ 169545 w 766977"/>
                  <a:gd name="connsiteY6" fmla="*/ 8284 h 25429"/>
                  <a:gd name="connsiteX7" fmla="*/ 262890 w 766977"/>
                  <a:gd name="connsiteY7" fmla="*/ 12094 h 25429"/>
                  <a:gd name="connsiteX8" fmla="*/ 289560 w 766977"/>
                  <a:gd name="connsiteY8" fmla="*/ 10189 h 25429"/>
                  <a:gd name="connsiteX9" fmla="*/ 300990 w 766977"/>
                  <a:gd name="connsiteY9" fmla="*/ 8284 h 25429"/>
                  <a:gd name="connsiteX10" fmla="*/ 350520 w 766977"/>
                  <a:gd name="connsiteY10" fmla="*/ 10189 h 25429"/>
                  <a:gd name="connsiteX11" fmla="*/ 390525 w 766977"/>
                  <a:gd name="connsiteY11" fmla="*/ 8284 h 25429"/>
                  <a:gd name="connsiteX12" fmla="*/ 419100 w 766977"/>
                  <a:gd name="connsiteY12" fmla="*/ 6379 h 25429"/>
                  <a:gd name="connsiteX13" fmla="*/ 491490 w 766977"/>
                  <a:gd name="connsiteY13" fmla="*/ 2569 h 25429"/>
                  <a:gd name="connsiteX14" fmla="*/ 575310 w 766977"/>
                  <a:gd name="connsiteY14" fmla="*/ 2569 h 25429"/>
                  <a:gd name="connsiteX15" fmla="*/ 586740 w 766977"/>
                  <a:gd name="connsiteY15" fmla="*/ 4474 h 25429"/>
                  <a:gd name="connsiteX16" fmla="*/ 617220 w 766977"/>
                  <a:gd name="connsiteY16" fmla="*/ 6379 h 25429"/>
                  <a:gd name="connsiteX17" fmla="*/ 661035 w 766977"/>
                  <a:gd name="connsiteY17" fmla="*/ 12094 h 25429"/>
                  <a:gd name="connsiteX18" fmla="*/ 678180 w 766977"/>
                  <a:gd name="connsiteY18" fmla="*/ 15904 h 25429"/>
                  <a:gd name="connsiteX19" fmla="*/ 689610 w 766977"/>
                  <a:gd name="connsiteY19" fmla="*/ 19714 h 25429"/>
                  <a:gd name="connsiteX20" fmla="*/ 699135 w 766977"/>
                  <a:gd name="connsiteY20" fmla="*/ 21619 h 25429"/>
                  <a:gd name="connsiteX21" fmla="*/ 716280 w 766977"/>
                  <a:gd name="connsiteY21" fmla="*/ 25429 h 25429"/>
                  <a:gd name="connsiteX22" fmla="*/ 762000 w 766977"/>
                  <a:gd name="connsiteY22" fmla="*/ 8284 h 25429"/>
                  <a:gd name="connsiteX23" fmla="*/ 763905 w 766977"/>
                  <a:gd name="connsiteY23" fmla="*/ 2569 h 25429"/>
                  <a:gd name="connsiteX0" fmla="*/ 0 w 762000"/>
                  <a:gd name="connsiteY0" fmla="*/ 10189 h 25429"/>
                  <a:gd name="connsiteX1" fmla="*/ 11430 w 762000"/>
                  <a:gd name="connsiteY1" fmla="*/ 8284 h 25429"/>
                  <a:gd name="connsiteX2" fmla="*/ 28575 w 762000"/>
                  <a:gd name="connsiteY2" fmla="*/ 4474 h 25429"/>
                  <a:gd name="connsiteX3" fmla="*/ 57150 w 762000"/>
                  <a:gd name="connsiteY3" fmla="*/ 2569 h 25429"/>
                  <a:gd name="connsiteX4" fmla="*/ 104775 w 762000"/>
                  <a:gd name="connsiteY4" fmla="*/ 4474 h 25429"/>
                  <a:gd name="connsiteX5" fmla="*/ 133350 w 762000"/>
                  <a:gd name="connsiteY5" fmla="*/ 6379 h 25429"/>
                  <a:gd name="connsiteX6" fmla="*/ 169545 w 762000"/>
                  <a:gd name="connsiteY6" fmla="*/ 8284 h 25429"/>
                  <a:gd name="connsiteX7" fmla="*/ 262890 w 762000"/>
                  <a:gd name="connsiteY7" fmla="*/ 12094 h 25429"/>
                  <a:gd name="connsiteX8" fmla="*/ 289560 w 762000"/>
                  <a:gd name="connsiteY8" fmla="*/ 10189 h 25429"/>
                  <a:gd name="connsiteX9" fmla="*/ 300990 w 762000"/>
                  <a:gd name="connsiteY9" fmla="*/ 8284 h 25429"/>
                  <a:gd name="connsiteX10" fmla="*/ 350520 w 762000"/>
                  <a:gd name="connsiteY10" fmla="*/ 10189 h 25429"/>
                  <a:gd name="connsiteX11" fmla="*/ 390525 w 762000"/>
                  <a:gd name="connsiteY11" fmla="*/ 8284 h 25429"/>
                  <a:gd name="connsiteX12" fmla="*/ 419100 w 762000"/>
                  <a:gd name="connsiteY12" fmla="*/ 6379 h 25429"/>
                  <a:gd name="connsiteX13" fmla="*/ 491490 w 762000"/>
                  <a:gd name="connsiteY13" fmla="*/ 2569 h 25429"/>
                  <a:gd name="connsiteX14" fmla="*/ 575310 w 762000"/>
                  <a:gd name="connsiteY14" fmla="*/ 2569 h 25429"/>
                  <a:gd name="connsiteX15" fmla="*/ 586740 w 762000"/>
                  <a:gd name="connsiteY15" fmla="*/ 4474 h 25429"/>
                  <a:gd name="connsiteX16" fmla="*/ 617220 w 762000"/>
                  <a:gd name="connsiteY16" fmla="*/ 6379 h 25429"/>
                  <a:gd name="connsiteX17" fmla="*/ 661035 w 762000"/>
                  <a:gd name="connsiteY17" fmla="*/ 12094 h 25429"/>
                  <a:gd name="connsiteX18" fmla="*/ 678180 w 762000"/>
                  <a:gd name="connsiteY18" fmla="*/ 15904 h 25429"/>
                  <a:gd name="connsiteX19" fmla="*/ 689610 w 762000"/>
                  <a:gd name="connsiteY19" fmla="*/ 19714 h 25429"/>
                  <a:gd name="connsiteX20" fmla="*/ 699135 w 762000"/>
                  <a:gd name="connsiteY20" fmla="*/ 21619 h 25429"/>
                  <a:gd name="connsiteX21" fmla="*/ 716280 w 762000"/>
                  <a:gd name="connsiteY21" fmla="*/ 25429 h 25429"/>
                  <a:gd name="connsiteX22" fmla="*/ 762000 w 762000"/>
                  <a:gd name="connsiteY22" fmla="*/ 8284 h 25429"/>
                  <a:gd name="connsiteX0" fmla="*/ 0 w 762000"/>
                  <a:gd name="connsiteY0" fmla="*/ 10189 h 26852"/>
                  <a:gd name="connsiteX1" fmla="*/ 11430 w 762000"/>
                  <a:gd name="connsiteY1" fmla="*/ 8284 h 26852"/>
                  <a:gd name="connsiteX2" fmla="*/ 28575 w 762000"/>
                  <a:gd name="connsiteY2" fmla="*/ 4474 h 26852"/>
                  <a:gd name="connsiteX3" fmla="*/ 57150 w 762000"/>
                  <a:gd name="connsiteY3" fmla="*/ 2569 h 26852"/>
                  <a:gd name="connsiteX4" fmla="*/ 104775 w 762000"/>
                  <a:gd name="connsiteY4" fmla="*/ 4474 h 26852"/>
                  <a:gd name="connsiteX5" fmla="*/ 133350 w 762000"/>
                  <a:gd name="connsiteY5" fmla="*/ 6379 h 26852"/>
                  <a:gd name="connsiteX6" fmla="*/ 169545 w 762000"/>
                  <a:gd name="connsiteY6" fmla="*/ 8284 h 26852"/>
                  <a:gd name="connsiteX7" fmla="*/ 262890 w 762000"/>
                  <a:gd name="connsiteY7" fmla="*/ 12094 h 26852"/>
                  <a:gd name="connsiteX8" fmla="*/ 289560 w 762000"/>
                  <a:gd name="connsiteY8" fmla="*/ 10189 h 26852"/>
                  <a:gd name="connsiteX9" fmla="*/ 300990 w 762000"/>
                  <a:gd name="connsiteY9" fmla="*/ 8284 h 26852"/>
                  <a:gd name="connsiteX10" fmla="*/ 350520 w 762000"/>
                  <a:gd name="connsiteY10" fmla="*/ 10189 h 26852"/>
                  <a:gd name="connsiteX11" fmla="*/ 390525 w 762000"/>
                  <a:gd name="connsiteY11" fmla="*/ 8284 h 26852"/>
                  <a:gd name="connsiteX12" fmla="*/ 419100 w 762000"/>
                  <a:gd name="connsiteY12" fmla="*/ 6379 h 26852"/>
                  <a:gd name="connsiteX13" fmla="*/ 491490 w 762000"/>
                  <a:gd name="connsiteY13" fmla="*/ 2569 h 26852"/>
                  <a:gd name="connsiteX14" fmla="*/ 575310 w 762000"/>
                  <a:gd name="connsiteY14" fmla="*/ 2569 h 26852"/>
                  <a:gd name="connsiteX15" fmla="*/ 586740 w 762000"/>
                  <a:gd name="connsiteY15" fmla="*/ 4474 h 26852"/>
                  <a:gd name="connsiteX16" fmla="*/ 617220 w 762000"/>
                  <a:gd name="connsiteY16" fmla="*/ 6379 h 26852"/>
                  <a:gd name="connsiteX17" fmla="*/ 661035 w 762000"/>
                  <a:gd name="connsiteY17" fmla="*/ 12094 h 26852"/>
                  <a:gd name="connsiteX18" fmla="*/ 678180 w 762000"/>
                  <a:gd name="connsiteY18" fmla="*/ 15904 h 26852"/>
                  <a:gd name="connsiteX19" fmla="*/ 689610 w 762000"/>
                  <a:gd name="connsiteY19" fmla="*/ 19714 h 26852"/>
                  <a:gd name="connsiteX20" fmla="*/ 699135 w 762000"/>
                  <a:gd name="connsiteY20" fmla="*/ 21619 h 26852"/>
                  <a:gd name="connsiteX21" fmla="*/ 706756 w 762000"/>
                  <a:gd name="connsiteY21" fmla="*/ 25429 h 26852"/>
                  <a:gd name="connsiteX22" fmla="*/ 716280 w 762000"/>
                  <a:gd name="connsiteY22" fmla="*/ 25429 h 26852"/>
                  <a:gd name="connsiteX23" fmla="*/ 762000 w 762000"/>
                  <a:gd name="connsiteY23" fmla="*/ 8284 h 26852"/>
                  <a:gd name="connsiteX0" fmla="*/ 0 w 762000"/>
                  <a:gd name="connsiteY0" fmla="*/ 10189 h 26852"/>
                  <a:gd name="connsiteX1" fmla="*/ 11430 w 762000"/>
                  <a:gd name="connsiteY1" fmla="*/ 8284 h 26852"/>
                  <a:gd name="connsiteX2" fmla="*/ 28575 w 762000"/>
                  <a:gd name="connsiteY2" fmla="*/ 4474 h 26852"/>
                  <a:gd name="connsiteX3" fmla="*/ 57150 w 762000"/>
                  <a:gd name="connsiteY3" fmla="*/ 2569 h 26852"/>
                  <a:gd name="connsiteX4" fmla="*/ 104775 w 762000"/>
                  <a:gd name="connsiteY4" fmla="*/ 4474 h 26852"/>
                  <a:gd name="connsiteX5" fmla="*/ 133350 w 762000"/>
                  <a:gd name="connsiteY5" fmla="*/ 6379 h 26852"/>
                  <a:gd name="connsiteX6" fmla="*/ 169545 w 762000"/>
                  <a:gd name="connsiteY6" fmla="*/ 8284 h 26852"/>
                  <a:gd name="connsiteX7" fmla="*/ 262890 w 762000"/>
                  <a:gd name="connsiteY7" fmla="*/ 12094 h 26852"/>
                  <a:gd name="connsiteX8" fmla="*/ 289560 w 762000"/>
                  <a:gd name="connsiteY8" fmla="*/ 10189 h 26852"/>
                  <a:gd name="connsiteX9" fmla="*/ 300990 w 762000"/>
                  <a:gd name="connsiteY9" fmla="*/ 8284 h 26852"/>
                  <a:gd name="connsiteX10" fmla="*/ 350520 w 762000"/>
                  <a:gd name="connsiteY10" fmla="*/ 10189 h 26852"/>
                  <a:gd name="connsiteX11" fmla="*/ 390525 w 762000"/>
                  <a:gd name="connsiteY11" fmla="*/ 8284 h 26852"/>
                  <a:gd name="connsiteX12" fmla="*/ 419100 w 762000"/>
                  <a:gd name="connsiteY12" fmla="*/ 6379 h 26852"/>
                  <a:gd name="connsiteX13" fmla="*/ 491490 w 762000"/>
                  <a:gd name="connsiteY13" fmla="*/ 2569 h 26852"/>
                  <a:gd name="connsiteX14" fmla="*/ 575310 w 762000"/>
                  <a:gd name="connsiteY14" fmla="*/ 2569 h 26852"/>
                  <a:gd name="connsiteX15" fmla="*/ 586740 w 762000"/>
                  <a:gd name="connsiteY15" fmla="*/ 4474 h 26852"/>
                  <a:gd name="connsiteX16" fmla="*/ 617220 w 762000"/>
                  <a:gd name="connsiteY16" fmla="*/ 6379 h 26852"/>
                  <a:gd name="connsiteX17" fmla="*/ 661035 w 762000"/>
                  <a:gd name="connsiteY17" fmla="*/ 12094 h 26852"/>
                  <a:gd name="connsiteX18" fmla="*/ 678180 w 762000"/>
                  <a:gd name="connsiteY18" fmla="*/ 15904 h 26852"/>
                  <a:gd name="connsiteX19" fmla="*/ 699135 w 762000"/>
                  <a:gd name="connsiteY19" fmla="*/ 21619 h 26852"/>
                  <a:gd name="connsiteX20" fmla="*/ 706756 w 762000"/>
                  <a:gd name="connsiteY20" fmla="*/ 25429 h 26852"/>
                  <a:gd name="connsiteX21" fmla="*/ 716280 w 762000"/>
                  <a:gd name="connsiteY21" fmla="*/ 25429 h 26852"/>
                  <a:gd name="connsiteX22" fmla="*/ 762000 w 762000"/>
                  <a:gd name="connsiteY22" fmla="*/ 8284 h 26852"/>
                  <a:gd name="connsiteX0" fmla="*/ 0 w 716280"/>
                  <a:gd name="connsiteY0" fmla="*/ 10189 h 26852"/>
                  <a:gd name="connsiteX1" fmla="*/ 11430 w 716280"/>
                  <a:gd name="connsiteY1" fmla="*/ 8284 h 26852"/>
                  <a:gd name="connsiteX2" fmla="*/ 28575 w 716280"/>
                  <a:gd name="connsiteY2" fmla="*/ 4474 h 26852"/>
                  <a:gd name="connsiteX3" fmla="*/ 57150 w 716280"/>
                  <a:gd name="connsiteY3" fmla="*/ 2569 h 26852"/>
                  <a:gd name="connsiteX4" fmla="*/ 104775 w 716280"/>
                  <a:gd name="connsiteY4" fmla="*/ 4474 h 26852"/>
                  <a:gd name="connsiteX5" fmla="*/ 133350 w 716280"/>
                  <a:gd name="connsiteY5" fmla="*/ 6379 h 26852"/>
                  <a:gd name="connsiteX6" fmla="*/ 169545 w 716280"/>
                  <a:gd name="connsiteY6" fmla="*/ 8284 h 26852"/>
                  <a:gd name="connsiteX7" fmla="*/ 262890 w 716280"/>
                  <a:gd name="connsiteY7" fmla="*/ 12094 h 26852"/>
                  <a:gd name="connsiteX8" fmla="*/ 289560 w 716280"/>
                  <a:gd name="connsiteY8" fmla="*/ 10189 h 26852"/>
                  <a:gd name="connsiteX9" fmla="*/ 300990 w 716280"/>
                  <a:gd name="connsiteY9" fmla="*/ 8284 h 26852"/>
                  <a:gd name="connsiteX10" fmla="*/ 350520 w 716280"/>
                  <a:gd name="connsiteY10" fmla="*/ 10189 h 26852"/>
                  <a:gd name="connsiteX11" fmla="*/ 390525 w 716280"/>
                  <a:gd name="connsiteY11" fmla="*/ 8284 h 26852"/>
                  <a:gd name="connsiteX12" fmla="*/ 419100 w 716280"/>
                  <a:gd name="connsiteY12" fmla="*/ 6379 h 26852"/>
                  <a:gd name="connsiteX13" fmla="*/ 491490 w 716280"/>
                  <a:gd name="connsiteY13" fmla="*/ 2569 h 26852"/>
                  <a:gd name="connsiteX14" fmla="*/ 575310 w 716280"/>
                  <a:gd name="connsiteY14" fmla="*/ 2569 h 26852"/>
                  <a:gd name="connsiteX15" fmla="*/ 586740 w 716280"/>
                  <a:gd name="connsiteY15" fmla="*/ 4474 h 26852"/>
                  <a:gd name="connsiteX16" fmla="*/ 617220 w 716280"/>
                  <a:gd name="connsiteY16" fmla="*/ 6379 h 26852"/>
                  <a:gd name="connsiteX17" fmla="*/ 661035 w 716280"/>
                  <a:gd name="connsiteY17" fmla="*/ 12094 h 26852"/>
                  <a:gd name="connsiteX18" fmla="*/ 678180 w 716280"/>
                  <a:gd name="connsiteY18" fmla="*/ 15904 h 26852"/>
                  <a:gd name="connsiteX19" fmla="*/ 699135 w 716280"/>
                  <a:gd name="connsiteY19" fmla="*/ 21619 h 26852"/>
                  <a:gd name="connsiteX20" fmla="*/ 706756 w 716280"/>
                  <a:gd name="connsiteY20" fmla="*/ 25429 h 26852"/>
                  <a:gd name="connsiteX21" fmla="*/ 716280 w 716280"/>
                  <a:gd name="connsiteY21" fmla="*/ 25429 h 26852"/>
                  <a:gd name="connsiteX0" fmla="*/ 0 w 706756"/>
                  <a:gd name="connsiteY0" fmla="*/ 10189 h 25429"/>
                  <a:gd name="connsiteX1" fmla="*/ 11430 w 706756"/>
                  <a:gd name="connsiteY1" fmla="*/ 8284 h 25429"/>
                  <a:gd name="connsiteX2" fmla="*/ 28575 w 706756"/>
                  <a:gd name="connsiteY2" fmla="*/ 4474 h 25429"/>
                  <a:gd name="connsiteX3" fmla="*/ 57150 w 706756"/>
                  <a:gd name="connsiteY3" fmla="*/ 2569 h 25429"/>
                  <a:gd name="connsiteX4" fmla="*/ 104775 w 706756"/>
                  <a:gd name="connsiteY4" fmla="*/ 4474 h 25429"/>
                  <a:gd name="connsiteX5" fmla="*/ 133350 w 706756"/>
                  <a:gd name="connsiteY5" fmla="*/ 6379 h 25429"/>
                  <a:gd name="connsiteX6" fmla="*/ 169545 w 706756"/>
                  <a:gd name="connsiteY6" fmla="*/ 8284 h 25429"/>
                  <a:gd name="connsiteX7" fmla="*/ 262890 w 706756"/>
                  <a:gd name="connsiteY7" fmla="*/ 12094 h 25429"/>
                  <a:gd name="connsiteX8" fmla="*/ 289560 w 706756"/>
                  <a:gd name="connsiteY8" fmla="*/ 10189 h 25429"/>
                  <a:gd name="connsiteX9" fmla="*/ 300990 w 706756"/>
                  <a:gd name="connsiteY9" fmla="*/ 8284 h 25429"/>
                  <a:gd name="connsiteX10" fmla="*/ 350520 w 706756"/>
                  <a:gd name="connsiteY10" fmla="*/ 10189 h 25429"/>
                  <a:gd name="connsiteX11" fmla="*/ 390525 w 706756"/>
                  <a:gd name="connsiteY11" fmla="*/ 8284 h 25429"/>
                  <a:gd name="connsiteX12" fmla="*/ 419100 w 706756"/>
                  <a:gd name="connsiteY12" fmla="*/ 6379 h 25429"/>
                  <a:gd name="connsiteX13" fmla="*/ 491490 w 706756"/>
                  <a:gd name="connsiteY13" fmla="*/ 2569 h 25429"/>
                  <a:gd name="connsiteX14" fmla="*/ 575310 w 706756"/>
                  <a:gd name="connsiteY14" fmla="*/ 2569 h 25429"/>
                  <a:gd name="connsiteX15" fmla="*/ 586740 w 706756"/>
                  <a:gd name="connsiteY15" fmla="*/ 4474 h 25429"/>
                  <a:gd name="connsiteX16" fmla="*/ 617220 w 706756"/>
                  <a:gd name="connsiteY16" fmla="*/ 6379 h 25429"/>
                  <a:gd name="connsiteX17" fmla="*/ 661035 w 706756"/>
                  <a:gd name="connsiteY17" fmla="*/ 12094 h 25429"/>
                  <a:gd name="connsiteX18" fmla="*/ 678180 w 706756"/>
                  <a:gd name="connsiteY18" fmla="*/ 15904 h 25429"/>
                  <a:gd name="connsiteX19" fmla="*/ 699135 w 706756"/>
                  <a:gd name="connsiteY19" fmla="*/ 21619 h 25429"/>
                  <a:gd name="connsiteX20" fmla="*/ 706756 w 706756"/>
                  <a:gd name="connsiteY20" fmla="*/ 25429 h 2542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61035 w 699135"/>
                  <a:gd name="connsiteY17" fmla="*/ 12094 h 21619"/>
                  <a:gd name="connsiteX18" fmla="*/ 678180 w 699135"/>
                  <a:gd name="connsiteY18" fmla="*/ 15904 h 21619"/>
                  <a:gd name="connsiteX19" fmla="*/ 699135 w 699135"/>
                  <a:gd name="connsiteY19" fmla="*/ 21619 h 2161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78180 w 699135"/>
                  <a:gd name="connsiteY17" fmla="*/ 15904 h 21619"/>
                  <a:gd name="connsiteX18" fmla="*/ 699135 w 699135"/>
                  <a:gd name="connsiteY18" fmla="*/ 21619 h 2161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99135 w 699135"/>
                  <a:gd name="connsiteY17" fmla="*/ 21619 h 21619"/>
                  <a:gd name="connsiteX0" fmla="*/ 0 w 617220"/>
                  <a:gd name="connsiteY0" fmla="*/ 10189 h 12094"/>
                  <a:gd name="connsiteX1" fmla="*/ 11430 w 617220"/>
                  <a:gd name="connsiteY1" fmla="*/ 8284 h 12094"/>
                  <a:gd name="connsiteX2" fmla="*/ 28575 w 617220"/>
                  <a:gd name="connsiteY2" fmla="*/ 4474 h 12094"/>
                  <a:gd name="connsiteX3" fmla="*/ 57150 w 617220"/>
                  <a:gd name="connsiteY3" fmla="*/ 2569 h 12094"/>
                  <a:gd name="connsiteX4" fmla="*/ 104775 w 617220"/>
                  <a:gd name="connsiteY4" fmla="*/ 4474 h 12094"/>
                  <a:gd name="connsiteX5" fmla="*/ 133350 w 617220"/>
                  <a:gd name="connsiteY5" fmla="*/ 6379 h 12094"/>
                  <a:gd name="connsiteX6" fmla="*/ 169545 w 617220"/>
                  <a:gd name="connsiteY6" fmla="*/ 8284 h 12094"/>
                  <a:gd name="connsiteX7" fmla="*/ 262890 w 617220"/>
                  <a:gd name="connsiteY7" fmla="*/ 12094 h 12094"/>
                  <a:gd name="connsiteX8" fmla="*/ 289560 w 617220"/>
                  <a:gd name="connsiteY8" fmla="*/ 10189 h 12094"/>
                  <a:gd name="connsiteX9" fmla="*/ 300990 w 617220"/>
                  <a:gd name="connsiteY9" fmla="*/ 8284 h 12094"/>
                  <a:gd name="connsiteX10" fmla="*/ 350520 w 617220"/>
                  <a:gd name="connsiteY10" fmla="*/ 10189 h 12094"/>
                  <a:gd name="connsiteX11" fmla="*/ 390525 w 617220"/>
                  <a:gd name="connsiteY11" fmla="*/ 8284 h 12094"/>
                  <a:gd name="connsiteX12" fmla="*/ 419100 w 617220"/>
                  <a:gd name="connsiteY12" fmla="*/ 6379 h 12094"/>
                  <a:gd name="connsiteX13" fmla="*/ 491490 w 617220"/>
                  <a:gd name="connsiteY13" fmla="*/ 2569 h 12094"/>
                  <a:gd name="connsiteX14" fmla="*/ 575310 w 617220"/>
                  <a:gd name="connsiteY14" fmla="*/ 2569 h 12094"/>
                  <a:gd name="connsiteX15" fmla="*/ 586740 w 617220"/>
                  <a:gd name="connsiteY15" fmla="*/ 4474 h 12094"/>
                  <a:gd name="connsiteX16" fmla="*/ 617220 w 617220"/>
                  <a:gd name="connsiteY16" fmla="*/ 6379 h 12094"/>
                  <a:gd name="connsiteX0" fmla="*/ 0 w 763905"/>
                  <a:gd name="connsiteY0" fmla="*/ 10189 h 12094"/>
                  <a:gd name="connsiteX1" fmla="*/ 11430 w 763905"/>
                  <a:gd name="connsiteY1" fmla="*/ 8284 h 12094"/>
                  <a:gd name="connsiteX2" fmla="*/ 28575 w 763905"/>
                  <a:gd name="connsiteY2" fmla="*/ 4474 h 12094"/>
                  <a:gd name="connsiteX3" fmla="*/ 57150 w 763905"/>
                  <a:gd name="connsiteY3" fmla="*/ 2569 h 12094"/>
                  <a:gd name="connsiteX4" fmla="*/ 104775 w 763905"/>
                  <a:gd name="connsiteY4" fmla="*/ 4474 h 12094"/>
                  <a:gd name="connsiteX5" fmla="*/ 133350 w 763905"/>
                  <a:gd name="connsiteY5" fmla="*/ 6379 h 12094"/>
                  <a:gd name="connsiteX6" fmla="*/ 169545 w 763905"/>
                  <a:gd name="connsiteY6" fmla="*/ 8284 h 12094"/>
                  <a:gd name="connsiteX7" fmla="*/ 262890 w 763905"/>
                  <a:gd name="connsiteY7" fmla="*/ 12094 h 12094"/>
                  <a:gd name="connsiteX8" fmla="*/ 289560 w 763905"/>
                  <a:gd name="connsiteY8" fmla="*/ 10189 h 12094"/>
                  <a:gd name="connsiteX9" fmla="*/ 300990 w 763905"/>
                  <a:gd name="connsiteY9" fmla="*/ 8284 h 12094"/>
                  <a:gd name="connsiteX10" fmla="*/ 350520 w 763905"/>
                  <a:gd name="connsiteY10" fmla="*/ 10189 h 12094"/>
                  <a:gd name="connsiteX11" fmla="*/ 390525 w 763905"/>
                  <a:gd name="connsiteY11" fmla="*/ 8284 h 12094"/>
                  <a:gd name="connsiteX12" fmla="*/ 419100 w 763905"/>
                  <a:gd name="connsiteY12" fmla="*/ 6379 h 12094"/>
                  <a:gd name="connsiteX13" fmla="*/ 491490 w 763905"/>
                  <a:gd name="connsiteY13" fmla="*/ 2569 h 12094"/>
                  <a:gd name="connsiteX14" fmla="*/ 575310 w 763905"/>
                  <a:gd name="connsiteY14" fmla="*/ 2569 h 12094"/>
                  <a:gd name="connsiteX15" fmla="*/ 586740 w 763905"/>
                  <a:gd name="connsiteY15" fmla="*/ 4474 h 12094"/>
                  <a:gd name="connsiteX16" fmla="*/ 763905 w 763905"/>
                  <a:gd name="connsiteY16" fmla="*/ 8284 h 12094"/>
                  <a:gd name="connsiteX0" fmla="*/ 0 w 763905"/>
                  <a:gd name="connsiteY0" fmla="*/ 9527 h 11432"/>
                  <a:gd name="connsiteX1" fmla="*/ 11430 w 763905"/>
                  <a:gd name="connsiteY1" fmla="*/ 7622 h 11432"/>
                  <a:gd name="connsiteX2" fmla="*/ 28575 w 763905"/>
                  <a:gd name="connsiteY2" fmla="*/ 3812 h 11432"/>
                  <a:gd name="connsiteX3" fmla="*/ 57150 w 763905"/>
                  <a:gd name="connsiteY3" fmla="*/ 1907 h 11432"/>
                  <a:gd name="connsiteX4" fmla="*/ 104775 w 763905"/>
                  <a:gd name="connsiteY4" fmla="*/ 3812 h 11432"/>
                  <a:gd name="connsiteX5" fmla="*/ 133350 w 763905"/>
                  <a:gd name="connsiteY5" fmla="*/ 5717 h 11432"/>
                  <a:gd name="connsiteX6" fmla="*/ 169545 w 763905"/>
                  <a:gd name="connsiteY6" fmla="*/ 7622 h 11432"/>
                  <a:gd name="connsiteX7" fmla="*/ 262890 w 763905"/>
                  <a:gd name="connsiteY7" fmla="*/ 11432 h 11432"/>
                  <a:gd name="connsiteX8" fmla="*/ 289560 w 763905"/>
                  <a:gd name="connsiteY8" fmla="*/ 9527 h 11432"/>
                  <a:gd name="connsiteX9" fmla="*/ 300990 w 763905"/>
                  <a:gd name="connsiteY9" fmla="*/ 7622 h 11432"/>
                  <a:gd name="connsiteX10" fmla="*/ 350520 w 763905"/>
                  <a:gd name="connsiteY10" fmla="*/ 9527 h 11432"/>
                  <a:gd name="connsiteX11" fmla="*/ 390525 w 763905"/>
                  <a:gd name="connsiteY11" fmla="*/ 7622 h 11432"/>
                  <a:gd name="connsiteX12" fmla="*/ 419100 w 763905"/>
                  <a:gd name="connsiteY12" fmla="*/ 5717 h 11432"/>
                  <a:gd name="connsiteX13" fmla="*/ 491490 w 763905"/>
                  <a:gd name="connsiteY13" fmla="*/ 1907 h 11432"/>
                  <a:gd name="connsiteX14" fmla="*/ 575310 w 763905"/>
                  <a:gd name="connsiteY14" fmla="*/ 1907 h 11432"/>
                  <a:gd name="connsiteX15" fmla="*/ 763905 w 763905"/>
                  <a:gd name="connsiteY15" fmla="*/ 7622 h 11432"/>
                  <a:gd name="connsiteX0" fmla="*/ 0 w 763905"/>
                  <a:gd name="connsiteY0" fmla="*/ 7620 h 9525"/>
                  <a:gd name="connsiteX1" fmla="*/ 11430 w 763905"/>
                  <a:gd name="connsiteY1" fmla="*/ 5715 h 9525"/>
                  <a:gd name="connsiteX2" fmla="*/ 28575 w 763905"/>
                  <a:gd name="connsiteY2" fmla="*/ 1905 h 9525"/>
                  <a:gd name="connsiteX3" fmla="*/ 57150 w 763905"/>
                  <a:gd name="connsiteY3" fmla="*/ 0 h 9525"/>
                  <a:gd name="connsiteX4" fmla="*/ 104775 w 763905"/>
                  <a:gd name="connsiteY4" fmla="*/ 1905 h 9525"/>
                  <a:gd name="connsiteX5" fmla="*/ 133350 w 763905"/>
                  <a:gd name="connsiteY5" fmla="*/ 3810 h 9525"/>
                  <a:gd name="connsiteX6" fmla="*/ 169545 w 763905"/>
                  <a:gd name="connsiteY6" fmla="*/ 5715 h 9525"/>
                  <a:gd name="connsiteX7" fmla="*/ 262890 w 763905"/>
                  <a:gd name="connsiteY7" fmla="*/ 9525 h 9525"/>
                  <a:gd name="connsiteX8" fmla="*/ 289560 w 763905"/>
                  <a:gd name="connsiteY8" fmla="*/ 7620 h 9525"/>
                  <a:gd name="connsiteX9" fmla="*/ 300990 w 763905"/>
                  <a:gd name="connsiteY9" fmla="*/ 5715 h 9525"/>
                  <a:gd name="connsiteX10" fmla="*/ 350520 w 763905"/>
                  <a:gd name="connsiteY10" fmla="*/ 7620 h 9525"/>
                  <a:gd name="connsiteX11" fmla="*/ 390525 w 763905"/>
                  <a:gd name="connsiteY11" fmla="*/ 5715 h 9525"/>
                  <a:gd name="connsiteX12" fmla="*/ 419100 w 763905"/>
                  <a:gd name="connsiteY12" fmla="*/ 3810 h 9525"/>
                  <a:gd name="connsiteX13" fmla="*/ 491490 w 763905"/>
                  <a:gd name="connsiteY13" fmla="*/ 0 h 9525"/>
                  <a:gd name="connsiteX14" fmla="*/ 763905 w 763905"/>
                  <a:gd name="connsiteY14" fmla="*/ 5715 h 9525"/>
                  <a:gd name="connsiteX0" fmla="*/ 0 w 10000"/>
                  <a:gd name="connsiteY0" fmla="*/ 8000 h 10000"/>
                  <a:gd name="connsiteX1" fmla="*/ 150 w 10000"/>
                  <a:gd name="connsiteY1" fmla="*/ 6000 h 10000"/>
                  <a:gd name="connsiteX2" fmla="*/ 748 w 10000"/>
                  <a:gd name="connsiteY2" fmla="*/ 0 h 10000"/>
                  <a:gd name="connsiteX3" fmla="*/ 1372 w 10000"/>
                  <a:gd name="connsiteY3" fmla="*/ 2000 h 10000"/>
                  <a:gd name="connsiteX4" fmla="*/ 1746 w 10000"/>
                  <a:gd name="connsiteY4" fmla="*/ 4000 h 10000"/>
                  <a:gd name="connsiteX5" fmla="*/ 2219 w 10000"/>
                  <a:gd name="connsiteY5" fmla="*/ 6000 h 10000"/>
                  <a:gd name="connsiteX6" fmla="*/ 3441 w 10000"/>
                  <a:gd name="connsiteY6" fmla="*/ 10000 h 10000"/>
                  <a:gd name="connsiteX7" fmla="*/ 3791 w 10000"/>
                  <a:gd name="connsiteY7" fmla="*/ 8000 h 10000"/>
                  <a:gd name="connsiteX8" fmla="*/ 3940 w 10000"/>
                  <a:gd name="connsiteY8" fmla="*/ 6000 h 10000"/>
                  <a:gd name="connsiteX9" fmla="*/ 4589 w 10000"/>
                  <a:gd name="connsiteY9" fmla="*/ 8000 h 10000"/>
                  <a:gd name="connsiteX10" fmla="*/ 5112 w 10000"/>
                  <a:gd name="connsiteY10" fmla="*/ 6000 h 10000"/>
                  <a:gd name="connsiteX11" fmla="*/ 5486 w 10000"/>
                  <a:gd name="connsiteY11" fmla="*/ 4000 h 10000"/>
                  <a:gd name="connsiteX12" fmla="*/ 6434 w 10000"/>
                  <a:gd name="connsiteY12" fmla="*/ 0 h 10000"/>
                  <a:gd name="connsiteX13" fmla="*/ 10000 w 10000"/>
                  <a:gd name="connsiteY13" fmla="*/ 6000 h 10000"/>
                  <a:gd name="connsiteX0" fmla="*/ 0 w 10000"/>
                  <a:gd name="connsiteY0" fmla="*/ 8000 h 10000"/>
                  <a:gd name="connsiteX1" fmla="*/ 748 w 10000"/>
                  <a:gd name="connsiteY1" fmla="*/ 0 h 10000"/>
                  <a:gd name="connsiteX2" fmla="*/ 1372 w 10000"/>
                  <a:gd name="connsiteY2" fmla="*/ 2000 h 10000"/>
                  <a:gd name="connsiteX3" fmla="*/ 1746 w 10000"/>
                  <a:gd name="connsiteY3" fmla="*/ 4000 h 10000"/>
                  <a:gd name="connsiteX4" fmla="*/ 2219 w 10000"/>
                  <a:gd name="connsiteY4" fmla="*/ 6000 h 10000"/>
                  <a:gd name="connsiteX5" fmla="*/ 3441 w 10000"/>
                  <a:gd name="connsiteY5" fmla="*/ 10000 h 10000"/>
                  <a:gd name="connsiteX6" fmla="*/ 3791 w 10000"/>
                  <a:gd name="connsiteY6" fmla="*/ 8000 h 10000"/>
                  <a:gd name="connsiteX7" fmla="*/ 3940 w 10000"/>
                  <a:gd name="connsiteY7" fmla="*/ 6000 h 10000"/>
                  <a:gd name="connsiteX8" fmla="*/ 4589 w 10000"/>
                  <a:gd name="connsiteY8" fmla="*/ 8000 h 10000"/>
                  <a:gd name="connsiteX9" fmla="*/ 5112 w 10000"/>
                  <a:gd name="connsiteY9" fmla="*/ 6000 h 10000"/>
                  <a:gd name="connsiteX10" fmla="*/ 5486 w 10000"/>
                  <a:gd name="connsiteY10" fmla="*/ 4000 h 10000"/>
                  <a:gd name="connsiteX11" fmla="*/ 6434 w 10000"/>
                  <a:gd name="connsiteY11" fmla="*/ 0 h 10000"/>
                  <a:gd name="connsiteX12" fmla="*/ 10000 w 10000"/>
                  <a:gd name="connsiteY12" fmla="*/ 6000 h 10000"/>
                  <a:gd name="connsiteX0" fmla="*/ 0 w 10000"/>
                  <a:gd name="connsiteY0" fmla="*/ 8000 h 10000"/>
                  <a:gd name="connsiteX1" fmla="*/ 1372 w 10000"/>
                  <a:gd name="connsiteY1" fmla="*/ 2000 h 10000"/>
                  <a:gd name="connsiteX2" fmla="*/ 1746 w 10000"/>
                  <a:gd name="connsiteY2" fmla="*/ 4000 h 10000"/>
                  <a:gd name="connsiteX3" fmla="*/ 2219 w 10000"/>
                  <a:gd name="connsiteY3" fmla="*/ 6000 h 10000"/>
                  <a:gd name="connsiteX4" fmla="*/ 3441 w 10000"/>
                  <a:gd name="connsiteY4" fmla="*/ 10000 h 10000"/>
                  <a:gd name="connsiteX5" fmla="*/ 3791 w 10000"/>
                  <a:gd name="connsiteY5" fmla="*/ 8000 h 10000"/>
                  <a:gd name="connsiteX6" fmla="*/ 3940 w 10000"/>
                  <a:gd name="connsiteY6" fmla="*/ 6000 h 10000"/>
                  <a:gd name="connsiteX7" fmla="*/ 4589 w 10000"/>
                  <a:gd name="connsiteY7" fmla="*/ 8000 h 10000"/>
                  <a:gd name="connsiteX8" fmla="*/ 5112 w 10000"/>
                  <a:gd name="connsiteY8" fmla="*/ 6000 h 10000"/>
                  <a:gd name="connsiteX9" fmla="*/ 5486 w 10000"/>
                  <a:gd name="connsiteY9" fmla="*/ 4000 h 10000"/>
                  <a:gd name="connsiteX10" fmla="*/ 6434 w 10000"/>
                  <a:gd name="connsiteY10" fmla="*/ 0 h 10000"/>
                  <a:gd name="connsiteX11" fmla="*/ 10000 w 10000"/>
                  <a:gd name="connsiteY11" fmla="*/ 6000 h 10000"/>
                  <a:gd name="connsiteX0" fmla="*/ 0 w 10000"/>
                  <a:gd name="connsiteY0" fmla="*/ 8000 h 10000"/>
                  <a:gd name="connsiteX1" fmla="*/ 1372 w 10000"/>
                  <a:gd name="connsiteY1" fmla="*/ 2000 h 10000"/>
                  <a:gd name="connsiteX2" fmla="*/ 2219 w 10000"/>
                  <a:gd name="connsiteY2" fmla="*/ 6000 h 10000"/>
                  <a:gd name="connsiteX3" fmla="*/ 3441 w 10000"/>
                  <a:gd name="connsiteY3" fmla="*/ 10000 h 10000"/>
                  <a:gd name="connsiteX4" fmla="*/ 3791 w 10000"/>
                  <a:gd name="connsiteY4" fmla="*/ 8000 h 10000"/>
                  <a:gd name="connsiteX5" fmla="*/ 3940 w 10000"/>
                  <a:gd name="connsiteY5" fmla="*/ 6000 h 10000"/>
                  <a:gd name="connsiteX6" fmla="*/ 4589 w 10000"/>
                  <a:gd name="connsiteY6" fmla="*/ 8000 h 10000"/>
                  <a:gd name="connsiteX7" fmla="*/ 5112 w 10000"/>
                  <a:gd name="connsiteY7" fmla="*/ 6000 h 10000"/>
                  <a:gd name="connsiteX8" fmla="*/ 5486 w 10000"/>
                  <a:gd name="connsiteY8" fmla="*/ 4000 h 10000"/>
                  <a:gd name="connsiteX9" fmla="*/ 6434 w 10000"/>
                  <a:gd name="connsiteY9" fmla="*/ 0 h 10000"/>
                  <a:gd name="connsiteX10" fmla="*/ 10000 w 10000"/>
                  <a:gd name="connsiteY10" fmla="*/ 6000 h 10000"/>
                  <a:gd name="connsiteX0" fmla="*/ 0 w 10000"/>
                  <a:gd name="connsiteY0" fmla="*/ 8000 h 10000"/>
                  <a:gd name="connsiteX1" fmla="*/ 2219 w 10000"/>
                  <a:gd name="connsiteY1" fmla="*/ 6000 h 10000"/>
                  <a:gd name="connsiteX2" fmla="*/ 3441 w 10000"/>
                  <a:gd name="connsiteY2" fmla="*/ 10000 h 10000"/>
                  <a:gd name="connsiteX3" fmla="*/ 3791 w 10000"/>
                  <a:gd name="connsiteY3" fmla="*/ 8000 h 10000"/>
                  <a:gd name="connsiteX4" fmla="*/ 3940 w 10000"/>
                  <a:gd name="connsiteY4" fmla="*/ 6000 h 10000"/>
                  <a:gd name="connsiteX5" fmla="*/ 4589 w 10000"/>
                  <a:gd name="connsiteY5" fmla="*/ 8000 h 10000"/>
                  <a:gd name="connsiteX6" fmla="*/ 5112 w 10000"/>
                  <a:gd name="connsiteY6" fmla="*/ 6000 h 10000"/>
                  <a:gd name="connsiteX7" fmla="*/ 5486 w 10000"/>
                  <a:gd name="connsiteY7" fmla="*/ 4000 h 10000"/>
                  <a:gd name="connsiteX8" fmla="*/ 6434 w 10000"/>
                  <a:gd name="connsiteY8" fmla="*/ 0 h 10000"/>
                  <a:gd name="connsiteX9" fmla="*/ 10000 w 10000"/>
                  <a:gd name="connsiteY9" fmla="*/ 6000 h 10000"/>
                  <a:gd name="connsiteX0" fmla="*/ 0 w 10000"/>
                  <a:gd name="connsiteY0" fmla="*/ 8000 h 10000"/>
                  <a:gd name="connsiteX1" fmla="*/ 3441 w 10000"/>
                  <a:gd name="connsiteY1" fmla="*/ 10000 h 10000"/>
                  <a:gd name="connsiteX2" fmla="*/ 3791 w 10000"/>
                  <a:gd name="connsiteY2" fmla="*/ 8000 h 10000"/>
                  <a:gd name="connsiteX3" fmla="*/ 3940 w 10000"/>
                  <a:gd name="connsiteY3" fmla="*/ 6000 h 10000"/>
                  <a:gd name="connsiteX4" fmla="*/ 4589 w 10000"/>
                  <a:gd name="connsiteY4" fmla="*/ 8000 h 10000"/>
                  <a:gd name="connsiteX5" fmla="*/ 5112 w 10000"/>
                  <a:gd name="connsiteY5" fmla="*/ 6000 h 10000"/>
                  <a:gd name="connsiteX6" fmla="*/ 5486 w 10000"/>
                  <a:gd name="connsiteY6" fmla="*/ 4000 h 10000"/>
                  <a:gd name="connsiteX7" fmla="*/ 6434 w 10000"/>
                  <a:gd name="connsiteY7" fmla="*/ 0 h 10000"/>
                  <a:gd name="connsiteX8" fmla="*/ 10000 w 10000"/>
                  <a:gd name="connsiteY8" fmla="*/ 6000 h 10000"/>
                  <a:gd name="connsiteX0" fmla="*/ 0 w 10125"/>
                  <a:gd name="connsiteY0" fmla="*/ 8000 h 10000"/>
                  <a:gd name="connsiteX1" fmla="*/ 3566 w 10125"/>
                  <a:gd name="connsiteY1" fmla="*/ 10000 h 10000"/>
                  <a:gd name="connsiteX2" fmla="*/ 3916 w 10125"/>
                  <a:gd name="connsiteY2" fmla="*/ 8000 h 10000"/>
                  <a:gd name="connsiteX3" fmla="*/ 4065 w 10125"/>
                  <a:gd name="connsiteY3" fmla="*/ 6000 h 10000"/>
                  <a:gd name="connsiteX4" fmla="*/ 4714 w 10125"/>
                  <a:gd name="connsiteY4" fmla="*/ 8000 h 10000"/>
                  <a:gd name="connsiteX5" fmla="*/ 5237 w 10125"/>
                  <a:gd name="connsiteY5" fmla="*/ 6000 h 10000"/>
                  <a:gd name="connsiteX6" fmla="*/ 5611 w 10125"/>
                  <a:gd name="connsiteY6" fmla="*/ 4000 h 10000"/>
                  <a:gd name="connsiteX7" fmla="*/ 6559 w 10125"/>
                  <a:gd name="connsiteY7" fmla="*/ 0 h 10000"/>
                  <a:gd name="connsiteX8" fmla="*/ 10125 w 10125"/>
                  <a:gd name="connsiteY8" fmla="*/ 6000 h 10000"/>
                  <a:gd name="connsiteX0" fmla="*/ 0 w 10175"/>
                  <a:gd name="connsiteY0" fmla="*/ 8000 h 10000"/>
                  <a:gd name="connsiteX1" fmla="*/ 3566 w 10175"/>
                  <a:gd name="connsiteY1" fmla="*/ 10000 h 10000"/>
                  <a:gd name="connsiteX2" fmla="*/ 3916 w 10175"/>
                  <a:gd name="connsiteY2" fmla="*/ 8000 h 10000"/>
                  <a:gd name="connsiteX3" fmla="*/ 4065 w 10175"/>
                  <a:gd name="connsiteY3" fmla="*/ 6000 h 10000"/>
                  <a:gd name="connsiteX4" fmla="*/ 4714 w 10175"/>
                  <a:gd name="connsiteY4" fmla="*/ 8000 h 10000"/>
                  <a:gd name="connsiteX5" fmla="*/ 5237 w 10175"/>
                  <a:gd name="connsiteY5" fmla="*/ 6000 h 10000"/>
                  <a:gd name="connsiteX6" fmla="*/ 5611 w 10175"/>
                  <a:gd name="connsiteY6" fmla="*/ 4000 h 10000"/>
                  <a:gd name="connsiteX7" fmla="*/ 6559 w 10175"/>
                  <a:gd name="connsiteY7" fmla="*/ 0 h 10000"/>
                  <a:gd name="connsiteX8" fmla="*/ 10175 w 10175"/>
                  <a:gd name="connsiteY8" fmla="*/ 10000 h 10000"/>
                  <a:gd name="connsiteX0" fmla="*/ 0 w 10175"/>
                  <a:gd name="connsiteY0" fmla="*/ 4000 h 6000"/>
                  <a:gd name="connsiteX1" fmla="*/ 3566 w 10175"/>
                  <a:gd name="connsiteY1" fmla="*/ 6000 h 6000"/>
                  <a:gd name="connsiteX2" fmla="*/ 3916 w 10175"/>
                  <a:gd name="connsiteY2" fmla="*/ 4000 h 6000"/>
                  <a:gd name="connsiteX3" fmla="*/ 4065 w 10175"/>
                  <a:gd name="connsiteY3" fmla="*/ 2000 h 6000"/>
                  <a:gd name="connsiteX4" fmla="*/ 4714 w 10175"/>
                  <a:gd name="connsiteY4" fmla="*/ 4000 h 6000"/>
                  <a:gd name="connsiteX5" fmla="*/ 5237 w 10175"/>
                  <a:gd name="connsiteY5" fmla="*/ 2000 h 6000"/>
                  <a:gd name="connsiteX6" fmla="*/ 5611 w 10175"/>
                  <a:gd name="connsiteY6" fmla="*/ 0 h 6000"/>
                  <a:gd name="connsiteX7" fmla="*/ 6509 w 10175"/>
                  <a:gd name="connsiteY7" fmla="*/ 2000 h 6000"/>
                  <a:gd name="connsiteX8" fmla="*/ 10175 w 10175"/>
                  <a:gd name="connsiteY8" fmla="*/ 6000 h 6000"/>
                  <a:gd name="connsiteX0" fmla="*/ 0 w 10000"/>
                  <a:gd name="connsiteY0" fmla="*/ 7264 h 17286"/>
                  <a:gd name="connsiteX1" fmla="*/ 3505 w 10000"/>
                  <a:gd name="connsiteY1" fmla="*/ 10597 h 17286"/>
                  <a:gd name="connsiteX2" fmla="*/ 3849 w 10000"/>
                  <a:gd name="connsiteY2" fmla="*/ 7264 h 17286"/>
                  <a:gd name="connsiteX3" fmla="*/ 3995 w 10000"/>
                  <a:gd name="connsiteY3" fmla="*/ 3930 h 17286"/>
                  <a:gd name="connsiteX4" fmla="*/ 4633 w 10000"/>
                  <a:gd name="connsiteY4" fmla="*/ 7264 h 17286"/>
                  <a:gd name="connsiteX5" fmla="*/ 5147 w 10000"/>
                  <a:gd name="connsiteY5" fmla="*/ 3930 h 17286"/>
                  <a:gd name="connsiteX6" fmla="*/ 5514 w 10000"/>
                  <a:gd name="connsiteY6" fmla="*/ 597 h 17286"/>
                  <a:gd name="connsiteX7" fmla="*/ 6250 w 10000"/>
                  <a:gd name="connsiteY7" fmla="*/ 17264 h 17286"/>
                  <a:gd name="connsiteX8" fmla="*/ 10000 w 10000"/>
                  <a:gd name="connsiteY8" fmla="*/ 10597 h 17286"/>
                  <a:gd name="connsiteX0" fmla="*/ 0 w 10000"/>
                  <a:gd name="connsiteY0" fmla="*/ 6883 h 10294"/>
                  <a:gd name="connsiteX1" fmla="*/ 3505 w 10000"/>
                  <a:gd name="connsiteY1" fmla="*/ 10216 h 10294"/>
                  <a:gd name="connsiteX2" fmla="*/ 3849 w 10000"/>
                  <a:gd name="connsiteY2" fmla="*/ 6883 h 10294"/>
                  <a:gd name="connsiteX3" fmla="*/ 3995 w 10000"/>
                  <a:gd name="connsiteY3" fmla="*/ 3549 h 10294"/>
                  <a:gd name="connsiteX4" fmla="*/ 4633 w 10000"/>
                  <a:gd name="connsiteY4" fmla="*/ 6883 h 10294"/>
                  <a:gd name="connsiteX5" fmla="*/ 5147 w 10000"/>
                  <a:gd name="connsiteY5" fmla="*/ 3549 h 10294"/>
                  <a:gd name="connsiteX6" fmla="*/ 5514 w 10000"/>
                  <a:gd name="connsiteY6" fmla="*/ 216 h 10294"/>
                  <a:gd name="connsiteX7" fmla="*/ 6176 w 10000"/>
                  <a:gd name="connsiteY7" fmla="*/ 10216 h 10294"/>
                  <a:gd name="connsiteX8" fmla="*/ 10000 w 10000"/>
                  <a:gd name="connsiteY8" fmla="*/ 10216 h 10294"/>
                  <a:gd name="connsiteX0" fmla="*/ 0 w 10000"/>
                  <a:gd name="connsiteY0" fmla="*/ 6881 h 10292"/>
                  <a:gd name="connsiteX1" fmla="*/ 3505 w 10000"/>
                  <a:gd name="connsiteY1" fmla="*/ 10214 h 10292"/>
                  <a:gd name="connsiteX2" fmla="*/ 3995 w 10000"/>
                  <a:gd name="connsiteY2" fmla="*/ 3547 h 10292"/>
                  <a:gd name="connsiteX3" fmla="*/ 4633 w 10000"/>
                  <a:gd name="connsiteY3" fmla="*/ 6881 h 10292"/>
                  <a:gd name="connsiteX4" fmla="*/ 5147 w 10000"/>
                  <a:gd name="connsiteY4" fmla="*/ 3547 h 10292"/>
                  <a:gd name="connsiteX5" fmla="*/ 5514 w 10000"/>
                  <a:gd name="connsiteY5" fmla="*/ 214 h 10292"/>
                  <a:gd name="connsiteX6" fmla="*/ 6176 w 10000"/>
                  <a:gd name="connsiteY6" fmla="*/ 10214 h 10292"/>
                  <a:gd name="connsiteX7" fmla="*/ 10000 w 10000"/>
                  <a:gd name="connsiteY7" fmla="*/ 10214 h 10292"/>
                  <a:gd name="connsiteX0" fmla="*/ 0 w 10000"/>
                  <a:gd name="connsiteY0" fmla="*/ 10127 h 76793"/>
                  <a:gd name="connsiteX1" fmla="*/ 3505 w 10000"/>
                  <a:gd name="connsiteY1" fmla="*/ 13460 h 76793"/>
                  <a:gd name="connsiteX2" fmla="*/ 3995 w 10000"/>
                  <a:gd name="connsiteY2" fmla="*/ 6793 h 76793"/>
                  <a:gd name="connsiteX3" fmla="*/ 4535 w 10000"/>
                  <a:gd name="connsiteY3" fmla="*/ 76793 h 76793"/>
                  <a:gd name="connsiteX4" fmla="*/ 5147 w 10000"/>
                  <a:gd name="connsiteY4" fmla="*/ 6793 h 76793"/>
                  <a:gd name="connsiteX5" fmla="*/ 5514 w 10000"/>
                  <a:gd name="connsiteY5" fmla="*/ 3460 h 76793"/>
                  <a:gd name="connsiteX6" fmla="*/ 6176 w 10000"/>
                  <a:gd name="connsiteY6" fmla="*/ 13460 h 76793"/>
                  <a:gd name="connsiteX7" fmla="*/ 10000 w 10000"/>
                  <a:gd name="connsiteY7" fmla="*/ 13460 h 76793"/>
                  <a:gd name="connsiteX0" fmla="*/ 0 w 10000"/>
                  <a:gd name="connsiteY0" fmla="*/ 74224 h 140890"/>
                  <a:gd name="connsiteX1" fmla="*/ 3505 w 10000"/>
                  <a:gd name="connsiteY1" fmla="*/ 77557 h 140890"/>
                  <a:gd name="connsiteX2" fmla="*/ 4093 w 10000"/>
                  <a:gd name="connsiteY2" fmla="*/ 891 h 140890"/>
                  <a:gd name="connsiteX3" fmla="*/ 4535 w 10000"/>
                  <a:gd name="connsiteY3" fmla="*/ 140890 h 140890"/>
                  <a:gd name="connsiteX4" fmla="*/ 5147 w 10000"/>
                  <a:gd name="connsiteY4" fmla="*/ 70890 h 140890"/>
                  <a:gd name="connsiteX5" fmla="*/ 5514 w 10000"/>
                  <a:gd name="connsiteY5" fmla="*/ 67557 h 140890"/>
                  <a:gd name="connsiteX6" fmla="*/ 6176 w 10000"/>
                  <a:gd name="connsiteY6" fmla="*/ 77557 h 140890"/>
                  <a:gd name="connsiteX7" fmla="*/ 10000 w 10000"/>
                  <a:gd name="connsiteY7" fmla="*/ 77557 h 140890"/>
                  <a:gd name="connsiteX0" fmla="*/ 0 w 10000"/>
                  <a:gd name="connsiteY0" fmla="*/ 74765 h 141431"/>
                  <a:gd name="connsiteX1" fmla="*/ 3505 w 10000"/>
                  <a:gd name="connsiteY1" fmla="*/ 78098 h 141431"/>
                  <a:gd name="connsiteX2" fmla="*/ 4093 w 10000"/>
                  <a:gd name="connsiteY2" fmla="*/ 1432 h 141431"/>
                  <a:gd name="connsiteX3" fmla="*/ 4535 w 10000"/>
                  <a:gd name="connsiteY3" fmla="*/ 141431 h 141431"/>
                  <a:gd name="connsiteX4" fmla="*/ 5147 w 10000"/>
                  <a:gd name="connsiteY4" fmla="*/ 71431 h 141431"/>
                  <a:gd name="connsiteX5" fmla="*/ 5514 w 10000"/>
                  <a:gd name="connsiteY5" fmla="*/ 68098 h 141431"/>
                  <a:gd name="connsiteX6" fmla="*/ 6176 w 10000"/>
                  <a:gd name="connsiteY6" fmla="*/ 78098 h 141431"/>
                  <a:gd name="connsiteX7" fmla="*/ 10000 w 10000"/>
                  <a:gd name="connsiteY7" fmla="*/ 78098 h 141431"/>
                  <a:gd name="connsiteX0" fmla="*/ 0 w 10000"/>
                  <a:gd name="connsiteY0" fmla="*/ 73867 h 140533"/>
                  <a:gd name="connsiteX1" fmla="*/ 3505 w 10000"/>
                  <a:gd name="connsiteY1" fmla="*/ 77200 h 140533"/>
                  <a:gd name="connsiteX2" fmla="*/ 4093 w 10000"/>
                  <a:gd name="connsiteY2" fmla="*/ 534 h 140533"/>
                  <a:gd name="connsiteX3" fmla="*/ 4535 w 10000"/>
                  <a:gd name="connsiteY3" fmla="*/ 140533 h 140533"/>
                  <a:gd name="connsiteX4" fmla="*/ 5147 w 10000"/>
                  <a:gd name="connsiteY4" fmla="*/ 70533 h 140533"/>
                  <a:gd name="connsiteX5" fmla="*/ 5514 w 10000"/>
                  <a:gd name="connsiteY5" fmla="*/ 67200 h 140533"/>
                  <a:gd name="connsiteX6" fmla="*/ 6176 w 10000"/>
                  <a:gd name="connsiteY6" fmla="*/ 77200 h 140533"/>
                  <a:gd name="connsiteX7" fmla="*/ 10000 w 10000"/>
                  <a:gd name="connsiteY7" fmla="*/ 77200 h 140533"/>
                  <a:gd name="connsiteX0" fmla="*/ 0 w 10000"/>
                  <a:gd name="connsiteY0" fmla="*/ 73867 h 140533"/>
                  <a:gd name="connsiteX1" fmla="*/ 3505 w 10000"/>
                  <a:gd name="connsiteY1" fmla="*/ 77200 h 140533"/>
                  <a:gd name="connsiteX2" fmla="*/ 4093 w 10000"/>
                  <a:gd name="connsiteY2" fmla="*/ 534 h 140533"/>
                  <a:gd name="connsiteX3" fmla="*/ 4535 w 10000"/>
                  <a:gd name="connsiteY3" fmla="*/ 140533 h 140533"/>
                  <a:gd name="connsiteX4" fmla="*/ 5147 w 10000"/>
                  <a:gd name="connsiteY4" fmla="*/ 70533 h 140533"/>
                  <a:gd name="connsiteX5" fmla="*/ 5514 w 10000"/>
                  <a:gd name="connsiteY5" fmla="*/ 67200 h 140533"/>
                  <a:gd name="connsiteX6" fmla="*/ 6176 w 10000"/>
                  <a:gd name="connsiteY6" fmla="*/ 77200 h 140533"/>
                  <a:gd name="connsiteX7" fmla="*/ 10000 w 10000"/>
                  <a:gd name="connsiteY7" fmla="*/ 77200 h 140533"/>
                  <a:gd name="connsiteX0" fmla="*/ 0 w 10000"/>
                  <a:gd name="connsiteY0" fmla="*/ 76346 h 143012"/>
                  <a:gd name="connsiteX1" fmla="*/ 3505 w 10000"/>
                  <a:gd name="connsiteY1" fmla="*/ 79679 h 143012"/>
                  <a:gd name="connsiteX2" fmla="*/ 4093 w 10000"/>
                  <a:gd name="connsiteY2" fmla="*/ 3013 h 143012"/>
                  <a:gd name="connsiteX3" fmla="*/ 4535 w 10000"/>
                  <a:gd name="connsiteY3" fmla="*/ 143012 h 143012"/>
                  <a:gd name="connsiteX4" fmla="*/ 5147 w 10000"/>
                  <a:gd name="connsiteY4" fmla="*/ 73012 h 143012"/>
                  <a:gd name="connsiteX5" fmla="*/ 5514 w 10000"/>
                  <a:gd name="connsiteY5" fmla="*/ 69679 h 143012"/>
                  <a:gd name="connsiteX6" fmla="*/ 6176 w 10000"/>
                  <a:gd name="connsiteY6" fmla="*/ 79679 h 143012"/>
                  <a:gd name="connsiteX7" fmla="*/ 10000 w 10000"/>
                  <a:gd name="connsiteY7" fmla="*/ 79679 h 143012"/>
                  <a:gd name="connsiteX0" fmla="*/ 0 w 10000"/>
                  <a:gd name="connsiteY0" fmla="*/ 76348 h 143014"/>
                  <a:gd name="connsiteX1" fmla="*/ 3505 w 10000"/>
                  <a:gd name="connsiteY1" fmla="*/ 79681 h 143014"/>
                  <a:gd name="connsiteX2" fmla="*/ 4093 w 10000"/>
                  <a:gd name="connsiteY2" fmla="*/ 3015 h 143014"/>
                  <a:gd name="connsiteX3" fmla="*/ 4535 w 10000"/>
                  <a:gd name="connsiteY3" fmla="*/ 143014 h 143014"/>
                  <a:gd name="connsiteX4" fmla="*/ 5147 w 10000"/>
                  <a:gd name="connsiteY4" fmla="*/ 73014 h 143014"/>
                  <a:gd name="connsiteX5" fmla="*/ 5514 w 10000"/>
                  <a:gd name="connsiteY5" fmla="*/ 69681 h 143014"/>
                  <a:gd name="connsiteX6" fmla="*/ 6176 w 10000"/>
                  <a:gd name="connsiteY6" fmla="*/ 79681 h 143014"/>
                  <a:gd name="connsiteX7" fmla="*/ 10000 w 10000"/>
                  <a:gd name="connsiteY7" fmla="*/ 79681 h 143014"/>
                  <a:gd name="connsiteX0" fmla="*/ 0 w 10000"/>
                  <a:gd name="connsiteY0" fmla="*/ 73333 h 139999"/>
                  <a:gd name="connsiteX1" fmla="*/ 3505 w 10000"/>
                  <a:gd name="connsiteY1" fmla="*/ 76666 h 139999"/>
                  <a:gd name="connsiteX2" fmla="*/ 4093 w 10000"/>
                  <a:gd name="connsiteY2" fmla="*/ 0 h 139999"/>
                  <a:gd name="connsiteX3" fmla="*/ 4535 w 10000"/>
                  <a:gd name="connsiteY3" fmla="*/ 139999 h 139999"/>
                  <a:gd name="connsiteX4" fmla="*/ 5147 w 10000"/>
                  <a:gd name="connsiteY4" fmla="*/ 69999 h 139999"/>
                  <a:gd name="connsiteX5" fmla="*/ 5514 w 10000"/>
                  <a:gd name="connsiteY5" fmla="*/ 66666 h 139999"/>
                  <a:gd name="connsiteX6" fmla="*/ 6176 w 10000"/>
                  <a:gd name="connsiteY6" fmla="*/ 76666 h 139999"/>
                  <a:gd name="connsiteX7" fmla="*/ 10000 w 10000"/>
                  <a:gd name="connsiteY7" fmla="*/ 76666 h 139999"/>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88187 h 161520"/>
                  <a:gd name="connsiteX1" fmla="*/ 3505 w 10000"/>
                  <a:gd name="connsiteY1" fmla="*/ 91520 h 161520"/>
                  <a:gd name="connsiteX2" fmla="*/ 4093 w 10000"/>
                  <a:gd name="connsiteY2" fmla="*/ 14854 h 161520"/>
                  <a:gd name="connsiteX3" fmla="*/ 4609 w 10000"/>
                  <a:gd name="connsiteY3" fmla="*/ 161520 h 161520"/>
                  <a:gd name="connsiteX4" fmla="*/ 5245 w 10000"/>
                  <a:gd name="connsiteY4" fmla="*/ 1521 h 161520"/>
                  <a:gd name="connsiteX5" fmla="*/ 5514 w 10000"/>
                  <a:gd name="connsiteY5" fmla="*/ 81520 h 161520"/>
                  <a:gd name="connsiteX6" fmla="*/ 6176 w 10000"/>
                  <a:gd name="connsiteY6" fmla="*/ 91520 h 161520"/>
                  <a:gd name="connsiteX7" fmla="*/ 10000 w 10000"/>
                  <a:gd name="connsiteY7" fmla="*/ 91520 h 161520"/>
                  <a:gd name="connsiteX0" fmla="*/ 0 w 10000"/>
                  <a:gd name="connsiteY0" fmla="*/ 88187 h 161520"/>
                  <a:gd name="connsiteX1" fmla="*/ 3505 w 10000"/>
                  <a:gd name="connsiteY1" fmla="*/ 91520 h 161520"/>
                  <a:gd name="connsiteX2" fmla="*/ 4093 w 10000"/>
                  <a:gd name="connsiteY2" fmla="*/ 14854 h 161520"/>
                  <a:gd name="connsiteX3" fmla="*/ 4609 w 10000"/>
                  <a:gd name="connsiteY3" fmla="*/ 161520 h 161520"/>
                  <a:gd name="connsiteX4" fmla="*/ 5245 w 10000"/>
                  <a:gd name="connsiteY4" fmla="*/ 1521 h 161520"/>
                  <a:gd name="connsiteX5" fmla="*/ 5514 w 10000"/>
                  <a:gd name="connsiteY5" fmla="*/ 81520 h 161520"/>
                  <a:gd name="connsiteX6" fmla="*/ 6176 w 10000"/>
                  <a:gd name="connsiteY6" fmla="*/ 91520 h 161520"/>
                  <a:gd name="connsiteX7" fmla="*/ 10000 w 10000"/>
                  <a:gd name="connsiteY7" fmla="*/ 91520 h 161520"/>
                  <a:gd name="connsiteX0" fmla="*/ 0 w 10000"/>
                  <a:gd name="connsiteY0" fmla="*/ 88918 h 162251"/>
                  <a:gd name="connsiteX1" fmla="*/ 3505 w 10000"/>
                  <a:gd name="connsiteY1" fmla="*/ 92251 h 162251"/>
                  <a:gd name="connsiteX2" fmla="*/ 4093 w 10000"/>
                  <a:gd name="connsiteY2" fmla="*/ 15585 h 162251"/>
                  <a:gd name="connsiteX3" fmla="*/ 4609 w 10000"/>
                  <a:gd name="connsiteY3" fmla="*/ 162251 h 162251"/>
                  <a:gd name="connsiteX4" fmla="*/ 5245 w 10000"/>
                  <a:gd name="connsiteY4" fmla="*/ 2252 h 162251"/>
                  <a:gd name="connsiteX5" fmla="*/ 5514 w 10000"/>
                  <a:gd name="connsiteY5" fmla="*/ 82251 h 162251"/>
                  <a:gd name="connsiteX6" fmla="*/ 6176 w 10000"/>
                  <a:gd name="connsiteY6" fmla="*/ 92251 h 162251"/>
                  <a:gd name="connsiteX7" fmla="*/ 10000 w 10000"/>
                  <a:gd name="connsiteY7" fmla="*/ 92251 h 162251"/>
                  <a:gd name="connsiteX0" fmla="*/ 0 w 10000"/>
                  <a:gd name="connsiteY0" fmla="*/ 88918 h 162251"/>
                  <a:gd name="connsiteX1" fmla="*/ 3505 w 10000"/>
                  <a:gd name="connsiteY1" fmla="*/ 92251 h 162251"/>
                  <a:gd name="connsiteX2" fmla="*/ 4093 w 10000"/>
                  <a:gd name="connsiteY2" fmla="*/ 15585 h 162251"/>
                  <a:gd name="connsiteX3" fmla="*/ 4609 w 10000"/>
                  <a:gd name="connsiteY3" fmla="*/ 162251 h 162251"/>
                  <a:gd name="connsiteX4" fmla="*/ 5245 w 10000"/>
                  <a:gd name="connsiteY4" fmla="*/ 2252 h 162251"/>
                  <a:gd name="connsiteX5" fmla="*/ 5514 w 10000"/>
                  <a:gd name="connsiteY5" fmla="*/ 82251 h 162251"/>
                  <a:gd name="connsiteX6" fmla="*/ 6176 w 10000"/>
                  <a:gd name="connsiteY6" fmla="*/ 92251 h 162251"/>
                  <a:gd name="connsiteX7" fmla="*/ 10000 w 10000"/>
                  <a:gd name="connsiteY7" fmla="*/ 92251 h 162251"/>
                  <a:gd name="connsiteX0" fmla="*/ 0 w 10000"/>
                  <a:gd name="connsiteY0" fmla="*/ 87898 h 161231"/>
                  <a:gd name="connsiteX1" fmla="*/ 3505 w 10000"/>
                  <a:gd name="connsiteY1" fmla="*/ 91231 h 161231"/>
                  <a:gd name="connsiteX2" fmla="*/ 4093 w 10000"/>
                  <a:gd name="connsiteY2" fmla="*/ 14565 h 161231"/>
                  <a:gd name="connsiteX3" fmla="*/ 4609 w 10000"/>
                  <a:gd name="connsiteY3" fmla="*/ 161231 h 161231"/>
                  <a:gd name="connsiteX4" fmla="*/ 5245 w 10000"/>
                  <a:gd name="connsiteY4" fmla="*/ 1232 h 161231"/>
                  <a:gd name="connsiteX5" fmla="*/ 5416 w 10000"/>
                  <a:gd name="connsiteY5" fmla="*/ 131230 h 161231"/>
                  <a:gd name="connsiteX6" fmla="*/ 6176 w 10000"/>
                  <a:gd name="connsiteY6" fmla="*/ 91231 h 161231"/>
                  <a:gd name="connsiteX7" fmla="*/ 10000 w 10000"/>
                  <a:gd name="connsiteY7" fmla="*/ 91231 h 161231"/>
                  <a:gd name="connsiteX0" fmla="*/ 0 w 10000"/>
                  <a:gd name="connsiteY0" fmla="*/ 87641 h 160974"/>
                  <a:gd name="connsiteX1" fmla="*/ 3505 w 10000"/>
                  <a:gd name="connsiteY1" fmla="*/ 90974 h 160974"/>
                  <a:gd name="connsiteX2" fmla="*/ 4093 w 10000"/>
                  <a:gd name="connsiteY2" fmla="*/ 14308 h 160974"/>
                  <a:gd name="connsiteX3" fmla="*/ 4609 w 10000"/>
                  <a:gd name="connsiteY3" fmla="*/ 160974 h 160974"/>
                  <a:gd name="connsiteX4" fmla="*/ 5245 w 10000"/>
                  <a:gd name="connsiteY4" fmla="*/ 975 h 160974"/>
                  <a:gd name="connsiteX5" fmla="*/ 5416 w 10000"/>
                  <a:gd name="connsiteY5" fmla="*/ 130973 h 160974"/>
                  <a:gd name="connsiteX6" fmla="*/ 5882 w 10000"/>
                  <a:gd name="connsiteY6" fmla="*/ 94307 h 160974"/>
                  <a:gd name="connsiteX7" fmla="*/ 6176 w 10000"/>
                  <a:gd name="connsiteY7" fmla="*/ 90974 h 160974"/>
                  <a:gd name="connsiteX8" fmla="*/ 10000 w 10000"/>
                  <a:gd name="connsiteY8" fmla="*/ 90974 h 160974"/>
                  <a:gd name="connsiteX0" fmla="*/ 0 w 10000"/>
                  <a:gd name="connsiteY0" fmla="*/ 96964 h 170297"/>
                  <a:gd name="connsiteX1" fmla="*/ 3505 w 10000"/>
                  <a:gd name="connsiteY1" fmla="*/ 100297 h 170297"/>
                  <a:gd name="connsiteX2" fmla="*/ 4093 w 10000"/>
                  <a:gd name="connsiteY2" fmla="*/ 23631 h 170297"/>
                  <a:gd name="connsiteX3" fmla="*/ 4609 w 10000"/>
                  <a:gd name="connsiteY3" fmla="*/ 170297 h 170297"/>
                  <a:gd name="connsiteX4" fmla="*/ 5245 w 10000"/>
                  <a:gd name="connsiteY4" fmla="*/ 10298 h 170297"/>
                  <a:gd name="connsiteX5" fmla="*/ 5416 w 10000"/>
                  <a:gd name="connsiteY5" fmla="*/ 140296 h 170297"/>
                  <a:gd name="connsiteX6" fmla="*/ 5833 w 10000"/>
                  <a:gd name="connsiteY6" fmla="*/ 298 h 170297"/>
                  <a:gd name="connsiteX7" fmla="*/ 6176 w 10000"/>
                  <a:gd name="connsiteY7" fmla="*/ 100297 h 170297"/>
                  <a:gd name="connsiteX8" fmla="*/ 10000 w 10000"/>
                  <a:gd name="connsiteY8" fmla="*/ 100297 h 170297"/>
                  <a:gd name="connsiteX0" fmla="*/ 0 w 10000"/>
                  <a:gd name="connsiteY0" fmla="*/ 96964 h 170297"/>
                  <a:gd name="connsiteX1" fmla="*/ 3505 w 10000"/>
                  <a:gd name="connsiteY1" fmla="*/ 100297 h 170297"/>
                  <a:gd name="connsiteX2" fmla="*/ 3970 w 10000"/>
                  <a:gd name="connsiteY2" fmla="*/ 20297 h 170297"/>
                  <a:gd name="connsiteX3" fmla="*/ 4609 w 10000"/>
                  <a:gd name="connsiteY3" fmla="*/ 170297 h 170297"/>
                  <a:gd name="connsiteX4" fmla="*/ 5245 w 10000"/>
                  <a:gd name="connsiteY4" fmla="*/ 10298 h 170297"/>
                  <a:gd name="connsiteX5" fmla="*/ 5416 w 10000"/>
                  <a:gd name="connsiteY5" fmla="*/ 140296 h 170297"/>
                  <a:gd name="connsiteX6" fmla="*/ 5833 w 10000"/>
                  <a:gd name="connsiteY6" fmla="*/ 298 h 170297"/>
                  <a:gd name="connsiteX7" fmla="*/ 6176 w 10000"/>
                  <a:gd name="connsiteY7" fmla="*/ 100297 h 170297"/>
                  <a:gd name="connsiteX8" fmla="*/ 10000 w 10000"/>
                  <a:gd name="connsiteY8" fmla="*/ 100297 h 170297"/>
                  <a:gd name="connsiteX0" fmla="*/ 0 w 10000"/>
                  <a:gd name="connsiteY0" fmla="*/ 96964 h 176218"/>
                  <a:gd name="connsiteX1" fmla="*/ 3505 w 10000"/>
                  <a:gd name="connsiteY1" fmla="*/ 100297 h 176218"/>
                  <a:gd name="connsiteX2" fmla="*/ 3970 w 10000"/>
                  <a:gd name="connsiteY2" fmla="*/ 20297 h 176218"/>
                  <a:gd name="connsiteX3" fmla="*/ 4609 w 10000"/>
                  <a:gd name="connsiteY3" fmla="*/ 170297 h 176218"/>
                  <a:gd name="connsiteX4" fmla="*/ 4436 w 10000"/>
                  <a:gd name="connsiteY4" fmla="*/ 120294 h 176218"/>
                  <a:gd name="connsiteX5" fmla="*/ 5245 w 10000"/>
                  <a:gd name="connsiteY5" fmla="*/ 10298 h 176218"/>
                  <a:gd name="connsiteX6" fmla="*/ 5416 w 10000"/>
                  <a:gd name="connsiteY6" fmla="*/ 140296 h 176218"/>
                  <a:gd name="connsiteX7" fmla="*/ 5833 w 10000"/>
                  <a:gd name="connsiteY7" fmla="*/ 298 h 176218"/>
                  <a:gd name="connsiteX8" fmla="*/ 6176 w 10000"/>
                  <a:gd name="connsiteY8" fmla="*/ 100297 h 176218"/>
                  <a:gd name="connsiteX9" fmla="*/ 10000 w 10000"/>
                  <a:gd name="connsiteY9" fmla="*/ 100297 h 176218"/>
                  <a:gd name="connsiteX0" fmla="*/ 0 w 10000"/>
                  <a:gd name="connsiteY0" fmla="*/ 113357 h 192613"/>
                  <a:gd name="connsiteX1" fmla="*/ 3505 w 10000"/>
                  <a:gd name="connsiteY1" fmla="*/ 116690 h 192613"/>
                  <a:gd name="connsiteX2" fmla="*/ 3970 w 10000"/>
                  <a:gd name="connsiteY2" fmla="*/ 36690 h 192613"/>
                  <a:gd name="connsiteX3" fmla="*/ 4609 w 10000"/>
                  <a:gd name="connsiteY3" fmla="*/ 186690 h 192613"/>
                  <a:gd name="connsiteX4" fmla="*/ 4436 w 10000"/>
                  <a:gd name="connsiteY4" fmla="*/ 136687 h 192613"/>
                  <a:gd name="connsiteX5" fmla="*/ 5000 w 10000"/>
                  <a:gd name="connsiteY5" fmla="*/ 24 h 192613"/>
                  <a:gd name="connsiteX6" fmla="*/ 5416 w 10000"/>
                  <a:gd name="connsiteY6" fmla="*/ 156689 h 192613"/>
                  <a:gd name="connsiteX7" fmla="*/ 5833 w 10000"/>
                  <a:gd name="connsiteY7" fmla="*/ 16691 h 192613"/>
                  <a:gd name="connsiteX8" fmla="*/ 6176 w 10000"/>
                  <a:gd name="connsiteY8" fmla="*/ 116690 h 192613"/>
                  <a:gd name="connsiteX9" fmla="*/ 10000 w 10000"/>
                  <a:gd name="connsiteY9" fmla="*/ 116690 h 192613"/>
                  <a:gd name="connsiteX0" fmla="*/ 0 w 10000"/>
                  <a:gd name="connsiteY0" fmla="*/ 113359 h 157828"/>
                  <a:gd name="connsiteX1" fmla="*/ 3505 w 10000"/>
                  <a:gd name="connsiteY1" fmla="*/ 116692 h 157828"/>
                  <a:gd name="connsiteX2" fmla="*/ 3970 w 10000"/>
                  <a:gd name="connsiteY2" fmla="*/ 36692 h 157828"/>
                  <a:gd name="connsiteX3" fmla="*/ 4436 w 10000"/>
                  <a:gd name="connsiteY3" fmla="*/ 136689 h 157828"/>
                  <a:gd name="connsiteX4" fmla="*/ 5000 w 10000"/>
                  <a:gd name="connsiteY4" fmla="*/ 26 h 157828"/>
                  <a:gd name="connsiteX5" fmla="*/ 5416 w 10000"/>
                  <a:gd name="connsiteY5" fmla="*/ 156691 h 157828"/>
                  <a:gd name="connsiteX6" fmla="*/ 5833 w 10000"/>
                  <a:gd name="connsiteY6" fmla="*/ 16693 h 157828"/>
                  <a:gd name="connsiteX7" fmla="*/ 6176 w 10000"/>
                  <a:gd name="connsiteY7" fmla="*/ 116692 h 157828"/>
                  <a:gd name="connsiteX8" fmla="*/ 10000 w 10000"/>
                  <a:gd name="connsiteY8" fmla="*/ 116692 h 157828"/>
                  <a:gd name="connsiteX0" fmla="*/ 0 w 10000"/>
                  <a:gd name="connsiteY0" fmla="*/ 113362 h 136955"/>
                  <a:gd name="connsiteX1" fmla="*/ 3505 w 10000"/>
                  <a:gd name="connsiteY1" fmla="*/ 116695 h 136955"/>
                  <a:gd name="connsiteX2" fmla="*/ 3970 w 10000"/>
                  <a:gd name="connsiteY2" fmla="*/ 36695 h 136955"/>
                  <a:gd name="connsiteX3" fmla="*/ 4436 w 10000"/>
                  <a:gd name="connsiteY3" fmla="*/ 136692 h 136955"/>
                  <a:gd name="connsiteX4" fmla="*/ 5000 w 10000"/>
                  <a:gd name="connsiteY4" fmla="*/ 29 h 136955"/>
                  <a:gd name="connsiteX5" fmla="*/ 5293 w 10000"/>
                  <a:gd name="connsiteY5" fmla="*/ 133361 h 136955"/>
                  <a:gd name="connsiteX6" fmla="*/ 5833 w 10000"/>
                  <a:gd name="connsiteY6" fmla="*/ 16696 h 136955"/>
                  <a:gd name="connsiteX7" fmla="*/ 6176 w 10000"/>
                  <a:gd name="connsiteY7" fmla="*/ 116695 h 136955"/>
                  <a:gd name="connsiteX8" fmla="*/ 10000 w 10000"/>
                  <a:gd name="connsiteY8" fmla="*/ 116695 h 136955"/>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833 w 10000"/>
                  <a:gd name="connsiteY6" fmla="*/ 26694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710 w 10000"/>
                  <a:gd name="connsiteY6" fmla="*/ 36694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710 w 10000"/>
                  <a:gd name="connsiteY6" fmla="*/ 36694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710 w 10000"/>
                  <a:gd name="connsiteY6" fmla="*/ 36694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685 w 10000"/>
                  <a:gd name="connsiteY6" fmla="*/ 23361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685 w 10000"/>
                  <a:gd name="connsiteY6" fmla="*/ 23361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32 h 146925"/>
                  <a:gd name="connsiteX1" fmla="*/ 3505 w 10000"/>
                  <a:gd name="connsiteY1" fmla="*/ 126665 h 146925"/>
                  <a:gd name="connsiteX2" fmla="*/ 3970 w 10000"/>
                  <a:gd name="connsiteY2" fmla="*/ 46665 h 146925"/>
                  <a:gd name="connsiteX3" fmla="*/ 4436 w 10000"/>
                  <a:gd name="connsiteY3" fmla="*/ 146662 h 146925"/>
                  <a:gd name="connsiteX4" fmla="*/ 4902 w 10000"/>
                  <a:gd name="connsiteY4" fmla="*/ 0 h 146925"/>
                  <a:gd name="connsiteX5" fmla="*/ 5293 w 10000"/>
                  <a:gd name="connsiteY5" fmla="*/ 143331 h 146925"/>
                  <a:gd name="connsiteX6" fmla="*/ 5685 w 10000"/>
                  <a:gd name="connsiteY6" fmla="*/ 23333 h 146925"/>
                  <a:gd name="connsiteX7" fmla="*/ 6176 w 10000"/>
                  <a:gd name="connsiteY7" fmla="*/ 126665 h 146925"/>
                  <a:gd name="connsiteX8" fmla="*/ 10000 w 10000"/>
                  <a:gd name="connsiteY8" fmla="*/ 126665 h 146925"/>
                  <a:gd name="connsiteX0" fmla="*/ 0 w 10000"/>
                  <a:gd name="connsiteY0" fmla="*/ 123332 h 146923"/>
                  <a:gd name="connsiteX1" fmla="*/ 3505 w 10000"/>
                  <a:gd name="connsiteY1" fmla="*/ 126665 h 146923"/>
                  <a:gd name="connsiteX2" fmla="*/ 3970 w 10000"/>
                  <a:gd name="connsiteY2" fmla="*/ 46665 h 146923"/>
                  <a:gd name="connsiteX3" fmla="*/ 4436 w 10000"/>
                  <a:gd name="connsiteY3" fmla="*/ 146662 h 146923"/>
                  <a:gd name="connsiteX4" fmla="*/ 4902 w 10000"/>
                  <a:gd name="connsiteY4" fmla="*/ 0 h 146923"/>
                  <a:gd name="connsiteX5" fmla="*/ 5293 w 10000"/>
                  <a:gd name="connsiteY5" fmla="*/ 143331 h 146923"/>
                  <a:gd name="connsiteX6" fmla="*/ 5685 w 10000"/>
                  <a:gd name="connsiteY6" fmla="*/ 23333 h 146923"/>
                  <a:gd name="connsiteX7" fmla="*/ 6176 w 10000"/>
                  <a:gd name="connsiteY7" fmla="*/ 126665 h 146923"/>
                  <a:gd name="connsiteX8" fmla="*/ 10000 w 10000"/>
                  <a:gd name="connsiteY8" fmla="*/ 126665 h 146923"/>
                  <a:gd name="connsiteX0" fmla="*/ 0 w 10000"/>
                  <a:gd name="connsiteY0" fmla="*/ 123332 h 146925"/>
                  <a:gd name="connsiteX1" fmla="*/ 3505 w 10000"/>
                  <a:gd name="connsiteY1" fmla="*/ 126665 h 146925"/>
                  <a:gd name="connsiteX2" fmla="*/ 3970 w 10000"/>
                  <a:gd name="connsiteY2" fmla="*/ 46665 h 146925"/>
                  <a:gd name="connsiteX3" fmla="*/ 4436 w 10000"/>
                  <a:gd name="connsiteY3" fmla="*/ 146662 h 146925"/>
                  <a:gd name="connsiteX4" fmla="*/ 4902 w 10000"/>
                  <a:gd name="connsiteY4" fmla="*/ 0 h 146925"/>
                  <a:gd name="connsiteX5" fmla="*/ 5293 w 10000"/>
                  <a:gd name="connsiteY5" fmla="*/ 143331 h 146925"/>
                  <a:gd name="connsiteX6" fmla="*/ 5685 w 10000"/>
                  <a:gd name="connsiteY6" fmla="*/ 23333 h 146925"/>
                  <a:gd name="connsiteX7" fmla="*/ 6176 w 10000"/>
                  <a:gd name="connsiteY7" fmla="*/ 126665 h 146925"/>
                  <a:gd name="connsiteX8" fmla="*/ 10000 w 10000"/>
                  <a:gd name="connsiteY8" fmla="*/ 126665 h 146925"/>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387 w 10000"/>
                  <a:gd name="connsiteY3" fmla="*/ 146663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6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55 w 10000"/>
                  <a:gd name="connsiteY1" fmla="*/ 113973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5479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355 w 10000"/>
                  <a:gd name="connsiteY1" fmla="*/ 116985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46664">
                    <a:moveTo>
                      <a:pt x="0" y="116665"/>
                    </a:moveTo>
                    <a:cubicBezTo>
                      <a:pt x="705" y="117360"/>
                      <a:pt x="2183" y="116985"/>
                      <a:pt x="3355" y="116985"/>
                    </a:cubicBezTo>
                    <a:cubicBezTo>
                      <a:pt x="3530" y="79762"/>
                      <a:pt x="3752" y="69442"/>
                      <a:pt x="3921" y="29998"/>
                    </a:cubicBezTo>
                    <a:cubicBezTo>
                      <a:pt x="4101" y="79997"/>
                      <a:pt x="4215" y="106107"/>
                      <a:pt x="4387" y="139996"/>
                    </a:cubicBezTo>
                    <a:cubicBezTo>
                      <a:pt x="4608" y="87218"/>
                      <a:pt x="4643" y="55555"/>
                      <a:pt x="4828" y="0"/>
                    </a:cubicBezTo>
                    <a:cubicBezTo>
                      <a:pt x="5062" y="74443"/>
                      <a:pt x="5187" y="97776"/>
                      <a:pt x="5268" y="146664"/>
                    </a:cubicBezTo>
                    <a:cubicBezTo>
                      <a:pt x="5496" y="88887"/>
                      <a:pt x="5509" y="76665"/>
                      <a:pt x="5759" y="23333"/>
                    </a:cubicBezTo>
                    <a:cubicBezTo>
                      <a:pt x="5960" y="69999"/>
                      <a:pt x="6029" y="77221"/>
                      <a:pt x="6176" y="119998"/>
                    </a:cubicBezTo>
                    <a:cubicBezTo>
                      <a:pt x="6915" y="120553"/>
                      <a:pt x="9270" y="117916"/>
                      <a:pt x="10000" y="119998"/>
                    </a:cubicBezTo>
                  </a:path>
                </a:pathLst>
              </a:custGeom>
              <a:grpFill/>
              <a:ln w="19050">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cxnSp>
            <p:nvCxnSpPr>
              <p:cNvPr id="65" name="Straight Connector 64">
                <a:extLst>
                  <a:ext uri="{FF2B5EF4-FFF2-40B4-BE49-F238E27FC236}">
                    <a16:creationId xmlns:a16="http://schemas.microsoft.com/office/drawing/2014/main" id="{4BE2D877-A11C-4F06-AAD0-D981E42DDB61}"/>
                  </a:ext>
                </a:extLst>
              </p:cNvPr>
              <p:cNvCxnSpPr/>
              <p:nvPr/>
            </p:nvCxnSpPr>
            <p:spPr bwMode="gray">
              <a:xfrm flipV="1">
                <a:off x="10153056" y="1276774"/>
                <a:ext cx="109" cy="39923"/>
              </a:xfrm>
              <a:prstGeom prst="line">
                <a:avLst/>
              </a:prstGeom>
              <a:grpFill/>
              <a:ln w="19050">
                <a:solidFill>
                  <a:schemeClr val="tx1"/>
                </a:solidFill>
                <a:prstDash val="solid"/>
                <a:round/>
                <a:headEnd/>
                <a:tailEnd/>
              </a:ln>
              <a:extLst/>
            </p:spPr>
          </p:cxnSp>
        </p:grpSp>
        <p:sp>
          <p:nvSpPr>
            <p:cNvPr id="60" name="Oval 119">
              <a:extLst>
                <a:ext uri="{FF2B5EF4-FFF2-40B4-BE49-F238E27FC236}">
                  <a16:creationId xmlns:a16="http://schemas.microsoft.com/office/drawing/2014/main" id="{77652525-40EF-4786-AEB8-FC177B44DEC4}"/>
                </a:ext>
              </a:extLst>
            </p:cNvPr>
            <p:cNvSpPr>
              <a:spLocks noChangeAspect="1"/>
            </p:cNvSpPr>
            <p:nvPr/>
          </p:nvSpPr>
          <p:spPr bwMode="gray">
            <a:xfrm>
              <a:off x="6604630" y="3043461"/>
              <a:ext cx="80932" cy="30368"/>
            </a:xfrm>
            <a:prstGeom prst="ellipse">
              <a:avLst/>
            </a:prstGeom>
            <a:grpFill/>
            <a:ln w="19050">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61" name="Oval 119">
              <a:extLst>
                <a:ext uri="{FF2B5EF4-FFF2-40B4-BE49-F238E27FC236}">
                  <a16:creationId xmlns:a16="http://schemas.microsoft.com/office/drawing/2014/main" id="{788EA239-9BDE-4513-9099-8EBE13FB1364}"/>
                </a:ext>
              </a:extLst>
            </p:cNvPr>
            <p:cNvSpPr>
              <a:spLocks noChangeAspect="1"/>
            </p:cNvSpPr>
            <p:nvPr/>
          </p:nvSpPr>
          <p:spPr bwMode="gray">
            <a:xfrm>
              <a:off x="6827621" y="3043461"/>
              <a:ext cx="80932" cy="30368"/>
            </a:xfrm>
            <a:prstGeom prst="ellipse">
              <a:avLst/>
            </a:prstGeom>
            <a:grpFill/>
            <a:ln w="19050">
              <a:solidFill>
                <a:schemeClr val="tx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cxnSp>
          <p:nvCxnSpPr>
            <p:cNvPr id="62" name="Straight Connector 61">
              <a:extLst>
                <a:ext uri="{FF2B5EF4-FFF2-40B4-BE49-F238E27FC236}">
                  <a16:creationId xmlns:a16="http://schemas.microsoft.com/office/drawing/2014/main" id="{309F622A-1A4D-400F-93C6-76C3C9D56958}"/>
                </a:ext>
              </a:extLst>
            </p:cNvPr>
            <p:cNvCxnSpPr>
              <a:cxnSpLocks noChangeAspect="1"/>
            </p:cNvCxnSpPr>
            <p:nvPr/>
          </p:nvCxnSpPr>
          <p:spPr bwMode="gray">
            <a:xfrm>
              <a:off x="6756487" y="3083731"/>
              <a:ext cx="0" cy="114495"/>
            </a:xfrm>
            <a:prstGeom prst="line">
              <a:avLst/>
            </a:prstGeom>
            <a:grpFill/>
            <a:ln w="19050">
              <a:solidFill>
                <a:schemeClr val="tx1"/>
              </a:solidFill>
              <a:prstDash val="solid"/>
              <a:round/>
              <a:headEnd/>
              <a:tailEnd/>
            </a:ln>
            <a:extLst/>
          </p:spPr>
        </p:cxnSp>
      </p:grpSp>
      <p:grpSp>
        <p:nvGrpSpPr>
          <p:cNvPr id="66" name="Group 65">
            <a:extLst>
              <a:ext uri="{FF2B5EF4-FFF2-40B4-BE49-F238E27FC236}">
                <a16:creationId xmlns:a16="http://schemas.microsoft.com/office/drawing/2014/main" id="{E98F7434-8288-4DEF-BF69-5A3299D3D015}"/>
              </a:ext>
            </a:extLst>
          </p:cNvPr>
          <p:cNvGrpSpPr/>
          <p:nvPr/>
        </p:nvGrpSpPr>
        <p:grpSpPr bwMode="gray">
          <a:xfrm>
            <a:off x="10708045" y="2558458"/>
            <a:ext cx="596916" cy="596916"/>
            <a:chOff x="7683267" y="-4177952"/>
            <a:chExt cx="596916" cy="596916"/>
          </a:xfrm>
        </p:grpSpPr>
        <p:sp>
          <p:nvSpPr>
            <p:cNvPr id="67" name="Rechteck 91">
              <a:extLst>
                <a:ext uri="{FF2B5EF4-FFF2-40B4-BE49-F238E27FC236}">
                  <a16:creationId xmlns:a16="http://schemas.microsoft.com/office/drawing/2014/main" id="{6E7142D8-745D-4359-B6E5-F1970EBD468C}"/>
                </a:ext>
              </a:extLst>
            </p:cNvPr>
            <p:cNvSpPr/>
            <p:nvPr/>
          </p:nvSpPr>
          <p:spPr bwMode="gray">
            <a:xfrm>
              <a:off x="7683267" y="-4177952"/>
              <a:ext cx="596916" cy="596916"/>
            </a:xfrm>
            <a:prstGeom prst="ellipse">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90000"/>
                </a:lnSpc>
                <a:spcBef>
                  <a:spcPts val="1100"/>
                </a:spcBef>
                <a:spcAft>
                  <a:spcPts val="0"/>
                </a:spcAft>
                <a:buClr>
                  <a:srgbClr val="002897"/>
                </a:buClr>
                <a:buSzPct val="70000"/>
                <a:buFontTx/>
                <a:buNone/>
                <a:tabLst/>
                <a:defRPr/>
              </a:pPr>
              <a:endParaRPr kumimoji="0" lang="en-US" sz="1000" b="1"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68" name="Rectangle 2">
              <a:extLst>
                <a:ext uri="{FF2B5EF4-FFF2-40B4-BE49-F238E27FC236}">
                  <a16:creationId xmlns:a16="http://schemas.microsoft.com/office/drawing/2014/main" id="{F9FC7E77-006B-49E9-BEA5-1602FBEB870D}"/>
                </a:ext>
              </a:extLst>
            </p:cNvPr>
            <p:cNvSpPr/>
            <p:nvPr/>
          </p:nvSpPr>
          <p:spPr bwMode="gray">
            <a:xfrm rot="10800000" flipH="1">
              <a:off x="7762510" y="-4003682"/>
              <a:ext cx="438432" cy="248375"/>
            </a:xfrm>
            <a:custGeom>
              <a:avLst/>
              <a:gdLst/>
              <a:ahLst/>
              <a:cxnLst/>
              <a:rect l="l" t="t" r="r" b="b"/>
              <a:pathLst>
                <a:path w="420238" h="218437">
                  <a:moveTo>
                    <a:pt x="0" y="218437"/>
                  </a:moveTo>
                  <a:lnTo>
                    <a:pt x="420238" y="218437"/>
                  </a:lnTo>
                  <a:lnTo>
                    <a:pt x="420238" y="0"/>
                  </a:lnTo>
                  <a:lnTo>
                    <a:pt x="0" y="0"/>
                  </a:lnTo>
                  <a:lnTo>
                    <a:pt x="0" y="49819"/>
                  </a:lnTo>
                  <a:lnTo>
                    <a:pt x="360926" y="49819"/>
                  </a:lnTo>
                  <a:lnTo>
                    <a:pt x="360926" y="168619"/>
                  </a:lnTo>
                  <a:lnTo>
                    <a:pt x="0" y="168619"/>
                  </a:lnTo>
                  <a:close/>
                </a:path>
              </a:pathLst>
            </a:custGeom>
            <a:solidFill>
              <a:schemeClr val="bg1"/>
            </a:solidFill>
            <a:ln w="19050">
              <a:solidFill>
                <a:schemeClr val="tx1"/>
              </a:solidFill>
              <a:prstDash val="sysDash"/>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BBvoice"/>
                <a:ea typeface="ABBvoice"/>
                <a:cs typeface="ABBvoice"/>
              </a:endParaRPr>
            </a:p>
          </p:txBody>
        </p:sp>
      </p:grpSp>
      <p:graphicFrame>
        <p:nvGraphicFramePr>
          <p:cNvPr id="69" name="Diagram 68">
            <a:extLst>
              <a:ext uri="{FF2B5EF4-FFF2-40B4-BE49-F238E27FC236}">
                <a16:creationId xmlns:a16="http://schemas.microsoft.com/office/drawing/2014/main" id="{AFF5BA09-63B9-41B2-B46A-7E9B25C7488B}"/>
              </a:ext>
            </a:extLst>
          </p:cNvPr>
          <p:cNvGraphicFramePr/>
          <p:nvPr>
            <p:extLst/>
          </p:nvPr>
        </p:nvGraphicFramePr>
        <p:xfrm>
          <a:off x="353024" y="1911094"/>
          <a:ext cx="11499338" cy="4628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7" name="Content Placeholder 7">
            <a:extLst>
              <a:ext uri="{FF2B5EF4-FFF2-40B4-BE49-F238E27FC236}">
                <a16:creationId xmlns:a16="http://schemas.microsoft.com/office/drawing/2014/main" id="{856A669F-06E5-4E4D-A445-02AEA9CB75F8}"/>
              </a:ext>
            </a:extLst>
          </p:cNvPr>
          <p:cNvGraphicFramePr>
            <a:graphicFrameLocks noGrp="1"/>
          </p:cNvGraphicFramePr>
          <p:nvPr>
            <p:ph sz="quarter" idx="21"/>
            <p:extLst>
              <p:ext uri="{D42A27DB-BD31-4B8C-83A1-F6EECF244321}">
                <p14:modId xmlns:p14="http://schemas.microsoft.com/office/powerpoint/2010/main" val="1106282548"/>
              </p:ext>
            </p:extLst>
          </p:nvPr>
        </p:nvGraphicFramePr>
        <p:xfrm>
          <a:off x="331788" y="3245742"/>
          <a:ext cx="1645784" cy="2800320"/>
        </p:xfrm>
        <a:graphic>
          <a:graphicData uri="http://schemas.openxmlformats.org/drawingml/2006/table">
            <a:tbl>
              <a:tblPr firstRow="1" bandRow="1">
                <a:tableStyleId>{073A0DAA-6AF3-43AB-8588-CEC1D06C72B9}</a:tableStyleId>
              </a:tblPr>
              <a:tblGrid>
                <a:gridCol w="1645784">
                  <a:extLst>
                    <a:ext uri="{9D8B030D-6E8A-4147-A177-3AD203B41FA5}">
                      <a16:colId xmlns:a16="http://schemas.microsoft.com/office/drawing/2014/main" val="3994925397"/>
                    </a:ext>
                  </a:extLst>
                </a:gridCol>
              </a:tblGrid>
              <a:tr h="370840">
                <a:tc>
                  <a:txBody>
                    <a:bodyPr/>
                    <a:lstStyle/>
                    <a:p>
                      <a:pPr algn="ctr"/>
                      <a:r>
                        <a:rPr lang="en-US" sz="2000" noProof="0">
                          <a:solidFill>
                            <a:schemeClr val="tx2"/>
                          </a:solidFill>
                        </a:rPr>
                        <a:t>Caldos</a:t>
                      </a:r>
                    </a:p>
                  </a:txBody>
                  <a:tcPr marL="0" marR="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75136990"/>
                  </a:ext>
                </a:extLst>
              </a:tr>
              <a:tr h="756000">
                <a:tc>
                  <a:txBody>
                    <a:bodyPr/>
                    <a:lstStyle/>
                    <a:p>
                      <a:pPr algn="ctr"/>
                      <a:r>
                        <a:rPr lang="en-US" sz="1400" noProof="0">
                          <a:solidFill>
                            <a:schemeClr val="tx1"/>
                          </a:solidFill>
                        </a:rPr>
                        <a:t>Thermal Conductivity</a:t>
                      </a:r>
                    </a:p>
                  </a:txBody>
                  <a:tcPr marL="0" marR="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7219835"/>
                  </a:ext>
                </a:extLst>
              </a:tr>
              <a:tr h="370840">
                <a:tc>
                  <a:txBody>
                    <a:bodyPr/>
                    <a:lstStyle/>
                    <a:p>
                      <a:pPr algn="ctr"/>
                      <a:r>
                        <a:rPr lang="en-US" sz="1200" noProof="0" dirty="0">
                          <a:solidFill>
                            <a:schemeClr val="tx1"/>
                          </a:solidFill>
                        </a:rPr>
                        <a:t>First CO</a:t>
                      </a:r>
                      <a:r>
                        <a:rPr lang="en-US" sz="1200" baseline="-25000" noProof="0" dirty="0">
                          <a:solidFill>
                            <a:schemeClr val="tx1"/>
                          </a:solidFill>
                        </a:rPr>
                        <a:t>2</a:t>
                      </a:r>
                      <a:r>
                        <a:rPr lang="en-US" sz="1200" noProof="0" dirty="0">
                          <a:solidFill>
                            <a:schemeClr val="tx1"/>
                          </a:solidFill>
                        </a:rPr>
                        <a:t> analyzer</a:t>
                      </a:r>
                    </a:p>
                    <a:p>
                      <a:pPr algn="ctr"/>
                      <a:r>
                        <a:rPr lang="en-US" sz="1200" noProof="0" dirty="0">
                          <a:solidFill>
                            <a:schemeClr val="tx1"/>
                          </a:solidFill>
                        </a:rPr>
                        <a:t>for combustion processes</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42754594"/>
                  </a:ext>
                </a:extLst>
              </a:tr>
              <a:tr h="504000">
                <a:tc>
                  <a:txBody>
                    <a:bodyPr/>
                    <a:lstStyle/>
                    <a:p>
                      <a:pPr algn="ctr"/>
                      <a:r>
                        <a:rPr lang="en-US" sz="1200" noProof="0">
                          <a:solidFill>
                            <a:schemeClr val="tx1"/>
                          </a:solidFill>
                        </a:rPr>
                        <a:t>H</a:t>
                      </a:r>
                      <a:r>
                        <a:rPr lang="en-US" sz="1200" kern="1200" baseline="-25000" noProof="0">
                          <a:solidFill>
                            <a:schemeClr val="tx1"/>
                          </a:solidFill>
                          <a:latin typeface="+mn-lt"/>
                          <a:ea typeface="+mn-ea"/>
                          <a:cs typeface="+mn-cs"/>
                        </a:rPr>
                        <a:t>2</a:t>
                      </a:r>
                      <a:r>
                        <a:rPr lang="en-US" sz="1200" noProof="0">
                          <a:solidFill>
                            <a:schemeClr val="tx1"/>
                          </a:solidFill>
                        </a:rPr>
                        <a:t>, He, Ar, N</a:t>
                      </a:r>
                      <a:r>
                        <a:rPr lang="en-US" sz="1200" kern="1200" baseline="-25000" noProof="0">
                          <a:solidFill>
                            <a:schemeClr val="tx1"/>
                          </a:solidFill>
                          <a:latin typeface="+mn-lt"/>
                          <a:ea typeface="+mn-ea"/>
                          <a:cs typeface="+mn-cs"/>
                        </a:rPr>
                        <a:t>2</a:t>
                      </a:r>
                      <a:r>
                        <a:rPr lang="en-US" sz="1200" noProof="0">
                          <a:solidFill>
                            <a:schemeClr val="tx1"/>
                          </a:solidFill>
                        </a:rPr>
                        <a:t>, …</a:t>
                      </a:r>
                      <a:endParaRPr lang="en-US" sz="1200" kern="1200" baseline="-25000" noProof="0">
                        <a:solidFill>
                          <a:schemeClr val="tx1"/>
                        </a:solidFill>
                        <a:latin typeface="+mn-lt"/>
                        <a:ea typeface="+mn-ea"/>
                        <a:cs typeface="+mn-cs"/>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942772"/>
                  </a:ext>
                </a:extLst>
              </a:tr>
              <a:tr h="504000">
                <a:tc>
                  <a:txBody>
                    <a:bodyPr/>
                    <a:lstStyle/>
                    <a:p>
                      <a:pPr algn="ctr"/>
                      <a:r>
                        <a:rPr lang="en-US" sz="1400" b="1" kern="1200" baseline="0" noProof="0" dirty="0">
                          <a:solidFill>
                            <a:schemeClr val="tx1"/>
                          </a:solidFill>
                          <a:latin typeface="+mn-lt"/>
                          <a:ea typeface="+mn-ea"/>
                          <a:cs typeface="+mn-cs"/>
                        </a:rPr>
                        <a:t>Caldos25/27</a:t>
                      </a:r>
                    </a:p>
                  </a:txBody>
                  <a:tcPr marL="45720" marR="4572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42073299"/>
                  </a:ext>
                </a:extLst>
              </a:tr>
            </a:tbl>
          </a:graphicData>
        </a:graphic>
      </p:graphicFrame>
      <p:sp>
        <p:nvSpPr>
          <p:cNvPr id="80" name="Text Placeholder 7">
            <a:extLst>
              <a:ext uri="{FF2B5EF4-FFF2-40B4-BE49-F238E27FC236}">
                <a16:creationId xmlns:a16="http://schemas.microsoft.com/office/drawing/2014/main" id="{ABEF6DB7-AB34-4982-B5D1-7A681FDBC758}"/>
              </a:ext>
            </a:extLst>
          </p:cNvPr>
          <p:cNvSpPr txBox="1">
            <a:spLocks/>
          </p:cNvSpPr>
          <p:nvPr/>
        </p:nvSpPr>
        <p:spPr>
          <a:xfrm>
            <a:off x="332362" y="5454454"/>
            <a:ext cx="11520000" cy="460375"/>
          </a:xfrm>
          <a:prstGeom prst="rect">
            <a:avLst/>
          </a:prstGeom>
          <a:solidFill>
            <a:schemeClr val="accent3"/>
          </a:solidFill>
        </p:spPr>
        <p:txBody>
          <a:bodyPr vert="horz" lIns="0" tIns="0" rIns="0" bIns="0" rtlCol="0" anchor="ctr">
            <a:noAutofit/>
          </a:bodyPr>
          <a:lstStyle>
            <a:lvl1pPr indent="0" algn="ctr" defTabSz="914491">
              <a:spcBef>
                <a:spcPts val="0"/>
              </a:spcBef>
              <a:buFont typeface="Arial" panose="020B0604020202020204" pitchFamily="34" charset="0"/>
              <a:buNone/>
              <a:defRPr b="1">
                <a:solidFill>
                  <a:schemeClr val="bg1"/>
                </a:solidFill>
              </a:defRPr>
            </a:lvl1pPr>
            <a:lvl2pPr marL="0" indent="0" algn="ctr" defTabSz="914491">
              <a:spcBef>
                <a:spcPts val="0"/>
              </a:spcBef>
              <a:buFont typeface="ABBvoiceOffice" panose="020D0603020503020204" pitchFamily="34" charset="0"/>
              <a:buNone/>
              <a:defRPr b="1">
                <a:solidFill>
                  <a:schemeClr val="bg1"/>
                </a:solidFill>
              </a:defRPr>
            </a:lvl2pPr>
            <a:lvl3pPr marL="0" indent="0" algn="ctr" defTabSz="914491">
              <a:spcBef>
                <a:spcPts val="0"/>
              </a:spcBef>
              <a:buFont typeface="Arial" panose="020B0604020202020204" pitchFamily="34" charset="0"/>
              <a:buNone/>
              <a:defRPr b="1">
                <a:solidFill>
                  <a:schemeClr val="bg1"/>
                </a:solidFill>
              </a:defRPr>
            </a:lvl3pPr>
            <a:lvl4pPr marL="0" indent="0" algn="ctr" defTabSz="914491">
              <a:spcBef>
                <a:spcPts val="0"/>
              </a:spcBef>
              <a:buFont typeface="Arial" panose="020B0604020202020204" pitchFamily="34" charset="0"/>
              <a:buNone/>
              <a:defRPr b="1">
                <a:solidFill>
                  <a:schemeClr val="bg1"/>
                </a:solidFill>
              </a:defRPr>
            </a:lvl4pPr>
            <a:lvl5pPr marL="0" indent="0" algn="ctr" defTabSz="914491">
              <a:spcBef>
                <a:spcPts val="0"/>
              </a:spcBef>
              <a:buFont typeface="Arial" panose="020B0604020202020204" pitchFamily="34" charset="0"/>
              <a:buNone/>
              <a:defRPr b="1">
                <a:solidFill>
                  <a:schemeClr val="bg1"/>
                </a:solidFill>
              </a:defRPr>
            </a:lvl5pPr>
            <a:lvl6pPr marL="0" indent="0" algn="ctr" defTabSz="914491">
              <a:spcBef>
                <a:spcPts val="0"/>
              </a:spcBef>
              <a:buFont typeface="Arial" panose="020B0604020202020204" pitchFamily="34" charset="0"/>
              <a:buNone/>
              <a:defRPr sz="1600" b="1">
                <a:solidFill>
                  <a:schemeClr val="bg1"/>
                </a:solidFill>
              </a:defRPr>
            </a:lvl6pPr>
            <a:lvl7pPr marL="0" indent="0" algn="ctr" defTabSz="914491">
              <a:spcBef>
                <a:spcPts val="0"/>
              </a:spcBef>
              <a:buFont typeface="Arial" panose="020B0604020202020204" pitchFamily="34" charset="0"/>
              <a:buNone/>
              <a:defRPr sz="1600" b="1">
                <a:solidFill>
                  <a:schemeClr val="bg1"/>
                </a:solidFill>
              </a:defRPr>
            </a:lvl7pPr>
            <a:lvl8pPr marL="0" indent="0" algn="ctr" defTabSz="914491">
              <a:spcBef>
                <a:spcPts val="0"/>
              </a:spcBef>
              <a:buFont typeface="Arial" panose="020B0604020202020204" pitchFamily="34" charset="0"/>
              <a:buNone/>
              <a:defRPr sz="1600" b="1">
                <a:solidFill>
                  <a:schemeClr val="bg1"/>
                </a:solidFill>
              </a:defRPr>
            </a:lvl8pPr>
            <a:lvl9pPr marL="0" indent="0" algn="ctr" defTabSz="914491">
              <a:spcBef>
                <a:spcPts val="0"/>
              </a:spcBef>
              <a:buFont typeface="Arial" panose="020B0604020202020204" pitchFamily="34" charset="0"/>
              <a:buNone/>
              <a:defRPr sz="1600" b="1">
                <a:solidFill>
                  <a:schemeClr val="bg1"/>
                </a:solidFill>
              </a:defRPr>
            </a:lvl9pPr>
          </a:lstStyle>
          <a:p>
            <a:pPr marL="0" marR="0" lvl="0" indent="0" algn="ctr" defTabSz="914491"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rgbClr val="FFFFFF"/>
                </a:solidFill>
                <a:effectLst/>
                <a:uLnTx/>
                <a:uFillTx/>
                <a:latin typeface="ABBvoice"/>
                <a:ea typeface="ABBvoice"/>
                <a:cs typeface="ABBvoice"/>
              </a:rPr>
              <a:t>A solid foundation for all our continuous gas analyzers</a:t>
            </a:r>
          </a:p>
        </p:txBody>
      </p:sp>
      <p:grpSp>
        <p:nvGrpSpPr>
          <p:cNvPr id="70" name="Group 69">
            <a:extLst>
              <a:ext uri="{FF2B5EF4-FFF2-40B4-BE49-F238E27FC236}">
                <a16:creationId xmlns:a16="http://schemas.microsoft.com/office/drawing/2014/main" id="{A369A2B0-567E-4DD5-B60E-D63F4ADE2837}"/>
              </a:ext>
            </a:extLst>
          </p:cNvPr>
          <p:cNvGrpSpPr/>
          <p:nvPr/>
        </p:nvGrpSpPr>
        <p:grpSpPr>
          <a:xfrm>
            <a:off x="9294624" y="608547"/>
            <a:ext cx="2661156" cy="671613"/>
            <a:chOff x="9294624" y="608547"/>
            <a:chExt cx="2661156" cy="671613"/>
          </a:xfrm>
        </p:grpSpPr>
        <p:sp>
          <p:nvSpPr>
            <p:cNvPr id="2" name="Action Button: Get Information 1">
              <a:hlinkClick r:id="rId8" action="ppaction://hlinksldjump" highlightClick="1"/>
              <a:extLst>
                <a:ext uri="{FF2B5EF4-FFF2-40B4-BE49-F238E27FC236}">
                  <a16:creationId xmlns:a16="http://schemas.microsoft.com/office/drawing/2014/main" id="{C03BFDFA-209B-441C-99E7-640C1654F0C0}"/>
                </a:ext>
              </a:extLst>
            </p:cNvPr>
            <p:cNvSpPr/>
            <p:nvPr/>
          </p:nvSpPr>
          <p:spPr bwMode="gray">
            <a:xfrm>
              <a:off x="11304960" y="692150"/>
              <a:ext cx="547401" cy="476531"/>
            </a:xfrm>
            <a:prstGeom prst="actionButtonInformati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8" name="TextBox 7">
              <a:extLst>
                <a:ext uri="{FF2B5EF4-FFF2-40B4-BE49-F238E27FC236}">
                  <a16:creationId xmlns:a16="http://schemas.microsoft.com/office/drawing/2014/main" id="{7B328C36-2798-4947-926F-E29EAFD4BA84}"/>
                </a:ext>
              </a:extLst>
            </p:cNvPr>
            <p:cNvSpPr txBox="1"/>
            <p:nvPr/>
          </p:nvSpPr>
          <p:spPr bwMode="gray">
            <a:xfrm>
              <a:off x="9294624" y="642837"/>
              <a:ext cx="1965411" cy="551575"/>
            </a:xfrm>
            <a:prstGeom prst="rect">
              <a:avLst/>
            </a:prstGeom>
            <a:noFill/>
          </p:spPr>
          <p:txBody>
            <a:bodyPr wrap="square" lIns="72000" tIns="72000" rIns="72000" bIns="7200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90000"/>
                  </a:solidFill>
                  <a:effectLst/>
                  <a:uLnTx/>
                  <a:uFillTx/>
                  <a:latin typeface="ABBvoice"/>
                  <a:ea typeface="ABBvoice"/>
                  <a:cs typeface="ABBvoice"/>
                </a:rPr>
                <a:t>Click for more info</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90000"/>
                  </a:solidFill>
                  <a:effectLst/>
                  <a:uLnTx/>
                  <a:uFillTx/>
                  <a:latin typeface="ABBvoice"/>
                  <a:ea typeface="ABBvoice"/>
                  <a:cs typeface="ABBvoice"/>
                </a:rPr>
                <a:t>on analyzer modules</a:t>
              </a:r>
            </a:p>
          </p:txBody>
        </p:sp>
        <p:sp>
          <p:nvSpPr>
            <p:cNvPr id="9" name="Rectangle 8">
              <a:extLst>
                <a:ext uri="{FF2B5EF4-FFF2-40B4-BE49-F238E27FC236}">
                  <a16:creationId xmlns:a16="http://schemas.microsoft.com/office/drawing/2014/main" id="{2D5F27AE-D771-43B9-BDC9-C16DE5B523A9}"/>
                </a:ext>
              </a:extLst>
            </p:cNvPr>
            <p:cNvSpPr/>
            <p:nvPr/>
          </p:nvSpPr>
          <p:spPr bwMode="gray">
            <a:xfrm>
              <a:off x="9294624" y="608547"/>
              <a:ext cx="2661156" cy="6716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spTree>
    <p:custDataLst>
      <p:tags r:id="rId1"/>
    </p:custDataLst>
    <p:extLst>
      <p:ext uri="{BB962C8B-B14F-4D97-AF65-F5344CB8AC3E}">
        <p14:creationId xmlns:p14="http://schemas.microsoft.com/office/powerpoint/2010/main" val="54001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1" nodeType="with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wipe(left)">
                                      <p:cBhvr>
                                        <p:cTn id="7" dur="500"/>
                                        <p:tgtEl>
                                          <p:spTgt spid="69"/>
                                        </p:tgtEl>
                                      </p:cBhvr>
                                    </p:animEffect>
                                  </p:childTnLst>
                                </p:cTn>
                              </p:par>
                            </p:childTnLst>
                          </p:cTn>
                        </p:par>
                        <p:par>
                          <p:cTn id="8" fill="hold">
                            <p:stCondLst>
                              <p:cond delay="500"/>
                            </p:stCondLst>
                            <p:childTnLst>
                              <p:par>
                                <p:cTn id="9" presetID="1" presetClass="entr" presetSubtype="0" fill="hold" nodeType="afterEffect">
                                  <p:stCondLst>
                                    <p:cond delay="50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500"/>
                                  </p:stCondLst>
                                  <p:childTnLst>
                                    <p:set>
                                      <p:cBhvr>
                                        <p:cTn id="12" dur="1" fill="hold">
                                          <p:stCondLst>
                                            <p:cond delay="0"/>
                                          </p:stCondLst>
                                        </p:cTn>
                                        <p:tgtEl>
                                          <p:spTgt spid="7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7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76"/>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grpId="0" nodeType="clickEffect">
                                  <p:stCondLst>
                                    <p:cond delay="0"/>
                                  </p:stCondLst>
                                  <p:childTnLst>
                                    <p:set>
                                      <p:cBhvr>
                                        <p:cTn id="52" dur="1" fill="hold">
                                          <p:stCondLst>
                                            <p:cond delay="0"/>
                                          </p:stCondLst>
                                        </p:cTn>
                                        <p:tgtEl>
                                          <p:spTgt spid="69"/>
                                        </p:tgtEl>
                                        <p:attrNameLst>
                                          <p:attrName>style.visibility</p:attrName>
                                        </p:attrNameLst>
                                      </p:cBhvr>
                                      <p:to>
                                        <p:strVal val="hidden"/>
                                      </p:to>
                                    </p:set>
                                  </p:childTnLst>
                                </p:cTn>
                              </p:par>
                            </p:childTnLst>
                          </p:cTn>
                        </p:par>
                        <p:par>
                          <p:cTn id="53" fill="hold">
                            <p:stCondLst>
                              <p:cond delay="0"/>
                            </p:stCondLst>
                            <p:childTnLst>
                              <p:par>
                                <p:cTn id="54" presetID="0" presetClass="path" presetSubtype="0" accel="50000" decel="50000" fill="hold" nodeType="afterEffect">
                                  <p:stCondLst>
                                    <p:cond delay="0"/>
                                  </p:stCondLst>
                                  <p:childTnLst>
                                    <p:animMotion origin="layout" path="M 0 0 L 0 -0.07662 " pathEditMode="relative" ptsTypes="AA">
                                      <p:cBhvr>
                                        <p:cTn id="55" dur="1000" fill="hold"/>
                                        <p:tgtEl>
                                          <p:spTgt spid="10"/>
                                        </p:tgtEl>
                                        <p:attrNameLst>
                                          <p:attrName>ppt_x</p:attrName>
                                          <p:attrName>ppt_y</p:attrName>
                                        </p:attrNameLst>
                                      </p:cBhvr>
                                    </p:animMotion>
                                  </p:childTnLst>
                                </p:cTn>
                              </p:par>
                              <p:par>
                                <p:cTn id="56" presetID="0" presetClass="path" presetSubtype="0" accel="50000" decel="50000" fill="hold" nodeType="withEffect">
                                  <p:stCondLst>
                                    <p:cond delay="0"/>
                                  </p:stCondLst>
                                  <p:childTnLst>
                                    <p:animMotion origin="layout" path="M 0 0 L 0 -0.07662 " pathEditMode="relative" ptsTypes="AA">
                                      <p:cBhvr>
                                        <p:cTn id="57" dur="1000" fill="hold"/>
                                        <p:tgtEl>
                                          <p:spTgt spid="77"/>
                                        </p:tgtEl>
                                        <p:attrNameLst>
                                          <p:attrName>ppt_x</p:attrName>
                                          <p:attrName>ppt_y</p:attrName>
                                        </p:attrNameLst>
                                      </p:cBhvr>
                                    </p:animMotion>
                                  </p:childTnLst>
                                </p:cTn>
                              </p:par>
                              <p:par>
                                <p:cTn id="58" presetID="0" presetClass="path" presetSubtype="0" accel="50000" decel="50000" fill="hold" nodeType="withEffect">
                                  <p:stCondLst>
                                    <p:cond delay="0"/>
                                  </p:stCondLst>
                                  <p:childTnLst>
                                    <p:animMotion origin="layout" path="M 0 0 L 0 -0.07662 " pathEditMode="relative" ptsTypes="AA">
                                      <p:cBhvr>
                                        <p:cTn id="59" dur="1000" fill="hold"/>
                                        <p:tgtEl>
                                          <p:spTgt spid="13"/>
                                        </p:tgtEl>
                                        <p:attrNameLst>
                                          <p:attrName>ppt_x</p:attrName>
                                          <p:attrName>ppt_y</p:attrName>
                                        </p:attrNameLst>
                                      </p:cBhvr>
                                    </p:animMotion>
                                  </p:childTnLst>
                                </p:cTn>
                              </p:par>
                              <p:par>
                                <p:cTn id="60" presetID="0" presetClass="path" presetSubtype="0" accel="50000" decel="50000" fill="hold" nodeType="withEffect">
                                  <p:stCondLst>
                                    <p:cond delay="0"/>
                                  </p:stCondLst>
                                  <p:childTnLst>
                                    <p:animMotion origin="layout" path="M 0 0 L 0 -0.07662 " pathEditMode="relative" ptsTypes="AA">
                                      <p:cBhvr>
                                        <p:cTn id="61" dur="1000" fill="hold"/>
                                        <p:tgtEl>
                                          <p:spTgt spid="71"/>
                                        </p:tgtEl>
                                        <p:attrNameLst>
                                          <p:attrName>ppt_x</p:attrName>
                                          <p:attrName>ppt_y</p:attrName>
                                        </p:attrNameLst>
                                      </p:cBhvr>
                                    </p:animMotion>
                                  </p:childTnLst>
                                </p:cTn>
                              </p:par>
                              <p:par>
                                <p:cTn id="62" presetID="0" presetClass="path" presetSubtype="0" accel="50000" decel="50000" fill="hold" nodeType="withEffect">
                                  <p:stCondLst>
                                    <p:cond delay="0"/>
                                  </p:stCondLst>
                                  <p:childTnLst>
                                    <p:animMotion origin="layout" path="M 0 0 L 0 -0.07662 " pathEditMode="relative" ptsTypes="AA">
                                      <p:cBhvr>
                                        <p:cTn id="63" dur="1000" fill="hold"/>
                                        <p:tgtEl>
                                          <p:spTgt spid="26"/>
                                        </p:tgtEl>
                                        <p:attrNameLst>
                                          <p:attrName>ppt_x</p:attrName>
                                          <p:attrName>ppt_y</p:attrName>
                                        </p:attrNameLst>
                                      </p:cBhvr>
                                    </p:animMotion>
                                  </p:childTnLst>
                                </p:cTn>
                              </p:par>
                              <p:par>
                                <p:cTn id="64" presetID="0" presetClass="path" presetSubtype="0" accel="50000" decel="50000" fill="hold" nodeType="withEffect">
                                  <p:stCondLst>
                                    <p:cond delay="0"/>
                                  </p:stCondLst>
                                  <p:childTnLst>
                                    <p:animMotion origin="layout" path="M 0 0 L 0 -0.07662 " pathEditMode="relative" ptsTypes="AA">
                                      <p:cBhvr>
                                        <p:cTn id="65" dur="1000" fill="hold"/>
                                        <p:tgtEl>
                                          <p:spTgt spid="72"/>
                                        </p:tgtEl>
                                        <p:attrNameLst>
                                          <p:attrName>ppt_x</p:attrName>
                                          <p:attrName>ppt_y</p:attrName>
                                        </p:attrNameLst>
                                      </p:cBhvr>
                                    </p:animMotion>
                                  </p:childTnLst>
                                </p:cTn>
                              </p:par>
                              <p:par>
                                <p:cTn id="66" presetID="0" presetClass="path" presetSubtype="0" accel="50000" decel="50000" fill="hold" nodeType="withEffect">
                                  <p:stCondLst>
                                    <p:cond delay="0"/>
                                  </p:stCondLst>
                                  <p:childTnLst>
                                    <p:animMotion origin="layout" path="M 0 0 L 0 -0.07662 " pathEditMode="relative" ptsTypes="AA">
                                      <p:cBhvr>
                                        <p:cTn id="67" dur="1000" fill="hold"/>
                                        <p:tgtEl>
                                          <p:spTgt spid="33"/>
                                        </p:tgtEl>
                                        <p:attrNameLst>
                                          <p:attrName>ppt_x</p:attrName>
                                          <p:attrName>ppt_y</p:attrName>
                                        </p:attrNameLst>
                                      </p:cBhvr>
                                    </p:animMotion>
                                  </p:childTnLst>
                                </p:cTn>
                              </p:par>
                              <p:par>
                                <p:cTn id="68" presetID="0" presetClass="path" presetSubtype="0" accel="50000" decel="50000" fill="hold" nodeType="withEffect">
                                  <p:stCondLst>
                                    <p:cond delay="0"/>
                                  </p:stCondLst>
                                  <p:childTnLst>
                                    <p:animMotion origin="layout" path="M 1.45833E-6 -4.44444E-6 L 1.45833E-6 -0.07662 " pathEditMode="relative" rAng="0" ptsTypes="AA">
                                      <p:cBhvr>
                                        <p:cTn id="69" dur="1000" fill="hold"/>
                                        <p:tgtEl>
                                          <p:spTgt spid="73"/>
                                        </p:tgtEl>
                                        <p:attrNameLst>
                                          <p:attrName>ppt_x</p:attrName>
                                          <p:attrName>ppt_y</p:attrName>
                                        </p:attrNameLst>
                                      </p:cBhvr>
                                      <p:rCtr x="0" y="-3843"/>
                                    </p:animMotion>
                                  </p:childTnLst>
                                </p:cTn>
                              </p:par>
                              <p:par>
                                <p:cTn id="70" presetID="0" presetClass="path" presetSubtype="0" accel="50000" decel="50000" fill="hold" nodeType="withEffect">
                                  <p:stCondLst>
                                    <p:cond delay="0"/>
                                  </p:stCondLst>
                                  <p:childTnLst>
                                    <p:animMotion origin="layout" path="M 0 0 L 0 -0.07662 " pathEditMode="relative" ptsTypes="AA">
                                      <p:cBhvr>
                                        <p:cTn id="71" dur="1000" fill="hold"/>
                                        <p:tgtEl>
                                          <p:spTgt spid="39"/>
                                        </p:tgtEl>
                                        <p:attrNameLst>
                                          <p:attrName>ppt_x</p:attrName>
                                          <p:attrName>ppt_y</p:attrName>
                                        </p:attrNameLst>
                                      </p:cBhvr>
                                    </p:animMotion>
                                  </p:childTnLst>
                                </p:cTn>
                              </p:par>
                              <p:par>
                                <p:cTn id="72" presetID="0" presetClass="path" presetSubtype="0" accel="50000" decel="50000" fill="hold" nodeType="withEffect">
                                  <p:stCondLst>
                                    <p:cond delay="0"/>
                                  </p:stCondLst>
                                  <p:childTnLst>
                                    <p:animMotion origin="layout" path="M 0 0 L 0 -0.07662 " pathEditMode="relative" ptsTypes="AA">
                                      <p:cBhvr>
                                        <p:cTn id="73" dur="1000" fill="hold"/>
                                        <p:tgtEl>
                                          <p:spTgt spid="74"/>
                                        </p:tgtEl>
                                        <p:attrNameLst>
                                          <p:attrName>ppt_x</p:attrName>
                                          <p:attrName>ppt_y</p:attrName>
                                        </p:attrNameLst>
                                      </p:cBhvr>
                                    </p:animMotion>
                                  </p:childTnLst>
                                </p:cTn>
                              </p:par>
                              <p:par>
                                <p:cTn id="74" presetID="0" presetClass="path" presetSubtype="0" accel="50000" decel="50000" fill="hold" nodeType="withEffect">
                                  <p:stCondLst>
                                    <p:cond delay="0"/>
                                  </p:stCondLst>
                                  <p:childTnLst>
                                    <p:animMotion origin="layout" path="M 0 0 L 0 -0.07662 " pathEditMode="relative" ptsTypes="AA">
                                      <p:cBhvr>
                                        <p:cTn id="75" dur="1000" fill="hold"/>
                                        <p:tgtEl>
                                          <p:spTgt spid="53"/>
                                        </p:tgtEl>
                                        <p:attrNameLst>
                                          <p:attrName>ppt_x</p:attrName>
                                          <p:attrName>ppt_y</p:attrName>
                                        </p:attrNameLst>
                                      </p:cBhvr>
                                    </p:animMotion>
                                  </p:childTnLst>
                                </p:cTn>
                              </p:par>
                              <p:par>
                                <p:cTn id="76" presetID="0" presetClass="path" presetSubtype="0" accel="50000" decel="50000" fill="hold" nodeType="withEffect">
                                  <p:stCondLst>
                                    <p:cond delay="0"/>
                                  </p:stCondLst>
                                  <p:childTnLst>
                                    <p:animMotion origin="layout" path="M 0 0 L 0 -0.07662 " pathEditMode="relative" ptsTypes="AA">
                                      <p:cBhvr>
                                        <p:cTn id="77" dur="1000" fill="hold"/>
                                        <p:tgtEl>
                                          <p:spTgt spid="75"/>
                                        </p:tgtEl>
                                        <p:attrNameLst>
                                          <p:attrName>ppt_x</p:attrName>
                                          <p:attrName>ppt_y</p:attrName>
                                        </p:attrNameLst>
                                      </p:cBhvr>
                                    </p:animMotion>
                                  </p:childTnLst>
                                </p:cTn>
                              </p:par>
                              <p:par>
                                <p:cTn id="78" presetID="0" presetClass="path" presetSubtype="0" accel="50000" decel="50000" fill="hold" nodeType="withEffect">
                                  <p:stCondLst>
                                    <p:cond delay="0"/>
                                  </p:stCondLst>
                                  <p:childTnLst>
                                    <p:animMotion origin="layout" path="M 0 0 L 0 -0.07662 " pathEditMode="relative" ptsTypes="AA">
                                      <p:cBhvr>
                                        <p:cTn id="79" dur="1000" fill="hold"/>
                                        <p:tgtEl>
                                          <p:spTgt spid="66"/>
                                        </p:tgtEl>
                                        <p:attrNameLst>
                                          <p:attrName>ppt_x</p:attrName>
                                          <p:attrName>ppt_y</p:attrName>
                                        </p:attrNameLst>
                                      </p:cBhvr>
                                    </p:animMotion>
                                  </p:childTnLst>
                                </p:cTn>
                              </p:par>
                              <p:par>
                                <p:cTn id="80" presetID="0" presetClass="path" presetSubtype="0" accel="50000" decel="50000" fill="hold" nodeType="withEffect">
                                  <p:stCondLst>
                                    <p:cond delay="0"/>
                                  </p:stCondLst>
                                  <p:childTnLst>
                                    <p:animMotion origin="layout" path="M 0 0 L 0 -0.07662 " pathEditMode="relative" ptsTypes="AA">
                                      <p:cBhvr>
                                        <p:cTn id="81" dur="1000" fill="hold"/>
                                        <p:tgtEl>
                                          <p:spTgt spid="76"/>
                                        </p:tgtEl>
                                        <p:attrNameLst>
                                          <p:attrName>ppt_x</p:attrName>
                                          <p:attrName>ppt_y</p:attrName>
                                        </p:attrNameLst>
                                      </p:cBhvr>
                                    </p:animMotion>
                                  </p:childTnLst>
                                </p:cTn>
                              </p:par>
                            </p:childTnLst>
                          </p:cTn>
                        </p:par>
                        <p:par>
                          <p:cTn id="82" fill="hold">
                            <p:stCondLst>
                              <p:cond delay="1000"/>
                            </p:stCondLst>
                            <p:childTnLst>
                              <p:par>
                                <p:cTn id="83" presetID="22" presetClass="entr" presetSubtype="8" fill="hold" grpId="0" nodeType="afterEffect">
                                  <p:stCondLst>
                                    <p:cond delay="0"/>
                                  </p:stCondLst>
                                  <p:childTnLst>
                                    <p:set>
                                      <p:cBhvr>
                                        <p:cTn id="84" dur="1" fill="hold">
                                          <p:stCondLst>
                                            <p:cond delay="0"/>
                                          </p:stCondLst>
                                        </p:cTn>
                                        <p:tgtEl>
                                          <p:spTgt spid="80"/>
                                        </p:tgtEl>
                                        <p:attrNameLst>
                                          <p:attrName>style.visibility</p:attrName>
                                        </p:attrNameLst>
                                      </p:cBhvr>
                                      <p:to>
                                        <p:strVal val="visible"/>
                                      </p:to>
                                    </p:set>
                                    <p:animEffect transition="in" filter="wipe(left)">
                                      <p:cBhvr>
                                        <p:cTn id="85" dur="500"/>
                                        <p:tgtEl>
                                          <p:spTgt spid="80"/>
                                        </p:tgtEl>
                                      </p:cBhvr>
                                    </p:animEffect>
                                  </p:childTnLst>
                                </p:cTn>
                              </p:par>
                            </p:childTnLst>
                          </p:cTn>
                        </p:par>
                        <p:par>
                          <p:cTn id="86" fill="hold">
                            <p:stCondLst>
                              <p:cond delay="1500"/>
                            </p:stCondLst>
                            <p:childTnLst>
                              <p:par>
                                <p:cTn id="87" presetID="10" presetClass="entr" presetSubtype="0" fill="hold" nodeType="afterEffect">
                                  <p:stCondLst>
                                    <p:cond delay="500"/>
                                  </p:stCondLst>
                                  <p:childTnLst>
                                    <p:set>
                                      <p:cBhvr>
                                        <p:cTn id="88" dur="1" fill="hold">
                                          <p:stCondLst>
                                            <p:cond delay="0"/>
                                          </p:stCondLst>
                                        </p:cTn>
                                        <p:tgtEl>
                                          <p:spTgt spid="70"/>
                                        </p:tgtEl>
                                        <p:attrNameLst>
                                          <p:attrName>style.visibility</p:attrName>
                                        </p:attrNameLst>
                                      </p:cBhvr>
                                      <p:to>
                                        <p:strVal val="visible"/>
                                      </p:to>
                                    </p:set>
                                    <p:animEffect transition="in" filter="fade">
                                      <p:cBhvr>
                                        <p:cTn id="89"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9" grpId="0">
        <p:bldAsOne/>
      </p:bldGraphic>
      <p:bldGraphic spid="69" grpId="1">
        <p:bldAsOne/>
      </p:bldGraphic>
      <p:bldP spid="80"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56BFA-AAE7-406B-A3B3-2D0226C46E39}"/>
              </a:ext>
            </a:extLst>
          </p:cNvPr>
          <p:cNvSpPr>
            <a:spLocks noGrp="1"/>
          </p:cNvSpPr>
          <p:nvPr>
            <p:ph type="ctrTitle"/>
          </p:nvPr>
        </p:nvSpPr>
        <p:spPr bwMode="gray"/>
        <p:txBody>
          <a:bodyPr/>
          <a:lstStyle/>
          <a:p>
            <a:r>
              <a:rPr lang="de-DE" dirty="0"/>
              <a:t>Large </a:t>
            </a:r>
            <a:r>
              <a:rPr lang="de-DE" dirty="0" err="1"/>
              <a:t>scale</a:t>
            </a:r>
            <a:r>
              <a:rPr lang="de-DE" dirty="0"/>
              <a:t> CO</a:t>
            </a:r>
            <a:r>
              <a:rPr lang="de-DE" baseline="-25000" dirty="0"/>
              <a:t>2</a:t>
            </a:r>
          </a:p>
        </p:txBody>
      </p:sp>
      <p:sp>
        <p:nvSpPr>
          <p:cNvPr id="3" name="Subtitle 2">
            <a:extLst>
              <a:ext uri="{FF2B5EF4-FFF2-40B4-BE49-F238E27FC236}">
                <a16:creationId xmlns:a16="http://schemas.microsoft.com/office/drawing/2014/main" id="{EC5EC8F8-2510-42EC-B66A-48CFC5FDBAD5}"/>
              </a:ext>
            </a:extLst>
          </p:cNvPr>
          <p:cNvSpPr>
            <a:spLocks noGrp="1"/>
          </p:cNvSpPr>
          <p:nvPr>
            <p:ph type="subTitle" idx="1"/>
          </p:nvPr>
        </p:nvSpPr>
        <p:spPr bwMode="gray"/>
        <p:txBody>
          <a:bodyPr/>
          <a:lstStyle/>
          <a:p>
            <a:r>
              <a:rPr lang="en-US" dirty="0"/>
              <a:t>Associated with H</a:t>
            </a:r>
            <a:r>
              <a:rPr lang="en-US" baseline="-25000" dirty="0"/>
              <a:t>2</a:t>
            </a:r>
            <a:r>
              <a:rPr lang="en-US" dirty="0"/>
              <a:t> / syngas / ammonia and breweries</a:t>
            </a:r>
            <a:endParaRPr lang="de-DE" dirty="0"/>
          </a:p>
        </p:txBody>
      </p:sp>
    </p:spTree>
    <p:custDataLst>
      <p:tags r:id="rId1"/>
    </p:custDataLst>
    <p:extLst>
      <p:ext uri="{BB962C8B-B14F-4D97-AF65-F5344CB8AC3E}">
        <p14:creationId xmlns:p14="http://schemas.microsoft.com/office/powerpoint/2010/main" val="1130202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43E5957-0C6A-4B63-BDA3-3235543D26AA}"/>
              </a:ext>
            </a:extLst>
          </p:cNvPr>
          <p:cNvSpPr>
            <a:spLocks noGrp="1"/>
          </p:cNvSpPr>
          <p:nvPr>
            <p:ph type="title"/>
          </p:nvPr>
        </p:nvSpPr>
        <p:spPr bwMode="gray"/>
        <p:txBody>
          <a:bodyPr/>
          <a:lstStyle/>
          <a:p>
            <a:r>
              <a:rPr lang="en-US" dirty="0"/>
              <a:t>CO</a:t>
            </a:r>
            <a:r>
              <a:rPr lang="en-US" baseline="-25000" dirty="0"/>
              <a:t>2</a:t>
            </a:r>
            <a:r>
              <a:rPr lang="en-US" dirty="0"/>
              <a:t> as by-product from large SMRs</a:t>
            </a:r>
          </a:p>
        </p:txBody>
      </p:sp>
      <p:sp>
        <p:nvSpPr>
          <p:cNvPr id="7" name="Subtitle 6">
            <a:extLst>
              <a:ext uri="{FF2B5EF4-FFF2-40B4-BE49-F238E27FC236}">
                <a16:creationId xmlns:a16="http://schemas.microsoft.com/office/drawing/2014/main" id="{B97F189A-7998-4C53-ADC2-AC0488DE44E3}"/>
              </a:ext>
            </a:extLst>
          </p:cNvPr>
          <p:cNvSpPr>
            <a:spLocks noGrp="1"/>
          </p:cNvSpPr>
          <p:nvPr>
            <p:ph type="subTitle" idx="13"/>
          </p:nvPr>
        </p:nvSpPr>
        <p:spPr bwMode="gray"/>
        <p:txBody>
          <a:bodyPr/>
          <a:lstStyle/>
          <a:p>
            <a:r>
              <a:rPr lang="de-DE" dirty="0" err="1"/>
              <a:t>Linked</a:t>
            </a:r>
            <a:r>
              <a:rPr lang="de-DE" dirty="0"/>
              <a:t> </a:t>
            </a:r>
            <a:r>
              <a:rPr lang="de-DE" dirty="0" err="1"/>
              <a:t>to</a:t>
            </a:r>
            <a:r>
              <a:rPr lang="de-DE" dirty="0"/>
              <a:t> </a:t>
            </a:r>
            <a:r>
              <a:rPr lang="de-DE" dirty="0" err="1"/>
              <a:t>refineries</a:t>
            </a:r>
            <a:r>
              <a:rPr lang="de-DE" dirty="0"/>
              <a:t> and </a:t>
            </a:r>
            <a:r>
              <a:rPr lang="de-DE" dirty="0" err="1"/>
              <a:t>ammonia</a:t>
            </a:r>
            <a:r>
              <a:rPr lang="de-DE" dirty="0"/>
              <a:t> </a:t>
            </a:r>
            <a:r>
              <a:rPr lang="de-DE" dirty="0" err="1"/>
              <a:t>production</a:t>
            </a:r>
            <a:endParaRPr lang="en-US" dirty="0"/>
          </a:p>
        </p:txBody>
      </p:sp>
      <p:sp>
        <p:nvSpPr>
          <p:cNvPr id="2" name="Date Placeholder 1">
            <a:extLst>
              <a:ext uri="{FF2B5EF4-FFF2-40B4-BE49-F238E27FC236}">
                <a16:creationId xmlns:a16="http://schemas.microsoft.com/office/drawing/2014/main" id="{4737D793-B2B7-4DF3-B27C-4AA629119468}"/>
              </a:ext>
            </a:extLst>
          </p:cNvPr>
          <p:cNvSpPr>
            <a:spLocks noGrp="1"/>
          </p:cNvSpPr>
          <p:nvPr>
            <p:ph type="dt" sz="half" idx="14"/>
          </p:nvPr>
        </p:nvSpPr>
        <p:spPr bwMode="gray"/>
        <p:txBody>
          <a:bodyPr/>
          <a:lstStyle/>
          <a:p>
            <a:fld id="{C36328AA-59C3-46AB-9DA4-59D9343B242E}" type="datetime4">
              <a:rPr lang="en-US" smtClean="0"/>
              <a:t>September 8, 2019</a:t>
            </a:fld>
            <a:endParaRPr lang="en-US" dirty="0"/>
          </a:p>
        </p:txBody>
      </p:sp>
      <p:sp>
        <p:nvSpPr>
          <p:cNvPr id="8" name="Footer Placeholder 7">
            <a:extLst>
              <a:ext uri="{FF2B5EF4-FFF2-40B4-BE49-F238E27FC236}">
                <a16:creationId xmlns:a16="http://schemas.microsoft.com/office/drawing/2014/main" id="{3A2F739E-C991-4EEC-90AA-4AAE83B3DF03}"/>
              </a:ext>
            </a:extLst>
          </p:cNvPr>
          <p:cNvSpPr>
            <a:spLocks noGrp="1"/>
          </p:cNvSpPr>
          <p:nvPr>
            <p:ph type="ftr" sz="quarter" idx="15"/>
          </p:nvPr>
        </p:nvSpPr>
        <p:spPr bwMode="gray"/>
        <p:txBody>
          <a:bodyPr/>
          <a:lstStyle/>
          <a:p>
            <a:pPr lvl="8"/>
            <a:endParaRPr lang="en-US" dirty="0"/>
          </a:p>
        </p:txBody>
      </p:sp>
      <p:sp>
        <p:nvSpPr>
          <p:cNvPr id="10" name="Slide Number Placeholder 9">
            <a:extLst>
              <a:ext uri="{FF2B5EF4-FFF2-40B4-BE49-F238E27FC236}">
                <a16:creationId xmlns:a16="http://schemas.microsoft.com/office/drawing/2014/main" id="{95CCC72E-A66F-4376-8121-07F2B95B234A}"/>
              </a:ext>
            </a:extLst>
          </p:cNvPr>
          <p:cNvSpPr>
            <a:spLocks noGrp="1"/>
          </p:cNvSpPr>
          <p:nvPr>
            <p:ph type="sldNum" sz="quarter" idx="16"/>
          </p:nvPr>
        </p:nvSpPr>
        <p:spPr bwMode="gray"/>
        <p:txBody>
          <a:bodyPr/>
          <a:lstStyle/>
          <a:p>
            <a:r>
              <a:rPr lang="en-US"/>
              <a:t>Slide </a:t>
            </a:r>
            <a:fld id="{619F89D8-7AE3-494A-97F3-03D680869632}" type="slidenum">
              <a:rPr lang="en-US" smtClean="0"/>
              <a:pPr/>
              <a:t>61</a:t>
            </a:fld>
            <a:endParaRPr lang="en-US" dirty="0"/>
          </a:p>
        </p:txBody>
      </p:sp>
      <p:grpSp>
        <p:nvGrpSpPr>
          <p:cNvPr id="68" name="Group 67">
            <a:extLst>
              <a:ext uri="{FF2B5EF4-FFF2-40B4-BE49-F238E27FC236}">
                <a16:creationId xmlns:a16="http://schemas.microsoft.com/office/drawing/2014/main" id="{D7B934E0-6550-4A77-8CA4-5F48289B34BD}"/>
              </a:ext>
            </a:extLst>
          </p:cNvPr>
          <p:cNvGrpSpPr/>
          <p:nvPr/>
        </p:nvGrpSpPr>
        <p:grpSpPr bwMode="gray">
          <a:xfrm>
            <a:off x="336550" y="1929215"/>
            <a:ext cx="11516714" cy="3411135"/>
            <a:chOff x="4381302" y="1929215"/>
            <a:chExt cx="7471962" cy="3411135"/>
          </a:xfrm>
        </p:grpSpPr>
        <p:sp>
          <p:nvSpPr>
            <p:cNvPr id="12" name="Rechteck 87">
              <a:extLst>
                <a:ext uri="{FF2B5EF4-FFF2-40B4-BE49-F238E27FC236}">
                  <a16:creationId xmlns:a16="http://schemas.microsoft.com/office/drawing/2014/main" id="{31A4FAE3-8CDB-4178-81F2-FDD87ACF0C21}"/>
                </a:ext>
              </a:extLst>
            </p:cNvPr>
            <p:cNvSpPr/>
            <p:nvPr/>
          </p:nvSpPr>
          <p:spPr bwMode="gray">
            <a:xfrm>
              <a:off x="6096000" y="2507878"/>
              <a:ext cx="4003040" cy="2832472"/>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400" dirty="0">
                <a:solidFill>
                  <a:schemeClr val="bg1"/>
                </a:solidFill>
              </a:endParaRPr>
            </a:p>
          </p:txBody>
        </p:sp>
        <p:cxnSp>
          <p:nvCxnSpPr>
            <p:cNvPr id="13" name="Straight Connector 12">
              <a:extLst>
                <a:ext uri="{FF2B5EF4-FFF2-40B4-BE49-F238E27FC236}">
                  <a16:creationId xmlns:a16="http://schemas.microsoft.com/office/drawing/2014/main" id="{E44177A3-69E1-4D0D-8783-755E5F4E562F}"/>
                </a:ext>
              </a:extLst>
            </p:cNvPr>
            <p:cNvCxnSpPr>
              <a:cxnSpLocks/>
              <a:endCxn id="17" idx="2"/>
            </p:cNvCxnSpPr>
            <p:nvPr/>
          </p:nvCxnSpPr>
          <p:spPr bwMode="gray">
            <a:xfrm flipV="1">
              <a:off x="8113784" y="2376044"/>
              <a:ext cx="0" cy="698545"/>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15" name="Rechteck 87">
              <a:extLst>
                <a:ext uri="{FF2B5EF4-FFF2-40B4-BE49-F238E27FC236}">
                  <a16:creationId xmlns:a16="http://schemas.microsoft.com/office/drawing/2014/main" id="{698003EB-FD07-45EC-BAE6-1A6CC2664D78}"/>
                </a:ext>
              </a:extLst>
            </p:cNvPr>
            <p:cNvSpPr/>
            <p:nvPr/>
          </p:nvSpPr>
          <p:spPr bwMode="gray">
            <a:xfrm>
              <a:off x="4381302" y="2788389"/>
              <a:ext cx="1422322" cy="5724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r">
                <a:spcBef>
                  <a:spcPts val="300"/>
                </a:spcBef>
                <a:buClr>
                  <a:srgbClr val="002897"/>
                </a:buClr>
                <a:buSzPct val="70000"/>
              </a:pPr>
              <a:r>
                <a:rPr lang="de-DE" sz="1400" dirty="0">
                  <a:solidFill>
                    <a:schemeClr val="tx1"/>
                  </a:solidFill>
                </a:rPr>
                <a:t>Feed</a:t>
              </a:r>
            </a:p>
          </p:txBody>
        </p:sp>
        <p:sp>
          <p:nvSpPr>
            <p:cNvPr id="17" name="Rechteck 87">
              <a:extLst>
                <a:ext uri="{FF2B5EF4-FFF2-40B4-BE49-F238E27FC236}">
                  <a16:creationId xmlns:a16="http://schemas.microsoft.com/office/drawing/2014/main" id="{BFAAE49A-DEB1-4358-846F-DD7FCBDB890E}"/>
                </a:ext>
              </a:extLst>
            </p:cNvPr>
            <p:cNvSpPr/>
            <p:nvPr/>
          </p:nvSpPr>
          <p:spPr bwMode="gray">
            <a:xfrm>
              <a:off x="7402623" y="1929215"/>
              <a:ext cx="1422322" cy="44682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Steam</a:t>
              </a:r>
            </a:p>
          </p:txBody>
        </p:sp>
        <p:sp>
          <p:nvSpPr>
            <p:cNvPr id="20" name="Rechteck 87">
              <a:extLst>
                <a:ext uri="{FF2B5EF4-FFF2-40B4-BE49-F238E27FC236}">
                  <a16:creationId xmlns:a16="http://schemas.microsoft.com/office/drawing/2014/main" id="{91AA5EB9-08D5-4896-AA10-55CC41E0E2A3}"/>
                </a:ext>
              </a:extLst>
            </p:cNvPr>
            <p:cNvSpPr/>
            <p:nvPr/>
          </p:nvSpPr>
          <p:spPr bwMode="gray">
            <a:xfrm>
              <a:off x="10430942" y="4493999"/>
              <a:ext cx="1422322" cy="5724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r>
                <a:rPr lang="de-DE" sz="1400" dirty="0">
                  <a:solidFill>
                    <a:schemeClr val="tx1"/>
                  </a:solidFill>
                </a:rPr>
                <a:t>Ammonia </a:t>
              </a:r>
              <a:br>
                <a:rPr lang="de-DE" sz="1400" dirty="0">
                  <a:solidFill>
                    <a:schemeClr val="tx1"/>
                  </a:solidFill>
                </a:rPr>
              </a:br>
              <a:r>
                <a:rPr lang="de-DE" sz="1400" dirty="0">
                  <a:solidFill>
                    <a:schemeClr val="tx1"/>
                  </a:solidFill>
                </a:rPr>
                <a:t>product</a:t>
              </a:r>
            </a:p>
          </p:txBody>
        </p:sp>
        <p:cxnSp>
          <p:nvCxnSpPr>
            <p:cNvPr id="21" name="Straight Connector 20">
              <a:extLst>
                <a:ext uri="{FF2B5EF4-FFF2-40B4-BE49-F238E27FC236}">
                  <a16:creationId xmlns:a16="http://schemas.microsoft.com/office/drawing/2014/main" id="{38303DD1-A19B-4B4A-82BD-B9808B989931}"/>
                </a:ext>
              </a:extLst>
            </p:cNvPr>
            <p:cNvCxnSpPr>
              <a:cxnSpLocks/>
              <a:stCxn id="56" idx="1"/>
              <a:endCxn id="15" idx="3"/>
            </p:cNvCxnSpPr>
            <p:nvPr/>
          </p:nvCxnSpPr>
          <p:spPr bwMode="gray">
            <a:xfrm flipH="1">
              <a:off x="5803624" y="3074589"/>
              <a:ext cx="589560"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A25A9D1-CD4F-45EE-BB48-C22D8F8B58AA}"/>
                </a:ext>
              </a:extLst>
            </p:cNvPr>
            <p:cNvCxnSpPr>
              <a:cxnSpLocks/>
              <a:stCxn id="49" idx="3"/>
              <a:endCxn id="57" idx="1"/>
            </p:cNvCxnSpPr>
            <p:nvPr/>
          </p:nvCxnSpPr>
          <p:spPr bwMode="gray">
            <a:xfrm>
              <a:off x="7815506" y="3927394"/>
              <a:ext cx="596556"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031FAC6-DA9D-45FC-AC5A-1812C399D320}"/>
                </a:ext>
              </a:extLst>
            </p:cNvPr>
            <p:cNvCxnSpPr>
              <a:cxnSpLocks/>
              <a:stCxn id="20" idx="1"/>
              <a:endCxn id="58" idx="3"/>
            </p:cNvCxnSpPr>
            <p:nvPr/>
          </p:nvCxnSpPr>
          <p:spPr bwMode="gray">
            <a:xfrm flipH="1">
              <a:off x="9834384" y="4780199"/>
              <a:ext cx="596558"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835DBFA-13BA-47C4-8E12-3872CB497B7A}"/>
                </a:ext>
              </a:extLst>
            </p:cNvPr>
            <p:cNvCxnSpPr>
              <a:cxnSpLocks/>
              <a:stCxn id="58" idx="0"/>
              <a:endCxn id="57" idx="2"/>
            </p:cNvCxnSpPr>
            <p:nvPr/>
          </p:nvCxnSpPr>
          <p:spPr bwMode="gray">
            <a:xfrm flipV="1">
              <a:off x="9123223" y="4213594"/>
              <a:ext cx="0" cy="280405"/>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9C3C412-A87D-41CA-BE3E-4CBB770D5CBC}"/>
                </a:ext>
              </a:extLst>
            </p:cNvPr>
            <p:cNvCxnSpPr>
              <a:cxnSpLocks/>
              <a:stCxn id="50" idx="0"/>
              <a:endCxn id="49" idx="2"/>
            </p:cNvCxnSpPr>
            <p:nvPr/>
          </p:nvCxnSpPr>
          <p:spPr bwMode="gray">
            <a:xfrm flipV="1">
              <a:off x="7104345" y="4213594"/>
              <a:ext cx="0" cy="280405"/>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1FA4435-C9D8-4413-9F7B-1FA2D9C4E526}"/>
                </a:ext>
              </a:extLst>
            </p:cNvPr>
            <p:cNvCxnSpPr>
              <a:cxnSpLocks/>
              <a:stCxn id="58" idx="1"/>
              <a:endCxn id="50" idx="3"/>
            </p:cNvCxnSpPr>
            <p:nvPr/>
          </p:nvCxnSpPr>
          <p:spPr bwMode="gray">
            <a:xfrm flipH="1">
              <a:off x="7815506" y="4780199"/>
              <a:ext cx="596556"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6284E7C-041D-4EEE-90E6-AE26C00CF34D}"/>
                </a:ext>
              </a:extLst>
            </p:cNvPr>
            <p:cNvCxnSpPr>
              <a:cxnSpLocks/>
            </p:cNvCxnSpPr>
            <p:nvPr/>
          </p:nvCxnSpPr>
          <p:spPr bwMode="gray">
            <a:xfrm>
              <a:off x="6776685" y="3360789"/>
              <a:ext cx="0" cy="280405"/>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FBDD223E-5070-4F27-A770-801633225323}"/>
                </a:ext>
              </a:extLst>
            </p:cNvPr>
            <p:cNvCxnSpPr>
              <a:cxnSpLocks/>
              <a:stCxn id="49" idx="1"/>
              <a:endCxn id="50" idx="1"/>
            </p:cNvCxnSpPr>
            <p:nvPr/>
          </p:nvCxnSpPr>
          <p:spPr bwMode="gray">
            <a:xfrm rot="10800000" flipV="1">
              <a:off x="6393184" y="3927393"/>
              <a:ext cx="8240" cy="852805"/>
            </a:xfrm>
            <a:prstGeom prst="bentConnector3">
              <a:avLst>
                <a:gd name="adj1" fmla="val 180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49" name="Rechteck 87">
              <a:extLst>
                <a:ext uri="{FF2B5EF4-FFF2-40B4-BE49-F238E27FC236}">
                  <a16:creationId xmlns:a16="http://schemas.microsoft.com/office/drawing/2014/main" id="{74B8ED25-919F-4FD7-B1AF-D06FEC1CAABE}"/>
                </a:ext>
              </a:extLst>
            </p:cNvPr>
            <p:cNvSpPr/>
            <p:nvPr/>
          </p:nvSpPr>
          <p:spPr bwMode="gray">
            <a:xfrm>
              <a:off x="6393184" y="3641194"/>
              <a:ext cx="1422322" cy="5724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Carbon dioxide </a:t>
              </a:r>
              <a:br>
                <a:rPr lang="de-DE" sz="1400" dirty="0">
                  <a:solidFill>
                    <a:schemeClr val="tx1"/>
                  </a:solidFill>
                </a:rPr>
              </a:br>
              <a:r>
                <a:rPr lang="de-DE" sz="1400" dirty="0">
                  <a:solidFill>
                    <a:schemeClr val="tx1"/>
                  </a:solidFill>
                </a:rPr>
                <a:t>removal</a:t>
              </a:r>
            </a:p>
          </p:txBody>
        </p:sp>
        <p:sp>
          <p:nvSpPr>
            <p:cNvPr id="50" name="Rechteck 87">
              <a:extLst>
                <a:ext uri="{FF2B5EF4-FFF2-40B4-BE49-F238E27FC236}">
                  <a16:creationId xmlns:a16="http://schemas.microsoft.com/office/drawing/2014/main" id="{D68A61C7-2210-47E3-8B1C-CC39F8877B64}"/>
                </a:ext>
              </a:extLst>
            </p:cNvPr>
            <p:cNvSpPr/>
            <p:nvPr/>
          </p:nvSpPr>
          <p:spPr bwMode="gray">
            <a:xfrm>
              <a:off x="6393184" y="4493999"/>
              <a:ext cx="1422322" cy="5724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Methanation</a:t>
              </a:r>
            </a:p>
          </p:txBody>
        </p:sp>
        <p:sp>
          <p:nvSpPr>
            <p:cNvPr id="51" name="Rechteck 87">
              <a:extLst>
                <a:ext uri="{FF2B5EF4-FFF2-40B4-BE49-F238E27FC236}">
                  <a16:creationId xmlns:a16="http://schemas.microsoft.com/office/drawing/2014/main" id="{DB61B8D1-398F-4244-AB60-E90BA75CF7FD}"/>
                </a:ext>
              </a:extLst>
            </p:cNvPr>
            <p:cNvSpPr/>
            <p:nvPr/>
          </p:nvSpPr>
          <p:spPr bwMode="gray">
            <a:xfrm>
              <a:off x="8412062" y="2788389"/>
              <a:ext cx="1422322" cy="5724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Steam-methane </a:t>
              </a:r>
              <a:br>
                <a:rPr lang="de-DE" sz="1400" dirty="0">
                  <a:solidFill>
                    <a:schemeClr val="tx1"/>
                  </a:solidFill>
                </a:rPr>
              </a:br>
              <a:r>
                <a:rPr lang="de-DE" sz="1400" dirty="0">
                  <a:solidFill>
                    <a:schemeClr val="tx1"/>
                  </a:solidFill>
                </a:rPr>
                <a:t>catalytic reformer</a:t>
              </a:r>
            </a:p>
          </p:txBody>
        </p:sp>
        <p:sp>
          <p:nvSpPr>
            <p:cNvPr id="56" name="Rechteck 87">
              <a:extLst>
                <a:ext uri="{FF2B5EF4-FFF2-40B4-BE49-F238E27FC236}">
                  <a16:creationId xmlns:a16="http://schemas.microsoft.com/office/drawing/2014/main" id="{305D937B-101B-4E1A-9216-7EE383F4A2A3}"/>
                </a:ext>
              </a:extLst>
            </p:cNvPr>
            <p:cNvSpPr/>
            <p:nvPr/>
          </p:nvSpPr>
          <p:spPr bwMode="gray">
            <a:xfrm>
              <a:off x="6393184" y="2788389"/>
              <a:ext cx="1422322" cy="5724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Sulfur </a:t>
              </a:r>
              <a:br>
                <a:rPr lang="de-DE" sz="1400" dirty="0">
                  <a:solidFill>
                    <a:schemeClr val="tx1"/>
                  </a:solidFill>
                </a:rPr>
              </a:br>
              <a:r>
                <a:rPr lang="de-DE" sz="1400" dirty="0">
                  <a:solidFill>
                    <a:schemeClr val="tx1"/>
                  </a:solidFill>
                </a:rPr>
                <a:t>removal</a:t>
              </a:r>
              <a:endParaRPr lang="de-DE" sz="1400" baseline="-25000" dirty="0">
                <a:solidFill>
                  <a:schemeClr val="tx1"/>
                </a:solidFill>
              </a:endParaRPr>
            </a:p>
          </p:txBody>
        </p:sp>
        <p:sp>
          <p:nvSpPr>
            <p:cNvPr id="57" name="Rechteck 87">
              <a:extLst>
                <a:ext uri="{FF2B5EF4-FFF2-40B4-BE49-F238E27FC236}">
                  <a16:creationId xmlns:a16="http://schemas.microsoft.com/office/drawing/2014/main" id="{AA62A066-156D-4099-BE31-10CFE71EA93D}"/>
                </a:ext>
              </a:extLst>
            </p:cNvPr>
            <p:cNvSpPr/>
            <p:nvPr/>
          </p:nvSpPr>
          <p:spPr bwMode="gray">
            <a:xfrm>
              <a:off x="8412062" y="3641194"/>
              <a:ext cx="1422322" cy="5724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Shift </a:t>
              </a:r>
              <a:br>
                <a:rPr lang="de-DE" sz="1400" dirty="0">
                  <a:solidFill>
                    <a:schemeClr val="tx1"/>
                  </a:solidFill>
                </a:rPr>
              </a:br>
              <a:r>
                <a:rPr lang="de-DE" sz="1400" dirty="0">
                  <a:solidFill>
                    <a:schemeClr val="tx1"/>
                  </a:solidFill>
                </a:rPr>
                <a:t>conversion</a:t>
              </a:r>
            </a:p>
          </p:txBody>
        </p:sp>
        <p:sp>
          <p:nvSpPr>
            <p:cNvPr id="58" name="Rechteck 87">
              <a:extLst>
                <a:ext uri="{FF2B5EF4-FFF2-40B4-BE49-F238E27FC236}">
                  <a16:creationId xmlns:a16="http://schemas.microsoft.com/office/drawing/2014/main" id="{CAC2E53C-915A-460A-9F24-CD21226E659F}"/>
                </a:ext>
              </a:extLst>
            </p:cNvPr>
            <p:cNvSpPr/>
            <p:nvPr/>
          </p:nvSpPr>
          <p:spPr bwMode="gray">
            <a:xfrm>
              <a:off x="8412062" y="4493999"/>
              <a:ext cx="1422322" cy="572400"/>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r>
                <a:rPr lang="de-DE" sz="1400" dirty="0">
                  <a:solidFill>
                    <a:schemeClr val="tx1"/>
                  </a:solidFill>
                </a:rPr>
                <a:t>Ammonia </a:t>
              </a:r>
              <a:br>
                <a:rPr lang="de-DE" sz="1400" dirty="0">
                  <a:solidFill>
                    <a:schemeClr val="tx1"/>
                  </a:solidFill>
                </a:rPr>
              </a:br>
              <a:r>
                <a:rPr lang="de-DE" sz="1400" dirty="0">
                  <a:solidFill>
                    <a:schemeClr val="tx1"/>
                  </a:solidFill>
                </a:rPr>
                <a:t>synthesis</a:t>
              </a:r>
            </a:p>
          </p:txBody>
        </p:sp>
        <p:cxnSp>
          <p:nvCxnSpPr>
            <p:cNvPr id="61" name="Straight Connector 60">
              <a:extLst>
                <a:ext uri="{FF2B5EF4-FFF2-40B4-BE49-F238E27FC236}">
                  <a16:creationId xmlns:a16="http://schemas.microsoft.com/office/drawing/2014/main" id="{5970CCE0-244A-43D0-98AA-12A2496B1B53}"/>
                </a:ext>
              </a:extLst>
            </p:cNvPr>
            <p:cNvCxnSpPr>
              <a:cxnSpLocks/>
              <a:stCxn id="51" idx="1"/>
              <a:endCxn id="56" idx="3"/>
            </p:cNvCxnSpPr>
            <p:nvPr/>
          </p:nvCxnSpPr>
          <p:spPr bwMode="gray">
            <a:xfrm flipH="1">
              <a:off x="7815506" y="3074589"/>
              <a:ext cx="596556"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9B157FF6-98DB-421D-96D4-36F7D99FBDD7}"/>
                </a:ext>
              </a:extLst>
            </p:cNvPr>
            <p:cNvCxnSpPr>
              <a:cxnSpLocks/>
              <a:stCxn id="51" idx="3"/>
              <a:endCxn id="57" idx="3"/>
            </p:cNvCxnSpPr>
            <p:nvPr/>
          </p:nvCxnSpPr>
          <p:spPr bwMode="gray">
            <a:xfrm>
              <a:off x="9834384" y="3074589"/>
              <a:ext cx="8240" cy="852805"/>
            </a:xfrm>
            <a:prstGeom prst="bentConnector3">
              <a:avLst>
                <a:gd name="adj1" fmla="val 180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
        <p:nvSpPr>
          <p:cNvPr id="106" name="Rechteck 87">
            <a:extLst>
              <a:ext uri="{FF2B5EF4-FFF2-40B4-BE49-F238E27FC236}">
                <a16:creationId xmlns:a16="http://schemas.microsoft.com/office/drawing/2014/main" id="{BCA0D3DB-760B-4C04-B229-60F132B6171E}"/>
              </a:ext>
            </a:extLst>
          </p:cNvPr>
          <p:cNvSpPr/>
          <p:nvPr/>
        </p:nvSpPr>
        <p:spPr bwMode="gray">
          <a:xfrm>
            <a:off x="3436325" y="3641192"/>
            <a:ext cx="2192256" cy="566600"/>
          </a:xfrm>
          <a:prstGeom prst="rect">
            <a:avLst/>
          </a:prstGeom>
          <a:no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lgn="ctr">
              <a:spcBef>
                <a:spcPts val="300"/>
              </a:spcBef>
              <a:buClr>
                <a:srgbClr val="002897"/>
              </a:buClr>
              <a:buSzPct val="70000"/>
            </a:pPr>
            <a:endParaRPr lang="de-DE" sz="1200" baseline="-25000" dirty="0">
              <a:solidFill>
                <a:schemeClr val="tx1"/>
              </a:solidFill>
            </a:endParaRPr>
          </a:p>
        </p:txBody>
      </p:sp>
    </p:spTree>
    <p:custDataLst>
      <p:tags r:id="rId1"/>
    </p:custDataLst>
    <p:extLst>
      <p:ext uri="{BB962C8B-B14F-4D97-AF65-F5344CB8AC3E}">
        <p14:creationId xmlns:p14="http://schemas.microsoft.com/office/powerpoint/2010/main" val="30723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F0BD905-100E-4B4D-8467-6DB3BBBCAD02}"/>
              </a:ext>
            </a:extLst>
          </p:cNvPr>
          <p:cNvSpPr>
            <a:spLocks noGrp="1"/>
          </p:cNvSpPr>
          <p:nvPr>
            <p:ph type="title"/>
          </p:nvPr>
        </p:nvSpPr>
        <p:spPr bwMode="gray"/>
        <p:txBody>
          <a:bodyPr/>
          <a:lstStyle/>
          <a:p>
            <a:r>
              <a:rPr lang="de-DE" dirty="0"/>
              <a:t>CO</a:t>
            </a:r>
            <a:r>
              <a:rPr lang="de-DE" baseline="-25000" dirty="0"/>
              <a:t>2</a:t>
            </a:r>
            <a:r>
              <a:rPr lang="de-DE" dirty="0"/>
              <a:t> </a:t>
            </a:r>
            <a:r>
              <a:rPr lang="de-DE" dirty="0" err="1"/>
              <a:t>from</a:t>
            </a:r>
            <a:r>
              <a:rPr lang="de-DE" dirty="0"/>
              <a:t> </a:t>
            </a:r>
            <a:r>
              <a:rPr lang="de-DE" dirty="0" err="1"/>
              <a:t>fermentation</a:t>
            </a:r>
            <a:r>
              <a:rPr lang="de-DE" dirty="0"/>
              <a:t> </a:t>
            </a:r>
            <a:r>
              <a:rPr lang="de-DE" dirty="0" err="1"/>
              <a:t>process</a:t>
            </a:r>
            <a:endParaRPr lang="de-DE" dirty="0"/>
          </a:p>
        </p:txBody>
      </p:sp>
      <p:sp>
        <p:nvSpPr>
          <p:cNvPr id="7" name="Subtitle 6">
            <a:extLst>
              <a:ext uri="{FF2B5EF4-FFF2-40B4-BE49-F238E27FC236}">
                <a16:creationId xmlns:a16="http://schemas.microsoft.com/office/drawing/2014/main" id="{BCF2B04D-0DD5-4C2B-93B2-B229AB550680}"/>
              </a:ext>
            </a:extLst>
          </p:cNvPr>
          <p:cNvSpPr>
            <a:spLocks noGrp="1"/>
          </p:cNvSpPr>
          <p:nvPr>
            <p:ph type="subTitle" idx="13"/>
          </p:nvPr>
        </p:nvSpPr>
        <p:spPr bwMode="gray"/>
        <p:txBody>
          <a:bodyPr/>
          <a:lstStyle/>
          <a:p>
            <a:r>
              <a:rPr lang="de-DE" dirty="0" err="1"/>
              <a:t>Often</a:t>
            </a:r>
            <a:r>
              <a:rPr lang="de-DE" dirty="0"/>
              <a:t> </a:t>
            </a:r>
            <a:r>
              <a:rPr lang="de-DE" dirty="0" err="1"/>
              <a:t>used</a:t>
            </a:r>
            <a:r>
              <a:rPr lang="de-DE" dirty="0"/>
              <a:t> in </a:t>
            </a:r>
            <a:r>
              <a:rPr lang="de-DE" dirty="0" err="1"/>
              <a:t>captive</a:t>
            </a:r>
            <a:r>
              <a:rPr lang="de-DE" dirty="0"/>
              <a:t> </a:t>
            </a:r>
            <a:r>
              <a:rPr lang="de-DE" dirty="0" err="1"/>
              <a:t>cycle</a:t>
            </a:r>
            <a:r>
              <a:rPr lang="de-DE" dirty="0"/>
              <a:t> </a:t>
            </a:r>
            <a:r>
              <a:rPr lang="de-DE" dirty="0" err="1"/>
              <a:t>within</a:t>
            </a:r>
            <a:r>
              <a:rPr lang="de-DE" dirty="0"/>
              <a:t> </a:t>
            </a:r>
            <a:r>
              <a:rPr lang="de-DE" dirty="0" err="1"/>
              <a:t>brewery</a:t>
            </a:r>
            <a:r>
              <a:rPr lang="de-DE" dirty="0"/>
              <a:t> </a:t>
            </a:r>
            <a:r>
              <a:rPr lang="de-DE" dirty="0" err="1"/>
              <a:t>or</a:t>
            </a:r>
            <a:r>
              <a:rPr lang="de-DE" dirty="0"/>
              <a:t> at </a:t>
            </a:r>
            <a:r>
              <a:rPr lang="de-DE" dirty="0" err="1"/>
              <a:t>bottling</a:t>
            </a:r>
            <a:r>
              <a:rPr lang="de-DE" dirty="0"/>
              <a:t> plant</a:t>
            </a:r>
          </a:p>
        </p:txBody>
      </p:sp>
      <p:sp>
        <p:nvSpPr>
          <p:cNvPr id="2" name="Date Placeholder 1">
            <a:extLst>
              <a:ext uri="{FF2B5EF4-FFF2-40B4-BE49-F238E27FC236}">
                <a16:creationId xmlns:a16="http://schemas.microsoft.com/office/drawing/2014/main" id="{81CE19C8-7F2B-4E02-A12E-F6D6F55D8140}"/>
              </a:ext>
            </a:extLst>
          </p:cNvPr>
          <p:cNvSpPr>
            <a:spLocks noGrp="1"/>
          </p:cNvSpPr>
          <p:nvPr>
            <p:ph type="dt" sz="half" idx="14"/>
          </p:nvPr>
        </p:nvSpPr>
        <p:spPr bwMode="gray"/>
        <p:txBody>
          <a:bodyPr/>
          <a:lstStyle/>
          <a:p>
            <a:fld id="{787F04EA-E41E-46F3-8F01-6BCCB439F7F5}" type="datetime4">
              <a:rPr lang="en-US" smtClean="0"/>
              <a:t>September 8, 2019</a:t>
            </a:fld>
            <a:endParaRPr lang="en-US" dirty="0"/>
          </a:p>
        </p:txBody>
      </p:sp>
      <p:sp>
        <p:nvSpPr>
          <p:cNvPr id="130" name="Footer Placeholder 129">
            <a:extLst>
              <a:ext uri="{FF2B5EF4-FFF2-40B4-BE49-F238E27FC236}">
                <a16:creationId xmlns:a16="http://schemas.microsoft.com/office/drawing/2014/main" id="{54645709-8BA4-4C14-B231-C616EB617B01}"/>
              </a:ext>
            </a:extLst>
          </p:cNvPr>
          <p:cNvSpPr>
            <a:spLocks noGrp="1"/>
          </p:cNvSpPr>
          <p:nvPr>
            <p:ph type="ftr" sz="quarter" idx="15"/>
          </p:nvPr>
        </p:nvSpPr>
        <p:spPr bwMode="gray"/>
        <p:txBody>
          <a:bodyPr/>
          <a:lstStyle/>
          <a:p>
            <a:pPr lvl="8"/>
            <a:endParaRPr lang="en-US" dirty="0"/>
          </a:p>
        </p:txBody>
      </p:sp>
      <p:sp>
        <p:nvSpPr>
          <p:cNvPr id="131" name="Slide Number Placeholder 130">
            <a:extLst>
              <a:ext uri="{FF2B5EF4-FFF2-40B4-BE49-F238E27FC236}">
                <a16:creationId xmlns:a16="http://schemas.microsoft.com/office/drawing/2014/main" id="{15DB6D1D-895E-4F1F-8DE3-0CD35D606F88}"/>
              </a:ext>
            </a:extLst>
          </p:cNvPr>
          <p:cNvSpPr>
            <a:spLocks noGrp="1"/>
          </p:cNvSpPr>
          <p:nvPr>
            <p:ph type="sldNum" sz="quarter" idx="16"/>
          </p:nvPr>
        </p:nvSpPr>
        <p:spPr bwMode="gray"/>
        <p:txBody>
          <a:bodyPr/>
          <a:lstStyle/>
          <a:p>
            <a:r>
              <a:rPr lang="en-US"/>
              <a:t>Slide </a:t>
            </a:r>
            <a:fld id="{619F89D8-7AE3-494A-97F3-03D680869632}" type="slidenum">
              <a:rPr lang="en-US" smtClean="0"/>
              <a:pPr/>
              <a:t>62</a:t>
            </a:fld>
            <a:endParaRPr lang="en-US" dirty="0"/>
          </a:p>
        </p:txBody>
      </p:sp>
      <p:sp>
        <p:nvSpPr>
          <p:cNvPr id="17" name="Rechteck 87">
            <a:extLst>
              <a:ext uri="{FF2B5EF4-FFF2-40B4-BE49-F238E27FC236}">
                <a16:creationId xmlns:a16="http://schemas.microsoft.com/office/drawing/2014/main" id="{73D95F44-6D93-4723-8DD1-671CA8BC6B29}"/>
              </a:ext>
            </a:extLst>
          </p:cNvPr>
          <p:cNvSpPr/>
          <p:nvPr/>
        </p:nvSpPr>
        <p:spPr bwMode="gray">
          <a:xfrm>
            <a:off x="2979455" y="2057400"/>
            <a:ext cx="6169981" cy="3733800"/>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400" dirty="0">
              <a:solidFill>
                <a:schemeClr val="bg1"/>
              </a:solidFill>
            </a:endParaRPr>
          </a:p>
        </p:txBody>
      </p:sp>
      <p:grpSp>
        <p:nvGrpSpPr>
          <p:cNvPr id="286" name="Group 285">
            <a:extLst>
              <a:ext uri="{FF2B5EF4-FFF2-40B4-BE49-F238E27FC236}">
                <a16:creationId xmlns:a16="http://schemas.microsoft.com/office/drawing/2014/main" id="{28A9D57C-3C3E-417F-9D1E-F791A32AF561}"/>
              </a:ext>
            </a:extLst>
          </p:cNvPr>
          <p:cNvGrpSpPr/>
          <p:nvPr/>
        </p:nvGrpSpPr>
        <p:grpSpPr bwMode="gray">
          <a:xfrm>
            <a:off x="3628503" y="2471464"/>
            <a:ext cx="954323" cy="1322698"/>
            <a:chOff x="2668968" y="2432540"/>
            <a:chExt cx="954323" cy="1322698"/>
          </a:xfrm>
        </p:grpSpPr>
        <p:sp>
          <p:nvSpPr>
            <p:cNvPr id="285" name="Freeform: Shape 284">
              <a:extLst>
                <a:ext uri="{FF2B5EF4-FFF2-40B4-BE49-F238E27FC236}">
                  <a16:creationId xmlns:a16="http://schemas.microsoft.com/office/drawing/2014/main" id="{54125785-1F07-469B-8D89-C148E14D7F7F}"/>
                </a:ext>
              </a:extLst>
            </p:cNvPr>
            <p:cNvSpPr/>
            <p:nvPr/>
          </p:nvSpPr>
          <p:spPr bwMode="gray">
            <a:xfrm rot="16200000">
              <a:off x="2568204" y="2689982"/>
              <a:ext cx="1155851" cy="640968"/>
            </a:xfrm>
            <a:custGeom>
              <a:avLst/>
              <a:gdLst>
                <a:gd name="connsiteX0" fmla="*/ 1155851 w 1155851"/>
                <a:gd name="connsiteY0" fmla="*/ 320484 h 640968"/>
                <a:gd name="connsiteX1" fmla="*/ 1124592 w 1155851"/>
                <a:gd name="connsiteY1" fmla="*/ 515536 h 640968"/>
                <a:gd name="connsiteX2" fmla="*/ 1008053 w 1155851"/>
                <a:gd name="connsiteY2" fmla="*/ 639654 h 640968"/>
                <a:gd name="connsiteX3" fmla="*/ 572851 w 1155851"/>
                <a:gd name="connsiteY3" fmla="*/ 639654 h 640968"/>
                <a:gd name="connsiteX4" fmla="*/ 572851 w 1155851"/>
                <a:gd name="connsiteY4" fmla="*/ 640968 h 640968"/>
                <a:gd name="connsiteX5" fmla="*/ 114570 w 1155851"/>
                <a:gd name="connsiteY5" fmla="*/ 640968 h 640968"/>
                <a:gd name="connsiteX6" fmla="*/ 0 w 1155851"/>
                <a:gd name="connsiteY6" fmla="*/ 320484 h 640968"/>
                <a:gd name="connsiteX7" fmla="*/ 114570 w 1155851"/>
                <a:gd name="connsiteY7" fmla="*/ 0 h 640968"/>
                <a:gd name="connsiteX8" fmla="*/ 572851 w 1155851"/>
                <a:gd name="connsiteY8" fmla="*/ 0 h 640968"/>
                <a:gd name="connsiteX9" fmla="*/ 572851 w 1155851"/>
                <a:gd name="connsiteY9" fmla="*/ 1314 h 640968"/>
                <a:gd name="connsiteX10" fmla="*/ 1008053 w 1155851"/>
                <a:gd name="connsiteY10" fmla="*/ 1314 h 640968"/>
                <a:gd name="connsiteX11" fmla="*/ 1124592 w 1155851"/>
                <a:gd name="connsiteY11" fmla="*/ 125432 h 640968"/>
                <a:gd name="connsiteX12" fmla="*/ 1155851 w 1155851"/>
                <a:gd name="connsiteY12" fmla="*/ 320484 h 640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5851" h="640968">
                  <a:moveTo>
                    <a:pt x="1155851" y="320484"/>
                  </a:moveTo>
                  <a:cubicBezTo>
                    <a:pt x="1153556" y="387530"/>
                    <a:pt x="1151651" y="425630"/>
                    <a:pt x="1124592" y="515536"/>
                  </a:cubicBezTo>
                  <a:cubicBezTo>
                    <a:pt x="1105674" y="576351"/>
                    <a:pt x="1069530" y="635478"/>
                    <a:pt x="1008053" y="639654"/>
                  </a:cubicBezTo>
                  <a:lnTo>
                    <a:pt x="572851" y="639654"/>
                  </a:lnTo>
                  <a:lnTo>
                    <a:pt x="572851" y="640968"/>
                  </a:lnTo>
                  <a:lnTo>
                    <a:pt x="114570" y="640968"/>
                  </a:lnTo>
                  <a:lnTo>
                    <a:pt x="0" y="320484"/>
                  </a:lnTo>
                  <a:lnTo>
                    <a:pt x="114570" y="0"/>
                  </a:lnTo>
                  <a:lnTo>
                    <a:pt x="572851" y="0"/>
                  </a:lnTo>
                  <a:lnTo>
                    <a:pt x="572851" y="1314"/>
                  </a:lnTo>
                  <a:lnTo>
                    <a:pt x="1008053" y="1314"/>
                  </a:lnTo>
                  <a:cubicBezTo>
                    <a:pt x="1069530" y="5490"/>
                    <a:pt x="1105674" y="64617"/>
                    <a:pt x="1124592" y="125432"/>
                  </a:cubicBezTo>
                  <a:cubicBezTo>
                    <a:pt x="1151651" y="215338"/>
                    <a:pt x="1153556" y="253438"/>
                    <a:pt x="1155851" y="320484"/>
                  </a:cubicBez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sp>
          <p:nvSpPr>
            <p:cNvPr id="140" name="Rectangle 139">
              <a:extLst>
                <a:ext uri="{FF2B5EF4-FFF2-40B4-BE49-F238E27FC236}">
                  <a16:creationId xmlns:a16="http://schemas.microsoft.com/office/drawing/2014/main" id="{AA40A443-07B0-4865-859C-01052E83FCC3}"/>
                </a:ext>
              </a:extLst>
            </p:cNvPr>
            <p:cNvSpPr/>
            <p:nvPr/>
          </p:nvSpPr>
          <p:spPr bwMode="gray">
            <a:xfrm>
              <a:off x="2668968" y="3589638"/>
              <a:ext cx="954323"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r>
                <a:rPr lang="de-DE" sz="1000" dirty="0">
                  <a:solidFill>
                    <a:schemeClr val="tx1"/>
                  </a:solidFill>
                </a:rPr>
                <a:t>Fermentation</a:t>
              </a:r>
            </a:p>
          </p:txBody>
        </p:sp>
      </p:grpSp>
      <p:grpSp>
        <p:nvGrpSpPr>
          <p:cNvPr id="149" name="Group 148">
            <a:extLst>
              <a:ext uri="{FF2B5EF4-FFF2-40B4-BE49-F238E27FC236}">
                <a16:creationId xmlns:a16="http://schemas.microsoft.com/office/drawing/2014/main" id="{C3B01CE4-2108-402F-90EB-45A7F9830B2C}"/>
              </a:ext>
            </a:extLst>
          </p:cNvPr>
          <p:cNvGrpSpPr/>
          <p:nvPr/>
        </p:nvGrpSpPr>
        <p:grpSpPr bwMode="gray">
          <a:xfrm>
            <a:off x="6216951" y="2241418"/>
            <a:ext cx="842400" cy="518751"/>
            <a:chOff x="3496037" y="4910525"/>
            <a:chExt cx="842400" cy="518751"/>
          </a:xfrm>
        </p:grpSpPr>
        <p:sp>
          <p:nvSpPr>
            <p:cNvPr id="150" name="Rectangle: Rounded Corners 149">
              <a:extLst>
                <a:ext uri="{FF2B5EF4-FFF2-40B4-BE49-F238E27FC236}">
                  <a16:creationId xmlns:a16="http://schemas.microsoft.com/office/drawing/2014/main" id="{C15E6E32-488C-47A9-AEA1-D21CE899AE54}"/>
                </a:ext>
              </a:extLst>
            </p:cNvPr>
            <p:cNvSpPr/>
            <p:nvPr/>
          </p:nvSpPr>
          <p:spPr bwMode="gray">
            <a:xfrm>
              <a:off x="3587672" y="4910525"/>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sp>
          <p:nvSpPr>
            <p:cNvPr id="151" name="Rectangle 150">
              <a:extLst>
                <a:ext uri="{FF2B5EF4-FFF2-40B4-BE49-F238E27FC236}">
                  <a16:creationId xmlns:a16="http://schemas.microsoft.com/office/drawing/2014/main" id="{8BFD97A8-5949-4498-8D22-8A23F0E5E83C}"/>
                </a:ext>
              </a:extLst>
            </p:cNvPr>
            <p:cNvSpPr/>
            <p:nvPr/>
          </p:nvSpPr>
          <p:spPr bwMode="gray">
            <a:xfrm>
              <a:off x="3496037" y="5221261"/>
              <a:ext cx="842400" cy="2080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Gas balloon</a:t>
              </a:r>
            </a:p>
          </p:txBody>
        </p:sp>
      </p:grpSp>
      <p:sp>
        <p:nvSpPr>
          <p:cNvPr id="155" name="Freeform: Shape 154">
            <a:extLst>
              <a:ext uri="{FF2B5EF4-FFF2-40B4-BE49-F238E27FC236}">
                <a16:creationId xmlns:a16="http://schemas.microsoft.com/office/drawing/2014/main" id="{5DDBA563-F289-48BD-AEDE-FFFA20AF5421}"/>
              </a:ext>
            </a:extLst>
          </p:cNvPr>
          <p:cNvSpPr/>
          <p:nvPr/>
        </p:nvSpPr>
        <p:spPr bwMode="gray">
          <a:xfrm>
            <a:off x="7559604" y="2462830"/>
            <a:ext cx="638340" cy="1167165"/>
          </a:xfrm>
          <a:custGeom>
            <a:avLst/>
            <a:gdLst>
              <a:gd name="connsiteX0" fmla="*/ 0 w 835200"/>
              <a:gd name="connsiteY0" fmla="*/ 0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417600 w 835200"/>
              <a:gd name="connsiteY1" fmla="*/ 0 h 1973608"/>
              <a:gd name="connsiteX2" fmla="*/ 626400 w 835200"/>
              <a:gd name="connsiteY2" fmla="*/ 0 h 1973608"/>
              <a:gd name="connsiteX3" fmla="*/ 835200 w 835200"/>
              <a:gd name="connsiteY3" fmla="*/ 0 h 1973608"/>
              <a:gd name="connsiteX4" fmla="*/ 835200 w 835200"/>
              <a:gd name="connsiteY4" fmla="*/ 197361 h 1973608"/>
              <a:gd name="connsiteX5" fmla="*/ 835200 w 835200"/>
              <a:gd name="connsiteY5" fmla="*/ 197362 h 1973608"/>
              <a:gd name="connsiteX6" fmla="*/ 835200 w 835200"/>
              <a:gd name="connsiteY6" fmla="*/ 394723 h 1973608"/>
              <a:gd name="connsiteX7" fmla="*/ 835200 w 835200"/>
              <a:gd name="connsiteY7" fmla="*/ 592083 h 1973608"/>
              <a:gd name="connsiteX8" fmla="*/ 835200 w 835200"/>
              <a:gd name="connsiteY8" fmla="*/ 592085 h 1973608"/>
              <a:gd name="connsiteX9" fmla="*/ 835200 w 835200"/>
              <a:gd name="connsiteY9" fmla="*/ 789444 h 1973608"/>
              <a:gd name="connsiteX10" fmla="*/ 835200 w 835200"/>
              <a:gd name="connsiteY10" fmla="*/ 789445 h 1973608"/>
              <a:gd name="connsiteX11" fmla="*/ 835200 w 835200"/>
              <a:gd name="connsiteY11" fmla="*/ 986804 h 1973608"/>
              <a:gd name="connsiteX12" fmla="*/ 835200 w 835200"/>
              <a:gd name="connsiteY12" fmla="*/ 986806 h 1973608"/>
              <a:gd name="connsiteX13" fmla="*/ 835200 w 835200"/>
              <a:gd name="connsiteY13" fmla="*/ 1184165 h 1973608"/>
              <a:gd name="connsiteX14" fmla="*/ 835200 w 835200"/>
              <a:gd name="connsiteY14" fmla="*/ 1184166 h 1973608"/>
              <a:gd name="connsiteX15" fmla="*/ 835200 w 835200"/>
              <a:gd name="connsiteY15" fmla="*/ 1381525 h 1973608"/>
              <a:gd name="connsiteX16" fmla="*/ 835200 w 835200"/>
              <a:gd name="connsiteY16" fmla="*/ 1381527 h 1973608"/>
              <a:gd name="connsiteX17" fmla="*/ 835200 w 835200"/>
              <a:gd name="connsiteY17" fmla="*/ 1578886 h 1973608"/>
              <a:gd name="connsiteX18" fmla="*/ 835200 w 835200"/>
              <a:gd name="connsiteY18" fmla="*/ 1578887 h 1973608"/>
              <a:gd name="connsiteX19" fmla="*/ 835200 w 835200"/>
              <a:gd name="connsiteY19" fmla="*/ 1776246 h 1973608"/>
              <a:gd name="connsiteX20" fmla="*/ 835200 w 835200"/>
              <a:gd name="connsiteY20" fmla="*/ 1776248 h 1973608"/>
              <a:gd name="connsiteX21" fmla="*/ 835200 w 835200"/>
              <a:gd name="connsiteY21" fmla="*/ 1973608 h 1973608"/>
              <a:gd name="connsiteX22" fmla="*/ 626400 w 835200"/>
              <a:gd name="connsiteY22" fmla="*/ 1973608 h 1973608"/>
              <a:gd name="connsiteX23" fmla="*/ 417600 w 835200"/>
              <a:gd name="connsiteY23" fmla="*/ 1973608 h 1973608"/>
              <a:gd name="connsiteX24" fmla="*/ 208800 w 835200"/>
              <a:gd name="connsiteY24" fmla="*/ 1973608 h 1973608"/>
              <a:gd name="connsiteX25" fmla="*/ 0 w 835200"/>
              <a:gd name="connsiteY25" fmla="*/ 1973608 h 1973608"/>
              <a:gd name="connsiteX26" fmla="*/ 0 w 835200"/>
              <a:gd name="connsiteY26" fmla="*/ 1776248 h 1973608"/>
              <a:gd name="connsiteX27" fmla="*/ 0 w 835200"/>
              <a:gd name="connsiteY27" fmla="*/ 1776246 h 1973608"/>
              <a:gd name="connsiteX28" fmla="*/ 0 w 835200"/>
              <a:gd name="connsiteY28" fmla="*/ 1578887 h 1973608"/>
              <a:gd name="connsiteX29" fmla="*/ 0 w 835200"/>
              <a:gd name="connsiteY29" fmla="*/ 1578886 h 1973608"/>
              <a:gd name="connsiteX30" fmla="*/ 0 w 835200"/>
              <a:gd name="connsiteY30" fmla="*/ 1381527 h 1973608"/>
              <a:gd name="connsiteX31" fmla="*/ 0 w 835200"/>
              <a:gd name="connsiteY31" fmla="*/ 1381525 h 1973608"/>
              <a:gd name="connsiteX32" fmla="*/ 0 w 835200"/>
              <a:gd name="connsiteY32" fmla="*/ 1184166 h 1973608"/>
              <a:gd name="connsiteX33" fmla="*/ 0 w 835200"/>
              <a:gd name="connsiteY33" fmla="*/ 1184165 h 1973608"/>
              <a:gd name="connsiteX34" fmla="*/ 0 w 835200"/>
              <a:gd name="connsiteY34" fmla="*/ 986806 h 1973608"/>
              <a:gd name="connsiteX35" fmla="*/ 0 w 835200"/>
              <a:gd name="connsiteY35" fmla="*/ 986804 h 1973608"/>
              <a:gd name="connsiteX36" fmla="*/ 0 w 835200"/>
              <a:gd name="connsiteY36" fmla="*/ 789445 h 1973608"/>
              <a:gd name="connsiteX37" fmla="*/ 0 w 835200"/>
              <a:gd name="connsiteY37" fmla="*/ 789444 h 1973608"/>
              <a:gd name="connsiteX38" fmla="*/ 0 w 835200"/>
              <a:gd name="connsiteY38" fmla="*/ 592085 h 1973608"/>
              <a:gd name="connsiteX39" fmla="*/ 0 w 835200"/>
              <a:gd name="connsiteY39" fmla="*/ 592083 h 1973608"/>
              <a:gd name="connsiteX40" fmla="*/ 0 w 835200"/>
              <a:gd name="connsiteY40" fmla="*/ 394723 h 1973608"/>
              <a:gd name="connsiteX41" fmla="*/ 0 w 835200"/>
              <a:gd name="connsiteY41" fmla="*/ 197362 h 1973608"/>
              <a:gd name="connsiteX42" fmla="*/ 0 w 835200"/>
              <a:gd name="connsiteY42" fmla="*/ 197361 h 1973608"/>
              <a:gd name="connsiteX0" fmla="*/ 0 w 835200"/>
              <a:gd name="connsiteY0" fmla="*/ 197361 h 1973608"/>
              <a:gd name="connsiteX1" fmla="*/ 417600 w 835200"/>
              <a:gd name="connsiteY1" fmla="*/ 0 h 1973608"/>
              <a:gd name="connsiteX2" fmla="*/ 835200 w 835200"/>
              <a:gd name="connsiteY2" fmla="*/ 0 h 1973608"/>
              <a:gd name="connsiteX3" fmla="*/ 835200 w 835200"/>
              <a:gd name="connsiteY3" fmla="*/ 197361 h 1973608"/>
              <a:gd name="connsiteX4" fmla="*/ 835200 w 835200"/>
              <a:gd name="connsiteY4" fmla="*/ 197362 h 1973608"/>
              <a:gd name="connsiteX5" fmla="*/ 835200 w 835200"/>
              <a:gd name="connsiteY5" fmla="*/ 394723 h 1973608"/>
              <a:gd name="connsiteX6" fmla="*/ 835200 w 835200"/>
              <a:gd name="connsiteY6" fmla="*/ 592083 h 1973608"/>
              <a:gd name="connsiteX7" fmla="*/ 835200 w 835200"/>
              <a:gd name="connsiteY7" fmla="*/ 592085 h 1973608"/>
              <a:gd name="connsiteX8" fmla="*/ 835200 w 835200"/>
              <a:gd name="connsiteY8" fmla="*/ 789444 h 1973608"/>
              <a:gd name="connsiteX9" fmla="*/ 835200 w 835200"/>
              <a:gd name="connsiteY9" fmla="*/ 789445 h 1973608"/>
              <a:gd name="connsiteX10" fmla="*/ 835200 w 835200"/>
              <a:gd name="connsiteY10" fmla="*/ 986804 h 1973608"/>
              <a:gd name="connsiteX11" fmla="*/ 835200 w 835200"/>
              <a:gd name="connsiteY11" fmla="*/ 986806 h 1973608"/>
              <a:gd name="connsiteX12" fmla="*/ 835200 w 835200"/>
              <a:gd name="connsiteY12" fmla="*/ 1184165 h 1973608"/>
              <a:gd name="connsiteX13" fmla="*/ 835200 w 835200"/>
              <a:gd name="connsiteY13" fmla="*/ 1184166 h 1973608"/>
              <a:gd name="connsiteX14" fmla="*/ 835200 w 835200"/>
              <a:gd name="connsiteY14" fmla="*/ 1381525 h 1973608"/>
              <a:gd name="connsiteX15" fmla="*/ 835200 w 835200"/>
              <a:gd name="connsiteY15" fmla="*/ 1381527 h 1973608"/>
              <a:gd name="connsiteX16" fmla="*/ 835200 w 835200"/>
              <a:gd name="connsiteY16" fmla="*/ 1578886 h 1973608"/>
              <a:gd name="connsiteX17" fmla="*/ 835200 w 835200"/>
              <a:gd name="connsiteY17" fmla="*/ 1578887 h 1973608"/>
              <a:gd name="connsiteX18" fmla="*/ 835200 w 835200"/>
              <a:gd name="connsiteY18" fmla="*/ 1776246 h 1973608"/>
              <a:gd name="connsiteX19" fmla="*/ 835200 w 835200"/>
              <a:gd name="connsiteY19" fmla="*/ 1776248 h 1973608"/>
              <a:gd name="connsiteX20" fmla="*/ 835200 w 835200"/>
              <a:gd name="connsiteY20" fmla="*/ 1973608 h 1973608"/>
              <a:gd name="connsiteX21" fmla="*/ 626400 w 835200"/>
              <a:gd name="connsiteY21" fmla="*/ 1973608 h 1973608"/>
              <a:gd name="connsiteX22" fmla="*/ 417600 w 835200"/>
              <a:gd name="connsiteY22" fmla="*/ 1973608 h 1973608"/>
              <a:gd name="connsiteX23" fmla="*/ 208800 w 835200"/>
              <a:gd name="connsiteY23" fmla="*/ 1973608 h 1973608"/>
              <a:gd name="connsiteX24" fmla="*/ 0 w 835200"/>
              <a:gd name="connsiteY24" fmla="*/ 1973608 h 1973608"/>
              <a:gd name="connsiteX25" fmla="*/ 0 w 835200"/>
              <a:gd name="connsiteY25" fmla="*/ 1776248 h 1973608"/>
              <a:gd name="connsiteX26" fmla="*/ 0 w 835200"/>
              <a:gd name="connsiteY26" fmla="*/ 1776246 h 1973608"/>
              <a:gd name="connsiteX27" fmla="*/ 0 w 835200"/>
              <a:gd name="connsiteY27" fmla="*/ 1578887 h 1973608"/>
              <a:gd name="connsiteX28" fmla="*/ 0 w 835200"/>
              <a:gd name="connsiteY28" fmla="*/ 1578886 h 1973608"/>
              <a:gd name="connsiteX29" fmla="*/ 0 w 835200"/>
              <a:gd name="connsiteY29" fmla="*/ 1381527 h 1973608"/>
              <a:gd name="connsiteX30" fmla="*/ 0 w 835200"/>
              <a:gd name="connsiteY30" fmla="*/ 1381525 h 1973608"/>
              <a:gd name="connsiteX31" fmla="*/ 0 w 835200"/>
              <a:gd name="connsiteY31" fmla="*/ 1184166 h 1973608"/>
              <a:gd name="connsiteX32" fmla="*/ 0 w 835200"/>
              <a:gd name="connsiteY32" fmla="*/ 1184165 h 1973608"/>
              <a:gd name="connsiteX33" fmla="*/ 0 w 835200"/>
              <a:gd name="connsiteY33" fmla="*/ 986806 h 1973608"/>
              <a:gd name="connsiteX34" fmla="*/ 0 w 835200"/>
              <a:gd name="connsiteY34" fmla="*/ 986804 h 1973608"/>
              <a:gd name="connsiteX35" fmla="*/ 0 w 835200"/>
              <a:gd name="connsiteY35" fmla="*/ 789445 h 1973608"/>
              <a:gd name="connsiteX36" fmla="*/ 0 w 835200"/>
              <a:gd name="connsiteY36" fmla="*/ 789444 h 1973608"/>
              <a:gd name="connsiteX37" fmla="*/ 0 w 835200"/>
              <a:gd name="connsiteY37" fmla="*/ 592085 h 1973608"/>
              <a:gd name="connsiteX38" fmla="*/ 0 w 835200"/>
              <a:gd name="connsiteY38" fmla="*/ 592083 h 1973608"/>
              <a:gd name="connsiteX39" fmla="*/ 0 w 835200"/>
              <a:gd name="connsiteY39" fmla="*/ 394723 h 1973608"/>
              <a:gd name="connsiteX40" fmla="*/ 0 w 835200"/>
              <a:gd name="connsiteY40" fmla="*/ 197362 h 1973608"/>
              <a:gd name="connsiteX41" fmla="*/ 0 w 835200"/>
              <a:gd name="connsiteY41"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973608 h 1973608"/>
              <a:gd name="connsiteX24" fmla="*/ 0 w 835200"/>
              <a:gd name="connsiteY24" fmla="*/ 1776248 h 1973608"/>
              <a:gd name="connsiteX25" fmla="*/ 0 w 835200"/>
              <a:gd name="connsiteY25" fmla="*/ 1776246 h 1973608"/>
              <a:gd name="connsiteX26" fmla="*/ 0 w 835200"/>
              <a:gd name="connsiteY26" fmla="*/ 1578887 h 1973608"/>
              <a:gd name="connsiteX27" fmla="*/ 0 w 835200"/>
              <a:gd name="connsiteY27" fmla="*/ 1578886 h 1973608"/>
              <a:gd name="connsiteX28" fmla="*/ 0 w 835200"/>
              <a:gd name="connsiteY28" fmla="*/ 1381527 h 1973608"/>
              <a:gd name="connsiteX29" fmla="*/ 0 w 835200"/>
              <a:gd name="connsiteY29" fmla="*/ 1381525 h 1973608"/>
              <a:gd name="connsiteX30" fmla="*/ 0 w 835200"/>
              <a:gd name="connsiteY30" fmla="*/ 1184166 h 1973608"/>
              <a:gd name="connsiteX31" fmla="*/ 0 w 835200"/>
              <a:gd name="connsiteY31" fmla="*/ 1184165 h 1973608"/>
              <a:gd name="connsiteX32" fmla="*/ 0 w 835200"/>
              <a:gd name="connsiteY32" fmla="*/ 986806 h 1973608"/>
              <a:gd name="connsiteX33" fmla="*/ 0 w 835200"/>
              <a:gd name="connsiteY33" fmla="*/ 986804 h 1973608"/>
              <a:gd name="connsiteX34" fmla="*/ 0 w 835200"/>
              <a:gd name="connsiteY34" fmla="*/ 789445 h 1973608"/>
              <a:gd name="connsiteX35" fmla="*/ 0 w 835200"/>
              <a:gd name="connsiteY35" fmla="*/ 789444 h 1973608"/>
              <a:gd name="connsiteX36" fmla="*/ 0 w 835200"/>
              <a:gd name="connsiteY36" fmla="*/ 592085 h 1973608"/>
              <a:gd name="connsiteX37" fmla="*/ 0 w 835200"/>
              <a:gd name="connsiteY37" fmla="*/ 592083 h 1973608"/>
              <a:gd name="connsiteX38" fmla="*/ 0 w 835200"/>
              <a:gd name="connsiteY38" fmla="*/ 394723 h 1973608"/>
              <a:gd name="connsiteX39" fmla="*/ 0 w 835200"/>
              <a:gd name="connsiteY39" fmla="*/ 197362 h 1973608"/>
              <a:gd name="connsiteX40" fmla="*/ 0 w 835200"/>
              <a:gd name="connsiteY40"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776248 h 1973608"/>
              <a:gd name="connsiteX24" fmla="*/ 0 w 835200"/>
              <a:gd name="connsiteY24" fmla="*/ 1776246 h 1973608"/>
              <a:gd name="connsiteX25" fmla="*/ 0 w 835200"/>
              <a:gd name="connsiteY25" fmla="*/ 1578887 h 1973608"/>
              <a:gd name="connsiteX26" fmla="*/ 0 w 835200"/>
              <a:gd name="connsiteY26" fmla="*/ 1578886 h 1973608"/>
              <a:gd name="connsiteX27" fmla="*/ 0 w 835200"/>
              <a:gd name="connsiteY27" fmla="*/ 1381527 h 1973608"/>
              <a:gd name="connsiteX28" fmla="*/ 0 w 835200"/>
              <a:gd name="connsiteY28" fmla="*/ 1381525 h 1973608"/>
              <a:gd name="connsiteX29" fmla="*/ 0 w 835200"/>
              <a:gd name="connsiteY29" fmla="*/ 1184166 h 1973608"/>
              <a:gd name="connsiteX30" fmla="*/ 0 w 835200"/>
              <a:gd name="connsiteY30" fmla="*/ 1184165 h 1973608"/>
              <a:gd name="connsiteX31" fmla="*/ 0 w 835200"/>
              <a:gd name="connsiteY31" fmla="*/ 986806 h 1973608"/>
              <a:gd name="connsiteX32" fmla="*/ 0 w 835200"/>
              <a:gd name="connsiteY32" fmla="*/ 986804 h 1973608"/>
              <a:gd name="connsiteX33" fmla="*/ 0 w 835200"/>
              <a:gd name="connsiteY33" fmla="*/ 789445 h 1973608"/>
              <a:gd name="connsiteX34" fmla="*/ 0 w 835200"/>
              <a:gd name="connsiteY34" fmla="*/ 789444 h 1973608"/>
              <a:gd name="connsiteX35" fmla="*/ 0 w 835200"/>
              <a:gd name="connsiteY35" fmla="*/ 592085 h 1973608"/>
              <a:gd name="connsiteX36" fmla="*/ 0 w 835200"/>
              <a:gd name="connsiteY36" fmla="*/ 592083 h 1973608"/>
              <a:gd name="connsiteX37" fmla="*/ 0 w 835200"/>
              <a:gd name="connsiteY37" fmla="*/ 394723 h 1973608"/>
              <a:gd name="connsiteX38" fmla="*/ 0 w 835200"/>
              <a:gd name="connsiteY38" fmla="*/ 197362 h 1973608"/>
              <a:gd name="connsiteX39" fmla="*/ 0 w 835200"/>
              <a:gd name="connsiteY39"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0 w 835200"/>
              <a:gd name="connsiteY22" fmla="*/ 1776248 h 1973608"/>
              <a:gd name="connsiteX23" fmla="*/ 0 w 835200"/>
              <a:gd name="connsiteY23" fmla="*/ 1776246 h 1973608"/>
              <a:gd name="connsiteX24" fmla="*/ 0 w 835200"/>
              <a:gd name="connsiteY24" fmla="*/ 1578887 h 1973608"/>
              <a:gd name="connsiteX25" fmla="*/ 0 w 835200"/>
              <a:gd name="connsiteY25" fmla="*/ 1578886 h 1973608"/>
              <a:gd name="connsiteX26" fmla="*/ 0 w 835200"/>
              <a:gd name="connsiteY26" fmla="*/ 1381527 h 1973608"/>
              <a:gd name="connsiteX27" fmla="*/ 0 w 835200"/>
              <a:gd name="connsiteY27" fmla="*/ 1381525 h 1973608"/>
              <a:gd name="connsiteX28" fmla="*/ 0 w 835200"/>
              <a:gd name="connsiteY28" fmla="*/ 1184166 h 1973608"/>
              <a:gd name="connsiteX29" fmla="*/ 0 w 835200"/>
              <a:gd name="connsiteY29" fmla="*/ 1184165 h 1973608"/>
              <a:gd name="connsiteX30" fmla="*/ 0 w 835200"/>
              <a:gd name="connsiteY30" fmla="*/ 986806 h 1973608"/>
              <a:gd name="connsiteX31" fmla="*/ 0 w 835200"/>
              <a:gd name="connsiteY31" fmla="*/ 986804 h 1973608"/>
              <a:gd name="connsiteX32" fmla="*/ 0 w 835200"/>
              <a:gd name="connsiteY32" fmla="*/ 789445 h 1973608"/>
              <a:gd name="connsiteX33" fmla="*/ 0 w 835200"/>
              <a:gd name="connsiteY33" fmla="*/ 789444 h 1973608"/>
              <a:gd name="connsiteX34" fmla="*/ 0 w 835200"/>
              <a:gd name="connsiteY34" fmla="*/ 592085 h 1973608"/>
              <a:gd name="connsiteX35" fmla="*/ 0 w 835200"/>
              <a:gd name="connsiteY35" fmla="*/ 592083 h 1973608"/>
              <a:gd name="connsiteX36" fmla="*/ 0 w 835200"/>
              <a:gd name="connsiteY36" fmla="*/ 394723 h 1973608"/>
              <a:gd name="connsiteX37" fmla="*/ 0 w 835200"/>
              <a:gd name="connsiteY37" fmla="*/ 197362 h 1973608"/>
              <a:gd name="connsiteX38" fmla="*/ 0 w 835200"/>
              <a:gd name="connsiteY38"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417600 w 835200"/>
              <a:gd name="connsiteY20" fmla="*/ 1973608 h 1973608"/>
              <a:gd name="connsiteX21" fmla="*/ 0 w 835200"/>
              <a:gd name="connsiteY21" fmla="*/ 1776248 h 1973608"/>
              <a:gd name="connsiteX22" fmla="*/ 0 w 835200"/>
              <a:gd name="connsiteY22" fmla="*/ 1776246 h 1973608"/>
              <a:gd name="connsiteX23" fmla="*/ 0 w 835200"/>
              <a:gd name="connsiteY23" fmla="*/ 1578887 h 1973608"/>
              <a:gd name="connsiteX24" fmla="*/ 0 w 835200"/>
              <a:gd name="connsiteY24" fmla="*/ 1578886 h 1973608"/>
              <a:gd name="connsiteX25" fmla="*/ 0 w 835200"/>
              <a:gd name="connsiteY25" fmla="*/ 1381527 h 1973608"/>
              <a:gd name="connsiteX26" fmla="*/ 0 w 835200"/>
              <a:gd name="connsiteY26" fmla="*/ 1381525 h 1973608"/>
              <a:gd name="connsiteX27" fmla="*/ 0 w 835200"/>
              <a:gd name="connsiteY27" fmla="*/ 1184166 h 1973608"/>
              <a:gd name="connsiteX28" fmla="*/ 0 w 835200"/>
              <a:gd name="connsiteY28" fmla="*/ 1184165 h 1973608"/>
              <a:gd name="connsiteX29" fmla="*/ 0 w 835200"/>
              <a:gd name="connsiteY29" fmla="*/ 986806 h 1973608"/>
              <a:gd name="connsiteX30" fmla="*/ 0 w 835200"/>
              <a:gd name="connsiteY30" fmla="*/ 986804 h 1973608"/>
              <a:gd name="connsiteX31" fmla="*/ 0 w 835200"/>
              <a:gd name="connsiteY31" fmla="*/ 789445 h 1973608"/>
              <a:gd name="connsiteX32" fmla="*/ 0 w 835200"/>
              <a:gd name="connsiteY32" fmla="*/ 789444 h 1973608"/>
              <a:gd name="connsiteX33" fmla="*/ 0 w 835200"/>
              <a:gd name="connsiteY33" fmla="*/ 592085 h 1973608"/>
              <a:gd name="connsiteX34" fmla="*/ 0 w 835200"/>
              <a:gd name="connsiteY34" fmla="*/ 592083 h 1973608"/>
              <a:gd name="connsiteX35" fmla="*/ 0 w 835200"/>
              <a:gd name="connsiteY35" fmla="*/ 394723 h 1973608"/>
              <a:gd name="connsiteX36" fmla="*/ 0 w 835200"/>
              <a:gd name="connsiteY36" fmla="*/ 197362 h 1973608"/>
              <a:gd name="connsiteX37" fmla="*/ 0 w 835200"/>
              <a:gd name="connsiteY37"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417600 w 835200"/>
              <a:gd name="connsiteY19" fmla="*/ 1973608 h 1973608"/>
              <a:gd name="connsiteX20" fmla="*/ 0 w 835200"/>
              <a:gd name="connsiteY20" fmla="*/ 1776248 h 1973608"/>
              <a:gd name="connsiteX21" fmla="*/ 0 w 835200"/>
              <a:gd name="connsiteY21" fmla="*/ 1776246 h 1973608"/>
              <a:gd name="connsiteX22" fmla="*/ 0 w 835200"/>
              <a:gd name="connsiteY22" fmla="*/ 1578887 h 1973608"/>
              <a:gd name="connsiteX23" fmla="*/ 0 w 835200"/>
              <a:gd name="connsiteY23" fmla="*/ 1578886 h 1973608"/>
              <a:gd name="connsiteX24" fmla="*/ 0 w 835200"/>
              <a:gd name="connsiteY24" fmla="*/ 1381527 h 1973608"/>
              <a:gd name="connsiteX25" fmla="*/ 0 w 835200"/>
              <a:gd name="connsiteY25" fmla="*/ 1381525 h 1973608"/>
              <a:gd name="connsiteX26" fmla="*/ 0 w 835200"/>
              <a:gd name="connsiteY26" fmla="*/ 1184166 h 1973608"/>
              <a:gd name="connsiteX27" fmla="*/ 0 w 835200"/>
              <a:gd name="connsiteY27" fmla="*/ 1184165 h 1973608"/>
              <a:gd name="connsiteX28" fmla="*/ 0 w 835200"/>
              <a:gd name="connsiteY28" fmla="*/ 986806 h 1973608"/>
              <a:gd name="connsiteX29" fmla="*/ 0 w 835200"/>
              <a:gd name="connsiteY29" fmla="*/ 986804 h 1973608"/>
              <a:gd name="connsiteX30" fmla="*/ 0 w 835200"/>
              <a:gd name="connsiteY30" fmla="*/ 789445 h 1973608"/>
              <a:gd name="connsiteX31" fmla="*/ 0 w 835200"/>
              <a:gd name="connsiteY31" fmla="*/ 789444 h 1973608"/>
              <a:gd name="connsiteX32" fmla="*/ 0 w 835200"/>
              <a:gd name="connsiteY32" fmla="*/ 592085 h 1973608"/>
              <a:gd name="connsiteX33" fmla="*/ 0 w 835200"/>
              <a:gd name="connsiteY33" fmla="*/ 592083 h 1973608"/>
              <a:gd name="connsiteX34" fmla="*/ 0 w 835200"/>
              <a:gd name="connsiteY34" fmla="*/ 394723 h 1973608"/>
              <a:gd name="connsiteX35" fmla="*/ 0 w 835200"/>
              <a:gd name="connsiteY35" fmla="*/ 197362 h 1973608"/>
              <a:gd name="connsiteX36" fmla="*/ 0 w 835200"/>
              <a:gd name="connsiteY36" fmla="*/ 197361 h 197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35200" h="1973608">
                <a:moveTo>
                  <a:pt x="0" y="197361"/>
                </a:moveTo>
                <a:lnTo>
                  <a:pt x="417600" y="0"/>
                </a:lnTo>
                <a:lnTo>
                  <a:pt x="835200" y="197361"/>
                </a:lnTo>
                <a:lnTo>
                  <a:pt x="835200" y="197362"/>
                </a:lnTo>
                <a:lnTo>
                  <a:pt x="835200" y="394723"/>
                </a:lnTo>
                <a:lnTo>
                  <a:pt x="835200" y="592083"/>
                </a:lnTo>
                <a:lnTo>
                  <a:pt x="835200" y="592085"/>
                </a:lnTo>
                <a:lnTo>
                  <a:pt x="835200" y="789444"/>
                </a:lnTo>
                <a:lnTo>
                  <a:pt x="835200" y="789445"/>
                </a:lnTo>
                <a:lnTo>
                  <a:pt x="835200" y="986804"/>
                </a:lnTo>
                <a:lnTo>
                  <a:pt x="835200" y="986806"/>
                </a:lnTo>
                <a:lnTo>
                  <a:pt x="835200" y="1184165"/>
                </a:lnTo>
                <a:lnTo>
                  <a:pt x="835200" y="1184166"/>
                </a:lnTo>
                <a:lnTo>
                  <a:pt x="835200" y="1381525"/>
                </a:lnTo>
                <a:lnTo>
                  <a:pt x="835200" y="1381527"/>
                </a:lnTo>
                <a:lnTo>
                  <a:pt x="835200" y="1578886"/>
                </a:lnTo>
                <a:lnTo>
                  <a:pt x="835200" y="1578887"/>
                </a:lnTo>
                <a:lnTo>
                  <a:pt x="835200" y="1776246"/>
                </a:lnTo>
                <a:lnTo>
                  <a:pt x="835200" y="1776248"/>
                </a:lnTo>
                <a:lnTo>
                  <a:pt x="417600" y="1973608"/>
                </a:lnTo>
                <a:lnTo>
                  <a:pt x="0" y="1776248"/>
                </a:lnTo>
                <a:lnTo>
                  <a:pt x="0" y="1776246"/>
                </a:lnTo>
                <a:lnTo>
                  <a:pt x="0" y="1578887"/>
                </a:lnTo>
                <a:lnTo>
                  <a:pt x="0" y="1578886"/>
                </a:lnTo>
                <a:lnTo>
                  <a:pt x="0" y="1381527"/>
                </a:lnTo>
                <a:lnTo>
                  <a:pt x="0" y="1381525"/>
                </a:lnTo>
                <a:lnTo>
                  <a:pt x="0" y="1184166"/>
                </a:lnTo>
                <a:lnTo>
                  <a:pt x="0" y="1184165"/>
                </a:lnTo>
                <a:lnTo>
                  <a:pt x="0" y="986806"/>
                </a:lnTo>
                <a:lnTo>
                  <a:pt x="0" y="986804"/>
                </a:lnTo>
                <a:lnTo>
                  <a:pt x="0" y="789445"/>
                </a:lnTo>
                <a:lnTo>
                  <a:pt x="0" y="789444"/>
                </a:lnTo>
                <a:lnTo>
                  <a:pt x="0" y="592085"/>
                </a:lnTo>
                <a:lnTo>
                  <a:pt x="0" y="592083"/>
                </a:lnTo>
                <a:lnTo>
                  <a:pt x="0" y="394723"/>
                </a:lnTo>
                <a:lnTo>
                  <a:pt x="0" y="197362"/>
                </a:lnTo>
                <a:lnTo>
                  <a:pt x="0" y="197361"/>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spcBef>
                <a:spcPts val="300"/>
              </a:spcBef>
              <a:buClr>
                <a:srgbClr val="002897"/>
              </a:buClr>
              <a:buSzPct val="70000"/>
            </a:pPr>
            <a:r>
              <a:rPr lang="de-DE" sz="1000" dirty="0">
                <a:solidFill>
                  <a:schemeClr val="tx1"/>
                </a:solidFill>
              </a:rPr>
              <a:t>Scrubber</a:t>
            </a:r>
          </a:p>
        </p:txBody>
      </p:sp>
      <p:grpSp>
        <p:nvGrpSpPr>
          <p:cNvPr id="159" name="Group 158">
            <a:extLst>
              <a:ext uri="{FF2B5EF4-FFF2-40B4-BE49-F238E27FC236}">
                <a16:creationId xmlns:a16="http://schemas.microsoft.com/office/drawing/2014/main" id="{EC8C5340-854D-4832-95D9-F688AEFAA656}"/>
              </a:ext>
            </a:extLst>
          </p:cNvPr>
          <p:cNvGrpSpPr/>
          <p:nvPr/>
        </p:nvGrpSpPr>
        <p:grpSpPr bwMode="gray">
          <a:xfrm>
            <a:off x="6880076" y="4143143"/>
            <a:ext cx="735978" cy="664219"/>
            <a:chOff x="13517842" y="3811749"/>
            <a:chExt cx="735978" cy="664219"/>
          </a:xfrm>
        </p:grpSpPr>
        <p:sp>
          <p:nvSpPr>
            <p:cNvPr id="160" name="Oval 159">
              <a:extLst>
                <a:ext uri="{FF2B5EF4-FFF2-40B4-BE49-F238E27FC236}">
                  <a16:creationId xmlns:a16="http://schemas.microsoft.com/office/drawing/2014/main" id="{D3C46BDF-BF22-4B21-B2FA-D3E79C0A04CB}"/>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161" name="Freeform: Shape 160">
              <a:extLst>
                <a:ext uri="{FF2B5EF4-FFF2-40B4-BE49-F238E27FC236}">
                  <a16:creationId xmlns:a16="http://schemas.microsoft.com/office/drawing/2014/main" id="{2ED0F562-CF37-4BC5-BC34-6DA3B1791FDA}"/>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a:solidFill>
                  <a:schemeClr val="tx1"/>
                </a:solidFill>
              </a:endParaRPr>
            </a:p>
          </p:txBody>
        </p:sp>
        <p:sp>
          <p:nvSpPr>
            <p:cNvPr id="162" name="Rectangle 161">
              <a:extLst>
                <a:ext uri="{FF2B5EF4-FFF2-40B4-BE49-F238E27FC236}">
                  <a16:creationId xmlns:a16="http://schemas.microsoft.com/office/drawing/2014/main" id="{B22D110F-9576-48FC-979D-425D5E5FA0D2}"/>
                </a:ext>
              </a:extLst>
            </p:cNvPr>
            <p:cNvSpPr/>
            <p:nvPr/>
          </p:nvSpPr>
          <p:spPr bwMode="gray">
            <a:xfrm>
              <a:off x="13517842" y="4122486"/>
              <a:ext cx="735978"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a:t>
              </a:r>
              <a:r>
                <a:rPr lang="de-DE" sz="1000" baseline="-25000" dirty="0">
                  <a:solidFill>
                    <a:schemeClr val="tx1"/>
                  </a:solidFill>
                </a:rPr>
                <a:t>2</a:t>
              </a:r>
              <a:r>
                <a:rPr lang="de-DE" sz="1000" dirty="0">
                  <a:solidFill>
                    <a:schemeClr val="tx1"/>
                  </a:solidFill>
                </a:rPr>
                <a:t> </a:t>
              </a:r>
              <a:br>
                <a:rPr lang="de-DE" sz="1000" dirty="0">
                  <a:solidFill>
                    <a:schemeClr val="tx1"/>
                  </a:solidFill>
                </a:rPr>
              </a:br>
              <a:r>
                <a:rPr lang="de-DE" sz="1000" dirty="0">
                  <a:solidFill>
                    <a:schemeClr val="tx1"/>
                  </a:solidFill>
                </a:rPr>
                <a:t>condenser</a:t>
              </a:r>
            </a:p>
          </p:txBody>
        </p:sp>
      </p:grpSp>
      <p:grpSp>
        <p:nvGrpSpPr>
          <p:cNvPr id="163" name="Group 162">
            <a:extLst>
              <a:ext uri="{FF2B5EF4-FFF2-40B4-BE49-F238E27FC236}">
                <a16:creationId xmlns:a16="http://schemas.microsoft.com/office/drawing/2014/main" id="{461D0D54-C3FD-4AA0-ADF9-39A66B003021}"/>
              </a:ext>
            </a:extLst>
          </p:cNvPr>
          <p:cNvGrpSpPr/>
          <p:nvPr/>
        </p:nvGrpSpPr>
        <p:grpSpPr bwMode="gray">
          <a:xfrm>
            <a:off x="3624184" y="4118230"/>
            <a:ext cx="843866" cy="689132"/>
            <a:chOff x="12657918" y="3811752"/>
            <a:chExt cx="843866" cy="689132"/>
          </a:xfrm>
        </p:grpSpPr>
        <p:sp>
          <p:nvSpPr>
            <p:cNvPr id="164" name="Trapezoid 163">
              <a:extLst>
                <a:ext uri="{FF2B5EF4-FFF2-40B4-BE49-F238E27FC236}">
                  <a16:creationId xmlns:a16="http://schemas.microsoft.com/office/drawing/2014/main" id="{C8F5FBB3-C376-4A36-A0B9-CABDC8B303AF}"/>
                </a:ext>
              </a:extLst>
            </p:cNvPr>
            <p:cNvSpPr/>
            <p:nvPr/>
          </p:nvSpPr>
          <p:spPr bwMode="gray">
            <a:xfrm rot="5400000">
              <a:off x="12924484" y="3847225"/>
              <a:ext cx="310734" cy="239787"/>
            </a:xfrm>
            <a:prstGeom prst="trapezoid">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sp>
          <p:nvSpPr>
            <p:cNvPr id="165" name="Rectangle 164">
              <a:extLst>
                <a:ext uri="{FF2B5EF4-FFF2-40B4-BE49-F238E27FC236}">
                  <a16:creationId xmlns:a16="http://schemas.microsoft.com/office/drawing/2014/main" id="{0D69D243-4690-44D2-95F7-FB2E4B52847B}"/>
                </a:ext>
              </a:extLst>
            </p:cNvPr>
            <p:cNvSpPr/>
            <p:nvPr/>
          </p:nvSpPr>
          <p:spPr bwMode="gray">
            <a:xfrm>
              <a:off x="12657918" y="4122485"/>
              <a:ext cx="843866" cy="3783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a:t>
              </a:r>
              <a:r>
                <a:rPr lang="de-DE" sz="1000" baseline="-25000" dirty="0">
                  <a:solidFill>
                    <a:schemeClr val="tx1"/>
                  </a:solidFill>
                </a:rPr>
                <a:t>2</a:t>
              </a:r>
              <a:r>
                <a:rPr lang="de-DE" sz="1000" dirty="0">
                  <a:solidFill>
                    <a:schemeClr val="tx1"/>
                  </a:solidFill>
                </a:rPr>
                <a:t> </a:t>
              </a:r>
              <a:br>
                <a:rPr lang="de-DE" sz="1000" dirty="0">
                  <a:solidFill>
                    <a:schemeClr val="tx1"/>
                  </a:solidFill>
                </a:rPr>
              </a:br>
              <a:r>
                <a:rPr lang="de-DE" sz="1000" dirty="0">
                  <a:solidFill>
                    <a:schemeClr val="tx1"/>
                  </a:solidFill>
                </a:rPr>
                <a:t>compressor</a:t>
              </a:r>
            </a:p>
          </p:txBody>
        </p:sp>
      </p:grpSp>
      <p:grpSp>
        <p:nvGrpSpPr>
          <p:cNvPr id="199" name="Group 198">
            <a:extLst>
              <a:ext uri="{FF2B5EF4-FFF2-40B4-BE49-F238E27FC236}">
                <a16:creationId xmlns:a16="http://schemas.microsoft.com/office/drawing/2014/main" id="{B5711A1B-2450-4284-9D54-87AAD6FBB844}"/>
              </a:ext>
            </a:extLst>
          </p:cNvPr>
          <p:cNvGrpSpPr/>
          <p:nvPr/>
        </p:nvGrpSpPr>
        <p:grpSpPr bwMode="gray">
          <a:xfrm>
            <a:off x="6375525" y="4965891"/>
            <a:ext cx="842400" cy="664219"/>
            <a:chOff x="4769340" y="5029996"/>
            <a:chExt cx="842400" cy="664219"/>
          </a:xfrm>
        </p:grpSpPr>
        <p:sp>
          <p:nvSpPr>
            <p:cNvPr id="171" name="Rectangle: Rounded Corners 170">
              <a:extLst>
                <a:ext uri="{FF2B5EF4-FFF2-40B4-BE49-F238E27FC236}">
                  <a16:creationId xmlns:a16="http://schemas.microsoft.com/office/drawing/2014/main" id="{04C079AC-5727-4902-B1F3-FC3C5E3838F7}"/>
                </a:ext>
              </a:extLst>
            </p:cNvPr>
            <p:cNvSpPr/>
            <p:nvPr/>
          </p:nvSpPr>
          <p:spPr bwMode="gray">
            <a:xfrm>
              <a:off x="4860975" y="5029996"/>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sp>
          <p:nvSpPr>
            <p:cNvPr id="172" name="Rectangle 171">
              <a:extLst>
                <a:ext uri="{FF2B5EF4-FFF2-40B4-BE49-F238E27FC236}">
                  <a16:creationId xmlns:a16="http://schemas.microsoft.com/office/drawing/2014/main" id="{D32B6C7C-D2A1-41DD-B8E3-D698FCC068B2}"/>
                </a:ext>
              </a:extLst>
            </p:cNvPr>
            <p:cNvSpPr/>
            <p:nvPr/>
          </p:nvSpPr>
          <p:spPr bwMode="gray">
            <a:xfrm>
              <a:off x="4769340" y="5340733"/>
              <a:ext cx="842400"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a:t>
              </a:r>
              <a:r>
                <a:rPr lang="de-DE" sz="1000" baseline="-25000" dirty="0">
                  <a:solidFill>
                    <a:schemeClr val="tx1"/>
                  </a:solidFill>
                </a:rPr>
                <a:t>2</a:t>
              </a:r>
              <a:r>
                <a:rPr lang="de-DE" sz="1000" dirty="0">
                  <a:solidFill>
                    <a:schemeClr val="tx1"/>
                  </a:solidFill>
                </a:rPr>
                <a:t> </a:t>
              </a:r>
              <a:br>
                <a:rPr lang="de-DE" sz="1000" dirty="0">
                  <a:solidFill>
                    <a:schemeClr val="tx1"/>
                  </a:solidFill>
                </a:rPr>
              </a:br>
              <a:r>
                <a:rPr lang="de-DE" sz="1000" dirty="0">
                  <a:solidFill>
                    <a:schemeClr val="tx1"/>
                  </a:solidFill>
                </a:rPr>
                <a:t>storage tank</a:t>
              </a:r>
            </a:p>
          </p:txBody>
        </p:sp>
      </p:grpSp>
      <p:grpSp>
        <p:nvGrpSpPr>
          <p:cNvPr id="187" name="Group 186">
            <a:extLst>
              <a:ext uri="{FF2B5EF4-FFF2-40B4-BE49-F238E27FC236}">
                <a16:creationId xmlns:a16="http://schemas.microsoft.com/office/drawing/2014/main" id="{7DD0AFF5-A718-4691-8C01-2310DBB9BD4F}"/>
              </a:ext>
            </a:extLst>
          </p:cNvPr>
          <p:cNvGrpSpPr/>
          <p:nvPr/>
        </p:nvGrpSpPr>
        <p:grpSpPr bwMode="gray">
          <a:xfrm>
            <a:off x="5769386" y="4118230"/>
            <a:ext cx="1089560" cy="664219"/>
            <a:chOff x="5666840" y="5029996"/>
            <a:chExt cx="1089560" cy="664219"/>
          </a:xfrm>
        </p:grpSpPr>
        <p:sp>
          <p:nvSpPr>
            <p:cNvPr id="177" name="Rectangle 176">
              <a:extLst>
                <a:ext uri="{FF2B5EF4-FFF2-40B4-BE49-F238E27FC236}">
                  <a16:creationId xmlns:a16="http://schemas.microsoft.com/office/drawing/2014/main" id="{FB2F3A1D-D101-4CC7-88BD-03CBE0545EB8}"/>
                </a:ext>
              </a:extLst>
            </p:cNvPr>
            <p:cNvSpPr/>
            <p:nvPr/>
          </p:nvSpPr>
          <p:spPr bwMode="gray">
            <a:xfrm>
              <a:off x="5666840" y="5340733"/>
              <a:ext cx="1089560"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Stripper reboiler (optional)</a:t>
              </a:r>
            </a:p>
          </p:txBody>
        </p:sp>
        <p:grpSp>
          <p:nvGrpSpPr>
            <p:cNvPr id="185" name="Group 184">
              <a:extLst>
                <a:ext uri="{FF2B5EF4-FFF2-40B4-BE49-F238E27FC236}">
                  <a16:creationId xmlns:a16="http://schemas.microsoft.com/office/drawing/2014/main" id="{1F73BBCC-FC14-4CDF-A4EE-4113184E8A1F}"/>
                </a:ext>
              </a:extLst>
            </p:cNvPr>
            <p:cNvGrpSpPr/>
            <p:nvPr/>
          </p:nvGrpSpPr>
          <p:grpSpPr bwMode="gray">
            <a:xfrm>
              <a:off x="5882220" y="5029996"/>
              <a:ext cx="658800" cy="309600"/>
              <a:chOff x="5882055" y="5029996"/>
              <a:chExt cx="647194" cy="309600"/>
            </a:xfrm>
          </p:grpSpPr>
          <p:sp>
            <p:nvSpPr>
              <p:cNvPr id="184" name="Freeform: Shape 183">
                <a:extLst>
                  <a:ext uri="{FF2B5EF4-FFF2-40B4-BE49-F238E27FC236}">
                    <a16:creationId xmlns:a16="http://schemas.microsoft.com/office/drawing/2014/main" id="{63ECA620-3402-45A3-A8FC-8396591AD8B7}"/>
                  </a:ext>
                </a:extLst>
              </p:cNvPr>
              <p:cNvSpPr/>
              <p:nvPr/>
            </p:nvSpPr>
            <p:spPr bwMode="gray">
              <a:xfrm>
                <a:off x="5882055" y="5030927"/>
                <a:ext cx="647194" cy="307738"/>
              </a:xfrm>
              <a:custGeom>
                <a:avLst/>
                <a:gdLst>
                  <a:gd name="connsiteX0" fmla="*/ 153869 w 647194"/>
                  <a:gd name="connsiteY0" fmla="*/ 0 h 307738"/>
                  <a:gd name="connsiteX1" fmla="*/ 329565 w 647194"/>
                  <a:gd name="connsiteY1" fmla="*/ 0 h 307738"/>
                  <a:gd name="connsiteX2" fmla="*/ 426224 w 647194"/>
                  <a:gd name="connsiteY2" fmla="*/ 0 h 307738"/>
                  <a:gd name="connsiteX3" fmla="*/ 426429 w 647194"/>
                  <a:gd name="connsiteY3" fmla="*/ 838 h 307738"/>
                  <a:gd name="connsiteX4" fmla="*/ 499860 w 647194"/>
                  <a:gd name="connsiteY4" fmla="*/ 130919 h 307738"/>
                  <a:gd name="connsiteX5" fmla="*/ 601736 w 647194"/>
                  <a:gd name="connsiteY5" fmla="*/ 130920 h 307738"/>
                  <a:gd name="connsiteX6" fmla="*/ 601739 w 647194"/>
                  <a:gd name="connsiteY6" fmla="*/ 130919 h 307738"/>
                  <a:gd name="connsiteX7" fmla="*/ 647194 w 647194"/>
                  <a:gd name="connsiteY7" fmla="*/ 219328 h 307738"/>
                  <a:gd name="connsiteX8" fmla="*/ 647194 w 647194"/>
                  <a:gd name="connsiteY8" fmla="*/ 219329 h 307738"/>
                  <a:gd name="connsiteX9" fmla="*/ 601739 w 647194"/>
                  <a:gd name="connsiteY9" fmla="*/ 307738 h 307738"/>
                  <a:gd name="connsiteX10" fmla="*/ 329565 w 647194"/>
                  <a:gd name="connsiteY10" fmla="*/ 307738 h 307738"/>
                  <a:gd name="connsiteX11" fmla="*/ 153869 w 647194"/>
                  <a:gd name="connsiteY11" fmla="*/ 307738 h 307738"/>
                  <a:gd name="connsiteX12" fmla="*/ 0 w 647194"/>
                  <a:gd name="connsiteY12" fmla="*/ 153869 h 307738"/>
                  <a:gd name="connsiteX13" fmla="*/ 153869 w 647194"/>
                  <a:gd name="connsiteY13" fmla="*/ 0 h 30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7194" h="307738">
                    <a:moveTo>
                      <a:pt x="153869" y="0"/>
                    </a:moveTo>
                    <a:lnTo>
                      <a:pt x="329565" y="0"/>
                    </a:lnTo>
                    <a:lnTo>
                      <a:pt x="426224" y="0"/>
                    </a:lnTo>
                    <a:cubicBezTo>
                      <a:pt x="426292" y="279"/>
                      <a:pt x="426361" y="559"/>
                      <a:pt x="426429" y="838"/>
                    </a:cubicBezTo>
                    <a:lnTo>
                      <a:pt x="499860" y="130919"/>
                    </a:lnTo>
                    <a:lnTo>
                      <a:pt x="601736" y="130920"/>
                    </a:lnTo>
                    <a:cubicBezTo>
                      <a:pt x="601737" y="130920"/>
                      <a:pt x="601738" y="130919"/>
                      <a:pt x="601739" y="130919"/>
                    </a:cubicBezTo>
                    <a:cubicBezTo>
                      <a:pt x="626843" y="130919"/>
                      <a:pt x="647194" y="170501"/>
                      <a:pt x="647194" y="219328"/>
                    </a:cubicBezTo>
                    <a:lnTo>
                      <a:pt x="647194" y="219329"/>
                    </a:lnTo>
                    <a:cubicBezTo>
                      <a:pt x="647194" y="268156"/>
                      <a:pt x="626843" y="307738"/>
                      <a:pt x="601739" y="307738"/>
                    </a:cubicBezTo>
                    <a:lnTo>
                      <a:pt x="329565" y="307738"/>
                    </a:lnTo>
                    <a:lnTo>
                      <a:pt x="153869" y="307738"/>
                    </a:lnTo>
                    <a:cubicBezTo>
                      <a:pt x="68889" y="307738"/>
                      <a:pt x="0" y="238849"/>
                      <a:pt x="0" y="153869"/>
                    </a:cubicBezTo>
                    <a:cubicBezTo>
                      <a:pt x="0" y="68889"/>
                      <a:pt x="68889" y="0"/>
                      <a:pt x="153869" y="0"/>
                    </a:cubicBez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noAutofit/>
              </a:bodyPr>
              <a:lstStyle/>
              <a:p>
                <a:pPr algn="ctr">
                  <a:spcBef>
                    <a:spcPts val="300"/>
                  </a:spcBef>
                  <a:buClr>
                    <a:srgbClr val="002897"/>
                  </a:buClr>
                  <a:buSzPct val="70000"/>
                </a:pPr>
                <a:endParaRPr lang="de-DE" sz="1000" dirty="0">
                  <a:solidFill>
                    <a:schemeClr val="tx1"/>
                  </a:solidFill>
                </a:endParaRPr>
              </a:p>
            </p:txBody>
          </p:sp>
          <p:sp>
            <p:nvSpPr>
              <p:cNvPr id="175" name="Rectangle 174">
                <a:extLst>
                  <a:ext uri="{FF2B5EF4-FFF2-40B4-BE49-F238E27FC236}">
                    <a16:creationId xmlns:a16="http://schemas.microsoft.com/office/drawing/2014/main" id="{DF30497E-55ED-4B98-8F9D-1BE1B4875CCB}"/>
                  </a:ext>
                </a:extLst>
              </p:cNvPr>
              <p:cNvSpPr/>
              <p:nvPr/>
            </p:nvSpPr>
            <p:spPr bwMode="gray">
              <a:xfrm flipH="1">
                <a:off x="6037558" y="5029996"/>
                <a:ext cx="247966" cy="309600"/>
              </a:xfrm>
              <a:prstGeom prst="rect">
                <a:avLst/>
              </a:prstGeom>
              <a:pattFill prst="openDmnd">
                <a:fgClr>
                  <a:schemeClr val="accent3"/>
                </a:fgClr>
                <a:bgClr>
                  <a:schemeClr val="bg1"/>
                </a:bgClr>
              </a:patt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grpSp>
      </p:grpSp>
      <p:grpSp>
        <p:nvGrpSpPr>
          <p:cNvPr id="200" name="Group 199">
            <a:extLst>
              <a:ext uri="{FF2B5EF4-FFF2-40B4-BE49-F238E27FC236}">
                <a16:creationId xmlns:a16="http://schemas.microsoft.com/office/drawing/2014/main" id="{905FB06C-FCBC-4CA7-9DA8-17C6928D52BC}"/>
              </a:ext>
            </a:extLst>
          </p:cNvPr>
          <p:cNvGrpSpPr/>
          <p:nvPr/>
        </p:nvGrpSpPr>
        <p:grpSpPr bwMode="gray">
          <a:xfrm>
            <a:off x="7516444" y="4143143"/>
            <a:ext cx="1057272" cy="664219"/>
            <a:chOff x="2508413" y="5029996"/>
            <a:chExt cx="1057272" cy="664219"/>
          </a:xfrm>
        </p:grpSpPr>
        <p:sp>
          <p:nvSpPr>
            <p:cNvPr id="201" name="Rectangle 200">
              <a:extLst>
                <a:ext uri="{FF2B5EF4-FFF2-40B4-BE49-F238E27FC236}">
                  <a16:creationId xmlns:a16="http://schemas.microsoft.com/office/drawing/2014/main" id="{F75F5BB7-CFC6-46EF-A381-51C0F781AB88}"/>
                </a:ext>
              </a:extLst>
            </p:cNvPr>
            <p:cNvSpPr/>
            <p:nvPr/>
          </p:nvSpPr>
          <p:spPr bwMode="gray">
            <a:xfrm>
              <a:off x="2508413" y="5340733"/>
              <a:ext cx="1057272"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Refrigeration unit</a:t>
              </a:r>
            </a:p>
          </p:txBody>
        </p:sp>
        <p:grpSp>
          <p:nvGrpSpPr>
            <p:cNvPr id="202" name="Group 201">
              <a:extLst>
                <a:ext uri="{FF2B5EF4-FFF2-40B4-BE49-F238E27FC236}">
                  <a16:creationId xmlns:a16="http://schemas.microsoft.com/office/drawing/2014/main" id="{DC78E8D3-88CE-4C2A-A761-197833BCCDDE}"/>
                </a:ext>
              </a:extLst>
            </p:cNvPr>
            <p:cNvGrpSpPr/>
            <p:nvPr/>
          </p:nvGrpSpPr>
          <p:grpSpPr bwMode="gray">
            <a:xfrm>
              <a:off x="2882249" y="5029996"/>
              <a:ext cx="309600" cy="310736"/>
              <a:chOff x="2882249" y="5029996"/>
              <a:chExt cx="309600" cy="310736"/>
            </a:xfrm>
          </p:grpSpPr>
          <p:sp>
            <p:nvSpPr>
              <p:cNvPr id="203" name="Oval 202">
                <a:extLst>
                  <a:ext uri="{FF2B5EF4-FFF2-40B4-BE49-F238E27FC236}">
                    <a16:creationId xmlns:a16="http://schemas.microsoft.com/office/drawing/2014/main" id="{161096AF-0C01-4ABA-A91A-0C869B6033BC}"/>
                  </a:ext>
                </a:extLst>
              </p:cNvPr>
              <p:cNvSpPr/>
              <p:nvPr/>
            </p:nvSpPr>
            <p:spPr bwMode="gray">
              <a:xfrm flipH="1">
                <a:off x="2882249" y="5029996"/>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204" name="Freeform: Shape 203">
                <a:extLst>
                  <a:ext uri="{FF2B5EF4-FFF2-40B4-BE49-F238E27FC236}">
                    <a16:creationId xmlns:a16="http://schemas.microsoft.com/office/drawing/2014/main" id="{009C017F-D8AA-4AC8-B669-A0055840B630}"/>
                  </a:ext>
                </a:extLst>
              </p:cNvPr>
              <p:cNvSpPr/>
              <p:nvPr/>
            </p:nvSpPr>
            <p:spPr bwMode="gray">
              <a:xfrm rot="5400000">
                <a:off x="2944530" y="5077710"/>
                <a:ext cx="128873" cy="215306"/>
              </a:xfrm>
              <a:custGeom>
                <a:avLst/>
                <a:gdLst>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67715 w 128873"/>
                  <a:gd name="connsiteY4" fmla="*/ 5651 h 243834"/>
                  <a:gd name="connsiteX5" fmla="*/ 128873 w 128873"/>
                  <a:gd name="connsiteY5" fmla="*/ 5651 h 243834"/>
                  <a:gd name="connsiteX6" fmla="*/ 128873 w 128873"/>
                  <a:gd name="connsiteY6" fmla="*/ 243834 h 243834"/>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128873 w 128873"/>
                  <a:gd name="connsiteY4" fmla="*/ 5651 h 243834"/>
                  <a:gd name="connsiteX5" fmla="*/ 128873 w 128873"/>
                  <a:gd name="connsiteY5" fmla="*/ 243834 h 243834"/>
                  <a:gd name="connsiteX6" fmla="*/ 0 w 128873"/>
                  <a:gd name="connsiteY6" fmla="*/ 243834 h 243834"/>
                  <a:gd name="connsiteX0" fmla="*/ 0 w 128873"/>
                  <a:gd name="connsiteY0" fmla="*/ 238183 h 238183"/>
                  <a:gd name="connsiteX1" fmla="*/ 0 w 128873"/>
                  <a:gd name="connsiteY1" fmla="*/ 0 h 238183"/>
                  <a:gd name="connsiteX2" fmla="*/ 61160 w 128873"/>
                  <a:gd name="connsiteY2" fmla="*/ 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40289"/>
                  <a:gd name="connsiteX1" fmla="*/ 0 w 128873"/>
                  <a:gd name="connsiteY1" fmla="*/ 0 h 240289"/>
                  <a:gd name="connsiteX2" fmla="*/ 63065 w 128873"/>
                  <a:gd name="connsiteY2" fmla="*/ 87630 h 240289"/>
                  <a:gd name="connsiteX3" fmla="*/ 128873 w 128873"/>
                  <a:gd name="connsiteY3" fmla="*/ 0 h 240289"/>
                  <a:gd name="connsiteX4" fmla="*/ 128873 w 128873"/>
                  <a:gd name="connsiteY4" fmla="*/ 238183 h 240289"/>
                  <a:gd name="connsiteX5" fmla="*/ 56864 w 128873"/>
                  <a:gd name="connsiteY5" fmla="*/ 240289 h 240289"/>
                  <a:gd name="connsiteX6" fmla="*/ 0 w 128873"/>
                  <a:gd name="connsiteY6" fmla="*/ 238183 h 240289"/>
                  <a:gd name="connsiteX0" fmla="*/ 56864 w 148304"/>
                  <a:gd name="connsiteY0" fmla="*/ 240289 h 341445"/>
                  <a:gd name="connsiteX1" fmla="*/ 0 w 148304"/>
                  <a:gd name="connsiteY1" fmla="*/ 238183 h 341445"/>
                  <a:gd name="connsiteX2" fmla="*/ 0 w 148304"/>
                  <a:gd name="connsiteY2" fmla="*/ 0 h 341445"/>
                  <a:gd name="connsiteX3" fmla="*/ 63065 w 148304"/>
                  <a:gd name="connsiteY3" fmla="*/ 87630 h 341445"/>
                  <a:gd name="connsiteX4" fmla="*/ 128873 w 148304"/>
                  <a:gd name="connsiteY4" fmla="*/ 0 h 341445"/>
                  <a:gd name="connsiteX5" fmla="*/ 128873 w 148304"/>
                  <a:gd name="connsiteY5" fmla="*/ 238183 h 341445"/>
                  <a:gd name="connsiteX6" fmla="*/ 148304 w 148304"/>
                  <a:gd name="connsiteY6" fmla="*/ 341445 h 341445"/>
                  <a:gd name="connsiteX0" fmla="*/ 0 w 148304"/>
                  <a:gd name="connsiteY0" fmla="*/ 238183 h 341445"/>
                  <a:gd name="connsiteX1" fmla="*/ 0 w 148304"/>
                  <a:gd name="connsiteY1" fmla="*/ 0 h 341445"/>
                  <a:gd name="connsiteX2" fmla="*/ 63065 w 148304"/>
                  <a:gd name="connsiteY2" fmla="*/ 87630 h 341445"/>
                  <a:gd name="connsiteX3" fmla="*/ 128873 w 148304"/>
                  <a:gd name="connsiteY3" fmla="*/ 0 h 341445"/>
                  <a:gd name="connsiteX4" fmla="*/ 128873 w 148304"/>
                  <a:gd name="connsiteY4" fmla="*/ 238183 h 341445"/>
                  <a:gd name="connsiteX5" fmla="*/ 148304 w 148304"/>
                  <a:gd name="connsiteY5" fmla="*/ 341445 h 341445"/>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73" h="238183">
                    <a:moveTo>
                      <a:pt x="0" y="238183"/>
                    </a:moveTo>
                    <a:lnTo>
                      <a:pt x="0" y="0"/>
                    </a:lnTo>
                    <a:lnTo>
                      <a:pt x="63065" y="87630"/>
                    </a:lnTo>
                    <a:lnTo>
                      <a:pt x="128873" y="0"/>
                    </a:lnTo>
                    <a:lnTo>
                      <a:pt x="128873" y="238183"/>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grpSp>
      </p:grpSp>
      <p:grpSp>
        <p:nvGrpSpPr>
          <p:cNvPr id="205" name="Group 204">
            <a:extLst>
              <a:ext uri="{FF2B5EF4-FFF2-40B4-BE49-F238E27FC236}">
                <a16:creationId xmlns:a16="http://schemas.microsoft.com/office/drawing/2014/main" id="{DB0F1A15-CDE3-40D7-A9B1-F86D7769D81A}"/>
              </a:ext>
            </a:extLst>
          </p:cNvPr>
          <p:cNvGrpSpPr/>
          <p:nvPr/>
        </p:nvGrpSpPr>
        <p:grpSpPr bwMode="gray">
          <a:xfrm>
            <a:off x="7677091" y="4965891"/>
            <a:ext cx="735978" cy="664219"/>
            <a:chOff x="13517842" y="3811749"/>
            <a:chExt cx="735978" cy="664219"/>
          </a:xfrm>
        </p:grpSpPr>
        <p:sp>
          <p:nvSpPr>
            <p:cNvPr id="206" name="Oval 205">
              <a:extLst>
                <a:ext uri="{FF2B5EF4-FFF2-40B4-BE49-F238E27FC236}">
                  <a16:creationId xmlns:a16="http://schemas.microsoft.com/office/drawing/2014/main" id="{FE6631C0-39EF-4C80-A27C-862C71805AAD}"/>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207" name="Freeform: Shape 206">
              <a:extLst>
                <a:ext uri="{FF2B5EF4-FFF2-40B4-BE49-F238E27FC236}">
                  <a16:creationId xmlns:a16="http://schemas.microsoft.com/office/drawing/2014/main" id="{67D26424-E06A-4A25-BCE6-2A24D032BFC0}"/>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a:solidFill>
                  <a:schemeClr val="tx1"/>
                </a:solidFill>
              </a:endParaRPr>
            </a:p>
          </p:txBody>
        </p:sp>
        <p:sp>
          <p:nvSpPr>
            <p:cNvPr id="208" name="Rectangle 207">
              <a:extLst>
                <a:ext uri="{FF2B5EF4-FFF2-40B4-BE49-F238E27FC236}">
                  <a16:creationId xmlns:a16="http://schemas.microsoft.com/office/drawing/2014/main" id="{D2D64963-F1EC-4F8F-8D87-F9D20F7993CF}"/>
                </a:ext>
              </a:extLst>
            </p:cNvPr>
            <p:cNvSpPr/>
            <p:nvPr/>
          </p:nvSpPr>
          <p:spPr bwMode="gray">
            <a:xfrm>
              <a:off x="13517842" y="4122486"/>
              <a:ext cx="735978"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a:t>
              </a:r>
              <a:r>
                <a:rPr lang="de-DE" sz="1000" baseline="-25000" dirty="0">
                  <a:solidFill>
                    <a:schemeClr val="tx1"/>
                  </a:solidFill>
                </a:rPr>
                <a:t>2</a:t>
              </a:r>
              <a:r>
                <a:rPr lang="de-DE" sz="1000" dirty="0">
                  <a:solidFill>
                    <a:schemeClr val="tx1"/>
                  </a:solidFill>
                </a:rPr>
                <a:t> </a:t>
              </a:r>
              <a:br>
                <a:rPr lang="de-DE" sz="1000" dirty="0">
                  <a:solidFill>
                    <a:schemeClr val="tx1"/>
                  </a:solidFill>
                </a:rPr>
              </a:br>
              <a:r>
                <a:rPr lang="de-DE" sz="1000" dirty="0">
                  <a:solidFill>
                    <a:schemeClr val="tx1"/>
                  </a:solidFill>
                </a:rPr>
                <a:t>evaporator</a:t>
              </a:r>
            </a:p>
          </p:txBody>
        </p:sp>
      </p:grpSp>
      <p:cxnSp>
        <p:nvCxnSpPr>
          <p:cNvPr id="209" name="Connector: Elbow 208">
            <a:extLst>
              <a:ext uri="{FF2B5EF4-FFF2-40B4-BE49-F238E27FC236}">
                <a16:creationId xmlns:a16="http://schemas.microsoft.com/office/drawing/2014/main" id="{124ADE88-8724-4B65-B25E-AB2C776F52D5}"/>
              </a:ext>
            </a:extLst>
          </p:cNvPr>
          <p:cNvCxnSpPr>
            <a:cxnSpLocks/>
            <a:stCxn id="300" idx="7"/>
            <a:endCxn id="285" idx="0"/>
          </p:cNvCxnSpPr>
          <p:nvPr/>
        </p:nvCxnSpPr>
        <p:spPr bwMode="gray">
          <a:xfrm rot="16200000" flipV="1">
            <a:off x="4503326" y="2073805"/>
            <a:ext cx="495539" cy="1290860"/>
          </a:xfrm>
          <a:prstGeom prst="bentConnector3">
            <a:avLst>
              <a:gd name="adj1" fmla="val 143387"/>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227" name="Connector: Elbow 226">
            <a:extLst>
              <a:ext uri="{FF2B5EF4-FFF2-40B4-BE49-F238E27FC236}">
                <a16:creationId xmlns:a16="http://schemas.microsoft.com/office/drawing/2014/main" id="{AB5195D2-8A0A-423F-AF77-7701373838A2}"/>
              </a:ext>
            </a:extLst>
          </p:cNvPr>
          <p:cNvCxnSpPr>
            <a:cxnSpLocks/>
            <a:stCxn id="155" idx="4"/>
            <a:endCxn id="164" idx="2"/>
          </p:cNvCxnSpPr>
          <p:nvPr/>
        </p:nvCxnSpPr>
        <p:spPr bwMode="gray">
          <a:xfrm flipH="1">
            <a:off x="3926224" y="2696264"/>
            <a:ext cx="4271720" cy="1577333"/>
          </a:xfrm>
          <a:prstGeom prst="bentConnector5">
            <a:avLst>
              <a:gd name="adj1" fmla="val -5351"/>
              <a:gd name="adj2" fmla="val 75798"/>
              <a:gd name="adj3" fmla="val 10535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40" name="Connector: Elbow 239">
            <a:extLst>
              <a:ext uri="{FF2B5EF4-FFF2-40B4-BE49-F238E27FC236}">
                <a16:creationId xmlns:a16="http://schemas.microsoft.com/office/drawing/2014/main" id="{769B3F30-E509-4CA7-811D-460843D6A0E6}"/>
              </a:ext>
            </a:extLst>
          </p:cNvPr>
          <p:cNvCxnSpPr>
            <a:cxnSpLocks/>
            <a:stCxn id="300" idx="6"/>
            <a:endCxn id="155" idx="22"/>
          </p:cNvCxnSpPr>
          <p:nvPr/>
        </p:nvCxnSpPr>
        <p:spPr bwMode="gray">
          <a:xfrm rot="16200000" flipH="1">
            <a:off x="6326643" y="2163602"/>
            <a:ext cx="396490" cy="2069431"/>
          </a:xfrm>
          <a:prstGeom prst="bentConnector4">
            <a:avLst>
              <a:gd name="adj1" fmla="val -24439"/>
              <a:gd name="adj2" fmla="val 82284"/>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59" name="Straight Arrow Connector 258">
            <a:extLst>
              <a:ext uri="{FF2B5EF4-FFF2-40B4-BE49-F238E27FC236}">
                <a16:creationId xmlns:a16="http://schemas.microsoft.com/office/drawing/2014/main" id="{DBED3231-70ED-45F2-AA4B-6C76FB4EC74A}"/>
              </a:ext>
            </a:extLst>
          </p:cNvPr>
          <p:cNvCxnSpPr>
            <a:cxnSpLocks/>
            <a:endCxn id="151" idx="2"/>
          </p:cNvCxnSpPr>
          <p:nvPr/>
        </p:nvCxnSpPr>
        <p:spPr bwMode="gray">
          <a:xfrm flipV="1">
            <a:off x="6638151" y="2760169"/>
            <a:ext cx="0" cy="135009"/>
          </a:xfrm>
          <a:prstGeom prst="straightConnector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301" name="Group 300">
            <a:extLst>
              <a:ext uri="{FF2B5EF4-FFF2-40B4-BE49-F238E27FC236}">
                <a16:creationId xmlns:a16="http://schemas.microsoft.com/office/drawing/2014/main" id="{44E9207A-9AED-42EE-BC27-13A80D9E52EA}"/>
              </a:ext>
            </a:extLst>
          </p:cNvPr>
          <p:cNvGrpSpPr/>
          <p:nvPr/>
        </p:nvGrpSpPr>
        <p:grpSpPr bwMode="gray">
          <a:xfrm>
            <a:off x="4975324" y="2967004"/>
            <a:ext cx="842400" cy="827158"/>
            <a:chOff x="4271415" y="2928080"/>
            <a:chExt cx="842400" cy="827158"/>
          </a:xfrm>
        </p:grpSpPr>
        <p:sp>
          <p:nvSpPr>
            <p:cNvPr id="147" name="Rectangle 146">
              <a:extLst>
                <a:ext uri="{FF2B5EF4-FFF2-40B4-BE49-F238E27FC236}">
                  <a16:creationId xmlns:a16="http://schemas.microsoft.com/office/drawing/2014/main" id="{005F3EC2-01D6-40C1-B1D1-AA971B3D73DC}"/>
                </a:ext>
              </a:extLst>
            </p:cNvPr>
            <p:cNvSpPr/>
            <p:nvPr/>
          </p:nvSpPr>
          <p:spPr bwMode="gray">
            <a:xfrm>
              <a:off x="4271415" y="3590208"/>
              <a:ext cx="84240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Foam trap</a:t>
              </a:r>
            </a:p>
          </p:txBody>
        </p:sp>
        <p:sp>
          <p:nvSpPr>
            <p:cNvPr id="300" name="Freeform: Shape 299">
              <a:extLst>
                <a:ext uri="{FF2B5EF4-FFF2-40B4-BE49-F238E27FC236}">
                  <a16:creationId xmlns:a16="http://schemas.microsoft.com/office/drawing/2014/main" id="{01F39C52-B942-44C8-AEDE-97C873D16C62}"/>
                </a:ext>
              </a:extLst>
            </p:cNvPr>
            <p:cNvSpPr/>
            <p:nvPr/>
          </p:nvSpPr>
          <p:spPr bwMode="gray">
            <a:xfrm rot="16200000">
              <a:off x="4361836" y="3105620"/>
              <a:ext cx="661559" cy="306479"/>
            </a:xfrm>
            <a:custGeom>
              <a:avLst/>
              <a:gdLst>
                <a:gd name="connsiteX0" fmla="*/ 0 w 661559"/>
                <a:gd name="connsiteY0" fmla="*/ 153239 h 306479"/>
                <a:gd name="connsiteX1" fmla="*/ 33068 w 661559"/>
                <a:gd name="connsiteY1" fmla="*/ 246887 h 306479"/>
                <a:gd name="connsiteX2" fmla="*/ 156351 w 661559"/>
                <a:gd name="connsiteY2" fmla="*/ 306478 h 306479"/>
                <a:gd name="connsiteX3" fmla="*/ 218962 w 661559"/>
                <a:gd name="connsiteY3" fmla="*/ 306478 h 306479"/>
                <a:gd name="connsiteX4" fmla="*/ 218962 w 661559"/>
                <a:gd name="connsiteY4" fmla="*/ 306479 h 306479"/>
                <a:gd name="connsiteX5" fmla="*/ 505208 w 661559"/>
                <a:gd name="connsiteY5" fmla="*/ 306479 h 306479"/>
                <a:gd name="connsiteX6" fmla="*/ 628491 w 661559"/>
                <a:gd name="connsiteY6" fmla="*/ 246888 h 306479"/>
                <a:gd name="connsiteX7" fmla="*/ 661559 w 661559"/>
                <a:gd name="connsiteY7" fmla="*/ 153240 h 306479"/>
                <a:gd name="connsiteX8" fmla="*/ 628491 w 661559"/>
                <a:gd name="connsiteY8" fmla="*/ 59592 h 306479"/>
                <a:gd name="connsiteX9" fmla="*/ 505208 w 661559"/>
                <a:gd name="connsiteY9" fmla="*/ 1 h 306479"/>
                <a:gd name="connsiteX10" fmla="*/ 442597 w 661559"/>
                <a:gd name="connsiteY10" fmla="*/ 1 h 306479"/>
                <a:gd name="connsiteX11" fmla="*/ 442597 w 661559"/>
                <a:gd name="connsiteY11" fmla="*/ 0 h 306479"/>
                <a:gd name="connsiteX12" fmla="*/ 156351 w 661559"/>
                <a:gd name="connsiteY12" fmla="*/ 0 h 306479"/>
                <a:gd name="connsiteX13" fmla="*/ 33068 w 661559"/>
                <a:gd name="connsiteY13" fmla="*/ 59591 h 306479"/>
                <a:gd name="connsiteX14" fmla="*/ 0 w 661559"/>
                <a:gd name="connsiteY14" fmla="*/ 153239 h 306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1559" h="306479">
                  <a:moveTo>
                    <a:pt x="0" y="153239"/>
                  </a:moveTo>
                  <a:cubicBezTo>
                    <a:pt x="2428" y="185429"/>
                    <a:pt x="4443" y="203722"/>
                    <a:pt x="33068" y="246887"/>
                  </a:cubicBezTo>
                  <a:cubicBezTo>
                    <a:pt x="53081" y="276086"/>
                    <a:pt x="91316" y="304473"/>
                    <a:pt x="156351" y="306478"/>
                  </a:cubicBezTo>
                  <a:lnTo>
                    <a:pt x="218962" y="306478"/>
                  </a:lnTo>
                  <a:lnTo>
                    <a:pt x="218962" y="306479"/>
                  </a:lnTo>
                  <a:lnTo>
                    <a:pt x="505208" y="306479"/>
                  </a:lnTo>
                  <a:cubicBezTo>
                    <a:pt x="570243" y="304474"/>
                    <a:pt x="608478" y="276087"/>
                    <a:pt x="628491" y="246888"/>
                  </a:cubicBezTo>
                  <a:cubicBezTo>
                    <a:pt x="657116" y="203723"/>
                    <a:pt x="659131" y="185430"/>
                    <a:pt x="661559" y="153240"/>
                  </a:cubicBezTo>
                  <a:cubicBezTo>
                    <a:pt x="659131" y="121050"/>
                    <a:pt x="657116" y="102758"/>
                    <a:pt x="628491" y="59592"/>
                  </a:cubicBezTo>
                  <a:cubicBezTo>
                    <a:pt x="608478" y="30394"/>
                    <a:pt x="570243" y="2006"/>
                    <a:pt x="505208" y="1"/>
                  </a:cubicBezTo>
                  <a:lnTo>
                    <a:pt x="442597" y="1"/>
                  </a:lnTo>
                  <a:lnTo>
                    <a:pt x="442597" y="0"/>
                  </a:lnTo>
                  <a:lnTo>
                    <a:pt x="156351" y="0"/>
                  </a:lnTo>
                  <a:cubicBezTo>
                    <a:pt x="91316" y="2005"/>
                    <a:pt x="53081" y="30393"/>
                    <a:pt x="33068" y="59591"/>
                  </a:cubicBezTo>
                  <a:cubicBezTo>
                    <a:pt x="4443" y="102757"/>
                    <a:pt x="2428" y="121049"/>
                    <a:pt x="0" y="153239"/>
                  </a:cubicBez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grpSp>
      <p:cxnSp>
        <p:nvCxnSpPr>
          <p:cNvPr id="309" name="Straight Connector 308">
            <a:extLst>
              <a:ext uri="{FF2B5EF4-FFF2-40B4-BE49-F238E27FC236}">
                <a16:creationId xmlns:a16="http://schemas.microsoft.com/office/drawing/2014/main" id="{700C28DA-9C70-43CB-A0D9-8775E56E151C}"/>
              </a:ext>
            </a:extLst>
          </p:cNvPr>
          <p:cNvCxnSpPr>
            <a:cxnSpLocks/>
            <a:stCxn id="164" idx="0"/>
            <a:endCxn id="167" idx="1"/>
          </p:cNvCxnSpPr>
          <p:nvPr/>
        </p:nvCxnSpPr>
        <p:spPr bwMode="gray">
          <a:xfrm>
            <a:off x="4166011" y="4273597"/>
            <a:ext cx="568996" cy="1"/>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14615978-02DF-4A13-A0D3-16F0BA78CB7D}"/>
              </a:ext>
            </a:extLst>
          </p:cNvPr>
          <p:cNvCxnSpPr>
            <a:cxnSpLocks/>
            <a:stCxn id="167" idx="3"/>
            <a:endCxn id="184" idx="12"/>
          </p:cNvCxnSpPr>
          <p:nvPr/>
        </p:nvCxnSpPr>
        <p:spPr bwMode="gray">
          <a:xfrm flipV="1">
            <a:off x="5155377" y="4273030"/>
            <a:ext cx="829389" cy="568"/>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23" name="Connector: Elbow 322">
            <a:extLst>
              <a:ext uri="{FF2B5EF4-FFF2-40B4-BE49-F238E27FC236}">
                <a16:creationId xmlns:a16="http://schemas.microsoft.com/office/drawing/2014/main" id="{3DBD064D-BDD8-4F68-BFD3-E69EC100518E}"/>
              </a:ext>
            </a:extLst>
          </p:cNvPr>
          <p:cNvCxnSpPr>
            <a:cxnSpLocks/>
            <a:stCxn id="184" idx="4"/>
            <a:endCxn id="160" idx="2"/>
          </p:cNvCxnSpPr>
          <p:nvPr/>
        </p:nvCxnSpPr>
        <p:spPr bwMode="gray">
          <a:xfrm>
            <a:off x="6493590" y="4250080"/>
            <a:ext cx="599675" cy="48431"/>
          </a:xfrm>
          <a:prstGeom prst="bentConnector3">
            <a:avLst>
              <a:gd name="adj1" fmla="val 69907"/>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27" name="Connector: Elbow 326">
            <a:extLst>
              <a:ext uri="{FF2B5EF4-FFF2-40B4-BE49-F238E27FC236}">
                <a16:creationId xmlns:a16="http://schemas.microsoft.com/office/drawing/2014/main" id="{B83A7A6F-CE96-4757-8C5B-6CBEBD821A31}"/>
              </a:ext>
            </a:extLst>
          </p:cNvPr>
          <p:cNvCxnSpPr>
            <a:cxnSpLocks/>
            <a:stCxn id="203" idx="2"/>
            <a:endCxn id="160" idx="0"/>
          </p:cNvCxnSpPr>
          <p:nvPr/>
        </p:nvCxnSpPr>
        <p:spPr bwMode="gray">
          <a:xfrm flipH="1" flipV="1">
            <a:off x="7248065" y="4143143"/>
            <a:ext cx="951815" cy="155368"/>
          </a:xfrm>
          <a:prstGeom prst="bentConnector4">
            <a:avLst>
              <a:gd name="adj1" fmla="val -24017"/>
              <a:gd name="adj2" fmla="val 18828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151F1E83-8AA9-4569-969A-7C88BD23C4DF}"/>
              </a:ext>
            </a:extLst>
          </p:cNvPr>
          <p:cNvCxnSpPr>
            <a:cxnSpLocks/>
            <a:stCxn id="160" idx="6"/>
            <a:endCxn id="203" idx="6"/>
          </p:cNvCxnSpPr>
          <p:nvPr/>
        </p:nvCxnSpPr>
        <p:spPr bwMode="gray">
          <a:xfrm>
            <a:off x="7402865" y="4298511"/>
            <a:ext cx="487415"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38" name="Connector: Elbow 337">
            <a:extLst>
              <a:ext uri="{FF2B5EF4-FFF2-40B4-BE49-F238E27FC236}">
                <a16:creationId xmlns:a16="http://schemas.microsoft.com/office/drawing/2014/main" id="{2B2CF417-F127-43D5-8ADA-67B99542B87F}"/>
              </a:ext>
            </a:extLst>
          </p:cNvPr>
          <p:cNvCxnSpPr>
            <a:cxnSpLocks/>
            <a:stCxn id="160" idx="3"/>
            <a:endCxn id="184" idx="8"/>
          </p:cNvCxnSpPr>
          <p:nvPr/>
        </p:nvCxnSpPr>
        <p:spPr bwMode="gray">
          <a:xfrm rot="5400000" flipH="1">
            <a:off x="6856144" y="4125913"/>
            <a:ext cx="69883" cy="495039"/>
          </a:xfrm>
          <a:prstGeom prst="bentConnector4">
            <a:avLst>
              <a:gd name="adj1" fmla="val 10904"/>
              <a:gd name="adj2" fmla="val 54579"/>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43" name="Connector: Elbow 342">
            <a:extLst>
              <a:ext uri="{FF2B5EF4-FFF2-40B4-BE49-F238E27FC236}">
                <a16:creationId xmlns:a16="http://schemas.microsoft.com/office/drawing/2014/main" id="{EB129C27-568A-405D-9C86-5BDB85A55295}"/>
              </a:ext>
            </a:extLst>
          </p:cNvPr>
          <p:cNvCxnSpPr>
            <a:cxnSpLocks/>
            <a:stCxn id="177" idx="2"/>
            <a:endCxn id="171" idx="0"/>
          </p:cNvCxnSpPr>
          <p:nvPr/>
        </p:nvCxnSpPr>
        <p:spPr bwMode="gray">
          <a:xfrm rot="16200000" flipH="1">
            <a:off x="6463724" y="4632890"/>
            <a:ext cx="183442" cy="482559"/>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8ED9BEF3-1137-48E8-8844-DB522E1FAFF9}"/>
              </a:ext>
            </a:extLst>
          </p:cNvPr>
          <p:cNvCxnSpPr>
            <a:cxnSpLocks/>
            <a:stCxn id="171" idx="3"/>
            <a:endCxn id="207" idx="0"/>
          </p:cNvCxnSpPr>
          <p:nvPr/>
        </p:nvCxnSpPr>
        <p:spPr bwMode="gray">
          <a:xfrm flipV="1">
            <a:off x="7126290" y="5118139"/>
            <a:ext cx="763990" cy="1621"/>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DCF05B53-8A39-4C19-9205-AD939573E8A2}"/>
              </a:ext>
            </a:extLst>
          </p:cNvPr>
          <p:cNvCxnSpPr>
            <a:cxnSpLocks/>
            <a:endCxn id="392" idx="1"/>
          </p:cNvCxnSpPr>
          <p:nvPr/>
        </p:nvCxnSpPr>
        <p:spPr bwMode="gray">
          <a:xfrm flipV="1">
            <a:off x="8199880" y="5118139"/>
            <a:ext cx="1156726" cy="1628"/>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383" name="Group 382">
            <a:extLst>
              <a:ext uri="{FF2B5EF4-FFF2-40B4-BE49-F238E27FC236}">
                <a16:creationId xmlns:a16="http://schemas.microsoft.com/office/drawing/2014/main" id="{15B755DB-53B2-4CFC-BF60-A3A864D56616}"/>
              </a:ext>
            </a:extLst>
          </p:cNvPr>
          <p:cNvGrpSpPr/>
          <p:nvPr/>
        </p:nvGrpSpPr>
        <p:grpSpPr bwMode="gray">
          <a:xfrm>
            <a:off x="9617699" y="4723092"/>
            <a:ext cx="413711" cy="190814"/>
            <a:chOff x="4519647" y="2366529"/>
            <a:chExt cx="413711" cy="190814"/>
          </a:xfrm>
        </p:grpSpPr>
        <p:sp>
          <p:nvSpPr>
            <p:cNvPr id="384" name="Rectangle 26">
              <a:extLst>
                <a:ext uri="{FF2B5EF4-FFF2-40B4-BE49-F238E27FC236}">
                  <a16:creationId xmlns:a16="http://schemas.microsoft.com/office/drawing/2014/main" id="{7D058F11-1667-442E-A843-5847D5BF6945}"/>
                </a:ext>
              </a:extLst>
            </p:cNvPr>
            <p:cNvSpPr/>
            <p:nvPr/>
          </p:nvSpPr>
          <p:spPr bwMode="gray">
            <a:xfrm>
              <a:off x="4759905" y="2428143"/>
              <a:ext cx="173453" cy="89622"/>
            </a:xfrm>
            <a:custGeom>
              <a:avLst/>
              <a:gdLst/>
              <a:ahLst/>
              <a:cxnLst/>
              <a:rect l="l" t="t" r="r" b="b"/>
              <a:pathLst>
                <a:path w="653899" h="337865">
                  <a:moveTo>
                    <a:pt x="299916" y="40642"/>
                  </a:moveTo>
                  <a:lnTo>
                    <a:pt x="299916" y="161188"/>
                  </a:lnTo>
                  <a:lnTo>
                    <a:pt x="597382" y="161188"/>
                  </a:lnTo>
                  <a:lnTo>
                    <a:pt x="597382" y="155351"/>
                  </a:lnTo>
                  <a:lnTo>
                    <a:pt x="482673" y="40642"/>
                  </a:lnTo>
                  <a:close/>
                  <a:moveTo>
                    <a:pt x="250746" y="0"/>
                  </a:moveTo>
                  <a:lnTo>
                    <a:pt x="506245" y="0"/>
                  </a:lnTo>
                  <a:lnTo>
                    <a:pt x="653899" y="147654"/>
                  </a:lnTo>
                  <a:lnTo>
                    <a:pt x="653899" y="236370"/>
                  </a:lnTo>
                  <a:lnTo>
                    <a:pt x="653899" y="316381"/>
                  </a:lnTo>
                  <a:lnTo>
                    <a:pt x="653899" y="337865"/>
                  </a:lnTo>
                  <a:lnTo>
                    <a:pt x="604867" y="337865"/>
                  </a:lnTo>
                  <a:cubicBezTo>
                    <a:pt x="588978" y="307199"/>
                    <a:pt x="556685" y="287118"/>
                    <a:pt x="519702" y="287118"/>
                  </a:cubicBezTo>
                  <a:cubicBezTo>
                    <a:pt x="482719" y="287118"/>
                    <a:pt x="450427" y="307199"/>
                    <a:pt x="434537" y="337865"/>
                  </a:cubicBezTo>
                  <a:lnTo>
                    <a:pt x="205785" y="337865"/>
                  </a:lnTo>
                  <a:cubicBezTo>
                    <a:pt x="189896" y="307199"/>
                    <a:pt x="157603" y="287118"/>
                    <a:pt x="120620" y="287118"/>
                  </a:cubicBezTo>
                  <a:cubicBezTo>
                    <a:pt x="83637" y="287118"/>
                    <a:pt x="51345" y="307199"/>
                    <a:pt x="35455" y="337865"/>
                  </a:cubicBezTo>
                  <a:lnTo>
                    <a:pt x="0" y="337865"/>
                  </a:lnTo>
                  <a:lnTo>
                    <a:pt x="0" y="236370"/>
                  </a:lnTo>
                  <a:lnTo>
                    <a:pt x="250746" y="236370"/>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a:solidFill>
                  <a:schemeClr val="tx1"/>
                </a:solidFill>
              </a:endParaRPr>
            </a:p>
          </p:txBody>
        </p:sp>
        <p:sp>
          <p:nvSpPr>
            <p:cNvPr id="385" name="Rectangle: Rounded Corners 384">
              <a:extLst>
                <a:ext uri="{FF2B5EF4-FFF2-40B4-BE49-F238E27FC236}">
                  <a16:creationId xmlns:a16="http://schemas.microsoft.com/office/drawing/2014/main" id="{02DFADD4-1F7A-4A80-9121-82D27C839FF4}"/>
                </a:ext>
              </a:extLst>
            </p:cNvPr>
            <p:cNvSpPr/>
            <p:nvPr/>
          </p:nvSpPr>
          <p:spPr bwMode="gray">
            <a:xfrm>
              <a:off x="4519647" y="2366529"/>
              <a:ext cx="277143" cy="97271"/>
            </a:xfrm>
            <a:prstGeom prst="roundRect">
              <a:avLst>
                <a:gd name="adj" fmla="val 42167"/>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a:solidFill>
                  <a:schemeClr val="tx1"/>
                </a:solidFill>
              </a:endParaRPr>
            </a:p>
          </p:txBody>
        </p:sp>
        <p:sp>
          <p:nvSpPr>
            <p:cNvPr id="386" name="Rectangle 26">
              <a:extLst>
                <a:ext uri="{FF2B5EF4-FFF2-40B4-BE49-F238E27FC236}">
                  <a16:creationId xmlns:a16="http://schemas.microsoft.com/office/drawing/2014/main" id="{2CDE78B9-CAAD-457B-BC27-18BA714014C2}"/>
                </a:ext>
              </a:extLst>
            </p:cNvPr>
            <p:cNvSpPr/>
            <p:nvPr/>
          </p:nvSpPr>
          <p:spPr bwMode="gray">
            <a:xfrm>
              <a:off x="4546317" y="2490843"/>
              <a:ext cx="131884" cy="26923"/>
            </a:xfrm>
            <a:custGeom>
              <a:avLst/>
              <a:gdLst/>
              <a:ahLst/>
              <a:cxnLst/>
              <a:rect l="l" t="t" r="r" b="b"/>
              <a:pathLst>
                <a:path w="497189" h="101495">
                  <a:moveTo>
                    <a:pt x="0" y="0"/>
                  </a:moveTo>
                  <a:lnTo>
                    <a:pt x="495777" y="0"/>
                  </a:lnTo>
                  <a:lnTo>
                    <a:pt x="497189" y="180"/>
                  </a:lnTo>
                  <a:lnTo>
                    <a:pt x="497189" y="101495"/>
                  </a:lnTo>
                  <a:lnTo>
                    <a:pt x="447529" y="101495"/>
                  </a:lnTo>
                  <a:cubicBezTo>
                    <a:pt x="431639" y="70828"/>
                    <a:pt x="399347" y="50747"/>
                    <a:pt x="362363" y="50747"/>
                  </a:cubicBezTo>
                  <a:cubicBezTo>
                    <a:pt x="325380" y="50747"/>
                    <a:pt x="293087" y="70828"/>
                    <a:pt x="277197" y="101495"/>
                  </a:cubicBezTo>
                  <a:lnTo>
                    <a:pt x="219992" y="101495"/>
                  </a:lnTo>
                  <a:cubicBezTo>
                    <a:pt x="204102" y="70828"/>
                    <a:pt x="171809" y="50747"/>
                    <a:pt x="134826" y="50747"/>
                  </a:cubicBezTo>
                  <a:cubicBezTo>
                    <a:pt x="97843" y="50747"/>
                    <a:pt x="65550" y="70828"/>
                    <a:pt x="49660" y="101495"/>
                  </a:cubicBezTo>
                  <a:lnTo>
                    <a:pt x="0" y="101495"/>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a:solidFill>
                  <a:schemeClr val="tx1"/>
                </a:solidFill>
              </a:endParaRPr>
            </a:p>
          </p:txBody>
        </p:sp>
        <p:sp>
          <p:nvSpPr>
            <p:cNvPr id="387" name="Flowchart: Connector 386">
              <a:extLst>
                <a:ext uri="{FF2B5EF4-FFF2-40B4-BE49-F238E27FC236}">
                  <a16:creationId xmlns:a16="http://schemas.microsoft.com/office/drawing/2014/main" id="{D4DB0CE9-2782-4F0D-A3B5-FD0D3EC3633D}"/>
                </a:ext>
              </a:extLst>
            </p:cNvPr>
            <p:cNvSpPr/>
            <p:nvPr/>
          </p:nvSpPr>
          <p:spPr bwMode="gray">
            <a:xfrm>
              <a:off x="4555562"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a:solidFill>
                  <a:schemeClr val="tx1"/>
                </a:solidFill>
              </a:endParaRPr>
            </a:p>
          </p:txBody>
        </p:sp>
        <p:sp>
          <p:nvSpPr>
            <p:cNvPr id="388" name="Flowchart: Connector 387">
              <a:extLst>
                <a:ext uri="{FF2B5EF4-FFF2-40B4-BE49-F238E27FC236}">
                  <a16:creationId xmlns:a16="http://schemas.microsoft.com/office/drawing/2014/main" id="{DD20E5B6-BBE6-4186-8055-5FE9A29C2CBE}"/>
                </a:ext>
              </a:extLst>
            </p:cNvPr>
            <p:cNvSpPr/>
            <p:nvPr/>
          </p:nvSpPr>
          <p:spPr bwMode="gray">
            <a:xfrm>
              <a:off x="4615918"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a:solidFill>
                  <a:schemeClr val="tx1"/>
                </a:solidFill>
              </a:endParaRPr>
            </a:p>
          </p:txBody>
        </p:sp>
        <p:sp>
          <p:nvSpPr>
            <p:cNvPr id="389" name="Flowchart: Connector 388">
              <a:extLst>
                <a:ext uri="{FF2B5EF4-FFF2-40B4-BE49-F238E27FC236}">
                  <a16:creationId xmlns:a16="http://schemas.microsoft.com/office/drawing/2014/main" id="{712D8228-B106-42E4-B730-4FA20731D4A8}"/>
                </a:ext>
              </a:extLst>
            </p:cNvPr>
            <p:cNvSpPr/>
            <p:nvPr/>
          </p:nvSpPr>
          <p:spPr bwMode="gray">
            <a:xfrm>
              <a:off x="4765381"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a:solidFill>
                  <a:schemeClr val="tx1"/>
                </a:solidFill>
              </a:endParaRPr>
            </a:p>
          </p:txBody>
        </p:sp>
        <p:sp>
          <p:nvSpPr>
            <p:cNvPr id="390" name="Flowchart: Connector 389">
              <a:extLst>
                <a:ext uri="{FF2B5EF4-FFF2-40B4-BE49-F238E27FC236}">
                  <a16:creationId xmlns:a16="http://schemas.microsoft.com/office/drawing/2014/main" id="{B4349061-64F6-4D9B-8F6F-626487C74E9E}"/>
                </a:ext>
              </a:extLst>
            </p:cNvPr>
            <p:cNvSpPr/>
            <p:nvPr/>
          </p:nvSpPr>
          <p:spPr bwMode="gray">
            <a:xfrm>
              <a:off x="4871242" y="2504304"/>
              <a:ext cx="53038" cy="53039"/>
            </a:xfrm>
            <a:prstGeom prst="flowChartConnector">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a:solidFill>
                  <a:schemeClr val="tx1"/>
                </a:solidFill>
              </a:endParaRPr>
            </a:p>
          </p:txBody>
        </p:sp>
        <p:sp>
          <p:nvSpPr>
            <p:cNvPr id="391" name="Right Triangle 390">
              <a:extLst>
                <a:ext uri="{FF2B5EF4-FFF2-40B4-BE49-F238E27FC236}">
                  <a16:creationId xmlns:a16="http://schemas.microsoft.com/office/drawing/2014/main" id="{C39ED0B6-1F88-40BA-8DE6-88A0A3E3D636}"/>
                </a:ext>
              </a:extLst>
            </p:cNvPr>
            <p:cNvSpPr/>
            <p:nvPr/>
          </p:nvSpPr>
          <p:spPr bwMode="gray">
            <a:xfrm>
              <a:off x="4827463" y="2379102"/>
              <a:ext cx="45583" cy="36551"/>
            </a:xfrm>
            <a:prstGeom prst="rtTriangl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de-DE">
                <a:solidFill>
                  <a:schemeClr val="tx1"/>
                </a:solidFill>
              </a:endParaRPr>
            </a:p>
          </p:txBody>
        </p:sp>
      </p:grpSp>
      <p:sp>
        <p:nvSpPr>
          <p:cNvPr id="392" name="Rectangle 391">
            <a:extLst>
              <a:ext uri="{FF2B5EF4-FFF2-40B4-BE49-F238E27FC236}">
                <a16:creationId xmlns:a16="http://schemas.microsoft.com/office/drawing/2014/main" id="{BC2D691E-3260-4393-AA7D-82E3CD4A6001}"/>
              </a:ext>
            </a:extLst>
          </p:cNvPr>
          <p:cNvSpPr/>
          <p:nvPr/>
        </p:nvSpPr>
        <p:spPr bwMode="gray">
          <a:xfrm>
            <a:off x="9356606" y="4941398"/>
            <a:ext cx="935898"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a:t>
            </a:r>
            <a:r>
              <a:rPr lang="de-DE" sz="1000" baseline="-25000" dirty="0">
                <a:solidFill>
                  <a:schemeClr val="tx1"/>
                </a:solidFill>
              </a:rPr>
              <a:t>2</a:t>
            </a:r>
            <a:r>
              <a:rPr lang="de-DE" sz="1000" dirty="0">
                <a:solidFill>
                  <a:schemeClr val="tx1"/>
                </a:solidFill>
              </a:rPr>
              <a:t> </a:t>
            </a:r>
            <a:br>
              <a:rPr lang="de-DE" sz="1000" dirty="0">
                <a:solidFill>
                  <a:schemeClr val="tx1"/>
                </a:solidFill>
              </a:rPr>
            </a:br>
            <a:r>
              <a:rPr lang="de-DE" sz="1000" dirty="0">
                <a:solidFill>
                  <a:schemeClr val="tx1"/>
                </a:solidFill>
              </a:rPr>
              <a:t> to consumers</a:t>
            </a:r>
          </a:p>
        </p:txBody>
      </p:sp>
      <p:cxnSp>
        <p:nvCxnSpPr>
          <p:cNvPr id="393" name="Connector: Elbow 392">
            <a:extLst>
              <a:ext uri="{FF2B5EF4-FFF2-40B4-BE49-F238E27FC236}">
                <a16:creationId xmlns:a16="http://schemas.microsoft.com/office/drawing/2014/main" id="{0290630B-8D4B-4F18-9D40-95C2A90820DD}"/>
              </a:ext>
            </a:extLst>
          </p:cNvPr>
          <p:cNvCxnSpPr>
            <a:cxnSpLocks/>
            <a:endCxn id="300" idx="8"/>
          </p:cNvCxnSpPr>
          <p:nvPr/>
        </p:nvCxnSpPr>
        <p:spPr bwMode="gray">
          <a:xfrm>
            <a:off x="5002124" y="2900818"/>
            <a:ext cx="300753" cy="99254"/>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395" name="Connector: Elbow 394">
            <a:extLst>
              <a:ext uri="{FF2B5EF4-FFF2-40B4-BE49-F238E27FC236}">
                <a16:creationId xmlns:a16="http://schemas.microsoft.com/office/drawing/2014/main" id="{DE0170E9-0640-41AB-8B69-3E92F7C2251B}"/>
              </a:ext>
            </a:extLst>
          </p:cNvPr>
          <p:cNvCxnSpPr>
            <a:cxnSpLocks/>
            <a:endCxn id="155" idx="1"/>
          </p:cNvCxnSpPr>
          <p:nvPr/>
        </p:nvCxnSpPr>
        <p:spPr bwMode="gray">
          <a:xfrm rot="10800000" flipV="1">
            <a:off x="7878774" y="2345528"/>
            <a:ext cx="319170" cy="117301"/>
          </a:xfrm>
          <a:prstGeom prst="bentConnector5">
            <a:avLst>
              <a:gd name="adj1" fmla="val 100273"/>
              <a:gd name="adj2" fmla="val 45129"/>
              <a:gd name="adj3" fmla="val 10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507D96D4-56D5-44F1-BDCA-A911CFE1D1C4}"/>
              </a:ext>
            </a:extLst>
          </p:cNvPr>
          <p:cNvSpPr/>
          <p:nvPr/>
        </p:nvSpPr>
        <p:spPr bwMode="gray">
          <a:xfrm>
            <a:off x="5623515" y="3044859"/>
            <a:ext cx="511524"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Foam drain</a:t>
            </a:r>
          </a:p>
        </p:txBody>
      </p:sp>
      <p:cxnSp>
        <p:nvCxnSpPr>
          <p:cNvPr id="73" name="Straight Arrow Connector 72">
            <a:extLst>
              <a:ext uri="{FF2B5EF4-FFF2-40B4-BE49-F238E27FC236}">
                <a16:creationId xmlns:a16="http://schemas.microsoft.com/office/drawing/2014/main" id="{16BE6625-F713-46D3-AADE-B8A2784184EB}"/>
              </a:ext>
            </a:extLst>
          </p:cNvPr>
          <p:cNvCxnSpPr>
            <a:cxnSpLocks/>
          </p:cNvCxnSpPr>
          <p:nvPr/>
        </p:nvCxnSpPr>
        <p:spPr bwMode="gray">
          <a:xfrm>
            <a:off x="5879277" y="2900818"/>
            <a:ext cx="0" cy="165030"/>
          </a:xfrm>
          <a:prstGeom prst="straightConnector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CB1073EA-ABF0-488B-842E-D4ACFD0BBE79}"/>
              </a:ext>
            </a:extLst>
          </p:cNvPr>
          <p:cNvSpPr/>
          <p:nvPr/>
        </p:nvSpPr>
        <p:spPr bwMode="gray">
          <a:xfrm>
            <a:off x="6510951" y="3953199"/>
            <a:ext cx="46966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Purge</a:t>
            </a:r>
          </a:p>
        </p:txBody>
      </p:sp>
      <p:cxnSp>
        <p:nvCxnSpPr>
          <p:cNvPr id="78" name="Connector: Elbow 77">
            <a:extLst>
              <a:ext uri="{FF2B5EF4-FFF2-40B4-BE49-F238E27FC236}">
                <a16:creationId xmlns:a16="http://schemas.microsoft.com/office/drawing/2014/main" id="{C233FD02-C335-4D16-B3F9-343C5762E7C2}"/>
              </a:ext>
            </a:extLst>
          </p:cNvPr>
          <p:cNvCxnSpPr>
            <a:cxnSpLocks/>
            <a:stCxn id="160" idx="1"/>
            <a:endCxn id="76" idx="3"/>
          </p:cNvCxnSpPr>
          <p:nvPr/>
        </p:nvCxnSpPr>
        <p:spPr bwMode="gray">
          <a:xfrm rot="16200000" flipV="1">
            <a:off x="6983141" y="4033185"/>
            <a:ext cx="152935" cy="157994"/>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A88ED4EE-5296-40CB-A30E-BBC0D8E73AC6}"/>
              </a:ext>
            </a:extLst>
          </p:cNvPr>
          <p:cNvGrpSpPr/>
          <p:nvPr/>
        </p:nvGrpSpPr>
        <p:grpSpPr>
          <a:xfrm>
            <a:off x="4710518" y="4118230"/>
            <a:ext cx="852082" cy="664218"/>
            <a:chOff x="4710518" y="4118230"/>
            <a:chExt cx="852082" cy="664218"/>
          </a:xfrm>
        </p:grpSpPr>
        <p:grpSp>
          <p:nvGrpSpPr>
            <p:cNvPr id="166" name="Group 165">
              <a:extLst>
                <a:ext uri="{FF2B5EF4-FFF2-40B4-BE49-F238E27FC236}">
                  <a16:creationId xmlns:a16="http://schemas.microsoft.com/office/drawing/2014/main" id="{3B5405FF-2535-4C80-BA24-F0A2AF0ABC55}"/>
                </a:ext>
              </a:extLst>
            </p:cNvPr>
            <p:cNvGrpSpPr/>
            <p:nvPr/>
          </p:nvGrpSpPr>
          <p:grpSpPr bwMode="gray">
            <a:xfrm>
              <a:off x="4710518" y="4118230"/>
              <a:ext cx="852082" cy="664218"/>
              <a:chOff x="15501261" y="3407016"/>
              <a:chExt cx="852082" cy="664218"/>
            </a:xfrm>
          </p:grpSpPr>
          <p:sp>
            <p:nvSpPr>
              <p:cNvPr id="167" name="Rectangle 166">
                <a:extLst>
                  <a:ext uri="{FF2B5EF4-FFF2-40B4-BE49-F238E27FC236}">
                    <a16:creationId xmlns:a16="http://schemas.microsoft.com/office/drawing/2014/main" id="{9AE37244-C2F4-48EE-B8E0-10541BBF4358}"/>
                  </a:ext>
                </a:extLst>
              </p:cNvPr>
              <p:cNvSpPr/>
              <p:nvPr/>
            </p:nvSpPr>
            <p:spPr bwMode="gray">
              <a:xfrm>
                <a:off x="15525750" y="3407016"/>
                <a:ext cx="420370" cy="310736"/>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cxnSp>
            <p:nvCxnSpPr>
              <p:cNvPr id="168" name="Straight Connector 167">
                <a:extLst>
                  <a:ext uri="{FF2B5EF4-FFF2-40B4-BE49-F238E27FC236}">
                    <a16:creationId xmlns:a16="http://schemas.microsoft.com/office/drawing/2014/main" id="{F58B6A12-2826-4434-BD35-9BC4351BC832}"/>
                  </a:ext>
                </a:extLst>
              </p:cNvPr>
              <p:cNvCxnSpPr>
                <a:stCxn id="167" idx="0"/>
                <a:endCxn id="167" idx="2"/>
              </p:cNvCxnSpPr>
              <p:nvPr/>
            </p:nvCxnSpPr>
            <p:spPr bwMode="gray">
              <a:xfrm>
                <a:off x="15735935" y="3407016"/>
                <a:ext cx="0" cy="310736"/>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69" name="Rectangle 168">
                <a:extLst>
                  <a:ext uri="{FF2B5EF4-FFF2-40B4-BE49-F238E27FC236}">
                    <a16:creationId xmlns:a16="http://schemas.microsoft.com/office/drawing/2014/main" id="{66CC6712-2C2F-4489-850C-52169DD77FE8}"/>
                  </a:ext>
                </a:extLst>
              </p:cNvPr>
              <p:cNvSpPr/>
              <p:nvPr/>
            </p:nvSpPr>
            <p:spPr bwMode="gray">
              <a:xfrm>
                <a:off x="15501261" y="3717751"/>
                <a:ext cx="852082" cy="3534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Activated carbon filter/ driers</a:t>
                </a:r>
              </a:p>
            </p:txBody>
          </p:sp>
        </p:grpSp>
        <p:sp>
          <p:nvSpPr>
            <p:cNvPr id="85" name="Rectangle: Top Corners Snipped 84">
              <a:extLst>
                <a:ext uri="{FF2B5EF4-FFF2-40B4-BE49-F238E27FC236}">
                  <a16:creationId xmlns:a16="http://schemas.microsoft.com/office/drawing/2014/main" id="{BE41D3B0-5223-417A-A3E6-E0C6471F0F0E}"/>
                </a:ext>
              </a:extLst>
            </p:cNvPr>
            <p:cNvSpPr/>
            <p:nvPr/>
          </p:nvSpPr>
          <p:spPr bwMode="gray">
            <a:xfrm>
              <a:off x="5126739" y="4133884"/>
              <a:ext cx="411835" cy="293946"/>
            </a:xfrm>
            <a:prstGeom prst="snip2SameRect">
              <a:avLst>
                <a:gd name="adj1" fmla="val 33168"/>
                <a:gd name="adj2" fmla="val 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err="1"/>
            </a:p>
          </p:txBody>
        </p:sp>
      </p:grpSp>
      <p:sp>
        <p:nvSpPr>
          <p:cNvPr id="79" name="Rectangle 78">
            <a:extLst>
              <a:ext uri="{FF2B5EF4-FFF2-40B4-BE49-F238E27FC236}">
                <a16:creationId xmlns:a16="http://schemas.microsoft.com/office/drawing/2014/main" id="{0C5CD17A-489C-4BAF-A6AB-BAC2D473C91C}"/>
              </a:ext>
            </a:extLst>
          </p:cNvPr>
          <p:cNvSpPr/>
          <p:nvPr/>
        </p:nvSpPr>
        <p:spPr bwMode="gray">
          <a:xfrm>
            <a:off x="4567282" y="2817292"/>
            <a:ext cx="437762"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r>
              <a:rPr lang="de-DE" sz="1000" dirty="0">
                <a:solidFill>
                  <a:schemeClr val="tx1"/>
                </a:solidFill>
              </a:rPr>
              <a:t>Water</a:t>
            </a:r>
          </a:p>
        </p:txBody>
      </p:sp>
      <p:sp>
        <p:nvSpPr>
          <p:cNvPr id="80" name="Rectangle 79">
            <a:extLst>
              <a:ext uri="{FF2B5EF4-FFF2-40B4-BE49-F238E27FC236}">
                <a16:creationId xmlns:a16="http://schemas.microsoft.com/office/drawing/2014/main" id="{11300529-5D04-4859-8205-3D952754DAE4}"/>
              </a:ext>
            </a:extLst>
          </p:cNvPr>
          <p:cNvSpPr/>
          <p:nvPr/>
        </p:nvSpPr>
        <p:spPr bwMode="gray">
          <a:xfrm>
            <a:off x="8199880" y="2262728"/>
            <a:ext cx="437762" cy="1656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r>
              <a:rPr lang="de-DE" sz="1000" dirty="0">
                <a:solidFill>
                  <a:schemeClr val="tx1"/>
                </a:solidFill>
              </a:rPr>
              <a:t>Water</a:t>
            </a:r>
          </a:p>
        </p:txBody>
      </p:sp>
    </p:spTree>
    <p:custDataLst>
      <p:tags r:id="rId1"/>
    </p:custDataLst>
    <p:extLst>
      <p:ext uri="{BB962C8B-B14F-4D97-AF65-F5344CB8AC3E}">
        <p14:creationId xmlns:p14="http://schemas.microsoft.com/office/powerpoint/2010/main" val="659646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8BDEE-73F6-491C-813E-F6349F685D39}"/>
              </a:ext>
            </a:extLst>
          </p:cNvPr>
          <p:cNvSpPr>
            <a:spLocks noGrp="1"/>
          </p:cNvSpPr>
          <p:nvPr>
            <p:ph type="title"/>
          </p:nvPr>
        </p:nvSpPr>
        <p:spPr/>
        <p:txBody>
          <a:bodyPr/>
          <a:lstStyle/>
          <a:p>
            <a:r>
              <a:rPr lang="de-DE" dirty="0"/>
              <a:t>Large </a:t>
            </a:r>
            <a:r>
              <a:rPr lang="de-DE" dirty="0" err="1"/>
              <a:t>scale</a:t>
            </a:r>
            <a:r>
              <a:rPr lang="de-DE" dirty="0"/>
              <a:t> CO</a:t>
            </a:r>
            <a:r>
              <a:rPr lang="de-DE" baseline="-25000" dirty="0"/>
              <a:t>2</a:t>
            </a:r>
            <a:r>
              <a:rPr lang="de-DE" dirty="0"/>
              <a:t> </a:t>
            </a:r>
            <a:r>
              <a:rPr lang="de-DE" dirty="0" err="1"/>
              <a:t>production</a:t>
            </a:r>
            <a:endParaRPr lang="en-US" dirty="0"/>
          </a:p>
        </p:txBody>
      </p:sp>
      <p:sp>
        <p:nvSpPr>
          <p:cNvPr id="3" name="Footer Placeholder 2">
            <a:extLst>
              <a:ext uri="{FF2B5EF4-FFF2-40B4-BE49-F238E27FC236}">
                <a16:creationId xmlns:a16="http://schemas.microsoft.com/office/drawing/2014/main" id="{FAB33356-5CAE-4181-8433-C03754B10D0D}"/>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C0626213-2BAE-4D8F-9092-72A4811F9790}"/>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7FA210F1-3DC5-4095-8264-242C7652C106}"/>
              </a:ext>
            </a:extLst>
          </p:cNvPr>
          <p:cNvSpPr>
            <a:spLocks noGrp="1"/>
          </p:cNvSpPr>
          <p:nvPr>
            <p:ph type="sldNum" sz="quarter" idx="12"/>
          </p:nvPr>
        </p:nvSpPr>
        <p:spPr/>
        <p:txBody>
          <a:bodyPr/>
          <a:lstStyle/>
          <a:p>
            <a:r>
              <a:rPr lang="en-US"/>
              <a:t>Slide </a:t>
            </a:r>
            <a:fld id="{619F89D8-7AE3-494A-97F3-03D680869632}" type="slidenum">
              <a:rPr lang="en-US" smtClean="0"/>
              <a:pPr/>
              <a:t>63</a:t>
            </a:fld>
            <a:endParaRPr lang="en-US" dirty="0"/>
          </a:p>
        </p:txBody>
      </p:sp>
      <p:sp>
        <p:nvSpPr>
          <p:cNvPr id="6" name="Content Placeholder 5">
            <a:extLst>
              <a:ext uri="{FF2B5EF4-FFF2-40B4-BE49-F238E27FC236}">
                <a16:creationId xmlns:a16="http://schemas.microsoft.com/office/drawing/2014/main" id="{252F64F4-E036-4539-AEC2-C4CF901180D6}"/>
              </a:ext>
            </a:extLst>
          </p:cNvPr>
          <p:cNvSpPr>
            <a:spLocks noGrp="1"/>
          </p:cNvSpPr>
          <p:nvPr>
            <p:ph sz="quarter" idx="20"/>
          </p:nvPr>
        </p:nvSpPr>
        <p:spPr/>
        <p:txBody>
          <a:bodyPr/>
          <a:lstStyle/>
          <a:p>
            <a:r>
              <a:rPr lang="de-DE" dirty="0"/>
              <a:t>Solution</a:t>
            </a:r>
          </a:p>
          <a:p>
            <a:pPr lvl="1"/>
            <a:r>
              <a:rPr lang="de-DE" dirty="0"/>
              <a:t>Uras26 NDIR </a:t>
            </a:r>
            <a:r>
              <a:rPr lang="de-DE" dirty="0" err="1"/>
              <a:t>photometer</a:t>
            </a:r>
            <a:r>
              <a:rPr lang="de-DE" dirty="0"/>
              <a:t> (90…100 vol% CO</a:t>
            </a:r>
            <a:r>
              <a:rPr lang="de-DE" baseline="-25000" dirty="0"/>
              <a:t>2</a:t>
            </a:r>
            <a:r>
              <a:rPr lang="de-DE" dirty="0"/>
              <a:t>)</a:t>
            </a:r>
          </a:p>
          <a:p>
            <a:pPr lvl="1"/>
            <a:endParaRPr lang="de-DE" dirty="0"/>
          </a:p>
          <a:p>
            <a:r>
              <a:rPr lang="de-DE" dirty="0"/>
              <a:t>Solution</a:t>
            </a:r>
          </a:p>
          <a:p>
            <a:pPr lvl="1"/>
            <a:r>
              <a:rPr lang="de-DE" dirty="0"/>
              <a:t>Uras26 NDIR </a:t>
            </a:r>
            <a:r>
              <a:rPr lang="de-DE" dirty="0" err="1"/>
              <a:t>photometer</a:t>
            </a:r>
            <a:r>
              <a:rPr lang="de-DE" dirty="0"/>
              <a:t> (CO / CH</a:t>
            </a:r>
            <a:r>
              <a:rPr lang="de-DE" baseline="-25000" dirty="0"/>
              <a:t>4</a:t>
            </a:r>
            <a:r>
              <a:rPr lang="de-DE" dirty="0"/>
              <a:t>)</a:t>
            </a:r>
          </a:p>
          <a:p>
            <a:pPr lvl="1"/>
            <a:r>
              <a:rPr lang="de-DE" dirty="0"/>
              <a:t>Limas21/23 NDUV </a:t>
            </a:r>
            <a:r>
              <a:rPr lang="de-DE" dirty="0" err="1"/>
              <a:t>photometer</a:t>
            </a:r>
            <a:r>
              <a:rPr lang="de-DE" dirty="0"/>
              <a:t> (NO / NO</a:t>
            </a:r>
            <a:r>
              <a:rPr lang="de-DE" baseline="-25000" dirty="0"/>
              <a:t>2</a:t>
            </a:r>
            <a:r>
              <a:rPr lang="de-DE" dirty="0"/>
              <a:t>)</a:t>
            </a:r>
          </a:p>
          <a:p>
            <a:pPr lvl="1"/>
            <a:r>
              <a:rPr lang="de-DE" dirty="0"/>
              <a:t>Fidas24 </a:t>
            </a:r>
            <a:r>
              <a:rPr lang="de-DE" dirty="0" err="1"/>
              <a:t>flame</a:t>
            </a:r>
            <a:r>
              <a:rPr lang="de-DE" dirty="0"/>
              <a:t> </a:t>
            </a:r>
            <a:r>
              <a:rPr lang="de-DE" dirty="0" err="1"/>
              <a:t>ionization</a:t>
            </a:r>
            <a:r>
              <a:rPr lang="de-DE" dirty="0"/>
              <a:t> </a:t>
            </a:r>
            <a:r>
              <a:rPr lang="de-DE" dirty="0" err="1"/>
              <a:t>detector</a:t>
            </a:r>
            <a:r>
              <a:rPr lang="de-DE" dirty="0"/>
              <a:t> (THC)</a:t>
            </a:r>
          </a:p>
          <a:p>
            <a:pPr lvl="1"/>
            <a:r>
              <a:rPr lang="de-DE" dirty="0"/>
              <a:t>Magnos28 </a:t>
            </a:r>
            <a:r>
              <a:rPr lang="de-DE" dirty="0" err="1"/>
              <a:t>paramagnetic</a:t>
            </a:r>
            <a:r>
              <a:rPr lang="de-DE" dirty="0"/>
              <a:t> </a:t>
            </a:r>
            <a:r>
              <a:rPr lang="de-DE" dirty="0" err="1"/>
              <a:t>detector</a:t>
            </a:r>
            <a:r>
              <a:rPr lang="de-DE" dirty="0"/>
              <a:t> (O</a:t>
            </a:r>
            <a:r>
              <a:rPr lang="de-DE" baseline="-25000" dirty="0"/>
              <a:t>2</a:t>
            </a:r>
            <a:r>
              <a:rPr lang="de-DE" dirty="0"/>
              <a:t>)</a:t>
            </a:r>
          </a:p>
        </p:txBody>
      </p:sp>
      <p:sp>
        <p:nvSpPr>
          <p:cNvPr id="7" name="Content Placeholder 6">
            <a:extLst>
              <a:ext uri="{FF2B5EF4-FFF2-40B4-BE49-F238E27FC236}">
                <a16:creationId xmlns:a16="http://schemas.microsoft.com/office/drawing/2014/main" id="{56411B2F-B2D2-4A9D-B692-751DE49E10E8}"/>
              </a:ext>
            </a:extLst>
          </p:cNvPr>
          <p:cNvSpPr>
            <a:spLocks noGrp="1"/>
          </p:cNvSpPr>
          <p:nvPr>
            <p:ph sz="quarter" idx="19"/>
          </p:nvPr>
        </p:nvSpPr>
        <p:spPr/>
        <p:txBody>
          <a:bodyPr/>
          <a:lstStyle/>
          <a:p>
            <a:r>
              <a:rPr lang="de-DE" dirty="0"/>
              <a:t>CO</a:t>
            </a:r>
            <a:r>
              <a:rPr lang="de-DE" baseline="-25000" dirty="0"/>
              <a:t>2</a:t>
            </a:r>
            <a:r>
              <a:rPr lang="de-DE" dirty="0"/>
              <a:t> </a:t>
            </a:r>
            <a:r>
              <a:rPr lang="de-DE" dirty="0" err="1"/>
              <a:t>purity</a:t>
            </a:r>
            <a:endParaRPr lang="de-DE" dirty="0"/>
          </a:p>
          <a:p>
            <a:pPr lvl="1"/>
            <a:r>
              <a:rPr lang="de-DE" dirty="0"/>
              <a:t>Carbon Dioxide (CO</a:t>
            </a:r>
            <a:r>
              <a:rPr lang="de-DE" baseline="-25000" dirty="0"/>
              <a:t>2</a:t>
            </a:r>
            <a:r>
              <a:rPr lang="de-DE" dirty="0"/>
              <a:t>)</a:t>
            </a:r>
          </a:p>
          <a:p>
            <a:endParaRPr lang="de-DE" dirty="0"/>
          </a:p>
          <a:p>
            <a:r>
              <a:rPr lang="de-DE" dirty="0"/>
              <a:t>CO</a:t>
            </a:r>
            <a:r>
              <a:rPr lang="de-DE" baseline="-25000" dirty="0"/>
              <a:t>2</a:t>
            </a:r>
            <a:r>
              <a:rPr lang="de-DE" dirty="0"/>
              <a:t> </a:t>
            </a:r>
            <a:r>
              <a:rPr lang="de-DE" dirty="0" err="1"/>
              <a:t>impurities</a:t>
            </a:r>
            <a:endParaRPr lang="de-DE" dirty="0"/>
          </a:p>
          <a:p>
            <a:pPr lvl="1"/>
            <a:r>
              <a:rPr lang="de-DE" dirty="0"/>
              <a:t>Carbon </a:t>
            </a:r>
            <a:r>
              <a:rPr lang="de-DE" dirty="0" err="1"/>
              <a:t>monoxide</a:t>
            </a:r>
            <a:r>
              <a:rPr lang="de-DE" dirty="0"/>
              <a:t> (CO)</a:t>
            </a:r>
          </a:p>
          <a:p>
            <a:pPr lvl="1"/>
            <a:r>
              <a:rPr lang="de-DE" dirty="0" err="1"/>
              <a:t>Methane</a:t>
            </a:r>
            <a:r>
              <a:rPr lang="de-DE" dirty="0"/>
              <a:t> (CH</a:t>
            </a:r>
            <a:r>
              <a:rPr lang="de-DE" baseline="-25000" dirty="0"/>
              <a:t>4</a:t>
            </a:r>
            <a:r>
              <a:rPr lang="de-DE" dirty="0"/>
              <a:t>)</a:t>
            </a:r>
          </a:p>
          <a:p>
            <a:pPr lvl="1"/>
            <a:r>
              <a:rPr lang="de-DE" dirty="0"/>
              <a:t>Nitrogen Oxide (NO)</a:t>
            </a:r>
          </a:p>
          <a:p>
            <a:pPr lvl="1"/>
            <a:r>
              <a:rPr lang="de-DE" dirty="0"/>
              <a:t>Nitrogen Dioxide (NO</a:t>
            </a:r>
            <a:r>
              <a:rPr lang="de-DE" baseline="-25000" dirty="0"/>
              <a:t>2</a:t>
            </a:r>
            <a:r>
              <a:rPr lang="de-DE" dirty="0"/>
              <a:t>)</a:t>
            </a:r>
          </a:p>
          <a:p>
            <a:pPr lvl="1"/>
            <a:r>
              <a:rPr lang="de-DE" dirty="0"/>
              <a:t>Total </a:t>
            </a:r>
            <a:r>
              <a:rPr lang="de-DE" dirty="0" err="1"/>
              <a:t>Hydrocarbons</a:t>
            </a:r>
            <a:r>
              <a:rPr lang="de-DE" dirty="0"/>
              <a:t> (THC)</a:t>
            </a:r>
          </a:p>
          <a:p>
            <a:pPr lvl="1"/>
            <a:r>
              <a:rPr lang="de-DE" dirty="0"/>
              <a:t>Oxygen (O</a:t>
            </a:r>
            <a:r>
              <a:rPr lang="de-DE" baseline="-25000" dirty="0"/>
              <a:t>2</a:t>
            </a:r>
            <a:r>
              <a:rPr lang="de-DE" dirty="0"/>
              <a:t>)</a:t>
            </a:r>
          </a:p>
        </p:txBody>
      </p:sp>
      <p:sp>
        <p:nvSpPr>
          <p:cNvPr id="8" name="Subtitle 7">
            <a:extLst>
              <a:ext uri="{FF2B5EF4-FFF2-40B4-BE49-F238E27FC236}">
                <a16:creationId xmlns:a16="http://schemas.microsoft.com/office/drawing/2014/main" id="{5D7AD41D-97E6-414E-9380-DC70146F02B3}"/>
              </a:ext>
            </a:extLst>
          </p:cNvPr>
          <p:cNvSpPr>
            <a:spLocks noGrp="1"/>
          </p:cNvSpPr>
          <p:nvPr>
            <p:ph type="subTitle" idx="13"/>
          </p:nvPr>
        </p:nvSpPr>
        <p:spPr/>
        <p:txBody>
          <a:bodyPr/>
          <a:lstStyle/>
          <a:p>
            <a:r>
              <a:rPr lang="de-DE" dirty="0"/>
              <a:t>Gas </a:t>
            </a:r>
            <a:r>
              <a:rPr lang="de-DE" dirty="0" err="1"/>
              <a:t>analyzer</a:t>
            </a:r>
            <a:r>
              <a:rPr lang="de-DE" dirty="0"/>
              <a:t> </a:t>
            </a:r>
            <a:r>
              <a:rPr lang="de-DE" dirty="0" err="1"/>
              <a:t>solutions</a:t>
            </a:r>
            <a:endParaRPr lang="en-US" dirty="0"/>
          </a:p>
        </p:txBody>
      </p:sp>
    </p:spTree>
    <p:extLst>
      <p:ext uri="{BB962C8B-B14F-4D97-AF65-F5344CB8AC3E}">
        <p14:creationId xmlns:p14="http://schemas.microsoft.com/office/powerpoint/2010/main" val="2367696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56BFA-AAE7-406B-A3B3-2D0226C46E39}"/>
              </a:ext>
            </a:extLst>
          </p:cNvPr>
          <p:cNvSpPr>
            <a:spLocks noGrp="1"/>
          </p:cNvSpPr>
          <p:nvPr>
            <p:ph type="ctrTitle"/>
          </p:nvPr>
        </p:nvSpPr>
        <p:spPr bwMode="gray"/>
        <p:txBody>
          <a:bodyPr/>
          <a:lstStyle/>
          <a:p>
            <a:r>
              <a:rPr lang="de-DE" dirty="0"/>
              <a:t>Natural gas</a:t>
            </a:r>
          </a:p>
        </p:txBody>
      </p:sp>
      <p:sp>
        <p:nvSpPr>
          <p:cNvPr id="3" name="Subtitle 2">
            <a:extLst>
              <a:ext uri="{FF2B5EF4-FFF2-40B4-BE49-F238E27FC236}">
                <a16:creationId xmlns:a16="http://schemas.microsoft.com/office/drawing/2014/main" id="{EC5EC8F8-2510-42EC-B66A-48CFC5FDBAD5}"/>
              </a:ext>
            </a:extLst>
          </p:cNvPr>
          <p:cNvSpPr>
            <a:spLocks noGrp="1"/>
          </p:cNvSpPr>
          <p:nvPr>
            <p:ph type="subTitle" idx="1"/>
          </p:nvPr>
        </p:nvSpPr>
        <p:spPr bwMode="gray"/>
        <p:txBody>
          <a:bodyPr/>
          <a:lstStyle/>
          <a:p>
            <a:r>
              <a:rPr lang="de-DE" dirty="0"/>
              <a:t>Compressed (CNG) and </a:t>
            </a:r>
            <a:r>
              <a:rPr lang="de-DE" dirty="0" err="1"/>
              <a:t>Liquefied</a:t>
            </a:r>
            <a:r>
              <a:rPr lang="de-DE" dirty="0"/>
              <a:t> (LNG)</a:t>
            </a:r>
          </a:p>
        </p:txBody>
      </p:sp>
    </p:spTree>
    <p:custDataLst>
      <p:tags r:id="rId1"/>
    </p:custDataLst>
    <p:extLst>
      <p:ext uri="{BB962C8B-B14F-4D97-AF65-F5344CB8AC3E}">
        <p14:creationId xmlns:p14="http://schemas.microsoft.com/office/powerpoint/2010/main" val="1374754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1" name="Rechteck 87">
            <a:extLst>
              <a:ext uri="{FF2B5EF4-FFF2-40B4-BE49-F238E27FC236}">
                <a16:creationId xmlns:a16="http://schemas.microsoft.com/office/drawing/2014/main" id="{5EB7B338-4D76-48FD-B54B-1DD784DF773F}"/>
              </a:ext>
            </a:extLst>
          </p:cNvPr>
          <p:cNvSpPr/>
          <p:nvPr/>
        </p:nvSpPr>
        <p:spPr bwMode="gray">
          <a:xfrm>
            <a:off x="6179711" y="1936346"/>
            <a:ext cx="5677364" cy="3976369"/>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000" dirty="0">
              <a:solidFill>
                <a:schemeClr val="bg1"/>
              </a:solidFill>
            </a:endParaRPr>
          </a:p>
        </p:txBody>
      </p:sp>
      <p:sp>
        <p:nvSpPr>
          <p:cNvPr id="3" name="Title 2">
            <a:extLst>
              <a:ext uri="{FF2B5EF4-FFF2-40B4-BE49-F238E27FC236}">
                <a16:creationId xmlns:a16="http://schemas.microsoft.com/office/drawing/2014/main" id="{609793CE-905C-4F04-8B3B-B84EB6CBBC06}"/>
              </a:ext>
            </a:extLst>
          </p:cNvPr>
          <p:cNvSpPr>
            <a:spLocks noGrp="1"/>
          </p:cNvSpPr>
          <p:nvPr>
            <p:ph type="title"/>
          </p:nvPr>
        </p:nvSpPr>
        <p:spPr bwMode="gray"/>
        <p:txBody>
          <a:bodyPr/>
          <a:lstStyle/>
          <a:p>
            <a:r>
              <a:rPr lang="de-DE" dirty="0" err="1"/>
              <a:t>Liquefied</a:t>
            </a:r>
            <a:r>
              <a:rPr lang="de-DE" dirty="0"/>
              <a:t> Natural Gas (LNG) plant</a:t>
            </a:r>
          </a:p>
        </p:txBody>
      </p:sp>
      <p:sp>
        <p:nvSpPr>
          <p:cNvPr id="7" name="Subtitle 6">
            <a:extLst>
              <a:ext uri="{FF2B5EF4-FFF2-40B4-BE49-F238E27FC236}">
                <a16:creationId xmlns:a16="http://schemas.microsoft.com/office/drawing/2014/main" id="{A2A7E07F-C112-42A5-B5F3-A7348D0FC644}"/>
              </a:ext>
            </a:extLst>
          </p:cNvPr>
          <p:cNvSpPr>
            <a:spLocks noGrp="1"/>
          </p:cNvSpPr>
          <p:nvPr>
            <p:ph type="subTitle" idx="13"/>
          </p:nvPr>
        </p:nvSpPr>
        <p:spPr bwMode="gray">
          <a:xfrm>
            <a:off x="332367" y="1085213"/>
            <a:ext cx="11520898" cy="504000"/>
          </a:xfrm>
        </p:spPr>
        <p:txBody>
          <a:bodyPr/>
          <a:lstStyle/>
          <a:p>
            <a:r>
              <a:rPr lang="de-DE" dirty="0" err="1"/>
              <a:t>Process</a:t>
            </a:r>
            <a:r>
              <a:rPr lang="de-DE" dirty="0"/>
              <a:t> </a:t>
            </a:r>
            <a:r>
              <a:rPr lang="de-DE" dirty="0" err="1"/>
              <a:t>flow</a:t>
            </a:r>
            <a:r>
              <a:rPr lang="de-DE" dirty="0"/>
              <a:t> </a:t>
            </a:r>
            <a:r>
              <a:rPr lang="de-DE" dirty="0" err="1"/>
              <a:t>diagram</a:t>
            </a:r>
            <a:endParaRPr lang="de-DE" dirty="0"/>
          </a:p>
        </p:txBody>
      </p:sp>
      <p:sp>
        <p:nvSpPr>
          <p:cNvPr id="710" name="Date Placeholder 709">
            <a:extLst>
              <a:ext uri="{FF2B5EF4-FFF2-40B4-BE49-F238E27FC236}">
                <a16:creationId xmlns:a16="http://schemas.microsoft.com/office/drawing/2014/main" id="{B2F38714-F6CD-41E3-BAA8-2B9BBDFF7C7C}"/>
              </a:ext>
            </a:extLst>
          </p:cNvPr>
          <p:cNvSpPr>
            <a:spLocks noGrp="1"/>
          </p:cNvSpPr>
          <p:nvPr>
            <p:ph type="dt" sz="half" idx="14"/>
          </p:nvPr>
        </p:nvSpPr>
        <p:spPr bwMode="gray"/>
        <p:txBody>
          <a:bodyPr/>
          <a:lstStyle/>
          <a:p>
            <a:fld id="{22C76F33-F0AB-4418-A2FD-2A029ED70AE2}" type="datetime4">
              <a:rPr lang="en-US" smtClean="0"/>
              <a:t>September 8, 2019</a:t>
            </a:fld>
            <a:endParaRPr lang="en-US" dirty="0"/>
          </a:p>
        </p:txBody>
      </p:sp>
      <p:sp>
        <p:nvSpPr>
          <p:cNvPr id="711" name="Footer Placeholder 710">
            <a:extLst>
              <a:ext uri="{FF2B5EF4-FFF2-40B4-BE49-F238E27FC236}">
                <a16:creationId xmlns:a16="http://schemas.microsoft.com/office/drawing/2014/main" id="{2A32F634-F1F5-49AE-8086-EF797C40214D}"/>
              </a:ext>
            </a:extLst>
          </p:cNvPr>
          <p:cNvSpPr>
            <a:spLocks noGrp="1"/>
          </p:cNvSpPr>
          <p:nvPr>
            <p:ph type="ftr" sz="quarter" idx="15"/>
          </p:nvPr>
        </p:nvSpPr>
        <p:spPr bwMode="gray"/>
        <p:txBody>
          <a:bodyPr/>
          <a:lstStyle/>
          <a:p>
            <a:pPr lvl="8"/>
            <a:endParaRPr lang="en-US" dirty="0"/>
          </a:p>
        </p:txBody>
      </p:sp>
      <p:sp>
        <p:nvSpPr>
          <p:cNvPr id="712" name="Slide Number Placeholder 711">
            <a:extLst>
              <a:ext uri="{FF2B5EF4-FFF2-40B4-BE49-F238E27FC236}">
                <a16:creationId xmlns:a16="http://schemas.microsoft.com/office/drawing/2014/main" id="{70DA2DBB-6014-4581-9AD2-3B611D843433}"/>
              </a:ext>
            </a:extLst>
          </p:cNvPr>
          <p:cNvSpPr>
            <a:spLocks noGrp="1"/>
          </p:cNvSpPr>
          <p:nvPr>
            <p:ph type="sldNum" sz="quarter" idx="16"/>
          </p:nvPr>
        </p:nvSpPr>
        <p:spPr bwMode="gray"/>
        <p:txBody>
          <a:bodyPr/>
          <a:lstStyle/>
          <a:p>
            <a:r>
              <a:rPr lang="en-US"/>
              <a:t>Slide </a:t>
            </a:r>
            <a:fld id="{619F89D8-7AE3-494A-97F3-03D680869632}" type="slidenum">
              <a:rPr lang="en-US" smtClean="0"/>
              <a:pPr/>
              <a:t>65</a:t>
            </a:fld>
            <a:endParaRPr lang="en-US" dirty="0"/>
          </a:p>
        </p:txBody>
      </p:sp>
      <p:sp>
        <p:nvSpPr>
          <p:cNvPr id="714" name="Rechteck 87">
            <a:extLst>
              <a:ext uri="{FF2B5EF4-FFF2-40B4-BE49-F238E27FC236}">
                <a16:creationId xmlns:a16="http://schemas.microsoft.com/office/drawing/2014/main" id="{B7D0D1F6-CACD-499B-AD8B-89165BD3F3C6}"/>
              </a:ext>
            </a:extLst>
          </p:cNvPr>
          <p:cNvSpPr/>
          <p:nvPr/>
        </p:nvSpPr>
        <p:spPr bwMode="gray">
          <a:xfrm>
            <a:off x="336550" y="1936346"/>
            <a:ext cx="5677364" cy="3976369"/>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000" dirty="0">
              <a:solidFill>
                <a:schemeClr val="bg1"/>
              </a:solidFill>
            </a:endParaRPr>
          </a:p>
        </p:txBody>
      </p:sp>
      <p:grpSp>
        <p:nvGrpSpPr>
          <p:cNvPr id="865" name="Group 864">
            <a:extLst>
              <a:ext uri="{FF2B5EF4-FFF2-40B4-BE49-F238E27FC236}">
                <a16:creationId xmlns:a16="http://schemas.microsoft.com/office/drawing/2014/main" id="{A450AF8F-9E4E-4329-BCD6-C36CF7DA3FC0}"/>
              </a:ext>
            </a:extLst>
          </p:cNvPr>
          <p:cNvGrpSpPr/>
          <p:nvPr/>
        </p:nvGrpSpPr>
        <p:grpSpPr bwMode="gray">
          <a:xfrm>
            <a:off x="445657" y="2612626"/>
            <a:ext cx="5459151" cy="2624039"/>
            <a:chOff x="-747726" y="2272286"/>
            <a:chExt cx="6244592" cy="3017510"/>
          </a:xfrm>
        </p:grpSpPr>
        <p:sp>
          <p:nvSpPr>
            <p:cNvPr id="826" name="Rectangle 825">
              <a:extLst>
                <a:ext uri="{FF2B5EF4-FFF2-40B4-BE49-F238E27FC236}">
                  <a16:creationId xmlns:a16="http://schemas.microsoft.com/office/drawing/2014/main" id="{FBD901B1-B937-4667-A78E-CE32CDD2DB56}"/>
                </a:ext>
              </a:extLst>
            </p:cNvPr>
            <p:cNvSpPr/>
            <p:nvPr/>
          </p:nvSpPr>
          <p:spPr bwMode="gray">
            <a:xfrm>
              <a:off x="33017" y="3558081"/>
              <a:ext cx="35555" cy="4481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900" dirty="0" err="1"/>
            </a:p>
          </p:txBody>
        </p:sp>
        <p:sp>
          <p:nvSpPr>
            <p:cNvPr id="833" name="Rechteck 87">
              <a:extLst>
                <a:ext uri="{FF2B5EF4-FFF2-40B4-BE49-F238E27FC236}">
                  <a16:creationId xmlns:a16="http://schemas.microsoft.com/office/drawing/2014/main" id="{F01E6CFC-6AB9-4F75-9C07-B7074C99C354}"/>
                </a:ext>
              </a:extLst>
            </p:cNvPr>
            <p:cNvSpPr/>
            <p:nvPr/>
          </p:nvSpPr>
          <p:spPr bwMode="gray">
            <a:xfrm>
              <a:off x="-709165" y="3786680"/>
              <a:ext cx="573885" cy="42816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Natural gas</a:t>
              </a:r>
            </a:p>
          </p:txBody>
        </p:sp>
        <p:cxnSp>
          <p:nvCxnSpPr>
            <p:cNvPr id="715" name="Straight Connector 714">
              <a:extLst>
                <a:ext uri="{FF2B5EF4-FFF2-40B4-BE49-F238E27FC236}">
                  <a16:creationId xmlns:a16="http://schemas.microsoft.com/office/drawing/2014/main" id="{C68AFB14-2C66-4210-936C-DA48AA1CCB35}"/>
                </a:ext>
              </a:extLst>
            </p:cNvPr>
            <p:cNvCxnSpPr>
              <a:cxnSpLocks/>
              <a:stCxn id="719" idx="2"/>
              <a:endCxn id="758" idx="0"/>
            </p:cNvCxnSpPr>
            <p:nvPr/>
          </p:nvCxnSpPr>
          <p:spPr bwMode="gray">
            <a:xfrm>
              <a:off x="2124958" y="2833376"/>
              <a:ext cx="0" cy="208431"/>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716" name="Rechteck 87">
              <a:extLst>
                <a:ext uri="{FF2B5EF4-FFF2-40B4-BE49-F238E27FC236}">
                  <a16:creationId xmlns:a16="http://schemas.microsoft.com/office/drawing/2014/main" id="{D150ECFE-8473-43C3-BB03-06F39A908ADB}"/>
                </a:ext>
              </a:extLst>
            </p:cNvPr>
            <p:cNvSpPr/>
            <p:nvPr/>
          </p:nvSpPr>
          <p:spPr bwMode="gray">
            <a:xfrm>
              <a:off x="2762913" y="2892317"/>
              <a:ext cx="294140" cy="77119"/>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900" baseline="-25000" dirty="0">
                <a:solidFill>
                  <a:schemeClr val="bg2"/>
                </a:solidFill>
              </a:endParaRPr>
            </a:p>
          </p:txBody>
        </p:sp>
        <p:sp>
          <p:nvSpPr>
            <p:cNvPr id="719" name="Rechteck 87">
              <a:extLst>
                <a:ext uri="{FF2B5EF4-FFF2-40B4-BE49-F238E27FC236}">
                  <a16:creationId xmlns:a16="http://schemas.microsoft.com/office/drawing/2014/main" id="{2BDC0849-F6CC-4A2C-8241-9D6BCE176F79}"/>
                </a:ext>
              </a:extLst>
            </p:cNvPr>
            <p:cNvSpPr/>
            <p:nvPr/>
          </p:nvSpPr>
          <p:spPr bwMode="gray">
            <a:xfrm>
              <a:off x="1607345" y="2272286"/>
              <a:ext cx="1035227" cy="56108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Acid gas</a:t>
              </a:r>
              <a:br>
                <a:rPr lang="de-DE" sz="900" dirty="0">
                  <a:solidFill>
                    <a:schemeClr val="tx1"/>
                  </a:solidFill>
                </a:rPr>
              </a:br>
              <a:r>
                <a:rPr lang="de-DE" sz="900" dirty="0">
                  <a:solidFill>
                    <a:schemeClr val="tx1"/>
                  </a:solidFill>
                </a:rPr>
                <a:t>treatment</a:t>
              </a:r>
              <a:endParaRPr lang="de-DE" sz="900" baseline="-25000" dirty="0">
                <a:solidFill>
                  <a:schemeClr val="tx1"/>
                </a:solidFill>
              </a:endParaRPr>
            </a:p>
          </p:txBody>
        </p:sp>
        <p:sp>
          <p:nvSpPr>
            <p:cNvPr id="721" name="Rechteck 87">
              <a:extLst>
                <a:ext uri="{FF2B5EF4-FFF2-40B4-BE49-F238E27FC236}">
                  <a16:creationId xmlns:a16="http://schemas.microsoft.com/office/drawing/2014/main" id="{30D2B6F4-FB25-43F5-99EF-48978B70C594}"/>
                </a:ext>
              </a:extLst>
            </p:cNvPr>
            <p:cNvSpPr/>
            <p:nvPr/>
          </p:nvSpPr>
          <p:spPr bwMode="gray">
            <a:xfrm>
              <a:off x="5144516" y="3212337"/>
              <a:ext cx="352350" cy="22003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spcBef>
                  <a:spcPts val="300"/>
                </a:spcBef>
                <a:buClr>
                  <a:srgbClr val="002897"/>
                </a:buClr>
                <a:buSzPct val="70000"/>
              </a:pPr>
              <a:r>
                <a:rPr lang="de-DE" sz="900" dirty="0">
                  <a:solidFill>
                    <a:schemeClr val="tx1"/>
                  </a:solidFill>
                </a:rPr>
                <a:t>LNG</a:t>
              </a:r>
            </a:p>
          </p:txBody>
        </p:sp>
        <p:sp>
          <p:nvSpPr>
            <p:cNvPr id="722" name="Rechteck 87">
              <a:extLst>
                <a:ext uri="{FF2B5EF4-FFF2-40B4-BE49-F238E27FC236}">
                  <a16:creationId xmlns:a16="http://schemas.microsoft.com/office/drawing/2014/main" id="{C794378D-9467-422E-9AE3-1E0387840565}"/>
                </a:ext>
              </a:extLst>
            </p:cNvPr>
            <p:cNvSpPr/>
            <p:nvPr/>
          </p:nvSpPr>
          <p:spPr bwMode="gray">
            <a:xfrm>
              <a:off x="5144516" y="4451479"/>
              <a:ext cx="352350" cy="22003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spcBef>
                  <a:spcPts val="300"/>
                </a:spcBef>
                <a:buClr>
                  <a:srgbClr val="002897"/>
                </a:buClr>
                <a:buSzPct val="70000"/>
              </a:pPr>
              <a:r>
                <a:rPr lang="de-DE" sz="900" dirty="0">
                  <a:solidFill>
                    <a:schemeClr val="tx1"/>
                  </a:solidFill>
                </a:rPr>
                <a:t>LPG</a:t>
              </a:r>
            </a:p>
          </p:txBody>
        </p:sp>
        <p:cxnSp>
          <p:nvCxnSpPr>
            <p:cNvPr id="725" name="Straight Connector 724">
              <a:extLst>
                <a:ext uri="{FF2B5EF4-FFF2-40B4-BE49-F238E27FC236}">
                  <a16:creationId xmlns:a16="http://schemas.microsoft.com/office/drawing/2014/main" id="{285DCA33-4BA7-447B-95E9-EE3ED1FC27B8}"/>
                </a:ext>
              </a:extLst>
            </p:cNvPr>
            <p:cNvCxnSpPr>
              <a:cxnSpLocks/>
              <a:stCxn id="756" idx="1"/>
              <a:endCxn id="754" idx="3"/>
            </p:cNvCxnSpPr>
            <p:nvPr/>
          </p:nvCxnSpPr>
          <p:spPr bwMode="gray">
            <a:xfrm flipH="1" flipV="1">
              <a:off x="287501" y="3322871"/>
              <a:ext cx="142308" cy="519"/>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26" name="Straight Connector 725">
              <a:extLst>
                <a:ext uri="{FF2B5EF4-FFF2-40B4-BE49-F238E27FC236}">
                  <a16:creationId xmlns:a16="http://schemas.microsoft.com/office/drawing/2014/main" id="{FE763EEE-8096-4186-BDC2-8F7C9CEF639A}"/>
                </a:ext>
              </a:extLst>
            </p:cNvPr>
            <p:cNvCxnSpPr>
              <a:cxnSpLocks/>
              <a:stCxn id="804" idx="1"/>
              <a:endCxn id="758" idx="3"/>
            </p:cNvCxnSpPr>
            <p:nvPr/>
          </p:nvCxnSpPr>
          <p:spPr bwMode="gray">
            <a:xfrm flipH="1">
              <a:off x="2642572" y="3322352"/>
              <a:ext cx="142308"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30" name="Straight Connector 729">
              <a:extLst>
                <a:ext uri="{FF2B5EF4-FFF2-40B4-BE49-F238E27FC236}">
                  <a16:creationId xmlns:a16="http://schemas.microsoft.com/office/drawing/2014/main" id="{B368C022-CBCC-4500-B99E-ADE570FCC073}"/>
                </a:ext>
              </a:extLst>
            </p:cNvPr>
            <p:cNvCxnSpPr>
              <a:cxnSpLocks/>
              <a:stCxn id="721" idx="1"/>
              <a:endCxn id="753" idx="3"/>
            </p:cNvCxnSpPr>
            <p:nvPr/>
          </p:nvCxnSpPr>
          <p:spPr bwMode="gray">
            <a:xfrm flipH="1">
              <a:off x="4997645" y="3322352"/>
              <a:ext cx="146871"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36" name="Connector: Elbow 735">
              <a:extLst>
                <a:ext uri="{FF2B5EF4-FFF2-40B4-BE49-F238E27FC236}">
                  <a16:creationId xmlns:a16="http://schemas.microsoft.com/office/drawing/2014/main" id="{C7E464B8-8D99-4095-9A93-A96421E1F9F3}"/>
                </a:ext>
              </a:extLst>
            </p:cNvPr>
            <p:cNvCxnSpPr>
              <a:cxnSpLocks/>
              <a:endCxn id="757" idx="2"/>
            </p:cNvCxnSpPr>
            <p:nvPr/>
          </p:nvCxnSpPr>
          <p:spPr bwMode="gray">
            <a:xfrm rot="10800000">
              <a:off x="1021031" y="4347409"/>
              <a:ext cx="665126" cy="100296"/>
            </a:xfrm>
            <a:prstGeom prst="bentConnector2">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41" name="Connector: Elbow 740">
              <a:extLst>
                <a:ext uri="{FF2B5EF4-FFF2-40B4-BE49-F238E27FC236}">
                  <a16:creationId xmlns:a16="http://schemas.microsoft.com/office/drawing/2014/main" id="{4C473C16-CA83-445C-B126-5B0295F7FEA2}"/>
                </a:ext>
              </a:extLst>
            </p:cNvPr>
            <p:cNvCxnSpPr>
              <a:cxnSpLocks/>
              <a:stCxn id="722" idx="1"/>
              <a:endCxn id="759" idx="2"/>
            </p:cNvCxnSpPr>
            <p:nvPr/>
          </p:nvCxnSpPr>
          <p:spPr bwMode="gray">
            <a:xfrm rot="10800000">
              <a:off x="4480031" y="4347409"/>
              <a:ext cx="664484" cy="214086"/>
            </a:xfrm>
            <a:prstGeom prst="bentConnector2">
              <a:avLst/>
            </a:prstGeom>
            <a:ln w="12700">
              <a:solidFill>
                <a:schemeClr val="bg2"/>
              </a:solidFill>
              <a:prstDash val="sysDash"/>
              <a:headEnd type="arrow" w="sm" len="sm"/>
              <a:tailEnd type="none" w="sm" len="sm"/>
            </a:ln>
          </p:spPr>
          <p:style>
            <a:lnRef idx="1">
              <a:schemeClr val="accent1"/>
            </a:lnRef>
            <a:fillRef idx="0">
              <a:schemeClr val="accent1"/>
            </a:fillRef>
            <a:effectRef idx="0">
              <a:schemeClr val="accent1"/>
            </a:effectRef>
            <a:fontRef idx="minor">
              <a:schemeClr val="tx1"/>
            </a:fontRef>
          </p:style>
        </p:cxnSp>
        <p:sp>
          <p:nvSpPr>
            <p:cNvPr id="752" name="Rechteck 87">
              <a:extLst>
                <a:ext uri="{FF2B5EF4-FFF2-40B4-BE49-F238E27FC236}">
                  <a16:creationId xmlns:a16="http://schemas.microsoft.com/office/drawing/2014/main" id="{F3AD9627-A214-4182-9ECD-4DEB027340F1}"/>
                </a:ext>
              </a:extLst>
            </p:cNvPr>
            <p:cNvSpPr/>
            <p:nvPr/>
          </p:nvSpPr>
          <p:spPr bwMode="gray">
            <a:xfrm>
              <a:off x="1686158" y="4451479"/>
              <a:ext cx="1035227" cy="220031"/>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Condensate</a:t>
              </a:r>
            </a:p>
          </p:txBody>
        </p:sp>
        <p:sp>
          <p:nvSpPr>
            <p:cNvPr id="753" name="Rechteck 87">
              <a:extLst>
                <a:ext uri="{FF2B5EF4-FFF2-40B4-BE49-F238E27FC236}">
                  <a16:creationId xmlns:a16="http://schemas.microsoft.com/office/drawing/2014/main" id="{3243C99D-459C-4E82-B33E-AAE13DDC79B6}"/>
                </a:ext>
              </a:extLst>
            </p:cNvPr>
            <p:cNvSpPr/>
            <p:nvPr/>
          </p:nvSpPr>
          <p:spPr bwMode="gray">
            <a:xfrm>
              <a:off x="3962417" y="3041807"/>
              <a:ext cx="1035227" cy="56108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Liquefaction</a:t>
              </a:r>
            </a:p>
          </p:txBody>
        </p:sp>
        <p:sp>
          <p:nvSpPr>
            <p:cNvPr id="754" name="Rechteck 87">
              <a:extLst>
                <a:ext uri="{FF2B5EF4-FFF2-40B4-BE49-F238E27FC236}">
                  <a16:creationId xmlns:a16="http://schemas.microsoft.com/office/drawing/2014/main" id="{662CEB5F-556F-4814-B1DF-E3955E748257}"/>
                </a:ext>
              </a:extLst>
            </p:cNvPr>
            <p:cNvSpPr/>
            <p:nvPr/>
          </p:nvSpPr>
          <p:spPr bwMode="gray">
            <a:xfrm>
              <a:off x="-747726" y="3042845"/>
              <a:ext cx="1035227" cy="560051"/>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Gas </a:t>
              </a:r>
              <a:br>
                <a:rPr lang="de-DE" sz="900" dirty="0">
                  <a:solidFill>
                    <a:schemeClr val="tx1"/>
                  </a:solidFill>
                </a:rPr>
              </a:br>
              <a:r>
                <a:rPr lang="de-DE" sz="900" dirty="0">
                  <a:solidFill>
                    <a:schemeClr val="tx1"/>
                  </a:solidFill>
                </a:rPr>
                <a:t>wells</a:t>
              </a:r>
            </a:p>
          </p:txBody>
        </p:sp>
        <p:sp>
          <p:nvSpPr>
            <p:cNvPr id="756" name="Rechteck 87">
              <a:extLst>
                <a:ext uri="{FF2B5EF4-FFF2-40B4-BE49-F238E27FC236}">
                  <a16:creationId xmlns:a16="http://schemas.microsoft.com/office/drawing/2014/main" id="{6A78FBE2-EE9F-4CB8-9B77-3B32C41C9B92}"/>
                </a:ext>
              </a:extLst>
            </p:cNvPr>
            <p:cNvSpPr/>
            <p:nvPr/>
          </p:nvSpPr>
          <p:spPr bwMode="gray">
            <a:xfrm>
              <a:off x="429809" y="3042845"/>
              <a:ext cx="1035227" cy="56108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Reception</a:t>
              </a:r>
            </a:p>
          </p:txBody>
        </p:sp>
        <p:sp>
          <p:nvSpPr>
            <p:cNvPr id="757" name="Rechteck 87">
              <a:extLst>
                <a:ext uri="{FF2B5EF4-FFF2-40B4-BE49-F238E27FC236}">
                  <a16:creationId xmlns:a16="http://schemas.microsoft.com/office/drawing/2014/main" id="{DE6792DB-731E-4978-82CE-8B86B097A2FB}"/>
                </a:ext>
              </a:extLst>
            </p:cNvPr>
            <p:cNvSpPr/>
            <p:nvPr/>
          </p:nvSpPr>
          <p:spPr bwMode="gray">
            <a:xfrm>
              <a:off x="503417" y="3786320"/>
              <a:ext cx="1035227" cy="56108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Condensate stabilization</a:t>
              </a:r>
            </a:p>
          </p:txBody>
        </p:sp>
        <p:sp>
          <p:nvSpPr>
            <p:cNvPr id="758" name="Rechteck 87">
              <a:extLst>
                <a:ext uri="{FF2B5EF4-FFF2-40B4-BE49-F238E27FC236}">
                  <a16:creationId xmlns:a16="http://schemas.microsoft.com/office/drawing/2014/main" id="{8ED86966-CD24-411B-A783-C7F0D8122FF3}"/>
                </a:ext>
              </a:extLst>
            </p:cNvPr>
            <p:cNvSpPr/>
            <p:nvPr/>
          </p:nvSpPr>
          <p:spPr bwMode="gray">
            <a:xfrm>
              <a:off x="1607345" y="3041807"/>
              <a:ext cx="1035227" cy="56108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Acid gas</a:t>
              </a:r>
              <a:br>
                <a:rPr lang="de-DE" sz="900" dirty="0">
                  <a:solidFill>
                    <a:schemeClr val="tx1"/>
                  </a:solidFill>
                </a:rPr>
              </a:br>
              <a:r>
                <a:rPr lang="de-DE" sz="900" dirty="0">
                  <a:solidFill>
                    <a:schemeClr val="tx1"/>
                  </a:solidFill>
                </a:rPr>
                <a:t>removal</a:t>
              </a:r>
            </a:p>
          </p:txBody>
        </p:sp>
        <p:sp>
          <p:nvSpPr>
            <p:cNvPr id="759" name="Rechteck 87">
              <a:extLst>
                <a:ext uri="{FF2B5EF4-FFF2-40B4-BE49-F238E27FC236}">
                  <a16:creationId xmlns:a16="http://schemas.microsoft.com/office/drawing/2014/main" id="{4D0E40EC-61C4-44AD-8474-63E3AB1ADFFB}"/>
                </a:ext>
              </a:extLst>
            </p:cNvPr>
            <p:cNvSpPr/>
            <p:nvPr/>
          </p:nvSpPr>
          <p:spPr bwMode="gray">
            <a:xfrm>
              <a:off x="3962417" y="3786320"/>
              <a:ext cx="1035227" cy="56108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Fractionation</a:t>
              </a:r>
            </a:p>
          </p:txBody>
        </p:sp>
        <p:sp>
          <p:nvSpPr>
            <p:cNvPr id="804" name="Rechteck 87">
              <a:extLst>
                <a:ext uri="{FF2B5EF4-FFF2-40B4-BE49-F238E27FC236}">
                  <a16:creationId xmlns:a16="http://schemas.microsoft.com/office/drawing/2014/main" id="{930934E0-B6C9-4A4E-8319-DCB3D6156C58}"/>
                </a:ext>
              </a:extLst>
            </p:cNvPr>
            <p:cNvSpPr/>
            <p:nvPr/>
          </p:nvSpPr>
          <p:spPr bwMode="gray">
            <a:xfrm>
              <a:off x="2784880" y="3041807"/>
              <a:ext cx="1035227" cy="56108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Dehydration/  </a:t>
              </a:r>
              <a:br>
                <a:rPr lang="de-DE" sz="900" dirty="0">
                  <a:solidFill>
                    <a:schemeClr val="tx1"/>
                  </a:solidFill>
                </a:rPr>
              </a:br>
              <a:r>
                <a:rPr lang="de-DE" sz="900" dirty="0">
                  <a:solidFill>
                    <a:schemeClr val="tx1"/>
                  </a:solidFill>
                </a:rPr>
                <a:t>Mercury removal</a:t>
              </a:r>
            </a:p>
          </p:txBody>
        </p:sp>
        <p:cxnSp>
          <p:nvCxnSpPr>
            <p:cNvPr id="809" name="Straight Connector 808">
              <a:extLst>
                <a:ext uri="{FF2B5EF4-FFF2-40B4-BE49-F238E27FC236}">
                  <a16:creationId xmlns:a16="http://schemas.microsoft.com/office/drawing/2014/main" id="{69C2A907-732F-4648-BA71-542B9FFFE37D}"/>
                </a:ext>
              </a:extLst>
            </p:cNvPr>
            <p:cNvCxnSpPr>
              <a:cxnSpLocks/>
              <a:stCxn id="753" idx="1"/>
              <a:endCxn id="804" idx="3"/>
            </p:cNvCxnSpPr>
            <p:nvPr/>
          </p:nvCxnSpPr>
          <p:spPr bwMode="gray">
            <a:xfrm flipH="1">
              <a:off x="3820107" y="3322352"/>
              <a:ext cx="142310" cy="0"/>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812" name="Straight Connector 811">
              <a:extLst>
                <a:ext uri="{FF2B5EF4-FFF2-40B4-BE49-F238E27FC236}">
                  <a16:creationId xmlns:a16="http://schemas.microsoft.com/office/drawing/2014/main" id="{DC538202-6BF5-486F-A7CD-192B265F6B3B}"/>
                </a:ext>
              </a:extLst>
            </p:cNvPr>
            <p:cNvCxnSpPr>
              <a:cxnSpLocks/>
              <a:stCxn id="758" idx="1"/>
              <a:endCxn id="756" idx="3"/>
            </p:cNvCxnSpPr>
            <p:nvPr/>
          </p:nvCxnSpPr>
          <p:spPr bwMode="gray">
            <a:xfrm flipH="1">
              <a:off x="1465036" y="3322352"/>
              <a:ext cx="142308" cy="1038"/>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823" name="Connector: Elbow 822">
              <a:extLst>
                <a:ext uri="{FF2B5EF4-FFF2-40B4-BE49-F238E27FC236}">
                  <a16:creationId xmlns:a16="http://schemas.microsoft.com/office/drawing/2014/main" id="{8BF07245-5763-4E4F-BCC7-2E035BA6778E}"/>
                </a:ext>
              </a:extLst>
            </p:cNvPr>
            <p:cNvCxnSpPr>
              <a:cxnSpLocks/>
              <a:stCxn id="752" idx="1"/>
              <a:endCxn id="826" idx="2"/>
            </p:cNvCxnSpPr>
            <p:nvPr/>
          </p:nvCxnSpPr>
          <p:spPr bwMode="gray">
            <a:xfrm rot="10800000">
              <a:off x="50797" y="3602897"/>
              <a:ext cx="1635362" cy="958597"/>
            </a:xfrm>
            <a:prstGeom prst="bentConnector2">
              <a:avLst/>
            </a:prstGeom>
            <a:ln w="12700">
              <a:solidFill>
                <a:schemeClr val="bg2"/>
              </a:solidFill>
              <a:prstDash val="sysDash"/>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723" name="Straight Connector 722">
              <a:extLst>
                <a:ext uri="{FF2B5EF4-FFF2-40B4-BE49-F238E27FC236}">
                  <a16:creationId xmlns:a16="http://schemas.microsoft.com/office/drawing/2014/main" id="{995D5A67-5864-4EE1-AC44-852AF0908670}"/>
                </a:ext>
              </a:extLst>
            </p:cNvPr>
            <p:cNvCxnSpPr>
              <a:cxnSpLocks/>
            </p:cNvCxnSpPr>
            <p:nvPr/>
          </p:nvCxnSpPr>
          <p:spPr bwMode="gray">
            <a:xfrm>
              <a:off x="-422223" y="3602896"/>
              <a:ext cx="0" cy="178144"/>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grpSp>
          <p:nvGrpSpPr>
            <p:cNvPr id="839" name="Group 838">
              <a:extLst>
                <a:ext uri="{FF2B5EF4-FFF2-40B4-BE49-F238E27FC236}">
                  <a16:creationId xmlns:a16="http://schemas.microsoft.com/office/drawing/2014/main" id="{053B7BC9-B0FA-48E4-9719-DB8A130601ED}"/>
                </a:ext>
              </a:extLst>
            </p:cNvPr>
            <p:cNvGrpSpPr/>
            <p:nvPr/>
          </p:nvGrpSpPr>
          <p:grpSpPr bwMode="gray">
            <a:xfrm>
              <a:off x="916833" y="3603602"/>
              <a:ext cx="208396" cy="186226"/>
              <a:chOff x="946618" y="-5291003"/>
              <a:chExt cx="267970" cy="279346"/>
            </a:xfrm>
          </p:grpSpPr>
          <p:cxnSp>
            <p:nvCxnSpPr>
              <p:cNvPr id="733" name="Straight Connector 732">
                <a:extLst>
                  <a:ext uri="{FF2B5EF4-FFF2-40B4-BE49-F238E27FC236}">
                    <a16:creationId xmlns:a16="http://schemas.microsoft.com/office/drawing/2014/main" id="{FB3AED98-9C9D-4FCA-AE28-DD5D9EAD9FD8}"/>
                  </a:ext>
                </a:extLst>
              </p:cNvPr>
              <p:cNvCxnSpPr>
                <a:cxnSpLocks/>
              </p:cNvCxnSpPr>
              <p:nvPr/>
            </p:nvCxnSpPr>
            <p:spPr bwMode="gray">
              <a:xfrm>
                <a:off x="1214588" y="-5291003"/>
                <a:ext cx="0" cy="279346"/>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838" name="Straight Connector 837">
                <a:extLst>
                  <a:ext uri="{FF2B5EF4-FFF2-40B4-BE49-F238E27FC236}">
                    <a16:creationId xmlns:a16="http://schemas.microsoft.com/office/drawing/2014/main" id="{DD9B70B9-8514-44CD-88AD-F1E251A37C58}"/>
                  </a:ext>
                </a:extLst>
              </p:cNvPr>
              <p:cNvCxnSpPr>
                <a:cxnSpLocks/>
              </p:cNvCxnSpPr>
              <p:nvPr/>
            </p:nvCxnSpPr>
            <p:spPr bwMode="gray">
              <a:xfrm flipV="1">
                <a:off x="946618" y="-5291003"/>
                <a:ext cx="0" cy="279346"/>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846" name="Group 845">
              <a:extLst>
                <a:ext uri="{FF2B5EF4-FFF2-40B4-BE49-F238E27FC236}">
                  <a16:creationId xmlns:a16="http://schemas.microsoft.com/office/drawing/2014/main" id="{10B8A78E-9BE0-4911-A47A-39943B543970}"/>
                </a:ext>
              </a:extLst>
            </p:cNvPr>
            <p:cNvGrpSpPr/>
            <p:nvPr/>
          </p:nvGrpSpPr>
          <p:grpSpPr bwMode="gray">
            <a:xfrm>
              <a:off x="4375833" y="3603602"/>
              <a:ext cx="208396" cy="186226"/>
              <a:chOff x="946618" y="-5291003"/>
              <a:chExt cx="267970" cy="279346"/>
            </a:xfrm>
          </p:grpSpPr>
          <p:cxnSp>
            <p:nvCxnSpPr>
              <p:cNvPr id="847" name="Straight Connector 846">
                <a:extLst>
                  <a:ext uri="{FF2B5EF4-FFF2-40B4-BE49-F238E27FC236}">
                    <a16:creationId xmlns:a16="http://schemas.microsoft.com/office/drawing/2014/main" id="{B6AD8D9D-7406-4A57-A056-3051DC01E4E7}"/>
                  </a:ext>
                </a:extLst>
              </p:cNvPr>
              <p:cNvCxnSpPr>
                <a:cxnSpLocks/>
              </p:cNvCxnSpPr>
              <p:nvPr/>
            </p:nvCxnSpPr>
            <p:spPr bwMode="gray">
              <a:xfrm>
                <a:off x="1214588" y="-5291003"/>
                <a:ext cx="0" cy="279346"/>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848" name="Straight Connector 847">
                <a:extLst>
                  <a:ext uri="{FF2B5EF4-FFF2-40B4-BE49-F238E27FC236}">
                    <a16:creationId xmlns:a16="http://schemas.microsoft.com/office/drawing/2014/main" id="{9E6CDA94-FCC8-4ABE-850F-8BC65F85D227}"/>
                  </a:ext>
                </a:extLst>
              </p:cNvPr>
              <p:cNvCxnSpPr>
                <a:cxnSpLocks/>
              </p:cNvCxnSpPr>
              <p:nvPr/>
            </p:nvCxnSpPr>
            <p:spPr bwMode="gray">
              <a:xfrm flipV="1">
                <a:off x="946618" y="-5291003"/>
                <a:ext cx="0" cy="279346"/>
              </a:xfrm>
              <a:prstGeom prst="line">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grpSp>
        <p:sp>
          <p:nvSpPr>
            <p:cNvPr id="850" name="Rechteck 87">
              <a:extLst>
                <a:ext uri="{FF2B5EF4-FFF2-40B4-BE49-F238E27FC236}">
                  <a16:creationId xmlns:a16="http://schemas.microsoft.com/office/drawing/2014/main" id="{7114864F-62F9-4177-846E-1E46232B3FF0}"/>
                </a:ext>
              </a:extLst>
            </p:cNvPr>
            <p:cNvSpPr/>
            <p:nvPr/>
          </p:nvSpPr>
          <p:spPr bwMode="gray">
            <a:xfrm>
              <a:off x="1030777" y="4728707"/>
              <a:ext cx="1035227" cy="56108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Storage and loading</a:t>
              </a:r>
            </a:p>
          </p:txBody>
        </p:sp>
        <p:sp>
          <p:nvSpPr>
            <p:cNvPr id="851" name="Rechteck 87">
              <a:extLst>
                <a:ext uri="{FF2B5EF4-FFF2-40B4-BE49-F238E27FC236}">
                  <a16:creationId xmlns:a16="http://schemas.microsoft.com/office/drawing/2014/main" id="{4F4FCFC0-B7C8-465B-9FC0-E1448C1E568D}"/>
                </a:ext>
              </a:extLst>
            </p:cNvPr>
            <p:cNvSpPr/>
            <p:nvPr/>
          </p:nvSpPr>
          <p:spPr bwMode="gray">
            <a:xfrm>
              <a:off x="3373649" y="4728707"/>
              <a:ext cx="1035227" cy="561089"/>
            </a:xfrm>
            <a:prstGeom prst="rect">
              <a:avLst/>
            </a:prstGeom>
            <a:solidFill>
              <a:schemeClr val="accent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900" dirty="0">
                  <a:solidFill>
                    <a:schemeClr val="tx1"/>
                  </a:solidFill>
                </a:rPr>
                <a:t>Utilities</a:t>
              </a:r>
            </a:p>
          </p:txBody>
        </p:sp>
      </p:grpSp>
      <p:sp>
        <p:nvSpPr>
          <p:cNvPr id="1063" name="Rectangle 1062">
            <a:extLst>
              <a:ext uri="{FF2B5EF4-FFF2-40B4-BE49-F238E27FC236}">
                <a16:creationId xmlns:a16="http://schemas.microsoft.com/office/drawing/2014/main" id="{E7D3F282-29FF-4434-BE6F-2194D9CA34D9}"/>
              </a:ext>
            </a:extLst>
          </p:cNvPr>
          <p:cNvSpPr/>
          <p:nvPr/>
        </p:nvSpPr>
        <p:spPr bwMode="gray">
          <a:xfrm>
            <a:off x="7081516" y="2194815"/>
            <a:ext cx="31027" cy="3102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grpSp>
        <p:nvGrpSpPr>
          <p:cNvPr id="1124" name="Group 1123">
            <a:extLst>
              <a:ext uri="{FF2B5EF4-FFF2-40B4-BE49-F238E27FC236}">
                <a16:creationId xmlns:a16="http://schemas.microsoft.com/office/drawing/2014/main" id="{E76C1533-16AC-4B2E-8CDE-281AE5AC7361}"/>
              </a:ext>
            </a:extLst>
          </p:cNvPr>
          <p:cNvGrpSpPr/>
          <p:nvPr/>
        </p:nvGrpSpPr>
        <p:grpSpPr bwMode="gray">
          <a:xfrm>
            <a:off x="10166346" y="4330598"/>
            <a:ext cx="251036" cy="136106"/>
            <a:chOff x="9915057" y="-1974108"/>
            <a:chExt cx="291270" cy="157920"/>
          </a:xfrm>
          <a:solidFill>
            <a:schemeClr val="accent5"/>
          </a:solidFill>
        </p:grpSpPr>
        <p:grpSp>
          <p:nvGrpSpPr>
            <p:cNvPr id="1120" name="Group 1119">
              <a:extLst>
                <a:ext uri="{FF2B5EF4-FFF2-40B4-BE49-F238E27FC236}">
                  <a16:creationId xmlns:a16="http://schemas.microsoft.com/office/drawing/2014/main" id="{7C60D416-53E8-4A9A-8640-2157FA7DBAB0}"/>
                </a:ext>
              </a:extLst>
            </p:cNvPr>
            <p:cNvGrpSpPr/>
            <p:nvPr/>
          </p:nvGrpSpPr>
          <p:grpSpPr bwMode="gray">
            <a:xfrm>
              <a:off x="10170327" y="-1974108"/>
              <a:ext cx="36000" cy="157920"/>
              <a:chOff x="10174137" y="-1976013"/>
              <a:chExt cx="36000" cy="157920"/>
            </a:xfrm>
            <a:grpFill/>
          </p:grpSpPr>
          <p:sp>
            <p:nvSpPr>
              <p:cNvPr id="1118" name="Rectangle 1117">
                <a:extLst>
                  <a:ext uri="{FF2B5EF4-FFF2-40B4-BE49-F238E27FC236}">
                    <a16:creationId xmlns:a16="http://schemas.microsoft.com/office/drawing/2014/main" id="{5067C884-6386-4120-BA14-526A4681E296}"/>
                  </a:ext>
                </a:extLst>
              </p:cNvPr>
              <p:cNvSpPr/>
              <p:nvPr/>
            </p:nvSpPr>
            <p:spPr bwMode="gray">
              <a:xfrm>
                <a:off x="10174137" y="-1976013"/>
                <a:ext cx="36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19" name="Rectangle 1118">
                <a:extLst>
                  <a:ext uri="{FF2B5EF4-FFF2-40B4-BE49-F238E27FC236}">
                    <a16:creationId xmlns:a16="http://schemas.microsoft.com/office/drawing/2014/main" id="{4A54AEBA-B352-4B1F-A8A1-2ECE97827580}"/>
                  </a:ext>
                </a:extLst>
              </p:cNvPr>
              <p:cNvSpPr/>
              <p:nvPr/>
            </p:nvSpPr>
            <p:spPr bwMode="gray">
              <a:xfrm>
                <a:off x="10174137" y="-1854093"/>
                <a:ext cx="36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grpSp>
        <p:grpSp>
          <p:nvGrpSpPr>
            <p:cNvPr id="1121" name="Group 1120">
              <a:extLst>
                <a:ext uri="{FF2B5EF4-FFF2-40B4-BE49-F238E27FC236}">
                  <a16:creationId xmlns:a16="http://schemas.microsoft.com/office/drawing/2014/main" id="{0746D44B-5C41-4A05-972C-EFA83F2973F8}"/>
                </a:ext>
              </a:extLst>
            </p:cNvPr>
            <p:cNvGrpSpPr/>
            <p:nvPr/>
          </p:nvGrpSpPr>
          <p:grpSpPr bwMode="gray">
            <a:xfrm>
              <a:off x="9915057" y="-1974108"/>
              <a:ext cx="36000" cy="157920"/>
              <a:chOff x="10174137" y="-1976013"/>
              <a:chExt cx="36000" cy="157920"/>
            </a:xfrm>
            <a:grpFill/>
          </p:grpSpPr>
          <p:sp>
            <p:nvSpPr>
              <p:cNvPr id="1122" name="Rectangle 1121">
                <a:extLst>
                  <a:ext uri="{FF2B5EF4-FFF2-40B4-BE49-F238E27FC236}">
                    <a16:creationId xmlns:a16="http://schemas.microsoft.com/office/drawing/2014/main" id="{8F29BFAB-0F78-4163-B633-9EABC4E1EA8A}"/>
                  </a:ext>
                </a:extLst>
              </p:cNvPr>
              <p:cNvSpPr/>
              <p:nvPr/>
            </p:nvSpPr>
            <p:spPr bwMode="gray">
              <a:xfrm>
                <a:off x="10174137" y="-1976013"/>
                <a:ext cx="36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23" name="Rectangle 1122">
                <a:extLst>
                  <a:ext uri="{FF2B5EF4-FFF2-40B4-BE49-F238E27FC236}">
                    <a16:creationId xmlns:a16="http://schemas.microsoft.com/office/drawing/2014/main" id="{702BEDB2-F763-4C03-B331-5ED3041C4112}"/>
                  </a:ext>
                </a:extLst>
              </p:cNvPr>
              <p:cNvSpPr/>
              <p:nvPr/>
            </p:nvSpPr>
            <p:spPr bwMode="gray">
              <a:xfrm>
                <a:off x="10174137" y="-1854093"/>
                <a:ext cx="36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grpSp>
      </p:grpSp>
      <p:grpSp>
        <p:nvGrpSpPr>
          <p:cNvPr id="1125" name="Group 1124">
            <a:extLst>
              <a:ext uri="{FF2B5EF4-FFF2-40B4-BE49-F238E27FC236}">
                <a16:creationId xmlns:a16="http://schemas.microsoft.com/office/drawing/2014/main" id="{626C311C-E57F-4DB4-9756-A5E59908C5AD}"/>
              </a:ext>
            </a:extLst>
          </p:cNvPr>
          <p:cNvGrpSpPr/>
          <p:nvPr/>
        </p:nvGrpSpPr>
        <p:grpSpPr bwMode="gray">
          <a:xfrm>
            <a:off x="8779303" y="4330511"/>
            <a:ext cx="251036" cy="204694"/>
            <a:chOff x="9915057" y="-1974108"/>
            <a:chExt cx="291270" cy="237489"/>
          </a:xfrm>
          <a:solidFill>
            <a:schemeClr val="accent5"/>
          </a:solidFill>
        </p:grpSpPr>
        <p:grpSp>
          <p:nvGrpSpPr>
            <p:cNvPr id="1126" name="Group 1125">
              <a:extLst>
                <a:ext uri="{FF2B5EF4-FFF2-40B4-BE49-F238E27FC236}">
                  <a16:creationId xmlns:a16="http://schemas.microsoft.com/office/drawing/2014/main" id="{9B07116F-E576-417B-B728-17F9C951B8E5}"/>
                </a:ext>
              </a:extLst>
            </p:cNvPr>
            <p:cNvGrpSpPr/>
            <p:nvPr/>
          </p:nvGrpSpPr>
          <p:grpSpPr bwMode="gray">
            <a:xfrm>
              <a:off x="10170327" y="-1974108"/>
              <a:ext cx="36000" cy="157920"/>
              <a:chOff x="10174137" y="-1976013"/>
              <a:chExt cx="36000" cy="157920"/>
            </a:xfrm>
            <a:grpFill/>
          </p:grpSpPr>
          <p:sp>
            <p:nvSpPr>
              <p:cNvPr id="1130" name="Rectangle 1129">
                <a:extLst>
                  <a:ext uri="{FF2B5EF4-FFF2-40B4-BE49-F238E27FC236}">
                    <a16:creationId xmlns:a16="http://schemas.microsoft.com/office/drawing/2014/main" id="{C2F5AB48-BFA6-4855-AE13-4DC7372CD30F}"/>
                  </a:ext>
                </a:extLst>
              </p:cNvPr>
              <p:cNvSpPr/>
              <p:nvPr/>
            </p:nvSpPr>
            <p:spPr bwMode="gray">
              <a:xfrm>
                <a:off x="10174137" y="-1976013"/>
                <a:ext cx="36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31" name="Rectangle 1130">
                <a:extLst>
                  <a:ext uri="{FF2B5EF4-FFF2-40B4-BE49-F238E27FC236}">
                    <a16:creationId xmlns:a16="http://schemas.microsoft.com/office/drawing/2014/main" id="{BC9D3E07-4FB2-4353-B710-63645139FDEC}"/>
                  </a:ext>
                </a:extLst>
              </p:cNvPr>
              <p:cNvSpPr/>
              <p:nvPr/>
            </p:nvSpPr>
            <p:spPr bwMode="gray">
              <a:xfrm>
                <a:off x="10174137" y="-1854093"/>
                <a:ext cx="36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grpSp>
        <p:grpSp>
          <p:nvGrpSpPr>
            <p:cNvPr id="1127" name="Group 1126">
              <a:extLst>
                <a:ext uri="{FF2B5EF4-FFF2-40B4-BE49-F238E27FC236}">
                  <a16:creationId xmlns:a16="http://schemas.microsoft.com/office/drawing/2014/main" id="{BE65124E-B5AD-43DC-89B0-80406CEB578E}"/>
                </a:ext>
              </a:extLst>
            </p:cNvPr>
            <p:cNvGrpSpPr/>
            <p:nvPr/>
          </p:nvGrpSpPr>
          <p:grpSpPr bwMode="gray">
            <a:xfrm>
              <a:off x="9915057" y="-1974108"/>
              <a:ext cx="94206" cy="237489"/>
              <a:chOff x="10174137" y="-1976013"/>
              <a:chExt cx="94206" cy="237489"/>
            </a:xfrm>
            <a:grpFill/>
          </p:grpSpPr>
          <p:sp>
            <p:nvSpPr>
              <p:cNvPr id="1128" name="Rectangle 1127">
                <a:extLst>
                  <a:ext uri="{FF2B5EF4-FFF2-40B4-BE49-F238E27FC236}">
                    <a16:creationId xmlns:a16="http://schemas.microsoft.com/office/drawing/2014/main" id="{D0A47774-5CAA-4BC7-B48D-5437293E8E90}"/>
                  </a:ext>
                </a:extLst>
              </p:cNvPr>
              <p:cNvSpPr/>
              <p:nvPr/>
            </p:nvSpPr>
            <p:spPr bwMode="gray">
              <a:xfrm>
                <a:off x="10174137" y="-1976013"/>
                <a:ext cx="36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29" name="Rectangle 1128">
                <a:extLst>
                  <a:ext uri="{FF2B5EF4-FFF2-40B4-BE49-F238E27FC236}">
                    <a16:creationId xmlns:a16="http://schemas.microsoft.com/office/drawing/2014/main" id="{DB620D8F-C507-47CF-AC30-1ACF2C03EB3A}"/>
                  </a:ext>
                </a:extLst>
              </p:cNvPr>
              <p:cNvSpPr/>
              <p:nvPr/>
            </p:nvSpPr>
            <p:spPr bwMode="gray">
              <a:xfrm>
                <a:off x="10174137" y="-1854093"/>
                <a:ext cx="36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306" name="Rectangle 1305">
                <a:extLst>
                  <a:ext uri="{FF2B5EF4-FFF2-40B4-BE49-F238E27FC236}">
                    <a16:creationId xmlns:a16="http://schemas.microsoft.com/office/drawing/2014/main" id="{BA0B14DD-B823-468F-B837-B0E0C2D6881D}"/>
                  </a:ext>
                </a:extLst>
              </p:cNvPr>
              <p:cNvSpPr/>
              <p:nvPr/>
            </p:nvSpPr>
            <p:spPr bwMode="gray">
              <a:xfrm>
                <a:off x="10232342" y="-1774523"/>
                <a:ext cx="36001" cy="35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grpSp>
      </p:grpSp>
      <p:grpSp>
        <p:nvGrpSpPr>
          <p:cNvPr id="1132" name="Group 1131">
            <a:extLst>
              <a:ext uri="{FF2B5EF4-FFF2-40B4-BE49-F238E27FC236}">
                <a16:creationId xmlns:a16="http://schemas.microsoft.com/office/drawing/2014/main" id="{5C8B484C-6135-46DA-B3B4-BCEE2275FA36}"/>
              </a:ext>
            </a:extLst>
          </p:cNvPr>
          <p:cNvGrpSpPr/>
          <p:nvPr/>
        </p:nvGrpSpPr>
        <p:grpSpPr bwMode="gray">
          <a:xfrm>
            <a:off x="7498604" y="4330598"/>
            <a:ext cx="251036" cy="136106"/>
            <a:chOff x="9915057" y="-1974108"/>
            <a:chExt cx="291270" cy="157920"/>
          </a:xfrm>
          <a:solidFill>
            <a:schemeClr val="accent5"/>
          </a:solidFill>
        </p:grpSpPr>
        <p:grpSp>
          <p:nvGrpSpPr>
            <p:cNvPr id="1133" name="Group 1132">
              <a:extLst>
                <a:ext uri="{FF2B5EF4-FFF2-40B4-BE49-F238E27FC236}">
                  <a16:creationId xmlns:a16="http://schemas.microsoft.com/office/drawing/2014/main" id="{5BAEE2A7-FD4D-4DA7-89CD-DDD5F4A9675B}"/>
                </a:ext>
              </a:extLst>
            </p:cNvPr>
            <p:cNvGrpSpPr/>
            <p:nvPr/>
          </p:nvGrpSpPr>
          <p:grpSpPr bwMode="gray">
            <a:xfrm>
              <a:off x="10170327" y="-1974108"/>
              <a:ext cx="36000" cy="157920"/>
              <a:chOff x="10174137" y="-1976013"/>
              <a:chExt cx="36000" cy="157920"/>
            </a:xfrm>
            <a:grpFill/>
          </p:grpSpPr>
          <p:sp>
            <p:nvSpPr>
              <p:cNvPr id="1137" name="Rectangle 1136">
                <a:extLst>
                  <a:ext uri="{FF2B5EF4-FFF2-40B4-BE49-F238E27FC236}">
                    <a16:creationId xmlns:a16="http://schemas.microsoft.com/office/drawing/2014/main" id="{CD2A8A30-BA3F-4F82-8DF8-C7869E94A084}"/>
                  </a:ext>
                </a:extLst>
              </p:cNvPr>
              <p:cNvSpPr/>
              <p:nvPr/>
            </p:nvSpPr>
            <p:spPr bwMode="gray">
              <a:xfrm>
                <a:off x="10174137" y="-1976013"/>
                <a:ext cx="36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38" name="Rectangle 1137">
                <a:extLst>
                  <a:ext uri="{FF2B5EF4-FFF2-40B4-BE49-F238E27FC236}">
                    <a16:creationId xmlns:a16="http://schemas.microsoft.com/office/drawing/2014/main" id="{D8BE4DB9-BE46-4036-AF61-850631FBE906}"/>
                  </a:ext>
                </a:extLst>
              </p:cNvPr>
              <p:cNvSpPr/>
              <p:nvPr/>
            </p:nvSpPr>
            <p:spPr bwMode="gray">
              <a:xfrm>
                <a:off x="10174137" y="-1854093"/>
                <a:ext cx="36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grpSp>
        <p:grpSp>
          <p:nvGrpSpPr>
            <p:cNvPr id="1134" name="Group 1133">
              <a:extLst>
                <a:ext uri="{FF2B5EF4-FFF2-40B4-BE49-F238E27FC236}">
                  <a16:creationId xmlns:a16="http://schemas.microsoft.com/office/drawing/2014/main" id="{F86AFFAB-9C88-4CF3-8BD0-46D85CED7F32}"/>
                </a:ext>
              </a:extLst>
            </p:cNvPr>
            <p:cNvGrpSpPr/>
            <p:nvPr/>
          </p:nvGrpSpPr>
          <p:grpSpPr bwMode="gray">
            <a:xfrm>
              <a:off x="9915057" y="-1974108"/>
              <a:ext cx="36000" cy="157920"/>
              <a:chOff x="10174137" y="-1976013"/>
              <a:chExt cx="36000" cy="157920"/>
            </a:xfrm>
            <a:grpFill/>
          </p:grpSpPr>
          <p:sp>
            <p:nvSpPr>
              <p:cNvPr id="1135" name="Rectangle 1134">
                <a:extLst>
                  <a:ext uri="{FF2B5EF4-FFF2-40B4-BE49-F238E27FC236}">
                    <a16:creationId xmlns:a16="http://schemas.microsoft.com/office/drawing/2014/main" id="{0B75CA7A-3DF3-4959-A4CD-DF1C13734AEC}"/>
                  </a:ext>
                </a:extLst>
              </p:cNvPr>
              <p:cNvSpPr/>
              <p:nvPr/>
            </p:nvSpPr>
            <p:spPr bwMode="gray">
              <a:xfrm>
                <a:off x="10174137" y="-1976013"/>
                <a:ext cx="36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sp>
            <p:nvSpPr>
              <p:cNvPr id="1136" name="Rectangle 1135">
                <a:extLst>
                  <a:ext uri="{FF2B5EF4-FFF2-40B4-BE49-F238E27FC236}">
                    <a16:creationId xmlns:a16="http://schemas.microsoft.com/office/drawing/2014/main" id="{CE437987-6AD4-42A2-B9F6-FC8219F6FDFB}"/>
                  </a:ext>
                </a:extLst>
              </p:cNvPr>
              <p:cNvSpPr/>
              <p:nvPr/>
            </p:nvSpPr>
            <p:spPr bwMode="gray">
              <a:xfrm>
                <a:off x="10174137" y="-1854093"/>
                <a:ext cx="36000" cy="3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dirty="0" err="1"/>
              </a:p>
            </p:txBody>
          </p:sp>
        </p:grpSp>
      </p:grpSp>
      <p:grpSp>
        <p:nvGrpSpPr>
          <p:cNvPr id="893" name="Group 892">
            <a:extLst>
              <a:ext uri="{FF2B5EF4-FFF2-40B4-BE49-F238E27FC236}">
                <a16:creationId xmlns:a16="http://schemas.microsoft.com/office/drawing/2014/main" id="{E2565B7C-8D2A-4C1D-A134-301C15542570}"/>
              </a:ext>
            </a:extLst>
          </p:cNvPr>
          <p:cNvGrpSpPr/>
          <p:nvPr/>
        </p:nvGrpSpPr>
        <p:grpSpPr bwMode="gray">
          <a:xfrm>
            <a:off x="9888589" y="4266092"/>
            <a:ext cx="806550" cy="572469"/>
            <a:chOff x="13417923" y="3811749"/>
            <a:chExt cx="935816" cy="664219"/>
          </a:xfrm>
        </p:grpSpPr>
        <p:sp>
          <p:nvSpPr>
            <p:cNvPr id="894" name="Oval 893">
              <a:extLst>
                <a:ext uri="{FF2B5EF4-FFF2-40B4-BE49-F238E27FC236}">
                  <a16:creationId xmlns:a16="http://schemas.microsoft.com/office/drawing/2014/main" id="{AA569168-83A2-44FB-8266-28ACFE836817}"/>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895" name="Freeform: Shape 894">
              <a:extLst>
                <a:ext uri="{FF2B5EF4-FFF2-40B4-BE49-F238E27FC236}">
                  <a16:creationId xmlns:a16="http://schemas.microsoft.com/office/drawing/2014/main" id="{43D470AA-6A95-4C92-A7A0-265F5C24786C}"/>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a:solidFill>
                  <a:schemeClr val="tx1"/>
                </a:solidFill>
              </a:endParaRPr>
            </a:p>
          </p:txBody>
        </p:sp>
        <p:sp>
          <p:nvSpPr>
            <p:cNvPr id="896" name="Rectangle 895">
              <a:extLst>
                <a:ext uri="{FF2B5EF4-FFF2-40B4-BE49-F238E27FC236}">
                  <a16:creationId xmlns:a16="http://schemas.microsoft.com/office/drawing/2014/main" id="{8D571608-5950-4A64-BD04-B34AA4FEADBC}"/>
                </a:ext>
              </a:extLst>
            </p:cNvPr>
            <p:cNvSpPr/>
            <p:nvPr/>
          </p:nvSpPr>
          <p:spPr bwMode="gray">
            <a:xfrm>
              <a:off x="13417923" y="4122486"/>
              <a:ext cx="935816"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Propane heat exchanger</a:t>
              </a:r>
            </a:p>
          </p:txBody>
        </p:sp>
      </p:grpSp>
      <p:grpSp>
        <p:nvGrpSpPr>
          <p:cNvPr id="909" name="Group 908">
            <a:extLst>
              <a:ext uri="{FF2B5EF4-FFF2-40B4-BE49-F238E27FC236}">
                <a16:creationId xmlns:a16="http://schemas.microsoft.com/office/drawing/2014/main" id="{B82986DC-95A8-48A9-9382-848F10C185D5}"/>
              </a:ext>
            </a:extLst>
          </p:cNvPr>
          <p:cNvGrpSpPr/>
          <p:nvPr/>
        </p:nvGrpSpPr>
        <p:grpSpPr bwMode="gray">
          <a:xfrm>
            <a:off x="10280053" y="2194815"/>
            <a:ext cx="580720" cy="572469"/>
            <a:chOff x="15399039" y="3407016"/>
            <a:chExt cx="673792" cy="664218"/>
          </a:xfrm>
        </p:grpSpPr>
        <p:sp>
          <p:nvSpPr>
            <p:cNvPr id="910" name="Rectangle 909">
              <a:extLst>
                <a:ext uri="{FF2B5EF4-FFF2-40B4-BE49-F238E27FC236}">
                  <a16:creationId xmlns:a16="http://schemas.microsoft.com/office/drawing/2014/main" id="{3EC88D26-A070-486E-9BE8-513BAB2EA1A1}"/>
                </a:ext>
              </a:extLst>
            </p:cNvPr>
            <p:cNvSpPr/>
            <p:nvPr/>
          </p:nvSpPr>
          <p:spPr bwMode="gray">
            <a:xfrm>
              <a:off x="15525750" y="3407016"/>
              <a:ext cx="420370" cy="310736"/>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cxnSp>
          <p:nvCxnSpPr>
            <p:cNvPr id="911" name="Straight Connector 910">
              <a:extLst>
                <a:ext uri="{FF2B5EF4-FFF2-40B4-BE49-F238E27FC236}">
                  <a16:creationId xmlns:a16="http://schemas.microsoft.com/office/drawing/2014/main" id="{5FF86BC3-0BF0-477E-ACC5-FDB49F2BED33}"/>
                </a:ext>
              </a:extLst>
            </p:cNvPr>
            <p:cNvCxnSpPr>
              <a:stCxn id="910" idx="0"/>
              <a:endCxn id="910" idx="2"/>
            </p:cNvCxnSpPr>
            <p:nvPr/>
          </p:nvCxnSpPr>
          <p:spPr bwMode="gray">
            <a:xfrm>
              <a:off x="15735935" y="3407016"/>
              <a:ext cx="0" cy="310736"/>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12" name="Rectangle 911">
              <a:extLst>
                <a:ext uri="{FF2B5EF4-FFF2-40B4-BE49-F238E27FC236}">
                  <a16:creationId xmlns:a16="http://schemas.microsoft.com/office/drawing/2014/main" id="{55B178AC-C725-4807-9EF3-2F4E5E87591E}"/>
                </a:ext>
              </a:extLst>
            </p:cNvPr>
            <p:cNvSpPr/>
            <p:nvPr/>
          </p:nvSpPr>
          <p:spPr bwMode="gray">
            <a:xfrm>
              <a:off x="15399039" y="3717751"/>
              <a:ext cx="673792" cy="353483"/>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Carbon filter</a:t>
              </a:r>
            </a:p>
          </p:txBody>
        </p:sp>
      </p:grpSp>
      <p:grpSp>
        <p:nvGrpSpPr>
          <p:cNvPr id="924" name="Group 923">
            <a:extLst>
              <a:ext uri="{FF2B5EF4-FFF2-40B4-BE49-F238E27FC236}">
                <a16:creationId xmlns:a16="http://schemas.microsoft.com/office/drawing/2014/main" id="{93E62AAC-9D7F-49DD-AFD2-6F667647C431}"/>
              </a:ext>
            </a:extLst>
          </p:cNvPr>
          <p:cNvGrpSpPr/>
          <p:nvPr/>
        </p:nvGrpSpPr>
        <p:grpSpPr bwMode="gray">
          <a:xfrm>
            <a:off x="9640215" y="2194815"/>
            <a:ext cx="726038" cy="712902"/>
            <a:chOff x="3496037" y="4559133"/>
            <a:chExt cx="842400" cy="827159"/>
          </a:xfrm>
        </p:grpSpPr>
        <p:sp>
          <p:nvSpPr>
            <p:cNvPr id="925" name="Rectangle 924">
              <a:extLst>
                <a:ext uri="{FF2B5EF4-FFF2-40B4-BE49-F238E27FC236}">
                  <a16:creationId xmlns:a16="http://schemas.microsoft.com/office/drawing/2014/main" id="{7638FCC5-54F2-41D4-9B6B-956DA265F27A}"/>
                </a:ext>
              </a:extLst>
            </p:cNvPr>
            <p:cNvSpPr/>
            <p:nvPr/>
          </p:nvSpPr>
          <p:spPr bwMode="gray">
            <a:xfrm>
              <a:off x="3496037" y="5221262"/>
              <a:ext cx="84240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Dehydrator</a:t>
              </a:r>
            </a:p>
          </p:txBody>
        </p:sp>
        <p:sp>
          <p:nvSpPr>
            <p:cNvPr id="926" name="Rectangle: Rounded Corners 925">
              <a:extLst>
                <a:ext uri="{FF2B5EF4-FFF2-40B4-BE49-F238E27FC236}">
                  <a16:creationId xmlns:a16="http://schemas.microsoft.com/office/drawing/2014/main" id="{A2B0102A-ABEE-49FE-A6F9-A389E87397B9}"/>
                </a:ext>
              </a:extLst>
            </p:cNvPr>
            <p:cNvSpPr/>
            <p:nvPr/>
          </p:nvSpPr>
          <p:spPr bwMode="gray">
            <a:xfrm rot="5400000">
              <a:off x="3587672" y="4734829"/>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900" dirty="0">
                <a:solidFill>
                  <a:schemeClr val="tx1"/>
                </a:solidFill>
              </a:endParaRPr>
            </a:p>
          </p:txBody>
        </p:sp>
      </p:grpSp>
      <p:grpSp>
        <p:nvGrpSpPr>
          <p:cNvPr id="983" name="Group 982">
            <a:extLst>
              <a:ext uri="{FF2B5EF4-FFF2-40B4-BE49-F238E27FC236}">
                <a16:creationId xmlns:a16="http://schemas.microsoft.com/office/drawing/2014/main" id="{4EEF4265-BC27-430B-972C-82A3B12FAED0}"/>
              </a:ext>
            </a:extLst>
          </p:cNvPr>
          <p:cNvGrpSpPr/>
          <p:nvPr/>
        </p:nvGrpSpPr>
        <p:grpSpPr bwMode="gray">
          <a:xfrm>
            <a:off x="9000875" y="2194815"/>
            <a:ext cx="726038" cy="712902"/>
            <a:chOff x="8563235" y="-4578997"/>
            <a:chExt cx="842400" cy="827158"/>
          </a:xfrm>
        </p:grpSpPr>
        <p:sp>
          <p:nvSpPr>
            <p:cNvPr id="928" name="Freeform: Shape 927">
              <a:extLst>
                <a:ext uri="{FF2B5EF4-FFF2-40B4-BE49-F238E27FC236}">
                  <a16:creationId xmlns:a16="http://schemas.microsoft.com/office/drawing/2014/main" id="{35DA7209-F143-4541-BF10-96126DB29821}"/>
                </a:ext>
              </a:extLst>
            </p:cNvPr>
            <p:cNvSpPr/>
            <p:nvPr/>
          </p:nvSpPr>
          <p:spPr bwMode="gray">
            <a:xfrm flipH="1" flipV="1">
              <a:off x="8805760" y="-4578997"/>
              <a:ext cx="357350" cy="653392"/>
            </a:xfrm>
            <a:custGeom>
              <a:avLst/>
              <a:gdLst>
                <a:gd name="connsiteX0" fmla="*/ 0 w 835200"/>
                <a:gd name="connsiteY0" fmla="*/ 0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417600 w 835200"/>
                <a:gd name="connsiteY1" fmla="*/ 0 h 1973608"/>
                <a:gd name="connsiteX2" fmla="*/ 626400 w 835200"/>
                <a:gd name="connsiteY2" fmla="*/ 0 h 1973608"/>
                <a:gd name="connsiteX3" fmla="*/ 835200 w 835200"/>
                <a:gd name="connsiteY3" fmla="*/ 0 h 1973608"/>
                <a:gd name="connsiteX4" fmla="*/ 835200 w 835200"/>
                <a:gd name="connsiteY4" fmla="*/ 197361 h 1973608"/>
                <a:gd name="connsiteX5" fmla="*/ 835200 w 835200"/>
                <a:gd name="connsiteY5" fmla="*/ 197362 h 1973608"/>
                <a:gd name="connsiteX6" fmla="*/ 835200 w 835200"/>
                <a:gd name="connsiteY6" fmla="*/ 394723 h 1973608"/>
                <a:gd name="connsiteX7" fmla="*/ 835200 w 835200"/>
                <a:gd name="connsiteY7" fmla="*/ 592083 h 1973608"/>
                <a:gd name="connsiteX8" fmla="*/ 835200 w 835200"/>
                <a:gd name="connsiteY8" fmla="*/ 592085 h 1973608"/>
                <a:gd name="connsiteX9" fmla="*/ 835200 w 835200"/>
                <a:gd name="connsiteY9" fmla="*/ 789444 h 1973608"/>
                <a:gd name="connsiteX10" fmla="*/ 835200 w 835200"/>
                <a:gd name="connsiteY10" fmla="*/ 789445 h 1973608"/>
                <a:gd name="connsiteX11" fmla="*/ 835200 w 835200"/>
                <a:gd name="connsiteY11" fmla="*/ 986804 h 1973608"/>
                <a:gd name="connsiteX12" fmla="*/ 835200 w 835200"/>
                <a:gd name="connsiteY12" fmla="*/ 986806 h 1973608"/>
                <a:gd name="connsiteX13" fmla="*/ 835200 w 835200"/>
                <a:gd name="connsiteY13" fmla="*/ 1184165 h 1973608"/>
                <a:gd name="connsiteX14" fmla="*/ 835200 w 835200"/>
                <a:gd name="connsiteY14" fmla="*/ 1184166 h 1973608"/>
                <a:gd name="connsiteX15" fmla="*/ 835200 w 835200"/>
                <a:gd name="connsiteY15" fmla="*/ 1381525 h 1973608"/>
                <a:gd name="connsiteX16" fmla="*/ 835200 w 835200"/>
                <a:gd name="connsiteY16" fmla="*/ 1381527 h 1973608"/>
                <a:gd name="connsiteX17" fmla="*/ 835200 w 835200"/>
                <a:gd name="connsiteY17" fmla="*/ 1578886 h 1973608"/>
                <a:gd name="connsiteX18" fmla="*/ 835200 w 835200"/>
                <a:gd name="connsiteY18" fmla="*/ 1578887 h 1973608"/>
                <a:gd name="connsiteX19" fmla="*/ 835200 w 835200"/>
                <a:gd name="connsiteY19" fmla="*/ 1776246 h 1973608"/>
                <a:gd name="connsiteX20" fmla="*/ 835200 w 835200"/>
                <a:gd name="connsiteY20" fmla="*/ 1776248 h 1973608"/>
                <a:gd name="connsiteX21" fmla="*/ 835200 w 835200"/>
                <a:gd name="connsiteY21" fmla="*/ 1973608 h 1973608"/>
                <a:gd name="connsiteX22" fmla="*/ 626400 w 835200"/>
                <a:gd name="connsiteY22" fmla="*/ 1973608 h 1973608"/>
                <a:gd name="connsiteX23" fmla="*/ 417600 w 835200"/>
                <a:gd name="connsiteY23" fmla="*/ 1973608 h 1973608"/>
                <a:gd name="connsiteX24" fmla="*/ 208800 w 835200"/>
                <a:gd name="connsiteY24" fmla="*/ 1973608 h 1973608"/>
                <a:gd name="connsiteX25" fmla="*/ 0 w 835200"/>
                <a:gd name="connsiteY25" fmla="*/ 1973608 h 1973608"/>
                <a:gd name="connsiteX26" fmla="*/ 0 w 835200"/>
                <a:gd name="connsiteY26" fmla="*/ 1776248 h 1973608"/>
                <a:gd name="connsiteX27" fmla="*/ 0 w 835200"/>
                <a:gd name="connsiteY27" fmla="*/ 1776246 h 1973608"/>
                <a:gd name="connsiteX28" fmla="*/ 0 w 835200"/>
                <a:gd name="connsiteY28" fmla="*/ 1578887 h 1973608"/>
                <a:gd name="connsiteX29" fmla="*/ 0 w 835200"/>
                <a:gd name="connsiteY29" fmla="*/ 1578886 h 1973608"/>
                <a:gd name="connsiteX30" fmla="*/ 0 w 835200"/>
                <a:gd name="connsiteY30" fmla="*/ 1381527 h 1973608"/>
                <a:gd name="connsiteX31" fmla="*/ 0 w 835200"/>
                <a:gd name="connsiteY31" fmla="*/ 1381525 h 1973608"/>
                <a:gd name="connsiteX32" fmla="*/ 0 w 835200"/>
                <a:gd name="connsiteY32" fmla="*/ 1184166 h 1973608"/>
                <a:gd name="connsiteX33" fmla="*/ 0 w 835200"/>
                <a:gd name="connsiteY33" fmla="*/ 1184165 h 1973608"/>
                <a:gd name="connsiteX34" fmla="*/ 0 w 835200"/>
                <a:gd name="connsiteY34" fmla="*/ 986806 h 1973608"/>
                <a:gd name="connsiteX35" fmla="*/ 0 w 835200"/>
                <a:gd name="connsiteY35" fmla="*/ 986804 h 1973608"/>
                <a:gd name="connsiteX36" fmla="*/ 0 w 835200"/>
                <a:gd name="connsiteY36" fmla="*/ 789445 h 1973608"/>
                <a:gd name="connsiteX37" fmla="*/ 0 w 835200"/>
                <a:gd name="connsiteY37" fmla="*/ 789444 h 1973608"/>
                <a:gd name="connsiteX38" fmla="*/ 0 w 835200"/>
                <a:gd name="connsiteY38" fmla="*/ 592085 h 1973608"/>
                <a:gd name="connsiteX39" fmla="*/ 0 w 835200"/>
                <a:gd name="connsiteY39" fmla="*/ 592083 h 1973608"/>
                <a:gd name="connsiteX40" fmla="*/ 0 w 835200"/>
                <a:gd name="connsiteY40" fmla="*/ 394723 h 1973608"/>
                <a:gd name="connsiteX41" fmla="*/ 0 w 835200"/>
                <a:gd name="connsiteY41" fmla="*/ 197362 h 1973608"/>
                <a:gd name="connsiteX42" fmla="*/ 0 w 835200"/>
                <a:gd name="connsiteY42" fmla="*/ 197361 h 1973608"/>
                <a:gd name="connsiteX0" fmla="*/ 0 w 835200"/>
                <a:gd name="connsiteY0" fmla="*/ 197361 h 1973608"/>
                <a:gd name="connsiteX1" fmla="*/ 417600 w 835200"/>
                <a:gd name="connsiteY1" fmla="*/ 0 h 1973608"/>
                <a:gd name="connsiteX2" fmla="*/ 835200 w 835200"/>
                <a:gd name="connsiteY2" fmla="*/ 0 h 1973608"/>
                <a:gd name="connsiteX3" fmla="*/ 835200 w 835200"/>
                <a:gd name="connsiteY3" fmla="*/ 197361 h 1973608"/>
                <a:gd name="connsiteX4" fmla="*/ 835200 w 835200"/>
                <a:gd name="connsiteY4" fmla="*/ 197362 h 1973608"/>
                <a:gd name="connsiteX5" fmla="*/ 835200 w 835200"/>
                <a:gd name="connsiteY5" fmla="*/ 394723 h 1973608"/>
                <a:gd name="connsiteX6" fmla="*/ 835200 w 835200"/>
                <a:gd name="connsiteY6" fmla="*/ 592083 h 1973608"/>
                <a:gd name="connsiteX7" fmla="*/ 835200 w 835200"/>
                <a:gd name="connsiteY7" fmla="*/ 592085 h 1973608"/>
                <a:gd name="connsiteX8" fmla="*/ 835200 w 835200"/>
                <a:gd name="connsiteY8" fmla="*/ 789444 h 1973608"/>
                <a:gd name="connsiteX9" fmla="*/ 835200 w 835200"/>
                <a:gd name="connsiteY9" fmla="*/ 789445 h 1973608"/>
                <a:gd name="connsiteX10" fmla="*/ 835200 w 835200"/>
                <a:gd name="connsiteY10" fmla="*/ 986804 h 1973608"/>
                <a:gd name="connsiteX11" fmla="*/ 835200 w 835200"/>
                <a:gd name="connsiteY11" fmla="*/ 986806 h 1973608"/>
                <a:gd name="connsiteX12" fmla="*/ 835200 w 835200"/>
                <a:gd name="connsiteY12" fmla="*/ 1184165 h 1973608"/>
                <a:gd name="connsiteX13" fmla="*/ 835200 w 835200"/>
                <a:gd name="connsiteY13" fmla="*/ 1184166 h 1973608"/>
                <a:gd name="connsiteX14" fmla="*/ 835200 w 835200"/>
                <a:gd name="connsiteY14" fmla="*/ 1381525 h 1973608"/>
                <a:gd name="connsiteX15" fmla="*/ 835200 w 835200"/>
                <a:gd name="connsiteY15" fmla="*/ 1381527 h 1973608"/>
                <a:gd name="connsiteX16" fmla="*/ 835200 w 835200"/>
                <a:gd name="connsiteY16" fmla="*/ 1578886 h 1973608"/>
                <a:gd name="connsiteX17" fmla="*/ 835200 w 835200"/>
                <a:gd name="connsiteY17" fmla="*/ 1578887 h 1973608"/>
                <a:gd name="connsiteX18" fmla="*/ 835200 w 835200"/>
                <a:gd name="connsiteY18" fmla="*/ 1776246 h 1973608"/>
                <a:gd name="connsiteX19" fmla="*/ 835200 w 835200"/>
                <a:gd name="connsiteY19" fmla="*/ 1776248 h 1973608"/>
                <a:gd name="connsiteX20" fmla="*/ 835200 w 835200"/>
                <a:gd name="connsiteY20" fmla="*/ 1973608 h 1973608"/>
                <a:gd name="connsiteX21" fmla="*/ 626400 w 835200"/>
                <a:gd name="connsiteY21" fmla="*/ 1973608 h 1973608"/>
                <a:gd name="connsiteX22" fmla="*/ 417600 w 835200"/>
                <a:gd name="connsiteY22" fmla="*/ 1973608 h 1973608"/>
                <a:gd name="connsiteX23" fmla="*/ 208800 w 835200"/>
                <a:gd name="connsiteY23" fmla="*/ 1973608 h 1973608"/>
                <a:gd name="connsiteX24" fmla="*/ 0 w 835200"/>
                <a:gd name="connsiteY24" fmla="*/ 1973608 h 1973608"/>
                <a:gd name="connsiteX25" fmla="*/ 0 w 835200"/>
                <a:gd name="connsiteY25" fmla="*/ 1776248 h 1973608"/>
                <a:gd name="connsiteX26" fmla="*/ 0 w 835200"/>
                <a:gd name="connsiteY26" fmla="*/ 1776246 h 1973608"/>
                <a:gd name="connsiteX27" fmla="*/ 0 w 835200"/>
                <a:gd name="connsiteY27" fmla="*/ 1578887 h 1973608"/>
                <a:gd name="connsiteX28" fmla="*/ 0 w 835200"/>
                <a:gd name="connsiteY28" fmla="*/ 1578886 h 1973608"/>
                <a:gd name="connsiteX29" fmla="*/ 0 w 835200"/>
                <a:gd name="connsiteY29" fmla="*/ 1381527 h 1973608"/>
                <a:gd name="connsiteX30" fmla="*/ 0 w 835200"/>
                <a:gd name="connsiteY30" fmla="*/ 1381525 h 1973608"/>
                <a:gd name="connsiteX31" fmla="*/ 0 w 835200"/>
                <a:gd name="connsiteY31" fmla="*/ 1184166 h 1973608"/>
                <a:gd name="connsiteX32" fmla="*/ 0 w 835200"/>
                <a:gd name="connsiteY32" fmla="*/ 1184165 h 1973608"/>
                <a:gd name="connsiteX33" fmla="*/ 0 w 835200"/>
                <a:gd name="connsiteY33" fmla="*/ 986806 h 1973608"/>
                <a:gd name="connsiteX34" fmla="*/ 0 w 835200"/>
                <a:gd name="connsiteY34" fmla="*/ 986804 h 1973608"/>
                <a:gd name="connsiteX35" fmla="*/ 0 w 835200"/>
                <a:gd name="connsiteY35" fmla="*/ 789445 h 1973608"/>
                <a:gd name="connsiteX36" fmla="*/ 0 w 835200"/>
                <a:gd name="connsiteY36" fmla="*/ 789444 h 1973608"/>
                <a:gd name="connsiteX37" fmla="*/ 0 w 835200"/>
                <a:gd name="connsiteY37" fmla="*/ 592085 h 1973608"/>
                <a:gd name="connsiteX38" fmla="*/ 0 w 835200"/>
                <a:gd name="connsiteY38" fmla="*/ 592083 h 1973608"/>
                <a:gd name="connsiteX39" fmla="*/ 0 w 835200"/>
                <a:gd name="connsiteY39" fmla="*/ 394723 h 1973608"/>
                <a:gd name="connsiteX40" fmla="*/ 0 w 835200"/>
                <a:gd name="connsiteY40" fmla="*/ 197362 h 1973608"/>
                <a:gd name="connsiteX41" fmla="*/ 0 w 835200"/>
                <a:gd name="connsiteY41"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973608 h 1973608"/>
                <a:gd name="connsiteX24" fmla="*/ 0 w 835200"/>
                <a:gd name="connsiteY24" fmla="*/ 1776248 h 1973608"/>
                <a:gd name="connsiteX25" fmla="*/ 0 w 835200"/>
                <a:gd name="connsiteY25" fmla="*/ 1776246 h 1973608"/>
                <a:gd name="connsiteX26" fmla="*/ 0 w 835200"/>
                <a:gd name="connsiteY26" fmla="*/ 1578887 h 1973608"/>
                <a:gd name="connsiteX27" fmla="*/ 0 w 835200"/>
                <a:gd name="connsiteY27" fmla="*/ 1578886 h 1973608"/>
                <a:gd name="connsiteX28" fmla="*/ 0 w 835200"/>
                <a:gd name="connsiteY28" fmla="*/ 1381527 h 1973608"/>
                <a:gd name="connsiteX29" fmla="*/ 0 w 835200"/>
                <a:gd name="connsiteY29" fmla="*/ 1381525 h 1973608"/>
                <a:gd name="connsiteX30" fmla="*/ 0 w 835200"/>
                <a:gd name="connsiteY30" fmla="*/ 1184166 h 1973608"/>
                <a:gd name="connsiteX31" fmla="*/ 0 w 835200"/>
                <a:gd name="connsiteY31" fmla="*/ 1184165 h 1973608"/>
                <a:gd name="connsiteX32" fmla="*/ 0 w 835200"/>
                <a:gd name="connsiteY32" fmla="*/ 986806 h 1973608"/>
                <a:gd name="connsiteX33" fmla="*/ 0 w 835200"/>
                <a:gd name="connsiteY33" fmla="*/ 986804 h 1973608"/>
                <a:gd name="connsiteX34" fmla="*/ 0 w 835200"/>
                <a:gd name="connsiteY34" fmla="*/ 789445 h 1973608"/>
                <a:gd name="connsiteX35" fmla="*/ 0 w 835200"/>
                <a:gd name="connsiteY35" fmla="*/ 789444 h 1973608"/>
                <a:gd name="connsiteX36" fmla="*/ 0 w 835200"/>
                <a:gd name="connsiteY36" fmla="*/ 592085 h 1973608"/>
                <a:gd name="connsiteX37" fmla="*/ 0 w 835200"/>
                <a:gd name="connsiteY37" fmla="*/ 592083 h 1973608"/>
                <a:gd name="connsiteX38" fmla="*/ 0 w 835200"/>
                <a:gd name="connsiteY38" fmla="*/ 394723 h 1973608"/>
                <a:gd name="connsiteX39" fmla="*/ 0 w 835200"/>
                <a:gd name="connsiteY39" fmla="*/ 197362 h 1973608"/>
                <a:gd name="connsiteX40" fmla="*/ 0 w 835200"/>
                <a:gd name="connsiteY40"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776248 h 1973608"/>
                <a:gd name="connsiteX24" fmla="*/ 0 w 835200"/>
                <a:gd name="connsiteY24" fmla="*/ 1776246 h 1973608"/>
                <a:gd name="connsiteX25" fmla="*/ 0 w 835200"/>
                <a:gd name="connsiteY25" fmla="*/ 1578887 h 1973608"/>
                <a:gd name="connsiteX26" fmla="*/ 0 w 835200"/>
                <a:gd name="connsiteY26" fmla="*/ 1578886 h 1973608"/>
                <a:gd name="connsiteX27" fmla="*/ 0 w 835200"/>
                <a:gd name="connsiteY27" fmla="*/ 1381527 h 1973608"/>
                <a:gd name="connsiteX28" fmla="*/ 0 w 835200"/>
                <a:gd name="connsiteY28" fmla="*/ 1381525 h 1973608"/>
                <a:gd name="connsiteX29" fmla="*/ 0 w 835200"/>
                <a:gd name="connsiteY29" fmla="*/ 1184166 h 1973608"/>
                <a:gd name="connsiteX30" fmla="*/ 0 w 835200"/>
                <a:gd name="connsiteY30" fmla="*/ 1184165 h 1973608"/>
                <a:gd name="connsiteX31" fmla="*/ 0 w 835200"/>
                <a:gd name="connsiteY31" fmla="*/ 986806 h 1973608"/>
                <a:gd name="connsiteX32" fmla="*/ 0 w 835200"/>
                <a:gd name="connsiteY32" fmla="*/ 986804 h 1973608"/>
                <a:gd name="connsiteX33" fmla="*/ 0 w 835200"/>
                <a:gd name="connsiteY33" fmla="*/ 789445 h 1973608"/>
                <a:gd name="connsiteX34" fmla="*/ 0 w 835200"/>
                <a:gd name="connsiteY34" fmla="*/ 789444 h 1973608"/>
                <a:gd name="connsiteX35" fmla="*/ 0 w 835200"/>
                <a:gd name="connsiteY35" fmla="*/ 592085 h 1973608"/>
                <a:gd name="connsiteX36" fmla="*/ 0 w 835200"/>
                <a:gd name="connsiteY36" fmla="*/ 592083 h 1973608"/>
                <a:gd name="connsiteX37" fmla="*/ 0 w 835200"/>
                <a:gd name="connsiteY37" fmla="*/ 394723 h 1973608"/>
                <a:gd name="connsiteX38" fmla="*/ 0 w 835200"/>
                <a:gd name="connsiteY38" fmla="*/ 197362 h 1973608"/>
                <a:gd name="connsiteX39" fmla="*/ 0 w 835200"/>
                <a:gd name="connsiteY39"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0 w 835200"/>
                <a:gd name="connsiteY22" fmla="*/ 1776248 h 1973608"/>
                <a:gd name="connsiteX23" fmla="*/ 0 w 835200"/>
                <a:gd name="connsiteY23" fmla="*/ 1776246 h 1973608"/>
                <a:gd name="connsiteX24" fmla="*/ 0 w 835200"/>
                <a:gd name="connsiteY24" fmla="*/ 1578887 h 1973608"/>
                <a:gd name="connsiteX25" fmla="*/ 0 w 835200"/>
                <a:gd name="connsiteY25" fmla="*/ 1578886 h 1973608"/>
                <a:gd name="connsiteX26" fmla="*/ 0 w 835200"/>
                <a:gd name="connsiteY26" fmla="*/ 1381527 h 1973608"/>
                <a:gd name="connsiteX27" fmla="*/ 0 w 835200"/>
                <a:gd name="connsiteY27" fmla="*/ 1381525 h 1973608"/>
                <a:gd name="connsiteX28" fmla="*/ 0 w 835200"/>
                <a:gd name="connsiteY28" fmla="*/ 1184166 h 1973608"/>
                <a:gd name="connsiteX29" fmla="*/ 0 w 835200"/>
                <a:gd name="connsiteY29" fmla="*/ 1184165 h 1973608"/>
                <a:gd name="connsiteX30" fmla="*/ 0 w 835200"/>
                <a:gd name="connsiteY30" fmla="*/ 986806 h 1973608"/>
                <a:gd name="connsiteX31" fmla="*/ 0 w 835200"/>
                <a:gd name="connsiteY31" fmla="*/ 986804 h 1973608"/>
                <a:gd name="connsiteX32" fmla="*/ 0 w 835200"/>
                <a:gd name="connsiteY32" fmla="*/ 789445 h 1973608"/>
                <a:gd name="connsiteX33" fmla="*/ 0 w 835200"/>
                <a:gd name="connsiteY33" fmla="*/ 789444 h 1973608"/>
                <a:gd name="connsiteX34" fmla="*/ 0 w 835200"/>
                <a:gd name="connsiteY34" fmla="*/ 592085 h 1973608"/>
                <a:gd name="connsiteX35" fmla="*/ 0 w 835200"/>
                <a:gd name="connsiteY35" fmla="*/ 592083 h 1973608"/>
                <a:gd name="connsiteX36" fmla="*/ 0 w 835200"/>
                <a:gd name="connsiteY36" fmla="*/ 394723 h 1973608"/>
                <a:gd name="connsiteX37" fmla="*/ 0 w 835200"/>
                <a:gd name="connsiteY37" fmla="*/ 197362 h 1973608"/>
                <a:gd name="connsiteX38" fmla="*/ 0 w 835200"/>
                <a:gd name="connsiteY38"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417600 w 835200"/>
                <a:gd name="connsiteY20" fmla="*/ 1973608 h 1973608"/>
                <a:gd name="connsiteX21" fmla="*/ 0 w 835200"/>
                <a:gd name="connsiteY21" fmla="*/ 1776248 h 1973608"/>
                <a:gd name="connsiteX22" fmla="*/ 0 w 835200"/>
                <a:gd name="connsiteY22" fmla="*/ 1776246 h 1973608"/>
                <a:gd name="connsiteX23" fmla="*/ 0 w 835200"/>
                <a:gd name="connsiteY23" fmla="*/ 1578887 h 1973608"/>
                <a:gd name="connsiteX24" fmla="*/ 0 w 835200"/>
                <a:gd name="connsiteY24" fmla="*/ 1578886 h 1973608"/>
                <a:gd name="connsiteX25" fmla="*/ 0 w 835200"/>
                <a:gd name="connsiteY25" fmla="*/ 1381527 h 1973608"/>
                <a:gd name="connsiteX26" fmla="*/ 0 w 835200"/>
                <a:gd name="connsiteY26" fmla="*/ 1381525 h 1973608"/>
                <a:gd name="connsiteX27" fmla="*/ 0 w 835200"/>
                <a:gd name="connsiteY27" fmla="*/ 1184166 h 1973608"/>
                <a:gd name="connsiteX28" fmla="*/ 0 w 835200"/>
                <a:gd name="connsiteY28" fmla="*/ 1184165 h 1973608"/>
                <a:gd name="connsiteX29" fmla="*/ 0 w 835200"/>
                <a:gd name="connsiteY29" fmla="*/ 986806 h 1973608"/>
                <a:gd name="connsiteX30" fmla="*/ 0 w 835200"/>
                <a:gd name="connsiteY30" fmla="*/ 986804 h 1973608"/>
                <a:gd name="connsiteX31" fmla="*/ 0 w 835200"/>
                <a:gd name="connsiteY31" fmla="*/ 789445 h 1973608"/>
                <a:gd name="connsiteX32" fmla="*/ 0 w 835200"/>
                <a:gd name="connsiteY32" fmla="*/ 789444 h 1973608"/>
                <a:gd name="connsiteX33" fmla="*/ 0 w 835200"/>
                <a:gd name="connsiteY33" fmla="*/ 592085 h 1973608"/>
                <a:gd name="connsiteX34" fmla="*/ 0 w 835200"/>
                <a:gd name="connsiteY34" fmla="*/ 592083 h 1973608"/>
                <a:gd name="connsiteX35" fmla="*/ 0 w 835200"/>
                <a:gd name="connsiteY35" fmla="*/ 394723 h 1973608"/>
                <a:gd name="connsiteX36" fmla="*/ 0 w 835200"/>
                <a:gd name="connsiteY36" fmla="*/ 197362 h 1973608"/>
                <a:gd name="connsiteX37" fmla="*/ 0 w 835200"/>
                <a:gd name="connsiteY37"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417600 w 835200"/>
                <a:gd name="connsiteY19" fmla="*/ 1973608 h 1973608"/>
                <a:gd name="connsiteX20" fmla="*/ 0 w 835200"/>
                <a:gd name="connsiteY20" fmla="*/ 1776248 h 1973608"/>
                <a:gd name="connsiteX21" fmla="*/ 0 w 835200"/>
                <a:gd name="connsiteY21" fmla="*/ 1776246 h 1973608"/>
                <a:gd name="connsiteX22" fmla="*/ 0 w 835200"/>
                <a:gd name="connsiteY22" fmla="*/ 1578887 h 1973608"/>
                <a:gd name="connsiteX23" fmla="*/ 0 w 835200"/>
                <a:gd name="connsiteY23" fmla="*/ 1578886 h 1973608"/>
                <a:gd name="connsiteX24" fmla="*/ 0 w 835200"/>
                <a:gd name="connsiteY24" fmla="*/ 1381527 h 1973608"/>
                <a:gd name="connsiteX25" fmla="*/ 0 w 835200"/>
                <a:gd name="connsiteY25" fmla="*/ 1381525 h 1973608"/>
                <a:gd name="connsiteX26" fmla="*/ 0 w 835200"/>
                <a:gd name="connsiteY26" fmla="*/ 1184166 h 1973608"/>
                <a:gd name="connsiteX27" fmla="*/ 0 w 835200"/>
                <a:gd name="connsiteY27" fmla="*/ 1184165 h 1973608"/>
                <a:gd name="connsiteX28" fmla="*/ 0 w 835200"/>
                <a:gd name="connsiteY28" fmla="*/ 986806 h 1973608"/>
                <a:gd name="connsiteX29" fmla="*/ 0 w 835200"/>
                <a:gd name="connsiteY29" fmla="*/ 986804 h 1973608"/>
                <a:gd name="connsiteX30" fmla="*/ 0 w 835200"/>
                <a:gd name="connsiteY30" fmla="*/ 789445 h 1973608"/>
                <a:gd name="connsiteX31" fmla="*/ 0 w 835200"/>
                <a:gd name="connsiteY31" fmla="*/ 789444 h 1973608"/>
                <a:gd name="connsiteX32" fmla="*/ 0 w 835200"/>
                <a:gd name="connsiteY32" fmla="*/ 592085 h 1973608"/>
                <a:gd name="connsiteX33" fmla="*/ 0 w 835200"/>
                <a:gd name="connsiteY33" fmla="*/ 592083 h 1973608"/>
                <a:gd name="connsiteX34" fmla="*/ 0 w 835200"/>
                <a:gd name="connsiteY34" fmla="*/ 394723 h 1973608"/>
                <a:gd name="connsiteX35" fmla="*/ 0 w 835200"/>
                <a:gd name="connsiteY35" fmla="*/ 197362 h 1973608"/>
                <a:gd name="connsiteX36" fmla="*/ 0 w 835200"/>
                <a:gd name="connsiteY36" fmla="*/ 197361 h 197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35200" h="1973608">
                  <a:moveTo>
                    <a:pt x="0" y="197361"/>
                  </a:moveTo>
                  <a:lnTo>
                    <a:pt x="417600" y="0"/>
                  </a:lnTo>
                  <a:lnTo>
                    <a:pt x="835200" y="197361"/>
                  </a:lnTo>
                  <a:lnTo>
                    <a:pt x="835200" y="197362"/>
                  </a:lnTo>
                  <a:lnTo>
                    <a:pt x="835200" y="394723"/>
                  </a:lnTo>
                  <a:lnTo>
                    <a:pt x="835200" y="592083"/>
                  </a:lnTo>
                  <a:lnTo>
                    <a:pt x="835200" y="592085"/>
                  </a:lnTo>
                  <a:lnTo>
                    <a:pt x="835200" y="789444"/>
                  </a:lnTo>
                  <a:lnTo>
                    <a:pt x="835200" y="789445"/>
                  </a:lnTo>
                  <a:lnTo>
                    <a:pt x="835200" y="986804"/>
                  </a:lnTo>
                  <a:lnTo>
                    <a:pt x="835200" y="986806"/>
                  </a:lnTo>
                  <a:lnTo>
                    <a:pt x="835200" y="1184165"/>
                  </a:lnTo>
                  <a:lnTo>
                    <a:pt x="835200" y="1184166"/>
                  </a:lnTo>
                  <a:lnTo>
                    <a:pt x="835200" y="1381525"/>
                  </a:lnTo>
                  <a:lnTo>
                    <a:pt x="835200" y="1381527"/>
                  </a:lnTo>
                  <a:lnTo>
                    <a:pt x="835200" y="1578886"/>
                  </a:lnTo>
                  <a:lnTo>
                    <a:pt x="835200" y="1578887"/>
                  </a:lnTo>
                  <a:lnTo>
                    <a:pt x="835200" y="1776246"/>
                  </a:lnTo>
                  <a:lnTo>
                    <a:pt x="835200" y="1776248"/>
                  </a:lnTo>
                  <a:lnTo>
                    <a:pt x="417600" y="1973608"/>
                  </a:lnTo>
                  <a:lnTo>
                    <a:pt x="0" y="1776248"/>
                  </a:lnTo>
                  <a:lnTo>
                    <a:pt x="0" y="1776246"/>
                  </a:lnTo>
                  <a:lnTo>
                    <a:pt x="0" y="1578887"/>
                  </a:lnTo>
                  <a:lnTo>
                    <a:pt x="0" y="1578886"/>
                  </a:lnTo>
                  <a:lnTo>
                    <a:pt x="0" y="1381527"/>
                  </a:lnTo>
                  <a:lnTo>
                    <a:pt x="0" y="1381525"/>
                  </a:lnTo>
                  <a:lnTo>
                    <a:pt x="0" y="1184166"/>
                  </a:lnTo>
                  <a:lnTo>
                    <a:pt x="0" y="1184165"/>
                  </a:lnTo>
                  <a:lnTo>
                    <a:pt x="0" y="986806"/>
                  </a:lnTo>
                  <a:lnTo>
                    <a:pt x="0" y="986804"/>
                  </a:lnTo>
                  <a:lnTo>
                    <a:pt x="0" y="789445"/>
                  </a:lnTo>
                  <a:lnTo>
                    <a:pt x="0" y="789444"/>
                  </a:lnTo>
                  <a:lnTo>
                    <a:pt x="0" y="592085"/>
                  </a:lnTo>
                  <a:lnTo>
                    <a:pt x="0" y="592083"/>
                  </a:lnTo>
                  <a:lnTo>
                    <a:pt x="0" y="394723"/>
                  </a:lnTo>
                  <a:lnTo>
                    <a:pt x="0" y="197362"/>
                  </a:lnTo>
                  <a:lnTo>
                    <a:pt x="0" y="197361"/>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spcBef>
                  <a:spcPts val="300"/>
                </a:spcBef>
                <a:buClr>
                  <a:srgbClr val="002897"/>
                </a:buClr>
                <a:buSzPct val="70000"/>
              </a:pPr>
              <a:endParaRPr lang="de-DE" sz="900" dirty="0">
                <a:solidFill>
                  <a:schemeClr val="tx1"/>
                </a:solidFill>
              </a:endParaRPr>
            </a:p>
          </p:txBody>
        </p:sp>
        <p:sp>
          <p:nvSpPr>
            <p:cNvPr id="929" name="Rectangle 928">
              <a:extLst>
                <a:ext uri="{FF2B5EF4-FFF2-40B4-BE49-F238E27FC236}">
                  <a16:creationId xmlns:a16="http://schemas.microsoft.com/office/drawing/2014/main" id="{04E8049C-2751-49F7-8AA7-EB0B51AF4CED}"/>
                </a:ext>
              </a:extLst>
            </p:cNvPr>
            <p:cNvSpPr/>
            <p:nvPr/>
          </p:nvSpPr>
          <p:spPr bwMode="gray">
            <a:xfrm>
              <a:off x="8563235" y="-3916869"/>
              <a:ext cx="84240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Scrubber</a:t>
              </a:r>
            </a:p>
          </p:txBody>
        </p:sp>
      </p:grpSp>
      <p:grpSp>
        <p:nvGrpSpPr>
          <p:cNvPr id="935" name="Group 934">
            <a:extLst>
              <a:ext uri="{FF2B5EF4-FFF2-40B4-BE49-F238E27FC236}">
                <a16:creationId xmlns:a16="http://schemas.microsoft.com/office/drawing/2014/main" id="{C0F32D35-A556-4B6D-BF85-2859269F4A49}"/>
              </a:ext>
            </a:extLst>
          </p:cNvPr>
          <p:cNvGrpSpPr/>
          <p:nvPr/>
        </p:nvGrpSpPr>
        <p:grpSpPr bwMode="gray">
          <a:xfrm>
            <a:off x="10910487" y="2194815"/>
            <a:ext cx="561163" cy="572469"/>
            <a:chOff x="15410385" y="3407016"/>
            <a:chExt cx="651100" cy="664218"/>
          </a:xfrm>
        </p:grpSpPr>
        <p:sp>
          <p:nvSpPr>
            <p:cNvPr id="936" name="Rectangle 935">
              <a:extLst>
                <a:ext uri="{FF2B5EF4-FFF2-40B4-BE49-F238E27FC236}">
                  <a16:creationId xmlns:a16="http://schemas.microsoft.com/office/drawing/2014/main" id="{AE95FC6A-CB46-4493-91BF-5A61D6B7B870}"/>
                </a:ext>
              </a:extLst>
            </p:cNvPr>
            <p:cNvSpPr/>
            <p:nvPr/>
          </p:nvSpPr>
          <p:spPr bwMode="gray">
            <a:xfrm>
              <a:off x="15525750" y="3407016"/>
              <a:ext cx="420370" cy="310736"/>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cxnSp>
          <p:nvCxnSpPr>
            <p:cNvPr id="937" name="Straight Connector 936">
              <a:extLst>
                <a:ext uri="{FF2B5EF4-FFF2-40B4-BE49-F238E27FC236}">
                  <a16:creationId xmlns:a16="http://schemas.microsoft.com/office/drawing/2014/main" id="{87070CDA-0D6E-41A9-B822-9E8168278716}"/>
                </a:ext>
              </a:extLst>
            </p:cNvPr>
            <p:cNvCxnSpPr>
              <a:stCxn id="936" idx="0"/>
              <a:endCxn id="936" idx="2"/>
            </p:cNvCxnSpPr>
            <p:nvPr/>
          </p:nvCxnSpPr>
          <p:spPr bwMode="gray">
            <a:xfrm>
              <a:off x="15735935" y="3407016"/>
              <a:ext cx="0" cy="310736"/>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38" name="Rectangle 937">
              <a:extLst>
                <a:ext uri="{FF2B5EF4-FFF2-40B4-BE49-F238E27FC236}">
                  <a16:creationId xmlns:a16="http://schemas.microsoft.com/office/drawing/2014/main" id="{B754CAEE-1902-460A-B084-D59048207E9D}"/>
                </a:ext>
              </a:extLst>
            </p:cNvPr>
            <p:cNvSpPr/>
            <p:nvPr/>
          </p:nvSpPr>
          <p:spPr bwMode="gray">
            <a:xfrm>
              <a:off x="15410385" y="3717751"/>
              <a:ext cx="651100" cy="353483"/>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Dry gas filter</a:t>
              </a:r>
            </a:p>
          </p:txBody>
        </p:sp>
      </p:grpSp>
      <p:grpSp>
        <p:nvGrpSpPr>
          <p:cNvPr id="949" name="Group 948">
            <a:extLst>
              <a:ext uri="{FF2B5EF4-FFF2-40B4-BE49-F238E27FC236}">
                <a16:creationId xmlns:a16="http://schemas.microsoft.com/office/drawing/2014/main" id="{9BF01345-8980-4967-9AD8-C0EB2C865DB2}"/>
              </a:ext>
            </a:extLst>
          </p:cNvPr>
          <p:cNvGrpSpPr/>
          <p:nvPr/>
        </p:nvGrpSpPr>
        <p:grpSpPr bwMode="gray">
          <a:xfrm>
            <a:off x="8351554" y="2313538"/>
            <a:ext cx="711324" cy="572469"/>
            <a:chOff x="2624385" y="5029996"/>
            <a:chExt cx="825328" cy="664219"/>
          </a:xfrm>
        </p:grpSpPr>
        <p:sp>
          <p:nvSpPr>
            <p:cNvPr id="950" name="Rectangle 949">
              <a:extLst>
                <a:ext uri="{FF2B5EF4-FFF2-40B4-BE49-F238E27FC236}">
                  <a16:creationId xmlns:a16="http://schemas.microsoft.com/office/drawing/2014/main" id="{844A505B-DC0A-4FE2-818D-B984DDCBC0BC}"/>
                </a:ext>
              </a:extLst>
            </p:cNvPr>
            <p:cNvSpPr/>
            <p:nvPr/>
          </p:nvSpPr>
          <p:spPr bwMode="gray">
            <a:xfrm>
              <a:off x="2624385" y="5340733"/>
              <a:ext cx="825328"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Propane chiller</a:t>
              </a:r>
            </a:p>
          </p:txBody>
        </p:sp>
        <p:grpSp>
          <p:nvGrpSpPr>
            <p:cNvPr id="951" name="Group 950">
              <a:extLst>
                <a:ext uri="{FF2B5EF4-FFF2-40B4-BE49-F238E27FC236}">
                  <a16:creationId xmlns:a16="http://schemas.microsoft.com/office/drawing/2014/main" id="{D81A138C-254B-4305-9BAE-0EE9B901BC33}"/>
                </a:ext>
              </a:extLst>
            </p:cNvPr>
            <p:cNvGrpSpPr/>
            <p:nvPr/>
          </p:nvGrpSpPr>
          <p:grpSpPr bwMode="gray">
            <a:xfrm>
              <a:off x="2882249" y="5029996"/>
              <a:ext cx="309600" cy="310736"/>
              <a:chOff x="2882249" y="5029996"/>
              <a:chExt cx="309600" cy="310736"/>
            </a:xfrm>
          </p:grpSpPr>
          <p:sp>
            <p:nvSpPr>
              <p:cNvPr id="952" name="Oval 951">
                <a:extLst>
                  <a:ext uri="{FF2B5EF4-FFF2-40B4-BE49-F238E27FC236}">
                    <a16:creationId xmlns:a16="http://schemas.microsoft.com/office/drawing/2014/main" id="{DD869F49-19D0-4E77-A489-5ABBE9DEEA59}"/>
                  </a:ext>
                </a:extLst>
              </p:cNvPr>
              <p:cNvSpPr/>
              <p:nvPr/>
            </p:nvSpPr>
            <p:spPr bwMode="gray">
              <a:xfrm flipH="1">
                <a:off x="2882249" y="5029996"/>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953" name="Freeform: Shape 952">
                <a:extLst>
                  <a:ext uri="{FF2B5EF4-FFF2-40B4-BE49-F238E27FC236}">
                    <a16:creationId xmlns:a16="http://schemas.microsoft.com/office/drawing/2014/main" id="{06ED10BA-8CC0-44B4-93EC-84FFB1231E64}"/>
                  </a:ext>
                </a:extLst>
              </p:cNvPr>
              <p:cNvSpPr/>
              <p:nvPr/>
            </p:nvSpPr>
            <p:spPr bwMode="gray">
              <a:xfrm rot="5400000">
                <a:off x="2944530" y="5077710"/>
                <a:ext cx="128873" cy="215306"/>
              </a:xfrm>
              <a:custGeom>
                <a:avLst/>
                <a:gdLst>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67715 w 128873"/>
                  <a:gd name="connsiteY4" fmla="*/ 5651 h 243834"/>
                  <a:gd name="connsiteX5" fmla="*/ 128873 w 128873"/>
                  <a:gd name="connsiteY5" fmla="*/ 5651 h 243834"/>
                  <a:gd name="connsiteX6" fmla="*/ 128873 w 128873"/>
                  <a:gd name="connsiteY6" fmla="*/ 243834 h 243834"/>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128873 w 128873"/>
                  <a:gd name="connsiteY4" fmla="*/ 5651 h 243834"/>
                  <a:gd name="connsiteX5" fmla="*/ 128873 w 128873"/>
                  <a:gd name="connsiteY5" fmla="*/ 243834 h 243834"/>
                  <a:gd name="connsiteX6" fmla="*/ 0 w 128873"/>
                  <a:gd name="connsiteY6" fmla="*/ 243834 h 243834"/>
                  <a:gd name="connsiteX0" fmla="*/ 0 w 128873"/>
                  <a:gd name="connsiteY0" fmla="*/ 238183 h 238183"/>
                  <a:gd name="connsiteX1" fmla="*/ 0 w 128873"/>
                  <a:gd name="connsiteY1" fmla="*/ 0 h 238183"/>
                  <a:gd name="connsiteX2" fmla="*/ 61160 w 128873"/>
                  <a:gd name="connsiteY2" fmla="*/ 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40289"/>
                  <a:gd name="connsiteX1" fmla="*/ 0 w 128873"/>
                  <a:gd name="connsiteY1" fmla="*/ 0 h 240289"/>
                  <a:gd name="connsiteX2" fmla="*/ 63065 w 128873"/>
                  <a:gd name="connsiteY2" fmla="*/ 87630 h 240289"/>
                  <a:gd name="connsiteX3" fmla="*/ 128873 w 128873"/>
                  <a:gd name="connsiteY3" fmla="*/ 0 h 240289"/>
                  <a:gd name="connsiteX4" fmla="*/ 128873 w 128873"/>
                  <a:gd name="connsiteY4" fmla="*/ 238183 h 240289"/>
                  <a:gd name="connsiteX5" fmla="*/ 56864 w 128873"/>
                  <a:gd name="connsiteY5" fmla="*/ 240289 h 240289"/>
                  <a:gd name="connsiteX6" fmla="*/ 0 w 128873"/>
                  <a:gd name="connsiteY6" fmla="*/ 238183 h 240289"/>
                  <a:gd name="connsiteX0" fmla="*/ 56864 w 148304"/>
                  <a:gd name="connsiteY0" fmla="*/ 240289 h 341445"/>
                  <a:gd name="connsiteX1" fmla="*/ 0 w 148304"/>
                  <a:gd name="connsiteY1" fmla="*/ 238183 h 341445"/>
                  <a:gd name="connsiteX2" fmla="*/ 0 w 148304"/>
                  <a:gd name="connsiteY2" fmla="*/ 0 h 341445"/>
                  <a:gd name="connsiteX3" fmla="*/ 63065 w 148304"/>
                  <a:gd name="connsiteY3" fmla="*/ 87630 h 341445"/>
                  <a:gd name="connsiteX4" fmla="*/ 128873 w 148304"/>
                  <a:gd name="connsiteY4" fmla="*/ 0 h 341445"/>
                  <a:gd name="connsiteX5" fmla="*/ 128873 w 148304"/>
                  <a:gd name="connsiteY5" fmla="*/ 238183 h 341445"/>
                  <a:gd name="connsiteX6" fmla="*/ 148304 w 148304"/>
                  <a:gd name="connsiteY6" fmla="*/ 341445 h 341445"/>
                  <a:gd name="connsiteX0" fmla="*/ 0 w 148304"/>
                  <a:gd name="connsiteY0" fmla="*/ 238183 h 341445"/>
                  <a:gd name="connsiteX1" fmla="*/ 0 w 148304"/>
                  <a:gd name="connsiteY1" fmla="*/ 0 h 341445"/>
                  <a:gd name="connsiteX2" fmla="*/ 63065 w 148304"/>
                  <a:gd name="connsiteY2" fmla="*/ 87630 h 341445"/>
                  <a:gd name="connsiteX3" fmla="*/ 128873 w 148304"/>
                  <a:gd name="connsiteY3" fmla="*/ 0 h 341445"/>
                  <a:gd name="connsiteX4" fmla="*/ 128873 w 148304"/>
                  <a:gd name="connsiteY4" fmla="*/ 238183 h 341445"/>
                  <a:gd name="connsiteX5" fmla="*/ 148304 w 148304"/>
                  <a:gd name="connsiteY5" fmla="*/ 341445 h 341445"/>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73" h="238183">
                    <a:moveTo>
                      <a:pt x="0" y="238183"/>
                    </a:moveTo>
                    <a:lnTo>
                      <a:pt x="0" y="0"/>
                    </a:lnTo>
                    <a:lnTo>
                      <a:pt x="63065" y="87630"/>
                    </a:lnTo>
                    <a:lnTo>
                      <a:pt x="128873" y="0"/>
                    </a:lnTo>
                    <a:lnTo>
                      <a:pt x="128873" y="238183"/>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err="1">
                  <a:solidFill>
                    <a:schemeClr val="tx1"/>
                  </a:solidFill>
                </a:endParaRPr>
              </a:p>
            </p:txBody>
          </p:sp>
        </p:grpSp>
      </p:grpSp>
      <p:grpSp>
        <p:nvGrpSpPr>
          <p:cNvPr id="982" name="Group 981">
            <a:extLst>
              <a:ext uri="{FF2B5EF4-FFF2-40B4-BE49-F238E27FC236}">
                <a16:creationId xmlns:a16="http://schemas.microsoft.com/office/drawing/2014/main" id="{EFE3F51F-D7EF-4348-8BEB-A84E2457F7EA}"/>
              </a:ext>
            </a:extLst>
          </p:cNvPr>
          <p:cNvGrpSpPr/>
          <p:nvPr/>
        </p:nvGrpSpPr>
        <p:grpSpPr bwMode="gray">
          <a:xfrm>
            <a:off x="7627055" y="2192180"/>
            <a:ext cx="831543" cy="715537"/>
            <a:chOff x="6796156" y="-4582055"/>
            <a:chExt cx="964814" cy="830216"/>
          </a:xfrm>
        </p:grpSpPr>
        <p:grpSp>
          <p:nvGrpSpPr>
            <p:cNvPr id="981" name="Group 980">
              <a:extLst>
                <a:ext uri="{FF2B5EF4-FFF2-40B4-BE49-F238E27FC236}">
                  <a16:creationId xmlns:a16="http://schemas.microsoft.com/office/drawing/2014/main" id="{7B4F472C-BD45-4EC7-9C8B-7E8BA0E2861A}"/>
                </a:ext>
              </a:extLst>
            </p:cNvPr>
            <p:cNvGrpSpPr/>
            <p:nvPr/>
          </p:nvGrpSpPr>
          <p:grpSpPr bwMode="gray">
            <a:xfrm>
              <a:off x="7126315" y="-4582055"/>
              <a:ext cx="304497" cy="668537"/>
              <a:chOff x="6936708" y="-5622681"/>
              <a:chExt cx="684041" cy="1501843"/>
            </a:xfrm>
          </p:grpSpPr>
          <p:sp>
            <p:nvSpPr>
              <p:cNvPr id="968" name="Rectangle: Rounded Corners 967">
                <a:extLst>
                  <a:ext uri="{FF2B5EF4-FFF2-40B4-BE49-F238E27FC236}">
                    <a16:creationId xmlns:a16="http://schemas.microsoft.com/office/drawing/2014/main" id="{138F7F8C-E79D-4673-8305-D78133190D23}"/>
                  </a:ext>
                </a:extLst>
              </p:cNvPr>
              <p:cNvSpPr/>
              <p:nvPr/>
            </p:nvSpPr>
            <p:spPr bwMode="gray">
              <a:xfrm flipH="1">
                <a:off x="6937038" y="-5622681"/>
                <a:ext cx="683711" cy="1501843"/>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900" dirty="0">
                  <a:solidFill>
                    <a:schemeClr val="tx1"/>
                  </a:solidFill>
                </a:endParaRPr>
              </a:p>
            </p:txBody>
          </p:sp>
          <p:sp>
            <p:nvSpPr>
              <p:cNvPr id="969" name="Rectangle 968">
                <a:extLst>
                  <a:ext uri="{FF2B5EF4-FFF2-40B4-BE49-F238E27FC236}">
                    <a16:creationId xmlns:a16="http://schemas.microsoft.com/office/drawing/2014/main" id="{0DD97EAF-EDC1-4339-93E7-0E4DA8C0AB58}"/>
                  </a:ext>
                </a:extLst>
              </p:cNvPr>
              <p:cNvSpPr/>
              <p:nvPr/>
            </p:nvSpPr>
            <p:spPr bwMode="gray">
              <a:xfrm>
                <a:off x="6936708" y="-5345979"/>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970" name="Rectangle 969">
                <a:extLst>
                  <a:ext uri="{FF2B5EF4-FFF2-40B4-BE49-F238E27FC236}">
                    <a16:creationId xmlns:a16="http://schemas.microsoft.com/office/drawing/2014/main" id="{29907265-CC39-4F19-9312-F4682EAFB439}"/>
                  </a:ext>
                </a:extLst>
              </p:cNvPr>
              <p:cNvSpPr/>
              <p:nvPr/>
            </p:nvSpPr>
            <p:spPr bwMode="gray">
              <a:xfrm>
                <a:off x="6936708" y="-5251135"/>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971" name="Rectangle 970">
                <a:extLst>
                  <a:ext uri="{FF2B5EF4-FFF2-40B4-BE49-F238E27FC236}">
                    <a16:creationId xmlns:a16="http://schemas.microsoft.com/office/drawing/2014/main" id="{60CA811C-AB4F-413E-954D-CD2E4E4C1CF8}"/>
                  </a:ext>
                </a:extLst>
              </p:cNvPr>
              <p:cNvSpPr/>
              <p:nvPr/>
            </p:nvSpPr>
            <p:spPr bwMode="gray">
              <a:xfrm>
                <a:off x="6936708" y="-5156291"/>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972" name="Rectangle 971">
                <a:extLst>
                  <a:ext uri="{FF2B5EF4-FFF2-40B4-BE49-F238E27FC236}">
                    <a16:creationId xmlns:a16="http://schemas.microsoft.com/office/drawing/2014/main" id="{1FF218EE-2922-44CE-A1E6-C52BEDF09C83}"/>
                  </a:ext>
                </a:extLst>
              </p:cNvPr>
              <p:cNvSpPr/>
              <p:nvPr/>
            </p:nvSpPr>
            <p:spPr bwMode="gray">
              <a:xfrm>
                <a:off x="6936708" y="-5061447"/>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973" name="Rectangle 972">
                <a:extLst>
                  <a:ext uri="{FF2B5EF4-FFF2-40B4-BE49-F238E27FC236}">
                    <a16:creationId xmlns:a16="http://schemas.microsoft.com/office/drawing/2014/main" id="{362FF34C-ABB6-49F6-82CB-68B048D03BF2}"/>
                  </a:ext>
                </a:extLst>
              </p:cNvPr>
              <p:cNvSpPr/>
              <p:nvPr/>
            </p:nvSpPr>
            <p:spPr bwMode="gray">
              <a:xfrm>
                <a:off x="6936708" y="-4966603"/>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974" name="Rectangle 973">
                <a:extLst>
                  <a:ext uri="{FF2B5EF4-FFF2-40B4-BE49-F238E27FC236}">
                    <a16:creationId xmlns:a16="http://schemas.microsoft.com/office/drawing/2014/main" id="{0A15F047-4450-4694-AD78-4B9E18A6D64A}"/>
                  </a:ext>
                </a:extLst>
              </p:cNvPr>
              <p:cNvSpPr/>
              <p:nvPr/>
            </p:nvSpPr>
            <p:spPr bwMode="gray">
              <a:xfrm>
                <a:off x="6936708" y="-4871759"/>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975" name="Rectangle 974">
                <a:extLst>
                  <a:ext uri="{FF2B5EF4-FFF2-40B4-BE49-F238E27FC236}">
                    <a16:creationId xmlns:a16="http://schemas.microsoft.com/office/drawing/2014/main" id="{AA62BAA6-0CAA-4C4B-A9DF-12D9AA134CC2}"/>
                  </a:ext>
                </a:extLst>
              </p:cNvPr>
              <p:cNvSpPr/>
              <p:nvPr/>
            </p:nvSpPr>
            <p:spPr bwMode="gray">
              <a:xfrm>
                <a:off x="6936708" y="-4776914"/>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976" name="Rectangle 975">
                <a:extLst>
                  <a:ext uri="{FF2B5EF4-FFF2-40B4-BE49-F238E27FC236}">
                    <a16:creationId xmlns:a16="http://schemas.microsoft.com/office/drawing/2014/main" id="{DF89433A-9619-4B45-9778-3AC8539BFAF7}"/>
                  </a:ext>
                </a:extLst>
              </p:cNvPr>
              <p:cNvSpPr/>
              <p:nvPr/>
            </p:nvSpPr>
            <p:spPr bwMode="gray">
              <a:xfrm>
                <a:off x="6936708" y="-4682070"/>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977" name="Rectangle 976">
                <a:extLst>
                  <a:ext uri="{FF2B5EF4-FFF2-40B4-BE49-F238E27FC236}">
                    <a16:creationId xmlns:a16="http://schemas.microsoft.com/office/drawing/2014/main" id="{AD343038-C802-4A1D-8572-37666B5A3261}"/>
                  </a:ext>
                </a:extLst>
              </p:cNvPr>
              <p:cNvSpPr/>
              <p:nvPr/>
            </p:nvSpPr>
            <p:spPr bwMode="gray">
              <a:xfrm>
                <a:off x="6936708" y="-4587226"/>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978" name="Rectangle 977">
                <a:extLst>
                  <a:ext uri="{FF2B5EF4-FFF2-40B4-BE49-F238E27FC236}">
                    <a16:creationId xmlns:a16="http://schemas.microsoft.com/office/drawing/2014/main" id="{EFA17FE0-2053-41AA-8452-AE7A21328210}"/>
                  </a:ext>
                </a:extLst>
              </p:cNvPr>
              <p:cNvSpPr/>
              <p:nvPr/>
            </p:nvSpPr>
            <p:spPr bwMode="gray">
              <a:xfrm>
                <a:off x="6936708" y="-4492382"/>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grpSp>
        <p:sp>
          <p:nvSpPr>
            <p:cNvPr id="980" name="Rectangle 979">
              <a:extLst>
                <a:ext uri="{FF2B5EF4-FFF2-40B4-BE49-F238E27FC236}">
                  <a16:creationId xmlns:a16="http://schemas.microsoft.com/office/drawing/2014/main" id="{3D8B50BD-59E0-4D46-A058-F4EC52F93792}"/>
                </a:ext>
              </a:extLst>
            </p:cNvPr>
            <p:cNvSpPr/>
            <p:nvPr/>
          </p:nvSpPr>
          <p:spPr bwMode="gray">
            <a:xfrm>
              <a:off x="6796156" y="-3919867"/>
              <a:ext cx="964814" cy="16802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300"/>
                </a:spcBef>
                <a:buClr>
                  <a:srgbClr val="002897"/>
                </a:buClr>
                <a:buSzPct val="70000"/>
              </a:pPr>
              <a:r>
                <a:rPr lang="de-DE" sz="900" dirty="0">
                  <a:solidFill>
                    <a:schemeClr val="tx1"/>
                  </a:solidFill>
                </a:rPr>
                <a:t>Amine treater</a:t>
              </a:r>
            </a:p>
          </p:txBody>
        </p:sp>
      </p:grpSp>
      <p:grpSp>
        <p:nvGrpSpPr>
          <p:cNvPr id="984" name="Group 983">
            <a:extLst>
              <a:ext uri="{FF2B5EF4-FFF2-40B4-BE49-F238E27FC236}">
                <a16:creationId xmlns:a16="http://schemas.microsoft.com/office/drawing/2014/main" id="{6EF2E370-75B2-496F-A721-009BF9C317FD}"/>
              </a:ext>
            </a:extLst>
          </p:cNvPr>
          <p:cNvGrpSpPr/>
          <p:nvPr/>
        </p:nvGrpSpPr>
        <p:grpSpPr bwMode="gray">
          <a:xfrm>
            <a:off x="6651410" y="2194815"/>
            <a:ext cx="896204" cy="712902"/>
            <a:chOff x="8464516" y="-4578997"/>
            <a:chExt cx="1039838" cy="827158"/>
          </a:xfrm>
        </p:grpSpPr>
        <p:sp>
          <p:nvSpPr>
            <p:cNvPr id="985" name="Freeform: Shape 984">
              <a:extLst>
                <a:ext uri="{FF2B5EF4-FFF2-40B4-BE49-F238E27FC236}">
                  <a16:creationId xmlns:a16="http://schemas.microsoft.com/office/drawing/2014/main" id="{DC6C6DBB-FC96-4B97-88FE-FEB01BB75617}"/>
                </a:ext>
              </a:extLst>
            </p:cNvPr>
            <p:cNvSpPr/>
            <p:nvPr/>
          </p:nvSpPr>
          <p:spPr bwMode="gray">
            <a:xfrm flipH="1">
              <a:off x="8805760" y="-4578997"/>
              <a:ext cx="357350" cy="653392"/>
            </a:xfrm>
            <a:custGeom>
              <a:avLst/>
              <a:gdLst>
                <a:gd name="connsiteX0" fmla="*/ 0 w 835200"/>
                <a:gd name="connsiteY0" fmla="*/ 0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417600 w 835200"/>
                <a:gd name="connsiteY1" fmla="*/ 0 h 1973608"/>
                <a:gd name="connsiteX2" fmla="*/ 626400 w 835200"/>
                <a:gd name="connsiteY2" fmla="*/ 0 h 1973608"/>
                <a:gd name="connsiteX3" fmla="*/ 835200 w 835200"/>
                <a:gd name="connsiteY3" fmla="*/ 0 h 1973608"/>
                <a:gd name="connsiteX4" fmla="*/ 835200 w 835200"/>
                <a:gd name="connsiteY4" fmla="*/ 197361 h 1973608"/>
                <a:gd name="connsiteX5" fmla="*/ 835200 w 835200"/>
                <a:gd name="connsiteY5" fmla="*/ 197362 h 1973608"/>
                <a:gd name="connsiteX6" fmla="*/ 835200 w 835200"/>
                <a:gd name="connsiteY6" fmla="*/ 394723 h 1973608"/>
                <a:gd name="connsiteX7" fmla="*/ 835200 w 835200"/>
                <a:gd name="connsiteY7" fmla="*/ 592083 h 1973608"/>
                <a:gd name="connsiteX8" fmla="*/ 835200 w 835200"/>
                <a:gd name="connsiteY8" fmla="*/ 592085 h 1973608"/>
                <a:gd name="connsiteX9" fmla="*/ 835200 w 835200"/>
                <a:gd name="connsiteY9" fmla="*/ 789444 h 1973608"/>
                <a:gd name="connsiteX10" fmla="*/ 835200 w 835200"/>
                <a:gd name="connsiteY10" fmla="*/ 789445 h 1973608"/>
                <a:gd name="connsiteX11" fmla="*/ 835200 w 835200"/>
                <a:gd name="connsiteY11" fmla="*/ 986804 h 1973608"/>
                <a:gd name="connsiteX12" fmla="*/ 835200 w 835200"/>
                <a:gd name="connsiteY12" fmla="*/ 986806 h 1973608"/>
                <a:gd name="connsiteX13" fmla="*/ 835200 w 835200"/>
                <a:gd name="connsiteY13" fmla="*/ 1184165 h 1973608"/>
                <a:gd name="connsiteX14" fmla="*/ 835200 w 835200"/>
                <a:gd name="connsiteY14" fmla="*/ 1184166 h 1973608"/>
                <a:gd name="connsiteX15" fmla="*/ 835200 w 835200"/>
                <a:gd name="connsiteY15" fmla="*/ 1381525 h 1973608"/>
                <a:gd name="connsiteX16" fmla="*/ 835200 w 835200"/>
                <a:gd name="connsiteY16" fmla="*/ 1381527 h 1973608"/>
                <a:gd name="connsiteX17" fmla="*/ 835200 w 835200"/>
                <a:gd name="connsiteY17" fmla="*/ 1578886 h 1973608"/>
                <a:gd name="connsiteX18" fmla="*/ 835200 w 835200"/>
                <a:gd name="connsiteY18" fmla="*/ 1578887 h 1973608"/>
                <a:gd name="connsiteX19" fmla="*/ 835200 w 835200"/>
                <a:gd name="connsiteY19" fmla="*/ 1776246 h 1973608"/>
                <a:gd name="connsiteX20" fmla="*/ 835200 w 835200"/>
                <a:gd name="connsiteY20" fmla="*/ 1776248 h 1973608"/>
                <a:gd name="connsiteX21" fmla="*/ 835200 w 835200"/>
                <a:gd name="connsiteY21" fmla="*/ 1973608 h 1973608"/>
                <a:gd name="connsiteX22" fmla="*/ 626400 w 835200"/>
                <a:gd name="connsiteY22" fmla="*/ 1973608 h 1973608"/>
                <a:gd name="connsiteX23" fmla="*/ 417600 w 835200"/>
                <a:gd name="connsiteY23" fmla="*/ 1973608 h 1973608"/>
                <a:gd name="connsiteX24" fmla="*/ 208800 w 835200"/>
                <a:gd name="connsiteY24" fmla="*/ 1973608 h 1973608"/>
                <a:gd name="connsiteX25" fmla="*/ 0 w 835200"/>
                <a:gd name="connsiteY25" fmla="*/ 1973608 h 1973608"/>
                <a:gd name="connsiteX26" fmla="*/ 0 w 835200"/>
                <a:gd name="connsiteY26" fmla="*/ 1776248 h 1973608"/>
                <a:gd name="connsiteX27" fmla="*/ 0 w 835200"/>
                <a:gd name="connsiteY27" fmla="*/ 1776246 h 1973608"/>
                <a:gd name="connsiteX28" fmla="*/ 0 w 835200"/>
                <a:gd name="connsiteY28" fmla="*/ 1578887 h 1973608"/>
                <a:gd name="connsiteX29" fmla="*/ 0 w 835200"/>
                <a:gd name="connsiteY29" fmla="*/ 1578886 h 1973608"/>
                <a:gd name="connsiteX30" fmla="*/ 0 w 835200"/>
                <a:gd name="connsiteY30" fmla="*/ 1381527 h 1973608"/>
                <a:gd name="connsiteX31" fmla="*/ 0 w 835200"/>
                <a:gd name="connsiteY31" fmla="*/ 1381525 h 1973608"/>
                <a:gd name="connsiteX32" fmla="*/ 0 w 835200"/>
                <a:gd name="connsiteY32" fmla="*/ 1184166 h 1973608"/>
                <a:gd name="connsiteX33" fmla="*/ 0 w 835200"/>
                <a:gd name="connsiteY33" fmla="*/ 1184165 h 1973608"/>
                <a:gd name="connsiteX34" fmla="*/ 0 w 835200"/>
                <a:gd name="connsiteY34" fmla="*/ 986806 h 1973608"/>
                <a:gd name="connsiteX35" fmla="*/ 0 w 835200"/>
                <a:gd name="connsiteY35" fmla="*/ 986804 h 1973608"/>
                <a:gd name="connsiteX36" fmla="*/ 0 w 835200"/>
                <a:gd name="connsiteY36" fmla="*/ 789445 h 1973608"/>
                <a:gd name="connsiteX37" fmla="*/ 0 w 835200"/>
                <a:gd name="connsiteY37" fmla="*/ 789444 h 1973608"/>
                <a:gd name="connsiteX38" fmla="*/ 0 w 835200"/>
                <a:gd name="connsiteY38" fmla="*/ 592085 h 1973608"/>
                <a:gd name="connsiteX39" fmla="*/ 0 w 835200"/>
                <a:gd name="connsiteY39" fmla="*/ 592083 h 1973608"/>
                <a:gd name="connsiteX40" fmla="*/ 0 w 835200"/>
                <a:gd name="connsiteY40" fmla="*/ 394723 h 1973608"/>
                <a:gd name="connsiteX41" fmla="*/ 0 w 835200"/>
                <a:gd name="connsiteY41" fmla="*/ 197362 h 1973608"/>
                <a:gd name="connsiteX42" fmla="*/ 0 w 835200"/>
                <a:gd name="connsiteY42" fmla="*/ 197361 h 1973608"/>
                <a:gd name="connsiteX0" fmla="*/ 0 w 835200"/>
                <a:gd name="connsiteY0" fmla="*/ 197361 h 1973608"/>
                <a:gd name="connsiteX1" fmla="*/ 417600 w 835200"/>
                <a:gd name="connsiteY1" fmla="*/ 0 h 1973608"/>
                <a:gd name="connsiteX2" fmla="*/ 835200 w 835200"/>
                <a:gd name="connsiteY2" fmla="*/ 0 h 1973608"/>
                <a:gd name="connsiteX3" fmla="*/ 835200 w 835200"/>
                <a:gd name="connsiteY3" fmla="*/ 197361 h 1973608"/>
                <a:gd name="connsiteX4" fmla="*/ 835200 w 835200"/>
                <a:gd name="connsiteY4" fmla="*/ 197362 h 1973608"/>
                <a:gd name="connsiteX5" fmla="*/ 835200 w 835200"/>
                <a:gd name="connsiteY5" fmla="*/ 394723 h 1973608"/>
                <a:gd name="connsiteX6" fmla="*/ 835200 w 835200"/>
                <a:gd name="connsiteY6" fmla="*/ 592083 h 1973608"/>
                <a:gd name="connsiteX7" fmla="*/ 835200 w 835200"/>
                <a:gd name="connsiteY7" fmla="*/ 592085 h 1973608"/>
                <a:gd name="connsiteX8" fmla="*/ 835200 w 835200"/>
                <a:gd name="connsiteY8" fmla="*/ 789444 h 1973608"/>
                <a:gd name="connsiteX9" fmla="*/ 835200 w 835200"/>
                <a:gd name="connsiteY9" fmla="*/ 789445 h 1973608"/>
                <a:gd name="connsiteX10" fmla="*/ 835200 w 835200"/>
                <a:gd name="connsiteY10" fmla="*/ 986804 h 1973608"/>
                <a:gd name="connsiteX11" fmla="*/ 835200 w 835200"/>
                <a:gd name="connsiteY11" fmla="*/ 986806 h 1973608"/>
                <a:gd name="connsiteX12" fmla="*/ 835200 w 835200"/>
                <a:gd name="connsiteY12" fmla="*/ 1184165 h 1973608"/>
                <a:gd name="connsiteX13" fmla="*/ 835200 w 835200"/>
                <a:gd name="connsiteY13" fmla="*/ 1184166 h 1973608"/>
                <a:gd name="connsiteX14" fmla="*/ 835200 w 835200"/>
                <a:gd name="connsiteY14" fmla="*/ 1381525 h 1973608"/>
                <a:gd name="connsiteX15" fmla="*/ 835200 w 835200"/>
                <a:gd name="connsiteY15" fmla="*/ 1381527 h 1973608"/>
                <a:gd name="connsiteX16" fmla="*/ 835200 w 835200"/>
                <a:gd name="connsiteY16" fmla="*/ 1578886 h 1973608"/>
                <a:gd name="connsiteX17" fmla="*/ 835200 w 835200"/>
                <a:gd name="connsiteY17" fmla="*/ 1578887 h 1973608"/>
                <a:gd name="connsiteX18" fmla="*/ 835200 w 835200"/>
                <a:gd name="connsiteY18" fmla="*/ 1776246 h 1973608"/>
                <a:gd name="connsiteX19" fmla="*/ 835200 w 835200"/>
                <a:gd name="connsiteY19" fmla="*/ 1776248 h 1973608"/>
                <a:gd name="connsiteX20" fmla="*/ 835200 w 835200"/>
                <a:gd name="connsiteY20" fmla="*/ 1973608 h 1973608"/>
                <a:gd name="connsiteX21" fmla="*/ 626400 w 835200"/>
                <a:gd name="connsiteY21" fmla="*/ 1973608 h 1973608"/>
                <a:gd name="connsiteX22" fmla="*/ 417600 w 835200"/>
                <a:gd name="connsiteY22" fmla="*/ 1973608 h 1973608"/>
                <a:gd name="connsiteX23" fmla="*/ 208800 w 835200"/>
                <a:gd name="connsiteY23" fmla="*/ 1973608 h 1973608"/>
                <a:gd name="connsiteX24" fmla="*/ 0 w 835200"/>
                <a:gd name="connsiteY24" fmla="*/ 1973608 h 1973608"/>
                <a:gd name="connsiteX25" fmla="*/ 0 w 835200"/>
                <a:gd name="connsiteY25" fmla="*/ 1776248 h 1973608"/>
                <a:gd name="connsiteX26" fmla="*/ 0 w 835200"/>
                <a:gd name="connsiteY26" fmla="*/ 1776246 h 1973608"/>
                <a:gd name="connsiteX27" fmla="*/ 0 w 835200"/>
                <a:gd name="connsiteY27" fmla="*/ 1578887 h 1973608"/>
                <a:gd name="connsiteX28" fmla="*/ 0 w 835200"/>
                <a:gd name="connsiteY28" fmla="*/ 1578886 h 1973608"/>
                <a:gd name="connsiteX29" fmla="*/ 0 w 835200"/>
                <a:gd name="connsiteY29" fmla="*/ 1381527 h 1973608"/>
                <a:gd name="connsiteX30" fmla="*/ 0 w 835200"/>
                <a:gd name="connsiteY30" fmla="*/ 1381525 h 1973608"/>
                <a:gd name="connsiteX31" fmla="*/ 0 w 835200"/>
                <a:gd name="connsiteY31" fmla="*/ 1184166 h 1973608"/>
                <a:gd name="connsiteX32" fmla="*/ 0 w 835200"/>
                <a:gd name="connsiteY32" fmla="*/ 1184165 h 1973608"/>
                <a:gd name="connsiteX33" fmla="*/ 0 w 835200"/>
                <a:gd name="connsiteY33" fmla="*/ 986806 h 1973608"/>
                <a:gd name="connsiteX34" fmla="*/ 0 w 835200"/>
                <a:gd name="connsiteY34" fmla="*/ 986804 h 1973608"/>
                <a:gd name="connsiteX35" fmla="*/ 0 w 835200"/>
                <a:gd name="connsiteY35" fmla="*/ 789445 h 1973608"/>
                <a:gd name="connsiteX36" fmla="*/ 0 w 835200"/>
                <a:gd name="connsiteY36" fmla="*/ 789444 h 1973608"/>
                <a:gd name="connsiteX37" fmla="*/ 0 w 835200"/>
                <a:gd name="connsiteY37" fmla="*/ 592085 h 1973608"/>
                <a:gd name="connsiteX38" fmla="*/ 0 w 835200"/>
                <a:gd name="connsiteY38" fmla="*/ 592083 h 1973608"/>
                <a:gd name="connsiteX39" fmla="*/ 0 w 835200"/>
                <a:gd name="connsiteY39" fmla="*/ 394723 h 1973608"/>
                <a:gd name="connsiteX40" fmla="*/ 0 w 835200"/>
                <a:gd name="connsiteY40" fmla="*/ 197362 h 1973608"/>
                <a:gd name="connsiteX41" fmla="*/ 0 w 835200"/>
                <a:gd name="connsiteY41"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973608 h 1973608"/>
                <a:gd name="connsiteX24" fmla="*/ 0 w 835200"/>
                <a:gd name="connsiteY24" fmla="*/ 1776248 h 1973608"/>
                <a:gd name="connsiteX25" fmla="*/ 0 w 835200"/>
                <a:gd name="connsiteY25" fmla="*/ 1776246 h 1973608"/>
                <a:gd name="connsiteX26" fmla="*/ 0 w 835200"/>
                <a:gd name="connsiteY26" fmla="*/ 1578887 h 1973608"/>
                <a:gd name="connsiteX27" fmla="*/ 0 w 835200"/>
                <a:gd name="connsiteY27" fmla="*/ 1578886 h 1973608"/>
                <a:gd name="connsiteX28" fmla="*/ 0 w 835200"/>
                <a:gd name="connsiteY28" fmla="*/ 1381527 h 1973608"/>
                <a:gd name="connsiteX29" fmla="*/ 0 w 835200"/>
                <a:gd name="connsiteY29" fmla="*/ 1381525 h 1973608"/>
                <a:gd name="connsiteX30" fmla="*/ 0 w 835200"/>
                <a:gd name="connsiteY30" fmla="*/ 1184166 h 1973608"/>
                <a:gd name="connsiteX31" fmla="*/ 0 w 835200"/>
                <a:gd name="connsiteY31" fmla="*/ 1184165 h 1973608"/>
                <a:gd name="connsiteX32" fmla="*/ 0 w 835200"/>
                <a:gd name="connsiteY32" fmla="*/ 986806 h 1973608"/>
                <a:gd name="connsiteX33" fmla="*/ 0 w 835200"/>
                <a:gd name="connsiteY33" fmla="*/ 986804 h 1973608"/>
                <a:gd name="connsiteX34" fmla="*/ 0 w 835200"/>
                <a:gd name="connsiteY34" fmla="*/ 789445 h 1973608"/>
                <a:gd name="connsiteX35" fmla="*/ 0 w 835200"/>
                <a:gd name="connsiteY35" fmla="*/ 789444 h 1973608"/>
                <a:gd name="connsiteX36" fmla="*/ 0 w 835200"/>
                <a:gd name="connsiteY36" fmla="*/ 592085 h 1973608"/>
                <a:gd name="connsiteX37" fmla="*/ 0 w 835200"/>
                <a:gd name="connsiteY37" fmla="*/ 592083 h 1973608"/>
                <a:gd name="connsiteX38" fmla="*/ 0 w 835200"/>
                <a:gd name="connsiteY38" fmla="*/ 394723 h 1973608"/>
                <a:gd name="connsiteX39" fmla="*/ 0 w 835200"/>
                <a:gd name="connsiteY39" fmla="*/ 197362 h 1973608"/>
                <a:gd name="connsiteX40" fmla="*/ 0 w 835200"/>
                <a:gd name="connsiteY40"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776248 h 1973608"/>
                <a:gd name="connsiteX24" fmla="*/ 0 w 835200"/>
                <a:gd name="connsiteY24" fmla="*/ 1776246 h 1973608"/>
                <a:gd name="connsiteX25" fmla="*/ 0 w 835200"/>
                <a:gd name="connsiteY25" fmla="*/ 1578887 h 1973608"/>
                <a:gd name="connsiteX26" fmla="*/ 0 w 835200"/>
                <a:gd name="connsiteY26" fmla="*/ 1578886 h 1973608"/>
                <a:gd name="connsiteX27" fmla="*/ 0 w 835200"/>
                <a:gd name="connsiteY27" fmla="*/ 1381527 h 1973608"/>
                <a:gd name="connsiteX28" fmla="*/ 0 w 835200"/>
                <a:gd name="connsiteY28" fmla="*/ 1381525 h 1973608"/>
                <a:gd name="connsiteX29" fmla="*/ 0 w 835200"/>
                <a:gd name="connsiteY29" fmla="*/ 1184166 h 1973608"/>
                <a:gd name="connsiteX30" fmla="*/ 0 w 835200"/>
                <a:gd name="connsiteY30" fmla="*/ 1184165 h 1973608"/>
                <a:gd name="connsiteX31" fmla="*/ 0 w 835200"/>
                <a:gd name="connsiteY31" fmla="*/ 986806 h 1973608"/>
                <a:gd name="connsiteX32" fmla="*/ 0 w 835200"/>
                <a:gd name="connsiteY32" fmla="*/ 986804 h 1973608"/>
                <a:gd name="connsiteX33" fmla="*/ 0 w 835200"/>
                <a:gd name="connsiteY33" fmla="*/ 789445 h 1973608"/>
                <a:gd name="connsiteX34" fmla="*/ 0 w 835200"/>
                <a:gd name="connsiteY34" fmla="*/ 789444 h 1973608"/>
                <a:gd name="connsiteX35" fmla="*/ 0 w 835200"/>
                <a:gd name="connsiteY35" fmla="*/ 592085 h 1973608"/>
                <a:gd name="connsiteX36" fmla="*/ 0 w 835200"/>
                <a:gd name="connsiteY36" fmla="*/ 592083 h 1973608"/>
                <a:gd name="connsiteX37" fmla="*/ 0 w 835200"/>
                <a:gd name="connsiteY37" fmla="*/ 394723 h 1973608"/>
                <a:gd name="connsiteX38" fmla="*/ 0 w 835200"/>
                <a:gd name="connsiteY38" fmla="*/ 197362 h 1973608"/>
                <a:gd name="connsiteX39" fmla="*/ 0 w 835200"/>
                <a:gd name="connsiteY39"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0 w 835200"/>
                <a:gd name="connsiteY22" fmla="*/ 1776248 h 1973608"/>
                <a:gd name="connsiteX23" fmla="*/ 0 w 835200"/>
                <a:gd name="connsiteY23" fmla="*/ 1776246 h 1973608"/>
                <a:gd name="connsiteX24" fmla="*/ 0 w 835200"/>
                <a:gd name="connsiteY24" fmla="*/ 1578887 h 1973608"/>
                <a:gd name="connsiteX25" fmla="*/ 0 w 835200"/>
                <a:gd name="connsiteY25" fmla="*/ 1578886 h 1973608"/>
                <a:gd name="connsiteX26" fmla="*/ 0 w 835200"/>
                <a:gd name="connsiteY26" fmla="*/ 1381527 h 1973608"/>
                <a:gd name="connsiteX27" fmla="*/ 0 w 835200"/>
                <a:gd name="connsiteY27" fmla="*/ 1381525 h 1973608"/>
                <a:gd name="connsiteX28" fmla="*/ 0 w 835200"/>
                <a:gd name="connsiteY28" fmla="*/ 1184166 h 1973608"/>
                <a:gd name="connsiteX29" fmla="*/ 0 w 835200"/>
                <a:gd name="connsiteY29" fmla="*/ 1184165 h 1973608"/>
                <a:gd name="connsiteX30" fmla="*/ 0 w 835200"/>
                <a:gd name="connsiteY30" fmla="*/ 986806 h 1973608"/>
                <a:gd name="connsiteX31" fmla="*/ 0 w 835200"/>
                <a:gd name="connsiteY31" fmla="*/ 986804 h 1973608"/>
                <a:gd name="connsiteX32" fmla="*/ 0 w 835200"/>
                <a:gd name="connsiteY32" fmla="*/ 789445 h 1973608"/>
                <a:gd name="connsiteX33" fmla="*/ 0 w 835200"/>
                <a:gd name="connsiteY33" fmla="*/ 789444 h 1973608"/>
                <a:gd name="connsiteX34" fmla="*/ 0 w 835200"/>
                <a:gd name="connsiteY34" fmla="*/ 592085 h 1973608"/>
                <a:gd name="connsiteX35" fmla="*/ 0 w 835200"/>
                <a:gd name="connsiteY35" fmla="*/ 592083 h 1973608"/>
                <a:gd name="connsiteX36" fmla="*/ 0 w 835200"/>
                <a:gd name="connsiteY36" fmla="*/ 394723 h 1973608"/>
                <a:gd name="connsiteX37" fmla="*/ 0 w 835200"/>
                <a:gd name="connsiteY37" fmla="*/ 197362 h 1973608"/>
                <a:gd name="connsiteX38" fmla="*/ 0 w 835200"/>
                <a:gd name="connsiteY38"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417600 w 835200"/>
                <a:gd name="connsiteY20" fmla="*/ 1973608 h 1973608"/>
                <a:gd name="connsiteX21" fmla="*/ 0 w 835200"/>
                <a:gd name="connsiteY21" fmla="*/ 1776248 h 1973608"/>
                <a:gd name="connsiteX22" fmla="*/ 0 w 835200"/>
                <a:gd name="connsiteY22" fmla="*/ 1776246 h 1973608"/>
                <a:gd name="connsiteX23" fmla="*/ 0 w 835200"/>
                <a:gd name="connsiteY23" fmla="*/ 1578887 h 1973608"/>
                <a:gd name="connsiteX24" fmla="*/ 0 w 835200"/>
                <a:gd name="connsiteY24" fmla="*/ 1578886 h 1973608"/>
                <a:gd name="connsiteX25" fmla="*/ 0 w 835200"/>
                <a:gd name="connsiteY25" fmla="*/ 1381527 h 1973608"/>
                <a:gd name="connsiteX26" fmla="*/ 0 w 835200"/>
                <a:gd name="connsiteY26" fmla="*/ 1381525 h 1973608"/>
                <a:gd name="connsiteX27" fmla="*/ 0 w 835200"/>
                <a:gd name="connsiteY27" fmla="*/ 1184166 h 1973608"/>
                <a:gd name="connsiteX28" fmla="*/ 0 w 835200"/>
                <a:gd name="connsiteY28" fmla="*/ 1184165 h 1973608"/>
                <a:gd name="connsiteX29" fmla="*/ 0 w 835200"/>
                <a:gd name="connsiteY29" fmla="*/ 986806 h 1973608"/>
                <a:gd name="connsiteX30" fmla="*/ 0 w 835200"/>
                <a:gd name="connsiteY30" fmla="*/ 986804 h 1973608"/>
                <a:gd name="connsiteX31" fmla="*/ 0 w 835200"/>
                <a:gd name="connsiteY31" fmla="*/ 789445 h 1973608"/>
                <a:gd name="connsiteX32" fmla="*/ 0 w 835200"/>
                <a:gd name="connsiteY32" fmla="*/ 789444 h 1973608"/>
                <a:gd name="connsiteX33" fmla="*/ 0 w 835200"/>
                <a:gd name="connsiteY33" fmla="*/ 592085 h 1973608"/>
                <a:gd name="connsiteX34" fmla="*/ 0 w 835200"/>
                <a:gd name="connsiteY34" fmla="*/ 592083 h 1973608"/>
                <a:gd name="connsiteX35" fmla="*/ 0 w 835200"/>
                <a:gd name="connsiteY35" fmla="*/ 394723 h 1973608"/>
                <a:gd name="connsiteX36" fmla="*/ 0 w 835200"/>
                <a:gd name="connsiteY36" fmla="*/ 197362 h 1973608"/>
                <a:gd name="connsiteX37" fmla="*/ 0 w 835200"/>
                <a:gd name="connsiteY37"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417600 w 835200"/>
                <a:gd name="connsiteY19" fmla="*/ 1973608 h 1973608"/>
                <a:gd name="connsiteX20" fmla="*/ 0 w 835200"/>
                <a:gd name="connsiteY20" fmla="*/ 1776248 h 1973608"/>
                <a:gd name="connsiteX21" fmla="*/ 0 w 835200"/>
                <a:gd name="connsiteY21" fmla="*/ 1776246 h 1973608"/>
                <a:gd name="connsiteX22" fmla="*/ 0 w 835200"/>
                <a:gd name="connsiteY22" fmla="*/ 1578887 h 1973608"/>
                <a:gd name="connsiteX23" fmla="*/ 0 w 835200"/>
                <a:gd name="connsiteY23" fmla="*/ 1578886 h 1973608"/>
                <a:gd name="connsiteX24" fmla="*/ 0 w 835200"/>
                <a:gd name="connsiteY24" fmla="*/ 1381527 h 1973608"/>
                <a:gd name="connsiteX25" fmla="*/ 0 w 835200"/>
                <a:gd name="connsiteY25" fmla="*/ 1381525 h 1973608"/>
                <a:gd name="connsiteX26" fmla="*/ 0 w 835200"/>
                <a:gd name="connsiteY26" fmla="*/ 1184166 h 1973608"/>
                <a:gd name="connsiteX27" fmla="*/ 0 w 835200"/>
                <a:gd name="connsiteY27" fmla="*/ 1184165 h 1973608"/>
                <a:gd name="connsiteX28" fmla="*/ 0 w 835200"/>
                <a:gd name="connsiteY28" fmla="*/ 986806 h 1973608"/>
                <a:gd name="connsiteX29" fmla="*/ 0 w 835200"/>
                <a:gd name="connsiteY29" fmla="*/ 986804 h 1973608"/>
                <a:gd name="connsiteX30" fmla="*/ 0 w 835200"/>
                <a:gd name="connsiteY30" fmla="*/ 789445 h 1973608"/>
                <a:gd name="connsiteX31" fmla="*/ 0 w 835200"/>
                <a:gd name="connsiteY31" fmla="*/ 789444 h 1973608"/>
                <a:gd name="connsiteX32" fmla="*/ 0 w 835200"/>
                <a:gd name="connsiteY32" fmla="*/ 592085 h 1973608"/>
                <a:gd name="connsiteX33" fmla="*/ 0 w 835200"/>
                <a:gd name="connsiteY33" fmla="*/ 592083 h 1973608"/>
                <a:gd name="connsiteX34" fmla="*/ 0 w 835200"/>
                <a:gd name="connsiteY34" fmla="*/ 394723 h 1973608"/>
                <a:gd name="connsiteX35" fmla="*/ 0 w 835200"/>
                <a:gd name="connsiteY35" fmla="*/ 197362 h 1973608"/>
                <a:gd name="connsiteX36" fmla="*/ 0 w 835200"/>
                <a:gd name="connsiteY36" fmla="*/ 197361 h 197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35200" h="1973608">
                  <a:moveTo>
                    <a:pt x="0" y="197361"/>
                  </a:moveTo>
                  <a:lnTo>
                    <a:pt x="417600" y="0"/>
                  </a:lnTo>
                  <a:lnTo>
                    <a:pt x="835200" y="197361"/>
                  </a:lnTo>
                  <a:lnTo>
                    <a:pt x="835200" y="197362"/>
                  </a:lnTo>
                  <a:lnTo>
                    <a:pt x="835200" y="394723"/>
                  </a:lnTo>
                  <a:lnTo>
                    <a:pt x="835200" y="592083"/>
                  </a:lnTo>
                  <a:lnTo>
                    <a:pt x="835200" y="592085"/>
                  </a:lnTo>
                  <a:lnTo>
                    <a:pt x="835200" y="789444"/>
                  </a:lnTo>
                  <a:lnTo>
                    <a:pt x="835200" y="789445"/>
                  </a:lnTo>
                  <a:lnTo>
                    <a:pt x="835200" y="986804"/>
                  </a:lnTo>
                  <a:lnTo>
                    <a:pt x="835200" y="986806"/>
                  </a:lnTo>
                  <a:lnTo>
                    <a:pt x="835200" y="1184165"/>
                  </a:lnTo>
                  <a:lnTo>
                    <a:pt x="835200" y="1184166"/>
                  </a:lnTo>
                  <a:lnTo>
                    <a:pt x="835200" y="1381525"/>
                  </a:lnTo>
                  <a:lnTo>
                    <a:pt x="835200" y="1381527"/>
                  </a:lnTo>
                  <a:lnTo>
                    <a:pt x="835200" y="1578886"/>
                  </a:lnTo>
                  <a:lnTo>
                    <a:pt x="835200" y="1578887"/>
                  </a:lnTo>
                  <a:lnTo>
                    <a:pt x="835200" y="1776246"/>
                  </a:lnTo>
                  <a:lnTo>
                    <a:pt x="835200" y="1776248"/>
                  </a:lnTo>
                  <a:lnTo>
                    <a:pt x="417600" y="1973608"/>
                  </a:lnTo>
                  <a:lnTo>
                    <a:pt x="0" y="1776248"/>
                  </a:lnTo>
                  <a:lnTo>
                    <a:pt x="0" y="1776246"/>
                  </a:lnTo>
                  <a:lnTo>
                    <a:pt x="0" y="1578887"/>
                  </a:lnTo>
                  <a:lnTo>
                    <a:pt x="0" y="1578886"/>
                  </a:lnTo>
                  <a:lnTo>
                    <a:pt x="0" y="1381527"/>
                  </a:lnTo>
                  <a:lnTo>
                    <a:pt x="0" y="1381525"/>
                  </a:lnTo>
                  <a:lnTo>
                    <a:pt x="0" y="1184166"/>
                  </a:lnTo>
                  <a:lnTo>
                    <a:pt x="0" y="1184165"/>
                  </a:lnTo>
                  <a:lnTo>
                    <a:pt x="0" y="986806"/>
                  </a:lnTo>
                  <a:lnTo>
                    <a:pt x="0" y="986804"/>
                  </a:lnTo>
                  <a:lnTo>
                    <a:pt x="0" y="789445"/>
                  </a:lnTo>
                  <a:lnTo>
                    <a:pt x="0" y="789444"/>
                  </a:lnTo>
                  <a:lnTo>
                    <a:pt x="0" y="592085"/>
                  </a:lnTo>
                  <a:lnTo>
                    <a:pt x="0" y="592083"/>
                  </a:lnTo>
                  <a:lnTo>
                    <a:pt x="0" y="394723"/>
                  </a:lnTo>
                  <a:lnTo>
                    <a:pt x="0" y="197362"/>
                  </a:lnTo>
                  <a:lnTo>
                    <a:pt x="0" y="197361"/>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spcBef>
                  <a:spcPts val="300"/>
                </a:spcBef>
                <a:buClr>
                  <a:srgbClr val="002897"/>
                </a:buClr>
                <a:buSzPct val="70000"/>
              </a:pPr>
              <a:endParaRPr lang="de-DE" sz="900" dirty="0">
                <a:solidFill>
                  <a:schemeClr val="tx1"/>
                </a:solidFill>
              </a:endParaRPr>
            </a:p>
          </p:txBody>
        </p:sp>
        <p:sp>
          <p:nvSpPr>
            <p:cNvPr id="986" name="Rectangle 985">
              <a:extLst>
                <a:ext uri="{FF2B5EF4-FFF2-40B4-BE49-F238E27FC236}">
                  <a16:creationId xmlns:a16="http://schemas.microsoft.com/office/drawing/2014/main" id="{B1C7B93D-55AA-4954-A072-D28867A6C4DE}"/>
                </a:ext>
              </a:extLst>
            </p:cNvPr>
            <p:cNvSpPr/>
            <p:nvPr/>
          </p:nvSpPr>
          <p:spPr bwMode="gray">
            <a:xfrm>
              <a:off x="8464516" y="-3916869"/>
              <a:ext cx="1039838"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Inlet scrubber</a:t>
              </a:r>
            </a:p>
          </p:txBody>
        </p:sp>
      </p:grpSp>
      <p:grpSp>
        <p:nvGrpSpPr>
          <p:cNvPr id="900" name="Group 899">
            <a:extLst>
              <a:ext uri="{FF2B5EF4-FFF2-40B4-BE49-F238E27FC236}">
                <a16:creationId xmlns:a16="http://schemas.microsoft.com/office/drawing/2014/main" id="{AFB51162-8A88-4719-A684-A0BCF42ACA61}"/>
              </a:ext>
            </a:extLst>
          </p:cNvPr>
          <p:cNvGrpSpPr/>
          <p:nvPr/>
        </p:nvGrpSpPr>
        <p:grpSpPr bwMode="gray">
          <a:xfrm>
            <a:off x="7164555" y="3019631"/>
            <a:ext cx="727302" cy="593941"/>
            <a:chOff x="12657918" y="3811752"/>
            <a:chExt cx="843866" cy="689132"/>
          </a:xfrm>
        </p:grpSpPr>
        <p:sp>
          <p:nvSpPr>
            <p:cNvPr id="901" name="Trapezoid 900">
              <a:extLst>
                <a:ext uri="{FF2B5EF4-FFF2-40B4-BE49-F238E27FC236}">
                  <a16:creationId xmlns:a16="http://schemas.microsoft.com/office/drawing/2014/main" id="{6822119D-87FD-471C-8690-55B77FBE8257}"/>
                </a:ext>
              </a:extLst>
            </p:cNvPr>
            <p:cNvSpPr/>
            <p:nvPr/>
          </p:nvSpPr>
          <p:spPr bwMode="gray">
            <a:xfrm rot="5400000">
              <a:off x="12924484" y="3847225"/>
              <a:ext cx="310734" cy="239787"/>
            </a:xfrm>
            <a:prstGeom prst="trapezoid">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err="1">
                <a:solidFill>
                  <a:schemeClr val="tx1"/>
                </a:solidFill>
              </a:endParaRPr>
            </a:p>
          </p:txBody>
        </p:sp>
        <p:sp>
          <p:nvSpPr>
            <p:cNvPr id="902" name="Rectangle 901">
              <a:extLst>
                <a:ext uri="{FF2B5EF4-FFF2-40B4-BE49-F238E27FC236}">
                  <a16:creationId xmlns:a16="http://schemas.microsoft.com/office/drawing/2014/main" id="{60FBC376-B136-425A-B1D9-C8C7D8A86520}"/>
                </a:ext>
              </a:extLst>
            </p:cNvPr>
            <p:cNvSpPr/>
            <p:nvPr/>
          </p:nvSpPr>
          <p:spPr bwMode="gray">
            <a:xfrm>
              <a:off x="12657918" y="4122485"/>
              <a:ext cx="843866" cy="3783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Methane</a:t>
              </a:r>
              <a:br>
                <a:rPr lang="de-DE" sz="900" dirty="0">
                  <a:solidFill>
                    <a:schemeClr val="tx1"/>
                  </a:solidFill>
                </a:rPr>
              </a:br>
              <a:r>
                <a:rPr lang="de-DE" sz="900" dirty="0">
                  <a:solidFill>
                    <a:schemeClr val="tx1"/>
                  </a:solidFill>
                </a:rPr>
                <a:t>compressor</a:t>
              </a:r>
            </a:p>
          </p:txBody>
        </p:sp>
      </p:grpSp>
      <p:grpSp>
        <p:nvGrpSpPr>
          <p:cNvPr id="987" name="Group 986">
            <a:extLst>
              <a:ext uri="{FF2B5EF4-FFF2-40B4-BE49-F238E27FC236}">
                <a16:creationId xmlns:a16="http://schemas.microsoft.com/office/drawing/2014/main" id="{8911BC62-5FFC-41F0-8E74-E10511A7C792}"/>
              </a:ext>
            </a:extLst>
          </p:cNvPr>
          <p:cNvGrpSpPr/>
          <p:nvPr/>
        </p:nvGrpSpPr>
        <p:grpSpPr bwMode="gray">
          <a:xfrm>
            <a:off x="7817887" y="3019631"/>
            <a:ext cx="806550" cy="572469"/>
            <a:chOff x="13417923" y="3811749"/>
            <a:chExt cx="935816" cy="664219"/>
          </a:xfrm>
        </p:grpSpPr>
        <p:sp>
          <p:nvSpPr>
            <p:cNvPr id="988" name="Oval 987">
              <a:extLst>
                <a:ext uri="{FF2B5EF4-FFF2-40B4-BE49-F238E27FC236}">
                  <a16:creationId xmlns:a16="http://schemas.microsoft.com/office/drawing/2014/main" id="{138F248B-E254-4D53-895C-25191EDDB8FC}"/>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989" name="Freeform: Shape 988">
              <a:extLst>
                <a:ext uri="{FF2B5EF4-FFF2-40B4-BE49-F238E27FC236}">
                  <a16:creationId xmlns:a16="http://schemas.microsoft.com/office/drawing/2014/main" id="{1651634A-65A2-43F9-AE2C-19939A4E5341}"/>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a:solidFill>
                  <a:schemeClr val="tx1"/>
                </a:solidFill>
              </a:endParaRPr>
            </a:p>
          </p:txBody>
        </p:sp>
        <p:sp>
          <p:nvSpPr>
            <p:cNvPr id="990" name="Rectangle 989">
              <a:extLst>
                <a:ext uri="{FF2B5EF4-FFF2-40B4-BE49-F238E27FC236}">
                  <a16:creationId xmlns:a16="http://schemas.microsoft.com/office/drawing/2014/main" id="{33D3556B-D432-448A-A697-E1B3E9EE0342}"/>
                </a:ext>
              </a:extLst>
            </p:cNvPr>
            <p:cNvSpPr/>
            <p:nvPr/>
          </p:nvSpPr>
          <p:spPr bwMode="gray">
            <a:xfrm>
              <a:off x="13417923" y="4122486"/>
              <a:ext cx="935816"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Air fin heat exchanger</a:t>
              </a:r>
            </a:p>
          </p:txBody>
        </p:sp>
      </p:grpSp>
      <p:grpSp>
        <p:nvGrpSpPr>
          <p:cNvPr id="903" name="Group 902">
            <a:extLst>
              <a:ext uri="{FF2B5EF4-FFF2-40B4-BE49-F238E27FC236}">
                <a16:creationId xmlns:a16="http://schemas.microsoft.com/office/drawing/2014/main" id="{C198B64D-DDAD-4C7E-9704-0F83146900A9}"/>
              </a:ext>
            </a:extLst>
          </p:cNvPr>
          <p:cNvGrpSpPr/>
          <p:nvPr/>
        </p:nvGrpSpPr>
        <p:grpSpPr bwMode="gray">
          <a:xfrm>
            <a:off x="8635662" y="3162476"/>
            <a:ext cx="727302" cy="593941"/>
            <a:chOff x="12657918" y="3811752"/>
            <a:chExt cx="843866" cy="689132"/>
          </a:xfrm>
        </p:grpSpPr>
        <p:sp>
          <p:nvSpPr>
            <p:cNvPr id="904" name="Trapezoid 903">
              <a:extLst>
                <a:ext uri="{FF2B5EF4-FFF2-40B4-BE49-F238E27FC236}">
                  <a16:creationId xmlns:a16="http://schemas.microsoft.com/office/drawing/2014/main" id="{12A9B196-690B-40C7-87A0-BEC195EDC28B}"/>
                </a:ext>
              </a:extLst>
            </p:cNvPr>
            <p:cNvSpPr/>
            <p:nvPr/>
          </p:nvSpPr>
          <p:spPr bwMode="gray">
            <a:xfrm rot="5400000">
              <a:off x="12924484" y="3847225"/>
              <a:ext cx="310734" cy="239787"/>
            </a:xfrm>
            <a:prstGeom prst="trapezoid">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err="1">
                <a:solidFill>
                  <a:schemeClr val="tx1"/>
                </a:solidFill>
              </a:endParaRPr>
            </a:p>
          </p:txBody>
        </p:sp>
        <p:sp>
          <p:nvSpPr>
            <p:cNvPr id="905" name="Rectangle 904">
              <a:extLst>
                <a:ext uri="{FF2B5EF4-FFF2-40B4-BE49-F238E27FC236}">
                  <a16:creationId xmlns:a16="http://schemas.microsoft.com/office/drawing/2014/main" id="{108D78F6-E6D8-4ADC-B0F2-25EBFCA92FD4}"/>
                </a:ext>
              </a:extLst>
            </p:cNvPr>
            <p:cNvSpPr/>
            <p:nvPr/>
          </p:nvSpPr>
          <p:spPr bwMode="gray">
            <a:xfrm>
              <a:off x="12657918" y="4122485"/>
              <a:ext cx="843866" cy="3783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Ethylene</a:t>
              </a:r>
              <a:br>
                <a:rPr lang="de-DE" sz="900" dirty="0">
                  <a:solidFill>
                    <a:schemeClr val="tx1"/>
                  </a:solidFill>
                </a:rPr>
              </a:br>
              <a:r>
                <a:rPr lang="de-DE" sz="900" dirty="0">
                  <a:solidFill>
                    <a:schemeClr val="tx1"/>
                  </a:solidFill>
                </a:rPr>
                <a:t>compressor</a:t>
              </a:r>
            </a:p>
          </p:txBody>
        </p:sp>
      </p:grpSp>
      <p:grpSp>
        <p:nvGrpSpPr>
          <p:cNvPr id="991" name="Group 990">
            <a:extLst>
              <a:ext uri="{FF2B5EF4-FFF2-40B4-BE49-F238E27FC236}">
                <a16:creationId xmlns:a16="http://schemas.microsoft.com/office/drawing/2014/main" id="{B38F334B-6B83-4921-B25D-E6CBD2E819FD}"/>
              </a:ext>
            </a:extLst>
          </p:cNvPr>
          <p:cNvGrpSpPr/>
          <p:nvPr/>
        </p:nvGrpSpPr>
        <p:grpSpPr bwMode="gray">
          <a:xfrm>
            <a:off x="9240593" y="3162476"/>
            <a:ext cx="806550" cy="572469"/>
            <a:chOff x="13417923" y="3811749"/>
            <a:chExt cx="935816" cy="664219"/>
          </a:xfrm>
        </p:grpSpPr>
        <p:sp>
          <p:nvSpPr>
            <p:cNvPr id="992" name="Oval 991">
              <a:extLst>
                <a:ext uri="{FF2B5EF4-FFF2-40B4-BE49-F238E27FC236}">
                  <a16:creationId xmlns:a16="http://schemas.microsoft.com/office/drawing/2014/main" id="{448EF26A-D847-417C-8DAB-D76B809033A5}"/>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993" name="Freeform: Shape 992">
              <a:extLst>
                <a:ext uri="{FF2B5EF4-FFF2-40B4-BE49-F238E27FC236}">
                  <a16:creationId xmlns:a16="http://schemas.microsoft.com/office/drawing/2014/main" id="{850519DB-53F7-4B04-ACBB-D5E20F94E5CF}"/>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a:solidFill>
                  <a:schemeClr val="tx1"/>
                </a:solidFill>
              </a:endParaRPr>
            </a:p>
          </p:txBody>
        </p:sp>
        <p:sp>
          <p:nvSpPr>
            <p:cNvPr id="994" name="Rectangle 993">
              <a:extLst>
                <a:ext uri="{FF2B5EF4-FFF2-40B4-BE49-F238E27FC236}">
                  <a16:creationId xmlns:a16="http://schemas.microsoft.com/office/drawing/2014/main" id="{38A80304-08CB-4DD2-A7E7-4A38A42933A0}"/>
                </a:ext>
              </a:extLst>
            </p:cNvPr>
            <p:cNvSpPr/>
            <p:nvPr/>
          </p:nvSpPr>
          <p:spPr bwMode="gray">
            <a:xfrm>
              <a:off x="13417923" y="4122486"/>
              <a:ext cx="935816"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Air fin heat exchanger</a:t>
              </a:r>
            </a:p>
          </p:txBody>
        </p:sp>
      </p:grpSp>
      <p:grpSp>
        <p:nvGrpSpPr>
          <p:cNvPr id="906" name="Group 905">
            <a:extLst>
              <a:ext uri="{FF2B5EF4-FFF2-40B4-BE49-F238E27FC236}">
                <a16:creationId xmlns:a16="http://schemas.microsoft.com/office/drawing/2014/main" id="{ABC5167C-22CF-410B-A179-50E1C467BE83}"/>
              </a:ext>
            </a:extLst>
          </p:cNvPr>
          <p:cNvGrpSpPr/>
          <p:nvPr/>
        </p:nvGrpSpPr>
        <p:grpSpPr bwMode="gray">
          <a:xfrm>
            <a:off x="10022705" y="3372261"/>
            <a:ext cx="727302" cy="593941"/>
            <a:chOff x="12657918" y="3811752"/>
            <a:chExt cx="843866" cy="689132"/>
          </a:xfrm>
        </p:grpSpPr>
        <p:sp>
          <p:nvSpPr>
            <p:cNvPr id="907" name="Trapezoid 906">
              <a:extLst>
                <a:ext uri="{FF2B5EF4-FFF2-40B4-BE49-F238E27FC236}">
                  <a16:creationId xmlns:a16="http://schemas.microsoft.com/office/drawing/2014/main" id="{430781B3-67C5-4BD3-8AD5-DCF9B6DC8D18}"/>
                </a:ext>
              </a:extLst>
            </p:cNvPr>
            <p:cNvSpPr/>
            <p:nvPr/>
          </p:nvSpPr>
          <p:spPr bwMode="gray">
            <a:xfrm rot="5400000">
              <a:off x="12924484" y="3847225"/>
              <a:ext cx="310734" cy="239787"/>
            </a:xfrm>
            <a:prstGeom prst="trapezoid">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err="1">
                <a:solidFill>
                  <a:schemeClr val="tx1"/>
                </a:solidFill>
              </a:endParaRPr>
            </a:p>
          </p:txBody>
        </p:sp>
        <p:sp>
          <p:nvSpPr>
            <p:cNvPr id="908" name="Rectangle 907">
              <a:extLst>
                <a:ext uri="{FF2B5EF4-FFF2-40B4-BE49-F238E27FC236}">
                  <a16:creationId xmlns:a16="http://schemas.microsoft.com/office/drawing/2014/main" id="{38727192-34B6-4DDF-B23F-88036A872245}"/>
                </a:ext>
              </a:extLst>
            </p:cNvPr>
            <p:cNvSpPr/>
            <p:nvPr/>
          </p:nvSpPr>
          <p:spPr bwMode="gray">
            <a:xfrm>
              <a:off x="12657918" y="4122485"/>
              <a:ext cx="843866" cy="3783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Propane</a:t>
              </a:r>
              <a:br>
                <a:rPr lang="de-DE" sz="900" dirty="0">
                  <a:solidFill>
                    <a:schemeClr val="tx1"/>
                  </a:solidFill>
                </a:rPr>
              </a:br>
              <a:r>
                <a:rPr lang="de-DE" sz="900" dirty="0">
                  <a:solidFill>
                    <a:schemeClr val="tx1"/>
                  </a:solidFill>
                </a:rPr>
                <a:t>compressor</a:t>
              </a:r>
            </a:p>
          </p:txBody>
        </p:sp>
      </p:grpSp>
      <p:grpSp>
        <p:nvGrpSpPr>
          <p:cNvPr id="995" name="Group 994">
            <a:extLst>
              <a:ext uri="{FF2B5EF4-FFF2-40B4-BE49-F238E27FC236}">
                <a16:creationId xmlns:a16="http://schemas.microsoft.com/office/drawing/2014/main" id="{C70372FB-0B42-4C92-905C-95E89A78026F}"/>
              </a:ext>
            </a:extLst>
          </p:cNvPr>
          <p:cNvGrpSpPr/>
          <p:nvPr/>
        </p:nvGrpSpPr>
        <p:grpSpPr bwMode="gray">
          <a:xfrm>
            <a:off x="10651203" y="3372261"/>
            <a:ext cx="806550" cy="572469"/>
            <a:chOff x="13417923" y="3811749"/>
            <a:chExt cx="935816" cy="664219"/>
          </a:xfrm>
        </p:grpSpPr>
        <p:sp>
          <p:nvSpPr>
            <p:cNvPr id="996" name="Oval 995">
              <a:extLst>
                <a:ext uri="{FF2B5EF4-FFF2-40B4-BE49-F238E27FC236}">
                  <a16:creationId xmlns:a16="http://schemas.microsoft.com/office/drawing/2014/main" id="{86AA37A0-D001-4C1C-A8FD-DA99F5533127}"/>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997" name="Freeform: Shape 996">
              <a:extLst>
                <a:ext uri="{FF2B5EF4-FFF2-40B4-BE49-F238E27FC236}">
                  <a16:creationId xmlns:a16="http://schemas.microsoft.com/office/drawing/2014/main" id="{7AADDD81-C6D3-4D22-8AE2-58A0C4B8A669}"/>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a:solidFill>
                  <a:schemeClr val="tx1"/>
                </a:solidFill>
              </a:endParaRPr>
            </a:p>
          </p:txBody>
        </p:sp>
        <p:sp>
          <p:nvSpPr>
            <p:cNvPr id="998" name="Rectangle 997">
              <a:extLst>
                <a:ext uri="{FF2B5EF4-FFF2-40B4-BE49-F238E27FC236}">
                  <a16:creationId xmlns:a16="http://schemas.microsoft.com/office/drawing/2014/main" id="{2CE6CC72-9110-487F-84F2-04408EBAD018}"/>
                </a:ext>
              </a:extLst>
            </p:cNvPr>
            <p:cNvSpPr/>
            <p:nvPr/>
          </p:nvSpPr>
          <p:spPr bwMode="gray">
            <a:xfrm>
              <a:off x="13417923" y="4122486"/>
              <a:ext cx="935816"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Air fin heat exchanger</a:t>
              </a:r>
            </a:p>
          </p:txBody>
        </p:sp>
      </p:grpSp>
      <p:grpSp>
        <p:nvGrpSpPr>
          <p:cNvPr id="999" name="Group 998">
            <a:extLst>
              <a:ext uri="{FF2B5EF4-FFF2-40B4-BE49-F238E27FC236}">
                <a16:creationId xmlns:a16="http://schemas.microsoft.com/office/drawing/2014/main" id="{F0D3CF56-D80E-4397-AA25-5FCECFF74FCE}"/>
              </a:ext>
            </a:extLst>
          </p:cNvPr>
          <p:cNvGrpSpPr/>
          <p:nvPr/>
        </p:nvGrpSpPr>
        <p:grpSpPr bwMode="gray">
          <a:xfrm>
            <a:off x="8200390" y="5308648"/>
            <a:ext cx="1341960" cy="572469"/>
            <a:chOff x="4412023" y="5029996"/>
            <a:chExt cx="1557035" cy="664219"/>
          </a:xfrm>
        </p:grpSpPr>
        <p:sp>
          <p:nvSpPr>
            <p:cNvPr id="1000" name="Rectangle: Rounded Corners 999">
              <a:extLst>
                <a:ext uri="{FF2B5EF4-FFF2-40B4-BE49-F238E27FC236}">
                  <a16:creationId xmlns:a16="http://schemas.microsoft.com/office/drawing/2014/main" id="{FB754BBB-80AD-45D9-A002-29973FCFB811}"/>
                </a:ext>
              </a:extLst>
            </p:cNvPr>
            <p:cNvSpPr/>
            <p:nvPr/>
          </p:nvSpPr>
          <p:spPr bwMode="gray">
            <a:xfrm>
              <a:off x="4860975" y="5029996"/>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900" dirty="0">
                <a:solidFill>
                  <a:schemeClr val="tx1"/>
                </a:solidFill>
              </a:endParaRPr>
            </a:p>
          </p:txBody>
        </p:sp>
        <p:sp>
          <p:nvSpPr>
            <p:cNvPr id="1001" name="Rectangle 1000">
              <a:extLst>
                <a:ext uri="{FF2B5EF4-FFF2-40B4-BE49-F238E27FC236}">
                  <a16:creationId xmlns:a16="http://schemas.microsoft.com/office/drawing/2014/main" id="{A9C8785E-0612-4168-AE81-77A54BE803C9}"/>
                </a:ext>
              </a:extLst>
            </p:cNvPr>
            <p:cNvSpPr/>
            <p:nvPr/>
          </p:nvSpPr>
          <p:spPr bwMode="gray">
            <a:xfrm>
              <a:off x="4412023" y="5340733"/>
              <a:ext cx="1557035"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Storage tanks &amp; loading pumps</a:t>
              </a:r>
            </a:p>
          </p:txBody>
        </p:sp>
      </p:grpSp>
      <p:sp>
        <p:nvSpPr>
          <p:cNvPr id="1005" name="Rectangle 1004">
            <a:extLst>
              <a:ext uri="{FF2B5EF4-FFF2-40B4-BE49-F238E27FC236}">
                <a16:creationId xmlns:a16="http://schemas.microsoft.com/office/drawing/2014/main" id="{667F7348-9D5A-4135-93B8-7F33F2F6EB59}"/>
              </a:ext>
            </a:extLst>
          </p:cNvPr>
          <p:cNvSpPr/>
          <p:nvPr/>
        </p:nvSpPr>
        <p:spPr bwMode="gray">
          <a:xfrm>
            <a:off x="6365448" y="2382394"/>
            <a:ext cx="307989" cy="14223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Raw gas</a:t>
            </a:r>
          </a:p>
        </p:txBody>
      </p:sp>
      <p:sp>
        <p:nvSpPr>
          <p:cNvPr id="1006" name="Rectangle 1005">
            <a:extLst>
              <a:ext uri="{FF2B5EF4-FFF2-40B4-BE49-F238E27FC236}">
                <a16:creationId xmlns:a16="http://schemas.microsoft.com/office/drawing/2014/main" id="{59886F2B-97FA-4276-B499-12B455FF7F75}"/>
              </a:ext>
            </a:extLst>
          </p:cNvPr>
          <p:cNvSpPr/>
          <p:nvPr/>
        </p:nvSpPr>
        <p:spPr bwMode="gray">
          <a:xfrm>
            <a:off x="9969899" y="5122079"/>
            <a:ext cx="1701439" cy="17590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r">
              <a:spcBef>
                <a:spcPts val="300"/>
              </a:spcBef>
              <a:buClr>
                <a:srgbClr val="002897"/>
              </a:buClr>
              <a:buSzPct val="70000"/>
            </a:pPr>
            <a:r>
              <a:rPr lang="de-DE" sz="900" dirty="0">
                <a:solidFill>
                  <a:schemeClr val="tx1"/>
                </a:solidFill>
              </a:rPr>
              <a:t>Vapor from ship when loading</a:t>
            </a:r>
          </a:p>
        </p:txBody>
      </p:sp>
      <p:sp>
        <p:nvSpPr>
          <p:cNvPr id="1007" name="Rectangle 1006">
            <a:extLst>
              <a:ext uri="{FF2B5EF4-FFF2-40B4-BE49-F238E27FC236}">
                <a16:creationId xmlns:a16="http://schemas.microsoft.com/office/drawing/2014/main" id="{E032F2A7-CAD1-4CA9-99FB-AB2E35D16CDF}"/>
              </a:ext>
            </a:extLst>
          </p:cNvPr>
          <p:cNvSpPr/>
          <p:nvPr/>
        </p:nvSpPr>
        <p:spPr bwMode="gray">
          <a:xfrm>
            <a:off x="10627125" y="5666632"/>
            <a:ext cx="1044214" cy="14223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r">
              <a:spcBef>
                <a:spcPts val="300"/>
              </a:spcBef>
              <a:buClr>
                <a:srgbClr val="002897"/>
              </a:buClr>
              <a:buSzPct val="70000"/>
            </a:pPr>
            <a:r>
              <a:rPr lang="de-DE" sz="900" dirty="0">
                <a:solidFill>
                  <a:schemeClr val="tx1"/>
                </a:solidFill>
              </a:rPr>
              <a:t>To leading facility</a:t>
            </a:r>
          </a:p>
        </p:txBody>
      </p:sp>
      <p:cxnSp>
        <p:nvCxnSpPr>
          <p:cNvPr id="1018" name="Connector: Elbow 1017">
            <a:extLst>
              <a:ext uri="{FF2B5EF4-FFF2-40B4-BE49-F238E27FC236}">
                <a16:creationId xmlns:a16="http://schemas.microsoft.com/office/drawing/2014/main" id="{E7B6B908-5550-4437-A463-55A2FA37C95F}"/>
              </a:ext>
            </a:extLst>
          </p:cNvPr>
          <p:cNvCxnSpPr>
            <a:cxnSpLocks/>
            <a:stCxn id="1005" idx="3"/>
            <a:endCxn id="985" idx="11"/>
          </p:cNvCxnSpPr>
          <p:nvPr/>
        </p:nvCxnSpPr>
        <p:spPr bwMode="gray">
          <a:xfrm>
            <a:off x="6673437" y="2453511"/>
            <a:ext cx="272077" cy="79187"/>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30" name="Connector: Elbow 1029">
            <a:extLst>
              <a:ext uri="{FF2B5EF4-FFF2-40B4-BE49-F238E27FC236}">
                <a16:creationId xmlns:a16="http://schemas.microsoft.com/office/drawing/2014/main" id="{07335EFA-E875-432B-B2BE-BDAF17FBDE37}"/>
              </a:ext>
            </a:extLst>
          </p:cNvPr>
          <p:cNvCxnSpPr>
            <a:cxnSpLocks/>
            <a:stCxn id="1063" idx="0"/>
            <a:endCxn id="978" idx="1"/>
          </p:cNvCxnSpPr>
          <p:nvPr/>
        </p:nvCxnSpPr>
        <p:spPr bwMode="gray">
          <a:xfrm rot="16200000" flipH="1">
            <a:off x="7279717" y="2012129"/>
            <a:ext cx="449204" cy="814579"/>
          </a:xfrm>
          <a:prstGeom prst="bentConnector4">
            <a:avLst>
              <a:gd name="adj1" fmla="val -16082"/>
              <a:gd name="adj2" fmla="val 5095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48" name="Connector: Elbow 1047">
            <a:extLst>
              <a:ext uri="{FF2B5EF4-FFF2-40B4-BE49-F238E27FC236}">
                <a16:creationId xmlns:a16="http://schemas.microsoft.com/office/drawing/2014/main" id="{D8C49103-ABC5-4688-8590-EC0DFCCD00AF}"/>
              </a:ext>
            </a:extLst>
          </p:cNvPr>
          <p:cNvCxnSpPr>
            <a:stCxn id="968" idx="0"/>
            <a:endCxn id="952" idx="6"/>
          </p:cNvCxnSpPr>
          <p:nvPr/>
        </p:nvCxnSpPr>
        <p:spPr bwMode="gray">
          <a:xfrm rot="16200000" flipH="1">
            <a:off x="8180712" y="2054358"/>
            <a:ext cx="255265" cy="530909"/>
          </a:xfrm>
          <a:prstGeom prst="bentConnector4">
            <a:avLst>
              <a:gd name="adj1" fmla="val -45568"/>
              <a:gd name="adj2" fmla="val 6235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49" name="Connector: Elbow 1048">
            <a:extLst>
              <a:ext uri="{FF2B5EF4-FFF2-40B4-BE49-F238E27FC236}">
                <a16:creationId xmlns:a16="http://schemas.microsoft.com/office/drawing/2014/main" id="{B027A1C4-7F3E-4C17-A9FC-5D601B4C8B73}"/>
              </a:ext>
            </a:extLst>
          </p:cNvPr>
          <p:cNvCxnSpPr>
            <a:cxnSpLocks/>
            <a:stCxn id="952" idx="2"/>
            <a:endCxn id="928" idx="12"/>
          </p:cNvCxnSpPr>
          <p:nvPr/>
        </p:nvCxnSpPr>
        <p:spPr bwMode="gray">
          <a:xfrm flipV="1">
            <a:off x="8840634" y="2420070"/>
            <a:ext cx="369266" cy="27375"/>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53" name="Connector: Elbow 1052">
            <a:extLst>
              <a:ext uri="{FF2B5EF4-FFF2-40B4-BE49-F238E27FC236}">
                <a16:creationId xmlns:a16="http://schemas.microsoft.com/office/drawing/2014/main" id="{49EFC4A7-FFCC-4B87-854E-2406A3A348CE}"/>
              </a:ext>
            </a:extLst>
          </p:cNvPr>
          <p:cNvCxnSpPr>
            <a:cxnSpLocks/>
            <a:endCxn id="926" idx="1"/>
          </p:cNvCxnSpPr>
          <p:nvPr/>
        </p:nvCxnSpPr>
        <p:spPr bwMode="gray">
          <a:xfrm rot="5400000" flipH="1" flipV="1">
            <a:off x="9728872" y="1920455"/>
            <a:ext cx="10946" cy="548722"/>
          </a:xfrm>
          <a:prstGeom prst="bentConnector3">
            <a:avLst>
              <a:gd name="adj1" fmla="val 1137658"/>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66" name="Connector: Elbow 1065">
            <a:extLst>
              <a:ext uri="{FF2B5EF4-FFF2-40B4-BE49-F238E27FC236}">
                <a16:creationId xmlns:a16="http://schemas.microsoft.com/office/drawing/2014/main" id="{6589FF45-D6A0-4BA5-9E4C-36AF09189488}"/>
              </a:ext>
            </a:extLst>
          </p:cNvPr>
          <p:cNvCxnSpPr>
            <a:cxnSpLocks/>
            <a:stCxn id="926" idx="0"/>
            <a:endCxn id="910" idx="1"/>
          </p:cNvCxnSpPr>
          <p:nvPr/>
        </p:nvCxnSpPr>
        <p:spPr bwMode="gray">
          <a:xfrm flipV="1">
            <a:off x="10135849" y="2328722"/>
            <a:ext cx="253412" cy="150136"/>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71" name="Straight Connector 1070">
            <a:extLst>
              <a:ext uri="{FF2B5EF4-FFF2-40B4-BE49-F238E27FC236}">
                <a16:creationId xmlns:a16="http://schemas.microsoft.com/office/drawing/2014/main" id="{C783C4FD-0A28-4E84-BE15-5EA8C8698BF7}"/>
              </a:ext>
            </a:extLst>
          </p:cNvPr>
          <p:cNvCxnSpPr>
            <a:stCxn id="910" idx="3"/>
            <a:endCxn id="936" idx="1"/>
          </p:cNvCxnSpPr>
          <p:nvPr/>
        </p:nvCxnSpPr>
        <p:spPr bwMode="gray">
          <a:xfrm>
            <a:off x="10751565" y="2328722"/>
            <a:ext cx="258352"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72" name="Connector: Elbow 1071">
            <a:extLst>
              <a:ext uri="{FF2B5EF4-FFF2-40B4-BE49-F238E27FC236}">
                <a16:creationId xmlns:a16="http://schemas.microsoft.com/office/drawing/2014/main" id="{DA93EDF3-A6C6-48EC-A419-96C053872623}"/>
              </a:ext>
            </a:extLst>
          </p:cNvPr>
          <p:cNvCxnSpPr>
            <a:cxnSpLocks/>
            <a:stCxn id="936" idx="3"/>
            <a:endCxn id="1119" idx="3"/>
          </p:cNvCxnSpPr>
          <p:nvPr/>
        </p:nvCxnSpPr>
        <p:spPr bwMode="gray">
          <a:xfrm flipH="1">
            <a:off x="10417382" y="2328722"/>
            <a:ext cx="954839" cy="2122469"/>
          </a:xfrm>
          <a:prstGeom prst="bentConnector3">
            <a:avLst>
              <a:gd name="adj1" fmla="val -2394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77" name="Straight Connector 1076">
            <a:extLst>
              <a:ext uri="{FF2B5EF4-FFF2-40B4-BE49-F238E27FC236}">
                <a16:creationId xmlns:a16="http://schemas.microsoft.com/office/drawing/2014/main" id="{A3D26573-D74C-43E9-8362-EB980839F9DB}"/>
              </a:ext>
            </a:extLst>
          </p:cNvPr>
          <p:cNvCxnSpPr>
            <a:cxnSpLocks/>
            <a:stCxn id="1123" idx="1"/>
            <a:endCxn id="1131" idx="3"/>
          </p:cNvCxnSpPr>
          <p:nvPr/>
        </p:nvCxnSpPr>
        <p:spPr bwMode="gray">
          <a:xfrm flipH="1">
            <a:off x="9030340" y="4451191"/>
            <a:ext cx="1136007"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85" name="Connector: Elbow 1084">
            <a:extLst>
              <a:ext uri="{FF2B5EF4-FFF2-40B4-BE49-F238E27FC236}">
                <a16:creationId xmlns:a16="http://schemas.microsoft.com/office/drawing/2014/main" id="{C6E3B531-F396-4768-A0DE-8D02891AC056}"/>
              </a:ext>
            </a:extLst>
          </p:cNvPr>
          <p:cNvCxnSpPr>
            <a:cxnSpLocks/>
            <a:stCxn id="1136" idx="1"/>
            <a:endCxn id="1000" idx="1"/>
          </p:cNvCxnSpPr>
          <p:nvPr/>
        </p:nvCxnSpPr>
        <p:spPr bwMode="gray">
          <a:xfrm rot="10800000" flipH="1" flipV="1">
            <a:off x="7498604" y="4451191"/>
            <a:ext cx="1088724" cy="990072"/>
          </a:xfrm>
          <a:prstGeom prst="bentConnector3">
            <a:avLst>
              <a:gd name="adj1" fmla="val -6756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097" name="Connector: Elbow 1096">
            <a:extLst>
              <a:ext uri="{FF2B5EF4-FFF2-40B4-BE49-F238E27FC236}">
                <a16:creationId xmlns:a16="http://schemas.microsoft.com/office/drawing/2014/main" id="{89E79F58-47AC-4083-BFC6-16B3800578A6}"/>
              </a:ext>
            </a:extLst>
          </p:cNvPr>
          <p:cNvCxnSpPr>
            <a:cxnSpLocks/>
            <a:stCxn id="1000" idx="3"/>
            <a:endCxn id="1007" idx="1"/>
          </p:cNvCxnSpPr>
          <p:nvPr/>
        </p:nvCxnSpPr>
        <p:spPr bwMode="gray">
          <a:xfrm>
            <a:off x="9155412" y="5441263"/>
            <a:ext cx="1471713" cy="296486"/>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00" name="Connector: Elbow 1099">
            <a:extLst>
              <a:ext uri="{FF2B5EF4-FFF2-40B4-BE49-F238E27FC236}">
                <a16:creationId xmlns:a16="http://schemas.microsoft.com/office/drawing/2014/main" id="{B83A548F-FF34-4712-B823-47E8BB60A530}"/>
              </a:ext>
            </a:extLst>
          </p:cNvPr>
          <p:cNvCxnSpPr>
            <a:cxnSpLocks/>
            <a:stCxn id="885" idx="0"/>
            <a:endCxn id="901" idx="2"/>
          </p:cNvCxnSpPr>
          <p:nvPr/>
        </p:nvCxnSpPr>
        <p:spPr bwMode="gray">
          <a:xfrm rot="16200000" flipV="1">
            <a:off x="6968222" y="3610190"/>
            <a:ext cx="1112555" cy="199249"/>
          </a:xfrm>
          <a:prstGeom prst="bentConnector4">
            <a:avLst>
              <a:gd name="adj1" fmla="val 45356"/>
              <a:gd name="adj2" fmla="val 257610"/>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05" name="Straight Arrow Connector 1104">
            <a:extLst>
              <a:ext uri="{FF2B5EF4-FFF2-40B4-BE49-F238E27FC236}">
                <a16:creationId xmlns:a16="http://schemas.microsoft.com/office/drawing/2014/main" id="{4D06EAC2-4E2E-46EE-9E99-4CD5F1AEE9F5}"/>
              </a:ext>
            </a:extLst>
          </p:cNvPr>
          <p:cNvCxnSpPr>
            <a:cxnSpLocks/>
            <a:stCxn id="901" idx="0"/>
            <a:endCxn id="989" idx="0"/>
          </p:cNvCxnSpPr>
          <p:nvPr/>
        </p:nvCxnSpPr>
        <p:spPr bwMode="gray">
          <a:xfrm flipV="1">
            <a:off x="7631539" y="3150848"/>
            <a:ext cx="456206" cy="2689"/>
          </a:xfrm>
          <a:prstGeom prst="straightConnector1">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07" name="Straight Arrow Connector 1106">
            <a:extLst>
              <a:ext uri="{FF2B5EF4-FFF2-40B4-BE49-F238E27FC236}">
                <a16:creationId xmlns:a16="http://schemas.microsoft.com/office/drawing/2014/main" id="{D957C0CB-6C7F-4B1C-81BF-06AB5661BA69}"/>
              </a:ext>
            </a:extLst>
          </p:cNvPr>
          <p:cNvCxnSpPr>
            <a:cxnSpLocks/>
            <a:stCxn id="904" idx="0"/>
            <a:endCxn id="993" idx="0"/>
          </p:cNvCxnSpPr>
          <p:nvPr/>
        </p:nvCxnSpPr>
        <p:spPr bwMode="gray">
          <a:xfrm flipV="1">
            <a:off x="9102645" y="3293694"/>
            <a:ext cx="407805" cy="2687"/>
          </a:xfrm>
          <a:prstGeom prst="straightConnector1">
            <a:avLst/>
          </a:prstGeom>
          <a:ln w="12700">
            <a:solidFill>
              <a:schemeClr val="tx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12" name="Connector: Elbow 1111">
            <a:extLst>
              <a:ext uri="{FF2B5EF4-FFF2-40B4-BE49-F238E27FC236}">
                <a16:creationId xmlns:a16="http://schemas.microsoft.com/office/drawing/2014/main" id="{FDB4FFA4-484B-443B-9DC7-A6BEA2B92070}"/>
              </a:ext>
            </a:extLst>
          </p:cNvPr>
          <p:cNvCxnSpPr>
            <a:cxnSpLocks/>
            <a:stCxn id="890" idx="0"/>
            <a:endCxn id="904" idx="2"/>
          </p:cNvCxnSpPr>
          <p:nvPr/>
        </p:nvCxnSpPr>
        <p:spPr bwMode="gray">
          <a:xfrm rot="16200000" flipV="1">
            <a:off x="8415546" y="3776817"/>
            <a:ext cx="969712" cy="8841"/>
          </a:xfrm>
          <a:prstGeom prst="bentConnector4">
            <a:avLst>
              <a:gd name="adj1" fmla="val 44672"/>
              <a:gd name="adj2" fmla="val 3323866"/>
            </a:avLst>
          </a:prstGeom>
          <a:ln w="12700">
            <a:solidFill>
              <a:schemeClr val="tx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42" name="Straight Connector 1141">
            <a:extLst>
              <a:ext uri="{FF2B5EF4-FFF2-40B4-BE49-F238E27FC236}">
                <a16:creationId xmlns:a16="http://schemas.microsoft.com/office/drawing/2014/main" id="{7B36911F-8AE4-40D3-B20F-F55746BBCC6D}"/>
              </a:ext>
            </a:extLst>
          </p:cNvPr>
          <p:cNvCxnSpPr>
            <a:cxnSpLocks/>
            <a:stCxn id="1122" idx="1"/>
            <a:endCxn id="1130" idx="3"/>
          </p:cNvCxnSpPr>
          <p:nvPr/>
        </p:nvCxnSpPr>
        <p:spPr bwMode="gray">
          <a:xfrm flipH="1">
            <a:off x="9030340" y="4346112"/>
            <a:ext cx="1136007" cy="0"/>
          </a:xfrm>
          <a:prstGeom prst="line">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44" name="Straight Connector 1143">
            <a:extLst>
              <a:ext uri="{FF2B5EF4-FFF2-40B4-BE49-F238E27FC236}">
                <a16:creationId xmlns:a16="http://schemas.microsoft.com/office/drawing/2014/main" id="{7AE9BCAA-1052-4365-9D3E-83C9BB34258D}"/>
              </a:ext>
            </a:extLst>
          </p:cNvPr>
          <p:cNvCxnSpPr>
            <a:cxnSpLocks/>
            <a:stCxn id="1128" idx="1"/>
            <a:endCxn id="1137" idx="3"/>
          </p:cNvCxnSpPr>
          <p:nvPr/>
        </p:nvCxnSpPr>
        <p:spPr bwMode="gray">
          <a:xfrm flipH="1">
            <a:off x="7749640" y="4346112"/>
            <a:ext cx="1029663" cy="0"/>
          </a:xfrm>
          <a:prstGeom prst="line">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55" name="Connector: Elbow 1154">
            <a:extLst>
              <a:ext uri="{FF2B5EF4-FFF2-40B4-BE49-F238E27FC236}">
                <a16:creationId xmlns:a16="http://schemas.microsoft.com/office/drawing/2014/main" id="{812E0066-BA55-40D3-99B8-B0E6229982F2}"/>
              </a:ext>
            </a:extLst>
          </p:cNvPr>
          <p:cNvCxnSpPr>
            <a:cxnSpLocks/>
            <a:stCxn id="989" idx="5"/>
            <a:endCxn id="1118" idx="3"/>
          </p:cNvCxnSpPr>
          <p:nvPr/>
        </p:nvCxnSpPr>
        <p:spPr bwMode="gray">
          <a:xfrm>
            <a:off x="8354579" y="3150511"/>
            <a:ext cx="2062803" cy="1195601"/>
          </a:xfrm>
          <a:prstGeom prst="bentConnector3">
            <a:avLst>
              <a:gd name="adj1" fmla="val 150618"/>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69" name="Connector: Elbow 1168">
            <a:extLst>
              <a:ext uri="{FF2B5EF4-FFF2-40B4-BE49-F238E27FC236}">
                <a16:creationId xmlns:a16="http://schemas.microsoft.com/office/drawing/2014/main" id="{1E9D55DE-5000-4222-BC32-2235BA65CA3B}"/>
              </a:ext>
            </a:extLst>
          </p:cNvPr>
          <p:cNvCxnSpPr>
            <a:cxnSpLocks/>
            <a:stCxn id="993" idx="5"/>
            <a:endCxn id="894" idx="6"/>
          </p:cNvCxnSpPr>
          <p:nvPr/>
        </p:nvCxnSpPr>
        <p:spPr bwMode="gray">
          <a:xfrm>
            <a:off x="9777285" y="3293356"/>
            <a:ext cx="647997" cy="1106644"/>
          </a:xfrm>
          <a:prstGeom prst="bentConnector3">
            <a:avLst>
              <a:gd name="adj1" fmla="val 270955"/>
            </a:avLst>
          </a:prstGeom>
          <a:ln w="12700">
            <a:solidFill>
              <a:schemeClr val="tx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1173" name="Group 1172">
            <a:extLst>
              <a:ext uri="{FF2B5EF4-FFF2-40B4-BE49-F238E27FC236}">
                <a16:creationId xmlns:a16="http://schemas.microsoft.com/office/drawing/2014/main" id="{1AFC8E4B-822E-4D01-9C30-D09B9513B8F6}"/>
              </a:ext>
            </a:extLst>
          </p:cNvPr>
          <p:cNvGrpSpPr/>
          <p:nvPr/>
        </p:nvGrpSpPr>
        <p:grpSpPr bwMode="gray">
          <a:xfrm>
            <a:off x="10770437" y="4540197"/>
            <a:ext cx="568083" cy="572469"/>
            <a:chOff x="3587672" y="4910525"/>
            <a:chExt cx="659130" cy="664219"/>
          </a:xfrm>
        </p:grpSpPr>
        <p:sp>
          <p:nvSpPr>
            <p:cNvPr id="1174" name="Rectangle: Rounded Corners 1173">
              <a:extLst>
                <a:ext uri="{FF2B5EF4-FFF2-40B4-BE49-F238E27FC236}">
                  <a16:creationId xmlns:a16="http://schemas.microsoft.com/office/drawing/2014/main" id="{49111FDA-B7CB-4626-A753-1FFB0BE84E55}"/>
                </a:ext>
              </a:extLst>
            </p:cNvPr>
            <p:cNvSpPr/>
            <p:nvPr/>
          </p:nvSpPr>
          <p:spPr bwMode="gray">
            <a:xfrm>
              <a:off x="3587672" y="4910525"/>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900" dirty="0">
                <a:solidFill>
                  <a:schemeClr val="tx1"/>
                </a:solidFill>
              </a:endParaRPr>
            </a:p>
          </p:txBody>
        </p:sp>
        <p:sp>
          <p:nvSpPr>
            <p:cNvPr id="1175" name="Rectangle 1174">
              <a:extLst>
                <a:ext uri="{FF2B5EF4-FFF2-40B4-BE49-F238E27FC236}">
                  <a16:creationId xmlns:a16="http://schemas.microsoft.com/office/drawing/2014/main" id="{1BC296BF-F449-4F30-BD8F-A0764B6B5BCF}"/>
                </a:ext>
              </a:extLst>
            </p:cNvPr>
            <p:cNvSpPr/>
            <p:nvPr/>
          </p:nvSpPr>
          <p:spPr bwMode="gray">
            <a:xfrm>
              <a:off x="3593226" y="5221262"/>
              <a:ext cx="648022"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Propane surge</a:t>
              </a:r>
            </a:p>
          </p:txBody>
        </p:sp>
      </p:grpSp>
      <p:grpSp>
        <p:nvGrpSpPr>
          <p:cNvPr id="1176" name="Group 1175">
            <a:extLst>
              <a:ext uri="{FF2B5EF4-FFF2-40B4-BE49-F238E27FC236}">
                <a16:creationId xmlns:a16="http://schemas.microsoft.com/office/drawing/2014/main" id="{7BB82A68-3453-4E1B-9426-2F0CBC4463EE}"/>
              </a:ext>
            </a:extLst>
          </p:cNvPr>
          <p:cNvGrpSpPr/>
          <p:nvPr/>
        </p:nvGrpSpPr>
        <p:grpSpPr bwMode="gray">
          <a:xfrm>
            <a:off x="9297663" y="4540197"/>
            <a:ext cx="589526" cy="572469"/>
            <a:chOff x="3575232" y="4910525"/>
            <a:chExt cx="684010" cy="664219"/>
          </a:xfrm>
        </p:grpSpPr>
        <p:sp>
          <p:nvSpPr>
            <p:cNvPr id="1177" name="Rectangle: Rounded Corners 1176">
              <a:extLst>
                <a:ext uri="{FF2B5EF4-FFF2-40B4-BE49-F238E27FC236}">
                  <a16:creationId xmlns:a16="http://schemas.microsoft.com/office/drawing/2014/main" id="{2031E468-C2A8-4EDB-9B3C-6A72E107D896}"/>
                </a:ext>
              </a:extLst>
            </p:cNvPr>
            <p:cNvSpPr/>
            <p:nvPr/>
          </p:nvSpPr>
          <p:spPr bwMode="gray">
            <a:xfrm>
              <a:off x="3587672" y="4910525"/>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900" dirty="0">
                <a:solidFill>
                  <a:schemeClr val="tx1"/>
                </a:solidFill>
              </a:endParaRPr>
            </a:p>
          </p:txBody>
        </p:sp>
        <p:sp>
          <p:nvSpPr>
            <p:cNvPr id="1178" name="Rectangle 1177">
              <a:extLst>
                <a:ext uri="{FF2B5EF4-FFF2-40B4-BE49-F238E27FC236}">
                  <a16:creationId xmlns:a16="http://schemas.microsoft.com/office/drawing/2014/main" id="{BC7C285E-326C-460D-AA86-0E22FC4289AA}"/>
                </a:ext>
              </a:extLst>
            </p:cNvPr>
            <p:cNvSpPr/>
            <p:nvPr/>
          </p:nvSpPr>
          <p:spPr bwMode="gray">
            <a:xfrm>
              <a:off x="3575232" y="5221262"/>
              <a:ext cx="684010"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Ethylene surge</a:t>
              </a:r>
            </a:p>
          </p:txBody>
        </p:sp>
      </p:grpSp>
      <p:cxnSp>
        <p:nvCxnSpPr>
          <p:cNvPr id="1188" name="Connector: Elbow 1187">
            <a:extLst>
              <a:ext uri="{FF2B5EF4-FFF2-40B4-BE49-F238E27FC236}">
                <a16:creationId xmlns:a16="http://schemas.microsoft.com/office/drawing/2014/main" id="{70BFD597-AA7C-4BF9-B79D-D9AFD724A6F9}"/>
              </a:ext>
            </a:extLst>
          </p:cNvPr>
          <p:cNvCxnSpPr>
            <a:stCxn id="894" idx="0"/>
            <a:endCxn id="907" idx="2"/>
          </p:cNvCxnSpPr>
          <p:nvPr/>
        </p:nvCxnSpPr>
        <p:spPr bwMode="gray">
          <a:xfrm rot="16200000" flipV="1">
            <a:off x="9907482" y="3881709"/>
            <a:ext cx="759926" cy="8841"/>
          </a:xfrm>
          <a:prstGeom prst="bentConnector4">
            <a:avLst>
              <a:gd name="adj1" fmla="val 31102"/>
              <a:gd name="adj2" fmla="val 3035494"/>
            </a:avLst>
          </a:prstGeom>
          <a:ln w="12700">
            <a:solidFill>
              <a:schemeClr val="accent3"/>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190" name="Connector: Elbow 1189">
            <a:extLst>
              <a:ext uri="{FF2B5EF4-FFF2-40B4-BE49-F238E27FC236}">
                <a16:creationId xmlns:a16="http://schemas.microsoft.com/office/drawing/2014/main" id="{66E65A4E-4C90-408F-AFDF-2406664108DD}"/>
              </a:ext>
            </a:extLst>
          </p:cNvPr>
          <p:cNvCxnSpPr>
            <a:cxnSpLocks/>
            <a:stCxn id="1175" idx="1"/>
            <a:endCxn id="896" idx="2"/>
          </p:cNvCxnSpPr>
          <p:nvPr/>
        </p:nvCxnSpPr>
        <p:spPr bwMode="gray">
          <a:xfrm rot="10800000">
            <a:off x="10291864" y="4838561"/>
            <a:ext cx="483360" cy="121778"/>
          </a:xfrm>
          <a:prstGeom prst="bentConnector2">
            <a:avLst/>
          </a:prstGeom>
          <a:ln w="12700">
            <a:solidFill>
              <a:schemeClr val="accent3"/>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00" name="Straight Arrow Connector 1199">
            <a:extLst>
              <a:ext uri="{FF2B5EF4-FFF2-40B4-BE49-F238E27FC236}">
                <a16:creationId xmlns:a16="http://schemas.microsoft.com/office/drawing/2014/main" id="{02C81FFC-98CC-4066-ABA5-F2F9AF8FE63C}"/>
              </a:ext>
            </a:extLst>
          </p:cNvPr>
          <p:cNvCxnSpPr>
            <a:stCxn id="907" idx="0"/>
            <a:endCxn id="997" idx="0"/>
          </p:cNvCxnSpPr>
          <p:nvPr/>
        </p:nvCxnSpPr>
        <p:spPr bwMode="gray">
          <a:xfrm flipV="1">
            <a:off x="10489688" y="3503479"/>
            <a:ext cx="431373" cy="2687"/>
          </a:xfrm>
          <a:prstGeom prst="straightConnector1">
            <a:avLst/>
          </a:prstGeom>
          <a:ln w="12700">
            <a:solidFill>
              <a:schemeClr val="accent3"/>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03" name="Connector: Elbow 1202">
            <a:extLst>
              <a:ext uri="{FF2B5EF4-FFF2-40B4-BE49-F238E27FC236}">
                <a16:creationId xmlns:a16="http://schemas.microsoft.com/office/drawing/2014/main" id="{FDD0DE38-DECE-4590-9617-953A141C68A8}"/>
              </a:ext>
            </a:extLst>
          </p:cNvPr>
          <p:cNvCxnSpPr>
            <a:cxnSpLocks/>
            <a:stCxn id="894" idx="2"/>
            <a:endCxn id="1177" idx="0"/>
          </p:cNvCxnSpPr>
          <p:nvPr/>
        </p:nvCxnSpPr>
        <p:spPr bwMode="gray">
          <a:xfrm rot="10800000" flipV="1">
            <a:off x="9592427" y="4399999"/>
            <a:ext cx="566020" cy="140198"/>
          </a:xfrm>
          <a:prstGeom prst="bentConnector2">
            <a:avLst/>
          </a:prstGeom>
          <a:ln w="12700">
            <a:solidFill>
              <a:schemeClr val="tx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07" name="Straight Connector 1206">
            <a:extLst>
              <a:ext uri="{FF2B5EF4-FFF2-40B4-BE49-F238E27FC236}">
                <a16:creationId xmlns:a16="http://schemas.microsoft.com/office/drawing/2014/main" id="{9D7930BB-C274-4BFE-A4A2-17C3B322F1F4}"/>
              </a:ext>
            </a:extLst>
          </p:cNvPr>
          <p:cNvCxnSpPr>
            <a:stCxn id="998" idx="2"/>
            <a:endCxn id="1174" idx="0"/>
          </p:cNvCxnSpPr>
          <p:nvPr/>
        </p:nvCxnSpPr>
        <p:spPr bwMode="gray">
          <a:xfrm>
            <a:off x="11054478" y="3944730"/>
            <a:ext cx="1" cy="595467"/>
          </a:xfrm>
          <a:prstGeom prst="line">
            <a:avLst/>
          </a:prstGeom>
          <a:ln w="12700">
            <a:solidFill>
              <a:schemeClr val="accent3"/>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08" name="Connector: Elbow 1207">
            <a:extLst>
              <a:ext uri="{FF2B5EF4-FFF2-40B4-BE49-F238E27FC236}">
                <a16:creationId xmlns:a16="http://schemas.microsoft.com/office/drawing/2014/main" id="{A6B29BDA-89D2-4A76-9936-F89608033872}"/>
              </a:ext>
            </a:extLst>
          </p:cNvPr>
          <p:cNvCxnSpPr>
            <a:cxnSpLocks/>
            <a:stCxn id="1178" idx="1"/>
            <a:endCxn id="892" idx="2"/>
          </p:cNvCxnSpPr>
          <p:nvPr/>
        </p:nvCxnSpPr>
        <p:spPr bwMode="gray">
          <a:xfrm rot="10800000">
            <a:off x="8904823" y="4838561"/>
            <a:ext cx="392840" cy="121778"/>
          </a:xfrm>
          <a:prstGeom prst="bentConnector2">
            <a:avLst/>
          </a:prstGeom>
          <a:ln w="12700">
            <a:solidFill>
              <a:schemeClr val="tx1"/>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13" name="Connector: Elbow 1212">
            <a:extLst>
              <a:ext uri="{FF2B5EF4-FFF2-40B4-BE49-F238E27FC236}">
                <a16:creationId xmlns:a16="http://schemas.microsoft.com/office/drawing/2014/main" id="{249407C5-3116-46DC-B80D-8B6CB6F26C5B}"/>
              </a:ext>
            </a:extLst>
          </p:cNvPr>
          <p:cNvCxnSpPr>
            <a:cxnSpLocks/>
            <a:endCxn id="1135" idx="1"/>
          </p:cNvCxnSpPr>
          <p:nvPr/>
        </p:nvCxnSpPr>
        <p:spPr bwMode="gray">
          <a:xfrm rot="10800000">
            <a:off x="7498605" y="4346113"/>
            <a:ext cx="2468535" cy="863921"/>
          </a:xfrm>
          <a:prstGeom prst="bentConnector3">
            <a:avLst>
              <a:gd name="adj1" fmla="val 126342"/>
            </a:avLst>
          </a:prstGeom>
          <a:ln w="12700">
            <a:solidFill>
              <a:schemeClr val="bg2">
                <a:lumMod val="40000"/>
                <a:lumOff val="60000"/>
              </a:schemeClr>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228" name="Straight Connector 1227">
            <a:extLst>
              <a:ext uri="{FF2B5EF4-FFF2-40B4-BE49-F238E27FC236}">
                <a16:creationId xmlns:a16="http://schemas.microsoft.com/office/drawing/2014/main" id="{AE3DF026-2285-4767-8866-EC17584362EF}"/>
              </a:ext>
            </a:extLst>
          </p:cNvPr>
          <p:cNvCxnSpPr>
            <a:cxnSpLocks/>
            <a:endCxn id="1000" idx="0"/>
          </p:cNvCxnSpPr>
          <p:nvPr/>
        </p:nvCxnSpPr>
        <p:spPr bwMode="gray">
          <a:xfrm>
            <a:off x="8871370" y="5210033"/>
            <a:ext cx="0" cy="98615"/>
          </a:xfrm>
          <a:prstGeom prst="line">
            <a:avLst/>
          </a:prstGeom>
          <a:ln w="12700">
            <a:solidFill>
              <a:schemeClr val="bg2">
                <a:lumMod val="40000"/>
                <a:lumOff val="60000"/>
              </a:schemeClr>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1241" name="Rectangle 1240">
            <a:extLst>
              <a:ext uri="{FF2B5EF4-FFF2-40B4-BE49-F238E27FC236}">
                <a16:creationId xmlns:a16="http://schemas.microsoft.com/office/drawing/2014/main" id="{5E9FDA41-0AC8-48AF-94BF-00241701442A}"/>
              </a:ext>
            </a:extLst>
          </p:cNvPr>
          <p:cNvSpPr/>
          <p:nvPr/>
        </p:nvSpPr>
        <p:spPr bwMode="gray">
          <a:xfrm>
            <a:off x="6931903" y="1967944"/>
            <a:ext cx="738842" cy="14223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Inlet meter</a:t>
            </a:r>
          </a:p>
        </p:txBody>
      </p:sp>
      <p:sp>
        <p:nvSpPr>
          <p:cNvPr id="1239" name="Oval 1238">
            <a:extLst>
              <a:ext uri="{FF2B5EF4-FFF2-40B4-BE49-F238E27FC236}">
                <a16:creationId xmlns:a16="http://schemas.microsoft.com/office/drawing/2014/main" id="{F9448376-5D71-4A68-BA2D-42A26FE9EF6B}"/>
              </a:ext>
            </a:extLst>
          </p:cNvPr>
          <p:cNvSpPr/>
          <p:nvPr/>
        </p:nvSpPr>
        <p:spPr bwMode="gray">
          <a:xfrm>
            <a:off x="7278464" y="2103557"/>
            <a:ext cx="45719" cy="4571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275" name="Rectangle 1274">
            <a:extLst>
              <a:ext uri="{FF2B5EF4-FFF2-40B4-BE49-F238E27FC236}">
                <a16:creationId xmlns:a16="http://schemas.microsoft.com/office/drawing/2014/main" id="{8B982270-F603-4095-B61D-7A3DE848A621}"/>
              </a:ext>
            </a:extLst>
          </p:cNvPr>
          <p:cNvSpPr/>
          <p:nvPr/>
        </p:nvSpPr>
        <p:spPr bwMode="gray">
          <a:xfrm>
            <a:off x="7342007" y="4943639"/>
            <a:ext cx="575304" cy="14223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NGL/C</a:t>
            </a:r>
            <a:r>
              <a:rPr lang="de-DE" sz="900" baseline="-25000" dirty="0">
                <a:solidFill>
                  <a:schemeClr val="tx1"/>
                </a:solidFill>
              </a:rPr>
              <a:t>2</a:t>
            </a:r>
            <a:r>
              <a:rPr lang="de-DE" sz="900" dirty="0">
                <a:solidFill>
                  <a:schemeClr val="tx1"/>
                </a:solidFill>
              </a:rPr>
              <a:t>+</a:t>
            </a:r>
          </a:p>
        </p:txBody>
      </p:sp>
      <p:sp>
        <p:nvSpPr>
          <p:cNvPr id="1276" name="Rectangle: Rounded Corners 1275">
            <a:extLst>
              <a:ext uri="{FF2B5EF4-FFF2-40B4-BE49-F238E27FC236}">
                <a16:creationId xmlns:a16="http://schemas.microsoft.com/office/drawing/2014/main" id="{31D9A212-7920-4EE0-9294-246042B00D50}"/>
              </a:ext>
            </a:extLst>
          </p:cNvPr>
          <p:cNvSpPr/>
          <p:nvPr/>
        </p:nvSpPr>
        <p:spPr bwMode="gray">
          <a:xfrm rot="5400000">
            <a:off x="8050412" y="4617656"/>
            <a:ext cx="420144" cy="265230"/>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900" dirty="0">
              <a:solidFill>
                <a:schemeClr val="tx1"/>
              </a:solidFill>
            </a:endParaRPr>
          </a:p>
        </p:txBody>
      </p:sp>
      <p:cxnSp>
        <p:nvCxnSpPr>
          <p:cNvPr id="1281" name="Connector: Elbow 1280">
            <a:extLst>
              <a:ext uri="{FF2B5EF4-FFF2-40B4-BE49-F238E27FC236}">
                <a16:creationId xmlns:a16="http://schemas.microsoft.com/office/drawing/2014/main" id="{B452C47A-8BCE-4E5F-8F2C-B8DBA09F8E76}"/>
              </a:ext>
            </a:extLst>
          </p:cNvPr>
          <p:cNvCxnSpPr>
            <a:cxnSpLocks/>
            <a:stCxn id="1129" idx="1"/>
            <a:endCxn id="1276" idx="1"/>
          </p:cNvCxnSpPr>
          <p:nvPr/>
        </p:nvCxnSpPr>
        <p:spPr bwMode="gray">
          <a:xfrm rot="10800000" flipV="1">
            <a:off x="8260485" y="4451109"/>
            <a:ext cx="518819" cy="89089"/>
          </a:xfrm>
          <a:prstGeom prst="bentConnector2">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1286" name="Connector: Elbow 1285">
            <a:extLst>
              <a:ext uri="{FF2B5EF4-FFF2-40B4-BE49-F238E27FC236}">
                <a16:creationId xmlns:a16="http://schemas.microsoft.com/office/drawing/2014/main" id="{0048E824-32B0-4AE0-BB0F-DDE5A3102B41}"/>
              </a:ext>
            </a:extLst>
          </p:cNvPr>
          <p:cNvCxnSpPr>
            <a:cxnSpLocks/>
            <a:stCxn id="1276" idx="0"/>
            <a:endCxn id="1306" idx="1"/>
          </p:cNvCxnSpPr>
          <p:nvPr/>
        </p:nvCxnSpPr>
        <p:spPr bwMode="gray">
          <a:xfrm flipV="1">
            <a:off x="8393099" y="4519691"/>
            <a:ext cx="436369" cy="230580"/>
          </a:xfrm>
          <a:prstGeom prst="bentConnector3">
            <a:avLst>
              <a:gd name="adj1" fmla="val 19732"/>
            </a:avLst>
          </a:prstGeom>
          <a:ln w="12700">
            <a:solidFill>
              <a:schemeClr val="bg2"/>
            </a:solidFill>
            <a:headEnd type="arrow" w="sm" len="sm"/>
            <a:tailEnd type="none" w="sm" len="sm"/>
          </a:ln>
        </p:spPr>
        <p:style>
          <a:lnRef idx="1">
            <a:schemeClr val="accent1"/>
          </a:lnRef>
          <a:fillRef idx="0">
            <a:schemeClr val="accent1"/>
          </a:fillRef>
          <a:effectRef idx="0">
            <a:schemeClr val="accent1"/>
          </a:effectRef>
          <a:fontRef idx="minor">
            <a:schemeClr val="tx1"/>
          </a:fontRef>
        </p:style>
      </p:cxnSp>
      <p:cxnSp>
        <p:nvCxnSpPr>
          <p:cNvPr id="1311" name="Connector: Elbow 1310">
            <a:extLst>
              <a:ext uri="{FF2B5EF4-FFF2-40B4-BE49-F238E27FC236}">
                <a16:creationId xmlns:a16="http://schemas.microsoft.com/office/drawing/2014/main" id="{0A576CC3-2649-4652-AFA0-0BE26677E1B4}"/>
              </a:ext>
            </a:extLst>
          </p:cNvPr>
          <p:cNvCxnSpPr>
            <a:cxnSpLocks/>
            <a:stCxn id="890" idx="2"/>
            <a:endCxn id="1138" idx="3"/>
          </p:cNvCxnSpPr>
          <p:nvPr/>
        </p:nvCxnSpPr>
        <p:spPr bwMode="gray">
          <a:xfrm rot="10800000" flipV="1">
            <a:off x="7749641" y="4399999"/>
            <a:ext cx="1021765" cy="51192"/>
          </a:xfrm>
          <a:prstGeom prst="bentConnector3">
            <a:avLst>
              <a:gd name="adj1" fmla="val 7498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889" name="Group 888">
            <a:extLst>
              <a:ext uri="{FF2B5EF4-FFF2-40B4-BE49-F238E27FC236}">
                <a16:creationId xmlns:a16="http://schemas.microsoft.com/office/drawing/2014/main" id="{95625570-672B-4AFF-B8C2-F46CB8DDC9F5}"/>
              </a:ext>
            </a:extLst>
          </p:cNvPr>
          <p:cNvGrpSpPr/>
          <p:nvPr/>
        </p:nvGrpSpPr>
        <p:grpSpPr bwMode="gray">
          <a:xfrm>
            <a:off x="8384605" y="4266092"/>
            <a:ext cx="1040435" cy="572469"/>
            <a:chOff x="13282239" y="3811749"/>
            <a:chExt cx="1207185" cy="664219"/>
          </a:xfrm>
        </p:grpSpPr>
        <p:sp>
          <p:nvSpPr>
            <p:cNvPr id="890" name="Oval 889">
              <a:extLst>
                <a:ext uri="{FF2B5EF4-FFF2-40B4-BE49-F238E27FC236}">
                  <a16:creationId xmlns:a16="http://schemas.microsoft.com/office/drawing/2014/main" id="{62B4065D-D41A-4772-BD6F-9CD2BF52390E}"/>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891" name="Freeform: Shape 890">
              <a:extLst>
                <a:ext uri="{FF2B5EF4-FFF2-40B4-BE49-F238E27FC236}">
                  <a16:creationId xmlns:a16="http://schemas.microsoft.com/office/drawing/2014/main" id="{E7D87857-F03C-4D5A-9010-F8C65BF6045E}"/>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a:solidFill>
                  <a:schemeClr val="tx1"/>
                </a:solidFill>
              </a:endParaRPr>
            </a:p>
          </p:txBody>
        </p:sp>
        <p:sp>
          <p:nvSpPr>
            <p:cNvPr id="892" name="Rectangle 891">
              <a:extLst>
                <a:ext uri="{FF2B5EF4-FFF2-40B4-BE49-F238E27FC236}">
                  <a16:creationId xmlns:a16="http://schemas.microsoft.com/office/drawing/2014/main" id="{0F00E04A-8064-41B4-8F9A-759FBC21B345}"/>
                </a:ext>
              </a:extLst>
            </p:cNvPr>
            <p:cNvSpPr/>
            <p:nvPr/>
          </p:nvSpPr>
          <p:spPr bwMode="gray">
            <a:xfrm>
              <a:off x="13282239" y="4122486"/>
              <a:ext cx="1207185"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Ethylene heat exchanger</a:t>
              </a:r>
            </a:p>
          </p:txBody>
        </p:sp>
      </p:grpSp>
      <p:cxnSp>
        <p:nvCxnSpPr>
          <p:cNvPr id="1319" name="Connector: Elbow 1318">
            <a:extLst>
              <a:ext uri="{FF2B5EF4-FFF2-40B4-BE49-F238E27FC236}">
                <a16:creationId xmlns:a16="http://schemas.microsoft.com/office/drawing/2014/main" id="{01E82825-C414-495D-BBB7-6246F99F7139}"/>
              </a:ext>
            </a:extLst>
          </p:cNvPr>
          <p:cNvCxnSpPr>
            <a:cxnSpLocks/>
            <a:stCxn id="1276" idx="3"/>
          </p:cNvCxnSpPr>
          <p:nvPr/>
        </p:nvCxnSpPr>
        <p:spPr bwMode="gray">
          <a:xfrm rot="5400000">
            <a:off x="8057050" y="4815033"/>
            <a:ext cx="58125" cy="348744"/>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884" name="Group 883">
            <a:extLst>
              <a:ext uri="{FF2B5EF4-FFF2-40B4-BE49-F238E27FC236}">
                <a16:creationId xmlns:a16="http://schemas.microsoft.com/office/drawing/2014/main" id="{CB57AB26-5239-4C61-B301-01C2D71FE515}"/>
              </a:ext>
            </a:extLst>
          </p:cNvPr>
          <p:cNvGrpSpPr/>
          <p:nvPr/>
        </p:nvGrpSpPr>
        <p:grpSpPr bwMode="gray">
          <a:xfrm>
            <a:off x="7103905" y="4266092"/>
            <a:ext cx="1040435" cy="572469"/>
            <a:chOff x="13282239" y="3811749"/>
            <a:chExt cx="1207185" cy="664219"/>
          </a:xfrm>
        </p:grpSpPr>
        <p:sp>
          <p:nvSpPr>
            <p:cNvPr id="885" name="Oval 884">
              <a:extLst>
                <a:ext uri="{FF2B5EF4-FFF2-40B4-BE49-F238E27FC236}">
                  <a16:creationId xmlns:a16="http://schemas.microsoft.com/office/drawing/2014/main" id="{5560A084-29A2-4B1B-9D17-BC6E90CB8C35}"/>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886" name="Freeform: Shape 885">
              <a:extLst>
                <a:ext uri="{FF2B5EF4-FFF2-40B4-BE49-F238E27FC236}">
                  <a16:creationId xmlns:a16="http://schemas.microsoft.com/office/drawing/2014/main" id="{075BF503-85B7-48C6-8339-7A197FEA0964}"/>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a:solidFill>
                  <a:schemeClr val="tx1"/>
                </a:solidFill>
              </a:endParaRPr>
            </a:p>
          </p:txBody>
        </p:sp>
        <p:sp>
          <p:nvSpPr>
            <p:cNvPr id="887" name="Rectangle 886">
              <a:extLst>
                <a:ext uri="{FF2B5EF4-FFF2-40B4-BE49-F238E27FC236}">
                  <a16:creationId xmlns:a16="http://schemas.microsoft.com/office/drawing/2014/main" id="{39445699-BD0D-4DB6-9BA2-799426A3A4EE}"/>
                </a:ext>
              </a:extLst>
            </p:cNvPr>
            <p:cNvSpPr/>
            <p:nvPr/>
          </p:nvSpPr>
          <p:spPr bwMode="gray">
            <a:xfrm>
              <a:off x="13282239" y="4122486"/>
              <a:ext cx="1207185"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Methane heat exchanger</a:t>
              </a:r>
            </a:p>
          </p:txBody>
        </p:sp>
      </p:grpSp>
      <p:grpSp>
        <p:nvGrpSpPr>
          <p:cNvPr id="16" name="Group 15">
            <a:extLst>
              <a:ext uri="{FF2B5EF4-FFF2-40B4-BE49-F238E27FC236}">
                <a16:creationId xmlns:a16="http://schemas.microsoft.com/office/drawing/2014/main" id="{38AC44FD-5410-4EF5-9B02-3509B828FA77}"/>
              </a:ext>
            </a:extLst>
          </p:cNvPr>
          <p:cNvGrpSpPr/>
          <p:nvPr/>
        </p:nvGrpSpPr>
        <p:grpSpPr>
          <a:xfrm>
            <a:off x="6308694" y="3022286"/>
            <a:ext cx="1116179" cy="147809"/>
            <a:chOff x="6308694" y="3014666"/>
            <a:chExt cx="1116179" cy="147809"/>
          </a:xfrm>
        </p:grpSpPr>
        <p:sp>
          <p:nvSpPr>
            <p:cNvPr id="183" name="Rectangle 182">
              <a:extLst>
                <a:ext uri="{FF2B5EF4-FFF2-40B4-BE49-F238E27FC236}">
                  <a16:creationId xmlns:a16="http://schemas.microsoft.com/office/drawing/2014/main" id="{F8EFE8E9-6873-4A8B-9960-6FBEFA6D66A6}"/>
                </a:ext>
              </a:extLst>
            </p:cNvPr>
            <p:cNvSpPr/>
            <p:nvPr/>
          </p:nvSpPr>
          <p:spPr bwMode="gray">
            <a:xfrm>
              <a:off x="6308694" y="3014666"/>
              <a:ext cx="621696" cy="14780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Plant fuel</a:t>
              </a:r>
            </a:p>
          </p:txBody>
        </p:sp>
        <p:cxnSp>
          <p:nvCxnSpPr>
            <p:cNvPr id="6" name="Connector: Elbow 5">
              <a:extLst>
                <a:ext uri="{FF2B5EF4-FFF2-40B4-BE49-F238E27FC236}">
                  <a16:creationId xmlns:a16="http://schemas.microsoft.com/office/drawing/2014/main" id="{3E3737E7-5251-41DA-B418-2C52A7309C88}"/>
                </a:ext>
              </a:extLst>
            </p:cNvPr>
            <p:cNvCxnSpPr>
              <a:cxnSpLocks/>
            </p:cNvCxnSpPr>
            <p:nvPr/>
          </p:nvCxnSpPr>
          <p:spPr bwMode="gray">
            <a:xfrm flipV="1">
              <a:off x="6931903" y="3048458"/>
              <a:ext cx="492970" cy="37878"/>
            </a:xfrm>
            <a:prstGeom prst="bentConnector3">
              <a:avLst>
                <a:gd name="adj1" fmla="val 22950"/>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416443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215483F-C7BF-4974-8322-7953F7A24BB2}"/>
              </a:ext>
            </a:extLst>
          </p:cNvPr>
          <p:cNvSpPr>
            <a:spLocks noGrp="1"/>
          </p:cNvSpPr>
          <p:nvPr>
            <p:ph sz="quarter" idx="21"/>
          </p:nvPr>
        </p:nvSpPr>
        <p:spPr/>
        <p:txBody>
          <a:bodyPr/>
          <a:lstStyle/>
          <a:p>
            <a:pPr lvl="1">
              <a:spcBef>
                <a:spcPts val="1800"/>
              </a:spcBef>
            </a:pPr>
            <a:r>
              <a:rPr lang="en-US" dirty="0"/>
              <a:t>ABB offers analyzers for a wide range of applications within an LNG Plant</a:t>
            </a:r>
          </a:p>
          <a:p>
            <a:pPr lvl="1">
              <a:spcBef>
                <a:spcPts val="1800"/>
              </a:spcBef>
            </a:pPr>
            <a:r>
              <a:rPr lang="en-US" dirty="0"/>
              <a:t>The advantage of our analyzers are a </a:t>
            </a:r>
            <a:r>
              <a:rPr lang="en-US" b="1" dirty="0"/>
              <a:t>small footprint </a:t>
            </a:r>
            <a:r>
              <a:rPr lang="en-US" dirty="0"/>
              <a:t>when using our </a:t>
            </a:r>
            <a:r>
              <a:rPr lang="en-US" b="1" dirty="0"/>
              <a:t>integrated controller </a:t>
            </a:r>
            <a:r>
              <a:rPr lang="en-US" dirty="0"/>
              <a:t>version and </a:t>
            </a:r>
            <a:r>
              <a:rPr lang="en-US" b="1" dirty="0"/>
              <a:t>low utility consumption </a:t>
            </a:r>
            <a:r>
              <a:rPr lang="en-US" dirty="0"/>
              <a:t>by using </a:t>
            </a:r>
            <a:r>
              <a:rPr lang="en-US" b="1" dirty="0"/>
              <a:t>Airless oven </a:t>
            </a:r>
            <a:r>
              <a:rPr lang="en-US" dirty="0"/>
              <a:t>technology</a:t>
            </a:r>
          </a:p>
          <a:p>
            <a:pPr lvl="1">
              <a:spcBef>
                <a:spcPts val="1800"/>
              </a:spcBef>
            </a:pPr>
            <a:r>
              <a:rPr lang="en-US" dirty="0"/>
              <a:t>PGC5000 Process Gas </a:t>
            </a:r>
            <a:r>
              <a:rPr lang="en-US" dirty="0" err="1"/>
              <a:t>chromatograpph</a:t>
            </a:r>
            <a:r>
              <a:rPr lang="en-US" dirty="0"/>
              <a:t> is used to analyze the inlet feed gas through all stages of the process</a:t>
            </a:r>
          </a:p>
          <a:p>
            <a:pPr lvl="1">
              <a:spcBef>
                <a:spcPts val="1800"/>
              </a:spcBef>
            </a:pPr>
            <a:r>
              <a:rPr lang="en-US" dirty="0"/>
              <a:t>In the Sulfur removal unit (Acid Gas removal) the fractionation process with the separation of Propane, Butane, Pentane, the aromatics (BTEX) and the removal of C6+ until the final quality control of the LNG</a:t>
            </a:r>
          </a:p>
          <a:p>
            <a:pPr lvl="1">
              <a:spcBef>
                <a:spcPts val="1800"/>
              </a:spcBef>
            </a:pPr>
            <a:r>
              <a:rPr lang="en-US" dirty="0"/>
              <a:t>RVP4500 RVP analyzer is used to measure the vapor pressure of the condensate</a:t>
            </a:r>
          </a:p>
        </p:txBody>
      </p:sp>
      <p:sp>
        <p:nvSpPr>
          <p:cNvPr id="3" name="Title 2">
            <a:extLst>
              <a:ext uri="{FF2B5EF4-FFF2-40B4-BE49-F238E27FC236}">
                <a16:creationId xmlns:a16="http://schemas.microsoft.com/office/drawing/2014/main" id="{26DD4476-C3E9-4E4D-8C34-69CFC0416F8D}"/>
              </a:ext>
            </a:extLst>
          </p:cNvPr>
          <p:cNvSpPr>
            <a:spLocks noGrp="1"/>
          </p:cNvSpPr>
          <p:nvPr>
            <p:ph type="title"/>
          </p:nvPr>
        </p:nvSpPr>
        <p:spPr/>
        <p:txBody>
          <a:bodyPr/>
          <a:lstStyle/>
          <a:p>
            <a:r>
              <a:rPr lang="de-DE" dirty="0"/>
              <a:t>ABB </a:t>
            </a:r>
            <a:r>
              <a:rPr lang="de-DE" dirty="0" err="1"/>
              <a:t>solutions</a:t>
            </a:r>
            <a:r>
              <a:rPr lang="de-DE" dirty="0"/>
              <a:t> </a:t>
            </a:r>
            <a:r>
              <a:rPr lang="de-DE" dirty="0" err="1"/>
              <a:t>for</a:t>
            </a:r>
            <a:r>
              <a:rPr lang="de-DE" dirty="0"/>
              <a:t> LNG plants</a:t>
            </a:r>
            <a:endParaRPr lang="en-US" dirty="0"/>
          </a:p>
        </p:txBody>
      </p:sp>
      <p:sp>
        <p:nvSpPr>
          <p:cNvPr id="4" name="Date Placeholder 3">
            <a:extLst>
              <a:ext uri="{FF2B5EF4-FFF2-40B4-BE49-F238E27FC236}">
                <a16:creationId xmlns:a16="http://schemas.microsoft.com/office/drawing/2014/main" id="{C3FBC948-2C32-4141-9656-37C96674D3E1}"/>
              </a:ext>
            </a:extLst>
          </p:cNvPr>
          <p:cNvSpPr>
            <a:spLocks noGrp="1"/>
          </p:cNvSpPr>
          <p:nvPr>
            <p:ph type="dt" sz="half" idx="18"/>
          </p:nvPr>
        </p:nvSpPr>
        <p:spPr/>
        <p:txBody>
          <a:bodyPr/>
          <a:lstStyle/>
          <a:p>
            <a:fld id="{FFAB2352-921F-4DD8-A99A-A1474F6943FF}" type="datetime4">
              <a:rPr lang="en-US" smtClean="0"/>
              <a:t>September 8, 2019</a:t>
            </a:fld>
            <a:endParaRPr lang="en-US" dirty="0"/>
          </a:p>
        </p:txBody>
      </p:sp>
      <p:sp>
        <p:nvSpPr>
          <p:cNvPr id="5" name="Footer Placeholder 4">
            <a:extLst>
              <a:ext uri="{FF2B5EF4-FFF2-40B4-BE49-F238E27FC236}">
                <a16:creationId xmlns:a16="http://schemas.microsoft.com/office/drawing/2014/main" id="{9E4B0878-DA01-46E9-AEE5-29442691A362}"/>
              </a:ext>
            </a:extLst>
          </p:cNvPr>
          <p:cNvSpPr>
            <a:spLocks noGrp="1"/>
          </p:cNvSpPr>
          <p:nvPr>
            <p:ph type="ftr" sz="quarter" idx="19"/>
          </p:nvPr>
        </p:nvSpPr>
        <p:spPr/>
        <p:txBody>
          <a:bodyPr/>
          <a:lstStyle/>
          <a:p>
            <a:pPr lvl="8"/>
            <a:endParaRPr lang="en-US" dirty="0"/>
          </a:p>
        </p:txBody>
      </p:sp>
      <p:sp>
        <p:nvSpPr>
          <p:cNvPr id="6" name="Slide Number Placeholder 5">
            <a:extLst>
              <a:ext uri="{FF2B5EF4-FFF2-40B4-BE49-F238E27FC236}">
                <a16:creationId xmlns:a16="http://schemas.microsoft.com/office/drawing/2014/main" id="{4A72ACCE-3213-41CE-812D-05761A7F8684}"/>
              </a:ext>
            </a:extLst>
          </p:cNvPr>
          <p:cNvSpPr>
            <a:spLocks noGrp="1"/>
          </p:cNvSpPr>
          <p:nvPr>
            <p:ph type="sldNum" sz="quarter" idx="20"/>
          </p:nvPr>
        </p:nvSpPr>
        <p:spPr/>
        <p:txBody>
          <a:bodyPr/>
          <a:lstStyle/>
          <a:p>
            <a:r>
              <a:rPr lang="en-US"/>
              <a:t>Slide </a:t>
            </a:r>
            <a:fld id="{619F89D8-7AE3-494A-97F3-03D680869632}" type="slidenum">
              <a:rPr lang="en-US" smtClean="0"/>
              <a:pPr/>
              <a:t>66</a:t>
            </a:fld>
            <a:endParaRPr lang="en-US" dirty="0"/>
          </a:p>
        </p:txBody>
      </p:sp>
      <p:sp>
        <p:nvSpPr>
          <p:cNvPr id="7" name="Subtitle 6">
            <a:extLst>
              <a:ext uri="{FF2B5EF4-FFF2-40B4-BE49-F238E27FC236}">
                <a16:creationId xmlns:a16="http://schemas.microsoft.com/office/drawing/2014/main" id="{F0152D29-7FE1-42C6-B4A1-DE3E372DACF1}"/>
              </a:ext>
            </a:extLst>
          </p:cNvPr>
          <p:cNvSpPr>
            <a:spLocks noGrp="1"/>
          </p:cNvSpPr>
          <p:nvPr>
            <p:ph type="subTitle" idx="13"/>
          </p:nvPr>
        </p:nvSpPr>
        <p:spPr/>
        <p:txBody>
          <a:bodyPr/>
          <a:lstStyle/>
          <a:p>
            <a:endParaRPr lang="en-US"/>
          </a:p>
        </p:txBody>
      </p:sp>
      <p:sp>
        <p:nvSpPr>
          <p:cNvPr id="8" name="Text Placeholder 7">
            <a:extLst>
              <a:ext uri="{FF2B5EF4-FFF2-40B4-BE49-F238E27FC236}">
                <a16:creationId xmlns:a16="http://schemas.microsoft.com/office/drawing/2014/main" id="{DC2A1F22-0D25-47E9-8DA1-2BA21A7221B4}"/>
              </a:ext>
            </a:extLst>
          </p:cNvPr>
          <p:cNvSpPr>
            <a:spLocks noGrp="1"/>
          </p:cNvSpPr>
          <p:nvPr>
            <p:ph type="body" sz="quarter" idx="29"/>
          </p:nvPr>
        </p:nvSpPr>
        <p:spPr/>
        <p:txBody>
          <a:bodyPr/>
          <a:lstStyle/>
          <a:p>
            <a:r>
              <a:rPr lang="de-DE" dirty="0"/>
              <a:t>Trust ABB </a:t>
            </a:r>
            <a:r>
              <a:rPr lang="de-DE" dirty="0" err="1"/>
              <a:t>to</a:t>
            </a:r>
            <a:r>
              <a:rPr lang="de-DE" dirty="0"/>
              <a:t> </a:t>
            </a:r>
            <a:r>
              <a:rPr lang="de-DE" dirty="0" err="1"/>
              <a:t>solve</a:t>
            </a:r>
            <a:r>
              <a:rPr lang="de-DE" dirty="0"/>
              <a:t> </a:t>
            </a:r>
            <a:r>
              <a:rPr lang="de-DE" dirty="0" err="1"/>
              <a:t>your</a:t>
            </a:r>
            <a:r>
              <a:rPr lang="de-DE" dirty="0"/>
              <a:t> </a:t>
            </a:r>
            <a:r>
              <a:rPr lang="de-DE" dirty="0" err="1"/>
              <a:t>toughest</a:t>
            </a:r>
            <a:r>
              <a:rPr lang="de-DE" dirty="0"/>
              <a:t> </a:t>
            </a:r>
            <a:r>
              <a:rPr lang="de-DE" dirty="0" err="1"/>
              <a:t>measurement</a:t>
            </a:r>
            <a:r>
              <a:rPr lang="de-DE" dirty="0"/>
              <a:t> </a:t>
            </a:r>
            <a:r>
              <a:rPr lang="de-DE" dirty="0" err="1"/>
              <a:t>challenges</a:t>
            </a:r>
            <a:endParaRPr lang="en-US" dirty="0"/>
          </a:p>
        </p:txBody>
      </p:sp>
    </p:spTree>
    <p:extLst>
      <p:ext uri="{BB962C8B-B14F-4D97-AF65-F5344CB8AC3E}">
        <p14:creationId xmlns:p14="http://schemas.microsoft.com/office/powerpoint/2010/main" val="3486035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168447-CD78-4F8A-AB4E-AC87144E559D}"/>
              </a:ext>
            </a:extLst>
          </p:cNvPr>
          <p:cNvSpPr>
            <a:spLocks noGrp="1"/>
          </p:cNvSpPr>
          <p:nvPr>
            <p:ph type="title"/>
          </p:nvPr>
        </p:nvSpPr>
        <p:spPr bwMode="gray">
          <a:xfrm>
            <a:off x="333264" y="682313"/>
            <a:ext cx="11520000" cy="396000"/>
          </a:xfrm>
        </p:spPr>
        <p:txBody>
          <a:bodyPr/>
          <a:lstStyle/>
          <a:p>
            <a:r>
              <a:rPr lang="en-US" dirty="0"/>
              <a:t>LNG Plant </a:t>
            </a:r>
          </a:p>
        </p:txBody>
      </p:sp>
      <p:sp>
        <p:nvSpPr>
          <p:cNvPr id="7" name="Subtitle 6">
            <a:extLst>
              <a:ext uri="{FF2B5EF4-FFF2-40B4-BE49-F238E27FC236}">
                <a16:creationId xmlns:a16="http://schemas.microsoft.com/office/drawing/2014/main" id="{09CF7B58-7315-43E5-8590-7A47B8C7E10E}"/>
              </a:ext>
            </a:extLst>
          </p:cNvPr>
          <p:cNvSpPr>
            <a:spLocks noGrp="1"/>
          </p:cNvSpPr>
          <p:nvPr>
            <p:ph type="subTitle" idx="13"/>
          </p:nvPr>
        </p:nvSpPr>
        <p:spPr bwMode="gray">
          <a:xfrm>
            <a:off x="329630" y="1046300"/>
            <a:ext cx="11520898" cy="466584"/>
          </a:xfrm>
        </p:spPr>
        <p:txBody>
          <a:bodyPr/>
          <a:lstStyle/>
          <a:p>
            <a:r>
              <a:rPr lang="en-US" dirty="0"/>
              <a:t>Typical measuring points and ABB offering</a:t>
            </a:r>
          </a:p>
          <a:p>
            <a:endParaRPr lang="en-US" dirty="0"/>
          </a:p>
        </p:txBody>
      </p:sp>
      <p:graphicFrame>
        <p:nvGraphicFramePr>
          <p:cNvPr id="8" name="Group 324">
            <a:extLst>
              <a:ext uri="{FF2B5EF4-FFF2-40B4-BE49-F238E27FC236}">
                <a16:creationId xmlns:a16="http://schemas.microsoft.com/office/drawing/2014/main" id="{DC6804CB-0604-42F3-9226-1A6ADDF3BDDA}"/>
              </a:ext>
            </a:extLst>
          </p:cNvPr>
          <p:cNvGraphicFramePr>
            <a:graphicFrameLocks noGrp="1"/>
          </p:cNvGraphicFramePr>
          <p:nvPr>
            <p:ph sz="quarter" idx="4294967295"/>
            <p:extLst>
              <p:ext uri="{D42A27DB-BD31-4B8C-83A1-F6EECF244321}">
                <p14:modId xmlns:p14="http://schemas.microsoft.com/office/powerpoint/2010/main" val="565169524"/>
              </p:ext>
            </p:extLst>
          </p:nvPr>
        </p:nvGraphicFramePr>
        <p:xfrm>
          <a:off x="338961" y="1930077"/>
          <a:ext cx="11511567" cy="3730938"/>
        </p:xfrm>
        <a:graphic>
          <a:graphicData uri="http://schemas.openxmlformats.org/drawingml/2006/table">
            <a:tbl>
              <a:tblPr/>
              <a:tblGrid>
                <a:gridCol w="488302">
                  <a:extLst>
                    <a:ext uri="{9D8B030D-6E8A-4147-A177-3AD203B41FA5}">
                      <a16:colId xmlns:a16="http://schemas.microsoft.com/office/drawing/2014/main" val="3252492988"/>
                    </a:ext>
                  </a:extLst>
                </a:gridCol>
                <a:gridCol w="1355479">
                  <a:extLst>
                    <a:ext uri="{9D8B030D-6E8A-4147-A177-3AD203B41FA5}">
                      <a16:colId xmlns:a16="http://schemas.microsoft.com/office/drawing/2014/main" val="3417312483"/>
                    </a:ext>
                  </a:extLst>
                </a:gridCol>
                <a:gridCol w="2081220">
                  <a:extLst>
                    <a:ext uri="{9D8B030D-6E8A-4147-A177-3AD203B41FA5}">
                      <a16:colId xmlns:a16="http://schemas.microsoft.com/office/drawing/2014/main" val="1152078815"/>
                    </a:ext>
                  </a:extLst>
                </a:gridCol>
                <a:gridCol w="3836297">
                  <a:extLst>
                    <a:ext uri="{9D8B030D-6E8A-4147-A177-3AD203B41FA5}">
                      <a16:colId xmlns:a16="http://schemas.microsoft.com/office/drawing/2014/main" val="2636926498"/>
                    </a:ext>
                  </a:extLst>
                </a:gridCol>
                <a:gridCol w="1853339">
                  <a:extLst>
                    <a:ext uri="{9D8B030D-6E8A-4147-A177-3AD203B41FA5}">
                      <a16:colId xmlns:a16="http://schemas.microsoft.com/office/drawing/2014/main" val="2883535249"/>
                    </a:ext>
                  </a:extLst>
                </a:gridCol>
                <a:gridCol w="1896930">
                  <a:extLst>
                    <a:ext uri="{9D8B030D-6E8A-4147-A177-3AD203B41FA5}">
                      <a16:colId xmlns:a16="http://schemas.microsoft.com/office/drawing/2014/main" val="3567483753"/>
                    </a:ext>
                  </a:extLst>
                </a:gridCol>
              </a:tblGrid>
              <a:tr h="252000">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t>
                      </a:r>
                    </a:p>
                  </a:txBody>
                  <a:tcPr marL="0" marR="0" marT="36000" marB="36000" horzOverflow="overflow">
                    <a:lnL cap="flat">
                      <a:noFill/>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Purpose</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pplication</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Components</a:t>
                      </a: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400" b="1" i="0" u="none" strike="noStrike" cap="none" normalizeH="0" baseline="0" noProof="0" dirty="0">
                          <a:ln>
                            <a:noFill/>
                          </a:ln>
                          <a:solidFill>
                            <a:schemeClr val="bg2"/>
                          </a:solidFill>
                          <a:effectLst/>
                          <a:latin typeface="ABBvoice" panose="020D0603020503020204" pitchFamily="34" charset="0"/>
                          <a:ea typeface="ABBvoice" panose="020D0603020503020204" pitchFamily="34" charset="0"/>
                          <a:cs typeface="ABBvoice" panose="020D0603020503020204" pitchFamily="34" charset="0"/>
                        </a:rPr>
                        <a:t>Analyzers</a:t>
                      </a:r>
                    </a:p>
                  </a:txBody>
                  <a:tcPr marL="0" marR="0" marT="36000" marB="36000" horzOverflow="overflow">
                    <a:lnL w="12700" cap="flat" cmpd="sng" algn="ctr">
                      <a:noFill/>
                      <a:prstDash val="solid"/>
                      <a:round/>
                      <a:headEnd type="none" w="med" len="med"/>
                      <a:tailEnd type="none" w="med" len="med"/>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970671138"/>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1</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Raw gas inlet</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BTU, Density, N2, CO2, Water, CH4, C2H6, C3H8, C4H10, C5H12, C6+ </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7 to C10, Aromatics</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 to ppm level</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0 to 2500 ppm ranges</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GC5000</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3254574409"/>
                  </a:ext>
                </a:extLst>
              </a:tr>
              <a:tr h="453258">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2</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Acid gas removal outlet</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H2S</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O</a:t>
                      </a:r>
                      <a:r>
                        <a:rPr kumimoji="0" lang="en-US"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2</a:t>
                      </a:r>
                      <a:endPar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50 ppm</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50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GC5000</a:t>
                      </a:r>
                    </a:p>
                    <a:p>
                      <a:pPr marL="0" marR="0" lvl="0" indent="0" algn="l" defTabSz="914400" rtl="0" eaLnBrk="1" fontAlgn="b" latinLnBrk="0" hangingPunct="1">
                        <a:lnSpc>
                          <a:spcPct val="100000"/>
                        </a:lnSpc>
                        <a:spcBef>
                          <a:spcPct val="0"/>
                        </a:spcBef>
                        <a:spcAft>
                          <a:spcPct val="0"/>
                        </a:spcAft>
                        <a:buClrTx/>
                        <a:buSzTx/>
                        <a:buFontTx/>
                        <a:buNone/>
                        <a:tabLst/>
                      </a:pPr>
                      <a:endPar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32769597"/>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3</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Methane Cold box outlet</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Aromatics Remova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N2</a:t>
                      </a:r>
                      <a:endParaRPr kumimoji="0" lang="en-US" altLang="en-US" sz="1200" b="0" i="0" u="none" strike="noStrike"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pPr marL="0" marR="0" lvl="0" indent="0" algn="l" defTabSz="914400" rtl="0" eaLnBrk="1" fontAlgn="b" latinLnBrk="0" hangingPunct="1">
                        <a:lnSpc>
                          <a:spcPct val="100000"/>
                        </a:lnSpc>
                        <a:spcBef>
                          <a:spcPct val="0"/>
                        </a:spcBef>
                        <a:spcAft>
                          <a:spcPct val="0"/>
                        </a:spcAft>
                        <a:buClrTx/>
                        <a:buSzTx/>
                        <a:buFontTx/>
                        <a:buNone/>
                        <a:tabLst/>
                        <a:defRPr/>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Benzene Toluene, Ethylbenzene </a:t>
                      </a:r>
                      <a:r>
                        <a:rPr kumimoji="0" lang="en-US" altLang="en-US" sz="1200" b="0" i="0" u="none" strike="noStrike" cap="none" normalizeH="0" baseline="0" noProof="0" dirty="0" err="1">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etc</a:t>
                      </a:r>
                      <a:endPar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10 %</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pm Leve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GC5000</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099789432"/>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4</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6+ Removal in different factions,(Ethen, Propane, Butane)</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6+</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to 10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GC5000</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8023465"/>
                  </a:ext>
                </a:extLst>
              </a:tr>
              <a:tr h="28625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5</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1 – C5 Heavy reflux</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kern="1200"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H4</a:t>
                      </a:r>
                      <a:endParaRPr kumimoji="0" lang="en-US" altLang="en-US" sz="1200" b="0" i="0" u="none" strike="noStrike" kern="1200" cap="none" normalizeH="0" baseline="-2500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endParaRP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kern="1200"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C6+</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50 </a:t>
                      </a:r>
                      <a:r>
                        <a:rPr kumimoji="0" lang="en-US" altLang="en-US" sz="1200" b="0" i="0" u="none" strike="noStrike" cap="none" normalizeH="0" baseline="0" noProof="0" dirty="0" err="1">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vol</a:t>
                      </a: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200 ppm</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GC5000</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2940310977"/>
                  </a:ext>
                </a:extLst>
              </a:tr>
              <a:tr h="28625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6</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De </a:t>
                      </a:r>
                      <a:r>
                        <a:rPr kumimoji="0" lang="en-US" altLang="en-US" sz="1200" b="0" i="0" u="none" strike="noStrike" cap="none" normalizeH="0" baseline="0" noProof="0" dirty="0" err="1">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Butanizer</a:t>
                      </a:r>
                      <a:endPar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endParaRP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Butane</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ropane</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70 %</a:t>
                      </a:r>
                    </a:p>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70%</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PGC5000</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592977195"/>
                  </a:ext>
                </a:extLst>
              </a:tr>
              <a:tr h="28625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7</a:t>
                      </a:r>
                    </a:p>
                  </a:txBody>
                  <a:tcPr marL="0" marR="0" marT="36000" marB="36000" anchor="ctr" horzOverflow="overflow">
                    <a:lnL cap="flat">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Control</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ysClr val="windowText" lastClr="000000"/>
                          </a:solidFill>
                          <a:effectLst/>
                          <a:latin typeface="ABBvoice" panose="020D0603020503020204" pitchFamily="34" charset="0"/>
                          <a:ea typeface="ABBvoice" panose="020D0603020503020204" pitchFamily="34" charset="0"/>
                          <a:cs typeface="ABBvoice" panose="020D0603020503020204" pitchFamily="34" charset="0"/>
                        </a:rPr>
                        <a:t>Vapor Pressure in Condensate</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Vapor Pressure</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0"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0 – 2,5 bar (0 – 20 PSI)</a:t>
                      </a:r>
                    </a:p>
                  </a:txBody>
                  <a:tcPr marL="0" marR="0"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200" b="1" i="0" u="none" strike="noStrike" cap="none" normalizeH="0" baseline="0" noProof="0" dirty="0">
                          <a:ln>
                            <a:noFill/>
                          </a:ln>
                          <a:solidFill>
                            <a:schemeClr val="tx1"/>
                          </a:solidFill>
                          <a:effectLst/>
                          <a:latin typeface="ABBvoice" panose="020D0603020503020204" pitchFamily="34" charset="0"/>
                          <a:ea typeface="ABBvoice" panose="020D0603020503020204" pitchFamily="34" charset="0"/>
                          <a:cs typeface="ABBvoice" panose="020D0603020503020204" pitchFamily="34" charset="0"/>
                        </a:rPr>
                        <a:t>RVP4500</a:t>
                      </a:r>
                    </a:p>
                  </a:txBody>
                  <a:tcPr marL="0" marR="0" marT="36000" marB="36000" anchor="ctr" horzOverflow="overflow">
                    <a:lnL w="12700" cap="flat" cmpd="sng" algn="ctr">
                      <a:noFill/>
                      <a:prstDash val="solid"/>
                      <a:round/>
                      <a:headEnd type="none" w="med" len="med"/>
                      <a:tailEnd type="none" w="med" len="med"/>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612974468"/>
                  </a:ext>
                </a:extLst>
              </a:tr>
            </a:tbl>
          </a:graphicData>
        </a:graphic>
      </p:graphicFrame>
      <p:sp>
        <p:nvSpPr>
          <p:cNvPr id="2" name="Date Placeholder 1">
            <a:extLst>
              <a:ext uri="{FF2B5EF4-FFF2-40B4-BE49-F238E27FC236}">
                <a16:creationId xmlns:a16="http://schemas.microsoft.com/office/drawing/2014/main" id="{A33D8556-BB43-471A-B444-EF673DCC1B03}"/>
              </a:ext>
            </a:extLst>
          </p:cNvPr>
          <p:cNvSpPr>
            <a:spLocks noGrp="1"/>
          </p:cNvSpPr>
          <p:nvPr>
            <p:ph type="dt" sz="half" idx="14"/>
          </p:nvPr>
        </p:nvSpPr>
        <p:spPr bwMode="gray"/>
        <p:txBody>
          <a:bodyPr/>
          <a:lstStyle/>
          <a:p>
            <a:fld id="{25150489-AA4E-4345-9853-598A514D4B7E}" type="datetime4">
              <a:rPr lang="en-US" smtClean="0"/>
              <a:t>September 8, 2019</a:t>
            </a:fld>
            <a:endParaRPr lang="en-US"/>
          </a:p>
        </p:txBody>
      </p:sp>
      <p:sp>
        <p:nvSpPr>
          <p:cNvPr id="77" name="Slide Number Placeholder 76">
            <a:extLst>
              <a:ext uri="{FF2B5EF4-FFF2-40B4-BE49-F238E27FC236}">
                <a16:creationId xmlns:a16="http://schemas.microsoft.com/office/drawing/2014/main" id="{80837501-02ED-401C-AEF4-932D0EC1A8FD}"/>
              </a:ext>
            </a:extLst>
          </p:cNvPr>
          <p:cNvSpPr>
            <a:spLocks noGrp="1"/>
          </p:cNvSpPr>
          <p:nvPr>
            <p:ph type="sldNum" sz="quarter" idx="16"/>
          </p:nvPr>
        </p:nvSpPr>
        <p:spPr bwMode="gray"/>
        <p:txBody>
          <a:bodyPr/>
          <a:lstStyle/>
          <a:p>
            <a:r>
              <a:rPr lang="en-US"/>
              <a:t>Slide </a:t>
            </a:r>
            <a:fld id="{619F89D8-7AE3-494A-97F3-03D680869632}" type="slidenum">
              <a:rPr lang="en-US" smtClean="0"/>
              <a:pPr/>
              <a:t>67</a:t>
            </a:fld>
            <a:endParaRPr lang="en-US"/>
          </a:p>
        </p:txBody>
      </p:sp>
      <p:sp>
        <p:nvSpPr>
          <p:cNvPr id="78" name="Footer Placeholder 77">
            <a:extLst>
              <a:ext uri="{FF2B5EF4-FFF2-40B4-BE49-F238E27FC236}">
                <a16:creationId xmlns:a16="http://schemas.microsoft.com/office/drawing/2014/main" id="{FF3B893F-4E82-4EC2-B899-A02D7304B9C9}"/>
              </a:ext>
            </a:extLst>
          </p:cNvPr>
          <p:cNvSpPr>
            <a:spLocks noGrp="1"/>
          </p:cNvSpPr>
          <p:nvPr>
            <p:ph type="ftr" sz="quarter" idx="15"/>
          </p:nvPr>
        </p:nvSpPr>
        <p:spPr bwMode="gray"/>
        <p:txBody>
          <a:bodyPr/>
          <a:lstStyle/>
          <a:p>
            <a:pPr lvl="8"/>
            <a:r>
              <a:rPr lang="en-US"/>
              <a:t>* THC - Total hydrocarbons</a:t>
            </a:r>
          </a:p>
        </p:txBody>
      </p:sp>
    </p:spTree>
    <p:custDataLst>
      <p:tags r:id="rId1"/>
    </p:custDataLst>
    <p:extLst>
      <p:ext uri="{BB962C8B-B14F-4D97-AF65-F5344CB8AC3E}">
        <p14:creationId xmlns:p14="http://schemas.microsoft.com/office/powerpoint/2010/main" val="351013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56BFA-AAE7-406B-A3B3-2D0226C46E39}"/>
              </a:ext>
            </a:extLst>
          </p:cNvPr>
          <p:cNvSpPr>
            <a:spLocks noGrp="1"/>
          </p:cNvSpPr>
          <p:nvPr>
            <p:ph type="ctrTitle"/>
          </p:nvPr>
        </p:nvSpPr>
        <p:spPr bwMode="gray"/>
        <p:txBody>
          <a:bodyPr/>
          <a:lstStyle/>
          <a:p>
            <a:r>
              <a:rPr lang="de-DE" dirty="0"/>
              <a:t>Biomethane &amp; </a:t>
            </a:r>
            <a:r>
              <a:rPr lang="de-DE" dirty="0" err="1"/>
              <a:t>small-scale</a:t>
            </a:r>
            <a:r>
              <a:rPr lang="de-DE" dirty="0"/>
              <a:t> CO</a:t>
            </a:r>
            <a:r>
              <a:rPr lang="de-DE" baseline="-25000" dirty="0"/>
              <a:t>2</a:t>
            </a:r>
          </a:p>
        </p:txBody>
      </p:sp>
      <p:sp>
        <p:nvSpPr>
          <p:cNvPr id="3" name="Subtitle 2">
            <a:extLst>
              <a:ext uri="{FF2B5EF4-FFF2-40B4-BE49-F238E27FC236}">
                <a16:creationId xmlns:a16="http://schemas.microsoft.com/office/drawing/2014/main" id="{EC5EC8F8-2510-42EC-B66A-48CFC5FDBAD5}"/>
              </a:ext>
            </a:extLst>
          </p:cNvPr>
          <p:cNvSpPr>
            <a:spLocks noGrp="1"/>
          </p:cNvSpPr>
          <p:nvPr>
            <p:ph type="subTitle" idx="1"/>
          </p:nvPr>
        </p:nvSpPr>
        <p:spPr bwMode="gray"/>
        <p:txBody>
          <a:bodyPr/>
          <a:lstStyle/>
          <a:p>
            <a:endParaRPr lang="de-DE"/>
          </a:p>
        </p:txBody>
      </p:sp>
    </p:spTree>
    <p:custDataLst>
      <p:tags r:id="rId1"/>
    </p:custDataLst>
    <p:extLst>
      <p:ext uri="{BB962C8B-B14F-4D97-AF65-F5344CB8AC3E}">
        <p14:creationId xmlns:p14="http://schemas.microsoft.com/office/powerpoint/2010/main" val="2736470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4" name="Rechteck 87">
            <a:extLst>
              <a:ext uri="{FF2B5EF4-FFF2-40B4-BE49-F238E27FC236}">
                <a16:creationId xmlns:a16="http://schemas.microsoft.com/office/drawing/2014/main" id="{6E4C40AB-8B45-411E-91CE-630FB7DCEEA6}"/>
              </a:ext>
            </a:extLst>
          </p:cNvPr>
          <p:cNvSpPr/>
          <p:nvPr/>
        </p:nvSpPr>
        <p:spPr bwMode="gray">
          <a:xfrm>
            <a:off x="337316" y="1933575"/>
            <a:ext cx="5677364" cy="2294824"/>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000" dirty="0">
              <a:solidFill>
                <a:schemeClr val="bg1"/>
              </a:solidFill>
            </a:endParaRPr>
          </a:p>
        </p:txBody>
      </p:sp>
      <p:sp>
        <p:nvSpPr>
          <p:cNvPr id="2060" name="Rechteck 87">
            <a:extLst>
              <a:ext uri="{FF2B5EF4-FFF2-40B4-BE49-F238E27FC236}">
                <a16:creationId xmlns:a16="http://schemas.microsoft.com/office/drawing/2014/main" id="{CE8DB800-D5FB-491F-BE5D-C439F47048C4}"/>
              </a:ext>
            </a:extLst>
          </p:cNvPr>
          <p:cNvSpPr/>
          <p:nvPr/>
        </p:nvSpPr>
        <p:spPr bwMode="gray">
          <a:xfrm>
            <a:off x="6179711" y="1936347"/>
            <a:ext cx="5677364" cy="3309024"/>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000" dirty="0">
              <a:solidFill>
                <a:schemeClr val="bg1"/>
              </a:solidFill>
            </a:endParaRPr>
          </a:p>
        </p:txBody>
      </p:sp>
      <p:sp>
        <p:nvSpPr>
          <p:cNvPr id="3" name="Title 2">
            <a:extLst>
              <a:ext uri="{FF2B5EF4-FFF2-40B4-BE49-F238E27FC236}">
                <a16:creationId xmlns:a16="http://schemas.microsoft.com/office/drawing/2014/main" id="{7B28D607-79B9-48CA-B3D1-2A066A95DB88}"/>
              </a:ext>
            </a:extLst>
          </p:cNvPr>
          <p:cNvSpPr>
            <a:spLocks noGrp="1"/>
          </p:cNvSpPr>
          <p:nvPr>
            <p:ph type="title"/>
          </p:nvPr>
        </p:nvSpPr>
        <p:spPr bwMode="gray"/>
        <p:txBody>
          <a:bodyPr/>
          <a:lstStyle/>
          <a:p>
            <a:r>
              <a:rPr lang="de-DE" dirty="0"/>
              <a:t>Biogas </a:t>
            </a:r>
            <a:r>
              <a:rPr lang="de-DE" dirty="0" err="1"/>
              <a:t>purification</a:t>
            </a:r>
            <a:endParaRPr lang="de-DE" dirty="0"/>
          </a:p>
        </p:txBody>
      </p:sp>
      <p:sp>
        <p:nvSpPr>
          <p:cNvPr id="7" name="Subtitle 6">
            <a:extLst>
              <a:ext uri="{FF2B5EF4-FFF2-40B4-BE49-F238E27FC236}">
                <a16:creationId xmlns:a16="http://schemas.microsoft.com/office/drawing/2014/main" id="{9F75A4E0-CECB-4DA4-B5BB-A4DD8999B737}"/>
              </a:ext>
            </a:extLst>
          </p:cNvPr>
          <p:cNvSpPr>
            <a:spLocks noGrp="1"/>
          </p:cNvSpPr>
          <p:nvPr>
            <p:ph type="subTitle" idx="13"/>
          </p:nvPr>
        </p:nvSpPr>
        <p:spPr bwMode="gray"/>
        <p:txBody>
          <a:bodyPr/>
          <a:lstStyle/>
          <a:p>
            <a:r>
              <a:rPr lang="de-DE" dirty="0"/>
              <a:t>Sophisticated </a:t>
            </a:r>
            <a:r>
              <a:rPr lang="de-DE" dirty="0" err="1"/>
              <a:t>analytical</a:t>
            </a:r>
            <a:r>
              <a:rPr lang="de-DE" dirty="0"/>
              <a:t> </a:t>
            </a:r>
            <a:r>
              <a:rPr lang="de-DE" dirty="0" err="1"/>
              <a:t>needs</a:t>
            </a:r>
            <a:r>
              <a:rPr lang="de-DE" dirty="0"/>
              <a:t> due </a:t>
            </a:r>
            <a:r>
              <a:rPr lang="de-DE" dirty="0" err="1"/>
              <a:t>to</a:t>
            </a:r>
            <a:r>
              <a:rPr lang="de-DE" dirty="0"/>
              <a:t> final </a:t>
            </a:r>
            <a:r>
              <a:rPr lang="de-DE" dirty="0" err="1"/>
              <a:t>product</a:t>
            </a:r>
            <a:r>
              <a:rPr lang="de-DE" dirty="0"/>
              <a:t> </a:t>
            </a:r>
            <a:r>
              <a:rPr lang="de-DE" dirty="0" err="1"/>
              <a:t>quality</a:t>
            </a:r>
            <a:endParaRPr lang="de-DE" dirty="0"/>
          </a:p>
        </p:txBody>
      </p:sp>
      <p:grpSp>
        <p:nvGrpSpPr>
          <p:cNvPr id="1990" name="Group 1989">
            <a:extLst>
              <a:ext uri="{FF2B5EF4-FFF2-40B4-BE49-F238E27FC236}">
                <a16:creationId xmlns:a16="http://schemas.microsoft.com/office/drawing/2014/main" id="{70241617-ED48-4865-9B35-F33B805801E3}"/>
              </a:ext>
            </a:extLst>
          </p:cNvPr>
          <p:cNvGrpSpPr/>
          <p:nvPr/>
        </p:nvGrpSpPr>
        <p:grpSpPr bwMode="gray">
          <a:xfrm>
            <a:off x="8798671" y="2124675"/>
            <a:ext cx="320674" cy="398463"/>
            <a:chOff x="8980485" y="3306679"/>
            <a:chExt cx="320674" cy="398463"/>
          </a:xfrm>
        </p:grpSpPr>
        <p:sp>
          <p:nvSpPr>
            <p:cNvPr id="1991" name="Freeform 337">
              <a:extLst>
                <a:ext uri="{FF2B5EF4-FFF2-40B4-BE49-F238E27FC236}">
                  <a16:creationId xmlns:a16="http://schemas.microsoft.com/office/drawing/2014/main" id="{C996B4F4-E707-429C-ADB7-D99239D94ABF}"/>
                </a:ext>
              </a:extLst>
            </p:cNvPr>
            <p:cNvSpPr>
              <a:spLocks/>
            </p:cNvSpPr>
            <p:nvPr/>
          </p:nvSpPr>
          <p:spPr bwMode="gray">
            <a:xfrm>
              <a:off x="9104310" y="3497179"/>
              <a:ext cx="55562" cy="169863"/>
            </a:xfrm>
            <a:custGeom>
              <a:avLst/>
              <a:gdLst>
                <a:gd name="T0" fmla="*/ 23 w 35"/>
                <a:gd name="T1" fmla="*/ 0 h 107"/>
                <a:gd name="T2" fmla="*/ 35 w 35"/>
                <a:gd name="T3" fmla="*/ 83 h 107"/>
                <a:gd name="T4" fmla="*/ 35 w 35"/>
                <a:gd name="T5" fmla="*/ 107 h 107"/>
                <a:gd name="T6" fmla="*/ 0 w 35"/>
                <a:gd name="T7" fmla="*/ 107 h 107"/>
                <a:gd name="T8" fmla="*/ 0 w 35"/>
                <a:gd name="T9" fmla="*/ 83 h 107"/>
                <a:gd name="T10" fmla="*/ 11 w 35"/>
                <a:gd name="T11" fmla="*/ 0 h 107"/>
              </a:gdLst>
              <a:ahLst/>
              <a:cxnLst>
                <a:cxn ang="0">
                  <a:pos x="T0" y="T1"/>
                </a:cxn>
                <a:cxn ang="0">
                  <a:pos x="T2" y="T3"/>
                </a:cxn>
                <a:cxn ang="0">
                  <a:pos x="T4" y="T5"/>
                </a:cxn>
                <a:cxn ang="0">
                  <a:pos x="T6" y="T7"/>
                </a:cxn>
                <a:cxn ang="0">
                  <a:pos x="T8" y="T9"/>
                </a:cxn>
                <a:cxn ang="0">
                  <a:pos x="T10" y="T11"/>
                </a:cxn>
              </a:cxnLst>
              <a:rect l="0" t="0" r="r" b="b"/>
              <a:pathLst>
                <a:path w="35" h="107">
                  <a:moveTo>
                    <a:pt x="23" y="0"/>
                  </a:moveTo>
                  <a:lnTo>
                    <a:pt x="35" y="83"/>
                  </a:lnTo>
                  <a:lnTo>
                    <a:pt x="35" y="107"/>
                  </a:lnTo>
                  <a:lnTo>
                    <a:pt x="0" y="107"/>
                  </a:lnTo>
                  <a:lnTo>
                    <a:pt x="0" y="83"/>
                  </a:lnTo>
                  <a:lnTo>
                    <a:pt x="11" y="0"/>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992" name="Freeform 338">
              <a:extLst>
                <a:ext uri="{FF2B5EF4-FFF2-40B4-BE49-F238E27FC236}">
                  <a16:creationId xmlns:a16="http://schemas.microsoft.com/office/drawing/2014/main" id="{9F08802B-E9A9-48F3-A56B-2CB573CAD8AF}"/>
                </a:ext>
              </a:extLst>
            </p:cNvPr>
            <p:cNvSpPr>
              <a:spLocks/>
            </p:cNvSpPr>
            <p:nvPr/>
          </p:nvSpPr>
          <p:spPr bwMode="gray">
            <a:xfrm>
              <a:off x="9066210" y="3667042"/>
              <a:ext cx="131762" cy="38100"/>
            </a:xfrm>
            <a:custGeom>
              <a:avLst/>
              <a:gdLst>
                <a:gd name="T0" fmla="*/ 12 w 83"/>
                <a:gd name="T1" fmla="*/ 0 h 24"/>
                <a:gd name="T2" fmla="*/ 0 w 83"/>
                <a:gd name="T3" fmla="*/ 24 h 24"/>
                <a:gd name="T4" fmla="*/ 0 w 83"/>
                <a:gd name="T5" fmla="*/ 24 h 24"/>
                <a:gd name="T6" fmla="*/ 83 w 83"/>
                <a:gd name="T7" fmla="*/ 24 h 24"/>
                <a:gd name="T8" fmla="*/ 83 w 83"/>
                <a:gd name="T9" fmla="*/ 24 h 24"/>
                <a:gd name="T10" fmla="*/ 71 w 83"/>
                <a:gd name="T11" fmla="*/ 0 h 24"/>
                <a:gd name="T12" fmla="*/ 12 w 83"/>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83" h="24">
                  <a:moveTo>
                    <a:pt x="12" y="0"/>
                  </a:moveTo>
                  <a:lnTo>
                    <a:pt x="0" y="24"/>
                  </a:lnTo>
                  <a:lnTo>
                    <a:pt x="0" y="24"/>
                  </a:lnTo>
                  <a:lnTo>
                    <a:pt x="83" y="24"/>
                  </a:lnTo>
                  <a:lnTo>
                    <a:pt x="83" y="24"/>
                  </a:lnTo>
                  <a:lnTo>
                    <a:pt x="71" y="0"/>
                  </a:lnTo>
                  <a:lnTo>
                    <a:pt x="12" y="0"/>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993" name="Freeform 339">
              <a:extLst>
                <a:ext uri="{FF2B5EF4-FFF2-40B4-BE49-F238E27FC236}">
                  <a16:creationId xmlns:a16="http://schemas.microsoft.com/office/drawing/2014/main" id="{2CC0F13E-2E6E-48F7-AE4C-AAB4254EEE5B}"/>
                </a:ext>
              </a:extLst>
            </p:cNvPr>
            <p:cNvSpPr>
              <a:spLocks/>
            </p:cNvSpPr>
            <p:nvPr/>
          </p:nvSpPr>
          <p:spPr bwMode="gray">
            <a:xfrm>
              <a:off x="9112247" y="3468604"/>
              <a:ext cx="38100" cy="38100"/>
            </a:xfrm>
            <a:custGeom>
              <a:avLst/>
              <a:gdLst>
                <a:gd name="T0" fmla="*/ 18 w 24"/>
                <a:gd name="T1" fmla="*/ 0 h 24"/>
                <a:gd name="T2" fmla="*/ 6 w 24"/>
                <a:gd name="T3" fmla="*/ 0 h 24"/>
                <a:gd name="T4" fmla="*/ 6 w 24"/>
                <a:gd name="T5" fmla="*/ 0 h 24"/>
                <a:gd name="T6" fmla="*/ 3 w 24"/>
                <a:gd name="T7" fmla="*/ 0 h 24"/>
                <a:gd name="T8" fmla="*/ 2 w 24"/>
                <a:gd name="T9" fmla="*/ 1 h 24"/>
                <a:gd name="T10" fmla="*/ 0 w 24"/>
                <a:gd name="T11" fmla="*/ 3 h 24"/>
                <a:gd name="T12" fmla="*/ 0 w 24"/>
                <a:gd name="T13" fmla="*/ 6 h 24"/>
                <a:gd name="T14" fmla="*/ 0 w 24"/>
                <a:gd name="T15" fmla="*/ 18 h 24"/>
                <a:gd name="T16" fmla="*/ 0 w 24"/>
                <a:gd name="T17" fmla="*/ 18 h 24"/>
                <a:gd name="T18" fmla="*/ 0 w 24"/>
                <a:gd name="T19" fmla="*/ 21 h 24"/>
                <a:gd name="T20" fmla="*/ 2 w 24"/>
                <a:gd name="T21" fmla="*/ 22 h 24"/>
                <a:gd name="T22" fmla="*/ 3 w 24"/>
                <a:gd name="T23" fmla="*/ 24 h 24"/>
                <a:gd name="T24" fmla="*/ 6 w 24"/>
                <a:gd name="T25" fmla="*/ 24 h 24"/>
                <a:gd name="T26" fmla="*/ 18 w 24"/>
                <a:gd name="T27" fmla="*/ 24 h 24"/>
                <a:gd name="T28" fmla="*/ 18 w 24"/>
                <a:gd name="T29" fmla="*/ 24 h 24"/>
                <a:gd name="T30" fmla="*/ 21 w 24"/>
                <a:gd name="T31" fmla="*/ 24 h 24"/>
                <a:gd name="T32" fmla="*/ 23 w 24"/>
                <a:gd name="T33" fmla="*/ 22 h 24"/>
                <a:gd name="T34" fmla="*/ 24 w 24"/>
                <a:gd name="T35" fmla="*/ 21 h 24"/>
                <a:gd name="T36" fmla="*/ 24 w 24"/>
                <a:gd name="T37" fmla="*/ 18 h 24"/>
                <a:gd name="T38" fmla="*/ 24 w 24"/>
                <a:gd name="T39" fmla="*/ 6 h 24"/>
                <a:gd name="T40" fmla="*/ 24 w 24"/>
                <a:gd name="T41" fmla="*/ 6 h 24"/>
                <a:gd name="T42" fmla="*/ 24 w 24"/>
                <a:gd name="T43" fmla="*/ 3 h 24"/>
                <a:gd name="T44" fmla="*/ 23 w 24"/>
                <a:gd name="T45" fmla="*/ 1 h 24"/>
                <a:gd name="T46" fmla="*/ 21 w 24"/>
                <a:gd name="T47" fmla="*/ 0 h 24"/>
                <a:gd name="T48" fmla="*/ 18 w 24"/>
                <a:gd name="T49" fmla="*/ 0 h 24"/>
                <a:gd name="T50" fmla="*/ 18 w 24"/>
                <a:gd name="T5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4">
                  <a:moveTo>
                    <a:pt x="18" y="0"/>
                  </a:moveTo>
                  <a:lnTo>
                    <a:pt x="6" y="0"/>
                  </a:lnTo>
                  <a:lnTo>
                    <a:pt x="6" y="0"/>
                  </a:lnTo>
                  <a:lnTo>
                    <a:pt x="3" y="0"/>
                  </a:lnTo>
                  <a:lnTo>
                    <a:pt x="2" y="1"/>
                  </a:lnTo>
                  <a:lnTo>
                    <a:pt x="0" y="3"/>
                  </a:lnTo>
                  <a:lnTo>
                    <a:pt x="0" y="6"/>
                  </a:lnTo>
                  <a:lnTo>
                    <a:pt x="0" y="18"/>
                  </a:lnTo>
                  <a:lnTo>
                    <a:pt x="0" y="18"/>
                  </a:lnTo>
                  <a:lnTo>
                    <a:pt x="0" y="21"/>
                  </a:lnTo>
                  <a:lnTo>
                    <a:pt x="2" y="22"/>
                  </a:lnTo>
                  <a:lnTo>
                    <a:pt x="3" y="24"/>
                  </a:lnTo>
                  <a:lnTo>
                    <a:pt x="6" y="24"/>
                  </a:lnTo>
                  <a:lnTo>
                    <a:pt x="18" y="24"/>
                  </a:lnTo>
                  <a:lnTo>
                    <a:pt x="18" y="24"/>
                  </a:lnTo>
                  <a:lnTo>
                    <a:pt x="21" y="24"/>
                  </a:lnTo>
                  <a:lnTo>
                    <a:pt x="23" y="22"/>
                  </a:lnTo>
                  <a:lnTo>
                    <a:pt x="24" y="21"/>
                  </a:lnTo>
                  <a:lnTo>
                    <a:pt x="24" y="18"/>
                  </a:lnTo>
                  <a:lnTo>
                    <a:pt x="24" y="6"/>
                  </a:lnTo>
                  <a:lnTo>
                    <a:pt x="24" y="6"/>
                  </a:lnTo>
                  <a:lnTo>
                    <a:pt x="24" y="3"/>
                  </a:lnTo>
                  <a:lnTo>
                    <a:pt x="23" y="1"/>
                  </a:lnTo>
                  <a:lnTo>
                    <a:pt x="21" y="0"/>
                  </a:lnTo>
                  <a:lnTo>
                    <a:pt x="18" y="0"/>
                  </a:lnTo>
                  <a:lnTo>
                    <a:pt x="18" y="0"/>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994" name="Freeform 340">
              <a:extLst>
                <a:ext uri="{FF2B5EF4-FFF2-40B4-BE49-F238E27FC236}">
                  <a16:creationId xmlns:a16="http://schemas.microsoft.com/office/drawing/2014/main" id="{75A32848-0162-4B09-A4E9-67C1370EA628}"/>
                </a:ext>
              </a:extLst>
            </p:cNvPr>
            <p:cNvSpPr>
              <a:spLocks/>
            </p:cNvSpPr>
            <p:nvPr/>
          </p:nvSpPr>
          <p:spPr bwMode="gray">
            <a:xfrm>
              <a:off x="9121772" y="3306679"/>
              <a:ext cx="47625" cy="161925"/>
            </a:xfrm>
            <a:custGeom>
              <a:avLst/>
              <a:gdLst>
                <a:gd name="T0" fmla="*/ 0 w 30"/>
                <a:gd name="T1" fmla="*/ 0 h 102"/>
                <a:gd name="T2" fmla="*/ 6 w 30"/>
                <a:gd name="T3" fmla="*/ 0 h 102"/>
                <a:gd name="T4" fmla="*/ 30 w 30"/>
                <a:gd name="T5" fmla="*/ 78 h 102"/>
                <a:gd name="T6" fmla="*/ 12 w 30"/>
                <a:gd name="T7" fmla="*/ 102 h 102"/>
                <a:gd name="T8" fmla="*/ 0 w 30"/>
                <a:gd name="T9" fmla="*/ 102 h 102"/>
                <a:gd name="T10" fmla="*/ 0 w 30"/>
                <a:gd name="T11" fmla="*/ 0 h 102"/>
              </a:gdLst>
              <a:ahLst/>
              <a:cxnLst>
                <a:cxn ang="0">
                  <a:pos x="T0" y="T1"/>
                </a:cxn>
                <a:cxn ang="0">
                  <a:pos x="T2" y="T3"/>
                </a:cxn>
                <a:cxn ang="0">
                  <a:pos x="T4" y="T5"/>
                </a:cxn>
                <a:cxn ang="0">
                  <a:pos x="T6" y="T7"/>
                </a:cxn>
                <a:cxn ang="0">
                  <a:pos x="T8" y="T9"/>
                </a:cxn>
                <a:cxn ang="0">
                  <a:pos x="T10" y="T11"/>
                </a:cxn>
              </a:cxnLst>
              <a:rect l="0" t="0" r="r" b="b"/>
              <a:pathLst>
                <a:path w="30" h="102">
                  <a:moveTo>
                    <a:pt x="0" y="0"/>
                  </a:moveTo>
                  <a:lnTo>
                    <a:pt x="6" y="0"/>
                  </a:lnTo>
                  <a:lnTo>
                    <a:pt x="30" y="78"/>
                  </a:lnTo>
                  <a:lnTo>
                    <a:pt x="12" y="102"/>
                  </a:lnTo>
                  <a:lnTo>
                    <a:pt x="0" y="102"/>
                  </a:lnTo>
                  <a:lnTo>
                    <a:pt x="0" y="0"/>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995" name="Freeform 341">
              <a:extLst>
                <a:ext uri="{FF2B5EF4-FFF2-40B4-BE49-F238E27FC236}">
                  <a16:creationId xmlns:a16="http://schemas.microsoft.com/office/drawing/2014/main" id="{3E99F084-1F36-4561-BEB5-1E1BB7B5764E}"/>
                </a:ext>
              </a:extLst>
            </p:cNvPr>
            <p:cNvSpPr>
              <a:spLocks/>
            </p:cNvSpPr>
            <p:nvPr/>
          </p:nvSpPr>
          <p:spPr bwMode="gray">
            <a:xfrm>
              <a:off x="8980485" y="3478129"/>
              <a:ext cx="131762" cy="103188"/>
            </a:xfrm>
            <a:custGeom>
              <a:avLst/>
              <a:gdLst>
                <a:gd name="T0" fmla="*/ 6 w 83"/>
                <a:gd name="T1" fmla="*/ 65 h 65"/>
                <a:gd name="T2" fmla="*/ 0 w 83"/>
                <a:gd name="T3" fmla="*/ 59 h 65"/>
                <a:gd name="T4" fmla="*/ 48 w 83"/>
                <a:gd name="T5" fmla="*/ 0 h 65"/>
                <a:gd name="T6" fmla="*/ 83 w 83"/>
                <a:gd name="T7" fmla="*/ 0 h 65"/>
                <a:gd name="T8" fmla="*/ 83 w 83"/>
                <a:gd name="T9" fmla="*/ 12 h 65"/>
                <a:gd name="T10" fmla="*/ 6 w 83"/>
                <a:gd name="T11" fmla="*/ 65 h 65"/>
              </a:gdLst>
              <a:ahLst/>
              <a:cxnLst>
                <a:cxn ang="0">
                  <a:pos x="T0" y="T1"/>
                </a:cxn>
                <a:cxn ang="0">
                  <a:pos x="T2" y="T3"/>
                </a:cxn>
                <a:cxn ang="0">
                  <a:pos x="T4" y="T5"/>
                </a:cxn>
                <a:cxn ang="0">
                  <a:pos x="T6" y="T7"/>
                </a:cxn>
                <a:cxn ang="0">
                  <a:pos x="T8" y="T9"/>
                </a:cxn>
                <a:cxn ang="0">
                  <a:pos x="T10" y="T11"/>
                </a:cxn>
              </a:cxnLst>
              <a:rect l="0" t="0" r="r" b="b"/>
              <a:pathLst>
                <a:path w="83" h="65">
                  <a:moveTo>
                    <a:pt x="6" y="65"/>
                  </a:moveTo>
                  <a:lnTo>
                    <a:pt x="0" y="59"/>
                  </a:lnTo>
                  <a:lnTo>
                    <a:pt x="48" y="0"/>
                  </a:lnTo>
                  <a:lnTo>
                    <a:pt x="83" y="0"/>
                  </a:lnTo>
                  <a:lnTo>
                    <a:pt x="83" y="12"/>
                  </a:lnTo>
                  <a:lnTo>
                    <a:pt x="6" y="65"/>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1996" name="Freeform 342">
              <a:extLst>
                <a:ext uri="{FF2B5EF4-FFF2-40B4-BE49-F238E27FC236}">
                  <a16:creationId xmlns:a16="http://schemas.microsoft.com/office/drawing/2014/main" id="{26988DC1-437F-477B-8AF0-A939A8AF162A}"/>
                </a:ext>
              </a:extLst>
            </p:cNvPr>
            <p:cNvSpPr>
              <a:spLocks/>
            </p:cNvSpPr>
            <p:nvPr/>
          </p:nvSpPr>
          <p:spPr bwMode="gray">
            <a:xfrm>
              <a:off x="9150347" y="3478129"/>
              <a:ext cx="150812" cy="74613"/>
            </a:xfrm>
            <a:custGeom>
              <a:avLst/>
              <a:gdLst>
                <a:gd name="T0" fmla="*/ 0 w 95"/>
                <a:gd name="T1" fmla="*/ 0 h 47"/>
                <a:gd name="T2" fmla="*/ 0 w 95"/>
                <a:gd name="T3" fmla="*/ 12 h 47"/>
                <a:gd name="T4" fmla="*/ 18 w 95"/>
                <a:gd name="T5" fmla="*/ 41 h 47"/>
                <a:gd name="T6" fmla="*/ 89 w 95"/>
                <a:gd name="T7" fmla="*/ 47 h 47"/>
                <a:gd name="T8" fmla="*/ 95 w 95"/>
                <a:gd name="T9" fmla="*/ 41 h 47"/>
                <a:gd name="T10" fmla="*/ 0 w 95"/>
                <a:gd name="T11" fmla="*/ 0 h 47"/>
              </a:gdLst>
              <a:ahLst/>
              <a:cxnLst>
                <a:cxn ang="0">
                  <a:pos x="T0" y="T1"/>
                </a:cxn>
                <a:cxn ang="0">
                  <a:pos x="T2" y="T3"/>
                </a:cxn>
                <a:cxn ang="0">
                  <a:pos x="T4" y="T5"/>
                </a:cxn>
                <a:cxn ang="0">
                  <a:pos x="T6" y="T7"/>
                </a:cxn>
                <a:cxn ang="0">
                  <a:pos x="T8" y="T9"/>
                </a:cxn>
                <a:cxn ang="0">
                  <a:pos x="T10" y="T11"/>
                </a:cxn>
              </a:cxnLst>
              <a:rect l="0" t="0" r="r" b="b"/>
              <a:pathLst>
                <a:path w="95" h="47">
                  <a:moveTo>
                    <a:pt x="0" y="0"/>
                  </a:moveTo>
                  <a:lnTo>
                    <a:pt x="0" y="12"/>
                  </a:lnTo>
                  <a:lnTo>
                    <a:pt x="18" y="41"/>
                  </a:lnTo>
                  <a:lnTo>
                    <a:pt x="89" y="47"/>
                  </a:lnTo>
                  <a:lnTo>
                    <a:pt x="95" y="41"/>
                  </a:lnTo>
                  <a:lnTo>
                    <a:pt x="0" y="0"/>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grpSp>
      <p:grpSp>
        <p:nvGrpSpPr>
          <p:cNvPr id="2058" name="Group 2057">
            <a:extLst>
              <a:ext uri="{FF2B5EF4-FFF2-40B4-BE49-F238E27FC236}">
                <a16:creationId xmlns:a16="http://schemas.microsoft.com/office/drawing/2014/main" id="{94462029-0A8F-4F8C-9037-D527E5B8E3C8}"/>
              </a:ext>
            </a:extLst>
          </p:cNvPr>
          <p:cNvGrpSpPr/>
          <p:nvPr/>
        </p:nvGrpSpPr>
        <p:grpSpPr bwMode="gray">
          <a:xfrm>
            <a:off x="6879212" y="2133613"/>
            <a:ext cx="4278362" cy="2914492"/>
            <a:chOff x="6330492" y="2176408"/>
            <a:chExt cx="4278362" cy="2914492"/>
          </a:xfrm>
        </p:grpSpPr>
        <p:grpSp>
          <p:nvGrpSpPr>
            <p:cNvPr id="1902" name="Group 1901">
              <a:extLst>
                <a:ext uri="{FF2B5EF4-FFF2-40B4-BE49-F238E27FC236}">
                  <a16:creationId xmlns:a16="http://schemas.microsoft.com/office/drawing/2014/main" id="{3B64ECAF-D29A-4E0A-907A-7CED1D176B17}"/>
                </a:ext>
              </a:extLst>
            </p:cNvPr>
            <p:cNvGrpSpPr/>
            <p:nvPr/>
          </p:nvGrpSpPr>
          <p:grpSpPr bwMode="gray">
            <a:xfrm>
              <a:off x="6606680" y="3143948"/>
              <a:ext cx="303933" cy="667622"/>
              <a:chOff x="3833047" y="2969533"/>
              <a:chExt cx="967802" cy="2125881"/>
            </a:xfrm>
          </p:grpSpPr>
          <p:sp>
            <p:nvSpPr>
              <p:cNvPr id="1904" name="Rectangle: Rounded Corners 1903">
                <a:extLst>
                  <a:ext uri="{FF2B5EF4-FFF2-40B4-BE49-F238E27FC236}">
                    <a16:creationId xmlns:a16="http://schemas.microsoft.com/office/drawing/2014/main" id="{C7B1DA6A-16D4-413B-BD26-EAADF29D999F}"/>
                  </a:ext>
                </a:extLst>
              </p:cNvPr>
              <p:cNvSpPr/>
              <p:nvPr/>
            </p:nvSpPr>
            <p:spPr bwMode="gray">
              <a:xfrm>
                <a:off x="3833047" y="2969533"/>
                <a:ext cx="967802" cy="2125881"/>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cxnSp>
            <p:nvCxnSpPr>
              <p:cNvPr id="1905" name="Straight Connector 1904">
                <a:extLst>
                  <a:ext uri="{FF2B5EF4-FFF2-40B4-BE49-F238E27FC236}">
                    <a16:creationId xmlns:a16="http://schemas.microsoft.com/office/drawing/2014/main" id="{7B67D271-5F74-4890-A25D-7C893F06A54C}"/>
                  </a:ext>
                </a:extLst>
              </p:cNvPr>
              <p:cNvCxnSpPr>
                <a:cxnSpLocks/>
              </p:cNvCxnSpPr>
              <p:nvPr/>
            </p:nvCxnSpPr>
            <p:spPr bwMode="gray">
              <a:xfrm flipH="1"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06" name="Straight Connector 1905">
                <a:extLst>
                  <a:ext uri="{FF2B5EF4-FFF2-40B4-BE49-F238E27FC236}">
                    <a16:creationId xmlns:a16="http://schemas.microsoft.com/office/drawing/2014/main" id="{E1B026EA-7D55-48A7-8DDD-9805EC21834C}"/>
                  </a:ext>
                </a:extLst>
              </p:cNvPr>
              <p:cNvCxnSpPr>
                <a:cxnSpLocks/>
              </p:cNvCxnSpPr>
              <p:nvPr/>
            </p:nvCxnSpPr>
            <p:spPr bwMode="gray">
              <a:xfrm flipV="1">
                <a:off x="3847173" y="3416300"/>
                <a:ext cx="939551" cy="1234439"/>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07" name="Rectangle 1906">
                <a:extLst>
                  <a:ext uri="{FF2B5EF4-FFF2-40B4-BE49-F238E27FC236}">
                    <a16:creationId xmlns:a16="http://schemas.microsoft.com/office/drawing/2014/main" id="{0006EB15-F803-464D-A18D-70DEC77183FB}"/>
                  </a:ext>
                </a:extLst>
              </p:cNvPr>
              <p:cNvSpPr/>
              <p:nvPr/>
            </p:nvSpPr>
            <p:spPr bwMode="gray">
              <a:xfrm>
                <a:off x="3833047" y="3414210"/>
                <a:ext cx="967802" cy="1236529"/>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endParaRPr lang="de-DE" sz="1000" dirty="0">
                  <a:solidFill>
                    <a:schemeClr val="tx1"/>
                  </a:solidFill>
                </a:endParaRPr>
              </a:p>
            </p:txBody>
          </p:sp>
        </p:grpSp>
        <p:sp>
          <p:nvSpPr>
            <p:cNvPr id="1903" name="Rectangle 1902">
              <a:extLst>
                <a:ext uri="{FF2B5EF4-FFF2-40B4-BE49-F238E27FC236}">
                  <a16:creationId xmlns:a16="http://schemas.microsoft.com/office/drawing/2014/main" id="{931EAB71-39B5-4AA4-8E94-AC0E9810945E}"/>
                </a:ext>
              </a:extLst>
            </p:cNvPr>
            <p:cNvSpPr/>
            <p:nvPr/>
          </p:nvSpPr>
          <p:spPr bwMode="gray">
            <a:xfrm>
              <a:off x="6415467" y="3806076"/>
              <a:ext cx="686358" cy="36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Biogas reactor</a:t>
              </a:r>
            </a:p>
          </p:txBody>
        </p:sp>
        <p:sp>
          <p:nvSpPr>
            <p:cNvPr id="1909" name="Rectangle: Rounded Corners 1908">
              <a:extLst>
                <a:ext uri="{FF2B5EF4-FFF2-40B4-BE49-F238E27FC236}">
                  <a16:creationId xmlns:a16="http://schemas.microsoft.com/office/drawing/2014/main" id="{582BC22D-F1C7-493E-9B85-EC487E0CC5FC}"/>
                </a:ext>
              </a:extLst>
            </p:cNvPr>
            <p:cNvSpPr/>
            <p:nvPr/>
          </p:nvSpPr>
          <p:spPr bwMode="gray">
            <a:xfrm>
              <a:off x="7668849" y="3143948"/>
              <a:ext cx="303933" cy="667622"/>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sp>
          <p:nvSpPr>
            <p:cNvPr id="1910" name="Rectangle 1909">
              <a:extLst>
                <a:ext uri="{FF2B5EF4-FFF2-40B4-BE49-F238E27FC236}">
                  <a16:creationId xmlns:a16="http://schemas.microsoft.com/office/drawing/2014/main" id="{9B35FCA8-57E6-476B-A1ED-D7E144D54962}"/>
                </a:ext>
              </a:extLst>
            </p:cNvPr>
            <p:cNvSpPr/>
            <p:nvPr/>
          </p:nvSpPr>
          <p:spPr bwMode="gray">
            <a:xfrm>
              <a:off x="7407120" y="3806076"/>
              <a:ext cx="827390" cy="36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Gas cleaning</a:t>
              </a:r>
            </a:p>
          </p:txBody>
        </p:sp>
        <p:sp>
          <p:nvSpPr>
            <p:cNvPr id="1912" name="Rectangle: Rounded Corners 1911">
              <a:extLst>
                <a:ext uri="{FF2B5EF4-FFF2-40B4-BE49-F238E27FC236}">
                  <a16:creationId xmlns:a16="http://schemas.microsoft.com/office/drawing/2014/main" id="{A801BE55-585E-4C78-8B87-C951D4BB6119}"/>
                </a:ext>
              </a:extLst>
            </p:cNvPr>
            <p:cNvSpPr/>
            <p:nvPr/>
          </p:nvSpPr>
          <p:spPr bwMode="gray">
            <a:xfrm>
              <a:off x="8795612" y="3143948"/>
              <a:ext cx="303933" cy="667622"/>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sp>
          <p:nvSpPr>
            <p:cNvPr id="1913" name="Rectangle 1912">
              <a:extLst>
                <a:ext uri="{FF2B5EF4-FFF2-40B4-BE49-F238E27FC236}">
                  <a16:creationId xmlns:a16="http://schemas.microsoft.com/office/drawing/2014/main" id="{6B26AEC1-F6E3-4530-89E7-59549D20622B}"/>
                </a:ext>
              </a:extLst>
            </p:cNvPr>
            <p:cNvSpPr/>
            <p:nvPr/>
          </p:nvSpPr>
          <p:spPr bwMode="gray">
            <a:xfrm>
              <a:off x="8533883" y="3806076"/>
              <a:ext cx="827390" cy="36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Bio-reforming</a:t>
              </a:r>
            </a:p>
          </p:txBody>
        </p:sp>
        <p:sp>
          <p:nvSpPr>
            <p:cNvPr id="1915" name="Rectangle: Rounded Corners 1914">
              <a:extLst>
                <a:ext uri="{FF2B5EF4-FFF2-40B4-BE49-F238E27FC236}">
                  <a16:creationId xmlns:a16="http://schemas.microsoft.com/office/drawing/2014/main" id="{2D3DDA6B-67F1-40A6-9542-5E46519BF951}"/>
                </a:ext>
              </a:extLst>
            </p:cNvPr>
            <p:cNvSpPr/>
            <p:nvPr/>
          </p:nvSpPr>
          <p:spPr bwMode="gray">
            <a:xfrm>
              <a:off x="9922375" y="3143948"/>
              <a:ext cx="303933" cy="667622"/>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sp>
          <p:nvSpPr>
            <p:cNvPr id="1916" name="Rectangle 1915">
              <a:extLst>
                <a:ext uri="{FF2B5EF4-FFF2-40B4-BE49-F238E27FC236}">
                  <a16:creationId xmlns:a16="http://schemas.microsoft.com/office/drawing/2014/main" id="{27B48083-BA21-4038-B567-E71FAD9A86BC}"/>
                </a:ext>
              </a:extLst>
            </p:cNvPr>
            <p:cNvSpPr/>
            <p:nvPr/>
          </p:nvSpPr>
          <p:spPr bwMode="gray">
            <a:xfrm>
              <a:off x="9660646" y="3806076"/>
              <a:ext cx="827390" cy="360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Methanol synthesis</a:t>
              </a:r>
            </a:p>
          </p:txBody>
        </p:sp>
        <p:grpSp>
          <p:nvGrpSpPr>
            <p:cNvPr id="1950" name="Group 1949">
              <a:extLst>
                <a:ext uri="{FF2B5EF4-FFF2-40B4-BE49-F238E27FC236}">
                  <a16:creationId xmlns:a16="http://schemas.microsoft.com/office/drawing/2014/main" id="{C9F32011-5F54-4DF1-9D9B-7D9B73DD1F8A}"/>
                </a:ext>
              </a:extLst>
            </p:cNvPr>
            <p:cNvGrpSpPr/>
            <p:nvPr/>
          </p:nvGrpSpPr>
          <p:grpSpPr bwMode="gray">
            <a:xfrm>
              <a:off x="6330492" y="4690603"/>
              <a:ext cx="856308" cy="400297"/>
              <a:chOff x="7275324" y="3551822"/>
              <a:chExt cx="856308" cy="400297"/>
            </a:xfrm>
          </p:grpSpPr>
          <p:sp>
            <p:nvSpPr>
              <p:cNvPr id="1934" name="Freeform: Shape 1933">
                <a:extLst>
                  <a:ext uri="{FF2B5EF4-FFF2-40B4-BE49-F238E27FC236}">
                    <a16:creationId xmlns:a16="http://schemas.microsoft.com/office/drawing/2014/main" id="{AD9CBA30-1CA1-4D05-9641-1737E6A687F1}"/>
                  </a:ext>
                </a:extLst>
              </p:cNvPr>
              <p:cNvSpPr/>
              <p:nvPr/>
            </p:nvSpPr>
            <p:spPr bwMode="gray">
              <a:xfrm>
                <a:off x="7524119" y="3551822"/>
                <a:ext cx="358718" cy="185210"/>
              </a:xfrm>
              <a:custGeom>
                <a:avLst/>
                <a:gdLst>
                  <a:gd name="connsiteX0" fmla="*/ 509767 w 930190"/>
                  <a:gd name="connsiteY0" fmla="*/ 0 h 336789"/>
                  <a:gd name="connsiteX1" fmla="*/ 511596 w 930190"/>
                  <a:gd name="connsiteY1" fmla="*/ 117 h 336789"/>
                  <a:gd name="connsiteX2" fmla="*/ 512928 w 930190"/>
                  <a:gd name="connsiteY2" fmla="*/ 1208 h 336789"/>
                  <a:gd name="connsiteX3" fmla="*/ 513201 w 930190"/>
                  <a:gd name="connsiteY3" fmla="*/ 2220 h 336789"/>
                  <a:gd name="connsiteX4" fmla="*/ 513640 w 930190"/>
                  <a:gd name="connsiteY4" fmla="*/ 2008 h 336789"/>
                  <a:gd name="connsiteX5" fmla="*/ 515470 w 930190"/>
                  <a:gd name="connsiteY5" fmla="*/ 2126 h 336789"/>
                  <a:gd name="connsiteX6" fmla="*/ 515929 w 930190"/>
                  <a:gd name="connsiteY6" fmla="*/ 2502 h 336789"/>
                  <a:gd name="connsiteX7" fmla="*/ 517283 w 930190"/>
                  <a:gd name="connsiteY7" fmla="*/ 2495 h 336789"/>
                  <a:gd name="connsiteX8" fmla="*/ 518686 w 930190"/>
                  <a:gd name="connsiteY8" fmla="*/ 3294 h 336789"/>
                  <a:gd name="connsiteX9" fmla="*/ 518966 w 930190"/>
                  <a:gd name="connsiteY9" fmla="*/ 3312 h 336789"/>
                  <a:gd name="connsiteX10" fmla="*/ 519728 w 930190"/>
                  <a:gd name="connsiteY10" fmla="*/ 2719 h 336789"/>
                  <a:gd name="connsiteX11" fmla="*/ 521733 w 930190"/>
                  <a:gd name="connsiteY11" fmla="*/ 2393 h 336789"/>
                  <a:gd name="connsiteX12" fmla="*/ 523321 w 930190"/>
                  <a:gd name="connsiteY12" fmla="*/ 3297 h 336789"/>
                  <a:gd name="connsiteX13" fmla="*/ 523608 w 930190"/>
                  <a:gd name="connsiteY13" fmla="*/ 4026 h 336789"/>
                  <a:gd name="connsiteX14" fmla="*/ 524923 w 930190"/>
                  <a:gd name="connsiteY14" fmla="*/ 4110 h 336789"/>
                  <a:gd name="connsiteX15" fmla="*/ 526255 w 930190"/>
                  <a:gd name="connsiteY15" fmla="*/ 5201 h 336789"/>
                  <a:gd name="connsiteX16" fmla="*/ 526733 w 930190"/>
                  <a:gd name="connsiteY16" fmla="*/ 6972 h 336789"/>
                  <a:gd name="connsiteX17" fmla="*/ 526657 w 930190"/>
                  <a:gd name="connsiteY17" fmla="*/ 7266 h 336789"/>
                  <a:gd name="connsiteX18" fmla="*/ 527002 w 930190"/>
                  <a:gd name="connsiteY18" fmla="*/ 7463 h 336789"/>
                  <a:gd name="connsiteX19" fmla="*/ 529145 w 930190"/>
                  <a:gd name="connsiteY19" fmla="*/ 5797 h 336789"/>
                  <a:gd name="connsiteX20" fmla="*/ 534102 w 930190"/>
                  <a:gd name="connsiteY20" fmla="*/ 4991 h 336789"/>
                  <a:gd name="connsiteX21" fmla="*/ 538026 w 930190"/>
                  <a:gd name="connsiteY21" fmla="*/ 7226 h 336789"/>
                  <a:gd name="connsiteX22" fmla="*/ 538232 w 930190"/>
                  <a:gd name="connsiteY22" fmla="*/ 7750 h 336789"/>
                  <a:gd name="connsiteX23" fmla="*/ 538263 w 930190"/>
                  <a:gd name="connsiteY23" fmla="*/ 7721 h 336789"/>
                  <a:gd name="connsiteX24" fmla="*/ 540034 w 930190"/>
                  <a:gd name="connsiteY24" fmla="*/ 7269 h 336789"/>
                  <a:gd name="connsiteX25" fmla="*/ 541792 w 930190"/>
                  <a:gd name="connsiteY25" fmla="*/ 7762 h 336789"/>
                  <a:gd name="connsiteX26" fmla="*/ 542482 w 930190"/>
                  <a:gd name="connsiteY26" fmla="*/ 8469 h 336789"/>
                  <a:gd name="connsiteX27" fmla="*/ 544521 w 930190"/>
                  <a:gd name="connsiteY27" fmla="*/ 7651 h 336789"/>
                  <a:gd name="connsiteX28" fmla="*/ 546541 w 930190"/>
                  <a:gd name="connsiteY28" fmla="*/ 7892 h 336789"/>
                  <a:gd name="connsiteX29" fmla="*/ 547817 w 930190"/>
                  <a:gd name="connsiteY29" fmla="*/ 9198 h 336789"/>
                  <a:gd name="connsiteX30" fmla="*/ 547970 w 930190"/>
                  <a:gd name="connsiteY30" fmla="*/ 10821 h 336789"/>
                  <a:gd name="connsiteX31" fmla="*/ 548370 w 930190"/>
                  <a:gd name="connsiteY31" fmla="*/ 10869 h 336789"/>
                  <a:gd name="connsiteX32" fmla="*/ 549646 w 930190"/>
                  <a:gd name="connsiteY32" fmla="*/ 12177 h 336789"/>
                  <a:gd name="connsiteX33" fmla="*/ 549713 w 930190"/>
                  <a:gd name="connsiteY33" fmla="*/ 12878 h 336789"/>
                  <a:gd name="connsiteX34" fmla="*/ 549858 w 930190"/>
                  <a:gd name="connsiteY34" fmla="*/ 12736 h 336789"/>
                  <a:gd name="connsiteX35" fmla="*/ 552260 w 930190"/>
                  <a:gd name="connsiteY35" fmla="*/ 12032 h 336789"/>
                  <a:gd name="connsiteX36" fmla="*/ 554593 w 930190"/>
                  <a:gd name="connsiteY36" fmla="*/ 12596 h 336789"/>
                  <a:gd name="connsiteX37" fmla="*/ 556235 w 930190"/>
                  <a:gd name="connsiteY37" fmla="*/ 14276 h 336789"/>
                  <a:gd name="connsiteX38" fmla="*/ 556742 w 930190"/>
                  <a:gd name="connsiteY38" fmla="*/ 16623 h 336789"/>
                  <a:gd name="connsiteX39" fmla="*/ 556267 w 930190"/>
                  <a:gd name="connsiteY39" fmla="*/ 18110 h 336789"/>
                  <a:gd name="connsiteX40" fmla="*/ 558068 w 930190"/>
                  <a:gd name="connsiteY40" fmla="*/ 19135 h 336789"/>
                  <a:gd name="connsiteX41" fmla="*/ 558091 w 930190"/>
                  <a:gd name="connsiteY41" fmla="*/ 19049 h 336789"/>
                  <a:gd name="connsiteX42" fmla="*/ 561323 w 930190"/>
                  <a:gd name="connsiteY42" fmla="*/ 15895 h 336789"/>
                  <a:gd name="connsiteX43" fmla="*/ 565699 w 930190"/>
                  <a:gd name="connsiteY43" fmla="*/ 14778 h 336789"/>
                  <a:gd name="connsiteX44" fmla="*/ 570046 w 930190"/>
                  <a:gd name="connsiteY44" fmla="*/ 15998 h 336789"/>
                  <a:gd name="connsiteX45" fmla="*/ 571377 w 930190"/>
                  <a:gd name="connsiteY45" fmla="*/ 17362 h 336789"/>
                  <a:gd name="connsiteX46" fmla="*/ 578085 w 930190"/>
                  <a:gd name="connsiteY46" fmla="*/ 17362 h 336789"/>
                  <a:gd name="connsiteX47" fmla="*/ 579334 w 930190"/>
                  <a:gd name="connsiteY47" fmla="*/ 17043 h 336789"/>
                  <a:gd name="connsiteX48" fmla="*/ 580471 w 930190"/>
                  <a:gd name="connsiteY48" fmla="*/ 17362 h 336789"/>
                  <a:gd name="connsiteX49" fmla="*/ 586473 w 930190"/>
                  <a:gd name="connsiteY49" fmla="*/ 17362 h 336789"/>
                  <a:gd name="connsiteX50" fmla="*/ 588625 w 930190"/>
                  <a:gd name="connsiteY50" fmla="*/ 18712 h 336789"/>
                  <a:gd name="connsiteX51" fmla="*/ 590429 w 930190"/>
                  <a:gd name="connsiteY51" fmla="*/ 17986 h 336789"/>
                  <a:gd name="connsiteX52" fmla="*/ 595417 w 930190"/>
                  <a:gd name="connsiteY52" fmla="*/ 18581 h 336789"/>
                  <a:gd name="connsiteX53" fmla="*/ 598573 w 930190"/>
                  <a:gd name="connsiteY53" fmla="*/ 21813 h 336789"/>
                  <a:gd name="connsiteX54" fmla="*/ 598890 w 930190"/>
                  <a:gd name="connsiteY54" fmla="*/ 25152 h 336789"/>
                  <a:gd name="connsiteX55" fmla="*/ 601888 w 930190"/>
                  <a:gd name="connsiteY55" fmla="*/ 27034 h 336789"/>
                  <a:gd name="connsiteX56" fmla="*/ 602942 w 930190"/>
                  <a:gd name="connsiteY56" fmla="*/ 29015 h 336789"/>
                  <a:gd name="connsiteX57" fmla="*/ 603095 w 930190"/>
                  <a:gd name="connsiteY57" fmla="*/ 29173 h 336789"/>
                  <a:gd name="connsiteX58" fmla="*/ 603111 w 930190"/>
                  <a:gd name="connsiteY58" fmla="*/ 29334 h 336789"/>
                  <a:gd name="connsiteX59" fmla="*/ 603741 w 930190"/>
                  <a:gd name="connsiteY59" fmla="*/ 30519 h 336789"/>
                  <a:gd name="connsiteX60" fmla="*/ 609555 w 930190"/>
                  <a:gd name="connsiteY60" fmla="*/ 28816 h 336789"/>
                  <a:gd name="connsiteX61" fmla="*/ 615325 w 930190"/>
                  <a:gd name="connsiteY61" fmla="*/ 30209 h 336789"/>
                  <a:gd name="connsiteX62" fmla="*/ 619381 w 930190"/>
                  <a:gd name="connsiteY62" fmla="*/ 34363 h 336789"/>
                  <a:gd name="connsiteX63" fmla="*/ 620274 w 930190"/>
                  <a:gd name="connsiteY63" fmla="*/ 38495 h 336789"/>
                  <a:gd name="connsiteX64" fmla="*/ 627502 w 930190"/>
                  <a:gd name="connsiteY64" fmla="*/ 38496 h 336789"/>
                  <a:gd name="connsiteX65" fmla="*/ 642917 w 930190"/>
                  <a:gd name="connsiteY65" fmla="*/ 48168 h 336789"/>
                  <a:gd name="connsiteX66" fmla="*/ 650319 w 930190"/>
                  <a:gd name="connsiteY66" fmla="*/ 62098 h 336789"/>
                  <a:gd name="connsiteX67" fmla="*/ 657325 w 930190"/>
                  <a:gd name="connsiteY67" fmla="*/ 57701 h 336789"/>
                  <a:gd name="connsiteX68" fmla="*/ 675127 w 930190"/>
                  <a:gd name="connsiteY68" fmla="*/ 57701 h 336789"/>
                  <a:gd name="connsiteX69" fmla="*/ 690543 w 930190"/>
                  <a:gd name="connsiteY69" fmla="*/ 67374 h 336789"/>
                  <a:gd name="connsiteX70" fmla="*/ 692666 w 930190"/>
                  <a:gd name="connsiteY70" fmla="*/ 71373 h 336789"/>
                  <a:gd name="connsiteX71" fmla="*/ 701471 w 930190"/>
                  <a:gd name="connsiteY71" fmla="*/ 65848 h 336789"/>
                  <a:gd name="connsiteX72" fmla="*/ 719272 w 930190"/>
                  <a:gd name="connsiteY72" fmla="*/ 65847 h 336789"/>
                  <a:gd name="connsiteX73" fmla="*/ 734686 w 930190"/>
                  <a:gd name="connsiteY73" fmla="*/ 75520 h 336789"/>
                  <a:gd name="connsiteX74" fmla="*/ 743589 w 930190"/>
                  <a:gd name="connsiteY74" fmla="*/ 92272 h 336789"/>
                  <a:gd name="connsiteX75" fmla="*/ 743588 w 930190"/>
                  <a:gd name="connsiteY75" fmla="*/ 108532 h 336789"/>
                  <a:gd name="connsiteX76" fmla="*/ 746678 w 930190"/>
                  <a:gd name="connsiteY76" fmla="*/ 109424 h 336789"/>
                  <a:gd name="connsiteX77" fmla="*/ 755749 w 930190"/>
                  <a:gd name="connsiteY77" fmla="*/ 118813 h 336789"/>
                  <a:gd name="connsiteX78" fmla="*/ 757362 w 930190"/>
                  <a:gd name="connsiteY78" fmla="*/ 124431 h 336789"/>
                  <a:gd name="connsiteX79" fmla="*/ 771336 w 930190"/>
                  <a:gd name="connsiteY79" fmla="*/ 130859 h 336789"/>
                  <a:gd name="connsiteX80" fmla="*/ 777501 w 930190"/>
                  <a:gd name="connsiteY80" fmla="*/ 129088 h 336789"/>
                  <a:gd name="connsiteX81" fmla="*/ 792981 w 930190"/>
                  <a:gd name="connsiteY81" fmla="*/ 136207 h 336789"/>
                  <a:gd name="connsiteX82" fmla="*/ 805460 w 930190"/>
                  <a:gd name="connsiteY82" fmla="*/ 152650 h 336789"/>
                  <a:gd name="connsiteX83" fmla="*/ 811592 w 930190"/>
                  <a:gd name="connsiteY83" fmla="*/ 174015 h 336789"/>
                  <a:gd name="connsiteX84" fmla="*/ 810651 w 930190"/>
                  <a:gd name="connsiteY84" fmla="*/ 184455 h 336789"/>
                  <a:gd name="connsiteX85" fmla="*/ 824888 w 930190"/>
                  <a:gd name="connsiteY85" fmla="*/ 188561 h 336789"/>
                  <a:gd name="connsiteX86" fmla="*/ 838067 w 930190"/>
                  <a:gd name="connsiteY86" fmla="*/ 202208 h 336789"/>
                  <a:gd name="connsiteX87" fmla="*/ 839959 w 930190"/>
                  <a:gd name="connsiteY87" fmla="*/ 208798 h 336789"/>
                  <a:gd name="connsiteX88" fmla="*/ 844324 w 930190"/>
                  <a:gd name="connsiteY88" fmla="*/ 209886 h 336789"/>
                  <a:gd name="connsiteX89" fmla="*/ 858206 w 930190"/>
                  <a:gd name="connsiteY89" fmla="*/ 223279 h 336789"/>
                  <a:gd name="connsiteX90" fmla="*/ 859309 w 930190"/>
                  <a:gd name="connsiteY90" fmla="*/ 227123 h 336789"/>
                  <a:gd name="connsiteX91" fmla="*/ 862312 w 930190"/>
                  <a:gd name="connsiteY91" fmla="*/ 229826 h 336789"/>
                  <a:gd name="connsiteX92" fmla="*/ 862974 w 930190"/>
                  <a:gd name="connsiteY92" fmla="*/ 231797 h 336789"/>
                  <a:gd name="connsiteX93" fmla="*/ 866880 w 930190"/>
                  <a:gd name="connsiteY93" fmla="*/ 229612 h 336789"/>
                  <a:gd name="connsiteX94" fmla="*/ 874187 w 930190"/>
                  <a:gd name="connsiteY94" fmla="*/ 230428 h 336789"/>
                  <a:gd name="connsiteX95" fmla="*/ 880010 w 930190"/>
                  <a:gd name="connsiteY95" fmla="*/ 235671 h 336789"/>
                  <a:gd name="connsiteX96" fmla="*/ 882787 w 930190"/>
                  <a:gd name="connsiteY96" fmla="*/ 243932 h 336789"/>
                  <a:gd name="connsiteX97" fmla="*/ 881935 w 930190"/>
                  <a:gd name="connsiteY97" fmla="*/ 251555 h 336789"/>
                  <a:gd name="connsiteX98" fmla="*/ 883156 w 930190"/>
                  <a:gd name="connsiteY98" fmla="*/ 252115 h 336789"/>
                  <a:gd name="connsiteX99" fmla="*/ 886389 w 930190"/>
                  <a:gd name="connsiteY99" fmla="*/ 256933 h 336789"/>
                  <a:gd name="connsiteX100" fmla="*/ 886757 w 930190"/>
                  <a:gd name="connsiteY100" fmla="*/ 259639 h 336789"/>
                  <a:gd name="connsiteX101" fmla="*/ 892157 w 930190"/>
                  <a:gd name="connsiteY101" fmla="*/ 263295 h 336789"/>
                  <a:gd name="connsiteX102" fmla="*/ 894781 w 930190"/>
                  <a:gd name="connsiteY102" fmla="*/ 262748 h 336789"/>
                  <a:gd name="connsiteX103" fmla="*/ 900765 w 930190"/>
                  <a:gd name="connsiteY103" fmla="*/ 266794 h 336789"/>
                  <a:gd name="connsiteX104" fmla="*/ 905027 w 930190"/>
                  <a:gd name="connsiteY104" fmla="*/ 275075 h 336789"/>
                  <a:gd name="connsiteX105" fmla="*/ 906425 w 930190"/>
                  <a:gd name="connsiteY105" fmla="*/ 285372 h 336789"/>
                  <a:gd name="connsiteX106" fmla="*/ 905492 w 930190"/>
                  <a:gd name="connsiteY106" fmla="*/ 290223 h 336789"/>
                  <a:gd name="connsiteX107" fmla="*/ 911123 w 930190"/>
                  <a:gd name="connsiteY107" fmla="*/ 292801 h 336789"/>
                  <a:gd name="connsiteX108" fmla="*/ 915818 w 930190"/>
                  <a:gd name="connsiteY108" fmla="*/ 299803 h 336789"/>
                  <a:gd name="connsiteX109" fmla="*/ 916250 w 930190"/>
                  <a:gd name="connsiteY109" fmla="*/ 302978 h 336789"/>
                  <a:gd name="connsiteX110" fmla="*/ 917986 w 930190"/>
                  <a:gd name="connsiteY110" fmla="*/ 303688 h 336789"/>
                  <a:gd name="connsiteX111" fmla="*/ 922983 w 930190"/>
                  <a:gd name="connsiteY111" fmla="*/ 310605 h 336789"/>
                  <a:gd name="connsiteX112" fmla="*/ 924196 w 930190"/>
                  <a:gd name="connsiteY112" fmla="*/ 319543 h 336789"/>
                  <a:gd name="connsiteX113" fmla="*/ 923757 w 930190"/>
                  <a:gd name="connsiteY113" fmla="*/ 320844 h 336789"/>
                  <a:gd name="connsiteX114" fmla="*/ 923976 w 930190"/>
                  <a:gd name="connsiteY114" fmla="*/ 320935 h 336789"/>
                  <a:gd name="connsiteX115" fmla="*/ 928975 w 930190"/>
                  <a:gd name="connsiteY115" fmla="*/ 327851 h 336789"/>
                  <a:gd name="connsiteX116" fmla="*/ 930190 w 930190"/>
                  <a:gd name="connsiteY116" fmla="*/ 336789 h 336789"/>
                  <a:gd name="connsiteX117" fmla="*/ 0 w 930190"/>
                  <a:gd name="connsiteY117" fmla="*/ 336789 h 336789"/>
                  <a:gd name="connsiteX118" fmla="*/ 1215 w 930190"/>
                  <a:gd name="connsiteY118" fmla="*/ 327852 h 336789"/>
                  <a:gd name="connsiteX119" fmla="*/ 6212 w 930190"/>
                  <a:gd name="connsiteY119" fmla="*/ 320934 h 336789"/>
                  <a:gd name="connsiteX120" fmla="*/ 6432 w 930190"/>
                  <a:gd name="connsiteY120" fmla="*/ 320844 h 336789"/>
                  <a:gd name="connsiteX121" fmla="*/ 5993 w 930190"/>
                  <a:gd name="connsiteY121" fmla="*/ 319542 h 336789"/>
                  <a:gd name="connsiteX122" fmla="*/ 7206 w 930190"/>
                  <a:gd name="connsiteY122" fmla="*/ 310606 h 336789"/>
                  <a:gd name="connsiteX123" fmla="*/ 12205 w 930190"/>
                  <a:gd name="connsiteY123" fmla="*/ 303688 h 336789"/>
                  <a:gd name="connsiteX124" fmla="*/ 13940 w 930190"/>
                  <a:gd name="connsiteY124" fmla="*/ 302979 h 336789"/>
                  <a:gd name="connsiteX125" fmla="*/ 14372 w 930190"/>
                  <a:gd name="connsiteY125" fmla="*/ 299802 h 336789"/>
                  <a:gd name="connsiteX126" fmla="*/ 19067 w 930190"/>
                  <a:gd name="connsiteY126" fmla="*/ 292801 h 336789"/>
                  <a:gd name="connsiteX127" fmla="*/ 24698 w 930190"/>
                  <a:gd name="connsiteY127" fmla="*/ 290223 h 336789"/>
                  <a:gd name="connsiteX128" fmla="*/ 23765 w 930190"/>
                  <a:gd name="connsiteY128" fmla="*/ 285372 h 336789"/>
                  <a:gd name="connsiteX129" fmla="*/ 25163 w 930190"/>
                  <a:gd name="connsiteY129" fmla="*/ 275075 h 336789"/>
                  <a:gd name="connsiteX130" fmla="*/ 29425 w 930190"/>
                  <a:gd name="connsiteY130" fmla="*/ 266795 h 336789"/>
                  <a:gd name="connsiteX131" fmla="*/ 35408 w 930190"/>
                  <a:gd name="connsiteY131" fmla="*/ 262747 h 336789"/>
                  <a:gd name="connsiteX132" fmla="*/ 38032 w 930190"/>
                  <a:gd name="connsiteY132" fmla="*/ 263295 h 336789"/>
                  <a:gd name="connsiteX133" fmla="*/ 43432 w 930190"/>
                  <a:gd name="connsiteY133" fmla="*/ 259640 h 336789"/>
                  <a:gd name="connsiteX134" fmla="*/ 43800 w 930190"/>
                  <a:gd name="connsiteY134" fmla="*/ 256932 h 336789"/>
                  <a:gd name="connsiteX135" fmla="*/ 47033 w 930190"/>
                  <a:gd name="connsiteY135" fmla="*/ 252113 h 336789"/>
                  <a:gd name="connsiteX136" fmla="*/ 48255 w 930190"/>
                  <a:gd name="connsiteY136" fmla="*/ 251555 h 336789"/>
                  <a:gd name="connsiteX137" fmla="*/ 47403 w 930190"/>
                  <a:gd name="connsiteY137" fmla="*/ 243931 h 336789"/>
                  <a:gd name="connsiteX138" fmla="*/ 50180 w 930190"/>
                  <a:gd name="connsiteY138" fmla="*/ 235670 h 336789"/>
                  <a:gd name="connsiteX139" fmla="*/ 56002 w 930190"/>
                  <a:gd name="connsiteY139" fmla="*/ 230428 h 336789"/>
                  <a:gd name="connsiteX140" fmla="*/ 63310 w 930190"/>
                  <a:gd name="connsiteY140" fmla="*/ 229613 h 336789"/>
                  <a:gd name="connsiteX141" fmla="*/ 67216 w 930190"/>
                  <a:gd name="connsiteY141" fmla="*/ 231797 h 336789"/>
                  <a:gd name="connsiteX142" fmla="*/ 67877 w 930190"/>
                  <a:gd name="connsiteY142" fmla="*/ 229827 h 336789"/>
                  <a:gd name="connsiteX143" fmla="*/ 73701 w 930190"/>
                  <a:gd name="connsiteY143" fmla="*/ 224584 h 336789"/>
                  <a:gd name="connsiteX144" fmla="*/ 76226 w 930190"/>
                  <a:gd name="connsiteY144" fmla="*/ 224303 h 336789"/>
                  <a:gd name="connsiteX145" fmla="*/ 80244 w 930190"/>
                  <a:gd name="connsiteY145" fmla="*/ 220138 h 336789"/>
                  <a:gd name="connsiteX146" fmla="*/ 86873 w 930190"/>
                  <a:gd name="connsiteY146" fmla="*/ 218235 h 336789"/>
                  <a:gd name="connsiteX147" fmla="*/ 87760 w 930190"/>
                  <a:gd name="connsiteY147" fmla="*/ 217436 h 336789"/>
                  <a:gd name="connsiteX148" fmla="*/ 88223 w 930190"/>
                  <a:gd name="connsiteY148" fmla="*/ 213338 h 336789"/>
                  <a:gd name="connsiteX149" fmla="*/ 93215 w 930190"/>
                  <a:gd name="connsiteY149" fmla="*/ 206232 h 336789"/>
                  <a:gd name="connsiteX150" fmla="*/ 100717 w 930190"/>
                  <a:gd name="connsiteY150" fmla="*/ 204079 h 336789"/>
                  <a:gd name="connsiteX151" fmla="*/ 103796 w 930190"/>
                  <a:gd name="connsiteY151" fmla="*/ 205379 h 336789"/>
                  <a:gd name="connsiteX152" fmla="*/ 107986 w 930190"/>
                  <a:gd name="connsiteY152" fmla="*/ 201607 h 336789"/>
                  <a:gd name="connsiteX153" fmla="*/ 115295 w 930190"/>
                  <a:gd name="connsiteY153" fmla="*/ 200789 h 336789"/>
                  <a:gd name="connsiteX154" fmla="*/ 122130 w 930190"/>
                  <a:gd name="connsiteY154" fmla="*/ 204617 h 336789"/>
                  <a:gd name="connsiteX155" fmla="*/ 122807 w 930190"/>
                  <a:gd name="connsiteY155" fmla="*/ 205726 h 336789"/>
                  <a:gd name="connsiteX156" fmla="*/ 124435 w 930190"/>
                  <a:gd name="connsiteY156" fmla="*/ 205259 h 336789"/>
                  <a:gd name="connsiteX157" fmla="*/ 125737 w 930190"/>
                  <a:gd name="connsiteY157" fmla="*/ 193737 h 336789"/>
                  <a:gd name="connsiteX158" fmla="*/ 138076 w 930190"/>
                  <a:gd name="connsiteY158" fmla="*/ 176175 h 336789"/>
                  <a:gd name="connsiteX159" fmla="*/ 156621 w 930190"/>
                  <a:gd name="connsiteY159" fmla="*/ 170851 h 336789"/>
                  <a:gd name="connsiteX160" fmla="*/ 158836 w 930190"/>
                  <a:gd name="connsiteY160" fmla="*/ 171786 h 336789"/>
                  <a:gd name="connsiteX161" fmla="*/ 158836 w 930190"/>
                  <a:gd name="connsiteY161" fmla="*/ 171605 h 336789"/>
                  <a:gd name="connsiteX162" fmla="*/ 162739 w 930190"/>
                  <a:gd name="connsiteY162" fmla="*/ 164847 h 336789"/>
                  <a:gd name="connsiteX163" fmla="*/ 169497 w 930190"/>
                  <a:gd name="connsiteY163" fmla="*/ 160943 h 336789"/>
                  <a:gd name="connsiteX164" fmla="*/ 173717 w 930190"/>
                  <a:gd name="connsiteY164" fmla="*/ 160943 h 336789"/>
                  <a:gd name="connsiteX165" fmla="*/ 177304 w 930190"/>
                  <a:gd name="connsiteY165" fmla="*/ 152266 h 336789"/>
                  <a:gd name="connsiteX166" fmla="*/ 184062 w 930190"/>
                  <a:gd name="connsiteY166" fmla="*/ 146813 h 336789"/>
                  <a:gd name="connsiteX167" fmla="*/ 191868 w 930190"/>
                  <a:gd name="connsiteY167" fmla="*/ 146814 h 336789"/>
                  <a:gd name="connsiteX168" fmla="*/ 197289 w 930190"/>
                  <a:gd name="connsiteY168" fmla="*/ 151187 h 336789"/>
                  <a:gd name="connsiteX169" fmla="*/ 198626 w 930190"/>
                  <a:gd name="connsiteY169" fmla="*/ 150110 h 336789"/>
                  <a:gd name="connsiteX170" fmla="*/ 206433 w 930190"/>
                  <a:gd name="connsiteY170" fmla="*/ 150109 h 336789"/>
                  <a:gd name="connsiteX171" fmla="*/ 208774 w 930190"/>
                  <a:gd name="connsiteY171" fmla="*/ 151997 h 336789"/>
                  <a:gd name="connsiteX172" fmla="*/ 208774 w 930190"/>
                  <a:gd name="connsiteY172" fmla="*/ 151131 h 336789"/>
                  <a:gd name="connsiteX173" fmla="*/ 213790 w 930190"/>
                  <a:gd name="connsiteY173" fmla="*/ 141690 h 336789"/>
                  <a:gd name="connsiteX174" fmla="*/ 222482 w 930190"/>
                  <a:gd name="connsiteY174" fmla="*/ 136236 h 336789"/>
                  <a:gd name="connsiteX175" fmla="*/ 232515 w 930190"/>
                  <a:gd name="connsiteY175" fmla="*/ 136237 h 336789"/>
                  <a:gd name="connsiteX176" fmla="*/ 241206 w 930190"/>
                  <a:gd name="connsiteY176" fmla="*/ 141689 h 336789"/>
                  <a:gd name="connsiteX177" fmla="*/ 244335 w 930190"/>
                  <a:gd name="connsiteY177" fmla="*/ 147579 h 336789"/>
                  <a:gd name="connsiteX178" fmla="*/ 252841 w 930190"/>
                  <a:gd name="connsiteY178" fmla="*/ 145137 h 336789"/>
                  <a:gd name="connsiteX179" fmla="*/ 252649 w 930190"/>
                  <a:gd name="connsiteY179" fmla="*/ 144806 h 336789"/>
                  <a:gd name="connsiteX180" fmla="*/ 252648 w 930190"/>
                  <a:gd name="connsiteY180" fmla="*/ 125514 h 336789"/>
                  <a:gd name="connsiteX181" fmla="*/ 262297 w 930190"/>
                  <a:gd name="connsiteY181" fmla="*/ 108807 h 336789"/>
                  <a:gd name="connsiteX182" fmla="*/ 272073 w 930190"/>
                  <a:gd name="connsiteY182" fmla="*/ 103162 h 336789"/>
                  <a:gd name="connsiteX183" fmla="*/ 272116 w 930190"/>
                  <a:gd name="connsiteY183" fmla="*/ 102836 h 336789"/>
                  <a:gd name="connsiteX184" fmla="*/ 273216 w 930190"/>
                  <a:gd name="connsiteY184" fmla="*/ 101197 h 336789"/>
                  <a:gd name="connsiteX185" fmla="*/ 274533 w 930190"/>
                  <a:gd name="connsiteY185" fmla="*/ 100594 h 336789"/>
                  <a:gd name="connsiteX186" fmla="*/ 274316 w 930190"/>
                  <a:gd name="connsiteY186" fmla="*/ 99459 h 336789"/>
                  <a:gd name="connsiteX187" fmla="*/ 274643 w 930190"/>
                  <a:gd name="connsiteY187" fmla="*/ 97048 h 336789"/>
                  <a:gd name="connsiteX188" fmla="*/ 275640 w 930190"/>
                  <a:gd name="connsiteY188" fmla="*/ 95110 h 336789"/>
                  <a:gd name="connsiteX189" fmla="*/ 277041 w 930190"/>
                  <a:gd name="connsiteY189" fmla="*/ 94163 h 336789"/>
                  <a:gd name="connsiteX190" fmla="*/ 277654 w 930190"/>
                  <a:gd name="connsiteY190" fmla="*/ 94290 h 336789"/>
                  <a:gd name="connsiteX191" fmla="*/ 278918 w 930190"/>
                  <a:gd name="connsiteY191" fmla="*/ 93436 h 336789"/>
                  <a:gd name="connsiteX192" fmla="*/ 279005 w 930190"/>
                  <a:gd name="connsiteY192" fmla="*/ 92801 h 336789"/>
                  <a:gd name="connsiteX193" fmla="*/ 279761 w 930190"/>
                  <a:gd name="connsiteY193" fmla="*/ 91674 h 336789"/>
                  <a:gd name="connsiteX194" fmla="*/ 280047 w 930190"/>
                  <a:gd name="connsiteY194" fmla="*/ 91543 h 336789"/>
                  <a:gd name="connsiteX195" fmla="*/ 279848 w 930190"/>
                  <a:gd name="connsiteY195" fmla="*/ 89759 h 336789"/>
                  <a:gd name="connsiteX196" fmla="*/ 280498 w 930190"/>
                  <a:gd name="connsiteY196" fmla="*/ 87825 h 336789"/>
                  <a:gd name="connsiteX197" fmla="*/ 281861 w 930190"/>
                  <a:gd name="connsiteY197" fmla="*/ 86598 h 336789"/>
                  <a:gd name="connsiteX198" fmla="*/ 283572 w 930190"/>
                  <a:gd name="connsiteY198" fmla="*/ 86407 h 336789"/>
                  <a:gd name="connsiteX199" fmla="*/ 284485 w 930190"/>
                  <a:gd name="connsiteY199" fmla="*/ 86919 h 336789"/>
                  <a:gd name="connsiteX200" fmla="*/ 284641 w 930190"/>
                  <a:gd name="connsiteY200" fmla="*/ 86457 h 336789"/>
                  <a:gd name="connsiteX201" fmla="*/ 286003 w 930190"/>
                  <a:gd name="connsiteY201" fmla="*/ 85231 h 336789"/>
                  <a:gd name="connsiteX202" fmla="*/ 286594 w 930190"/>
                  <a:gd name="connsiteY202" fmla="*/ 85164 h 336789"/>
                  <a:gd name="connsiteX203" fmla="*/ 287535 w 930190"/>
                  <a:gd name="connsiteY203" fmla="*/ 84189 h 336789"/>
                  <a:gd name="connsiteX204" fmla="*/ 289086 w 930190"/>
                  <a:gd name="connsiteY204" fmla="*/ 83744 h 336789"/>
                  <a:gd name="connsiteX205" fmla="*/ 289295 w 930190"/>
                  <a:gd name="connsiteY205" fmla="*/ 83557 h 336789"/>
                  <a:gd name="connsiteX206" fmla="*/ 289403 w 930190"/>
                  <a:gd name="connsiteY206" fmla="*/ 82598 h 336789"/>
                  <a:gd name="connsiteX207" fmla="*/ 290571 w 930190"/>
                  <a:gd name="connsiteY207" fmla="*/ 80934 h 336789"/>
                  <a:gd name="connsiteX208" fmla="*/ 292328 w 930190"/>
                  <a:gd name="connsiteY208" fmla="*/ 80430 h 336789"/>
                  <a:gd name="connsiteX209" fmla="*/ 293047 w 930190"/>
                  <a:gd name="connsiteY209" fmla="*/ 80735 h 336789"/>
                  <a:gd name="connsiteX210" fmla="*/ 294028 w 930190"/>
                  <a:gd name="connsiteY210" fmla="*/ 79852 h 336789"/>
                  <a:gd name="connsiteX211" fmla="*/ 295739 w 930190"/>
                  <a:gd name="connsiteY211" fmla="*/ 79661 h 336789"/>
                  <a:gd name="connsiteX212" fmla="*/ 297340 w 930190"/>
                  <a:gd name="connsiteY212" fmla="*/ 80557 h 336789"/>
                  <a:gd name="connsiteX213" fmla="*/ 297498 w 930190"/>
                  <a:gd name="connsiteY213" fmla="*/ 80816 h 336789"/>
                  <a:gd name="connsiteX214" fmla="*/ 297878 w 930190"/>
                  <a:gd name="connsiteY214" fmla="*/ 80707 h 336789"/>
                  <a:gd name="connsiteX215" fmla="*/ 298184 w 930190"/>
                  <a:gd name="connsiteY215" fmla="*/ 78011 h 336789"/>
                  <a:gd name="connsiteX216" fmla="*/ 301071 w 930190"/>
                  <a:gd name="connsiteY216" fmla="*/ 73900 h 336789"/>
                  <a:gd name="connsiteX217" fmla="*/ 305411 w 930190"/>
                  <a:gd name="connsiteY217" fmla="*/ 72653 h 336789"/>
                  <a:gd name="connsiteX218" fmla="*/ 305930 w 930190"/>
                  <a:gd name="connsiteY218" fmla="*/ 72872 h 336789"/>
                  <a:gd name="connsiteX219" fmla="*/ 305931 w 930190"/>
                  <a:gd name="connsiteY219" fmla="*/ 72830 h 336789"/>
                  <a:gd name="connsiteX220" fmla="*/ 306844 w 930190"/>
                  <a:gd name="connsiteY220" fmla="*/ 71248 h 336789"/>
                  <a:gd name="connsiteX221" fmla="*/ 308426 w 930190"/>
                  <a:gd name="connsiteY221" fmla="*/ 70335 h 336789"/>
                  <a:gd name="connsiteX222" fmla="*/ 309414 w 930190"/>
                  <a:gd name="connsiteY222" fmla="*/ 70335 h 336789"/>
                  <a:gd name="connsiteX223" fmla="*/ 310254 w 930190"/>
                  <a:gd name="connsiteY223" fmla="*/ 68303 h 336789"/>
                  <a:gd name="connsiteX224" fmla="*/ 311836 w 930190"/>
                  <a:gd name="connsiteY224" fmla="*/ 67027 h 336789"/>
                  <a:gd name="connsiteX225" fmla="*/ 313662 w 930190"/>
                  <a:gd name="connsiteY225" fmla="*/ 67027 h 336789"/>
                  <a:gd name="connsiteX226" fmla="*/ 314932 w 930190"/>
                  <a:gd name="connsiteY226" fmla="*/ 68051 h 336789"/>
                  <a:gd name="connsiteX227" fmla="*/ 315245 w 930190"/>
                  <a:gd name="connsiteY227" fmla="*/ 67798 h 336789"/>
                  <a:gd name="connsiteX228" fmla="*/ 317072 w 930190"/>
                  <a:gd name="connsiteY228" fmla="*/ 67798 h 336789"/>
                  <a:gd name="connsiteX229" fmla="*/ 317620 w 930190"/>
                  <a:gd name="connsiteY229" fmla="*/ 68241 h 336789"/>
                  <a:gd name="connsiteX230" fmla="*/ 317620 w 930190"/>
                  <a:gd name="connsiteY230" fmla="*/ 68038 h 336789"/>
                  <a:gd name="connsiteX231" fmla="*/ 318793 w 930190"/>
                  <a:gd name="connsiteY231" fmla="*/ 65827 h 336789"/>
                  <a:gd name="connsiteX232" fmla="*/ 320828 w 930190"/>
                  <a:gd name="connsiteY232" fmla="*/ 64551 h 336789"/>
                  <a:gd name="connsiteX233" fmla="*/ 323176 w 930190"/>
                  <a:gd name="connsiteY233" fmla="*/ 64551 h 336789"/>
                  <a:gd name="connsiteX234" fmla="*/ 324567 w 930190"/>
                  <a:gd name="connsiteY234" fmla="*/ 65424 h 336789"/>
                  <a:gd name="connsiteX235" fmla="*/ 326627 w 930190"/>
                  <a:gd name="connsiteY235" fmla="*/ 64234 h 336789"/>
                  <a:gd name="connsiteX236" fmla="*/ 327889 w 930190"/>
                  <a:gd name="connsiteY236" fmla="*/ 64234 h 336789"/>
                  <a:gd name="connsiteX237" fmla="*/ 327889 w 930190"/>
                  <a:gd name="connsiteY237" fmla="*/ 62042 h 336789"/>
                  <a:gd name="connsiteX238" fmla="*/ 330146 w 930190"/>
                  <a:gd name="connsiteY238" fmla="*/ 58131 h 336789"/>
                  <a:gd name="connsiteX239" fmla="*/ 334057 w 930190"/>
                  <a:gd name="connsiteY239" fmla="*/ 55873 h 336789"/>
                  <a:gd name="connsiteX240" fmla="*/ 338573 w 930190"/>
                  <a:gd name="connsiteY240" fmla="*/ 55874 h 336789"/>
                  <a:gd name="connsiteX241" fmla="*/ 339036 w 930190"/>
                  <a:gd name="connsiteY241" fmla="*/ 56141 h 336789"/>
                  <a:gd name="connsiteX242" fmla="*/ 339037 w 930190"/>
                  <a:gd name="connsiteY242" fmla="*/ 53867 h 336789"/>
                  <a:gd name="connsiteX243" fmla="*/ 341294 w 930190"/>
                  <a:gd name="connsiteY243" fmla="*/ 49956 h 336789"/>
                  <a:gd name="connsiteX244" fmla="*/ 343481 w 930190"/>
                  <a:gd name="connsiteY244" fmla="*/ 48694 h 336789"/>
                  <a:gd name="connsiteX245" fmla="*/ 345922 w 930190"/>
                  <a:gd name="connsiteY245" fmla="*/ 42785 h 336789"/>
                  <a:gd name="connsiteX246" fmla="*/ 362628 w 930190"/>
                  <a:gd name="connsiteY246" fmla="*/ 29309 h 336789"/>
                  <a:gd name="connsiteX247" fmla="*/ 381922 w 930190"/>
                  <a:gd name="connsiteY247" fmla="*/ 29310 h 336789"/>
                  <a:gd name="connsiteX248" fmla="*/ 391120 w 930190"/>
                  <a:gd name="connsiteY248" fmla="*/ 36729 h 336789"/>
                  <a:gd name="connsiteX249" fmla="*/ 394588 w 930190"/>
                  <a:gd name="connsiteY249" fmla="*/ 34726 h 336789"/>
                  <a:gd name="connsiteX250" fmla="*/ 397029 w 930190"/>
                  <a:gd name="connsiteY250" fmla="*/ 34726 h 336789"/>
                  <a:gd name="connsiteX251" fmla="*/ 399104 w 930190"/>
                  <a:gd name="connsiteY251" fmla="*/ 29707 h 336789"/>
                  <a:gd name="connsiteX252" fmla="*/ 403014 w 930190"/>
                  <a:gd name="connsiteY252" fmla="*/ 26552 h 336789"/>
                  <a:gd name="connsiteX253" fmla="*/ 407530 w 930190"/>
                  <a:gd name="connsiteY253" fmla="*/ 26552 h 336789"/>
                  <a:gd name="connsiteX254" fmla="*/ 410667 w 930190"/>
                  <a:gd name="connsiteY254" fmla="*/ 29082 h 336789"/>
                  <a:gd name="connsiteX255" fmla="*/ 411440 w 930190"/>
                  <a:gd name="connsiteY255" fmla="*/ 28459 h 336789"/>
                  <a:gd name="connsiteX256" fmla="*/ 415956 w 930190"/>
                  <a:gd name="connsiteY256" fmla="*/ 28459 h 336789"/>
                  <a:gd name="connsiteX257" fmla="*/ 417311 w 930190"/>
                  <a:gd name="connsiteY257" fmla="*/ 29551 h 336789"/>
                  <a:gd name="connsiteX258" fmla="*/ 417311 w 930190"/>
                  <a:gd name="connsiteY258" fmla="*/ 29050 h 336789"/>
                  <a:gd name="connsiteX259" fmla="*/ 420213 w 930190"/>
                  <a:gd name="connsiteY259" fmla="*/ 23587 h 336789"/>
                  <a:gd name="connsiteX260" fmla="*/ 425241 w 930190"/>
                  <a:gd name="connsiteY260" fmla="*/ 20432 h 336789"/>
                  <a:gd name="connsiteX261" fmla="*/ 431047 w 930190"/>
                  <a:gd name="connsiteY261" fmla="*/ 20433 h 336789"/>
                  <a:gd name="connsiteX262" fmla="*/ 433333 w 930190"/>
                  <a:gd name="connsiteY262" fmla="*/ 21867 h 336789"/>
                  <a:gd name="connsiteX263" fmla="*/ 436110 w 930190"/>
                  <a:gd name="connsiteY263" fmla="*/ 16643 h 336789"/>
                  <a:gd name="connsiteX264" fmla="*/ 457591 w 930190"/>
                  <a:gd name="connsiteY264" fmla="*/ 3166 h 336789"/>
                  <a:gd name="connsiteX265" fmla="*/ 482393 w 930190"/>
                  <a:gd name="connsiteY265" fmla="*/ 3166 h 336789"/>
                  <a:gd name="connsiteX266" fmla="*/ 487924 w 930190"/>
                  <a:gd name="connsiteY266" fmla="*/ 6636 h 336789"/>
                  <a:gd name="connsiteX267" fmla="*/ 488297 w 930190"/>
                  <a:gd name="connsiteY267" fmla="*/ 6580 h 336789"/>
                  <a:gd name="connsiteX268" fmla="*/ 488348 w 930190"/>
                  <a:gd name="connsiteY268" fmla="*/ 6602 h 336789"/>
                  <a:gd name="connsiteX269" fmla="*/ 488495 w 930190"/>
                  <a:gd name="connsiteY269" fmla="*/ 6315 h 336789"/>
                  <a:gd name="connsiteX270" fmla="*/ 490189 w 930190"/>
                  <a:gd name="connsiteY270" fmla="*/ 5056 h 336789"/>
                  <a:gd name="connsiteX271" fmla="*/ 492166 w 930190"/>
                  <a:gd name="connsiteY271" fmla="*/ 4763 h 336789"/>
                  <a:gd name="connsiteX272" fmla="*/ 492568 w 930190"/>
                  <a:gd name="connsiteY272" fmla="*/ 4937 h 336789"/>
                  <a:gd name="connsiteX273" fmla="*/ 493171 w 930190"/>
                  <a:gd name="connsiteY273" fmla="*/ 4490 h 336789"/>
                  <a:gd name="connsiteX274" fmla="*/ 495111 w 930190"/>
                  <a:gd name="connsiteY274" fmla="*/ 4131 h 336789"/>
                  <a:gd name="connsiteX275" fmla="*/ 496464 w 930190"/>
                  <a:gd name="connsiteY275" fmla="*/ 4653 h 336789"/>
                  <a:gd name="connsiteX276" fmla="*/ 497123 w 930190"/>
                  <a:gd name="connsiteY276" fmla="*/ 3703 h 336789"/>
                  <a:gd name="connsiteX277" fmla="*/ 499076 w 930190"/>
                  <a:gd name="connsiteY277" fmla="*/ 2254 h 336789"/>
                  <a:gd name="connsiteX278" fmla="*/ 501161 w 930190"/>
                  <a:gd name="connsiteY278" fmla="*/ 1614 h 336789"/>
                  <a:gd name="connsiteX279" fmla="*/ 502817 w 930190"/>
                  <a:gd name="connsiteY279" fmla="*/ 1954 h 336789"/>
                  <a:gd name="connsiteX280" fmla="*/ 503153 w 930190"/>
                  <a:gd name="connsiteY280" fmla="*/ 2482 h 336789"/>
                  <a:gd name="connsiteX281" fmla="*/ 504650 w 930190"/>
                  <a:gd name="connsiteY281" fmla="*/ 2789 h 336789"/>
                  <a:gd name="connsiteX282" fmla="*/ 505163 w 930190"/>
                  <a:gd name="connsiteY282" fmla="*/ 2408 h 336789"/>
                  <a:gd name="connsiteX283" fmla="*/ 506499 w 930190"/>
                  <a:gd name="connsiteY283" fmla="*/ 2162 h 336789"/>
                  <a:gd name="connsiteX284" fmla="*/ 506792 w 930190"/>
                  <a:gd name="connsiteY284" fmla="*/ 2275 h 336789"/>
                  <a:gd name="connsiteX285" fmla="*/ 507928 w 930190"/>
                  <a:gd name="connsiteY285" fmla="*/ 886 h 33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930190" h="336789">
                    <a:moveTo>
                      <a:pt x="509767" y="0"/>
                    </a:moveTo>
                    <a:lnTo>
                      <a:pt x="511596" y="117"/>
                    </a:lnTo>
                    <a:lnTo>
                      <a:pt x="512928" y="1208"/>
                    </a:lnTo>
                    <a:lnTo>
                      <a:pt x="513201" y="2220"/>
                    </a:lnTo>
                    <a:lnTo>
                      <a:pt x="513640" y="2008"/>
                    </a:lnTo>
                    <a:lnTo>
                      <a:pt x="515470" y="2126"/>
                    </a:lnTo>
                    <a:lnTo>
                      <a:pt x="515929" y="2502"/>
                    </a:lnTo>
                    <a:lnTo>
                      <a:pt x="517283" y="2495"/>
                    </a:lnTo>
                    <a:lnTo>
                      <a:pt x="518686" y="3294"/>
                    </a:lnTo>
                    <a:lnTo>
                      <a:pt x="518966" y="3312"/>
                    </a:lnTo>
                    <a:cubicBezTo>
                      <a:pt x="519220" y="3115"/>
                      <a:pt x="519474" y="2917"/>
                      <a:pt x="519728" y="2719"/>
                    </a:cubicBezTo>
                    <a:lnTo>
                      <a:pt x="521733" y="2393"/>
                    </a:lnTo>
                    <a:lnTo>
                      <a:pt x="523321" y="3297"/>
                    </a:lnTo>
                    <a:lnTo>
                      <a:pt x="523608" y="4026"/>
                    </a:lnTo>
                    <a:lnTo>
                      <a:pt x="524923" y="4110"/>
                    </a:lnTo>
                    <a:lnTo>
                      <a:pt x="526255" y="5201"/>
                    </a:lnTo>
                    <a:lnTo>
                      <a:pt x="526733" y="6972"/>
                    </a:lnTo>
                    <a:lnTo>
                      <a:pt x="526657" y="7266"/>
                    </a:lnTo>
                    <a:lnTo>
                      <a:pt x="527002" y="7463"/>
                    </a:lnTo>
                    <a:cubicBezTo>
                      <a:pt x="527716" y="6907"/>
                      <a:pt x="528430" y="6352"/>
                      <a:pt x="529145" y="5797"/>
                    </a:cubicBezTo>
                    <a:lnTo>
                      <a:pt x="534102" y="4991"/>
                    </a:lnTo>
                    <a:lnTo>
                      <a:pt x="538026" y="7226"/>
                    </a:lnTo>
                    <a:lnTo>
                      <a:pt x="538232" y="7750"/>
                    </a:lnTo>
                    <a:cubicBezTo>
                      <a:pt x="538243" y="7740"/>
                      <a:pt x="538253" y="7731"/>
                      <a:pt x="538263" y="7721"/>
                    </a:cubicBezTo>
                    <a:lnTo>
                      <a:pt x="540034" y="7269"/>
                    </a:lnTo>
                    <a:lnTo>
                      <a:pt x="541792" y="7762"/>
                    </a:lnTo>
                    <a:lnTo>
                      <a:pt x="542482" y="8469"/>
                    </a:lnTo>
                    <a:lnTo>
                      <a:pt x="544521" y="7651"/>
                    </a:lnTo>
                    <a:lnTo>
                      <a:pt x="546541" y="7892"/>
                    </a:lnTo>
                    <a:lnTo>
                      <a:pt x="547817" y="9198"/>
                    </a:lnTo>
                    <a:lnTo>
                      <a:pt x="547970" y="10821"/>
                    </a:lnTo>
                    <a:lnTo>
                      <a:pt x="548370" y="10869"/>
                    </a:lnTo>
                    <a:lnTo>
                      <a:pt x="549646" y="12177"/>
                    </a:lnTo>
                    <a:lnTo>
                      <a:pt x="549713" y="12878"/>
                    </a:lnTo>
                    <a:lnTo>
                      <a:pt x="549858" y="12736"/>
                    </a:lnTo>
                    <a:lnTo>
                      <a:pt x="552260" y="12032"/>
                    </a:lnTo>
                    <a:lnTo>
                      <a:pt x="554593" y="12596"/>
                    </a:lnTo>
                    <a:lnTo>
                      <a:pt x="556235" y="14276"/>
                    </a:lnTo>
                    <a:lnTo>
                      <a:pt x="556742" y="16623"/>
                    </a:lnTo>
                    <a:lnTo>
                      <a:pt x="556267" y="18110"/>
                    </a:lnTo>
                    <a:lnTo>
                      <a:pt x="558068" y="19135"/>
                    </a:lnTo>
                    <a:lnTo>
                      <a:pt x="558091" y="19049"/>
                    </a:lnTo>
                    <a:lnTo>
                      <a:pt x="561323" y="15895"/>
                    </a:lnTo>
                    <a:lnTo>
                      <a:pt x="565699" y="14778"/>
                    </a:lnTo>
                    <a:lnTo>
                      <a:pt x="570046" y="15998"/>
                    </a:lnTo>
                    <a:lnTo>
                      <a:pt x="571377" y="17362"/>
                    </a:lnTo>
                    <a:lnTo>
                      <a:pt x="578085" y="17362"/>
                    </a:lnTo>
                    <a:lnTo>
                      <a:pt x="579334" y="17043"/>
                    </a:lnTo>
                    <a:lnTo>
                      <a:pt x="580471" y="17362"/>
                    </a:lnTo>
                    <a:lnTo>
                      <a:pt x="586473" y="17362"/>
                    </a:lnTo>
                    <a:lnTo>
                      <a:pt x="588625" y="18712"/>
                    </a:lnTo>
                    <a:lnTo>
                      <a:pt x="590429" y="17986"/>
                    </a:lnTo>
                    <a:lnTo>
                      <a:pt x="595417" y="18581"/>
                    </a:lnTo>
                    <a:lnTo>
                      <a:pt x="598573" y="21813"/>
                    </a:lnTo>
                    <a:lnTo>
                      <a:pt x="598890" y="25152"/>
                    </a:lnTo>
                    <a:lnTo>
                      <a:pt x="601888" y="27034"/>
                    </a:lnTo>
                    <a:lnTo>
                      <a:pt x="602942" y="29015"/>
                    </a:lnTo>
                    <a:lnTo>
                      <a:pt x="603095" y="29173"/>
                    </a:lnTo>
                    <a:lnTo>
                      <a:pt x="603111" y="29334"/>
                    </a:lnTo>
                    <a:lnTo>
                      <a:pt x="603741" y="30519"/>
                    </a:lnTo>
                    <a:lnTo>
                      <a:pt x="609555" y="28816"/>
                    </a:lnTo>
                    <a:lnTo>
                      <a:pt x="615325" y="30209"/>
                    </a:lnTo>
                    <a:lnTo>
                      <a:pt x="619381" y="34363"/>
                    </a:lnTo>
                    <a:lnTo>
                      <a:pt x="620274" y="38495"/>
                    </a:lnTo>
                    <a:lnTo>
                      <a:pt x="627502" y="38496"/>
                    </a:lnTo>
                    <a:lnTo>
                      <a:pt x="642917" y="48168"/>
                    </a:lnTo>
                    <a:lnTo>
                      <a:pt x="650319" y="62098"/>
                    </a:lnTo>
                    <a:lnTo>
                      <a:pt x="657325" y="57701"/>
                    </a:lnTo>
                    <a:lnTo>
                      <a:pt x="675127" y="57701"/>
                    </a:lnTo>
                    <a:lnTo>
                      <a:pt x="690543" y="67374"/>
                    </a:lnTo>
                    <a:lnTo>
                      <a:pt x="692666" y="71373"/>
                    </a:lnTo>
                    <a:lnTo>
                      <a:pt x="701471" y="65848"/>
                    </a:lnTo>
                    <a:lnTo>
                      <a:pt x="719272" y="65847"/>
                    </a:lnTo>
                    <a:lnTo>
                      <a:pt x="734686" y="75520"/>
                    </a:lnTo>
                    <a:lnTo>
                      <a:pt x="743589" y="92272"/>
                    </a:lnTo>
                    <a:lnTo>
                      <a:pt x="743588" y="108532"/>
                    </a:lnTo>
                    <a:lnTo>
                      <a:pt x="746678" y="109424"/>
                    </a:lnTo>
                    <a:lnTo>
                      <a:pt x="755749" y="118813"/>
                    </a:lnTo>
                    <a:lnTo>
                      <a:pt x="757362" y="124431"/>
                    </a:lnTo>
                    <a:lnTo>
                      <a:pt x="771336" y="130859"/>
                    </a:lnTo>
                    <a:lnTo>
                      <a:pt x="777501" y="129088"/>
                    </a:lnTo>
                    <a:lnTo>
                      <a:pt x="792981" y="136207"/>
                    </a:lnTo>
                    <a:lnTo>
                      <a:pt x="805460" y="152650"/>
                    </a:lnTo>
                    <a:lnTo>
                      <a:pt x="811592" y="174015"/>
                    </a:lnTo>
                    <a:cubicBezTo>
                      <a:pt x="811278" y="177496"/>
                      <a:pt x="810966" y="180976"/>
                      <a:pt x="810651" y="184455"/>
                    </a:cubicBezTo>
                    <a:lnTo>
                      <a:pt x="824888" y="188561"/>
                    </a:lnTo>
                    <a:lnTo>
                      <a:pt x="838067" y="202208"/>
                    </a:lnTo>
                    <a:lnTo>
                      <a:pt x="839959" y="208798"/>
                    </a:lnTo>
                    <a:lnTo>
                      <a:pt x="844324" y="209886"/>
                    </a:lnTo>
                    <a:lnTo>
                      <a:pt x="858206" y="223279"/>
                    </a:lnTo>
                    <a:lnTo>
                      <a:pt x="859309" y="227123"/>
                    </a:lnTo>
                    <a:lnTo>
                      <a:pt x="862312" y="229826"/>
                    </a:lnTo>
                    <a:lnTo>
                      <a:pt x="862974" y="231797"/>
                    </a:lnTo>
                    <a:lnTo>
                      <a:pt x="866880" y="229612"/>
                    </a:lnTo>
                    <a:lnTo>
                      <a:pt x="874187" y="230428"/>
                    </a:lnTo>
                    <a:lnTo>
                      <a:pt x="880010" y="235671"/>
                    </a:lnTo>
                    <a:lnTo>
                      <a:pt x="882787" y="243932"/>
                    </a:lnTo>
                    <a:lnTo>
                      <a:pt x="881935" y="251555"/>
                    </a:lnTo>
                    <a:lnTo>
                      <a:pt x="883156" y="252115"/>
                    </a:lnTo>
                    <a:lnTo>
                      <a:pt x="886389" y="256933"/>
                    </a:lnTo>
                    <a:lnTo>
                      <a:pt x="886757" y="259639"/>
                    </a:lnTo>
                    <a:lnTo>
                      <a:pt x="892157" y="263295"/>
                    </a:lnTo>
                    <a:lnTo>
                      <a:pt x="894781" y="262748"/>
                    </a:lnTo>
                    <a:lnTo>
                      <a:pt x="900765" y="266794"/>
                    </a:lnTo>
                    <a:lnTo>
                      <a:pt x="905027" y="275075"/>
                    </a:lnTo>
                    <a:lnTo>
                      <a:pt x="906425" y="285372"/>
                    </a:lnTo>
                    <a:cubicBezTo>
                      <a:pt x="906114" y="286988"/>
                      <a:pt x="905803" y="288606"/>
                      <a:pt x="905492" y="290223"/>
                    </a:cubicBezTo>
                    <a:lnTo>
                      <a:pt x="911123" y="292801"/>
                    </a:lnTo>
                    <a:lnTo>
                      <a:pt x="915818" y="299803"/>
                    </a:lnTo>
                    <a:lnTo>
                      <a:pt x="916250" y="302978"/>
                    </a:lnTo>
                    <a:lnTo>
                      <a:pt x="917986" y="303688"/>
                    </a:lnTo>
                    <a:lnTo>
                      <a:pt x="922983" y="310605"/>
                    </a:lnTo>
                    <a:lnTo>
                      <a:pt x="924196" y="319543"/>
                    </a:lnTo>
                    <a:cubicBezTo>
                      <a:pt x="924050" y="319977"/>
                      <a:pt x="923904" y="320410"/>
                      <a:pt x="923757" y="320844"/>
                    </a:cubicBezTo>
                    <a:lnTo>
                      <a:pt x="923976" y="320935"/>
                    </a:lnTo>
                    <a:lnTo>
                      <a:pt x="928975" y="327851"/>
                    </a:lnTo>
                    <a:lnTo>
                      <a:pt x="930190" y="336789"/>
                    </a:lnTo>
                    <a:lnTo>
                      <a:pt x="0" y="336789"/>
                    </a:lnTo>
                    <a:cubicBezTo>
                      <a:pt x="405" y="333809"/>
                      <a:pt x="810" y="330831"/>
                      <a:pt x="1215" y="327852"/>
                    </a:cubicBezTo>
                    <a:lnTo>
                      <a:pt x="6212" y="320934"/>
                    </a:lnTo>
                    <a:lnTo>
                      <a:pt x="6432" y="320844"/>
                    </a:lnTo>
                    <a:lnTo>
                      <a:pt x="5993" y="319542"/>
                    </a:lnTo>
                    <a:lnTo>
                      <a:pt x="7206" y="310606"/>
                    </a:lnTo>
                    <a:lnTo>
                      <a:pt x="12205" y="303688"/>
                    </a:lnTo>
                    <a:lnTo>
                      <a:pt x="13940" y="302979"/>
                    </a:lnTo>
                    <a:cubicBezTo>
                      <a:pt x="14084" y="301920"/>
                      <a:pt x="14228" y="300861"/>
                      <a:pt x="14372" y="299802"/>
                    </a:cubicBezTo>
                    <a:lnTo>
                      <a:pt x="19067" y="292801"/>
                    </a:lnTo>
                    <a:lnTo>
                      <a:pt x="24698" y="290223"/>
                    </a:lnTo>
                    <a:lnTo>
                      <a:pt x="23765" y="285372"/>
                    </a:lnTo>
                    <a:cubicBezTo>
                      <a:pt x="24231" y="281939"/>
                      <a:pt x="24697" y="278507"/>
                      <a:pt x="25163" y="275075"/>
                    </a:cubicBezTo>
                    <a:lnTo>
                      <a:pt x="29425" y="266795"/>
                    </a:lnTo>
                    <a:lnTo>
                      <a:pt x="35408" y="262747"/>
                    </a:lnTo>
                    <a:lnTo>
                      <a:pt x="38032" y="263295"/>
                    </a:lnTo>
                    <a:lnTo>
                      <a:pt x="43432" y="259640"/>
                    </a:lnTo>
                    <a:cubicBezTo>
                      <a:pt x="43556" y="258736"/>
                      <a:pt x="43677" y="257834"/>
                      <a:pt x="43800" y="256932"/>
                    </a:cubicBezTo>
                    <a:lnTo>
                      <a:pt x="47033" y="252113"/>
                    </a:lnTo>
                    <a:lnTo>
                      <a:pt x="48255" y="251555"/>
                    </a:lnTo>
                    <a:lnTo>
                      <a:pt x="47403" y="243931"/>
                    </a:lnTo>
                    <a:lnTo>
                      <a:pt x="50180" y="235670"/>
                    </a:lnTo>
                    <a:lnTo>
                      <a:pt x="56002" y="230428"/>
                    </a:lnTo>
                    <a:lnTo>
                      <a:pt x="63310" y="229613"/>
                    </a:lnTo>
                    <a:lnTo>
                      <a:pt x="67216" y="231797"/>
                    </a:lnTo>
                    <a:lnTo>
                      <a:pt x="67877" y="229827"/>
                    </a:lnTo>
                    <a:lnTo>
                      <a:pt x="73701" y="224584"/>
                    </a:lnTo>
                    <a:lnTo>
                      <a:pt x="76226" y="224303"/>
                    </a:lnTo>
                    <a:lnTo>
                      <a:pt x="80244" y="220138"/>
                    </a:lnTo>
                    <a:lnTo>
                      <a:pt x="86873" y="218235"/>
                    </a:lnTo>
                    <a:lnTo>
                      <a:pt x="87760" y="217436"/>
                    </a:lnTo>
                    <a:cubicBezTo>
                      <a:pt x="87914" y="216070"/>
                      <a:pt x="88068" y="214704"/>
                      <a:pt x="88223" y="213338"/>
                    </a:cubicBezTo>
                    <a:lnTo>
                      <a:pt x="93215" y="206232"/>
                    </a:lnTo>
                    <a:lnTo>
                      <a:pt x="100717" y="204079"/>
                    </a:lnTo>
                    <a:lnTo>
                      <a:pt x="103796" y="205379"/>
                    </a:lnTo>
                    <a:lnTo>
                      <a:pt x="107986" y="201607"/>
                    </a:lnTo>
                    <a:lnTo>
                      <a:pt x="115295" y="200789"/>
                    </a:lnTo>
                    <a:lnTo>
                      <a:pt x="122130" y="204617"/>
                    </a:lnTo>
                    <a:lnTo>
                      <a:pt x="122807" y="205726"/>
                    </a:lnTo>
                    <a:lnTo>
                      <a:pt x="124435" y="205259"/>
                    </a:lnTo>
                    <a:cubicBezTo>
                      <a:pt x="124869" y="201418"/>
                      <a:pt x="125303" y="197578"/>
                      <a:pt x="125737" y="193737"/>
                    </a:cubicBezTo>
                    <a:lnTo>
                      <a:pt x="138076" y="176175"/>
                    </a:lnTo>
                    <a:lnTo>
                      <a:pt x="156621" y="170851"/>
                    </a:lnTo>
                    <a:lnTo>
                      <a:pt x="158836" y="171786"/>
                    </a:lnTo>
                    <a:cubicBezTo>
                      <a:pt x="158835" y="171727"/>
                      <a:pt x="158837" y="171667"/>
                      <a:pt x="158836" y="171605"/>
                    </a:cubicBezTo>
                    <a:lnTo>
                      <a:pt x="162739" y="164847"/>
                    </a:lnTo>
                    <a:lnTo>
                      <a:pt x="169497" y="160943"/>
                    </a:lnTo>
                    <a:lnTo>
                      <a:pt x="173717" y="160943"/>
                    </a:lnTo>
                    <a:lnTo>
                      <a:pt x="177304" y="152266"/>
                    </a:lnTo>
                    <a:lnTo>
                      <a:pt x="184062" y="146813"/>
                    </a:lnTo>
                    <a:lnTo>
                      <a:pt x="191868" y="146814"/>
                    </a:lnTo>
                    <a:lnTo>
                      <a:pt x="197289" y="151187"/>
                    </a:lnTo>
                    <a:lnTo>
                      <a:pt x="198626" y="150110"/>
                    </a:lnTo>
                    <a:lnTo>
                      <a:pt x="206433" y="150109"/>
                    </a:lnTo>
                    <a:lnTo>
                      <a:pt x="208774" y="151997"/>
                    </a:lnTo>
                    <a:lnTo>
                      <a:pt x="208774" y="151131"/>
                    </a:lnTo>
                    <a:lnTo>
                      <a:pt x="213790" y="141690"/>
                    </a:lnTo>
                    <a:lnTo>
                      <a:pt x="222482" y="136236"/>
                    </a:lnTo>
                    <a:lnTo>
                      <a:pt x="232515" y="136237"/>
                    </a:lnTo>
                    <a:lnTo>
                      <a:pt x="241206" y="141689"/>
                    </a:lnTo>
                    <a:lnTo>
                      <a:pt x="244335" y="147579"/>
                    </a:lnTo>
                    <a:lnTo>
                      <a:pt x="252841" y="145137"/>
                    </a:lnTo>
                    <a:lnTo>
                      <a:pt x="252649" y="144806"/>
                    </a:lnTo>
                    <a:lnTo>
                      <a:pt x="252648" y="125514"/>
                    </a:lnTo>
                    <a:lnTo>
                      <a:pt x="262297" y="108807"/>
                    </a:lnTo>
                    <a:lnTo>
                      <a:pt x="272073" y="103162"/>
                    </a:lnTo>
                    <a:lnTo>
                      <a:pt x="272116" y="102836"/>
                    </a:lnTo>
                    <a:lnTo>
                      <a:pt x="273216" y="101197"/>
                    </a:lnTo>
                    <a:lnTo>
                      <a:pt x="274533" y="100594"/>
                    </a:lnTo>
                    <a:lnTo>
                      <a:pt x="274316" y="99459"/>
                    </a:lnTo>
                    <a:cubicBezTo>
                      <a:pt x="274425" y="98655"/>
                      <a:pt x="274534" y="97852"/>
                      <a:pt x="274643" y="97048"/>
                    </a:cubicBezTo>
                    <a:lnTo>
                      <a:pt x="275640" y="95110"/>
                    </a:lnTo>
                    <a:lnTo>
                      <a:pt x="277041" y="94163"/>
                    </a:lnTo>
                    <a:lnTo>
                      <a:pt x="277654" y="94290"/>
                    </a:lnTo>
                    <a:lnTo>
                      <a:pt x="278918" y="93436"/>
                    </a:lnTo>
                    <a:cubicBezTo>
                      <a:pt x="278948" y="93225"/>
                      <a:pt x="278976" y="93013"/>
                      <a:pt x="279005" y="92801"/>
                    </a:cubicBezTo>
                    <a:lnTo>
                      <a:pt x="279761" y="91674"/>
                    </a:lnTo>
                    <a:lnTo>
                      <a:pt x="280047" y="91543"/>
                    </a:lnTo>
                    <a:lnTo>
                      <a:pt x="279848" y="89759"/>
                    </a:lnTo>
                    <a:lnTo>
                      <a:pt x="280498" y="87825"/>
                    </a:lnTo>
                    <a:lnTo>
                      <a:pt x="281861" y="86598"/>
                    </a:lnTo>
                    <a:lnTo>
                      <a:pt x="283572" y="86407"/>
                    </a:lnTo>
                    <a:lnTo>
                      <a:pt x="284485" y="86919"/>
                    </a:lnTo>
                    <a:lnTo>
                      <a:pt x="284641" y="86457"/>
                    </a:lnTo>
                    <a:lnTo>
                      <a:pt x="286003" y="85231"/>
                    </a:lnTo>
                    <a:lnTo>
                      <a:pt x="286594" y="85164"/>
                    </a:lnTo>
                    <a:lnTo>
                      <a:pt x="287535" y="84189"/>
                    </a:lnTo>
                    <a:lnTo>
                      <a:pt x="289086" y="83744"/>
                    </a:lnTo>
                    <a:lnTo>
                      <a:pt x="289295" y="83557"/>
                    </a:lnTo>
                    <a:cubicBezTo>
                      <a:pt x="289330" y="83238"/>
                      <a:pt x="289366" y="82918"/>
                      <a:pt x="289403" y="82598"/>
                    </a:cubicBezTo>
                    <a:lnTo>
                      <a:pt x="290571" y="80934"/>
                    </a:lnTo>
                    <a:lnTo>
                      <a:pt x="292328" y="80430"/>
                    </a:lnTo>
                    <a:lnTo>
                      <a:pt x="293047" y="80735"/>
                    </a:lnTo>
                    <a:lnTo>
                      <a:pt x="294028" y="79852"/>
                    </a:lnTo>
                    <a:lnTo>
                      <a:pt x="295739" y="79661"/>
                    </a:lnTo>
                    <a:lnTo>
                      <a:pt x="297340" y="80557"/>
                    </a:lnTo>
                    <a:lnTo>
                      <a:pt x="297498" y="80816"/>
                    </a:lnTo>
                    <a:lnTo>
                      <a:pt x="297878" y="80707"/>
                    </a:lnTo>
                    <a:cubicBezTo>
                      <a:pt x="297981" y="79808"/>
                      <a:pt x="298081" y="78909"/>
                      <a:pt x="298184" y="78011"/>
                    </a:cubicBezTo>
                    <a:lnTo>
                      <a:pt x="301071" y="73900"/>
                    </a:lnTo>
                    <a:lnTo>
                      <a:pt x="305411" y="72653"/>
                    </a:lnTo>
                    <a:lnTo>
                      <a:pt x="305930" y="72872"/>
                    </a:lnTo>
                    <a:cubicBezTo>
                      <a:pt x="305931" y="72858"/>
                      <a:pt x="305931" y="72844"/>
                      <a:pt x="305931" y="72830"/>
                    </a:cubicBezTo>
                    <a:lnTo>
                      <a:pt x="306844" y="71248"/>
                    </a:lnTo>
                    <a:lnTo>
                      <a:pt x="308426" y="70335"/>
                    </a:lnTo>
                    <a:lnTo>
                      <a:pt x="309414" y="70335"/>
                    </a:lnTo>
                    <a:lnTo>
                      <a:pt x="310254" y="68303"/>
                    </a:lnTo>
                    <a:lnTo>
                      <a:pt x="311836" y="67027"/>
                    </a:lnTo>
                    <a:lnTo>
                      <a:pt x="313662" y="67027"/>
                    </a:lnTo>
                    <a:lnTo>
                      <a:pt x="314932" y="68051"/>
                    </a:lnTo>
                    <a:lnTo>
                      <a:pt x="315245" y="67798"/>
                    </a:lnTo>
                    <a:lnTo>
                      <a:pt x="317072" y="67798"/>
                    </a:lnTo>
                    <a:lnTo>
                      <a:pt x="317620" y="68241"/>
                    </a:lnTo>
                    <a:lnTo>
                      <a:pt x="317620" y="68038"/>
                    </a:lnTo>
                    <a:lnTo>
                      <a:pt x="318793" y="65827"/>
                    </a:lnTo>
                    <a:lnTo>
                      <a:pt x="320828" y="64551"/>
                    </a:lnTo>
                    <a:lnTo>
                      <a:pt x="323176" y="64551"/>
                    </a:lnTo>
                    <a:lnTo>
                      <a:pt x="324567" y="65424"/>
                    </a:lnTo>
                    <a:lnTo>
                      <a:pt x="326627" y="64234"/>
                    </a:lnTo>
                    <a:lnTo>
                      <a:pt x="327889" y="64234"/>
                    </a:lnTo>
                    <a:lnTo>
                      <a:pt x="327889" y="62042"/>
                    </a:lnTo>
                    <a:lnTo>
                      <a:pt x="330146" y="58131"/>
                    </a:lnTo>
                    <a:lnTo>
                      <a:pt x="334057" y="55873"/>
                    </a:lnTo>
                    <a:lnTo>
                      <a:pt x="338573" y="55874"/>
                    </a:lnTo>
                    <a:lnTo>
                      <a:pt x="339036" y="56141"/>
                    </a:lnTo>
                    <a:lnTo>
                      <a:pt x="339037" y="53867"/>
                    </a:lnTo>
                    <a:lnTo>
                      <a:pt x="341294" y="49956"/>
                    </a:lnTo>
                    <a:lnTo>
                      <a:pt x="343481" y="48694"/>
                    </a:lnTo>
                    <a:lnTo>
                      <a:pt x="345922" y="42785"/>
                    </a:lnTo>
                    <a:lnTo>
                      <a:pt x="362628" y="29309"/>
                    </a:lnTo>
                    <a:lnTo>
                      <a:pt x="381922" y="29310"/>
                    </a:lnTo>
                    <a:lnTo>
                      <a:pt x="391120" y="36729"/>
                    </a:lnTo>
                    <a:lnTo>
                      <a:pt x="394588" y="34726"/>
                    </a:lnTo>
                    <a:lnTo>
                      <a:pt x="397029" y="34726"/>
                    </a:lnTo>
                    <a:lnTo>
                      <a:pt x="399104" y="29707"/>
                    </a:lnTo>
                    <a:lnTo>
                      <a:pt x="403014" y="26552"/>
                    </a:lnTo>
                    <a:lnTo>
                      <a:pt x="407530" y="26552"/>
                    </a:lnTo>
                    <a:lnTo>
                      <a:pt x="410667" y="29082"/>
                    </a:lnTo>
                    <a:lnTo>
                      <a:pt x="411440" y="28459"/>
                    </a:lnTo>
                    <a:lnTo>
                      <a:pt x="415956" y="28459"/>
                    </a:lnTo>
                    <a:lnTo>
                      <a:pt x="417311" y="29551"/>
                    </a:lnTo>
                    <a:cubicBezTo>
                      <a:pt x="417310" y="29384"/>
                      <a:pt x="417311" y="29217"/>
                      <a:pt x="417311" y="29050"/>
                    </a:cubicBezTo>
                    <a:lnTo>
                      <a:pt x="420213" y="23587"/>
                    </a:lnTo>
                    <a:lnTo>
                      <a:pt x="425241" y="20432"/>
                    </a:lnTo>
                    <a:lnTo>
                      <a:pt x="431047" y="20433"/>
                    </a:lnTo>
                    <a:lnTo>
                      <a:pt x="433333" y="21867"/>
                    </a:lnTo>
                    <a:lnTo>
                      <a:pt x="436110" y="16643"/>
                    </a:lnTo>
                    <a:lnTo>
                      <a:pt x="457591" y="3166"/>
                    </a:lnTo>
                    <a:lnTo>
                      <a:pt x="482393" y="3166"/>
                    </a:lnTo>
                    <a:lnTo>
                      <a:pt x="487924" y="6636"/>
                    </a:lnTo>
                    <a:lnTo>
                      <a:pt x="488297" y="6580"/>
                    </a:lnTo>
                    <a:lnTo>
                      <a:pt x="488348" y="6602"/>
                    </a:lnTo>
                    <a:lnTo>
                      <a:pt x="488495" y="6315"/>
                    </a:lnTo>
                    <a:lnTo>
                      <a:pt x="490189" y="5056"/>
                    </a:lnTo>
                    <a:lnTo>
                      <a:pt x="492166" y="4763"/>
                    </a:lnTo>
                    <a:lnTo>
                      <a:pt x="492568" y="4937"/>
                    </a:lnTo>
                    <a:cubicBezTo>
                      <a:pt x="492770" y="4788"/>
                      <a:pt x="492971" y="4639"/>
                      <a:pt x="493171" y="4490"/>
                    </a:cubicBezTo>
                    <a:lnTo>
                      <a:pt x="495111" y="4131"/>
                    </a:lnTo>
                    <a:lnTo>
                      <a:pt x="496464" y="4653"/>
                    </a:lnTo>
                    <a:lnTo>
                      <a:pt x="497123" y="3703"/>
                    </a:lnTo>
                    <a:cubicBezTo>
                      <a:pt x="497775" y="3221"/>
                      <a:pt x="498426" y="2737"/>
                      <a:pt x="499076" y="2254"/>
                    </a:cubicBezTo>
                    <a:lnTo>
                      <a:pt x="501161" y="1614"/>
                    </a:lnTo>
                    <a:lnTo>
                      <a:pt x="502817" y="1954"/>
                    </a:lnTo>
                    <a:lnTo>
                      <a:pt x="503153" y="2482"/>
                    </a:lnTo>
                    <a:lnTo>
                      <a:pt x="504650" y="2789"/>
                    </a:lnTo>
                    <a:cubicBezTo>
                      <a:pt x="504821" y="2663"/>
                      <a:pt x="504992" y="2536"/>
                      <a:pt x="505163" y="2408"/>
                    </a:cubicBezTo>
                    <a:lnTo>
                      <a:pt x="506499" y="2162"/>
                    </a:lnTo>
                    <a:lnTo>
                      <a:pt x="506792" y="2275"/>
                    </a:lnTo>
                    <a:lnTo>
                      <a:pt x="507928" y="886"/>
                    </a:lnTo>
                    <a:close/>
                  </a:path>
                </a:pathLst>
              </a:cu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0" tIns="0" rIns="0" bIns="0" numCol="1" anchor="t" anchorCtr="0" compatLnSpc="1">
                <a:prstTxWarp prst="textNoShape">
                  <a:avLst/>
                </a:prstTxWarp>
              </a:bodyPr>
              <a:lstStyle/>
              <a:p>
                <a:endParaRPr lang="en-US" sz="900">
                  <a:solidFill>
                    <a:schemeClr val="tx1"/>
                  </a:solidFill>
                </a:endParaRPr>
              </a:p>
            </p:txBody>
          </p:sp>
          <p:sp>
            <p:nvSpPr>
              <p:cNvPr id="1935" name="TextBox 1934">
                <a:extLst>
                  <a:ext uri="{FF2B5EF4-FFF2-40B4-BE49-F238E27FC236}">
                    <a16:creationId xmlns:a16="http://schemas.microsoft.com/office/drawing/2014/main" id="{644C2E4A-324A-4466-966D-29165E9679AC}"/>
                  </a:ext>
                </a:extLst>
              </p:cNvPr>
              <p:cNvSpPr txBox="1"/>
              <p:nvPr/>
            </p:nvSpPr>
            <p:spPr bwMode="gray">
              <a:xfrm>
                <a:off x="7275324" y="3765931"/>
                <a:ext cx="856308" cy="186188"/>
              </a:xfrm>
              <a:prstGeom prst="rect">
                <a:avLst/>
              </a:prstGeom>
              <a:noFill/>
              <a:ln>
                <a:noFill/>
              </a:ln>
            </p:spPr>
            <p:txBody>
              <a:bodyPr wrap="square" lIns="0" tIns="0" rIns="0" bIns="0" rtlCol="0" anchor="t" anchorCtr="0">
                <a:noAutofit/>
              </a:bodyPr>
              <a:lstStyle/>
              <a:p>
                <a:pPr algn="ctr">
                  <a:spcBef>
                    <a:spcPts val="300"/>
                  </a:spcBef>
                </a:pPr>
                <a:r>
                  <a:rPr lang="de-DE" sz="900" dirty="0"/>
                  <a:t>De-gassed manure</a:t>
                </a:r>
              </a:p>
            </p:txBody>
          </p:sp>
        </p:grpSp>
        <p:grpSp>
          <p:nvGrpSpPr>
            <p:cNvPr id="1949" name="Group 1948">
              <a:extLst>
                <a:ext uri="{FF2B5EF4-FFF2-40B4-BE49-F238E27FC236}">
                  <a16:creationId xmlns:a16="http://schemas.microsoft.com/office/drawing/2014/main" id="{F2B8CDC8-8D7A-4951-A9B3-A5E2DD62F958}"/>
                </a:ext>
              </a:extLst>
            </p:cNvPr>
            <p:cNvGrpSpPr/>
            <p:nvPr/>
          </p:nvGrpSpPr>
          <p:grpSpPr bwMode="gray">
            <a:xfrm>
              <a:off x="6330492" y="2176408"/>
              <a:ext cx="856308" cy="590068"/>
              <a:chOff x="8210044" y="3362051"/>
              <a:chExt cx="856308" cy="590068"/>
            </a:xfrm>
          </p:grpSpPr>
          <p:grpSp>
            <p:nvGrpSpPr>
              <p:cNvPr id="1938" name="Group 1937">
                <a:extLst>
                  <a:ext uri="{FF2B5EF4-FFF2-40B4-BE49-F238E27FC236}">
                    <a16:creationId xmlns:a16="http://schemas.microsoft.com/office/drawing/2014/main" id="{C5A73889-E1A0-49EC-98DE-1542D54A9A31}"/>
                  </a:ext>
                </a:extLst>
              </p:cNvPr>
              <p:cNvGrpSpPr/>
              <p:nvPr/>
            </p:nvGrpSpPr>
            <p:grpSpPr bwMode="gray">
              <a:xfrm>
                <a:off x="8333796" y="3362051"/>
                <a:ext cx="608805" cy="374981"/>
                <a:chOff x="8387680" y="3362051"/>
                <a:chExt cx="608805" cy="374981"/>
              </a:xfrm>
            </p:grpSpPr>
            <p:grpSp>
              <p:nvGrpSpPr>
                <p:cNvPr id="1918" name="Group 1917">
                  <a:extLst>
                    <a:ext uri="{FF2B5EF4-FFF2-40B4-BE49-F238E27FC236}">
                      <a16:creationId xmlns:a16="http://schemas.microsoft.com/office/drawing/2014/main" id="{7A3871D2-806A-47A4-99CC-5F90E1B6B5D5}"/>
                    </a:ext>
                  </a:extLst>
                </p:cNvPr>
                <p:cNvGrpSpPr>
                  <a:grpSpLocks noChangeAspect="1"/>
                </p:cNvGrpSpPr>
                <p:nvPr/>
              </p:nvGrpSpPr>
              <p:grpSpPr bwMode="gray">
                <a:xfrm>
                  <a:off x="8387680" y="3362051"/>
                  <a:ext cx="263181" cy="374981"/>
                  <a:chOff x="12192000" y="4507992"/>
                  <a:chExt cx="1103851" cy="1572768"/>
                </a:xfrm>
              </p:grpSpPr>
              <p:sp>
                <p:nvSpPr>
                  <p:cNvPr id="1919" name="32-Point Star 307">
                    <a:extLst>
                      <a:ext uri="{FF2B5EF4-FFF2-40B4-BE49-F238E27FC236}">
                        <a16:creationId xmlns:a16="http://schemas.microsoft.com/office/drawing/2014/main" id="{25F1F5BC-95B2-4A52-8081-A5A690B161A2}"/>
                      </a:ext>
                    </a:extLst>
                  </p:cNvPr>
                  <p:cNvSpPr/>
                  <p:nvPr/>
                </p:nvSpPr>
                <p:spPr bwMode="gray">
                  <a:xfrm>
                    <a:off x="12216680" y="5019970"/>
                    <a:ext cx="1079171" cy="1060790"/>
                  </a:xfrm>
                  <a:custGeom>
                    <a:avLst/>
                    <a:gdLst/>
                    <a:ahLst/>
                    <a:cxnLst/>
                    <a:rect l="l" t="t" r="r" b="b"/>
                    <a:pathLst>
                      <a:path w="1079171" h="1060790">
                        <a:moveTo>
                          <a:pt x="648100" y="1037280"/>
                        </a:moveTo>
                        <a:lnTo>
                          <a:pt x="651516" y="1038582"/>
                        </a:lnTo>
                        <a:cubicBezTo>
                          <a:pt x="653770" y="1042539"/>
                          <a:pt x="651995" y="1040845"/>
                          <a:pt x="648100" y="1037280"/>
                        </a:cubicBezTo>
                        <a:close/>
                        <a:moveTo>
                          <a:pt x="350586" y="0"/>
                        </a:moveTo>
                        <a:lnTo>
                          <a:pt x="401853" y="30632"/>
                        </a:lnTo>
                        <a:lnTo>
                          <a:pt x="482880" y="538180"/>
                        </a:lnTo>
                        <a:lnTo>
                          <a:pt x="560056" y="54758"/>
                        </a:lnTo>
                        <a:lnTo>
                          <a:pt x="571595" y="34160"/>
                        </a:lnTo>
                        <a:lnTo>
                          <a:pt x="611136" y="24231"/>
                        </a:lnTo>
                        <a:lnTo>
                          <a:pt x="731734" y="112208"/>
                        </a:lnTo>
                        <a:lnTo>
                          <a:pt x="711326" y="148636"/>
                        </a:lnTo>
                        <a:lnTo>
                          <a:pt x="749994" y="130069"/>
                        </a:lnTo>
                        <a:cubicBezTo>
                          <a:pt x="763703" y="123486"/>
                          <a:pt x="779495" y="130833"/>
                          <a:pt x="785264" y="146477"/>
                        </a:cubicBezTo>
                        <a:lnTo>
                          <a:pt x="822971" y="248734"/>
                        </a:lnTo>
                        <a:lnTo>
                          <a:pt x="864577" y="243992"/>
                        </a:lnTo>
                        <a:lnTo>
                          <a:pt x="862114" y="262095"/>
                        </a:lnTo>
                        <a:lnTo>
                          <a:pt x="899961" y="262095"/>
                        </a:lnTo>
                        <a:cubicBezTo>
                          <a:pt x="903344" y="279266"/>
                          <a:pt x="904858" y="296992"/>
                          <a:pt x="904858" y="315072"/>
                        </a:cubicBezTo>
                        <a:cubicBezTo>
                          <a:pt x="904858" y="402131"/>
                          <a:pt x="869750" y="480990"/>
                          <a:pt x="812836" y="538181"/>
                        </a:cubicBezTo>
                        <a:cubicBezTo>
                          <a:pt x="887456" y="495235"/>
                          <a:pt x="944632" y="425848"/>
                          <a:pt x="970351" y="342219"/>
                        </a:cubicBezTo>
                        <a:lnTo>
                          <a:pt x="1000570" y="480156"/>
                        </a:lnTo>
                        <a:lnTo>
                          <a:pt x="1003186" y="481357"/>
                        </a:lnTo>
                        <a:lnTo>
                          <a:pt x="1001277" y="483378"/>
                        </a:lnTo>
                        <a:lnTo>
                          <a:pt x="1012915" y="536500"/>
                        </a:lnTo>
                        <a:lnTo>
                          <a:pt x="963385" y="536500"/>
                        </a:lnTo>
                        <a:lnTo>
                          <a:pt x="1012915" y="571799"/>
                        </a:lnTo>
                        <a:lnTo>
                          <a:pt x="956040" y="612332"/>
                        </a:lnTo>
                        <a:lnTo>
                          <a:pt x="1003186" y="662240"/>
                        </a:lnTo>
                        <a:lnTo>
                          <a:pt x="978764" y="673460"/>
                        </a:lnTo>
                        <a:lnTo>
                          <a:pt x="1067858" y="720037"/>
                        </a:lnTo>
                        <a:lnTo>
                          <a:pt x="1079171" y="754776"/>
                        </a:lnTo>
                        <a:lnTo>
                          <a:pt x="1031347" y="873890"/>
                        </a:lnTo>
                        <a:lnTo>
                          <a:pt x="923216" y="817359"/>
                        </a:lnTo>
                        <a:lnTo>
                          <a:pt x="927562" y="829355"/>
                        </a:lnTo>
                        <a:lnTo>
                          <a:pt x="855672" y="834132"/>
                        </a:lnTo>
                        <a:lnTo>
                          <a:pt x="862712" y="885891"/>
                        </a:lnTo>
                        <a:lnTo>
                          <a:pt x="863851" y="886811"/>
                        </a:lnTo>
                        <a:lnTo>
                          <a:pt x="863129" y="888959"/>
                        </a:lnTo>
                        <a:lnTo>
                          <a:pt x="864577" y="899606"/>
                        </a:lnTo>
                        <a:lnTo>
                          <a:pt x="859735" y="899054"/>
                        </a:lnTo>
                        <a:lnTo>
                          <a:pt x="822755" y="1009067"/>
                        </a:lnTo>
                        <a:lnTo>
                          <a:pt x="709743" y="1060790"/>
                        </a:lnTo>
                        <a:lnTo>
                          <a:pt x="651516" y="1038582"/>
                        </a:lnTo>
                        <a:lnTo>
                          <a:pt x="637825" y="1013769"/>
                        </a:lnTo>
                        <a:cubicBezTo>
                          <a:pt x="633936" y="1003912"/>
                          <a:pt x="630389" y="994886"/>
                          <a:pt x="627156" y="986552"/>
                        </a:cubicBezTo>
                        <a:lnTo>
                          <a:pt x="605263" y="1026482"/>
                        </a:lnTo>
                        <a:lnTo>
                          <a:pt x="550740" y="983326"/>
                        </a:lnTo>
                        <a:lnTo>
                          <a:pt x="506458" y="1035387"/>
                        </a:lnTo>
                        <a:lnTo>
                          <a:pt x="462176" y="983326"/>
                        </a:lnTo>
                        <a:lnTo>
                          <a:pt x="407652" y="1026482"/>
                        </a:lnTo>
                        <a:lnTo>
                          <a:pt x="399110" y="1010903"/>
                        </a:lnTo>
                        <a:lnTo>
                          <a:pt x="343812" y="1037454"/>
                        </a:lnTo>
                        <a:cubicBezTo>
                          <a:pt x="330101" y="1044037"/>
                          <a:pt x="314309" y="1036691"/>
                          <a:pt x="308540" y="1021046"/>
                        </a:cubicBezTo>
                        <a:lnTo>
                          <a:pt x="284532" y="955939"/>
                        </a:lnTo>
                        <a:cubicBezTo>
                          <a:pt x="272817" y="956901"/>
                          <a:pt x="262306" y="953588"/>
                          <a:pt x="253330" y="948686"/>
                        </a:cubicBezTo>
                        <a:lnTo>
                          <a:pt x="225085" y="957259"/>
                        </a:lnTo>
                        <a:lnTo>
                          <a:pt x="222280" y="921906"/>
                        </a:lnTo>
                        <a:lnTo>
                          <a:pt x="221917" y="920779"/>
                        </a:lnTo>
                        <a:lnTo>
                          <a:pt x="149414" y="967607"/>
                        </a:lnTo>
                        <a:lnTo>
                          <a:pt x="131658" y="894418"/>
                        </a:lnTo>
                        <a:lnTo>
                          <a:pt x="150717" y="882108"/>
                        </a:lnTo>
                        <a:lnTo>
                          <a:pt x="157243" y="834132"/>
                        </a:lnTo>
                        <a:lnTo>
                          <a:pt x="85353" y="829355"/>
                        </a:lnTo>
                        <a:lnTo>
                          <a:pt x="101085" y="785931"/>
                        </a:lnTo>
                        <a:lnTo>
                          <a:pt x="46049" y="751096"/>
                        </a:lnTo>
                        <a:lnTo>
                          <a:pt x="38552" y="749205"/>
                        </a:lnTo>
                        <a:lnTo>
                          <a:pt x="39823" y="747156"/>
                        </a:lnTo>
                        <a:lnTo>
                          <a:pt x="14420" y="731077"/>
                        </a:lnTo>
                        <a:cubicBezTo>
                          <a:pt x="1413" y="722844"/>
                          <a:pt x="-3283" y="704137"/>
                          <a:pt x="3932" y="689294"/>
                        </a:cubicBezTo>
                        <a:lnTo>
                          <a:pt x="15740" y="665002"/>
                        </a:lnTo>
                        <a:lnTo>
                          <a:pt x="9729" y="662240"/>
                        </a:lnTo>
                        <a:lnTo>
                          <a:pt x="24876" y="646205"/>
                        </a:lnTo>
                        <a:lnTo>
                          <a:pt x="45338" y="604110"/>
                        </a:lnTo>
                        <a:lnTo>
                          <a:pt x="0" y="571799"/>
                        </a:lnTo>
                        <a:lnTo>
                          <a:pt x="50569" y="535759"/>
                        </a:lnTo>
                        <a:lnTo>
                          <a:pt x="18121" y="535759"/>
                        </a:lnTo>
                        <a:lnTo>
                          <a:pt x="38983" y="512326"/>
                        </a:lnTo>
                        <a:lnTo>
                          <a:pt x="9729" y="481357"/>
                        </a:lnTo>
                        <a:lnTo>
                          <a:pt x="60959" y="457822"/>
                        </a:lnTo>
                        <a:cubicBezTo>
                          <a:pt x="85347" y="490894"/>
                          <a:pt x="117128" y="517580"/>
                          <a:pt x="152923" y="538181"/>
                        </a:cubicBezTo>
                        <a:cubicBezTo>
                          <a:pt x="96878" y="481864"/>
                          <a:pt x="61978" y="404535"/>
                          <a:pt x="61300" y="319050"/>
                        </a:cubicBezTo>
                        <a:lnTo>
                          <a:pt x="90204" y="247060"/>
                        </a:lnTo>
                        <a:lnTo>
                          <a:pt x="153237" y="280015"/>
                        </a:lnTo>
                        <a:lnTo>
                          <a:pt x="148338" y="243992"/>
                        </a:lnTo>
                        <a:lnTo>
                          <a:pt x="217308" y="251851"/>
                        </a:lnTo>
                        <a:lnTo>
                          <a:pt x="207349" y="245703"/>
                        </a:lnTo>
                        <a:lnTo>
                          <a:pt x="222993" y="212713"/>
                        </a:lnTo>
                        <a:lnTo>
                          <a:pt x="225085" y="186338"/>
                        </a:lnTo>
                        <a:lnTo>
                          <a:pt x="234189" y="189102"/>
                        </a:lnTo>
                        <a:lnTo>
                          <a:pt x="261195" y="132151"/>
                        </a:lnTo>
                        <a:cubicBezTo>
                          <a:pt x="267143" y="119608"/>
                          <a:pt x="280875" y="114942"/>
                          <a:pt x="291867" y="121730"/>
                        </a:cubicBezTo>
                        <a:lnTo>
                          <a:pt x="340342" y="151661"/>
                        </a:lnTo>
                        <a:cubicBezTo>
                          <a:pt x="341253" y="93255"/>
                          <a:pt x="343850" y="74507"/>
                          <a:pt x="350586" y="0"/>
                        </a:cubicBezTo>
                        <a:close/>
                      </a:path>
                    </a:pathLst>
                  </a:cu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0" tIns="0" rIns="0" bIns="0" numCol="1" anchor="t" anchorCtr="0" compatLnSpc="1">
                    <a:prstTxWarp prst="textNoShape">
                      <a:avLst/>
                    </a:prstTxWarp>
                  </a:bodyPr>
                  <a:lstStyle/>
                  <a:p>
                    <a:endParaRPr lang="en-US" sz="900"/>
                  </a:p>
                </p:txBody>
              </p:sp>
              <p:sp>
                <p:nvSpPr>
                  <p:cNvPr id="1920" name="Round Same Side Corner Rectangle 293">
                    <a:extLst>
                      <a:ext uri="{FF2B5EF4-FFF2-40B4-BE49-F238E27FC236}">
                        <a16:creationId xmlns:a16="http://schemas.microsoft.com/office/drawing/2014/main" id="{5D56AD38-CFB8-46AA-88F2-E295C16D4193}"/>
                      </a:ext>
                    </a:extLst>
                  </p:cNvPr>
                  <p:cNvSpPr/>
                  <p:nvPr/>
                </p:nvSpPr>
                <p:spPr bwMode="gray">
                  <a:xfrm>
                    <a:off x="12480104" y="4693920"/>
                    <a:ext cx="438913" cy="241211"/>
                  </a:xfrm>
                  <a:custGeom>
                    <a:avLst/>
                    <a:gdLst/>
                    <a:ahLst/>
                    <a:cxnLst/>
                    <a:rect l="l" t="t" r="r" b="b"/>
                    <a:pathLst>
                      <a:path w="438913" h="241211">
                        <a:moveTo>
                          <a:pt x="120606" y="0"/>
                        </a:moveTo>
                        <a:lnTo>
                          <a:pt x="318307" y="0"/>
                        </a:lnTo>
                        <a:cubicBezTo>
                          <a:pt x="384916" y="0"/>
                          <a:pt x="438913" y="53997"/>
                          <a:pt x="438913" y="120606"/>
                        </a:cubicBezTo>
                        <a:lnTo>
                          <a:pt x="438912" y="203212"/>
                        </a:lnTo>
                        <a:cubicBezTo>
                          <a:pt x="415798" y="198450"/>
                          <a:pt x="391861" y="195998"/>
                          <a:pt x="367351" y="195998"/>
                        </a:cubicBezTo>
                        <a:lnTo>
                          <a:pt x="367351" y="241211"/>
                        </a:lnTo>
                        <a:lnTo>
                          <a:pt x="318918" y="241211"/>
                        </a:lnTo>
                        <a:lnTo>
                          <a:pt x="326136" y="195997"/>
                        </a:lnTo>
                        <a:lnTo>
                          <a:pt x="112776" y="195997"/>
                        </a:lnTo>
                        <a:lnTo>
                          <a:pt x="119994" y="241211"/>
                        </a:lnTo>
                        <a:lnTo>
                          <a:pt x="71560" y="241211"/>
                        </a:lnTo>
                        <a:lnTo>
                          <a:pt x="71560" y="195998"/>
                        </a:lnTo>
                        <a:lnTo>
                          <a:pt x="0" y="203212"/>
                        </a:lnTo>
                        <a:lnTo>
                          <a:pt x="0" y="120606"/>
                        </a:lnTo>
                        <a:cubicBezTo>
                          <a:pt x="0" y="53997"/>
                          <a:pt x="53997" y="0"/>
                          <a:pt x="120606" y="0"/>
                        </a:cubicBezTo>
                        <a:close/>
                      </a:path>
                    </a:pathLst>
                  </a:cu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0" tIns="0" rIns="0" bIns="0" numCol="1" anchor="t" anchorCtr="0" compatLnSpc="1">
                    <a:prstTxWarp prst="textNoShape">
                      <a:avLst/>
                    </a:prstTxWarp>
                  </a:bodyPr>
                  <a:lstStyle/>
                  <a:p>
                    <a:endParaRPr lang="en-US" sz="900"/>
                  </a:p>
                </p:txBody>
              </p:sp>
              <p:sp>
                <p:nvSpPr>
                  <p:cNvPr id="1921" name="Isosceles Triangle 1920">
                    <a:extLst>
                      <a:ext uri="{FF2B5EF4-FFF2-40B4-BE49-F238E27FC236}">
                        <a16:creationId xmlns:a16="http://schemas.microsoft.com/office/drawing/2014/main" id="{F43A2C8C-0A14-4732-9EF1-2F322F6585A9}"/>
                      </a:ext>
                    </a:extLst>
                  </p:cNvPr>
                  <p:cNvSpPr/>
                  <p:nvPr/>
                </p:nvSpPr>
                <p:spPr bwMode="gray">
                  <a:xfrm rot="10800000">
                    <a:off x="12592880" y="4889917"/>
                    <a:ext cx="213360" cy="668233"/>
                  </a:xfrm>
                  <a:prstGeom prst="triangle">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0" tIns="0" rIns="0" bIns="0" numCol="1" anchor="t" anchorCtr="0" compatLnSpc="1">
                    <a:prstTxWarp prst="textNoShape">
                      <a:avLst/>
                    </a:prstTxWarp>
                  </a:bodyPr>
                  <a:lstStyle/>
                  <a:p>
                    <a:endParaRPr lang="en-US" sz="900"/>
                  </a:p>
                </p:txBody>
              </p:sp>
              <p:sp>
                <p:nvSpPr>
                  <p:cNvPr id="1922" name="Rectangle 1921">
                    <a:extLst>
                      <a:ext uri="{FF2B5EF4-FFF2-40B4-BE49-F238E27FC236}">
                        <a16:creationId xmlns:a16="http://schemas.microsoft.com/office/drawing/2014/main" id="{0B28550B-9F7F-4737-B890-A3ACD6740B2B}"/>
                      </a:ext>
                    </a:extLst>
                  </p:cNvPr>
                  <p:cNvSpPr/>
                  <p:nvPr/>
                </p:nvSpPr>
                <p:spPr bwMode="gray">
                  <a:xfrm>
                    <a:off x="12676701" y="4507992"/>
                    <a:ext cx="45719" cy="185928"/>
                  </a:xfrm>
                  <a:prstGeom prst="rect">
                    <a:avLst/>
                  </a:pr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0" tIns="0" rIns="0" bIns="0" numCol="1" anchor="t" anchorCtr="0" compatLnSpc="1">
                    <a:prstTxWarp prst="textNoShape">
                      <a:avLst/>
                    </a:prstTxWarp>
                  </a:bodyPr>
                  <a:lstStyle/>
                  <a:p>
                    <a:endParaRPr lang="en-US" sz="900"/>
                  </a:p>
                </p:txBody>
              </p:sp>
              <p:sp>
                <p:nvSpPr>
                  <p:cNvPr id="1923" name="Oval 296">
                    <a:extLst>
                      <a:ext uri="{FF2B5EF4-FFF2-40B4-BE49-F238E27FC236}">
                        <a16:creationId xmlns:a16="http://schemas.microsoft.com/office/drawing/2014/main" id="{9CA2F048-2B41-4B07-A94B-72C48C4A4EB8}"/>
                      </a:ext>
                    </a:extLst>
                  </p:cNvPr>
                  <p:cNvSpPr/>
                  <p:nvPr/>
                </p:nvSpPr>
                <p:spPr bwMode="gray">
                  <a:xfrm flipH="1">
                    <a:off x="12847455" y="4889918"/>
                    <a:ext cx="359664" cy="668233"/>
                  </a:xfrm>
                  <a:custGeom>
                    <a:avLst/>
                    <a:gdLst/>
                    <a:ahLst/>
                    <a:cxnLst/>
                    <a:rect l="l" t="t" r="r" b="b"/>
                    <a:pathLst>
                      <a:path w="359664" h="668233">
                        <a:moveTo>
                          <a:pt x="359664" y="0"/>
                        </a:moveTo>
                        <a:lnTo>
                          <a:pt x="359664" y="132564"/>
                        </a:lnTo>
                        <a:cubicBezTo>
                          <a:pt x="204798" y="152117"/>
                          <a:pt x="85581" y="284698"/>
                          <a:pt x="85581" y="445124"/>
                        </a:cubicBezTo>
                        <a:cubicBezTo>
                          <a:pt x="85581" y="532183"/>
                          <a:pt x="120689" y="611042"/>
                          <a:pt x="177603" y="668233"/>
                        </a:cubicBezTo>
                        <a:cubicBezTo>
                          <a:pt x="71000" y="606879"/>
                          <a:pt x="0" y="491563"/>
                          <a:pt x="0" y="359664"/>
                        </a:cubicBezTo>
                        <a:cubicBezTo>
                          <a:pt x="0" y="161027"/>
                          <a:pt x="161027" y="0"/>
                          <a:pt x="359664" y="0"/>
                        </a:cubicBezTo>
                        <a:close/>
                      </a:path>
                    </a:pathLst>
                  </a:cu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0" tIns="0" rIns="0" bIns="0" numCol="1" anchor="t" anchorCtr="0" compatLnSpc="1">
                    <a:prstTxWarp prst="textNoShape">
                      <a:avLst/>
                    </a:prstTxWarp>
                  </a:bodyPr>
                  <a:lstStyle/>
                  <a:p>
                    <a:endParaRPr lang="en-US" sz="900"/>
                  </a:p>
                </p:txBody>
              </p:sp>
              <p:sp>
                <p:nvSpPr>
                  <p:cNvPr id="1924" name="Oval 296">
                    <a:extLst>
                      <a:ext uri="{FF2B5EF4-FFF2-40B4-BE49-F238E27FC236}">
                        <a16:creationId xmlns:a16="http://schemas.microsoft.com/office/drawing/2014/main" id="{0DE21B10-E890-4641-BFC3-40B29C75977E}"/>
                      </a:ext>
                    </a:extLst>
                  </p:cNvPr>
                  <p:cNvSpPr/>
                  <p:nvPr/>
                </p:nvSpPr>
                <p:spPr bwMode="gray">
                  <a:xfrm>
                    <a:off x="12192000" y="4889918"/>
                    <a:ext cx="359664" cy="668233"/>
                  </a:xfrm>
                  <a:custGeom>
                    <a:avLst/>
                    <a:gdLst/>
                    <a:ahLst/>
                    <a:cxnLst/>
                    <a:rect l="l" t="t" r="r" b="b"/>
                    <a:pathLst>
                      <a:path w="359664" h="668233">
                        <a:moveTo>
                          <a:pt x="359664" y="0"/>
                        </a:moveTo>
                        <a:lnTo>
                          <a:pt x="359664" y="132564"/>
                        </a:lnTo>
                        <a:cubicBezTo>
                          <a:pt x="204798" y="152117"/>
                          <a:pt x="85581" y="284698"/>
                          <a:pt x="85581" y="445124"/>
                        </a:cubicBezTo>
                        <a:cubicBezTo>
                          <a:pt x="85581" y="532183"/>
                          <a:pt x="120689" y="611042"/>
                          <a:pt x="177603" y="668233"/>
                        </a:cubicBezTo>
                        <a:cubicBezTo>
                          <a:pt x="71000" y="606879"/>
                          <a:pt x="0" y="491563"/>
                          <a:pt x="0" y="359664"/>
                        </a:cubicBezTo>
                        <a:cubicBezTo>
                          <a:pt x="0" y="161027"/>
                          <a:pt x="161027" y="0"/>
                          <a:pt x="359664" y="0"/>
                        </a:cubicBezTo>
                        <a:close/>
                      </a:path>
                    </a:pathLst>
                  </a:custGeom>
                  <a:noFill/>
                  <a:ln w="19050">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0" tIns="0" rIns="0" bIns="0" numCol="1" anchor="t" anchorCtr="0" compatLnSpc="1">
                    <a:prstTxWarp prst="textNoShape">
                      <a:avLst/>
                    </a:prstTxWarp>
                  </a:bodyPr>
                  <a:lstStyle/>
                  <a:p>
                    <a:endParaRPr lang="en-US" sz="900"/>
                  </a:p>
                </p:txBody>
              </p:sp>
            </p:grpSp>
            <p:grpSp>
              <p:nvGrpSpPr>
                <p:cNvPr id="1925" name="Group 1924">
                  <a:extLst>
                    <a:ext uri="{FF2B5EF4-FFF2-40B4-BE49-F238E27FC236}">
                      <a16:creationId xmlns:a16="http://schemas.microsoft.com/office/drawing/2014/main" id="{29D92AC7-F844-4269-89D9-157604DD02AC}"/>
                    </a:ext>
                  </a:extLst>
                </p:cNvPr>
                <p:cNvGrpSpPr/>
                <p:nvPr/>
              </p:nvGrpSpPr>
              <p:grpSpPr bwMode="gray">
                <a:xfrm>
                  <a:off x="8674208" y="3362383"/>
                  <a:ext cx="322277" cy="374649"/>
                  <a:chOff x="-841053" y="2048951"/>
                  <a:chExt cx="322277" cy="374649"/>
                </a:xfrm>
              </p:grpSpPr>
              <p:sp>
                <p:nvSpPr>
                  <p:cNvPr id="1926" name="Freeform: Shape 1925">
                    <a:extLst>
                      <a:ext uri="{FF2B5EF4-FFF2-40B4-BE49-F238E27FC236}">
                        <a16:creationId xmlns:a16="http://schemas.microsoft.com/office/drawing/2014/main" id="{1F08C2F9-DB67-47BE-BBD1-1E3F44C2C5A9}"/>
                      </a:ext>
                    </a:extLst>
                  </p:cNvPr>
                  <p:cNvSpPr/>
                  <p:nvPr/>
                </p:nvSpPr>
                <p:spPr bwMode="gray">
                  <a:xfrm>
                    <a:off x="-739531" y="2149273"/>
                    <a:ext cx="34290" cy="274327"/>
                  </a:xfrm>
                  <a:custGeom>
                    <a:avLst/>
                    <a:gdLst>
                      <a:gd name="connsiteX0" fmla="*/ 0 w 34290"/>
                      <a:gd name="connsiteY0" fmla="*/ 0 h 274327"/>
                      <a:gd name="connsiteX1" fmla="*/ 34290 w 34290"/>
                      <a:gd name="connsiteY1" fmla="*/ 30480 h 274327"/>
                      <a:gd name="connsiteX2" fmla="*/ 34290 w 34290"/>
                      <a:gd name="connsiteY2" fmla="*/ 274327 h 274327"/>
                      <a:gd name="connsiteX3" fmla="*/ 0 w 34290"/>
                      <a:gd name="connsiteY3" fmla="*/ 274327 h 274327"/>
                    </a:gdLst>
                    <a:ahLst/>
                    <a:cxnLst>
                      <a:cxn ang="0">
                        <a:pos x="connsiteX0" y="connsiteY0"/>
                      </a:cxn>
                      <a:cxn ang="0">
                        <a:pos x="connsiteX1" y="connsiteY1"/>
                      </a:cxn>
                      <a:cxn ang="0">
                        <a:pos x="connsiteX2" y="connsiteY2"/>
                      </a:cxn>
                      <a:cxn ang="0">
                        <a:pos x="connsiteX3" y="connsiteY3"/>
                      </a:cxn>
                    </a:cxnLst>
                    <a:rect l="l" t="t" r="r" b="b"/>
                    <a:pathLst>
                      <a:path w="34290" h="274327">
                        <a:moveTo>
                          <a:pt x="0" y="0"/>
                        </a:moveTo>
                        <a:lnTo>
                          <a:pt x="34290" y="30480"/>
                        </a:lnTo>
                        <a:lnTo>
                          <a:pt x="34290" y="274327"/>
                        </a:lnTo>
                        <a:lnTo>
                          <a:pt x="0" y="274327"/>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err="1">
                      <a:solidFill>
                        <a:schemeClr val="tx1"/>
                      </a:solidFill>
                    </a:endParaRPr>
                  </a:p>
                </p:txBody>
              </p:sp>
              <p:sp>
                <p:nvSpPr>
                  <p:cNvPr id="1927" name="Isosceles Triangle 6">
                    <a:extLst>
                      <a:ext uri="{FF2B5EF4-FFF2-40B4-BE49-F238E27FC236}">
                        <a16:creationId xmlns:a16="http://schemas.microsoft.com/office/drawing/2014/main" id="{913B5681-D666-42E5-9C0C-40C581D8DB2C}"/>
                      </a:ext>
                    </a:extLst>
                  </p:cNvPr>
                  <p:cNvSpPr/>
                  <p:nvPr/>
                </p:nvSpPr>
                <p:spPr bwMode="gray">
                  <a:xfrm rot="16200000">
                    <a:off x="-856333" y="2164554"/>
                    <a:ext cx="132082" cy="101521"/>
                  </a:xfrm>
                  <a:custGeom>
                    <a:avLst/>
                    <a:gdLst>
                      <a:gd name="connsiteX0" fmla="*/ 0 w 45719"/>
                      <a:gd name="connsiteY0" fmla="*/ 53260 h 53260"/>
                      <a:gd name="connsiteX1" fmla="*/ 0 w 45719"/>
                      <a:gd name="connsiteY1" fmla="*/ 0 h 53260"/>
                      <a:gd name="connsiteX2" fmla="*/ 45719 w 45719"/>
                      <a:gd name="connsiteY2" fmla="*/ 53260 h 53260"/>
                      <a:gd name="connsiteX3" fmla="*/ 0 w 45719"/>
                      <a:gd name="connsiteY3" fmla="*/ 53260 h 53260"/>
                      <a:gd name="connsiteX0" fmla="*/ 86363 w 132082"/>
                      <a:gd name="connsiteY0" fmla="*/ 101521 h 101521"/>
                      <a:gd name="connsiteX1" fmla="*/ 0 w 132082"/>
                      <a:gd name="connsiteY1" fmla="*/ 0 h 101521"/>
                      <a:gd name="connsiteX2" fmla="*/ 132082 w 132082"/>
                      <a:gd name="connsiteY2" fmla="*/ 101521 h 101521"/>
                      <a:gd name="connsiteX3" fmla="*/ 86363 w 132082"/>
                      <a:gd name="connsiteY3" fmla="*/ 101521 h 101521"/>
                    </a:gdLst>
                    <a:ahLst/>
                    <a:cxnLst>
                      <a:cxn ang="0">
                        <a:pos x="connsiteX0" y="connsiteY0"/>
                      </a:cxn>
                      <a:cxn ang="0">
                        <a:pos x="connsiteX1" y="connsiteY1"/>
                      </a:cxn>
                      <a:cxn ang="0">
                        <a:pos x="connsiteX2" y="connsiteY2"/>
                      </a:cxn>
                      <a:cxn ang="0">
                        <a:pos x="connsiteX3" y="connsiteY3"/>
                      </a:cxn>
                    </a:cxnLst>
                    <a:rect l="l" t="t" r="r" b="b"/>
                    <a:pathLst>
                      <a:path w="132082" h="101521">
                        <a:moveTo>
                          <a:pt x="86363" y="101521"/>
                        </a:moveTo>
                        <a:lnTo>
                          <a:pt x="0" y="0"/>
                        </a:lnTo>
                        <a:lnTo>
                          <a:pt x="132082" y="101521"/>
                        </a:lnTo>
                        <a:lnTo>
                          <a:pt x="86363" y="101521"/>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err="1">
                      <a:solidFill>
                        <a:schemeClr val="tx1"/>
                      </a:solidFill>
                    </a:endParaRPr>
                  </a:p>
                </p:txBody>
              </p:sp>
              <p:sp>
                <p:nvSpPr>
                  <p:cNvPr id="1928" name="Freeform: Shape 1927">
                    <a:extLst>
                      <a:ext uri="{FF2B5EF4-FFF2-40B4-BE49-F238E27FC236}">
                        <a16:creationId xmlns:a16="http://schemas.microsoft.com/office/drawing/2014/main" id="{BD9824B4-A118-498B-8674-B6AF37271187}"/>
                      </a:ext>
                    </a:extLst>
                  </p:cNvPr>
                  <p:cNvSpPr/>
                  <p:nvPr/>
                </p:nvSpPr>
                <p:spPr bwMode="gray">
                  <a:xfrm flipH="1">
                    <a:off x="-704430" y="2048951"/>
                    <a:ext cx="45719" cy="374648"/>
                  </a:xfrm>
                  <a:custGeom>
                    <a:avLst/>
                    <a:gdLst>
                      <a:gd name="connsiteX0" fmla="*/ 0 w 45719"/>
                      <a:gd name="connsiteY0" fmla="*/ 0 h 374648"/>
                      <a:gd name="connsiteX1" fmla="*/ 0 w 45719"/>
                      <a:gd name="connsiteY1" fmla="*/ 374648 h 374648"/>
                      <a:gd name="connsiteX2" fmla="*/ 45719 w 45719"/>
                      <a:gd name="connsiteY2" fmla="*/ 374648 h 374648"/>
                      <a:gd name="connsiteX3" fmla="*/ 45719 w 45719"/>
                      <a:gd name="connsiteY3" fmla="*/ 40639 h 374648"/>
                    </a:gdLst>
                    <a:ahLst/>
                    <a:cxnLst>
                      <a:cxn ang="0">
                        <a:pos x="connsiteX0" y="connsiteY0"/>
                      </a:cxn>
                      <a:cxn ang="0">
                        <a:pos x="connsiteX1" y="connsiteY1"/>
                      </a:cxn>
                      <a:cxn ang="0">
                        <a:pos x="connsiteX2" y="connsiteY2"/>
                      </a:cxn>
                      <a:cxn ang="0">
                        <a:pos x="connsiteX3" y="connsiteY3"/>
                      </a:cxn>
                    </a:cxnLst>
                    <a:rect l="l" t="t" r="r" b="b"/>
                    <a:pathLst>
                      <a:path w="45719" h="374648">
                        <a:moveTo>
                          <a:pt x="0" y="0"/>
                        </a:moveTo>
                        <a:lnTo>
                          <a:pt x="0" y="374648"/>
                        </a:lnTo>
                        <a:lnTo>
                          <a:pt x="45719" y="374648"/>
                        </a:lnTo>
                        <a:lnTo>
                          <a:pt x="45719" y="40639"/>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err="1">
                      <a:solidFill>
                        <a:schemeClr val="tx1"/>
                      </a:solidFill>
                    </a:endParaRPr>
                  </a:p>
                </p:txBody>
              </p:sp>
              <p:sp>
                <p:nvSpPr>
                  <p:cNvPr id="1929" name="Isosceles Triangle 40">
                    <a:extLst>
                      <a:ext uri="{FF2B5EF4-FFF2-40B4-BE49-F238E27FC236}">
                        <a16:creationId xmlns:a16="http://schemas.microsoft.com/office/drawing/2014/main" id="{3E673C2B-FB28-497B-8EF4-3F84F02964F2}"/>
                      </a:ext>
                    </a:extLst>
                  </p:cNvPr>
                  <p:cNvSpPr/>
                  <p:nvPr/>
                </p:nvSpPr>
                <p:spPr bwMode="gray">
                  <a:xfrm rot="5400000" flipH="1">
                    <a:off x="-648819" y="2040549"/>
                    <a:ext cx="107255" cy="124059"/>
                  </a:xfrm>
                  <a:custGeom>
                    <a:avLst/>
                    <a:gdLst>
                      <a:gd name="connsiteX0" fmla="*/ 0 w 46292"/>
                      <a:gd name="connsiteY0" fmla="*/ 70721 h 70721"/>
                      <a:gd name="connsiteX1" fmla="*/ 0 w 46292"/>
                      <a:gd name="connsiteY1" fmla="*/ 0 h 70721"/>
                      <a:gd name="connsiteX2" fmla="*/ 46292 w 46292"/>
                      <a:gd name="connsiteY2" fmla="*/ 70721 h 70721"/>
                      <a:gd name="connsiteX3" fmla="*/ 0 w 46292"/>
                      <a:gd name="connsiteY3" fmla="*/ 70721 h 70721"/>
                      <a:gd name="connsiteX0" fmla="*/ 60963 w 107255"/>
                      <a:gd name="connsiteY0" fmla="*/ 124059 h 124059"/>
                      <a:gd name="connsiteX1" fmla="*/ 0 w 107255"/>
                      <a:gd name="connsiteY1" fmla="*/ 0 h 124059"/>
                      <a:gd name="connsiteX2" fmla="*/ 107255 w 107255"/>
                      <a:gd name="connsiteY2" fmla="*/ 124059 h 124059"/>
                      <a:gd name="connsiteX3" fmla="*/ 60963 w 107255"/>
                      <a:gd name="connsiteY3" fmla="*/ 124059 h 124059"/>
                    </a:gdLst>
                    <a:ahLst/>
                    <a:cxnLst>
                      <a:cxn ang="0">
                        <a:pos x="connsiteX0" y="connsiteY0"/>
                      </a:cxn>
                      <a:cxn ang="0">
                        <a:pos x="connsiteX1" y="connsiteY1"/>
                      </a:cxn>
                      <a:cxn ang="0">
                        <a:pos x="connsiteX2" y="connsiteY2"/>
                      </a:cxn>
                      <a:cxn ang="0">
                        <a:pos x="connsiteX3" y="connsiteY3"/>
                      </a:cxn>
                    </a:cxnLst>
                    <a:rect l="l" t="t" r="r" b="b"/>
                    <a:pathLst>
                      <a:path w="107255" h="124059">
                        <a:moveTo>
                          <a:pt x="60963" y="124059"/>
                        </a:moveTo>
                        <a:lnTo>
                          <a:pt x="0" y="0"/>
                        </a:lnTo>
                        <a:lnTo>
                          <a:pt x="107255" y="124059"/>
                        </a:lnTo>
                        <a:lnTo>
                          <a:pt x="60963" y="124059"/>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err="1">
                      <a:solidFill>
                        <a:schemeClr val="tx1"/>
                      </a:solidFill>
                    </a:endParaRPr>
                  </a:p>
                </p:txBody>
              </p:sp>
              <p:sp>
                <p:nvSpPr>
                  <p:cNvPr id="1930" name="Freeform: Shape 1929">
                    <a:extLst>
                      <a:ext uri="{FF2B5EF4-FFF2-40B4-BE49-F238E27FC236}">
                        <a16:creationId xmlns:a16="http://schemas.microsoft.com/office/drawing/2014/main" id="{1E09F066-A546-4C4A-8091-E3AB5CDA5761}"/>
                      </a:ext>
                    </a:extLst>
                  </p:cNvPr>
                  <p:cNvSpPr/>
                  <p:nvPr/>
                </p:nvSpPr>
                <p:spPr bwMode="gray">
                  <a:xfrm flipH="1">
                    <a:off x="-657856" y="2151753"/>
                    <a:ext cx="34290" cy="271846"/>
                  </a:xfrm>
                  <a:custGeom>
                    <a:avLst/>
                    <a:gdLst>
                      <a:gd name="connsiteX0" fmla="*/ 0 w 34290"/>
                      <a:gd name="connsiteY0" fmla="*/ 0 h 271846"/>
                      <a:gd name="connsiteX1" fmla="*/ 0 w 34290"/>
                      <a:gd name="connsiteY1" fmla="*/ 271846 h 271846"/>
                      <a:gd name="connsiteX2" fmla="*/ 34290 w 34290"/>
                      <a:gd name="connsiteY2" fmla="*/ 271846 h 271846"/>
                      <a:gd name="connsiteX3" fmla="*/ 34290 w 34290"/>
                      <a:gd name="connsiteY3" fmla="*/ 30480 h 271846"/>
                    </a:gdLst>
                    <a:ahLst/>
                    <a:cxnLst>
                      <a:cxn ang="0">
                        <a:pos x="connsiteX0" y="connsiteY0"/>
                      </a:cxn>
                      <a:cxn ang="0">
                        <a:pos x="connsiteX1" y="connsiteY1"/>
                      </a:cxn>
                      <a:cxn ang="0">
                        <a:pos x="connsiteX2" y="connsiteY2"/>
                      </a:cxn>
                      <a:cxn ang="0">
                        <a:pos x="connsiteX3" y="connsiteY3"/>
                      </a:cxn>
                    </a:cxnLst>
                    <a:rect l="l" t="t" r="r" b="b"/>
                    <a:pathLst>
                      <a:path w="34290" h="271846">
                        <a:moveTo>
                          <a:pt x="0" y="0"/>
                        </a:moveTo>
                        <a:lnTo>
                          <a:pt x="0" y="271846"/>
                        </a:lnTo>
                        <a:lnTo>
                          <a:pt x="34290" y="271846"/>
                        </a:lnTo>
                        <a:lnTo>
                          <a:pt x="34290" y="30480"/>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err="1">
                      <a:solidFill>
                        <a:schemeClr val="tx1"/>
                      </a:solidFill>
                    </a:endParaRPr>
                  </a:p>
                </p:txBody>
              </p:sp>
              <p:sp>
                <p:nvSpPr>
                  <p:cNvPr id="1931" name="Freeform: Shape 1930">
                    <a:extLst>
                      <a:ext uri="{FF2B5EF4-FFF2-40B4-BE49-F238E27FC236}">
                        <a16:creationId xmlns:a16="http://schemas.microsoft.com/office/drawing/2014/main" id="{4DA2CB19-F457-42F7-94AE-A6B0504E1867}"/>
                      </a:ext>
                    </a:extLst>
                  </p:cNvPr>
                  <p:cNvSpPr/>
                  <p:nvPr/>
                </p:nvSpPr>
                <p:spPr bwMode="gray">
                  <a:xfrm flipH="1">
                    <a:off x="-618481" y="2243211"/>
                    <a:ext cx="34290" cy="180389"/>
                  </a:xfrm>
                  <a:custGeom>
                    <a:avLst/>
                    <a:gdLst>
                      <a:gd name="connsiteX0" fmla="*/ 0 w 34290"/>
                      <a:gd name="connsiteY0" fmla="*/ 0 h 180389"/>
                      <a:gd name="connsiteX1" fmla="*/ 0 w 34290"/>
                      <a:gd name="connsiteY1" fmla="*/ 180389 h 180389"/>
                      <a:gd name="connsiteX2" fmla="*/ 34290 w 34290"/>
                      <a:gd name="connsiteY2" fmla="*/ 180389 h 180389"/>
                      <a:gd name="connsiteX3" fmla="*/ 34290 w 34290"/>
                      <a:gd name="connsiteY3" fmla="*/ 30480 h 180389"/>
                    </a:gdLst>
                    <a:ahLst/>
                    <a:cxnLst>
                      <a:cxn ang="0">
                        <a:pos x="connsiteX0" y="connsiteY0"/>
                      </a:cxn>
                      <a:cxn ang="0">
                        <a:pos x="connsiteX1" y="connsiteY1"/>
                      </a:cxn>
                      <a:cxn ang="0">
                        <a:pos x="connsiteX2" y="connsiteY2"/>
                      </a:cxn>
                      <a:cxn ang="0">
                        <a:pos x="connsiteX3" y="connsiteY3"/>
                      </a:cxn>
                    </a:cxnLst>
                    <a:rect l="l" t="t" r="r" b="b"/>
                    <a:pathLst>
                      <a:path w="34290" h="180389">
                        <a:moveTo>
                          <a:pt x="0" y="0"/>
                        </a:moveTo>
                        <a:lnTo>
                          <a:pt x="0" y="180389"/>
                        </a:lnTo>
                        <a:lnTo>
                          <a:pt x="34290" y="180389"/>
                        </a:lnTo>
                        <a:lnTo>
                          <a:pt x="34290" y="30480"/>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err="1">
                      <a:solidFill>
                        <a:schemeClr val="tx1"/>
                      </a:solidFill>
                    </a:endParaRPr>
                  </a:p>
                </p:txBody>
              </p:sp>
              <p:sp>
                <p:nvSpPr>
                  <p:cNvPr id="1932" name="Freeform: Shape 1931">
                    <a:extLst>
                      <a:ext uri="{FF2B5EF4-FFF2-40B4-BE49-F238E27FC236}">
                        <a16:creationId xmlns:a16="http://schemas.microsoft.com/office/drawing/2014/main" id="{36D9A6B6-E7FD-4E26-95C2-D35359F43D5C}"/>
                      </a:ext>
                    </a:extLst>
                  </p:cNvPr>
                  <p:cNvSpPr/>
                  <p:nvPr/>
                </p:nvSpPr>
                <p:spPr bwMode="gray">
                  <a:xfrm>
                    <a:off x="-780084" y="2276907"/>
                    <a:ext cx="34290" cy="146692"/>
                  </a:xfrm>
                  <a:custGeom>
                    <a:avLst/>
                    <a:gdLst>
                      <a:gd name="connsiteX0" fmla="*/ 0 w 34290"/>
                      <a:gd name="connsiteY0" fmla="*/ 0 h 146692"/>
                      <a:gd name="connsiteX1" fmla="*/ 34290 w 34290"/>
                      <a:gd name="connsiteY1" fmla="*/ 30480 h 146692"/>
                      <a:gd name="connsiteX2" fmla="*/ 34290 w 34290"/>
                      <a:gd name="connsiteY2" fmla="*/ 146692 h 146692"/>
                      <a:gd name="connsiteX3" fmla="*/ 0 w 34290"/>
                      <a:gd name="connsiteY3" fmla="*/ 146692 h 146692"/>
                    </a:gdLst>
                    <a:ahLst/>
                    <a:cxnLst>
                      <a:cxn ang="0">
                        <a:pos x="connsiteX0" y="connsiteY0"/>
                      </a:cxn>
                      <a:cxn ang="0">
                        <a:pos x="connsiteX1" y="connsiteY1"/>
                      </a:cxn>
                      <a:cxn ang="0">
                        <a:pos x="connsiteX2" y="connsiteY2"/>
                      </a:cxn>
                      <a:cxn ang="0">
                        <a:pos x="connsiteX3" y="connsiteY3"/>
                      </a:cxn>
                    </a:cxnLst>
                    <a:rect l="l" t="t" r="r" b="b"/>
                    <a:pathLst>
                      <a:path w="34290" h="146692">
                        <a:moveTo>
                          <a:pt x="0" y="0"/>
                        </a:moveTo>
                        <a:lnTo>
                          <a:pt x="34290" y="30480"/>
                        </a:lnTo>
                        <a:lnTo>
                          <a:pt x="34290" y="146692"/>
                        </a:lnTo>
                        <a:lnTo>
                          <a:pt x="0" y="146692"/>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err="1">
                      <a:solidFill>
                        <a:schemeClr val="tx1"/>
                      </a:solidFill>
                    </a:endParaRPr>
                  </a:p>
                </p:txBody>
              </p:sp>
              <p:sp>
                <p:nvSpPr>
                  <p:cNvPr id="1933" name="Isosceles Triangle 59">
                    <a:extLst>
                      <a:ext uri="{FF2B5EF4-FFF2-40B4-BE49-F238E27FC236}">
                        <a16:creationId xmlns:a16="http://schemas.microsoft.com/office/drawing/2014/main" id="{BC4154DF-095F-46BC-A54E-23D76840D25D}"/>
                      </a:ext>
                    </a:extLst>
                  </p:cNvPr>
                  <p:cNvSpPr/>
                  <p:nvPr/>
                </p:nvSpPr>
                <p:spPr bwMode="gray">
                  <a:xfrm rot="5400000" flipH="1">
                    <a:off x="-629225" y="2287704"/>
                    <a:ext cx="154942" cy="65957"/>
                  </a:xfrm>
                  <a:custGeom>
                    <a:avLst/>
                    <a:gdLst>
                      <a:gd name="connsiteX0" fmla="*/ 0 w 45719"/>
                      <a:gd name="connsiteY0" fmla="*/ 53260 h 53260"/>
                      <a:gd name="connsiteX1" fmla="*/ 0 w 45719"/>
                      <a:gd name="connsiteY1" fmla="*/ 0 h 53260"/>
                      <a:gd name="connsiteX2" fmla="*/ 45719 w 45719"/>
                      <a:gd name="connsiteY2" fmla="*/ 53260 h 53260"/>
                      <a:gd name="connsiteX3" fmla="*/ 0 w 45719"/>
                      <a:gd name="connsiteY3" fmla="*/ 53260 h 53260"/>
                      <a:gd name="connsiteX0" fmla="*/ 109223 w 154942"/>
                      <a:gd name="connsiteY0" fmla="*/ 65957 h 65957"/>
                      <a:gd name="connsiteX1" fmla="*/ 0 w 154942"/>
                      <a:gd name="connsiteY1" fmla="*/ 0 h 65957"/>
                      <a:gd name="connsiteX2" fmla="*/ 154942 w 154942"/>
                      <a:gd name="connsiteY2" fmla="*/ 65957 h 65957"/>
                      <a:gd name="connsiteX3" fmla="*/ 109223 w 154942"/>
                      <a:gd name="connsiteY3" fmla="*/ 65957 h 65957"/>
                    </a:gdLst>
                    <a:ahLst/>
                    <a:cxnLst>
                      <a:cxn ang="0">
                        <a:pos x="connsiteX0" y="connsiteY0"/>
                      </a:cxn>
                      <a:cxn ang="0">
                        <a:pos x="connsiteX1" y="connsiteY1"/>
                      </a:cxn>
                      <a:cxn ang="0">
                        <a:pos x="connsiteX2" y="connsiteY2"/>
                      </a:cxn>
                      <a:cxn ang="0">
                        <a:pos x="connsiteX3" y="connsiteY3"/>
                      </a:cxn>
                    </a:cxnLst>
                    <a:rect l="l" t="t" r="r" b="b"/>
                    <a:pathLst>
                      <a:path w="154942" h="65957">
                        <a:moveTo>
                          <a:pt x="109223" y="65957"/>
                        </a:moveTo>
                        <a:lnTo>
                          <a:pt x="0" y="0"/>
                        </a:lnTo>
                        <a:lnTo>
                          <a:pt x="154942" y="65957"/>
                        </a:lnTo>
                        <a:lnTo>
                          <a:pt x="109223" y="65957"/>
                        </a:lnTo>
                        <a:close/>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err="1">
                      <a:solidFill>
                        <a:schemeClr val="tx1"/>
                      </a:solidFill>
                    </a:endParaRPr>
                  </a:p>
                </p:txBody>
              </p:sp>
            </p:grpSp>
          </p:grpSp>
          <p:sp>
            <p:nvSpPr>
              <p:cNvPr id="1937" name="TextBox 1936">
                <a:extLst>
                  <a:ext uri="{FF2B5EF4-FFF2-40B4-BE49-F238E27FC236}">
                    <a16:creationId xmlns:a16="http://schemas.microsoft.com/office/drawing/2014/main" id="{558C6CA9-FEB2-4E71-ACD6-ED19365DCA8A}"/>
                  </a:ext>
                </a:extLst>
              </p:cNvPr>
              <p:cNvSpPr txBox="1"/>
              <p:nvPr/>
            </p:nvSpPr>
            <p:spPr bwMode="gray">
              <a:xfrm>
                <a:off x="8210044" y="3765931"/>
                <a:ext cx="856308" cy="186188"/>
              </a:xfrm>
              <a:prstGeom prst="rect">
                <a:avLst/>
              </a:prstGeom>
              <a:noFill/>
              <a:ln>
                <a:noFill/>
              </a:ln>
            </p:spPr>
            <p:txBody>
              <a:bodyPr wrap="square" lIns="0" tIns="0" rIns="0" bIns="0" rtlCol="0" anchor="t" anchorCtr="0">
                <a:noAutofit/>
              </a:bodyPr>
              <a:lstStyle/>
              <a:p>
                <a:pPr algn="ctr">
                  <a:spcBef>
                    <a:spcPts val="300"/>
                  </a:spcBef>
                </a:pPr>
                <a:r>
                  <a:rPr lang="de-DE" sz="900" dirty="0"/>
                  <a:t>Manure &amp; straw</a:t>
                </a:r>
              </a:p>
            </p:txBody>
          </p:sp>
        </p:grpSp>
        <p:grpSp>
          <p:nvGrpSpPr>
            <p:cNvPr id="1971" name="Group 1970">
              <a:extLst>
                <a:ext uri="{FF2B5EF4-FFF2-40B4-BE49-F238E27FC236}">
                  <a16:creationId xmlns:a16="http://schemas.microsoft.com/office/drawing/2014/main" id="{77119FE6-F521-44EA-8A54-2405DF3C1E42}"/>
                </a:ext>
              </a:extLst>
            </p:cNvPr>
            <p:cNvGrpSpPr/>
            <p:nvPr/>
          </p:nvGrpSpPr>
          <p:grpSpPr bwMode="gray">
            <a:xfrm>
              <a:off x="9551582" y="2206000"/>
              <a:ext cx="1057272" cy="562216"/>
              <a:chOff x="11818164" y="2247499"/>
              <a:chExt cx="1057272" cy="562216"/>
            </a:xfrm>
          </p:grpSpPr>
          <p:sp>
            <p:nvSpPr>
              <p:cNvPr id="1960" name="Rectangle 1959">
                <a:extLst>
                  <a:ext uri="{FF2B5EF4-FFF2-40B4-BE49-F238E27FC236}">
                    <a16:creationId xmlns:a16="http://schemas.microsoft.com/office/drawing/2014/main" id="{B026A764-A8F8-45A2-B985-359F282B8465}"/>
                  </a:ext>
                </a:extLst>
              </p:cNvPr>
              <p:cNvSpPr/>
              <p:nvPr/>
            </p:nvSpPr>
            <p:spPr bwMode="gray">
              <a:xfrm>
                <a:off x="11818164" y="2558236"/>
                <a:ext cx="1057272" cy="25147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Electrolysis</a:t>
                </a:r>
              </a:p>
            </p:txBody>
          </p:sp>
          <p:sp>
            <p:nvSpPr>
              <p:cNvPr id="1961" name="Oval 1960">
                <a:extLst>
                  <a:ext uri="{FF2B5EF4-FFF2-40B4-BE49-F238E27FC236}">
                    <a16:creationId xmlns:a16="http://schemas.microsoft.com/office/drawing/2014/main" id="{3300B5DF-28DE-4076-8AA2-AC3F060307C5}"/>
                  </a:ext>
                </a:extLst>
              </p:cNvPr>
              <p:cNvSpPr/>
              <p:nvPr/>
            </p:nvSpPr>
            <p:spPr bwMode="gray">
              <a:xfrm flipH="1">
                <a:off x="12192000" y="224749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cxnSp>
            <p:nvCxnSpPr>
              <p:cNvPr id="1964" name="Straight Connector 1963">
                <a:extLst>
                  <a:ext uri="{FF2B5EF4-FFF2-40B4-BE49-F238E27FC236}">
                    <a16:creationId xmlns:a16="http://schemas.microsoft.com/office/drawing/2014/main" id="{20AD7AAB-7A81-4BF8-9351-8BF24F249627}"/>
                  </a:ext>
                </a:extLst>
              </p:cNvPr>
              <p:cNvCxnSpPr>
                <a:cxnSpLocks/>
              </p:cNvCxnSpPr>
              <p:nvPr/>
            </p:nvCxnSpPr>
            <p:spPr bwMode="gray">
              <a:xfrm>
                <a:off x="12389149" y="2338430"/>
                <a:ext cx="0" cy="12887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66" name="Straight Connector 1965">
                <a:extLst>
                  <a:ext uri="{FF2B5EF4-FFF2-40B4-BE49-F238E27FC236}">
                    <a16:creationId xmlns:a16="http://schemas.microsoft.com/office/drawing/2014/main" id="{20054A71-4BFD-44BA-8176-14C69E35AA57}"/>
                  </a:ext>
                </a:extLst>
              </p:cNvPr>
              <p:cNvCxnSpPr>
                <a:cxnSpLocks/>
              </p:cNvCxnSpPr>
              <p:nvPr/>
            </p:nvCxnSpPr>
            <p:spPr bwMode="gray">
              <a:xfrm>
                <a:off x="12304451" y="2338430"/>
                <a:ext cx="0" cy="128873"/>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968" name="Straight Connector 1967">
                <a:extLst>
                  <a:ext uri="{FF2B5EF4-FFF2-40B4-BE49-F238E27FC236}">
                    <a16:creationId xmlns:a16="http://schemas.microsoft.com/office/drawing/2014/main" id="{C8EB1886-ED98-4C31-9765-8C205194F761}"/>
                  </a:ext>
                </a:extLst>
              </p:cNvPr>
              <p:cNvCxnSpPr>
                <a:cxnSpLocks/>
              </p:cNvCxnSpPr>
              <p:nvPr/>
            </p:nvCxnSpPr>
            <p:spPr bwMode="gray">
              <a:xfrm>
                <a:off x="12192000" y="2402867"/>
                <a:ext cx="112451"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970" name="Straight Connector 1969">
                <a:extLst>
                  <a:ext uri="{FF2B5EF4-FFF2-40B4-BE49-F238E27FC236}">
                    <a16:creationId xmlns:a16="http://schemas.microsoft.com/office/drawing/2014/main" id="{46E72CB3-C266-40E6-AC4C-7128AC273247}"/>
                  </a:ext>
                </a:extLst>
              </p:cNvPr>
              <p:cNvCxnSpPr>
                <a:cxnSpLocks/>
              </p:cNvCxnSpPr>
              <p:nvPr/>
            </p:nvCxnSpPr>
            <p:spPr bwMode="gray">
              <a:xfrm>
                <a:off x="12389149" y="2402867"/>
                <a:ext cx="112451"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cxnSp>
          <p:nvCxnSpPr>
            <p:cNvPr id="1974" name="Straight Connector 1973">
              <a:extLst>
                <a:ext uri="{FF2B5EF4-FFF2-40B4-BE49-F238E27FC236}">
                  <a16:creationId xmlns:a16="http://schemas.microsoft.com/office/drawing/2014/main" id="{82349883-AC6C-487E-A549-89FBF0202729}"/>
                </a:ext>
              </a:extLst>
            </p:cNvPr>
            <p:cNvCxnSpPr>
              <a:cxnSpLocks/>
            </p:cNvCxnSpPr>
            <p:nvPr/>
          </p:nvCxnSpPr>
          <p:spPr bwMode="gray">
            <a:xfrm>
              <a:off x="6758646" y="2730897"/>
              <a:ext cx="1" cy="377472"/>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75" name="Straight Connector 1974">
              <a:extLst>
                <a:ext uri="{FF2B5EF4-FFF2-40B4-BE49-F238E27FC236}">
                  <a16:creationId xmlns:a16="http://schemas.microsoft.com/office/drawing/2014/main" id="{57FEBF6F-8C3F-4D3B-B804-990042EE306B}"/>
                </a:ext>
              </a:extLst>
            </p:cNvPr>
            <p:cNvCxnSpPr>
              <a:cxnSpLocks/>
              <a:stCxn id="1903" idx="2"/>
            </p:cNvCxnSpPr>
            <p:nvPr/>
          </p:nvCxnSpPr>
          <p:spPr bwMode="gray">
            <a:xfrm>
              <a:off x="6758646" y="4166076"/>
              <a:ext cx="6698" cy="451201"/>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81" name="Straight Connector 1980">
              <a:extLst>
                <a:ext uri="{FF2B5EF4-FFF2-40B4-BE49-F238E27FC236}">
                  <a16:creationId xmlns:a16="http://schemas.microsoft.com/office/drawing/2014/main" id="{E2BA68B2-3FC6-438F-81A0-0C4C1FBEAF0D}"/>
                </a:ext>
              </a:extLst>
            </p:cNvPr>
            <p:cNvCxnSpPr>
              <a:cxnSpLocks/>
            </p:cNvCxnSpPr>
            <p:nvPr/>
          </p:nvCxnSpPr>
          <p:spPr bwMode="gray">
            <a:xfrm flipV="1">
              <a:off x="6910613" y="3477759"/>
              <a:ext cx="758236" cy="1"/>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84" name="Straight Connector 1983">
              <a:extLst>
                <a:ext uri="{FF2B5EF4-FFF2-40B4-BE49-F238E27FC236}">
                  <a16:creationId xmlns:a16="http://schemas.microsoft.com/office/drawing/2014/main" id="{E25D4712-548C-41FA-B112-DF8D643C3F7C}"/>
                </a:ext>
              </a:extLst>
            </p:cNvPr>
            <p:cNvCxnSpPr>
              <a:cxnSpLocks/>
            </p:cNvCxnSpPr>
            <p:nvPr/>
          </p:nvCxnSpPr>
          <p:spPr bwMode="gray">
            <a:xfrm>
              <a:off x="7972782" y="3477759"/>
              <a:ext cx="822830"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87" name="Straight Connector 1986">
              <a:extLst>
                <a:ext uri="{FF2B5EF4-FFF2-40B4-BE49-F238E27FC236}">
                  <a16:creationId xmlns:a16="http://schemas.microsoft.com/office/drawing/2014/main" id="{46499F26-4277-479D-BF41-1359E967D6F3}"/>
                </a:ext>
              </a:extLst>
            </p:cNvPr>
            <p:cNvCxnSpPr>
              <a:cxnSpLocks/>
              <a:stCxn id="1912" idx="3"/>
              <a:endCxn id="1915" idx="1"/>
            </p:cNvCxnSpPr>
            <p:nvPr/>
          </p:nvCxnSpPr>
          <p:spPr bwMode="gray">
            <a:xfrm>
              <a:off x="9099545" y="3477759"/>
              <a:ext cx="822830"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1997" name="Straight Connector 1996">
              <a:extLst>
                <a:ext uri="{FF2B5EF4-FFF2-40B4-BE49-F238E27FC236}">
                  <a16:creationId xmlns:a16="http://schemas.microsoft.com/office/drawing/2014/main" id="{B298F0DC-6B70-48FB-80A5-6C5F189BA046}"/>
                </a:ext>
              </a:extLst>
            </p:cNvPr>
            <p:cNvCxnSpPr>
              <a:cxnSpLocks/>
            </p:cNvCxnSpPr>
            <p:nvPr/>
          </p:nvCxnSpPr>
          <p:spPr bwMode="gray">
            <a:xfrm flipH="1">
              <a:off x="10074342" y="2768216"/>
              <a:ext cx="5876" cy="375732"/>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02" name="Straight Connector 2001">
              <a:extLst>
                <a:ext uri="{FF2B5EF4-FFF2-40B4-BE49-F238E27FC236}">
                  <a16:creationId xmlns:a16="http://schemas.microsoft.com/office/drawing/2014/main" id="{017F9C94-FB14-4873-8ACA-A691F56908DB}"/>
                </a:ext>
              </a:extLst>
            </p:cNvPr>
            <p:cNvCxnSpPr>
              <a:cxnSpLocks/>
            </p:cNvCxnSpPr>
            <p:nvPr/>
          </p:nvCxnSpPr>
          <p:spPr bwMode="gray">
            <a:xfrm>
              <a:off x="9167528" y="2361368"/>
              <a:ext cx="717250"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05" name="Connector: Elbow 2004">
              <a:extLst>
                <a:ext uri="{FF2B5EF4-FFF2-40B4-BE49-F238E27FC236}">
                  <a16:creationId xmlns:a16="http://schemas.microsoft.com/office/drawing/2014/main" id="{81EF4621-09D8-40B6-BABF-EE59953CE585}"/>
                </a:ext>
              </a:extLst>
            </p:cNvPr>
            <p:cNvCxnSpPr>
              <a:cxnSpLocks/>
            </p:cNvCxnSpPr>
            <p:nvPr/>
          </p:nvCxnSpPr>
          <p:spPr bwMode="gray">
            <a:xfrm rot="5400000">
              <a:off x="7182652" y="3728782"/>
              <a:ext cx="210420" cy="1065907"/>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012" name="Straight Connector 2011">
              <a:extLst>
                <a:ext uri="{FF2B5EF4-FFF2-40B4-BE49-F238E27FC236}">
                  <a16:creationId xmlns:a16="http://schemas.microsoft.com/office/drawing/2014/main" id="{C1FBAC53-B095-4F3E-BB07-09F55C864446}"/>
                </a:ext>
              </a:extLst>
            </p:cNvPr>
            <p:cNvCxnSpPr>
              <a:cxnSpLocks/>
            </p:cNvCxnSpPr>
            <p:nvPr/>
          </p:nvCxnSpPr>
          <p:spPr bwMode="gray">
            <a:xfrm>
              <a:off x="10070992" y="4166076"/>
              <a:ext cx="0" cy="291278"/>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015" name="TextBox 2014">
              <a:extLst>
                <a:ext uri="{FF2B5EF4-FFF2-40B4-BE49-F238E27FC236}">
                  <a16:creationId xmlns:a16="http://schemas.microsoft.com/office/drawing/2014/main" id="{14B42E73-BAA1-42B4-BA15-61DA29757210}"/>
                </a:ext>
              </a:extLst>
            </p:cNvPr>
            <p:cNvSpPr txBox="1"/>
            <p:nvPr/>
          </p:nvSpPr>
          <p:spPr bwMode="gray">
            <a:xfrm>
              <a:off x="9774052" y="4904712"/>
              <a:ext cx="600578" cy="186188"/>
            </a:xfrm>
            <a:prstGeom prst="rect">
              <a:avLst/>
            </a:prstGeom>
            <a:noFill/>
            <a:ln>
              <a:noFill/>
            </a:ln>
          </p:spPr>
          <p:txBody>
            <a:bodyPr wrap="square" lIns="0" tIns="0" rIns="0" bIns="0" rtlCol="0" anchor="t" anchorCtr="0">
              <a:noAutofit/>
            </a:bodyPr>
            <a:lstStyle/>
            <a:p>
              <a:pPr algn="ctr">
                <a:spcBef>
                  <a:spcPts val="300"/>
                </a:spcBef>
              </a:pPr>
              <a:r>
                <a:rPr lang="de-DE" sz="900" dirty="0"/>
                <a:t>Methanol</a:t>
              </a:r>
            </a:p>
          </p:txBody>
        </p:sp>
        <p:grpSp>
          <p:nvGrpSpPr>
            <p:cNvPr id="2036" name="Group 2035">
              <a:extLst>
                <a:ext uri="{FF2B5EF4-FFF2-40B4-BE49-F238E27FC236}">
                  <a16:creationId xmlns:a16="http://schemas.microsoft.com/office/drawing/2014/main" id="{922DF4C2-66D8-4E01-A4A7-B1F5992764BF}"/>
                </a:ext>
              </a:extLst>
            </p:cNvPr>
            <p:cNvGrpSpPr/>
            <p:nvPr/>
          </p:nvGrpSpPr>
          <p:grpSpPr bwMode="gray">
            <a:xfrm>
              <a:off x="9959896" y="4514358"/>
              <a:ext cx="228890" cy="361454"/>
              <a:chOff x="10174315" y="5273115"/>
              <a:chExt cx="228890" cy="361454"/>
            </a:xfrm>
          </p:grpSpPr>
          <p:grpSp>
            <p:nvGrpSpPr>
              <p:cNvPr id="2037" name="Group 2036">
                <a:extLst>
                  <a:ext uri="{FF2B5EF4-FFF2-40B4-BE49-F238E27FC236}">
                    <a16:creationId xmlns:a16="http://schemas.microsoft.com/office/drawing/2014/main" id="{357017CA-DD84-4BDE-9CA6-E448A6971036}"/>
                  </a:ext>
                </a:extLst>
              </p:cNvPr>
              <p:cNvGrpSpPr/>
              <p:nvPr/>
            </p:nvGrpSpPr>
            <p:grpSpPr bwMode="gray">
              <a:xfrm>
                <a:off x="10174315" y="5323115"/>
                <a:ext cx="228890" cy="311454"/>
                <a:chOff x="10166821" y="5323115"/>
                <a:chExt cx="243878" cy="311454"/>
              </a:xfrm>
            </p:grpSpPr>
            <p:sp>
              <p:nvSpPr>
                <p:cNvPr id="2041" name="Freeform: Shape 2040">
                  <a:extLst>
                    <a:ext uri="{FF2B5EF4-FFF2-40B4-BE49-F238E27FC236}">
                      <a16:creationId xmlns:a16="http://schemas.microsoft.com/office/drawing/2014/main" id="{87EBEAF8-C62D-4F54-8AA1-C91D4118E553}"/>
                    </a:ext>
                  </a:extLst>
                </p:cNvPr>
                <p:cNvSpPr/>
                <p:nvPr/>
              </p:nvSpPr>
              <p:spPr bwMode="gray">
                <a:xfrm>
                  <a:off x="10166821" y="5323115"/>
                  <a:ext cx="243878" cy="311454"/>
                </a:xfrm>
                <a:custGeom>
                  <a:avLst/>
                  <a:gdLst>
                    <a:gd name="connsiteX0" fmla="*/ 73032 w 243878"/>
                    <a:gd name="connsiteY0" fmla="*/ 0 h 311454"/>
                    <a:gd name="connsiteX1" fmla="*/ 170846 w 243878"/>
                    <a:gd name="connsiteY1" fmla="*/ 0 h 311454"/>
                    <a:gd name="connsiteX2" fmla="*/ 243878 w 243878"/>
                    <a:gd name="connsiteY2" fmla="*/ 73032 h 311454"/>
                    <a:gd name="connsiteX3" fmla="*/ 243878 w 243878"/>
                    <a:gd name="connsiteY3" fmla="*/ 125422 h 311454"/>
                    <a:gd name="connsiteX4" fmla="*/ 243878 w 243878"/>
                    <a:gd name="connsiteY4" fmla="*/ 238421 h 311454"/>
                    <a:gd name="connsiteX5" fmla="*/ 243878 w 243878"/>
                    <a:gd name="connsiteY5" fmla="*/ 311454 h 311454"/>
                    <a:gd name="connsiteX6" fmla="*/ 0 w 243878"/>
                    <a:gd name="connsiteY6" fmla="*/ 311454 h 311454"/>
                    <a:gd name="connsiteX7" fmla="*/ 0 w 243878"/>
                    <a:gd name="connsiteY7" fmla="*/ 238421 h 311454"/>
                    <a:gd name="connsiteX8" fmla="*/ 0 w 243878"/>
                    <a:gd name="connsiteY8" fmla="*/ 125422 h 311454"/>
                    <a:gd name="connsiteX9" fmla="*/ 0 w 243878"/>
                    <a:gd name="connsiteY9" fmla="*/ 73032 h 311454"/>
                    <a:gd name="connsiteX10" fmla="*/ 73032 w 243878"/>
                    <a:gd name="connsiteY10" fmla="*/ 0 h 311454"/>
                    <a:gd name="connsiteX0" fmla="*/ 73032 w 243878"/>
                    <a:gd name="connsiteY0" fmla="*/ 0 h 311454"/>
                    <a:gd name="connsiteX1" fmla="*/ 170846 w 243878"/>
                    <a:gd name="connsiteY1" fmla="*/ 0 h 311454"/>
                    <a:gd name="connsiteX2" fmla="*/ 243878 w 243878"/>
                    <a:gd name="connsiteY2" fmla="*/ 73032 h 311454"/>
                    <a:gd name="connsiteX3" fmla="*/ 243878 w 243878"/>
                    <a:gd name="connsiteY3" fmla="*/ 238421 h 311454"/>
                    <a:gd name="connsiteX4" fmla="*/ 243878 w 243878"/>
                    <a:gd name="connsiteY4" fmla="*/ 311454 h 311454"/>
                    <a:gd name="connsiteX5" fmla="*/ 0 w 243878"/>
                    <a:gd name="connsiteY5" fmla="*/ 311454 h 311454"/>
                    <a:gd name="connsiteX6" fmla="*/ 0 w 243878"/>
                    <a:gd name="connsiteY6" fmla="*/ 238421 h 311454"/>
                    <a:gd name="connsiteX7" fmla="*/ 0 w 243878"/>
                    <a:gd name="connsiteY7" fmla="*/ 125422 h 311454"/>
                    <a:gd name="connsiteX8" fmla="*/ 0 w 243878"/>
                    <a:gd name="connsiteY8" fmla="*/ 73032 h 311454"/>
                    <a:gd name="connsiteX9" fmla="*/ 73032 w 243878"/>
                    <a:gd name="connsiteY9" fmla="*/ 0 h 311454"/>
                    <a:gd name="connsiteX0" fmla="*/ 73032 w 243878"/>
                    <a:gd name="connsiteY0" fmla="*/ 0 h 311454"/>
                    <a:gd name="connsiteX1" fmla="*/ 170846 w 243878"/>
                    <a:gd name="connsiteY1" fmla="*/ 0 h 311454"/>
                    <a:gd name="connsiteX2" fmla="*/ 243878 w 243878"/>
                    <a:gd name="connsiteY2" fmla="*/ 73032 h 311454"/>
                    <a:gd name="connsiteX3" fmla="*/ 243878 w 243878"/>
                    <a:gd name="connsiteY3" fmla="*/ 238421 h 311454"/>
                    <a:gd name="connsiteX4" fmla="*/ 243878 w 243878"/>
                    <a:gd name="connsiteY4" fmla="*/ 311454 h 311454"/>
                    <a:gd name="connsiteX5" fmla="*/ 0 w 243878"/>
                    <a:gd name="connsiteY5" fmla="*/ 311454 h 311454"/>
                    <a:gd name="connsiteX6" fmla="*/ 0 w 243878"/>
                    <a:gd name="connsiteY6" fmla="*/ 238421 h 311454"/>
                    <a:gd name="connsiteX7" fmla="*/ 0 w 243878"/>
                    <a:gd name="connsiteY7" fmla="*/ 73032 h 311454"/>
                    <a:gd name="connsiteX8" fmla="*/ 73032 w 243878"/>
                    <a:gd name="connsiteY8" fmla="*/ 0 h 311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3878" h="311454">
                      <a:moveTo>
                        <a:pt x="73032" y="0"/>
                      </a:moveTo>
                      <a:lnTo>
                        <a:pt x="170846" y="0"/>
                      </a:lnTo>
                      <a:cubicBezTo>
                        <a:pt x="211180" y="0"/>
                        <a:pt x="243878" y="32698"/>
                        <a:pt x="243878" y="73032"/>
                      </a:cubicBezTo>
                      <a:lnTo>
                        <a:pt x="243878" y="238421"/>
                      </a:lnTo>
                      <a:lnTo>
                        <a:pt x="243878" y="311454"/>
                      </a:lnTo>
                      <a:lnTo>
                        <a:pt x="0" y="311454"/>
                      </a:lnTo>
                      <a:lnTo>
                        <a:pt x="0" y="238421"/>
                      </a:lnTo>
                      <a:lnTo>
                        <a:pt x="0" y="73032"/>
                      </a:lnTo>
                      <a:cubicBezTo>
                        <a:pt x="0" y="32698"/>
                        <a:pt x="32698" y="0"/>
                        <a:pt x="73032" y="0"/>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en-US"/>
                </a:p>
              </p:txBody>
            </p:sp>
            <p:cxnSp>
              <p:nvCxnSpPr>
                <p:cNvPr id="2043" name="Straight Connector 2042">
                  <a:extLst>
                    <a:ext uri="{FF2B5EF4-FFF2-40B4-BE49-F238E27FC236}">
                      <a16:creationId xmlns:a16="http://schemas.microsoft.com/office/drawing/2014/main" id="{733682BA-C5C5-47DC-9CB1-85923A9582B3}"/>
                    </a:ext>
                  </a:extLst>
                </p:cNvPr>
                <p:cNvCxnSpPr>
                  <a:cxnSpLocks/>
                </p:cNvCxnSpPr>
                <p:nvPr/>
              </p:nvCxnSpPr>
              <p:spPr bwMode="gray">
                <a:xfrm>
                  <a:off x="10169453" y="5388717"/>
                  <a:ext cx="238614"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2044" name="Straight Connector 2043">
                  <a:extLst>
                    <a:ext uri="{FF2B5EF4-FFF2-40B4-BE49-F238E27FC236}">
                      <a16:creationId xmlns:a16="http://schemas.microsoft.com/office/drawing/2014/main" id="{C40E5065-252A-4391-9360-6418768BC0D1}"/>
                    </a:ext>
                  </a:extLst>
                </p:cNvPr>
                <p:cNvCxnSpPr>
                  <a:cxnSpLocks/>
                </p:cNvCxnSpPr>
                <p:nvPr/>
              </p:nvCxnSpPr>
              <p:spPr bwMode="gray">
                <a:xfrm>
                  <a:off x="10169453" y="5550297"/>
                  <a:ext cx="238614" cy="0"/>
                </a:xfrm>
                <a:prstGeom prst="line">
                  <a:avLst/>
                </a:pr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sp>
            <p:nvSpPr>
              <p:cNvPr id="2038" name="Freeform: Shape 2037">
                <a:extLst>
                  <a:ext uri="{FF2B5EF4-FFF2-40B4-BE49-F238E27FC236}">
                    <a16:creationId xmlns:a16="http://schemas.microsoft.com/office/drawing/2014/main" id="{831CC51F-26B0-4C8E-879E-F14661DA10F5}"/>
                  </a:ext>
                </a:extLst>
              </p:cNvPr>
              <p:cNvSpPr/>
              <p:nvPr/>
            </p:nvSpPr>
            <p:spPr bwMode="gray">
              <a:xfrm>
                <a:off x="10252760" y="5273115"/>
                <a:ext cx="72000" cy="55782"/>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noFill/>
              <a:ln w="1905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de-DE" sz="1400" dirty="0" err="1"/>
              </a:p>
            </p:txBody>
          </p:sp>
          <p:sp>
            <p:nvSpPr>
              <p:cNvPr id="2039" name="Freeform: Shape 2038">
                <a:extLst>
                  <a:ext uri="{FF2B5EF4-FFF2-40B4-BE49-F238E27FC236}">
                    <a16:creationId xmlns:a16="http://schemas.microsoft.com/office/drawing/2014/main" id="{8197D087-21F2-4C14-93CC-BE240AC66CD0}"/>
                  </a:ext>
                </a:extLst>
              </p:cNvPr>
              <p:cNvSpPr>
                <a:spLocks/>
              </p:cNvSpPr>
              <p:nvPr/>
            </p:nvSpPr>
            <p:spPr bwMode="gray">
              <a:xfrm flipH="1">
                <a:off x="10258988" y="5427455"/>
                <a:ext cx="59544" cy="83817"/>
              </a:xfrm>
              <a:custGeom>
                <a:avLst/>
                <a:gdLst>
                  <a:gd name="connsiteX0" fmla="*/ 61195 w 165948"/>
                  <a:gd name="connsiteY0" fmla="*/ 0 h 234947"/>
                  <a:gd name="connsiteX1" fmla="*/ 164814 w 165948"/>
                  <a:gd name="connsiteY1" fmla="*/ 134555 h 234947"/>
                  <a:gd name="connsiteX2" fmla="*/ 113008 w 165948"/>
                  <a:gd name="connsiteY2" fmla="*/ 233601 h 234947"/>
                  <a:gd name="connsiteX3" fmla="*/ 106774 w 165948"/>
                  <a:gd name="connsiteY3" fmla="*/ 234947 h 234947"/>
                  <a:gd name="connsiteX4" fmla="*/ 105654 w 165948"/>
                  <a:gd name="connsiteY4" fmla="*/ 227360 h 234947"/>
                  <a:gd name="connsiteX5" fmla="*/ 82973 w 165948"/>
                  <a:gd name="connsiteY5" fmla="*/ 200993 h 234947"/>
                  <a:gd name="connsiteX6" fmla="*/ 60292 w 165948"/>
                  <a:gd name="connsiteY6" fmla="*/ 227360 h 234947"/>
                  <a:gd name="connsiteX7" fmla="*/ 59296 w 165948"/>
                  <a:gd name="connsiteY7" fmla="*/ 234106 h 234947"/>
                  <a:gd name="connsiteX8" fmla="*/ 52447 w 165948"/>
                  <a:gd name="connsiteY8" fmla="*/ 232390 h 234947"/>
                  <a:gd name="connsiteX9" fmla="*/ 2790 w 165948"/>
                  <a:gd name="connsiteY9" fmla="*/ 133595 h 234947"/>
                  <a:gd name="connsiteX10" fmla="*/ 61195 w 165948"/>
                  <a:gd name="connsiteY10" fmla="*/ 0 h 234947"/>
                  <a:gd name="connsiteX0" fmla="*/ 82973 w 174413"/>
                  <a:gd name="connsiteY0" fmla="*/ 200993 h 292433"/>
                  <a:gd name="connsiteX1" fmla="*/ 60292 w 174413"/>
                  <a:gd name="connsiteY1" fmla="*/ 227360 h 292433"/>
                  <a:gd name="connsiteX2" fmla="*/ 59296 w 174413"/>
                  <a:gd name="connsiteY2" fmla="*/ 234106 h 292433"/>
                  <a:gd name="connsiteX3" fmla="*/ 52447 w 174413"/>
                  <a:gd name="connsiteY3" fmla="*/ 232390 h 292433"/>
                  <a:gd name="connsiteX4" fmla="*/ 2790 w 174413"/>
                  <a:gd name="connsiteY4" fmla="*/ 133595 h 292433"/>
                  <a:gd name="connsiteX5" fmla="*/ 61195 w 174413"/>
                  <a:gd name="connsiteY5" fmla="*/ 0 h 292433"/>
                  <a:gd name="connsiteX6" fmla="*/ 164814 w 174413"/>
                  <a:gd name="connsiteY6" fmla="*/ 134555 h 292433"/>
                  <a:gd name="connsiteX7" fmla="*/ 113008 w 174413"/>
                  <a:gd name="connsiteY7" fmla="*/ 233601 h 292433"/>
                  <a:gd name="connsiteX8" fmla="*/ 106774 w 174413"/>
                  <a:gd name="connsiteY8" fmla="*/ 234947 h 292433"/>
                  <a:gd name="connsiteX9" fmla="*/ 105654 w 174413"/>
                  <a:gd name="connsiteY9" fmla="*/ 227360 h 292433"/>
                  <a:gd name="connsiteX10" fmla="*/ 174413 w 174413"/>
                  <a:gd name="connsiteY10" fmla="*/ 292433 h 292433"/>
                  <a:gd name="connsiteX0" fmla="*/ 60292 w 174413"/>
                  <a:gd name="connsiteY0" fmla="*/ 227360 h 292433"/>
                  <a:gd name="connsiteX1" fmla="*/ 59296 w 174413"/>
                  <a:gd name="connsiteY1" fmla="*/ 234106 h 292433"/>
                  <a:gd name="connsiteX2" fmla="*/ 52447 w 174413"/>
                  <a:gd name="connsiteY2" fmla="*/ 232390 h 292433"/>
                  <a:gd name="connsiteX3" fmla="*/ 2790 w 174413"/>
                  <a:gd name="connsiteY3" fmla="*/ 133595 h 292433"/>
                  <a:gd name="connsiteX4" fmla="*/ 61195 w 174413"/>
                  <a:gd name="connsiteY4" fmla="*/ 0 h 292433"/>
                  <a:gd name="connsiteX5" fmla="*/ 164814 w 174413"/>
                  <a:gd name="connsiteY5" fmla="*/ 134555 h 292433"/>
                  <a:gd name="connsiteX6" fmla="*/ 113008 w 174413"/>
                  <a:gd name="connsiteY6" fmla="*/ 233601 h 292433"/>
                  <a:gd name="connsiteX7" fmla="*/ 106774 w 174413"/>
                  <a:gd name="connsiteY7" fmla="*/ 234947 h 292433"/>
                  <a:gd name="connsiteX8" fmla="*/ 105654 w 174413"/>
                  <a:gd name="connsiteY8" fmla="*/ 227360 h 292433"/>
                  <a:gd name="connsiteX9" fmla="*/ 174413 w 174413"/>
                  <a:gd name="connsiteY9" fmla="*/ 292433 h 292433"/>
                  <a:gd name="connsiteX0" fmla="*/ 60292 w 165948"/>
                  <a:gd name="connsiteY0" fmla="*/ 227360 h 234947"/>
                  <a:gd name="connsiteX1" fmla="*/ 59296 w 165948"/>
                  <a:gd name="connsiteY1" fmla="*/ 234106 h 234947"/>
                  <a:gd name="connsiteX2" fmla="*/ 52447 w 165948"/>
                  <a:gd name="connsiteY2" fmla="*/ 232390 h 234947"/>
                  <a:gd name="connsiteX3" fmla="*/ 2790 w 165948"/>
                  <a:gd name="connsiteY3" fmla="*/ 133595 h 234947"/>
                  <a:gd name="connsiteX4" fmla="*/ 61195 w 165948"/>
                  <a:gd name="connsiteY4" fmla="*/ 0 h 234947"/>
                  <a:gd name="connsiteX5" fmla="*/ 164814 w 165948"/>
                  <a:gd name="connsiteY5" fmla="*/ 134555 h 234947"/>
                  <a:gd name="connsiteX6" fmla="*/ 113008 w 165948"/>
                  <a:gd name="connsiteY6" fmla="*/ 233601 h 234947"/>
                  <a:gd name="connsiteX7" fmla="*/ 106774 w 165948"/>
                  <a:gd name="connsiteY7" fmla="*/ 234947 h 234947"/>
                  <a:gd name="connsiteX8" fmla="*/ 105654 w 165948"/>
                  <a:gd name="connsiteY8" fmla="*/ 227360 h 234947"/>
                  <a:gd name="connsiteX0" fmla="*/ 60292 w 165948"/>
                  <a:gd name="connsiteY0" fmla="*/ 227360 h 234947"/>
                  <a:gd name="connsiteX1" fmla="*/ 59296 w 165948"/>
                  <a:gd name="connsiteY1" fmla="*/ 234106 h 234947"/>
                  <a:gd name="connsiteX2" fmla="*/ 52447 w 165948"/>
                  <a:gd name="connsiteY2" fmla="*/ 232390 h 234947"/>
                  <a:gd name="connsiteX3" fmla="*/ 2790 w 165948"/>
                  <a:gd name="connsiteY3" fmla="*/ 133595 h 234947"/>
                  <a:gd name="connsiteX4" fmla="*/ 61195 w 165948"/>
                  <a:gd name="connsiteY4" fmla="*/ 0 h 234947"/>
                  <a:gd name="connsiteX5" fmla="*/ 164814 w 165948"/>
                  <a:gd name="connsiteY5" fmla="*/ 134555 h 234947"/>
                  <a:gd name="connsiteX6" fmla="*/ 113008 w 165948"/>
                  <a:gd name="connsiteY6" fmla="*/ 233601 h 234947"/>
                  <a:gd name="connsiteX7" fmla="*/ 106774 w 165948"/>
                  <a:gd name="connsiteY7" fmla="*/ 234947 h 234947"/>
                  <a:gd name="connsiteX0" fmla="*/ 60292 w 165948"/>
                  <a:gd name="connsiteY0" fmla="*/ 227360 h 234947"/>
                  <a:gd name="connsiteX1" fmla="*/ 52447 w 165948"/>
                  <a:gd name="connsiteY1" fmla="*/ 232390 h 234947"/>
                  <a:gd name="connsiteX2" fmla="*/ 2790 w 165948"/>
                  <a:gd name="connsiteY2" fmla="*/ 133595 h 234947"/>
                  <a:gd name="connsiteX3" fmla="*/ 61195 w 165948"/>
                  <a:gd name="connsiteY3" fmla="*/ 0 h 234947"/>
                  <a:gd name="connsiteX4" fmla="*/ 164814 w 165948"/>
                  <a:gd name="connsiteY4" fmla="*/ 134555 h 234947"/>
                  <a:gd name="connsiteX5" fmla="*/ 113008 w 165948"/>
                  <a:gd name="connsiteY5" fmla="*/ 233601 h 234947"/>
                  <a:gd name="connsiteX6" fmla="*/ 106774 w 165948"/>
                  <a:gd name="connsiteY6" fmla="*/ 234947 h 234947"/>
                  <a:gd name="connsiteX0" fmla="*/ 52447 w 165948"/>
                  <a:gd name="connsiteY0" fmla="*/ 232390 h 234947"/>
                  <a:gd name="connsiteX1" fmla="*/ 2790 w 165948"/>
                  <a:gd name="connsiteY1" fmla="*/ 133595 h 234947"/>
                  <a:gd name="connsiteX2" fmla="*/ 61195 w 165948"/>
                  <a:gd name="connsiteY2" fmla="*/ 0 h 234947"/>
                  <a:gd name="connsiteX3" fmla="*/ 164814 w 165948"/>
                  <a:gd name="connsiteY3" fmla="*/ 134555 h 234947"/>
                  <a:gd name="connsiteX4" fmla="*/ 113008 w 165948"/>
                  <a:gd name="connsiteY4" fmla="*/ 233601 h 234947"/>
                  <a:gd name="connsiteX5" fmla="*/ 106774 w 165948"/>
                  <a:gd name="connsiteY5" fmla="*/ 234947 h 234947"/>
                  <a:gd name="connsiteX0" fmla="*/ 52447 w 165948"/>
                  <a:gd name="connsiteY0" fmla="*/ 232390 h 233601"/>
                  <a:gd name="connsiteX1" fmla="*/ 2790 w 165948"/>
                  <a:gd name="connsiteY1" fmla="*/ 133595 h 233601"/>
                  <a:gd name="connsiteX2" fmla="*/ 61195 w 165948"/>
                  <a:gd name="connsiteY2" fmla="*/ 0 h 233601"/>
                  <a:gd name="connsiteX3" fmla="*/ 164814 w 165948"/>
                  <a:gd name="connsiteY3" fmla="*/ 134555 h 233601"/>
                  <a:gd name="connsiteX4" fmla="*/ 113008 w 165948"/>
                  <a:gd name="connsiteY4" fmla="*/ 233601 h 233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948" h="233601">
                    <a:moveTo>
                      <a:pt x="52447" y="232390"/>
                    </a:moveTo>
                    <a:cubicBezTo>
                      <a:pt x="20767" y="216831"/>
                      <a:pt x="-9469" y="179183"/>
                      <a:pt x="2790" y="133595"/>
                    </a:cubicBezTo>
                    <a:cubicBezTo>
                      <a:pt x="19136" y="72811"/>
                      <a:pt x="65684" y="75860"/>
                      <a:pt x="61195" y="0"/>
                    </a:cubicBezTo>
                    <a:cubicBezTo>
                      <a:pt x="108491" y="32481"/>
                      <a:pt x="155169" y="60328"/>
                      <a:pt x="164814" y="134555"/>
                    </a:cubicBezTo>
                    <a:cubicBezTo>
                      <a:pt x="172047" y="190226"/>
                      <a:pt x="143519" y="221185"/>
                      <a:pt x="113008" y="233601"/>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e-DE" dirty="0"/>
              </a:p>
            </p:txBody>
          </p:sp>
          <p:sp>
            <p:nvSpPr>
              <p:cNvPr id="2040" name="Freeform: Shape 2039">
                <a:extLst>
                  <a:ext uri="{FF2B5EF4-FFF2-40B4-BE49-F238E27FC236}">
                    <a16:creationId xmlns:a16="http://schemas.microsoft.com/office/drawing/2014/main" id="{E6F2345C-A9D9-4F86-B19A-8C924B4610BC}"/>
                  </a:ext>
                </a:extLst>
              </p:cNvPr>
              <p:cNvSpPr>
                <a:spLocks/>
              </p:cNvSpPr>
              <p:nvPr/>
            </p:nvSpPr>
            <p:spPr bwMode="gray">
              <a:xfrm flipH="1">
                <a:off x="10273674" y="5472512"/>
                <a:ext cx="30171" cy="39047"/>
              </a:xfrm>
              <a:custGeom>
                <a:avLst/>
                <a:gdLst>
                  <a:gd name="connsiteX0" fmla="*/ 31007 w 84086"/>
                  <a:gd name="connsiteY0" fmla="*/ 0 h 111685"/>
                  <a:gd name="connsiteX1" fmla="*/ 83511 w 84086"/>
                  <a:gd name="connsiteY1" fmla="*/ 68180 h 111685"/>
                  <a:gd name="connsiteX2" fmla="*/ 71752 w 84086"/>
                  <a:gd name="connsiteY2" fmla="*/ 108828 h 111685"/>
                  <a:gd name="connsiteX3" fmla="*/ 65141 w 84086"/>
                  <a:gd name="connsiteY3" fmla="*/ 111685 h 111685"/>
                  <a:gd name="connsiteX4" fmla="*/ 64724 w 84086"/>
                  <a:gd name="connsiteY4" fmla="*/ 108860 h 111685"/>
                  <a:gd name="connsiteX5" fmla="*/ 42043 w 84086"/>
                  <a:gd name="connsiteY5" fmla="*/ 82492 h 111685"/>
                  <a:gd name="connsiteX6" fmla="*/ 19362 w 84086"/>
                  <a:gd name="connsiteY6" fmla="*/ 108860 h 111685"/>
                  <a:gd name="connsiteX7" fmla="*/ 19163 w 84086"/>
                  <a:gd name="connsiteY7" fmla="*/ 110206 h 111685"/>
                  <a:gd name="connsiteX8" fmla="*/ 11537 w 84086"/>
                  <a:gd name="connsiteY8" fmla="*/ 106404 h 111685"/>
                  <a:gd name="connsiteX9" fmla="*/ 1413 w 84086"/>
                  <a:gd name="connsiteY9" fmla="*/ 67693 h 111685"/>
                  <a:gd name="connsiteX10" fmla="*/ 31007 w 84086"/>
                  <a:gd name="connsiteY10" fmla="*/ 0 h 111685"/>
                  <a:gd name="connsiteX0" fmla="*/ 42043 w 133483"/>
                  <a:gd name="connsiteY0" fmla="*/ 82492 h 173932"/>
                  <a:gd name="connsiteX1" fmla="*/ 19362 w 133483"/>
                  <a:gd name="connsiteY1" fmla="*/ 108860 h 173932"/>
                  <a:gd name="connsiteX2" fmla="*/ 19163 w 133483"/>
                  <a:gd name="connsiteY2" fmla="*/ 110206 h 173932"/>
                  <a:gd name="connsiteX3" fmla="*/ 11537 w 133483"/>
                  <a:gd name="connsiteY3" fmla="*/ 106404 h 173932"/>
                  <a:gd name="connsiteX4" fmla="*/ 1413 w 133483"/>
                  <a:gd name="connsiteY4" fmla="*/ 67693 h 173932"/>
                  <a:gd name="connsiteX5" fmla="*/ 31007 w 133483"/>
                  <a:gd name="connsiteY5" fmla="*/ 0 h 173932"/>
                  <a:gd name="connsiteX6" fmla="*/ 83511 w 133483"/>
                  <a:gd name="connsiteY6" fmla="*/ 68180 h 173932"/>
                  <a:gd name="connsiteX7" fmla="*/ 71752 w 133483"/>
                  <a:gd name="connsiteY7" fmla="*/ 108828 h 173932"/>
                  <a:gd name="connsiteX8" fmla="*/ 65141 w 133483"/>
                  <a:gd name="connsiteY8" fmla="*/ 111685 h 173932"/>
                  <a:gd name="connsiteX9" fmla="*/ 64724 w 133483"/>
                  <a:gd name="connsiteY9" fmla="*/ 108860 h 173932"/>
                  <a:gd name="connsiteX10" fmla="*/ 133483 w 133483"/>
                  <a:gd name="connsiteY10" fmla="*/ 173932 h 173932"/>
                  <a:gd name="connsiteX0" fmla="*/ 42043 w 84086"/>
                  <a:gd name="connsiteY0" fmla="*/ 82492 h 111685"/>
                  <a:gd name="connsiteX1" fmla="*/ 19362 w 84086"/>
                  <a:gd name="connsiteY1" fmla="*/ 108860 h 111685"/>
                  <a:gd name="connsiteX2" fmla="*/ 19163 w 84086"/>
                  <a:gd name="connsiteY2" fmla="*/ 110206 h 111685"/>
                  <a:gd name="connsiteX3" fmla="*/ 11537 w 84086"/>
                  <a:gd name="connsiteY3" fmla="*/ 106404 h 111685"/>
                  <a:gd name="connsiteX4" fmla="*/ 1413 w 84086"/>
                  <a:gd name="connsiteY4" fmla="*/ 67693 h 111685"/>
                  <a:gd name="connsiteX5" fmla="*/ 31007 w 84086"/>
                  <a:gd name="connsiteY5" fmla="*/ 0 h 111685"/>
                  <a:gd name="connsiteX6" fmla="*/ 83511 w 84086"/>
                  <a:gd name="connsiteY6" fmla="*/ 68180 h 111685"/>
                  <a:gd name="connsiteX7" fmla="*/ 71752 w 84086"/>
                  <a:gd name="connsiteY7" fmla="*/ 108828 h 111685"/>
                  <a:gd name="connsiteX8" fmla="*/ 65141 w 84086"/>
                  <a:gd name="connsiteY8" fmla="*/ 111685 h 111685"/>
                  <a:gd name="connsiteX9" fmla="*/ 64724 w 84086"/>
                  <a:gd name="connsiteY9" fmla="*/ 108860 h 111685"/>
                  <a:gd name="connsiteX0" fmla="*/ 19362 w 84086"/>
                  <a:gd name="connsiteY0" fmla="*/ 108860 h 111685"/>
                  <a:gd name="connsiteX1" fmla="*/ 19163 w 84086"/>
                  <a:gd name="connsiteY1" fmla="*/ 110206 h 111685"/>
                  <a:gd name="connsiteX2" fmla="*/ 11537 w 84086"/>
                  <a:gd name="connsiteY2" fmla="*/ 106404 h 111685"/>
                  <a:gd name="connsiteX3" fmla="*/ 1413 w 84086"/>
                  <a:gd name="connsiteY3" fmla="*/ 67693 h 111685"/>
                  <a:gd name="connsiteX4" fmla="*/ 31007 w 84086"/>
                  <a:gd name="connsiteY4" fmla="*/ 0 h 111685"/>
                  <a:gd name="connsiteX5" fmla="*/ 83511 w 84086"/>
                  <a:gd name="connsiteY5" fmla="*/ 68180 h 111685"/>
                  <a:gd name="connsiteX6" fmla="*/ 71752 w 84086"/>
                  <a:gd name="connsiteY6" fmla="*/ 108828 h 111685"/>
                  <a:gd name="connsiteX7" fmla="*/ 65141 w 84086"/>
                  <a:gd name="connsiteY7" fmla="*/ 111685 h 111685"/>
                  <a:gd name="connsiteX8" fmla="*/ 64724 w 84086"/>
                  <a:gd name="connsiteY8" fmla="*/ 108860 h 111685"/>
                  <a:gd name="connsiteX0" fmla="*/ 19362 w 84086"/>
                  <a:gd name="connsiteY0" fmla="*/ 108860 h 111685"/>
                  <a:gd name="connsiteX1" fmla="*/ 19163 w 84086"/>
                  <a:gd name="connsiteY1" fmla="*/ 110206 h 111685"/>
                  <a:gd name="connsiteX2" fmla="*/ 11537 w 84086"/>
                  <a:gd name="connsiteY2" fmla="*/ 106404 h 111685"/>
                  <a:gd name="connsiteX3" fmla="*/ 1413 w 84086"/>
                  <a:gd name="connsiteY3" fmla="*/ 67693 h 111685"/>
                  <a:gd name="connsiteX4" fmla="*/ 31007 w 84086"/>
                  <a:gd name="connsiteY4" fmla="*/ 0 h 111685"/>
                  <a:gd name="connsiteX5" fmla="*/ 83511 w 84086"/>
                  <a:gd name="connsiteY5" fmla="*/ 68180 h 111685"/>
                  <a:gd name="connsiteX6" fmla="*/ 71752 w 84086"/>
                  <a:gd name="connsiteY6" fmla="*/ 108828 h 111685"/>
                  <a:gd name="connsiteX7" fmla="*/ 65141 w 84086"/>
                  <a:gd name="connsiteY7" fmla="*/ 111685 h 111685"/>
                  <a:gd name="connsiteX0" fmla="*/ 19362 w 84086"/>
                  <a:gd name="connsiteY0" fmla="*/ 108860 h 111685"/>
                  <a:gd name="connsiteX1" fmla="*/ 11537 w 84086"/>
                  <a:gd name="connsiteY1" fmla="*/ 106404 h 111685"/>
                  <a:gd name="connsiteX2" fmla="*/ 1413 w 84086"/>
                  <a:gd name="connsiteY2" fmla="*/ 67693 h 111685"/>
                  <a:gd name="connsiteX3" fmla="*/ 31007 w 84086"/>
                  <a:gd name="connsiteY3" fmla="*/ 0 h 111685"/>
                  <a:gd name="connsiteX4" fmla="*/ 83511 w 84086"/>
                  <a:gd name="connsiteY4" fmla="*/ 68180 h 111685"/>
                  <a:gd name="connsiteX5" fmla="*/ 71752 w 84086"/>
                  <a:gd name="connsiteY5" fmla="*/ 108828 h 111685"/>
                  <a:gd name="connsiteX6" fmla="*/ 65141 w 84086"/>
                  <a:gd name="connsiteY6" fmla="*/ 111685 h 111685"/>
                  <a:gd name="connsiteX0" fmla="*/ 11537 w 84086"/>
                  <a:gd name="connsiteY0" fmla="*/ 106404 h 111685"/>
                  <a:gd name="connsiteX1" fmla="*/ 1413 w 84086"/>
                  <a:gd name="connsiteY1" fmla="*/ 67693 h 111685"/>
                  <a:gd name="connsiteX2" fmla="*/ 31007 w 84086"/>
                  <a:gd name="connsiteY2" fmla="*/ 0 h 111685"/>
                  <a:gd name="connsiteX3" fmla="*/ 83511 w 84086"/>
                  <a:gd name="connsiteY3" fmla="*/ 68180 h 111685"/>
                  <a:gd name="connsiteX4" fmla="*/ 71752 w 84086"/>
                  <a:gd name="connsiteY4" fmla="*/ 108828 h 111685"/>
                  <a:gd name="connsiteX5" fmla="*/ 65141 w 84086"/>
                  <a:gd name="connsiteY5" fmla="*/ 111685 h 111685"/>
                  <a:gd name="connsiteX0" fmla="*/ 11537 w 84086"/>
                  <a:gd name="connsiteY0" fmla="*/ 106404 h 108828"/>
                  <a:gd name="connsiteX1" fmla="*/ 1413 w 84086"/>
                  <a:gd name="connsiteY1" fmla="*/ 67693 h 108828"/>
                  <a:gd name="connsiteX2" fmla="*/ 31007 w 84086"/>
                  <a:gd name="connsiteY2" fmla="*/ 0 h 108828"/>
                  <a:gd name="connsiteX3" fmla="*/ 83511 w 84086"/>
                  <a:gd name="connsiteY3" fmla="*/ 68180 h 108828"/>
                  <a:gd name="connsiteX4" fmla="*/ 71752 w 84086"/>
                  <a:gd name="connsiteY4" fmla="*/ 108828 h 108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086" h="108828">
                    <a:moveTo>
                      <a:pt x="11537" y="106404"/>
                    </a:moveTo>
                    <a:cubicBezTo>
                      <a:pt x="2701" y="96705"/>
                      <a:pt x="-2728" y="83093"/>
                      <a:pt x="1413" y="67693"/>
                    </a:cubicBezTo>
                    <a:cubicBezTo>
                      <a:pt x="9696" y="36894"/>
                      <a:pt x="33282" y="38439"/>
                      <a:pt x="31007" y="0"/>
                    </a:cubicBezTo>
                    <a:cubicBezTo>
                      <a:pt x="54972" y="16458"/>
                      <a:pt x="78625" y="30569"/>
                      <a:pt x="83511" y="68180"/>
                    </a:cubicBezTo>
                    <a:cubicBezTo>
                      <a:pt x="85955" y="86986"/>
                      <a:pt x="80345" y="100226"/>
                      <a:pt x="71752" y="108828"/>
                    </a:cubicBez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endParaRPr lang="de-DE" dirty="0"/>
              </a:p>
            </p:txBody>
          </p:sp>
        </p:grpSp>
        <p:sp>
          <p:nvSpPr>
            <p:cNvPr id="2046" name="Rectangle 2045">
              <a:extLst>
                <a:ext uri="{FF2B5EF4-FFF2-40B4-BE49-F238E27FC236}">
                  <a16:creationId xmlns:a16="http://schemas.microsoft.com/office/drawing/2014/main" id="{1B457281-F4B1-4B66-9D8C-0C2F3D26CEA9}"/>
                </a:ext>
              </a:extLst>
            </p:cNvPr>
            <p:cNvSpPr/>
            <p:nvPr/>
          </p:nvSpPr>
          <p:spPr bwMode="gray">
            <a:xfrm>
              <a:off x="8763507" y="2778694"/>
              <a:ext cx="368142" cy="21622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H</a:t>
              </a:r>
              <a:r>
                <a:rPr lang="de-DE" sz="1000" baseline="-25000" dirty="0">
                  <a:solidFill>
                    <a:schemeClr val="tx1"/>
                  </a:solidFill>
                </a:rPr>
                <a:t>2</a:t>
              </a:r>
              <a:r>
                <a:rPr lang="de-DE" sz="1000" dirty="0">
                  <a:solidFill>
                    <a:schemeClr val="tx1"/>
                  </a:solidFill>
                </a:rPr>
                <a:t>O</a:t>
              </a:r>
            </a:p>
          </p:txBody>
        </p:sp>
        <p:cxnSp>
          <p:nvCxnSpPr>
            <p:cNvPr id="2047" name="Straight Connector 2046">
              <a:extLst>
                <a:ext uri="{FF2B5EF4-FFF2-40B4-BE49-F238E27FC236}">
                  <a16:creationId xmlns:a16="http://schemas.microsoft.com/office/drawing/2014/main" id="{DAD72C27-BAEB-4AEB-B517-8130DEA53FF6}"/>
                </a:ext>
              </a:extLst>
            </p:cNvPr>
            <p:cNvCxnSpPr>
              <a:cxnSpLocks/>
              <a:stCxn id="2046" idx="2"/>
              <a:endCxn id="1912" idx="0"/>
            </p:cNvCxnSpPr>
            <p:nvPr/>
          </p:nvCxnSpPr>
          <p:spPr bwMode="gray">
            <a:xfrm>
              <a:off x="8947578" y="2994917"/>
              <a:ext cx="1" cy="149031"/>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052" name="Rectangle 2051">
              <a:extLst>
                <a:ext uri="{FF2B5EF4-FFF2-40B4-BE49-F238E27FC236}">
                  <a16:creationId xmlns:a16="http://schemas.microsoft.com/office/drawing/2014/main" id="{2743950A-E370-443A-9469-A20A64AA98DB}"/>
                </a:ext>
              </a:extLst>
            </p:cNvPr>
            <p:cNvSpPr/>
            <p:nvPr/>
          </p:nvSpPr>
          <p:spPr bwMode="gray">
            <a:xfrm>
              <a:off x="7105660" y="3292194"/>
              <a:ext cx="368142" cy="17786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a:t>
              </a:r>
              <a:r>
                <a:rPr lang="de-DE" sz="1000" baseline="-25000" dirty="0">
                  <a:solidFill>
                    <a:schemeClr val="tx1"/>
                  </a:solidFill>
                </a:rPr>
                <a:t>2 </a:t>
              </a:r>
            </a:p>
            <a:p>
              <a:pPr algn="ctr">
                <a:spcBef>
                  <a:spcPts val="300"/>
                </a:spcBef>
                <a:buClr>
                  <a:srgbClr val="002897"/>
                </a:buClr>
                <a:buSzPct val="70000"/>
              </a:pPr>
              <a:r>
                <a:rPr lang="de-DE" sz="1000" dirty="0">
                  <a:solidFill>
                    <a:schemeClr val="tx1"/>
                  </a:solidFill>
                </a:rPr>
                <a:t>CH</a:t>
              </a:r>
              <a:r>
                <a:rPr lang="de-DE" sz="1000" baseline="-25000" dirty="0">
                  <a:solidFill>
                    <a:schemeClr val="tx1"/>
                  </a:solidFill>
                </a:rPr>
                <a:t>4</a:t>
              </a:r>
            </a:p>
            <a:p>
              <a:pPr algn="ctr">
                <a:spcBef>
                  <a:spcPts val="300"/>
                </a:spcBef>
                <a:buClr>
                  <a:srgbClr val="002897"/>
                </a:buClr>
                <a:buSzPct val="70000"/>
              </a:pPr>
              <a:r>
                <a:rPr lang="de-DE" sz="1000" dirty="0">
                  <a:solidFill>
                    <a:schemeClr val="tx1"/>
                  </a:solidFill>
                </a:rPr>
                <a:t>H</a:t>
              </a:r>
              <a:r>
                <a:rPr lang="de-DE" sz="1000" baseline="-25000" dirty="0">
                  <a:solidFill>
                    <a:schemeClr val="tx1"/>
                  </a:solidFill>
                </a:rPr>
                <a:t>2</a:t>
              </a:r>
              <a:r>
                <a:rPr lang="de-DE" sz="1000" dirty="0">
                  <a:solidFill>
                    <a:schemeClr val="tx1"/>
                  </a:solidFill>
                </a:rPr>
                <a:t>S</a:t>
              </a:r>
            </a:p>
          </p:txBody>
        </p:sp>
        <p:sp>
          <p:nvSpPr>
            <p:cNvPr id="2053" name="Rectangle 2052">
              <a:extLst>
                <a:ext uri="{FF2B5EF4-FFF2-40B4-BE49-F238E27FC236}">
                  <a16:creationId xmlns:a16="http://schemas.microsoft.com/office/drawing/2014/main" id="{9E1E7180-95F8-425A-A7F8-69B1D855B694}"/>
                </a:ext>
              </a:extLst>
            </p:cNvPr>
            <p:cNvSpPr/>
            <p:nvPr/>
          </p:nvSpPr>
          <p:spPr bwMode="gray">
            <a:xfrm>
              <a:off x="8200126" y="3292194"/>
              <a:ext cx="368142" cy="17786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a:t>
              </a:r>
              <a:r>
                <a:rPr lang="de-DE" sz="1000" baseline="-25000" dirty="0">
                  <a:solidFill>
                    <a:schemeClr val="tx1"/>
                  </a:solidFill>
                </a:rPr>
                <a:t>2 </a:t>
              </a:r>
            </a:p>
            <a:p>
              <a:pPr algn="ctr">
                <a:spcBef>
                  <a:spcPts val="300"/>
                </a:spcBef>
                <a:buClr>
                  <a:srgbClr val="002897"/>
                </a:buClr>
                <a:buSzPct val="70000"/>
              </a:pPr>
              <a:r>
                <a:rPr lang="de-DE" sz="1000" dirty="0">
                  <a:solidFill>
                    <a:schemeClr val="tx1"/>
                  </a:solidFill>
                </a:rPr>
                <a:t>CH</a:t>
              </a:r>
              <a:r>
                <a:rPr lang="de-DE" sz="1000" baseline="-25000" dirty="0">
                  <a:solidFill>
                    <a:schemeClr val="tx1"/>
                  </a:solidFill>
                </a:rPr>
                <a:t>4</a:t>
              </a:r>
            </a:p>
          </p:txBody>
        </p:sp>
        <p:sp>
          <p:nvSpPr>
            <p:cNvPr id="2054" name="Rectangle 2053">
              <a:extLst>
                <a:ext uri="{FF2B5EF4-FFF2-40B4-BE49-F238E27FC236}">
                  <a16:creationId xmlns:a16="http://schemas.microsoft.com/office/drawing/2014/main" id="{8EA9FF90-9402-481D-8B4A-34ADA94A03DB}"/>
                </a:ext>
              </a:extLst>
            </p:cNvPr>
            <p:cNvSpPr/>
            <p:nvPr/>
          </p:nvSpPr>
          <p:spPr bwMode="gray">
            <a:xfrm>
              <a:off x="9254734" y="3292194"/>
              <a:ext cx="368142" cy="17786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a:t>
              </a:r>
              <a:r>
                <a:rPr lang="de-DE" sz="1000" baseline="-25000" dirty="0">
                  <a:solidFill>
                    <a:schemeClr val="tx1"/>
                  </a:solidFill>
                </a:rPr>
                <a:t> </a:t>
              </a:r>
            </a:p>
            <a:p>
              <a:pPr algn="ctr">
                <a:spcBef>
                  <a:spcPts val="300"/>
                </a:spcBef>
                <a:buClr>
                  <a:srgbClr val="002897"/>
                </a:buClr>
                <a:buSzPct val="70000"/>
              </a:pPr>
              <a:r>
                <a:rPr lang="de-DE" sz="1000" dirty="0">
                  <a:solidFill>
                    <a:schemeClr val="tx1"/>
                  </a:solidFill>
                </a:rPr>
                <a:t>H</a:t>
              </a:r>
              <a:r>
                <a:rPr lang="de-DE" sz="1000" baseline="-25000" dirty="0">
                  <a:solidFill>
                    <a:schemeClr val="tx1"/>
                  </a:solidFill>
                </a:rPr>
                <a:t>2</a:t>
              </a:r>
            </a:p>
          </p:txBody>
        </p:sp>
        <p:sp>
          <p:nvSpPr>
            <p:cNvPr id="2056" name="Rectangle 2055">
              <a:extLst>
                <a:ext uri="{FF2B5EF4-FFF2-40B4-BE49-F238E27FC236}">
                  <a16:creationId xmlns:a16="http://schemas.microsoft.com/office/drawing/2014/main" id="{B3B65BFB-9FE7-49A8-AF4E-21C9E3DBDC1B}"/>
                </a:ext>
              </a:extLst>
            </p:cNvPr>
            <p:cNvSpPr/>
            <p:nvPr/>
          </p:nvSpPr>
          <p:spPr bwMode="gray">
            <a:xfrm>
              <a:off x="10104627" y="2847971"/>
              <a:ext cx="249677" cy="21622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300"/>
                </a:spcBef>
                <a:buClr>
                  <a:srgbClr val="002897"/>
                </a:buClr>
                <a:buSzPct val="70000"/>
              </a:pPr>
              <a:r>
                <a:rPr lang="de-DE" sz="1000" dirty="0">
                  <a:solidFill>
                    <a:schemeClr val="tx1"/>
                  </a:solidFill>
                </a:rPr>
                <a:t>H</a:t>
              </a:r>
              <a:r>
                <a:rPr lang="de-DE" sz="1000" baseline="-25000" dirty="0">
                  <a:solidFill>
                    <a:schemeClr val="tx1"/>
                  </a:solidFill>
                </a:rPr>
                <a:t>2</a:t>
              </a:r>
              <a:endParaRPr lang="de-DE" sz="1000" dirty="0">
                <a:solidFill>
                  <a:schemeClr val="tx1"/>
                </a:solidFill>
              </a:endParaRPr>
            </a:p>
          </p:txBody>
        </p:sp>
        <p:sp>
          <p:nvSpPr>
            <p:cNvPr id="2057" name="Rectangle 2056">
              <a:extLst>
                <a:ext uri="{FF2B5EF4-FFF2-40B4-BE49-F238E27FC236}">
                  <a16:creationId xmlns:a16="http://schemas.microsoft.com/office/drawing/2014/main" id="{999A624B-4114-4AD9-A5CF-E52524B9BCBF}"/>
                </a:ext>
              </a:extLst>
            </p:cNvPr>
            <p:cNvSpPr/>
            <p:nvPr/>
          </p:nvSpPr>
          <p:spPr bwMode="gray">
            <a:xfrm>
              <a:off x="7831669" y="4255224"/>
              <a:ext cx="197044" cy="21622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spcBef>
                  <a:spcPts val="300"/>
                </a:spcBef>
                <a:buClr>
                  <a:srgbClr val="002897"/>
                </a:buClr>
                <a:buSzPct val="70000"/>
              </a:pPr>
              <a:r>
                <a:rPr lang="de-DE" sz="1000" dirty="0">
                  <a:solidFill>
                    <a:schemeClr val="tx1"/>
                  </a:solidFill>
                </a:rPr>
                <a:t>S</a:t>
              </a:r>
            </a:p>
          </p:txBody>
        </p:sp>
      </p:grpSp>
      <p:grpSp>
        <p:nvGrpSpPr>
          <p:cNvPr id="2286" name="Group 2285">
            <a:extLst>
              <a:ext uri="{FF2B5EF4-FFF2-40B4-BE49-F238E27FC236}">
                <a16:creationId xmlns:a16="http://schemas.microsoft.com/office/drawing/2014/main" id="{A83DD933-5BFC-4E3E-AF71-B200970B8230}"/>
              </a:ext>
            </a:extLst>
          </p:cNvPr>
          <p:cNvGrpSpPr/>
          <p:nvPr/>
        </p:nvGrpSpPr>
        <p:grpSpPr bwMode="gray">
          <a:xfrm>
            <a:off x="337316" y="2296318"/>
            <a:ext cx="5646090" cy="1602591"/>
            <a:chOff x="337316" y="3980720"/>
            <a:chExt cx="5646090" cy="1602591"/>
          </a:xfrm>
        </p:grpSpPr>
        <p:sp>
          <p:nvSpPr>
            <p:cNvPr id="2128" name="Rectangle 2127">
              <a:extLst>
                <a:ext uri="{FF2B5EF4-FFF2-40B4-BE49-F238E27FC236}">
                  <a16:creationId xmlns:a16="http://schemas.microsoft.com/office/drawing/2014/main" id="{04996522-30DC-4D04-8357-533BDB04A040}"/>
                </a:ext>
              </a:extLst>
            </p:cNvPr>
            <p:cNvSpPr/>
            <p:nvPr/>
          </p:nvSpPr>
          <p:spPr bwMode="gray">
            <a:xfrm>
              <a:off x="1752785" y="4174070"/>
              <a:ext cx="4571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152" name="Rectangle 2151">
              <a:extLst>
                <a:ext uri="{FF2B5EF4-FFF2-40B4-BE49-F238E27FC236}">
                  <a16:creationId xmlns:a16="http://schemas.microsoft.com/office/drawing/2014/main" id="{3E3E9A35-A774-4F24-99E4-2FCF19E3A5AC}"/>
                </a:ext>
              </a:extLst>
            </p:cNvPr>
            <p:cNvSpPr/>
            <p:nvPr/>
          </p:nvSpPr>
          <p:spPr bwMode="gray">
            <a:xfrm>
              <a:off x="3737392" y="4174070"/>
              <a:ext cx="4571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156" name="Rectangle 2155">
              <a:extLst>
                <a:ext uri="{FF2B5EF4-FFF2-40B4-BE49-F238E27FC236}">
                  <a16:creationId xmlns:a16="http://schemas.microsoft.com/office/drawing/2014/main" id="{70B298E6-378F-4055-ABA4-51D556D9806C}"/>
                </a:ext>
              </a:extLst>
            </p:cNvPr>
            <p:cNvSpPr/>
            <p:nvPr/>
          </p:nvSpPr>
          <p:spPr bwMode="gray">
            <a:xfrm>
              <a:off x="4115210" y="4591778"/>
              <a:ext cx="4571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2061" name="Group 2060">
              <a:extLst>
                <a:ext uri="{FF2B5EF4-FFF2-40B4-BE49-F238E27FC236}">
                  <a16:creationId xmlns:a16="http://schemas.microsoft.com/office/drawing/2014/main" id="{70B6B5B9-386E-45F9-9286-798DAA4893AA}"/>
                </a:ext>
              </a:extLst>
            </p:cNvPr>
            <p:cNvGrpSpPr/>
            <p:nvPr/>
          </p:nvGrpSpPr>
          <p:grpSpPr bwMode="gray">
            <a:xfrm>
              <a:off x="4413300" y="4405405"/>
              <a:ext cx="831543" cy="715537"/>
              <a:chOff x="6796156" y="-4582055"/>
              <a:chExt cx="964814" cy="830216"/>
            </a:xfrm>
          </p:grpSpPr>
          <p:grpSp>
            <p:nvGrpSpPr>
              <p:cNvPr id="2062" name="Group 2061">
                <a:extLst>
                  <a:ext uri="{FF2B5EF4-FFF2-40B4-BE49-F238E27FC236}">
                    <a16:creationId xmlns:a16="http://schemas.microsoft.com/office/drawing/2014/main" id="{87E0E3EE-1F8F-4493-8C5E-176FE961D36D}"/>
                  </a:ext>
                </a:extLst>
              </p:cNvPr>
              <p:cNvGrpSpPr/>
              <p:nvPr/>
            </p:nvGrpSpPr>
            <p:grpSpPr bwMode="gray">
              <a:xfrm>
                <a:off x="7126315" y="-4582055"/>
                <a:ext cx="304497" cy="668537"/>
                <a:chOff x="6936708" y="-5622681"/>
                <a:chExt cx="684041" cy="1501843"/>
              </a:xfrm>
            </p:grpSpPr>
            <p:sp>
              <p:nvSpPr>
                <p:cNvPr id="2064" name="Rectangle: Rounded Corners 2063">
                  <a:extLst>
                    <a:ext uri="{FF2B5EF4-FFF2-40B4-BE49-F238E27FC236}">
                      <a16:creationId xmlns:a16="http://schemas.microsoft.com/office/drawing/2014/main" id="{96B220B3-3FF5-495F-9EEF-581FC8B90363}"/>
                    </a:ext>
                  </a:extLst>
                </p:cNvPr>
                <p:cNvSpPr/>
                <p:nvPr/>
              </p:nvSpPr>
              <p:spPr bwMode="gray">
                <a:xfrm flipH="1">
                  <a:off x="6937038" y="-5622681"/>
                  <a:ext cx="683711" cy="1501843"/>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900" dirty="0">
                    <a:solidFill>
                      <a:schemeClr val="tx1"/>
                    </a:solidFill>
                  </a:endParaRPr>
                </a:p>
              </p:txBody>
            </p:sp>
            <p:sp>
              <p:nvSpPr>
                <p:cNvPr id="2065" name="Rectangle 2064">
                  <a:extLst>
                    <a:ext uri="{FF2B5EF4-FFF2-40B4-BE49-F238E27FC236}">
                      <a16:creationId xmlns:a16="http://schemas.microsoft.com/office/drawing/2014/main" id="{8AB45927-6CF5-43C2-9F76-E96E8431A678}"/>
                    </a:ext>
                  </a:extLst>
                </p:cNvPr>
                <p:cNvSpPr/>
                <p:nvPr/>
              </p:nvSpPr>
              <p:spPr bwMode="gray">
                <a:xfrm>
                  <a:off x="6936708" y="-5345979"/>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066" name="Rectangle 2065">
                  <a:extLst>
                    <a:ext uri="{FF2B5EF4-FFF2-40B4-BE49-F238E27FC236}">
                      <a16:creationId xmlns:a16="http://schemas.microsoft.com/office/drawing/2014/main" id="{D9236F87-0B7B-4E68-B043-9B806537BE7B}"/>
                    </a:ext>
                  </a:extLst>
                </p:cNvPr>
                <p:cNvSpPr/>
                <p:nvPr/>
              </p:nvSpPr>
              <p:spPr bwMode="gray">
                <a:xfrm>
                  <a:off x="6936708" y="-5251135"/>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067" name="Rectangle 2066">
                  <a:extLst>
                    <a:ext uri="{FF2B5EF4-FFF2-40B4-BE49-F238E27FC236}">
                      <a16:creationId xmlns:a16="http://schemas.microsoft.com/office/drawing/2014/main" id="{0E9AC7B8-1C4C-4DBB-B47C-2A0932FBCD3C}"/>
                    </a:ext>
                  </a:extLst>
                </p:cNvPr>
                <p:cNvSpPr/>
                <p:nvPr/>
              </p:nvSpPr>
              <p:spPr bwMode="gray">
                <a:xfrm>
                  <a:off x="6936708" y="-5156291"/>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068" name="Rectangle 2067">
                  <a:extLst>
                    <a:ext uri="{FF2B5EF4-FFF2-40B4-BE49-F238E27FC236}">
                      <a16:creationId xmlns:a16="http://schemas.microsoft.com/office/drawing/2014/main" id="{416BD58A-D7BE-4568-9537-DE43E4AE085A}"/>
                    </a:ext>
                  </a:extLst>
                </p:cNvPr>
                <p:cNvSpPr/>
                <p:nvPr/>
              </p:nvSpPr>
              <p:spPr bwMode="gray">
                <a:xfrm>
                  <a:off x="6936708" y="-5061447"/>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069" name="Rectangle 2068">
                  <a:extLst>
                    <a:ext uri="{FF2B5EF4-FFF2-40B4-BE49-F238E27FC236}">
                      <a16:creationId xmlns:a16="http://schemas.microsoft.com/office/drawing/2014/main" id="{B24E7EED-A0CA-48E0-B7EB-604E7B40CF77}"/>
                    </a:ext>
                  </a:extLst>
                </p:cNvPr>
                <p:cNvSpPr/>
                <p:nvPr/>
              </p:nvSpPr>
              <p:spPr bwMode="gray">
                <a:xfrm>
                  <a:off x="6936708" y="-4966603"/>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070" name="Rectangle 2069">
                  <a:extLst>
                    <a:ext uri="{FF2B5EF4-FFF2-40B4-BE49-F238E27FC236}">
                      <a16:creationId xmlns:a16="http://schemas.microsoft.com/office/drawing/2014/main" id="{613E4405-B7D8-4FB8-B7AE-73A8E133A6DA}"/>
                    </a:ext>
                  </a:extLst>
                </p:cNvPr>
                <p:cNvSpPr/>
                <p:nvPr/>
              </p:nvSpPr>
              <p:spPr bwMode="gray">
                <a:xfrm>
                  <a:off x="6936708" y="-4871759"/>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071" name="Rectangle 2070">
                  <a:extLst>
                    <a:ext uri="{FF2B5EF4-FFF2-40B4-BE49-F238E27FC236}">
                      <a16:creationId xmlns:a16="http://schemas.microsoft.com/office/drawing/2014/main" id="{6D84AB2F-0C07-428E-98AA-E9A4E5A49E6C}"/>
                    </a:ext>
                  </a:extLst>
                </p:cNvPr>
                <p:cNvSpPr/>
                <p:nvPr/>
              </p:nvSpPr>
              <p:spPr bwMode="gray">
                <a:xfrm>
                  <a:off x="6936708" y="-4776914"/>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072" name="Rectangle 2071">
                  <a:extLst>
                    <a:ext uri="{FF2B5EF4-FFF2-40B4-BE49-F238E27FC236}">
                      <a16:creationId xmlns:a16="http://schemas.microsoft.com/office/drawing/2014/main" id="{C59D8F35-B0C9-4137-A2FF-AEE5D6B5D163}"/>
                    </a:ext>
                  </a:extLst>
                </p:cNvPr>
                <p:cNvSpPr/>
                <p:nvPr/>
              </p:nvSpPr>
              <p:spPr bwMode="gray">
                <a:xfrm>
                  <a:off x="6936708" y="-4682070"/>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073" name="Rectangle 2072">
                  <a:extLst>
                    <a:ext uri="{FF2B5EF4-FFF2-40B4-BE49-F238E27FC236}">
                      <a16:creationId xmlns:a16="http://schemas.microsoft.com/office/drawing/2014/main" id="{6823979E-F826-4CEC-8B48-58C313EDEC61}"/>
                    </a:ext>
                  </a:extLst>
                </p:cNvPr>
                <p:cNvSpPr/>
                <p:nvPr/>
              </p:nvSpPr>
              <p:spPr bwMode="gray">
                <a:xfrm>
                  <a:off x="6936708" y="-4587226"/>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sp>
              <p:nvSpPr>
                <p:cNvPr id="2074" name="Rectangle 2073">
                  <a:extLst>
                    <a:ext uri="{FF2B5EF4-FFF2-40B4-BE49-F238E27FC236}">
                      <a16:creationId xmlns:a16="http://schemas.microsoft.com/office/drawing/2014/main" id="{5CE8C3ED-CFF6-4E17-BD67-A3301A407EF5}"/>
                    </a:ext>
                  </a:extLst>
                </p:cNvPr>
                <p:cNvSpPr/>
                <p:nvPr/>
              </p:nvSpPr>
              <p:spPr bwMode="gray">
                <a:xfrm>
                  <a:off x="6936708" y="-4492382"/>
                  <a:ext cx="683710" cy="9484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900" dirty="0">
                    <a:solidFill>
                      <a:schemeClr val="tx1"/>
                    </a:solidFill>
                  </a:endParaRPr>
                </a:p>
              </p:txBody>
            </p:sp>
          </p:grpSp>
          <p:sp>
            <p:nvSpPr>
              <p:cNvPr id="2063" name="Rectangle 2062">
                <a:extLst>
                  <a:ext uri="{FF2B5EF4-FFF2-40B4-BE49-F238E27FC236}">
                    <a16:creationId xmlns:a16="http://schemas.microsoft.com/office/drawing/2014/main" id="{D25744A2-D84D-412C-859B-3EB2C9F21C41}"/>
                  </a:ext>
                </a:extLst>
              </p:cNvPr>
              <p:cNvSpPr/>
              <p:nvPr/>
            </p:nvSpPr>
            <p:spPr bwMode="gray">
              <a:xfrm>
                <a:off x="6796156" y="-3919867"/>
                <a:ext cx="964814" cy="16802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300"/>
                  </a:spcBef>
                  <a:buClr>
                    <a:srgbClr val="002897"/>
                  </a:buClr>
                  <a:buSzPct val="70000"/>
                </a:pPr>
                <a:r>
                  <a:rPr lang="de-DE" sz="900" dirty="0">
                    <a:solidFill>
                      <a:schemeClr val="tx1"/>
                    </a:solidFill>
                  </a:rPr>
                  <a:t>Destillation column</a:t>
                </a:r>
              </a:p>
            </p:txBody>
          </p:sp>
        </p:grpSp>
        <p:grpSp>
          <p:nvGrpSpPr>
            <p:cNvPr id="2075" name="Group 2074">
              <a:extLst>
                <a:ext uri="{FF2B5EF4-FFF2-40B4-BE49-F238E27FC236}">
                  <a16:creationId xmlns:a16="http://schemas.microsoft.com/office/drawing/2014/main" id="{89A68A31-013C-47C9-8FFF-168D0759BD36}"/>
                </a:ext>
              </a:extLst>
            </p:cNvPr>
            <p:cNvGrpSpPr/>
            <p:nvPr/>
          </p:nvGrpSpPr>
          <p:grpSpPr bwMode="gray">
            <a:xfrm>
              <a:off x="5415323" y="4688720"/>
              <a:ext cx="568083" cy="569952"/>
              <a:chOff x="3587672" y="4910525"/>
              <a:chExt cx="659130" cy="661299"/>
            </a:xfrm>
          </p:grpSpPr>
          <p:sp>
            <p:nvSpPr>
              <p:cNvPr id="2076" name="Rectangle: Rounded Corners 2075">
                <a:extLst>
                  <a:ext uri="{FF2B5EF4-FFF2-40B4-BE49-F238E27FC236}">
                    <a16:creationId xmlns:a16="http://schemas.microsoft.com/office/drawing/2014/main" id="{49E46C4B-594B-4CC9-AC2C-C1EED06677E2}"/>
                  </a:ext>
                </a:extLst>
              </p:cNvPr>
              <p:cNvSpPr/>
              <p:nvPr/>
            </p:nvSpPr>
            <p:spPr bwMode="gray">
              <a:xfrm>
                <a:off x="3587672" y="4910525"/>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900" dirty="0">
                  <a:solidFill>
                    <a:schemeClr val="tx1"/>
                  </a:solidFill>
                </a:endParaRPr>
              </a:p>
            </p:txBody>
          </p:sp>
          <p:sp>
            <p:nvSpPr>
              <p:cNvPr id="2077" name="Rectangle 2076">
                <a:extLst>
                  <a:ext uri="{FF2B5EF4-FFF2-40B4-BE49-F238E27FC236}">
                    <a16:creationId xmlns:a16="http://schemas.microsoft.com/office/drawing/2014/main" id="{8E139C58-27C7-4C17-A9FB-999C1BF11C75}"/>
                  </a:ext>
                </a:extLst>
              </p:cNvPr>
              <p:cNvSpPr/>
              <p:nvPr/>
            </p:nvSpPr>
            <p:spPr bwMode="gray">
              <a:xfrm>
                <a:off x="3606127" y="5221262"/>
                <a:ext cx="622221" cy="35056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Storage tank</a:t>
                </a:r>
              </a:p>
            </p:txBody>
          </p:sp>
        </p:grpSp>
        <p:grpSp>
          <p:nvGrpSpPr>
            <p:cNvPr id="2081" name="Group 2080">
              <a:extLst>
                <a:ext uri="{FF2B5EF4-FFF2-40B4-BE49-F238E27FC236}">
                  <a16:creationId xmlns:a16="http://schemas.microsoft.com/office/drawing/2014/main" id="{1C04AAF9-2EDD-45B8-BAE7-67CC1AB6CEB8}"/>
                </a:ext>
              </a:extLst>
            </p:cNvPr>
            <p:cNvGrpSpPr/>
            <p:nvPr/>
          </p:nvGrpSpPr>
          <p:grpSpPr bwMode="gray">
            <a:xfrm>
              <a:off x="3397232" y="4174070"/>
              <a:ext cx="726038" cy="894806"/>
              <a:chOff x="8563235" y="-4578997"/>
              <a:chExt cx="842400" cy="1038215"/>
            </a:xfrm>
          </p:grpSpPr>
          <p:sp>
            <p:nvSpPr>
              <p:cNvPr id="2082" name="Freeform: Shape 2081">
                <a:extLst>
                  <a:ext uri="{FF2B5EF4-FFF2-40B4-BE49-F238E27FC236}">
                    <a16:creationId xmlns:a16="http://schemas.microsoft.com/office/drawing/2014/main" id="{E17B7599-458C-4A2C-9E8B-C8B04AA6DD81}"/>
                  </a:ext>
                </a:extLst>
              </p:cNvPr>
              <p:cNvSpPr/>
              <p:nvPr/>
            </p:nvSpPr>
            <p:spPr bwMode="gray">
              <a:xfrm flipH="1">
                <a:off x="8805760" y="-4578997"/>
                <a:ext cx="357350" cy="653392"/>
              </a:xfrm>
              <a:custGeom>
                <a:avLst/>
                <a:gdLst>
                  <a:gd name="connsiteX0" fmla="*/ 0 w 835200"/>
                  <a:gd name="connsiteY0" fmla="*/ 0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417600 w 835200"/>
                  <a:gd name="connsiteY1" fmla="*/ 0 h 1973608"/>
                  <a:gd name="connsiteX2" fmla="*/ 626400 w 835200"/>
                  <a:gd name="connsiteY2" fmla="*/ 0 h 1973608"/>
                  <a:gd name="connsiteX3" fmla="*/ 835200 w 835200"/>
                  <a:gd name="connsiteY3" fmla="*/ 0 h 1973608"/>
                  <a:gd name="connsiteX4" fmla="*/ 835200 w 835200"/>
                  <a:gd name="connsiteY4" fmla="*/ 197361 h 1973608"/>
                  <a:gd name="connsiteX5" fmla="*/ 835200 w 835200"/>
                  <a:gd name="connsiteY5" fmla="*/ 197362 h 1973608"/>
                  <a:gd name="connsiteX6" fmla="*/ 835200 w 835200"/>
                  <a:gd name="connsiteY6" fmla="*/ 394723 h 1973608"/>
                  <a:gd name="connsiteX7" fmla="*/ 835200 w 835200"/>
                  <a:gd name="connsiteY7" fmla="*/ 592083 h 1973608"/>
                  <a:gd name="connsiteX8" fmla="*/ 835200 w 835200"/>
                  <a:gd name="connsiteY8" fmla="*/ 592085 h 1973608"/>
                  <a:gd name="connsiteX9" fmla="*/ 835200 w 835200"/>
                  <a:gd name="connsiteY9" fmla="*/ 789444 h 1973608"/>
                  <a:gd name="connsiteX10" fmla="*/ 835200 w 835200"/>
                  <a:gd name="connsiteY10" fmla="*/ 789445 h 1973608"/>
                  <a:gd name="connsiteX11" fmla="*/ 835200 w 835200"/>
                  <a:gd name="connsiteY11" fmla="*/ 986804 h 1973608"/>
                  <a:gd name="connsiteX12" fmla="*/ 835200 w 835200"/>
                  <a:gd name="connsiteY12" fmla="*/ 986806 h 1973608"/>
                  <a:gd name="connsiteX13" fmla="*/ 835200 w 835200"/>
                  <a:gd name="connsiteY13" fmla="*/ 1184165 h 1973608"/>
                  <a:gd name="connsiteX14" fmla="*/ 835200 w 835200"/>
                  <a:gd name="connsiteY14" fmla="*/ 1184166 h 1973608"/>
                  <a:gd name="connsiteX15" fmla="*/ 835200 w 835200"/>
                  <a:gd name="connsiteY15" fmla="*/ 1381525 h 1973608"/>
                  <a:gd name="connsiteX16" fmla="*/ 835200 w 835200"/>
                  <a:gd name="connsiteY16" fmla="*/ 1381527 h 1973608"/>
                  <a:gd name="connsiteX17" fmla="*/ 835200 w 835200"/>
                  <a:gd name="connsiteY17" fmla="*/ 1578886 h 1973608"/>
                  <a:gd name="connsiteX18" fmla="*/ 835200 w 835200"/>
                  <a:gd name="connsiteY18" fmla="*/ 1578887 h 1973608"/>
                  <a:gd name="connsiteX19" fmla="*/ 835200 w 835200"/>
                  <a:gd name="connsiteY19" fmla="*/ 1776246 h 1973608"/>
                  <a:gd name="connsiteX20" fmla="*/ 835200 w 835200"/>
                  <a:gd name="connsiteY20" fmla="*/ 1776248 h 1973608"/>
                  <a:gd name="connsiteX21" fmla="*/ 835200 w 835200"/>
                  <a:gd name="connsiteY21" fmla="*/ 1973608 h 1973608"/>
                  <a:gd name="connsiteX22" fmla="*/ 626400 w 835200"/>
                  <a:gd name="connsiteY22" fmla="*/ 1973608 h 1973608"/>
                  <a:gd name="connsiteX23" fmla="*/ 417600 w 835200"/>
                  <a:gd name="connsiteY23" fmla="*/ 1973608 h 1973608"/>
                  <a:gd name="connsiteX24" fmla="*/ 208800 w 835200"/>
                  <a:gd name="connsiteY24" fmla="*/ 1973608 h 1973608"/>
                  <a:gd name="connsiteX25" fmla="*/ 0 w 835200"/>
                  <a:gd name="connsiteY25" fmla="*/ 1973608 h 1973608"/>
                  <a:gd name="connsiteX26" fmla="*/ 0 w 835200"/>
                  <a:gd name="connsiteY26" fmla="*/ 1776248 h 1973608"/>
                  <a:gd name="connsiteX27" fmla="*/ 0 w 835200"/>
                  <a:gd name="connsiteY27" fmla="*/ 1776246 h 1973608"/>
                  <a:gd name="connsiteX28" fmla="*/ 0 w 835200"/>
                  <a:gd name="connsiteY28" fmla="*/ 1578887 h 1973608"/>
                  <a:gd name="connsiteX29" fmla="*/ 0 w 835200"/>
                  <a:gd name="connsiteY29" fmla="*/ 1578886 h 1973608"/>
                  <a:gd name="connsiteX30" fmla="*/ 0 w 835200"/>
                  <a:gd name="connsiteY30" fmla="*/ 1381527 h 1973608"/>
                  <a:gd name="connsiteX31" fmla="*/ 0 w 835200"/>
                  <a:gd name="connsiteY31" fmla="*/ 1381525 h 1973608"/>
                  <a:gd name="connsiteX32" fmla="*/ 0 w 835200"/>
                  <a:gd name="connsiteY32" fmla="*/ 1184166 h 1973608"/>
                  <a:gd name="connsiteX33" fmla="*/ 0 w 835200"/>
                  <a:gd name="connsiteY33" fmla="*/ 1184165 h 1973608"/>
                  <a:gd name="connsiteX34" fmla="*/ 0 w 835200"/>
                  <a:gd name="connsiteY34" fmla="*/ 986806 h 1973608"/>
                  <a:gd name="connsiteX35" fmla="*/ 0 w 835200"/>
                  <a:gd name="connsiteY35" fmla="*/ 986804 h 1973608"/>
                  <a:gd name="connsiteX36" fmla="*/ 0 w 835200"/>
                  <a:gd name="connsiteY36" fmla="*/ 789445 h 1973608"/>
                  <a:gd name="connsiteX37" fmla="*/ 0 w 835200"/>
                  <a:gd name="connsiteY37" fmla="*/ 789444 h 1973608"/>
                  <a:gd name="connsiteX38" fmla="*/ 0 w 835200"/>
                  <a:gd name="connsiteY38" fmla="*/ 592085 h 1973608"/>
                  <a:gd name="connsiteX39" fmla="*/ 0 w 835200"/>
                  <a:gd name="connsiteY39" fmla="*/ 592083 h 1973608"/>
                  <a:gd name="connsiteX40" fmla="*/ 0 w 835200"/>
                  <a:gd name="connsiteY40" fmla="*/ 394723 h 1973608"/>
                  <a:gd name="connsiteX41" fmla="*/ 0 w 835200"/>
                  <a:gd name="connsiteY41" fmla="*/ 197362 h 1973608"/>
                  <a:gd name="connsiteX42" fmla="*/ 0 w 835200"/>
                  <a:gd name="connsiteY42" fmla="*/ 197361 h 1973608"/>
                  <a:gd name="connsiteX0" fmla="*/ 0 w 835200"/>
                  <a:gd name="connsiteY0" fmla="*/ 197361 h 1973608"/>
                  <a:gd name="connsiteX1" fmla="*/ 417600 w 835200"/>
                  <a:gd name="connsiteY1" fmla="*/ 0 h 1973608"/>
                  <a:gd name="connsiteX2" fmla="*/ 835200 w 835200"/>
                  <a:gd name="connsiteY2" fmla="*/ 0 h 1973608"/>
                  <a:gd name="connsiteX3" fmla="*/ 835200 w 835200"/>
                  <a:gd name="connsiteY3" fmla="*/ 197361 h 1973608"/>
                  <a:gd name="connsiteX4" fmla="*/ 835200 w 835200"/>
                  <a:gd name="connsiteY4" fmla="*/ 197362 h 1973608"/>
                  <a:gd name="connsiteX5" fmla="*/ 835200 w 835200"/>
                  <a:gd name="connsiteY5" fmla="*/ 394723 h 1973608"/>
                  <a:gd name="connsiteX6" fmla="*/ 835200 w 835200"/>
                  <a:gd name="connsiteY6" fmla="*/ 592083 h 1973608"/>
                  <a:gd name="connsiteX7" fmla="*/ 835200 w 835200"/>
                  <a:gd name="connsiteY7" fmla="*/ 592085 h 1973608"/>
                  <a:gd name="connsiteX8" fmla="*/ 835200 w 835200"/>
                  <a:gd name="connsiteY8" fmla="*/ 789444 h 1973608"/>
                  <a:gd name="connsiteX9" fmla="*/ 835200 w 835200"/>
                  <a:gd name="connsiteY9" fmla="*/ 789445 h 1973608"/>
                  <a:gd name="connsiteX10" fmla="*/ 835200 w 835200"/>
                  <a:gd name="connsiteY10" fmla="*/ 986804 h 1973608"/>
                  <a:gd name="connsiteX11" fmla="*/ 835200 w 835200"/>
                  <a:gd name="connsiteY11" fmla="*/ 986806 h 1973608"/>
                  <a:gd name="connsiteX12" fmla="*/ 835200 w 835200"/>
                  <a:gd name="connsiteY12" fmla="*/ 1184165 h 1973608"/>
                  <a:gd name="connsiteX13" fmla="*/ 835200 w 835200"/>
                  <a:gd name="connsiteY13" fmla="*/ 1184166 h 1973608"/>
                  <a:gd name="connsiteX14" fmla="*/ 835200 w 835200"/>
                  <a:gd name="connsiteY14" fmla="*/ 1381525 h 1973608"/>
                  <a:gd name="connsiteX15" fmla="*/ 835200 w 835200"/>
                  <a:gd name="connsiteY15" fmla="*/ 1381527 h 1973608"/>
                  <a:gd name="connsiteX16" fmla="*/ 835200 w 835200"/>
                  <a:gd name="connsiteY16" fmla="*/ 1578886 h 1973608"/>
                  <a:gd name="connsiteX17" fmla="*/ 835200 w 835200"/>
                  <a:gd name="connsiteY17" fmla="*/ 1578887 h 1973608"/>
                  <a:gd name="connsiteX18" fmla="*/ 835200 w 835200"/>
                  <a:gd name="connsiteY18" fmla="*/ 1776246 h 1973608"/>
                  <a:gd name="connsiteX19" fmla="*/ 835200 w 835200"/>
                  <a:gd name="connsiteY19" fmla="*/ 1776248 h 1973608"/>
                  <a:gd name="connsiteX20" fmla="*/ 835200 w 835200"/>
                  <a:gd name="connsiteY20" fmla="*/ 1973608 h 1973608"/>
                  <a:gd name="connsiteX21" fmla="*/ 626400 w 835200"/>
                  <a:gd name="connsiteY21" fmla="*/ 1973608 h 1973608"/>
                  <a:gd name="connsiteX22" fmla="*/ 417600 w 835200"/>
                  <a:gd name="connsiteY22" fmla="*/ 1973608 h 1973608"/>
                  <a:gd name="connsiteX23" fmla="*/ 208800 w 835200"/>
                  <a:gd name="connsiteY23" fmla="*/ 1973608 h 1973608"/>
                  <a:gd name="connsiteX24" fmla="*/ 0 w 835200"/>
                  <a:gd name="connsiteY24" fmla="*/ 1973608 h 1973608"/>
                  <a:gd name="connsiteX25" fmla="*/ 0 w 835200"/>
                  <a:gd name="connsiteY25" fmla="*/ 1776248 h 1973608"/>
                  <a:gd name="connsiteX26" fmla="*/ 0 w 835200"/>
                  <a:gd name="connsiteY26" fmla="*/ 1776246 h 1973608"/>
                  <a:gd name="connsiteX27" fmla="*/ 0 w 835200"/>
                  <a:gd name="connsiteY27" fmla="*/ 1578887 h 1973608"/>
                  <a:gd name="connsiteX28" fmla="*/ 0 w 835200"/>
                  <a:gd name="connsiteY28" fmla="*/ 1578886 h 1973608"/>
                  <a:gd name="connsiteX29" fmla="*/ 0 w 835200"/>
                  <a:gd name="connsiteY29" fmla="*/ 1381527 h 1973608"/>
                  <a:gd name="connsiteX30" fmla="*/ 0 w 835200"/>
                  <a:gd name="connsiteY30" fmla="*/ 1381525 h 1973608"/>
                  <a:gd name="connsiteX31" fmla="*/ 0 w 835200"/>
                  <a:gd name="connsiteY31" fmla="*/ 1184166 h 1973608"/>
                  <a:gd name="connsiteX32" fmla="*/ 0 w 835200"/>
                  <a:gd name="connsiteY32" fmla="*/ 1184165 h 1973608"/>
                  <a:gd name="connsiteX33" fmla="*/ 0 w 835200"/>
                  <a:gd name="connsiteY33" fmla="*/ 986806 h 1973608"/>
                  <a:gd name="connsiteX34" fmla="*/ 0 w 835200"/>
                  <a:gd name="connsiteY34" fmla="*/ 986804 h 1973608"/>
                  <a:gd name="connsiteX35" fmla="*/ 0 w 835200"/>
                  <a:gd name="connsiteY35" fmla="*/ 789445 h 1973608"/>
                  <a:gd name="connsiteX36" fmla="*/ 0 w 835200"/>
                  <a:gd name="connsiteY36" fmla="*/ 789444 h 1973608"/>
                  <a:gd name="connsiteX37" fmla="*/ 0 w 835200"/>
                  <a:gd name="connsiteY37" fmla="*/ 592085 h 1973608"/>
                  <a:gd name="connsiteX38" fmla="*/ 0 w 835200"/>
                  <a:gd name="connsiteY38" fmla="*/ 592083 h 1973608"/>
                  <a:gd name="connsiteX39" fmla="*/ 0 w 835200"/>
                  <a:gd name="connsiteY39" fmla="*/ 394723 h 1973608"/>
                  <a:gd name="connsiteX40" fmla="*/ 0 w 835200"/>
                  <a:gd name="connsiteY40" fmla="*/ 197362 h 1973608"/>
                  <a:gd name="connsiteX41" fmla="*/ 0 w 835200"/>
                  <a:gd name="connsiteY41"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973608 h 1973608"/>
                  <a:gd name="connsiteX24" fmla="*/ 0 w 835200"/>
                  <a:gd name="connsiteY24" fmla="*/ 1776248 h 1973608"/>
                  <a:gd name="connsiteX25" fmla="*/ 0 w 835200"/>
                  <a:gd name="connsiteY25" fmla="*/ 1776246 h 1973608"/>
                  <a:gd name="connsiteX26" fmla="*/ 0 w 835200"/>
                  <a:gd name="connsiteY26" fmla="*/ 1578887 h 1973608"/>
                  <a:gd name="connsiteX27" fmla="*/ 0 w 835200"/>
                  <a:gd name="connsiteY27" fmla="*/ 1578886 h 1973608"/>
                  <a:gd name="connsiteX28" fmla="*/ 0 w 835200"/>
                  <a:gd name="connsiteY28" fmla="*/ 1381527 h 1973608"/>
                  <a:gd name="connsiteX29" fmla="*/ 0 w 835200"/>
                  <a:gd name="connsiteY29" fmla="*/ 1381525 h 1973608"/>
                  <a:gd name="connsiteX30" fmla="*/ 0 w 835200"/>
                  <a:gd name="connsiteY30" fmla="*/ 1184166 h 1973608"/>
                  <a:gd name="connsiteX31" fmla="*/ 0 w 835200"/>
                  <a:gd name="connsiteY31" fmla="*/ 1184165 h 1973608"/>
                  <a:gd name="connsiteX32" fmla="*/ 0 w 835200"/>
                  <a:gd name="connsiteY32" fmla="*/ 986806 h 1973608"/>
                  <a:gd name="connsiteX33" fmla="*/ 0 w 835200"/>
                  <a:gd name="connsiteY33" fmla="*/ 986804 h 1973608"/>
                  <a:gd name="connsiteX34" fmla="*/ 0 w 835200"/>
                  <a:gd name="connsiteY34" fmla="*/ 789445 h 1973608"/>
                  <a:gd name="connsiteX35" fmla="*/ 0 w 835200"/>
                  <a:gd name="connsiteY35" fmla="*/ 789444 h 1973608"/>
                  <a:gd name="connsiteX36" fmla="*/ 0 w 835200"/>
                  <a:gd name="connsiteY36" fmla="*/ 592085 h 1973608"/>
                  <a:gd name="connsiteX37" fmla="*/ 0 w 835200"/>
                  <a:gd name="connsiteY37" fmla="*/ 592083 h 1973608"/>
                  <a:gd name="connsiteX38" fmla="*/ 0 w 835200"/>
                  <a:gd name="connsiteY38" fmla="*/ 394723 h 1973608"/>
                  <a:gd name="connsiteX39" fmla="*/ 0 w 835200"/>
                  <a:gd name="connsiteY39" fmla="*/ 197362 h 1973608"/>
                  <a:gd name="connsiteX40" fmla="*/ 0 w 835200"/>
                  <a:gd name="connsiteY40"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776248 h 1973608"/>
                  <a:gd name="connsiteX24" fmla="*/ 0 w 835200"/>
                  <a:gd name="connsiteY24" fmla="*/ 1776246 h 1973608"/>
                  <a:gd name="connsiteX25" fmla="*/ 0 w 835200"/>
                  <a:gd name="connsiteY25" fmla="*/ 1578887 h 1973608"/>
                  <a:gd name="connsiteX26" fmla="*/ 0 w 835200"/>
                  <a:gd name="connsiteY26" fmla="*/ 1578886 h 1973608"/>
                  <a:gd name="connsiteX27" fmla="*/ 0 w 835200"/>
                  <a:gd name="connsiteY27" fmla="*/ 1381527 h 1973608"/>
                  <a:gd name="connsiteX28" fmla="*/ 0 w 835200"/>
                  <a:gd name="connsiteY28" fmla="*/ 1381525 h 1973608"/>
                  <a:gd name="connsiteX29" fmla="*/ 0 w 835200"/>
                  <a:gd name="connsiteY29" fmla="*/ 1184166 h 1973608"/>
                  <a:gd name="connsiteX30" fmla="*/ 0 w 835200"/>
                  <a:gd name="connsiteY30" fmla="*/ 1184165 h 1973608"/>
                  <a:gd name="connsiteX31" fmla="*/ 0 w 835200"/>
                  <a:gd name="connsiteY31" fmla="*/ 986806 h 1973608"/>
                  <a:gd name="connsiteX32" fmla="*/ 0 w 835200"/>
                  <a:gd name="connsiteY32" fmla="*/ 986804 h 1973608"/>
                  <a:gd name="connsiteX33" fmla="*/ 0 w 835200"/>
                  <a:gd name="connsiteY33" fmla="*/ 789445 h 1973608"/>
                  <a:gd name="connsiteX34" fmla="*/ 0 w 835200"/>
                  <a:gd name="connsiteY34" fmla="*/ 789444 h 1973608"/>
                  <a:gd name="connsiteX35" fmla="*/ 0 w 835200"/>
                  <a:gd name="connsiteY35" fmla="*/ 592085 h 1973608"/>
                  <a:gd name="connsiteX36" fmla="*/ 0 w 835200"/>
                  <a:gd name="connsiteY36" fmla="*/ 592083 h 1973608"/>
                  <a:gd name="connsiteX37" fmla="*/ 0 w 835200"/>
                  <a:gd name="connsiteY37" fmla="*/ 394723 h 1973608"/>
                  <a:gd name="connsiteX38" fmla="*/ 0 w 835200"/>
                  <a:gd name="connsiteY38" fmla="*/ 197362 h 1973608"/>
                  <a:gd name="connsiteX39" fmla="*/ 0 w 835200"/>
                  <a:gd name="connsiteY39"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0 w 835200"/>
                  <a:gd name="connsiteY22" fmla="*/ 1776248 h 1973608"/>
                  <a:gd name="connsiteX23" fmla="*/ 0 w 835200"/>
                  <a:gd name="connsiteY23" fmla="*/ 1776246 h 1973608"/>
                  <a:gd name="connsiteX24" fmla="*/ 0 w 835200"/>
                  <a:gd name="connsiteY24" fmla="*/ 1578887 h 1973608"/>
                  <a:gd name="connsiteX25" fmla="*/ 0 w 835200"/>
                  <a:gd name="connsiteY25" fmla="*/ 1578886 h 1973608"/>
                  <a:gd name="connsiteX26" fmla="*/ 0 w 835200"/>
                  <a:gd name="connsiteY26" fmla="*/ 1381527 h 1973608"/>
                  <a:gd name="connsiteX27" fmla="*/ 0 w 835200"/>
                  <a:gd name="connsiteY27" fmla="*/ 1381525 h 1973608"/>
                  <a:gd name="connsiteX28" fmla="*/ 0 w 835200"/>
                  <a:gd name="connsiteY28" fmla="*/ 1184166 h 1973608"/>
                  <a:gd name="connsiteX29" fmla="*/ 0 w 835200"/>
                  <a:gd name="connsiteY29" fmla="*/ 1184165 h 1973608"/>
                  <a:gd name="connsiteX30" fmla="*/ 0 w 835200"/>
                  <a:gd name="connsiteY30" fmla="*/ 986806 h 1973608"/>
                  <a:gd name="connsiteX31" fmla="*/ 0 w 835200"/>
                  <a:gd name="connsiteY31" fmla="*/ 986804 h 1973608"/>
                  <a:gd name="connsiteX32" fmla="*/ 0 w 835200"/>
                  <a:gd name="connsiteY32" fmla="*/ 789445 h 1973608"/>
                  <a:gd name="connsiteX33" fmla="*/ 0 w 835200"/>
                  <a:gd name="connsiteY33" fmla="*/ 789444 h 1973608"/>
                  <a:gd name="connsiteX34" fmla="*/ 0 w 835200"/>
                  <a:gd name="connsiteY34" fmla="*/ 592085 h 1973608"/>
                  <a:gd name="connsiteX35" fmla="*/ 0 w 835200"/>
                  <a:gd name="connsiteY35" fmla="*/ 592083 h 1973608"/>
                  <a:gd name="connsiteX36" fmla="*/ 0 w 835200"/>
                  <a:gd name="connsiteY36" fmla="*/ 394723 h 1973608"/>
                  <a:gd name="connsiteX37" fmla="*/ 0 w 835200"/>
                  <a:gd name="connsiteY37" fmla="*/ 197362 h 1973608"/>
                  <a:gd name="connsiteX38" fmla="*/ 0 w 835200"/>
                  <a:gd name="connsiteY38"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417600 w 835200"/>
                  <a:gd name="connsiteY20" fmla="*/ 1973608 h 1973608"/>
                  <a:gd name="connsiteX21" fmla="*/ 0 w 835200"/>
                  <a:gd name="connsiteY21" fmla="*/ 1776248 h 1973608"/>
                  <a:gd name="connsiteX22" fmla="*/ 0 w 835200"/>
                  <a:gd name="connsiteY22" fmla="*/ 1776246 h 1973608"/>
                  <a:gd name="connsiteX23" fmla="*/ 0 w 835200"/>
                  <a:gd name="connsiteY23" fmla="*/ 1578887 h 1973608"/>
                  <a:gd name="connsiteX24" fmla="*/ 0 w 835200"/>
                  <a:gd name="connsiteY24" fmla="*/ 1578886 h 1973608"/>
                  <a:gd name="connsiteX25" fmla="*/ 0 w 835200"/>
                  <a:gd name="connsiteY25" fmla="*/ 1381527 h 1973608"/>
                  <a:gd name="connsiteX26" fmla="*/ 0 w 835200"/>
                  <a:gd name="connsiteY26" fmla="*/ 1381525 h 1973608"/>
                  <a:gd name="connsiteX27" fmla="*/ 0 w 835200"/>
                  <a:gd name="connsiteY27" fmla="*/ 1184166 h 1973608"/>
                  <a:gd name="connsiteX28" fmla="*/ 0 w 835200"/>
                  <a:gd name="connsiteY28" fmla="*/ 1184165 h 1973608"/>
                  <a:gd name="connsiteX29" fmla="*/ 0 w 835200"/>
                  <a:gd name="connsiteY29" fmla="*/ 986806 h 1973608"/>
                  <a:gd name="connsiteX30" fmla="*/ 0 w 835200"/>
                  <a:gd name="connsiteY30" fmla="*/ 986804 h 1973608"/>
                  <a:gd name="connsiteX31" fmla="*/ 0 w 835200"/>
                  <a:gd name="connsiteY31" fmla="*/ 789445 h 1973608"/>
                  <a:gd name="connsiteX32" fmla="*/ 0 w 835200"/>
                  <a:gd name="connsiteY32" fmla="*/ 789444 h 1973608"/>
                  <a:gd name="connsiteX33" fmla="*/ 0 w 835200"/>
                  <a:gd name="connsiteY33" fmla="*/ 592085 h 1973608"/>
                  <a:gd name="connsiteX34" fmla="*/ 0 w 835200"/>
                  <a:gd name="connsiteY34" fmla="*/ 592083 h 1973608"/>
                  <a:gd name="connsiteX35" fmla="*/ 0 w 835200"/>
                  <a:gd name="connsiteY35" fmla="*/ 394723 h 1973608"/>
                  <a:gd name="connsiteX36" fmla="*/ 0 w 835200"/>
                  <a:gd name="connsiteY36" fmla="*/ 197362 h 1973608"/>
                  <a:gd name="connsiteX37" fmla="*/ 0 w 835200"/>
                  <a:gd name="connsiteY37"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417600 w 835200"/>
                  <a:gd name="connsiteY19" fmla="*/ 1973608 h 1973608"/>
                  <a:gd name="connsiteX20" fmla="*/ 0 w 835200"/>
                  <a:gd name="connsiteY20" fmla="*/ 1776248 h 1973608"/>
                  <a:gd name="connsiteX21" fmla="*/ 0 w 835200"/>
                  <a:gd name="connsiteY21" fmla="*/ 1776246 h 1973608"/>
                  <a:gd name="connsiteX22" fmla="*/ 0 w 835200"/>
                  <a:gd name="connsiteY22" fmla="*/ 1578887 h 1973608"/>
                  <a:gd name="connsiteX23" fmla="*/ 0 w 835200"/>
                  <a:gd name="connsiteY23" fmla="*/ 1578886 h 1973608"/>
                  <a:gd name="connsiteX24" fmla="*/ 0 w 835200"/>
                  <a:gd name="connsiteY24" fmla="*/ 1381527 h 1973608"/>
                  <a:gd name="connsiteX25" fmla="*/ 0 w 835200"/>
                  <a:gd name="connsiteY25" fmla="*/ 1381525 h 1973608"/>
                  <a:gd name="connsiteX26" fmla="*/ 0 w 835200"/>
                  <a:gd name="connsiteY26" fmla="*/ 1184166 h 1973608"/>
                  <a:gd name="connsiteX27" fmla="*/ 0 w 835200"/>
                  <a:gd name="connsiteY27" fmla="*/ 1184165 h 1973608"/>
                  <a:gd name="connsiteX28" fmla="*/ 0 w 835200"/>
                  <a:gd name="connsiteY28" fmla="*/ 986806 h 1973608"/>
                  <a:gd name="connsiteX29" fmla="*/ 0 w 835200"/>
                  <a:gd name="connsiteY29" fmla="*/ 986804 h 1973608"/>
                  <a:gd name="connsiteX30" fmla="*/ 0 w 835200"/>
                  <a:gd name="connsiteY30" fmla="*/ 789445 h 1973608"/>
                  <a:gd name="connsiteX31" fmla="*/ 0 w 835200"/>
                  <a:gd name="connsiteY31" fmla="*/ 789444 h 1973608"/>
                  <a:gd name="connsiteX32" fmla="*/ 0 w 835200"/>
                  <a:gd name="connsiteY32" fmla="*/ 592085 h 1973608"/>
                  <a:gd name="connsiteX33" fmla="*/ 0 w 835200"/>
                  <a:gd name="connsiteY33" fmla="*/ 592083 h 1973608"/>
                  <a:gd name="connsiteX34" fmla="*/ 0 w 835200"/>
                  <a:gd name="connsiteY34" fmla="*/ 394723 h 1973608"/>
                  <a:gd name="connsiteX35" fmla="*/ 0 w 835200"/>
                  <a:gd name="connsiteY35" fmla="*/ 197362 h 1973608"/>
                  <a:gd name="connsiteX36" fmla="*/ 0 w 835200"/>
                  <a:gd name="connsiteY36" fmla="*/ 197361 h 197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35200" h="1973608">
                    <a:moveTo>
                      <a:pt x="0" y="197361"/>
                    </a:moveTo>
                    <a:lnTo>
                      <a:pt x="417600" y="0"/>
                    </a:lnTo>
                    <a:lnTo>
                      <a:pt x="835200" y="197361"/>
                    </a:lnTo>
                    <a:lnTo>
                      <a:pt x="835200" y="197362"/>
                    </a:lnTo>
                    <a:lnTo>
                      <a:pt x="835200" y="394723"/>
                    </a:lnTo>
                    <a:lnTo>
                      <a:pt x="835200" y="592083"/>
                    </a:lnTo>
                    <a:lnTo>
                      <a:pt x="835200" y="592085"/>
                    </a:lnTo>
                    <a:lnTo>
                      <a:pt x="835200" y="789444"/>
                    </a:lnTo>
                    <a:lnTo>
                      <a:pt x="835200" y="789445"/>
                    </a:lnTo>
                    <a:lnTo>
                      <a:pt x="835200" y="986804"/>
                    </a:lnTo>
                    <a:lnTo>
                      <a:pt x="835200" y="986806"/>
                    </a:lnTo>
                    <a:lnTo>
                      <a:pt x="835200" y="1184165"/>
                    </a:lnTo>
                    <a:lnTo>
                      <a:pt x="835200" y="1184166"/>
                    </a:lnTo>
                    <a:lnTo>
                      <a:pt x="835200" y="1381525"/>
                    </a:lnTo>
                    <a:lnTo>
                      <a:pt x="835200" y="1381527"/>
                    </a:lnTo>
                    <a:lnTo>
                      <a:pt x="835200" y="1578886"/>
                    </a:lnTo>
                    <a:lnTo>
                      <a:pt x="835200" y="1578887"/>
                    </a:lnTo>
                    <a:lnTo>
                      <a:pt x="835200" y="1776246"/>
                    </a:lnTo>
                    <a:lnTo>
                      <a:pt x="835200" y="1776248"/>
                    </a:lnTo>
                    <a:lnTo>
                      <a:pt x="417600" y="1973608"/>
                    </a:lnTo>
                    <a:lnTo>
                      <a:pt x="0" y="1776248"/>
                    </a:lnTo>
                    <a:lnTo>
                      <a:pt x="0" y="1776246"/>
                    </a:lnTo>
                    <a:lnTo>
                      <a:pt x="0" y="1578887"/>
                    </a:lnTo>
                    <a:lnTo>
                      <a:pt x="0" y="1578886"/>
                    </a:lnTo>
                    <a:lnTo>
                      <a:pt x="0" y="1381527"/>
                    </a:lnTo>
                    <a:lnTo>
                      <a:pt x="0" y="1381525"/>
                    </a:lnTo>
                    <a:lnTo>
                      <a:pt x="0" y="1184166"/>
                    </a:lnTo>
                    <a:lnTo>
                      <a:pt x="0" y="1184165"/>
                    </a:lnTo>
                    <a:lnTo>
                      <a:pt x="0" y="986806"/>
                    </a:lnTo>
                    <a:lnTo>
                      <a:pt x="0" y="986804"/>
                    </a:lnTo>
                    <a:lnTo>
                      <a:pt x="0" y="789445"/>
                    </a:lnTo>
                    <a:lnTo>
                      <a:pt x="0" y="789444"/>
                    </a:lnTo>
                    <a:lnTo>
                      <a:pt x="0" y="592085"/>
                    </a:lnTo>
                    <a:lnTo>
                      <a:pt x="0" y="592083"/>
                    </a:lnTo>
                    <a:lnTo>
                      <a:pt x="0" y="394723"/>
                    </a:lnTo>
                    <a:lnTo>
                      <a:pt x="0" y="197362"/>
                    </a:lnTo>
                    <a:lnTo>
                      <a:pt x="0" y="197361"/>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spcBef>
                    <a:spcPts val="300"/>
                  </a:spcBef>
                  <a:buClr>
                    <a:srgbClr val="002897"/>
                  </a:buClr>
                  <a:buSzPct val="70000"/>
                </a:pPr>
                <a:endParaRPr lang="de-DE" sz="900" dirty="0">
                  <a:solidFill>
                    <a:schemeClr val="tx1"/>
                  </a:solidFill>
                </a:endParaRPr>
              </a:p>
            </p:txBody>
          </p:sp>
          <p:sp>
            <p:nvSpPr>
              <p:cNvPr id="2083" name="Rectangle 2082">
                <a:extLst>
                  <a:ext uri="{FF2B5EF4-FFF2-40B4-BE49-F238E27FC236}">
                    <a16:creationId xmlns:a16="http://schemas.microsoft.com/office/drawing/2014/main" id="{2E4EA708-2E59-463E-B225-8C7955970868}"/>
                  </a:ext>
                </a:extLst>
              </p:cNvPr>
              <p:cNvSpPr/>
              <p:nvPr/>
            </p:nvSpPr>
            <p:spPr bwMode="gray">
              <a:xfrm>
                <a:off x="8563235" y="-3916870"/>
                <a:ext cx="842400" cy="376088"/>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CO</a:t>
                </a:r>
                <a:r>
                  <a:rPr lang="de-DE" sz="900" baseline="-25000" dirty="0">
                    <a:solidFill>
                      <a:schemeClr val="tx1"/>
                    </a:solidFill>
                  </a:rPr>
                  <a:t>2</a:t>
                </a:r>
                <a:r>
                  <a:rPr lang="de-DE" sz="900" dirty="0">
                    <a:solidFill>
                      <a:schemeClr val="tx1"/>
                    </a:solidFill>
                  </a:rPr>
                  <a:t> </a:t>
                </a:r>
                <a:br>
                  <a:rPr lang="de-DE" sz="900" dirty="0">
                    <a:solidFill>
                      <a:schemeClr val="tx1"/>
                    </a:solidFill>
                  </a:rPr>
                </a:br>
                <a:r>
                  <a:rPr lang="de-DE" sz="900" dirty="0">
                    <a:solidFill>
                      <a:schemeClr val="tx1"/>
                    </a:solidFill>
                  </a:rPr>
                  <a:t>scrubber</a:t>
                </a:r>
              </a:p>
            </p:txBody>
          </p:sp>
        </p:grpSp>
        <p:grpSp>
          <p:nvGrpSpPr>
            <p:cNvPr id="2084" name="Group 2083">
              <a:extLst>
                <a:ext uri="{FF2B5EF4-FFF2-40B4-BE49-F238E27FC236}">
                  <a16:creationId xmlns:a16="http://schemas.microsoft.com/office/drawing/2014/main" id="{ED5AFDDD-FB68-4647-AD22-648D5871D8ED}"/>
                </a:ext>
              </a:extLst>
            </p:cNvPr>
            <p:cNvGrpSpPr/>
            <p:nvPr/>
          </p:nvGrpSpPr>
          <p:grpSpPr bwMode="gray">
            <a:xfrm>
              <a:off x="2811979" y="4677869"/>
              <a:ext cx="726038" cy="712902"/>
              <a:chOff x="3496037" y="4559133"/>
              <a:chExt cx="842400" cy="827159"/>
            </a:xfrm>
          </p:grpSpPr>
          <p:sp>
            <p:nvSpPr>
              <p:cNvPr id="2085" name="Rectangle 2084">
                <a:extLst>
                  <a:ext uri="{FF2B5EF4-FFF2-40B4-BE49-F238E27FC236}">
                    <a16:creationId xmlns:a16="http://schemas.microsoft.com/office/drawing/2014/main" id="{4137A154-8BE9-4EEA-88FC-0DBA53C163A9}"/>
                  </a:ext>
                </a:extLst>
              </p:cNvPr>
              <p:cNvSpPr/>
              <p:nvPr/>
            </p:nvSpPr>
            <p:spPr bwMode="gray">
              <a:xfrm>
                <a:off x="3496037" y="5221262"/>
                <a:ext cx="84240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Dehydrator</a:t>
                </a:r>
              </a:p>
            </p:txBody>
          </p:sp>
          <p:sp>
            <p:nvSpPr>
              <p:cNvPr id="2086" name="Rectangle: Rounded Corners 2085">
                <a:extLst>
                  <a:ext uri="{FF2B5EF4-FFF2-40B4-BE49-F238E27FC236}">
                    <a16:creationId xmlns:a16="http://schemas.microsoft.com/office/drawing/2014/main" id="{91F201D4-25FB-4C11-91D9-D76DE67515E5}"/>
                  </a:ext>
                </a:extLst>
              </p:cNvPr>
              <p:cNvSpPr/>
              <p:nvPr/>
            </p:nvSpPr>
            <p:spPr bwMode="gray">
              <a:xfrm rot="5400000">
                <a:off x="3587672" y="4734829"/>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900" dirty="0">
                  <a:solidFill>
                    <a:schemeClr val="tx1"/>
                  </a:solidFill>
                </a:endParaRPr>
              </a:p>
            </p:txBody>
          </p:sp>
        </p:grpSp>
        <p:grpSp>
          <p:nvGrpSpPr>
            <p:cNvPr id="2087" name="Group 2086">
              <a:extLst>
                <a:ext uri="{FF2B5EF4-FFF2-40B4-BE49-F238E27FC236}">
                  <a16:creationId xmlns:a16="http://schemas.microsoft.com/office/drawing/2014/main" id="{966CE85C-9931-446F-BD2F-44E67EF14D26}"/>
                </a:ext>
              </a:extLst>
            </p:cNvPr>
            <p:cNvGrpSpPr/>
            <p:nvPr/>
          </p:nvGrpSpPr>
          <p:grpSpPr bwMode="gray">
            <a:xfrm>
              <a:off x="4108469" y="4475161"/>
              <a:ext cx="362304" cy="411813"/>
              <a:chOff x="15525750" y="3407016"/>
              <a:chExt cx="420370" cy="477814"/>
            </a:xfrm>
          </p:grpSpPr>
          <p:sp>
            <p:nvSpPr>
              <p:cNvPr id="2088" name="Rectangle 2087">
                <a:extLst>
                  <a:ext uri="{FF2B5EF4-FFF2-40B4-BE49-F238E27FC236}">
                    <a16:creationId xmlns:a16="http://schemas.microsoft.com/office/drawing/2014/main" id="{961F8260-FC1E-47B6-BD8B-B1B4DE8CCD81}"/>
                  </a:ext>
                </a:extLst>
              </p:cNvPr>
              <p:cNvSpPr/>
              <p:nvPr/>
            </p:nvSpPr>
            <p:spPr bwMode="gray">
              <a:xfrm>
                <a:off x="15525750" y="3407016"/>
                <a:ext cx="420370" cy="310736"/>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cxnSp>
            <p:nvCxnSpPr>
              <p:cNvPr id="2089" name="Straight Connector 2088">
                <a:extLst>
                  <a:ext uri="{FF2B5EF4-FFF2-40B4-BE49-F238E27FC236}">
                    <a16:creationId xmlns:a16="http://schemas.microsoft.com/office/drawing/2014/main" id="{29536367-4B3E-482C-96DC-770617E9D644}"/>
                  </a:ext>
                </a:extLst>
              </p:cNvPr>
              <p:cNvCxnSpPr>
                <a:stCxn id="2088" idx="0"/>
                <a:endCxn id="2088" idx="2"/>
              </p:cNvCxnSpPr>
              <p:nvPr/>
            </p:nvCxnSpPr>
            <p:spPr bwMode="gray">
              <a:xfrm>
                <a:off x="15735935" y="3407016"/>
                <a:ext cx="0" cy="310736"/>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90" name="Rectangle 2089">
                <a:extLst>
                  <a:ext uri="{FF2B5EF4-FFF2-40B4-BE49-F238E27FC236}">
                    <a16:creationId xmlns:a16="http://schemas.microsoft.com/office/drawing/2014/main" id="{39A8EC71-E89D-4A31-8F39-6763A1D77097}"/>
                  </a:ext>
                </a:extLst>
              </p:cNvPr>
              <p:cNvSpPr/>
              <p:nvPr/>
            </p:nvSpPr>
            <p:spPr bwMode="gray">
              <a:xfrm>
                <a:off x="15539624" y="3717751"/>
                <a:ext cx="392623" cy="16707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COS filter</a:t>
                </a:r>
              </a:p>
            </p:txBody>
          </p:sp>
        </p:grpSp>
        <p:grpSp>
          <p:nvGrpSpPr>
            <p:cNvPr id="2091" name="Group 2090">
              <a:extLst>
                <a:ext uri="{FF2B5EF4-FFF2-40B4-BE49-F238E27FC236}">
                  <a16:creationId xmlns:a16="http://schemas.microsoft.com/office/drawing/2014/main" id="{504B6B66-DBD9-4F24-BADF-ED8C94840AB0}"/>
                </a:ext>
              </a:extLst>
            </p:cNvPr>
            <p:cNvGrpSpPr/>
            <p:nvPr/>
          </p:nvGrpSpPr>
          <p:grpSpPr bwMode="gray">
            <a:xfrm>
              <a:off x="959576" y="4729842"/>
              <a:ext cx="580720" cy="411813"/>
              <a:chOff x="15399039" y="3407016"/>
              <a:chExt cx="673792" cy="477814"/>
            </a:xfrm>
          </p:grpSpPr>
          <p:sp>
            <p:nvSpPr>
              <p:cNvPr id="2092" name="Rectangle 2091">
                <a:extLst>
                  <a:ext uri="{FF2B5EF4-FFF2-40B4-BE49-F238E27FC236}">
                    <a16:creationId xmlns:a16="http://schemas.microsoft.com/office/drawing/2014/main" id="{10207751-AF5A-4E25-86F3-CF302D5D0A2F}"/>
                  </a:ext>
                </a:extLst>
              </p:cNvPr>
              <p:cNvSpPr/>
              <p:nvPr/>
            </p:nvSpPr>
            <p:spPr bwMode="gray">
              <a:xfrm>
                <a:off x="15525750" y="3407016"/>
                <a:ext cx="420370" cy="310736"/>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cxnSp>
            <p:nvCxnSpPr>
              <p:cNvPr id="2093" name="Straight Connector 2092">
                <a:extLst>
                  <a:ext uri="{FF2B5EF4-FFF2-40B4-BE49-F238E27FC236}">
                    <a16:creationId xmlns:a16="http://schemas.microsoft.com/office/drawing/2014/main" id="{A54B4498-8EE5-4218-ABD6-465D772C2A79}"/>
                  </a:ext>
                </a:extLst>
              </p:cNvPr>
              <p:cNvCxnSpPr>
                <a:stCxn id="2092" idx="0"/>
                <a:endCxn id="2092" idx="2"/>
              </p:cNvCxnSpPr>
              <p:nvPr/>
            </p:nvCxnSpPr>
            <p:spPr bwMode="gray">
              <a:xfrm>
                <a:off x="15735935" y="3407016"/>
                <a:ext cx="0" cy="310736"/>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094" name="Rectangle 2093">
                <a:extLst>
                  <a:ext uri="{FF2B5EF4-FFF2-40B4-BE49-F238E27FC236}">
                    <a16:creationId xmlns:a16="http://schemas.microsoft.com/office/drawing/2014/main" id="{25B266F8-F341-424D-AE5B-1D213127548D}"/>
                  </a:ext>
                </a:extLst>
              </p:cNvPr>
              <p:cNvSpPr/>
              <p:nvPr/>
            </p:nvSpPr>
            <p:spPr bwMode="gray">
              <a:xfrm>
                <a:off x="15399039" y="3717751"/>
                <a:ext cx="673792" cy="167079"/>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H</a:t>
                </a:r>
                <a:r>
                  <a:rPr lang="de-DE" sz="900" baseline="-25000" dirty="0">
                    <a:solidFill>
                      <a:schemeClr val="tx1"/>
                    </a:solidFill>
                  </a:rPr>
                  <a:t>2</a:t>
                </a:r>
                <a:r>
                  <a:rPr lang="de-DE" sz="900" dirty="0">
                    <a:solidFill>
                      <a:schemeClr val="tx1"/>
                    </a:solidFill>
                  </a:rPr>
                  <a:t>S </a:t>
                </a:r>
              </a:p>
              <a:p>
                <a:pPr algn="ctr">
                  <a:spcBef>
                    <a:spcPts val="300"/>
                  </a:spcBef>
                  <a:buClr>
                    <a:srgbClr val="002897"/>
                  </a:buClr>
                  <a:buSzPct val="70000"/>
                </a:pPr>
                <a:r>
                  <a:rPr lang="de-DE" sz="900" dirty="0">
                    <a:solidFill>
                      <a:schemeClr val="tx1"/>
                    </a:solidFill>
                  </a:rPr>
                  <a:t>filter</a:t>
                </a:r>
              </a:p>
            </p:txBody>
          </p:sp>
        </p:grpSp>
        <p:grpSp>
          <p:nvGrpSpPr>
            <p:cNvPr id="2095" name="Group 2094">
              <a:extLst>
                <a:ext uri="{FF2B5EF4-FFF2-40B4-BE49-F238E27FC236}">
                  <a16:creationId xmlns:a16="http://schemas.microsoft.com/office/drawing/2014/main" id="{89A92B29-1190-47CE-A779-8A6401760D7C}"/>
                </a:ext>
              </a:extLst>
            </p:cNvPr>
            <p:cNvGrpSpPr/>
            <p:nvPr/>
          </p:nvGrpSpPr>
          <p:grpSpPr bwMode="gray">
            <a:xfrm>
              <a:off x="1412625" y="4174071"/>
              <a:ext cx="726038" cy="881554"/>
              <a:chOff x="8563235" y="-4578997"/>
              <a:chExt cx="842400" cy="1022840"/>
            </a:xfrm>
          </p:grpSpPr>
          <p:sp>
            <p:nvSpPr>
              <p:cNvPr id="2096" name="Freeform: Shape 2095">
                <a:extLst>
                  <a:ext uri="{FF2B5EF4-FFF2-40B4-BE49-F238E27FC236}">
                    <a16:creationId xmlns:a16="http://schemas.microsoft.com/office/drawing/2014/main" id="{9D3D934B-3696-4042-AEFE-936DF09E1ACD}"/>
                  </a:ext>
                </a:extLst>
              </p:cNvPr>
              <p:cNvSpPr/>
              <p:nvPr/>
            </p:nvSpPr>
            <p:spPr bwMode="gray">
              <a:xfrm flipH="1">
                <a:off x="8805760" y="-4578997"/>
                <a:ext cx="357350" cy="653391"/>
              </a:xfrm>
              <a:custGeom>
                <a:avLst/>
                <a:gdLst>
                  <a:gd name="connsiteX0" fmla="*/ 0 w 835200"/>
                  <a:gd name="connsiteY0" fmla="*/ 0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417600 w 835200"/>
                  <a:gd name="connsiteY1" fmla="*/ 0 h 1973608"/>
                  <a:gd name="connsiteX2" fmla="*/ 626400 w 835200"/>
                  <a:gd name="connsiteY2" fmla="*/ 0 h 1973608"/>
                  <a:gd name="connsiteX3" fmla="*/ 835200 w 835200"/>
                  <a:gd name="connsiteY3" fmla="*/ 0 h 1973608"/>
                  <a:gd name="connsiteX4" fmla="*/ 835200 w 835200"/>
                  <a:gd name="connsiteY4" fmla="*/ 197361 h 1973608"/>
                  <a:gd name="connsiteX5" fmla="*/ 835200 w 835200"/>
                  <a:gd name="connsiteY5" fmla="*/ 197362 h 1973608"/>
                  <a:gd name="connsiteX6" fmla="*/ 835200 w 835200"/>
                  <a:gd name="connsiteY6" fmla="*/ 394723 h 1973608"/>
                  <a:gd name="connsiteX7" fmla="*/ 835200 w 835200"/>
                  <a:gd name="connsiteY7" fmla="*/ 592083 h 1973608"/>
                  <a:gd name="connsiteX8" fmla="*/ 835200 w 835200"/>
                  <a:gd name="connsiteY8" fmla="*/ 592085 h 1973608"/>
                  <a:gd name="connsiteX9" fmla="*/ 835200 w 835200"/>
                  <a:gd name="connsiteY9" fmla="*/ 789444 h 1973608"/>
                  <a:gd name="connsiteX10" fmla="*/ 835200 w 835200"/>
                  <a:gd name="connsiteY10" fmla="*/ 789445 h 1973608"/>
                  <a:gd name="connsiteX11" fmla="*/ 835200 w 835200"/>
                  <a:gd name="connsiteY11" fmla="*/ 986804 h 1973608"/>
                  <a:gd name="connsiteX12" fmla="*/ 835200 w 835200"/>
                  <a:gd name="connsiteY12" fmla="*/ 986806 h 1973608"/>
                  <a:gd name="connsiteX13" fmla="*/ 835200 w 835200"/>
                  <a:gd name="connsiteY13" fmla="*/ 1184165 h 1973608"/>
                  <a:gd name="connsiteX14" fmla="*/ 835200 w 835200"/>
                  <a:gd name="connsiteY14" fmla="*/ 1184166 h 1973608"/>
                  <a:gd name="connsiteX15" fmla="*/ 835200 w 835200"/>
                  <a:gd name="connsiteY15" fmla="*/ 1381525 h 1973608"/>
                  <a:gd name="connsiteX16" fmla="*/ 835200 w 835200"/>
                  <a:gd name="connsiteY16" fmla="*/ 1381527 h 1973608"/>
                  <a:gd name="connsiteX17" fmla="*/ 835200 w 835200"/>
                  <a:gd name="connsiteY17" fmla="*/ 1578886 h 1973608"/>
                  <a:gd name="connsiteX18" fmla="*/ 835200 w 835200"/>
                  <a:gd name="connsiteY18" fmla="*/ 1578887 h 1973608"/>
                  <a:gd name="connsiteX19" fmla="*/ 835200 w 835200"/>
                  <a:gd name="connsiteY19" fmla="*/ 1776246 h 1973608"/>
                  <a:gd name="connsiteX20" fmla="*/ 835200 w 835200"/>
                  <a:gd name="connsiteY20" fmla="*/ 1776248 h 1973608"/>
                  <a:gd name="connsiteX21" fmla="*/ 835200 w 835200"/>
                  <a:gd name="connsiteY21" fmla="*/ 1973608 h 1973608"/>
                  <a:gd name="connsiteX22" fmla="*/ 626400 w 835200"/>
                  <a:gd name="connsiteY22" fmla="*/ 1973608 h 1973608"/>
                  <a:gd name="connsiteX23" fmla="*/ 417600 w 835200"/>
                  <a:gd name="connsiteY23" fmla="*/ 1973608 h 1973608"/>
                  <a:gd name="connsiteX24" fmla="*/ 208800 w 835200"/>
                  <a:gd name="connsiteY24" fmla="*/ 1973608 h 1973608"/>
                  <a:gd name="connsiteX25" fmla="*/ 0 w 835200"/>
                  <a:gd name="connsiteY25" fmla="*/ 1973608 h 1973608"/>
                  <a:gd name="connsiteX26" fmla="*/ 0 w 835200"/>
                  <a:gd name="connsiteY26" fmla="*/ 1776248 h 1973608"/>
                  <a:gd name="connsiteX27" fmla="*/ 0 w 835200"/>
                  <a:gd name="connsiteY27" fmla="*/ 1776246 h 1973608"/>
                  <a:gd name="connsiteX28" fmla="*/ 0 w 835200"/>
                  <a:gd name="connsiteY28" fmla="*/ 1578887 h 1973608"/>
                  <a:gd name="connsiteX29" fmla="*/ 0 w 835200"/>
                  <a:gd name="connsiteY29" fmla="*/ 1578886 h 1973608"/>
                  <a:gd name="connsiteX30" fmla="*/ 0 w 835200"/>
                  <a:gd name="connsiteY30" fmla="*/ 1381527 h 1973608"/>
                  <a:gd name="connsiteX31" fmla="*/ 0 w 835200"/>
                  <a:gd name="connsiteY31" fmla="*/ 1381525 h 1973608"/>
                  <a:gd name="connsiteX32" fmla="*/ 0 w 835200"/>
                  <a:gd name="connsiteY32" fmla="*/ 1184166 h 1973608"/>
                  <a:gd name="connsiteX33" fmla="*/ 0 w 835200"/>
                  <a:gd name="connsiteY33" fmla="*/ 1184165 h 1973608"/>
                  <a:gd name="connsiteX34" fmla="*/ 0 w 835200"/>
                  <a:gd name="connsiteY34" fmla="*/ 986806 h 1973608"/>
                  <a:gd name="connsiteX35" fmla="*/ 0 w 835200"/>
                  <a:gd name="connsiteY35" fmla="*/ 986804 h 1973608"/>
                  <a:gd name="connsiteX36" fmla="*/ 0 w 835200"/>
                  <a:gd name="connsiteY36" fmla="*/ 789445 h 1973608"/>
                  <a:gd name="connsiteX37" fmla="*/ 0 w 835200"/>
                  <a:gd name="connsiteY37" fmla="*/ 789444 h 1973608"/>
                  <a:gd name="connsiteX38" fmla="*/ 0 w 835200"/>
                  <a:gd name="connsiteY38" fmla="*/ 592085 h 1973608"/>
                  <a:gd name="connsiteX39" fmla="*/ 0 w 835200"/>
                  <a:gd name="connsiteY39" fmla="*/ 592083 h 1973608"/>
                  <a:gd name="connsiteX40" fmla="*/ 0 w 835200"/>
                  <a:gd name="connsiteY40" fmla="*/ 394723 h 1973608"/>
                  <a:gd name="connsiteX41" fmla="*/ 0 w 835200"/>
                  <a:gd name="connsiteY41" fmla="*/ 197362 h 1973608"/>
                  <a:gd name="connsiteX42" fmla="*/ 0 w 835200"/>
                  <a:gd name="connsiteY42" fmla="*/ 197361 h 1973608"/>
                  <a:gd name="connsiteX0" fmla="*/ 0 w 835200"/>
                  <a:gd name="connsiteY0" fmla="*/ 197361 h 1973608"/>
                  <a:gd name="connsiteX1" fmla="*/ 417600 w 835200"/>
                  <a:gd name="connsiteY1" fmla="*/ 0 h 1973608"/>
                  <a:gd name="connsiteX2" fmla="*/ 835200 w 835200"/>
                  <a:gd name="connsiteY2" fmla="*/ 0 h 1973608"/>
                  <a:gd name="connsiteX3" fmla="*/ 835200 w 835200"/>
                  <a:gd name="connsiteY3" fmla="*/ 197361 h 1973608"/>
                  <a:gd name="connsiteX4" fmla="*/ 835200 w 835200"/>
                  <a:gd name="connsiteY4" fmla="*/ 197362 h 1973608"/>
                  <a:gd name="connsiteX5" fmla="*/ 835200 w 835200"/>
                  <a:gd name="connsiteY5" fmla="*/ 394723 h 1973608"/>
                  <a:gd name="connsiteX6" fmla="*/ 835200 w 835200"/>
                  <a:gd name="connsiteY6" fmla="*/ 592083 h 1973608"/>
                  <a:gd name="connsiteX7" fmla="*/ 835200 w 835200"/>
                  <a:gd name="connsiteY7" fmla="*/ 592085 h 1973608"/>
                  <a:gd name="connsiteX8" fmla="*/ 835200 w 835200"/>
                  <a:gd name="connsiteY8" fmla="*/ 789444 h 1973608"/>
                  <a:gd name="connsiteX9" fmla="*/ 835200 w 835200"/>
                  <a:gd name="connsiteY9" fmla="*/ 789445 h 1973608"/>
                  <a:gd name="connsiteX10" fmla="*/ 835200 w 835200"/>
                  <a:gd name="connsiteY10" fmla="*/ 986804 h 1973608"/>
                  <a:gd name="connsiteX11" fmla="*/ 835200 w 835200"/>
                  <a:gd name="connsiteY11" fmla="*/ 986806 h 1973608"/>
                  <a:gd name="connsiteX12" fmla="*/ 835200 w 835200"/>
                  <a:gd name="connsiteY12" fmla="*/ 1184165 h 1973608"/>
                  <a:gd name="connsiteX13" fmla="*/ 835200 w 835200"/>
                  <a:gd name="connsiteY13" fmla="*/ 1184166 h 1973608"/>
                  <a:gd name="connsiteX14" fmla="*/ 835200 w 835200"/>
                  <a:gd name="connsiteY14" fmla="*/ 1381525 h 1973608"/>
                  <a:gd name="connsiteX15" fmla="*/ 835200 w 835200"/>
                  <a:gd name="connsiteY15" fmla="*/ 1381527 h 1973608"/>
                  <a:gd name="connsiteX16" fmla="*/ 835200 w 835200"/>
                  <a:gd name="connsiteY16" fmla="*/ 1578886 h 1973608"/>
                  <a:gd name="connsiteX17" fmla="*/ 835200 w 835200"/>
                  <a:gd name="connsiteY17" fmla="*/ 1578887 h 1973608"/>
                  <a:gd name="connsiteX18" fmla="*/ 835200 w 835200"/>
                  <a:gd name="connsiteY18" fmla="*/ 1776246 h 1973608"/>
                  <a:gd name="connsiteX19" fmla="*/ 835200 w 835200"/>
                  <a:gd name="connsiteY19" fmla="*/ 1776248 h 1973608"/>
                  <a:gd name="connsiteX20" fmla="*/ 835200 w 835200"/>
                  <a:gd name="connsiteY20" fmla="*/ 1973608 h 1973608"/>
                  <a:gd name="connsiteX21" fmla="*/ 626400 w 835200"/>
                  <a:gd name="connsiteY21" fmla="*/ 1973608 h 1973608"/>
                  <a:gd name="connsiteX22" fmla="*/ 417600 w 835200"/>
                  <a:gd name="connsiteY22" fmla="*/ 1973608 h 1973608"/>
                  <a:gd name="connsiteX23" fmla="*/ 208800 w 835200"/>
                  <a:gd name="connsiteY23" fmla="*/ 1973608 h 1973608"/>
                  <a:gd name="connsiteX24" fmla="*/ 0 w 835200"/>
                  <a:gd name="connsiteY24" fmla="*/ 1973608 h 1973608"/>
                  <a:gd name="connsiteX25" fmla="*/ 0 w 835200"/>
                  <a:gd name="connsiteY25" fmla="*/ 1776248 h 1973608"/>
                  <a:gd name="connsiteX26" fmla="*/ 0 w 835200"/>
                  <a:gd name="connsiteY26" fmla="*/ 1776246 h 1973608"/>
                  <a:gd name="connsiteX27" fmla="*/ 0 w 835200"/>
                  <a:gd name="connsiteY27" fmla="*/ 1578887 h 1973608"/>
                  <a:gd name="connsiteX28" fmla="*/ 0 w 835200"/>
                  <a:gd name="connsiteY28" fmla="*/ 1578886 h 1973608"/>
                  <a:gd name="connsiteX29" fmla="*/ 0 w 835200"/>
                  <a:gd name="connsiteY29" fmla="*/ 1381527 h 1973608"/>
                  <a:gd name="connsiteX30" fmla="*/ 0 w 835200"/>
                  <a:gd name="connsiteY30" fmla="*/ 1381525 h 1973608"/>
                  <a:gd name="connsiteX31" fmla="*/ 0 w 835200"/>
                  <a:gd name="connsiteY31" fmla="*/ 1184166 h 1973608"/>
                  <a:gd name="connsiteX32" fmla="*/ 0 w 835200"/>
                  <a:gd name="connsiteY32" fmla="*/ 1184165 h 1973608"/>
                  <a:gd name="connsiteX33" fmla="*/ 0 w 835200"/>
                  <a:gd name="connsiteY33" fmla="*/ 986806 h 1973608"/>
                  <a:gd name="connsiteX34" fmla="*/ 0 w 835200"/>
                  <a:gd name="connsiteY34" fmla="*/ 986804 h 1973608"/>
                  <a:gd name="connsiteX35" fmla="*/ 0 w 835200"/>
                  <a:gd name="connsiteY35" fmla="*/ 789445 h 1973608"/>
                  <a:gd name="connsiteX36" fmla="*/ 0 w 835200"/>
                  <a:gd name="connsiteY36" fmla="*/ 789444 h 1973608"/>
                  <a:gd name="connsiteX37" fmla="*/ 0 w 835200"/>
                  <a:gd name="connsiteY37" fmla="*/ 592085 h 1973608"/>
                  <a:gd name="connsiteX38" fmla="*/ 0 w 835200"/>
                  <a:gd name="connsiteY38" fmla="*/ 592083 h 1973608"/>
                  <a:gd name="connsiteX39" fmla="*/ 0 w 835200"/>
                  <a:gd name="connsiteY39" fmla="*/ 394723 h 1973608"/>
                  <a:gd name="connsiteX40" fmla="*/ 0 w 835200"/>
                  <a:gd name="connsiteY40" fmla="*/ 197362 h 1973608"/>
                  <a:gd name="connsiteX41" fmla="*/ 0 w 835200"/>
                  <a:gd name="connsiteY41"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973608 h 1973608"/>
                  <a:gd name="connsiteX24" fmla="*/ 0 w 835200"/>
                  <a:gd name="connsiteY24" fmla="*/ 1776248 h 1973608"/>
                  <a:gd name="connsiteX25" fmla="*/ 0 w 835200"/>
                  <a:gd name="connsiteY25" fmla="*/ 1776246 h 1973608"/>
                  <a:gd name="connsiteX26" fmla="*/ 0 w 835200"/>
                  <a:gd name="connsiteY26" fmla="*/ 1578887 h 1973608"/>
                  <a:gd name="connsiteX27" fmla="*/ 0 w 835200"/>
                  <a:gd name="connsiteY27" fmla="*/ 1578886 h 1973608"/>
                  <a:gd name="connsiteX28" fmla="*/ 0 w 835200"/>
                  <a:gd name="connsiteY28" fmla="*/ 1381527 h 1973608"/>
                  <a:gd name="connsiteX29" fmla="*/ 0 w 835200"/>
                  <a:gd name="connsiteY29" fmla="*/ 1381525 h 1973608"/>
                  <a:gd name="connsiteX30" fmla="*/ 0 w 835200"/>
                  <a:gd name="connsiteY30" fmla="*/ 1184166 h 1973608"/>
                  <a:gd name="connsiteX31" fmla="*/ 0 w 835200"/>
                  <a:gd name="connsiteY31" fmla="*/ 1184165 h 1973608"/>
                  <a:gd name="connsiteX32" fmla="*/ 0 w 835200"/>
                  <a:gd name="connsiteY32" fmla="*/ 986806 h 1973608"/>
                  <a:gd name="connsiteX33" fmla="*/ 0 w 835200"/>
                  <a:gd name="connsiteY33" fmla="*/ 986804 h 1973608"/>
                  <a:gd name="connsiteX34" fmla="*/ 0 w 835200"/>
                  <a:gd name="connsiteY34" fmla="*/ 789445 h 1973608"/>
                  <a:gd name="connsiteX35" fmla="*/ 0 w 835200"/>
                  <a:gd name="connsiteY35" fmla="*/ 789444 h 1973608"/>
                  <a:gd name="connsiteX36" fmla="*/ 0 w 835200"/>
                  <a:gd name="connsiteY36" fmla="*/ 592085 h 1973608"/>
                  <a:gd name="connsiteX37" fmla="*/ 0 w 835200"/>
                  <a:gd name="connsiteY37" fmla="*/ 592083 h 1973608"/>
                  <a:gd name="connsiteX38" fmla="*/ 0 w 835200"/>
                  <a:gd name="connsiteY38" fmla="*/ 394723 h 1973608"/>
                  <a:gd name="connsiteX39" fmla="*/ 0 w 835200"/>
                  <a:gd name="connsiteY39" fmla="*/ 197362 h 1973608"/>
                  <a:gd name="connsiteX40" fmla="*/ 0 w 835200"/>
                  <a:gd name="connsiteY40"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776248 h 1973608"/>
                  <a:gd name="connsiteX24" fmla="*/ 0 w 835200"/>
                  <a:gd name="connsiteY24" fmla="*/ 1776246 h 1973608"/>
                  <a:gd name="connsiteX25" fmla="*/ 0 w 835200"/>
                  <a:gd name="connsiteY25" fmla="*/ 1578887 h 1973608"/>
                  <a:gd name="connsiteX26" fmla="*/ 0 w 835200"/>
                  <a:gd name="connsiteY26" fmla="*/ 1578886 h 1973608"/>
                  <a:gd name="connsiteX27" fmla="*/ 0 w 835200"/>
                  <a:gd name="connsiteY27" fmla="*/ 1381527 h 1973608"/>
                  <a:gd name="connsiteX28" fmla="*/ 0 w 835200"/>
                  <a:gd name="connsiteY28" fmla="*/ 1381525 h 1973608"/>
                  <a:gd name="connsiteX29" fmla="*/ 0 w 835200"/>
                  <a:gd name="connsiteY29" fmla="*/ 1184166 h 1973608"/>
                  <a:gd name="connsiteX30" fmla="*/ 0 w 835200"/>
                  <a:gd name="connsiteY30" fmla="*/ 1184165 h 1973608"/>
                  <a:gd name="connsiteX31" fmla="*/ 0 w 835200"/>
                  <a:gd name="connsiteY31" fmla="*/ 986806 h 1973608"/>
                  <a:gd name="connsiteX32" fmla="*/ 0 w 835200"/>
                  <a:gd name="connsiteY32" fmla="*/ 986804 h 1973608"/>
                  <a:gd name="connsiteX33" fmla="*/ 0 w 835200"/>
                  <a:gd name="connsiteY33" fmla="*/ 789445 h 1973608"/>
                  <a:gd name="connsiteX34" fmla="*/ 0 w 835200"/>
                  <a:gd name="connsiteY34" fmla="*/ 789444 h 1973608"/>
                  <a:gd name="connsiteX35" fmla="*/ 0 w 835200"/>
                  <a:gd name="connsiteY35" fmla="*/ 592085 h 1973608"/>
                  <a:gd name="connsiteX36" fmla="*/ 0 w 835200"/>
                  <a:gd name="connsiteY36" fmla="*/ 592083 h 1973608"/>
                  <a:gd name="connsiteX37" fmla="*/ 0 w 835200"/>
                  <a:gd name="connsiteY37" fmla="*/ 394723 h 1973608"/>
                  <a:gd name="connsiteX38" fmla="*/ 0 w 835200"/>
                  <a:gd name="connsiteY38" fmla="*/ 197362 h 1973608"/>
                  <a:gd name="connsiteX39" fmla="*/ 0 w 835200"/>
                  <a:gd name="connsiteY39"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0 w 835200"/>
                  <a:gd name="connsiteY22" fmla="*/ 1776248 h 1973608"/>
                  <a:gd name="connsiteX23" fmla="*/ 0 w 835200"/>
                  <a:gd name="connsiteY23" fmla="*/ 1776246 h 1973608"/>
                  <a:gd name="connsiteX24" fmla="*/ 0 w 835200"/>
                  <a:gd name="connsiteY24" fmla="*/ 1578887 h 1973608"/>
                  <a:gd name="connsiteX25" fmla="*/ 0 w 835200"/>
                  <a:gd name="connsiteY25" fmla="*/ 1578886 h 1973608"/>
                  <a:gd name="connsiteX26" fmla="*/ 0 w 835200"/>
                  <a:gd name="connsiteY26" fmla="*/ 1381527 h 1973608"/>
                  <a:gd name="connsiteX27" fmla="*/ 0 w 835200"/>
                  <a:gd name="connsiteY27" fmla="*/ 1381525 h 1973608"/>
                  <a:gd name="connsiteX28" fmla="*/ 0 w 835200"/>
                  <a:gd name="connsiteY28" fmla="*/ 1184166 h 1973608"/>
                  <a:gd name="connsiteX29" fmla="*/ 0 w 835200"/>
                  <a:gd name="connsiteY29" fmla="*/ 1184165 h 1973608"/>
                  <a:gd name="connsiteX30" fmla="*/ 0 w 835200"/>
                  <a:gd name="connsiteY30" fmla="*/ 986806 h 1973608"/>
                  <a:gd name="connsiteX31" fmla="*/ 0 w 835200"/>
                  <a:gd name="connsiteY31" fmla="*/ 986804 h 1973608"/>
                  <a:gd name="connsiteX32" fmla="*/ 0 w 835200"/>
                  <a:gd name="connsiteY32" fmla="*/ 789445 h 1973608"/>
                  <a:gd name="connsiteX33" fmla="*/ 0 w 835200"/>
                  <a:gd name="connsiteY33" fmla="*/ 789444 h 1973608"/>
                  <a:gd name="connsiteX34" fmla="*/ 0 w 835200"/>
                  <a:gd name="connsiteY34" fmla="*/ 592085 h 1973608"/>
                  <a:gd name="connsiteX35" fmla="*/ 0 w 835200"/>
                  <a:gd name="connsiteY35" fmla="*/ 592083 h 1973608"/>
                  <a:gd name="connsiteX36" fmla="*/ 0 w 835200"/>
                  <a:gd name="connsiteY36" fmla="*/ 394723 h 1973608"/>
                  <a:gd name="connsiteX37" fmla="*/ 0 w 835200"/>
                  <a:gd name="connsiteY37" fmla="*/ 197362 h 1973608"/>
                  <a:gd name="connsiteX38" fmla="*/ 0 w 835200"/>
                  <a:gd name="connsiteY38"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417600 w 835200"/>
                  <a:gd name="connsiteY20" fmla="*/ 1973608 h 1973608"/>
                  <a:gd name="connsiteX21" fmla="*/ 0 w 835200"/>
                  <a:gd name="connsiteY21" fmla="*/ 1776248 h 1973608"/>
                  <a:gd name="connsiteX22" fmla="*/ 0 w 835200"/>
                  <a:gd name="connsiteY22" fmla="*/ 1776246 h 1973608"/>
                  <a:gd name="connsiteX23" fmla="*/ 0 w 835200"/>
                  <a:gd name="connsiteY23" fmla="*/ 1578887 h 1973608"/>
                  <a:gd name="connsiteX24" fmla="*/ 0 w 835200"/>
                  <a:gd name="connsiteY24" fmla="*/ 1578886 h 1973608"/>
                  <a:gd name="connsiteX25" fmla="*/ 0 w 835200"/>
                  <a:gd name="connsiteY25" fmla="*/ 1381527 h 1973608"/>
                  <a:gd name="connsiteX26" fmla="*/ 0 w 835200"/>
                  <a:gd name="connsiteY26" fmla="*/ 1381525 h 1973608"/>
                  <a:gd name="connsiteX27" fmla="*/ 0 w 835200"/>
                  <a:gd name="connsiteY27" fmla="*/ 1184166 h 1973608"/>
                  <a:gd name="connsiteX28" fmla="*/ 0 w 835200"/>
                  <a:gd name="connsiteY28" fmla="*/ 1184165 h 1973608"/>
                  <a:gd name="connsiteX29" fmla="*/ 0 w 835200"/>
                  <a:gd name="connsiteY29" fmla="*/ 986806 h 1973608"/>
                  <a:gd name="connsiteX30" fmla="*/ 0 w 835200"/>
                  <a:gd name="connsiteY30" fmla="*/ 986804 h 1973608"/>
                  <a:gd name="connsiteX31" fmla="*/ 0 w 835200"/>
                  <a:gd name="connsiteY31" fmla="*/ 789445 h 1973608"/>
                  <a:gd name="connsiteX32" fmla="*/ 0 w 835200"/>
                  <a:gd name="connsiteY32" fmla="*/ 789444 h 1973608"/>
                  <a:gd name="connsiteX33" fmla="*/ 0 w 835200"/>
                  <a:gd name="connsiteY33" fmla="*/ 592085 h 1973608"/>
                  <a:gd name="connsiteX34" fmla="*/ 0 w 835200"/>
                  <a:gd name="connsiteY34" fmla="*/ 592083 h 1973608"/>
                  <a:gd name="connsiteX35" fmla="*/ 0 w 835200"/>
                  <a:gd name="connsiteY35" fmla="*/ 394723 h 1973608"/>
                  <a:gd name="connsiteX36" fmla="*/ 0 w 835200"/>
                  <a:gd name="connsiteY36" fmla="*/ 197362 h 1973608"/>
                  <a:gd name="connsiteX37" fmla="*/ 0 w 835200"/>
                  <a:gd name="connsiteY37"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417600 w 835200"/>
                  <a:gd name="connsiteY19" fmla="*/ 1973608 h 1973608"/>
                  <a:gd name="connsiteX20" fmla="*/ 0 w 835200"/>
                  <a:gd name="connsiteY20" fmla="*/ 1776248 h 1973608"/>
                  <a:gd name="connsiteX21" fmla="*/ 0 w 835200"/>
                  <a:gd name="connsiteY21" fmla="*/ 1776246 h 1973608"/>
                  <a:gd name="connsiteX22" fmla="*/ 0 w 835200"/>
                  <a:gd name="connsiteY22" fmla="*/ 1578887 h 1973608"/>
                  <a:gd name="connsiteX23" fmla="*/ 0 w 835200"/>
                  <a:gd name="connsiteY23" fmla="*/ 1578886 h 1973608"/>
                  <a:gd name="connsiteX24" fmla="*/ 0 w 835200"/>
                  <a:gd name="connsiteY24" fmla="*/ 1381527 h 1973608"/>
                  <a:gd name="connsiteX25" fmla="*/ 0 w 835200"/>
                  <a:gd name="connsiteY25" fmla="*/ 1381525 h 1973608"/>
                  <a:gd name="connsiteX26" fmla="*/ 0 w 835200"/>
                  <a:gd name="connsiteY26" fmla="*/ 1184166 h 1973608"/>
                  <a:gd name="connsiteX27" fmla="*/ 0 w 835200"/>
                  <a:gd name="connsiteY27" fmla="*/ 1184165 h 1973608"/>
                  <a:gd name="connsiteX28" fmla="*/ 0 w 835200"/>
                  <a:gd name="connsiteY28" fmla="*/ 986806 h 1973608"/>
                  <a:gd name="connsiteX29" fmla="*/ 0 w 835200"/>
                  <a:gd name="connsiteY29" fmla="*/ 986804 h 1973608"/>
                  <a:gd name="connsiteX30" fmla="*/ 0 w 835200"/>
                  <a:gd name="connsiteY30" fmla="*/ 789445 h 1973608"/>
                  <a:gd name="connsiteX31" fmla="*/ 0 w 835200"/>
                  <a:gd name="connsiteY31" fmla="*/ 789444 h 1973608"/>
                  <a:gd name="connsiteX32" fmla="*/ 0 w 835200"/>
                  <a:gd name="connsiteY32" fmla="*/ 592085 h 1973608"/>
                  <a:gd name="connsiteX33" fmla="*/ 0 w 835200"/>
                  <a:gd name="connsiteY33" fmla="*/ 592083 h 1973608"/>
                  <a:gd name="connsiteX34" fmla="*/ 0 w 835200"/>
                  <a:gd name="connsiteY34" fmla="*/ 394723 h 1973608"/>
                  <a:gd name="connsiteX35" fmla="*/ 0 w 835200"/>
                  <a:gd name="connsiteY35" fmla="*/ 197362 h 1973608"/>
                  <a:gd name="connsiteX36" fmla="*/ 0 w 835200"/>
                  <a:gd name="connsiteY36" fmla="*/ 197361 h 197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35200" h="1973608">
                    <a:moveTo>
                      <a:pt x="0" y="197361"/>
                    </a:moveTo>
                    <a:lnTo>
                      <a:pt x="417600" y="0"/>
                    </a:lnTo>
                    <a:lnTo>
                      <a:pt x="835200" y="197361"/>
                    </a:lnTo>
                    <a:lnTo>
                      <a:pt x="835200" y="197362"/>
                    </a:lnTo>
                    <a:lnTo>
                      <a:pt x="835200" y="394723"/>
                    </a:lnTo>
                    <a:lnTo>
                      <a:pt x="835200" y="592083"/>
                    </a:lnTo>
                    <a:lnTo>
                      <a:pt x="835200" y="592085"/>
                    </a:lnTo>
                    <a:lnTo>
                      <a:pt x="835200" y="789444"/>
                    </a:lnTo>
                    <a:lnTo>
                      <a:pt x="835200" y="789445"/>
                    </a:lnTo>
                    <a:lnTo>
                      <a:pt x="835200" y="986804"/>
                    </a:lnTo>
                    <a:lnTo>
                      <a:pt x="835200" y="986806"/>
                    </a:lnTo>
                    <a:lnTo>
                      <a:pt x="835200" y="1184165"/>
                    </a:lnTo>
                    <a:lnTo>
                      <a:pt x="835200" y="1184166"/>
                    </a:lnTo>
                    <a:lnTo>
                      <a:pt x="835200" y="1381525"/>
                    </a:lnTo>
                    <a:lnTo>
                      <a:pt x="835200" y="1381527"/>
                    </a:lnTo>
                    <a:lnTo>
                      <a:pt x="835200" y="1578886"/>
                    </a:lnTo>
                    <a:lnTo>
                      <a:pt x="835200" y="1578887"/>
                    </a:lnTo>
                    <a:lnTo>
                      <a:pt x="835200" y="1776246"/>
                    </a:lnTo>
                    <a:lnTo>
                      <a:pt x="835200" y="1776248"/>
                    </a:lnTo>
                    <a:lnTo>
                      <a:pt x="417600" y="1973608"/>
                    </a:lnTo>
                    <a:lnTo>
                      <a:pt x="0" y="1776248"/>
                    </a:lnTo>
                    <a:lnTo>
                      <a:pt x="0" y="1776246"/>
                    </a:lnTo>
                    <a:lnTo>
                      <a:pt x="0" y="1578887"/>
                    </a:lnTo>
                    <a:lnTo>
                      <a:pt x="0" y="1578886"/>
                    </a:lnTo>
                    <a:lnTo>
                      <a:pt x="0" y="1381527"/>
                    </a:lnTo>
                    <a:lnTo>
                      <a:pt x="0" y="1381525"/>
                    </a:lnTo>
                    <a:lnTo>
                      <a:pt x="0" y="1184166"/>
                    </a:lnTo>
                    <a:lnTo>
                      <a:pt x="0" y="1184165"/>
                    </a:lnTo>
                    <a:lnTo>
                      <a:pt x="0" y="986806"/>
                    </a:lnTo>
                    <a:lnTo>
                      <a:pt x="0" y="986804"/>
                    </a:lnTo>
                    <a:lnTo>
                      <a:pt x="0" y="789445"/>
                    </a:lnTo>
                    <a:lnTo>
                      <a:pt x="0" y="789444"/>
                    </a:lnTo>
                    <a:lnTo>
                      <a:pt x="0" y="592085"/>
                    </a:lnTo>
                    <a:lnTo>
                      <a:pt x="0" y="592083"/>
                    </a:lnTo>
                    <a:lnTo>
                      <a:pt x="0" y="394723"/>
                    </a:lnTo>
                    <a:lnTo>
                      <a:pt x="0" y="197362"/>
                    </a:lnTo>
                    <a:lnTo>
                      <a:pt x="0" y="197361"/>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spcBef>
                    <a:spcPts val="300"/>
                  </a:spcBef>
                  <a:buClr>
                    <a:srgbClr val="002897"/>
                  </a:buClr>
                  <a:buSzPct val="70000"/>
                </a:pPr>
                <a:endParaRPr lang="de-DE" sz="900" dirty="0">
                  <a:solidFill>
                    <a:schemeClr val="tx1"/>
                  </a:solidFill>
                </a:endParaRPr>
              </a:p>
            </p:txBody>
          </p:sp>
          <p:sp>
            <p:nvSpPr>
              <p:cNvPr id="2097" name="Rectangle 2096">
                <a:extLst>
                  <a:ext uri="{FF2B5EF4-FFF2-40B4-BE49-F238E27FC236}">
                    <a16:creationId xmlns:a16="http://schemas.microsoft.com/office/drawing/2014/main" id="{DA6AA37C-4FF7-4F1B-80DC-F12E4EFF8C09}"/>
                  </a:ext>
                </a:extLst>
              </p:cNvPr>
              <p:cNvSpPr/>
              <p:nvPr/>
            </p:nvSpPr>
            <p:spPr bwMode="gray">
              <a:xfrm>
                <a:off x="8563235" y="-3916870"/>
                <a:ext cx="842400" cy="36071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Water  scrubber</a:t>
                </a:r>
              </a:p>
            </p:txBody>
          </p:sp>
        </p:grpSp>
        <p:grpSp>
          <p:nvGrpSpPr>
            <p:cNvPr id="2098" name="Group 2097">
              <a:extLst>
                <a:ext uri="{FF2B5EF4-FFF2-40B4-BE49-F238E27FC236}">
                  <a16:creationId xmlns:a16="http://schemas.microsoft.com/office/drawing/2014/main" id="{1B92C2A6-63EA-45C7-9493-A58DC80F2671}"/>
                </a:ext>
              </a:extLst>
            </p:cNvPr>
            <p:cNvGrpSpPr/>
            <p:nvPr/>
          </p:nvGrpSpPr>
          <p:grpSpPr bwMode="gray">
            <a:xfrm>
              <a:off x="337316" y="4677869"/>
              <a:ext cx="533678" cy="712902"/>
              <a:chOff x="3607632" y="4559133"/>
              <a:chExt cx="619210" cy="827159"/>
            </a:xfrm>
          </p:grpSpPr>
          <p:sp>
            <p:nvSpPr>
              <p:cNvPr id="2099" name="Rectangle 2098">
                <a:extLst>
                  <a:ext uri="{FF2B5EF4-FFF2-40B4-BE49-F238E27FC236}">
                    <a16:creationId xmlns:a16="http://schemas.microsoft.com/office/drawing/2014/main" id="{2F263293-C5EF-4A53-9052-67CCD042886C}"/>
                  </a:ext>
                </a:extLst>
              </p:cNvPr>
              <p:cNvSpPr/>
              <p:nvPr/>
            </p:nvSpPr>
            <p:spPr bwMode="gray">
              <a:xfrm>
                <a:off x="3607632" y="5221262"/>
                <a:ext cx="61921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Booster </a:t>
                </a:r>
                <a:br>
                  <a:rPr lang="de-DE" sz="900" dirty="0">
                    <a:solidFill>
                      <a:schemeClr val="tx1"/>
                    </a:solidFill>
                  </a:rPr>
                </a:br>
                <a:r>
                  <a:rPr lang="de-DE" sz="900" dirty="0">
                    <a:solidFill>
                      <a:schemeClr val="tx1"/>
                    </a:solidFill>
                  </a:rPr>
                  <a:t>blower</a:t>
                </a:r>
              </a:p>
            </p:txBody>
          </p:sp>
          <p:sp>
            <p:nvSpPr>
              <p:cNvPr id="2100" name="Rectangle: Rounded Corners 2099">
                <a:extLst>
                  <a:ext uri="{FF2B5EF4-FFF2-40B4-BE49-F238E27FC236}">
                    <a16:creationId xmlns:a16="http://schemas.microsoft.com/office/drawing/2014/main" id="{AC7D5D06-10C2-4B35-8BBC-0D78800BDE23}"/>
                  </a:ext>
                </a:extLst>
              </p:cNvPr>
              <p:cNvSpPr/>
              <p:nvPr/>
            </p:nvSpPr>
            <p:spPr bwMode="gray">
              <a:xfrm rot="5400000">
                <a:off x="3587672" y="4734829"/>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900" dirty="0">
                  <a:solidFill>
                    <a:schemeClr val="tx1"/>
                  </a:solidFill>
                </a:endParaRPr>
              </a:p>
            </p:txBody>
          </p:sp>
        </p:grpSp>
        <p:grpSp>
          <p:nvGrpSpPr>
            <p:cNvPr id="2101" name="Group 2100">
              <a:extLst>
                <a:ext uri="{FF2B5EF4-FFF2-40B4-BE49-F238E27FC236}">
                  <a16:creationId xmlns:a16="http://schemas.microsoft.com/office/drawing/2014/main" id="{78EBDDB5-228E-459A-AC49-64B6636A325B}"/>
                </a:ext>
              </a:extLst>
            </p:cNvPr>
            <p:cNvGrpSpPr/>
            <p:nvPr/>
          </p:nvGrpSpPr>
          <p:grpSpPr bwMode="gray">
            <a:xfrm>
              <a:off x="710099" y="4371041"/>
              <a:ext cx="156746" cy="157322"/>
              <a:chOff x="2708647" y="2940860"/>
              <a:chExt cx="309600" cy="310736"/>
            </a:xfrm>
          </p:grpSpPr>
          <p:sp>
            <p:nvSpPr>
              <p:cNvPr id="2102" name="Oval 2101">
                <a:extLst>
                  <a:ext uri="{FF2B5EF4-FFF2-40B4-BE49-F238E27FC236}">
                    <a16:creationId xmlns:a16="http://schemas.microsoft.com/office/drawing/2014/main" id="{5E6F7777-9B68-4497-AAFB-9BC5F9A7A570}"/>
                  </a:ext>
                </a:extLst>
              </p:cNvPr>
              <p:cNvSpPr/>
              <p:nvPr/>
            </p:nvSpPr>
            <p:spPr bwMode="gray">
              <a:xfrm flipH="1">
                <a:off x="2708647" y="2940860"/>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2103" name="Trapezoid 729">
                <a:extLst>
                  <a:ext uri="{FF2B5EF4-FFF2-40B4-BE49-F238E27FC236}">
                    <a16:creationId xmlns:a16="http://schemas.microsoft.com/office/drawing/2014/main" id="{8FCE25B2-C112-413B-950E-B340898B0334}"/>
                  </a:ext>
                </a:extLst>
              </p:cNvPr>
              <p:cNvSpPr/>
              <p:nvPr/>
            </p:nvSpPr>
            <p:spPr bwMode="gray">
              <a:xfrm rot="5400000">
                <a:off x="2850527" y="2898689"/>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sp>
            <p:nvSpPr>
              <p:cNvPr id="2104" name="Trapezoid 729">
                <a:extLst>
                  <a:ext uri="{FF2B5EF4-FFF2-40B4-BE49-F238E27FC236}">
                    <a16:creationId xmlns:a16="http://schemas.microsoft.com/office/drawing/2014/main" id="{122A0509-3DEC-47A1-8562-3FA76ECD77D9}"/>
                  </a:ext>
                </a:extLst>
              </p:cNvPr>
              <p:cNvSpPr/>
              <p:nvPr/>
            </p:nvSpPr>
            <p:spPr bwMode="gray">
              <a:xfrm rot="16200000" flipV="1">
                <a:off x="2850527" y="3032782"/>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grpSp>
        <p:grpSp>
          <p:nvGrpSpPr>
            <p:cNvPr id="2108" name="Group 2107">
              <a:extLst>
                <a:ext uri="{FF2B5EF4-FFF2-40B4-BE49-F238E27FC236}">
                  <a16:creationId xmlns:a16="http://schemas.microsoft.com/office/drawing/2014/main" id="{CCD47EBC-F5EF-409B-851E-CEAFEEE815D1}"/>
                </a:ext>
              </a:extLst>
            </p:cNvPr>
            <p:cNvGrpSpPr/>
            <p:nvPr/>
          </p:nvGrpSpPr>
          <p:grpSpPr bwMode="gray">
            <a:xfrm>
              <a:off x="5405671" y="3980720"/>
              <a:ext cx="156746" cy="157322"/>
              <a:chOff x="2882249" y="5029996"/>
              <a:chExt cx="309600" cy="310736"/>
            </a:xfrm>
          </p:grpSpPr>
          <p:sp>
            <p:nvSpPr>
              <p:cNvPr id="2109" name="Oval 2108">
                <a:extLst>
                  <a:ext uri="{FF2B5EF4-FFF2-40B4-BE49-F238E27FC236}">
                    <a16:creationId xmlns:a16="http://schemas.microsoft.com/office/drawing/2014/main" id="{57C8EB51-72F9-4FC3-8362-1F1FFB992229}"/>
                  </a:ext>
                </a:extLst>
              </p:cNvPr>
              <p:cNvSpPr/>
              <p:nvPr/>
            </p:nvSpPr>
            <p:spPr bwMode="gray">
              <a:xfrm flipH="1">
                <a:off x="2882249" y="5029996"/>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2110" name="Freeform: Shape 2109">
                <a:extLst>
                  <a:ext uri="{FF2B5EF4-FFF2-40B4-BE49-F238E27FC236}">
                    <a16:creationId xmlns:a16="http://schemas.microsoft.com/office/drawing/2014/main" id="{375FC54A-8BAD-44DF-BBF6-AD5038B3D5F2}"/>
                  </a:ext>
                </a:extLst>
              </p:cNvPr>
              <p:cNvSpPr/>
              <p:nvPr/>
            </p:nvSpPr>
            <p:spPr bwMode="gray">
              <a:xfrm rot="5400000">
                <a:off x="2944530" y="5077710"/>
                <a:ext cx="128873" cy="215306"/>
              </a:xfrm>
              <a:custGeom>
                <a:avLst/>
                <a:gdLst>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67715 w 128873"/>
                  <a:gd name="connsiteY4" fmla="*/ 5651 h 243834"/>
                  <a:gd name="connsiteX5" fmla="*/ 128873 w 128873"/>
                  <a:gd name="connsiteY5" fmla="*/ 5651 h 243834"/>
                  <a:gd name="connsiteX6" fmla="*/ 128873 w 128873"/>
                  <a:gd name="connsiteY6" fmla="*/ 243834 h 243834"/>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128873 w 128873"/>
                  <a:gd name="connsiteY4" fmla="*/ 5651 h 243834"/>
                  <a:gd name="connsiteX5" fmla="*/ 128873 w 128873"/>
                  <a:gd name="connsiteY5" fmla="*/ 243834 h 243834"/>
                  <a:gd name="connsiteX6" fmla="*/ 0 w 128873"/>
                  <a:gd name="connsiteY6" fmla="*/ 243834 h 243834"/>
                  <a:gd name="connsiteX0" fmla="*/ 0 w 128873"/>
                  <a:gd name="connsiteY0" fmla="*/ 238183 h 238183"/>
                  <a:gd name="connsiteX1" fmla="*/ 0 w 128873"/>
                  <a:gd name="connsiteY1" fmla="*/ 0 h 238183"/>
                  <a:gd name="connsiteX2" fmla="*/ 61160 w 128873"/>
                  <a:gd name="connsiteY2" fmla="*/ 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40289"/>
                  <a:gd name="connsiteX1" fmla="*/ 0 w 128873"/>
                  <a:gd name="connsiteY1" fmla="*/ 0 h 240289"/>
                  <a:gd name="connsiteX2" fmla="*/ 63065 w 128873"/>
                  <a:gd name="connsiteY2" fmla="*/ 87630 h 240289"/>
                  <a:gd name="connsiteX3" fmla="*/ 128873 w 128873"/>
                  <a:gd name="connsiteY3" fmla="*/ 0 h 240289"/>
                  <a:gd name="connsiteX4" fmla="*/ 128873 w 128873"/>
                  <a:gd name="connsiteY4" fmla="*/ 238183 h 240289"/>
                  <a:gd name="connsiteX5" fmla="*/ 56864 w 128873"/>
                  <a:gd name="connsiteY5" fmla="*/ 240289 h 240289"/>
                  <a:gd name="connsiteX6" fmla="*/ 0 w 128873"/>
                  <a:gd name="connsiteY6" fmla="*/ 238183 h 240289"/>
                  <a:gd name="connsiteX0" fmla="*/ 56864 w 148304"/>
                  <a:gd name="connsiteY0" fmla="*/ 240289 h 341445"/>
                  <a:gd name="connsiteX1" fmla="*/ 0 w 148304"/>
                  <a:gd name="connsiteY1" fmla="*/ 238183 h 341445"/>
                  <a:gd name="connsiteX2" fmla="*/ 0 w 148304"/>
                  <a:gd name="connsiteY2" fmla="*/ 0 h 341445"/>
                  <a:gd name="connsiteX3" fmla="*/ 63065 w 148304"/>
                  <a:gd name="connsiteY3" fmla="*/ 87630 h 341445"/>
                  <a:gd name="connsiteX4" fmla="*/ 128873 w 148304"/>
                  <a:gd name="connsiteY4" fmla="*/ 0 h 341445"/>
                  <a:gd name="connsiteX5" fmla="*/ 128873 w 148304"/>
                  <a:gd name="connsiteY5" fmla="*/ 238183 h 341445"/>
                  <a:gd name="connsiteX6" fmla="*/ 148304 w 148304"/>
                  <a:gd name="connsiteY6" fmla="*/ 341445 h 341445"/>
                  <a:gd name="connsiteX0" fmla="*/ 0 w 148304"/>
                  <a:gd name="connsiteY0" fmla="*/ 238183 h 341445"/>
                  <a:gd name="connsiteX1" fmla="*/ 0 w 148304"/>
                  <a:gd name="connsiteY1" fmla="*/ 0 h 341445"/>
                  <a:gd name="connsiteX2" fmla="*/ 63065 w 148304"/>
                  <a:gd name="connsiteY2" fmla="*/ 87630 h 341445"/>
                  <a:gd name="connsiteX3" fmla="*/ 128873 w 148304"/>
                  <a:gd name="connsiteY3" fmla="*/ 0 h 341445"/>
                  <a:gd name="connsiteX4" fmla="*/ 128873 w 148304"/>
                  <a:gd name="connsiteY4" fmla="*/ 238183 h 341445"/>
                  <a:gd name="connsiteX5" fmla="*/ 148304 w 148304"/>
                  <a:gd name="connsiteY5" fmla="*/ 341445 h 341445"/>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73" h="238183">
                    <a:moveTo>
                      <a:pt x="0" y="238183"/>
                    </a:moveTo>
                    <a:lnTo>
                      <a:pt x="0" y="0"/>
                    </a:lnTo>
                    <a:lnTo>
                      <a:pt x="63065" y="87630"/>
                    </a:lnTo>
                    <a:lnTo>
                      <a:pt x="128873" y="0"/>
                    </a:lnTo>
                    <a:lnTo>
                      <a:pt x="128873" y="238183"/>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err="1">
                  <a:solidFill>
                    <a:schemeClr val="tx1"/>
                  </a:solidFill>
                </a:endParaRPr>
              </a:p>
            </p:txBody>
          </p:sp>
        </p:grpSp>
        <p:grpSp>
          <p:nvGrpSpPr>
            <p:cNvPr id="2141" name="Group 2140">
              <a:extLst>
                <a:ext uri="{FF2B5EF4-FFF2-40B4-BE49-F238E27FC236}">
                  <a16:creationId xmlns:a16="http://schemas.microsoft.com/office/drawing/2014/main" id="{A02D54A3-109F-4713-A856-7B16EE3D258A}"/>
                </a:ext>
              </a:extLst>
            </p:cNvPr>
            <p:cNvGrpSpPr/>
            <p:nvPr/>
          </p:nvGrpSpPr>
          <p:grpSpPr bwMode="gray">
            <a:xfrm>
              <a:off x="2089318" y="4173662"/>
              <a:ext cx="727302" cy="593941"/>
              <a:chOff x="2165239" y="5019676"/>
              <a:chExt cx="727302" cy="593941"/>
            </a:xfrm>
          </p:grpSpPr>
          <p:sp>
            <p:nvSpPr>
              <p:cNvPr id="2112" name="Trapezoid 2111">
                <a:extLst>
                  <a:ext uri="{FF2B5EF4-FFF2-40B4-BE49-F238E27FC236}">
                    <a16:creationId xmlns:a16="http://schemas.microsoft.com/office/drawing/2014/main" id="{4E404954-9ABF-4CD3-B0EC-1CD436C6EA35}"/>
                  </a:ext>
                </a:extLst>
              </p:cNvPr>
              <p:cNvSpPr/>
              <p:nvPr/>
            </p:nvSpPr>
            <p:spPr bwMode="gray">
              <a:xfrm rot="5400000">
                <a:off x="2394984" y="5050249"/>
                <a:ext cx="267812" cy="206665"/>
              </a:xfrm>
              <a:prstGeom prst="trapezoid">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err="1">
                  <a:solidFill>
                    <a:schemeClr val="tx1"/>
                  </a:solidFill>
                </a:endParaRPr>
              </a:p>
            </p:txBody>
          </p:sp>
          <p:sp>
            <p:nvSpPr>
              <p:cNvPr id="2113" name="Rectangle 2112">
                <a:extLst>
                  <a:ext uri="{FF2B5EF4-FFF2-40B4-BE49-F238E27FC236}">
                    <a16:creationId xmlns:a16="http://schemas.microsoft.com/office/drawing/2014/main" id="{2E85C33A-FA4F-4783-ACA8-20A7BBB45CD7}"/>
                  </a:ext>
                </a:extLst>
              </p:cNvPr>
              <p:cNvSpPr/>
              <p:nvPr/>
            </p:nvSpPr>
            <p:spPr bwMode="gray">
              <a:xfrm>
                <a:off x="2165239" y="5287487"/>
                <a:ext cx="727302" cy="3261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900" dirty="0">
                    <a:solidFill>
                      <a:schemeClr val="tx1"/>
                    </a:solidFill>
                  </a:rPr>
                  <a:t>CO</a:t>
                </a:r>
                <a:r>
                  <a:rPr lang="de-DE" sz="900" baseline="-25000" dirty="0">
                    <a:solidFill>
                      <a:schemeClr val="tx1"/>
                    </a:solidFill>
                  </a:rPr>
                  <a:t>2</a:t>
                </a:r>
                <a:br>
                  <a:rPr lang="de-DE" sz="900" dirty="0">
                    <a:solidFill>
                      <a:schemeClr val="tx1"/>
                    </a:solidFill>
                  </a:rPr>
                </a:br>
                <a:r>
                  <a:rPr lang="de-DE" sz="900" dirty="0">
                    <a:solidFill>
                      <a:schemeClr val="tx1"/>
                    </a:solidFill>
                  </a:rPr>
                  <a:t>compressor</a:t>
                </a:r>
              </a:p>
            </p:txBody>
          </p:sp>
        </p:grpSp>
        <p:grpSp>
          <p:nvGrpSpPr>
            <p:cNvPr id="2114" name="Group 2113">
              <a:extLst>
                <a:ext uri="{FF2B5EF4-FFF2-40B4-BE49-F238E27FC236}">
                  <a16:creationId xmlns:a16="http://schemas.microsoft.com/office/drawing/2014/main" id="{B886E5C5-7B65-4EF9-A149-F8220FEA6239}"/>
                </a:ext>
              </a:extLst>
            </p:cNvPr>
            <p:cNvGrpSpPr/>
            <p:nvPr/>
          </p:nvGrpSpPr>
          <p:grpSpPr bwMode="gray">
            <a:xfrm flipH="1">
              <a:off x="4204919" y="5282760"/>
              <a:ext cx="156746" cy="157322"/>
              <a:chOff x="2708647" y="2940860"/>
              <a:chExt cx="309600" cy="310736"/>
            </a:xfrm>
          </p:grpSpPr>
          <p:sp>
            <p:nvSpPr>
              <p:cNvPr id="2115" name="Oval 2114">
                <a:extLst>
                  <a:ext uri="{FF2B5EF4-FFF2-40B4-BE49-F238E27FC236}">
                    <a16:creationId xmlns:a16="http://schemas.microsoft.com/office/drawing/2014/main" id="{02D56FB0-DFA6-45A6-9F82-31AC56749F72}"/>
                  </a:ext>
                </a:extLst>
              </p:cNvPr>
              <p:cNvSpPr/>
              <p:nvPr/>
            </p:nvSpPr>
            <p:spPr bwMode="gray">
              <a:xfrm flipH="1">
                <a:off x="2708647" y="2940860"/>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2116" name="Trapezoid 729">
                <a:extLst>
                  <a:ext uri="{FF2B5EF4-FFF2-40B4-BE49-F238E27FC236}">
                    <a16:creationId xmlns:a16="http://schemas.microsoft.com/office/drawing/2014/main" id="{73539D39-F3C2-4843-B3EF-4E2EA1240759}"/>
                  </a:ext>
                </a:extLst>
              </p:cNvPr>
              <p:cNvSpPr/>
              <p:nvPr/>
            </p:nvSpPr>
            <p:spPr bwMode="gray">
              <a:xfrm rot="5400000">
                <a:off x="2850527" y="2898689"/>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sp>
            <p:nvSpPr>
              <p:cNvPr id="2117" name="Trapezoid 729">
                <a:extLst>
                  <a:ext uri="{FF2B5EF4-FFF2-40B4-BE49-F238E27FC236}">
                    <a16:creationId xmlns:a16="http://schemas.microsoft.com/office/drawing/2014/main" id="{829F12AD-0681-41DD-BB40-43E50FB833AC}"/>
                  </a:ext>
                </a:extLst>
              </p:cNvPr>
              <p:cNvSpPr/>
              <p:nvPr/>
            </p:nvSpPr>
            <p:spPr bwMode="gray">
              <a:xfrm rot="16200000" flipV="1">
                <a:off x="2850527" y="3032782"/>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grpSp>
        <p:cxnSp>
          <p:nvCxnSpPr>
            <p:cNvPr id="2119" name="Connector: Elbow 2118">
              <a:extLst>
                <a:ext uri="{FF2B5EF4-FFF2-40B4-BE49-F238E27FC236}">
                  <a16:creationId xmlns:a16="http://schemas.microsoft.com/office/drawing/2014/main" id="{690E7BEE-033D-4804-BE44-1228B5AB9DBD}"/>
                </a:ext>
              </a:extLst>
            </p:cNvPr>
            <p:cNvCxnSpPr>
              <a:cxnSpLocks/>
              <a:stCxn id="2100" idx="1"/>
              <a:endCxn id="2102" idx="6"/>
            </p:cNvCxnSpPr>
            <p:nvPr/>
          </p:nvCxnSpPr>
          <p:spPr bwMode="gray">
            <a:xfrm rot="5400000" flipH="1" flipV="1">
              <a:off x="543043" y="4510814"/>
              <a:ext cx="228168" cy="105944"/>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21" name="Connector: Elbow 2120">
              <a:extLst>
                <a:ext uri="{FF2B5EF4-FFF2-40B4-BE49-F238E27FC236}">
                  <a16:creationId xmlns:a16="http://schemas.microsoft.com/office/drawing/2014/main" id="{619DD172-75A8-444B-9970-F09A248471C6}"/>
                </a:ext>
              </a:extLst>
            </p:cNvPr>
            <p:cNvCxnSpPr>
              <a:cxnSpLocks/>
              <a:stCxn id="2092" idx="3"/>
              <a:endCxn id="2096" idx="10"/>
            </p:cNvCxnSpPr>
            <p:nvPr/>
          </p:nvCxnSpPr>
          <p:spPr bwMode="gray">
            <a:xfrm flipV="1">
              <a:off x="1431088" y="4455640"/>
              <a:ext cx="190562" cy="408109"/>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24" name="Connector: Elbow 2123">
              <a:extLst>
                <a:ext uri="{FF2B5EF4-FFF2-40B4-BE49-F238E27FC236}">
                  <a16:creationId xmlns:a16="http://schemas.microsoft.com/office/drawing/2014/main" id="{FF7A8482-3420-40F8-855F-C3BF4CB78851}"/>
                </a:ext>
              </a:extLst>
            </p:cNvPr>
            <p:cNvCxnSpPr>
              <a:cxnSpLocks/>
              <a:stCxn id="2136" idx="6"/>
              <a:endCxn id="2086" idx="2"/>
            </p:cNvCxnSpPr>
            <p:nvPr/>
          </p:nvCxnSpPr>
          <p:spPr bwMode="gray">
            <a:xfrm>
              <a:off x="2821863" y="4307567"/>
              <a:ext cx="220520" cy="654345"/>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2135" name="Group 2134">
              <a:extLst>
                <a:ext uri="{FF2B5EF4-FFF2-40B4-BE49-F238E27FC236}">
                  <a16:creationId xmlns:a16="http://schemas.microsoft.com/office/drawing/2014/main" id="{CD1390DD-9D42-442E-93F5-57B14FDEF1E5}"/>
                </a:ext>
              </a:extLst>
            </p:cNvPr>
            <p:cNvGrpSpPr/>
            <p:nvPr/>
          </p:nvGrpSpPr>
          <p:grpSpPr bwMode="gray">
            <a:xfrm>
              <a:off x="2665117" y="4228906"/>
              <a:ext cx="156746" cy="157322"/>
              <a:chOff x="13731031" y="3811749"/>
              <a:chExt cx="309600" cy="310736"/>
            </a:xfrm>
          </p:grpSpPr>
          <p:sp>
            <p:nvSpPr>
              <p:cNvPr id="2136" name="Oval 2135">
                <a:extLst>
                  <a:ext uri="{FF2B5EF4-FFF2-40B4-BE49-F238E27FC236}">
                    <a16:creationId xmlns:a16="http://schemas.microsoft.com/office/drawing/2014/main" id="{BB813B24-E0CF-43F7-B267-42948D41372D}"/>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2137" name="Freeform: Shape 2136">
                <a:extLst>
                  <a:ext uri="{FF2B5EF4-FFF2-40B4-BE49-F238E27FC236}">
                    <a16:creationId xmlns:a16="http://schemas.microsoft.com/office/drawing/2014/main" id="{20B04D8F-E4C3-47C2-AB3B-7C42E677AA65}"/>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a:solidFill>
                    <a:schemeClr val="tx1"/>
                  </a:solidFill>
                </a:endParaRPr>
              </a:p>
            </p:txBody>
          </p:sp>
        </p:grpSp>
        <p:cxnSp>
          <p:nvCxnSpPr>
            <p:cNvPr id="2140" name="Straight Connector 2139">
              <a:extLst>
                <a:ext uri="{FF2B5EF4-FFF2-40B4-BE49-F238E27FC236}">
                  <a16:creationId xmlns:a16="http://schemas.microsoft.com/office/drawing/2014/main" id="{A5A0E6A8-AE59-41EF-BE47-BCE67BC7F58D}"/>
                </a:ext>
              </a:extLst>
            </p:cNvPr>
            <p:cNvCxnSpPr>
              <a:stCxn id="2132" idx="2"/>
              <a:endCxn id="2112" idx="2"/>
            </p:cNvCxnSpPr>
            <p:nvPr/>
          </p:nvCxnSpPr>
          <p:spPr bwMode="gray">
            <a:xfrm>
              <a:off x="2264166" y="4307567"/>
              <a:ext cx="85471" cy="1"/>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44" name="Straight Connector 2143">
              <a:extLst>
                <a:ext uri="{FF2B5EF4-FFF2-40B4-BE49-F238E27FC236}">
                  <a16:creationId xmlns:a16="http://schemas.microsoft.com/office/drawing/2014/main" id="{3FD40424-C25E-412F-98AD-6FC56298DBB7}"/>
                </a:ext>
              </a:extLst>
            </p:cNvPr>
            <p:cNvCxnSpPr>
              <a:stCxn id="2112" idx="0"/>
              <a:endCxn id="2137" idx="0"/>
            </p:cNvCxnSpPr>
            <p:nvPr/>
          </p:nvCxnSpPr>
          <p:spPr bwMode="gray">
            <a:xfrm flipV="1">
              <a:off x="2556302" y="4305987"/>
              <a:ext cx="108815" cy="1581"/>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48" name="Connector: Elbow 2147">
              <a:extLst>
                <a:ext uri="{FF2B5EF4-FFF2-40B4-BE49-F238E27FC236}">
                  <a16:creationId xmlns:a16="http://schemas.microsoft.com/office/drawing/2014/main" id="{423396B2-A3AD-4A3F-ADA0-3655B8833930}"/>
                </a:ext>
              </a:extLst>
            </p:cNvPr>
            <p:cNvCxnSpPr>
              <a:stCxn id="2086" idx="0"/>
              <a:endCxn id="2082" idx="13"/>
            </p:cNvCxnSpPr>
            <p:nvPr/>
          </p:nvCxnSpPr>
          <p:spPr bwMode="gray">
            <a:xfrm flipV="1">
              <a:off x="3307613" y="4568267"/>
              <a:ext cx="298644" cy="393645"/>
            </a:xfrm>
            <a:prstGeom prst="bentConnector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50" name="Connector: Elbow 2149">
              <a:extLst>
                <a:ext uri="{FF2B5EF4-FFF2-40B4-BE49-F238E27FC236}">
                  <a16:creationId xmlns:a16="http://schemas.microsoft.com/office/drawing/2014/main" id="{325FE8D4-E284-4866-BD0A-3AA66C2AC950}"/>
                </a:ext>
              </a:extLst>
            </p:cNvPr>
            <p:cNvCxnSpPr>
              <a:stCxn id="2128" idx="0"/>
              <a:endCxn id="2132" idx="6"/>
            </p:cNvCxnSpPr>
            <p:nvPr/>
          </p:nvCxnSpPr>
          <p:spPr bwMode="gray">
            <a:xfrm rot="16200000" flipH="1">
              <a:off x="1874783" y="4074931"/>
              <a:ext cx="133497" cy="331775"/>
            </a:xfrm>
            <a:prstGeom prst="bentConnector4">
              <a:avLst>
                <a:gd name="adj1" fmla="val -171240"/>
                <a:gd name="adj2" fmla="val 53445"/>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54" name="Connector: Elbow 2153">
              <a:extLst>
                <a:ext uri="{FF2B5EF4-FFF2-40B4-BE49-F238E27FC236}">
                  <a16:creationId xmlns:a16="http://schemas.microsoft.com/office/drawing/2014/main" id="{20370234-77C9-41D3-BD6F-F8ED53C9995B}"/>
                </a:ext>
              </a:extLst>
            </p:cNvPr>
            <p:cNvCxnSpPr>
              <a:cxnSpLocks/>
              <a:stCxn id="2152" idx="0"/>
              <a:endCxn id="2088" idx="1"/>
            </p:cNvCxnSpPr>
            <p:nvPr/>
          </p:nvCxnSpPr>
          <p:spPr bwMode="gray">
            <a:xfrm rot="16200000" flipH="1">
              <a:off x="3716861" y="4217461"/>
              <a:ext cx="434998" cy="348217"/>
            </a:xfrm>
            <a:prstGeom prst="bentConnector4">
              <a:avLst>
                <a:gd name="adj1" fmla="val -52552"/>
                <a:gd name="adj2" fmla="val 5328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63" name="Connector: Elbow 2162">
              <a:extLst>
                <a:ext uri="{FF2B5EF4-FFF2-40B4-BE49-F238E27FC236}">
                  <a16:creationId xmlns:a16="http://schemas.microsoft.com/office/drawing/2014/main" id="{19937986-D308-4F7D-B603-DF4AB20BB8D3}"/>
                </a:ext>
              </a:extLst>
            </p:cNvPr>
            <p:cNvCxnSpPr>
              <a:stCxn id="2088" idx="3"/>
              <a:endCxn id="2064" idx="0"/>
            </p:cNvCxnSpPr>
            <p:nvPr/>
          </p:nvCxnSpPr>
          <p:spPr bwMode="gray">
            <a:xfrm flipV="1">
              <a:off x="4470773" y="4405405"/>
              <a:ext cx="358362" cy="203663"/>
            </a:xfrm>
            <a:prstGeom prst="bentConnector4">
              <a:avLst>
                <a:gd name="adj1" fmla="val 31701"/>
                <a:gd name="adj2" fmla="val 36159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164" name="Rectangle 2163">
              <a:extLst>
                <a:ext uri="{FF2B5EF4-FFF2-40B4-BE49-F238E27FC236}">
                  <a16:creationId xmlns:a16="http://schemas.microsoft.com/office/drawing/2014/main" id="{3892A1A7-EE24-4F0E-8790-35D4617F4B6C}"/>
                </a:ext>
              </a:extLst>
            </p:cNvPr>
            <p:cNvSpPr/>
            <p:nvPr/>
          </p:nvSpPr>
          <p:spPr bwMode="gray">
            <a:xfrm>
              <a:off x="5068273" y="4142567"/>
              <a:ext cx="831543" cy="37003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spcBef>
                  <a:spcPts val="300"/>
                </a:spcBef>
                <a:buClr>
                  <a:srgbClr val="002897"/>
                </a:buClr>
                <a:buSzPct val="70000"/>
              </a:pPr>
              <a:r>
                <a:rPr lang="de-DE" sz="900" dirty="0">
                  <a:solidFill>
                    <a:schemeClr val="tx1"/>
                  </a:solidFill>
                </a:rPr>
                <a:t>Refrigerant </a:t>
              </a:r>
            </a:p>
            <a:p>
              <a:pPr algn="ctr">
                <a:spcBef>
                  <a:spcPts val="300"/>
                </a:spcBef>
                <a:buClr>
                  <a:srgbClr val="002897"/>
                </a:buClr>
                <a:buSzPct val="70000"/>
              </a:pPr>
              <a:r>
                <a:rPr lang="de-DE" sz="900" dirty="0">
                  <a:solidFill>
                    <a:schemeClr val="tx1"/>
                  </a:solidFill>
                </a:rPr>
                <a:t>outlet/ inlet</a:t>
              </a:r>
            </a:p>
          </p:txBody>
        </p:sp>
        <p:cxnSp>
          <p:nvCxnSpPr>
            <p:cNvPr id="2166" name="Connector: Elbow 2165">
              <a:extLst>
                <a:ext uri="{FF2B5EF4-FFF2-40B4-BE49-F238E27FC236}">
                  <a16:creationId xmlns:a16="http://schemas.microsoft.com/office/drawing/2014/main" id="{CCF8E0FD-9AD9-43AB-A65F-8A9DCACBCB2D}"/>
                </a:ext>
              </a:extLst>
            </p:cNvPr>
            <p:cNvCxnSpPr>
              <a:cxnSpLocks/>
              <a:stCxn id="2115" idx="2"/>
              <a:endCxn id="2083" idx="2"/>
            </p:cNvCxnSpPr>
            <p:nvPr/>
          </p:nvCxnSpPr>
          <p:spPr bwMode="gray">
            <a:xfrm rot="10800000">
              <a:off x="3760251" y="5068877"/>
              <a:ext cx="444668" cy="292545"/>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71" name="Connector: Elbow 2170">
              <a:extLst>
                <a:ext uri="{FF2B5EF4-FFF2-40B4-BE49-F238E27FC236}">
                  <a16:creationId xmlns:a16="http://schemas.microsoft.com/office/drawing/2014/main" id="{6B40F25F-5D57-4DAC-963A-14BFB3997347}"/>
                </a:ext>
              </a:extLst>
            </p:cNvPr>
            <p:cNvCxnSpPr>
              <a:cxnSpLocks/>
              <a:stCxn id="2064" idx="0"/>
              <a:endCxn id="2109" idx="0"/>
            </p:cNvCxnSpPr>
            <p:nvPr/>
          </p:nvCxnSpPr>
          <p:spPr bwMode="gray">
            <a:xfrm rot="5400000" flipH="1" flipV="1">
              <a:off x="4944247" y="3865609"/>
              <a:ext cx="424685" cy="654909"/>
            </a:xfrm>
            <a:prstGeom prst="bentConnector3">
              <a:avLst>
                <a:gd name="adj1" fmla="val 125717"/>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80" name="Connector: Elbow 2179">
              <a:extLst>
                <a:ext uri="{FF2B5EF4-FFF2-40B4-BE49-F238E27FC236}">
                  <a16:creationId xmlns:a16="http://schemas.microsoft.com/office/drawing/2014/main" id="{239C9991-310D-47F1-8267-64B22A5B896A}"/>
                </a:ext>
              </a:extLst>
            </p:cNvPr>
            <p:cNvCxnSpPr>
              <a:cxnSpLocks/>
              <a:stCxn id="2109" idx="6"/>
              <a:endCxn id="2065" idx="3"/>
            </p:cNvCxnSpPr>
            <p:nvPr/>
          </p:nvCxnSpPr>
          <p:spPr bwMode="gray">
            <a:xfrm rot="10800000" flipV="1">
              <a:off x="4960163" y="4059381"/>
              <a:ext cx="445508" cy="470376"/>
            </a:xfrm>
            <a:prstGeom prst="bentConnector3">
              <a:avLst>
                <a:gd name="adj1" fmla="val 72235"/>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189" name="Connector: Elbow 2188">
              <a:extLst>
                <a:ext uri="{FF2B5EF4-FFF2-40B4-BE49-F238E27FC236}">
                  <a16:creationId xmlns:a16="http://schemas.microsoft.com/office/drawing/2014/main" id="{6124B1B8-A050-47B8-8C7D-FDC3B9A89C90}"/>
                </a:ext>
              </a:extLst>
            </p:cNvPr>
            <p:cNvCxnSpPr>
              <a:cxnSpLocks/>
              <a:stCxn id="2115" idx="6"/>
              <a:endCxn id="2194" idx="0"/>
            </p:cNvCxnSpPr>
            <p:nvPr/>
          </p:nvCxnSpPr>
          <p:spPr bwMode="gray">
            <a:xfrm>
              <a:off x="4361665" y="5361421"/>
              <a:ext cx="1383562" cy="176171"/>
            </a:xfrm>
            <a:prstGeom prst="bentConnector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2193" name="Rectangle 2192">
              <a:extLst>
                <a:ext uri="{FF2B5EF4-FFF2-40B4-BE49-F238E27FC236}">
                  <a16:creationId xmlns:a16="http://schemas.microsoft.com/office/drawing/2014/main" id="{BCEF519C-A851-4D71-B8DB-F6339B7B7354}"/>
                </a:ext>
              </a:extLst>
            </p:cNvPr>
            <p:cNvSpPr/>
            <p:nvPr/>
          </p:nvSpPr>
          <p:spPr bwMode="gray">
            <a:xfrm>
              <a:off x="4907824" y="4174072"/>
              <a:ext cx="4571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194" name="Rectangle 2193">
              <a:extLst>
                <a:ext uri="{FF2B5EF4-FFF2-40B4-BE49-F238E27FC236}">
                  <a16:creationId xmlns:a16="http://schemas.microsoft.com/office/drawing/2014/main" id="{ABA6EF98-6020-4043-B63E-1D6AC2F426DF}"/>
                </a:ext>
              </a:extLst>
            </p:cNvPr>
            <p:cNvSpPr/>
            <p:nvPr/>
          </p:nvSpPr>
          <p:spPr bwMode="gray">
            <a:xfrm>
              <a:off x="5722367" y="5537592"/>
              <a:ext cx="4571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2202" name="Connector: Elbow 2201">
              <a:extLst>
                <a:ext uri="{FF2B5EF4-FFF2-40B4-BE49-F238E27FC236}">
                  <a16:creationId xmlns:a16="http://schemas.microsoft.com/office/drawing/2014/main" id="{67AEFA3B-8827-4C56-BE37-7F477AFC1BCA}"/>
                </a:ext>
              </a:extLst>
            </p:cNvPr>
            <p:cNvCxnSpPr>
              <a:cxnSpLocks/>
              <a:stCxn id="2077" idx="2"/>
              <a:endCxn id="2194" idx="0"/>
            </p:cNvCxnSpPr>
            <p:nvPr/>
          </p:nvCxnSpPr>
          <p:spPr bwMode="gray">
            <a:xfrm rot="16200000" flipH="1">
              <a:off x="5582836" y="5375201"/>
              <a:ext cx="278920" cy="45862"/>
            </a:xfrm>
            <a:prstGeom prst="bentConnector3">
              <a:avLst>
                <a:gd name="adj1" fmla="val 3702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222" name="Connector: Elbow 2221">
              <a:extLst>
                <a:ext uri="{FF2B5EF4-FFF2-40B4-BE49-F238E27FC236}">
                  <a16:creationId xmlns:a16="http://schemas.microsoft.com/office/drawing/2014/main" id="{8A5D8C34-C5ED-4697-9838-01316E892BBB}"/>
                </a:ext>
              </a:extLst>
            </p:cNvPr>
            <p:cNvCxnSpPr>
              <a:cxnSpLocks/>
              <a:stCxn id="2102" idx="2"/>
              <a:endCxn id="2092" idx="1"/>
            </p:cNvCxnSpPr>
            <p:nvPr/>
          </p:nvCxnSpPr>
          <p:spPr bwMode="gray">
            <a:xfrm>
              <a:off x="866845" y="4449702"/>
              <a:ext cx="201939" cy="414047"/>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2226" name="Group 2225">
              <a:extLst>
                <a:ext uri="{FF2B5EF4-FFF2-40B4-BE49-F238E27FC236}">
                  <a16:creationId xmlns:a16="http://schemas.microsoft.com/office/drawing/2014/main" id="{2188A2E7-46AE-47CF-B643-7DB29A1189FC}"/>
                </a:ext>
              </a:extLst>
            </p:cNvPr>
            <p:cNvGrpSpPr/>
            <p:nvPr/>
          </p:nvGrpSpPr>
          <p:grpSpPr bwMode="gray">
            <a:xfrm>
              <a:off x="2198256" y="5120885"/>
              <a:ext cx="156746" cy="157322"/>
              <a:chOff x="2708647" y="2940860"/>
              <a:chExt cx="309600" cy="310736"/>
            </a:xfrm>
          </p:grpSpPr>
          <p:sp>
            <p:nvSpPr>
              <p:cNvPr id="2227" name="Oval 2226">
                <a:extLst>
                  <a:ext uri="{FF2B5EF4-FFF2-40B4-BE49-F238E27FC236}">
                    <a16:creationId xmlns:a16="http://schemas.microsoft.com/office/drawing/2014/main" id="{94AC91AD-564F-4A72-B795-8077F21E3B43}"/>
                  </a:ext>
                </a:extLst>
              </p:cNvPr>
              <p:cNvSpPr/>
              <p:nvPr/>
            </p:nvSpPr>
            <p:spPr bwMode="gray">
              <a:xfrm flipH="1">
                <a:off x="2708647" y="2940860"/>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2228" name="Trapezoid 729">
                <a:extLst>
                  <a:ext uri="{FF2B5EF4-FFF2-40B4-BE49-F238E27FC236}">
                    <a16:creationId xmlns:a16="http://schemas.microsoft.com/office/drawing/2014/main" id="{BF7E86C7-969A-421A-8629-4678DB3FB60B}"/>
                  </a:ext>
                </a:extLst>
              </p:cNvPr>
              <p:cNvSpPr/>
              <p:nvPr/>
            </p:nvSpPr>
            <p:spPr bwMode="gray">
              <a:xfrm rot="5400000">
                <a:off x="2850527" y="2898689"/>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sp>
            <p:nvSpPr>
              <p:cNvPr id="2229" name="Trapezoid 729">
                <a:extLst>
                  <a:ext uri="{FF2B5EF4-FFF2-40B4-BE49-F238E27FC236}">
                    <a16:creationId xmlns:a16="http://schemas.microsoft.com/office/drawing/2014/main" id="{63DF0FF3-3A7F-47F8-B336-6946B740E616}"/>
                  </a:ext>
                </a:extLst>
              </p:cNvPr>
              <p:cNvSpPr/>
              <p:nvPr/>
            </p:nvSpPr>
            <p:spPr bwMode="gray">
              <a:xfrm rot="16200000" flipV="1">
                <a:off x="2850527" y="3032782"/>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grpSp>
        <p:grpSp>
          <p:nvGrpSpPr>
            <p:cNvPr id="2230" name="Group 2229">
              <a:extLst>
                <a:ext uri="{FF2B5EF4-FFF2-40B4-BE49-F238E27FC236}">
                  <a16:creationId xmlns:a16="http://schemas.microsoft.com/office/drawing/2014/main" id="{5035C291-8F84-46DF-90A7-EB9F0779A92E}"/>
                </a:ext>
              </a:extLst>
            </p:cNvPr>
            <p:cNvGrpSpPr/>
            <p:nvPr/>
          </p:nvGrpSpPr>
          <p:grpSpPr bwMode="gray">
            <a:xfrm>
              <a:off x="2483582" y="5120885"/>
              <a:ext cx="156746" cy="157322"/>
              <a:chOff x="2882249" y="5029996"/>
              <a:chExt cx="309600" cy="310736"/>
            </a:xfrm>
          </p:grpSpPr>
          <p:sp>
            <p:nvSpPr>
              <p:cNvPr id="2231" name="Oval 2230">
                <a:extLst>
                  <a:ext uri="{FF2B5EF4-FFF2-40B4-BE49-F238E27FC236}">
                    <a16:creationId xmlns:a16="http://schemas.microsoft.com/office/drawing/2014/main" id="{936CD50F-1D5D-4060-A86C-A450CA324A71}"/>
                  </a:ext>
                </a:extLst>
              </p:cNvPr>
              <p:cNvSpPr/>
              <p:nvPr/>
            </p:nvSpPr>
            <p:spPr bwMode="gray">
              <a:xfrm flipH="1">
                <a:off x="2882249" y="5029996"/>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2232" name="Freeform: Shape 2231">
                <a:extLst>
                  <a:ext uri="{FF2B5EF4-FFF2-40B4-BE49-F238E27FC236}">
                    <a16:creationId xmlns:a16="http://schemas.microsoft.com/office/drawing/2014/main" id="{2C042553-FBC3-44A3-AB1A-306DB5A4672F}"/>
                  </a:ext>
                </a:extLst>
              </p:cNvPr>
              <p:cNvSpPr/>
              <p:nvPr/>
            </p:nvSpPr>
            <p:spPr bwMode="gray">
              <a:xfrm rot="5400000">
                <a:off x="2944530" y="5077710"/>
                <a:ext cx="128873" cy="215306"/>
              </a:xfrm>
              <a:custGeom>
                <a:avLst/>
                <a:gdLst>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67715 w 128873"/>
                  <a:gd name="connsiteY4" fmla="*/ 5651 h 243834"/>
                  <a:gd name="connsiteX5" fmla="*/ 128873 w 128873"/>
                  <a:gd name="connsiteY5" fmla="*/ 5651 h 243834"/>
                  <a:gd name="connsiteX6" fmla="*/ 128873 w 128873"/>
                  <a:gd name="connsiteY6" fmla="*/ 243834 h 243834"/>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128873 w 128873"/>
                  <a:gd name="connsiteY4" fmla="*/ 5651 h 243834"/>
                  <a:gd name="connsiteX5" fmla="*/ 128873 w 128873"/>
                  <a:gd name="connsiteY5" fmla="*/ 243834 h 243834"/>
                  <a:gd name="connsiteX6" fmla="*/ 0 w 128873"/>
                  <a:gd name="connsiteY6" fmla="*/ 243834 h 243834"/>
                  <a:gd name="connsiteX0" fmla="*/ 0 w 128873"/>
                  <a:gd name="connsiteY0" fmla="*/ 238183 h 238183"/>
                  <a:gd name="connsiteX1" fmla="*/ 0 w 128873"/>
                  <a:gd name="connsiteY1" fmla="*/ 0 h 238183"/>
                  <a:gd name="connsiteX2" fmla="*/ 61160 w 128873"/>
                  <a:gd name="connsiteY2" fmla="*/ 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40289"/>
                  <a:gd name="connsiteX1" fmla="*/ 0 w 128873"/>
                  <a:gd name="connsiteY1" fmla="*/ 0 h 240289"/>
                  <a:gd name="connsiteX2" fmla="*/ 63065 w 128873"/>
                  <a:gd name="connsiteY2" fmla="*/ 87630 h 240289"/>
                  <a:gd name="connsiteX3" fmla="*/ 128873 w 128873"/>
                  <a:gd name="connsiteY3" fmla="*/ 0 h 240289"/>
                  <a:gd name="connsiteX4" fmla="*/ 128873 w 128873"/>
                  <a:gd name="connsiteY4" fmla="*/ 238183 h 240289"/>
                  <a:gd name="connsiteX5" fmla="*/ 56864 w 128873"/>
                  <a:gd name="connsiteY5" fmla="*/ 240289 h 240289"/>
                  <a:gd name="connsiteX6" fmla="*/ 0 w 128873"/>
                  <a:gd name="connsiteY6" fmla="*/ 238183 h 240289"/>
                  <a:gd name="connsiteX0" fmla="*/ 56864 w 148304"/>
                  <a:gd name="connsiteY0" fmla="*/ 240289 h 341445"/>
                  <a:gd name="connsiteX1" fmla="*/ 0 w 148304"/>
                  <a:gd name="connsiteY1" fmla="*/ 238183 h 341445"/>
                  <a:gd name="connsiteX2" fmla="*/ 0 w 148304"/>
                  <a:gd name="connsiteY2" fmla="*/ 0 h 341445"/>
                  <a:gd name="connsiteX3" fmla="*/ 63065 w 148304"/>
                  <a:gd name="connsiteY3" fmla="*/ 87630 h 341445"/>
                  <a:gd name="connsiteX4" fmla="*/ 128873 w 148304"/>
                  <a:gd name="connsiteY4" fmla="*/ 0 h 341445"/>
                  <a:gd name="connsiteX5" fmla="*/ 128873 w 148304"/>
                  <a:gd name="connsiteY5" fmla="*/ 238183 h 341445"/>
                  <a:gd name="connsiteX6" fmla="*/ 148304 w 148304"/>
                  <a:gd name="connsiteY6" fmla="*/ 341445 h 341445"/>
                  <a:gd name="connsiteX0" fmla="*/ 0 w 148304"/>
                  <a:gd name="connsiteY0" fmla="*/ 238183 h 341445"/>
                  <a:gd name="connsiteX1" fmla="*/ 0 w 148304"/>
                  <a:gd name="connsiteY1" fmla="*/ 0 h 341445"/>
                  <a:gd name="connsiteX2" fmla="*/ 63065 w 148304"/>
                  <a:gd name="connsiteY2" fmla="*/ 87630 h 341445"/>
                  <a:gd name="connsiteX3" fmla="*/ 128873 w 148304"/>
                  <a:gd name="connsiteY3" fmla="*/ 0 h 341445"/>
                  <a:gd name="connsiteX4" fmla="*/ 128873 w 148304"/>
                  <a:gd name="connsiteY4" fmla="*/ 238183 h 341445"/>
                  <a:gd name="connsiteX5" fmla="*/ 148304 w 148304"/>
                  <a:gd name="connsiteY5" fmla="*/ 341445 h 341445"/>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73" h="238183">
                    <a:moveTo>
                      <a:pt x="0" y="238183"/>
                    </a:moveTo>
                    <a:lnTo>
                      <a:pt x="0" y="0"/>
                    </a:lnTo>
                    <a:lnTo>
                      <a:pt x="63065" y="87630"/>
                    </a:lnTo>
                    <a:lnTo>
                      <a:pt x="128873" y="0"/>
                    </a:lnTo>
                    <a:lnTo>
                      <a:pt x="128873" y="238183"/>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err="1">
                  <a:solidFill>
                    <a:schemeClr val="tx1"/>
                  </a:solidFill>
                </a:endParaRPr>
              </a:p>
            </p:txBody>
          </p:sp>
        </p:grpSp>
        <p:cxnSp>
          <p:nvCxnSpPr>
            <p:cNvPr id="2233" name="Connector: Elbow 2232">
              <a:extLst>
                <a:ext uri="{FF2B5EF4-FFF2-40B4-BE49-F238E27FC236}">
                  <a16:creationId xmlns:a16="http://schemas.microsoft.com/office/drawing/2014/main" id="{F0C378FF-264F-4C64-9294-76F255390FAA}"/>
                </a:ext>
              </a:extLst>
            </p:cNvPr>
            <p:cNvCxnSpPr>
              <a:cxnSpLocks/>
              <a:stCxn id="2097" idx="2"/>
              <a:endCxn id="2227" idx="6"/>
            </p:cNvCxnSpPr>
            <p:nvPr/>
          </p:nvCxnSpPr>
          <p:spPr bwMode="gray">
            <a:xfrm rot="16200000" flipH="1">
              <a:off x="1914990" y="4916279"/>
              <a:ext cx="143921" cy="422612"/>
            </a:xfrm>
            <a:prstGeom prst="bentConnector2">
              <a:avLst/>
            </a:prstGeom>
            <a:ln w="12700">
              <a:solidFill>
                <a:schemeClr val="bg2"/>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237" name="Straight Connector 2236">
              <a:extLst>
                <a:ext uri="{FF2B5EF4-FFF2-40B4-BE49-F238E27FC236}">
                  <a16:creationId xmlns:a16="http://schemas.microsoft.com/office/drawing/2014/main" id="{3D31D9AF-159D-4E1A-BA20-32B7178B7C4C}"/>
                </a:ext>
              </a:extLst>
            </p:cNvPr>
            <p:cNvCxnSpPr>
              <a:cxnSpLocks/>
              <a:stCxn id="2227" idx="2"/>
              <a:endCxn id="2231" idx="6"/>
            </p:cNvCxnSpPr>
            <p:nvPr/>
          </p:nvCxnSpPr>
          <p:spPr bwMode="gray">
            <a:xfrm>
              <a:off x="2355002" y="5199546"/>
              <a:ext cx="128580" cy="0"/>
            </a:xfrm>
            <a:prstGeom prst="line">
              <a:avLst/>
            </a:prstGeom>
            <a:ln w="12700">
              <a:solidFill>
                <a:schemeClr val="bg2"/>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2240" name="Connector: Elbow 2239">
              <a:extLst>
                <a:ext uri="{FF2B5EF4-FFF2-40B4-BE49-F238E27FC236}">
                  <a16:creationId xmlns:a16="http://schemas.microsoft.com/office/drawing/2014/main" id="{C5819E2F-B1D4-4572-88AF-2D3D15AF7655}"/>
                </a:ext>
              </a:extLst>
            </p:cNvPr>
            <p:cNvCxnSpPr>
              <a:cxnSpLocks/>
              <a:stCxn id="2231" idx="2"/>
              <a:endCxn id="2096" idx="28"/>
            </p:cNvCxnSpPr>
            <p:nvPr/>
          </p:nvCxnSpPr>
          <p:spPr bwMode="gray">
            <a:xfrm flipH="1" flipV="1">
              <a:off x="1929639" y="4455640"/>
              <a:ext cx="710689" cy="743906"/>
            </a:xfrm>
            <a:prstGeom prst="bentConnector5">
              <a:avLst>
                <a:gd name="adj1" fmla="val -19300"/>
                <a:gd name="adj2" fmla="val 48654"/>
                <a:gd name="adj3" fmla="val 81558"/>
              </a:avLst>
            </a:prstGeom>
            <a:ln w="12700">
              <a:solidFill>
                <a:schemeClr val="bg2"/>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grpSp>
          <p:nvGrpSpPr>
            <p:cNvPr id="2249" name="Group 2248">
              <a:extLst>
                <a:ext uri="{FF2B5EF4-FFF2-40B4-BE49-F238E27FC236}">
                  <a16:creationId xmlns:a16="http://schemas.microsoft.com/office/drawing/2014/main" id="{1B131068-0D59-4B7A-A07C-578EB420A732}"/>
                </a:ext>
              </a:extLst>
            </p:cNvPr>
            <p:cNvGrpSpPr/>
            <p:nvPr/>
          </p:nvGrpSpPr>
          <p:grpSpPr bwMode="gray">
            <a:xfrm>
              <a:off x="5140060" y="4742833"/>
              <a:ext cx="156746" cy="157322"/>
              <a:chOff x="2708647" y="2940860"/>
              <a:chExt cx="309600" cy="310736"/>
            </a:xfrm>
          </p:grpSpPr>
          <p:sp>
            <p:nvSpPr>
              <p:cNvPr id="2250" name="Oval 2249">
                <a:extLst>
                  <a:ext uri="{FF2B5EF4-FFF2-40B4-BE49-F238E27FC236}">
                    <a16:creationId xmlns:a16="http://schemas.microsoft.com/office/drawing/2014/main" id="{C1DA05AA-4274-4815-BD1D-1AF7A462FD38}"/>
                  </a:ext>
                </a:extLst>
              </p:cNvPr>
              <p:cNvSpPr/>
              <p:nvPr/>
            </p:nvSpPr>
            <p:spPr bwMode="gray">
              <a:xfrm flipH="1">
                <a:off x="2708647" y="2940860"/>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2251" name="Trapezoid 729">
                <a:extLst>
                  <a:ext uri="{FF2B5EF4-FFF2-40B4-BE49-F238E27FC236}">
                    <a16:creationId xmlns:a16="http://schemas.microsoft.com/office/drawing/2014/main" id="{52D76268-DBB8-4631-BF1F-7B2AE84F45F2}"/>
                  </a:ext>
                </a:extLst>
              </p:cNvPr>
              <p:cNvSpPr/>
              <p:nvPr/>
            </p:nvSpPr>
            <p:spPr bwMode="gray">
              <a:xfrm rot="5400000">
                <a:off x="2850527" y="2898689"/>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sp>
            <p:nvSpPr>
              <p:cNvPr id="2252" name="Trapezoid 729">
                <a:extLst>
                  <a:ext uri="{FF2B5EF4-FFF2-40B4-BE49-F238E27FC236}">
                    <a16:creationId xmlns:a16="http://schemas.microsoft.com/office/drawing/2014/main" id="{F77C32E3-F038-40D5-8AB9-E6F85851D057}"/>
                  </a:ext>
                </a:extLst>
              </p:cNvPr>
              <p:cNvSpPr/>
              <p:nvPr/>
            </p:nvSpPr>
            <p:spPr bwMode="gray">
              <a:xfrm rot="16200000" flipV="1">
                <a:off x="2850527" y="3032782"/>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grpSp>
        <p:cxnSp>
          <p:nvCxnSpPr>
            <p:cNvPr id="2253" name="Connector: Elbow 2252">
              <a:extLst>
                <a:ext uri="{FF2B5EF4-FFF2-40B4-BE49-F238E27FC236}">
                  <a16:creationId xmlns:a16="http://schemas.microsoft.com/office/drawing/2014/main" id="{A383F76A-FEDC-4721-AF23-9A572E02995A}"/>
                </a:ext>
              </a:extLst>
            </p:cNvPr>
            <p:cNvCxnSpPr>
              <a:cxnSpLocks/>
              <a:stCxn id="2070" idx="3"/>
              <a:endCxn id="2250" idx="6"/>
            </p:cNvCxnSpPr>
            <p:nvPr/>
          </p:nvCxnSpPr>
          <p:spPr bwMode="gray">
            <a:xfrm>
              <a:off x="4960163" y="4711695"/>
              <a:ext cx="179897" cy="109799"/>
            </a:xfrm>
            <a:prstGeom prst="bentConnector3">
              <a:avLst>
                <a:gd name="adj1" fmla="val 41529"/>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2258" name="Straight Connector 2257">
              <a:extLst>
                <a:ext uri="{FF2B5EF4-FFF2-40B4-BE49-F238E27FC236}">
                  <a16:creationId xmlns:a16="http://schemas.microsoft.com/office/drawing/2014/main" id="{391B13FC-3751-447C-BE47-642B1BF0D656}"/>
                </a:ext>
              </a:extLst>
            </p:cNvPr>
            <p:cNvCxnSpPr>
              <a:stCxn id="2250" idx="2"/>
              <a:endCxn id="2076" idx="1"/>
            </p:cNvCxnSpPr>
            <p:nvPr/>
          </p:nvCxnSpPr>
          <p:spPr bwMode="gray">
            <a:xfrm flipV="1">
              <a:off x="5296806" y="4821335"/>
              <a:ext cx="118517" cy="159"/>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2285" name="Group 2284">
              <a:extLst>
                <a:ext uri="{FF2B5EF4-FFF2-40B4-BE49-F238E27FC236}">
                  <a16:creationId xmlns:a16="http://schemas.microsoft.com/office/drawing/2014/main" id="{E2D67FB4-638B-435A-A8D3-4CCDD78FC31C}"/>
                </a:ext>
              </a:extLst>
            </p:cNvPr>
            <p:cNvGrpSpPr/>
            <p:nvPr/>
          </p:nvGrpSpPr>
          <p:grpSpPr bwMode="gray">
            <a:xfrm>
              <a:off x="2107420" y="4228906"/>
              <a:ext cx="156746" cy="157322"/>
              <a:chOff x="2107420" y="4228906"/>
              <a:chExt cx="156746" cy="157322"/>
            </a:xfrm>
          </p:grpSpPr>
          <p:grpSp>
            <p:nvGrpSpPr>
              <p:cNvPr id="2131" name="Group 2130">
                <a:extLst>
                  <a:ext uri="{FF2B5EF4-FFF2-40B4-BE49-F238E27FC236}">
                    <a16:creationId xmlns:a16="http://schemas.microsoft.com/office/drawing/2014/main" id="{5EE3D24A-E76B-4FAC-BC18-EF3592BDF395}"/>
                  </a:ext>
                </a:extLst>
              </p:cNvPr>
              <p:cNvGrpSpPr/>
              <p:nvPr/>
            </p:nvGrpSpPr>
            <p:grpSpPr bwMode="gray">
              <a:xfrm>
                <a:off x="2107420" y="4228906"/>
                <a:ext cx="156746" cy="157322"/>
                <a:chOff x="2708647" y="2940860"/>
                <a:chExt cx="309600" cy="310736"/>
              </a:xfrm>
            </p:grpSpPr>
            <p:sp>
              <p:nvSpPr>
                <p:cNvPr id="2132" name="Oval 2131">
                  <a:extLst>
                    <a:ext uri="{FF2B5EF4-FFF2-40B4-BE49-F238E27FC236}">
                      <a16:creationId xmlns:a16="http://schemas.microsoft.com/office/drawing/2014/main" id="{0AF1D106-AAFF-4479-8D1F-0A6464CB187D}"/>
                    </a:ext>
                  </a:extLst>
                </p:cNvPr>
                <p:cNvSpPr/>
                <p:nvPr/>
              </p:nvSpPr>
              <p:spPr bwMode="gray">
                <a:xfrm flipH="1">
                  <a:off x="2708647" y="2940860"/>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900" dirty="0">
                    <a:solidFill>
                      <a:schemeClr val="tx1"/>
                    </a:solidFill>
                  </a:endParaRPr>
                </a:p>
              </p:txBody>
            </p:sp>
            <p:sp>
              <p:nvSpPr>
                <p:cNvPr id="2133" name="Trapezoid 729">
                  <a:extLst>
                    <a:ext uri="{FF2B5EF4-FFF2-40B4-BE49-F238E27FC236}">
                      <a16:creationId xmlns:a16="http://schemas.microsoft.com/office/drawing/2014/main" id="{D4969420-DA57-4AA9-B0DF-D82542FE730C}"/>
                    </a:ext>
                  </a:extLst>
                </p:cNvPr>
                <p:cNvSpPr/>
                <p:nvPr/>
              </p:nvSpPr>
              <p:spPr bwMode="gray">
                <a:xfrm rot="5400000">
                  <a:off x="2850527" y="2898689"/>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sp>
              <p:nvSpPr>
                <p:cNvPr id="2134" name="Trapezoid 729">
                  <a:extLst>
                    <a:ext uri="{FF2B5EF4-FFF2-40B4-BE49-F238E27FC236}">
                      <a16:creationId xmlns:a16="http://schemas.microsoft.com/office/drawing/2014/main" id="{6C4A89E9-790C-4861-B53F-FC6B0C0DB61D}"/>
                    </a:ext>
                  </a:extLst>
                </p:cNvPr>
                <p:cNvSpPr/>
                <p:nvPr/>
              </p:nvSpPr>
              <p:spPr bwMode="gray">
                <a:xfrm rot="16200000" flipV="1">
                  <a:off x="2850527" y="3032782"/>
                  <a:ext cx="46330" cy="260985"/>
                </a:xfrm>
                <a:custGeom>
                  <a:avLst/>
                  <a:gdLst>
                    <a:gd name="connsiteX0" fmla="*/ 0 w 185320"/>
                    <a:gd name="connsiteY0" fmla="*/ 260985 h 260985"/>
                    <a:gd name="connsiteX1" fmla="*/ 46330 w 185320"/>
                    <a:gd name="connsiteY1" fmla="*/ 0 h 260985"/>
                    <a:gd name="connsiteX2" fmla="*/ 138990 w 185320"/>
                    <a:gd name="connsiteY2" fmla="*/ 0 h 260985"/>
                    <a:gd name="connsiteX3" fmla="*/ 185320 w 185320"/>
                    <a:gd name="connsiteY3" fmla="*/ 260985 h 260985"/>
                    <a:gd name="connsiteX4" fmla="*/ 0 w 185320"/>
                    <a:gd name="connsiteY4" fmla="*/ 260985 h 260985"/>
                    <a:gd name="connsiteX0" fmla="*/ 185320 w 276760"/>
                    <a:gd name="connsiteY0" fmla="*/ 260985 h 352425"/>
                    <a:gd name="connsiteX1" fmla="*/ 0 w 276760"/>
                    <a:gd name="connsiteY1" fmla="*/ 260985 h 352425"/>
                    <a:gd name="connsiteX2" fmla="*/ 46330 w 276760"/>
                    <a:gd name="connsiteY2" fmla="*/ 0 h 352425"/>
                    <a:gd name="connsiteX3" fmla="*/ 138990 w 276760"/>
                    <a:gd name="connsiteY3" fmla="*/ 0 h 352425"/>
                    <a:gd name="connsiteX4" fmla="*/ 276760 w 276760"/>
                    <a:gd name="connsiteY4" fmla="*/ 352425 h 352425"/>
                    <a:gd name="connsiteX0" fmla="*/ 0 w 276760"/>
                    <a:gd name="connsiteY0" fmla="*/ 260985 h 352425"/>
                    <a:gd name="connsiteX1" fmla="*/ 46330 w 276760"/>
                    <a:gd name="connsiteY1" fmla="*/ 0 h 352425"/>
                    <a:gd name="connsiteX2" fmla="*/ 138990 w 276760"/>
                    <a:gd name="connsiteY2" fmla="*/ 0 h 352425"/>
                    <a:gd name="connsiteX3" fmla="*/ 276760 w 276760"/>
                    <a:gd name="connsiteY3" fmla="*/ 352425 h 352425"/>
                    <a:gd name="connsiteX0" fmla="*/ 0 w 138990"/>
                    <a:gd name="connsiteY0" fmla="*/ 260985 h 260985"/>
                    <a:gd name="connsiteX1" fmla="*/ 46330 w 138990"/>
                    <a:gd name="connsiteY1" fmla="*/ 0 h 260985"/>
                    <a:gd name="connsiteX2" fmla="*/ 138990 w 138990"/>
                    <a:gd name="connsiteY2" fmla="*/ 0 h 260985"/>
                    <a:gd name="connsiteX0" fmla="*/ 0 w 46330"/>
                    <a:gd name="connsiteY0" fmla="*/ 260985 h 260985"/>
                    <a:gd name="connsiteX1" fmla="*/ 46330 w 46330"/>
                    <a:gd name="connsiteY1" fmla="*/ 0 h 260985"/>
                  </a:gdLst>
                  <a:ahLst/>
                  <a:cxnLst>
                    <a:cxn ang="0">
                      <a:pos x="connsiteX0" y="connsiteY0"/>
                    </a:cxn>
                    <a:cxn ang="0">
                      <a:pos x="connsiteX1" y="connsiteY1"/>
                    </a:cxn>
                  </a:cxnLst>
                  <a:rect l="l" t="t" r="r" b="b"/>
                  <a:pathLst>
                    <a:path w="46330" h="260985">
                      <a:moveTo>
                        <a:pt x="0" y="260985"/>
                      </a:moveTo>
                      <a:lnTo>
                        <a:pt x="46330" y="0"/>
                      </a:lnTo>
                    </a:path>
                  </a:pathLst>
                </a:cu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err="1"/>
                </a:p>
              </p:txBody>
            </p:sp>
          </p:grpSp>
          <p:cxnSp>
            <p:nvCxnSpPr>
              <p:cNvPr id="2278" name="Straight Connector 2277">
                <a:extLst>
                  <a:ext uri="{FF2B5EF4-FFF2-40B4-BE49-F238E27FC236}">
                    <a16:creationId xmlns:a16="http://schemas.microsoft.com/office/drawing/2014/main" id="{12EB3ACC-D30E-4DDB-8E86-27092AD1F005}"/>
                  </a:ext>
                </a:extLst>
              </p:cNvPr>
              <p:cNvCxnSpPr>
                <a:cxnSpLocks/>
                <a:stCxn id="2132" idx="2"/>
                <a:endCxn id="2132" idx="6"/>
              </p:cNvCxnSpPr>
              <p:nvPr/>
            </p:nvCxnSpPr>
            <p:spPr bwMode="gray">
              <a:xfrm flipH="1">
                <a:off x="2107420" y="4307567"/>
                <a:ext cx="36000" cy="0"/>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282" name="Straight Connector 2281">
                <a:extLst>
                  <a:ext uri="{FF2B5EF4-FFF2-40B4-BE49-F238E27FC236}">
                    <a16:creationId xmlns:a16="http://schemas.microsoft.com/office/drawing/2014/main" id="{880C13B9-F3C6-4970-B137-027E423CE166}"/>
                  </a:ext>
                </a:extLst>
              </p:cNvPr>
              <p:cNvCxnSpPr>
                <a:cxnSpLocks/>
              </p:cNvCxnSpPr>
              <p:nvPr/>
            </p:nvCxnSpPr>
            <p:spPr bwMode="gray">
              <a:xfrm>
                <a:off x="2144947" y="4285351"/>
                <a:ext cx="0" cy="44433"/>
              </a:xfrm>
              <a:prstGeom prst="line">
                <a:avLst/>
              </a:prstGeom>
              <a:ln w="12700">
                <a:solidFill>
                  <a:schemeClr val="bg1"/>
                </a:solidFill>
                <a:prstDash val="solid"/>
              </a:ln>
            </p:spPr>
            <p:style>
              <a:lnRef idx="1">
                <a:schemeClr val="accent1"/>
              </a:lnRef>
              <a:fillRef idx="0">
                <a:schemeClr val="accent1"/>
              </a:fillRef>
              <a:effectRef idx="0">
                <a:schemeClr val="accent1"/>
              </a:effectRef>
              <a:fontRef idx="minor">
                <a:schemeClr val="tx1"/>
              </a:fontRef>
            </p:style>
          </p:cxnSp>
        </p:grpSp>
      </p:grpSp>
      <p:sp>
        <p:nvSpPr>
          <p:cNvPr id="2392" name="Date Placeholder 2391">
            <a:extLst>
              <a:ext uri="{FF2B5EF4-FFF2-40B4-BE49-F238E27FC236}">
                <a16:creationId xmlns:a16="http://schemas.microsoft.com/office/drawing/2014/main" id="{9FE43058-EFD4-4443-9CB7-949294DDFC90}"/>
              </a:ext>
            </a:extLst>
          </p:cNvPr>
          <p:cNvSpPr>
            <a:spLocks noGrp="1"/>
          </p:cNvSpPr>
          <p:nvPr>
            <p:ph type="dt" sz="half" idx="14"/>
          </p:nvPr>
        </p:nvSpPr>
        <p:spPr bwMode="gray"/>
        <p:txBody>
          <a:bodyPr/>
          <a:lstStyle/>
          <a:p>
            <a:fld id="{8B22BCD4-2F78-482A-8A20-BA9B832B028E}" type="datetime4">
              <a:rPr lang="en-US" smtClean="0"/>
              <a:t>September 8, 2019</a:t>
            </a:fld>
            <a:endParaRPr lang="en-US" dirty="0"/>
          </a:p>
        </p:txBody>
      </p:sp>
      <p:sp>
        <p:nvSpPr>
          <p:cNvPr id="2393" name="Footer Placeholder 2392">
            <a:extLst>
              <a:ext uri="{FF2B5EF4-FFF2-40B4-BE49-F238E27FC236}">
                <a16:creationId xmlns:a16="http://schemas.microsoft.com/office/drawing/2014/main" id="{D0C894AA-138F-4079-AD04-92B4419538D7}"/>
              </a:ext>
            </a:extLst>
          </p:cNvPr>
          <p:cNvSpPr>
            <a:spLocks noGrp="1"/>
          </p:cNvSpPr>
          <p:nvPr>
            <p:ph type="ftr" sz="quarter" idx="15"/>
          </p:nvPr>
        </p:nvSpPr>
        <p:spPr bwMode="gray"/>
        <p:txBody>
          <a:bodyPr/>
          <a:lstStyle/>
          <a:p>
            <a:pPr lvl="8"/>
            <a:endParaRPr lang="en-US" dirty="0"/>
          </a:p>
        </p:txBody>
      </p:sp>
      <p:sp>
        <p:nvSpPr>
          <p:cNvPr id="2394" name="Slide Number Placeholder 2393">
            <a:extLst>
              <a:ext uri="{FF2B5EF4-FFF2-40B4-BE49-F238E27FC236}">
                <a16:creationId xmlns:a16="http://schemas.microsoft.com/office/drawing/2014/main" id="{FB6ADB8B-BBDD-4E86-B85E-BF68273F62B7}"/>
              </a:ext>
            </a:extLst>
          </p:cNvPr>
          <p:cNvSpPr>
            <a:spLocks noGrp="1"/>
          </p:cNvSpPr>
          <p:nvPr>
            <p:ph type="sldNum" sz="quarter" idx="16"/>
          </p:nvPr>
        </p:nvSpPr>
        <p:spPr bwMode="gray"/>
        <p:txBody>
          <a:bodyPr/>
          <a:lstStyle/>
          <a:p>
            <a:r>
              <a:rPr lang="en-US"/>
              <a:t>Slide </a:t>
            </a:r>
            <a:fld id="{619F89D8-7AE3-494A-97F3-03D680869632}" type="slidenum">
              <a:rPr lang="en-US" smtClean="0"/>
              <a:pPr/>
              <a:t>69</a:t>
            </a:fld>
            <a:endParaRPr lang="en-US" dirty="0"/>
          </a:p>
        </p:txBody>
      </p:sp>
    </p:spTree>
    <p:custDataLst>
      <p:tags r:id="rId1"/>
    </p:custDataLst>
    <p:extLst>
      <p:ext uri="{BB962C8B-B14F-4D97-AF65-F5344CB8AC3E}">
        <p14:creationId xmlns:p14="http://schemas.microsoft.com/office/powerpoint/2010/main" val="1676173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4294967295"/>
          </p:nvPr>
        </p:nvSpPr>
        <p:spPr bwMode="gray">
          <a:xfrm>
            <a:off x="334963" y="1827468"/>
            <a:ext cx="5603442" cy="3981450"/>
          </a:xfrm>
        </p:spPr>
        <p:txBody>
          <a:bodyPr lIns="72000" tIns="72000" rIns="72000" bIns="72000"/>
          <a:lstStyle/>
          <a:p>
            <a:pPr lvl="1"/>
            <a:r>
              <a:rPr lang="en-US" sz="1600" dirty="0"/>
              <a:t>Excellent price-performance ratio </a:t>
            </a:r>
          </a:p>
          <a:p>
            <a:pPr lvl="1"/>
            <a:r>
              <a:rPr lang="en-US" sz="1600" dirty="0"/>
              <a:t>Single housing solution – rack or wall mount</a:t>
            </a:r>
          </a:p>
          <a:p>
            <a:pPr lvl="1"/>
            <a:r>
              <a:rPr lang="en-US" sz="1600" dirty="0"/>
              <a:t>Measure up to 5 components in one unit	</a:t>
            </a:r>
          </a:p>
          <a:p>
            <a:pPr lvl="1"/>
            <a:r>
              <a:rPr lang="en-US" sz="1600" dirty="0"/>
              <a:t>Combine up to 2 sensors in one enclosure</a:t>
            </a:r>
          </a:p>
          <a:p>
            <a:pPr lvl="2"/>
            <a:r>
              <a:rPr lang="en-US" dirty="0"/>
              <a:t>Uras26 NDIR</a:t>
            </a:r>
          </a:p>
          <a:p>
            <a:pPr lvl="2"/>
            <a:r>
              <a:rPr lang="en-US" dirty="0"/>
              <a:t>Limas23 UV</a:t>
            </a:r>
          </a:p>
          <a:p>
            <a:pPr lvl="2"/>
            <a:r>
              <a:rPr lang="en-US" dirty="0"/>
              <a:t>Magnos28 PMD O</a:t>
            </a:r>
            <a:r>
              <a:rPr lang="en-US" baseline="-25000" dirty="0"/>
              <a:t>2</a:t>
            </a:r>
          </a:p>
          <a:p>
            <a:pPr lvl="2"/>
            <a:r>
              <a:rPr lang="de-DE" dirty="0"/>
              <a:t>Magnos27 TMD O</a:t>
            </a:r>
            <a:r>
              <a:rPr lang="de-DE" baseline="-25000" dirty="0"/>
              <a:t>2</a:t>
            </a:r>
            <a:endParaRPr lang="en-US" baseline="-25000" dirty="0"/>
          </a:p>
          <a:p>
            <a:pPr lvl="2"/>
            <a:r>
              <a:rPr lang="de-DE" dirty="0"/>
              <a:t>Caldos27 TCD</a:t>
            </a:r>
          </a:p>
          <a:p>
            <a:pPr lvl="2"/>
            <a:r>
              <a:rPr lang="en-US" dirty="0"/>
              <a:t>Fidas24 FID</a:t>
            </a:r>
          </a:p>
          <a:p>
            <a:pPr lvl="2"/>
            <a:r>
              <a:rPr lang="de-DE" dirty="0"/>
              <a:t>ZO23 </a:t>
            </a:r>
            <a:r>
              <a:rPr lang="de-DE" dirty="0" err="1"/>
              <a:t>Zirconia</a:t>
            </a:r>
            <a:r>
              <a:rPr lang="de-DE" dirty="0"/>
              <a:t> </a:t>
            </a:r>
            <a:r>
              <a:rPr lang="en-US" dirty="0"/>
              <a:t>O</a:t>
            </a:r>
            <a:r>
              <a:rPr lang="en-US" baseline="-25000" dirty="0"/>
              <a:t>2</a:t>
            </a:r>
            <a:endParaRPr lang="de-DE" dirty="0"/>
          </a:p>
          <a:p>
            <a:pPr lvl="2"/>
            <a:r>
              <a:rPr lang="en-US" dirty="0" err="1"/>
              <a:t>Electrochem</a:t>
            </a:r>
            <a:r>
              <a:rPr lang="en-US" dirty="0"/>
              <a:t>. O</a:t>
            </a:r>
            <a:r>
              <a:rPr lang="en-US" baseline="-25000" dirty="0"/>
              <a:t>2</a:t>
            </a:r>
            <a:r>
              <a:rPr lang="en-US" dirty="0"/>
              <a:t> sensor</a:t>
            </a:r>
          </a:p>
        </p:txBody>
      </p:sp>
      <p:pic>
        <p:nvPicPr>
          <p:cNvPr id="2545669" name="Picture 5"/>
          <p:cNvPicPr>
            <a:picLocks noChangeAspect="1" noChangeArrowheads="1"/>
          </p:cNvPicPr>
          <p:nvPr>
            <p:custDataLst>
              <p:tags r:id="rId2"/>
            </p:custDataLst>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gray">
          <a:xfrm>
            <a:off x="5830425" y="2685976"/>
            <a:ext cx="3968849" cy="2976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pic>
      <p:pic>
        <p:nvPicPr>
          <p:cNvPr id="3075" name="Picture 3"/>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gray">
          <a:xfrm>
            <a:off x="6168267" y="1691138"/>
            <a:ext cx="4840372" cy="41455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229" name="Rectangle 7"/>
          <p:cNvSpPr>
            <a:spLocks noGrp="1" noChangeArrowheads="1"/>
          </p:cNvSpPr>
          <p:nvPr>
            <p:ph type="title"/>
          </p:nvPr>
        </p:nvSpPr>
        <p:spPr bwMode="gray">
          <a:xfrm>
            <a:off x="332367" y="682313"/>
            <a:ext cx="11520000" cy="396000"/>
          </a:xfrm>
        </p:spPr>
        <p:txBody>
          <a:bodyPr vert="horz" lIns="0" tIns="0" rIns="0" bIns="0" rtlCol="0" anchor="t">
            <a:noAutofit/>
          </a:bodyPr>
          <a:lstStyle/>
          <a:p>
            <a:r>
              <a:rPr lang="en-US" altLang="en-US" dirty="0" err="1"/>
              <a:t>EasyLine</a:t>
            </a:r>
            <a:r>
              <a:rPr lang="en-US" altLang="en-US" dirty="0"/>
              <a:t> series (EL3000)</a:t>
            </a:r>
          </a:p>
        </p:txBody>
      </p:sp>
      <p:sp>
        <p:nvSpPr>
          <p:cNvPr id="3" name="Date Placeholder 2"/>
          <p:cNvSpPr>
            <a:spLocks noGrp="1"/>
          </p:cNvSpPr>
          <p:nvPr>
            <p:ph type="dt" sz="half" idx="14"/>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10731EF-892E-4736-A722-878FD6B63B49}"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Rectangle 4"/>
          <p:cNvSpPr/>
          <p:nvPr/>
        </p:nvSpPr>
        <p:spPr bwMode="gray">
          <a:xfrm>
            <a:off x="6023734" y="1968508"/>
            <a:ext cx="5828633" cy="4102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 name="Slide Number Placeholder 3"/>
          <p:cNvSpPr>
            <a:spLocks noGrp="1"/>
          </p:cNvSpPr>
          <p:nvPr>
            <p:ph type="sldNum" sz="quarter" idx="16"/>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2545672" name="Rectangle 8"/>
          <p:cNvSpPr>
            <a:spLocks noGrp="1" noChangeArrowheads="1"/>
          </p:cNvSpPr>
          <p:nvPr>
            <p:ph type="subTitle" idx="13"/>
          </p:nvPr>
        </p:nvSpPr>
        <p:spPr bwMode="gray">
          <a:xfrm>
            <a:off x="332367" y="1085213"/>
            <a:ext cx="11520898" cy="504000"/>
          </a:xfrm>
        </p:spPr>
        <p:txBody>
          <a:bodyPr/>
          <a:lstStyle/>
          <a:p>
            <a:r>
              <a:rPr lang="en-US" altLang="en-US" dirty="0"/>
              <a:t>So smart, they’re simple</a:t>
            </a:r>
          </a:p>
        </p:txBody>
      </p:sp>
      <p:pic>
        <p:nvPicPr>
          <p:cNvPr id="102" name="Picture 3"/>
          <p:cNvPicPr>
            <a:picLocks noChangeAspect="1" noChangeArrowheads="1"/>
          </p:cNvPicPr>
          <p:nvPr/>
        </p:nvPicPr>
        <p:blipFill>
          <a:blip r:embed="rId7"/>
          <a:stretch>
            <a:fillRect/>
          </a:stretch>
        </p:blipFill>
        <p:spPr bwMode="gray">
          <a:xfrm>
            <a:off x="7405493" y="2667325"/>
            <a:ext cx="2122634" cy="2122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4" name="Oval 203"/>
          <p:cNvSpPr/>
          <p:nvPr/>
        </p:nvSpPr>
        <p:spPr bwMode="gray">
          <a:xfrm>
            <a:off x="7870473" y="1943474"/>
            <a:ext cx="527454" cy="5274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11" name="Oval 210"/>
          <p:cNvSpPr/>
          <p:nvPr/>
        </p:nvSpPr>
        <p:spPr bwMode="gray">
          <a:xfrm rot="16200000">
            <a:off x="6304672" y="3868565"/>
            <a:ext cx="527454" cy="5274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12" name="Oval 211"/>
          <p:cNvSpPr/>
          <p:nvPr/>
        </p:nvSpPr>
        <p:spPr bwMode="gray">
          <a:xfrm rot="16200000">
            <a:off x="8847111" y="1947779"/>
            <a:ext cx="527454" cy="5274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18" name="Oval 217"/>
          <p:cNvSpPr/>
          <p:nvPr/>
        </p:nvSpPr>
        <p:spPr bwMode="gray">
          <a:xfrm>
            <a:off x="7864701" y="5094108"/>
            <a:ext cx="527454" cy="52745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545727" name="Text Box 63"/>
          <p:cNvSpPr txBox="1">
            <a:spLocks noChangeArrowheads="1"/>
          </p:cNvSpPr>
          <p:nvPr/>
        </p:nvSpPr>
        <p:spPr bwMode="gray">
          <a:xfrm>
            <a:off x="7114473" y="2045199"/>
            <a:ext cx="756000"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72000" tIns="72000" rIns="72000" bIns="72000" anchor="ctr" anchorCtr="0">
            <a:noAutofit/>
          </a:bodyPr>
          <a:lstStyle>
            <a:lvl1pPr marL="182563" indent="-182563"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182563" marR="0" lvl="0" indent="-182563" algn="r"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None/>
              <a:tabLst/>
              <a:defRPr/>
            </a:pPr>
            <a:r>
              <a:rPr kumimoji="0" lang="de-DE" altLang="en-US" sz="1200" b="0" i="0" u="none" strike="noStrike" kern="1200" cap="none" spc="0" normalizeH="0" baseline="0" noProof="0" dirty="0">
                <a:ln>
                  <a:noFill/>
                </a:ln>
                <a:solidFill>
                  <a:srgbClr val="D90000"/>
                </a:solidFill>
                <a:effectLst/>
                <a:uLnTx/>
                <a:uFillTx/>
                <a:latin typeface="ABBvoice"/>
                <a:ea typeface="ABBvoice"/>
                <a:cs typeface="Arial" panose="020B0604020202020204" pitchFamily="34" charset="0"/>
              </a:rPr>
              <a:t>Uras26</a:t>
            </a:r>
          </a:p>
        </p:txBody>
      </p:sp>
      <p:sp>
        <p:nvSpPr>
          <p:cNvPr id="2545728" name="Text Box 64"/>
          <p:cNvSpPr txBox="1">
            <a:spLocks noChangeArrowheads="1"/>
          </p:cNvSpPr>
          <p:nvPr/>
        </p:nvSpPr>
        <p:spPr bwMode="gray">
          <a:xfrm>
            <a:off x="10877368" y="2975104"/>
            <a:ext cx="396000"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72000" tIns="72000" rIns="72000" bIns="72000" anchor="ctr" anchorCtr="0">
            <a:noAutofit/>
          </a:bodyPr>
          <a:lstStyle>
            <a:lvl1pPr marL="182563" indent="-182563"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182563" marR="0" lvl="0" indent="-182563" algn="l"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None/>
              <a:tabLst/>
              <a:defRPr/>
            </a:pPr>
            <a:r>
              <a:rPr kumimoji="0" lang="de-DE" altLang="en-US" sz="1200" b="0" i="0" u="none" strike="noStrike" kern="1200" cap="none" spc="0" normalizeH="0" baseline="0" noProof="0" dirty="0">
                <a:ln>
                  <a:noFill/>
                </a:ln>
                <a:solidFill>
                  <a:srgbClr val="D90000"/>
                </a:solidFill>
                <a:effectLst/>
                <a:uLnTx/>
                <a:uFillTx/>
                <a:latin typeface="ABBvoice"/>
                <a:ea typeface="ABBvoice"/>
                <a:cs typeface="Arial" panose="020B0604020202020204" pitchFamily="34" charset="0"/>
              </a:rPr>
              <a:t>ZO23</a:t>
            </a:r>
          </a:p>
        </p:txBody>
      </p:sp>
      <p:sp>
        <p:nvSpPr>
          <p:cNvPr id="2545731" name="Text Box 67"/>
          <p:cNvSpPr txBox="1">
            <a:spLocks noChangeArrowheads="1"/>
          </p:cNvSpPr>
          <p:nvPr/>
        </p:nvSpPr>
        <p:spPr bwMode="gray">
          <a:xfrm>
            <a:off x="5409000" y="3970292"/>
            <a:ext cx="895672"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72000" tIns="72000" rIns="72000" bIns="72000" anchor="ctr" anchorCtr="0">
            <a:noAutofit/>
          </a:bodyPr>
          <a:lstStyle>
            <a:lvl1pPr marL="182563" indent="-182563"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182563" marR="0" lvl="0" indent="-182563" algn="r"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None/>
              <a:tabLst/>
              <a:defRPr/>
            </a:pPr>
            <a:r>
              <a:rPr kumimoji="0" lang="de-DE" altLang="en-US" sz="1200" b="0" i="0" u="none" strike="noStrike" kern="1200" cap="none" spc="0" normalizeH="0" baseline="0" noProof="0" dirty="0">
                <a:ln>
                  <a:noFill/>
                </a:ln>
                <a:solidFill>
                  <a:srgbClr val="D90000"/>
                </a:solidFill>
                <a:effectLst/>
                <a:uLnTx/>
                <a:uFillTx/>
                <a:latin typeface="ABBvoice"/>
                <a:ea typeface="ABBvoice"/>
                <a:cs typeface="Arial" panose="020B0604020202020204" pitchFamily="34" charset="0"/>
              </a:rPr>
              <a:t>Magnos27</a:t>
            </a:r>
          </a:p>
        </p:txBody>
      </p:sp>
      <p:sp>
        <p:nvSpPr>
          <p:cNvPr id="2545732" name="Text Box 68"/>
          <p:cNvSpPr txBox="1">
            <a:spLocks noChangeArrowheads="1"/>
          </p:cNvSpPr>
          <p:nvPr/>
        </p:nvSpPr>
        <p:spPr bwMode="gray">
          <a:xfrm>
            <a:off x="10881926" y="3959478"/>
            <a:ext cx="834475"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72000" tIns="72000" rIns="72000" bIns="72000" anchor="ctr" anchorCtr="0">
            <a:noAutofit/>
          </a:bodyPr>
          <a:lstStyle>
            <a:lvl1pPr marL="182563" indent="-182563"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D90000"/>
              </a:buClr>
              <a:buSzPct val="70000"/>
              <a:buFontTx/>
              <a:buNone/>
              <a:tabLst/>
              <a:defRPr/>
            </a:pPr>
            <a:r>
              <a:rPr kumimoji="0" lang="de-DE" altLang="en-US" sz="1200" b="0" i="0" u="none" strike="noStrike" kern="1200" cap="none" spc="0" normalizeH="0" baseline="0" noProof="0" dirty="0">
                <a:ln>
                  <a:noFill/>
                </a:ln>
                <a:solidFill>
                  <a:srgbClr val="D90000"/>
                </a:solidFill>
                <a:effectLst/>
                <a:uLnTx/>
                <a:uFillTx/>
                <a:latin typeface="Arial" panose="020B0604020202020204" pitchFamily="34" charset="0"/>
                <a:ea typeface="ABBvoice"/>
                <a:cs typeface="Arial" panose="020B0604020202020204" pitchFamily="34" charset="0"/>
              </a:rPr>
              <a:t>O</a:t>
            </a:r>
            <a:r>
              <a:rPr kumimoji="0" lang="de-DE" altLang="en-US" sz="1200" b="0" i="0" u="none" strike="noStrike" kern="1200" cap="none" spc="0" normalizeH="0" baseline="-25000" noProof="0" dirty="0">
                <a:ln>
                  <a:noFill/>
                </a:ln>
                <a:solidFill>
                  <a:srgbClr val="D90000"/>
                </a:solidFill>
                <a:effectLst/>
                <a:uLnTx/>
                <a:uFillTx/>
                <a:latin typeface="Arial" panose="020B0604020202020204" pitchFamily="34" charset="0"/>
                <a:ea typeface="ABBvoice"/>
                <a:cs typeface="Arial" panose="020B0604020202020204" pitchFamily="34" charset="0"/>
              </a:rPr>
              <a:t>2</a:t>
            </a:r>
            <a:r>
              <a:rPr kumimoji="0" lang="de-DE" altLang="en-US" sz="1200" b="0" i="0" u="none" strike="noStrike" kern="1200" cap="none" spc="0" normalizeH="0" baseline="0" noProof="0" dirty="0">
                <a:ln>
                  <a:noFill/>
                </a:ln>
                <a:solidFill>
                  <a:srgbClr val="D90000"/>
                </a:solidFill>
                <a:effectLst/>
                <a:uLnTx/>
                <a:uFillTx/>
                <a:latin typeface="Arial" panose="020B0604020202020204" pitchFamily="34" charset="0"/>
                <a:ea typeface="ABBvoice"/>
                <a:cs typeface="Arial" panose="020B0604020202020204" pitchFamily="34" charset="0"/>
              </a:rPr>
              <a:t> Sensor</a:t>
            </a:r>
            <a:endParaRPr kumimoji="0" lang="de-DE" altLang="en-US" sz="800" b="0" i="0" u="none" strike="noStrike" kern="1200" cap="none" spc="0" normalizeH="0" baseline="0" noProof="0" dirty="0">
              <a:ln>
                <a:noFill/>
              </a:ln>
              <a:solidFill>
                <a:srgbClr val="D90000"/>
              </a:solidFill>
              <a:effectLst/>
              <a:uLnTx/>
              <a:uFillTx/>
              <a:latin typeface="Arial" panose="020B0604020202020204" pitchFamily="34" charset="0"/>
              <a:ea typeface="ABBvoice"/>
              <a:cs typeface="Arial" panose="020B0604020202020204" pitchFamily="34" charset="0"/>
            </a:endParaRPr>
          </a:p>
        </p:txBody>
      </p:sp>
      <p:sp>
        <p:nvSpPr>
          <p:cNvPr id="2545734" name="Text Box 70"/>
          <p:cNvSpPr txBox="1">
            <a:spLocks noChangeArrowheads="1"/>
          </p:cNvSpPr>
          <p:nvPr/>
        </p:nvSpPr>
        <p:spPr bwMode="gray">
          <a:xfrm>
            <a:off x="5409000" y="2975104"/>
            <a:ext cx="895672"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72000" tIns="72000" rIns="72000" bIns="72000" anchor="ctr" anchorCtr="0">
            <a:noAutofit/>
          </a:bodyPr>
          <a:lstStyle>
            <a:lvl1pPr marL="182563" indent="-182563"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182563" marR="0" lvl="0" indent="-182563" algn="r" defTabSz="914400" rtl="0" eaLnBrk="1" fontAlgn="auto" latinLnBrk="0" hangingPunct="1">
              <a:lnSpc>
                <a:spcPct val="100000"/>
              </a:lnSpc>
              <a:spcBef>
                <a:spcPct val="50000"/>
              </a:spcBef>
              <a:spcAft>
                <a:spcPts val="0"/>
              </a:spcAft>
              <a:buClr>
                <a:srgbClr val="D90000"/>
              </a:buClr>
              <a:buSzPct val="70000"/>
              <a:buFont typeface="Wingdings" panose="05000000000000000000" pitchFamily="2" charset="2"/>
              <a:buNone/>
              <a:tabLst/>
              <a:defRPr/>
            </a:pPr>
            <a:r>
              <a:rPr kumimoji="0" lang="de-DE" altLang="en-US" sz="1200" b="0" i="0" u="none" strike="noStrike" kern="1200" cap="none" spc="0" normalizeH="0" baseline="0" noProof="0" dirty="0">
                <a:ln>
                  <a:noFill/>
                </a:ln>
                <a:solidFill>
                  <a:srgbClr val="D90000"/>
                </a:solidFill>
                <a:effectLst/>
                <a:uLnTx/>
                <a:uFillTx/>
                <a:latin typeface="ABBvoice"/>
                <a:ea typeface="ABBvoice"/>
                <a:cs typeface="Arial" panose="020B0604020202020204" pitchFamily="34" charset="0"/>
              </a:rPr>
              <a:t>Magnos28</a:t>
            </a:r>
          </a:p>
        </p:txBody>
      </p:sp>
      <p:sp>
        <p:nvSpPr>
          <p:cNvPr id="2545737" name="Text Box 73"/>
          <p:cNvSpPr txBox="1">
            <a:spLocks noChangeArrowheads="1"/>
          </p:cNvSpPr>
          <p:nvPr/>
        </p:nvSpPr>
        <p:spPr bwMode="gray">
          <a:xfrm>
            <a:off x="9408981" y="2055359"/>
            <a:ext cx="759466"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square" lIns="72000" tIns="0" rIns="72000" bIns="0" anchor="ctr" anchorCtr="0">
            <a:noAutofit/>
          </a:bodyPr>
          <a:lstStyle>
            <a:lvl1pPr marL="182563" indent="-182563"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D90000"/>
              </a:buClr>
              <a:buSzPct val="70000"/>
              <a:buFontTx/>
              <a:buNone/>
              <a:tabLst/>
              <a:defRPr/>
            </a:pPr>
            <a:r>
              <a:rPr kumimoji="0" lang="de-DE" altLang="en-US" sz="1200" b="0" i="0" u="none" strike="noStrike" kern="1200" cap="none" spc="0" normalizeH="0" baseline="0" noProof="0" dirty="0">
                <a:ln>
                  <a:noFill/>
                </a:ln>
                <a:solidFill>
                  <a:srgbClr val="D90000"/>
                </a:solidFill>
                <a:effectLst/>
                <a:uLnTx/>
                <a:uFillTx/>
                <a:latin typeface="ABBvoice"/>
                <a:ea typeface="ABBvoice"/>
                <a:cs typeface="Arial" panose="020B0604020202020204" pitchFamily="34" charset="0"/>
              </a:rPr>
              <a:t>Limas23</a:t>
            </a:r>
            <a:endParaRPr kumimoji="0" lang="de-DE" altLang="en-US" sz="800" b="0" i="0" u="none" strike="noStrike" kern="1200" cap="none" spc="0" normalizeH="0" baseline="0" noProof="0" dirty="0">
              <a:ln>
                <a:noFill/>
              </a:ln>
              <a:solidFill>
                <a:srgbClr val="D90000"/>
              </a:solidFill>
              <a:effectLst/>
              <a:uLnTx/>
              <a:uFillTx/>
              <a:latin typeface="ABBvoice"/>
              <a:ea typeface="ABBvoice"/>
              <a:cs typeface="Arial" panose="020B0604020202020204" pitchFamily="34" charset="0"/>
            </a:endParaRPr>
          </a:p>
        </p:txBody>
      </p:sp>
      <p:sp>
        <p:nvSpPr>
          <p:cNvPr id="44" name="Text Box 72"/>
          <p:cNvSpPr txBox="1">
            <a:spLocks noChangeArrowheads="1"/>
          </p:cNvSpPr>
          <p:nvPr/>
        </p:nvSpPr>
        <p:spPr bwMode="gray">
          <a:xfrm>
            <a:off x="7111413" y="5195833"/>
            <a:ext cx="756000"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72000" tIns="72000" rIns="72000" bIns="72000" anchor="ctr" anchorCtr="0">
            <a:noAutofit/>
          </a:bodyPr>
          <a:lstStyle>
            <a:lvl1pPr marL="182563" indent="-182563"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182563" marR="0" lvl="0" indent="-182563" algn="r" defTabSz="914400" rtl="0" eaLnBrk="1" fontAlgn="auto" latinLnBrk="0" hangingPunct="1">
              <a:lnSpc>
                <a:spcPct val="100000"/>
              </a:lnSpc>
              <a:spcBef>
                <a:spcPct val="50000"/>
              </a:spcBef>
              <a:spcAft>
                <a:spcPts val="0"/>
              </a:spcAft>
              <a:buClr>
                <a:srgbClr val="D90000"/>
              </a:buClr>
              <a:buSzPct val="70000"/>
              <a:buFontTx/>
              <a:buNone/>
              <a:tabLst/>
              <a:defRPr/>
            </a:pPr>
            <a:r>
              <a:rPr kumimoji="0" lang="de-DE" altLang="en-US" sz="1200" b="0" i="0" u="none" strike="noStrike" kern="1200" cap="none" spc="0" normalizeH="0" baseline="0" noProof="0" dirty="0">
                <a:ln>
                  <a:noFill/>
                </a:ln>
                <a:solidFill>
                  <a:srgbClr val="D90000"/>
                </a:solidFill>
                <a:effectLst/>
                <a:uLnTx/>
                <a:uFillTx/>
                <a:latin typeface="Arial" panose="020B0604020202020204" pitchFamily="34" charset="0"/>
                <a:ea typeface="ABBvoice"/>
                <a:cs typeface="Arial" panose="020B0604020202020204" pitchFamily="34" charset="0"/>
              </a:rPr>
              <a:t>Fidas24</a:t>
            </a:r>
          </a:p>
        </p:txBody>
      </p:sp>
      <p:grpSp>
        <p:nvGrpSpPr>
          <p:cNvPr id="142" name="Group 141"/>
          <p:cNvGrpSpPr/>
          <p:nvPr/>
        </p:nvGrpSpPr>
        <p:grpSpPr bwMode="gray">
          <a:xfrm>
            <a:off x="7976874" y="2039346"/>
            <a:ext cx="355290" cy="335706"/>
            <a:chOff x="-640260" y="1957916"/>
            <a:chExt cx="355290" cy="335706"/>
          </a:xfrm>
        </p:grpSpPr>
        <p:sp>
          <p:nvSpPr>
            <p:cNvPr id="143" name="Rectangle 17"/>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44" name="Rectangle 16"/>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145" name="Straight Connector 144"/>
            <p:cNvCxnSpPr/>
            <p:nvPr/>
          </p:nvCxnSpPr>
          <p:spPr bwMode="gray">
            <a:xfrm rot="5400000" flipH="1">
              <a:off x="-481603" y="1981616"/>
              <a:ext cx="474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46" name="Straight Connector 145"/>
            <p:cNvCxnSpPr/>
            <p:nvPr/>
          </p:nvCxnSpPr>
          <p:spPr bwMode="gray">
            <a:xfrm rot="5400000" flipH="1">
              <a:off x="-481603" y="2269922"/>
              <a:ext cx="474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47" name="Straight Connector 146"/>
            <p:cNvCxnSpPr/>
            <p:nvPr/>
          </p:nvCxnSpPr>
          <p:spPr bwMode="gray">
            <a:xfrm rot="2503489" flipH="1">
              <a:off x="-370223" y="2225091"/>
              <a:ext cx="474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48" name="Straight Connector 147"/>
            <p:cNvCxnSpPr/>
            <p:nvPr/>
          </p:nvCxnSpPr>
          <p:spPr bwMode="gray">
            <a:xfrm rot="8296511">
              <a:off x="-370223" y="2026447"/>
              <a:ext cx="474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49" name="Straight Connector 148"/>
            <p:cNvCxnSpPr/>
            <p:nvPr/>
          </p:nvCxnSpPr>
          <p:spPr bwMode="gray">
            <a:xfrm rot="10800000">
              <a:off x="-332370" y="2125769"/>
              <a:ext cx="47400"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nvGrpSpPr>
            <p:cNvPr id="150" name="Group 149"/>
            <p:cNvGrpSpPr/>
            <p:nvPr/>
          </p:nvGrpSpPr>
          <p:grpSpPr bwMode="gray">
            <a:xfrm>
              <a:off x="-507951" y="2091078"/>
              <a:ext cx="84957" cy="65573"/>
              <a:chOff x="-2412348" y="2137408"/>
              <a:chExt cx="717156" cy="553527"/>
            </a:xfrm>
          </p:grpSpPr>
          <p:sp>
            <p:nvSpPr>
              <p:cNvPr id="151" name="Parallelogram 1029"/>
              <p:cNvSpPr/>
              <p:nvPr/>
            </p:nvSpPr>
            <p:spPr bwMode="gray">
              <a:xfrm flipH="1">
                <a:off x="-2128068" y="2137408"/>
                <a:ext cx="432876"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52" name="Rectangle 151"/>
              <p:cNvSpPr/>
              <p:nvPr/>
            </p:nvSpPr>
            <p:spPr bwMode="gray">
              <a:xfrm>
                <a:off x="-2412348" y="2137408"/>
                <a:ext cx="83823" cy="553527"/>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nvGrpSpPr>
          <p:cNvPr id="166" name="Group 165"/>
          <p:cNvGrpSpPr/>
          <p:nvPr/>
        </p:nvGrpSpPr>
        <p:grpSpPr bwMode="gray">
          <a:xfrm>
            <a:off x="8953512" y="2043653"/>
            <a:ext cx="355290" cy="335706"/>
            <a:chOff x="-1383434" y="2706826"/>
            <a:chExt cx="355290" cy="335706"/>
          </a:xfrm>
        </p:grpSpPr>
        <p:grpSp>
          <p:nvGrpSpPr>
            <p:cNvPr id="167" name="Group 166"/>
            <p:cNvGrpSpPr/>
            <p:nvPr/>
          </p:nvGrpSpPr>
          <p:grpSpPr bwMode="gray">
            <a:xfrm rot="5400000">
              <a:off x="-1373642" y="2697034"/>
              <a:ext cx="335706" cy="355290"/>
              <a:chOff x="7048367" y="2836970"/>
              <a:chExt cx="571234" cy="604559"/>
            </a:xfrm>
            <a:noFill/>
          </p:grpSpPr>
          <p:sp>
            <p:nvSpPr>
              <p:cNvPr id="171" name="Rectangle 17"/>
              <p:cNvSpPr/>
              <p:nvPr/>
            </p:nvSpPr>
            <p:spPr bwMode="gray">
              <a:xfrm>
                <a:off x="7231075" y="3337062"/>
                <a:ext cx="195681" cy="104467"/>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72" name="Rectangle 16"/>
              <p:cNvSpPr/>
              <p:nvPr/>
            </p:nvSpPr>
            <p:spPr bwMode="gray">
              <a:xfrm>
                <a:off x="7175632" y="2976185"/>
                <a:ext cx="306567" cy="360876"/>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173" name="Straight Connector 172"/>
              <p:cNvCxnSpPr/>
              <p:nvPr/>
            </p:nvCxnSpPr>
            <p:spPr bwMode="gray">
              <a:xfrm flipH="1">
                <a:off x="7048367" y="3131232"/>
                <a:ext cx="80655"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74" name="Straight Connector 173"/>
              <p:cNvCxnSpPr/>
              <p:nvPr/>
            </p:nvCxnSpPr>
            <p:spPr bwMode="gray">
              <a:xfrm flipH="1">
                <a:off x="7538946" y="3131232"/>
                <a:ext cx="80655"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75" name="Straight Connector 174"/>
              <p:cNvCxnSpPr/>
              <p:nvPr/>
            </p:nvCxnSpPr>
            <p:spPr bwMode="gray">
              <a:xfrm rot="18703489" flipH="1">
                <a:off x="7462663" y="2941708"/>
                <a:ext cx="80655"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76" name="Straight Connector 175"/>
              <p:cNvCxnSpPr/>
              <p:nvPr/>
            </p:nvCxnSpPr>
            <p:spPr bwMode="gray">
              <a:xfrm rot="2896511">
                <a:off x="7124651" y="2941708"/>
                <a:ext cx="80655"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177" name="Straight Connector 176"/>
              <p:cNvCxnSpPr/>
              <p:nvPr/>
            </p:nvCxnSpPr>
            <p:spPr bwMode="gray">
              <a:xfrm rot="5400000">
                <a:off x="7293657" y="2877298"/>
                <a:ext cx="80655" cy="0"/>
              </a:xfrm>
              <a:prstGeom prst="lin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168" name="Group 167"/>
            <p:cNvGrpSpPr/>
            <p:nvPr/>
          </p:nvGrpSpPr>
          <p:grpSpPr bwMode="gray">
            <a:xfrm>
              <a:off x="-1260274" y="2842575"/>
              <a:ext cx="111063" cy="64198"/>
              <a:chOff x="-2190753" y="2577465"/>
              <a:chExt cx="719458" cy="415868"/>
            </a:xfrm>
          </p:grpSpPr>
          <p:sp>
            <p:nvSpPr>
              <p:cNvPr id="169" name="Freeform 168"/>
              <p:cNvSpPr/>
              <p:nvPr/>
            </p:nvSpPr>
            <p:spPr bwMode="gray">
              <a:xfrm>
                <a:off x="-1837055" y="2577465"/>
                <a:ext cx="365760" cy="409575"/>
              </a:xfrm>
              <a:custGeom>
                <a:avLst/>
                <a:gdLst>
                  <a:gd name="connsiteX0" fmla="*/ 0 w 365760"/>
                  <a:gd name="connsiteY0" fmla="*/ 0 h 409575"/>
                  <a:gd name="connsiteX1" fmla="*/ 70485 w 365760"/>
                  <a:gd name="connsiteY1" fmla="*/ 0 h 409575"/>
                  <a:gd name="connsiteX2" fmla="*/ 184785 w 365760"/>
                  <a:gd name="connsiteY2" fmla="*/ 340995 h 409575"/>
                  <a:gd name="connsiteX3" fmla="*/ 300990 w 365760"/>
                  <a:gd name="connsiteY3" fmla="*/ 0 h 409575"/>
                  <a:gd name="connsiteX4" fmla="*/ 365760 w 365760"/>
                  <a:gd name="connsiteY4" fmla="*/ 0 h 409575"/>
                  <a:gd name="connsiteX5" fmla="*/ 217170 w 365760"/>
                  <a:gd name="connsiteY5" fmla="*/ 409575 h 409575"/>
                  <a:gd name="connsiteX6" fmla="*/ 150495 w 365760"/>
                  <a:gd name="connsiteY6" fmla="*/ 409575 h 409575"/>
                  <a:gd name="connsiteX7" fmla="*/ 0 w 365760"/>
                  <a:gd name="connsiteY7" fmla="*/ 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60" h="409575">
                    <a:moveTo>
                      <a:pt x="0" y="0"/>
                    </a:moveTo>
                    <a:lnTo>
                      <a:pt x="70485" y="0"/>
                    </a:lnTo>
                    <a:lnTo>
                      <a:pt x="184785" y="340995"/>
                    </a:lnTo>
                    <a:lnTo>
                      <a:pt x="300990" y="0"/>
                    </a:lnTo>
                    <a:lnTo>
                      <a:pt x="365760" y="0"/>
                    </a:lnTo>
                    <a:lnTo>
                      <a:pt x="217170" y="409575"/>
                    </a:lnTo>
                    <a:lnTo>
                      <a:pt x="150495" y="409575"/>
                    </a:lnTo>
                    <a:lnTo>
                      <a:pt x="0" y="0"/>
                    </a:lnTo>
                    <a:close/>
                  </a:path>
                </a:pathLst>
              </a:cu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70" name="Flowchart: Delay 121"/>
              <p:cNvSpPr/>
              <p:nvPr/>
            </p:nvSpPr>
            <p:spPr bwMode="gray">
              <a:xfrm rot="16200000" flipH="1">
                <a:off x="-2233462" y="2620756"/>
                <a:ext cx="415286" cy="329868"/>
              </a:xfrm>
              <a:custGeom>
                <a:avLst/>
                <a:gdLst/>
                <a:ahLst/>
                <a:cxnLst/>
                <a:rect l="l" t="t" r="r" b="b"/>
                <a:pathLst>
                  <a:path w="415286" h="329868">
                    <a:moveTo>
                      <a:pt x="0" y="0"/>
                    </a:moveTo>
                    <a:lnTo>
                      <a:pt x="0" y="58254"/>
                    </a:lnTo>
                    <a:lnTo>
                      <a:pt x="35612" y="58254"/>
                    </a:lnTo>
                    <a:lnTo>
                      <a:pt x="35612" y="58253"/>
                    </a:lnTo>
                    <a:lnTo>
                      <a:pt x="242796" y="58253"/>
                    </a:lnTo>
                    <a:cubicBezTo>
                      <a:pt x="307575" y="58253"/>
                      <a:pt x="360154" y="105927"/>
                      <a:pt x="360510" y="164934"/>
                    </a:cubicBezTo>
                    <a:cubicBezTo>
                      <a:pt x="360154" y="223941"/>
                      <a:pt x="307575" y="271615"/>
                      <a:pt x="242796" y="271615"/>
                    </a:cubicBezTo>
                    <a:lnTo>
                      <a:pt x="35612" y="271615"/>
                    </a:lnTo>
                    <a:lnTo>
                      <a:pt x="35612" y="271614"/>
                    </a:lnTo>
                    <a:lnTo>
                      <a:pt x="0" y="271614"/>
                    </a:lnTo>
                    <a:lnTo>
                      <a:pt x="0" y="329868"/>
                    </a:lnTo>
                    <a:lnTo>
                      <a:pt x="264652" y="329868"/>
                    </a:lnTo>
                    <a:cubicBezTo>
                      <a:pt x="347267" y="329868"/>
                      <a:pt x="414348" y="256627"/>
                      <a:pt x="414937" y="165886"/>
                    </a:cubicBezTo>
                    <a:lnTo>
                      <a:pt x="415286" y="165886"/>
                    </a:lnTo>
                    <a:cubicBezTo>
                      <a:pt x="415286" y="165568"/>
                      <a:pt x="415285" y="165251"/>
                      <a:pt x="415112" y="164934"/>
                    </a:cubicBezTo>
                    <a:cubicBezTo>
                      <a:pt x="415285" y="164618"/>
                      <a:pt x="415286" y="164300"/>
                      <a:pt x="415286" y="163982"/>
                    </a:cubicBezTo>
                    <a:lnTo>
                      <a:pt x="414937" y="163982"/>
                    </a:lnTo>
                    <a:cubicBezTo>
                      <a:pt x="414348" y="73241"/>
                      <a:pt x="347267" y="0"/>
                      <a:pt x="264652" y="0"/>
                    </a:cubicBezTo>
                    <a:close/>
                  </a:path>
                </a:pathLst>
              </a:cu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nvGrpSpPr>
          <p:cNvPr id="178" name="Group 177"/>
          <p:cNvGrpSpPr/>
          <p:nvPr/>
        </p:nvGrpSpPr>
        <p:grpSpPr bwMode="gray">
          <a:xfrm>
            <a:off x="7996719" y="5217238"/>
            <a:ext cx="263416" cy="240551"/>
            <a:chOff x="-967926" y="3169597"/>
            <a:chExt cx="575910" cy="644168"/>
          </a:xfrm>
        </p:grpSpPr>
        <p:sp>
          <p:nvSpPr>
            <p:cNvPr id="179" name="Freeform 178"/>
            <p:cNvSpPr/>
            <p:nvPr/>
          </p:nvSpPr>
          <p:spPr bwMode="gray">
            <a:xfrm>
              <a:off x="-967926" y="3169597"/>
              <a:ext cx="575910" cy="644168"/>
            </a:xfrm>
            <a:custGeom>
              <a:avLst/>
              <a:gdLst>
                <a:gd name="connsiteX0" fmla="*/ 394445 w 915582"/>
                <a:gd name="connsiteY0" fmla="*/ 1530534 h 1530534"/>
                <a:gd name="connsiteX1" fmla="*/ 2559 w 915582"/>
                <a:gd name="connsiteY1" fmla="*/ 937681 h 1530534"/>
                <a:gd name="connsiteX2" fmla="*/ 223623 w 915582"/>
                <a:gd name="connsiteY2" fmla="*/ 596037 h 1530534"/>
                <a:gd name="connsiteX3" fmla="*/ 193478 w 915582"/>
                <a:gd name="connsiteY3" fmla="*/ 3184 h 1530534"/>
                <a:gd name="connsiteX4" fmla="*/ 906911 w 915582"/>
                <a:gd name="connsiteY4" fmla="*/ 877391 h 1530534"/>
                <a:gd name="connsiteX5" fmla="*/ 525073 w 915582"/>
                <a:gd name="connsiteY5" fmla="*/ 1530534 h 1530534"/>
                <a:gd name="connsiteX0" fmla="*/ 63771 w 1112883"/>
                <a:gd name="connsiteY0" fmla="*/ 1460487 h 1530534"/>
                <a:gd name="connsiteX1" fmla="*/ 199860 w 1112883"/>
                <a:gd name="connsiteY1" fmla="*/ 937681 h 1530534"/>
                <a:gd name="connsiteX2" fmla="*/ 420924 w 1112883"/>
                <a:gd name="connsiteY2" fmla="*/ 596037 h 1530534"/>
                <a:gd name="connsiteX3" fmla="*/ 390779 w 1112883"/>
                <a:gd name="connsiteY3" fmla="*/ 3184 h 1530534"/>
                <a:gd name="connsiteX4" fmla="*/ 1104212 w 1112883"/>
                <a:gd name="connsiteY4" fmla="*/ 877391 h 1530534"/>
                <a:gd name="connsiteX5" fmla="*/ 722374 w 1112883"/>
                <a:gd name="connsiteY5" fmla="*/ 1530534 h 1530534"/>
                <a:gd name="connsiteX0" fmla="*/ 63772 w 1109482"/>
                <a:gd name="connsiteY0" fmla="*/ 1460487 h 1514369"/>
                <a:gd name="connsiteX1" fmla="*/ 199861 w 1109482"/>
                <a:gd name="connsiteY1" fmla="*/ 937681 h 1514369"/>
                <a:gd name="connsiteX2" fmla="*/ 420925 w 1109482"/>
                <a:gd name="connsiteY2" fmla="*/ 596037 h 1514369"/>
                <a:gd name="connsiteX3" fmla="*/ 390780 w 1109482"/>
                <a:gd name="connsiteY3" fmla="*/ 3184 h 1514369"/>
                <a:gd name="connsiteX4" fmla="*/ 1104213 w 1109482"/>
                <a:gd name="connsiteY4" fmla="*/ 877391 h 1514369"/>
                <a:gd name="connsiteX5" fmla="*/ 548092 w 1109482"/>
                <a:gd name="connsiteY5" fmla="*/ 1514369 h 1514369"/>
                <a:gd name="connsiteX0" fmla="*/ 63772 w 874709"/>
                <a:gd name="connsiteY0" fmla="*/ 1460715 h 1514597"/>
                <a:gd name="connsiteX1" fmla="*/ 199861 w 874709"/>
                <a:gd name="connsiteY1" fmla="*/ 937909 h 1514597"/>
                <a:gd name="connsiteX2" fmla="*/ 420925 w 874709"/>
                <a:gd name="connsiteY2" fmla="*/ 596265 h 1514597"/>
                <a:gd name="connsiteX3" fmla="*/ 390780 w 874709"/>
                <a:gd name="connsiteY3" fmla="*/ 3412 h 1514597"/>
                <a:gd name="connsiteX4" fmla="*/ 863293 w 874709"/>
                <a:gd name="connsiteY4" fmla="*/ 888395 h 1514597"/>
                <a:gd name="connsiteX5" fmla="*/ 548092 w 874709"/>
                <a:gd name="connsiteY5" fmla="*/ 1514597 h 1514597"/>
                <a:gd name="connsiteX0" fmla="*/ 191224 w 1002160"/>
                <a:gd name="connsiteY0" fmla="*/ 1460745 h 1514627"/>
                <a:gd name="connsiteX1" fmla="*/ 24880 w 1002160"/>
                <a:gd name="connsiteY1" fmla="*/ 964881 h 1514627"/>
                <a:gd name="connsiteX2" fmla="*/ 548377 w 1002160"/>
                <a:gd name="connsiteY2" fmla="*/ 596295 h 1514627"/>
                <a:gd name="connsiteX3" fmla="*/ 518232 w 1002160"/>
                <a:gd name="connsiteY3" fmla="*/ 3442 h 1514627"/>
                <a:gd name="connsiteX4" fmla="*/ 990745 w 1002160"/>
                <a:gd name="connsiteY4" fmla="*/ 888425 h 1514627"/>
                <a:gd name="connsiteX5" fmla="*/ 675544 w 1002160"/>
                <a:gd name="connsiteY5" fmla="*/ 1514627 h 1514627"/>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72063 h 1525945"/>
                <a:gd name="connsiteX1" fmla="*/ 6383 w 983663"/>
                <a:gd name="connsiteY1" fmla="*/ 976199 h 1525945"/>
                <a:gd name="connsiteX2" fmla="*/ 268455 w 983663"/>
                <a:gd name="connsiteY2" fmla="*/ 532179 h 1525945"/>
                <a:gd name="connsiteX3" fmla="*/ 499735 w 983663"/>
                <a:gd name="connsiteY3" fmla="*/ 14760 h 1525945"/>
                <a:gd name="connsiteX4" fmla="*/ 972248 w 983663"/>
                <a:gd name="connsiteY4" fmla="*/ 899743 h 1525945"/>
                <a:gd name="connsiteX5" fmla="*/ 657047 w 983663"/>
                <a:gd name="connsiteY5" fmla="*/ 1525945 h 1525945"/>
                <a:gd name="connsiteX0" fmla="*/ 172727 w 983663"/>
                <a:gd name="connsiteY0" fmla="*/ 1456181 h 1510063"/>
                <a:gd name="connsiteX1" fmla="*/ 6383 w 983663"/>
                <a:gd name="connsiteY1" fmla="*/ 960317 h 1510063"/>
                <a:gd name="connsiteX2" fmla="*/ 268455 w 983663"/>
                <a:gd name="connsiteY2" fmla="*/ 516297 h 1510063"/>
                <a:gd name="connsiteX3" fmla="*/ 443349 w 983663"/>
                <a:gd name="connsiteY3" fmla="*/ 15043 h 1510063"/>
                <a:gd name="connsiteX4" fmla="*/ 972248 w 983663"/>
                <a:gd name="connsiteY4" fmla="*/ 883861 h 1510063"/>
                <a:gd name="connsiteX5" fmla="*/ 657047 w 983663"/>
                <a:gd name="connsiteY5" fmla="*/ 1510063 h 1510063"/>
                <a:gd name="connsiteX0" fmla="*/ 171348 w 982284"/>
                <a:gd name="connsiteY0" fmla="*/ 1447162 h 1501044"/>
                <a:gd name="connsiteX1" fmla="*/ 5004 w 982284"/>
                <a:gd name="connsiteY1" fmla="*/ 951298 h 1501044"/>
                <a:gd name="connsiteX2" fmla="*/ 246573 w 982284"/>
                <a:gd name="connsiteY2" fmla="*/ 512666 h 1501044"/>
                <a:gd name="connsiteX3" fmla="*/ 441970 w 982284"/>
                <a:gd name="connsiteY3" fmla="*/ 6024 h 1501044"/>
                <a:gd name="connsiteX4" fmla="*/ 970869 w 982284"/>
                <a:gd name="connsiteY4" fmla="*/ 874842 h 1501044"/>
                <a:gd name="connsiteX5" fmla="*/ 655668 w 982284"/>
                <a:gd name="connsiteY5" fmla="*/ 1501044 h 1501044"/>
                <a:gd name="connsiteX0" fmla="*/ 171348 w 982284"/>
                <a:gd name="connsiteY0" fmla="*/ 1457131 h 1511013"/>
                <a:gd name="connsiteX1" fmla="*/ 5004 w 982284"/>
                <a:gd name="connsiteY1" fmla="*/ 961267 h 1511013"/>
                <a:gd name="connsiteX2" fmla="*/ 246573 w 982284"/>
                <a:gd name="connsiteY2" fmla="*/ 522635 h 1511013"/>
                <a:gd name="connsiteX3" fmla="*/ 441970 w 982284"/>
                <a:gd name="connsiteY3" fmla="*/ 15993 h 1511013"/>
                <a:gd name="connsiteX4" fmla="*/ 970869 w 982284"/>
                <a:gd name="connsiteY4" fmla="*/ 884811 h 1511013"/>
                <a:gd name="connsiteX5" fmla="*/ 655668 w 982284"/>
                <a:gd name="connsiteY5" fmla="*/ 1511013 h 1511013"/>
                <a:gd name="connsiteX0" fmla="*/ 184998 w 995934"/>
                <a:gd name="connsiteY0" fmla="*/ 1441330 h 1495212"/>
                <a:gd name="connsiteX1" fmla="*/ 18654 w 995934"/>
                <a:gd name="connsiteY1" fmla="*/ 945466 h 1495212"/>
                <a:gd name="connsiteX2" fmla="*/ 455620 w 995934"/>
                <a:gd name="connsiteY2" fmla="*/ 192 h 1495212"/>
                <a:gd name="connsiteX3" fmla="*/ 984519 w 995934"/>
                <a:gd name="connsiteY3" fmla="*/ 869010 h 1495212"/>
                <a:gd name="connsiteX4" fmla="*/ 669318 w 995934"/>
                <a:gd name="connsiteY4" fmla="*/ 1495212 h 1495212"/>
                <a:gd name="connsiteX0" fmla="*/ 184998 w 995934"/>
                <a:gd name="connsiteY0" fmla="*/ 1462589 h 1516471"/>
                <a:gd name="connsiteX1" fmla="*/ 18654 w 995934"/>
                <a:gd name="connsiteY1" fmla="*/ 966725 h 1516471"/>
                <a:gd name="connsiteX2" fmla="*/ 455620 w 995934"/>
                <a:gd name="connsiteY2" fmla="*/ 21451 h 1516471"/>
                <a:gd name="connsiteX3" fmla="*/ 984519 w 995934"/>
                <a:gd name="connsiteY3" fmla="*/ 890269 h 1516471"/>
                <a:gd name="connsiteX4" fmla="*/ 669318 w 995934"/>
                <a:gd name="connsiteY4" fmla="*/ 1516471 h 1516471"/>
                <a:gd name="connsiteX0" fmla="*/ 178447 w 989383"/>
                <a:gd name="connsiteY0" fmla="*/ 1462589 h 1516471"/>
                <a:gd name="connsiteX1" fmla="*/ 12103 w 989383"/>
                <a:gd name="connsiteY1" fmla="*/ 966725 h 1516471"/>
                <a:gd name="connsiteX2" fmla="*/ 449069 w 989383"/>
                <a:gd name="connsiteY2" fmla="*/ 21451 h 1516471"/>
                <a:gd name="connsiteX3" fmla="*/ 977968 w 989383"/>
                <a:gd name="connsiteY3" fmla="*/ 890269 h 1516471"/>
                <a:gd name="connsiteX4" fmla="*/ 662767 w 989383"/>
                <a:gd name="connsiteY4" fmla="*/ 1516471 h 1516471"/>
                <a:gd name="connsiteX0" fmla="*/ 172077 w 983013"/>
                <a:gd name="connsiteY0" fmla="*/ 1462589 h 1516471"/>
                <a:gd name="connsiteX1" fmla="*/ 5733 w 983013"/>
                <a:gd name="connsiteY1" fmla="*/ 966725 h 1516471"/>
                <a:gd name="connsiteX2" fmla="*/ 442699 w 983013"/>
                <a:gd name="connsiteY2" fmla="*/ 21451 h 1516471"/>
                <a:gd name="connsiteX3" fmla="*/ 971598 w 983013"/>
                <a:gd name="connsiteY3" fmla="*/ 890269 h 1516471"/>
                <a:gd name="connsiteX4" fmla="*/ 656397 w 983013"/>
                <a:gd name="connsiteY4" fmla="*/ 1516471 h 1516471"/>
                <a:gd name="connsiteX0" fmla="*/ 167713 w 978649"/>
                <a:gd name="connsiteY0" fmla="*/ 1462589 h 1516471"/>
                <a:gd name="connsiteX1" fmla="*/ 1369 w 978649"/>
                <a:gd name="connsiteY1" fmla="*/ 966725 h 1516471"/>
                <a:gd name="connsiteX2" fmla="*/ 438335 w 978649"/>
                <a:gd name="connsiteY2" fmla="*/ 21451 h 1516471"/>
                <a:gd name="connsiteX3" fmla="*/ 967234 w 978649"/>
                <a:gd name="connsiteY3" fmla="*/ 890269 h 1516471"/>
                <a:gd name="connsiteX4" fmla="*/ 652033 w 978649"/>
                <a:gd name="connsiteY4" fmla="*/ 1516471 h 1516471"/>
                <a:gd name="connsiteX0" fmla="*/ 194053 w 984485"/>
                <a:gd name="connsiteY0" fmla="*/ 1489530 h 1516471"/>
                <a:gd name="connsiteX1" fmla="*/ 7205 w 984485"/>
                <a:gd name="connsiteY1" fmla="*/ 966725 h 1516471"/>
                <a:gd name="connsiteX2" fmla="*/ 444171 w 984485"/>
                <a:gd name="connsiteY2" fmla="*/ 21451 h 1516471"/>
                <a:gd name="connsiteX3" fmla="*/ 973070 w 984485"/>
                <a:gd name="connsiteY3" fmla="*/ 890269 h 1516471"/>
                <a:gd name="connsiteX4" fmla="*/ 657869 w 984485"/>
                <a:gd name="connsiteY4" fmla="*/ 1516471 h 1516471"/>
                <a:gd name="connsiteX0" fmla="*/ 194054 w 983258"/>
                <a:gd name="connsiteY0" fmla="*/ 1489530 h 1489530"/>
                <a:gd name="connsiteX1" fmla="*/ 7206 w 983258"/>
                <a:gd name="connsiteY1" fmla="*/ 966725 h 1489530"/>
                <a:gd name="connsiteX2" fmla="*/ 444172 w 983258"/>
                <a:gd name="connsiteY2" fmla="*/ 21451 h 1489530"/>
                <a:gd name="connsiteX3" fmla="*/ 973071 w 983258"/>
                <a:gd name="connsiteY3" fmla="*/ 890269 h 1489530"/>
                <a:gd name="connsiteX4" fmla="*/ 632240 w 983258"/>
                <a:gd name="connsiteY4" fmla="*/ 1489530 h 1489530"/>
                <a:gd name="connsiteX0" fmla="*/ 194054 w 958856"/>
                <a:gd name="connsiteY0" fmla="*/ 1468401 h 1468401"/>
                <a:gd name="connsiteX1" fmla="*/ 7206 w 958856"/>
                <a:gd name="connsiteY1" fmla="*/ 945596 h 1468401"/>
                <a:gd name="connsiteX2" fmla="*/ 444172 w 958856"/>
                <a:gd name="connsiteY2" fmla="*/ 322 h 1468401"/>
                <a:gd name="connsiteX3" fmla="*/ 947441 w 958856"/>
                <a:gd name="connsiteY3" fmla="*/ 847587 h 1468401"/>
                <a:gd name="connsiteX4" fmla="*/ 632240 w 958856"/>
                <a:gd name="connsiteY4" fmla="*/ 1468401 h 1468401"/>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466 h 1473466"/>
                <a:gd name="connsiteX1" fmla="*/ 6054 w 957704"/>
                <a:gd name="connsiteY1" fmla="*/ 950661 h 1473466"/>
                <a:gd name="connsiteX2" fmla="*/ 417391 w 957704"/>
                <a:gd name="connsiteY2" fmla="*/ -1 h 1473466"/>
                <a:gd name="connsiteX3" fmla="*/ 946289 w 957704"/>
                <a:gd name="connsiteY3" fmla="*/ 852652 h 1473466"/>
                <a:gd name="connsiteX4" fmla="*/ 631088 w 957704"/>
                <a:gd name="connsiteY4" fmla="*/ 1473466 h 1473466"/>
                <a:gd name="connsiteX0" fmla="*/ 192902 w 943205"/>
                <a:gd name="connsiteY0" fmla="*/ 1473467 h 1473467"/>
                <a:gd name="connsiteX1" fmla="*/ 6054 w 943205"/>
                <a:gd name="connsiteY1" fmla="*/ 950662 h 1473467"/>
                <a:gd name="connsiteX2" fmla="*/ 417391 w 943205"/>
                <a:gd name="connsiteY2" fmla="*/ 0 h 1473467"/>
                <a:gd name="connsiteX3" fmla="*/ 930912 w 943205"/>
                <a:gd name="connsiteY3" fmla="*/ 852653 h 1473467"/>
                <a:gd name="connsiteX4" fmla="*/ 631088 w 943205"/>
                <a:gd name="connsiteY4" fmla="*/ 1473467 h 1473467"/>
                <a:gd name="connsiteX0" fmla="*/ 190405 w 940708"/>
                <a:gd name="connsiteY0" fmla="*/ 1495020 h 1495020"/>
                <a:gd name="connsiteX1" fmla="*/ 3557 w 940708"/>
                <a:gd name="connsiteY1" fmla="*/ 972215 h 1495020"/>
                <a:gd name="connsiteX2" fmla="*/ 353382 w 940708"/>
                <a:gd name="connsiteY2" fmla="*/ 0 h 1495020"/>
                <a:gd name="connsiteX3" fmla="*/ 928415 w 940708"/>
                <a:gd name="connsiteY3" fmla="*/ 874206 h 1495020"/>
                <a:gd name="connsiteX4" fmla="*/ 628591 w 940708"/>
                <a:gd name="connsiteY4" fmla="*/ 1495020 h 1495020"/>
                <a:gd name="connsiteX0" fmla="*/ 281357 w 1031660"/>
                <a:gd name="connsiteY0" fmla="*/ 1495020 h 1495020"/>
                <a:gd name="connsiteX1" fmla="*/ 2242 w 1031660"/>
                <a:gd name="connsiteY1" fmla="*/ 934498 h 1495020"/>
                <a:gd name="connsiteX2" fmla="*/ 444334 w 1031660"/>
                <a:gd name="connsiteY2" fmla="*/ 0 h 1495020"/>
                <a:gd name="connsiteX3" fmla="*/ 1019367 w 1031660"/>
                <a:gd name="connsiteY3" fmla="*/ 874206 h 1495020"/>
                <a:gd name="connsiteX4" fmla="*/ 719543 w 1031660"/>
                <a:gd name="connsiteY4" fmla="*/ 1495020 h 1495020"/>
                <a:gd name="connsiteX0" fmla="*/ 280647 w 1030950"/>
                <a:gd name="connsiteY0" fmla="*/ 1495020 h 1495020"/>
                <a:gd name="connsiteX1" fmla="*/ 1532 w 1030950"/>
                <a:gd name="connsiteY1" fmla="*/ 934498 h 1495020"/>
                <a:gd name="connsiteX2" fmla="*/ 443624 w 1030950"/>
                <a:gd name="connsiteY2" fmla="*/ 0 h 1495020"/>
                <a:gd name="connsiteX3" fmla="*/ 1018657 w 1030950"/>
                <a:gd name="connsiteY3" fmla="*/ 874206 h 1495020"/>
                <a:gd name="connsiteX4" fmla="*/ 718833 w 1030950"/>
                <a:gd name="connsiteY4" fmla="*/ 1495020 h 1495020"/>
                <a:gd name="connsiteX0" fmla="*/ 298745 w 1031106"/>
                <a:gd name="connsiteY0" fmla="*/ 1503102 h 1503102"/>
                <a:gd name="connsiteX1" fmla="*/ 1688 w 1031106"/>
                <a:gd name="connsiteY1" fmla="*/ 934498 h 1503102"/>
                <a:gd name="connsiteX2" fmla="*/ 443780 w 1031106"/>
                <a:gd name="connsiteY2" fmla="*/ 0 h 1503102"/>
                <a:gd name="connsiteX3" fmla="*/ 1018813 w 1031106"/>
                <a:gd name="connsiteY3" fmla="*/ 874206 h 1503102"/>
                <a:gd name="connsiteX4" fmla="*/ 718989 w 1031106"/>
                <a:gd name="connsiteY4" fmla="*/ 1495020 h 1503102"/>
                <a:gd name="connsiteX0" fmla="*/ 299147 w 1031508"/>
                <a:gd name="connsiteY0" fmla="*/ 1503102 h 1503102"/>
                <a:gd name="connsiteX1" fmla="*/ 2090 w 1031508"/>
                <a:gd name="connsiteY1" fmla="*/ 934498 h 1503102"/>
                <a:gd name="connsiteX2" fmla="*/ 444182 w 1031508"/>
                <a:gd name="connsiteY2" fmla="*/ 0 h 1503102"/>
                <a:gd name="connsiteX3" fmla="*/ 1019215 w 1031508"/>
                <a:gd name="connsiteY3" fmla="*/ 874206 h 1503102"/>
                <a:gd name="connsiteX4" fmla="*/ 719391 w 1031508"/>
                <a:gd name="connsiteY4" fmla="*/ 1495020 h 1503102"/>
                <a:gd name="connsiteX0" fmla="*/ 301686 w 1034047"/>
                <a:gd name="connsiteY0" fmla="*/ 1503102 h 1503102"/>
                <a:gd name="connsiteX1" fmla="*/ 2065 w 1034047"/>
                <a:gd name="connsiteY1" fmla="*/ 972215 h 1503102"/>
                <a:gd name="connsiteX2" fmla="*/ 446721 w 1034047"/>
                <a:gd name="connsiteY2" fmla="*/ 0 h 1503102"/>
                <a:gd name="connsiteX3" fmla="*/ 1021754 w 1034047"/>
                <a:gd name="connsiteY3" fmla="*/ 874206 h 1503102"/>
                <a:gd name="connsiteX4" fmla="*/ 721930 w 1034047"/>
                <a:gd name="connsiteY4" fmla="*/ 1495020 h 1503102"/>
                <a:gd name="connsiteX0" fmla="*/ 316925 w 1049286"/>
                <a:gd name="connsiteY0" fmla="*/ 1503102 h 1503102"/>
                <a:gd name="connsiteX1" fmla="*/ 1926 w 1049286"/>
                <a:gd name="connsiteY1" fmla="*/ 988380 h 1503102"/>
                <a:gd name="connsiteX2" fmla="*/ 461960 w 1049286"/>
                <a:gd name="connsiteY2" fmla="*/ 0 h 1503102"/>
                <a:gd name="connsiteX3" fmla="*/ 1036993 w 1049286"/>
                <a:gd name="connsiteY3" fmla="*/ 874206 h 1503102"/>
                <a:gd name="connsiteX4" fmla="*/ 737169 w 1049286"/>
                <a:gd name="connsiteY4" fmla="*/ 1495020 h 1503102"/>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936" h="1434920">
                  <a:moveTo>
                    <a:pt x="316575" y="1434920"/>
                  </a:moveTo>
                  <a:cubicBezTo>
                    <a:pt x="186127" y="1313356"/>
                    <a:pt x="-20068" y="1159351"/>
                    <a:pt x="1576" y="920198"/>
                  </a:cubicBezTo>
                  <a:cubicBezTo>
                    <a:pt x="23220" y="681045"/>
                    <a:pt x="453766" y="420451"/>
                    <a:pt x="446440" y="0"/>
                  </a:cubicBezTo>
                  <a:cubicBezTo>
                    <a:pt x="674910" y="255427"/>
                    <a:pt x="981377" y="551466"/>
                    <a:pt x="1036643" y="806024"/>
                  </a:cubicBezTo>
                  <a:cubicBezTo>
                    <a:pt x="1091909" y="1060582"/>
                    <a:pt x="955371" y="1227545"/>
                    <a:pt x="736819" y="1426838"/>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180" name="Freeform 179"/>
            <p:cNvSpPr/>
            <p:nvPr/>
          </p:nvSpPr>
          <p:spPr bwMode="gray">
            <a:xfrm>
              <a:off x="-886112" y="3346900"/>
              <a:ext cx="408180" cy="466865"/>
            </a:xfrm>
            <a:custGeom>
              <a:avLst/>
              <a:gdLst>
                <a:gd name="connsiteX0" fmla="*/ 312344 w 730519"/>
                <a:gd name="connsiteY0" fmla="*/ 1257698 h 1257698"/>
                <a:gd name="connsiteX1" fmla="*/ 845 w 730519"/>
                <a:gd name="connsiteY1" fmla="*/ 745232 h 1257698"/>
                <a:gd name="connsiteX2" fmla="*/ 221909 w 730519"/>
                <a:gd name="connsiteY2" fmla="*/ 443782 h 1257698"/>
                <a:gd name="connsiteX3" fmla="*/ 272151 w 730519"/>
                <a:gd name="connsiteY3" fmla="*/ 1654 h 1257698"/>
                <a:gd name="connsiteX4" fmla="*/ 724326 w 730519"/>
                <a:gd name="connsiteY4" fmla="*/ 614604 h 1257698"/>
                <a:gd name="connsiteX5" fmla="*/ 493214 w 730519"/>
                <a:gd name="connsiteY5" fmla="*/ 1257698 h 1257698"/>
                <a:gd name="connsiteX0" fmla="*/ 236291 w 654466"/>
                <a:gd name="connsiteY0" fmla="*/ 1257760 h 1257760"/>
                <a:gd name="connsiteX1" fmla="*/ 1236 w 654466"/>
                <a:gd name="connsiteY1" fmla="*/ 826117 h 1257760"/>
                <a:gd name="connsiteX2" fmla="*/ 145856 w 654466"/>
                <a:gd name="connsiteY2" fmla="*/ 443844 h 1257760"/>
                <a:gd name="connsiteX3" fmla="*/ 196098 w 654466"/>
                <a:gd name="connsiteY3" fmla="*/ 1716 h 1257760"/>
                <a:gd name="connsiteX4" fmla="*/ 648273 w 654466"/>
                <a:gd name="connsiteY4" fmla="*/ 614666 h 1257760"/>
                <a:gd name="connsiteX5" fmla="*/ 417161 w 654466"/>
                <a:gd name="connsiteY5" fmla="*/ 1257760 h 1257760"/>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2938 h 1212938"/>
                <a:gd name="connsiteX1" fmla="*/ 1566 w 654796"/>
                <a:gd name="connsiteY1" fmla="*/ 781295 h 1212938"/>
                <a:gd name="connsiteX2" fmla="*/ 146186 w 654796"/>
                <a:gd name="connsiteY2" fmla="*/ 399022 h 1212938"/>
                <a:gd name="connsiteX3" fmla="*/ 376615 w 654796"/>
                <a:gd name="connsiteY3" fmla="*/ -1 h 1212938"/>
                <a:gd name="connsiteX4" fmla="*/ 648603 w 654796"/>
                <a:gd name="connsiteY4" fmla="*/ 569844 h 1212938"/>
                <a:gd name="connsiteX5" fmla="*/ 417491 w 654796"/>
                <a:gd name="connsiteY5" fmla="*/ 1212938 h 1212938"/>
                <a:gd name="connsiteX0" fmla="*/ 236621 w 654796"/>
                <a:gd name="connsiteY0" fmla="*/ 1212939 h 1212939"/>
                <a:gd name="connsiteX1" fmla="*/ 1566 w 654796"/>
                <a:gd name="connsiteY1" fmla="*/ 781296 h 1212939"/>
                <a:gd name="connsiteX2" fmla="*/ 146186 w 654796"/>
                <a:gd name="connsiteY2" fmla="*/ 399023 h 1212939"/>
                <a:gd name="connsiteX3" fmla="*/ 376615 w 654796"/>
                <a:gd name="connsiteY3" fmla="*/ 0 h 1212939"/>
                <a:gd name="connsiteX4" fmla="*/ 648603 w 654796"/>
                <a:gd name="connsiteY4" fmla="*/ 569845 h 1212939"/>
                <a:gd name="connsiteX5" fmla="*/ 417491 w 654796"/>
                <a:gd name="connsiteY5" fmla="*/ 1212939 h 1212939"/>
                <a:gd name="connsiteX0" fmla="*/ 236621 w 691880"/>
                <a:gd name="connsiteY0" fmla="*/ 1212939 h 1212939"/>
                <a:gd name="connsiteX1" fmla="*/ 1566 w 691880"/>
                <a:gd name="connsiteY1" fmla="*/ 781296 h 1212939"/>
                <a:gd name="connsiteX2" fmla="*/ 146186 w 691880"/>
                <a:gd name="connsiteY2" fmla="*/ 399023 h 1212939"/>
                <a:gd name="connsiteX3" fmla="*/ 376615 w 691880"/>
                <a:gd name="connsiteY3" fmla="*/ 0 h 1212939"/>
                <a:gd name="connsiteX4" fmla="*/ 686825 w 691880"/>
                <a:gd name="connsiteY4" fmla="*/ 666832 h 1212939"/>
                <a:gd name="connsiteX5" fmla="*/ 417491 w 691880"/>
                <a:gd name="connsiteY5" fmla="*/ 1212939 h 1212939"/>
                <a:gd name="connsiteX0" fmla="*/ 236621 w 701317"/>
                <a:gd name="connsiteY0" fmla="*/ 1212939 h 1212939"/>
                <a:gd name="connsiteX1" fmla="*/ 1566 w 701317"/>
                <a:gd name="connsiteY1" fmla="*/ 781296 h 1212939"/>
                <a:gd name="connsiteX2" fmla="*/ 146186 w 701317"/>
                <a:gd name="connsiteY2" fmla="*/ 399023 h 1212939"/>
                <a:gd name="connsiteX3" fmla="*/ 376615 w 701317"/>
                <a:gd name="connsiteY3" fmla="*/ 0 h 1212939"/>
                <a:gd name="connsiteX4" fmla="*/ 686825 w 701317"/>
                <a:gd name="connsiteY4" fmla="*/ 666832 h 1212939"/>
                <a:gd name="connsiteX5" fmla="*/ 559456 w 701317"/>
                <a:gd name="connsiteY5" fmla="*/ 1185998 h 1212939"/>
                <a:gd name="connsiteX0" fmla="*/ 236621 w 739946"/>
                <a:gd name="connsiteY0" fmla="*/ 1212939 h 1212939"/>
                <a:gd name="connsiteX1" fmla="*/ 1566 w 739946"/>
                <a:gd name="connsiteY1" fmla="*/ 781296 h 1212939"/>
                <a:gd name="connsiteX2" fmla="*/ 146186 w 739946"/>
                <a:gd name="connsiteY2" fmla="*/ 399023 h 1212939"/>
                <a:gd name="connsiteX3" fmla="*/ 376615 w 739946"/>
                <a:gd name="connsiteY3" fmla="*/ 0 h 1212939"/>
                <a:gd name="connsiteX4" fmla="*/ 730507 w 739946"/>
                <a:gd name="connsiteY4" fmla="*/ 634503 h 1212939"/>
                <a:gd name="connsiteX5" fmla="*/ 559456 w 739946"/>
                <a:gd name="connsiteY5" fmla="*/ 1185998 h 1212939"/>
                <a:gd name="connsiteX0" fmla="*/ 236572 w 739897"/>
                <a:gd name="connsiteY0" fmla="*/ 1164445 h 1164445"/>
                <a:gd name="connsiteX1" fmla="*/ 1517 w 739897"/>
                <a:gd name="connsiteY1" fmla="*/ 732802 h 1164445"/>
                <a:gd name="connsiteX2" fmla="*/ 146137 w 739897"/>
                <a:gd name="connsiteY2" fmla="*/ 350529 h 1164445"/>
                <a:gd name="connsiteX3" fmla="*/ 354725 w 739897"/>
                <a:gd name="connsiteY3" fmla="*/ 0 h 1164445"/>
                <a:gd name="connsiteX4" fmla="*/ 730458 w 739897"/>
                <a:gd name="connsiteY4" fmla="*/ 586009 h 1164445"/>
                <a:gd name="connsiteX5" fmla="*/ 559407 w 739897"/>
                <a:gd name="connsiteY5"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42766 w 746091"/>
                <a:gd name="connsiteY0" fmla="*/ 1164445 h 1164445"/>
                <a:gd name="connsiteX1" fmla="*/ 2250 w 746091"/>
                <a:gd name="connsiteY1" fmla="*/ 700472 h 1164445"/>
                <a:gd name="connsiteX2" fmla="*/ 360919 w 746091"/>
                <a:gd name="connsiteY2" fmla="*/ 0 h 1164445"/>
                <a:gd name="connsiteX3" fmla="*/ 736652 w 746091"/>
                <a:gd name="connsiteY3" fmla="*/ 586009 h 1164445"/>
                <a:gd name="connsiteX4" fmla="*/ 565601 w 746091"/>
                <a:gd name="connsiteY4" fmla="*/ 1137504 h 1164445"/>
                <a:gd name="connsiteX0" fmla="*/ 182965 w 751812"/>
                <a:gd name="connsiteY0" fmla="*/ 1148280 h 1148280"/>
                <a:gd name="connsiteX1" fmla="*/ 7971 w 751812"/>
                <a:gd name="connsiteY1" fmla="*/ 700472 h 1148280"/>
                <a:gd name="connsiteX2" fmla="*/ 366640 w 751812"/>
                <a:gd name="connsiteY2" fmla="*/ 0 h 1148280"/>
                <a:gd name="connsiteX3" fmla="*/ 742373 w 751812"/>
                <a:gd name="connsiteY3" fmla="*/ 586009 h 1148280"/>
                <a:gd name="connsiteX4" fmla="*/ 571322 w 751812"/>
                <a:gd name="connsiteY4" fmla="*/ 1137504 h 1148280"/>
                <a:gd name="connsiteX0" fmla="*/ 205889 w 748841"/>
                <a:gd name="connsiteY0" fmla="*/ 1142892 h 1142892"/>
                <a:gd name="connsiteX1" fmla="*/ 5000 w 748841"/>
                <a:gd name="connsiteY1" fmla="*/ 700472 h 1142892"/>
                <a:gd name="connsiteX2" fmla="*/ 363669 w 748841"/>
                <a:gd name="connsiteY2" fmla="*/ 0 h 1142892"/>
                <a:gd name="connsiteX3" fmla="*/ 739402 w 748841"/>
                <a:gd name="connsiteY3" fmla="*/ 586009 h 1142892"/>
                <a:gd name="connsiteX4" fmla="*/ 568351 w 748841"/>
                <a:gd name="connsiteY4" fmla="*/ 1137504 h 1142892"/>
                <a:gd name="connsiteX0" fmla="*/ 187451 w 751119"/>
                <a:gd name="connsiteY0" fmla="*/ 1142892 h 1142892"/>
                <a:gd name="connsiteX1" fmla="*/ 7278 w 751119"/>
                <a:gd name="connsiteY1" fmla="*/ 700472 h 1142892"/>
                <a:gd name="connsiteX2" fmla="*/ 365947 w 751119"/>
                <a:gd name="connsiteY2" fmla="*/ 0 h 1142892"/>
                <a:gd name="connsiteX3" fmla="*/ 741680 w 751119"/>
                <a:gd name="connsiteY3" fmla="*/ 586009 h 1142892"/>
                <a:gd name="connsiteX4" fmla="*/ 570629 w 751119"/>
                <a:gd name="connsiteY4" fmla="*/ 1137504 h 1142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119" h="1142892">
                  <a:moveTo>
                    <a:pt x="187451" y="1142892"/>
                  </a:moveTo>
                  <a:cubicBezTo>
                    <a:pt x="39237" y="954485"/>
                    <a:pt x="-22471" y="890954"/>
                    <a:pt x="7278" y="700472"/>
                  </a:cubicBezTo>
                  <a:cubicBezTo>
                    <a:pt x="37027" y="509990"/>
                    <a:pt x="320900" y="272324"/>
                    <a:pt x="365947" y="0"/>
                  </a:cubicBezTo>
                  <a:cubicBezTo>
                    <a:pt x="504285" y="195504"/>
                    <a:pt x="704836" y="376668"/>
                    <a:pt x="741680" y="586009"/>
                  </a:cubicBezTo>
                  <a:cubicBezTo>
                    <a:pt x="778524" y="795350"/>
                    <a:pt x="704607" y="920627"/>
                    <a:pt x="570629" y="1137504"/>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BBvoice"/>
                <a:ea typeface="ABBvoice"/>
                <a:cs typeface="ABBvoice"/>
              </a:endParaRPr>
            </a:p>
          </p:txBody>
        </p:sp>
        <p:sp>
          <p:nvSpPr>
            <p:cNvPr id="181" name="Freeform 180"/>
            <p:cNvSpPr/>
            <p:nvPr/>
          </p:nvSpPr>
          <p:spPr bwMode="gray">
            <a:xfrm>
              <a:off x="-820606" y="3535648"/>
              <a:ext cx="273691" cy="278112"/>
            </a:xfrm>
            <a:custGeom>
              <a:avLst/>
              <a:gdLst>
                <a:gd name="connsiteX0" fmla="*/ 95316 w 319358"/>
                <a:gd name="connsiteY0" fmla="*/ 870562 h 870562"/>
                <a:gd name="connsiteX1" fmla="*/ 66 w 319358"/>
                <a:gd name="connsiteY1" fmla="*/ 483212 h 870562"/>
                <a:gd name="connsiteX2" fmla="*/ 108016 w 319358"/>
                <a:gd name="connsiteY2" fmla="*/ 324462 h 870562"/>
                <a:gd name="connsiteX3" fmla="*/ 165166 w 319358"/>
                <a:gd name="connsiteY3" fmla="*/ 612 h 870562"/>
                <a:gd name="connsiteX4" fmla="*/ 317566 w 319358"/>
                <a:gd name="connsiteY4" fmla="*/ 413362 h 870562"/>
                <a:gd name="connsiteX5" fmla="*/ 235016 w 319358"/>
                <a:gd name="connsiteY5" fmla="*/ 864212 h 870562"/>
                <a:gd name="connsiteX0" fmla="*/ 95316 w 342347"/>
                <a:gd name="connsiteY0" fmla="*/ 870562 h 870562"/>
                <a:gd name="connsiteX1" fmla="*/ 66 w 342347"/>
                <a:gd name="connsiteY1" fmla="*/ 483212 h 870562"/>
                <a:gd name="connsiteX2" fmla="*/ 108016 w 342347"/>
                <a:gd name="connsiteY2" fmla="*/ 324462 h 870562"/>
                <a:gd name="connsiteX3" fmla="*/ 165166 w 342347"/>
                <a:gd name="connsiteY3" fmla="*/ 612 h 870562"/>
                <a:gd name="connsiteX4" fmla="*/ 317566 w 342347"/>
                <a:gd name="connsiteY4" fmla="*/ 413362 h 870562"/>
                <a:gd name="connsiteX5" fmla="*/ 319044 w 342347"/>
                <a:gd name="connsiteY5" fmla="*/ 842659 h 870562"/>
                <a:gd name="connsiteX0" fmla="*/ 95316 w 371927"/>
                <a:gd name="connsiteY0" fmla="*/ 870562 h 870562"/>
                <a:gd name="connsiteX1" fmla="*/ 66 w 371927"/>
                <a:gd name="connsiteY1" fmla="*/ 483212 h 870562"/>
                <a:gd name="connsiteX2" fmla="*/ 108016 w 371927"/>
                <a:gd name="connsiteY2" fmla="*/ 324462 h 870562"/>
                <a:gd name="connsiteX3" fmla="*/ 165166 w 371927"/>
                <a:gd name="connsiteY3" fmla="*/ 612 h 870562"/>
                <a:gd name="connsiteX4" fmla="*/ 367982 w 371927"/>
                <a:gd name="connsiteY4" fmla="*/ 413363 h 870562"/>
                <a:gd name="connsiteX5" fmla="*/ 319044 w 371927"/>
                <a:gd name="connsiteY5" fmla="*/ 842659 h 870562"/>
                <a:gd name="connsiteX0" fmla="*/ 95316 w 371927"/>
                <a:gd name="connsiteY0" fmla="*/ 827551 h 827551"/>
                <a:gd name="connsiteX1" fmla="*/ 66 w 371927"/>
                <a:gd name="connsiteY1" fmla="*/ 440201 h 827551"/>
                <a:gd name="connsiteX2" fmla="*/ 108016 w 371927"/>
                <a:gd name="connsiteY2" fmla="*/ 281451 h 827551"/>
                <a:gd name="connsiteX3" fmla="*/ 205499 w 371927"/>
                <a:gd name="connsiteY3" fmla="*/ 707 h 827551"/>
                <a:gd name="connsiteX4" fmla="*/ 367982 w 371927"/>
                <a:gd name="connsiteY4" fmla="*/ 370352 h 827551"/>
                <a:gd name="connsiteX5" fmla="*/ 319044 w 371927"/>
                <a:gd name="connsiteY5" fmla="*/ 799648 h 827551"/>
                <a:gd name="connsiteX0" fmla="*/ 98435 w 375046"/>
                <a:gd name="connsiteY0" fmla="*/ 826844 h 826844"/>
                <a:gd name="connsiteX1" fmla="*/ 3185 w 375046"/>
                <a:gd name="connsiteY1" fmla="*/ 439494 h 826844"/>
                <a:gd name="connsiteX2" fmla="*/ 208618 w 375046"/>
                <a:gd name="connsiteY2" fmla="*/ 0 h 826844"/>
                <a:gd name="connsiteX3" fmla="*/ 371101 w 375046"/>
                <a:gd name="connsiteY3" fmla="*/ 369645 h 826844"/>
                <a:gd name="connsiteX4" fmla="*/ 322163 w 375046"/>
                <a:gd name="connsiteY4" fmla="*/ 798941 h 826844"/>
                <a:gd name="connsiteX0" fmla="*/ 47224 w 323835"/>
                <a:gd name="connsiteY0" fmla="*/ 826845 h 826845"/>
                <a:gd name="connsiteX1" fmla="*/ 9112 w 323835"/>
                <a:gd name="connsiteY1" fmla="*/ 374836 h 826845"/>
                <a:gd name="connsiteX2" fmla="*/ 157407 w 323835"/>
                <a:gd name="connsiteY2" fmla="*/ 1 h 826845"/>
                <a:gd name="connsiteX3" fmla="*/ 319890 w 323835"/>
                <a:gd name="connsiteY3" fmla="*/ 369646 h 826845"/>
                <a:gd name="connsiteX4" fmla="*/ 270952 w 323835"/>
                <a:gd name="connsiteY4" fmla="*/ 798942 h 826845"/>
                <a:gd name="connsiteX0" fmla="*/ 48467 w 325078"/>
                <a:gd name="connsiteY0" fmla="*/ 810682 h 810682"/>
                <a:gd name="connsiteX1" fmla="*/ 10355 w 325078"/>
                <a:gd name="connsiteY1" fmla="*/ 358673 h 810682"/>
                <a:gd name="connsiteX2" fmla="*/ 175456 w 325078"/>
                <a:gd name="connsiteY2" fmla="*/ 3 h 810682"/>
                <a:gd name="connsiteX3" fmla="*/ 321133 w 325078"/>
                <a:gd name="connsiteY3" fmla="*/ 353483 h 810682"/>
                <a:gd name="connsiteX4" fmla="*/ 272195 w 325078"/>
                <a:gd name="connsiteY4" fmla="*/ 782779 h 810682"/>
                <a:gd name="connsiteX0" fmla="*/ 55744 w 322272"/>
                <a:gd name="connsiteY0" fmla="*/ 805294 h 805294"/>
                <a:gd name="connsiteX1" fmla="*/ 7549 w 322272"/>
                <a:gd name="connsiteY1" fmla="*/ 358673 h 805294"/>
                <a:gd name="connsiteX2" fmla="*/ 172650 w 322272"/>
                <a:gd name="connsiteY2" fmla="*/ 3 h 805294"/>
                <a:gd name="connsiteX3" fmla="*/ 318327 w 322272"/>
                <a:gd name="connsiteY3" fmla="*/ 353483 h 805294"/>
                <a:gd name="connsiteX4" fmla="*/ 269389 w 322272"/>
                <a:gd name="connsiteY4" fmla="*/ 782779 h 805294"/>
                <a:gd name="connsiteX0" fmla="*/ 55744 w 321540"/>
                <a:gd name="connsiteY0" fmla="*/ 805294 h 805294"/>
                <a:gd name="connsiteX1" fmla="*/ 7549 w 321540"/>
                <a:gd name="connsiteY1" fmla="*/ 358673 h 805294"/>
                <a:gd name="connsiteX2" fmla="*/ 172650 w 321540"/>
                <a:gd name="connsiteY2" fmla="*/ 3 h 805294"/>
                <a:gd name="connsiteX3" fmla="*/ 318327 w 321540"/>
                <a:gd name="connsiteY3" fmla="*/ 353483 h 805294"/>
                <a:gd name="connsiteX4" fmla="*/ 262564 w 321540"/>
                <a:gd name="connsiteY4" fmla="*/ 798944 h 805294"/>
                <a:gd name="connsiteX0" fmla="*/ 55744 w 321540"/>
                <a:gd name="connsiteY0" fmla="*/ 789129 h 798944"/>
                <a:gd name="connsiteX1" fmla="*/ 7549 w 321540"/>
                <a:gd name="connsiteY1" fmla="*/ 358673 h 798944"/>
                <a:gd name="connsiteX2" fmla="*/ 172650 w 321540"/>
                <a:gd name="connsiteY2" fmla="*/ 3 h 798944"/>
                <a:gd name="connsiteX3" fmla="*/ 318327 w 321540"/>
                <a:gd name="connsiteY3" fmla="*/ 353483 h 798944"/>
                <a:gd name="connsiteX4" fmla="*/ 262564 w 321540"/>
                <a:gd name="connsiteY4" fmla="*/ 798944 h 798944"/>
                <a:gd name="connsiteX0" fmla="*/ 55744 w 322748"/>
                <a:gd name="connsiteY0" fmla="*/ 789129 h 789129"/>
                <a:gd name="connsiteX1" fmla="*/ 7549 w 322748"/>
                <a:gd name="connsiteY1" fmla="*/ 358673 h 789129"/>
                <a:gd name="connsiteX2" fmla="*/ 172650 w 322748"/>
                <a:gd name="connsiteY2" fmla="*/ 3 h 789129"/>
                <a:gd name="connsiteX3" fmla="*/ 318327 w 322748"/>
                <a:gd name="connsiteY3" fmla="*/ 353483 h 789129"/>
                <a:gd name="connsiteX4" fmla="*/ 272801 w 322748"/>
                <a:gd name="connsiteY4" fmla="*/ 782779 h 789129"/>
                <a:gd name="connsiteX0" fmla="*/ 61546 w 328550"/>
                <a:gd name="connsiteY0" fmla="*/ 789600 h 789600"/>
                <a:gd name="connsiteX1" fmla="*/ 6527 w 328550"/>
                <a:gd name="connsiteY1" fmla="*/ 426496 h 789600"/>
                <a:gd name="connsiteX2" fmla="*/ 178452 w 328550"/>
                <a:gd name="connsiteY2" fmla="*/ 474 h 789600"/>
                <a:gd name="connsiteX3" fmla="*/ 324129 w 328550"/>
                <a:gd name="connsiteY3" fmla="*/ 353954 h 789600"/>
                <a:gd name="connsiteX4" fmla="*/ 278603 w 328550"/>
                <a:gd name="connsiteY4" fmla="*/ 783250 h 789600"/>
                <a:gd name="connsiteX0" fmla="*/ 61546 w 331487"/>
                <a:gd name="connsiteY0" fmla="*/ 789171 h 789171"/>
                <a:gd name="connsiteX1" fmla="*/ 6527 w 331487"/>
                <a:gd name="connsiteY1" fmla="*/ 426067 h 789171"/>
                <a:gd name="connsiteX2" fmla="*/ 178452 w 331487"/>
                <a:gd name="connsiteY2" fmla="*/ 45 h 789171"/>
                <a:gd name="connsiteX3" fmla="*/ 327542 w 331487"/>
                <a:gd name="connsiteY3" fmla="*/ 402018 h 789171"/>
                <a:gd name="connsiteX4" fmla="*/ 278603 w 331487"/>
                <a:gd name="connsiteY4" fmla="*/ 782821 h 789171"/>
                <a:gd name="connsiteX0" fmla="*/ 61895 w 331836"/>
                <a:gd name="connsiteY0" fmla="*/ 724528 h 724528"/>
                <a:gd name="connsiteX1" fmla="*/ 6876 w 331836"/>
                <a:gd name="connsiteY1" fmla="*/ 361424 h 724528"/>
                <a:gd name="connsiteX2" fmla="*/ 183919 w 331836"/>
                <a:gd name="connsiteY2" fmla="*/ 61 h 724528"/>
                <a:gd name="connsiteX3" fmla="*/ 327891 w 331836"/>
                <a:gd name="connsiteY3" fmla="*/ 337375 h 724528"/>
                <a:gd name="connsiteX4" fmla="*/ 278952 w 331836"/>
                <a:gd name="connsiteY4" fmla="*/ 718178 h 72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36" h="724528">
                  <a:moveTo>
                    <a:pt x="61895" y="724528"/>
                  </a:moveTo>
                  <a:cubicBezTo>
                    <a:pt x="13211" y="576361"/>
                    <a:pt x="-13461" y="482169"/>
                    <a:pt x="6876" y="361424"/>
                  </a:cubicBezTo>
                  <a:cubicBezTo>
                    <a:pt x="27213" y="240680"/>
                    <a:pt x="130417" y="4069"/>
                    <a:pt x="183919" y="61"/>
                  </a:cubicBezTo>
                  <a:cubicBezTo>
                    <a:pt x="237422" y="-3947"/>
                    <a:pt x="316249" y="193442"/>
                    <a:pt x="327891" y="337375"/>
                  </a:cubicBezTo>
                  <a:cubicBezTo>
                    <a:pt x="339533" y="481308"/>
                    <a:pt x="326048" y="564719"/>
                    <a:pt x="278952" y="718178"/>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BBvoice"/>
                <a:ea typeface="ABBvoice"/>
                <a:cs typeface="ABBvoice"/>
              </a:endParaRPr>
            </a:p>
          </p:txBody>
        </p:sp>
      </p:grpSp>
      <p:grpSp>
        <p:nvGrpSpPr>
          <p:cNvPr id="182" name="Group 181"/>
          <p:cNvGrpSpPr/>
          <p:nvPr/>
        </p:nvGrpSpPr>
        <p:grpSpPr bwMode="gray">
          <a:xfrm>
            <a:off x="6356719" y="4067105"/>
            <a:ext cx="423358" cy="130374"/>
            <a:chOff x="5561561" y="3580012"/>
            <a:chExt cx="1068879" cy="329166"/>
          </a:xfrm>
        </p:grpSpPr>
        <p:sp>
          <p:nvSpPr>
            <p:cNvPr id="183" name="Oval 182"/>
            <p:cNvSpPr/>
            <p:nvPr/>
          </p:nvSpPr>
          <p:spPr bwMode="gray">
            <a:xfrm>
              <a:off x="5561561" y="3580012"/>
              <a:ext cx="329166" cy="32916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84" name="Oval 183"/>
            <p:cNvSpPr/>
            <p:nvPr/>
          </p:nvSpPr>
          <p:spPr bwMode="gray">
            <a:xfrm>
              <a:off x="6301274" y="3580012"/>
              <a:ext cx="329166" cy="32916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185" name="Straight Connector 184"/>
            <p:cNvCxnSpPr>
              <a:stCxn id="183" idx="6"/>
              <a:endCxn id="184" idx="2"/>
            </p:cNvCxnSpPr>
            <p:nvPr/>
          </p:nvCxnSpPr>
          <p:spPr bwMode="gray">
            <a:xfrm>
              <a:off x="5890727" y="3744595"/>
              <a:ext cx="41054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bwMode="gray">
            <a:xfrm>
              <a:off x="6062617" y="3669857"/>
              <a:ext cx="66766" cy="1494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nvGrpSpPr>
        <p:grpSpPr bwMode="gray">
          <a:xfrm>
            <a:off x="10370895" y="3843434"/>
            <a:ext cx="529200" cy="529200"/>
            <a:chOff x="8679615" y="1124744"/>
            <a:chExt cx="529200" cy="529200"/>
          </a:xfrm>
        </p:grpSpPr>
        <p:sp>
          <p:nvSpPr>
            <p:cNvPr id="242" name="Oval 241"/>
            <p:cNvSpPr/>
            <p:nvPr/>
          </p:nvSpPr>
          <p:spPr bwMode="gray">
            <a:xfrm>
              <a:off x="8679615" y="1124744"/>
              <a:ext cx="529200" cy="529200"/>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45" name="Can 29"/>
            <p:cNvSpPr/>
            <p:nvPr/>
          </p:nvSpPr>
          <p:spPr bwMode="gray">
            <a:xfrm>
              <a:off x="8768094" y="1307252"/>
              <a:ext cx="352242" cy="243610"/>
            </a:xfrm>
            <a:custGeom>
              <a:avLst/>
              <a:gdLst/>
              <a:ahLst/>
              <a:cxnLst/>
              <a:rect l="l" t="t" r="r" b="b"/>
              <a:pathLst>
                <a:path w="352242" h="243610">
                  <a:moveTo>
                    <a:pt x="176121" y="0"/>
                  </a:moveTo>
                  <a:lnTo>
                    <a:pt x="237951" y="3589"/>
                  </a:lnTo>
                  <a:lnTo>
                    <a:pt x="239926" y="3874"/>
                  </a:lnTo>
                  <a:lnTo>
                    <a:pt x="239926" y="44223"/>
                  </a:lnTo>
                  <a:cubicBezTo>
                    <a:pt x="239926" y="52438"/>
                    <a:pt x="255949" y="59098"/>
                    <a:pt x="275713" y="59098"/>
                  </a:cubicBezTo>
                  <a:cubicBezTo>
                    <a:pt x="295478" y="59098"/>
                    <a:pt x="311501" y="52438"/>
                    <a:pt x="311501" y="44223"/>
                  </a:cubicBezTo>
                  <a:cubicBezTo>
                    <a:pt x="311501" y="35710"/>
                    <a:pt x="311501" y="27197"/>
                    <a:pt x="311501" y="18685"/>
                  </a:cubicBezTo>
                  <a:cubicBezTo>
                    <a:pt x="336993" y="27060"/>
                    <a:pt x="352242" y="38333"/>
                    <a:pt x="352242" y="50630"/>
                  </a:cubicBezTo>
                  <a:cubicBezTo>
                    <a:pt x="352242" y="98080"/>
                    <a:pt x="352242" y="145530"/>
                    <a:pt x="352242" y="192980"/>
                  </a:cubicBezTo>
                  <a:cubicBezTo>
                    <a:pt x="352242" y="220942"/>
                    <a:pt x="273389" y="243610"/>
                    <a:pt x="176121" y="243610"/>
                  </a:cubicBezTo>
                  <a:cubicBezTo>
                    <a:pt x="78852" y="243610"/>
                    <a:pt x="0" y="220942"/>
                    <a:pt x="0" y="192980"/>
                  </a:cubicBezTo>
                  <a:cubicBezTo>
                    <a:pt x="0" y="145530"/>
                    <a:pt x="1" y="98080"/>
                    <a:pt x="1" y="50630"/>
                  </a:cubicBezTo>
                  <a:cubicBezTo>
                    <a:pt x="1" y="38012"/>
                    <a:pt x="16055" y="26474"/>
                    <a:pt x="42716" y="17919"/>
                  </a:cubicBezTo>
                  <a:lnTo>
                    <a:pt x="42716" y="44223"/>
                  </a:lnTo>
                  <a:lnTo>
                    <a:pt x="42716" y="44223"/>
                  </a:lnTo>
                  <a:lnTo>
                    <a:pt x="42716" y="44223"/>
                  </a:lnTo>
                  <a:cubicBezTo>
                    <a:pt x="42716" y="52438"/>
                    <a:pt x="58739" y="59098"/>
                    <a:pt x="78504" y="59098"/>
                  </a:cubicBezTo>
                  <a:cubicBezTo>
                    <a:pt x="98269" y="59098"/>
                    <a:pt x="114291" y="52438"/>
                    <a:pt x="114291" y="44223"/>
                  </a:cubicBezTo>
                  <a:cubicBezTo>
                    <a:pt x="114291" y="44223"/>
                    <a:pt x="114291" y="44222"/>
                    <a:pt x="114291" y="44222"/>
                  </a:cubicBezTo>
                  <a:cubicBezTo>
                    <a:pt x="114291" y="30678"/>
                    <a:pt x="114291" y="17133"/>
                    <a:pt x="114292" y="3589"/>
                  </a:cubicBezTo>
                  <a:cubicBezTo>
                    <a:pt x="133500" y="1136"/>
                    <a:pt x="154349" y="0"/>
                    <a:pt x="176121" y="0"/>
                  </a:cubicBez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46" name="Oval 119"/>
            <p:cNvSpPr/>
            <p:nvPr/>
          </p:nvSpPr>
          <p:spPr bwMode="gray">
            <a:xfrm>
              <a:off x="8768094" y="1307252"/>
              <a:ext cx="352241" cy="101258"/>
            </a:xfrm>
            <a:custGeom>
              <a:avLst/>
              <a:gdLst/>
              <a:ahLst/>
              <a:cxnLst/>
              <a:rect l="l" t="t" r="r" b="b"/>
              <a:pathLst>
                <a:path w="352241" h="101258">
                  <a:moveTo>
                    <a:pt x="176120" y="0"/>
                  </a:moveTo>
                  <a:lnTo>
                    <a:pt x="239926" y="3703"/>
                  </a:lnTo>
                  <a:lnTo>
                    <a:pt x="239925" y="44222"/>
                  </a:lnTo>
                  <a:cubicBezTo>
                    <a:pt x="239925" y="52437"/>
                    <a:pt x="255948" y="59097"/>
                    <a:pt x="275713" y="59097"/>
                  </a:cubicBezTo>
                  <a:cubicBezTo>
                    <a:pt x="295478" y="59097"/>
                    <a:pt x="311500" y="52437"/>
                    <a:pt x="311500" y="44222"/>
                  </a:cubicBezTo>
                  <a:cubicBezTo>
                    <a:pt x="311500" y="35684"/>
                    <a:pt x="311500" y="27145"/>
                    <a:pt x="311500" y="18607"/>
                  </a:cubicBezTo>
                  <a:cubicBezTo>
                    <a:pt x="336984" y="27054"/>
                    <a:pt x="352241" y="38329"/>
                    <a:pt x="352241" y="50629"/>
                  </a:cubicBezTo>
                  <a:cubicBezTo>
                    <a:pt x="352241" y="78591"/>
                    <a:pt x="273389" y="101258"/>
                    <a:pt x="176120" y="101258"/>
                  </a:cubicBezTo>
                  <a:cubicBezTo>
                    <a:pt x="78852" y="101258"/>
                    <a:pt x="0" y="78591"/>
                    <a:pt x="0" y="50629"/>
                  </a:cubicBezTo>
                  <a:cubicBezTo>
                    <a:pt x="0" y="38045"/>
                    <a:pt x="15971" y="26533"/>
                    <a:pt x="42716" y="18610"/>
                  </a:cubicBezTo>
                  <a:lnTo>
                    <a:pt x="42716" y="44223"/>
                  </a:lnTo>
                  <a:cubicBezTo>
                    <a:pt x="42716" y="52438"/>
                    <a:pt x="58739" y="59098"/>
                    <a:pt x="78504" y="59098"/>
                  </a:cubicBezTo>
                  <a:cubicBezTo>
                    <a:pt x="98269" y="59098"/>
                    <a:pt x="114291" y="52438"/>
                    <a:pt x="114291" y="44223"/>
                  </a:cubicBezTo>
                  <a:cubicBezTo>
                    <a:pt x="114291" y="30678"/>
                    <a:pt x="114291" y="17133"/>
                    <a:pt x="114292" y="3588"/>
                  </a:cubicBezTo>
                  <a:cubicBezTo>
                    <a:pt x="133500" y="1136"/>
                    <a:pt x="154348" y="0"/>
                    <a:pt x="176120" y="0"/>
                  </a:cubicBez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47" name="Can 221"/>
            <p:cNvSpPr/>
            <p:nvPr/>
          </p:nvSpPr>
          <p:spPr bwMode="gray">
            <a:xfrm>
              <a:off x="8810810" y="1271638"/>
              <a:ext cx="71576" cy="94712"/>
            </a:xfrm>
            <a:custGeom>
              <a:avLst/>
              <a:gdLst/>
              <a:ahLst/>
              <a:cxnLst/>
              <a:rect l="l" t="t" r="r" b="b"/>
              <a:pathLst>
                <a:path w="138065" h="182695">
                  <a:moveTo>
                    <a:pt x="69033" y="0"/>
                  </a:moveTo>
                  <a:cubicBezTo>
                    <a:pt x="107158" y="0"/>
                    <a:pt x="138065" y="12847"/>
                    <a:pt x="138065" y="28694"/>
                  </a:cubicBezTo>
                  <a:cubicBezTo>
                    <a:pt x="138065" y="70463"/>
                    <a:pt x="138064" y="112232"/>
                    <a:pt x="138064" y="154001"/>
                  </a:cubicBezTo>
                  <a:cubicBezTo>
                    <a:pt x="138064" y="169848"/>
                    <a:pt x="107157" y="182695"/>
                    <a:pt x="69032" y="182695"/>
                  </a:cubicBezTo>
                  <a:cubicBezTo>
                    <a:pt x="30907" y="182695"/>
                    <a:pt x="0" y="169848"/>
                    <a:pt x="0" y="154001"/>
                  </a:cubicBezTo>
                  <a:cubicBezTo>
                    <a:pt x="0" y="112232"/>
                    <a:pt x="1" y="70463"/>
                    <a:pt x="1" y="28694"/>
                  </a:cubicBezTo>
                  <a:cubicBezTo>
                    <a:pt x="1" y="12847"/>
                    <a:pt x="30908" y="0"/>
                    <a:pt x="69033" y="0"/>
                  </a:cubicBez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48" name="Can 222"/>
            <p:cNvSpPr/>
            <p:nvPr/>
          </p:nvSpPr>
          <p:spPr bwMode="gray">
            <a:xfrm>
              <a:off x="9008020" y="1271638"/>
              <a:ext cx="71576" cy="94712"/>
            </a:xfrm>
            <a:custGeom>
              <a:avLst/>
              <a:gdLst/>
              <a:ahLst/>
              <a:cxnLst/>
              <a:rect l="l" t="t" r="r" b="b"/>
              <a:pathLst>
                <a:path w="138065" h="182695">
                  <a:moveTo>
                    <a:pt x="69033" y="0"/>
                  </a:moveTo>
                  <a:cubicBezTo>
                    <a:pt x="107158" y="0"/>
                    <a:pt x="138065" y="12847"/>
                    <a:pt x="138065" y="28694"/>
                  </a:cubicBezTo>
                  <a:cubicBezTo>
                    <a:pt x="138065" y="70463"/>
                    <a:pt x="138064" y="112232"/>
                    <a:pt x="138064" y="154001"/>
                  </a:cubicBezTo>
                  <a:cubicBezTo>
                    <a:pt x="138064" y="169848"/>
                    <a:pt x="107157" y="182695"/>
                    <a:pt x="69032" y="182695"/>
                  </a:cubicBezTo>
                  <a:cubicBezTo>
                    <a:pt x="30907" y="182695"/>
                    <a:pt x="0" y="169848"/>
                    <a:pt x="0" y="154001"/>
                  </a:cubicBezTo>
                  <a:cubicBezTo>
                    <a:pt x="0" y="112232"/>
                    <a:pt x="1" y="70463"/>
                    <a:pt x="1" y="28694"/>
                  </a:cubicBezTo>
                  <a:cubicBezTo>
                    <a:pt x="1" y="12847"/>
                    <a:pt x="30908" y="0"/>
                    <a:pt x="69033" y="0"/>
                  </a:cubicBezTo>
                  <a:close/>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249" name="Group 248"/>
            <p:cNvGrpSpPr/>
            <p:nvPr/>
          </p:nvGrpSpPr>
          <p:grpSpPr bwMode="gray">
            <a:xfrm>
              <a:off x="8846598" y="1186208"/>
              <a:ext cx="197202" cy="97497"/>
              <a:chOff x="9985390" y="1226001"/>
              <a:chExt cx="167775" cy="90696"/>
            </a:xfrm>
          </p:grpSpPr>
          <p:cxnSp>
            <p:nvCxnSpPr>
              <p:cNvPr id="253" name="Straight Connector 252"/>
              <p:cNvCxnSpPr/>
              <p:nvPr/>
            </p:nvCxnSpPr>
            <p:spPr bwMode="gray">
              <a:xfrm flipV="1">
                <a:off x="9985451" y="1276774"/>
                <a:ext cx="109" cy="39923"/>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54" name="Freeform 253"/>
              <p:cNvSpPr/>
              <p:nvPr/>
            </p:nvSpPr>
            <p:spPr bwMode="gray">
              <a:xfrm>
                <a:off x="9985390" y="1226001"/>
                <a:ext cx="167622" cy="63112"/>
              </a:xfrm>
              <a:custGeom>
                <a:avLst/>
                <a:gdLst>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31520 w 767554"/>
                  <a:gd name="connsiteY22" fmla="*/ 21619 h 25429"/>
                  <a:gd name="connsiteX23" fmla="*/ 737235 w 767554"/>
                  <a:gd name="connsiteY23" fmla="*/ 19714 h 25429"/>
                  <a:gd name="connsiteX24" fmla="*/ 750570 w 767554"/>
                  <a:gd name="connsiteY24" fmla="*/ 15904 h 25429"/>
                  <a:gd name="connsiteX25" fmla="*/ 762000 w 767554"/>
                  <a:gd name="connsiteY25" fmla="*/ 8284 h 25429"/>
                  <a:gd name="connsiteX26" fmla="*/ 763905 w 767554"/>
                  <a:gd name="connsiteY26" fmla="*/ 2569 h 25429"/>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31520 w 767554"/>
                  <a:gd name="connsiteY22" fmla="*/ 21619 h 25429"/>
                  <a:gd name="connsiteX23" fmla="*/ 750570 w 767554"/>
                  <a:gd name="connsiteY23" fmla="*/ 15904 h 25429"/>
                  <a:gd name="connsiteX24" fmla="*/ 762000 w 767554"/>
                  <a:gd name="connsiteY24" fmla="*/ 8284 h 25429"/>
                  <a:gd name="connsiteX25" fmla="*/ 763905 w 767554"/>
                  <a:gd name="connsiteY25" fmla="*/ 2569 h 25429"/>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50570 w 767554"/>
                  <a:gd name="connsiteY22" fmla="*/ 15904 h 25429"/>
                  <a:gd name="connsiteX23" fmla="*/ 762000 w 767554"/>
                  <a:gd name="connsiteY23" fmla="*/ 8284 h 25429"/>
                  <a:gd name="connsiteX24" fmla="*/ 763905 w 767554"/>
                  <a:gd name="connsiteY24" fmla="*/ 2569 h 25429"/>
                  <a:gd name="connsiteX0" fmla="*/ 0 w 766977"/>
                  <a:gd name="connsiteY0" fmla="*/ 10189 h 25429"/>
                  <a:gd name="connsiteX1" fmla="*/ 11430 w 766977"/>
                  <a:gd name="connsiteY1" fmla="*/ 8284 h 25429"/>
                  <a:gd name="connsiteX2" fmla="*/ 28575 w 766977"/>
                  <a:gd name="connsiteY2" fmla="*/ 4474 h 25429"/>
                  <a:gd name="connsiteX3" fmla="*/ 57150 w 766977"/>
                  <a:gd name="connsiteY3" fmla="*/ 2569 h 25429"/>
                  <a:gd name="connsiteX4" fmla="*/ 104775 w 766977"/>
                  <a:gd name="connsiteY4" fmla="*/ 4474 h 25429"/>
                  <a:gd name="connsiteX5" fmla="*/ 133350 w 766977"/>
                  <a:gd name="connsiteY5" fmla="*/ 6379 h 25429"/>
                  <a:gd name="connsiteX6" fmla="*/ 169545 w 766977"/>
                  <a:gd name="connsiteY6" fmla="*/ 8284 h 25429"/>
                  <a:gd name="connsiteX7" fmla="*/ 262890 w 766977"/>
                  <a:gd name="connsiteY7" fmla="*/ 12094 h 25429"/>
                  <a:gd name="connsiteX8" fmla="*/ 289560 w 766977"/>
                  <a:gd name="connsiteY8" fmla="*/ 10189 h 25429"/>
                  <a:gd name="connsiteX9" fmla="*/ 300990 w 766977"/>
                  <a:gd name="connsiteY9" fmla="*/ 8284 h 25429"/>
                  <a:gd name="connsiteX10" fmla="*/ 350520 w 766977"/>
                  <a:gd name="connsiteY10" fmla="*/ 10189 h 25429"/>
                  <a:gd name="connsiteX11" fmla="*/ 390525 w 766977"/>
                  <a:gd name="connsiteY11" fmla="*/ 8284 h 25429"/>
                  <a:gd name="connsiteX12" fmla="*/ 419100 w 766977"/>
                  <a:gd name="connsiteY12" fmla="*/ 6379 h 25429"/>
                  <a:gd name="connsiteX13" fmla="*/ 491490 w 766977"/>
                  <a:gd name="connsiteY13" fmla="*/ 2569 h 25429"/>
                  <a:gd name="connsiteX14" fmla="*/ 575310 w 766977"/>
                  <a:gd name="connsiteY14" fmla="*/ 2569 h 25429"/>
                  <a:gd name="connsiteX15" fmla="*/ 586740 w 766977"/>
                  <a:gd name="connsiteY15" fmla="*/ 4474 h 25429"/>
                  <a:gd name="connsiteX16" fmla="*/ 617220 w 766977"/>
                  <a:gd name="connsiteY16" fmla="*/ 6379 h 25429"/>
                  <a:gd name="connsiteX17" fmla="*/ 661035 w 766977"/>
                  <a:gd name="connsiteY17" fmla="*/ 12094 h 25429"/>
                  <a:gd name="connsiteX18" fmla="*/ 678180 w 766977"/>
                  <a:gd name="connsiteY18" fmla="*/ 15904 h 25429"/>
                  <a:gd name="connsiteX19" fmla="*/ 689610 w 766977"/>
                  <a:gd name="connsiteY19" fmla="*/ 19714 h 25429"/>
                  <a:gd name="connsiteX20" fmla="*/ 699135 w 766977"/>
                  <a:gd name="connsiteY20" fmla="*/ 21619 h 25429"/>
                  <a:gd name="connsiteX21" fmla="*/ 716280 w 766977"/>
                  <a:gd name="connsiteY21" fmla="*/ 25429 h 25429"/>
                  <a:gd name="connsiteX22" fmla="*/ 762000 w 766977"/>
                  <a:gd name="connsiteY22" fmla="*/ 8284 h 25429"/>
                  <a:gd name="connsiteX23" fmla="*/ 763905 w 766977"/>
                  <a:gd name="connsiteY23" fmla="*/ 2569 h 25429"/>
                  <a:gd name="connsiteX0" fmla="*/ 0 w 762000"/>
                  <a:gd name="connsiteY0" fmla="*/ 10189 h 25429"/>
                  <a:gd name="connsiteX1" fmla="*/ 11430 w 762000"/>
                  <a:gd name="connsiteY1" fmla="*/ 8284 h 25429"/>
                  <a:gd name="connsiteX2" fmla="*/ 28575 w 762000"/>
                  <a:gd name="connsiteY2" fmla="*/ 4474 h 25429"/>
                  <a:gd name="connsiteX3" fmla="*/ 57150 w 762000"/>
                  <a:gd name="connsiteY3" fmla="*/ 2569 h 25429"/>
                  <a:gd name="connsiteX4" fmla="*/ 104775 w 762000"/>
                  <a:gd name="connsiteY4" fmla="*/ 4474 h 25429"/>
                  <a:gd name="connsiteX5" fmla="*/ 133350 w 762000"/>
                  <a:gd name="connsiteY5" fmla="*/ 6379 h 25429"/>
                  <a:gd name="connsiteX6" fmla="*/ 169545 w 762000"/>
                  <a:gd name="connsiteY6" fmla="*/ 8284 h 25429"/>
                  <a:gd name="connsiteX7" fmla="*/ 262890 w 762000"/>
                  <a:gd name="connsiteY7" fmla="*/ 12094 h 25429"/>
                  <a:gd name="connsiteX8" fmla="*/ 289560 w 762000"/>
                  <a:gd name="connsiteY8" fmla="*/ 10189 h 25429"/>
                  <a:gd name="connsiteX9" fmla="*/ 300990 w 762000"/>
                  <a:gd name="connsiteY9" fmla="*/ 8284 h 25429"/>
                  <a:gd name="connsiteX10" fmla="*/ 350520 w 762000"/>
                  <a:gd name="connsiteY10" fmla="*/ 10189 h 25429"/>
                  <a:gd name="connsiteX11" fmla="*/ 390525 w 762000"/>
                  <a:gd name="connsiteY11" fmla="*/ 8284 h 25429"/>
                  <a:gd name="connsiteX12" fmla="*/ 419100 w 762000"/>
                  <a:gd name="connsiteY12" fmla="*/ 6379 h 25429"/>
                  <a:gd name="connsiteX13" fmla="*/ 491490 w 762000"/>
                  <a:gd name="connsiteY13" fmla="*/ 2569 h 25429"/>
                  <a:gd name="connsiteX14" fmla="*/ 575310 w 762000"/>
                  <a:gd name="connsiteY14" fmla="*/ 2569 h 25429"/>
                  <a:gd name="connsiteX15" fmla="*/ 586740 w 762000"/>
                  <a:gd name="connsiteY15" fmla="*/ 4474 h 25429"/>
                  <a:gd name="connsiteX16" fmla="*/ 617220 w 762000"/>
                  <a:gd name="connsiteY16" fmla="*/ 6379 h 25429"/>
                  <a:gd name="connsiteX17" fmla="*/ 661035 w 762000"/>
                  <a:gd name="connsiteY17" fmla="*/ 12094 h 25429"/>
                  <a:gd name="connsiteX18" fmla="*/ 678180 w 762000"/>
                  <a:gd name="connsiteY18" fmla="*/ 15904 h 25429"/>
                  <a:gd name="connsiteX19" fmla="*/ 689610 w 762000"/>
                  <a:gd name="connsiteY19" fmla="*/ 19714 h 25429"/>
                  <a:gd name="connsiteX20" fmla="*/ 699135 w 762000"/>
                  <a:gd name="connsiteY20" fmla="*/ 21619 h 25429"/>
                  <a:gd name="connsiteX21" fmla="*/ 716280 w 762000"/>
                  <a:gd name="connsiteY21" fmla="*/ 25429 h 25429"/>
                  <a:gd name="connsiteX22" fmla="*/ 762000 w 762000"/>
                  <a:gd name="connsiteY22" fmla="*/ 8284 h 25429"/>
                  <a:gd name="connsiteX0" fmla="*/ 0 w 762000"/>
                  <a:gd name="connsiteY0" fmla="*/ 10189 h 26852"/>
                  <a:gd name="connsiteX1" fmla="*/ 11430 w 762000"/>
                  <a:gd name="connsiteY1" fmla="*/ 8284 h 26852"/>
                  <a:gd name="connsiteX2" fmla="*/ 28575 w 762000"/>
                  <a:gd name="connsiteY2" fmla="*/ 4474 h 26852"/>
                  <a:gd name="connsiteX3" fmla="*/ 57150 w 762000"/>
                  <a:gd name="connsiteY3" fmla="*/ 2569 h 26852"/>
                  <a:gd name="connsiteX4" fmla="*/ 104775 w 762000"/>
                  <a:gd name="connsiteY4" fmla="*/ 4474 h 26852"/>
                  <a:gd name="connsiteX5" fmla="*/ 133350 w 762000"/>
                  <a:gd name="connsiteY5" fmla="*/ 6379 h 26852"/>
                  <a:gd name="connsiteX6" fmla="*/ 169545 w 762000"/>
                  <a:gd name="connsiteY6" fmla="*/ 8284 h 26852"/>
                  <a:gd name="connsiteX7" fmla="*/ 262890 w 762000"/>
                  <a:gd name="connsiteY7" fmla="*/ 12094 h 26852"/>
                  <a:gd name="connsiteX8" fmla="*/ 289560 w 762000"/>
                  <a:gd name="connsiteY8" fmla="*/ 10189 h 26852"/>
                  <a:gd name="connsiteX9" fmla="*/ 300990 w 762000"/>
                  <a:gd name="connsiteY9" fmla="*/ 8284 h 26852"/>
                  <a:gd name="connsiteX10" fmla="*/ 350520 w 762000"/>
                  <a:gd name="connsiteY10" fmla="*/ 10189 h 26852"/>
                  <a:gd name="connsiteX11" fmla="*/ 390525 w 762000"/>
                  <a:gd name="connsiteY11" fmla="*/ 8284 h 26852"/>
                  <a:gd name="connsiteX12" fmla="*/ 419100 w 762000"/>
                  <a:gd name="connsiteY12" fmla="*/ 6379 h 26852"/>
                  <a:gd name="connsiteX13" fmla="*/ 491490 w 762000"/>
                  <a:gd name="connsiteY13" fmla="*/ 2569 h 26852"/>
                  <a:gd name="connsiteX14" fmla="*/ 575310 w 762000"/>
                  <a:gd name="connsiteY14" fmla="*/ 2569 h 26852"/>
                  <a:gd name="connsiteX15" fmla="*/ 586740 w 762000"/>
                  <a:gd name="connsiteY15" fmla="*/ 4474 h 26852"/>
                  <a:gd name="connsiteX16" fmla="*/ 617220 w 762000"/>
                  <a:gd name="connsiteY16" fmla="*/ 6379 h 26852"/>
                  <a:gd name="connsiteX17" fmla="*/ 661035 w 762000"/>
                  <a:gd name="connsiteY17" fmla="*/ 12094 h 26852"/>
                  <a:gd name="connsiteX18" fmla="*/ 678180 w 762000"/>
                  <a:gd name="connsiteY18" fmla="*/ 15904 h 26852"/>
                  <a:gd name="connsiteX19" fmla="*/ 689610 w 762000"/>
                  <a:gd name="connsiteY19" fmla="*/ 19714 h 26852"/>
                  <a:gd name="connsiteX20" fmla="*/ 699135 w 762000"/>
                  <a:gd name="connsiteY20" fmla="*/ 21619 h 26852"/>
                  <a:gd name="connsiteX21" fmla="*/ 706756 w 762000"/>
                  <a:gd name="connsiteY21" fmla="*/ 25429 h 26852"/>
                  <a:gd name="connsiteX22" fmla="*/ 716280 w 762000"/>
                  <a:gd name="connsiteY22" fmla="*/ 25429 h 26852"/>
                  <a:gd name="connsiteX23" fmla="*/ 762000 w 762000"/>
                  <a:gd name="connsiteY23" fmla="*/ 8284 h 26852"/>
                  <a:gd name="connsiteX0" fmla="*/ 0 w 762000"/>
                  <a:gd name="connsiteY0" fmla="*/ 10189 h 26852"/>
                  <a:gd name="connsiteX1" fmla="*/ 11430 w 762000"/>
                  <a:gd name="connsiteY1" fmla="*/ 8284 h 26852"/>
                  <a:gd name="connsiteX2" fmla="*/ 28575 w 762000"/>
                  <a:gd name="connsiteY2" fmla="*/ 4474 h 26852"/>
                  <a:gd name="connsiteX3" fmla="*/ 57150 w 762000"/>
                  <a:gd name="connsiteY3" fmla="*/ 2569 h 26852"/>
                  <a:gd name="connsiteX4" fmla="*/ 104775 w 762000"/>
                  <a:gd name="connsiteY4" fmla="*/ 4474 h 26852"/>
                  <a:gd name="connsiteX5" fmla="*/ 133350 w 762000"/>
                  <a:gd name="connsiteY5" fmla="*/ 6379 h 26852"/>
                  <a:gd name="connsiteX6" fmla="*/ 169545 w 762000"/>
                  <a:gd name="connsiteY6" fmla="*/ 8284 h 26852"/>
                  <a:gd name="connsiteX7" fmla="*/ 262890 w 762000"/>
                  <a:gd name="connsiteY7" fmla="*/ 12094 h 26852"/>
                  <a:gd name="connsiteX8" fmla="*/ 289560 w 762000"/>
                  <a:gd name="connsiteY8" fmla="*/ 10189 h 26852"/>
                  <a:gd name="connsiteX9" fmla="*/ 300990 w 762000"/>
                  <a:gd name="connsiteY9" fmla="*/ 8284 h 26852"/>
                  <a:gd name="connsiteX10" fmla="*/ 350520 w 762000"/>
                  <a:gd name="connsiteY10" fmla="*/ 10189 h 26852"/>
                  <a:gd name="connsiteX11" fmla="*/ 390525 w 762000"/>
                  <a:gd name="connsiteY11" fmla="*/ 8284 h 26852"/>
                  <a:gd name="connsiteX12" fmla="*/ 419100 w 762000"/>
                  <a:gd name="connsiteY12" fmla="*/ 6379 h 26852"/>
                  <a:gd name="connsiteX13" fmla="*/ 491490 w 762000"/>
                  <a:gd name="connsiteY13" fmla="*/ 2569 h 26852"/>
                  <a:gd name="connsiteX14" fmla="*/ 575310 w 762000"/>
                  <a:gd name="connsiteY14" fmla="*/ 2569 h 26852"/>
                  <a:gd name="connsiteX15" fmla="*/ 586740 w 762000"/>
                  <a:gd name="connsiteY15" fmla="*/ 4474 h 26852"/>
                  <a:gd name="connsiteX16" fmla="*/ 617220 w 762000"/>
                  <a:gd name="connsiteY16" fmla="*/ 6379 h 26852"/>
                  <a:gd name="connsiteX17" fmla="*/ 661035 w 762000"/>
                  <a:gd name="connsiteY17" fmla="*/ 12094 h 26852"/>
                  <a:gd name="connsiteX18" fmla="*/ 678180 w 762000"/>
                  <a:gd name="connsiteY18" fmla="*/ 15904 h 26852"/>
                  <a:gd name="connsiteX19" fmla="*/ 699135 w 762000"/>
                  <a:gd name="connsiteY19" fmla="*/ 21619 h 26852"/>
                  <a:gd name="connsiteX20" fmla="*/ 706756 w 762000"/>
                  <a:gd name="connsiteY20" fmla="*/ 25429 h 26852"/>
                  <a:gd name="connsiteX21" fmla="*/ 716280 w 762000"/>
                  <a:gd name="connsiteY21" fmla="*/ 25429 h 26852"/>
                  <a:gd name="connsiteX22" fmla="*/ 762000 w 762000"/>
                  <a:gd name="connsiteY22" fmla="*/ 8284 h 26852"/>
                  <a:gd name="connsiteX0" fmla="*/ 0 w 716280"/>
                  <a:gd name="connsiteY0" fmla="*/ 10189 h 26852"/>
                  <a:gd name="connsiteX1" fmla="*/ 11430 w 716280"/>
                  <a:gd name="connsiteY1" fmla="*/ 8284 h 26852"/>
                  <a:gd name="connsiteX2" fmla="*/ 28575 w 716280"/>
                  <a:gd name="connsiteY2" fmla="*/ 4474 h 26852"/>
                  <a:gd name="connsiteX3" fmla="*/ 57150 w 716280"/>
                  <a:gd name="connsiteY3" fmla="*/ 2569 h 26852"/>
                  <a:gd name="connsiteX4" fmla="*/ 104775 w 716280"/>
                  <a:gd name="connsiteY4" fmla="*/ 4474 h 26852"/>
                  <a:gd name="connsiteX5" fmla="*/ 133350 w 716280"/>
                  <a:gd name="connsiteY5" fmla="*/ 6379 h 26852"/>
                  <a:gd name="connsiteX6" fmla="*/ 169545 w 716280"/>
                  <a:gd name="connsiteY6" fmla="*/ 8284 h 26852"/>
                  <a:gd name="connsiteX7" fmla="*/ 262890 w 716280"/>
                  <a:gd name="connsiteY7" fmla="*/ 12094 h 26852"/>
                  <a:gd name="connsiteX8" fmla="*/ 289560 w 716280"/>
                  <a:gd name="connsiteY8" fmla="*/ 10189 h 26852"/>
                  <a:gd name="connsiteX9" fmla="*/ 300990 w 716280"/>
                  <a:gd name="connsiteY9" fmla="*/ 8284 h 26852"/>
                  <a:gd name="connsiteX10" fmla="*/ 350520 w 716280"/>
                  <a:gd name="connsiteY10" fmla="*/ 10189 h 26852"/>
                  <a:gd name="connsiteX11" fmla="*/ 390525 w 716280"/>
                  <a:gd name="connsiteY11" fmla="*/ 8284 h 26852"/>
                  <a:gd name="connsiteX12" fmla="*/ 419100 w 716280"/>
                  <a:gd name="connsiteY12" fmla="*/ 6379 h 26852"/>
                  <a:gd name="connsiteX13" fmla="*/ 491490 w 716280"/>
                  <a:gd name="connsiteY13" fmla="*/ 2569 h 26852"/>
                  <a:gd name="connsiteX14" fmla="*/ 575310 w 716280"/>
                  <a:gd name="connsiteY14" fmla="*/ 2569 h 26852"/>
                  <a:gd name="connsiteX15" fmla="*/ 586740 w 716280"/>
                  <a:gd name="connsiteY15" fmla="*/ 4474 h 26852"/>
                  <a:gd name="connsiteX16" fmla="*/ 617220 w 716280"/>
                  <a:gd name="connsiteY16" fmla="*/ 6379 h 26852"/>
                  <a:gd name="connsiteX17" fmla="*/ 661035 w 716280"/>
                  <a:gd name="connsiteY17" fmla="*/ 12094 h 26852"/>
                  <a:gd name="connsiteX18" fmla="*/ 678180 w 716280"/>
                  <a:gd name="connsiteY18" fmla="*/ 15904 h 26852"/>
                  <a:gd name="connsiteX19" fmla="*/ 699135 w 716280"/>
                  <a:gd name="connsiteY19" fmla="*/ 21619 h 26852"/>
                  <a:gd name="connsiteX20" fmla="*/ 706756 w 716280"/>
                  <a:gd name="connsiteY20" fmla="*/ 25429 h 26852"/>
                  <a:gd name="connsiteX21" fmla="*/ 716280 w 716280"/>
                  <a:gd name="connsiteY21" fmla="*/ 25429 h 26852"/>
                  <a:gd name="connsiteX0" fmla="*/ 0 w 706756"/>
                  <a:gd name="connsiteY0" fmla="*/ 10189 h 25429"/>
                  <a:gd name="connsiteX1" fmla="*/ 11430 w 706756"/>
                  <a:gd name="connsiteY1" fmla="*/ 8284 h 25429"/>
                  <a:gd name="connsiteX2" fmla="*/ 28575 w 706756"/>
                  <a:gd name="connsiteY2" fmla="*/ 4474 h 25429"/>
                  <a:gd name="connsiteX3" fmla="*/ 57150 w 706756"/>
                  <a:gd name="connsiteY3" fmla="*/ 2569 h 25429"/>
                  <a:gd name="connsiteX4" fmla="*/ 104775 w 706756"/>
                  <a:gd name="connsiteY4" fmla="*/ 4474 h 25429"/>
                  <a:gd name="connsiteX5" fmla="*/ 133350 w 706756"/>
                  <a:gd name="connsiteY5" fmla="*/ 6379 h 25429"/>
                  <a:gd name="connsiteX6" fmla="*/ 169545 w 706756"/>
                  <a:gd name="connsiteY6" fmla="*/ 8284 h 25429"/>
                  <a:gd name="connsiteX7" fmla="*/ 262890 w 706756"/>
                  <a:gd name="connsiteY7" fmla="*/ 12094 h 25429"/>
                  <a:gd name="connsiteX8" fmla="*/ 289560 w 706756"/>
                  <a:gd name="connsiteY8" fmla="*/ 10189 h 25429"/>
                  <a:gd name="connsiteX9" fmla="*/ 300990 w 706756"/>
                  <a:gd name="connsiteY9" fmla="*/ 8284 h 25429"/>
                  <a:gd name="connsiteX10" fmla="*/ 350520 w 706756"/>
                  <a:gd name="connsiteY10" fmla="*/ 10189 h 25429"/>
                  <a:gd name="connsiteX11" fmla="*/ 390525 w 706756"/>
                  <a:gd name="connsiteY11" fmla="*/ 8284 h 25429"/>
                  <a:gd name="connsiteX12" fmla="*/ 419100 w 706756"/>
                  <a:gd name="connsiteY12" fmla="*/ 6379 h 25429"/>
                  <a:gd name="connsiteX13" fmla="*/ 491490 w 706756"/>
                  <a:gd name="connsiteY13" fmla="*/ 2569 h 25429"/>
                  <a:gd name="connsiteX14" fmla="*/ 575310 w 706756"/>
                  <a:gd name="connsiteY14" fmla="*/ 2569 h 25429"/>
                  <a:gd name="connsiteX15" fmla="*/ 586740 w 706756"/>
                  <a:gd name="connsiteY15" fmla="*/ 4474 h 25429"/>
                  <a:gd name="connsiteX16" fmla="*/ 617220 w 706756"/>
                  <a:gd name="connsiteY16" fmla="*/ 6379 h 25429"/>
                  <a:gd name="connsiteX17" fmla="*/ 661035 w 706756"/>
                  <a:gd name="connsiteY17" fmla="*/ 12094 h 25429"/>
                  <a:gd name="connsiteX18" fmla="*/ 678180 w 706756"/>
                  <a:gd name="connsiteY18" fmla="*/ 15904 h 25429"/>
                  <a:gd name="connsiteX19" fmla="*/ 699135 w 706756"/>
                  <a:gd name="connsiteY19" fmla="*/ 21619 h 25429"/>
                  <a:gd name="connsiteX20" fmla="*/ 706756 w 706756"/>
                  <a:gd name="connsiteY20" fmla="*/ 25429 h 2542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61035 w 699135"/>
                  <a:gd name="connsiteY17" fmla="*/ 12094 h 21619"/>
                  <a:gd name="connsiteX18" fmla="*/ 678180 w 699135"/>
                  <a:gd name="connsiteY18" fmla="*/ 15904 h 21619"/>
                  <a:gd name="connsiteX19" fmla="*/ 699135 w 699135"/>
                  <a:gd name="connsiteY19" fmla="*/ 21619 h 2161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78180 w 699135"/>
                  <a:gd name="connsiteY17" fmla="*/ 15904 h 21619"/>
                  <a:gd name="connsiteX18" fmla="*/ 699135 w 699135"/>
                  <a:gd name="connsiteY18" fmla="*/ 21619 h 2161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99135 w 699135"/>
                  <a:gd name="connsiteY17" fmla="*/ 21619 h 21619"/>
                  <a:gd name="connsiteX0" fmla="*/ 0 w 617220"/>
                  <a:gd name="connsiteY0" fmla="*/ 10189 h 12094"/>
                  <a:gd name="connsiteX1" fmla="*/ 11430 w 617220"/>
                  <a:gd name="connsiteY1" fmla="*/ 8284 h 12094"/>
                  <a:gd name="connsiteX2" fmla="*/ 28575 w 617220"/>
                  <a:gd name="connsiteY2" fmla="*/ 4474 h 12094"/>
                  <a:gd name="connsiteX3" fmla="*/ 57150 w 617220"/>
                  <a:gd name="connsiteY3" fmla="*/ 2569 h 12094"/>
                  <a:gd name="connsiteX4" fmla="*/ 104775 w 617220"/>
                  <a:gd name="connsiteY4" fmla="*/ 4474 h 12094"/>
                  <a:gd name="connsiteX5" fmla="*/ 133350 w 617220"/>
                  <a:gd name="connsiteY5" fmla="*/ 6379 h 12094"/>
                  <a:gd name="connsiteX6" fmla="*/ 169545 w 617220"/>
                  <a:gd name="connsiteY6" fmla="*/ 8284 h 12094"/>
                  <a:gd name="connsiteX7" fmla="*/ 262890 w 617220"/>
                  <a:gd name="connsiteY7" fmla="*/ 12094 h 12094"/>
                  <a:gd name="connsiteX8" fmla="*/ 289560 w 617220"/>
                  <a:gd name="connsiteY8" fmla="*/ 10189 h 12094"/>
                  <a:gd name="connsiteX9" fmla="*/ 300990 w 617220"/>
                  <a:gd name="connsiteY9" fmla="*/ 8284 h 12094"/>
                  <a:gd name="connsiteX10" fmla="*/ 350520 w 617220"/>
                  <a:gd name="connsiteY10" fmla="*/ 10189 h 12094"/>
                  <a:gd name="connsiteX11" fmla="*/ 390525 w 617220"/>
                  <a:gd name="connsiteY11" fmla="*/ 8284 h 12094"/>
                  <a:gd name="connsiteX12" fmla="*/ 419100 w 617220"/>
                  <a:gd name="connsiteY12" fmla="*/ 6379 h 12094"/>
                  <a:gd name="connsiteX13" fmla="*/ 491490 w 617220"/>
                  <a:gd name="connsiteY13" fmla="*/ 2569 h 12094"/>
                  <a:gd name="connsiteX14" fmla="*/ 575310 w 617220"/>
                  <a:gd name="connsiteY14" fmla="*/ 2569 h 12094"/>
                  <a:gd name="connsiteX15" fmla="*/ 586740 w 617220"/>
                  <a:gd name="connsiteY15" fmla="*/ 4474 h 12094"/>
                  <a:gd name="connsiteX16" fmla="*/ 617220 w 617220"/>
                  <a:gd name="connsiteY16" fmla="*/ 6379 h 12094"/>
                  <a:gd name="connsiteX0" fmla="*/ 0 w 763905"/>
                  <a:gd name="connsiteY0" fmla="*/ 10189 h 12094"/>
                  <a:gd name="connsiteX1" fmla="*/ 11430 w 763905"/>
                  <a:gd name="connsiteY1" fmla="*/ 8284 h 12094"/>
                  <a:gd name="connsiteX2" fmla="*/ 28575 w 763905"/>
                  <a:gd name="connsiteY2" fmla="*/ 4474 h 12094"/>
                  <a:gd name="connsiteX3" fmla="*/ 57150 w 763905"/>
                  <a:gd name="connsiteY3" fmla="*/ 2569 h 12094"/>
                  <a:gd name="connsiteX4" fmla="*/ 104775 w 763905"/>
                  <a:gd name="connsiteY4" fmla="*/ 4474 h 12094"/>
                  <a:gd name="connsiteX5" fmla="*/ 133350 w 763905"/>
                  <a:gd name="connsiteY5" fmla="*/ 6379 h 12094"/>
                  <a:gd name="connsiteX6" fmla="*/ 169545 w 763905"/>
                  <a:gd name="connsiteY6" fmla="*/ 8284 h 12094"/>
                  <a:gd name="connsiteX7" fmla="*/ 262890 w 763905"/>
                  <a:gd name="connsiteY7" fmla="*/ 12094 h 12094"/>
                  <a:gd name="connsiteX8" fmla="*/ 289560 w 763905"/>
                  <a:gd name="connsiteY8" fmla="*/ 10189 h 12094"/>
                  <a:gd name="connsiteX9" fmla="*/ 300990 w 763905"/>
                  <a:gd name="connsiteY9" fmla="*/ 8284 h 12094"/>
                  <a:gd name="connsiteX10" fmla="*/ 350520 w 763905"/>
                  <a:gd name="connsiteY10" fmla="*/ 10189 h 12094"/>
                  <a:gd name="connsiteX11" fmla="*/ 390525 w 763905"/>
                  <a:gd name="connsiteY11" fmla="*/ 8284 h 12094"/>
                  <a:gd name="connsiteX12" fmla="*/ 419100 w 763905"/>
                  <a:gd name="connsiteY12" fmla="*/ 6379 h 12094"/>
                  <a:gd name="connsiteX13" fmla="*/ 491490 w 763905"/>
                  <a:gd name="connsiteY13" fmla="*/ 2569 h 12094"/>
                  <a:gd name="connsiteX14" fmla="*/ 575310 w 763905"/>
                  <a:gd name="connsiteY14" fmla="*/ 2569 h 12094"/>
                  <a:gd name="connsiteX15" fmla="*/ 586740 w 763905"/>
                  <a:gd name="connsiteY15" fmla="*/ 4474 h 12094"/>
                  <a:gd name="connsiteX16" fmla="*/ 763905 w 763905"/>
                  <a:gd name="connsiteY16" fmla="*/ 8284 h 12094"/>
                  <a:gd name="connsiteX0" fmla="*/ 0 w 763905"/>
                  <a:gd name="connsiteY0" fmla="*/ 9527 h 11432"/>
                  <a:gd name="connsiteX1" fmla="*/ 11430 w 763905"/>
                  <a:gd name="connsiteY1" fmla="*/ 7622 h 11432"/>
                  <a:gd name="connsiteX2" fmla="*/ 28575 w 763905"/>
                  <a:gd name="connsiteY2" fmla="*/ 3812 h 11432"/>
                  <a:gd name="connsiteX3" fmla="*/ 57150 w 763905"/>
                  <a:gd name="connsiteY3" fmla="*/ 1907 h 11432"/>
                  <a:gd name="connsiteX4" fmla="*/ 104775 w 763905"/>
                  <a:gd name="connsiteY4" fmla="*/ 3812 h 11432"/>
                  <a:gd name="connsiteX5" fmla="*/ 133350 w 763905"/>
                  <a:gd name="connsiteY5" fmla="*/ 5717 h 11432"/>
                  <a:gd name="connsiteX6" fmla="*/ 169545 w 763905"/>
                  <a:gd name="connsiteY6" fmla="*/ 7622 h 11432"/>
                  <a:gd name="connsiteX7" fmla="*/ 262890 w 763905"/>
                  <a:gd name="connsiteY7" fmla="*/ 11432 h 11432"/>
                  <a:gd name="connsiteX8" fmla="*/ 289560 w 763905"/>
                  <a:gd name="connsiteY8" fmla="*/ 9527 h 11432"/>
                  <a:gd name="connsiteX9" fmla="*/ 300990 w 763905"/>
                  <a:gd name="connsiteY9" fmla="*/ 7622 h 11432"/>
                  <a:gd name="connsiteX10" fmla="*/ 350520 w 763905"/>
                  <a:gd name="connsiteY10" fmla="*/ 9527 h 11432"/>
                  <a:gd name="connsiteX11" fmla="*/ 390525 w 763905"/>
                  <a:gd name="connsiteY11" fmla="*/ 7622 h 11432"/>
                  <a:gd name="connsiteX12" fmla="*/ 419100 w 763905"/>
                  <a:gd name="connsiteY12" fmla="*/ 5717 h 11432"/>
                  <a:gd name="connsiteX13" fmla="*/ 491490 w 763905"/>
                  <a:gd name="connsiteY13" fmla="*/ 1907 h 11432"/>
                  <a:gd name="connsiteX14" fmla="*/ 575310 w 763905"/>
                  <a:gd name="connsiteY14" fmla="*/ 1907 h 11432"/>
                  <a:gd name="connsiteX15" fmla="*/ 763905 w 763905"/>
                  <a:gd name="connsiteY15" fmla="*/ 7622 h 11432"/>
                  <a:gd name="connsiteX0" fmla="*/ 0 w 763905"/>
                  <a:gd name="connsiteY0" fmla="*/ 7620 h 9525"/>
                  <a:gd name="connsiteX1" fmla="*/ 11430 w 763905"/>
                  <a:gd name="connsiteY1" fmla="*/ 5715 h 9525"/>
                  <a:gd name="connsiteX2" fmla="*/ 28575 w 763905"/>
                  <a:gd name="connsiteY2" fmla="*/ 1905 h 9525"/>
                  <a:gd name="connsiteX3" fmla="*/ 57150 w 763905"/>
                  <a:gd name="connsiteY3" fmla="*/ 0 h 9525"/>
                  <a:gd name="connsiteX4" fmla="*/ 104775 w 763905"/>
                  <a:gd name="connsiteY4" fmla="*/ 1905 h 9525"/>
                  <a:gd name="connsiteX5" fmla="*/ 133350 w 763905"/>
                  <a:gd name="connsiteY5" fmla="*/ 3810 h 9525"/>
                  <a:gd name="connsiteX6" fmla="*/ 169545 w 763905"/>
                  <a:gd name="connsiteY6" fmla="*/ 5715 h 9525"/>
                  <a:gd name="connsiteX7" fmla="*/ 262890 w 763905"/>
                  <a:gd name="connsiteY7" fmla="*/ 9525 h 9525"/>
                  <a:gd name="connsiteX8" fmla="*/ 289560 w 763905"/>
                  <a:gd name="connsiteY8" fmla="*/ 7620 h 9525"/>
                  <a:gd name="connsiteX9" fmla="*/ 300990 w 763905"/>
                  <a:gd name="connsiteY9" fmla="*/ 5715 h 9525"/>
                  <a:gd name="connsiteX10" fmla="*/ 350520 w 763905"/>
                  <a:gd name="connsiteY10" fmla="*/ 7620 h 9525"/>
                  <a:gd name="connsiteX11" fmla="*/ 390525 w 763905"/>
                  <a:gd name="connsiteY11" fmla="*/ 5715 h 9525"/>
                  <a:gd name="connsiteX12" fmla="*/ 419100 w 763905"/>
                  <a:gd name="connsiteY12" fmla="*/ 3810 h 9525"/>
                  <a:gd name="connsiteX13" fmla="*/ 491490 w 763905"/>
                  <a:gd name="connsiteY13" fmla="*/ 0 h 9525"/>
                  <a:gd name="connsiteX14" fmla="*/ 763905 w 763905"/>
                  <a:gd name="connsiteY14" fmla="*/ 5715 h 9525"/>
                  <a:gd name="connsiteX0" fmla="*/ 0 w 10000"/>
                  <a:gd name="connsiteY0" fmla="*/ 8000 h 10000"/>
                  <a:gd name="connsiteX1" fmla="*/ 150 w 10000"/>
                  <a:gd name="connsiteY1" fmla="*/ 6000 h 10000"/>
                  <a:gd name="connsiteX2" fmla="*/ 748 w 10000"/>
                  <a:gd name="connsiteY2" fmla="*/ 0 h 10000"/>
                  <a:gd name="connsiteX3" fmla="*/ 1372 w 10000"/>
                  <a:gd name="connsiteY3" fmla="*/ 2000 h 10000"/>
                  <a:gd name="connsiteX4" fmla="*/ 1746 w 10000"/>
                  <a:gd name="connsiteY4" fmla="*/ 4000 h 10000"/>
                  <a:gd name="connsiteX5" fmla="*/ 2219 w 10000"/>
                  <a:gd name="connsiteY5" fmla="*/ 6000 h 10000"/>
                  <a:gd name="connsiteX6" fmla="*/ 3441 w 10000"/>
                  <a:gd name="connsiteY6" fmla="*/ 10000 h 10000"/>
                  <a:gd name="connsiteX7" fmla="*/ 3791 w 10000"/>
                  <a:gd name="connsiteY7" fmla="*/ 8000 h 10000"/>
                  <a:gd name="connsiteX8" fmla="*/ 3940 w 10000"/>
                  <a:gd name="connsiteY8" fmla="*/ 6000 h 10000"/>
                  <a:gd name="connsiteX9" fmla="*/ 4589 w 10000"/>
                  <a:gd name="connsiteY9" fmla="*/ 8000 h 10000"/>
                  <a:gd name="connsiteX10" fmla="*/ 5112 w 10000"/>
                  <a:gd name="connsiteY10" fmla="*/ 6000 h 10000"/>
                  <a:gd name="connsiteX11" fmla="*/ 5486 w 10000"/>
                  <a:gd name="connsiteY11" fmla="*/ 4000 h 10000"/>
                  <a:gd name="connsiteX12" fmla="*/ 6434 w 10000"/>
                  <a:gd name="connsiteY12" fmla="*/ 0 h 10000"/>
                  <a:gd name="connsiteX13" fmla="*/ 10000 w 10000"/>
                  <a:gd name="connsiteY13" fmla="*/ 6000 h 10000"/>
                  <a:gd name="connsiteX0" fmla="*/ 0 w 10000"/>
                  <a:gd name="connsiteY0" fmla="*/ 8000 h 10000"/>
                  <a:gd name="connsiteX1" fmla="*/ 748 w 10000"/>
                  <a:gd name="connsiteY1" fmla="*/ 0 h 10000"/>
                  <a:gd name="connsiteX2" fmla="*/ 1372 w 10000"/>
                  <a:gd name="connsiteY2" fmla="*/ 2000 h 10000"/>
                  <a:gd name="connsiteX3" fmla="*/ 1746 w 10000"/>
                  <a:gd name="connsiteY3" fmla="*/ 4000 h 10000"/>
                  <a:gd name="connsiteX4" fmla="*/ 2219 w 10000"/>
                  <a:gd name="connsiteY4" fmla="*/ 6000 h 10000"/>
                  <a:gd name="connsiteX5" fmla="*/ 3441 w 10000"/>
                  <a:gd name="connsiteY5" fmla="*/ 10000 h 10000"/>
                  <a:gd name="connsiteX6" fmla="*/ 3791 w 10000"/>
                  <a:gd name="connsiteY6" fmla="*/ 8000 h 10000"/>
                  <a:gd name="connsiteX7" fmla="*/ 3940 w 10000"/>
                  <a:gd name="connsiteY7" fmla="*/ 6000 h 10000"/>
                  <a:gd name="connsiteX8" fmla="*/ 4589 w 10000"/>
                  <a:gd name="connsiteY8" fmla="*/ 8000 h 10000"/>
                  <a:gd name="connsiteX9" fmla="*/ 5112 w 10000"/>
                  <a:gd name="connsiteY9" fmla="*/ 6000 h 10000"/>
                  <a:gd name="connsiteX10" fmla="*/ 5486 w 10000"/>
                  <a:gd name="connsiteY10" fmla="*/ 4000 h 10000"/>
                  <a:gd name="connsiteX11" fmla="*/ 6434 w 10000"/>
                  <a:gd name="connsiteY11" fmla="*/ 0 h 10000"/>
                  <a:gd name="connsiteX12" fmla="*/ 10000 w 10000"/>
                  <a:gd name="connsiteY12" fmla="*/ 6000 h 10000"/>
                  <a:gd name="connsiteX0" fmla="*/ 0 w 10000"/>
                  <a:gd name="connsiteY0" fmla="*/ 8000 h 10000"/>
                  <a:gd name="connsiteX1" fmla="*/ 1372 w 10000"/>
                  <a:gd name="connsiteY1" fmla="*/ 2000 h 10000"/>
                  <a:gd name="connsiteX2" fmla="*/ 1746 w 10000"/>
                  <a:gd name="connsiteY2" fmla="*/ 4000 h 10000"/>
                  <a:gd name="connsiteX3" fmla="*/ 2219 w 10000"/>
                  <a:gd name="connsiteY3" fmla="*/ 6000 h 10000"/>
                  <a:gd name="connsiteX4" fmla="*/ 3441 w 10000"/>
                  <a:gd name="connsiteY4" fmla="*/ 10000 h 10000"/>
                  <a:gd name="connsiteX5" fmla="*/ 3791 w 10000"/>
                  <a:gd name="connsiteY5" fmla="*/ 8000 h 10000"/>
                  <a:gd name="connsiteX6" fmla="*/ 3940 w 10000"/>
                  <a:gd name="connsiteY6" fmla="*/ 6000 h 10000"/>
                  <a:gd name="connsiteX7" fmla="*/ 4589 w 10000"/>
                  <a:gd name="connsiteY7" fmla="*/ 8000 h 10000"/>
                  <a:gd name="connsiteX8" fmla="*/ 5112 w 10000"/>
                  <a:gd name="connsiteY8" fmla="*/ 6000 h 10000"/>
                  <a:gd name="connsiteX9" fmla="*/ 5486 w 10000"/>
                  <a:gd name="connsiteY9" fmla="*/ 4000 h 10000"/>
                  <a:gd name="connsiteX10" fmla="*/ 6434 w 10000"/>
                  <a:gd name="connsiteY10" fmla="*/ 0 h 10000"/>
                  <a:gd name="connsiteX11" fmla="*/ 10000 w 10000"/>
                  <a:gd name="connsiteY11" fmla="*/ 6000 h 10000"/>
                  <a:gd name="connsiteX0" fmla="*/ 0 w 10000"/>
                  <a:gd name="connsiteY0" fmla="*/ 8000 h 10000"/>
                  <a:gd name="connsiteX1" fmla="*/ 1372 w 10000"/>
                  <a:gd name="connsiteY1" fmla="*/ 2000 h 10000"/>
                  <a:gd name="connsiteX2" fmla="*/ 2219 w 10000"/>
                  <a:gd name="connsiteY2" fmla="*/ 6000 h 10000"/>
                  <a:gd name="connsiteX3" fmla="*/ 3441 w 10000"/>
                  <a:gd name="connsiteY3" fmla="*/ 10000 h 10000"/>
                  <a:gd name="connsiteX4" fmla="*/ 3791 w 10000"/>
                  <a:gd name="connsiteY4" fmla="*/ 8000 h 10000"/>
                  <a:gd name="connsiteX5" fmla="*/ 3940 w 10000"/>
                  <a:gd name="connsiteY5" fmla="*/ 6000 h 10000"/>
                  <a:gd name="connsiteX6" fmla="*/ 4589 w 10000"/>
                  <a:gd name="connsiteY6" fmla="*/ 8000 h 10000"/>
                  <a:gd name="connsiteX7" fmla="*/ 5112 w 10000"/>
                  <a:gd name="connsiteY7" fmla="*/ 6000 h 10000"/>
                  <a:gd name="connsiteX8" fmla="*/ 5486 w 10000"/>
                  <a:gd name="connsiteY8" fmla="*/ 4000 h 10000"/>
                  <a:gd name="connsiteX9" fmla="*/ 6434 w 10000"/>
                  <a:gd name="connsiteY9" fmla="*/ 0 h 10000"/>
                  <a:gd name="connsiteX10" fmla="*/ 10000 w 10000"/>
                  <a:gd name="connsiteY10" fmla="*/ 6000 h 10000"/>
                  <a:gd name="connsiteX0" fmla="*/ 0 w 10000"/>
                  <a:gd name="connsiteY0" fmla="*/ 8000 h 10000"/>
                  <a:gd name="connsiteX1" fmla="*/ 2219 w 10000"/>
                  <a:gd name="connsiteY1" fmla="*/ 6000 h 10000"/>
                  <a:gd name="connsiteX2" fmla="*/ 3441 w 10000"/>
                  <a:gd name="connsiteY2" fmla="*/ 10000 h 10000"/>
                  <a:gd name="connsiteX3" fmla="*/ 3791 w 10000"/>
                  <a:gd name="connsiteY3" fmla="*/ 8000 h 10000"/>
                  <a:gd name="connsiteX4" fmla="*/ 3940 w 10000"/>
                  <a:gd name="connsiteY4" fmla="*/ 6000 h 10000"/>
                  <a:gd name="connsiteX5" fmla="*/ 4589 w 10000"/>
                  <a:gd name="connsiteY5" fmla="*/ 8000 h 10000"/>
                  <a:gd name="connsiteX6" fmla="*/ 5112 w 10000"/>
                  <a:gd name="connsiteY6" fmla="*/ 6000 h 10000"/>
                  <a:gd name="connsiteX7" fmla="*/ 5486 w 10000"/>
                  <a:gd name="connsiteY7" fmla="*/ 4000 h 10000"/>
                  <a:gd name="connsiteX8" fmla="*/ 6434 w 10000"/>
                  <a:gd name="connsiteY8" fmla="*/ 0 h 10000"/>
                  <a:gd name="connsiteX9" fmla="*/ 10000 w 10000"/>
                  <a:gd name="connsiteY9" fmla="*/ 6000 h 10000"/>
                  <a:gd name="connsiteX0" fmla="*/ 0 w 10000"/>
                  <a:gd name="connsiteY0" fmla="*/ 8000 h 10000"/>
                  <a:gd name="connsiteX1" fmla="*/ 3441 w 10000"/>
                  <a:gd name="connsiteY1" fmla="*/ 10000 h 10000"/>
                  <a:gd name="connsiteX2" fmla="*/ 3791 w 10000"/>
                  <a:gd name="connsiteY2" fmla="*/ 8000 h 10000"/>
                  <a:gd name="connsiteX3" fmla="*/ 3940 w 10000"/>
                  <a:gd name="connsiteY3" fmla="*/ 6000 h 10000"/>
                  <a:gd name="connsiteX4" fmla="*/ 4589 w 10000"/>
                  <a:gd name="connsiteY4" fmla="*/ 8000 h 10000"/>
                  <a:gd name="connsiteX5" fmla="*/ 5112 w 10000"/>
                  <a:gd name="connsiteY5" fmla="*/ 6000 h 10000"/>
                  <a:gd name="connsiteX6" fmla="*/ 5486 w 10000"/>
                  <a:gd name="connsiteY6" fmla="*/ 4000 h 10000"/>
                  <a:gd name="connsiteX7" fmla="*/ 6434 w 10000"/>
                  <a:gd name="connsiteY7" fmla="*/ 0 h 10000"/>
                  <a:gd name="connsiteX8" fmla="*/ 10000 w 10000"/>
                  <a:gd name="connsiteY8" fmla="*/ 6000 h 10000"/>
                  <a:gd name="connsiteX0" fmla="*/ 0 w 10125"/>
                  <a:gd name="connsiteY0" fmla="*/ 8000 h 10000"/>
                  <a:gd name="connsiteX1" fmla="*/ 3566 w 10125"/>
                  <a:gd name="connsiteY1" fmla="*/ 10000 h 10000"/>
                  <a:gd name="connsiteX2" fmla="*/ 3916 w 10125"/>
                  <a:gd name="connsiteY2" fmla="*/ 8000 h 10000"/>
                  <a:gd name="connsiteX3" fmla="*/ 4065 w 10125"/>
                  <a:gd name="connsiteY3" fmla="*/ 6000 h 10000"/>
                  <a:gd name="connsiteX4" fmla="*/ 4714 w 10125"/>
                  <a:gd name="connsiteY4" fmla="*/ 8000 h 10000"/>
                  <a:gd name="connsiteX5" fmla="*/ 5237 w 10125"/>
                  <a:gd name="connsiteY5" fmla="*/ 6000 h 10000"/>
                  <a:gd name="connsiteX6" fmla="*/ 5611 w 10125"/>
                  <a:gd name="connsiteY6" fmla="*/ 4000 h 10000"/>
                  <a:gd name="connsiteX7" fmla="*/ 6559 w 10125"/>
                  <a:gd name="connsiteY7" fmla="*/ 0 h 10000"/>
                  <a:gd name="connsiteX8" fmla="*/ 10125 w 10125"/>
                  <a:gd name="connsiteY8" fmla="*/ 6000 h 10000"/>
                  <a:gd name="connsiteX0" fmla="*/ 0 w 10175"/>
                  <a:gd name="connsiteY0" fmla="*/ 8000 h 10000"/>
                  <a:gd name="connsiteX1" fmla="*/ 3566 w 10175"/>
                  <a:gd name="connsiteY1" fmla="*/ 10000 h 10000"/>
                  <a:gd name="connsiteX2" fmla="*/ 3916 w 10175"/>
                  <a:gd name="connsiteY2" fmla="*/ 8000 h 10000"/>
                  <a:gd name="connsiteX3" fmla="*/ 4065 w 10175"/>
                  <a:gd name="connsiteY3" fmla="*/ 6000 h 10000"/>
                  <a:gd name="connsiteX4" fmla="*/ 4714 w 10175"/>
                  <a:gd name="connsiteY4" fmla="*/ 8000 h 10000"/>
                  <a:gd name="connsiteX5" fmla="*/ 5237 w 10175"/>
                  <a:gd name="connsiteY5" fmla="*/ 6000 h 10000"/>
                  <a:gd name="connsiteX6" fmla="*/ 5611 w 10175"/>
                  <a:gd name="connsiteY6" fmla="*/ 4000 h 10000"/>
                  <a:gd name="connsiteX7" fmla="*/ 6559 w 10175"/>
                  <a:gd name="connsiteY7" fmla="*/ 0 h 10000"/>
                  <a:gd name="connsiteX8" fmla="*/ 10175 w 10175"/>
                  <a:gd name="connsiteY8" fmla="*/ 10000 h 10000"/>
                  <a:gd name="connsiteX0" fmla="*/ 0 w 10175"/>
                  <a:gd name="connsiteY0" fmla="*/ 4000 h 6000"/>
                  <a:gd name="connsiteX1" fmla="*/ 3566 w 10175"/>
                  <a:gd name="connsiteY1" fmla="*/ 6000 h 6000"/>
                  <a:gd name="connsiteX2" fmla="*/ 3916 w 10175"/>
                  <a:gd name="connsiteY2" fmla="*/ 4000 h 6000"/>
                  <a:gd name="connsiteX3" fmla="*/ 4065 w 10175"/>
                  <a:gd name="connsiteY3" fmla="*/ 2000 h 6000"/>
                  <a:gd name="connsiteX4" fmla="*/ 4714 w 10175"/>
                  <a:gd name="connsiteY4" fmla="*/ 4000 h 6000"/>
                  <a:gd name="connsiteX5" fmla="*/ 5237 w 10175"/>
                  <a:gd name="connsiteY5" fmla="*/ 2000 h 6000"/>
                  <a:gd name="connsiteX6" fmla="*/ 5611 w 10175"/>
                  <a:gd name="connsiteY6" fmla="*/ 0 h 6000"/>
                  <a:gd name="connsiteX7" fmla="*/ 6509 w 10175"/>
                  <a:gd name="connsiteY7" fmla="*/ 2000 h 6000"/>
                  <a:gd name="connsiteX8" fmla="*/ 10175 w 10175"/>
                  <a:gd name="connsiteY8" fmla="*/ 6000 h 6000"/>
                  <a:gd name="connsiteX0" fmla="*/ 0 w 10000"/>
                  <a:gd name="connsiteY0" fmla="*/ 7264 h 17286"/>
                  <a:gd name="connsiteX1" fmla="*/ 3505 w 10000"/>
                  <a:gd name="connsiteY1" fmla="*/ 10597 h 17286"/>
                  <a:gd name="connsiteX2" fmla="*/ 3849 w 10000"/>
                  <a:gd name="connsiteY2" fmla="*/ 7264 h 17286"/>
                  <a:gd name="connsiteX3" fmla="*/ 3995 w 10000"/>
                  <a:gd name="connsiteY3" fmla="*/ 3930 h 17286"/>
                  <a:gd name="connsiteX4" fmla="*/ 4633 w 10000"/>
                  <a:gd name="connsiteY4" fmla="*/ 7264 h 17286"/>
                  <a:gd name="connsiteX5" fmla="*/ 5147 w 10000"/>
                  <a:gd name="connsiteY5" fmla="*/ 3930 h 17286"/>
                  <a:gd name="connsiteX6" fmla="*/ 5514 w 10000"/>
                  <a:gd name="connsiteY6" fmla="*/ 597 h 17286"/>
                  <a:gd name="connsiteX7" fmla="*/ 6250 w 10000"/>
                  <a:gd name="connsiteY7" fmla="*/ 17264 h 17286"/>
                  <a:gd name="connsiteX8" fmla="*/ 10000 w 10000"/>
                  <a:gd name="connsiteY8" fmla="*/ 10597 h 17286"/>
                  <a:gd name="connsiteX0" fmla="*/ 0 w 10000"/>
                  <a:gd name="connsiteY0" fmla="*/ 6883 h 10294"/>
                  <a:gd name="connsiteX1" fmla="*/ 3505 w 10000"/>
                  <a:gd name="connsiteY1" fmla="*/ 10216 h 10294"/>
                  <a:gd name="connsiteX2" fmla="*/ 3849 w 10000"/>
                  <a:gd name="connsiteY2" fmla="*/ 6883 h 10294"/>
                  <a:gd name="connsiteX3" fmla="*/ 3995 w 10000"/>
                  <a:gd name="connsiteY3" fmla="*/ 3549 h 10294"/>
                  <a:gd name="connsiteX4" fmla="*/ 4633 w 10000"/>
                  <a:gd name="connsiteY4" fmla="*/ 6883 h 10294"/>
                  <a:gd name="connsiteX5" fmla="*/ 5147 w 10000"/>
                  <a:gd name="connsiteY5" fmla="*/ 3549 h 10294"/>
                  <a:gd name="connsiteX6" fmla="*/ 5514 w 10000"/>
                  <a:gd name="connsiteY6" fmla="*/ 216 h 10294"/>
                  <a:gd name="connsiteX7" fmla="*/ 6176 w 10000"/>
                  <a:gd name="connsiteY7" fmla="*/ 10216 h 10294"/>
                  <a:gd name="connsiteX8" fmla="*/ 10000 w 10000"/>
                  <a:gd name="connsiteY8" fmla="*/ 10216 h 10294"/>
                  <a:gd name="connsiteX0" fmla="*/ 0 w 10000"/>
                  <a:gd name="connsiteY0" fmla="*/ 6881 h 10292"/>
                  <a:gd name="connsiteX1" fmla="*/ 3505 w 10000"/>
                  <a:gd name="connsiteY1" fmla="*/ 10214 h 10292"/>
                  <a:gd name="connsiteX2" fmla="*/ 3995 w 10000"/>
                  <a:gd name="connsiteY2" fmla="*/ 3547 h 10292"/>
                  <a:gd name="connsiteX3" fmla="*/ 4633 w 10000"/>
                  <a:gd name="connsiteY3" fmla="*/ 6881 h 10292"/>
                  <a:gd name="connsiteX4" fmla="*/ 5147 w 10000"/>
                  <a:gd name="connsiteY4" fmla="*/ 3547 h 10292"/>
                  <a:gd name="connsiteX5" fmla="*/ 5514 w 10000"/>
                  <a:gd name="connsiteY5" fmla="*/ 214 h 10292"/>
                  <a:gd name="connsiteX6" fmla="*/ 6176 w 10000"/>
                  <a:gd name="connsiteY6" fmla="*/ 10214 h 10292"/>
                  <a:gd name="connsiteX7" fmla="*/ 10000 w 10000"/>
                  <a:gd name="connsiteY7" fmla="*/ 10214 h 10292"/>
                  <a:gd name="connsiteX0" fmla="*/ 0 w 10000"/>
                  <a:gd name="connsiteY0" fmla="*/ 10127 h 76793"/>
                  <a:gd name="connsiteX1" fmla="*/ 3505 w 10000"/>
                  <a:gd name="connsiteY1" fmla="*/ 13460 h 76793"/>
                  <a:gd name="connsiteX2" fmla="*/ 3995 w 10000"/>
                  <a:gd name="connsiteY2" fmla="*/ 6793 h 76793"/>
                  <a:gd name="connsiteX3" fmla="*/ 4535 w 10000"/>
                  <a:gd name="connsiteY3" fmla="*/ 76793 h 76793"/>
                  <a:gd name="connsiteX4" fmla="*/ 5147 w 10000"/>
                  <a:gd name="connsiteY4" fmla="*/ 6793 h 76793"/>
                  <a:gd name="connsiteX5" fmla="*/ 5514 w 10000"/>
                  <a:gd name="connsiteY5" fmla="*/ 3460 h 76793"/>
                  <a:gd name="connsiteX6" fmla="*/ 6176 w 10000"/>
                  <a:gd name="connsiteY6" fmla="*/ 13460 h 76793"/>
                  <a:gd name="connsiteX7" fmla="*/ 10000 w 10000"/>
                  <a:gd name="connsiteY7" fmla="*/ 13460 h 76793"/>
                  <a:gd name="connsiteX0" fmla="*/ 0 w 10000"/>
                  <a:gd name="connsiteY0" fmla="*/ 74224 h 140890"/>
                  <a:gd name="connsiteX1" fmla="*/ 3505 w 10000"/>
                  <a:gd name="connsiteY1" fmla="*/ 77557 h 140890"/>
                  <a:gd name="connsiteX2" fmla="*/ 4093 w 10000"/>
                  <a:gd name="connsiteY2" fmla="*/ 891 h 140890"/>
                  <a:gd name="connsiteX3" fmla="*/ 4535 w 10000"/>
                  <a:gd name="connsiteY3" fmla="*/ 140890 h 140890"/>
                  <a:gd name="connsiteX4" fmla="*/ 5147 w 10000"/>
                  <a:gd name="connsiteY4" fmla="*/ 70890 h 140890"/>
                  <a:gd name="connsiteX5" fmla="*/ 5514 w 10000"/>
                  <a:gd name="connsiteY5" fmla="*/ 67557 h 140890"/>
                  <a:gd name="connsiteX6" fmla="*/ 6176 w 10000"/>
                  <a:gd name="connsiteY6" fmla="*/ 77557 h 140890"/>
                  <a:gd name="connsiteX7" fmla="*/ 10000 w 10000"/>
                  <a:gd name="connsiteY7" fmla="*/ 77557 h 140890"/>
                  <a:gd name="connsiteX0" fmla="*/ 0 w 10000"/>
                  <a:gd name="connsiteY0" fmla="*/ 74765 h 141431"/>
                  <a:gd name="connsiteX1" fmla="*/ 3505 w 10000"/>
                  <a:gd name="connsiteY1" fmla="*/ 78098 h 141431"/>
                  <a:gd name="connsiteX2" fmla="*/ 4093 w 10000"/>
                  <a:gd name="connsiteY2" fmla="*/ 1432 h 141431"/>
                  <a:gd name="connsiteX3" fmla="*/ 4535 w 10000"/>
                  <a:gd name="connsiteY3" fmla="*/ 141431 h 141431"/>
                  <a:gd name="connsiteX4" fmla="*/ 5147 w 10000"/>
                  <a:gd name="connsiteY4" fmla="*/ 71431 h 141431"/>
                  <a:gd name="connsiteX5" fmla="*/ 5514 w 10000"/>
                  <a:gd name="connsiteY5" fmla="*/ 68098 h 141431"/>
                  <a:gd name="connsiteX6" fmla="*/ 6176 w 10000"/>
                  <a:gd name="connsiteY6" fmla="*/ 78098 h 141431"/>
                  <a:gd name="connsiteX7" fmla="*/ 10000 w 10000"/>
                  <a:gd name="connsiteY7" fmla="*/ 78098 h 141431"/>
                  <a:gd name="connsiteX0" fmla="*/ 0 w 10000"/>
                  <a:gd name="connsiteY0" fmla="*/ 73867 h 140533"/>
                  <a:gd name="connsiteX1" fmla="*/ 3505 w 10000"/>
                  <a:gd name="connsiteY1" fmla="*/ 77200 h 140533"/>
                  <a:gd name="connsiteX2" fmla="*/ 4093 w 10000"/>
                  <a:gd name="connsiteY2" fmla="*/ 534 h 140533"/>
                  <a:gd name="connsiteX3" fmla="*/ 4535 w 10000"/>
                  <a:gd name="connsiteY3" fmla="*/ 140533 h 140533"/>
                  <a:gd name="connsiteX4" fmla="*/ 5147 w 10000"/>
                  <a:gd name="connsiteY4" fmla="*/ 70533 h 140533"/>
                  <a:gd name="connsiteX5" fmla="*/ 5514 w 10000"/>
                  <a:gd name="connsiteY5" fmla="*/ 67200 h 140533"/>
                  <a:gd name="connsiteX6" fmla="*/ 6176 w 10000"/>
                  <a:gd name="connsiteY6" fmla="*/ 77200 h 140533"/>
                  <a:gd name="connsiteX7" fmla="*/ 10000 w 10000"/>
                  <a:gd name="connsiteY7" fmla="*/ 77200 h 140533"/>
                  <a:gd name="connsiteX0" fmla="*/ 0 w 10000"/>
                  <a:gd name="connsiteY0" fmla="*/ 73867 h 140533"/>
                  <a:gd name="connsiteX1" fmla="*/ 3505 w 10000"/>
                  <a:gd name="connsiteY1" fmla="*/ 77200 h 140533"/>
                  <a:gd name="connsiteX2" fmla="*/ 4093 w 10000"/>
                  <a:gd name="connsiteY2" fmla="*/ 534 h 140533"/>
                  <a:gd name="connsiteX3" fmla="*/ 4535 w 10000"/>
                  <a:gd name="connsiteY3" fmla="*/ 140533 h 140533"/>
                  <a:gd name="connsiteX4" fmla="*/ 5147 w 10000"/>
                  <a:gd name="connsiteY4" fmla="*/ 70533 h 140533"/>
                  <a:gd name="connsiteX5" fmla="*/ 5514 w 10000"/>
                  <a:gd name="connsiteY5" fmla="*/ 67200 h 140533"/>
                  <a:gd name="connsiteX6" fmla="*/ 6176 w 10000"/>
                  <a:gd name="connsiteY6" fmla="*/ 77200 h 140533"/>
                  <a:gd name="connsiteX7" fmla="*/ 10000 w 10000"/>
                  <a:gd name="connsiteY7" fmla="*/ 77200 h 140533"/>
                  <a:gd name="connsiteX0" fmla="*/ 0 w 10000"/>
                  <a:gd name="connsiteY0" fmla="*/ 76346 h 143012"/>
                  <a:gd name="connsiteX1" fmla="*/ 3505 w 10000"/>
                  <a:gd name="connsiteY1" fmla="*/ 79679 h 143012"/>
                  <a:gd name="connsiteX2" fmla="*/ 4093 w 10000"/>
                  <a:gd name="connsiteY2" fmla="*/ 3013 h 143012"/>
                  <a:gd name="connsiteX3" fmla="*/ 4535 w 10000"/>
                  <a:gd name="connsiteY3" fmla="*/ 143012 h 143012"/>
                  <a:gd name="connsiteX4" fmla="*/ 5147 w 10000"/>
                  <a:gd name="connsiteY4" fmla="*/ 73012 h 143012"/>
                  <a:gd name="connsiteX5" fmla="*/ 5514 w 10000"/>
                  <a:gd name="connsiteY5" fmla="*/ 69679 h 143012"/>
                  <a:gd name="connsiteX6" fmla="*/ 6176 w 10000"/>
                  <a:gd name="connsiteY6" fmla="*/ 79679 h 143012"/>
                  <a:gd name="connsiteX7" fmla="*/ 10000 w 10000"/>
                  <a:gd name="connsiteY7" fmla="*/ 79679 h 143012"/>
                  <a:gd name="connsiteX0" fmla="*/ 0 w 10000"/>
                  <a:gd name="connsiteY0" fmla="*/ 76348 h 143014"/>
                  <a:gd name="connsiteX1" fmla="*/ 3505 w 10000"/>
                  <a:gd name="connsiteY1" fmla="*/ 79681 h 143014"/>
                  <a:gd name="connsiteX2" fmla="*/ 4093 w 10000"/>
                  <a:gd name="connsiteY2" fmla="*/ 3015 h 143014"/>
                  <a:gd name="connsiteX3" fmla="*/ 4535 w 10000"/>
                  <a:gd name="connsiteY3" fmla="*/ 143014 h 143014"/>
                  <a:gd name="connsiteX4" fmla="*/ 5147 w 10000"/>
                  <a:gd name="connsiteY4" fmla="*/ 73014 h 143014"/>
                  <a:gd name="connsiteX5" fmla="*/ 5514 w 10000"/>
                  <a:gd name="connsiteY5" fmla="*/ 69681 h 143014"/>
                  <a:gd name="connsiteX6" fmla="*/ 6176 w 10000"/>
                  <a:gd name="connsiteY6" fmla="*/ 79681 h 143014"/>
                  <a:gd name="connsiteX7" fmla="*/ 10000 w 10000"/>
                  <a:gd name="connsiteY7" fmla="*/ 79681 h 143014"/>
                  <a:gd name="connsiteX0" fmla="*/ 0 w 10000"/>
                  <a:gd name="connsiteY0" fmla="*/ 73333 h 139999"/>
                  <a:gd name="connsiteX1" fmla="*/ 3505 w 10000"/>
                  <a:gd name="connsiteY1" fmla="*/ 76666 h 139999"/>
                  <a:gd name="connsiteX2" fmla="*/ 4093 w 10000"/>
                  <a:gd name="connsiteY2" fmla="*/ 0 h 139999"/>
                  <a:gd name="connsiteX3" fmla="*/ 4535 w 10000"/>
                  <a:gd name="connsiteY3" fmla="*/ 139999 h 139999"/>
                  <a:gd name="connsiteX4" fmla="*/ 5147 w 10000"/>
                  <a:gd name="connsiteY4" fmla="*/ 69999 h 139999"/>
                  <a:gd name="connsiteX5" fmla="*/ 5514 w 10000"/>
                  <a:gd name="connsiteY5" fmla="*/ 66666 h 139999"/>
                  <a:gd name="connsiteX6" fmla="*/ 6176 w 10000"/>
                  <a:gd name="connsiteY6" fmla="*/ 76666 h 139999"/>
                  <a:gd name="connsiteX7" fmla="*/ 10000 w 10000"/>
                  <a:gd name="connsiteY7" fmla="*/ 76666 h 139999"/>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88187 h 161520"/>
                  <a:gd name="connsiteX1" fmla="*/ 3505 w 10000"/>
                  <a:gd name="connsiteY1" fmla="*/ 91520 h 161520"/>
                  <a:gd name="connsiteX2" fmla="*/ 4093 w 10000"/>
                  <a:gd name="connsiteY2" fmla="*/ 14854 h 161520"/>
                  <a:gd name="connsiteX3" fmla="*/ 4609 w 10000"/>
                  <a:gd name="connsiteY3" fmla="*/ 161520 h 161520"/>
                  <a:gd name="connsiteX4" fmla="*/ 5245 w 10000"/>
                  <a:gd name="connsiteY4" fmla="*/ 1521 h 161520"/>
                  <a:gd name="connsiteX5" fmla="*/ 5514 w 10000"/>
                  <a:gd name="connsiteY5" fmla="*/ 81520 h 161520"/>
                  <a:gd name="connsiteX6" fmla="*/ 6176 w 10000"/>
                  <a:gd name="connsiteY6" fmla="*/ 91520 h 161520"/>
                  <a:gd name="connsiteX7" fmla="*/ 10000 w 10000"/>
                  <a:gd name="connsiteY7" fmla="*/ 91520 h 161520"/>
                  <a:gd name="connsiteX0" fmla="*/ 0 w 10000"/>
                  <a:gd name="connsiteY0" fmla="*/ 88187 h 161520"/>
                  <a:gd name="connsiteX1" fmla="*/ 3505 w 10000"/>
                  <a:gd name="connsiteY1" fmla="*/ 91520 h 161520"/>
                  <a:gd name="connsiteX2" fmla="*/ 4093 w 10000"/>
                  <a:gd name="connsiteY2" fmla="*/ 14854 h 161520"/>
                  <a:gd name="connsiteX3" fmla="*/ 4609 w 10000"/>
                  <a:gd name="connsiteY3" fmla="*/ 161520 h 161520"/>
                  <a:gd name="connsiteX4" fmla="*/ 5245 w 10000"/>
                  <a:gd name="connsiteY4" fmla="*/ 1521 h 161520"/>
                  <a:gd name="connsiteX5" fmla="*/ 5514 w 10000"/>
                  <a:gd name="connsiteY5" fmla="*/ 81520 h 161520"/>
                  <a:gd name="connsiteX6" fmla="*/ 6176 w 10000"/>
                  <a:gd name="connsiteY6" fmla="*/ 91520 h 161520"/>
                  <a:gd name="connsiteX7" fmla="*/ 10000 w 10000"/>
                  <a:gd name="connsiteY7" fmla="*/ 91520 h 161520"/>
                  <a:gd name="connsiteX0" fmla="*/ 0 w 10000"/>
                  <a:gd name="connsiteY0" fmla="*/ 88918 h 162251"/>
                  <a:gd name="connsiteX1" fmla="*/ 3505 w 10000"/>
                  <a:gd name="connsiteY1" fmla="*/ 92251 h 162251"/>
                  <a:gd name="connsiteX2" fmla="*/ 4093 w 10000"/>
                  <a:gd name="connsiteY2" fmla="*/ 15585 h 162251"/>
                  <a:gd name="connsiteX3" fmla="*/ 4609 w 10000"/>
                  <a:gd name="connsiteY3" fmla="*/ 162251 h 162251"/>
                  <a:gd name="connsiteX4" fmla="*/ 5245 w 10000"/>
                  <a:gd name="connsiteY4" fmla="*/ 2252 h 162251"/>
                  <a:gd name="connsiteX5" fmla="*/ 5514 w 10000"/>
                  <a:gd name="connsiteY5" fmla="*/ 82251 h 162251"/>
                  <a:gd name="connsiteX6" fmla="*/ 6176 w 10000"/>
                  <a:gd name="connsiteY6" fmla="*/ 92251 h 162251"/>
                  <a:gd name="connsiteX7" fmla="*/ 10000 w 10000"/>
                  <a:gd name="connsiteY7" fmla="*/ 92251 h 162251"/>
                  <a:gd name="connsiteX0" fmla="*/ 0 w 10000"/>
                  <a:gd name="connsiteY0" fmla="*/ 88918 h 162251"/>
                  <a:gd name="connsiteX1" fmla="*/ 3505 w 10000"/>
                  <a:gd name="connsiteY1" fmla="*/ 92251 h 162251"/>
                  <a:gd name="connsiteX2" fmla="*/ 4093 w 10000"/>
                  <a:gd name="connsiteY2" fmla="*/ 15585 h 162251"/>
                  <a:gd name="connsiteX3" fmla="*/ 4609 w 10000"/>
                  <a:gd name="connsiteY3" fmla="*/ 162251 h 162251"/>
                  <a:gd name="connsiteX4" fmla="*/ 5245 w 10000"/>
                  <a:gd name="connsiteY4" fmla="*/ 2252 h 162251"/>
                  <a:gd name="connsiteX5" fmla="*/ 5514 w 10000"/>
                  <a:gd name="connsiteY5" fmla="*/ 82251 h 162251"/>
                  <a:gd name="connsiteX6" fmla="*/ 6176 w 10000"/>
                  <a:gd name="connsiteY6" fmla="*/ 92251 h 162251"/>
                  <a:gd name="connsiteX7" fmla="*/ 10000 w 10000"/>
                  <a:gd name="connsiteY7" fmla="*/ 92251 h 162251"/>
                  <a:gd name="connsiteX0" fmla="*/ 0 w 10000"/>
                  <a:gd name="connsiteY0" fmla="*/ 87898 h 161231"/>
                  <a:gd name="connsiteX1" fmla="*/ 3505 w 10000"/>
                  <a:gd name="connsiteY1" fmla="*/ 91231 h 161231"/>
                  <a:gd name="connsiteX2" fmla="*/ 4093 w 10000"/>
                  <a:gd name="connsiteY2" fmla="*/ 14565 h 161231"/>
                  <a:gd name="connsiteX3" fmla="*/ 4609 w 10000"/>
                  <a:gd name="connsiteY3" fmla="*/ 161231 h 161231"/>
                  <a:gd name="connsiteX4" fmla="*/ 5245 w 10000"/>
                  <a:gd name="connsiteY4" fmla="*/ 1232 h 161231"/>
                  <a:gd name="connsiteX5" fmla="*/ 5416 w 10000"/>
                  <a:gd name="connsiteY5" fmla="*/ 131230 h 161231"/>
                  <a:gd name="connsiteX6" fmla="*/ 6176 w 10000"/>
                  <a:gd name="connsiteY6" fmla="*/ 91231 h 161231"/>
                  <a:gd name="connsiteX7" fmla="*/ 10000 w 10000"/>
                  <a:gd name="connsiteY7" fmla="*/ 91231 h 161231"/>
                  <a:gd name="connsiteX0" fmla="*/ 0 w 10000"/>
                  <a:gd name="connsiteY0" fmla="*/ 87641 h 160974"/>
                  <a:gd name="connsiteX1" fmla="*/ 3505 w 10000"/>
                  <a:gd name="connsiteY1" fmla="*/ 90974 h 160974"/>
                  <a:gd name="connsiteX2" fmla="*/ 4093 w 10000"/>
                  <a:gd name="connsiteY2" fmla="*/ 14308 h 160974"/>
                  <a:gd name="connsiteX3" fmla="*/ 4609 w 10000"/>
                  <a:gd name="connsiteY3" fmla="*/ 160974 h 160974"/>
                  <a:gd name="connsiteX4" fmla="*/ 5245 w 10000"/>
                  <a:gd name="connsiteY4" fmla="*/ 975 h 160974"/>
                  <a:gd name="connsiteX5" fmla="*/ 5416 w 10000"/>
                  <a:gd name="connsiteY5" fmla="*/ 130973 h 160974"/>
                  <a:gd name="connsiteX6" fmla="*/ 5882 w 10000"/>
                  <a:gd name="connsiteY6" fmla="*/ 94307 h 160974"/>
                  <a:gd name="connsiteX7" fmla="*/ 6176 w 10000"/>
                  <a:gd name="connsiteY7" fmla="*/ 90974 h 160974"/>
                  <a:gd name="connsiteX8" fmla="*/ 10000 w 10000"/>
                  <a:gd name="connsiteY8" fmla="*/ 90974 h 160974"/>
                  <a:gd name="connsiteX0" fmla="*/ 0 w 10000"/>
                  <a:gd name="connsiteY0" fmla="*/ 96964 h 170297"/>
                  <a:gd name="connsiteX1" fmla="*/ 3505 w 10000"/>
                  <a:gd name="connsiteY1" fmla="*/ 100297 h 170297"/>
                  <a:gd name="connsiteX2" fmla="*/ 4093 w 10000"/>
                  <a:gd name="connsiteY2" fmla="*/ 23631 h 170297"/>
                  <a:gd name="connsiteX3" fmla="*/ 4609 w 10000"/>
                  <a:gd name="connsiteY3" fmla="*/ 170297 h 170297"/>
                  <a:gd name="connsiteX4" fmla="*/ 5245 w 10000"/>
                  <a:gd name="connsiteY4" fmla="*/ 10298 h 170297"/>
                  <a:gd name="connsiteX5" fmla="*/ 5416 w 10000"/>
                  <a:gd name="connsiteY5" fmla="*/ 140296 h 170297"/>
                  <a:gd name="connsiteX6" fmla="*/ 5833 w 10000"/>
                  <a:gd name="connsiteY6" fmla="*/ 298 h 170297"/>
                  <a:gd name="connsiteX7" fmla="*/ 6176 w 10000"/>
                  <a:gd name="connsiteY7" fmla="*/ 100297 h 170297"/>
                  <a:gd name="connsiteX8" fmla="*/ 10000 w 10000"/>
                  <a:gd name="connsiteY8" fmla="*/ 100297 h 170297"/>
                  <a:gd name="connsiteX0" fmla="*/ 0 w 10000"/>
                  <a:gd name="connsiteY0" fmla="*/ 96964 h 170297"/>
                  <a:gd name="connsiteX1" fmla="*/ 3505 w 10000"/>
                  <a:gd name="connsiteY1" fmla="*/ 100297 h 170297"/>
                  <a:gd name="connsiteX2" fmla="*/ 3970 w 10000"/>
                  <a:gd name="connsiteY2" fmla="*/ 20297 h 170297"/>
                  <a:gd name="connsiteX3" fmla="*/ 4609 w 10000"/>
                  <a:gd name="connsiteY3" fmla="*/ 170297 h 170297"/>
                  <a:gd name="connsiteX4" fmla="*/ 5245 w 10000"/>
                  <a:gd name="connsiteY4" fmla="*/ 10298 h 170297"/>
                  <a:gd name="connsiteX5" fmla="*/ 5416 w 10000"/>
                  <a:gd name="connsiteY5" fmla="*/ 140296 h 170297"/>
                  <a:gd name="connsiteX6" fmla="*/ 5833 w 10000"/>
                  <a:gd name="connsiteY6" fmla="*/ 298 h 170297"/>
                  <a:gd name="connsiteX7" fmla="*/ 6176 w 10000"/>
                  <a:gd name="connsiteY7" fmla="*/ 100297 h 170297"/>
                  <a:gd name="connsiteX8" fmla="*/ 10000 w 10000"/>
                  <a:gd name="connsiteY8" fmla="*/ 100297 h 170297"/>
                  <a:gd name="connsiteX0" fmla="*/ 0 w 10000"/>
                  <a:gd name="connsiteY0" fmla="*/ 96964 h 176218"/>
                  <a:gd name="connsiteX1" fmla="*/ 3505 w 10000"/>
                  <a:gd name="connsiteY1" fmla="*/ 100297 h 176218"/>
                  <a:gd name="connsiteX2" fmla="*/ 3970 w 10000"/>
                  <a:gd name="connsiteY2" fmla="*/ 20297 h 176218"/>
                  <a:gd name="connsiteX3" fmla="*/ 4609 w 10000"/>
                  <a:gd name="connsiteY3" fmla="*/ 170297 h 176218"/>
                  <a:gd name="connsiteX4" fmla="*/ 4436 w 10000"/>
                  <a:gd name="connsiteY4" fmla="*/ 120294 h 176218"/>
                  <a:gd name="connsiteX5" fmla="*/ 5245 w 10000"/>
                  <a:gd name="connsiteY5" fmla="*/ 10298 h 176218"/>
                  <a:gd name="connsiteX6" fmla="*/ 5416 w 10000"/>
                  <a:gd name="connsiteY6" fmla="*/ 140296 h 176218"/>
                  <a:gd name="connsiteX7" fmla="*/ 5833 w 10000"/>
                  <a:gd name="connsiteY7" fmla="*/ 298 h 176218"/>
                  <a:gd name="connsiteX8" fmla="*/ 6176 w 10000"/>
                  <a:gd name="connsiteY8" fmla="*/ 100297 h 176218"/>
                  <a:gd name="connsiteX9" fmla="*/ 10000 w 10000"/>
                  <a:gd name="connsiteY9" fmla="*/ 100297 h 176218"/>
                  <a:gd name="connsiteX0" fmla="*/ 0 w 10000"/>
                  <a:gd name="connsiteY0" fmla="*/ 113357 h 192613"/>
                  <a:gd name="connsiteX1" fmla="*/ 3505 w 10000"/>
                  <a:gd name="connsiteY1" fmla="*/ 116690 h 192613"/>
                  <a:gd name="connsiteX2" fmla="*/ 3970 w 10000"/>
                  <a:gd name="connsiteY2" fmla="*/ 36690 h 192613"/>
                  <a:gd name="connsiteX3" fmla="*/ 4609 w 10000"/>
                  <a:gd name="connsiteY3" fmla="*/ 186690 h 192613"/>
                  <a:gd name="connsiteX4" fmla="*/ 4436 w 10000"/>
                  <a:gd name="connsiteY4" fmla="*/ 136687 h 192613"/>
                  <a:gd name="connsiteX5" fmla="*/ 5000 w 10000"/>
                  <a:gd name="connsiteY5" fmla="*/ 24 h 192613"/>
                  <a:gd name="connsiteX6" fmla="*/ 5416 w 10000"/>
                  <a:gd name="connsiteY6" fmla="*/ 156689 h 192613"/>
                  <a:gd name="connsiteX7" fmla="*/ 5833 w 10000"/>
                  <a:gd name="connsiteY7" fmla="*/ 16691 h 192613"/>
                  <a:gd name="connsiteX8" fmla="*/ 6176 w 10000"/>
                  <a:gd name="connsiteY8" fmla="*/ 116690 h 192613"/>
                  <a:gd name="connsiteX9" fmla="*/ 10000 w 10000"/>
                  <a:gd name="connsiteY9" fmla="*/ 116690 h 192613"/>
                  <a:gd name="connsiteX0" fmla="*/ 0 w 10000"/>
                  <a:gd name="connsiteY0" fmla="*/ 113359 h 157828"/>
                  <a:gd name="connsiteX1" fmla="*/ 3505 w 10000"/>
                  <a:gd name="connsiteY1" fmla="*/ 116692 h 157828"/>
                  <a:gd name="connsiteX2" fmla="*/ 3970 w 10000"/>
                  <a:gd name="connsiteY2" fmla="*/ 36692 h 157828"/>
                  <a:gd name="connsiteX3" fmla="*/ 4436 w 10000"/>
                  <a:gd name="connsiteY3" fmla="*/ 136689 h 157828"/>
                  <a:gd name="connsiteX4" fmla="*/ 5000 w 10000"/>
                  <a:gd name="connsiteY4" fmla="*/ 26 h 157828"/>
                  <a:gd name="connsiteX5" fmla="*/ 5416 w 10000"/>
                  <a:gd name="connsiteY5" fmla="*/ 156691 h 157828"/>
                  <a:gd name="connsiteX6" fmla="*/ 5833 w 10000"/>
                  <a:gd name="connsiteY6" fmla="*/ 16693 h 157828"/>
                  <a:gd name="connsiteX7" fmla="*/ 6176 w 10000"/>
                  <a:gd name="connsiteY7" fmla="*/ 116692 h 157828"/>
                  <a:gd name="connsiteX8" fmla="*/ 10000 w 10000"/>
                  <a:gd name="connsiteY8" fmla="*/ 116692 h 157828"/>
                  <a:gd name="connsiteX0" fmla="*/ 0 w 10000"/>
                  <a:gd name="connsiteY0" fmla="*/ 113362 h 136955"/>
                  <a:gd name="connsiteX1" fmla="*/ 3505 w 10000"/>
                  <a:gd name="connsiteY1" fmla="*/ 116695 h 136955"/>
                  <a:gd name="connsiteX2" fmla="*/ 3970 w 10000"/>
                  <a:gd name="connsiteY2" fmla="*/ 36695 h 136955"/>
                  <a:gd name="connsiteX3" fmla="*/ 4436 w 10000"/>
                  <a:gd name="connsiteY3" fmla="*/ 136692 h 136955"/>
                  <a:gd name="connsiteX4" fmla="*/ 5000 w 10000"/>
                  <a:gd name="connsiteY4" fmla="*/ 29 h 136955"/>
                  <a:gd name="connsiteX5" fmla="*/ 5293 w 10000"/>
                  <a:gd name="connsiteY5" fmla="*/ 133361 h 136955"/>
                  <a:gd name="connsiteX6" fmla="*/ 5833 w 10000"/>
                  <a:gd name="connsiteY6" fmla="*/ 16696 h 136955"/>
                  <a:gd name="connsiteX7" fmla="*/ 6176 w 10000"/>
                  <a:gd name="connsiteY7" fmla="*/ 116695 h 136955"/>
                  <a:gd name="connsiteX8" fmla="*/ 10000 w 10000"/>
                  <a:gd name="connsiteY8" fmla="*/ 116695 h 136955"/>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833 w 10000"/>
                  <a:gd name="connsiteY6" fmla="*/ 26694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710 w 10000"/>
                  <a:gd name="connsiteY6" fmla="*/ 36694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710 w 10000"/>
                  <a:gd name="connsiteY6" fmla="*/ 36694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710 w 10000"/>
                  <a:gd name="connsiteY6" fmla="*/ 36694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685 w 10000"/>
                  <a:gd name="connsiteY6" fmla="*/ 23361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685 w 10000"/>
                  <a:gd name="connsiteY6" fmla="*/ 23361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32 h 146925"/>
                  <a:gd name="connsiteX1" fmla="*/ 3505 w 10000"/>
                  <a:gd name="connsiteY1" fmla="*/ 126665 h 146925"/>
                  <a:gd name="connsiteX2" fmla="*/ 3970 w 10000"/>
                  <a:gd name="connsiteY2" fmla="*/ 46665 h 146925"/>
                  <a:gd name="connsiteX3" fmla="*/ 4436 w 10000"/>
                  <a:gd name="connsiteY3" fmla="*/ 146662 h 146925"/>
                  <a:gd name="connsiteX4" fmla="*/ 4902 w 10000"/>
                  <a:gd name="connsiteY4" fmla="*/ 0 h 146925"/>
                  <a:gd name="connsiteX5" fmla="*/ 5293 w 10000"/>
                  <a:gd name="connsiteY5" fmla="*/ 143331 h 146925"/>
                  <a:gd name="connsiteX6" fmla="*/ 5685 w 10000"/>
                  <a:gd name="connsiteY6" fmla="*/ 23333 h 146925"/>
                  <a:gd name="connsiteX7" fmla="*/ 6176 w 10000"/>
                  <a:gd name="connsiteY7" fmla="*/ 126665 h 146925"/>
                  <a:gd name="connsiteX8" fmla="*/ 10000 w 10000"/>
                  <a:gd name="connsiteY8" fmla="*/ 126665 h 146925"/>
                  <a:gd name="connsiteX0" fmla="*/ 0 w 10000"/>
                  <a:gd name="connsiteY0" fmla="*/ 123332 h 146923"/>
                  <a:gd name="connsiteX1" fmla="*/ 3505 w 10000"/>
                  <a:gd name="connsiteY1" fmla="*/ 126665 h 146923"/>
                  <a:gd name="connsiteX2" fmla="*/ 3970 w 10000"/>
                  <a:gd name="connsiteY2" fmla="*/ 46665 h 146923"/>
                  <a:gd name="connsiteX3" fmla="*/ 4436 w 10000"/>
                  <a:gd name="connsiteY3" fmla="*/ 146662 h 146923"/>
                  <a:gd name="connsiteX4" fmla="*/ 4902 w 10000"/>
                  <a:gd name="connsiteY4" fmla="*/ 0 h 146923"/>
                  <a:gd name="connsiteX5" fmla="*/ 5293 w 10000"/>
                  <a:gd name="connsiteY5" fmla="*/ 143331 h 146923"/>
                  <a:gd name="connsiteX6" fmla="*/ 5685 w 10000"/>
                  <a:gd name="connsiteY6" fmla="*/ 23333 h 146923"/>
                  <a:gd name="connsiteX7" fmla="*/ 6176 w 10000"/>
                  <a:gd name="connsiteY7" fmla="*/ 126665 h 146923"/>
                  <a:gd name="connsiteX8" fmla="*/ 10000 w 10000"/>
                  <a:gd name="connsiteY8" fmla="*/ 126665 h 146923"/>
                  <a:gd name="connsiteX0" fmla="*/ 0 w 10000"/>
                  <a:gd name="connsiteY0" fmla="*/ 123332 h 146925"/>
                  <a:gd name="connsiteX1" fmla="*/ 3505 w 10000"/>
                  <a:gd name="connsiteY1" fmla="*/ 126665 h 146925"/>
                  <a:gd name="connsiteX2" fmla="*/ 3970 w 10000"/>
                  <a:gd name="connsiteY2" fmla="*/ 46665 h 146925"/>
                  <a:gd name="connsiteX3" fmla="*/ 4436 w 10000"/>
                  <a:gd name="connsiteY3" fmla="*/ 146662 h 146925"/>
                  <a:gd name="connsiteX4" fmla="*/ 4902 w 10000"/>
                  <a:gd name="connsiteY4" fmla="*/ 0 h 146925"/>
                  <a:gd name="connsiteX5" fmla="*/ 5293 w 10000"/>
                  <a:gd name="connsiteY5" fmla="*/ 143331 h 146925"/>
                  <a:gd name="connsiteX6" fmla="*/ 5685 w 10000"/>
                  <a:gd name="connsiteY6" fmla="*/ 23333 h 146925"/>
                  <a:gd name="connsiteX7" fmla="*/ 6176 w 10000"/>
                  <a:gd name="connsiteY7" fmla="*/ 126665 h 146925"/>
                  <a:gd name="connsiteX8" fmla="*/ 10000 w 10000"/>
                  <a:gd name="connsiteY8" fmla="*/ 126665 h 146925"/>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387 w 10000"/>
                  <a:gd name="connsiteY3" fmla="*/ 146663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6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55 w 10000"/>
                  <a:gd name="connsiteY1" fmla="*/ 113973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5479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355 w 10000"/>
                  <a:gd name="connsiteY1" fmla="*/ 116985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46664">
                    <a:moveTo>
                      <a:pt x="0" y="116665"/>
                    </a:moveTo>
                    <a:cubicBezTo>
                      <a:pt x="705" y="117360"/>
                      <a:pt x="2183" y="116985"/>
                      <a:pt x="3355" y="116985"/>
                    </a:cubicBezTo>
                    <a:cubicBezTo>
                      <a:pt x="3530" y="79762"/>
                      <a:pt x="3752" y="69442"/>
                      <a:pt x="3921" y="29998"/>
                    </a:cubicBezTo>
                    <a:cubicBezTo>
                      <a:pt x="4101" y="79997"/>
                      <a:pt x="4215" y="106107"/>
                      <a:pt x="4387" y="139996"/>
                    </a:cubicBezTo>
                    <a:cubicBezTo>
                      <a:pt x="4608" y="87218"/>
                      <a:pt x="4643" y="55555"/>
                      <a:pt x="4828" y="0"/>
                    </a:cubicBezTo>
                    <a:cubicBezTo>
                      <a:pt x="5062" y="74443"/>
                      <a:pt x="5187" y="97776"/>
                      <a:pt x="5268" y="146664"/>
                    </a:cubicBezTo>
                    <a:cubicBezTo>
                      <a:pt x="5496" y="88887"/>
                      <a:pt x="5509" y="76665"/>
                      <a:pt x="5759" y="23333"/>
                    </a:cubicBezTo>
                    <a:cubicBezTo>
                      <a:pt x="5960" y="69999"/>
                      <a:pt x="6029" y="77221"/>
                      <a:pt x="6176" y="119998"/>
                    </a:cubicBezTo>
                    <a:cubicBezTo>
                      <a:pt x="6915" y="120553"/>
                      <a:pt x="9270" y="117916"/>
                      <a:pt x="10000" y="119998"/>
                    </a:cubicBezTo>
                  </a:path>
                </a:pathLst>
              </a:custGeom>
              <a:noFill/>
              <a:ln w="127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BBvoice"/>
                  <a:ea typeface="ABBvoice"/>
                  <a:cs typeface="ABBvoice"/>
                </a:endParaRPr>
              </a:p>
            </p:txBody>
          </p:sp>
          <p:cxnSp>
            <p:nvCxnSpPr>
              <p:cNvPr id="255" name="Straight Connector 254"/>
              <p:cNvCxnSpPr/>
              <p:nvPr/>
            </p:nvCxnSpPr>
            <p:spPr bwMode="gray">
              <a:xfrm flipV="1">
                <a:off x="10153056" y="1276774"/>
                <a:ext cx="109" cy="39923"/>
              </a:xfrm>
              <a:prstGeom prst="line">
                <a:avLst/>
              </a:prstGeom>
              <a:ln w="12700"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50" name="Oval 119"/>
            <p:cNvSpPr/>
            <p:nvPr/>
          </p:nvSpPr>
          <p:spPr bwMode="gray">
            <a:xfrm>
              <a:off x="8810811" y="1271638"/>
              <a:ext cx="71575" cy="2685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51" name="Oval 119"/>
            <p:cNvSpPr/>
            <p:nvPr/>
          </p:nvSpPr>
          <p:spPr bwMode="gray">
            <a:xfrm>
              <a:off x="9008021" y="1271638"/>
              <a:ext cx="71575" cy="2685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252" name="Straight Connector 251"/>
            <p:cNvCxnSpPr/>
            <p:nvPr/>
          </p:nvCxnSpPr>
          <p:spPr bwMode="gray">
            <a:xfrm>
              <a:off x="8945111" y="1307252"/>
              <a:ext cx="0" cy="101258"/>
            </a:xfrm>
            <a:prstGeom prst="line">
              <a:avLst/>
            </a:prstGeom>
            <a:solidFill>
              <a:schemeClr val="tx2"/>
            </a:solidFill>
            <a:ln w="12700">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cxnSp>
      </p:grpSp>
      <p:cxnSp>
        <p:nvCxnSpPr>
          <p:cNvPr id="46" name="Straight Connector 45"/>
          <p:cNvCxnSpPr>
            <a:cxnSpLocks/>
          </p:cNvCxnSpPr>
          <p:nvPr/>
        </p:nvCxnSpPr>
        <p:spPr bwMode="gray">
          <a:xfrm>
            <a:off x="8134200" y="2470926"/>
            <a:ext cx="8660" cy="312914"/>
          </a:xfrm>
          <a:prstGeom prst="line">
            <a:avLst/>
          </a:prstGeom>
          <a:ln w="12700" cap="rnd">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cxnSpLocks/>
          </p:cNvCxnSpPr>
          <p:nvPr/>
        </p:nvCxnSpPr>
        <p:spPr bwMode="gray">
          <a:xfrm>
            <a:off x="9130261" y="2470926"/>
            <a:ext cx="896" cy="312914"/>
          </a:xfrm>
          <a:prstGeom prst="line">
            <a:avLst/>
          </a:prstGeom>
          <a:ln w="12700" cap="rnd">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bwMode="gray">
          <a:xfrm>
            <a:off x="6832126" y="3137104"/>
            <a:ext cx="437787" cy="39"/>
          </a:xfrm>
          <a:prstGeom prst="line">
            <a:avLst/>
          </a:prstGeom>
          <a:ln w="12700" cap="rnd">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bwMode="gray">
          <a:xfrm>
            <a:off x="6832126" y="4132272"/>
            <a:ext cx="437787" cy="39"/>
          </a:xfrm>
          <a:prstGeom prst="line">
            <a:avLst/>
          </a:prstGeom>
          <a:ln w="12700" cap="rnd">
            <a:solidFill>
              <a:schemeClr val="tx2"/>
            </a:solidFill>
            <a:tailEnd type="oval"/>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a:cxnSpLocks/>
          </p:cNvCxnSpPr>
          <p:nvPr/>
        </p:nvCxnSpPr>
        <p:spPr bwMode="gray">
          <a:xfrm>
            <a:off x="9928800" y="4108015"/>
            <a:ext cx="437787" cy="39"/>
          </a:xfrm>
          <a:prstGeom prst="line">
            <a:avLst/>
          </a:prstGeom>
          <a:ln w="12700" cap="rnd">
            <a:solidFill>
              <a:schemeClr val="tx2"/>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a:endCxn id="218" idx="0"/>
          </p:cNvCxnSpPr>
          <p:nvPr/>
        </p:nvCxnSpPr>
        <p:spPr bwMode="gray">
          <a:xfrm>
            <a:off x="8128428" y="4699543"/>
            <a:ext cx="0" cy="394565"/>
          </a:xfrm>
          <a:prstGeom prst="line">
            <a:avLst/>
          </a:prstGeom>
          <a:ln w="12700" cap="rnd">
            <a:solidFill>
              <a:schemeClr val="tx2"/>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99" name="Text Box 72">
            <a:extLst>
              <a:ext uri="{FF2B5EF4-FFF2-40B4-BE49-F238E27FC236}">
                <a16:creationId xmlns:a16="http://schemas.microsoft.com/office/drawing/2014/main" id="{1AED67CF-CAF1-4804-B7C2-801FA27234F0}"/>
              </a:ext>
            </a:extLst>
          </p:cNvPr>
          <p:cNvSpPr txBox="1">
            <a:spLocks noChangeArrowheads="1"/>
          </p:cNvSpPr>
          <p:nvPr/>
        </p:nvSpPr>
        <p:spPr bwMode="gray">
          <a:xfrm>
            <a:off x="9412447" y="5175513"/>
            <a:ext cx="756000" cy="3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lgn="ctr">
                <a:solidFill>
                  <a:srgbClr val="000000"/>
                </a:solidFill>
                <a:miter lim="800000"/>
                <a:headEnd/>
                <a:tailEnd/>
              </a14:hiddenLine>
            </a:ext>
          </a:extLst>
        </p:spPr>
        <p:txBody>
          <a:bodyPr wrap="none" lIns="72000" tIns="72000" rIns="72000" bIns="72000" anchor="ctr" anchorCtr="0">
            <a:noAutofit/>
          </a:bodyPr>
          <a:lstStyle>
            <a:lvl1pPr marL="182563" indent="-182563" eaLnBrk="0" hangingPunct="0">
              <a:defRPr sz="2000">
                <a:solidFill>
                  <a:schemeClr val="tx1"/>
                </a:solidFill>
                <a:latin typeface="Arial" panose="020B0604020202020204" pitchFamily="34" charset="0"/>
                <a:cs typeface="Arial" panose="020B0604020202020204" pitchFamily="34" charset="0"/>
              </a:defRPr>
            </a:lvl1pPr>
            <a:lvl2pPr marL="742950" indent="-285750" eaLnBrk="0" hangingPunct="0">
              <a:defRPr sz="2000">
                <a:solidFill>
                  <a:schemeClr val="tx1"/>
                </a:solidFill>
                <a:latin typeface="Arial" panose="020B0604020202020204" pitchFamily="34" charset="0"/>
                <a:cs typeface="Arial" panose="020B0604020202020204" pitchFamily="34" charset="0"/>
              </a:defRPr>
            </a:lvl2pPr>
            <a:lvl3pPr marL="1143000" indent="-228600" eaLnBrk="0" hangingPunct="0">
              <a:defRPr sz="2000">
                <a:solidFill>
                  <a:schemeClr val="tx1"/>
                </a:solidFill>
                <a:latin typeface="Arial" panose="020B0604020202020204" pitchFamily="34" charset="0"/>
                <a:cs typeface="Arial" panose="020B0604020202020204" pitchFamily="34" charset="0"/>
              </a:defRPr>
            </a:lvl3pPr>
            <a:lvl4pPr marL="1600200" indent="-228600" eaLnBrk="0" hangingPunct="0">
              <a:defRPr sz="2000">
                <a:solidFill>
                  <a:schemeClr val="tx1"/>
                </a:solidFill>
                <a:latin typeface="Arial" panose="020B0604020202020204" pitchFamily="34" charset="0"/>
                <a:cs typeface="Arial" panose="020B0604020202020204" pitchFamily="34" charset="0"/>
              </a:defRPr>
            </a:lvl4pPr>
            <a:lvl5pPr marL="2057400" indent="-228600" eaLnBrk="0" hangingPunct="0">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2000">
                <a:solidFill>
                  <a:schemeClr val="tx1"/>
                </a:solidFill>
                <a:latin typeface="Arial" panose="020B0604020202020204" pitchFamily="34" charset="0"/>
                <a:cs typeface="Arial" panose="020B0604020202020204" pitchFamily="34" charset="0"/>
              </a:defRPr>
            </a:lvl9pPr>
          </a:lstStyle>
          <a:p>
            <a:pPr marL="182563" marR="0" lvl="0" indent="-182563" algn="l" defTabSz="914400" rtl="0" eaLnBrk="1" fontAlgn="auto" latinLnBrk="0" hangingPunct="1">
              <a:lnSpc>
                <a:spcPct val="100000"/>
              </a:lnSpc>
              <a:spcBef>
                <a:spcPct val="50000"/>
              </a:spcBef>
              <a:spcAft>
                <a:spcPts val="0"/>
              </a:spcAft>
              <a:buClr>
                <a:srgbClr val="D90000"/>
              </a:buClr>
              <a:buSzPct val="70000"/>
              <a:buFontTx/>
              <a:buNone/>
              <a:tabLst/>
              <a:defRPr/>
            </a:pPr>
            <a:r>
              <a:rPr kumimoji="0" lang="de-DE" altLang="en-US" sz="1200" b="0" i="0" u="none" strike="noStrike" kern="1200" cap="none" spc="0" normalizeH="0" baseline="0" noProof="0" dirty="0">
                <a:ln>
                  <a:noFill/>
                </a:ln>
                <a:solidFill>
                  <a:srgbClr val="D90000"/>
                </a:solidFill>
                <a:effectLst/>
                <a:uLnTx/>
                <a:uFillTx/>
                <a:latin typeface="Arial" panose="020B0604020202020204" pitchFamily="34" charset="0"/>
                <a:ea typeface="ABBvoice"/>
                <a:cs typeface="Arial" panose="020B0604020202020204" pitchFamily="34" charset="0"/>
              </a:rPr>
              <a:t>Caldos27</a:t>
            </a:r>
          </a:p>
        </p:txBody>
      </p:sp>
      <p:grpSp>
        <p:nvGrpSpPr>
          <p:cNvPr id="100" name="Group 99">
            <a:extLst>
              <a:ext uri="{FF2B5EF4-FFF2-40B4-BE49-F238E27FC236}">
                <a16:creationId xmlns:a16="http://schemas.microsoft.com/office/drawing/2014/main" id="{D678A01F-FAA1-44DA-AD49-20C36EA69D21}"/>
              </a:ext>
            </a:extLst>
          </p:cNvPr>
          <p:cNvGrpSpPr/>
          <p:nvPr/>
        </p:nvGrpSpPr>
        <p:grpSpPr bwMode="gray">
          <a:xfrm>
            <a:off x="8989848" y="5217238"/>
            <a:ext cx="263416" cy="240551"/>
            <a:chOff x="-967926" y="3169597"/>
            <a:chExt cx="575910" cy="644168"/>
          </a:xfrm>
        </p:grpSpPr>
        <p:sp>
          <p:nvSpPr>
            <p:cNvPr id="101" name="Freeform 178">
              <a:extLst>
                <a:ext uri="{FF2B5EF4-FFF2-40B4-BE49-F238E27FC236}">
                  <a16:creationId xmlns:a16="http://schemas.microsoft.com/office/drawing/2014/main" id="{E06446E2-B43E-46B3-8762-35E926B830A8}"/>
                </a:ext>
              </a:extLst>
            </p:cNvPr>
            <p:cNvSpPr/>
            <p:nvPr/>
          </p:nvSpPr>
          <p:spPr bwMode="gray">
            <a:xfrm>
              <a:off x="-967926" y="3169597"/>
              <a:ext cx="575910" cy="644168"/>
            </a:xfrm>
            <a:custGeom>
              <a:avLst/>
              <a:gdLst>
                <a:gd name="connsiteX0" fmla="*/ 394445 w 915582"/>
                <a:gd name="connsiteY0" fmla="*/ 1530534 h 1530534"/>
                <a:gd name="connsiteX1" fmla="*/ 2559 w 915582"/>
                <a:gd name="connsiteY1" fmla="*/ 937681 h 1530534"/>
                <a:gd name="connsiteX2" fmla="*/ 223623 w 915582"/>
                <a:gd name="connsiteY2" fmla="*/ 596037 h 1530534"/>
                <a:gd name="connsiteX3" fmla="*/ 193478 w 915582"/>
                <a:gd name="connsiteY3" fmla="*/ 3184 h 1530534"/>
                <a:gd name="connsiteX4" fmla="*/ 906911 w 915582"/>
                <a:gd name="connsiteY4" fmla="*/ 877391 h 1530534"/>
                <a:gd name="connsiteX5" fmla="*/ 525073 w 915582"/>
                <a:gd name="connsiteY5" fmla="*/ 1530534 h 1530534"/>
                <a:gd name="connsiteX0" fmla="*/ 63771 w 1112883"/>
                <a:gd name="connsiteY0" fmla="*/ 1460487 h 1530534"/>
                <a:gd name="connsiteX1" fmla="*/ 199860 w 1112883"/>
                <a:gd name="connsiteY1" fmla="*/ 937681 h 1530534"/>
                <a:gd name="connsiteX2" fmla="*/ 420924 w 1112883"/>
                <a:gd name="connsiteY2" fmla="*/ 596037 h 1530534"/>
                <a:gd name="connsiteX3" fmla="*/ 390779 w 1112883"/>
                <a:gd name="connsiteY3" fmla="*/ 3184 h 1530534"/>
                <a:gd name="connsiteX4" fmla="*/ 1104212 w 1112883"/>
                <a:gd name="connsiteY4" fmla="*/ 877391 h 1530534"/>
                <a:gd name="connsiteX5" fmla="*/ 722374 w 1112883"/>
                <a:gd name="connsiteY5" fmla="*/ 1530534 h 1530534"/>
                <a:gd name="connsiteX0" fmla="*/ 63772 w 1109482"/>
                <a:gd name="connsiteY0" fmla="*/ 1460487 h 1514369"/>
                <a:gd name="connsiteX1" fmla="*/ 199861 w 1109482"/>
                <a:gd name="connsiteY1" fmla="*/ 937681 h 1514369"/>
                <a:gd name="connsiteX2" fmla="*/ 420925 w 1109482"/>
                <a:gd name="connsiteY2" fmla="*/ 596037 h 1514369"/>
                <a:gd name="connsiteX3" fmla="*/ 390780 w 1109482"/>
                <a:gd name="connsiteY3" fmla="*/ 3184 h 1514369"/>
                <a:gd name="connsiteX4" fmla="*/ 1104213 w 1109482"/>
                <a:gd name="connsiteY4" fmla="*/ 877391 h 1514369"/>
                <a:gd name="connsiteX5" fmla="*/ 548092 w 1109482"/>
                <a:gd name="connsiteY5" fmla="*/ 1514369 h 1514369"/>
                <a:gd name="connsiteX0" fmla="*/ 63772 w 874709"/>
                <a:gd name="connsiteY0" fmla="*/ 1460715 h 1514597"/>
                <a:gd name="connsiteX1" fmla="*/ 199861 w 874709"/>
                <a:gd name="connsiteY1" fmla="*/ 937909 h 1514597"/>
                <a:gd name="connsiteX2" fmla="*/ 420925 w 874709"/>
                <a:gd name="connsiteY2" fmla="*/ 596265 h 1514597"/>
                <a:gd name="connsiteX3" fmla="*/ 390780 w 874709"/>
                <a:gd name="connsiteY3" fmla="*/ 3412 h 1514597"/>
                <a:gd name="connsiteX4" fmla="*/ 863293 w 874709"/>
                <a:gd name="connsiteY4" fmla="*/ 888395 h 1514597"/>
                <a:gd name="connsiteX5" fmla="*/ 548092 w 874709"/>
                <a:gd name="connsiteY5" fmla="*/ 1514597 h 1514597"/>
                <a:gd name="connsiteX0" fmla="*/ 191224 w 1002160"/>
                <a:gd name="connsiteY0" fmla="*/ 1460745 h 1514627"/>
                <a:gd name="connsiteX1" fmla="*/ 24880 w 1002160"/>
                <a:gd name="connsiteY1" fmla="*/ 964881 h 1514627"/>
                <a:gd name="connsiteX2" fmla="*/ 548377 w 1002160"/>
                <a:gd name="connsiteY2" fmla="*/ 596295 h 1514627"/>
                <a:gd name="connsiteX3" fmla="*/ 518232 w 1002160"/>
                <a:gd name="connsiteY3" fmla="*/ 3442 h 1514627"/>
                <a:gd name="connsiteX4" fmla="*/ 990745 w 1002160"/>
                <a:gd name="connsiteY4" fmla="*/ 888425 h 1514627"/>
                <a:gd name="connsiteX5" fmla="*/ 675544 w 1002160"/>
                <a:gd name="connsiteY5" fmla="*/ 1514627 h 1514627"/>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72063 h 1525945"/>
                <a:gd name="connsiteX1" fmla="*/ 6383 w 983663"/>
                <a:gd name="connsiteY1" fmla="*/ 976199 h 1525945"/>
                <a:gd name="connsiteX2" fmla="*/ 268455 w 983663"/>
                <a:gd name="connsiteY2" fmla="*/ 532179 h 1525945"/>
                <a:gd name="connsiteX3" fmla="*/ 499735 w 983663"/>
                <a:gd name="connsiteY3" fmla="*/ 14760 h 1525945"/>
                <a:gd name="connsiteX4" fmla="*/ 972248 w 983663"/>
                <a:gd name="connsiteY4" fmla="*/ 899743 h 1525945"/>
                <a:gd name="connsiteX5" fmla="*/ 657047 w 983663"/>
                <a:gd name="connsiteY5" fmla="*/ 1525945 h 1525945"/>
                <a:gd name="connsiteX0" fmla="*/ 172727 w 983663"/>
                <a:gd name="connsiteY0" fmla="*/ 1456181 h 1510063"/>
                <a:gd name="connsiteX1" fmla="*/ 6383 w 983663"/>
                <a:gd name="connsiteY1" fmla="*/ 960317 h 1510063"/>
                <a:gd name="connsiteX2" fmla="*/ 268455 w 983663"/>
                <a:gd name="connsiteY2" fmla="*/ 516297 h 1510063"/>
                <a:gd name="connsiteX3" fmla="*/ 443349 w 983663"/>
                <a:gd name="connsiteY3" fmla="*/ 15043 h 1510063"/>
                <a:gd name="connsiteX4" fmla="*/ 972248 w 983663"/>
                <a:gd name="connsiteY4" fmla="*/ 883861 h 1510063"/>
                <a:gd name="connsiteX5" fmla="*/ 657047 w 983663"/>
                <a:gd name="connsiteY5" fmla="*/ 1510063 h 1510063"/>
                <a:gd name="connsiteX0" fmla="*/ 171348 w 982284"/>
                <a:gd name="connsiteY0" fmla="*/ 1447162 h 1501044"/>
                <a:gd name="connsiteX1" fmla="*/ 5004 w 982284"/>
                <a:gd name="connsiteY1" fmla="*/ 951298 h 1501044"/>
                <a:gd name="connsiteX2" fmla="*/ 246573 w 982284"/>
                <a:gd name="connsiteY2" fmla="*/ 512666 h 1501044"/>
                <a:gd name="connsiteX3" fmla="*/ 441970 w 982284"/>
                <a:gd name="connsiteY3" fmla="*/ 6024 h 1501044"/>
                <a:gd name="connsiteX4" fmla="*/ 970869 w 982284"/>
                <a:gd name="connsiteY4" fmla="*/ 874842 h 1501044"/>
                <a:gd name="connsiteX5" fmla="*/ 655668 w 982284"/>
                <a:gd name="connsiteY5" fmla="*/ 1501044 h 1501044"/>
                <a:gd name="connsiteX0" fmla="*/ 171348 w 982284"/>
                <a:gd name="connsiteY0" fmla="*/ 1457131 h 1511013"/>
                <a:gd name="connsiteX1" fmla="*/ 5004 w 982284"/>
                <a:gd name="connsiteY1" fmla="*/ 961267 h 1511013"/>
                <a:gd name="connsiteX2" fmla="*/ 246573 w 982284"/>
                <a:gd name="connsiteY2" fmla="*/ 522635 h 1511013"/>
                <a:gd name="connsiteX3" fmla="*/ 441970 w 982284"/>
                <a:gd name="connsiteY3" fmla="*/ 15993 h 1511013"/>
                <a:gd name="connsiteX4" fmla="*/ 970869 w 982284"/>
                <a:gd name="connsiteY4" fmla="*/ 884811 h 1511013"/>
                <a:gd name="connsiteX5" fmla="*/ 655668 w 982284"/>
                <a:gd name="connsiteY5" fmla="*/ 1511013 h 1511013"/>
                <a:gd name="connsiteX0" fmla="*/ 184998 w 995934"/>
                <a:gd name="connsiteY0" fmla="*/ 1441330 h 1495212"/>
                <a:gd name="connsiteX1" fmla="*/ 18654 w 995934"/>
                <a:gd name="connsiteY1" fmla="*/ 945466 h 1495212"/>
                <a:gd name="connsiteX2" fmla="*/ 455620 w 995934"/>
                <a:gd name="connsiteY2" fmla="*/ 192 h 1495212"/>
                <a:gd name="connsiteX3" fmla="*/ 984519 w 995934"/>
                <a:gd name="connsiteY3" fmla="*/ 869010 h 1495212"/>
                <a:gd name="connsiteX4" fmla="*/ 669318 w 995934"/>
                <a:gd name="connsiteY4" fmla="*/ 1495212 h 1495212"/>
                <a:gd name="connsiteX0" fmla="*/ 184998 w 995934"/>
                <a:gd name="connsiteY0" fmla="*/ 1462589 h 1516471"/>
                <a:gd name="connsiteX1" fmla="*/ 18654 w 995934"/>
                <a:gd name="connsiteY1" fmla="*/ 966725 h 1516471"/>
                <a:gd name="connsiteX2" fmla="*/ 455620 w 995934"/>
                <a:gd name="connsiteY2" fmla="*/ 21451 h 1516471"/>
                <a:gd name="connsiteX3" fmla="*/ 984519 w 995934"/>
                <a:gd name="connsiteY3" fmla="*/ 890269 h 1516471"/>
                <a:gd name="connsiteX4" fmla="*/ 669318 w 995934"/>
                <a:gd name="connsiteY4" fmla="*/ 1516471 h 1516471"/>
                <a:gd name="connsiteX0" fmla="*/ 178447 w 989383"/>
                <a:gd name="connsiteY0" fmla="*/ 1462589 h 1516471"/>
                <a:gd name="connsiteX1" fmla="*/ 12103 w 989383"/>
                <a:gd name="connsiteY1" fmla="*/ 966725 h 1516471"/>
                <a:gd name="connsiteX2" fmla="*/ 449069 w 989383"/>
                <a:gd name="connsiteY2" fmla="*/ 21451 h 1516471"/>
                <a:gd name="connsiteX3" fmla="*/ 977968 w 989383"/>
                <a:gd name="connsiteY3" fmla="*/ 890269 h 1516471"/>
                <a:gd name="connsiteX4" fmla="*/ 662767 w 989383"/>
                <a:gd name="connsiteY4" fmla="*/ 1516471 h 1516471"/>
                <a:gd name="connsiteX0" fmla="*/ 172077 w 983013"/>
                <a:gd name="connsiteY0" fmla="*/ 1462589 h 1516471"/>
                <a:gd name="connsiteX1" fmla="*/ 5733 w 983013"/>
                <a:gd name="connsiteY1" fmla="*/ 966725 h 1516471"/>
                <a:gd name="connsiteX2" fmla="*/ 442699 w 983013"/>
                <a:gd name="connsiteY2" fmla="*/ 21451 h 1516471"/>
                <a:gd name="connsiteX3" fmla="*/ 971598 w 983013"/>
                <a:gd name="connsiteY3" fmla="*/ 890269 h 1516471"/>
                <a:gd name="connsiteX4" fmla="*/ 656397 w 983013"/>
                <a:gd name="connsiteY4" fmla="*/ 1516471 h 1516471"/>
                <a:gd name="connsiteX0" fmla="*/ 167713 w 978649"/>
                <a:gd name="connsiteY0" fmla="*/ 1462589 h 1516471"/>
                <a:gd name="connsiteX1" fmla="*/ 1369 w 978649"/>
                <a:gd name="connsiteY1" fmla="*/ 966725 h 1516471"/>
                <a:gd name="connsiteX2" fmla="*/ 438335 w 978649"/>
                <a:gd name="connsiteY2" fmla="*/ 21451 h 1516471"/>
                <a:gd name="connsiteX3" fmla="*/ 967234 w 978649"/>
                <a:gd name="connsiteY3" fmla="*/ 890269 h 1516471"/>
                <a:gd name="connsiteX4" fmla="*/ 652033 w 978649"/>
                <a:gd name="connsiteY4" fmla="*/ 1516471 h 1516471"/>
                <a:gd name="connsiteX0" fmla="*/ 194053 w 984485"/>
                <a:gd name="connsiteY0" fmla="*/ 1489530 h 1516471"/>
                <a:gd name="connsiteX1" fmla="*/ 7205 w 984485"/>
                <a:gd name="connsiteY1" fmla="*/ 966725 h 1516471"/>
                <a:gd name="connsiteX2" fmla="*/ 444171 w 984485"/>
                <a:gd name="connsiteY2" fmla="*/ 21451 h 1516471"/>
                <a:gd name="connsiteX3" fmla="*/ 973070 w 984485"/>
                <a:gd name="connsiteY3" fmla="*/ 890269 h 1516471"/>
                <a:gd name="connsiteX4" fmla="*/ 657869 w 984485"/>
                <a:gd name="connsiteY4" fmla="*/ 1516471 h 1516471"/>
                <a:gd name="connsiteX0" fmla="*/ 194054 w 983258"/>
                <a:gd name="connsiteY0" fmla="*/ 1489530 h 1489530"/>
                <a:gd name="connsiteX1" fmla="*/ 7206 w 983258"/>
                <a:gd name="connsiteY1" fmla="*/ 966725 h 1489530"/>
                <a:gd name="connsiteX2" fmla="*/ 444172 w 983258"/>
                <a:gd name="connsiteY2" fmla="*/ 21451 h 1489530"/>
                <a:gd name="connsiteX3" fmla="*/ 973071 w 983258"/>
                <a:gd name="connsiteY3" fmla="*/ 890269 h 1489530"/>
                <a:gd name="connsiteX4" fmla="*/ 632240 w 983258"/>
                <a:gd name="connsiteY4" fmla="*/ 1489530 h 1489530"/>
                <a:gd name="connsiteX0" fmla="*/ 194054 w 958856"/>
                <a:gd name="connsiteY0" fmla="*/ 1468401 h 1468401"/>
                <a:gd name="connsiteX1" fmla="*/ 7206 w 958856"/>
                <a:gd name="connsiteY1" fmla="*/ 945596 h 1468401"/>
                <a:gd name="connsiteX2" fmla="*/ 444172 w 958856"/>
                <a:gd name="connsiteY2" fmla="*/ 322 h 1468401"/>
                <a:gd name="connsiteX3" fmla="*/ 947441 w 958856"/>
                <a:gd name="connsiteY3" fmla="*/ 847587 h 1468401"/>
                <a:gd name="connsiteX4" fmla="*/ 632240 w 958856"/>
                <a:gd name="connsiteY4" fmla="*/ 1468401 h 1468401"/>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466 h 1473466"/>
                <a:gd name="connsiteX1" fmla="*/ 6054 w 957704"/>
                <a:gd name="connsiteY1" fmla="*/ 950661 h 1473466"/>
                <a:gd name="connsiteX2" fmla="*/ 417391 w 957704"/>
                <a:gd name="connsiteY2" fmla="*/ -1 h 1473466"/>
                <a:gd name="connsiteX3" fmla="*/ 946289 w 957704"/>
                <a:gd name="connsiteY3" fmla="*/ 852652 h 1473466"/>
                <a:gd name="connsiteX4" fmla="*/ 631088 w 957704"/>
                <a:gd name="connsiteY4" fmla="*/ 1473466 h 1473466"/>
                <a:gd name="connsiteX0" fmla="*/ 192902 w 943205"/>
                <a:gd name="connsiteY0" fmla="*/ 1473467 h 1473467"/>
                <a:gd name="connsiteX1" fmla="*/ 6054 w 943205"/>
                <a:gd name="connsiteY1" fmla="*/ 950662 h 1473467"/>
                <a:gd name="connsiteX2" fmla="*/ 417391 w 943205"/>
                <a:gd name="connsiteY2" fmla="*/ 0 h 1473467"/>
                <a:gd name="connsiteX3" fmla="*/ 930912 w 943205"/>
                <a:gd name="connsiteY3" fmla="*/ 852653 h 1473467"/>
                <a:gd name="connsiteX4" fmla="*/ 631088 w 943205"/>
                <a:gd name="connsiteY4" fmla="*/ 1473467 h 1473467"/>
                <a:gd name="connsiteX0" fmla="*/ 190405 w 940708"/>
                <a:gd name="connsiteY0" fmla="*/ 1495020 h 1495020"/>
                <a:gd name="connsiteX1" fmla="*/ 3557 w 940708"/>
                <a:gd name="connsiteY1" fmla="*/ 972215 h 1495020"/>
                <a:gd name="connsiteX2" fmla="*/ 353382 w 940708"/>
                <a:gd name="connsiteY2" fmla="*/ 0 h 1495020"/>
                <a:gd name="connsiteX3" fmla="*/ 928415 w 940708"/>
                <a:gd name="connsiteY3" fmla="*/ 874206 h 1495020"/>
                <a:gd name="connsiteX4" fmla="*/ 628591 w 940708"/>
                <a:gd name="connsiteY4" fmla="*/ 1495020 h 1495020"/>
                <a:gd name="connsiteX0" fmla="*/ 281357 w 1031660"/>
                <a:gd name="connsiteY0" fmla="*/ 1495020 h 1495020"/>
                <a:gd name="connsiteX1" fmla="*/ 2242 w 1031660"/>
                <a:gd name="connsiteY1" fmla="*/ 934498 h 1495020"/>
                <a:gd name="connsiteX2" fmla="*/ 444334 w 1031660"/>
                <a:gd name="connsiteY2" fmla="*/ 0 h 1495020"/>
                <a:gd name="connsiteX3" fmla="*/ 1019367 w 1031660"/>
                <a:gd name="connsiteY3" fmla="*/ 874206 h 1495020"/>
                <a:gd name="connsiteX4" fmla="*/ 719543 w 1031660"/>
                <a:gd name="connsiteY4" fmla="*/ 1495020 h 1495020"/>
                <a:gd name="connsiteX0" fmla="*/ 280647 w 1030950"/>
                <a:gd name="connsiteY0" fmla="*/ 1495020 h 1495020"/>
                <a:gd name="connsiteX1" fmla="*/ 1532 w 1030950"/>
                <a:gd name="connsiteY1" fmla="*/ 934498 h 1495020"/>
                <a:gd name="connsiteX2" fmla="*/ 443624 w 1030950"/>
                <a:gd name="connsiteY2" fmla="*/ 0 h 1495020"/>
                <a:gd name="connsiteX3" fmla="*/ 1018657 w 1030950"/>
                <a:gd name="connsiteY3" fmla="*/ 874206 h 1495020"/>
                <a:gd name="connsiteX4" fmla="*/ 718833 w 1030950"/>
                <a:gd name="connsiteY4" fmla="*/ 1495020 h 1495020"/>
                <a:gd name="connsiteX0" fmla="*/ 298745 w 1031106"/>
                <a:gd name="connsiteY0" fmla="*/ 1503102 h 1503102"/>
                <a:gd name="connsiteX1" fmla="*/ 1688 w 1031106"/>
                <a:gd name="connsiteY1" fmla="*/ 934498 h 1503102"/>
                <a:gd name="connsiteX2" fmla="*/ 443780 w 1031106"/>
                <a:gd name="connsiteY2" fmla="*/ 0 h 1503102"/>
                <a:gd name="connsiteX3" fmla="*/ 1018813 w 1031106"/>
                <a:gd name="connsiteY3" fmla="*/ 874206 h 1503102"/>
                <a:gd name="connsiteX4" fmla="*/ 718989 w 1031106"/>
                <a:gd name="connsiteY4" fmla="*/ 1495020 h 1503102"/>
                <a:gd name="connsiteX0" fmla="*/ 299147 w 1031508"/>
                <a:gd name="connsiteY0" fmla="*/ 1503102 h 1503102"/>
                <a:gd name="connsiteX1" fmla="*/ 2090 w 1031508"/>
                <a:gd name="connsiteY1" fmla="*/ 934498 h 1503102"/>
                <a:gd name="connsiteX2" fmla="*/ 444182 w 1031508"/>
                <a:gd name="connsiteY2" fmla="*/ 0 h 1503102"/>
                <a:gd name="connsiteX3" fmla="*/ 1019215 w 1031508"/>
                <a:gd name="connsiteY3" fmla="*/ 874206 h 1503102"/>
                <a:gd name="connsiteX4" fmla="*/ 719391 w 1031508"/>
                <a:gd name="connsiteY4" fmla="*/ 1495020 h 1503102"/>
                <a:gd name="connsiteX0" fmla="*/ 301686 w 1034047"/>
                <a:gd name="connsiteY0" fmla="*/ 1503102 h 1503102"/>
                <a:gd name="connsiteX1" fmla="*/ 2065 w 1034047"/>
                <a:gd name="connsiteY1" fmla="*/ 972215 h 1503102"/>
                <a:gd name="connsiteX2" fmla="*/ 446721 w 1034047"/>
                <a:gd name="connsiteY2" fmla="*/ 0 h 1503102"/>
                <a:gd name="connsiteX3" fmla="*/ 1021754 w 1034047"/>
                <a:gd name="connsiteY3" fmla="*/ 874206 h 1503102"/>
                <a:gd name="connsiteX4" fmla="*/ 721930 w 1034047"/>
                <a:gd name="connsiteY4" fmla="*/ 1495020 h 1503102"/>
                <a:gd name="connsiteX0" fmla="*/ 316925 w 1049286"/>
                <a:gd name="connsiteY0" fmla="*/ 1503102 h 1503102"/>
                <a:gd name="connsiteX1" fmla="*/ 1926 w 1049286"/>
                <a:gd name="connsiteY1" fmla="*/ 988380 h 1503102"/>
                <a:gd name="connsiteX2" fmla="*/ 461960 w 1049286"/>
                <a:gd name="connsiteY2" fmla="*/ 0 h 1503102"/>
                <a:gd name="connsiteX3" fmla="*/ 1036993 w 1049286"/>
                <a:gd name="connsiteY3" fmla="*/ 874206 h 1503102"/>
                <a:gd name="connsiteX4" fmla="*/ 737169 w 1049286"/>
                <a:gd name="connsiteY4" fmla="*/ 1495020 h 1503102"/>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936" h="1434920">
                  <a:moveTo>
                    <a:pt x="316575" y="1434920"/>
                  </a:moveTo>
                  <a:cubicBezTo>
                    <a:pt x="186127" y="1313356"/>
                    <a:pt x="-20068" y="1159351"/>
                    <a:pt x="1576" y="920198"/>
                  </a:cubicBezTo>
                  <a:cubicBezTo>
                    <a:pt x="23220" y="681045"/>
                    <a:pt x="453766" y="420451"/>
                    <a:pt x="446440" y="0"/>
                  </a:cubicBezTo>
                  <a:cubicBezTo>
                    <a:pt x="674910" y="255427"/>
                    <a:pt x="981377" y="551466"/>
                    <a:pt x="1036643" y="806024"/>
                  </a:cubicBezTo>
                  <a:cubicBezTo>
                    <a:pt x="1091909" y="1060582"/>
                    <a:pt x="955371" y="1227545"/>
                    <a:pt x="736819" y="1426838"/>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103" name="Freeform 179">
              <a:extLst>
                <a:ext uri="{FF2B5EF4-FFF2-40B4-BE49-F238E27FC236}">
                  <a16:creationId xmlns:a16="http://schemas.microsoft.com/office/drawing/2014/main" id="{CF6FF9C0-3399-4CC8-9C92-6AB535B776E3}"/>
                </a:ext>
              </a:extLst>
            </p:cNvPr>
            <p:cNvSpPr/>
            <p:nvPr/>
          </p:nvSpPr>
          <p:spPr bwMode="gray">
            <a:xfrm>
              <a:off x="-886112" y="3346900"/>
              <a:ext cx="408180" cy="466865"/>
            </a:xfrm>
            <a:custGeom>
              <a:avLst/>
              <a:gdLst>
                <a:gd name="connsiteX0" fmla="*/ 312344 w 730519"/>
                <a:gd name="connsiteY0" fmla="*/ 1257698 h 1257698"/>
                <a:gd name="connsiteX1" fmla="*/ 845 w 730519"/>
                <a:gd name="connsiteY1" fmla="*/ 745232 h 1257698"/>
                <a:gd name="connsiteX2" fmla="*/ 221909 w 730519"/>
                <a:gd name="connsiteY2" fmla="*/ 443782 h 1257698"/>
                <a:gd name="connsiteX3" fmla="*/ 272151 w 730519"/>
                <a:gd name="connsiteY3" fmla="*/ 1654 h 1257698"/>
                <a:gd name="connsiteX4" fmla="*/ 724326 w 730519"/>
                <a:gd name="connsiteY4" fmla="*/ 614604 h 1257698"/>
                <a:gd name="connsiteX5" fmla="*/ 493214 w 730519"/>
                <a:gd name="connsiteY5" fmla="*/ 1257698 h 1257698"/>
                <a:gd name="connsiteX0" fmla="*/ 236291 w 654466"/>
                <a:gd name="connsiteY0" fmla="*/ 1257760 h 1257760"/>
                <a:gd name="connsiteX1" fmla="*/ 1236 w 654466"/>
                <a:gd name="connsiteY1" fmla="*/ 826117 h 1257760"/>
                <a:gd name="connsiteX2" fmla="*/ 145856 w 654466"/>
                <a:gd name="connsiteY2" fmla="*/ 443844 h 1257760"/>
                <a:gd name="connsiteX3" fmla="*/ 196098 w 654466"/>
                <a:gd name="connsiteY3" fmla="*/ 1716 h 1257760"/>
                <a:gd name="connsiteX4" fmla="*/ 648273 w 654466"/>
                <a:gd name="connsiteY4" fmla="*/ 614666 h 1257760"/>
                <a:gd name="connsiteX5" fmla="*/ 417161 w 654466"/>
                <a:gd name="connsiteY5" fmla="*/ 1257760 h 1257760"/>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2938 h 1212938"/>
                <a:gd name="connsiteX1" fmla="*/ 1566 w 654796"/>
                <a:gd name="connsiteY1" fmla="*/ 781295 h 1212938"/>
                <a:gd name="connsiteX2" fmla="*/ 146186 w 654796"/>
                <a:gd name="connsiteY2" fmla="*/ 399022 h 1212938"/>
                <a:gd name="connsiteX3" fmla="*/ 376615 w 654796"/>
                <a:gd name="connsiteY3" fmla="*/ -1 h 1212938"/>
                <a:gd name="connsiteX4" fmla="*/ 648603 w 654796"/>
                <a:gd name="connsiteY4" fmla="*/ 569844 h 1212938"/>
                <a:gd name="connsiteX5" fmla="*/ 417491 w 654796"/>
                <a:gd name="connsiteY5" fmla="*/ 1212938 h 1212938"/>
                <a:gd name="connsiteX0" fmla="*/ 236621 w 654796"/>
                <a:gd name="connsiteY0" fmla="*/ 1212939 h 1212939"/>
                <a:gd name="connsiteX1" fmla="*/ 1566 w 654796"/>
                <a:gd name="connsiteY1" fmla="*/ 781296 h 1212939"/>
                <a:gd name="connsiteX2" fmla="*/ 146186 w 654796"/>
                <a:gd name="connsiteY2" fmla="*/ 399023 h 1212939"/>
                <a:gd name="connsiteX3" fmla="*/ 376615 w 654796"/>
                <a:gd name="connsiteY3" fmla="*/ 0 h 1212939"/>
                <a:gd name="connsiteX4" fmla="*/ 648603 w 654796"/>
                <a:gd name="connsiteY4" fmla="*/ 569845 h 1212939"/>
                <a:gd name="connsiteX5" fmla="*/ 417491 w 654796"/>
                <a:gd name="connsiteY5" fmla="*/ 1212939 h 1212939"/>
                <a:gd name="connsiteX0" fmla="*/ 236621 w 691880"/>
                <a:gd name="connsiteY0" fmla="*/ 1212939 h 1212939"/>
                <a:gd name="connsiteX1" fmla="*/ 1566 w 691880"/>
                <a:gd name="connsiteY1" fmla="*/ 781296 h 1212939"/>
                <a:gd name="connsiteX2" fmla="*/ 146186 w 691880"/>
                <a:gd name="connsiteY2" fmla="*/ 399023 h 1212939"/>
                <a:gd name="connsiteX3" fmla="*/ 376615 w 691880"/>
                <a:gd name="connsiteY3" fmla="*/ 0 h 1212939"/>
                <a:gd name="connsiteX4" fmla="*/ 686825 w 691880"/>
                <a:gd name="connsiteY4" fmla="*/ 666832 h 1212939"/>
                <a:gd name="connsiteX5" fmla="*/ 417491 w 691880"/>
                <a:gd name="connsiteY5" fmla="*/ 1212939 h 1212939"/>
                <a:gd name="connsiteX0" fmla="*/ 236621 w 701317"/>
                <a:gd name="connsiteY0" fmla="*/ 1212939 h 1212939"/>
                <a:gd name="connsiteX1" fmla="*/ 1566 w 701317"/>
                <a:gd name="connsiteY1" fmla="*/ 781296 h 1212939"/>
                <a:gd name="connsiteX2" fmla="*/ 146186 w 701317"/>
                <a:gd name="connsiteY2" fmla="*/ 399023 h 1212939"/>
                <a:gd name="connsiteX3" fmla="*/ 376615 w 701317"/>
                <a:gd name="connsiteY3" fmla="*/ 0 h 1212939"/>
                <a:gd name="connsiteX4" fmla="*/ 686825 w 701317"/>
                <a:gd name="connsiteY4" fmla="*/ 666832 h 1212939"/>
                <a:gd name="connsiteX5" fmla="*/ 559456 w 701317"/>
                <a:gd name="connsiteY5" fmla="*/ 1185998 h 1212939"/>
                <a:gd name="connsiteX0" fmla="*/ 236621 w 739946"/>
                <a:gd name="connsiteY0" fmla="*/ 1212939 h 1212939"/>
                <a:gd name="connsiteX1" fmla="*/ 1566 w 739946"/>
                <a:gd name="connsiteY1" fmla="*/ 781296 h 1212939"/>
                <a:gd name="connsiteX2" fmla="*/ 146186 w 739946"/>
                <a:gd name="connsiteY2" fmla="*/ 399023 h 1212939"/>
                <a:gd name="connsiteX3" fmla="*/ 376615 w 739946"/>
                <a:gd name="connsiteY3" fmla="*/ 0 h 1212939"/>
                <a:gd name="connsiteX4" fmla="*/ 730507 w 739946"/>
                <a:gd name="connsiteY4" fmla="*/ 634503 h 1212939"/>
                <a:gd name="connsiteX5" fmla="*/ 559456 w 739946"/>
                <a:gd name="connsiteY5" fmla="*/ 1185998 h 1212939"/>
                <a:gd name="connsiteX0" fmla="*/ 236572 w 739897"/>
                <a:gd name="connsiteY0" fmla="*/ 1164445 h 1164445"/>
                <a:gd name="connsiteX1" fmla="*/ 1517 w 739897"/>
                <a:gd name="connsiteY1" fmla="*/ 732802 h 1164445"/>
                <a:gd name="connsiteX2" fmla="*/ 146137 w 739897"/>
                <a:gd name="connsiteY2" fmla="*/ 350529 h 1164445"/>
                <a:gd name="connsiteX3" fmla="*/ 354725 w 739897"/>
                <a:gd name="connsiteY3" fmla="*/ 0 h 1164445"/>
                <a:gd name="connsiteX4" fmla="*/ 730458 w 739897"/>
                <a:gd name="connsiteY4" fmla="*/ 586009 h 1164445"/>
                <a:gd name="connsiteX5" fmla="*/ 559407 w 739897"/>
                <a:gd name="connsiteY5"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42766 w 746091"/>
                <a:gd name="connsiteY0" fmla="*/ 1164445 h 1164445"/>
                <a:gd name="connsiteX1" fmla="*/ 2250 w 746091"/>
                <a:gd name="connsiteY1" fmla="*/ 700472 h 1164445"/>
                <a:gd name="connsiteX2" fmla="*/ 360919 w 746091"/>
                <a:gd name="connsiteY2" fmla="*/ 0 h 1164445"/>
                <a:gd name="connsiteX3" fmla="*/ 736652 w 746091"/>
                <a:gd name="connsiteY3" fmla="*/ 586009 h 1164445"/>
                <a:gd name="connsiteX4" fmla="*/ 565601 w 746091"/>
                <a:gd name="connsiteY4" fmla="*/ 1137504 h 1164445"/>
                <a:gd name="connsiteX0" fmla="*/ 182965 w 751812"/>
                <a:gd name="connsiteY0" fmla="*/ 1148280 h 1148280"/>
                <a:gd name="connsiteX1" fmla="*/ 7971 w 751812"/>
                <a:gd name="connsiteY1" fmla="*/ 700472 h 1148280"/>
                <a:gd name="connsiteX2" fmla="*/ 366640 w 751812"/>
                <a:gd name="connsiteY2" fmla="*/ 0 h 1148280"/>
                <a:gd name="connsiteX3" fmla="*/ 742373 w 751812"/>
                <a:gd name="connsiteY3" fmla="*/ 586009 h 1148280"/>
                <a:gd name="connsiteX4" fmla="*/ 571322 w 751812"/>
                <a:gd name="connsiteY4" fmla="*/ 1137504 h 1148280"/>
                <a:gd name="connsiteX0" fmla="*/ 205889 w 748841"/>
                <a:gd name="connsiteY0" fmla="*/ 1142892 h 1142892"/>
                <a:gd name="connsiteX1" fmla="*/ 5000 w 748841"/>
                <a:gd name="connsiteY1" fmla="*/ 700472 h 1142892"/>
                <a:gd name="connsiteX2" fmla="*/ 363669 w 748841"/>
                <a:gd name="connsiteY2" fmla="*/ 0 h 1142892"/>
                <a:gd name="connsiteX3" fmla="*/ 739402 w 748841"/>
                <a:gd name="connsiteY3" fmla="*/ 586009 h 1142892"/>
                <a:gd name="connsiteX4" fmla="*/ 568351 w 748841"/>
                <a:gd name="connsiteY4" fmla="*/ 1137504 h 1142892"/>
                <a:gd name="connsiteX0" fmla="*/ 187451 w 751119"/>
                <a:gd name="connsiteY0" fmla="*/ 1142892 h 1142892"/>
                <a:gd name="connsiteX1" fmla="*/ 7278 w 751119"/>
                <a:gd name="connsiteY1" fmla="*/ 700472 h 1142892"/>
                <a:gd name="connsiteX2" fmla="*/ 365947 w 751119"/>
                <a:gd name="connsiteY2" fmla="*/ 0 h 1142892"/>
                <a:gd name="connsiteX3" fmla="*/ 741680 w 751119"/>
                <a:gd name="connsiteY3" fmla="*/ 586009 h 1142892"/>
                <a:gd name="connsiteX4" fmla="*/ 570629 w 751119"/>
                <a:gd name="connsiteY4" fmla="*/ 1137504 h 1142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119" h="1142892">
                  <a:moveTo>
                    <a:pt x="187451" y="1142892"/>
                  </a:moveTo>
                  <a:cubicBezTo>
                    <a:pt x="39237" y="954485"/>
                    <a:pt x="-22471" y="890954"/>
                    <a:pt x="7278" y="700472"/>
                  </a:cubicBezTo>
                  <a:cubicBezTo>
                    <a:pt x="37027" y="509990"/>
                    <a:pt x="320900" y="272324"/>
                    <a:pt x="365947" y="0"/>
                  </a:cubicBezTo>
                  <a:cubicBezTo>
                    <a:pt x="504285" y="195504"/>
                    <a:pt x="704836" y="376668"/>
                    <a:pt x="741680" y="586009"/>
                  </a:cubicBezTo>
                  <a:cubicBezTo>
                    <a:pt x="778524" y="795350"/>
                    <a:pt x="704607" y="920627"/>
                    <a:pt x="570629" y="1137504"/>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BBvoice"/>
                <a:ea typeface="ABBvoice"/>
                <a:cs typeface="ABBvoice"/>
              </a:endParaRPr>
            </a:p>
          </p:txBody>
        </p:sp>
        <p:sp>
          <p:nvSpPr>
            <p:cNvPr id="104" name="Freeform 180">
              <a:extLst>
                <a:ext uri="{FF2B5EF4-FFF2-40B4-BE49-F238E27FC236}">
                  <a16:creationId xmlns:a16="http://schemas.microsoft.com/office/drawing/2014/main" id="{48B73373-0D5E-4994-BCD7-14B8E7C20A90}"/>
                </a:ext>
              </a:extLst>
            </p:cNvPr>
            <p:cNvSpPr/>
            <p:nvPr/>
          </p:nvSpPr>
          <p:spPr bwMode="gray">
            <a:xfrm>
              <a:off x="-820606" y="3535648"/>
              <a:ext cx="273691" cy="278112"/>
            </a:xfrm>
            <a:custGeom>
              <a:avLst/>
              <a:gdLst>
                <a:gd name="connsiteX0" fmla="*/ 95316 w 319358"/>
                <a:gd name="connsiteY0" fmla="*/ 870562 h 870562"/>
                <a:gd name="connsiteX1" fmla="*/ 66 w 319358"/>
                <a:gd name="connsiteY1" fmla="*/ 483212 h 870562"/>
                <a:gd name="connsiteX2" fmla="*/ 108016 w 319358"/>
                <a:gd name="connsiteY2" fmla="*/ 324462 h 870562"/>
                <a:gd name="connsiteX3" fmla="*/ 165166 w 319358"/>
                <a:gd name="connsiteY3" fmla="*/ 612 h 870562"/>
                <a:gd name="connsiteX4" fmla="*/ 317566 w 319358"/>
                <a:gd name="connsiteY4" fmla="*/ 413362 h 870562"/>
                <a:gd name="connsiteX5" fmla="*/ 235016 w 319358"/>
                <a:gd name="connsiteY5" fmla="*/ 864212 h 870562"/>
                <a:gd name="connsiteX0" fmla="*/ 95316 w 342347"/>
                <a:gd name="connsiteY0" fmla="*/ 870562 h 870562"/>
                <a:gd name="connsiteX1" fmla="*/ 66 w 342347"/>
                <a:gd name="connsiteY1" fmla="*/ 483212 h 870562"/>
                <a:gd name="connsiteX2" fmla="*/ 108016 w 342347"/>
                <a:gd name="connsiteY2" fmla="*/ 324462 h 870562"/>
                <a:gd name="connsiteX3" fmla="*/ 165166 w 342347"/>
                <a:gd name="connsiteY3" fmla="*/ 612 h 870562"/>
                <a:gd name="connsiteX4" fmla="*/ 317566 w 342347"/>
                <a:gd name="connsiteY4" fmla="*/ 413362 h 870562"/>
                <a:gd name="connsiteX5" fmla="*/ 319044 w 342347"/>
                <a:gd name="connsiteY5" fmla="*/ 842659 h 870562"/>
                <a:gd name="connsiteX0" fmla="*/ 95316 w 371927"/>
                <a:gd name="connsiteY0" fmla="*/ 870562 h 870562"/>
                <a:gd name="connsiteX1" fmla="*/ 66 w 371927"/>
                <a:gd name="connsiteY1" fmla="*/ 483212 h 870562"/>
                <a:gd name="connsiteX2" fmla="*/ 108016 w 371927"/>
                <a:gd name="connsiteY2" fmla="*/ 324462 h 870562"/>
                <a:gd name="connsiteX3" fmla="*/ 165166 w 371927"/>
                <a:gd name="connsiteY3" fmla="*/ 612 h 870562"/>
                <a:gd name="connsiteX4" fmla="*/ 367982 w 371927"/>
                <a:gd name="connsiteY4" fmla="*/ 413363 h 870562"/>
                <a:gd name="connsiteX5" fmla="*/ 319044 w 371927"/>
                <a:gd name="connsiteY5" fmla="*/ 842659 h 870562"/>
                <a:gd name="connsiteX0" fmla="*/ 95316 w 371927"/>
                <a:gd name="connsiteY0" fmla="*/ 827551 h 827551"/>
                <a:gd name="connsiteX1" fmla="*/ 66 w 371927"/>
                <a:gd name="connsiteY1" fmla="*/ 440201 h 827551"/>
                <a:gd name="connsiteX2" fmla="*/ 108016 w 371927"/>
                <a:gd name="connsiteY2" fmla="*/ 281451 h 827551"/>
                <a:gd name="connsiteX3" fmla="*/ 205499 w 371927"/>
                <a:gd name="connsiteY3" fmla="*/ 707 h 827551"/>
                <a:gd name="connsiteX4" fmla="*/ 367982 w 371927"/>
                <a:gd name="connsiteY4" fmla="*/ 370352 h 827551"/>
                <a:gd name="connsiteX5" fmla="*/ 319044 w 371927"/>
                <a:gd name="connsiteY5" fmla="*/ 799648 h 827551"/>
                <a:gd name="connsiteX0" fmla="*/ 98435 w 375046"/>
                <a:gd name="connsiteY0" fmla="*/ 826844 h 826844"/>
                <a:gd name="connsiteX1" fmla="*/ 3185 w 375046"/>
                <a:gd name="connsiteY1" fmla="*/ 439494 h 826844"/>
                <a:gd name="connsiteX2" fmla="*/ 208618 w 375046"/>
                <a:gd name="connsiteY2" fmla="*/ 0 h 826844"/>
                <a:gd name="connsiteX3" fmla="*/ 371101 w 375046"/>
                <a:gd name="connsiteY3" fmla="*/ 369645 h 826844"/>
                <a:gd name="connsiteX4" fmla="*/ 322163 w 375046"/>
                <a:gd name="connsiteY4" fmla="*/ 798941 h 826844"/>
                <a:gd name="connsiteX0" fmla="*/ 47224 w 323835"/>
                <a:gd name="connsiteY0" fmla="*/ 826845 h 826845"/>
                <a:gd name="connsiteX1" fmla="*/ 9112 w 323835"/>
                <a:gd name="connsiteY1" fmla="*/ 374836 h 826845"/>
                <a:gd name="connsiteX2" fmla="*/ 157407 w 323835"/>
                <a:gd name="connsiteY2" fmla="*/ 1 h 826845"/>
                <a:gd name="connsiteX3" fmla="*/ 319890 w 323835"/>
                <a:gd name="connsiteY3" fmla="*/ 369646 h 826845"/>
                <a:gd name="connsiteX4" fmla="*/ 270952 w 323835"/>
                <a:gd name="connsiteY4" fmla="*/ 798942 h 826845"/>
                <a:gd name="connsiteX0" fmla="*/ 48467 w 325078"/>
                <a:gd name="connsiteY0" fmla="*/ 810682 h 810682"/>
                <a:gd name="connsiteX1" fmla="*/ 10355 w 325078"/>
                <a:gd name="connsiteY1" fmla="*/ 358673 h 810682"/>
                <a:gd name="connsiteX2" fmla="*/ 175456 w 325078"/>
                <a:gd name="connsiteY2" fmla="*/ 3 h 810682"/>
                <a:gd name="connsiteX3" fmla="*/ 321133 w 325078"/>
                <a:gd name="connsiteY3" fmla="*/ 353483 h 810682"/>
                <a:gd name="connsiteX4" fmla="*/ 272195 w 325078"/>
                <a:gd name="connsiteY4" fmla="*/ 782779 h 810682"/>
                <a:gd name="connsiteX0" fmla="*/ 55744 w 322272"/>
                <a:gd name="connsiteY0" fmla="*/ 805294 h 805294"/>
                <a:gd name="connsiteX1" fmla="*/ 7549 w 322272"/>
                <a:gd name="connsiteY1" fmla="*/ 358673 h 805294"/>
                <a:gd name="connsiteX2" fmla="*/ 172650 w 322272"/>
                <a:gd name="connsiteY2" fmla="*/ 3 h 805294"/>
                <a:gd name="connsiteX3" fmla="*/ 318327 w 322272"/>
                <a:gd name="connsiteY3" fmla="*/ 353483 h 805294"/>
                <a:gd name="connsiteX4" fmla="*/ 269389 w 322272"/>
                <a:gd name="connsiteY4" fmla="*/ 782779 h 805294"/>
                <a:gd name="connsiteX0" fmla="*/ 55744 w 321540"/>
                <a:gd name="connsiteY0" fmla="*/ 805294 h 805294"/>
                <a:gd name="connsiteX1" fmla="*/ 7549 w 321540"/>
                <a:gd name="connsiteY1" fmla="*/ 358673 h 805294"/>
                <a:gd name="connsiteX2" fmla="*/ 172650 w 321540"/>
                <a:gd name="connsiteY2" fmla="*/ 3 h 805294"/>
                <a:gd name="connsiteX3" fmla="*/ 318327 w 321540"/>
                <a:gd name="connsiteY3" fmla="*/ 353483 h 805294"/>
                <a:gd name="connsiteX4" fmla="*/ 262564 w 321540"/>
                <a:gd name="connsiteY4" fmla="*/ 798944 h 805294"/>
                <a:gd name="connsiteX0" fmla="*/ 55744 w 321540"/>
                <a:gd name="connsiteY0" fmla="*/ 789129 h 798944"/>
                <a:gd name="connsiteX1" fmla="*/ 7549 w 321540"/>
                <a:gd name="connsiteY1" fmla="*/ 358673 h 798944"/>
                <a:gd name="connsiteX2" fmla="*/ 172650 w 321540"/>
                <a:gd name="connsiteY2" fmla="*/ 3 h 798944"/>
                <a:gd name="connsiteX3" fmla="*/ 318327 w 321540"/>
                <a:gd name="connsiteY3" fmla="*/ 353483 h 798944"/>
                <a:gd name="connsiteX4" fmla="*/ 262564 w 321540"/>
                <a:gd name="connsiteY4" fmla="*/ 798944 h 798944"/>
                <a:gd name="connsiteX0" fmla="*/ 55744 w 322748"/>
                <a:gd name="connsiteY0" fmla="*/ 789129 h 789129"/>
                <a:gd name="connsiteX1" fmla="*/ 7549 w 322748"/>
                <a:gd name="connsiteY1" fmla="*/ 358673 h 789129"/>
                <a:gd name="connsiteX2" fmla="*/ 172650 w 322748"/>
                <a:gd name="connsiteY2" fmla="*/ 3 h 789129"/>
                <a:gd name="connsiteX3" fmla="*/ 318327 w 322748"/>
                <a:gd name="connsiteY3" fmla="*/ 353483 h 789129"/>
                <a:gd name="connsiteX4" fmla="*/ 272801 w 322748"/>
                <a:gd name="connsiteY4" fmla="*/ 782779 h 789129"/>
                <a:gd name="connsiteX0" fmla="*/ 61546 w 328550"/>
                <a:gd name="connsiteY0" fmla="*/ 789600 h 789600"/>
                <a:gd name="connsiteX1" fmla="*/ 6527 w 328550"/>
                <a:gd name="connsiteY1" fmla="*/ 426496 h 789600"/>
                <a:gd name="connsiteX2" fmla="*/ 178452 w 328550"/>
                <a:gd name="connsiteY2" fmla="*/ 474 h 789600"/>
                <a:gd name="connsiteX3" fmla="*/ 324129 w 328550"/>
                <a:gd name="connsiteY3" fmla="*/ 353954 h 789600"/>
                <a:gd name="connsiteX4" fmla="*/ 278603 w 328550"/>
                <a:gd name="connsiteY4" fmla="*/ 783250 h 789600"/>
                <a:gd name="connsiteX0" fmla="*/ 61546 w 331487"/>
                <a:gd name="connsiteY0" fmla="*/ 789171 h 789171"/>
                <a:gd name="connsiteX1" fmla="*/ 6527 w 331487"/>
                <a:gd name="connsiteY1" fmla="*/ 426067 h 789171"/>
                <a:gd name="connsiteX2" fmla="*/ 178452 w 331487"/>
                <a:gd name="connsiteY2" fmla="*/ 45 h 789171"/>
                <a:gd name="connsiteX3" fmla="*/ 327542 w 331487"/>
                <a:gd name="connsiteY3" fmla="*/ 402018 h 789171"/>
                <a:gd name="connsiteX4" fmla="*/ 278603 w 331487"/>
                <a:gd name="connsiteY4" fmla="*/ 782821 h 789171"/>
                <a:gd name="connsiteX0" fmla="*/ 61895 w 331836"/>
                <a:gd name="connsiteY0" fmla="*/ 724528 h 724528"/>
                <a:gd name="connsiteX1" fmla="*/ 6876 w 331836"/>
                <a:gd name="connsiteY1" fmla="*/ 361424 h 724528"/>
                <a:gd name="connsiteX2" fmla="*/ 183919 w 331836"/>
                <a:gd name="connsiteY2" fmla="*/ 61 h 724528"/>
                <a:gd name="connsiteX3" fmla="*/ 327891 w 331836"/>
                <a:gd name="connsiteY3" fmla="*/ 337375 h 724528"/>
                <a:gd name="connsiteX4" fmla="*/ 278952 w 331836"/>
                <a:gd name="connsiteY4" fmla="*/ 718178 h 72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36" h="724528">
                  <a:moveTo>
                    <a:pt x="61895" y="724528"/>
                  </a:moveTo>
                  <a:cubicBezTo>
                    <a:pt x="13211" y="576361"/>
                    <a:pt x="-13461" y="482169"/>
                    <a:pt x="6876" y="361424"/>
                  </a:cubicBezTo>
                  <a:cubicBezTo>
                    <a:pt x="27213" y="240680"/>
                    <a:pt x="130417" y="4069"/>
                    <a:pt x="183919" y="61"/>
                  </a:cubicBezTo>
                  <a:cubicBezTo>
                    <a:pt x="237422" y="-3947"/>
                    <a:pt x="316249" y="193442"/>
                    <a:pt x="327891" y="337375"/>
                  </a:cubicBezTo>
                  <a:cubicBezTo>
                    <a:pt x="339533" y="481308"/>
                    <a:pt x="326048" y="564719"/>
                    <a:pt x="278952" y="718178"/>
                  </a:cubicBez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BBvoice"/>
                <a:ea typeface="ABBvoice"/>
                <a:cs typeface="ABBvoice"/>
              </a:endParaRPr>
            </a:p>
          </p:txBody>
        </p:sp>
      </p:grpSp>
      <p:cxnSp>
        <p:nvCxnSpPr>
          <p:cNvPr id="105" name="Straight Connector 104">
            <a:extLst>
              <a:ext uri="{FF2B5EF4-FFF2-40B4-BE49-F238E27FC236}">
                <a16:creationId xmlns:a16="http://schemas.microsoft.com/office/drawing/2014/main" id="{19B3ECF6-F918-4087-8A0B-2B94A613823D}"/>
              </a:ext>
            </a:extLst>
          </p:cNvPr>
          <p:cNvCxnSpPr>
            <a:cxnSpLocks/>
          </p:cNvCxnSpPr>
          <p:nvPr/>
        </p:nvCxnSpPr>
        <p:spPr bwMode="gray">
          <a:xfrm>
            <a:off x="9121557" y="4699543"/>
            <a:ext cx="0" cy="394565"/>
          </a:xfrm>
          <a:prstGeom prst="line">
            <a:avLst/>
          </a:prstGeom>
          <a:ln w="12700" cap="rnd">
            <a:solidFill>
              <a:schemeClr val="tx2"/>
            </a:solidFill>
            <a:headEnd type="oval"/>
            <a:tailEnd type="none"/>
          </a:ln>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EC81974C-76A8-4B95-A783-3575955080A1}"/>
              </a:ext>
            </a:extLst>
          </p:cNvPr>
          <p:cNvGrpSpPr>
            <a:grpSpLocks noChangeAspect="1"/>
          </p:cNvGrpSpPr>
          <p:nvPr/>
        </p:nvGrpSpPr>
        <p:grpSpPr bwMode="gray">
          <a:xfrm>
            <a:off x="8860455" y="5096666"/>
            <a:ext cx="534406" cy="534406"/>
            <a:chOff x="332583" y="3137940"/>
            <a:chExt cx="432000" cy="432000"/>
          </a:xfrm>
        </p:grpSpPr>
        <p:sp>
          <p:nvSpPr>
            <p:cNvPr id="107" name="Rechteck 91">
              <a:extLst>
                <a:ext uri="{FF2B5EF4-FFF2-40B4-BE49-F238E27FC236}">
                  <a16:creationId xmlns:a16="http://schemas.microsoft.com/office/drawing/2014/main" id="{44500D7F-5D4E-4E2A-81D0-EB7099D7671F}"/>
                </a:ext>
              </a:extLst>
            </p:cNvPr>
            <p:cNvSpPr/>
            <p:nvPr/>
          </p:nvSpPr>
          <p:spPr bwMode="gray">
            <a:xfrm>
              <a:off x="332583" y="3137940"/>
              <a:ext cx="432000" cy="432000"/>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90000"/>
                </a:lnSpc>
                <a:spcBef>
                  <a:spcPts val="1100"/>
                </a:spcBef>
                <a:spcAft>
                  <a:spcPts val="0"/>
                </a:spcAft>
                <a:buClr>
                  <a:srgbClr val="002897"/>
                </a:buClr>
                <a:buSzPct val="70000"/>
                <a:buFontTx/>
                <a:buNone/>
                <a:tabLst/>
                <a:defRPr/>
              </a:pPr>
              <a:endParaRPr kumimoji="0" lang="en-US" sz="1000" b="1"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108" name="Rectangle 77">
              <a:extLst>
                <a:ext uri="{FF2B5EF4-FFF2-40B4-BE49-F238E27FC236}">
                  <a16:creationId xmlns:a16="http://schemas.microsoft.com/office/drawing/2014/main" id="{0777E23D-C843-4485-9F6E-D8C0F27F68A5}"/>
                </a:ext>
              </a:extLst>
            </p:cNvPr>
            <p:cNvSpPr/>
            <p:nvPr/>
          </p:nvSpPr>
          <p:spPr bwMode="gray">
            <a:xfrm>
              <a:off x="355175" y="3295085"/>
              <a:ext cx="386816" cy="197716"/>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sp>
        <p:nvSpPr>
          <p:cNvPr id="111" name="Oval 110">
            <a:extLst>
              <a:ext uri="{FF2B5EF4-FFF2-40B4-BE49-F238E27FC236}">
                <a16:creationId xmlns:a16="http://schemas.microsoft.com/office/drawing/2014/main" id="{E5B5C2BC-8ED1-408A-A913-B468F8BB30EA}"/>
              </a:ext>
            </a:extLst>
          </p:cNvPr>
          <p:cNvSpPr/>
          <p:nvPr/>
        </p:nvSpPr>
        <p:spPr bwMode="gray">
          <a:xfrm rot="16200000">
            <a:off x="6304672" y="2870210"/>
            <a:ext cx="527454" cy="5274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112" name="Group 111">
            <a:extLst>
              <a:ext uri="{FF2B5EF4-FFF2-40B4-BE49-F238E27FC236}">
                <a16:creationId xmlns:a16="http://schemas.microsoft.com/office/drawing/2014/main" id="{423902B7-ACCB-488E-A320-9D6245D6ACB7}"/>
              </a:ext>
            </a:extLst>
          </p:cNvPr>
          <p:cNvGrpSpPr/>
          <p:nvPr/>
        </p:nvGrpSpPr>
        <p:grpSpPr bwMode="gray">
          <a:xfrm>
            <a:off x="6356719" y="3068750"/>
            <a:ext cx="423358" cy="130374"/>
            <a:chOff x="5561561" y="3580012"/>
            <a:chExt cx="1068879" cy="329166"/>
          </a:xfrm>
        </p:grpSpPr>
        <p:sp>
          <p:nvSpPr>
            <p:cNvPr id="113" name="Oval 112">
              <a:extLst>
                <a:ext uri="{FF2B5EF4-FFF2-40B4-BE49-F238E27FC236}">
                  <a16:creationId xmlns:a16="http://schemas.microsoft.com/office/drawing/2014/main" id="{56081CC9-0050-4C81-9B75-A91E803A5924}"/>
                </a:ext>
              </a:extLst>
            </p:cNvPr>
            <p:cNvSpPr/>
            <p:nvPr/>
          </p:nvSpPr>
          <p:spPr bwMode="gray">
            <a:xfrm>
              <a:off x="5561561" y="3580012"/>
              <a:ext cx="329166" cy="32916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114" name="Oval 113">
              <a:extLst>
                <a:ext uri="{FF2B5EF4-FFF2-40B4-BE49-F238E27FC236}">
                  <a16:creationId xmlns:a16="http://schemas.microsoft.com/office/drawing/2014/main" id="{32E23A17-1A18-4850-BBD1-1A21500BD55B}"/>
                </a:ext>
              </a:extLst>
            </p:cNvPr>
            <p:cNvSpPr/>
            <p:nvPr/>
          </p:nvSpPr>
          <p:spPr bwMode="gray">
            <a:xfrm>
              <a:off x="6301274" y="3580012"/>
              <a:ext cx="329166" cy="32916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115" name="Straight Connector 114">
              <a:extLst>
                <a:ext uri="{FF2B5EF4-FFF2-40B4-BE49-F238E27FC236}">
                  <a16:creationId xmlns:a16="http://schemas.microsoft.com/office/drawing/2014/main" id="{6904BACC-729C-42E9-A889-EB0536A0F363}"/>
                </a:ext>
              </a:extLst>
            </p:cNvPr>
            <p:cNvCxnSpPr>
              <a:stCxn id="113" idx="6"/>
              <a:endCxn id="114" idx="2"/>
            </p:cNvCxnSpPr>
            <p:nvPr/>
          </p:nvCxnSpPr>
          <p:spPr bwMode="gray">
            <a:xfrm>
              <a:off x="5890727" y="3744595"/>
              <a:ext cx="41054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714E5B3-3467-4599-BF3D-2D450BDA2B48}"/>
                </a:ext>
              </a:extLst>
            </p:cNvPr>
            <p:cNvCxnSpPr/>
            <p:nvPr/>
          </p:nvCxnSpPr>
          <p:spPr bwMode="gray">
            <a:xfrm>
              <a:off x="6062617" y="3669857"/>
              <a:ext cx="66766" cy="1494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7" name="Group 116">
            <a:extLst>
              <a:ext uri="{FF2B5EF4-FFF2-40B4-BE49-F238E27FC236}">
                <a16:creationId xmlns:a16="http://schemas.microsoft.com/office/drawing/2014/main" id="{32A2AFB8-3EB5-476B-B890-C579036981C2}"/>
              </a:ext>
            </a:extLst>
          </p:cNvPr>
          <p:cNvGrpSpPr>
            <a:grpSpLocks noChangeAspect="1"/>
          </p:cNvGrpSpPr>
          <p:nvPr/>
        </p:nvGrpSpPr>
        <p:grpSpPr bwMode="gray">
          <a:xfrm>
            <a:off x="10359722" y="2872543"/>
            <a:ext cx="529200" cy="529200"/>
            <a:chOff x="332583" y="4298389"/>
            <a:chExt cx="432000" cy="432000"/>
          </a:xfrm>
          <a:solidFill>
            <a:schemeClr val="tx2"/>
          </a:solidFill>
        </p:grpSpPr>
        <p:sp>
          <p:nvSpPr>
            <p:cNvPr id="118" name="Rechteck 91">
              <a:extLst>
                <a:ext uri="{FF2B5EF4-FFF2-40B4-BE49-F238E27FC236}">
                  <a16:creationId xmlns:a16="http://schemas.microsoft.com/office/drawing/2014/main" id="{264DC572-FCF3-4EC7-A536-8C5693D9330E}"/>
                </a:ext>
              </a:extLst>
            </p:cNvPr>
            <p:cNvSpPr/>
            <p:nvPr/>
          </p:nvSpPr>
          <p:spPr bwMode="gray">
            <a:xfrm>
              <a:off x="332583" y="4298389"/>
              <a:ext cx="432000" cy="432000"/>
            </a:xfrm>
            <a:prstGeom prst="ellipse">
              <a:avLst/>
            </a:prstGeom>
            <a:grpFill/>
            <a:ln w="12700">
              <a:solidFill>
                <a:schemeClr val="bg1"/>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119" name="Rectangle 2">
              <a:extLst>
                <a:ext uri="{FF2B5EF4-FFF2-40B4-BE49-F238E27FC236}">
                  <a16:creationId xmlns:a16="http://schemas.microsoft.com/office/drawing/2014/main" id="{1F8A0409-CFA8-4A5A-95FD-AF1A5459FC85}"/>
                </a:ext>
              </a:extLst>
            </p:cNvPr>
            <p:cNvSpPr/>
            <p:nvPr/>
          </p:nvSpPr>
          <p:spPr bwMode="gray">
            <a:xfrm rot="10800000" flipH="1">
              <a:off x="389932" y="4424512"/>
              <a:ext cx="317302" cy="179754"/>
            </a:xfrm>
            <a:custGeom>
              <a:avLst/>
              <a:gdLst/>
              <a:ahLst/>
              <a:cxnLst/>
              <a:rect l="l" t="t" r="r" b="b"/>
              <a:pathLst>
                <a:path w="420238" h="218437">
                  <a:moveTo>
                    <a:pt x="0" y="218437"/>
                  </a:moveTo>
                  <a:lnTo>
                    <a:pt x="420238" y="218437"/>
                  </a:lnTo>
                  <a:lnTo>
                    <a:pt x="420238" y="0"/>
                  </a:lnTo>
                  <a:lnTo>
                    <a:pt x="0" y="0"/>
                  </a:lnTo>
                  <a:lnTo>
                    <a:pt x="0" y="49819"/>
                  </a:lnTo>
                  <a:lnTo>
                    <a:pt x="360926" y="49819"/>
                  </a:lnTo>
                  <a:lnTo>
                    <a:pt x="360926" y="168619"/>
                  </a:lnTo>
                  <a:lnTo>
                    <a:pt x="0" y="168619"/>
                  </a:lnTo>
                  <a:close/>
                </a:path>
              </a:pathLst>
            </a:custGeom>
            <a:grpFill/>
            <a:ln w="12700">
              <a:solidFill>
                <a:schemeClr val="bg1"/>
              </a:solidFill>
              <a:prstDash val="sysDash"/>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BBvoice"/>
                <a:ea typeface="ABBvoice"/>
                <a:cs typeface="ABBvoice"/>
              </a:endParaRPr>
            </a:p>
          </p:txBody>
        </p:sp>
      </p:grpSp>
      <p:cxnSp>
        <p:nvCxnSpPr>
          <p:cNvPr id="200" name="Straight Connector 199"/>
          <p:cNvCxnSpPr>
            <a:cxnSpLocks/>
            <a:endCxn id="118" idx="2"/>
          </p:cNvCxnSpPr>
          <p:nvPr/>
        </p:nvCxnSpPr>
        <p:spPr bwMode="gray">
          <a:xfrm>
            <a:off x="9928800" y="3137104"/>
            <a:ext cx="430922" cy="39"/>
          </a:xfrm>
          <a:prstGeom prst="line">
            <a:avLst/>
          </a:prstGeom>
          <a:ln w="12700" cap="rnd">
            <a:solidFill>
              <a:schemeClr val="tx2"/>
            </a:solidFill>
            <a:headEnd type="oval"/>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790340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500"/>
                                  </p:stCondLst>
                                  <p:childTnLst>
                                    <p:set>
                                      <p:cBhvr>
                                        <p:cTn id="6" dur="1" fill="hold">
                                          <p:stCondLst>
                                            <p:cond delay="0"/>
                                          </p:stCondLst>
                                        </p:cTn>
                                        <p:tgtEl>
                                          <p:spTgt spid="2545669"/>
                                        </p:tgtEl>
                                        <p:attrNameLst>
                                          <p:attrName>style.visibility</p:attrName>
                                        </p:attrNameLst>
                                      </p:cBhvr>
                                      <p:to>
                                        <p:strVal val="visible"/>
                                      </p:to>
                                    </p:set>
                                    <p:animEffect transition="in" filter="fade">
                                      <p:cBhvr>
                                        <p:cTn id="7" dur="1000"/>
                                        <p:tgtEl>
                                          <p:spTgt spid="2545669"/>
                                        </p:tgtEl>
                                      </p:cBhvr>
                                    </p:animEffect>
                                  </p:childTnLst>
                                </p:cTn>
                              </p:par>
                              <p:par>
                                <p:cTn id="8" presetID="42" presetClass="entr" presetSubtype="0" fill="hold" nodeType="withEffect">
                                  <p:stCondLst>
                                    <p:cond delay="500"/>
                                  </p:stCondLst>
                                  <p:childTnLst>
                                    <p:set>
                                      <p:cBhvr>
                                        <p:cTn id="9" dur="1" fill="hold">
                                          <p:stCondLst>
                                            <p:cond delay="0"/>
                                          </p:stCondLst>
                                        </p:cTn>
                                        <p:tgtEl>
                                          <p:spTgt spid="2">
                                            <p:txEl>
                                              <p:pRg st="0" end="0"/>
                                            </p:txEl>
                                          </p:spTgt>
                                        </p:tgtEl>
                                        <p:attrNameLst>
                                          <p:attrName>style.visibility</p:attrName>
                                        </p:attrNameLst>
                                      </p:cBhvr>
                                      <p:to>
                                        <p:strVal val="visible"/>
                                      </p:to>
                                    </p:set>
                                    <p:animEffect transition="in" filter="fade">
                                      <p:cBhvr>
                                        <p:cTn id="10" dur="1000"/>
                                        <p:tgtEl>
                                          <p:spTgt spid="2">
                                            <p:txEl>
                                              <p:pRg st="0" end="0"/>
                                            </p:txEl>
                                          </p:spTgt>
                                        </p:tgtEl>
                                      </p:cBhvr>
                                    </p:animEffect>
                                    <p:anim calcmode="lin" valueType="num">
                                      <p:cBhvr>
                                        <p:cTn id="11"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12"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500"/>
                                        <p:tgtEl>
                                          <p:spTgt spid="2545669"/>
                                        </p:tgtEl>
                                      </p:cBhvr>
                                    </p:animEffect>
                                    <p:set>
                                      <p:cBhvr>
                                        <p:cTn id="17" dur="1" fill="hold">
                                          <p:stCondLst>
                                            <p:cond delay="499"/>
                                          </p:stCondLst>
                                        </p:cTn>
                                        <p:tgtEl>
                                          <p:spTgt spid="2545669"/>
                                        </p:tgtEl>
                                        <p:attrNameLst>
                                          <p:attrName>style.visibility</p:attrName>
                                        </p:attrNameLst>
                                      </p:cBhvr>
                                      <p:to>
                                        <p:strVal val="hidden"/>
                                      </p:to>
                                    </p:set>
                                  </p:childTnLst>
                                </p:cTn>
                              </p:par>
                              <p:par>
                                <p:cTn id="18" presetID="42" presetClass="entr" presetSubtype="0" fill="hold" nodeType="withEffect">
                                  <p:stCondLst>
                                    <p:cond delay="0"/>
                                  </p:stCondLst>
                                  <p:childTnLst>
                                    <p:set>
                                      <p:cBhvr>
                                        <p:cTn id="19" dur="1" fill="hold">
                                          <p:stCondLst>
                                            <p:cond delay="0"/>
                                          </p:stCondLst>
                                        </p:cTn>
                                        <p:tgtEl>
                                          <p:spTgt spid="2">
                                            <p:txEl>
                                              <p:pRg st="1" end="1"/>
                                            </p:txEl>
                                          </p:spTgt>
                                        </p:tgtEl>
                                        <p:attrNameLst>
                                          <p:attrName>style.visibility</p:attrName>
                                        </p:attrNameLst>
                                      </p:cBhvr>
                                      <p:to>
                                        <p:strVal val="visible"/>
                                      </p:to>
                                    </p:set>
                                    <p:animEffect transition="in" filter="fade">
                                      <p:cBhvr>
                                        <p:cTn id="20" dur="1000"/>
                                        <p:tgtEl>
                                          <p:spTgt spid="2">
                                            <p:txEl>
                                              <p:pRg st="1" end="1"/>
                                            </p:txEl>
                                          </p:spTgt>
                                        </p:tgtEl>
                                      </p:cBhvr>
                                    </p:animEffect>
                                    <p:anim calcmode="lin" valueType="num">
                                      <p:cBhvr>
                                        <p:cTn id="21" dur="1000" fill="hold"/>
                                        <p:tgtEl>
                                          <p:spTgt spid="2">
                                            <p:txEl>
                                              <p:pRg st="1" end="1"/>
                                            </p:txEl>
                                          </p:spTgt>
                                        </p:tgtEl>
                                        <p:attrNameLst>
                                          <p:attrName>ppt_x</p:attrName>
                                        </p:attrNameLst>
                                      </p:cBhvr>
                                      <p:tavLst>
                                        <p:tav tm="0">
                                          <p:val>
                                            <p:strVal val="#ppt_x"/>
                                          </p:val>
                                        </p:tav>
                                        <p:tav tm="100000">
                                          <p:val>
                                            <p:strVal val="#ppt_x"/>
                                          </p:val>
                                        </p:tav>
                                      </p:tavLst>
                                    </p:anim>
                                    <p:anim calcmode="lin" valueType="num">
                                      <p:cBhvr>
                                        <p:cTn id="22" dur="1000" fill="hold"/>
                                        <p:tgtEl>
                                          <p:spTgt spid="2">
                                            <p:txEl>
                                              <p:pRg st="1" end="1"/>
                                            </p:txEl>
                                          </p:spTgt>
                                        </p:tgtEl>
                                        <p:attrNameLst>
                                          <p:attrName>ppt_y</p:attrName>
                                        </p:attrNameLst>
                                      </p:cBhvr>
                                      <p:tavLst>
                                        <p:tav tm="0">
                                          <p:val>
                                            <p:strVal val="#ppt_y+.1"/>
                                          </p:val>
                                        </p:tav>
                                        <p:tav tm="100000">
                                          <p:val>
                                            <p:strVal val="#ppt_y"/>
                                          </p:val>
                                        </p:tav>
                                      </p:tavLst>
                                    </p:anim>
                                  </p:childTnLst>
                                </p:cTn>
                              </p:par>
                              <p:par>
                                <p:cTn id="23" presetID="10" presetClass="entr" presetSubtype="0" fill="hold" nodeType="withEffect">
                                  <p:stCondLst>
                                    <p:cond delay="0"/>
                                  </p:stCondLst>
                                  <p:childTnLst>
                                    <p:set>
                                      <p:cBhvr>
                                        <p:cTn id="24" dur="1" fill="hold">
                                          <p:stCondLst>
                                            <p:cond delay="0"/>
                                          </p:stCondLst>
                                        </p:cTn>
                                        <p:tgtEl>
                                          <p:spTgt spid="3075"/>
                                        </p:tgtEl>
                                        <p:attrNameLst>
                                          <p:attrName>style.visibility</p:attrName>
                                        </p:attrNameLst>
                                      </p:cBhvr>
                                      <p:to>
                                        <p:strVal val="visible"/>
                                      </p:to>
                                    </p:set>
                                    <p:animEffect transition="in" filter="fade">
                                      <p:cBhvr>
                                        <p:cTn id="25" dur="1000"/>
                                        <p:tgtEl>
                                          <p:spTgt spid="3075"/>
                                        </p:tgtEl>
                                      </p:cBhvr>
                                    </p:animEffect>
                                  </p:childTnLst>
                                </p:cTn>
                              </p:par>
                            </p:childTnLst>
                          </p:cTn>
                        </p:par>
                      </p:childTnLst>
                    </p:cTn>
                  </p:par>
                  <p:par>
                    <p:cTn id="26" fill="hold">
                      <p:stCondLst>
                        <p:cond delay="indefinite"/>
                      </p:stCondLst>
                      <p:childTnLst>
                        <p:par>
                          <p:cTn id="27" fill="hold">
                            <p:stCondLst>
                              <p:cond delay="0"/>
                            </p:stCondLst>
                            <p:childTnLst>
                              <p:par>
                                <p:cTn id="28" presetID="42" presetClass="entr" presetSubtype="0" fill="hold" nodeType="clickEffect">
                                  <p:stCondLst>
                                    <p:cond delay="0"/>
                                  </p:stCondLst>
                                  <p:childTnLst>
                                    <p:set>
                                      <p:cBhvr>
                                        <p:cTn id="29" dur="1" fill="hold">
                                          <p:stCondLst>
                                            <p:cond delay="0"/>
                                          </p:stCondLst>
                                        </p:cTn>
                                        <p:tgtEl>
                                          <p:spTgt spid="2">
                                            <p:txEl>
                                              <p:pRg st="2" end="2"/>
                                            </p:txEl>
                                          </p:spTgt>
                                        </p:tgtEl>
                                        <p:attrNameLst>
                                          <p:attrName>style.visibility</p:attrName>
                                        </p:attrNameLst>
                                      </p:cBhvr>
                                      <p:to>
                                        <p:strVal val="visible"/>
                                      </p:to>
                                    </p:set>
                                    <p:animEffect transition="in" filter="fade">
                                      <p:cBhvr>
                                        <p:cTn id="30" dur="1000"/>
                                        <p:tgtEl>
                                          <p:spTgt spid="2">
                                            <p:txEl>
                                              <p:pRg st="2" end="2"/>
                                            </p:txEl>
                                          </p:spTgt>
                                        </p:tgtEl>
                                      </p:cBhvr>
                                    </p:animEffect>
                                    <p:anim calcmode="lin" valueType="num">
                                      <p:cBhvr>
                                        <p:cTn id="31"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32"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par>
                          <p:cTn id="33" fill="hold">
                            <p:stCondLst>
                              <p:cond delay="1000"/>
                            </p:stCondLst>
                            <p:childTnLst>
                              <p:par>
                                <p:cTn id="34" presetID="6" presetClass="emph" presetSubtype="0" fill="hold" nodeType="afterEffect">
                                  <p:stCondLst>
                                    <p:cond delay="0"/>
                                  </p:stCondLst>
                                  <p:childTnLst>
                                    <p:animScale>
                                      <p:cBhvr>
                                        <p:cTn id="35" dur="1000" fill="hold"/>
                                        <p:tgtEl>
                                          <p:spTgt spid="3075"/>
                                        </p:tgtEl>
                                      </p:cBhvr>
                                      <p:by x="45000" y="45000"/>
                                    </p:animScale>
                                  </p:childTnLst>
                                </p:cTn>
                              </p:par>
                              <p:par>
                                <p:cTn id="36" presetID="1" presetClass="entr" presetSubtype="0" fill="hold" nodeType="withEffect">
                                  <p:stCondLst>
                                    <p:cond delay="1000"/>
                                  </p:stCondLst>
                                  <p:childTnLst>
                                    <p:set>
                                      <p:cBhvr>
                                        <p:cTn id="37" dur="1" fill="hold">
                                          <p:stCondLst>
                                            <p:cond delay="0"/>
                                          </p:stCondLst>
                                        </p:cTn>
                                        <p:tgtEl>
                                          <p:spTgt spid="102"/>
                                        </p:tgtEl>
                                        <p:attrNameLst>
                                          <p:attrName>style.visibility</p:attrName>
                                        </p:attrNameLst>
                                      </p:cBhvr>
                                      <p:to>
                                        <p:strVal val="visible"/>
                                      </p:to>
                                    </p:set>
                                  </p:childTnLst>
                                </p:cTn>
                              </p:par>
                              <p:par>
                                <p:cTn id="38" presetID="1" presetClass="entr" presetSubtype="0" fill="hold" grpId="0" nodeType="withEffect">
                                  <p:stCondLst>
                                    <p:cond delay="1000"/>
                                  </p:stCondLst>
                                  <p:childTnLst>
                                    <p:set>
                                      <p:cBhvr>
                                        <p:cTn id="39" dur="1" fill="hold">
                                          <p:stCondLst>
                                            <p:cond delay="0"/>
                                          </p:stCondLst>
                                        </p:cTn>
                                        <p:tgtEl>
                                          <p:spTgt spid="5"/>
                                        </p:tgtEl>
                                        <p:attrNameLst>
                                          <p:attrName>style.visibility</p:attrName>
                                        </p:attrNameLst>
                                      </p:cBhvr>
                                      <p:to>
                                        <p:strVal val="visible"/>
                                      </p:to>
                                    </p:set>
                                  </p:childTnLst>
                                </p:cTn>
                              </p:par>
                              <p:par>
                                <p:cTn id="40" presetID="10" presetClass="entr" presetSubtype="0" fill="hold" nodeType="withEffect">
                                  <p:stCondLst>
                                    <p:cond delay="100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1000"/>
                                        <p:tgtEl>
                                          <p:spTgt spid="48"/>
                                        </p:tgtEl>
                                      </p:cBhvr>
                                    </p:animEffect>
                                  </p:childTnLst>
                                </p:cTn>
                              </p:par>
                              <p:par>
                                <p:cTn id="43" presetID="10" presetClass="entr" presetSubtype="0" fill="hold" nodeType="withEffect">
                                  <p:stCondLst>
                                    <p:cond delay="1000"/>
                                  </p:stCondLst>
                                  <p:childTnLst>
                                    <p:set>
                                      <p:cBhvr>
                                        <p:cTn id="44" dur="1" fill="hold">
                                          <p:stCondLst>
                                            <p:cond delay="0"/>
                                          </p:stCondLst>
                                        </p:cTn>
                                        <p:tgtEl>
                                          <p:spTgt spid="142"/>
                                        </p:tgtEl>
                                        <p:attrNameLst>
                                          <p:attrName>style.visibility</p:attrName>
                                        </p:attrNameLst>
                                      </p:cBhvr>
                                      <p:to>
                                        <p:strVal val="visible"/>
                                      </p:to>
                                    </p:set>
                                    <p:animEffect transition="in" filter="fade">
                                      <p:cBhvr>
                                        <p:cTn id="45" dur="1000"/>
                                        <p:tgtEl>
                                          <p:spTgt spid="142"/>
                                        </p:tgtEl>
                                      </p:cBhvr>
                                    </p:animEffect>
                                  </p:childTnLst>
                                </p:cTn>
                              </p:par>
                              <p:par>
                                <p:cTn id="46" presetID="10" presetClass="entr" presetSubtype="0" fill="hold" grpId="0" nodeType="withEffect">
                                  <p:stCondLst>
                                    <p:cond delay="1000"/>
                                  </p:stCondLst>
                                  <p:childTnLst>
                                    <p:set>
                                      <p:cBhvr>
                                        <p:cTn id="47" dur="1" fill="hold">
                                          <p:stCondLst>
                                            <p:cond delay="0"/>
                                          </p:stCondLst>
                                        </p:cTn>
                                        <p:tgtEl>
                                          <p:spTgt spid="204"/>
                                        </p:tgtEl>
                                        <p:attrNameLst>
                                          <p:attrName>style.visibility</p:attrName>
                                        </p:attrNameLst>
                                      </p:cBhvr>
                                      <p:to>
                                        <p:strVal val="visible"/>
                                      </p:to>
                                    </p:set>
                                    <p:animEffect transition="in" filter="fade">
                                      <p:cBhvr>
                                        <p:cTn id="48" dur="1000"/>
                                        <p:tgtEl>
                                          <p:spTgt spid="204"/>
                                        </p:tgtEl>
                                      </p:cBhvr>
                                    </p:animEffect>
                                  </p:childTnLst>
                                </p:cTn>
                              </p:par>
                              <p:par>
                                <p:cTn id="49" presetID="10" presetClass="entr" presetSubtype="0" fill="hold" grpId="0" nodeType="withEffect">
                                  <p:stCondLst>
                                    <p:cond delay="1000"/>
                                  </p:stCondLst>
                                  <p:childTnLst>
                                    <p:set>
                                      <p:cBhvr>
                                        <p:cTn id="50" dur="1" fill="hold">
                                          <p:stCondLst>
                                            <p:cond delay="0"/>
                                          </p:stCondLst>
                                        </p:cTn>
                                        <p:tgtEl>
                                          <p:spTgt spid="2545727"/>
                                        </p:tgtEl>
                                        <p:attrNameLst>
                                          <p:attrName>style.visibility</p:attrName>
                                        </p:attrNameLst>
                                      </p:cBhvr>
                                      <p:to>
                                        <p:strVal val="visible"/>
                                      </p:to>
                                    </p:set>
                                    <p:animEffect transition="in" filter="fade">
                                      <p:cBhvr>
                                        <p:cTn id="51" dur="1000"/>
                                        <p:tgtEl>
                                          <p:spTgt spid="2545727"/>
                                        </p:tgtEl>
                                      </p:cBhvr>
                                    </p:animEffect>
                                  </p:childTnLst>
                                </p:cTn>
                              </p:par>
                              <p:par>
                                <p:cTn id="52" presetID="10" presetClass="entr" presetSubtype="0" fill="hold" grpId="0" nodeType="withEffect">
                                  <p:stCondLst>
                                    <p:cond delay="1000"/>
                                  </p:stCondLst>
                                  <p:childTnLst>
                                    <p:set>
                                      <p:cBhvr>
                                        <p:cTn id="53" dur="1" fill="hold">
                                          <p:stCondLst>
                                            <p:cond delay="0"/>
                                          </p:stCondLst>
                                        </p:cTn>
                                        <p:tgtEl>
                                          <p:spTgt spid="2545737"/>
                                        </p:tgtEl>
                                        <p:attrNameLst>
                                          <p:attrName>style.visibility</p:attrName>
                                        </p:attrNameLst>
                                      </p:cBhvr>
                                      <p:to>
                                        <p:strVal val="visible"/>
                                      </p:to>
                                    </p:set>
                                    <p:animEffect transition="in" filter="fade">
                                      <p:cBhvr>
                                        <p:cTn id="54" dur="1000"/>
                                        <p:tgtEl>
                                          <p:spTgt spid="2545737"/>
                                        </p:tgtEl>
                                      </p:cBhvr>
                                    </p:animEffect>
                                  </p:childTnLst>
                                </p:cTn>
                              </p:par>
                              <p:par>
                                <p:cTn id="55" presetID="42" presetClass="entr" presetSubtype="0" fill="hold" nodeType="withEffect">
                                  <p:stCondLst>
                                    <p:cond delay="1000"/>
                                  </p:stCondLst>
                                  <p:childTnLst>
                                    <p:set>
                                      <p:cBhvr>
                                        <p:cTn id="56" dur="1" fill="hold">
                                          <p:stCondLst>
                                            <p:cond delay="0"/>
                                          </p:stCondLst>
                                        </p:cTn>
                                        <p:tgtEl>
                                          <p:spTgt spid="2">
                                            <p:txEl>
                                              <p:pRg st="3" end="3"/>
                                            </p:txEl>
                                          </p:spTgt>
                                        </p:tgtEl>
                                        <p:attrNameLst>
                                          <p:attrName>style.visibility</p:attrName>
                                        </p:attrNameLst>
                                      </p:cBhvr>
                                      <p:to>
                                        <p:strVal val="visible"/>
                                      </p:to>
                                    </p:set>
                                    <p:animEffect transition="in" filter="fade">
                                      <p:cBhvr>
                                        <p:cTn id="57" dur="1000"/>
                                        <p:tgtEl>
                                          <p:spTgt spid="2">
                                            <p:txEl>
                                              <p:pRg st="3" end="3"/>
                                            </p:txEl>
                                          </p:spTgt>
                                        </p:tgtEl>
                                      </p:cBhvr>
                                    </p:animEffect>
                                    <p:anim calcmode="lin" valueType="num">
                                      <p:cBhvr>
                                        <p:cTn id="58" dur="10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59" dur="1000" fill="hold"/>
                                        <p:tgtEl>
                                          <p:spTgt spid="2">
                                            <p:txEl>
                                              <p:pRg st="3" end="3"/>
                                            </p:txEl>
                                          </p:spTgt>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1000"/>
                                  </p:stCondLst>
                                  <p:childTnLst>
                                    <p:set>
                                      <p:cBhvr>
                                        <p:cTn id="61" dur="1" fill="hold">
                                          <p:stCondLst>
                                            <p:cond delay="0"/>
                                          </p:stCondLst>
                                        </p:cTn>
                                        <p:tgtEl>
                                          <p:spTgt spid="2">
                                            <p:txEl>
                                              <p:pRg st="4" end="4"/>
                                            </p:txEl>
                                          </p:spTgt>
                                        </p:tgtEl>
                                        <p:attrNameLst>
                                          <p:attrName>style.visibility</p:attrName>
                                        </p:attrNameLst>
                                      </p:cBhvr>
                                      <p:to>
                                        <p:strVal val="visible"/>
                                      </p:to>
                                    </p:set>
                                    <p:animEffect transition="in" filter="fade">
                                      <p:cBhvr>
                                        <p:cTn id="62" dur="1000"/>
                                        <p:tgtEl>
                                          <p:spTgt spid="2">
                                            <p:txEl>
                                              <p:pRg st="4" end="4"/>
                                            </p:txEl>
                                          </p:spTgt>
                                        </p:tgtEl>
                                      </p:cBhvr>
                                    </p:animEffect>
                                    <p:anim calcmode="lin" valueType="num">
                                      <p:cBhvr>
                                        <p:cTn id="63"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64" dur="1000" fill="hold"/>
                                        <p:tgtEl>
                                          <p:spTgt spid="2">
                                            <p:txEl>
                                              <p:pRg st="4" end="4"/>
                                            </p:txEl>
                                          </p:spTgt>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1000"/>
                                  </p:stCondLst>
                                  <p:childTnLst>
                                    <p:set>
                                      <p:cBhvr>
                                        <p:cTn id="66" dur="1" fill="hold">
                                          <p:stCondLst>
                                            <p:cond delay="0"/>
                                          </p:stCondLst>
                                        </p:cTn>
                                        <p:tgtEl>
                                          <p:spTgt spid="2">
                                            <p:txEl>
                                              <p:pRg st="5" end="5"/>
                                            </p:txEl>
                                          </p:spTgt>
                                        </p:tgtEl>
                                        <p:attrNameLst>
                                          <p:attrName>style.visibility</p:attrName>
                                        </p:attrNameLst>
                                      </p:cBhvr>
                                      <p:to>
                                        <p:strVal val="visible"/>
                                      </p:to>
                                    </p:set>
                                    <p:animEffect transition="in" filter="fade">
                                      <p:cBhvr>
                                        <p:cTn id="67" dur="1000"/>
                                        <p:tgtEl>
                                          <p:spTgt spid="2">
                                            <p:txEl>
                                              <p:pRg st="5" end="5"/>
                                            </p:txEl>
                                          </p:spTgt>
                                        </p:tgtEl>
                                      </p:cBhvr>
                                    </p:animEffect>
                                    <p:anim calcmode="lin" valueType="num">
                                      <p:cBhvr>
                                        <p:cTn id="68" dur="1000" fill="hold"/>
                                        <p:tgtEl>
                                          <p:spTgt spid="2">
                                            <p:txEl>
                                              <p:pRg st="5" end="5"/>
                                            </p:txEl>
                                          </p:spTgt>
                                        </p:tgtEl>
                                        <p:attrNameLst>
                                          <p:attrName>ppt_x</p:attrName>
                                        </p:attrNameLst>
                                      </p:cBhvr>
                                      <p:tavLst>
                                        <p:tav tm="0">
                                          <p:val>
                                            <p:strVal val="#ppt_x"/>
                                          </p:val>
                                        </p:tav>
                                        <p:tav tm="100000">
                                          <p:val>
                                            <p:strVal val="#ppt_x"/>
                                          </p:val>
                                        </p:tav>
                                      </p:tavLst>
                                    </p:anim>
                                    <p:anim calcmode="lin" valueType="num">
                                      <p:cBhvr>
                                        <p:cTn id="69" dur="1000" fill="hold"/>
                                        <p:tgtEl>
                                          <p:spTgt spid="2">
                                            <p:txEl>
                                              <p:pRg st="5" end="5"/>
                                            </p:txEl>
                                          </p:spTgt>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1000"/>
                                  </p:stCondLst>
                                  <p:childTnLst>
                                    <p:set>
                                      <p:cBhvr>
                                        <p:cTn id="71" dur="1" fill="hold">
                                          <p:stCondLst>
                                            <p:cond delay="0"/>
                                          </p:stCondLst>
                                        </p:cTn>
                                        <p:tgtEl>
                                          <p:spTgt spid="2">
                                            <p:txEl>
                                              <p:pRg st="6" end="6"/>
                                            </p:txEl>
                                          </p:spTgt>
                                        </p:tgtEl>
                                        <p:attrNameLst>
                                          <p:attrName>style.visibility</p:attrName>
                                        </p:attrNameLst>
                                      </p:cBhvr>
                                      <p:to>
                                        <p:strVal val="visible"/>
                                      </p:to>
                                    </p:set>
                                    <p:animEffect transition="in" filter="fade">
                                      <p:cBhvr>
                                        <p:cTn id="72" dur="1000"/>
                                        <p:tgtEl>
                                          <p:spTgt spid="2">
                                            <p:txEl>
                                              <p:pRg st="6" end="6"/>
                                            </p:txEl>
                                          </p:spTgt>
                                        </p:tgtEl>
                                      </p:cBhvr>
                                    </p:animEffect>
                                    <p:anim calcmode="lin" valueType="num">
                                      <p:cBhvr>
                                        <p:cTn id="73" dur="1000" fill="hold"/>
                                        <p:tgtEl>
                                          <p:spTgt spid="2">
                                            <p:txEl>
                                              <p:pRg st="6" end="6"/>
                                            </p:txEl>
                                          </p:spTgt>
                                        </p:tgtEl>
                                        <p:attrNameLst>
                                          <p:attrName>ppt_x</p:attrName>
                                        </p:attrNameLst>
                                      </p:cBhvr>
                                      <p:tavLst>
                                        <p:tav tm="0">
                                          <p:val>
                                            <p:strVal val="#ppt_x"/>
                                          </p:val>
                                        </p:tav>
                                        <p:tav tm="100000">
                                          <p:val>
                                            <p:strVal val="#ppt_x"/>
                                          </p:val>
                                        </p:tav>
                                      </p:tavLst>
                                    </p:anim>
                                    <p:anim calcmode="lin" valueType="num">
                                      <p:cBhvr>
                                        <p:cTn id="74" dur="1000" fill="hold"/>
                                        <p:tgtEl>
                                          <p:spTgt spid="2">
                                            <p:txEl>
                                              <p:pRg st="6" end="6"/>
                                            </p:txEl>
                                          </p:spTgt>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1000"/>
                                  </p:stCondLst>
                                  <p:childTnLst>
                                    <p:set>
                                      <p:cBhvr>
                                        <p:cTn id="76" dur="1" fill="hold">
                                          <p:stCondLst>
                                            <p:cond delay="0"/>
                                          </p:stCondLst>
                                        </p:cTn>
                                        <p:tgtEl>
                                          <p:spTgt spid="2">
                                            <p:txEl>
                                              <p:pRg st="7" end="7"/>
                                            </p:txEl>
                                          </p:spTgt>
                                        </p:tgtEl>
                                        <p:attrNameLst>
                                          <p:attrName>style.visibility</p:attrName>
                                        </p:attrNameLst>
                                      </p:cBhvr>
                                      <p:to>
                                        <p:strVal val="visible"/>
                                      </p:to>
                                    </p:set>
                                    <p:animEffect transition="in" filter="fade">
                                      <p:cBhvr>
                                        <p:cTn id="77" dur="1000"/>
                                        <p:tgtEl>
                                          <p:spTgt spid="2">
                                            <p:txEl>
                                              <p:pRg st="7" end="7"/>
                                            </p:txEl>
                                          </p:spTgt>
                                        </p:tgtEl>
                                      </p:cBhvr>
                                    </p:animEffect>
                                    <p:anim calcmode="lin" valueType="num">
                                      <p:cBhvr>
                                        <p:cTn id="78" dur="1000" fill="hold"/>
                                        <p:tgtEl>
                                          <p:spTgt spid="2">
                                            <p:txEl>
                                              <p:pRg st="7" end="7"/>
                                            </p:txEl>
                                          </p:spTgt>
                                        </p:tgtEl>
                                        <p:attrNameLst>
                                          <p:attrName>ppt_x</p:attrName>
                                        </p:attrNameLst>
                                      </p:cBhvr>
                                      <p:tavLst>
                                        <p:tav tm="0">
                                          <p:val>
                                            <p:strVal val="#ppt_x"/>
                                          </p:val>
                                        </p:tav>
                                        <p:tav tm="100000">
                                          <p:val>
                                            <p:strVal val="#ppt_x"/>
                                          </p:val>
                                        </p:tav>
                                      </p:tavLst>
                                    </p:anim>
                                    <p:anim calcmode="lin" valueType="num">
                                      <p:cBhvr>
                                        <p:cTn id="79" dur="1000" fill="hold"/>
                                        <p:tgtEl>
                                          <p:spTgt spid="2">
                                            <p:txEl>
                                              <p:pRg st="7" end="7"/>
                                            </p:txEl>
                                          </p:spTgt>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1000"/>
                                  </p:stCondLst>
                                  <p:childTnLst>
                                    <p:set>
                                      <p:cBhvr>
                                        <p:cTn id="81" dur="1" fill="hold">
                                          <p:stCondLst>
                                            <p:cond delay="0"/>
                                          </p:stCondLst>
                                        </p:cTn>
                                        <p:tgtEl>
                                          <p:spTgt spid="2">
                                            <p:txEl>
                                              <p:pRg st="8" end="8"/>
                                            </p:txEl>
                                          </p:spTgt>
                                        </p:tgtEl>
                                        <p:attrNameLst>
                                          <p:attrName>style.visibility</p:attrName>
                                        </p:attrNameLst>
                                      </p:cBhvr>
                                      <p:to>
                                        <p:strVal val="visible"/>
                                      </p:to>
                                    </p:set>
                                    <p:animEffect transition="in" filter="fade">
                                      <p:cBhvr>
                                        <p:cTn id="82" dur="1000"/>
                                        <p:tgtEl>
                                          <p:spTgt spid="2">
                                            <p:txEl>
                                              <p:pRg st="8" end="8"/>
                                            </p:txEl>
                                          </p:spTgt>
                                        </p:tgtEl>
                                      </p:cBhvr>
                                    </p:animEffect>
                                    <p:anim calcmode="lin" valueType="num">
                                      <p:cBhvr>
                                        <p:cTn id="83" dur="1000" fill="hold"/>
                                        <p:tgtEl>
                                          <p:spTgt spid="2">
                                            <p:txEl>
                                              <p:pRg st="8" end="8"/>
                                            </p:txEl>
                                          </p:spTgt>
                                        </p:tgtEl>
                                        <p:attrNameLst>
                                          <p:attrName>ppt_x</p:attrName>
                                        </p:attrNameLst>
                                      </p:cBhvr>
                                      <p:tavLst>
                                        <p:tav tm="0">
                                          <p:val>
                                            <p:strVal val="#ppt_x"/>
                                          </p:val>
                                        </p:tav>
                                        <p:tav tm="100000">
                                          <p:val>
                                            <p:strVal val="#ppt_x"/>
                                          </p:val>
                                        </p:tav>
                                      </p:tavLst>
                                    </p:anim>
                                    <p:anim calcmode="lin" valueType="num">
                                      <p:cBhvr>
                                        <p:cTn id="84" dur="1000" fill="hold"/>
                                        <p:tgtEl>
                                          <p:spTgt spid="2">
                                            <p:txEl>
                                              <p:pRg st="8" end="8"/>
                                            </p:txEl>
                                          </p:spTgt>
                                        </p:tgtEl>
                                        <p:attrNameLst>
                                          <p:attrName>ppt_y</p:attrName>
                                        </p:attrNameLst>
                                      </p:cBhvr>
                                      <p:tavLst>
                                        <p:tav tm="0">
                                          <p:val>
                                            <p:strVal val="#ppt_y+.1"/>
                                          </p:val>
                                        </p:tav>
                                        <p:tav tm="100000">
                                          <p:val>
                                            <p:strVal val="#ppt_y"/>
                                          </p:val>
                                        </p:tav>
                                      </p:tavLst>
                                    </p:anim>
                                  </p:childTnLst>
                                </p:cTn>
                              </p:par>
                              <p:par>
                                <p:cTn id="85" presetID="42" presetClass="entr" presetSubtype="0" fill="hold" nodeType="withEffect">
                                  <p:stCondLst>
                                    <p:cond delay="1000"/>
                                  </p:stCondLst>
                                  <p:childTnLst>
                                    <p:set>
                                      <p:cBhvr>
                                        <p:cTn id="86" dur="1" fill="hold">
                                          <p:stCondLst>
                                            <p:cond delay="0"/>
                                          </p:stCondLst>
                                        </p:cTn>
                                        <p:tgtEl>
                                          <p:spTgt spid="2">
                                            <p:txEl>
                                              <p:pRg st="10" end="10"/>
                                            </p:txEl>
                                          </p:spTgt>
                                        </p:tgtEl>
                                        <p:attrNameLst>
                                          <p:attrName>style.visibility</p:attrName>
                                        </p:attrNameLst>
                                      </p:cBhvr>
                                      <p:to>
                                        <p:strVal val="visible"/>
                                      </p:to>
                                    </p:set>
                                    <p:animEffect transition="in" filter="fade">
                                      <p:cBhvr>
                                        <p:cTn id="87" dur="1000"/>
                                        <p:tgtEl>
                                          <p:spTgt spid="2">
                                            <p:txEl>
                                              <p:pRg st="10" end="10"/>
                                            </p:txEl>
                                          </p:spTgt>
                                        </p:tgtEl>
                                      </p:cBhvr>
                                    </p:animEffect>
                                    <p:anim calcmode="lin" valueType="num">
                                      <p:cBhvr>
                                        <p:cTn id="88" dur="1000" fill="hold"/>
                                        <p:tgtEl>
                                          <p:spTgt spid="2">
                                            <p:txEl>
                                              <p:pRg st="10" end="10"/>
                                            </p:txEl>
                                          </p:spTgt>
                                        </p:tgtEl>
                                        <p:attrNameLst>
                                          <p:attrName>ppt_x</p:attrName>
                                        </p:attrNameLst>
                                      </p:cBhvr>
                                      <p:tavLst>
                                        <p:tav tm="0">
                                          <p:val>
                                            <p:strVal val="#ppt_x"/>
                                          </p:val>
                                        </p:tav>
                                        <p:tav tm="100000">
                                          <p:val>
                                            <p:strVal val="#ppt_x"/>
                                          </p:val>
                                        </p:tav>
                                      </p:tavLst>
                                    </p:anim>
                                    <p:anim calcmode="lin" valueType="num">
                                      <p:cBhvr>
                                        <p:cTn id="89" dur="1000" fill="hold"/>
                                        <p:tgtEl>
                                          <p:spTgt spid="2">
                                            <p:txEl>
                                              <p:pRg st="10" end="10"/>
                                            </p:txEl>
                                          </p:spTgt>
                                        </p:tgtEl>
                                        <p:attrNameLst>
                                          <p:attrName>ppt_y</p:attrName>
                                        </p:attrNameLst>
                                      </p:cBhvr>
                                      <p:tavLst>
                                        <p:tav tm="0">
                                          <p:val>
                                            <p:strVal val="#ppt_y+.1"/>
                                          </p:val>
                                        </p:tav>
                                        <p:tav tm="100000">
                                          <p:val>
                                            <p:strVal val="#ppt_y"/>
                                          </p:val>
                                        </p:tav>
                                      </p:tavLst>
                                    </p:anim>
                                  </p:childTnLst>
                                </p:cTn>
                              </p:par>
                              <p:par>
                                <p:cTn id="90" presetID="42" presetClass="entr" presetSubtype="0" fill="hold" nodeType="withEffect">
                                  <p:stCondLst>
                                    <p:cond delay="1000"/>
                                  </p:stCondLst>
                                  <p:childTnLst>
                                    <p:set>
                                      <p:cBhvr>
                                        <p:cTn id="91" dur="1" fill="hold">
                                          <p:stCondLst>
                                            <p:cond delay="0"/>
                                          </p:stCondLst>
                                        </p:cTn>
                                        <p:tgtEl>
                                          <p:spTgt spid="2">
                                            <p:txEl>
                                              <p:pRg st="9" end="9"/>
                                            </p:txEl>
                                          </p:spTgt>
                                        </p:tgtEl>
                                        <p:attrNameLst>
                                          <p:attrName>style.visibility</p:attrName>
                                        </p:attrNameLst>
                                      </p:cBhvr>
                                      <p:to>
                                        <p:strVal val="visible"/>
                                      </p:to>
                                    </p:set>
                                    <p:animEffect transition="in" filter="fade">
                                      <p:cBhvr>
                                        <p:cTn id="92" dur="1000"/>
                                        <p:tgtEl>
                                          <p:spTgt spid="2">
                                            <p:txEl>
                                              <p:pRg st="9" end="9"/>
                                            </p:txEl>
                                          </p:spTgt>
                                        </p:tgtEl>
                                      </p:cBhvr>
                                    </p:animEffect>
                                    <p:anim calcmode="lin" valueType="num">
                                      <p:cBhvr>
                                        <p:cTn id="93" dur="1000" fill="hold"/>
                                        <p:tgtEl>
                                          <p:spTgt spid="2">
                                            <p:txEl>
                                              <p:pRg st="9" end="9"/>
                                            </p:txEl>
                                          </p:spTgt>
                                        </p:tgtEl>
                                        <p:attrNameLst>
                                          <p:attrName>ppt_x</p:attrName>
                                        </p:attrNameLst>
                                      </p:cBhvr>
                                      <p:tavLst>
                                        <p:tav tm="0">
                                          <p:val>
                                            <p:strVal val="#ppt_x"/>
                                          </p:val>
                                        </p:tav>
                                        <p:tav tm="100000">
                                          <p:val>
                                            <p:strVal val="#ppt_x"/>
                                          </p:val>
                                        </p:tav>
                                      </p:tavLst>
                                    </p:anim>
                                    <p:anim calcmode="lin" valueType="num">
                                      <p:cBhvr>
                                        <p:cTn id="94" dur="1000" fill="hold"/>
                                        <p:tgtEl>
                                          <p:spTgt spid="2">
                                            <p:txEl>
                                              <p:pRg st="9" end="9"/>
                                            </p:txEl>
                                          </p:spTgt>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1000"/>
                                  </p:stCondLst>
                                  <p:childTnLst>
                                    <p:set>
                                      <p:cBhvr>
                                        <p:cTn id="96" dur="1" fill="hold">
                                          <p:stCondLst>
                                            <p:cond delay="0"/>
                                          </p:stCondLst>
                                        </p:cTn>
                                        <p:tgtEl>
                                          <p:spTgt spid="2">
                                            <p:txEl>
                                              <p:pRg st="11" end="11"/>
                                            </p:txEl>
                                          </p:spTgt>
                                        </p:tgtEl>
                                        <p:attrNameLst>
                                          <p:attrName>style.visibility</p:attrName>
                                        </p:attrNameLst>
                                      </p:cBhvr>
                                      <p:to>
                                        <p:strVal val="visible"/>
                                      </p:to>
                                    </p:set>
                                    <p:animEffect transition="in" filter="fade">
                                      <p:cBhvr>
                                        <p:cTn id="97" dur="1000"/>
                                        <p:tgtEl>
                                          <p:spTgt spid="2">
                                            <p:txEl>
                                              <p:pRg st="11" end="11"/>
                                            </p:txEl>
                                          </p:spTgt>
                                        </p:tgtEl>
                                      </p:cBhvr>
                                    </p:animEffect>
                                    <p:anim calcmode="lin" valueType="num">
                                      <p:cBhvr>
                                        <p:cTn id="98" dur="1000" fill="hold"/>
                                        <p:tgtEl>
                                          <p:spTgt spid="2">
                                            <p:txEl>
                                              <p:pRg st="11" end="11"/>
                                            </p:txEl>
                                          </p:spTgt>
                                        </p:tgtEl>
                                        <p:attrNameLst>
                                          <p:attrName>ppt_x</p:attrName>
                                        </p:attrNameLst>
                                      </p:cBhvr>
                                      <p:tavLst>
                                        <p:tav tm="0">
                                          <p:val>
                                            <p:strVal val="#ppt_x"/>
                                          </p:val>
                                        </p:tav>
                                        <p:tav tm="100000">
                                          <p:val>
                                            <p:strVal val="#ppt_x"/>
                                          </p:val>
                                        </p:tav>
                                      </p:tavLst>
                                    </p:anim>
                                    <p:anim calcmode="lin" valueType="num">
                                      <p:cBhvr>
                                        <p:cTn id="99" dur="1000" fill="hold"/>
                                        <p:tgtEl>
                                          <p:spTgt spid="2">
                                            <p:txEl>
                                              <p:pRg st="11" end="11"/>
                                            </p:txEl>
                                          </p:spTgt>
                                        </p:tgtEl>
                                        <p:attrNameLst>
                                          <p:attrName>ppt_y</p:attrName>
                                        </p:attrNameLst>
                                      </p:cBhvr>
                                      <p:tavLst>
                                        <p:tav tm="0">
                                          <p:val>
                                            <p:strVal val="#ppt_y+.1"/>
                                          </p:val>
                                        </p:tav>
                                        <p:tav tm="100000">
                                          <p:val>
                                            <p:strVal val="#ppt_y"/>
                                          </p:val>
                                        </p:tav>
                                      </p:tavLst>
                                    </p:anim>
                                  </p:childTnLst>
                                </p:cTn>
                              </p:par>
                              <p:par>
                                <p:cTn id="100" presetID="10" presetClass="entr" presetSubtype="0" fill="hold" grpId="0" nodeType="withEffect">
                                  <p:stCondLst>
                                    <p:cond delay="1000"/>
                                  </p:stCondLst>
                                  <p:childTnLst>
                                    <p:set>
                                      <p:cBhvr>
                                        <p:cTn id="101" dur="1" fill="hold">
                                          <p:stCondLst>
                                            <p:cond delay="0"/>
                                          </p:stCondLst>
                                        </p:cTn>
                                        <p:tgtEl>
                                          <p:spTgt spid="2545732"/>
                                        </p:tgtEl>
                                        <p:attrNameLst>
                                          <p:attrName>style.visibility</p:attrName>
                                        </p:attrNameLst>
                                      </p:cBhvr>
                                      <p:to>
                                        <p:strVal val="visible"/>
                                      </p:to>
                                    </p:set>
                                    <p:animEffect transition="in" filter="fade">
                                      <p:cBhvr>
                                        <p:cTn id="102" dur="1000"/>
                                        <p:tgtEl>
                                          <p:spTgt spid="2545732"/>
                                        </p:tgtEl>
                                      </p:cBhvr>
                                    </p:animEffect>
                                  </p:childTnLst>
                                </p:cTn>
                              </p:par>
                              <p:par>
                                <p:cTn id="103" presetID="10" presetClass="entr" presetSubtype="0" fill="hold" grpId="0" nodeType="withEffect">
                                  <p:stCondLst>
                                    <p:cond delay="1000"/>
                                  </p:stCondLst>
                                  <p:childTnLst>
                                    <p:set>
                                      <p:cBhvr>
                                        <p:cTn id="104" dur="1" fill="hold">
                                          <p:stCondLst>
                                            <p:cond delay="0"/>
                                          </p:stCondLst>
                                        </p:cTn>
                                        <p:tgtEl>
                                          <p:spTgt spid="2545728"/>
                                        </p:tgtEl>
                                        <p:attrNameLst>
                                          <p:attrName>style.visibility</p:attrName>
                                        </p:attrNameLst>
                                      </p:cBhvr>
                                      <p:to>
                                        <p:strVal val="visible"/>
                                      </p:to>
                                    </p:set>
                                    <p:animEffect transition="in" filter="fade">
                                      <p:cBhvr>
                                        <p:cTn id="105" dur="1000"/>
                                        <p:tgtEl>
                                          <p:spTgt spid="2545728"/>
                                        </p:tgtEl>
                                      </p:cBhvr>
                                    </p:animEffect>
                                  </p:childTnLst>
                                </p:cTn>
                              </p:par>
                              <p:par>
                                <p:cTn id="106" presetID="10" presetClass="entr" presetSubtype="0" fill="hold" nodeType="withEffect">
                                  <p:stCondLst>
                                    <p:cond delay="1000"/>
                                  </p:stCondLst>
                                  <p:childTnLst>
                                    <p:set>
                                      <p:cBhvr>
                                        <p:cTn id="107" dur="1" fill="hold">
                                          <p:stCondLst>
                                            <p:cond delay="0"/>
                                          </p:stCondLst>
                                        </p:cTn>
                                        <p:tgtEl>
                                          <p:spTgt spid="182"/>
                                        </p:tgtEl>
                                        <p:attrNameLst>
                                          <p:attrName>style.visibility</p:attrName>
                                        </p:attrNameLst>
                                      </p:cBhvr>
                                      <p:to>
                                        <p:strVal val="visible"/>
                                      </p:to>
                                    </p:set>
                                    <p:animEffect transition="in" filter="fade">
                                      <p:cBhvr>
                                        <p:cTn id="108" dur="1000"/>
                                        <p:tgtEl>
                                          <p:spTgt spid="182"/>
                                        </p:tgtEl>
                                      </p:cBhvr>
                                    </p:animEffect>
                                  </p:childTnLst>
                                </p:cTn>
                              </p:par>
                              <p:par>
                                <p:cTn id="109" presetID="10" presetClass="entr" presetSubtype="0" fill="hold" grpId="0" nodeType="withEffect">
                                  <p:stCondLst>
                                    <p:cond delay="1000"/>
                                  </p:stCondLst>
                                  <p:childTnLst>
                                    <p:set>
                                      <p:cBhvr>
                                        <p:cTn id="110" dur="1" fill="hold">
                                          <p:stCondLst>
                                            <p:cond delay="0"/>
                                          </p:stCondLst>
                                        </p:cTn>
                                        <p:tgtEl>
                                          <p:spTgt spid="211"/>
                                        </p:tgtEl>
                                        <p:attrNameLst>
                                          <p:attrName>style.visibility</p:attrName>
                                        </p:attrNameLst>
                                      </p:cBhvr>
                                      <p:to>
                                        <p:strVal val="visible"/>
                                      </p:to>
                                    </p:set>
                                    <p:animEffect transition="in" filter="fade">
                                      <p:cBhvr>
                                        <p:cTn id="111" dur="1000"/>
                                        <p:tgtEl>
                                          <p:spTgt spid="211"/>
                                        </p:tgtEl>
                                      </p:cBhvr>
                                    </p:animEffect>
                                  </p:childTnLst>
                                </p:cTn>
                              </p:par>
                              <p:par>
                                <p:cTn id="112" presetID="10" presetClass="entr" presetSubtype="0" fill="hold" grpId="0" nodeType="withEffect">
                                  <p:stCondLst>
                                    <p:cond delay="1000"/>
                                  </p:stCondLst>
                                  <p:childTnLst>
                                    <p:set>
                                      <p:cBhvr>
                                        <p:cTn id="113" dur="1" fill="hold">
                                          <p:stCondLst>
                                            <p:cond delay="0"/>
                                          </p:stCondLst>
                                        </p:cTn>
                                        <p:tgtEl>
                                          <p:spTgt spid="2545731"/>
                                        </p:tgtEl>
                                        <p:attrNameLst>
                                          <p:attrName>style.visibility</p:attrName>
                                        </p:attrNameLst>
                                      </p:cBhvr>
                                      <p:to>
                                        <p:strVal val="visible"/>
                                      </p:to>
                                    </p:set>
                                    <p:animEffect transition="in" filter="fade">
                                      <p:cBhvr>
                                        <p:cTn id="114" dur="1000"/>
                                        <p:tgtEl>
                                          <p:spTgt spid="2545731"/>
                                        </p:tgtEl>
                                      </p:cBhvr>
                                    </p:animEffect>
                                  </p:childTnLst>
                                </p:cTn>
                              </p:par>
                              <p:par>
                                <p:cTn id="115" presetID="10" presetClass="entr" presetSubtype="0" fill="hold" grpId="0" nodeType="withEffect">
                                  <p:stCondLst>
                                    <p:cond delay="1000"/>
                                  </p:stCondLst>
                                  <p:childTnLst>
                                    <p:set>
                                      <p:cBhvr>
                                        <p:cTn id="116" dur="1" fill="hold">
                                          <p:stCondLst>
                                            <p:cond delay="0"/>
                                          </p:stCondLst>
                                        </p:cTn>
                                        <p:tgtEl>
                                          <p:spTgt spid="2545734"/>
                                        </p:tgtEl>
                                        <p:attrNameLst>
                                          <p:attrName>style.visibility</p:attrName>
                                        </p:attrNameLst>
                                      </p:cBhvr>
                                      <p:to>
                                        <p:strVal val="visible"/>
                                      </p:to>
                                    </p:set>
                                    <p:animEffect transition="in" filter="fade">
                                      <p:cBhvr>
                                        <p:cTn id="117" dur="1000"/>
                                        <p:tgtEl>
                                          <p:spTgt spid="2545734"/>
                                        </p:tgtEl>
                                      </p:cBhvr>
                                    </p:animEffect>
                                  </p:childTnLst>
                                </p:cTn>
                              </p:par>
                              <p:par>
                                <p:cTn id="118" presetID="10" presetClass="entr" presetSubtype="0" fill="hold" nodeType="withEffect">
                                  <p:stCondLst>
                                    <p:cond delay="1000"/>
                                  </p:stCondLst>
                                  <p:childTnLst>
                                    <p:set>
                                      <p:cBhvr>
                                        <p:cTn id="119" dur="1" fill="hold">
                                          <p:stCondLst>
                                            <p:cond delay="0"/>
                                          </p:stCondLst>
                                        </p:cTn>
                                        <p:tgtEl>
                                          <p:spTgt spid="166"/>
                                        </p:tgtEl>
                                        <p:attrNameLst>
                                          <p:attrName>style.visibility</p:attrName>
                                        </p:attrNameLst>
                                      </p:cBhvr>
                                      <p:to>
                                        <p:strVal val="visible"/>
                                      </p:to>
                                    </p:set>
                                    <p:animEffect transition="in" filter="fade">
                                      <p:cBhvr>
                                        <p:cTn id="120" dur="1000"/>
                                        <p:tgtEl>
                                          <p:spTgt spid="166"/>
                                        </p:tgtEl>
                                      </p:cBhvr>
                                    </p:animEffect>
                                  </p:childTnLst>
                                </p:cTn>
                              </p:par>
                              <p:par>
                                <p:cTn id="121" presetID="10" presetClass="entr" presetSubtype="0" fill="hold" grpId="0" nodeType="withEffect">
                                  <p:stCondLst>
                                    <p:cond delay="1000"/>
                                  </p:stCondLst>
                                  <p:childTnLst>
                                    <p:set>
                                      <p:cBhvr>
                                        <p:cTn id="122" dur="1" fill="hold">
                                          <p:stCondLst>
                                            <p:cond delay="0"/>
                                          </p:stCondLst>
                                        </p:cTn>
                                        <p:tgtEl>
                                          <p:spTgt spid="212"/>
                                        </p:tgtEl>
                                        <p:attrNameLst>
                                          <p:attrName>style.visibility</p:attrName>
                                        </p:attrNameLst>
                                      </p:cBhvr>
                                      <p:to>
                                        <p:strVal val="visible"/>
                                      </p:to>
                                    </p:set>
                                    <p:animEffect transition="in" filter="fade">
                                      <p:cBhvr>
                                        <p:cTn id="123" dur="1000"/>
                                        <p:tgtEl>
                                          <p:spTgt spid="212"/>
                                        </p:tgtEl>
                                      </p:cBhvr>
                                    </p:animEffect>
                                  </p:childTnLst>
                                </p:cTn>
                              </p:par>
                              <p:par>
                                <p:cTn id="124" presetID="10" presetClass="entr" presetSubtype="0" fill="hold" nodeType="withEffect">
                                  <p:stCondLst>
                                    <p:cond delay="1000"/>
                                  </p:stCondLst>
                                  <p:childTnLst>
                                    <p:set>
                                      <p:cBhvr>
                                        <p:cTn id="125" dur="1" fill="hold">
                                          <p:stCondLst>
                                            <p:cond delay="0"/>
                                          </p:stCondLst>
                                        </p:cTn>
                                        <p:tgtEl>
                                          <p:spTgt spid="178"/>
                                        </p:tgtEl>
                                        <p:attrNameLst>
                                          <p:attrName>style.visibility</p:attrName>
                                        </p:attrNameLst>
                                      </p:cBhvr>
                                      <p:to>
                                        <p:strVal val="visible"/>
                                      </p:to>
                                    </p:set>
                                    <p:animEffect transition="in" filter="fade">
                                      <p:cBhvr>
                                        <p:cTn id="126" dur="1000"/>
                                        <p:tgtEl>
                                          <p:spTgt spid="178"/>
                                        </p:tgtEl>
                                      </p:cBhvr>
                                    </p:animEffect>
                                  </p:childTnLst>
                                </p:cTn>
                              </p:par>
                              <p:par>
                                <p:cTn id="127" presetID="10" presetClass="entr" presetSubtype="0" fill="hold" grpId="0" nodeType="withEffect">
                                  <p:stCondLst>
                                    <p:cond delay="1000"/>
                                  </p:stCondLst>
                                  <p:childTnLst>
                                    <p:set>
                                      <p:cBhvr>
                                        <p:cTn id="128" dur="1" fill="hold">
                                          <p:stCondLst>
                                            <p:cond delay="0"/>
                                          </p:stCondLst>
                                        </p:cTn>
                                        <p:tgtEl>
                                          <p:spTgt spid="44"/>
                                        </p:tgtEl>
                                        <p:attrNameLst>
                                          <p:attrName>style.visibility</p:attrName>
                                        </p:attrNameLst>
                                      </p:cBhvr>
                                      <p:to>
                                        <p:strVal val="visible"/>
                                      </p:to>
                                    </p:set>
                                    <p:animEffect transition="in" filter="fade">
                                      <p:cBhvr>
                                        <p:cTn id="129" dur="1000"/>
                                        <p:tgtEl>
                                          <p:spTgt spid="44"/>
                                        </p:tgtEl>
                                      </p:cBhvr>
                                    </p:animEffect>
                                  </p:childTnLst>
                                </p:cTn>
                              </p:par>
                              <p:par>
                                <p:cTn id="130" presetID="10" presetClass="entr" presetSubtype="0" fill="hold" grpId="0" nodeType="withEffect">
                                  <p:stCondLst>
                                    <p:cond delay="1000"/>
                                  </p:stCondLst>
                                  <p:childTnLst>
                                    <p:set>
                                      <p:cBhvr>
                                        <p:cTn id="131" dur="1" fill="hold">
                                          <p:stCondLst>
                                            <p:cond delay="0"/>
                                          </p:stCondLst>
                                        </p:cTn>
                                        <p:tgtEl>
                                          <p:spTgt spid="218"/>
                                        </p:tgtEl>
                                        <p:attrNameLst>
                                          <p:attrName>style.visibility</p:attrName>
                                        </p:attrNameLst>
                                      </p:cBhvr>
                                      <p:to>
                                        <p:strVal val="visible"/>
                                      </p:to>
                                    </p:set>
                                    <p:animEffect transition="in" filter="fade">
                                      <p:cBhvr>
                                        <p:cTn id="132" dur="1000"/>
                                        <p:tgtEl>
                                          <p:spTgt spid="218"/>
                                        </p:tgtEl>
                                      </p:cBhvr>
                                    </p:animEffect>
                                  </p:childTnLst>
                                </p:cTn>
                              </p:par>
                              <p:par>
                                <p:cTn id="133" presetID="10" presetClass="entr" presetSubtype="0" fill="hold" nodeType="withEffect">
                                  <p:stCondLst>
                                    <p:cond delay="1000"/>
                                  </p:stCondLst>
                                  <p:childTnLst>
                                    <p:set>
                                      <p:cBhvr>
                                        <p:cTn id="134" dur="1" fill="hold">
                                          <p:stCondLst>
                                            <p:cond delay="0"/>
                                          </p:stCondLst>
                                        </p:cTn>
                                        <p:tgtEl>
                                          <p:spTgt spid="100"/>
                                        </p:tgtEl>
                                        <p:attrNameLst>
                                          <p:attrName>style.visibility</p:attrName>
                                        </p:attrNameLst>
                                      </p:cBhvr>
                                      <p:to>
                                        <p:strVal val="visible"/>
                                      </p:to>
                                    </p:set>
                                    <p:animEffect transition="in" filter="fade">
                                      <p:cBhvr>
                                        <p:cTn id="135" dur="1000"/>
                                        <p:tgtEl>
                                          <p:spTgt spid="100"/>
                                        </p:tgtEl>
                                      </p:cBhvr>
                                    </p:animEffect>
                                  </p:childTnLst>
                                </p:cTn>
                              </p:par>
                              <p:par>
                                <p:cTn id="136" presetID="10" presetClass="entr" presetSubtype="0" fill="hold" nodeType="withEffect">
                                  <p:stCondLst>
                                    <p:cond delay="1000"/>
                                  </p:stCondLst>
                                  <p:childTnLst>
                                    <p:set>
                                      <p:cBhvr>
                                        <p:cTn id="137" dur="1" fill="hold">
                                          <p:stCondLst>
                                            <p:cond delay="0"/>
                                          </p:stCondLst>
                                        </p:cTn>
                                        <p:tgtEl>
                                          <p:spTgt spid="106"/>
                                        </p:tgtEl>
                                        <p:attrNameLst>
                                          <p:attrName>style.visibility</p:attrName>
                                        </p:attrNameLst>
                                      </p:cBhvr>
                                      <p:to>
                                        <p:strVal val="visible"/>
                                      </p:to>
                                    </p:set>
                                    <p:animEffect transition="in" filter="fade">
                                      <p:cBhvr>
                                        <p:cTn id="138" dur="1000"/>
                                        <p:tgtEl>
                                          <p:spTgt spid="106"/>
                                        </p:tgtEl>
                                      </p:cBhvr>
                                    </p:animEffect>
                                  </p:childTnLst>
                                </p:cTn>
                              </p:par>
                              <p:par>
                                <p:cTn id="139" presetID="10" presetClass="entr" presetSubtype="0" fill="hold" grpId="0" nodeType="withEffect">
                                  <p:stCondLst>
                                    <p:cond delay="1000"/>
                                  </p:stCondLst>
                                  <p:childTnLst>
                                    <p:set>
                                      <p:cBhvr>
                                        <p:cTn id="140" dur="1" fill="hold">
                                          <p:stCondLst>
                                            <p:cond delay="0"/>
                                          </p:stCondLst>
                                        </p:cTn>
                                        <p:tgtEl>
                                          <p:spTgt spid="99"/>
                                        </p:tgtEl>
                                        <p:attrNameLst>
                                          <p:attrName>style.visibility</p:attrName>
                                        </p:attrNameLst>
                                      </p:cBhvr>
                                      <p:to>
                                        <p:strVal val="visible"/>
                                      </p:to>
                                    </p:set>
                                    <p:animEffect transition="in" filter="fade">
                                      <p:cBhvr>
                                        <p:cTn id="141" dur="1000"/>
                                        <p:tgtEl>
                                          <p:spTgt spid="99"/>
                                        </p:tgtEl>
                                      </p:cBhvr>
                                    </p:animEffect>
                                  </p:childTnLst>
                                </p:cTn>
                              </p:par>
                              <p:par>
                                <p:cTn id="142" presetID="10" presetClass="entr" presetSubtype="0" fill="hold" nodeType="withEffect">
                                  <p:stCondLst>
                                    <p:cond delay="1000"/>
                                  </p:stCondLst>
                                  <p:childTnLst>
                                    <p:set>
                                      <p:cBhvr>
                                        <p:cTn id="143" dur="1" fill="hold">
                                          <p:stCondLst>
                                            <p:cond delay="0"/>
                                          </p:stCondLst>
                                        </p:cTn>
                                        <p:tgtEl>
                                          <p:spTgt spid="117"/>
                                        </p:tgtEl>
                                        <p:attrNameLst>
                                          <p:attrName>style.visibility</p:attrName>
                                        </p:attrNameLst>
                                      </p:cBhvr>
                                      <p:to>
                                        <p:strVal val="visible"/>
                                      </p:to>
                                    </p:set>
                                    <p:animEffect transition="in" filter="fade">
                                      <p:cBhvr>
                                        <p:cTn id="144" dur="1000"/>
                                        <p:tgtEl>
                                          <p:spTgt spid="117"/>
                                        </p:tgtEl>
                                      </p:cBhvr>
                                    </p:animEffect>
                                  </p:childTnLst>
                                </p:cTn>
                              </p:par>
                              <p:par>
                                <p:cTn id="145" presetID="10" presetClass="entr" presetSubtype="0" fill="hold" nodeType="withEffect">
                                  <p:stCondLst>
                                    <p:cond delay="1000"/>
                                  </p:stCondLst>
                                  <p:childTnLst>
                                    <p:set>
                                      <p:cBhvr>
                                        <p:cTn id="146" dur="1" fill="hold">
                                          <p:stCondLst>
                                            <p:cond delay="0"/>
                                          </p:stCondLst>
                                        </p:cTn>
                                        <p:tgtEl>
                                          <p:spTgt spid="112"/>
                                        </p:tgtEl>
                                        <p:attrNameLst>
                                          <p:attrName>style.visibility</p:attrName>
                                        </p:attrNameLst>
                                      </p:cBhvr>
                                      <p:to>
                                        <p:strVal val="visible"/>
                                      </p:to>
                                    </p:set>
                                    <p:animEffect transition="in" filter="fade">
                                      <p:cBhvr>
                                        <p:cTn id="147" dur="1000"/>
                                        <p:tgtEl>
                                          <p:spTgt spid="112"/>
                                        </p:tgtEl>
                                      </p:cBhvr>
                                    </p:animEffect>
                                  </p:childTnLst>
                                </p:cTn>
                              </p:par>
                              <p:par>
                                <p:cTn id="148" presetID="10" presetClass="entr" presetSubtype="0" fill="hold" grpId="0" nodeType="withEffect">
                                  <p:stCondLst>
                                    <p:cond delay="1000"/>
                                  </p:stCondLst>
                                  <p:childTnLst>
                                    <p:set>
                                      <p:cBhvr>
                                        <p:cTn id="149" dur="1" fill="hold">
                                          <p:stCondLst>
                                            <p:cond delay="0"/>
                                          </p:stCondLst>
                                        </p:cTn>
                                        <p:tgtEl>
                                          <p:spTgt spid="111"/>
                                        </p:tgtEl>
                                        <p:attrNameLst>
                                          <p:attrName>style.visibility</p:attrName>
                                        </p:attrNameLst>
                                      </p:cBhvr>
                                      <p:to>
                                        <p:strVal val="visible"/>
                                      </p:to>
                                    </p:set>
                                    <p:animEffect transition="in" filter="fade">
                                      <p:cBhvr>
                                        <p:cTn id="150" dur="1000"/>
                                        <p:tgtEl>
                                          <p:spTgt spid="111"/>
                                        </p:tgtEl>
                                      </p:cBhvr>
                                    </p:animEffect>
                                  </p:childTnLst>
                                </p:cTn>
                              </p:par>
                            </p:childTnLst>
                          </p:cTn>
                        </p:par>
                        <p:par>
                          <p:cTn id="151" fill="hold">
                            <p:stCondLst>
                              <p:cond delay="3000"/>
                            </p:stCondLst>
                            <p:childTnLst>
                              <p:par>
                                <p:cTn id="152" presetID="22" presetClass="entr" presetSubtype="8" fill="hold" nodeType="afterEffect">
                                  <p:stCondLst>
                                    <p:cond delay="0"/>
                                  </p:stCondLst>
                                  <p:childTnLst>
                                    <p:set>
                                      <p:cBhvr>
                                        <p:cTn id="153" dur="1" fill="hold">
                                          <p:stCondLst>
                                            <p:cond delay="0"/>
                                          </p:stCondLst>
                                        </p:cTn>
                                        <p:tgtEl>
                                          <p:spTgt spid="196"/>
                                        </p:tgtEl>
                                        <p:attrNameLst>
                                          <p:attrName>style.visibility</p:attrName>
                                        </p:attrNameLst>
                                      </p:cBhvr>
                                      <p:to>
                                        <p:strVal val="visible"/>
                                      </p:to>
                                    </p:set>
                                    <p:animEffect transition="in" filter="wipe(left)">
                                      <p:cBhvr>
                                        <p:cTn id="154" dur="500"/>
                                        <p:tgtEl>
                                          <p:spTgt spid="196"/>
                                        </p:tgtEl>
                                      </p:cBhvr>
                                    </p:animEffect>
                                  </p:childTnLst>
                                </p:cTn>
                              </p:par>
                              <p:par>
                                <p:cTn id="155" presetID="22" presetClass="entr" presetSubtype="8" fill="hold" nodeType="withEffect">
                                  <p:stCondLst>
                                    <p:cond delay="0"/>
                                  </p:stCondLst>
                                  <p:childTnLst>
                                    <p:set>
                                      <p:cBhvr>
                                        <p:cTn id="156" dur="1" fill="hold">
                                          <p:stCondLst>
                                            <p:cond delay="0"/>
                                          </p:stCondLst>
                                        </p:cTn>
                                        <p:tgtEl>
                                          <p:spTgt spid="199"/>
                                        </p:tgtEl>
                                        <p:attrNameLst>
                                          <p:attrName>style.visibility</p:attrName>
                                        </p:attrNameLst>
                                      </p:cBhvr>
                                      <p:to>
                                        <p:strVal val="visible"/>
                                      </p:to>
                                    </p:set>
                                    <p:animEffect transition="in" filter="wipe(left)">
                                      <p:cBhvr>
                                        <p:cTn id="157" dur="500"/>
                                        <p:tgtEl>
                                          <p:spTgt spid="199"/>
                                        </p:tgtEl>
                                      </p:cBhvr>
                                    </p:animEffect>
                                  </p:childTnLst>
                                </p:cTn>
                              </p:par>
                              <p:par>
                                <p:cTn id="158" presetID="22" presetClass="entr" presetSubtype="1" fill="hold" nodeType="withEffect">
                                  <p:stCondLst>
                                    <p:cond delay="0"/>
                                  </p:stCondLst>
                                  <p:childTnLst>
                                    <p:set>
                                      <p:cBhvr>
                                        <p:cTn id="159" dur="1" fill="hold">
                                          <p:stCondLst>
                                            <p:cond delay="0"/>
                                          </p:stCondLst>
                                        </p:cTn>
                                        <p:tgtEl>
                                          <p:spTgt spid="46"/>
                                        </p:tgtEl>
                                        <p:attrNameLst>
                                          <p:attrName>style.visibility</p:attrName>
                                        </p:attrNameLst>
                                      </p:cBhvr>
                                      <p:to>
                                        <p:strVal val="visible"/>
                                      </p:to>
                                    </p:set>
                                    <p:animEffect transition="in" filter="wipe(up)">
                                      <p:cBhvr>
                                        <p:cTn id="160" dur="500"/>
                                        <p:tgtEl>
                                          <p:spTgt spid="46"/>
                                        </p:tgtEl>
                                      </p:cBhvr>
                                    </p:animEffect>
                                  </p:childTnLst>
                                </p:cTn>
                              </p:par>
                              <p:par>
                                <p:cTn id="161" presetID="22" presetClass="entr" presetSubtype="1" fill="hold" nodeType="withEffect">
                                  <p:stCondLst>
                                    <p:cond delay="0"/>
                                  </p:stCondLst>
                                  <p:childTnLst>
                                    <p:set>
                                      <p:cBhvr>
                                        <p:cTn id="162" dur="1" fill="hold">
                                          <p:stCondLst>
                                            <p:cond delay="0"/>
                                          </p:stCondLst>
                                        </p:cTn>
                                        <p:tgtEl>
                                          <p:spTgt spid="153"/>
                                        </p:tgtEl>
                                        <p:attrNameLst>
                                          <p:attrName>style.visibility</p:attrName>
                                        </p:attrNameLst>
                                      </p:cBhvr>
                                      <p:to>
                                        <p:strVal val="visible"/>
                                      </p:to>
                                    </p:set>
                                    <p:animEffect transition="in" filter="wipe(up)">
                                      <p:cBhvr>
                                        <p:cTn id="163" dur="500"/>
                                        <p:tgtEl>
                                          <p:spTgt spid="153"/>
                                        </p:tgtEl>
                                      </p:cBhvr>
                                    </p:animEffect>
                                  </p:childTnLst>
                                </p:cTn>
                              </p:par>
                              <p:par>
                                <p:cTn id="164" presetID="22" presetClass="entr" presetSubtype="2" fill="hold" nodeType="withEffect">
                                  <p:stCondLst>
                                    <p:cond delay="0"/>
                                  </p:stCondLst>
                                  <p:childTnLst>
                                    <p:set>
                                      <p:cBhvr>
                                        <p:cTn id="165" dur="1" fill="hold">
                                          <p:stCondLst>
                                            <p:cond delay="0"/>
                                          </p:stCondLst>
                                        </p:cTn>
                                        <p:tgtEl>
                                          <p:spTgt spid="200"/>
                                        </p:tgtEl>
                                        <p:attrNameLst>
                                          <p:attrName>style.visibility</p:attrName>
                                        </p:attrNameLst>
                                      </p:cBhvr>
                                      <p:to>
                                        <p:strVal val="visible"/>
                                      </p:to>
                                    </p:set>
                                    <p:animEffect transition="in" filter="wipe(right)">
                                      <p:cBhvr>
                                        <p:cTn id="166" dur="500"/>
                                        <p:tgtEl>
                                          <p:spTgt spid="200"/>
                                        </p:tgtEl>
                                      </p:cBhvr>
                                    </p:animEffect>
                                  </p:childTnLst>
                                </p:cTn>
                              </p:par>
                              <p:par>
                                <p:cTn id="167" presetID="22" presetClass="entr" presetSubtype="2" fill="hold" nodeType="withEffect">
                                  <p:stCondLst>
                                    <p:cond delay="0"/>
                                  </p:stCondLst>
                                  <p:childTnLst>
                                    <p:set>
                                      <p:cBhvr>
                                        <p:cTn id="168" dur="1" fill="hold">
                                          <p:stCondLst>
                                            <p:cond delay="0"/>
                                          </p:stCondLst>
                                        </p:cTn>
                                        <p:tgtEl>
                                          <p:spTgt spid="201"/>
                                        </p:tgtEl>
                                        <p:attrNameLst>
                                          <p:attrName>style.visibility</p:attrName>
                                        </p:attrNameLst>
                                      </p:cBhvr>
                                      <p:to>
                                        <p:strVal val="visible"/>
                                      </p:to>
                                    </p:set>
                                    <p:animEffect transition="in" filter="wipe(right)">
                                      <p:cBhvr>
                                        <p:cTn id="169" dur="500"/>
                                        <p:tgtEl>
                                          <p:spTgt spid="201"/>
                                        </p:tgtEl>
                                      </p:cBhvr>
                                    </p:animEffect>
                                  </p:childTnLst>
                                </p:cTn>
                              </p:par>
                              <p:par>
                                <p:cTn id="170" presetID="22" presetClass="entr" presetSubtype="4" fill="hold" nodeType="withEffect">
                                  <p:stCondLst>
                                    <p:cond delay="0"/>
                                  </p:stCondLst>
                                  <p:childTnLst>
                                    <p:set>
                                      <p:cBhvr>
                                        <p:cTn id="171" dur="1" fill="hold">
                                          <p:stCondLst>
                                            <p:cond delay="0"/>
                                          </p:stCondLst>
                                        </p:cTn>
                                        <p:tgtEl>
                                          <p:spTgt spid="210"/>
                                        </p:tgtEl>
                                        <p:attrNameLst>
                                          <p:attrName>style.visibility</p:attrName>
                                        </p:attrNameLst>
                                      </p:cBhvr>
                                      <p:to>
                                        <p:strVal val="visible"/>
                                      </p:to>
                                    </p:set>
                                    <p:animEffect transition="in" filter="wipe(down)">
                                      <p:cBhvr>
                                        <p:cTn id="172" dur="500"/>
                                        <p:tgtEl>
                                          <p:spTgt spid="210"/>
                                        </p:tgtEl>
                                      </p:cBhvr>
                                    </p:animEffect>
                                  </p:childTnLst>
                                </p:cTn>
                              </p:par>
                              <p:par>
                                <p:cTn id="173" presetID="22" presetClass="entr" presetSubtype="4" fill="hold" nodeType="withEffect">
                                  <p:stCondLst>
                                    <p:cond delay="0"/>
                                  </p:stCondLst>
                                  <p:childTnLst>
                                    <p:set>
                                      <p:cBhvr>
                                        <p:cTn id="174" dur="1" fill="hold">
                                          <p:stCondLst>
                                            <p:cond delay="0"/>
                                          </p:stCondLst>
                                        </p:cTn>
                                        <p:tgtEl>
                                          <p:spTgt spid="105"/>
                                        </p:tgtEl>
                                        <p:attrNameLst>
                                          <p:attrName>style.visibility</p:attrName>
                                        </p:attrNameLst>
                                      </p:cBhvr>
                                      <p:to>
                                        <p:strVal val="visible"/>
                                      </p:to>
                                    </p:set>
                                    <p:animEffect transition="in" filter="wipe(down)">
                                      <p:cBhvr>
                                        <p:cTn id="175" dur="500"/>
                                        <p:tgtEl>
                                          <p:spTgt spid="1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04" grpId="0" animBg="1"/>
      <p:bldP spid="211" grpId="0" animBg="1"/>
      <p:bldP spid="212" grpId="0" animBg="1"/>
      <p:bldP spid="218" grpId="0" animBg="1"/>
      <p:bldP spid="2545727" grpId="0"/>
      <p:bldP spid="2545728" grpId="0"/>
      <p:bldP spid="2545731" grpId="0"/>
      <p:bldP spid="2545732" grpId="0"/>
      <p:bldP spid="2545734" grpId="0"/>
      <p:bldP spid="2545737" grpId="0"/>
      <p:bldP spid="44" grpId="0"/>
      <p:bldP spid="99" grpId="0"/>
      <p:bldP spid="111"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8BDEE-73F6-491C-813E-F6349F685D39}"/>
              </a:ext>
            </a:extLst>
          </p:cNvPr>
          <p:cNvSpPr>
            <a:spLocks noGrp="1"/>
          </p:cNvSpPr>
          <p:nvPr>
            <p:ph type="title"/>
          </p:nvPr>
        </p:nvSpPr>
        <p:spPr/>
        <p:txBody>
          <a:bodyPr/>
          <a:lstStyle/>
          <a:p>
            <a:r>
              <a:rPr lang="de-DE" dirty="0"/>
              <a:t>Biogas </a:t>
            </a:r>
            <a:r>
              <a:rPr lang="de-DE" dirty="0" err="1"/>
              <a:t>purification</a:t>
            </a:r>
            <a:endParaRPr lang="en-US" dirty="0"/>
          </a:p>
        </p:txBody>
      </p:sp>
      <p:sp>
        <p:nvSpPr>
          <p:cNvPr id="3" name="Footer Placeholder 2">
            <a:extLst>
              <a:ext uri="{FF2B5EF4-FFF2-40B4-BE49-F238E27FC236}">
                <a16:creationId xmlns:a16="http://schemas.microsoft.com/office/drawing/2014/main" id="{FAB33356-5CAE-4181-8433-C03754B10D0D}"/>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C0626213-2BAE-4D8F-9092-72A4811F9790}"/>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7FA210F1-3DC5-4095-8264-242C7652C106}"/>
              </a:ext>
            </a:extLst>
          </p:cNvPr>
          <p:cNvSpPr>
            <a:spLocks noGrp="1"/>
          </p:cNvSpPr>
          <p:nvPr>
            <p:ph type="sldNum" sz="quarter" idx="12"/>
          </p:nvPr>
        </p:nvSpPr>
        <p:spPr/>
        <p:txBody>
          <a:bodyPr/>
          <a:lstStyle/>
          <a:p>
            <a:r>
              <a:rPr lang="en-US"/>
              <a:t>Slide </a:t>
            </a:r>
            <a:fld id="{619F89D8-7AE3-494A-97F3-03D680869632}" type="slidenum">
              <a:rPr lang="en-US" smtClean="0"/>
              <a:pPr/>
              <a:t>70</a:t>
            </a:fld>
            <a:endParaRPr lang="en-US" dirty="0"/>
          </a:p>
        </p:txBody>
      </p:sp>
      <p:sp>
        <p:nvSpPr>
          <p:cNvPr id="6" name="Content Placeholder 5">
            <a:extLst>
              <a:ext uri="{FF2B5EF4-FFF2-40B4-BE49-F238E27FC236}">
                <a16:creationId xmlns:a16="http://schemas.microsoft.com/office/drawing/2014/main" id="{252F64F4-E036-4539-AEC2-C4CF901180D6}"/>
              </a:ext>
            </a:extLst>
          </p:cNvPr>
          <p:cNvSpPr>
            <a:spLocks noGrp="1"/>
          </p:cNvSpPr>
          <p:nvPr>
            <p:ph sz="quarter" idx="20"/>
          </p:nvPr>
        </p:nvSpPr>
        <p:spPr/>
        <p:txBody>
          <a:bodyPr/>
          <a:lstStyle/>
          <a:p>
            <a:r>
              <a:rPr lang="de-DE" dirty="0"/>
              <a:t>Solution</a:t>
            </a:r>
          </a:p>
          <a:p>
            <a:pPr lvl="1"/>
            <a:r>
              <a:rPr lang="de-DE" dirty="0"/>
              <a:t>Uras26 NDIR </a:t>
            </a:r>
            <a:r>
              <a:rPr lang="de-DE" dirty="0" err="1"/>
              <a:t>photometer</a:t>
            </a:r>
            <a:r>
              <a:rPr lang="de-DE" dirty="0"/>
              <a:t> (CO</a:t>
            </a:r>
            <a:r>
              <a:rPr lang="de-DE" baseline="-25000" dirty="0"/>
              <a:t>2</a:t>
            </a:r>
            <a:r>
              <a:rPr lang="de-DE" dirty="0"/>
              <a:t> / CO / CH</a:t>
            </a:r>
            <a:r>
              <a:rPr lang="de-DE" baseline="-25000" dirty="0"/>
              <a:t>4</a:t>
            </a:r>
            <a:r>
              <a:rPr lang="de-DE" dirty="0"/>
              <a:t>)</a:t>
            </a:r>
          </a:p>
          <a:p>
            <a:pPr lvl="1"/>
            <a:r>
              <a:rPr lang="de-DE" dirty="0"/>
              <a:t>Limas21 NDUV </a:t>
            </a:r>
            <a:r>
              <a:rPr lang="de-DE" dirty="0" err="1"/>
              <a:t>photometer</a:t>
            </a:r>
            <a:r>
              <a:rPr lang="de-DE" dirty="0"/>
              <a:t> (H</a:t>
            </a:r>
            <a:r>
              <a:rPr lang="de-DE" baseline="-25000" dirty="0"/>
              <a:t>2</a:t>
            </a:r>
            <a:r>
              <a:rPr lang="de-DE" dirty="0"/>
              <a:t>S)</a:t>
            </a:r>
          </a:p>
          <a:p>
            <a:pPr lvl="1"/>
            <a:r>
              <a:rPr lang="de-DE" dirty="0"/>
              <a:t>Fidas24 </a:t>
            </a:r>
            <a:r>
              <a:rPr lang="de-DE" dirty="0" err="1"/>
              <a:t>flame</a:t>
            </a:r>
            <a:r>
              <a:rPr lang="de-DE" dirty="0"/>
              <a:t> </a:t>
            </a:r>
            <a:r>
              <a:rPr lang="de-DE" dirty="0" err="1"/>
              <a:t>ionization</a:t>
            </a:r>
            <a:r>
              <a:rPr lang="de-DE" dirty="0"/>
              <a:t> </a:t>
            </a:r>
            <a:r>
              <a:rPr lang="de-DE" dirty="0" err="1"/>
              <a:t>detector</a:t>
            </a:r>
            <a:r>
              <a:rPr lang="de-DE" dirty="0"/>
              <a:t> (THC)</a:t>
            </a:r>
          </a:p>
          <a:p>
            <a:pPr lvl="1"/>
            <a:r>
              <a:rPr lang="de-DE" dirty="0"/>
              <a:t>Caldos27 thermal </a:t>
            </a:r>
            <a:r>
              <a:rPr lang="de-DE" dirty="0" err="1"/>
              <a:t>conductivity</a:t>
            </a:r>
            <a:r>
              <a:rPr lang="de-DE" dirty="0"/>
              <a:t> </a:t>
            </a:r>
            <a:r>
              <a:rPr lang="de-DE" dirty="0" err="1"/>
              <a:t>detector</a:t>
            </a:r>
            <a:r>
              <a:rPr lang="de-DE" dirty="0"/>
              <a:t> (H</a:t>
            </a:r>
            <a:r>
              <a:rPr lang="de-DE" baseline="-25000" dirty="0"/>
              <a:t>2</a:t>
            </a:r>
            <a:r>
              <a:rPr lang="de-DE" dirty="0"/>
              <a:t>)</a:t>
            </a:r>
          </a:p>
          <a:p>
            <a:pPr lvl="1"/>
            <a:r>
              <a:rPr lang="de-DE" dirty="0"/>
              <a:t>Magnos28 </a:t>
            </a:r>
            <a:r>
              <a:rPr lang="de-DE" dirty="0" err="1"/>
              <a:t>paramagnetic</a:t>
            </a:r>
            <a:r>
              <a:rPr lang="de-DE" dirty="0"/>
              <a:t> </a:t>
            </a:r>
            <a:r>
              <a:rPr lang="de-DE" dirty="0" err="1"/>
              <a:t>detector</a:t>
            </a:r>
            <a:r>
              <a:rPr lang="de-DE" dirty="0"/>
              <a:t> (O</a:t>
            </a:r>
            <a:r>
              <a:rPr lang="de-DE" baseline="-25000" dirty="0"/>
              <a:t>2</a:t>
            </a:r>
            <a:r>
              <a:rPr lang="de-DE" dirty="0"/>
              <a:t>)</a:t>
            </a:r>
          </a:p>
          <a:p>
            <a:pPr lvl="1"/>
            <a:endParaRPr lang="de-DE" dirty="0"/>
          </a:p>
          <a:p>
            <a:r>
              <a:rPr lang="de-DE" dirty="0"/>
              <a:t>Alternative </a:t>
            </a:r>
            <a:r>
              <a:rPr lang="de-DE" dirty="0" err="1"/>
              <a:t>solution</a:t>
            </a:r>
            <a:endParaRPr lang="de-DE" dirty="0"/>
          </a:p>
          <a:p>
            <a:pPr lvl="1"/>
            <a:r>
              <a:rPr lang="de-DE" dirty="0"/>
              <a:t>PGC1000 </a:t>
            </a:r>
            <a:r>
              <a:rPr lang="de-DE" dirty="0" err="1"/>
              <a:t>process</a:t>
            </a:r>
            <a:r>
              <a:rPr lang="de-DE" dirty="0"/>
              <a:t> gas </a:t>
            </a:r>
            <a:r>
              <a:rPr lang="de-DE" dirty="0" err="1"/>
              <a:t>chromatograph</a:t>
            </a:r>
            <a:r>
              <a:rPr lang="de-DE" dirty="0"/>
              <a:t> (All)</a:t>
            </a:r>
          </a:p>
          <a:p>
            <a:pPr lvl="1"/>
            <a:r>
              <a:rPr lang="de-DE" dirty="0"/>
              <a:t>PGC5000 </a:t>
            </a:r>
            <a:r>
              <a:rPr lang="de-DE" dirty="0" err="1"/>
              <a:t>process</a:t>
            </a:r>
            <a:r>
              <a:rPr lang="de-DE" dirty="0"/>
              <a:t> gas </a:t>
            </a:r>
            <a:r>
              <a:rPr lang="de-DE" dirty="0" err="1"/>
              <a:t>chromatograph</a:t>
            </a:r>
            <a:r>
              <a:rPr lang="de-DE" dirty="0"/>
              <a:t> (All)</a:t>
            </a:r>
          </a:p>
        </p:txBody>
      </p:sp>
      <p:sp>
        <p:nvSpPr>
          <p:cNvPr id="7" name="Content Placeholder 6">
            <a:extLst>
              <a:ext uri="{FF2B5EF4-FFF2-40B4-BE49-F238E27FC236}">
                <a16:creationId xmlns:a16="http://schemas.microsoft.com/office/drawing/2014/main" id="{56411B2F-B2D2-4A9D-B692-751DE49E10E8}"/>
              </a:ext>
            </a:extLst>
          </p:cNvPr>
          <p:cNvSpPr>
            <a:spLocks noGrp="1"/>
          </p:cNvSpPr>
          <p:nvPr>
            <p:ph sz="quarter" idx="19"/>
          </p:nvPr>
        </p:nvSpPr>
        <p:spPr/>
        <p:txBody>
          <a:bodyPr/>
          <a:lstStyle/>
          <a:p>
            <a:r>
              <a:rPr lang="de-DE" dirty="0"/>
              <a:t>Components</a:t>
            </a:r>
          </a:p>
          <a:p>
            <a:pPr lvl="1"/>
            <a:r>
              <a:rPr lang="de-DE" dirty="0"/>
              <a:t>Carbon </a:t>
            </a:r>
            <a:r>
              <a:rPr lang="de-DE" dirty="0" err="1"/>
              <a:t>dioxide</a:t>
            </a:r>
            <a:r>
              <a:rPr lang="de-DE" dirty="0"/>
              <a:t> (CO</a:t>
            </a:r>
            <a:r>
              <a:rPr lang="de-DE" baseline="-25000" dirty="0"/>
              <a:t>2</a:t>
            </a:r>
            <a:r>
              <a:rPr lang="de-DE" dirty="0"/>
              <a:t>) </a:t>
            </a:r>
          </a:p>
          <a:p>
            <a:pPr lvl="1"/>
            <a:r>
              <a:rPr lang="de-DE" dirty="0"/>
              <a:t>Carbon </a:t>
            </a:r>
            <a:r>
              <a:rPr lang="de-DE" dirty="0" err="1"/>
              <a:t>monoxide</a:t>
            </a:r>
            <a:r>
              <a:rPr lang="de-DE" dirty="0"/>
              <a:t> (CO)</a:t>
            </a:r>
          </a:p>
          <a:p>
            <a:pPr lvl="1"/>
            <a:r>
              <a:rPr lang="de-DE" dirty="0" err="1"/>
              <a:t>Methane</a:t>
            </a:r>
            <a:r>
              <a:rPr lang="de-DE" dirty="0"/>
              <a:t> (CH</a:t>
            </a:r>
            <a:r>
              <a:rPr lang="de-DE" baseline="-25000" dirty="0"/>
              <a:t>4</a:t>
            </a:r>
            <a:r>
              <a:rPr lang="de-DE" dirty="0"/>
              <a:t>)</a:t>
            </a:r>
          </a:p>
          <a:p>
            <a:pPr lvl="1"/>
            <a:r>
              <a:rPr lang="de-DE" dirty="0"/>
              <a:t>Hydrogen Sulfide (H</a:t>
            </a:r>
            <a:r>
              <a:rPr lang="de-DE" baseline="-25000" dirty="0"/>
              <a:t>2</a:t>
            </a:r>
            <a:r>
              <a:rPr lang="de-DE" dirty="0"/>
              <a:t>S)</a:t>
            </a:r>
          </a:p>
          <a:p>
            <a:pPr lvl="1"/>
            <a:r>
              <a:rPr lang="de-DE" dirty="0"/>
              <a:t>Total </a:t>
            </a:r>
            <a:r>
              <a:rPr lang="de-DE" dirty="0" err="1"/>
              <a:t>Hydrocarbons</a:t>
            </a:r>
            <a:r>
              <a:rPr lang="de-DE" dirty="0"/>
              <a:t> (THC)</a:t>
            </a:r>
          </a:p>
          <a:p>
            <a:pPr lvl="1"/>
            <a:r>
              <a:rPr lang="de-DE" dirty="0"/>
              <a:t>Hydrogen (H</a:t>
            </a:r>
            <a:r>
              <a:rPr lang="de-DE" baseline="-25000" dirty="0"/>
              <a:t>2</a:t>
            </a:r>
            <a:r>
              <a:rPr lang="de-DE" dirty="0"/>
              <a:t>)</a:t>
            </a:r>
          </a:p>
          <a:p>
            <a:pPr lvl="1"/>
            <a:r>
              <a:rPr lang="de-DE" dirty="0"/>
              <a:t>Oxygen (O</a:t>
            </a:r>
            <a:r>
              <a:rPr lang="de-DE" baseline="-25000" dirty="0"/>
              <a:t>2</a:t>
            </a:r>
            <a:r>
              <a:rPr lang="de-DE" dirty="0"/>
              <a:t>)</a:t>
            </a:r>
          </a:p>
          <a:p>
            <a:endParaRPr lang="en-US" dirty="0"/>
          </a:p>
        </p:txBody>
      </p:sp>
      <p:sp>
        <p:nvSpPr>
          <p:cNvPr id="8" name="Subtitle 7">
            <a:extLst>
              <a:ext uri="{FF2B5EF4-FFF2-40B4-BE49-F238E27FC236}">
                <a16:creationId xmlns:a16="http://schemas.microsoft.com/office/drawing/2014/main" id="{5D7AD41D-97E6-414E-9380-DC70146F02B3}"/>
              </a:ext>
            </a:extLst>
          </p:cNvPr>
          <p:cNvSpPr>
            <a:spLocks noGrp="1"/>
          </p:cNvSpPr>
          <p:nvPr>
            <p:ph type="subTitle" idx="13"/>
          </p:nvPr>
        </p:nvSpPr>
        <p:spPr/>
        <p:txBody>
          <a:bodyPr/>
          <a:lstStyle/>
          <a:p>
            <a:r>
              <a:rPr lang="de-DE" dirty="0"/>
              <a:t>Gas </a:t>
            </a:r>
            <a:r>
              <a:rPr lang="de-DE" dirty="0" err="1"/>
              <a:t>analyzer</a:t>
            </a:r>
            <a:r>
              <a:rPr lang="de-DE" dirty="0"/>
              <a:t> </a:t>
            </a:r>
            <a:r>
              <a:rPr lang="de-DE" dirty="0" err="1"/>
              <a:t>solutions</a:t>
            </a:r>
            <a:endParaRPr lang="en-US" dirty="0"/>
          </a:p>
        </p:txBody>
      </p:sp>
    </p:spTree>
    <p:extLst>
      <p:ext uri="{BB962C8B-B14F-4D97-AF65-F5344CB8AC3E}">
        <p14:creationId xmlns:p14="http://schemas.microsoft.com/office/powerpoint/2010/main" val="434349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86E2AD-F83B-4A86-A02D-609E23218280}"/>
              </a:ext>
            </a:extLst>
          </p:cNvPr>
          <p:cNvSpPr>
            <a:spLocks noGrp="1"/>
          </p:cNvSpPr>
          <p:nvPr>
            <p:ph type="title"/>
          </p:nvPr>
        </p:nvSpPr>
        <p:spPr bwMode="gray"/>
        <p:txBody>
          <a:bodyPr/>
          <a:lstStyle/>
          <a:p>
            <a:r>
              <a:rPr lang="de-DE" dirty="0" err="1"/>
              <a:t>Developing</a:t>
            </a:r>
            <a:r>
              <a:rPr lang="de-DE" dirty="0"/>
              <a:t> Market: CO</a:t>
            </a:r>
            <a:r>
              <a:rPr lang="de-DE" baseline="-25000" dirty="0"/>
              <a:t>2</a:t>
            </a:r>
            <a:r>
              <a:rPr lang="de-DE" dirty="0"/>
              <a:t> </a:t>
            </a:r>
            <a:r>
              <a:rPr lang="de-DE" dirty="0" err="1"/>
              <a:t>recovery</a:t>
            </a:r>
            <a:r>
              <a:rPr lang="de-DE" dirty="0"/>
              <a:t> plants</a:t>
            </a:r>
          </a:p>
        </p:txBody>
      </p:sp>
      <p:sp>
        <p:nvSpPr>
          <p:cNvPr id="7" name="Subtitle 6">
            <a:extLst>
              <a:ext uri="{FF2B5EF4-FFF2-40B4-BE49-F238E27FC236}">
                <a16:creationId xmlns:a16="http://schemas.microsoft.com/office/drawing/2014/main" id="{FBE973FD-C0A3-4EEC-8B70-67CB9A9A301F}"/>
              </a:ext>
            </a:extLst>
          </p:cNvPr>
          <p:cNvSpPr>
            <a:spLocks noGrp="1"/>
          </p:cNvSpPr>
          <p:nvPr>
            <p:ph type="subTitle" idx="13"/>
          </p:nvPr>
        </p:nvSpPr>
        <p:spPr bwMode="gray"/>
        <p:txBody>
          <a:bodyPr/>
          <a:lstStyle/>
          <a:p>
            <a:r>
              <a:rPr lang="de-DE" dirty="0" err="1"/>
              <a:t>Typical</a:t>
            </a:r>
            <a:r>
              <a:rPr lang="de-DE" dirty="0"/>
              <a:t> </a:t>
            </a:r>
            <a:r>
              <a:rPr lang="de-DE" dirty="0" err="1"/>
              <a:t>process</a:t>
            </a:r>
            <a:r>
              <a:rPr lang="de-DE" dirty="0"/>
              <a:t> </a:t>
            </a:r>
            <a:r>
              <a:rPr lang="de-DE" dirty="0" err="1"/>
              <a:t>flow</a:t>
            </a:r>
            <a:endParaRPr lang="de-DE" dirty="0"/>
          </a:p>
        </p:txBody>
      </p:sp>
      <p:sp>
        <p:nvSpPr>
          <p:cNvPr id="831" name="Rechteck 87">
            <a:extLst>
              <a:ext uri="{FF2B5EF4-FFF2-40B4-BE49-F238E27FC236}">
                <a16:creationId xmlns:a16="http://schemas.microsoft.com/office/drawing/2014/main" id="{4DE36BA7-A8CB-4E57-9392-465FAF6E6020}"/>
              </a:ext>
            </a:extLst>
          </p:cNvPr>
          <p:cNvSpPr/>
          <p:nvPr/>
        </p:nvSpPr>
        <p:spPr bwMode="gray">
          <a:xfrm>
            <a:off x="1446943" y="1926927"/>
            <a:ext cx="9367390" cy="3981449"/>
          </a:xfrm>
          <a:prstGeom prst="rect">
            <a:avLst/>
          </a:prstGeom>
          <a:solidFill>
            <a:schemeClr val="accent5"/>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nchorCtr="0"/>
          <a:lstStyle/>
          <a:p>
            <a:pPr>
              <a:spcBef>
                <a:spcPts val="300"/>
              </a:spcBef>
              <a:buClr>
                <a:srgbClr val="002897"/>
              </a:buClr>
              <a:buSzPct val="70000"/>
            </a:pPr>
            <a:endParaRPr lang="de-DE" sz="1400" dirty="0">
              <a:solidFill>
                <a:schemeClr val="bg1"/>
              </a:solidFill>
            </a:endParaRPr>
          </a:p>
        </p:txBody>
      </p:sp>
      <p:sp>
        <p:nvSpPr>
          <p:cNvPr id="832" name="Rectangle 831">
            <a:extLst>
              <a:ext uri="{FF2B5EF4-FFF2-40B4-BE49-F238E27FC236}">
                <a16:creationId xmlns:a16="http://schemas.microsoft.com/office/drawing/2014/main" id="{5AE84D18-E618-47F9-AFB6-3249DB09F7FB}"/>
              </a:ext>
            </a:extLst>
          </p:cNvPr>
          <p:cNvSpPr/>
          <p:nvPr/>
        </p:nvSpPr>
        <p:spPr bwMode="gray">
          <a:xfrm>
            <a:off x="7156716" y="5814477"/>
            <a:ext cx="81910" cy="857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cxnSp>
        <p:nvCxnSpPr>
          <p:cNvPr id="833" name="Connector: Elbow 832">
            <a:extLst>
              <a:ext uri="{FF2B5EF4-FFF2-40B4-BE49-F238E27FC236}">
                <a16:creationId xmlns:a16="http://schemas.microsoft.com/office/drawing/2014/main" id="{6C6B6365-A191-4E29-8C4D-0045F7713CD0}"/>
              </a:ext>
            </a:extLst>
          </p:cNvPr>
          <p:cNvCxnSpPr>
            <a:cxnSpLocks/>
            <a:stCxn id="919" idx="18"/>
            <a:endCxn id="832" idx="0"/>
          </p:cNvCxnSpPr>
          <p:nvPr/>
        </p:nvCxnSpPr>
        <p:spPr bwMode="gray">
          <a:xfrm>
            <a:off x="7025231" y="4141402"/>
            <a:ext cx="172440" cy="1673075"/>
          </a:xfrm>
          <a:prstGeom prst="bentConnector2">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834" name="Rectangle 833">
            <a:extLst>
              <a:ext uri="{FF2B5EF4-FFF2-40B4-BE49-F238E27FC236}">
                <a16:creationId xmlns:a16="http://schemas.microsoft.com/office/drawing/2014/main" id="{82C5558A-279F-467D-AABE-EF971EA0260F}"/>
              </a:ext>
            </a:extLst>
          </p:cNvPr>
          <p:cNvSpPr/>
          <p:nvPr/>
        </p:nvSpPr>
        <p:spPr bwMode="gray">
          <a:xfrm>
            <a:off x="6338579" y="4769769"/>
            <a:ext cx="81910" cy="857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35" name="Rectangle 834">
            <a:extLst>
              <a:ext uri="{FF2B5EF4-FFF2-40B4-BE49-F238E27FC236}">
                <a16:creationId xmlns:a16="http://schemas.microsoft.com/office/drawing/2014/main" id="{50342D57-3433-42BC-8752-373805A04252}"/>
              </a:ext>
            </a:extLst>
          </p:cNvPr>
          <p:cNvSpPr/>
          <p:nvPr/>
        </p:nvSpPr>
        <p:spPr bwMode="gray">
          <a:xfrm>
            <a:off x="8144484" y="4769770"/>
            <a:ext cx="81910" cy="857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36" name="Rectangle 835">
            <a:extLst>
              <a:ext uri="{FF2B5EF4-FFF2-40B4-BE49-F238E27FC236}">
                <a16:creationId xmlns:a16="http://schemas.microsoft.com/office/drawing/2014/main" id="{AA83357D-FCC6-47B4-B0C0-EB1097EAB9BC}"/>
              </a:ext>
            </a:extLst>
          </p:cNvPr>
          <p:cNvSpPr/>
          <p:nvPr/>
        </p:nvSpPr>
        <p:spPr bwMode="gray">
          <a:xfrm>
            <a:off x="4094769" y="4694143"/>
            <a:ext cx="81910" cy="857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37" name="Rectangle 836">
            <a:extLst>
              <a:ext uri="{FF2B5EF4-FFF2-40B4-BE49-F238E27FC236}">
                <a16:creationId xmlns:a16="http://schemas.microsoft.com/office/drawing/2014/main" id="{53339C50-6791-42D2-9721-4A3177330B48}"/>
              </a:ext>
            </a:extLst>
          </p:cNvPr>
          <p:cNvSpPr/>
          <p:nvPr/>
        </p:nvSpPr>
        <p:spPr bwMode="gray">
          <a:xfrm>
            <a:off x="4094769" y="5814477"/>
            <a:ext cx="81910" cy="857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38" name="Rectangle 837">
            <a:extLst>
              <a:ext uri="{FF2B5EF4-FFF2-40B4-BE49-F238E27FC236}">
                <a16:creationId xmlns:a16="http://schemas.microsoft.com/office/drawing/2014/main" id="{C55423C8-58BE-429D-B89A-D499660D9608}"/>
              </a:ext>
            </a:extLst>
          </p:cNvPr>
          <p:cNvSpPr/>
          <p:nvPr/>
        </p:nvSpPr>
        <p:spPr bwMode="gray">
          <a:xfrm>
            <a:off x="2939045" y="5468059"/>
            <a:ext cx="81910" cy="857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839" name="Rectangle 838">
            <a:extLst>
              <a:ext uri="{FF2B5EF4-FFF2-40B4-BE49-F238E27FC236}">
                <a16:creationId xmlns:a16="http://schemas.microsoft.com/office/drawing/2014/main" id="{A14C1524-31DA-48B5-B8AE-B2F796AF5D3B}"/>
              </a:ext>
            </a:extLst>
          </p:cNvPr>
          <p:cNvSpPr/>
          <p:nvPr/>
        </p:nvSpPr>
        <p:spPr bwMode="gray">
          <a:xfrm>
            <a:off x="8863170" y="5814477"/>
            <a:ext cx="81910" cy="8577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841" name="Group 840">
            <a:extLst>
              <a:ext uri="{FF2B5EF4-FFF2-40B4-BE49-F238E27FC236}">
                <a16:creationId xmlns:a16="http://schemas.microsoft.com/office/drawing/2014/main" id="{F99855A1-A87B-424E-9E06-4E7D912CF30F}"/>
              </a:ext>
            </a:extLst>
          </p:cNvPr>
          <p:cNvGrpSpPr/>
          <p:nvPr/>
        </p:nvGrpSpPr>
        <p:grpSpPr bwMode="gray">
          <a:xfrm>
            <a:off x="5541494" y="5020577"/>
            <a:ext cx="842400" cy="664219"/>
            <a:chOff x="3496037" y="4910525"/>
            <a:chExt cx="842400" cy="664219"/>
          </a:xfrm>
        </p:grpSpPr>
        <p:sp>
          <p:nvSpPr>
            <p:cNvPr id="842" name="Rectangle: Rounded Corners 841">
              <a:extLst>
                <a:ext uri="{FF2B5EF4-FFF2-40B4-BE49-F238E27FC236}">
                  <a16:creationId xmlns:a16="http://schemas.microsoft.com/office/drawing/2014/main" id="{653AADF2-40D8-42E2-94DF-785A0750C6F9}"/>
                </a:ext>
              </a:extLst>
            </p:cNvPr>
            <p:cNvSpPr/>
            <p:nvPr/>
          </p:nvSpPr>
          <p:spPr bwMode="gray">
            <a:xfrm>
              <a:off x="3587672" y="4910525"/>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sp>
          <p:nvSpPr>
            <p:cNvPr id="843" name="Rectangle 842">
              <a:extLst>
                <a:ext uri="{FF2B5EF4-FFF2-40B4-BE49-F238E27FC236}">
                  <a16:creationId xmlns:a16="http://schemas.microsoft.com/office/drawing/2014/main" id="{C8D50ECF-768B-435C-823B-03F9D2BB785D}"/>
                </a:ext>
              </a:extLst>
            </p:cNvPr>
            <p:cNvSpPr/>
            <p:nvPr/>
          </p:nvSpPr>
          <p:spPr bwMode="gray">
            <a:xfrm>
              <a:off x="3496037" y="5221262"/>
              <a:ext cx="842400"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a:t>
              </a:r>
              <a:r>
                <a:rPr lang="de-DE" sz="1000" baseline="-25000" dirty="0">
                  <a:solidFill>
                    <a:schemeClr val="tx1"/>
                  </a:solidFill>
                </a:rPr>
                <a:t>2</a:t>
              </a:r>
              <a:r>
                <a:rPr lang="de-DE" sz="1000" dirty="0">
                  <a:solidFill>
                    <a:schemeClr val="tx1"/>
                  </a:solidFill>
                </a:rPr>
                <a:t> </a:t>
              </a:r>
              <a:br>
                <a:rPr lang="de-DE" sz="1000" dirty="0">
                  <a:solidFill>
                    <a:schemeClr val="tx1"/>
                  </a:solidFill>
                </a:rPr>
              </a:br>
              <a:r>
                <a:rPr lang="de-DE" sz="1000" dirty="0">
                  <a:solidFill>
                    <a:schemeClr val="tx1"/>
                  </a:solidFill>
                </a:rPr>
                <a:t>storage tank</a:t>
              </a:r>
            </a:p>
          </p:txBody>
        </p:sp>
      </p:grpSp>
      <p:grpSp>
        <p:nvGrpSpPr>
          <p:cNvPr id="844" name="Group 843">
            <a:extLst>
              <a:ext uri="{FF2B5EF4-FFF2-40B4-BE49-F238E27FC236}">
                <a16:creationId xmlns:a16="http://schemas.microsoft.com/office/drawing/2014/main" id="{C0A35781-AE47-45E6-92D9-75E1A7C24BD1}"/>
              </a:ext>
            </a:extLst>
          </p:cNvPr>
          <p:cNvGrpSpPr/>
          <p:nvPr/>
        </p:nvGrpSpPr>
        <p:grpSpPr bwMode="gray">
          <a:xfrm>
            <a:off x="2961805" y="5020577"/>
            <a:ext cx="642046" cy="664219"/>
            <a:chOff x="13564808" y="3811749"/>
            <a:chExt cx="642046" cy="664219"/>
          </a:xfrm>
        </p:grpSpPr>
        <p:sp>
          <p:nvSpPr>
            <p:cNvPr id="845" name="Trapezoid 844">
              <a:extLst>
                <a:ext uri="{FF2B5EF4-FFF2-40B4-BE49-F238E27FC236}">
                  <a16:creationId xmlns:a16="http://schemas.microsoft.com/office/drawing/2014/main" id="{33D1F629-3384-41E9-BB7E-1143038AA56E}"/>
                </a:ext>
              </a:extLst>
            </p:cNvPr>
            <p:cNvSpPr/>
            <p:nvPr/>
          </p:nvSpPr>
          <p:spPr bwMode="gray">
            <a:xfrm>
              <a:off x="13731031" y="3811749"/>
              <a:ext cx="309600" cy="216010"/>
            </a:xfrm>
            <a:prstGeom prst="trapezoid">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847" name="Rectangle 846">
              <a:extLst>
                <a:ext uri="{FF2B5EF4-FFF2-40B4-BE49-F238E27FC236}">
                  <a16:creationId xmlns:a16="http://schemas.microsoft.com/office/drawing/2014/main" id="{65B3A649-7D9E-4AB9-AAC9-C55794021BDB}"/>
                </a:ext>
              </a:extLst>
            </p:cNvPr>
            <p:cNvSpPr/>
            <p:nvPr/>
          </p:nvSpPr>
          <p:spPr bwMode="gray">
            <a:xfrm>
              <a:off x="13564808" y="4122486"/>
              <a:ext cx="642046"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oling tower</a:t>
              </a:r>
            </a:p>
          </p:txBody>
        </p:sp>
        <p:sp>
          <p:nvSpPr>
            <p:cNvPr id="966" name="Rectangle 965">
              <a:extLst>
                <a:ext uri="{FF2B5EF4-FFF2-40B4-BE49-F238E27FC236}">
                  <a16:creationId xmlns:a16="http://schemas.microsoft.com/office/drawing/2014/main" id="{F65361B0-C677-452B-B756-77573E53D88C}"/>
                </a:ext>
              </a:extLst>
            </p:cNvPr>
            <p:cNvSpPr/>
            <p:nvPr/>
          </p:nvSpPr>
          <p:spPr bwMode="gray">
            <a:xfrm>
              <a:off x="13731031" y="4027761"/>
              <a:ext cx="309600" cy="94723"/>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grpSp>
      <p:grpSp>
        <p:nvGrpSpPr>
          <p:cNvPr id="848" name="Group 847">
            <a:extLst>
              <a:ext uri="{FF2B5EF4-FFF2-40B4-BE49-F238E27FC236}">
                <a16:creationId xmlns:a16="http://schemas.microsoft.com/office/drawing/2014/main" id="{6D6404C5-6F11-4199-B4E9-C25816A3F932}"/>
              </a:ext>
            </a:extLst>
          </p:cNvPr>
          <p:cNvGrpSpPr/>
          <p:nvPr/>
        </p:nvGrpSpPr>
        <p:grpSpPr bwMode="gray">
          <a:xfrm>
            <a:off x="8300943" y="5032950"/>
            <a:ext cx="519252" cy="463394"/>
            <a:chOff x="4639488" y="5016313"/>
            <a:chExt cx="519252" cy="463394"/>
          </a:xfrm>
        </p:grpSpPr>
        <p:sp>
          <p:nvSpPr>
            <p:cNvPr id="849" name="Rectangle: Top Corners Snipped 848">
              <a:extLst>
                <a:ext uri="{FF2B5EF4-FFF2-40B4-BE49-F238E27FC236}">
                  <a16:creationId xmlns:a16="http://schemas.microsoft.com/office/drawing/2014/main" id="{5A80E075-9FEE-4BB9-AF13-62436701F4DC}"/>
                </a:ext>
              </a:extLst>
            </p:cNvPr>
            <p:cNvSpPr/>
            <p:nvPr/>
          </p:nvSpPr>
          <p:spPr bwMode="gray">
            <a:xfrm>
              <a:off x="4693197" y="5016313"/>
              <a:ext cx="411835" cy="293946"/>
            </a:xfrm>
            <a:prstGeom prst="snip2SameRect">
              <a:avLst>
                <a:gd name="adj1" fmla="val 33168"/>
                <a:gd name="adj2" fmla="val 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err="1"/>
            </a:p>
          </p:txBody>
        </p:sp>
        <p:sp>
          <p:nvSpPr>
            <p:cNvPr id="850" name="Rectangle 849">
              <a:extLst>
                <a:ext uri="{FF2B5EF4-FFF2-40B4-BE49-F238E27FC236}">
                  <a16:creationId xmlns:a16="http://schemas.microsoft.com/office/drawing/2014/main" id="{AB441B19-621E-45BC-A195-49749010171B}"/>
                </a:ext>
              </a:extLst>
            </p:cNvPr>
            <p:cNvSpPr/>
            <p:nvPr/>
          </p:nvSpPr>
          <p:spPr bwMode="gray">
            <a:xfrm>
              <a:off x="4639488" y="5314677"/>
              <a:ext cx="519252"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Drier</a:t>
              </a:r>
            </a:p>
          </p:txBody>
        </p:sp>
      </p:grpSp>
      <p:grpSp>
        <p:nvGrpSpPr>
          <p:cNvPr id="855" name="Group 854">
            <a:extLst>
              <a:ext uri="{FF2B5EF4-FFF2-40B4-BE49-F238E27FC236}">
                <a16:creationId xmlns:a16="http://schemas.microsoft.com/office/drawing/2014/main" id="{4AA3F32E-B16C-465F-BDF1-2ACE3FFC61A0}"/>
              </a:ext>
            </a:extLst>
          </p:cNvPr>
          <p:cNvGrpSpPr/>
          <p:nvPr/>
        </p:nvGrpSpPr>
        <p:grpSpPr bwMode="gray">
          <a:xfrm>
            <a:off x="9751011" y="4614401"/>
            <a:ext cx="843866" cy="689132"/>
            <a:chOff x="12657918" y="3811752"/>
            <a:chExt cx="843866" cy="689132"/>
          </a:xfrm>
        </p:grpSpPr>
        <p:sp>
          <p:nvSpPr>
            <p:cNvPr id="856" name="Trapezoid 855">
              <a:extLst>
                <a:ext uri="{FF2B5EF4-FFF2-40B4-BE49-F238E27FC236}">
                  <a16:creationId xmlns:a16="http://schemas.microsoft.com/office/drawing/2014/main" id="{6E4BF369-50D1-4445-A27B-BCC473D31C87}"/>
                </a:ext>
              </a:extLst>
            </p:cNvPr>
            <p:cNvSpPr/>
            <p:nvPr/>
          </p:nvSpPr>
          <p:spPr bwMode="gray">
            <a:xfrm rot="5400000">
              <a:off x="12924484" y="3847225"/>
              <a:ext cx="310734" cy="239787"/>
            </a:xfrm>
            <a:prstGeom prst="trapezoid">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sp>
          <p:nvSpPr>
            <p:cNvPr id="857" name="Rectangle 856">
              <a:extLst>
                <a:ext uri="{FF2B5EF4-FFF2-40B4-BE49-F238E27FC236}">
                  <a16:creationId xmlns:a16="http://schemas.microsoft.com/office/drawing/2014/main" id="{562CC64F-F7C8-48C9-AB09-FF68FD224E1E}"/>
                </a:ext>
              </a:extLst>
            </p:cNvPr>
            <p:cNvSpPr/>
            <p:nvPr/>
          </p:nvSpPr>
          <p:spPr bwMode="gray">
            <a:xfrm>
              <a:off x="12657918" y="4122485"/>
              <a:ext cx="843866" cy="378399"/>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a:t>
              </a:r>
              <a:r>
                <a:rPr lang="de-DE" sz="1000" baseline="-25000" dirty="0">
                  <a:solidFill>
                    <a:schemeClr val="tx1"/>
                  </a:solidFill>
                </a:rPr>
                <a:t>2</a:t>
              </a:r>
              <a:r>
                <a:rPr lang="de-DE" sz="1000" dirty="0">
                  <a:solidFill>
                    <a:schemeClr val="tx1"/>
                  </a:solidFill>
                </a:rPr>
                <a:t> </a:t>
              </a:r>
              <a:br>
                <a:rPr lang="de-DE" sz="1000" dirty="0">
                  <a:solidFill>
                    <a:schemeClr val="tx1"/>
                  </a:solidFill>
                </a:rPr>
              </a:br>
              <a:r>
                <a:rPr lang="de-DE" sz="1000" dirty="0">
                  <a:solidFill>
                    <a:schemeClr val="tx1"/>
                  </a:solidFill>
                </a:rPr>
                <a:t>compressor</a:t>
              </a:r>
            </a:p>
          </p:txBody>
        </p:sp>
      </p:grpSp>
      <p:sp>
        <p:nvSpPr>
          <p:cNvPr id="858" name="Freeform: Shape 857">
            <a:extLst>
              <a:ext uri="{FF2B5EF4-FFF2-40B4-BE49-F238E27FC236}">
                <a16:creationId xmlns:a16="http://schemas.microsoft.com/office/drawing/2014/main" id="{12A5FB59-5501-4A46-9D3A-593E672BE1CA}"/>
              </a:ext>
            </a:extLst>
          </p:cNvPr>
          <p:cNvSpPr/>
          <p:nvPr/>
        </p:nvSpPr>
        <p:spPr bwMode="gray">
          <a:xfrm>
            <a:off x="4346200" y="2230158"/>
            <a:ext cx="638340" cy="1167165"/>
          </a:xfrm>
          <a:custGeom>
            <a:avLst/>
            <a:gdLst>
              <a:gd name="connsiteX0" fmla="*/ 0 w 835200"/>
              <a:gd name="connsiteY0" fmla="*/ 0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417600 w 835200"/>
              <a:gd name="connsiteY1" fmla="*/ 0 h 1973608"/>
              <a:gd name="connsiteX2" fmla="*/ 626400 w 835200"/>
              <a:gd name="connsiteY2" fmla="*/ 0 h 1973608"/>
              <a:gd name="connsiteX3" fmla="*/ 835200 w 835200"/>
              <a:gd name="connsiteY3" fmla="*/ 0 h 1973608"/>
              <a:gd name="connsiteX4" fmla="*/ 835200 w 835200"/>
              <a:gd name="connsiteY4" fmla="*/ 197361 h 1973608"/>
              <a:gd name="connsiteX5" fmla="*/ 835200 w 835200"/>
              <a:gd name="connsiteY5" fmla="*/ 197362 h 1973608"/>
              <a:gd name="connsiteX6" fmla="*/ 835200 w 835200"/>
              <a:gd name="connsiteY6" fmla="*/ 394723 h 1973608"/>
              <a:gd name="connsiteX7" fmla="*/ 835200 w 835200"/>
              <a:gd name="connsiteY7" fmla="*/ 592083 h 1973608"/>
              <a:gd name="connsiteX8" fmla="*/ 835200 w 835200"/>
              <a:gd name="connsiteY8" fmla="*/ 592085 h 1973608"/>
              <a:gd name="connsiteX9" fmla="*/ 835200 w 835200"/>
              <a:gd name="connsiteY9" fmla="*/ 789444 h 1973608"/>
              <a:gd name="connsiteX10" fmla="*/ 835200 w 835200"/>
              <a:gd name="connsiteY10" fmla="*/ 789445 h 1973608"/>
              <a:gd name="connsiteX11" fmla="*/ 835200 w 835200"/>
              <a:gd name="connsiteY11" fmla="*/ 986804 h 1973608"/>
              <a:gd name="connsiteX12" fmla="*/ 835200 w 835200"/>
              <a:gd name="connsiteY12" fmla="*/ 986806 h 1973608"/>
              <a:gd name="connsiteX13" fmla="*/ 835200 w 835200"/>
              <a:gd name="connsiteY13" fmla="*/ 1184165 h 1973608"/>
              <a:gd name="connsiteX14" fmla="*/ 835200 w 835200"/>
              <a:gd name="connsiteY14" fmla="*/ 1184166 h 1973608"/>
              <a:gd name="connsiteX15" fmla="*/ 835200 w 835200"/>
              <a:gd name="connsiteY15" fmla="*/ 1381525 h 1973608"/>
              <a:gd name="connsiteX16" fmla="*/ 835200 w 835200"/>
              <a:gd name="connsiteY16" fmla="*/ 1381527 h 1973608"/>
              <a:gd name="connsiteX17" fmla="*/ 835200 w 835200"/>
              <a:gd name="connsiteY17" fmla="*/ 1578886 h 1973608"/>
              <a:gd name="connsiteX18" fmla="*/ 835200 w 835200"/>
              <a:gd name="connsiteY18" fmla="*/ 1578887 h 1973608"/>
              <a:gd name="connsiteX19" fmla="*/ 835200 w 835200"/>
              <a:gd name="connsiteY19" fmla="*/ 1776246 h 1973608"/>
              <a:gd name="connsiteX20" fmla="*/ 835200 w 835200"/>
              <a:gd name="connsiteY20" fmla="*/ 1776248 h 1973608"/>
              <a:gd name="connsiteX21" fmla="*/ 835200 w 835200"/>
              <a:gd name="connsiteY21" fmla="*/ 1973608 h 1973608"/>
              <a:gd name="connsiteX22" fmla="*/ 626400 w 835200"/>
              <a:gd name="connsiteY22" fmla="*/ 1973608 h 1973608"/>
              <a:gd name="connsiteX23" fmla="*/ 417600 w 835200"/>
              <a:gd name="connsiteY23" fmla="*/ 1973608 h 1973608"/>
              <a:gd name="connsiteX24" fmla="*/ 208800 w 835200"/>
              <a:gd name="connsiteY24" fmla="*/ 1973608 h 1973608"/>
              <a:gd name="connsiteX25" fmla="*/ 0 w 835200"/>
              <a:gd name="connsiteY25" fmla="*/ 1973608 h 1973608"/>
              <a:gd name="connsiteX26" fmla="*/ 0 w 835200"/>
              <a:gd name="connsiteY26" fmla="*/ 1776248 h 1973608"/>
              <a:gd name="connsiteX27" fmla="*/ 0 w 835200"/>
              <a:gd name="connsiteY27" fmla="*/ 1776246 h 1973608"/>
              <a:gd name="connsiteX28" fmla="*/ 0 w 835200"/>
              <a:gd name="connsiteY28" fmla="*/ 1578887 h 1973608"/>
              <a:gd name="connsiteX29" fmla="*/ 0 w 835200"/>
              <a:gd name="connsiteY29" fmla="*/ 1578886 h 1973608"/>
              <a:gd name="connsiteX30" fmla="*/ 0 w 835200"/>
              <a:gd name="connsiteY30" fmla="*/ 1381527 h 1973608"/>
              <a:gd name="connsiteX31" fmla="*/ 0 w 835200"/>
              <a:gd name="connsiteY31" fmla="*/ 1381525 h 1973608"/>
              <a:gd name="connsiteX32" fmla="*/ 0 w 835200"/>
              <a:gd name="connsiteY32" fmla="*/ 1184166 h 1973608"/>
              <a:gd name="connsiteX33" fmla="*/ 0 w 835200"/>
              <a:gd name="connsiteY33" fmla="*/ 1184165 h 1973608"/>
              <a:gd name="connsiteX34" fmla="*/ 0 w 835200"/>
              <a:gd name="connsiteY34" fmla="*/ 986806 h 1973608"/>
              <a:gd name="connsiteX35" fmla="*/ 0 w 835200"/>
              <a:gd name="connsiteY35" fmla="*/ 986804 h 1973608"/>
              <a:gd name="connsiteX36" fmla="*/ 0 w 835200"/>
              <a:gd name="connsiteY36" fmla="*/ 789445 h 1973608"/>
              <a:gd name="connsiteX37" fmla="*/ 0 w 835200"/>
              <a:gd name="connsiteY37" fmla="*/ 789444 h 1973608"/>
              <a:gd name="connsiteX38" fmla="*/ 0 w 835200"/>
              <a:gd name="connsiteY38" fmla="*/ 592085 h 1973608"/>
              <a:gd name="connsiteX39" fmla="*/ 0 w 835200"/>
              <a:gd name="connsiteY39" fmla="*/ 592083 h 1973608"/>
              <a:gd name="connsiteX40" fmla="*/ 0 w 835200"/>
              <a:gd name="connsiteY40" fmla="*/ 394723 h 1973608"/>
              <a:gd name="connsiteX41" fmla="*/ 0 w 835200"/>
              <a:gd name="connsiteY41" fmla="*/ 197362 h 1973608"/>
              <a:gd name="connsiteX42" fmla="*/ 0 w 835200"/>
              <a:gd name="connsiteY42" fmla="*/ 197361 h 1973608"/>
              <a:gd name="connsiteX0" fmla="*/ 0 w 835200"/>
              <a:gd name="connsiteY0" fmla="*/ 197361 h 1973608"/>
              <a:gd name="connsiteX1" fmla="*/ 417600 w 835200"/>
              <a:gd name="connsiteY1" fmla="*/ 0 h 1973608"/>
              <a:gd name="connsiteX2" fmla="*/ 835200 w 835200"/>
              <a:gd name="connsiteY2" fmla="*/ 0 h 1973608"/>
              <a:gd name="connsiteX3" fmla="*/ 835200 w 835200"/>
              <a:gd name="connsiteY3" fmla="*/ 197361 h 1973608"/>
              <a:gd name="connsiteX4" fmla="*/ 835200 w 835200"/>
              <a:gd name="connsiteY4" fmla="*/ 197362 h 1973608"/>
              <a:gd name="connsiteX5" fmla="*/ 835200 w 835200"/>
              <a:gd name="connsiteY5" fmla="*/ 394723 h 1973608"/>
              <a:gd name="connsiteX6" fmla="*/ 835200 w 835200"/>
              <a:gd name="connsiteY6" fmla="*/ 592083 h 1973608"/>
              <a:gd name="connsiteX7" fmla="*/ 835200 w 835200"/>
              <a:gd name="connsiteY7" fmla="*/ 592085 h 1973608"/>
              <a:gd name="connsiteX8" fmla="*/ 835200 w 835200"/>
              <a:gd name="connsiteY8" fmla="*/ 789444 h 1973608"/>
              <a:gd name="connsiteX9" fmla="*/ 835200 w 835200"/>
              <a:gd name="connsiteY9" fmla="*/ 789445 h 1973608"/>
              <a:gd name="connsiteX10" fmla="*/ 835200 w 835200"/>
              <a:gd name="connsiteY10" fmla="*/ 986804 h 1973608"/>
              <a:gd name="connsiteX11" fmla="*/ 835200 w 835200"/>
              <a:gd name="connsiteY11" fmla="*/ 986806 h 1973608"/>
              <a:gd name="connsiteX12" fmla="*/ 835200 w 835200"/>
              <a:gd name="connsiteY12" fmla="*/ 1184165 h 1973608"/>
              <a:gd name="connsiteX13" fmla="*/ 835200 w 835200"/>
              <a:gd name="connsiteY13" fmla="*/ 1184166 h 1973608"/>
              <a:gd name="connsiteX14" fmla="*/ 835200 w 835200"/>
              <a:gd name="connsiteY14" fmla="*/ 1381525 h 1973608"/>
              <a:gd name="connsiteX15" fmla="*/ 835200 w 835200"/>
              <a:gd name="connsiteY15" fmla="*/ 1381527 h 1973608"/>
              <a:gd name="connsiteX16" fmla="*/ 835200 w 835200"/>
              <a:gd name="connsiteY16" fmla="*/ 1578886 h 1973608"/>
              <a:gd name="connsiteX17" fmla="*/ 835200 w 835200"/>
              <a:gd name="connsiteY17" fmla="*/ 1578887 h 1973608"/>
              <a:gd name="connsiteX18" fmla="*/ 835200 w 835200"/>
              <a:gd name="connsiteY18" fmla="*/ 1776246 h 1973608"/>
              <a:gd name="connsiteX19" fmla="*/ 835200 w 835200"/>
              <a:gd name="connsiteY19" fmla="*/ 1776248 h 1973608"/>
              <a:gd name="connsiteX20" fmla="*/ 835200 w 835200"/>
              <a:gd name="connsiteY20" fmla="*/ 1973608 h 1973608"/>
              <a:gd name="connsiteX21" fmla="*/ 626400 w 835200"/>
              <a:gd name="connsiteY21" fmla="*/ 1973608 h 1973608"/>
              <a:gd name="connsiteX22" fmla="*/ 417600 w 835200"/>
              <a:gd name="connsiteY22" fmla="*/ 1973608 h 1973608"/>
              <a:gd name="connsiteX23" fmla="*/ 208800 w 835200"/>
              <a:gd name="connsiteY23" fmla="*/ 1973608 h 1973608"/>
              <a:gd name="connsiteX24" fmla="*/ 0 w 835200"/>
              <a:gd name="connsiteY24" fmla="*/ 1973608 h 1973608"/>
              <a:gd name="connsiteX25" fmla="*/ 0 w 835200"/>
              <a:gd name="connsiteY25" fmla="*/ 1776248 h 1973608"/>
              <a:gd name="connsiteX26" fmla="*/ 0 w 835200"/>
              <a:gd name="connsiteY26" fmla="*/ 1776246 h 1973608"/>
              <a:gd name="connsiteX27" fmla="*/ 0 w 835200"/>
              <a:gd name="connsiteY27" fmla="*/ 1578887 h 1973608"/>
              <a:gd name="connsiteX28" fmla="*/ 0 w 835200"/>
              <a:gd name="connsiteY28" fmla="*/ 1578886 h 1973608"/>
              <a:gd name="connsiteX29" fmla="*/ 0 w 835200"/>
              <a:gd name="connsiteY29" fmla="*/ 1381527 h 1973608"/>
              <a:gd name="connsiteX30" fmla="*/ 0 w 835200"/>
              <a:gd name="connsiteY30" fmla="*/ 1381525 h 1973608"/>
              <a:gd name="connsiteX31" fmla="*/ 0 w 835200"/>
              <a:gd name="connsiteY31" fmla="*/ 1184166 h 1973608"/>
              <a:gd name="connsiteX32" fmla="*/ 0 w 835200"/>
              <a:gd name="connsiteY32" fmla="*/ 1184165 h 1973608"/>
              <a:gd name="connsiteX33" fmla="*/ 0 w 835200"/>
              <a:gd name="connsiteY33" fmla="*/ 986806 h 1973608"/>
              <a:gd name="connsiteX34" fmla="*/ 0 w 835200"/>
              <a:gd name="connsiteY34" fmla="*/ 986804 h 1973608"/>
              <a:gd name="connsiteX35" fmla="*/ 0 w 835200"/>
              <a:gd name="connsiteY35" fmla="*/ 789445 h 1973608"/>
              <a:gd name="connsiteX36" fmla="*/ 0 w 835200"/>
              <a:gd name="connsiteY36" fmla="*/ 789444 h 1973608"/>
              <a:gd name="connsiteX37" fmla="*/ 0 w 835200"/>
              <a:gd name="connsiteY37" fmla="*/ 592085 h 1973608"/>
              <a:gd name="connsiteX38" fmla="*/ 0 w 835200"/>
              <a:gd name="connsiteY38" fmla="*/ 592083 h 1973608"/>
              <a:gd name="connsiteX39" fmla="*/ 0 w 835200"/>
              <a:gd name="connsiteY39" fmla="*/ 394723 h 1973608"/>
              <a:gd name="connsiteX40" fmla="*/ 0 w 835200"/>
              <a:gd name="connsiteY40" fmla="*/ 197362 h 1973608"/>
              <a:gd name="connsiteX41" fmla="*/ 0 w 835200"/>
              <a:gd name="connsiteY41"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973608 h 1973608"/>
              <a:gd name="connsiteX24" fmla="*/ 0 w 835200"/>
              <a:gd name="connsiteY24" fmla="*/ 1776248 h 1973608"/>
              <a:gd name="connsiteX25" fmla="*/ 0 w 835200"/>
              <a:gd name="connsiteY25" fmla="*/ 1776246 h 1973608"/>
              <a:gd name="connsiteX26" fmla="*/ 0 w 835200"/>
              <a:gd name="connsiteY26" fmla="*/ 1578887 h 1973608"/>
              <a:gd name="connsiteX27" fmla="*/ 0 w 835200"/>
              <a:gd name="connsiteY27" fmla="*/ 1578886 h 1973608"/>
              <a:gd name="connsiteX28" fmla="*/ 0 w 835200"/>
              <a:gd name="connsiteY28" fmla="*/ 1381527 h 1973608"/>
              <a:gd name="connsiteX29" fmla="*/ 0 w 835200"/>
              <a:gd name="connsiteY29" fmla="*/ 1381525 h 1973608"/>
              <a:gd name="connsiteX30" fmla="*/ 0 w 835200"/>
              <a:gd name="connsiteY30" fmla="*/ 1184166 h 1973608"/>
              <a:gd name="connsiteX31" fmla="*/ 0 w 835200"/>
              <a:gd name="connsiteY31" fmla="*/ 1184165 h 1973608"/>
              <a:gd name="connsiteX32" fmla="*/ 0 w 835200"/>
              <a:gd name="connsiteY32" fmla="*/ 986806 h 1973608"/>
              <a:gd name="connsiteX33" fmla="*/ 0 w 835200"/>
              <a:gd name="connsiteY33" fmla="*/ 986804 h 1973608"/>
              <a:gd name="connsiteX34" fmla="*/ 0 w 835200"/>
              <a:gd name="connsiteY34" fmla="*/ 789445 h 1973608"/>
              <a:gd name="connsiteX35" fmla="*/ 0 w 835200"/>
              <a:gd name="connsiteY35" fmla="*/ 789444 h 1973608"/>
              <a:gd name="connsiteX36" fmla="*/ 0 w 835200"/>
              <a:gd name="connsiteY36" fmla="*/ 592085 h 1973608"/>
              <a:gd name="connsiteX37" fmla="*/ 0 w 835200"/>
              <a:gd name="connsiteY37" fmla="*/ 592083 h 1973608"/>
              <a:gd name="connsiteX38" fmla="*/ 0 w 835200"/>
              <a:gd name="connsiteY38" fmla="*/ 394723 h 1973608"/>
              <a:gd name="connsiteX39" fmla="*/ 0 w 835200"/>
              <a:gd name="connsiteY39" fmla="*/ 197362 h 1973608"/>
              <a:gd name="connsiteX40" fmla="*/ 0 w 835200"/>
              <a:gd name="connsiteY40"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776248 h 1973608"/>
              <a:gd name="connsiteX24" fmla="*/ 0 w 835200"/>
              <a:gd name="connsiteY24" fmla="*/ 1776246 h 1973608"/>
              <a:gd name="connsiteX25" fmla="*/ 0 w 835200"/>
              <a:gd name="connsiteY25" fmla="*/ 1578887 h 1973608"/>
              <a:gd name="connsiteX26" fmla="*/ 0 w 835200"/>
              <a:gd name="connsiteY26" fmla="*/ 1578886 h 1973608"/>
              <a:gd name="connsiteX27" fmla="*/ 0 w 835200"/>
              <a:gd name="connsiteY27" fmla="*/ 1381527 h 1973608"/>
              <a:gd name="connsiteX28" fmla="*/ 0 w 835200"/>
              <a:gd name="connsiteY28" fmla="*/ 1381525 h 1973608"/>
              <a:gd name="connsiteX29" fmla="*/ 0 w 835200"/>
              <a:gd name="connsiteY29" fmla="*/ 1184166 h 1973608"/>
              <a:gd name="connsiteX30" fmla="*/ 0 w 835200"/>
              <a:gd name="connsiteY30" fmla="*/ 1184165 h 1973608"/>
              <a:gd name="connsiteX31" fmla="*/ 0 w 835200"/>
              <a:gd name="connsiteY31" fmla="*/ 986806 h 1973608"/>
              <a:gd name="connsiteX32" fmla="*/ 0 w 835200"/>
              <a:gd name="connsiteY32" fmla="*/ 986804 h 1973608"/>
              <a:gd name="connsiteX33" fmla="*/ 0 w 835200"/>
              <a:gd name="connsiteY33" fmla="*/ 789445 h 1973608"/>
              <a:gd name="connsiteX34" fmla="*/ 0 w 835200"/>
              <a:gd name="connsiteY34" fmla="*/ 789444 h 1973608"/>
              <a:gd name="connsiteX35" fmla="*/ 0 w 835200"/>
              <a:gd name="connsiteY35" fmla="*/ 592085 h 1973608"/>
              <a:gd name="connsiteX36" fmla="*/ 0 w 835200"/>
              <a:gd name="connsiteY36" fmla="*/ 592083 h 1973608"/>
              <a:gd name="connsiteX37" fmla="*/ 0 w 835200"/>
              <a:gd name="connsiteY37" fmla="*/ 394723 h 1973608"/>
              <a:gd name="connsiteX38" fmla="*/ 0 w 835200"/>
              <a:gd name="connsiteY38" fmla="*/ 197362 h 1973608"/>
              <a:gd name="connsiteX39" fmla="*/ 0 w 835200"/>
              <a:gd name="connsiteY39"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0 w 835200"/>
              <a:gd name="connsiteY22" fmla="*/ 1776248 h 1973608"/>
              <a:gd name="connsiteX23" fmla="*/ 0 w 835200"/>
              <a:gd name="connsiteY23" fmla="*/ 1776246 h 1973608"/>
              <a:gd name="connsiteX24" fmla="*/ 0 w 835200"/>
              <a:gd name="connsiteY24" fmla="*/ 1578887 h 1973608"/>
              <a:gd name="connsiteX25" fmla="*/ 0 w 835200"/>
              <a:gd name="connsiteY25" fmla="*/ 1578886 h 1973608"/>
              <a:gd name="connsiteX26" fmla="*/ 0 w 835200"/>
              <a:gd name="connsiteY26" fmla="*/ 1381527 h 1973608"/>
              <a:gd name="connsiteX27" fmla="*/ 0 w 835200"/>
              <a:gd name="connsiteY27" fmla="*/ 1381525 h 1973608"/>
              <a:gd name="connsiteX28" fmla="*/ 0 w 835200"/>
              <a:gd name="connsiteY28" fmla="*/ 1184166 h 1973608"/>
              <a:gd name="connsiteX29" fmla="*/ 0 w 835200"/>
              <a:gd name="connsiteY29" fmla="*/ 1184165 h 1973608"/>
              <a:gd name="connsiteX30" fmla="*/ 0 w 835200"/>
              <a:gd name="connsiteY30" fmla="*/ 986806 h 1973608"/>
              <a:gd name="connsiteX31" fmla="*/ 0 w 835200"/>
              <a:gd name="connsiteY31" fmla="*/ 986804 h 1973608"/>
              <a:gd name="connsiteX32" fmla="*/ 0 w 835200"/>
              <a:gd name="connsiteY32" fmla="*/ 789445 h 1973608"/>
              <a:gd name="connsiteX33" fmla="*/ 0 w 835200"/>
              <a:gd name="connsiteY33" fmla="*/ 789444 h 1973608"/>
              <a:gd name="connsiteX34" fmla="*/ 0 w 835200"/>
              <a:gd name="connsiteY34" fmla="*/ 592085 h 1973608"/>
              <a:gd name="connsiteX35" fmla="*/ 0 w 835200"/>
              <a:gd name="connsiteY35" fmla="*/ 592083 h 1973608"/>
              <a:gd name="connsiteX36" fmla="*/ 0 w 835200"/>
              <a:gd name="connsiteY36" fmla="*/ 394723 h 1973608"/>
              <a:gd name="connsiteX37" fmla="*/ 0 w 835200"/>
              <a:gd name="connsiteY37" fmla="*/ 197362 h 1973608"/>
              <a:gd name="connsiteX38" fmla="*/ 0 w 835200"/>
              <a:gd name="connsiteY38"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417600 w 835200"/>
              <a:gd name="connsiteY20" fmla="*/ 1973608 h 1973608"/>
              <a:gd name="connsiteX21" fmla="*/ 0 w 835200"/>
              <a:gd name="connsiteY21" fmla="*/ 1776248 h 1973608"/>
              <a:gd name="connsiteX22" fmla="*/ 0 w 835200"/>
              <a:gd name="connsiteY22" fmla="*/ 1776246 h 1973608"/>
              <a:gd name="connsiteX23" fmla="*/ 0 w 835200"/>
              <a:gd name="connsiteY23" fmla="*/ 1578887 h 1973608"/>
              <a:gd name="connsiteX24" fmla="*/ 0 w 835200"/>
              <a:gd name="connsiteY24" fmla="*/ 1578886 h 1973608"/>
              <a:gd name="connsiteX25" fmla="*/ 0 w 835200"/>
              <a:gd name="connsiteY25" fmla="*/ 1381527 h 1973608"/>
              <a:gd name="connsiteX26" fmla="*/ 0 w 835200"/>
              <a:gd name="connsiteY26" fmla="*/ 1381525 h 1973608"/>
              <a:gd name="connsiteX27" fmla="*/ 0 w 835200"/>
              <a:gd name="connsiteY27" fmla="*/ 1184166 h 1973608"/>
              <a:gd name="connsiteX28" fmla="*/ 0 w 835200"/>
              <a:gd name="connsiteY28" fmla="*/ 1184165 h 1973608"/>
              <a:gd name="connsiteX29" fmla="*/ 0 w 835200"/>
              <a:gd name="connsiteY29" fmla="*/ 986806 h 1973608"/>
              <a:gd name="connsiteX30" fmla="*/ 0 w 835200"/>
              <a:gd name="connsiteY30" fmla="*/ 986804 h 1973608"/>
              <a:gd name="connsiteX31" fmla="*/ 0 w 835200"/>
              <a:gd name="connsiteY31" fmla="*/ 789445 h 1973608"/>
              <a:gd name="connsiteX32" fmla="*/ 0 w 835200"/>
              <a:gd name="connsiteY32" fmla="*/ 789444 h 1973608"/>
              <a:gd name="connsiteX33" fmla="*/ 0 w 835200"/>
              <a:gd name="connsiteY33" fmla="*/ 592085 h 1973608"/>
              <a:gd name="connsiteX34" fmla="*/ 0 w 835200"/>
              <a:gd name="connsiteY34" fmla="*/ 592083 h 1973608"/>
              <a:gd name="connsiteX35" fmla="*/ 0 w 835200"/>
              <a:gd name="connsiteY35" fmla="*/ 394723 h 1973608"/>
              <a:gd name="connsiteX36" fmla="*/ 0 w 835200"/>
              <a:gd name="connsiteY36" fmla="*/ 197362 h 1973608"/>
              <a:gd name="connsiteX37" fmla="*/ 0 w 835200"/>
              <a:gd name="connsiteY37"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417600 w 835200"/>
              <a:gd name="connsiteY19" fmla="*/ 1973608 h 1973608"/>
              <a:gd name="connsiteX20" fmla="*/ 0 w 835200"/>
              <a:gd name="connsiteY20" fmla="*/ 1776248 h 1973608"/>
              <a:gd name="connsiteX21" fmla="*/ 0 w 835200"/>
              <a:gd name="connsiteY21" fmla="*/ 1776246 h 1973608"/>
              <a:gd name="connsiteX22" fmla="*/ 0 w 835200"/>
              <a:gd name="connsiteY22" fmla="*/ 1578887 h 1973608"/>
              <a:gd name="connsiteX23" fmla="*/ 0 w 835200"/>
              <a:gd name="connsiteY23" fmla="*/ 1578886 h 1973608"/>
              <a:gd name="connsiteX24" fmla="*/ 0 w 835200"/>
              <a:gd name="connsiteY24" fmla="*/ 1381527 h 1973608"/>
              <a:gd name="connsiteX25" fmla="*/ 0 w 835200"/>
              <a:gd name="connsiteY25" fmla="*/ 1381525 h 1973608"/>
              <a:gd name="connsiteX26" fmla="*/ 0 w 835200"/>
              <a:gd name="connsiteY26" fmla="*/ 1184166 h 1973608"/>
              <a:gd name="connsiteX27" fmla="*/ 0 w 835200"/>
              <a:gd name="connsiteY27" fmla="*/ 1184165 h 1973608"/>
              <a:gd name="connsiteX28" fmla="*/ 0 w 835200"/>
              <a:gd name="connsiteY28" fmla="*/ 986806 h 1973608"/>
              <a:gd name="connsiteX29" fmla="*/ 0 w 835200"/>
              <a:gd name="connsiteY29" fmla="*/ 986804 h 1973608"/>
              <a:gd name="connsiteX30" fmla="*/ 0 w 835200"/>
              <a:gd name="connsiteY30" fmla="*/ 789445 h 1973608"/>
              <a:gd name="connsiteX31" fmla="*/ 0 w 835200"/>
              <a:gd name="connsiteY31" fmla="*/ 789444 h 1973608"/>
              <a:gd name="connsiteX32" fmla="*/ 0 w 835200"/>
              <a:gd name="connsiteY32" fmla="*/ 592085 h 1973608"/>
              <a:gd name="connsiteX33" fmla="*/ 0 w 835200"/>
              <a:gd name="connsiteY33" fmla="*/ 592083 h 1973608"/>
              <a:gd name="connsiteX34" fmla="*/ 0 w 835200"/>
              <a:gd name="connsiteY34" fmla="*/ 394723 h 1973608"/>
              <a:gd name="connsiteX35" fmla="*/ 0 w 835200"/>
              <a:gd name="connsiteY35" fmla="*/ 197362 h 1973608"/>
              <a:gd name="connsiteX36" fmla="*/ 0 w 835200"/>
              <a:gd name="connsiteY36" fmla="*/ 197361 h 197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35200" h="1973608">
                <a:moveTo>
                  <a:pt x="0" y="197361"/>
                </a:moveTo>
                <a:lnTo>
                  <a:pt x="417600" y="0"/>
                </a:lnTo>
                <a:lnTo>
                  <a:pt x="835200" y="197361"/>
                </a:lnTo>
                <a:lnTo>
                  <a:pt x="835200" y="197362"/>
                </a:lnTo>
                <a:lnTo>
                  <a:pt x="835200" y="394723"/>
                </a:lnTo>
                <a:lnTo>
                  <a:pt x="835200" y="592083"/>
                </a:lnTo>
                <a:lnTo>
                  <a:pt x="835200" y="592085"/>
                </a:lnTo>
                <a:lnTo>
                  <a:pt x="835200" y="789444"/>
                </a:lnTo>
                <a:lnTo>
                  <a:pt x="835200" y="789445"/>
                </a:lnTo>
                <a:lnTo>
                  <a:pt x="835200" y="986804"/>
                </a:lnTo>
                <a:lnTo>
                  <a:pt x="835200" y="986806"/>
                </a:lnTo>
                <a:lnTo>
                  <a:pt x="835200" y="1184165"/>
                </a:lnTo>
                <a:lnTo>
                  <a:pt x="835200" y="1184166"/>
                </a:lnTo>
                <a:lnTo>
                  <a:pt x="835200" y="1381525"/>
                </a:lnTo>
                <a:lnTo>
                  <a:pt x="835200" y="1381527"/>
                </a:lnTo>
                <a:lnTo>
                  <a:pt x="835200" y="1578886"/>
                </a:lnTo>
                <a:lnTo>
                  <a:pt x="835200" y="1578887"/>
                </a:lnTo>
                <a:lnTo>
                  <a:pt x="835200" y="1776246"/>
                </a:lnTo>
                <a:lnTo>
                  <a:pt x="835200" y="1776248"/>
                </a:lnTo>
                <a:lnTo>
                  <a:pt x="417600" y="1973608"/>
                </a:lnTo>
                <a:lnTo>
                  <a:pt x="0" y="1776248"/>
                </a:lnTo>
                <a:lnTo>
                  <a:pt x="0" y="1776246"/>
                </a:lnTo>
                <a:lnTo>
                  <a:pt x="0" y="1578887"/>
                </a:lnTo>
                <a:lnTo>
                  <a:pt x="0" y="1578886"/>
                </a:lnTo>
                <a:lnTo>
                  <a:pt x="0" y="1381527"/>
                </a:lnTo>
                <a:lnTo>
                  <a:pt x="0" y="1381525"/>
                </a:lnTo>
                <a:lnTo>
                  <a:pt x="0" y="1184166"/>
                </a:lnTo>
                <a:lnTo>
                  <a:pt x="0" y="1184165"/>
                </a:lnTo>
                <a:lnTo>
                  <a:pt x="0" y="986806"/>
                </a:lnTo>
                <a:lnTo>
                  <a:pt x="0" y="986804"/>
                </a:lnTo>
                <a:lnTo>
                  <a:pt x="0" y="789445"/>
                </a:lnTo>
                <a:lnTo>
                  <a:pt x="0" y="789444"/>
                </a:lnTo>
                <a:lnTo>
                  <a:pt x="0" y="592085"/>
                </a:lnTo>
                <a:lnTo>
                  <a:pt x="0" y="592083"/>
                </a:lnTo>
                <a:lnTo>
                  <a:pt x="0" y="394723"/>
                </a:lnTo>
                <a:lnTo>
                  <a:pt x="0" y="197362"/>
                </a:lnTo>
                <a:lnTo>
                  <a:pt x="0" y="197361"/>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spcBef>
                <a:spcPts val="300"/>
              </a:spcBef>
              <a:buClr>
                <a:srgbClr val="002897"/>
              </a:buClr>
              <a:buSzPct val="70000"/>
            </a:pPr>
            <a:r>
              <a:rPr lang="de-DE" sz="1000" dirty="0">
                <a:solidFill>
                  <a:schemeClr val="tx1"/>
                </a:solidFill>
              </a:rPr>
              <a:t>Scrubber tower</a:t>
            </a:r>
          </a:p>
        </p:txBody>
      </p:sp>
      <p:grpSp>
        <p:nvGrpSpPr>
          <p:cNvPr id="859" name="Group 858">
            <a:extLst>
              <a:ext uri="{FF2B5EF4-FFF2-40B4-BE49-F238E27FC236}">
                <a16:creationId xmlns:a16="http://schemas.microsoft.com/office/drawing/2014/main" id="{0425B40E-0F51-4AEE-9BE7-FEB41D70A621}"/>
              </a:ext>
            </a:extLst>
          </p:cNvPr>
          <p:cNvGrpSpPr/>
          <p:nvPr/>
        </p:nvGrpSpPr>
        <p:grpSpPr bwMode="gray">
          <a:xfrm>
            <a:off x="5425336" y="2230158"/>
            <a:ext cx="684041" cy="1501843"/>
            <a:chOff x="5356744" y="2465873"/>
            <a:chExt cx="835604" cy="2447925"/>
          </a:xfrm>
        </p:grpSpPr>
        <p:sp>
          <p:nvSpPr>
            <p:cNvPr id="860" name="Rectangle: Rounded Corners 859">
              <a:extLst>
                <a:ext uri="{FF2B5EF4-FFF2-40B4-BE49-F238E27FC236}">
                  <a16:creationId xmlns:a16="http://schemas.microsoft.com/office/drawing/2014/main" id="{DDC7A3D2-CB82-4163-88FA-00FB578A5867}"/>
                </a:ext>
              </a:extLst>
            </p:cNvPr>
            <p:cNvSpPr/>
            <p:nvPr/>
          </p:nvSpPr>
          <p:spPr bwMode="gray">
            <a:xfrm>
              <a:off x="5357148" y="2465873"/>
              <a:ext cx="835200" cy="2447925"/>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endParaRPr lang="de-DE" sz="1000" dirty="0">
                <a:solidFill>
                  <a:schemeClr val="tx1"/>
                </a:solidFill>
              </a:endParaRPr>
            </a:p>
          </p:txBody>
        </p:sp>
        <p:sp>
          <p:nvSpPr>
            <p:cNvPr id="861" name="Rectangle 860">
              <a:extLst>
                <a:ext uri="{FF2B5EF4-FFF2-40B4-BE49-F238E27FC236}">
                  <a16:creationId xmlns:a16="http://schemas.microsoft.com/office/drawing/2014/main" id="{5171D96E-E737-4D6D-9AE8-41924A59891D}"/>
                </a:ext>
              </a:extLst>
            </p:cNvPr>
            <p:cNvSpPr/>
            <p:nvPr/>
          </p:nvSpPr>
          <p:spPr bwMode="gray">
            <a:xfrm>
              <a:off x="5356744" y="2916882"/>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862" name="Rectangle 861">
              <a:extLst>
                <a:ext uri="{FF2B5EF4-FFF2-40B4-BE49-F238E27FC236}">
                  <a16:creationId xmlns:a16="http://schemas.microsoft.com/office/drawing/2014/main" id="{F60E2F76-BAAA-44BF-8FCA-BA5628151358}"/>
                </a:ext>
              </a:extLst>
            </p:cNvPr>
            <p:cNvSpPr/>
            <p:nvPr/>
          </p:nvSpPr>
          <p:spPr bwMode="gray">
            <a:xfrm>
              <a:off x="5356744" y="3071473"/>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863" name="Rectangle 862">
              <a:extLst>
                <a:ext uri="{FF2B5EF4-FFF2-40B4-BE49-F238E27FC236}">
                  <a16:creationId xmlns:a16="http://schemas.microsoft.com/office/drawing/2014/main" id="{0048A770-2A76-4F90-9D69-0C89B1049C77}"/>
                </a:ext>
              </a:extLst>
            </p:cNvPr>
            <p:cNvSpPr/>
            <p:nvPr/>
          </p:nvSpPr>
          <p:spPr bwMode="gray">
            <a:xfrm>
              <a:off x="5356744" y="3226064"/>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864" name="Rectangle 863">
              <a:extLst>
                <a:ext uri="{FF2B5EF4-FFF2-40B4-BE49-F238E27FC236}">
                  <a16:creationId xmlns:a16="http://schemas.microsoft.com/office/drawing/2014/main" id="{543FE105-7971-4FA8-A50E-C7BC96308886}"/>
                </a:ext>
              </a:extLst>
            </p:cNvPr>
            <p:cNvSpPr/>
            <p:nvPr/>
          </p:nvSpPr>
          <p:spPr bwMode="gray">
            <a:xfrm>
              <a:off x="5356744" y="3380655"/>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865" name="Rectangle 864">
              <a:extLst>
                <a:ext uri="{FF2B5EF4-FFF2-40B4-BE49-F238E27FC236}">
                  <a16:creationId xmlns:a16="http://schemas.microsoft.com/office/drawing/2014/main" id="{AA3AC7E3-7597-41BD-AF61-0007EF5345D2}"/>
                </a:ext>
              </a:extLst>
            </p:cNvPr>
            <p:cNvSpPr/>
            <p:nvPr/>
          </p:nvSpPr>
          <p:spPr bwMode="gray">
            <a:xfrm>
              <a:off x="5356744" y="3535246"/>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866" name="Rectangle 865">
              <a:extLst>
                <a:ext uri="{FF2B5EF4-FFF2-40B4-BE49-F238E27FC236}">
                  <a16:creationId xmlns:a16="http://schemas.microsoft.com/office/drawing/2014/main" id="{D8541FE2-28C3-48A5-911F-2D1E1B7D769F}"/>
                </a:ext>
              </a:extLst>
            </p:cNvPr>
            <p:cNvSpPr/>
            <p:nvPr/>
          </p:nvSpPr>
          <p:spPr bwMode="gray">
            <a:xfrm>
              <a:off x="5356744" y="3689837"/>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867" name="Rectangle 866">
              <a:extLst>
                <a:ext uri="{FF2B5EF4-FFF2-40B4-BE49-F238E27FC236}">
                  <a16:creationId xmlns:a16="http://schemas.microsoft.com/office/drawing/2014/main" id="{12CD2775-EC27-4144-A597-C2979F79D9D5}"/>
                </a:ext>
              </a:extLst>
            </p:cNvPr>
            <p:cNvSpPr/>
            <p:nvPr/>
          </p:nvSpPr>
          <p:spPr bwMode="gray">
            <a:xfrm>
              <a:off x="5356744" y="3844428"/>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868" name="Rectangle 867">
              <a:extLst>
                <a:ext uri="{FF2B5EF4-FFF2-40B4-BE49-F238E27FC236}">
                  <a16:creationId xmlns:a16="http://schemas.microsoft.com/office/drawing/2014/main" id="{5FE658BE-EB54-4451-9EBD-CF6B73266AA3}"/>
                </a:ext>
              </a:extLst>
            </p:cNvPr>
            <p:cNvSpPr/>
            <p:nvPr/>
          </p:nvSpPr>
          <p:spPr bwMode="gray">
            <a:xfrm>
              <a:off x="5356744" y="3999019"/>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869" name="Rectangle 868">
              <a:extLst>
                <a:ext uri="{FF2B5EF4-FFF2-40B4-BE49-F238E27FC236}">
                  <a16:creationId xmlns:a16="http://schemas.microsoft.com/office/drawing/2014/main" id="{3CB6EC10-9502-4067-8BB9-71E848725FB7}"/>
                </a:ext>
              </a:extLst>
            </p:cNvPr>
            <p:cNvSpPr/>
            <p:nvPr/>
          </p:nvSpPr>
          <p:spPr bwMode="gray">
            <a:xfrm>
              <a:off x="5356744" y="4153610"/>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870" name="Rectangle 869">
              <a:extLst>
                <a:ext uri="{FF2B5EF4-FFF2-40B4-BE49-F238E27FC236}">
                  <a16:creationId xmlns:a16="http://schemas.microsoft.com/office/drawing/2014/main" id="{CDBDB9D6-C9BA-4AB5-B8BD-FD69DC618FFE}"/>
                </a:ext>
              </a:extLst>
            </p:cNvPr>
            <p:cNvSpPr/>
            <p:nvPr/>
          </p:nvSpPr>
          <p:spPr bwMode="gray">
            <a:xfrm>
              <a:off x="5356744" y="4308201"/>
              <a:ext cx="835200" cy="1545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buClr>
                  <a:srgbClr val="002897"/>
                </a:buClr>
                <a:buSzPct val="70000"/>
              </a:pPr>
              <a:endParaRPr lang="de-DE" sz="1000" dirty="0">
                <a:solidFill>
                  <a:schemeClr val="tx1"/>
                </a:solidFill>
              </a:endParaRPr>
            </a:p>
          </p:txBody>
        </p:sp>
        <p:sp>
          <p:nvSpPr>
            <p:cNvPr id="871" name="Rectangle 870">
              <a:extLst>
                <a:ext uri="{FF2B5EF4-FFF2-40B4-BE49-F238E27FC236}">
                  <a16:creationId xmlns:a16="http://schemas.microsoft.com/office/drawing/2014/main" id="{021F6516-124D-4EA5-B8F2-471B7483C540}"/>
                </a:ext>
              </a:extLst>
            </p:cNvPr>
            <p:cNvSpPr/>
            <p:nvPr/>
          </p:nvSpPr>
          <p:spPr bwMode="gray">
            <a:xfrm>
              <a:off x="5356744" y="3380655"/>
              <a:ext cx="835200" cy="618365"/>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algn="ctr">
                <a:spcBef>
                  <a:spcPts val="300"/>
                </a:spcBef>
                <a:buClr>
                  <a:srgbClr val="002897"/>
                </a:buClr>
                <a:buSzPct val="70000"/>
              </a:pPr>
              <a:r>
                <a:rPr lang="de-DE" sz="1000" dirty="0">
                  <a:solidFill>
                    <a:schemeClr val="tx1"/>
                  </a:solidFill>
                </a:rPr>
                <a:t>Absorber tower</a:t>
              </a:r>
            </a:p>
          </p:txBody>
        </p:sp>
      </p:grpSp>
      <p:grpSp>
        <p:nvGrpSpPr>
          <p:cNvPr id="872" name="Group 871">
            <a:extLst>
              <a:ext uri="{FF2B5EF4-FFF2-40B4-BE49-F238E27FC236}">
                <a16:creationId xmlns:a16="http://schemas.microsoft.com/office/drawing/2014/main" id="{6B1C131F-B015-421B-A478-342819DB99B9}"/>
              </a:ext>
            </a:extLst>
          </p:cNvPr>
          <p:cNvGrpSpPr/>
          <p:nvPr/>
        </p:nvGrpSpPr>
        <p:grpSpPr bwMode="gray">
          <a:xfrm>
            <a:off x="8245124" y="3468176"/>
            <a:ext cx="518858" cy="687571"/>
            <a:chOff x="13626402" y="3811749"/>
            <a:chExt cx="518858" cy="687571"/>
          </a:xfrm>
        </p:grpSpPr>
        <p:sp>
          <p:nvSpPr>
            <p:cNvPr id="873" name="Oval 872">
              <a:extLst>
                <a:ext uri="{FF2B5EF4-FFF2-40B4-BE49-F238E27FC236}">
                  <a16:creationId xmlns:a16="http://schemas.microsoft.com/office/drawing/2014/main" id="{8A4056AC-DD2D-42BA-8205-C928E4B1B388}"/>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874" name="Freeform: Shape 873">
              <a:extLst>
                <a:ext uri="{FF2B5EF4-FFF2-40B4-BE49-F238E27FC236}">
                  <a16:creationId xmlns:a16="http://schemas.microsoft.com/office/drawing/2014/main" id="{99E96167-7CA8-4CEC-83B5-0891E346FCB8}"/>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a:solidFill>
                  <a:schemeClr val="tx1"/>
                </a:solidFill>
              </a:endParaRPr>
            </a:p>
          </p:txBody>
        </p:sp>
        <p:sp>
          <p:nvSpPr>
            <p:cNvPr id="875" name="Rectangle 874">
              <a:extLst>
                <a:ext uri="{FF2B5EF4-FFF2-40B4-BE49-F238E27FC236}">
                  <a16:creationId xmlns:a16="http://schemas.microsoft.com/office/drawing/2014/main" id="{5784BAB9-F566-49C0-BC38-736B338AC0CC}"/>
                </a:ext>
              </a:extLst>
            </p:cNvPr>
            <p:cNvSpPr/>
            <p:nvPr/>
          </p:nvSpPr>
          <p:spPr bwMode="gray">
            <a:xfrm>
              <a:off x="13626402" y="4122485"/>
              <a:ext cx="518858" cy="37683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Gas cooler</a:t>
              </a:r>
            </a:p>
          </p:txBody>
        </p:sp>
      </p:grpSp>
      <p:grpSp>
        <p:nvGrpSpPr>
          <p:cNvPr id="876" name="Group 875">
            <a:extLst>
              <a:ext uri="{FF2B5EF4-FFF2-40B4-BE49-F238E27FC236}">
                <a16:creationId xmlns:a16="http://schemas.microsoft.com/office/drawing/2014/main" id="{327115B0-3428-4FCB-8313-505348E07402}"/>
              </a:ext>
            </a:extLst>
          </p:cNvPr>
          <p:cNvGrpSpPr/>
          <p:nvPr/>
        </p:nvGrpSpPr>
        <p:grpSpPr bwMode="gray">
          <a:xfrm>
            <a:off x="8846825" y="3292480"/>
            <a:ext cx="842400" cy="827159"/>
            <a:chOff x="3496037" y="4559133"/>
            <a:chExt cx="842400" cy="827159"/>
          </a:xfrm>
        </p:grpSpPr>
        <p:sp>
          <p:nvSpPr>
            <p:cNvPr id="877" name="Rectangle 876">
              <a:extLst>
                <a:ext uri="{FF2B5EF4-FFF2-40B4-BE49-F238E27FC236}">
                  <a16:creationId xmlns:a16="http://schemas.microsoft.com/office/drawing/2014/main" id="{0BA324F4-FCA3-4ACB-BF20-B706C33474D5}"/>
                </a:ext>
              </a:extLst>
            </p:cNvPr>
            <p:cNvSpPr/>
            <p:nvPr/>
          </p:nvSpPr>
          <p:spPr bwMode="gray">
            <a:xfrm>
              <a:off x="3496037" y="5221262"/>
              <a:ext cx="842400"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ndensate separator</a:t>
              </a:r>
            </a:p>
          </p:txBody>
        </p:sp>
        <p:sp>
          <p:nvSpPr>
            <p:cNvPr id="878" name="Rectangle: Rounded Corners 877">
              <a:extLst>
                <a:ext uri="{FF2B5EF4-FFF2-40B4-BE49-F238E27FC236}">
                  <a16:creationId xmlns:a16="http://schemas.microsoft.com/office/drawing/2014/main" id="{A021A98A-C8F5-4E2B-9D77-93B6835FC9E1}"/>
                </a:ext>
              </a:extLst>
            </p:cNvPr>
            <p:cNvSpPr/>
            <p:nvPr/>
          </p:nvSpPr>
          <p:spPr bwMode="gray">
            <a:xfrm rot="5400000">
              <a:off x="3587672" y="4734829"/>
              <a:ext cx="659130"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grpSp>
      <p:sp>
        <p:nvSpPr>
          <p:cNvPr id="879" name="Freeform: Shape 878">
            <a:extLst>
              <a:ext uri="{FF2B5EF4-FFF2-40B4-BE49-F238E27FC236}">
                <a16:creationId xmlns:a16="http://schemas.microsoft.com/office/drawing/2014/main" id="{2BAF4781-01A3-4976-B3EB-F2512842628A}"/>
              </a:ext>
            </a:extLst>
          </p:cNvPr>
          <p:cNvSpPr/>
          <p:nvPr/>
        </p:nvSpPr>
        <p:spPr bwMode="gray">
          <a:xfrm>
            <a:off x="2095674" y="4051089"/>
            <a:ext cx="638340" cy="738664"/>
          </a:xfrm>
          <a:custGeom>
            <a:avLst/>
            <a:gdLst>
              <a:gd name="connsiteX0" fmla="*/ 0 w 835200"/>
              <a:gd name="connsiteY0" fmla="*/ 0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 name="connsiteX0" fmla="*/ 0 w 835200"/>
              <a:gd name="connsiteY0" fmla="*/ 197361 h 1973608"/>
              <a:gd name="connsiteX1" fmla="*/ 417600 w 835200"/>
              <a:gd name="connsiteY1" fmla="*/ 0 h 1973608"/>
              <a:gd name="connsiteX2" fmla="*/ 626400 w 835200"/>
              <a:gd name="connsiteY2" fmla="*/ 0 h 1973608"/>
              <a:gd name="connsiteX3" fmla="*/ 835200 w 835200"/>
              <a:gd name="connsiteY3" fmla="*/ 0 h 1973608"/>
              <a:gd name="connsiteX4" fmla="*/ 835200 w 835200"/>
              <a:gd name="connsiteY4" fmla="*/ 197361 h 1973608"/>
              <a:gd name="connsiteX5" fmla="*/ 835200 w 835200"/>
              <a:gd name="connsiteY5" fmla="*/ 197362 h 1973608"/>
              <a:gd name="connsiteX6" fmla="*/ 835200 w 835200"/>
              <a:gd name="connsiteY6" fmla="*/ 394723 h 1973608"/>
              <a:gd name="connsiteX7" fmla="*/ 835200 w 835200"/>
              <a:gd name="connsiteY7" fmla="*/ 592083 h 1973608"/>
              <a:gd name="connsiteX8" fmla="*/ 835200 w 835200"/>
              <a:gd name="connsiteY8" fmla="*/ 592085 h 1973608"/>
              <a:gd name="connsiteX9" fmla="*/ 835200 w 835200"/>
              <a:gd name="connsiteY9" fmla="*/ 789444 h 1973608"/>
              <a:gd name="connsiteX10" fmla="*/ 835200 w 835200"/>
              <a:gd name="connsiteY10" fmla="*/ 789445 h 1973608"/>
              <a:gd name="connsiteX11" fmla="*/ 835200 w 835200"/>
              <a:gd name="connsiteY11" fmla="*/ 986804 h 1973608"/>
              <a:gd name="connsiteX12" fmla="*/ 835200 w 835200"/>
              <a:gd name="connsiteY12" fmla="*/ 986806 h 1973608"/>
              <a:gd name="connsiteX13" fmla="*/ 835200 w 835200"/>
              <a:gd name="connsiteY13" fmla="*/ 1184165 h 1973608"/>
              <a:gd name="connsiteX14" fmla="*/ 835200 w 835200"/>
              <a:gd name="connsiteY14" fmla="*/ 1184166 h 1973608"/>
              <a:gd name="connsiteX15" fmla="*/ 835200 w 835200"/>
              <a:gd name="connsiteY15" fmla="*/ 1381525 h 1973608"/>
              <a:gd name="connsiteX16" fmla="*/ 835200 w 835200"/>
              <a:gd name="connsiteY16" fmla="*/ 1381527 h 1973608"/>
              <a:gd name="connsiteX17" fmla="*/ 835200 w 835200"/>
              <a:gd name="connsiteY17" fmla="*/ 1578886 h 1973608"/>
              <a:gd name="connsiteX18" fmla="*/ 835200 w 835200"/>
              <a:gd name="connsiteY18" fmla="*/ 1578887 h 1973608"/>
              <a:gd name="connsiteX19" fmla="*/ 835200 w 835200"/>
              <a:gd name="connsiteY19" fmla="*/ 1776246 h 1973608"/>
              <a:gd name="connsiteX20" fmla="*/ 835200 w 835200"/>
              <a:gd name="connsiteY20" fmla="*/ 1776248 h 1973608"/>
              <a:gd name="connsiteX21" fmla="*/ 835200 w 835200"/>
              <a:gd name="connsiteY21" fmla="*/ 1973608 h 1973608"/>
              <a:gd name="connsiteX22" fmla="*/ 626400 w 835200"/>
              <a:gd name="connsiteY22" fmla="*/ 1973608 h 1973608"/>
              <a:gd name="connsiteX23" fmla="*/ 417600 w 835200"/>
              <a:gd name="connsiteY23" fmla="*/ 1973608 h 1973608"/>
              <a:gd name="connsiteX24" fmla="*/ 208800 w 835200"/>
              <a:gd name="connsiteY24" fmla="*/ 1973608 h 1973608"/>
              <a:gd name="connsiteX25" fmla="*/ 0 w 835200"/>
              <a:gd name="connsiteY25" fmla="*/ 1973608 h 1973608"/>
              <a:gd name="connsiteX26" fmla="*/ 0 w 835200"/>
              <a:gd name="connsiteY26" fmla="*/ 1776248 h 1973608"/>
              <a:gd name="connsiteX27" fmla="*/ 0 w 835200"/>
              <a:gd name="connsiteY27" fmla="*/ 1776246 h 1973608"/>
              <a:gd name="connsiteX28" fmla="*/ 0 w 835200"/>
              <a:gd name="connsiteY28" fmla="*/ 1578887 h 1973608"/>
              <a:gd name="connsiteX29" fmla="*/ 0 w 835200"/>
              <a:gd name="connsiteY29" fmla="*/ 1578886 h 1973608"/>
              <a:gd name="connsiteX30" fmla="*/ 0 w 835200"/>
              <a:gd name="connsiteY30" fmla="*/ 1381527 h 1973608"/>
              <a:gd name="connsiteX31" fmla="*/ 0 w 835200"/>
              <a:gd name="connsiteY31" fmla="*/ 1381525 h 1973608"/>
              <a:gd name="connsiteX32" fmla="*/ 0 w 835200"/>
              <a:gd name="connsiteY32" fmla="*/ 1184166 h 1973608"/>
              <a:gd name="connsiteX33" fmla="*/ 0 w 835200"/>
              <a:gd name="connsiteY33" fmla="*/ 1184165 h 1973608"/>
              <a:gd name="connsiteX34" fmla="*/ 0 w 835200"/>
              <a:gd name="connsiteY34" fmla="*/ 986806 h 1973608"/>
              <a:gd name="connsiteX35" fmla="*/ 0 w 835200"/>
              <a:gd name="connsiteY35" fmla="*/ 986804 h 1973608"/>
              <a:gd name="connsiteX36" fmla="*/ 0 w 835200"/>
              <a:gd name="connsiteY36" fmla="*/ 789445 h 1973608"/>
              <a:gd name="connsiteX37" fmla="*/ 0 w 835200"/>
              <a:gd name="connsiteY37" fmla="*/ 789444 h 1973608"/>
              <a:gd name="connsiteX38" fmla="*/ 0 w 835200"/>
              <a:gd name="connsiteY38" fmla="*/ 592085 h 1973608"/>
              <a:gd name="connsiteX39" fmla="*/ 0 w 835200"/>
              <a:gd name="connsiteY39" fmla="*/ 592083 h 1973608"/>
              <a:gd name="connsiteX40" fmla="*/ 0 w 835200"/>
              <a:gd name="connsiteY40" fmla="*/ 394723 h 1973608"/>
              <a:gd name="connsiteX41" fmla="*/ 0 w 835200"/>
              <a:gd name="connsiteY41" fmla="*/ 197362 h 1973608"/>
              <a:gd name="connsiteX42" fmla="*/ 0 w 835200"/>
              <a:gd name="connsiteY42" fmla="*/ 197361 h 1973608"/>
              <a:gd name="connsiteX0" fmla="*/ 0 w 835200"/>
              <a:gd name="connsiteY0" fmla="*/ 197361 h 1973608"/>
              <a:gd name="connsiteX1" fmla="*/ 417600 w 835200"/>
              <a:gd name="connsiteY1" fmla="*/ 0 h 1973608"/>
              <a:gd name="connsiteX2" fmla="*/ 835200 w 835200"/>
              <a:gd name="connsiteY2" fmla="*/ 0 h 1973608"/>
              <a:gd name="connsiteX3" fmla="*/ 835200 w 835200"/>
              <a:gd name="connsiteY3" fmla="*/ 197361 h 1973608"/>
              <a:gd name="connsiteX4" fmla="*/ 835200 w 835200"/>
              <a:gd name="connsiteY4" fmla="*/ 197362 h 1973608"/>
              <a:gd name="connsiteX5" fmla="*/ 835200 w 835200"/>
              <a:gd name="connsiteY5" fmla="*/ 394723 h 1973608"/>
              <a:gd name="connsiteX6" fmla="*/ 835200 w 835200"/>
              <a:gd name="connsiteY6" fmla="*/ 592083 h 1973608"/>
              <a:gd name="connsiteX7" fmla="*/ 835200 w 835200"/>
              <a:gd name="connsiteY7" fmla="*/ 592085 h 1973608"/>
              <a:gd name="connsiteX8" fmla="*/ 835200 w 835200"/>
              <a:gd name="connsiteY8" fmla="*/ 789444 h 1973608"/>
              <a:gd name="connsiteX9" fmla="*/ 835200 w 835200"/>
              <a:gd name="connsiteY9" fmla="*/ 789445 h 1973608"/>
              <a:gd name="connsiteX10" fmla="*/ 835200 w 835200"/>
              <a:gd name="connsiteY10" fmla="*/ 986804 h 1973608"/>
              <a:gd name="connsiteX11" fmla="*/ 835200 w 835200"/>
              <a:gd name="connsiteY11" fmla="*/ 986806 h 1973608"/>
              <a:gd name="connsiteX12" fmla="*/ 835200 w 835200"/>
              <a:gd name="connsiteY12" fmla="*/ 1184165 h 1973608"/>
              <a:gd name="connsiteX13" fmla="*/ 835200 w 835200"/>
              <a:gd name="connsiteY13" fmla="*/ 1184166 h 1973608"/>
              <a:gd name="connsiteX14" fmla="*/ 835200 w 835200"/>
              <a:gd name="connsiteY14" fmla="*/ 1381525 h 1973608"/>
              <a:gd name="connsiteX15" fmla="*/ 835200 w 835200"/>
              <a:gd name="connsiteY15" fmla="*/ 1381527 h 1973608"/>
              <a:gd name="connsiteX16" fmla="*/ 835200 w 835200"/>
              <a:gd name="connsiteY16" fmla="*/ 1578886 h 1973608"/>
              <a:gd name="connsiteX17" fmla="*/ 835200 w 835200"/>
              <a:gd name="connsiteY17" fmla="*/ 1578887 h 1973608"/>
              <a:gd name="connsiteX18" fmla="*/ 835200 w 835200"/>
              <a:gd name="connsiteY18" fmla="*/ 1776246 h 1973608"/>
              <a:gd name="connsiteX19" fmla="*/ 835200 w 835200"/>
              <a:gd name="connsiteY19" fmla="*/ 1776248 h 1973608"/>
              <a:gd name="connsiteX20" fmla="*/ 835200 w 835200"/>
              <a:gd name="connsiteY20" fmla="*/ 1973608 h 1973608"/>
              <a:gd name="connsiteX21" fmla="*/ 626400 w 835200"/>
              <a:gd name="connsiteY21" fmla="*/ 1973608 h 1973608"/>
              <a:gd name="connsiteX22" fmla="*/ 417600 w 835200"/>
              <a:gd name="connsiteY22" fmla="*/ 1973608 h 1973608"/>
              <a:gd name="connsiteX23" fmla="*/ 208800 w 835200"/>
              <a:gd name="connsiteY23" fmla="*/ 1973608 h 1973608"/>
              <a:gd name="connsiteX24" fmla="*/ 0 w 835200"/>
              <a:gd name="connsiteY24" fmla="*/ 1973608 h 1973608"/>
              <a:gd name="connsiteX25" fmla="*/ 0 w 835200"/>
              <a:gd name="connsiteY25" fmla="*/ 1776248 h 1973608"/>
              <a:gd name="connsiteX26" fmla="*/ 0 w 835200"/>
              <a:gd name="connsiteY26" fmla="*/ 1776246 h 1973608"/>
              <a:gd name="connsiteX27" fmla="*/ 0 w 835200"/>
              <a:gd name="connsiteY27" fmla="*/ 1578887 h 1973608"/>
              <a:gd name="connsiteX28" fmla="*/ 0 w 835200"/>
              <a:gd name="connsiteY28" fmla="*/ 1578886 h 1973608"/>
              <a:gd name="connsiteX29" fmla="*/ 0 w 835200"/>
              <a:gd name="connsiteY29" fmla="*/ 1381527 h 1973608"/>
              <a:gd name="connsiteX30" fmla="*/ 0 w 835200"/>
              <a:gd name="connsiteY30" fmla="*/ 1381525 h 1973608"/>
              <a:gd name="connsiteX31" fmla="*/ 0 w 835200"/>
              <a:gd name="connsiteY31" fmla="*/ 1184166 h 1973608"/>
              <a:gd name="connsiteX32" fmla="*/ 0 w 835200"/>
              <a:gd name="connsiteY32" fmla="*/ 1184165 h 1973608"/>
              <a:gd name="connsiteX33" fmla="*/ 0 w 835200"/>
              <a:gd name="connsiteY33" fmla="*/ 986806 h 1973608"/>
              <a:gd name="connsiteX34" fmla="*/ 0 w 835200"/>
              <a:gd name="connsiteY34" fmla="*/ 986804 h 1973608"/>
              <a:gd name="connsiteX35" fmla="*/ 0 w 835200"/>
              <a:gd name="connsiteY35" fmla="*/ 789445 h 1973608"/>
              <a:gd name="connsiteX36" fmla="*/ 0 w 835200"/>
              <a:gd name="connsiteY36" fmla="*/ 789444 h 1973608"/>
              <a:gd name="connsiteX37" fmla="*/ 0 w 835200"/>
              <a:gd name="connsiteY37" fmla="*/ 592085 h 1973608"/>
              <a:gd name="connsiteX38" fmla="*/ 0 w 835200"/>
              <a:gd name="connsiteY38" fmla="*/ 592083 h 1973608"/>
              <a:gd name="connsiteX39" fmla="*/ 0 w 835200"/>
              <a:gd name="connsiteY39" fmla="*/ 394723 h 1973608"/>
              <a:gd name="connsiteX40" fmla="*/ 0 w 835200"/>
              <a:gd name="connsiteY40" fmla="*/ 197362 h 1973608"/>
              <a:gd name="connsiteX41" fmla="*/ 0 w 835200"/>
              <a:gd name="connsiteY41"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973608 h 1973608"/>
              <a:gd name="connsiteX24" fmla="*/ 0 w 835200"/>
              <a:gd name="connsiteY24" fmla="*/ 1776248 h 1973608"/>
              <a:gd name="connsiteX25" fmla="*/ 0 w 835200"/>
              <a:gd name="connsiteY25" fmla="*/ 1776246 h 1973608"/>
              <a:gd name="connsiteX26" fmla="*/ 0 w 835200"/>
              <a:gd name="connsiteY26" fmla="*/ 1578887 h 1973608"/>
              <a:gd name="connsiteX27" fmla="*/ 0 w 835200"/>
              <a:gd name="connsiteY27" fmla="*/ 1578886 h 1973608"/>
              <a:gd name="connsiteX28" fmla="*/ 0 w 835200"/>
              <a:gd name="connsiteY28" fmla="*/ 1381527 h 1973608"/>
              <a:gd name="connsiteX29" fmla="*/ 0 w 835200"/>
              <a:gd name="connsiteY29" fmla="*/ 1381525 h 1973608"/>
              <a:gd name="connsiteX30" fmla="*/ 0 w 835200"/>
              <a:gd name="connsiteY30" fmla="*/ 1184166 h 1973608"/>
              <a:gd name="connsiteX31" fmla="*/ 0 w 835200"/>
              <a:gd name="connsiteY31" fmla="*/ 1184165 h 1973608"/>
              <a:gd name="connsiteX32" fmla="*/ 0 w 835200"/>
              <a:gd name="connsiteY32" fmla="*/ 986806 h 1973608"/>
              <a:gd name="connsiteX33" fmla="*/ 0 w 835200"/>
              <a:gd name="connsiteY33" fmla="*/ 986804 h 1973608"/>
              <a:gd name="connsiteX34" fmla="*/ 0 w 835200"/>
              <a:gd name="connsiteY34" fmla="*/ 789445 h 1973608"/>
              <a:gd name="connsiteX35" fmla="*/ 0 w 835200"/>
              <a:gd name="connsiteY35" fmla="*/ 789444 h 1973608"/>
              <a:gd name="connsiteX36" fmla="*/ 0 w 835200"/>
              <a:gd name="connsiteY36" fmla="*/ 592085 h 1973608"/>
              <a:gd name="connsiteX37" fmla="*/ 0 w 835200"/>
              <a:gd name="connsiteY37" fmla="*/ 592083 h 1973608"/>
              <a:gd name="connsiteX38" fmla="*/ 0 w 835200"/>
              <a:gd name="connsiteY38" fmla="*/ 394723 h 1973608"/>
              <a:gd name="connsiteX39" fmla="*/ 0 w 835200"/>
              <a:gd name="connsiteY39" fmla="*/ 197362 h 1973608"/>
              <a:gd name="connsiteX40" fmla="*/ 0 w 835200"/>
              <a:gd name="connsiteY40"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208800 w 835200"/>
              <a:gd name="connsiteY22" fmla="*/ 1973608 h 1973608"/>
              <a:gd name="connsiteX23" fmla="*/ 0 w 835200"/>
              <a:gd name="connsiteY23" fmla="*/ 1776248 h 1973608"/>
              <a:gd name="connsiteX24" fmla="*/ 0 w 835200"/>
              <a:gd name="connsiteY24" fmla="*/ 1776246 h 1973608"/>
              <a:gd name="connsiteX25" fmla="*/ 0 w 835200"/>
              <a:gd name="connsiteY25" fmla="*/ 1578887 h 1973608"/>
              <a:gd name="connsiteX26" fmla="*/ 0 w 835200"/>
              <a:gd name="connsiteY26" fmla="*/ 1578886 h 1973608"/>
              <a:gd name="connsiteX27" fmla="*/ 0 w 835200"/>
              <a:gd name="connsiteY27" fmla="*/ 1381527 h 1973608"/>
              <a:gd name="connsiteX28" fmla="*/ 0 w 835200"/>
              <a:gd name="connsiteY28" fmla="*/ 1381525 h 1973608"/>
              <a:gd name="connsiteX29" fmla="*/ 0 w 835200"/>
              <a:gd name="connsiteY29" fmla="*/ 1184166 h 1973608"/>
              <a:gd name="connsiteX30" fmla="*/ 0 w 835200"/>
              <a:gd name="connsiteY30" fmla="*/ 1184165 h 1973608"/>
              <a:gd name="connsiteX31" fmla="*/ 0 w 835200"/>
              <a:gd name="connsiteY31" fmla="*/ 986806 h 1973608"/>
              <a:gd name="connsiteX32" fmla="*/ 0 w 835200"/>
              <a:gd name="connsiteY32" fmla="*/ 986804 h 1973608"/>
              <a:gd name="connsiteX33" fmla="*/ 0 w 835200"/>
              <a:gd name="connsiteY33" fmla="*/ 789445 h 1973608"/>
              <a:gd name="connsiteX34" fmla="*/ 0 w 835200"/>
              <a:gd name="connsiteY34" fmla="*/ 789444 h 1973608"/>
              <a:gd name="connsiteX35" fmla="*/ 0 w 835200"/>
              <a:gd name="connsiteY35" fmla="*/ 592085 h 1973608"/>
              <a:gd name="connsiteX36" fmla="*/ 0 w 835200"/>
              <a:gd name="connsiteY36" fmla="*/ 592083 h 1973608"/>
              <a:gd name="connsiteX37" fmla="*/ 0 w 835200"/>
              <a:gd name="connsiteY37" fmla="*/ 394723 h 1973608"/>
              <a:gd name="connsiteX38" fmla="*/ 0 w 835200"/>
              <a:gd name="connsiteY38" fmla="*/ 197362 h 1973608"/>
              <a:gd name="connsiteX39" fmla="*/ 0 w 835200"/>
              <a:gd name="connsiteY39"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626400 w 835200"/>
              <a:gd name="connsiteY20" fmla="*/ 1973608 h 1973608"/>
              <a:gd name="connsiteX21" fmla="*/ 417600 w 835200"/>
              <a:gd name="connsiteY21" fmla="*/ 1973608 h 1973608"/>
              <a:gd name="connsiteX22" fmla="*/ 0 w 835200"/>
              <a:gd name="connsiteY22" fmla="*/ 1776248 h 1973608"/>
              <a:gd name="connsiteX23" fmla="*/ 0 w 835200"/>
              <a:gd name="connsiteY23" fmla="*/ 1776246 h 1973608"/>
              <a:gd name="connsiteX24" fmla="*/ 0 w 835200"/>
              <a:gd name="connsiteY24" fmla="*/ 1578887 h 1973608"/>
              <a:gd name="connsiteX25" fmla="*/ 0 w 835200"/>
              <a:gd name="connsiteY25" fmla="*/ 1578886 h 1973608"/>
              <a:gd name="connsiteX26" fmla="*/ 0 w 835200"/>
              <a:gd name="connsiteY26" fmla="*/ 1381527 h 1973608"/>
              <a:gd name="connsiteX27" fmla="*/ 0 w 835200"/>
              <a:gd name="connsiteY27" fmla="*/ 1381525 h 1973608"/>
              <a:gd name="connsiteX28" fmla="*/ 0 w 835200"/>
              <a:gd name="connsiteY28" fmla="*/ 1184166 h 1973608"/>
              <a:gd name="connsiteX29" fmla="*/ 0 w 835200"/>
              <a:gd name="connsiteY29" fmla="*/ 1184165 h 1973608"/>
              <a:gd name="connsiteX30" fmla="*/ 0 w 835200"/>
              <a:gd name="connsiteY30" fmla="*/ 986806 h 1973608"/>
              <a:gd name="connsiteX31" fmla="*/ 0 w 835200"/>
              <a:gd name="connsiteY31" fmla="*/ 986804 h 1973608"/>
              <a:gd name="connsiteX32" fmla="*/ 0 w 835200"/>
              <a:gd name="connsiteY32" fmla="*/ 789445 h 1973608"/>
              <a:gd name="connsiteX33" fmla="*/ 0 w 835200"/>
              <a:gd name="connsiteY33" fmla="*/ 789444 h 1973608"/>
              <a:gd name="connsiteX34" fmla="*/ 0 w 835200"/>
              <a:gd name="connsiteY34" fmla="*/ 592085 h 1973608"/>
              <a:gd name="connsiteX35" fmla="*/ 0 w 835200"/>
              <a:gd name="connsiteY35" fmla="*/ 592083 h 1973608"/>
              <a:gd name="connsiteX36" fmla="*/ 0 w 835200"/>
              <a:gd name="connsiteY36" fmla="*/ 394723 h 1973608"/>
              <a:gd name="connsiteX37" fmla="*/ 0 w 835200"/>
              <a:gd name="connsiteY37" fmla="*/ 197362 h 1973608"/>
              <a:gd name="connsiteX38" fmla="*/ 0 w 835200"/>
              <a:gd name="connsiteY38"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835200 w 835200"/>
              <a:gd name="connsiteY19" fmla="*/ 1973608 h 1973608"/>
              <a:gd name="connsiteX20" fmla="*/ 417600 w 835200"/>
              <a:gd name="connsiteY20" fmla="*/ 1973608 h 1973608"/>
              <a:gd name="connsiteX21" fmla="*/ 0 w 835200"/>
              <a:gd name="connsiteY21" fmla="*/ 1776248 h 1973608"/>
              <a:gd name="connsiteX22" fmla="*/ 0 w 835200"/>
              <a:gd name="connsiteY22" fmla="*/ 1776246 h 1973608"/>
              <a:gd name="connsiteX23" fmla="*/ 0 w 835200"/>
              <a:gd name="connsiteY23" fmla="*/ 1578887 h 1973608"/>
              <a:gd name="connsiteX24" fmla="*/ 0 w 835200"/>
              <a:gd name="connsiteY24" fmla="*/ 1578886 h 1973608"/>
              <a:gd name="connsiteX25" fmla="*/ 0 w 835200"/>
              <a:gd name="connsiteY25" fmla="*/ 1381527 h 1973608"/>
              <a:gd name="connsiteX26" fmla="*/ 0 w 835200"/>
              <a:gd name="connsiteY26" fmla="*/ 1381525 h 1973608"/>
              <a:gd name="connsiteX27" fmla="*/ 0 w 835200"/>
              <a:gd name="connsiteY27" fmla="*/ 1184166 h 1973608"/>
              <a:gd name="connsiteX28" fmla="*/ 0 w 835200"/>
              <a:gd name="connsiteY28" fmla="*/ 1184165 h 1973608"/>
              <a:gd name="connsiteX29" fmla="*/ 0 w 835200"/>
              <a:gd name="connsiteY29" fmla="*/ 986806 h 1973608"/>
              <a:gd name="connsiteX30" fmla="*/ 0 w 835200"/>
              <a:gd name="connsiteY30" fmla="*/ 986804 h 1973608"/>
              <a:gd name="connsiteX31" fmla="*/ 0 w 835200"/>
              <a:gd name="connsiteY31" fmla="*/ 789445 h 1973608"/>
              <a:gd name="connsiteX32" fmla="*/ 0 w 835200"/>
              <a:gd name="connsiteY32" fmla="*/ 789444 h 1973608"/>
              <a:gd name="connsiteX33" fmla="*/ 0 w 835200"/>
              <a:gd name="connsiteY33" fmla="*/ 592085 h 1973608"/>
              <a:gd name="connsiteX34" fmla="*/ 0 w 835200"/>
              <a:gd name="connsiteY34" fmla="*/ 592083 h 1973608"/>
              <a:gd name="connsiteX35" fmla="*/ 0 w 835200"/>
              <a:gd name="connsiteY35" fmla="*/ 394723 h 1973608"/>
              <a:gd name="connsiteX36" fmla="*/ 0 w 835200"/>
              <a:gd name="connsiteY36" fmla="*/ 197362 h 1973608"/>
              <a:gd name="connsiteX37" fmla="*/ 0 w 835200"/>
              <a:gd name="connsiteY37" fmla="*/ 197361 h 1973608"/>
              <a:gd name="connsiteX0" fmla="*/ 0 w 835200"/>
              <a:gd name="connsiteY0" fmla="*/ 197361 h 1973608"/>
              <a:gd name="connsiteX1" fmla="*/ 417600 w 835200"/>
              <a:gd name="connsiteY1" fmla="*/ 0 h 1973608"/>
              <a:gd name="connsiteX2" fmla="*/ 835200 w 835200"/>
              <a:gd name="connsiteY2" fmla="*/ 197361 h 1973608"/>
              <a:gd name="connsiteX3" fmla="*/ 835200 w 835200"/>
              <a:gd name="connsiteY3" fmla="*/ 197362 h 1973608"/>
              <a:gd name="connsiteX4" fmla="*/ 835200 w 835200"/>
              <a:gd name="connsiteY4" fmla="*/ 394723 h 1973608"/>
              <a:gd name="connsiteX5" fmla="*/ 835200 w 835200"/>
              <a:gd name="connsiteY5" fmla="*/ 592083 h 1973608"/>
              <a:gd name="connsiteX6" fmla="*/ 835200 w 835200"/>
              <a:gd name="connsiteY6" fmla="*/ 592085 h 1973608"/>
              <a:gd name="connsiteX7" fmla="*/ 835200 w 835200"/>
              <a:gd name="connsiteY7" fmla="*/ 789444 h 1973608"/>
              <a:gd name="connsiteX8" fmla="*/ 835200 w 835200"/>
              <a:gd name="connsiteY8" fmla="*/ 789445 h 1973608"/>
              <a:gd name="connsiteX9" fmla="*/ 835200 w 835200"/>
              <a:gd name="connsiteY9" fmla="*/ 986804 h 1973608"/>
              <a:gd name="connsiteX10" fmla="*/ 835200 w 835200"/>
              <a:gd name="connsiteY10" fmla="*/ 986806 h 1973608"/>
              <a:gd name="connsiteX11" fmla="*/ 835200 w 835200"/>
              <a:gd name="connsiteY11" fmla="*/ 1184165 h 1973608"/>
              <a:gd name="connsiteX12" fmla="*/ 835200 w 835200"/>
              <a:gd name="connsiteY12" fmla="*/ 1184166 h 1973608"/>
              <a:gd name="connsiteX13" fmla="*/ 835200 w 835200"/>
              <a:gd name="connsiteY13" fmla="*/ 1381525 h 1973608"/>
              <a:gd name="connsiteX14" fmla="*/ 835200 w 835200"/>
              <a:gd name="connsiteY14" fmla="*/ 1381527 h 1973608"/>
              <a:gd name="connsiteX15" fmla="*/ 835200 w 835200"/>
              <a:gd name="connsiteY15" fmla="*/ 1578886 h 1973608"/>
              <a:gd name="connsiteX16" fmla="*/ 835200 w 835200"/>
              <a:gd name="connsiteY16" fmla="*/ 1578887 h 1973608"/>
              <a:gd name="connsiteX17" fmla="*/ 835200 w 835200"/>
              <a:gd name="connsiteY17" fmla="*/ 1776246 h 1973608"/>
              <a:gd name="connsiteX18" fmla="*/ 835200 w 835200"/>
              <a:gd name="connsiteY18" fmla="*/ 1776248 h 1973608"/>
              <a:gd name="connsiteX19" fmla="*/ 417600 w 835200"/>
              <a:gd name="connsiteY19" fmla="*/ 1973608 h 1973608"/>
              <a:gd name="connsiteX20" fmla="*/ 0 w 835200"/>
              <a:gd name="connsiteY20" fmla="*/ 1776248 h 1973608"/>
              <a:gd name="connsiteX21" fmla="*/ 0 w 835200"/>
              <a:gd name="connsiteY21" fmla="*/ 1776246 h 1973608"/>
              <a:gd name="connsiteX22" fmla="*/ 0 w 835200"/>
              <a:gd name="connsiteY22" fmla="*/ 1578887 h 1973608"/>
              <a:gd name="connsiteX23" fmla="*/ 0 w 835200"/>
              <a:gd name="connsiteY23" fmla="*/ 1578886 h 1973608"/>
              <a:gd name="connsiteX24" fmla="*/ 0 w 835200"/>
              <a:gd name="connsiteY24" fmla="*/ 1381527 h 1973608"/>
              <a:gd name="connsiteX25" fmla="*/ 0 w 835200"/>
              <a:gd name="connsiteY25" fmla="*/ 1381525 h 1973608"/>
              <a:gd name="connsiteX26" fmla="*/ 0 w 835200"/>
              <a:gd name="connsiteY26" fmla="*/ 1184166 h 1973608"/>
              <a:gd name="connsiteX27" fmla="*/ 0 w 835200"/>
              <a:gd name="connsiteY27" fmla="*/ 1184165 h 1973608"/>
              <a:gd name="connsiteX28" fmla="*/ 0 w 835200"/>
              <a:gd name="connsiteY28" fmla="*/ 986806 h 1973608"/>
              <a:gd name="connsiteX29" fmla="*/ 0 w 835200"/>
              <a:gd name="connsiteY29" fmla="*/ 986804 h 1973608"/>
              <a:gd name="connsiteX30" fmla="*/ 0 w 835200"/>
              <a:gd name="connsiteY30" fmla="*/ 789445 h 1973608"/>
              <a:gd name="connsiteX31" fmla="*/ 0 w 835200"/>
              <a:gd name="connsiteY31" fmla="*/ 789444 h 1973608"/>
              <a:gd name="connsiteX32" fmla="*/ 0 w 835200"/>
              <a:gd name="connsiteY32" fmla="*/ 592085 h 1973608"/>
              <a:gd name="connsiteX33" fmla="*/ 0 w 835200"/>
              <a:gd name="connsiteY33" fmla="*/ 592083 h 1973608"/>
              <a:gd name="connsiteX34" fmla="*/ 0 w 835200"/>
              <a:gd name="connsiteY34" fmla="*/ 394723 h 1973608"/>
              <a:gd name="connsiteX35" fmla="*/ 0 w 835200"/>
              <a:gd name="connsiteY35" fmla="*/ 197362 h 1973608"/>
              <a:gd name="connsiteX36" fmla="*/ 0 w 835200"/>
              <a:gd name="connsiteY36" fmla="*/ 197361 h 197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35200" h="1973608">
                <a:moveTo>
                  <a:pt x="0" y="197361"/>
                </a:moveTo>
                <a:lnTo>
                  <a:pt x="417600" y="0"/>
                </a:lnTo>
                <a:lnTo>
                  <a:pt x="835200" y="197361"/>
                </a:lnTo>
                <a:lnTo>
                  <a:pt x="835200" y="197362"/>
                </a:lnTo>
                <a:lnTo>
                  <a:pt x="835200" y="394723"/>
                </a:lnTo>
                <a:lnTo>
                  <a:pt x="835200" y="592083"/>
                </a:lnTo>
                <a:lnTo>
                  <a:pt x="835200" y="592085"/>
                </a:lnTo>
                <a:lnTo>
                  <a:pt x="835200" y="789444"/>
                </a:lnTo>
                <a:lnTo>
                  <a:pt x="835200" y="789445"/>
                </a:lnTo>
                <a:lnTo>
                  <a:pt x="835200" y="986804"/>
                </a:lnTo>
                <a:lnTo>
                  <a:pt x="835200" y="986806"/>
                </a:lnTo>
                <a:lnTo>
                  <a:pt x="835200" y="1184165"/>
                </a:lnTo>
                <a:lnTo>
                  <a:pt x="835200" y="1184166"/>
                </a:lnTo>
                <a:lnTo>
                  <a:pt x="835200" y="1381525"/>
                </a:lnTo>
                <a:lnTo>
                  <a:pt x="835200" y="1381527"/>
                </a:lnTo>
                <a:lnTo>
                  <a:pt x="835200" y="1578886"/>
                </a:lnTo>
                <a:lnTo>
                  <a:pt x="835200" y="1578887"/>
                </a:lnTo>
                <a:lnTo>
                  <a:pt x="835200" y="1776246"/>
                </a:lnTo>
                <a:lnTo>
                  <a:pt x="835200" y="1776248"/>
                </a:lnTo>
                <a:lnTo>
                  <a:pt x="417600" y="1973608"/>
                </a:lnTo>
                <a:lnTo>
                  <a:pt x="0" y="1776248"/>
                </a:lnTo>
                <a:lnTo>
                  <a:pt x="0" y="1776246"/>
                </a:lnTo>
                <a:lnTo>
                  <a:pt x="0" y="1578887"/>
                </a:lnTo>
                <a:lnTo>
                  <a:pt x="0" y="1578886"/>
                </a:lnTo>
                <a:lnTo>
                  <a:pt x="0" y="1381527"/>
                </a:lnTo>
                <a:lnTo>
                  <a:pt x="0" y="1381525"/>
                </a:lnTo>
                <a:lnTo>
                  <a:pt x="0" y="1184166"/>
                </a:lnTo>
                <a:lnTo>
                  <a:pt x="0" y="1184165"/>
                </a:lnTo>
                <a:lnTo>
                  <a:pt x="0" y="986806"/>
                </a:lnTo>
                <a:lnTo>
                  <a:pt x="0" y="986804"/>
                </a:lnTo>
                <a:lnTo>
                  <a:pt x="0" y="789445"/>
                </a:lnTo>
                <a:lnTo>
                  <a:pt x="0" y="789444"/>
                </a:lnTo>
                <a:lnTo>
                  <a:pt x="0" y="592085"/>
                </a:lnTo>
                <a:lnTo>
                  <a:pt x="0" y="592083"/>
                </a:lnTo>
                <a:lnTo>
                  <a:pt x="0" y="394723"/>
                </a:lnTo>
                <a:lnTo>
                  <a:pt x="0" y="197362"/>
                </a:lnTo>
                <a:lnTo>
                  <a:pt x="0" y="197361"/>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spcBef>
                <a:spcPts val="300"/>
              </a:spcBef>
              <a:buClr>
                <a:srgbClr val="002897"/>
              </a:buClr>
              <a:buSzPct val="70000"/>
            </a:pPr>
            <a:r>
              <a:rPr lang="de-DE" sz="1000" dirty="0">
                <a:solidFill>
                  <a:schemeClr val="tx1"/>
                </a:solidFill>
              </a:rPr>
              <a:t>Scrubber water system</a:t>
            </a:r>
          </a:p>
        </p:txBody>
      </p:sp>
      <p:grpSp>
        <p:nvGrpSpPr>
          <p:cNvPr id="880" name="Group 879">
            <a:extLst>
              <a:ext uri="{FF2B5EF4-FFF2-40B4-BE49-F238E27FC236}">
                <a16:creationId xmlns:a16="http://schemas.microsoft.com/office/drawing/2014/main" id="{EE60382E-6EAD-4167-BE6C-6B10623677A8}"/>
              </a:ext>
            </a:extLst>
          </p:cNvPr>
          <p:cNvGrpSpPr/>
          <p:nvPr/>
        </p:nvGrpSpPr>
        <p:grpSpPr bwMode="gray">
          <a:xfrm>
            <a:off x="9012141" y="4908667"/>
            <a:ext cx="546924" cy="624739"/>
            <a:chOff x="6903720" y="4904401"/>
            <a:chExt cx="546924" cy="624739"/>
          </a:xfrm>
        </p:grpSpPr>
        <p:sp>
          <p:nvSpPr>
            <p:cNvPr id="881" name="Rectangle 880">
              <a:extLst>
                <a:ext uri="{FF2B5EF4-FFF2-40B4-BE49-F238E27FC236}">
                  <a16:creationId xmlns:a16="http://schemas.microsoft.com/office/drawing/2014/main" id="{97BC786D-2188-45F1-BF41-14164300E2BF}"/>
                </a:ext>
              </a:extLst>
            </p:cNvPr>
            <p:cNvSpPr/>
            <p:nvPr/>
          </p:nvSpPr>
          <p:spPr bwMode="gray">
            <a:xfrm rot="5400000">
              <a:off x="6966997" y="4959218"/>
              <a:ext cx="420370" cy="310736"/>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cxnSp>
          <p:nvCxnSpPr>
            <p:cNvPr id="882" name="Straight Connector 881">
              <a:extLst>
                <a:ext uri="{FF2B5EF4-FFF2-40B4-BE49-F238E27FC236}">
                  <a16:creationId xmlns:a16="http://schemas.microsoft.com/office/drawing/2014/main" id="{92591334-CA96-4799-840D-00A58E14F84B}"/>
                </a:ext>
              </a:extLst>
            </p:cNvPr>
            <p:cNvCxnSpPr>
              <a:stCxn id="881" idx="0"/>
              <a:endCxn id="881" idx="2"/>
            </p:cNvCxnSpPr>
            <p:nvPr/>
          </p:nvCxnSpPr>
          <p:spPr bwMode="gray">
            <a:xfrm flipH="1">
              <a:off x="7021814" y="5114586"/>
              <a:ext cx="310736" cy="0"/>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883" name="Rectangle 882">
              <a:extLst>
                <a:ext uri="{FF2B5EF4-FFF2-40B4-BE49-F238E27FC236}">
                  <a16:creationId xmlns:a16="http://schemas.microsoft.com/office/drawing/2014/main" id="{F90BA659-3662-4626-95AA-9154DEAF0855}"/>
                </a:ext>
              </a:extLst>
            </p:cNvPr>
            <p:cNvSpPr/>
            <p:nvPr/>
          </p:nvSpPr>
          <p:spPr bwMode="gray">
            <a:xfrm>
              <a:off x="6903720" y="5327048"/>
              <a:ext cx="546924" cy="202092"/>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Purifier</a:t>
              </a:r>
            </a:p>
          </p:txBody>
        </p:sp>
      </p:grpSp>
      <p:grpSp>
        <p:nvGrpSpPr>
          <p:cNvPr id="884" name="Group 883">
            <a:extLst>
              <a:ext uri="{FF2B5EF4-FFF2-40B4-BE49-F238E27FC236}">
                <a16:creationId xmlns:a16="http://schemas.microsoft.com/office/drawing/2014/main" id="{39E15FE5-1A74-4389-9AEC-E8700A70B506}"/>
              </a:ext>
            </a:extLst>
          </p:cNvPr>
          <p:cNvGrpSpPr/>
          <p:nvPr/>
        </p:nvGrpSpPr>
        <p:grpSpPr bwMode="gray">
          <a:xfrm>
            <a:off x="2545618" y="4429542"/>
            <a:ext cx="518858" cy="475767"/>
            <a:chOff x="13626402" y="3811749"/>
            <a:chExt cx="518858" cy="475767"/>
          </a:xfrm>
        </p:grpSpPr>
        <p:sp>
          <p:nvSpPr>
            <p:cNvPr id="885" name="Oval 884">
              <a:extLst>
                <a:ext uri="{FF2B5EF4-FFF2-40B4-BE49-F238E27FC236}">
                  <a16:creationId xmlns:a16="http://schemas.microsoft.com/office/drawing/2014/main" id="{C8A11C19-A13C-4A79-B89E-8983CF59D4AF}"/>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886" name="Freeform: Shape 885">
              <a:extLst>
                <a:ext uri="{FF2B5EF4-FFF2-40B4-BE49-F238E27FC236}">
                  <a16:creationId xmlns:a16="http://schemas.microsoft.com/office/drawing/2014/main" id="{8A9C5744-0BDC-4C8E-89F7-0E26ECBD9739}"/>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a:solidFill>
                  <a:schemeClr val="tx1"/>
                </a:solidFill>
              </a:endParaRPr>
            </a:p>
          </p:txBody>
        </p:sp>
        <p:sp>
          <p:nvSpPr>
            <p:cNvPr id="887" name="Rectangle 886">
              <a:extLst>
                <a:ext uri="{FF2B5EF4-FFF2-40B4-BE49-F238E27FC236}">
                  <a16:creationId xmlns:a16="http://schemas.microsoft.com/office/drawing/2014/main" id="{D3460485-7E96-4BF6-8660-EFA279A83D96}"/>
                </a:ext>
              </a:extLst>
            </p:cNvPr>
            <p:cNvSpPr/>
            <p:nvPr/>
          </p:nvSpPr>
          <p:spPr bwMode="gray">
            <a:xfrm>
              <a:off x="13626402" y="4122486"/>
              <a:ext cx="518858"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oler</a:t>
              </a:r>
            </a:p>
          </p:txBody>
        </p:sp>
      </p:grpSp>
      <p:grpSp>
        <p:nvGrpSpPr>
          <p:cNvPr id="888" name="Group 887">
            <a:extLst>
              <a:ext uri="{FF2B5EF4-FFF2-40B4-BE49-F238E27FC236}">
                <a16:creationId xmlns:a16="http://schemas.microsoft.com/office/drawing/2014/main" id="{10FB76FD-3DA8-4887-BF93-39D052774638}"/>
              </a:ext>
            </a:extLst>
          </p:cNvPr>
          <p:cNvGrpSpPr/>
          <p:nvPr/>
        </p:nvGrpSpPr>
        <p:grpSpPr bwMode="gray">
          <a:xfrm>
            <a:off x="4667597" y="5020577"/>
            <a:ext cx="735978" cy="664219"/>
            <a:chOff x="13517842" y="3811749"/>
            <a:chExt cx="735978" cy="664219"/>
          </a:xfrm>
        </p:grpSpPr>
        <p:sp>
          <p:nvSpPr>
            <p:cNvPr id="889" name="Oval 888">
              <a:extLst>
                <a:ext uri="{FF2B5EF4-FFF2-40B4-BE49-F238E27FC236}">
                  <a16:creationId xmlns:a16="http://schemas.microsoft.com/office/drawing/2014/main" id="{EFACEC4F-9DC8-4A41-95FD-083FA898CEBA}"/>
                </a:ext>
              </a:extLst>
            </p:cNvPr>
            <p:cNvSpPr/>
            <p:nvPr/>
          </p:nvSpPr>
          <p:spPr bwMode="gray">
            <a:xfrm>
              <a:off x="13731031" y="3811749"/>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890" name="Freeform: Shape 889">
              <a:extLst>
                <a:ext uri="{FF2B5EF4-FFF2-40B4-BE49-F238E27FC236}">
                  <a16:creationId xmlns:a16="http://schemas.microsoft.com/office/drawing/2014/main" id="{A2301E6F-FE2E-48D7-9989-84A3861ACC2F}"/>
                </a:ext>
              </a:extLst>
            </p:cNvPr>
            <p:cNvSpPr/>
            <p:nvPr/>
          </p:nvSpPr>
          <p:spPr bwMode="gray">
            <a:xfrm>
              <a:off x="13731031" y="3902681"/>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a:solidFill>
                  <a:schemeClr val="tx1"/>
                </a:solidFill>
              </a:endParaRPr>
            </a:p>
          </p:txBody>
        </p:sp>
        <p:sp>
          <p:nvSpPr>
            <p:cNvPr id="891" name="Rectangle 890">
              <a:extLst>
                <a:ext uri="{FF2B5EF4-FFF2-40B4-BE49-F238E27FC236}">
                  <a16:creationId xmlns:a16="http://schemas.microsoft.com/office/drawing/2014/main" id="{549B9CF3-9B9A-40CA-845E-E34FF0D9C167}"/>
                </a:ext>
              </a:extLst>
            </p:cNvPr>
            <p:cNvSpPr/>
            <p:nvPr/>
          </p:nvSpPr>
          <p:spPr bwMode="gray">
            <a:xfrm>
              <a:off x="13517842" y="4122486"/>
              <a:ext cx="735978"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O</a:t>
              </a:r>
              <a:r>
                <a:rPr lang="de-DE" sz="1000" baseline="-25000" dirty="0">
                  <a:solidFill>
                    <a:schemeClr val="tx1"/>
                  </a:solidFill>
                </a:rPr>
                <a:t>2</a:t>
              </a:r>
              <a:r>
                <a:rPr lang="de-DE" sz="1000" dirty="0">
                  <a:solidFill>
                    <a:schemeClr val="tx1"/>
                  </a:solidFill>
                </a:rPr>
                <a:t> </a:t>
              </a:r>
              <a:br>
                <a:rPr lang="de-DE" sz="1000" dirty="0">
                  <a:solidFill>
                    <a:schemeClr val="tx1"/>
                  </a:solidFill>
                </a:rPr>
              </a:br>
              <a:r>
                <a:rPr lang="de-DE" sz="1000" dirty="0">
                  <a:solidFill>
                    <a:schemeClr val="tx1"/>
                  </a:solidFill>
                </a:rPr>
                <a:t>condenser</a:t>
              </a:r>
            </a:p>
          </p:txBody>
        </p:sp>
      </p:grpSp>
      <p:cxnSp>
        <p:nvCxnSpPr>
          <p:cNvPr id="892" name="Connector: Elbow 891">
            <a:extLst>
              <a:ext uri="{FF2B5EF4-FFF2-40B4-BE49-F238E27FC236}">
                <a16:creationId xmlns:a16="http://schemas.microsoft.com/office/drawing/2014/main" id="{4C94734D-658E-4DC8-A142-22CEBD0632B0}"/>
              </a:ext>
            </a:extLst>
          </p:cNvPr>
          <p:cNvCxnSpPr>
            <a:cxnSpLocks/>
            <a:endCxn id="899" idx="11"/>
          </p:cNvCxnSpPr>
          <p:nvPr/>
        </p:nvCxnSpPr>
        <p:spPr bwMode="gray">
          <a:xfrm rot="16200000" flipH="1">
            <a:off x="5128224" y="786736"/>
            <a:ext cx="819001" cy="3949064"/>
          </a:xfrm>
          <a:prstGeom prst="bentConnector4">
            <a:avLst>
              <a:gd name="adj1" fmla="val -21213"/>
              <a:gd name="adj2" fmla="val 9132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965" name="Group 964">
            <a:extLst>
              <a:ext uri="{FF2B5EF4-FFF2-40B4-BE49-F238E27FC236}">
                <a16:creationId xmlns:a16="http://schemas.microsoft.com/office/drawing/2014/main" id="{5B228897-F19C-450B-B33A-B93E8DA3F7DD}"/>
              </a:ext>
            </a:extLst>
          </p:cNvPr>
          <p:cNvGrpSpPr/>
          <p:nvPr/>
        </p:nvGrpSpPr>
        <p:grpSpPr bwMode="gray">
          <a:xfrm>
            <a:off x="3170470" y="2351768"/>
            <a:ext cx="662660" cy="679397"/>
            <a:chOff x="2071795" y="2361187"/>
            <a:chExt cx="662660" cy="679397"/>
          </a:xfrm>
        </p:grpSpPr>
        <p:sp>
          <p:nvSpPr>
            <p:cNvPr id="894" name="Rectangle 893">
              <a:extLst>
                <a:ext uri="{FF2B5EF4-FFF2-40B4-BE49-F238E27FC236}">
                  <a16:creationId xmlns:a16="http://schemas.microsoft.com/office/drawing/2014/main" id="{D4D1277A-AC24-4939-B6E5-55678D5CFC88}"/>
                </a:ext>
              </a:extLst>
            </p:cNvPr>
            <p:cNvSpPr/>
            <p:nvPr/>
          </p:nvSpPr>
          <p:spPr bwMode="gray">
            <a:xfrm>
              <a:off x="2134564" y="2671924"/>
              <a:ext cx="540792" cy="36866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Fired reboiler</a:t>
              </a:r>
            </a:p>
          </p:txBody>
        </p:sp>
        <p:sp>
          <p:nvSpPr>
            <p:cNvPr id="962" name="Freeform: Shape 961">
              <a:extLst>
                <a:ext uri="{FF2B5EF4-FFF2-40B4-BE49-F238E27FC236}">
                  <a16:creationId xmlns:a16="http://schemas.microsoft.com/office/drawing/2014/main" id="{551B514D-7F47-45CC-8A31-C5B7DCD0E588}"/>
                </a:ext>
              </a:extLst>
            </p:cNvPr>
            <p:cNvSpPr/>
            <p:nvPr/>
          </p:nvSpPr>
          <p:spPr bwMode="gray">
            <a:xfrm>
              <a:off x="2073558" y="2361187"/>
              <a:ext cx="658800" cy="307738"/>
            </a:xfrm>
            <a:custGeom>
              <a:avLst/>
              <a:gdLst>
                <a:gd name="connsiteX0" fmla="*/ 153869 w 647194"/>
                <a:gd name="connsiteY0" fmla="*/ 0 h 307738"/>
                <a:gd name="connsiteX1" fmla="*/ 426224 w 647194"/>
                <a:gd name="connsiteY1" fmla="*/ 0 h 307738"/>
                <a:gd name="connsiteX2" fmla="*/ 426429 w 647194"/>
                <a:gd name="connsiteY2" fmla="*/ 838 h 307738"/>
                <a:gd name="connsiteX3" fmla="*/ 499860 w 647194"/>
                <a:gd name="connsiteY3" fmla="*/ 130919 h 307738"/>
                <a:gd name="connsiteX4" fmla="*/ 601736 w 647194"/>
                <a:gd name="connsiteY4" fmla="*/ 130920 h 307738"/>
                <a:gd name="connsiteX5" fmla="*/ 601739 w 647194"/>
                <a:gd name="connsiteY5" fmla="*/ 130919 h 307738"/>
                <a:gd name="connsiteX6" fmla="*/ 647194 w 647194"/>
                <a:gd name="connsiteY6" fmla="*/ 219328 h 307738"/>
                <a:gd name="connsiteX7" fmla="*/ 647194 w 647194"/>
                <a:gd name="connsiteY7" fmla="*/ 219329 h 307738"/>
                <a:gd name="connsiteX8" fmla="*/ 601739 w 647194"/>
                <a:gd name="connsiteY8" fmla="*/ 307738 h 307738"/>
                <a:gd name="connsiteX9" fmla="*/ 153869 w 647194"/>
                <a:gd name="connsiteY9" fmla="*/ 307738 h 307738"/>
                <a:gd name="connsiteX10" fmla="*/ 0 w 647194"/>
                <a:gd name="connsiteY10" fmla="*/ 153869 h 307738"/>
                <a:gd name="connsiteX11" fmla="*/ 153869 w 647194"/>
                <a:gd name="connsiteY11" fmla="*/ 0 h 30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7194" h="307738">
                  <a:moveTo>
                    <a:pt x="153869" y="0"/>
                  </a:moveTo>
                  <a:lnTo>
                    <a:pt x="426224" y="0"/>
                  </a:lnTo>
                  <a:cubicBezTo>
                    <a:pt x="426292" y="279"/>
                    <a:pt x="426361" y="559"/>
                    <a:pt x="426429" y="838"/>
                  </a:cubicBezTo>
                  <a:lnTo>
                    <a:pt x="499860" y="130919"/>
                  </a:lnTo>
                  <a:lnTo>
                    <a:pt x="601736" y="130920"/>
                  </a:lnTo>
                  <a:cubicBezTo>
                    <a:pt x="601737" y="130920"/>
                    <a:pt x="601738" y="130919"/>
                    <a:pt x="601739" y="130919"/>
                  </a:cubicBezTo>
                  <a:cubicBezTo>
                    <a:pt x="626843" y="130919"/>
                    <a:pt x="647194" y="170501"/>
                    <a:pt x="647194" y="219328"/>
                  </a:cubicBezTo>
                  <a:lnTo>
                    <a:pt x="647194" y="219329"/>
                  </a:lnTo>
                  <a:cubicBezTo>
                    <a:pt x="647194" y="268156"/>
                    <a:pt x="626843" y="307738"/>
                    <a:pt x="601739" y="307738"/>
                  </a:cubicBezTo>
                  <a:lnTo>
                    <a:pt x="153869" y="307738"/>
                  </a:lnTo>
                  <a:cubicBezTo>
                    <a:pt x="68889" y="307738"/>
                    <a:pt x="0" y="238849"/>
                    <a:pt x="0" y="153869"/>
                  </a:cubicBezTo>
                  <a:cubicBezTo>
                    <a:pt x="0" y="68889"/>
                    <a:pt x="68889" y="0"/>
                    <a:pt x="153869" y="0"/>
                  </a:cubicBez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noAutofit/>
            </a:bodyPr>
            <a:lstStyle/>
            <a:p>
              <a:pPr algn="ctr">
                <a:spcBef>
                  <a:spcPts val="300"/>
                </a:spcBef>
                <a:buClr>
                  <a:srgbClr val="002897"/>
                </a:buClr>
                <a:buSzPct val="70000"/>
              </a:pPr>
              <a:endParaRPr lang="de-DE" sz="1000" dirty="0">
                <a:solidFill>
                  <a:schemeClr val="tx1"/>
                </a:solidFill>
              </a:endParaRPr>
            </a:p>
          </p:txBody>
        </p:sp>
        <p:sp>
          <p:nvSpPr>
            <p:cNvPr id="897" name="Freeform: Shape 896">
              <a:extLst>
                <a:ext uri="{FF2B5EF4-FFF2-40B4-BE49-F238E27FC236}">
                  <a16:creationId xmlns:a16="http://schemas.microsoft.com/office/drawing/2014/main" id="{24ACC1F7-A284-4023-A938-0E706E726F47}"/>
                </a:ext>
              </a:extLst>
            </p:cNvPr>
            <p:cNvSpPr/>
            <p:nvPr/>
          </p:nvSpPr>
          <p:spPr bwMode="gray">
            <a:xfrm>
              <a:off x="2071795" y="2456872"/>
              <a:ext cx="66266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 name="connsiteX0" fmla="*/ 0 w 486380"/>
                <a:gd name="connsiteY0" fmla="*/ 81587 h 171477"/>
                <a:gd name="connsiteX1" fmla="*/ 60862 w 486380"/>
                <a:gd name="connsiteY1" fmla="*/ 81880 h 171477"/>
                <a:gd name="connsiteX2" fmla="*/ 110373 w 486380"/>
                <a:gd name="connsiteY2" fmla="*/ 0 h 171477"/>
                <a:gd name="connsiteX3" fmla="*/ 190020 w 486380"/>
                <a:gd name="connsiteY3" fmla="*/ 171477 h 171477"/>
                <a:gd name="connsiteX4" fmla="*/ 237684 w 486380"/>
                <a:gd name="connsiteY4" fmla="*/ 80838 h 171477"/>
                <a:gd name="connsiteX5" fmla="*/ 486380 w 486380"/>
                <a:gd name="connsiteY5" fmla="*/ 87825 h 171477"/>
                <a:gd name="connsiteX0" fmla="*/ 0 w 486380"/>
                <a:gd name="connsiteY0" fmla="*/ 81587 h 171477"/>
                <a:gd name="connsiteX1" fmla="*/ 60862 w 486380"/>
                <a:gd name="connsiteY1" fmla="*/ 81880 h 171477"/>
                <a:gd name="connsiteX2" fmla="*/ 110373 w 486380"/>
                <a:gd name="connsiteY2" fmla="*/ 0 h 171477"/>
                <a:gd name="connsiteX3" fmla="*/ 190020 w 486380"/>
                <a:gd name="connsiteY3" fmla="*/ 171477 h 171477"/>
                <a:gd name="connsiteX4" fmla="*/ 237684 w 486380"/>
                <a:gd name="connsiteY4" fmla="*/ 80838 h 171477"/>
                <a:gd name="connsiteX5" fmla="*/ 486380 w 486380"/>
                <a:gd name="connsiteY5" fmla="*/ 82755 h 171477"/>
                <a:gd name="connsiteX0" fmla="*/ 0 w 492083"/>
                <a:gd name="connsiteY0" fmla="*/ 81587 h 171477"/>
                <a:gd name="connsiteX1" fmla="*/ 60862 w 492083"/>
                <a:gd name="connsiteY1" fmla="*/ 81880 h 171477"/>
                <a:gd name="connsiteX2" fmla="*/ 110373 w 492083"/>
                <a:gd name="connsiteY2" fmla="*/ 0 h 171477"/>
                <a:gd name="connsiteX3" fmla="*/ 190020 w 492083"/>
                <a:gd name="connsiteY3" fmla="*/ 171477 h 171477"/>
                <a:gd name="connsiteX4" fmla="*/ 237684 w 492083"/>
                <a:gd name="connsiteY4" fmla="*/ 80838 h 171477"/>
                <a:gd name="connsiteX5" fmla="*/ 492083 w 492083"/>
                <a:gd name="connsiteY5" fmla="*/ 82755 h 171477"/>
                <a:gd name="connsiteX0" fmla="*/ 0 w 484479"/>
                <a:gd name="connsiteY0" fmla="*/ 81587 h 171477"/>
                <a:gd name="connsiteX1" fmla="*/ 60862 w 484479"/>
                <a:gd name="connsiteY1" fmla="*/ 81880 h 171477"/>
                <a:gd name="connsiteX2" fmla="*/ 110373 w 484479"/>
                <a:gd name="connsiteY2" fmla="*/ 0 h 171477"/>
                <a:gd name="connsiteX3" fmla="*/ 190020 w 484479"/>
                <a:gd name="connsiteY3" fmla="*/ 171477 h 171477"/>
                <a:gd name="connsiteX4" fmla="*/ 237684 w 484479"/>
                <a:gd name="connsiteY4" fmla="*/ 80838 h 171477"/>
                <a:gd name="connsiteX5" fmla="*/ 484479 w 484479"/>
                <a:gd name="connsiteY5" fmla="*/ 82755 h 171477"/>
                <a:gd name="connsiteX0" fmla="*/ 0 w 478776"/>
                <a:gd name="connsiteY0" fmla="*/ 81587 h 171477"/>
                <a:gd name="connsiteX1" fmla="*/ 60862 w 478776"/>
                <a:gd name="connsiteY1" fmla="*/ 81880 h 171477"/>
                <a:gd name="connsiteX2" fmla="*/ 110373 w 478776"/>
                <a:gd name="connsiteY2" fmla="*/ 0 h 171477"/>
                <a:gd name="connsiteX3" fmla="*/ 190020 w 478776"/>
                <a:gd name="connsiteY3" fmla="*/ 171477 h 171477"/>
                <a:gd name="connsiteX4" fmla="*/ 237684 w 478776"/>
                <a:gd name="connsiteY4" fmla="*/ 80838 h 171477"/>
                <a:gd name="connsiteX5" fmla="*/ 478776 w 478776"/>
                <a:gd name="connsiteY5" fmla="*/ 80221 h 171477"/>
                <a:gd name="connsiteX0" fmla="*/ 0 w 478776"/>
                <a:gd name="connsiteY0" fmla="*/ 81587 h 171477"/>
                <a:gd name="connsiteX1" fmla="*/ 60862 w 478776"/>
                <a:gd name="connsiteY1" fmla="*/ 81880 h 171477"/>
                <a:gd name="connsiteX2" fmla="*/ 110373 w 478776"/>
                <a:gd name="connsiteY2" fmla="*/ 0 h 171477"/>
                <a:gd name="connsiteX3" fmla="*/ 190020 w 478776"/>
                <a:gd name="connsiteY3" fmla="*/ 171477 h 171477"/>
                <a:gd name="connsiteX4" fmla="*/ 237684 w 478776"/>
                <a:gd name="connsiteY4" fmla="*/ 80838 h 171477"/>
                <a:gd name="connsiteX5" fmla="*/ 414837 w 478776"/>
                <a:gd name="connsiteY5" fmla="*/ 81193 h 171477"/>
                <a:gd name="connsiteX6" fmla="*/ 478776 w 478776"/>
                <a:gd name="connsiteY6" fmla="*/ 80221 h 171477"/>
                <a:gd name="connsiteX0" fmla="*/ 0 w 478776"/>
                <a:gd name="connsiteY0" fmla="*/ 81587 h 171477"/>
                <a:gd name="connsiteX1" fmla="*/ 60862 w 478776"/>
                <a:gd name="connsiteY1" fmla="*/ 81880 h 171477"/>
                <a:gd name="connsiteX2" fmla="*/ 110373 w 478776"/>
                <a:gd name="connsiteY2" fmla="*/ 0 h 171477"/>
                <a:gd name="connsiteX3" fmla="*/ 190020 w 478776"/>
                <a:gd name="connsiteY3" fmla="*/ 171477 h 171477"/>
                <a:gd name="connsiteX4" fmla="*/ 237684 w 478776"/>
                <a:gd name="connsiteY4" fmla="*/ 80838 h 171477"/>
                <a:gd name="connsiteX5" fmla="*/ 321687 w 478776"/>
                <a:gd name="connsiteY5" fmla="*/ 81193 h 171477"/>
                <a:gd name="connsiteX6" fmla="*/ 414837 w 478776"/>
                <a:gd name="connsiteY6" fmla="*/ 81193 h 171477"/>
                <a:gd name="connsiteX7" fmla="*/ 478776 w 478776"/>
                <a:gd name="connsiteY7" fmla="*/ 80221 h 171477"/>
                <a:gd name="connsiteX0" fmla="*/ 0 w 478776"/>
                <a:gd name="connsiteY0" fmla="*/ 81587 h 171477"/>
                <a:gd name="connsiteX1" fmla="*/ 60862 w 478776"/>
                <a:gd name="connsiteY1" fmla="*/ 81880 h 171477"/>
                <a:gd name="connsiteX2" fmla="*/ 110373 w 478776"/>
                <a:gd name="connsiteY2" fmla="*/ 0 h 171477"/>
                <a:gd name="connsiteX3" fmla="*/ 190020 w 478776"/>
                <a:gd name="connsiteY3" fmla="*/ 171477 h 171477"/>
                <a:gd name="connsiteX4" fmla="*/ 237684 w 478776"/>
                <a:gd name="connsiteY4" fmla="*/ 80838 h 171477"/>
                <a:gd name="connsiteX5" fmla="*/ 361609 w 478776"/>
                <a:gd name="connsiteY5" fmla="*/ 169911 h 171477"/>
                <a:gd name="connsiteX6" fmla="*/ 414837 w 478776"/>
                <a:gd name="connsiteY6" fmla="*/ 81193 h 171477"/>
                <a:gd name="connsiteX7" fmla="*/ 478776 w 478776"/>
                <a:gd name="connsiteY7" fmla="*/ 80221 h 171477"/>
                <a:gd name="connsiteX0" fmla="*/ 0 w 478776"/>
                <a:gd name="connsiteY0" fmla="*/ 81587 h 171477"/>
                <a:gd name="connsiteX1" fmla="*/ 60862 w 478776"/>
                <a:gd name="connsiteY1" fmla="*/ 81880 h 171477"/>
                <a:gd name="connsiteX2" fmla="*/ 110373 w 478776"/>
                <a:gd name="connsiteY2" fmla="*/ 0 h 171477"/>
                <a:gd name="connsiteX3" fmla="*/ 190020 w 478776"/>
                <a:gd name="connsiteY3" fmla="*/ 171477 h 171477"/>
                <a:gd name="connsiteX4" fmla="*/ 285209 w 478776"/>
                <a:gd name="connsiteY4" fmla="*/ 4794 h 171477"/>
                <a:gd name="connsiteX5" fmla="*/ 361609 w 478776"/>
                <a:gd name="connsiteY5" fmla="*/ 169911 h 171477"/>
                <a:gd name="connsiteX6" fmla="*/ 414837 w 478776"/>
                <a:gd name="connsiteY6" fmla="*/ 81193 h 171477"/>
                <a:gd name="connsiteX7" fmla="*/ 478776 w 478776"/>
                <a:gd name="connsiteY7" fmla="*/ 80221 h 171477"/>
                <a:gd name="connsiteX0" fmla="*/ 0 w 478776"/>
                <a:gd name="connsiteY0" fmla="*/ 81587 h 171477"/>
                <a:gd name="connsiteX1" fmla="*/ 60862 w 478776"/>
                <a:gd name="connsiteY1" fmla="*/ 81880 h 171477"/>
                <a:gd name="connsiteX2" fmla="*/ 110373 w 478776"/>
                <a:gd name="connsiteY2" fmla="*/ 0 h 171477"/>
                <a:gd name="connsiteX3" fmla="*/ 190020 w 478776"/>
                <a:gd name="connsiteY3" fmla="*/ 171477 h 171477"/>
                <a:gd name="connsiteX4" fmla="*/ 285209 w 478776"/>
                <a:gd name="connsiteY4" fmla="*/ 4794 h 171477"/>
                <a:gd name="connsiteX5" fmla="*/ 361609 w 478776"/>
                <a:gd name="connsiteY5" fmla="*/ 169911 h 171477"/>
                <a:gd name="connsiteX6" fmla="*/ 414837 w 478776"/>
                <a:gd name="connsiteY6" fmla="*/ 81193 h 171477"/>
                <a:gd name="connsiteX7" fmla="*/ 478776 w 478776"/>
                <a:gd name="connsiteY7" fmla="*/ 80221 h 171477"/>
                <a:gd name="connsiteX0" fmla="*/ 0 w 478776"/>
                <a:gd name="connsiteY0" fmla="*/ 81587 h 171477"/>
                <a:gd name="connsiteX1" fmla="*/ 60862 w 478776"/>
                <a:gd name="connsiteY1" fmla="*/ 81880 h 171477"/>
                <a:gd name="connsiteX2" fmla="*/ 110373 w 478776"/>
                <a:gd name="connsiteY2" fmla="*/ 0 h 171477"/>
                <a:gd name="connsiteX3" fmla="*/ 190020 w 478776"/>
                <a:gd name="connsiteY3" fmla="*/ 171477 h 171477"/>
                <a:gd name="connsiteX4" fmla="*/ 285209 w 478776"/>
                <a:gd name="connsiteY4" fmla="*/ 4794 h 171477"/>
                <a:gd name="connsiteX5" fmla="*/ 365411 w 478776"/>
                <a:gd name="connsiteY5" fmla="*/ 169911 h 171477"/>
                <a:gd name="connsiteX6" fmla="*/ 414837 w 478776"/>
                <a:gd name="connsiteY6" fmla="*/ 81193 h 171477"/>
                <a:gd name="connsiteX7" fmla="*/ 478776 w 478776"/>
                <a:gd name="connsiteY7" fmla="*/ 80221 h 171477"/>
                <a:gd name="connsiteX0" fmla="*/ 0 w 564322"/>
                <a:gd name="connsiteY0" fmla="*/ 81587 h 171477"/>
                <a:gd name="connsiteX1" fmla="*/ 60862 w 564322"/>
                <a:gd name="connsiteY1" fmla="*/ 81880 h 171477"/>
                <a:gd name="connsiteX2" fmla="*/ 110373 w 564322"/>
                <a:gd name="connsiteY2" fmla="*/ 0 h 171477"/>
                <a:gd name="connsiteX3" fmla="*/ 190020 w 564322"/>
                <a:gd name="connsiteY3" fmla="*/ 171477 h 171477"/>
                <a:gd name="connsiteX4" fmla="*/ 285209 w 564322"/>
                <a:gd name="connsiteY4" fmla="*/ 4794 h 171477"/>
                <a:gd name="connsiteX5" fmla="*/ 365411 w 564322"/>
                <a:gd name="connsiteY5" fmla="*/ 169911 h 171477"/>
                <a:gd name="connsiteX6" fmla="*/ 414837 w 564322"/>
                <a:gd name="connsiteY6" fmla="*/ 81193 h 171477"/>
                <a:gd name="connsiteX7" fmla="*/ 564322 w 564322"/>
                <a:gd name="connsiteY7" fmla="*/ 77686 h 171477"/>
                <a:gd name="connsiteX0" fmla="*/ 0 w 657472"/>
                <a:gd name="connsiteY0" fmla="*/ 81587 h 171477"/>
                <a:gd name="connsiteX1" fmla="*/ 154012 w 657472"/>
                <a:gd name="connsiteY1" fmla="*/ 81880 h 171477"/>
                <a:gd name="connsiteX2" fmla="*/ 203523 w 657472"/>
                <a:gd name="connsiteY2" fmla="*/ 0 h 171477"/>
                <a:gd name="connsiteX3" fmla="*/ 283170 w 657472"/>
                <a:gd name="connsiteY3" fmla="*/ 171477 h 171477"/>
                <a:gd name="connsiteX4" fmla="*/ 378359 w 657472"/>
                <a:gd name="connsiteY4" fmla="*/ 4794 h 171477"/>
                <a:gd name="connsiteX5" fmla="*/ 458561 w 657472"/>
                <a:gd name="connsiteY5" fmla="*/ 169911 h 171477"/>
                <a:gd name="connsiteX6" fmla="*/ 507987 w 657472"/>
                <a:gd name="connsiteY6" fmla="*/ 81193 h 171477"/>
                <a:gd name="connsiteX7" fmla="*/ 657472 w 657472"/>
                <a:gd name="connsiteY7" fmla="*/ 77686 h 171477"/>
                <a:gd name="connsiteX0" fmla="*/ 0 w 661274"/>
                <a:gd name="connsiteY0" fmla="*/ 81587 h 171477"/>
                <a:gd name="connsiteX1" fmla="*/ 154012 w 661274"/>
                <a:gd name="connsiteY1" fmla="*/ 81880 h 171477"/>
                <a:gd name="connsiteX2" fmla="*/ 203523 w 661274"/>
                <a:gd name="connsiteY2" fmla="*/ 0 h 171477"/>
                <a:gd name="connsiteX3" fmla="*/ 283170 w 661274"/>
                <a:gd name="connsiteY3" fmla="*/ 171477 h 171477"/>
                <a:gd name="connsiteX4" fmla="*/ 378359 w 661274"/>
                <a:gd name="connsiteY4" fmla="*/ 4794 h 171477"/>
                <a:gd name="connsiteX5" fmla="*/ 458561 w 661274"/>
                <a:gd name="connsiteY5" fmla="*/ 169911 h 171477"/>
                <a:gd name="connsiteX6" fmla="*/ 507987 w 661274"/>
                <a:gd name="connsiteY6" fmla="*/ 81193 h 171477"/>
                <a:gd name="connsiteX7" fmla="*/ 661274 w 661274"/>
                <a:gd name="connsiteY7" fmla="*/ 77686 h 171477"/>
                <a:gd name="connsiteX0" fmla="*/ 0 w 661274"/>
                <a:gd name="connsiteY0" fmla="*/ 81587 h 171477"/>
                <a:gd name="connsiteX1" fmla="*/ 154012 w 661274"/>
                <a:gd name="connsiteY1" fmla="*/ 81880 h 171477"/>
                <a:gd name="connsiteX2" fmla="*/ 203523 w 661274"/>
                <a:gd name="connsiteY2" fmla="*/ 0 h 171477"/>
                <a:gd name="connsiteX3" fmla="*/ 283170 w 661274"/>
                <a:gd name="connsiteY3" fmla="*/ 171477 h 171477"/>
                <a:gd name="connsiteX4" fmla="*/ 378359 w 661274"/>
                <a:gd name="connsiteY4" fmla="*/ 4794 h 171477"/>
                <a:gd name="connsiteX5" fmla="*/ 458561 w 661274"/>
                <a:gd name="connsiteY5" fmla="*/ 169911 h 171477"/>
                <a:gd name="connsiteX6" fmla="*/ 507987 w 661274"/>
                <a:gd name="connsiteY6" fmla="*/ 81193 h 171477"/>
                <a:gd name="connsiteX7" fmla="*/ 661274 w 661274"/>
                <a:gd name="connsiteY7" fmla="*/ 80221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1274" h="171477">
                  <a:moveTo>
                    <a:pt x="0" y="81587"/>
                  </a:moveTo>
                  <a:lnTo>
                    <a:pt x="154012" y="81880"/>
                  </a:lnTo>
                  <a:lnTo>
                    <a:pt x="203523" y="0"/>
                  </a:lnTo>
                  <a:lnTo>
                    <a:pt x="283170" y="171477"/>
                  </a:lnTo>
                  <a:lnTo>
                    <a:pt x="378359" y="4794"/>
                  </a:lnTo>
                  <a:lnTo>
                    <a:pt x="458561" y="169911"/>
                  </a:lnTo>
                  <a:lnTo>
                    <a:pt x="507987" y="81193"/>
                  </a:lnTo>
                  <a:lnTo>
                    <a:pt x="661274" y="80221"/>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grpSp>
      <p:grpSp>
        <p:nvGrpSpPr>
          <p:cNvPr id="898" name="Group 897">
            <a:extLst>
              <a:ext uri="{FF2B5EF4-FFF2-40B4-BE49-F238E27FC236}">
                <a16:creationId xmlns:a16="http://schemas.microsoft.com/office/drawing/2014/main" id="{48B94ADD-7E19-40E4-80A7-422407D72BE9}"/>
              </a:ext>
            </a:extLst>
          </p:cNvPr>
          <p:cNvGrpSpPr/>
          <p:nvPr/>
        </p:nvGrpSpPr>
        <p:grpSpPr bwMode="gray">
          <a:xfrm flipH="1">
            <a:off x="7512257" y="2230158"/>
            <a:ext cx="683855" cy="1501843"/>
            <a:chOff x="7949893" y="2381817"/>
            <a:chExt cx="683855" cy="1501843"/>
          </a:xfrm>
        </p:grpSpPr>
        <p:sp>
          <p:nvSpPr>
            <p:cNvPr id="899" name="Freeform: Shape 898">
              <a:extLst>
                <a:ext uri="{FF2B5EF4-FFF2-40B4-BE49-F238E27FC236}">
                  <a16:creationId xmlns:a16="http://schemas.microsoft.com/office/drawing/2014/main" id="{DD12CD3E-BE8E-42C2-82C7-25134B5D3F2A}"/>
                </a:ext>
              </a:extLst>
            </p:cNvPr>
            <p:cNvSpPr/>
            <p:nvPr/>
          </p:nvSpPr>
          <p:spPr bwMode="gray">
            <a:xfrm>
              <a:off x="7950038" y="2381817"/>
              <a:ext cx="683710" cy="1501843"/>
            </a:xfrm>
            <a:custGeom>
              <a:avLst/>
              <a:gdLst>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30300 h 1501843"/>
                <a:gd name="connsiteX17" fmla="*/ 683710 w 683710"/>
                <a:gd name="connsiteY17" fmla="*/ 1159988 h 1501843"/>
                <a:gd name="connsiteX18" fmla="*/ 341855 w 683710"/>
                <a:gd name="connsiteY18" fmla="*/ 1501843 h 1501843"/>
                <a:gd name="connsiteX19" fmla="*/ 0 w 683710"/>
                <a:gd name="connsiteY19" fmla="*/ 1159988 h 1501843"/>
                <a:gd name="connsiteX20" fmla="*/ 0 w 683710"/>
                <a:gd name="connsiteY20" fmla="*/ 1130300 h 1501843"/>
                <a:gd name="connsiteX21" fmla="*/ 0 w 683710"/>
                <a:gd name="connsiteY21" fmla="*/ 1035456 h 1501843"/>
                <a:gd name="connsiteX22" fmla="*/ 0 w 683710"/>
                <a:gd name="connsiteY22" fmla="*/ 1035455 h 1501843"/>
                <a:gd name="connsiteX23" fmla="*/ 0 w 683710"/>
                <a:gd name="connsiteY23" fmla="*/ 940612 h 1501843"/>
                <a:gd name="connsiteX24" fmla="*/ 0 w 683710"/>
                <a:gd name="connsiteY24" fmla="*/ 940611 h 1501843"/>
                <a:gd name="connsiteX25" fmla="*/ 0 w 683710"/>
                <a:gd name="connsiteY25" fmla="*/ 845767 h 1501843"/>
                <a:gd name="connsiteX26" fmla="*/ 0 w 683710"/>
                <a:gd name="connsiteY26" fmla="*/ 750923 h 1501843"/>
                <a:gd name="connsiteX27" fmla="*/ 0 w 683710"/>
                <a:gd name="connsiteY27" fmla="*/ 750922 h 1501843"/>
                <a:gd name="connsiteX28" fmla="*/ 0 w 683710"/>
                <a:gd name="connsiteY28" fmla="*/ 656079 h 1501843"/>
                <a:gd name="connsiteX29" fmla="*/ 0 w 683710"/>
                <a:gd name="connsiteY29" fmla="*/ 656078 h 1501843"/>
                <a:gd name="connsiteX30" fmla="*/ 0 w 683710"/>
                <a:gd name="connsiteY30" fmla="*/ 561235 h 1501843"/>
                <a:gd name="connsiteX31" fmla="*/ 0 w 683710"/>
                <a:gd name="connsiteY31" fmla="*/ 561234 h 1501843"/>
                <a:gd name="connsiteX32" fmla="*/ 0 w 683710"/>
                <a:gd name="connsiteY32" fmla="*/ 466391 h 1501843"/>
                <a:gd name="connsiteX33" fmla="*/ 0 w 683710"/>
                <a:gd name="connsiteY33" fmla="*/ 466390 h 1501843"/>
                <a:gd name="connsiteX34" fmla="*/ 0 w 683710"/>
                <a:gd name="connsiteY34" fmla="*/ 371546 h 1501843"/>
                <a:gd name="connsiteX35" fmla="*/ 0 w 683710"/>
                <a:gd name="connsiteY35" fmla="*/ 341855 h 1501843"/>
                <a:gd name="connsiteX36" fmla="*/ 341855 w 683710"/>
                <a:gd name="connsiteY36" fmla="*/ 0 h 1501843"/>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30300 h 1501843"/>
                <a:gd name="connsiteX17" fmla="*/ 683710 w 683710"/>
                <a:gd name="connsiteY17" fmla="*/ 1159988 h 1501843"/>
                <a:gd name="connsiteX18" fmla="*/ 341855 w 683710"/>
                <a:gd name="connsiteY18" fmla="*/ 1501843 h 1501843"/>
                <a:gd name="connsiteX19" fmla="*/ 0 w 683710"/>
                <a:gd name="connsiteY19" fmla="*/ 1159988 h 1501843"/>
                <a:gd name="connsiteX20" fmla="*/ 0 w 683710"/>
                <a:gd name="connsiteY20" fmla="*/ 1035456 h 1501843"/>
                <a:gd name="connsiteX21" fmla="*/ 0 w 683710"/>
                <a:gd name="connsiteY21" fmla="*/ 1035455 h 1501843"/>
                <a:gd name="connsiteX22" fmla="*/ 0 w 683710"/>
                <a:gd name="connsiteY22" fmla="*/ 940612 h 1501843"/>
                <a:gd name="connsiteX23" fmla="*/ 0 w 683710"/>
                <a:gd name="connsiteY23" fmla="*/ 940611 h 1501843"/>
                <a:gd name="connsiteX24" fmla="*/ 0 w 683710"/>
                <a:gd name="connsiteY24" fmla="*/ 845767 h 1501843"/>
                <a:gd name="connsiteX25" fmla="*/ 0 w 683710"/>
                <a:gd name="connsiteY25" fmla="*/ 750923 h 1501843"/>
                <a:gd name="connsiteX26" fmla="*/ 0 w 683710"/>
                <a:gd name="connsiteY26" fmla="*/ 750922 h 1501843"/>
                <a:gd name="connsiteX27" fmla="*/ 0 w 683710"/>
                <a:gd name="connsiteY27" fmla="*/ 656079 h 1501843"/>
                <a:gd name="connsiteX28" fmla="*/ 0 w 683710"/>
                <a:gd name="connsiteY28" fmla="*/ 656078 h 1501843"/>
                <a:gd name="connsiteX29" fmla="*/ 0 w 683710"/>
                <a:gd name="connsiteY29" fmla="*/ 561235 h 1501843"/>
                <a:gd name="connsiteX30" fmla="*/ 0 w 683710"/>
                <a:gd name="connsiteY30" fmla="*/ 561234 h 1501843"/>
                <a:gd name="connsiteX31" fmla="*/ 0 w 683710"/>
                <a:gd name="connsiteY31" fmla="*/ 466391 h 1501843"/>
                <a:gd name="connsiteX32" fmla="*/ 0 w 683710"/>
                <a:gd name="connsiteY32" fmla="*/ 466390 h 1501843"/>
                <a:gd name="connsiteX33" fmla="*/ 0 w 683710"/>
                <a:gd name="connsiteY33" fmla="*/ 371546 h 1501843"/>
                <a:gd name="connsiteX34" fmla="*/ 0 w 683710"/>
                <a:gd name="connsiteY34" fmla="*/ 341855 h 1501843"/>
                <a:gd name="connsiteX35" fmla="*/ 341855 w 683710"/>
                <a:gd name="connsiteY35" fmla="*/ 0 h 1501843"/>
                <a:gd name="connsiteX0" fmla="*/ 341855 w 683710"/>
                <a:gd name="connsiteY0" fmla="*/ 0 h 1501843"/>
                <a:gd name="connsiteX1" fmla="*/ 683710 w 683710"/>
                <a:gd name="connsiteY1" fmla="*/ 341855 h 1501843"/>
                <a:gd name="connsiteX2" fmla="*/ 683710 w 683710"/>
                <a:gd name="connsiteY2" fmla="*/ 371546 h 1501843"/>
                <a:gd name="connsiteX3" fmla="*/ 683710 w 683710"/>
                <a:gd name="connsiteY3" fmla="*/ 466390 h 1501843"/>
                <a:gd name="connsiteX4" fmla="*/ 683710 w 683710"/>
                <a:gd name="connsiteY4" fmla="*/ 466391 h 1501843"/>
                <a:gd name="connsiteX5" fmla="*/ 683710 w 683710"/>
                <a:gd name="connsiteY5" fmla="*/ 561234 h 1501843"/>
                <a:gd name="connsiteX6" fmla="*/ 683710 w 683710"/>
                <a:gd name="connsiteY6" fmla="*/ 561235 h 1501843"/>
                <a:gd name="connsiteX7" fmla="*/ 683710 w 683710"/>
                <a:gd name="connsiteY7" fmla="*/ 656078 h 1501843"/>
                <a:gd name="connsiteX8" fmla="*/ 683710 w 683710"/>
                <a:gd name="connsiteY8" fmla="*/ 656079 h 1501843"/>
                <a:gd name="connsiteX9" fmla="*/ 683710 w 683710"/>
                <a:gd name="connsiteY9" fmla="*/ 750922 h 1501843"/>
                <a:gd name="connsiteX10" fmla="*/ 683710 w 683710"/>
                <a:gd name="connsiteY10" fmla="*/ 750923 h 1501843"/>
                <a:gd name="connsiteX11" fmla="*/ 683710 w 683710"/>
                <a:gd name="connsiteY11" fmla="*/ 845767 h 1501843"/>
                <a:gd name="connsiteX12" fmla="*/ 683710 w 683710"/>
                <a:gd name="connsiteY12" fmla="*/ 940611 h 1501843"/>
                <a:gd name="connsiteX13" fmla="*/ 683710 w 683710"/>
                <a:gd name="connsiteY13" fmla="*/ 940612 h 1501843"/>
                <a:gd name="connsiteX14" fmla="*/ 683710 w 683710"/>
                <a:gd name="connsiteY14" fmla="*/ 1035455 h 1501843"/>
                <a:gd name="connsiteX15" fmla="*/ 683710 w 683710"/>
                <a:gd name="connsiteY15" fmla="*/ 1035456 h 1501843"/>
                <a:gd name="connsiteX16" fmla="*/ 683710 w 683710"/>
                <a:gd name="connsiteY16" fmla="*/ 1159988 h 1501843"/>
                <a:gd name="connsiteX17" fmla="*/ 341855 w 683710"/>
                <a:gd name="connsiteY17" fmla="*/ 1501843 h 1501843"/>
                <a:gd name="connsiteX18" fmla="*/ 0 w 683710"/>
                <a:gd name="connsiteY18" fmla="*/ 1159988 h 1501843"/>
                <a:gd name="connsiteX19" fmla="*/ 0 w 683710"/>
                <a:gd name="connsiteY19" fmla="*/ 1035456 h 1501843"/>
                <a:gd name="connsiteX20" fmla="*/ 0 w 683710"/>
                <a:gd name="connsiteY20" fmla="*/ 1035455 h 1501843"/>
                <a:gd name="connsiteX21" fmla="*/ 0 w 683710"/>
                <a:gd name="connsiteY21" fmla="*/ 940612 h 1501843"/>
                <a:gd name="connsiteX22" fmla="*/ 0 w 683710"/>
                <a:gd name="connsiteY22" fmla="*/ 940611 h 1501843"/>
                <a:gd name="connsiteX23" fmla="*/ 0 w 683710"/>
                <a:gd name="connsiteY23" fmla="*/ 845767 h 1501843"/>
                <a:gd name="connsiteX24" fmla="*/ 0 w 683710"/>
                <a:gd name="connsiteY24" fmla="*/ 750923 h 1501843"/>
                <a:gd name="connsiteX25" fmla="*/ 0 w 683710"/>
                <a:gd name="connsiteY25" fmla="*/ 750922 h 1501843"/>
                <a:gd name="connsiteX26" fmla="*/ 0 w 683710"/>
                <a:gd name="connsiteY26" fmla="*/ 656079 h 1501843"/>
                <a:gd name="connsiteX27" fmla="*/ 0 w 683710"/>
                <a:gd name="connsiteY27" fmla="*/ 656078 h 1501843"/>
                <a:gd name="connsiteX28" fmla="*/ 0 w 683710"/>
                <a:gd name="connsiteY28" fmla="*/ 561235 h 1501843"/>
                <a:gd name="connsiteX29" fmla="*/ 0 w 683710"/>
                <a:gd name="connsiteY29" fmla="*/ 561234 h 1501843"/>
                <a:gd name="connsiteX30" fmla="*/ 0 w 683710"/>
                <a:gd name="connsiteY30" fmla="*/ 466391 h 1501843"/>
                <a:gd name="connsiteX31" fmla="*/ 0 w 683710"/>
                <a:gd name="connsiteY31" fmla="*/ 466390 h 1501843"/>
                <a:gd name="connsiteX32" fmla="*/ 0 w 683710"/>
                <a:gd name="connsiteY32" fmla="*/ 371546 h 1501843"/>
                <a:gd name="connsiteX33" fmla="*/ 0 w 683710"/>
                <a:gd name="connsiteY33" fmla="*/ 341855 h 1501843"/>
                <a:gd name="connsiteX34" fmla="*/ 341855 w 683710"/>
                <a:gd name="connsiteY34" fmla="*/ 0 h 1501843"/>
                <a:gd name="connsiteX0" fmla="*/ 341855 w 683710"/>
                <a:gd name="connsiteY0" fmla="*/ 0 h 1501843"/>
                <a:gd name="connsiteX1" fmla="*/ 683710 w 683710"/>
                <a:gd name="connsiteY1" fmla="*/ 341855 h 1501843"/>
                <a:gd name="connsiteX2" fmla="*/ 683710 w 683710"/>
                <a:gd name="connsiteY2" fmla="*/ 466390 h 1501843"/>
                <a:gd name="connsiteX3" fmla="*/ 683710 w 683710"/>
                <a:gd name="connsiteY3" fmla="*/ 466391 h 1501843"/>
                <a:gd name="connsiteX4" fmla="*/ 683710 w 683710"/>
                <a:gd name="connsiteY4" fmla="*/ 561234 h 1501843"/>
                <a:gd name="connsiteX5" fmla="*/ 683710 w 683710"/>
                <a:gd name="connsiteY5" fmla="*/ 561235 h 1501843"/>
                <a:gd name="connsiteX6" fmla="*/ 683710 w 683710"/>
                <a:gd name="connsiteY6" fmla="*/ 656078 h 1501843"/>
                <a:gd name="connsiteX7" fmla="*/ 683710 w 683710"/>
                <a:gd name="connsiteY7" fmla="*/ 656079 h 1501843"/>
                <a:gd name="connsiteX8" fmla="*/ 683710 w 683710"/>
                <a:gd name="connsiteY8" fmla="*/ 750922 h 1501843"/>
                <a:gd name="connsiteX9" fmla="*/ 683710 w 683710"/>
                <a:gd name="connsiteY9" fmla="*/ 750923 h 1501843"/>
                <a:gd name="connsiteX10" fmla="*/ 683710 w 683710"/>
                <a:gd name="connsiteY10" fmla="*/ 845767 h 1501843"/>
                <a:gd name="connsiteX11" fmla="*/ 683710 w 683710"/>
                <a:gd name="connsiteY11" fmla="*/ 940611 h 1501843"/>
                <a:gd name="connsiteX12" fmla="*/ 683710 w 683710"/>
                <a:gd name="connsiteY12" fmla="*/ 940612 h 1501843"/>
                <a:gd name="connsiteX13" fmla="*/ 683710 w 683710"/>
                <a:gd name="connsiteY13" fmla="*/ 1035455 h 1501843"/>
                <a:gd name="connsiteX14" fmla="*/ 683710 w 683710"/>
                <a:gd name="connsiteY14" fmla="*/ 1035456 h 1501843"/>
                <a:gd name="connsiteX15" fmla="*/ 683710 w 683710"/>
                <a:gd name="connsiteY15" fmla="*/ 1159988 h 1501843"/>
                <a:gd name="connsiteX16" fmla="*/ 341855 w 683710"/>
                <a:gd name="connsiteY16" fmla="*/ 1501843 h 1501843"/>
                <a:gd name="connsiteX17" fmla="*/ 0 w 683710"/>
                <a:gd name="connsiteY17" fmla="*/ 1159988 h 1501843"/>
                <a:gd name="connsiteX18" fmla="*/ 0 w 683710"/>
                <a:gd name="connsiteY18" fmla="*/ 1035456 h 1501843"/>
                <a:gd name="connsiteX19" fmla="*/ 0 w 683710"/>
                <a:gd name="connsiteY19" fmla="*/ 1035455 h 1501843"/>
                <a:gd name="connsiteX20" fmla="*/ 0 w 683710"/>
                <a:gd name="connsiteY20" fmla="*/ 940612 h 1501843"/>
                <a:gd name="connsiteX21" fmla="*/ 0 w 683710"/>
                <a:gd name="connsiteY21" fmla="*/ 940611 h 1501843"/>
                <a:gd name="connsiteX22" fmla="*/ 0 w 683710"/>
                <a:gd name="connsiteY22" fmla="*/ 845767 h 1501843"/>
                <a:gd name="connsiteX23" fmla="*/ 0 w 683710"/>
                <a:gd name="connsiteY23" fmla="*/ 750923 h 1501843"/>
                <a:gd name="connsiteX24" fmla="*/ 0 w 683710"/>
                <a:gd name="connsiteY24" fmla="*/ 750922 h 1501843"/>
                <a:gd name="connsiteX25" fmla="*/ 0 w 683710"/>
                <a:gd name="connsiteY25" fmla="*/ 656079 h 1501843"/>
                <a:gd name="connsiteX26" fmla="*/ 0 w 683710"/>
                <a:gd name="connsiteY26" fmla="*/ 656078 h 1501843"/>
                <a:gd name="connsiteX27" fmla="*/ 0 w 683710"/>
                <a:gd name="connsiteY27" fmla="*/ 561235 h 1501843"/>
                <a:gd name="connsiteX28" fmla="*/ 0 w 683710"/>
                <a:gd name="connsiteY28" fmla="*/ 561234 h 1501843"/>
                <a:gd name="connsiteX29" fmla="*/ 0 w 683710"/>
                <a:gd name="connsiteY29" fmla="*/ 466391 h 1501843"/>
                <a:gd name="connsiteX30" fmla="*/ 0 w 683710"/>
                <a:gd name="connsiteY30" fmla="*/ 466390 h 1501843"/>
                <a:gd name="connsiteX31" fmla="*/ 0 w 683710"/>
                <a:gd name="connsiteY31" fmla="*/ 371546 h 1501843"/>
                <a:gd name="connsiteX32" fmla="*/ 0 w 683710"/>
                <a:gd name="connsiteY32" fmla="*/ 341855 h 1501843"/>
                <a:gd name="connsiteX33" fmla="*/ 341855 w 683710"/>
                <a:gd name="connsiteY33" fmla="*/ 0 h 1501843"/>
                <a:gd name="connsiteX0" fmla="*/ 341855 w 683710"/>
                <a:gd name="connsiteY0" fmla="*/ 0 h 1501843"/>
                <a:gd name="connsiteX1" fmla="*/ 683710 w 683710"/>
                <a:gd name="connsiteY1" fmla="*/ 341855 h 1501843"/>
                <a:gd name="connsiteX2" fmla="*/ 683710 w 683710"/>
                <a:gd name="connsiteY2" fmla="*/ 466390 h 1501843"/>
                <a:gd name="connsiteX3" fmla="*/ 683710 w 683710"/>
                <a:gd name="connsiteY3" fmla="*/ 466391 h 1501843"/>
                <a:gd name="connsiteX4" fmla="*/ 683710 w 683710"/>
                <a:gd name="connsiteY4" fmla="*/ 561234 h 1501843"/>
                <a:gd name="connsiteX5" fmla="*/ 683710 w 683710"/>
                <a:gd name="connsiteY5" fmla="*/ 561235 h 1501843"/>
                <a:gd name="connsiteX6" fmla="*/ 683710 w 683710"/>
                <a:gd name="connsiteY6" fmla="*/ 656078 h 1501843"/>
                <a:gd name="connsiteX7" fmla="*/ 683710 w 683710"/>
                <a:gd name="connsiteY7" fmla="*/ 656079 h 1501843"/>
                <a:gd name="connsiteX8" fmla="*/ 683710 w 683710"/>
                <a:gd name="connsiteY8" fmla="*/ 750922 h 1501843"/>
                <a:gd name="connsiteX9" fmla="*/ 683710 w 683710"/>
                <a:gd name="connsiteY9" fmla="*/ 750923 h 1501843"/>
                <a:gd name="connsiteX10" fmla="*/ 683710 w 683710"/>
                <a:gd name="connsiteY10" fmla="*/ 845767 h 1501843"/>
                <a:gd name="connsiteX11" fmla="*/ 683710 w 683710"/>
                <a:gd name="connsiteY11" fmla="*/ 940611 h 1501843"/>
                <a:gd name="connsiteX12" fmla="*/ 683710 w 683710"/>
                <a:gd name="connsiteY12" fmla="*/ 940612 h 1501843"/>
                <a:gd name="connsiteX13" fmla="*/ 683710 w 683710"/>
                <a:gd name="connsiteY13" fmla="*/ 1035455 h 1501843"/>
                <a:gd name="connsiteX14" fmla="*/ 683710 w 683710"/>
                <a:gd name="connsiteY14" fmla="*/ 1035456 h 1501843"/>
                <a:gd name="connsiteX15" fmla="*/ 683710 w 683710"/>
                <a:gd name="connsiteY15" fmla="*/ 1159988 h 1501843"/>
                <a:gd name="connsiteX16" fmla="*/ 341855 w 683710"/>
                <a:gd name="connsiteY16" fmla="*/ 1501843 h 1501843"/>
                <a:gd name="connsiteX17" fmla="*/ 0 w 683710"/>
                <a:gd name="connsiteY17" fmla="*/ 1159988 h 1501843"/>
                <a:gd name="connsiteX18" fmla="*/ 0 w 683710"/>
                <a:gd name="connsiteY18" fmla="*/ 1035456 h 1501843"/>
                <a:gd name="connsiteX19" fmla="*/ 0 w 683710"/>
                <a:gd name="connsiteY19" fmla="*/ 1035455 h 1501843"/>
                <a:gd name="connsiteX20" fmla="*/ 0 w 683710"/>
                <a:gd name="connsiteY20" fmla="*/ 940612 h 1501843"/>
                <a:gd name="connsiteX21" fmla="*/ 0 w 683710"/>
                <a:gd name="connsiteY21" fmla="*/ 940611 h 1501843"/>
                <a:gd name="connsiteX22" fmla="*/ 0 w 683710"/>
                <a:gd name="connsiteY22" fmla="*/ 845767 h 1501843"/>
                <a:gd name="connsiteX23" fmla="*/ 0 w 683710"/>
                <a:gd name="connsiteY23" fmla="*/ 750923 h 1501843"/>
                <a:gd name="connsiteX24" fmla="*/ 0 w 683710"/>
                <a:gd name="connsiteY24" fmla="*/ 750922 h 1501843"/>
                <a:gd name="connsiteX25" fmla="*/ 0 w 683710"/>
                <a:gd name="connsiteY25" fmla="*/ 656079 h 1501843"/>
                <a:gd name="connsiteX26" fmla="*/ 0 w 683710"/>
                <a:gd name="connsiteY26" fmla="*/ 656078 h 1501843"/>
                <a:gd name="connsiteX27" fmla="*/ 0 w 683710"/>
                <a:gd name="connsiteY27" fmla="*/ 561235 h 1501843"/>
                <a:gd name="connsiteX28" fmla="*/ 0 w 683710"/>
                <a:gd name="connsiteY28" fmla="*/ 561234 h 1501843"/>
                <a:gd name="connsiteX29" fmla="*/ 0 w 683710"/>
                <a:gd name="connsiteY29" fmla="*/ 466391 h 1501843"/>
                <a:gd name="connsiteX30" fmla="*/ 0 w 683710"/>
                <a:gd name="connsiteY30" fmla="*/ 466390 h 1501843"/>
                <a:gd name="connsiteX31" fmla="*/ 0 w 683710"/>
                <a:gd name="connsiteY31" fmla="*/ 341855 h 1501843"/>
                <a:gd name="connsiteX32" fmla="*/ 341855 w 683710"/>
                <a:gd name="connsiteY32" fmla="*/ 0 h 1501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83710" h="1501843">
                  <a:moveTo>
                    <a:pt x="341855" y="0"/>
                  </a:moveTo>
                  <a:cubicBezTo>
                    <a:pt x="530656" y="0"/>
                    <a:pt x="683710" y="153054"/>
                    <a:pt x="683710" y="341855"/>
                  </a:cubicBezTo>
                  <a:lnTo>
                    <a:pt x="683710" y="466390"/>
                  </a:lnTo>
                  <a:lnTo>
                    <a:pt x="683710" y="466391"/>
                  </a:lnTo>
                  <a:lnTo>
                    <a:pt x="683710" y="561234"/>
                  </a:lnTo>
                  <a:lnTo>
                    <a:pt x="683710" y="561235"/>
                  </a:lnTo>
                  <a:lnTo>
                    <a:pt x="683710" y="656078"/>
                  </a:lnTo>
                  <a:lnTo>
                    <a:pt x="683710" y="656079"/>
                  </a:lnTo>
                  <a:lnTo>
                    <a:pt x="683710" y="750922"/>
                  </a:lnTo>
                  <a:lnTo>
                    <a:pt x="683710" y="750923"/>
                  </a:lnTo>
                  <a:lnTo>
                    <a:pt x="683710" y="845767"/>
                  </a:lnTo>
                  <a:lnTo>
                    <a:pt x="683710" y="940611"/>
                  </a:lnTo>
                  <a:lnTo>
                    <a:pt x="683710" y="940612"/>
                  </a:lnTo>
                  <a:lnTo>
                    <a:pt x="683710" y="1035455"/>
                  </a:lnTo>
                  <a:lnTo>
                    <a:pt x="683710" y="1035456"/>
                  </a:lnTo>
                  <a:lnTo>
                    <a:pt x="683710" y="1159988"/>
                  </a:lnTo>
                  <a:cubicBezTo>
                    <a:pt x="683710" y="1348789"/>
                    <a:pt x="530656" y="1501843"/>
                    <a:pt x="341855" y="1501843"/>
                  </a:cubicBezTo>
                  <a:cubicBezTo>
                    <a:pt x="153054" y="1501843"/>
                    <a:pt x="0" y="1348789"/>
                    <a:pt x="0" y="1159988"/>
                  </a:cubicBezTo>
                  <a:lnTo>
                    <a:pt x="0" y="1035456"/>
                  </a:lnTo>
                  <a:lnTo>
                    <a:pt x="0" y="1035455"/>
                  </a:lnTo>
                  <a:lnTo>
                    <a:pt x="0" y="940612"/>
                  </a:lnTo>
                  <a:lnTo>
                    <a:pt x="0" y="940611"/>
                  </a:lnTo>
                  <a:lnTo>
                    <a:pt x="0" y="845767"/>
                  </a:lnTo>
                  <a:lnTo>
                    <a:pt x="0" y="750923"/>
                  </a:lnTo>
                  <a:lnTo>
                    <a:pt x="0" y="750922"/>
                  </a:lnTo>
                  <a:lnTo>
                    <a:pt x="0" y="656079"/>
                  </a:lnTo>
                  <a:lnTo>
                    <a:pt x="0" y="656078"/>
                  </a:lnTo>
                  <a:lnTo>
                    <a:pt x="0" y="561235"/>
                  </a:lnTo>
                  <a:lnTo>
                    <a:pt x="0" y="561234"/>
                  </a:lnTo>
                  <a:lnTo>
                    <a:pt x="0" y="466391"/>
                  </a:lnTo>
                  <a:lnTo>
                    <a:pt x="0" y="466390"/>
                  </a:lnTo>
                  <a:lnTo>
                    <a:pt x="0" y="341855"/>
                  </a:lnTo>
                  <a:cubicBezTo>
                    <a:pt x="0" y="153054"/>
                    <a:pt x="153054" y="0"/>
                    <a:pt x="341855" y="0"/>
                  </a:cubicBez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ctr" anchorCtr="0">
              <a:noAutofit/>
            </a:bodyPr>
            <a:lstStyle/>
            <a:p>
              <a:pPr algn="ctr">
                <a:spcBef>
                  <a:spcPts val="300"/>
                </a:spcBef>
                <a:buClr>
                  <a:srgbClr val="002897"/>
                </a:buClr>
                <a:buSzPct val="70000"/>
              </a:pPr>
              <a:endParaRPr lang="de-DE" sz="1000" dirty="0">
                <a:solidFill>
                  <a:schemeClr val="tx1"/>
                </a:solidFill>
              </a:endParaRPr>
            </a:p>
          </p:txBody>
        </p:sp>
        <p:sp>
          <p:nvSpPr>
            <p:cNvPr id="900" name="Rectangle 899">
              <a:extLst>
                <a:ext uri="{FF2B5EF4-FFF2-40B4-BE49-F238E27FC236}">
                  <a16:creationId xmlns:a16="http://schemas.microsoft.com/office/drawing/2014/main" id="{631C660A-D986-420E-8803-A91E7A40093F}"/>
                </a:ext>
              </a:extLst>
            </p:cNvPr>
            <p:cNvSpPr/>
            <p:nvPr/>
          </p:nvSpPr>
          <p:spPr bwMode="gray">
            <a:xfrm>
              <a:off x="7949893" y="2742337"/>
              <a:ext cx="683855" cy="780803"/>
            </a:xfrm>
            <a:prstGeom prst="rect">
              <a:avLst/>
            </a:prstGeom>
            <a:pattFill prst="openDmnd">
              <a:fgClr>
                <a:schemeClr val="accent3"/>
              </a:fgClr>
              <a:bgClr>
                <a:schemeClr val="bg1"/>
              </a:bgClr>
            </a:patt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nchorCtr="0"/>
            <a:lstStyle/>
            <a:p>
              <a:pPr algn="ctr">
                <a:spcBef>
                  <a:spcPts val="300"/>
                </a:spcBef>
                <a:buClr>
                  <a:srgbClr val="002897"/>
                </a:buClr>
                <a:buSzPct val="70000"/>
              </a:pPr>
              <a:r>
                <a:rPr lang="de-DE" sz="1000" dirty="0">
                  <a:solidFill>
                    <a:schemeClr val="tx1"/>
                  </a:solidFill>
                </a:rPr>
                <a:t>Stripper tower</a:t>
              </a:r>
            </a:p>
          </p:txBody>
        </p:sp>
      </p:grpSp>
      <p:cxnSp>
        <p:nvCxnSpPr>
          <p:cNvPr id="901" name="Connector: Elbow 900">
            <a:extLst>
              <a:ext uri="{FF2B5EF4-FFF2-40B4-BE49-F238E27FC236}">
                <a16:creationId xmlns:a16="http://schemas.microsoft.com/office/drawing/2014/main" id="{4B1EC0D9-1C49-48FA-AAEF-A3AE2197467B}"/>
              </a:ext>
            </a:extLst>
          </p:cNvPr>
          <p:cNvCxnSpPr>
            <a:cxnSpLocks/>
            <a:stCxn id="858" idx="1"/>
            <a:endCxn id="868" idx="1"/>
          </p:cNvCxnSpPr>
          <p:nvPr/>
        </p:nvCxnSpPr>
        <p:spPr bwMode="gray">
          <a:xfrm>
            <a:off x="4665370" y="2230158"/>
            <a:ext cx="759966" cy="988034"/>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02" name="Connector: Elbow 901">
            <a:extLst>
              <a:ext uri="{FF2B5EF4-FFF2-40B4-BE49-F238E27FC236}">
                <a16:creationId xmlns:a16="http://schemas.microsoft.com/office/drawing/2014/main" id="{8B5C3507-DFD1-4726-9566-58D14149EB27}"/>
              </a:ext>
            </a:extLst>
          </p:cNvPr>
          <p:cNvCxnSpPr>
            <a:cxnSpLocks/>
            <a:stCxn id="900" idx="3"/>
            <a:endCxn id="894" idx="2"/>
          </p:cNvCxnSpPr>
          <p:nvPr/>
        </p:nvCxnSpPr>
        <p:spPr bwMode="gray">
          <a:xfrm rot="10800000" flipV="1">
            <a:off x="3503635" y="2981079"/>
            <a:ext cx="4008622" cy="50085"/>
          </a:xfrm>
          <a:prstGeom prst="bentConnector4">
            <a:avLst>
              <a:gd name="adj1" fmla="val 3920"/>
              <a:gd name="adj2" fmla="val 330502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03" name="Connector: Elbow 902">
            <a:extLst>
              <a:ext uri="{FF2B5EF4-FFF2-40B4-BE49-F238E27FC236}">
                <a16:creationId xmlns:a16="http://schemas.microsoft.com/office/drawing/2014/main" id="{A926D35D-4044-4387-9565-185B83E3B8B3}"/>
              </a:ext>
            </a:extLst>
          </p:cNvPr>
          <p:cNvCxnSpPr>
            <a:cxnSpLocks/>
            <a:stCxn id="919" idx="1"/>
            <a:endCxn id="861" idx="3"/>
          </p:cNvCxnSpPr>
          <p:nvPr/>
        </p:nvCxnSpPr>
        <p:spPr bwMode="gray">
          <a:xfrm flipH="1" flipV="1">
            <a:off x="6109046" y="2554283"/>
            <a:ext cx="603468" cy="1223263"/>
          </a:xfrm>
          <a:prstGeom prst="bentConnector3">
            <a:avLst>
              <a:gd name="adj1" fmla="val 37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04" name="Connector: Elbow 903">
            <a:extLst>
              <a:ext uri="{FF2B5EF4-FFF2-40B4-BE49-F238E27FC236}">
                <a16:creationId xmlns:a16="http://schemas.microsoft.com/office/drawing/2014/main" id="{80F4FB95-6CA3-43EE-868D-5DF5CD2A7647}"/>
              </a:ext>
            </a:extLst>
          </p:cNvPr>
          <p:cNvCxnSpPr>
            <a:cxnSpLocks/>
            <a:stCxn id="919" idx="7"/>
            <a:endCxn id="899" idx="2"/>
          </p:cNvCxnSpPr>
          <p:nvPr/>
        </p:nvCxnSpPr>
        <p:spPr bwMode="gray">
          <a:xfrm flipV="1">
            <a:off x="7025231" y="2696548"/>
            <a:ext cx="487026" cy="1171962"/>
          </a:xfrm>
          <a:prstGeom prst="bentConnector3">
            <a:avLst>
              <a:gd name="adj1" fmla="val 5000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05" name="Connector: Elbow 904">
            <a:extLst>
              <a:ext uri="{FF2B5EF4-FFF2-40B4-BE49-F238E27FC236}">
                <a16:creationId xmlns:a16="http://schemas.microsoft.com/office/drawing/2014/main" id="{5828A997-70BD-48F1-A09C-C163681BC2F0}"/>
              </a:ext>
            </a:extLst>
          </p:cNvPr>
          <p:cNvCxnSpPr>
            <a:cxnSpLocks/>
            <a:stCxn id="845" idx="0"/>
          </p:cNvCxnSpPr>
          <p:nvPr/>
        </p:nvCxnSpPr>
        <p:spPr bwMode="gray">
          <a:xfrm rot="5400000" flipH="1" flipV="1">
            <a:off x="6539543" y="1513056"/>
            <a:ext cx="250806" cy="6764237"/>
          </a:xfrm>
          <a:prstGeom prst="bentConnector2">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06" name="Connector: Elbow 905">
            <a:extLst>
              <a:ext uri="{FF2B5EF4-FFF2-40B4-BE49-F238E27FC236}">
                <a16:creationId xmlns:a16="http://schemas.microsoft.com/office/drawing/2014/main" id="{302965BE-1910-4848-A8E3-A042A4DD5CEA}"/>
              </a:ext>
            </a:extLst>
          </p:cNvPr>
          <p:cNvCxnSpPr>
            <a:cxnSpLocks/>
            <a:stCxn id="845" idx="0"/>
            <a:endCxn id="885" idx="6"/>
          </p:cNvCxnSpPr>
          <p:nvPr/>
        </p:nvCxnSpPr>
        <p:spPr bwMode="gray">
          <a:xfrm rot="16200000" flipV="1">
            <a:off x="2903505" y="4641253"/>
            <a:ext cx="435667" cy="322981"/>
          </a:xfrm>
          <a:prstGeom prst="bentConnector2">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07" name="Straight Connector 906">
            <a:extLst>
              <a:ext uri="{FF2B5EF4-FFF2-40B4-BE49-F238E27FC236}">
                <a16:creationId xmlns:a16="http://schemas.microsoft.com/office/drawing/2014/main" id="{D9AED6DA-C64B-482F-A3AA-712EDEE50BE6}"/>
              </a:ext>
            </a:extLst>
          </p:cNvPr>
          <p:cNvCxnSpPr>
            <a:cxnSpLocks/>
            <a:stCxn id="890" idx="5"/>
            <a:endCxn id="842" idx="1"/>
          </p:cNvCxnSpPr>
          <p:nvPr/>
        </p:nvCxnSpPr>
        <p:spPr bwMode="gray">
          <a:xfrm>
            <a:off x="5190386" y="5172433"/>
            <a:ext cx="442743" cy="2013"/>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09" name="Straight Connector 908">
            <a:extLst>
              <a:ext uri="{FF2B5EF4-FFF2-40B4-BE49-F238E27FC236}">
                <a16:creationId xmlns:a16="http://schemas.microsoft.com/office/drawing/2014/main" id="{CDA8404F-9174-4FEA-8385-BDC89E2DA249}"/>
              </a:ext>
            </a:extLst>
          </p:cNvPr>
          <p:cNvCxnSpPr>
            <a:cxnSpLocks/>
            <a:stCxn id="836" idx="2"/>
            <a:endCxn id="852" idx="0"/>
          </p:cNvCxnSpPr>
          <p:nvPr/>
        </p:nvCxnSpPr>
        <p:spPr bwMode="gray">
          <a:xfrm>
            <a:off x="4135724" y="4779921"/>
            <a:ext cx="0" cy="240656"/>
          </a:xfrm>
          <a:prstGeom prst="line">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910" name="Group 909">
            <a:extLst>
              <a:ext uri="{FF2B5EF4-FFF2-40B4-BE49-F238E27FC236}">
                <a16:creationId xmlns:a16="http://schemas.microsoft.com/office/drawing/2014/main" id="{C6174456-028D-496F-877F-FC1250ACA764}"/>
              </a:ext>
            </a:extLst>
          </p:cNvPr>
          <p:cNvGrpSpPr/>
          <p:nvPr/>
        </p:nvGrpSpPr>
        <p:grpSpPr bwMode="gray">
          <a:xfrm>
            <a:off x="7497911" y="5020577"/>
            <a:ext cx="673792" cy="664218"/>
            <a:chOff x="15399039" y="3407016"/>
            <a:chExt cx="673792" cy="664218"/>
          </a:xfrm>
        </p:grpSpPr>
        <p:sp>
          <p:nvSpPr>
            <p:cNvPr id="911" name="Rectangle 910">
              <a:extLst>
                <a:ext uri="{FF2B5EF4-FFF2-40B4-BE49-F238E27FC236}">
                  <a16:creationId xmlns:a16="http://schemas.microsoft.com/office/drawing/2014/main" id="{E23091A3-8DA0-457C-B03A-CB9C0FA66859}"/>
                </a:ext>
              </a:extLst>
            </p:cNvPr>
            <p:cNvSpPr/>
            <p:nvPr/>
          </p:nvSpPr>
          <p:spPr bwMode="gray">
            <a:xfrm>
              <a:off x="15525750" y="3407016"/>
              <a:ext cx="420370" cy="310736"/>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cxnSp>
          <p:nvCxnSpPr>
            <p:cNvPr id="912" name="Straight Connector 911">
              <a:extLst>
                <a:ext uri="{FF2B5EF4-FFF2-40B4-BE49-F238E27FC236}">
                  <a16:creationId xmlns:a16="http://schemas.microsoft.com/office/drawing/2014/main" id="{EFD4F60F-EC27-4457-8170-69FF766CC5A7}"/>
                </a:ext>
              </a:extLst>
            </p:cNvPr>
            <p:cNvCxnSpPr>
              <a:stCxn id="911" idx="0"/>
              <a:endCxn id="911" idx="2"/>
            </p:cNvCxnSpPr>
            <p:nvPr/>
          </p:nvCxnSpPr>
          <p:spPr bwMode="gray">
            <a:xfrm>
              <a:off x="15735935" y="3407016"/>
              <a:ext cx="0" cy="310736"/>
            </a:xfrm>
            <a:prstGeom prst="line">
              <a:avLst/>
            </a:prstGeom>
            <a:ln w="1270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913" name="Rectangle 912">
              <a:extLst>
                <a:ext uri="{FF2B5EF4-FFF2-40B4-BE49-F238E27FC236}">
                  <a16:creationId xmlns:a16="http://schemas.microsoft.com/office/drawing/2014/main" id="{4A0358E2-7952-49CE-A882-BA20AD252849}"/>
                </a:ext>
              </a:extLst>
            </p:cNvPr>
            <p:cNvSpPr/>
            <p:nvPr/>
          </p:nvSpPr>
          <p:spPr bwMode="gray">
            <a:xfrm>
              <a:off x="15399039" y="3717751"/>
              <a:ext cx="673792" cy="35348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arbon filter</a:t>
              </a:r>
            </a:p>
          </p:txBody>
        </p:sp>
      </p:grpSp>
      <p:cxnSp>
        <p:nvCxnSpPr>
          <p:cNvPr id="914" name="Straight Connector 913">
            <a:extLst>
              <a:ext uri="{FF2B5EF4-FFF2-40B4-BE49-F238E27FC236}">
                <a16:creationId xmlns:a16="http://schemas.microsoft.com/office/drawing/2014/main" id="{E7056D29-6992-45F8-AA69-4DBD1D91C1E4}"/>
              </a:ext>
            </a:extLst>
          </p:cNvPr>
          <p:cNvCxnSpPr>
            <a:cxnSpLocks/>
            <a:stCxn id="849" idx="2"/>
            <a:endCxn id="911" idx="3"/>
          </p:cNvCxnSpPr>
          <p:nvPr/>
        </p:nvCxnSpPr>
        <p:spPr bwMode="gray">
          <a:xfrm flipH="1" flipV="1">
            <a:off x="8044992" y="5175945"/>
            <a:ext cx="309660" cy="3978"/>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15" name="Straight Connector 914">
            <a:extLst>
              <a:ext uri="{FF2B5EF4-FFF2-40B4-BE49-F238E27FC236}">
                <a16:creationId xmlns:a16="http://schemas.microsoft.com/office/drawing/2014/main" id="{71B84972-48A3-4579-97CA-5CA8F1FB8877}"/>
              </a:ext>
            </a:extLst>
          </p:cNvPr>
          <p:cNvCxnSpPr>
            <a:cxnSpLocks/>
            <a:stCxn id="873" idx="6"/>
            <a:endCxn id="878" idx="2"/>
          </p:cNvCxnSpPr>
          <p:nvPr/>
        </p:nvCxnSpPr>
        <p:spPr bwMode="gray">
          <a:xfrm flipV="1">
            <a:off x="8659353" y="3622045"/>
            <a:ext cx="454803" cy="1499"/>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16" name="Connector: Elbow 915">
            <a:extLst>
              <a:ext uri="{FF2B5EF4-FFF2-40B4-BE49-F238E27FC236}">
                <a16:creationId xmlns:a16="http://schemas.microsoft.com/office/drawing/2014/main" id="{FC360876-34E9-4B55-8BB6-13D153A1AA40}"/>
              </a:ext>
            </a:extLst>
          </p:cNvPr>
          <p:cNvCxnSpPr>
            <a:cxnSpLocks/>
            <a:stCxn id="881" idx="1"/>
            <a:endCxn id="849" idx="0"/>
          </p:cNvCxnSpPr>
          <p:nvPr/>
        </p:nvCxnSpPr>
        <p:spPr bwMode="gray">
          <a:xfrm rot="16200000" flipH="1" flipV="1">
            <a:off x="8890417" y="4784737"/>
            <a:ext cx="271256" cy="519116"/>
          </a:xfrm>
          <a:prstGeom prst="bentConnector4">
            <a:avLst>
              <a:gd name="adj1" fmla="val -28794"/>
              <a:gd name="adj2" fmla="val 5483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17" name="Connector: Elbow 916">
            <a:extLst>
              <a:ext uri="{FF2B5EF4-FFF2-40B4-BE49-F238E27FC236}">
                <a16:creationId xmlns:a16="http://schemas.microsoft.com/office/drawing/2014/main" id="{373478A7-7AB3-4514-952A-3097D2DC71AA}"/>
              </a:ext>
            </a:extLst>
          </p:cNvPr>
          <p:cNvCxnSpPr>
            <a:cxnSpLocks/>
            <a:stCxn id="899" idx="0"/>
            <a:endCxn id="873" idx="0"/>
          </p:cNvCxnSpPr>
          <p:nvPr/>
        </p:nvCxnSpPr>
        <p:spPr bwMode="gray">
          <a:xfrm rot="10800000" flipH="1" flipV="1">
            <a:off x="7854111" y="2230158"/>
            <a:ext cx="650441" cy="1238018"/>
          </a:xfrm>
          <a:prstGeom prst="bentConnector4">
            <a:avLst>
              <a:gd name="adj1" fmla="val 746"/>
              <a:gd name="adj2" fmla="val -18465"/>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918" name="Group 917">
            <a:extLst>
              <a:ext uri="{FF2B5EF4-FFF2-40B4-BE49-F238E27FC236}">
                <a16:creationId xmlns:a16="http://schemas.microsoft.com/office/drawing/2014/main" id="{03B3C48F-432E-43E0-B9BC-2DB5F1A7C58C}"/>
              </a:ext>
            </a:extLst>
          </p:cNvPr>
          <p:cNvGrpSpPr/>
          <p:nvPr/>
        </p:nvGrpSpPr>
        <p:grpSpPr bwMode="gray">
          <a:xfrm>
            <a:off x="6399153" y="3777546"/>
            <a:ext cx="835200" cy="620421"/>
            <a:chOff x="5874994" y="3291350"/>
            <a:chExt cx="835200" cy="620421"/>
          </a:xfrm>
        </p:grpSpPr>
        <p:sp>
          <p:nvSpPr>
            <p:cNvPr id="919" name="Freeform: Shape 918">
              <a:extLst>
                <a:ext uri="{FF2B5EF4-FFF2-40B4-BE49-F238E27FC236}">
                  <a16:creationId xmlns:a16="http://schemas.microsoft.com/office/drawing/2014/main" id="{52447075-387D-427E-A6A0-3F2B3F64E4B7}"/>
                </a:ext>
              </a:extLst>
            </p:cNvPr>
            <p:cNvSpPr/>
            <p:nvPr/>
          </p:nvSpPr>
          <p:spPr bwMode="gray">
            <a:xfrm>
              <a:off x="6084116" y="3291350"/>
              <a:ext cx="416956" cy="454820"/>
            </a:xfrm>
            <a:custGeom>
              <a:avLst/>
              <a:gdLst>
                <a:gd name="connsiteX0" fmla="*/ 0 w 835200"/>
                <a:gd name="connsiteY0" fmla="*/ 0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35200" h="1973608">
                  <a:moveTo>
                    <a:pt x="0" y="0"/>
                  </a:moveTo>
                  <a:lnTo>
                    <a:pt x="208800" y="0"/>
                  </a:lnTo>
                  <a:lnTo>
                    <a:pt x="417600" y="0"/>
                  </a:lnTo>
                  <a:lnTo>
                    <a:pt x="626400" y="0"/>
                  </a:lnTo>
                  <a:lnTo>
                    <a:pt x="835200" y="0"/>
                  </a:lnTo>
                  <a:lnTo>
                    <a:pt x="835200" y="197361"/>
                  </a:lnTo>
                  <a:lnTo>
                    <a:pt x="835200" y="197362"/>
                  </a:lnTo>
                  <a:lnTo>
                    <a:pt x="835200" y="394723"/>
                  </a:lnTo>
                  <a:lnTo>
                    <a:pt x="835200" y="592083"/>
                  </a:lnTo>
                  <a:lnTo>
                    <a:pt x="835200" y="592085"/>
                  </a:lnTo>
                  <a:lnTo>
                    <a:pt x="835200" y="789444"/>
                  </a:lnTo>
                  <a:lnTo>
                    <a:pt x="835200" y="789445"/>
                  </a:lnTo>
                  <a:lnTo>
                    <a:pt x="835200" y="986804"/>
                  </a:lnTo>
                  <a:lnTo>
                    <a:pt x="835200" y="986806"/>
                  </a:lnTo>
                  <a:lnTo>
                    <a:pt x="835200" y="1184165"/>
                  </a:lnTo>
                  <a:lnTo>
                    <a:pt x="835200" y="1184166"/>
                  </a:lnTo>
                  <a:lnTo>
                    <a:pt x="835200" y="1381525"/>
                  </a:lnTo>
                  <a:lnTo>
                    <a:pt x="835200" y="1381527"/>
                  </a:lnTo>
                  <a:lnTo>
                    <a:pt x="835200" y="1578886"/>
                  </a:lnTo>
                  <a:lnTo>
                    <a:pt x="835200" y="1578887"/>
                  </a:lnTo>
                  <a:lnTo>
                    <a:pt x="835200" y="1776246"/>
                  </a:lnTo>
                  <a:lnTo>
                    <a:pt x="835200" y="1776248"/>
                  </a:lnTo>
                  <a:lnTo>
                    <a:pt x="835200" y="1973608"/>
                  </a:lnTo>
                  <a:lnTo>
                    <a:pt x="626400" y="1973608"/>
                  </a:lnTo>
                  <a:lnTo>
                    <a:pt x="417600" y="1973608"/>
                  </a:lnTo>
                  <a:lnTo>
                    <a:pt x="208800" y="1973608"/>
                  </a:lnTo>
                  <a:lnTo>
                    <a:pt x="0" y="1973608"/>
                  </a:lnTo>
                  <a:lnTo>
                    <a:pt x="0" y="1776248"/>
                  </a:lnTo>
                  <a:lnTo>
                    <a:pt x="0" y="1776246"/>
                  </a:lnTo>
                  <a:lnTo>
                    <a:pt x="0" y="1578887"/>
                  </a:lnTo>
                  <a:lnTo>
                    <a:pt x="0" y="1578886"/>
                  </a:lnTo>
                  <a:lnTo>
                    <a:pt x="0" y="1381527"/>
                  </a:lnTo>
                  <a:lnTo>
                    <a:pt x="0" y="1381525"/>
                  </a:lnTo>
                  <a:lnTo>
                    <a:pt x="0" y="1184166"/>
                  </a:lnTo>
                  <a:lnTo>
                    <a:pt x="0" y="1184165"/>
                  </a:lnTo>
                  <a:lnTo>
                    <a:pt x="0" y="986806"/>
                  </a:lnTo>
                  <a:lnTo>
                    <a:pt x="0" y="986804"/>
                  </a:lnTo>
                  <a:lnTo>
                    <a:pt x="0" y="789445"/>
                  </a:lnTo>
                  <a:lnTo>
                    <a:pt x="0" y="789444"/>
                  </a:lnTo>
                  <a:lnTo>
                    <a:pt x="0" y="592085"/>
                  </a:lnTo>
                  <a:lnTo>
                    <a:pt x="0" y="592083"/>
                  </a:lnTo>
                  <a:lnTo>
                    <a:pt x="0" y="394723"/>
                  </a:lnTo>
                  <a:lnTo>
                    <a:pt x="0" y="197362"/>
                  </a:lnTo>
                  <a:lnTo>
                    <a:pt x="0" y="197361"/>
                  </a:lnTo>
                  <a:close/>
                </a:path>
              </a:pathLst>
            </a:cu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Autofit/>
            </a:bodyPr>
            <a:lstStyle/>
            <a:p>
              <a:pPr algn="ctr">
                <a:spcBef>
                  <a:spcPts val="300"/>
                </a:spcBef>
                <a:buClr>
                  <a:srgbClr val="002897"/>
                </a:buClr>
                <a:buSzPct val="70000"/>
              </a:pPr>
              <a:endParaRPr lang="de-DE" sz="1000" dirty="0">
                <a:solidFill>
                  <a:schemeClr val="tx1"/>
                </a:solidFill>
              </a:endParaRPr>
            </a:p>
          </p:txBody>
        </p:sp>
        <p:grpSp>
          <p:nvGrpSpPr>
            <p:cNvPr id="920" name="Group 919">
              <a:extLst>
                <a:ext uri="{FF2B5EF4-FFF2-40B4-BE49-F238E27FC236}">
                  <a16:creationId xmlns:a16="http://schemas.microsoft.com/office/drawing/2014/main" id="{A1CA4628-7A6B-40EF-B5D0-2FF60DE7F5F6}"/>
                </a:ext>
              </a:extLst>
            </p:cNvPr>
            <p:cNvGrpSpPr/>
            <p:nvPr/>
          </p:nvGrpSpPr>
          <p:grpSpPr bwMode="gray">
            <a:xfrm>
              <a:off x="6137794" y="3358816"/>
              <a:ext cx="309600" cy="310736"/>
              <a:chOff x="4578676" y="4910525"/>
              <a:chExt cx="309600" cy="310736"/>
            </a:xfrm>
          </p:grpSpPr>
          <p:sp>
            <p:nvSpPr>
              <p:cNvPr id="922" name="Oval 921">
                <a:extLst>
                  <a:ext uri="{FF2B5EF4-FFF2-40B4-BE49-F238E27FC236}">
                    <a16:creationId xmlns:a16="http://schemas.microsoft.com/office/drawing/2014/main" id="{7037C189-7DAC-4EC0-ABC5-6E231BB029E4}"/>
                  </a:ext>
                </a:extLst>
              </p:cNvPr>
              <p:cNvSpPr/>
              <p:nvPr/>
            </p:nvSpPr>
            <p:spPr bwMode="gray">
              <a:xfrm>
                <a:off x="4578676" y="4910525"/>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923" name="Freeform: Shape 922">
                <a:extLst>
                  <a:ext uri="{FF2B5EF4-FFF2-40B4-BE49-F238E27FC236}">
                    <a16:creationId xmlns:a16="http://schemas.microsoft.com/office/drawing/2014/main" id="{30986B20-7049-4F02-9DA5-B4830B61B89F}"/>
                  </a:ext>
                </a:extLst>
              </p:cNvPr>
              <p:cNvSpPr/>
              <p:nvPr/>
            </p:nvSpPr>
            <p:spPr bwMode="gray">
              <a:xfrm>
                <a:off x="4578676" y="5001457"/>
                <a:ext cx="309600" cy="128872"/>
              </a:xfrm>
              <a:custGeom>
                <a:avLst/>
                <a:gdLst>
                  <a:gd name="connsiteX0" fmla="*/ 0 w 186690"/>
                  <a:gd name="connsiteY0" fmla="*/ 57150 h 60960"/>
                  <a:gd name="connsiteX1" fmla="*/ 0 w 186690"/>
                  <a:gd name="connsiteY1" fmla="*/ 57150 h 60960"/>
                  <a:gd name="connsiteX2" fmla="*/ 45720 w 186690"/>
                  <a:gd name="connsiteY2" fmla="*/ 26670 h 60960"/>
                  <a:gd name="connsiteX3" fmla="*/ 64770 w 186690"/>
                  <a:gd name="connsiteY3" fmla="*/ 11430 h 60960"/>
                  <a:gd name="connsiteX4" fmla="*/ 91440 w 186690"/>
                  <a:gd name="connsiteY4" fmla="*/ 0 h 60960"/>
                  <a:gd name="connsiteX5" fmla="*/ 137160 w 186690"/>
                  <a:gd name="connsiteY5" fmla="*/ 34290 h 60960"/>
                  <a:gd name="connsiteX6" fmla="*/ 160020 w 186690"/>
                  <a:gd name="connsiteY6" fmla="*/ 45720 h 60960"/>
                  <a:gd name="connsiteX7" fmla="*/ 175260 w 186690"/>
                  <a:gd name="connsiteY7" fmla="*/ 57150 h 60960"/>
                  <a:gd name="connsiteX8" fmla="*/ 186690 w 186690"/>
                  <a:gd name="connsiteY8" fmla="*/ 60960 h 60960"/>
                  <a:gd name="connsiteX9" fmla="*/ 186690 w 186690"/>
                  <a:gd name="connsiteY9" fmla="*/ 60960 h 60960"/>
                  <a:gd name="connsiteX0" fmla="*/ 0 w 186690"/>
                  <a:gd name="connsiteY0" fmla="*/ 57150 h 60960"/>
                  <a:gd name="connsiteX1" fmla="*/ 0 w 186690"/>
                  <a:gd name="connsiteY1" fmla="*/ 57150 h 60960"/>
                  <a:gd name="connsiteX2" fmla="*/ 64770 w 186690"/>
                  <a:gd name="connsiteY2" fmla="*/ 11430 h 60960"/>
                  <a:gd name="connsiteX3" fmla="*/ 91440 w 186690"/>
                  <a:gd name="connsiteY3" fmla="*/ 0 h 60960"/>
                  <a:gd name="connsiteX4" fmla="*/ 137160 w 186690"/>
                  <a:gd name="connsiteY4" fmla="*/ 34290 h 60960"/>
                  <a:gd name="connsiteX5" fmla="*/ 160020 w 186690"/>
                  <a:gd name="connsiteY5" fmla="*/ 45720 h 60960"/>
                  <a:gd name="connsiteX6" fmla="*/ 175260 w 186690"/>
                  <a:gd name="connsiteY6" fmla="*/ 57150 h 60960"/>
                  <a:gd name="connsiteX7" fmla="*/ 186690 w 186690"/>
                  <a:gd name="connsiteY7" fmla="*/ 60960 h 60960"/>
                  <a:gd name="connsiteX8" fmla="*/ 186690 w 186690"/>
                  <a:gd name="connsiteY8" fmla="*/ 60960 h 60960"/>
                  <a:gd name="connsiteX0" fmla="*/ 0 w 186690"/>
                  <a:gd name="connsiteY0" fmla="*/ 62405 h 194488"/>
                  <a:gd name="connsiteX1" fmla="*/ 13335 w 186690"/>
                  <a:gd name="connsiteY1" fmla="*/ 194488 h 194488"/>
                  <a:gd name="connsiteX2" fmla="*/ 64770 w 186690"/>
                  <a:gd name="connsiteY2" fmla="*/ 16685 h 194488"/>
                  <a:gd name="connsiteX3" fmla="*/ 91440 w 186690"/>
                  <a:gd name="connsiteY3" fmla="*/ 5255 h 194488"/>
                  <a:gd name="connsiteX4" fmla="*/ 137160 w 186690"/>
                  <a:gd name="connsiteY4" fmla="*/ 39545 h 194488"/>
                  <a:gd name="connsiteX5" fmla="*/ 160020 w 186690"/>
                  <a:gd name="connsiteY5" fmla="*/ 50975 h 194488"/>
                  <a:gd name="connsiteX6" fmla="*/ 175260 w 186690"/>
                  <a:gd name="connsiteY6" fmla="*/ 62405 h 194488"/>
                  <a:gd name="connsiteX7" fmla="*/ 186690 w 186690"/>
                  <a:gd name="connsiteY7" fmla="*/ 66215 h 194488"/>
                  <a:gd name="connsiteX8" fmla="*/ 186690 w 186690"/>
                  <a:gd name="connsiteY8" fmla="*/ 66215 h 194488"/>
                  <a:gd name="connsiteX0" fmla="*/ 0 w 192405"/>
                  <a:gd name="connsiteY0" fmla="*/ 0 h 216096"/>
                  <a:gd name="connsiteX1" fmla="*/ 19050 w 192405"/>
                  <a:gd name="connsiteY1" fmla="*/ 215904 h 216096"/>
                  <a:gd name="connsiteX2" fmla="*/ 70485 w 192405"/>
                  <a:gd name="connsiteY2" fmla="*/ 38101 h 216096"/>
                  <a:gd name="connsiteX3" fmla="*/ 97155 w 192405"/>
                  <a:gd name="connsiteY3" fmla="*/ 26671 h 216096"/>
                  <a:gd name="connsiteX4" fmla="*/ 142875 w 192405"/>
                  <a:gd name="connsiteY4" fmla="*/ 60961 h 216096"/>
                  <a:gd name="connsiteX5" fmla="*/ 165735 w 192405"/>
                  <a:gd name="connsiteY5" fmla="*/ 72391 h 216096"/>
                  <a:gd name="connsiteX6" fmla="*/ 180975 w 192405"/>
                  <a:gd name="connsiteY6" fmla="*/ 83821 h 216096"/>
                  <a:gd name="connsiteX7" fmla="*/ 192405 w 192405"/>
                  <a:gd name="connsiteY7" fmla="*/ 87631 h 216096"/>
                  <a:gd name="connsiteX8" fmla="*/ 192405 w 192405"/>
                  <a:gd name="connsiteY8" fmla="*/ 87631 h 216096"/>
                  <a:gd name="connsiteX0" fmla="*/ 0 w 238125"/>
                  <a:gd name="connsiteY0" fmla="*/ 52246 h 194813"/>
                  <a:gd name="connsiteX1" fmla="*/ 64770 w 238125"/>
                  <a:gd name="connsiteY1" fmla="*/ 194489 h 194813"/>
                  <a:gd name="connsiteX2" fmla="*/ 116205 w 238125"/>
                  <a:gd name="connsiteY2" fmla="*/ 16686 h 194813"/>
                  <a:gd name="connsiteX3" fmla="*/ 142875 w 238125"/>
                  <a:gd name="connsiteY3" fmla="*/ 5256 h 194813"/>
                  <a:gd name="connsiteX4" fmla="*/ 188595 w 238125"/>
                  <a:gd name="connsiteY4" fmla="*/ 39546 h 194813"/>
                  <a:gd name="connsiteX5" fmla="*/ 211455 w 238125"/>
                  <a:gd name="connsiteY5" fmla="*/ 50976 h 194813"/>
                  <a:gd name="connsiteX6" fmla="*/ 226695 w 238125"/>
                  <a:gd name="connsiteY6" fmla="*/ 62406 h 194813"/>
                  <a:gd name="connsiteX7" fmla="*/ 238125 w 238125"/>
                  <a:gd name="connsiteY7" fmla="*/ 66216 h 194813"/>
                  <a:gd name="connsiteX8" fmla="*/ 238125 w 238125"/>
                  <a:gd name="connsiteY8" fmla="*/ 66216 h 194813"/>
                  <a:gd name="connsiteX0" fmla="*/ 0 w 238125"/>
                  <a:gd name="connsiteY0" fmla="*/ 52246 h 194810"/>
                  <a:gd name="connsiteX1" fmla="*/ 64770 w 238125"/>
                  <a:gd name="connsiteY1" fmla="*/ 194489 h 194810"/>
                  <a:gd name="connsiteX2" fmla="*/ 116205 w 238125"/>
                  <a:gd name="connsiteY2" fmla="*/ 16686 h 194810"/>
                  <a:gd name="connsiteX3" fmla="*/ 142875 w 238125"/>
                  <a:gd name="connsiteY3" fmla="*/ 5256 h 194810"/>
                  <a:gd name="connsiteX4" fmla="*/ 188595 w 238125"/>
                  <a:gd name="connsiteY4" fmla="*/ 39546 h 194810"/>
                  <a:gd name="connsiteX5" fmla="*/ 211455 w 238125"/>
                  <a:gd name="connsiteY5" fmla="*/ 50976 h 194810"/>
                  <a:gd name="connsiteX6" fmla="*/ 226695 w 238125"/>
                  <a:gd name="connsiteY6" fmla="*/ 62406 h 194810"/>
                  <a:gd name="connsiteX7" fmla="*/ 238125 w 238125"/>
                  <a:gd name="connsiteY7" fmla="*/ 66216 h 194810"/>
                  <a:gd name="connsiteX8" fmla="*/ 238125 w 238125"/>
                  <a:gd name="connsiteY8" fmla="*/ 66216 h 194810"/>
                  <a:gd name="connsiteX0" fmla="*/ 0 w 238125"/>
                  <a:gd name="connsiteY0" fmla="*/ 46990 h 80679"/>
                  <a:gd name="connsiteX1" fmla="*/ 64770 w 238125"/>
                  <a:gd name="connsiteY1" fmla="*/ 49530 h 80679"/>
                  <a:gd name="connsiteX2" fmla="*/ 116205 w 238125"/>
                  <a:gd name="connsiteY2" fmla="*/ 11430 h 80679"/>
                  <a:gd name="connsiteX3" fmla="*/ 142875 w 238125"/>
                  <a:gd name="connsiteY3" fmla="*/ 0 h 80679"/>
                  <a:gd name="connsiteX4" fmla="*/ 188595 w 238125"/>
                  <a:gd name="connsiteY4" fmla="*/ 34290 h 80679"/>
                  <a:gd name="connsiteX5" fmla="*/ 211455 w 238125"/>
                  <a:gd name="connsiteY5" fmla="*/ 45720 h 80679"/>
                  <a:gd name="connsiteX6" fmla="*/ 226695 w 238125"/>
                  <a:gd name="connsiteY6" fmla="*/ 57150 h 80679"/>
                  <a:gd name="connsiteX7" fmla="*/ 238125 w 238125"/>
                  <a:gd name="connsiteY7" fmla="*/ 60960 h 80679"/>
                  <a:gd name="connsiteX8" fmla="*/ 238125 w 238125"/>
                  <a:gd name="connsiteY8" fmla="*/ 60960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238125 w 302895"/>
                  <a:gd name="connsiteY7" fmla="*/ 60960 h 80679"/>
                  <a:gd name="connsiteX8" fmla="*/ 302895 w 302895"/>
                  <a:gd name="connsiteY8"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226695 w 302895"/>
                  <a:gd name="connsiteY6" fmla="*/ 57150 h 80679"/>
                  <a:gd name="connsiteX7" fmla="*/ 302895 w 302895"/>
                  <a:gd name="connsiteY7"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211455 w 302895"/>
                  <a:gd name="connsiteY5" fmla="*/ 45720 h 80679"/>
                  <a:gd name="connsiteX6" fmla="*/ 302895 w 302895"/>
                  <a:gd name="connsiteY6"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188595 w 302895"/>
                  <a:gd name="connsiteY4" fmla="*/ 34290 h 80679"/>
                  <a:gd name="connsiteX5" fmla="*/ 302895 w 302895"/>
                  <a:gd name="connsiteY5" fmla="*/ 38099 h 80679"/>
                  <a:gd name="connsiteX0" fmla="*/ 0 w 302895"/>
                  <a:gd name="connsiteY0" fmla="*/ 46990 h 80679"/>
                  <a:gd name="connsiteX1" fmla="*/ 64770 w 302895"/>
                  <a:gd name="connsiteY1" fmla="*/ 49530 h 80679"/>
                  <a:gd name="connsiteX2" fmla="*/ 116205 w 302895"/>
                  <a:gd name="connsiteY2" fmla="*/ 11430 h 80679"/>
                  <a:gd name="connsiteX3" fmla="*/ 142875 w 302895"/>
                  <a:gd name="connsiteY3" fmla="*/ 0 h 80679"/>
                  <a:gd name="connsiteX4" fmla="*/ 201930 w 302895"/>
                  <a:gd name="connsiteY4" fmla="*/ 34290 h 80679"/>
                  <a:gd name="connsiteX5" fmla="*/ 302895 w 302895"/>
                  <a:gd name="connsiteY5" fmla="*/ 38099 h 80679"/>
                  <a:gd name="connsiteX0" fmla="*/ 0 w 302895"/>
                  <a:gd name="connsiteY0" fmla="*/ 39714 h 156058"/>
                  <a:gd name="connsiteX1" fmla="*/ 64770 w 302895"/>
                  <a:gd name="connsiteY1" fmla="*/ 42254 h 156058"/>
                  <a:gd name="connsiteX2" fmla="*/ 116205 w 302895"/>
                  <a:gd name="connsiteY2" fmla="*/ 4154 h 156058"/>
                  <a:gd name="connsiteX3" fmla="*/ 163830 w 302895"/>
                  <a:gd name="connsiteY3" fmla="*/ 155287 h 156058"/>
                  <a:gd name="connsiteX4" fmla="*/ 201930 w 302895"/>
                  <a:gd name="connsiteY4" fmla="*/ 27014 h 156058"/>
                  <a:gd name="connsiteX5" fmla="*/ 302895 w 302895"/>
                  <a:gd name="connsiteY5" fmla="*/ 30823 h 156058"/>
                  <a:gd name="connsiteX0" fmla="*/ 0 w 302895"/>
                  <a:gd name="connsiteY0" fmla="*/ 83886 h 200230"/>
                  <a:gd name="connsiteX1" fmla="*/ 64770 w 302895"/>
                  <a:gd name="connsiteY1" fmla="*/ 86426 h 200230"/>
                  <a:gd name="connsiteX2" fmla="*/ 87630 w 302895"/>
                  <a:gd name="connsiteY2" fmla="*/ 2604 h 200230"/>
                  <a:gd name="connsiteX3" fmla="*/ 163830 w 302895"/>
                  <a:gd name="connsiteY3" fmla="*/ 199459 h 200230"/>
                  <a:gd name="connsiteX4" fmla="*/ 201930 w 302895"/>
                  <a:gd name="connsiteY4" fmla="*/ 71186 h 200230"/>
                  <a:gd name="connsiteX5" fmla="*/ 302895 w 302895"/>
                  <a:gd name="connsiteY5" fmla="*/ 74995 h 200230"/>
                  <a:gd name="connsiteX0" fmla="*/ 0 w 302895"/>
                  <a:gd name="connsiteY0" fmla="*/ 84229 h 200573"/>
                  <a:gd name="connsiteX1" fmla="*/ 49530 w 302895"/>
                  <a:gd name="connsiteY1" fmla="*/ 81689 h 200573"/>
                  <a:gd name="connsiteX2" fmla="*/ 87630 w 302895"/>
                  <a:gd name="connsiteY2" fmla="*/ 2947 h 200573"/>
                  <a:gd name="connsiteX3" fmla="*/ 163830 w 302895"/>
                  <a:gd name="connsiteY3" fmla="*/ 199802 h 200573"/>
                  <a:gd name="connsiteX4" fmla="*/ 201930 w 302895"/>
                  <a:gd name="connsiteY4" fmla="*/ 71529 h 200573"/>
                  <a:gd name="connsiteX5" fmla="*/ 302895 w 302895"/>
                  <a:gd name="connsiteY5" fmla="*/ 75338 h 200573"/>
                  <a:gd name="connsiteX0" fmla="*/ 0 w 302895"/>
                  <a:gd name="connsiteY0" fmla="*/ 76813 h 193157"/>
                  <a:gd name="connsiteX1" fmla="*/ 49530 w 302895"/>
                  <a:gd name="connsiteY1" fmla="*/ 74273 h 193157"/>
                  <a:gd name="connsiteX2" fmla="*/ 110490 w 302895"/>
                  <a:gd name="connsiteY2" fmla="*/ 3151 h 193157"/>
                  <a:gd name="connsiteX3" fmla="*/ 163830 w 302895"/>
                  <a:gd name="connsiteY3" fmla="*/ 192386 h 193157"/>
                  <a:gd name="connsiteX4" fmla="*/ 201930 w 302895"/>
                  <a:gd name="connsiteY4" fmla="*/ 64113 h 193157"/>
                  <a:gd name="connsiteX5" fmla="*/ 302895 w 302895"/>
                  <a:gd name="connsiteY5" fmla="*/ 67922 h 193157"/>
                  <a:gd name="connsiteX0" fmla="*/ 0 w 302895"/>
                  <a:gd name="connsiteY0" fmla="*/ 76066 h 174733"/>
                  <a:gd name="connsiteX1" fmla="*/ 49530 w 302895"/>
                  <a:gd name="connsiteY1" fmla="*/ 73526 h 174733"/>
                  <a:gd name="connsiteX2" fmla="*/ 110490 w 302895"/>
                  <a:gd name="connsiteY2" fmla="*/ 2404 h 174733"/>
                  <a:gd name="connsiteX3" fmla="*/ 169545 w 302895"/>
                  <a:gd name="connsiteY3" fmla="*/ 173859 h 174733"/>
                  <a:gd name="connsiteX4" fmla="*/ 201930 w 302895"/>
                  <a:gd name="connsiteY4" fmla="*/ 63366 h 174733"/>
                  <a:gd name="connsiteX5" fmla="*/ 302895 w 302895"/>
                  <a:gd name="connsiteY5" fmla="*/ 67175 h 174733"/>
                  <a:gd name="connsiteX0" fmla="*/ 0 w 302895"/>
                  <a:gd name="connsiteY0" fmla="*/ 76066 h 174753"/>
                  <a:gd name="connsiteX1" fmla="*/ 49530 w 302895"/>
                  <a:gd name="connsiteY1" fmla="*/ 73526 h 174753"/>
                  <a:gd name="connsiteX2" fmla="*/ 110490 w 302895"/>
                  <a:gd name="connsiteY2" fmla="*/ 2404 h 174753"/>
                  <a:gd name="connsiteX3" fmla="*/ 169545 w 302895"/>
                  <a:gd name="connsiteY3" fmla="*/ 173859 h 174753"/>
                  <a:gd name="connsiteX4" fmla="*/ 247650 w 302895"/>
                  <a:gd name="connsiteY4" fmla="*/ 65906 h 174753"/>
                  <a:gd name="connsiteX5" fmla="*/ 302895 w 302895"/>
                  <a:gd name="connsiteY5" fmla="*/ 67175 h 174753"/>
                  <a:gd name="connsiteX0" fmla="*/ 0 w 302895"/>
                  <a:gd name="connsiteY0" fmla="*/ 75865 h 169508"/>
                  <a:gd name="connsiteX1" fmla="*/ 49530 w 302895"/>
                  <a:gd name="connsiteY1" fmla="*/ 73325 h 169508"/>
                  <a:gd name="connsiteX2" fmla="*/ 110490 w 302895"/>
                  <a:gd name="connsiteY2" fmla="*/ 2203 h 169508"/>
                  <a:gd name="connsiteX3" fmla="*/ 186690 w 302895"/>
                  <a:gd name="connsiteY3" fmla="*/ 168578 h 169508"/>
                  <a:gd name="connsiteX4" fmla="*/ 247650 w 302895"/>
                  <a:gd name="connsiteY4" fmla="*/ 65705 h 169508"/>
                  <a:gd name="connsiteX5" fmla="*/ 302895 w 302895"/>
                  <a:gd name="connsiteY5" fmla="*/ 66974 h 169508"/>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3381 h 167024"/>
                  <a:gd name="connsiteX1" fmla="*/ 49530 w 302895"/>
                  <a:gd name="connsiteY1" fmla="*/ 70841 h 167024"/>
                  <a:gd name="connsiteX2" fmla="*/ 93345 w 302895"/>
                  <a:gd name="connsiteY2" fmla="*/ 2259 h 167024"/>
                  <a:gd name="connsiteX3" fmla="*/ 186690 w 302895"/>
                  <a:gd name="connsiteY3" fmla="*/ 166094 h 167024"/>
                  <a:gd name="connsiteX4" fmla="*/ 247650 w 302895"/>
                  <a:gd name="connsiteY4" fmla="*/ 63221 h 167024"/>
                  <a:gd name="connsiteX5" fmla="*/ 302895 w 302895"/>
                  <a:gd name="connsiteY5" fmla="*/ 64490 h 167024"/>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765"/>
                  <a:gd name="connsiteX1" fmla="*/ 49530 w 302895"/>
                  <a:gd name="connsiteY1" fmla="*/ 68582 h 164765"/>
                  <a:gd name="connsiteX2" fmla="*/ 93345 w 302895"/>
                  <a:gd name="connsiteY2" fmla="*/ 0 h 164765"/>
                  <a:gd name="connsiteX3" fmla="*/ 186690 w 302895"/>
                  <a:gd name="connsiteY3" fmla="*/ 163835 h 164765"/>
                  <a:gd name="connsiteX4" fmla="*/ 247650 w 302895"/>
                  <a:gd name="connsiteY4" fmla="*/ 60962 h 164765"/>
                  <a:gd name="connsiteX5" fmla="*/ 302895 w 302895"/>
                  <a:gd name="connsiteY5" fmla="*/ 62231 h 164765"/>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62231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2392 h 164921"/>
                  <a:gd name="connsiteX0" fmla="*/ 0 w 302895"/>
                  <a:gd name="connsiteY0" fmla="*/ 71122 h 164921"/>
                  <a:gd name="connsiteX1" fmla="*/ 49530 w 302895"/>
                  <a:gd name="connsiteY1" fmla="*/ 68582 h 164921"/>
                  <a:gd name="connsiteX2" fmla="*/ 93345 w 302895"/>
                  <a:gd name="connsiteY2" fmla="*/ 0 h 164921"/>
                  <a:gd name="connsiteX3" fmla="*/ 186690 w 302895"/>
                  <a:gd name="connsiteY3" fmla="*/ 163835 h 164921"/>
                  <a:gd name="connsiteX4" fmla="*/ 240030 w 302895"/>
                  <a:gd name="connsiteY4" fmla="*/ 76202 h 164921"/>
                  <a:gd name="connsiteX5" fmla="*/ 302895 w 302895"/>
                  <a:gd name="connsiteY5" fmla="*/ 74932 h 164921"/>
                  <a:gd name="connsiteX0" fmla="*/ 0 w 302895"/>
                  <a:gd name="connsiteY0" fmla="*/ 71122 h 164892"/>
                  <a:gd name="connsiteX1" fmla="*/ 49530 w 302895"/>
                  <a:gd name="connsiteY1" fmla="*/ 68582 h 164892"/>
                  <a:gd name="connsiteX2" fmla="*/ 93345 w 302895"/>
                  <a:gd name="connsiteY2" fmla="*/ 0 h 164892"/>
                  <a:gd name="connsiteX3" fmla="*/ 186690 w 302895"/>
                  <a:gd name="connsiteY3" fmla="*/ 163835 h 164892"/>
                  <a:gd name="connsiteX4" fmla="*/ 238125 w 302895"/>
                  <a:gd name="connsiteY4" fmla="*/ 73662 h 164892"/>
                  <a:gd name="connsiteX5" fmla="*/ 302895 w 302895"/>
                  <a:gd name="connsiteY5" fmla="*/ 74932 h 164892"/>
                  <a:gd name="connsiteX0" fmla="*/ 0 w 302895"/>
                  <a:gd name="connsiteY0" fmla="*/ 71122 h 164891"/>
                  <a:gd name="connsiteX1" fmla="*/ 49530 w 302895"/>
                  <a:gd name="connsiteY1" fmla="*/ 68582 h 164891"/>
                  <a:gd name="connsiteX2" fmla="*/ 93345 w 302895"/>
                  <a:gd name="connsiteY2" fmla="*/ 0 h 164891"/>
                  <a:gd name="connsiteX3" fmla="*/ 186690 w 302895"/>
                  <a:gd name="connsiteY3" fmla="*/ 163835 h 164891"/>
                  <a:gd name="connsiteX4" fmla="*/ 238125 w 302895"/>
                  <a:gd name="connsiteY4" fmla="*/ 73662 h 164891"/>
                  <a:gd name="connsiteX5" fmla="*/ 302895 w 302895"/>
                  <a:gd name="connsiteY5" fmla="*/ 74932 h 164891"/>
                  <a:gd name="connsiteX0" fmla="*/ 0 w 302895"/>
                  <a:gd name="connsiteY0" fmla="*/ 71122 h 164863"/>
                  <a:gd name="connsiteX1" fmla="*/ 49530 w 302895"/>
                  <a:gd name="connsiteY1" fmla="*/ 68582 h 164863"/>
                  <a:gd name="connsiteX2" fmla="*/ 93345 w 302895"/>
                  <a:gd name="connsiteY2" fmla="*/ 0 h 164863"/>
                  <a:gd name="connsiteX3" fmla="*/ 186690 w 302895"/>
                  <a:gd name="connsiteY3" fmla="*/ 163835 h 164863"/>
                  <a:gd name="connsiteX4" fmla="*/ 232410 w 302895"/>
                  <a:gd name="connsiteY4" fmla="*/ 71122 h 164863"/>
                  <a:gd name="connsiteX5" fmla="*/ 302895 w 302895"/>
                  <a:gd name="connsiteY5" fmla="*/ 74932 h 164863"/>
                  <a:gd name="connsiteX0" fmla="*/ 0 w 304800"/>
                  <a:gd name="connsiteY0" fmla="*/ 71122 h 164863"/>
                  <a:gd name="connsiteX1" fmla="*/ 49530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71122 h 164863"/>
                  <a:gd name="connsiteX1" fmla="*/ 55245 w 304800"/>
                  <a:gd name="connsiteY1" fmla="*/ 68582 h 164863"/>
                  <a:gd name="connsiteX2" fmla="*/ 93345 w 304800"/>
                  <a:gd name="connsiteY2" fmla="*/ 0 h 164863"/>
                  <a:gd name="connsiteX3" fmla="*/ 186690 w 304800"/>
                  <a:gd name="connsiteY3" fmla="*/ 163835 h 164863"/>
                  <a:gd name="connsiteX4" fmla="*/ 232410 w 304800"/>
                  <a:gd name="connsiteY4" fmla="*/ 71122 h 164863"/>
                  <a:gd name="connsiteX5" fmla="*/ 304800 w 304800"/>
                  <a:gd name="connsiteY5" fmla="*/ 69852 h 164863"/>
                  <a:gd name="connsiteX0" fmla="*/ 0 w 304800"/>
                  <a:gd name="connsiteY0" fmla="*/ 88903 h 182644"/>
                  <a:gd name="connsiteX1" fmla="*/ 55245 w 304800"/>
                  <a:gd name="connsiteY1" fmla="*/ 8636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398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4800"/>
                  <a:gd name="connsiteY0" fmla="*/ 88903 h 182644"/>
                  <a:gd name="connsiteX1" fmla="*/ 53340 w 304800"/>
                  <a:gd name="connsiteY1" fmla="*/ 91443 h 182644"/>
                  <a:gd name="connsiteX2" fmla="*/ 93345 w 304800"/>
                  <a:gd name="connsiteY2" fmla="*/ 0 h 182644"/>
                  <a:gd name="connsiteX3" fmla="*/ 186690 w 304800"/>
                  <a:gd name="connsiteY3" fmla="*/ 181616 h 182644"/>
                  <a:gd name="connsiteX4" fmla="*/ 232410 w 304800"/>
                  <a:gd name="connsiteY4" fmla="*/ 88903 h 182644"/>
                  <a:gd name="connsiteX5" fmla="*/ 304800 w 304800"/>
                  <a:gd name="connsiteY5" fmla="*/ 87633 h 182644"/>
                  <a:gd name="connsiteX0" fmla="*/ 0 w 306705"/>
                  <a:gd name="connsiteY0" fmla="*/ 88903 h 182644"/>
                  <a:gd name="connsiteX1" fmla="*/ 55245 w 306705"/>
                  <a:gd name="connsiteY1" fmla="*/ 91443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06705"/>
                  <a:gd name="connsiteY0" fmla="*/ 88903 h 182644"/>
                  <a:gd name="connsiteX1" fmla="*/ 55245 w 306705"/>
                  <a:gd name="connsiteY1" fmla="*/ 86949 h 182644"/>
                  <a:gd name="connsiteX2" fmla="*/ 95250 w 306705"/>
                  <a:gd name="connsiteY2" fmla="*/ 0 h 182644"/>
                  <a:gd name="connsiteX3" fmla="*/ 188595 w 306705"/>
                  <a:gd name="connsiteY3" fmla="*/ 181616 h 182644"/>
                  <a:gd name="connsiteX4" fmla="*/ 234315 w 306705"/>
                  <a:gd name="connsiteY4" fmla="*/ 88903 h 182644"/>
                  <a:gd name="connsiteX5" fmla="*/ 306705 w 306705"/>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82644"/>
                  <a:gd name="connsiteX1" fmla="*/ 60862 w 312322"/>
                  <a:gd name="connsiteY1" fmla="*/ 86949 h 182644"/>
                  <a:gd name="connsiteX2" fmla="*/ 100867 w 312322"/>
                  <a:gd name="connsiteY2" fmla="*/ 0 h 182644"/>
                  <a:gd name="connsiteX3" fmla="*/ 194212 w 312322"/>
                  <a:gd name="connsiteY3" fmla="*/ 181616 h 182644"/>
                  <a:gd name="connsiteX4" fmla="*/ 239932 w 312322"/>
                  <a:gd name="connsiteY4" fmla="*/ 88903 h 182644"/>
                  <a:gd name="connsiteX5" fmla="*/ 312322 w 312322"/>
                  <a:gd name="connsiteY5" fmla="*/ 87633 h 182644"/>
                  <a:gd name="connsiteX0" fmla="*/ 0 w 312322"/>
                  <a:gd name="connsiteY0" fmla="*/ 86656 h 173763"/>
                  <a:gd name="connsiteX1" fmla="*/ 60862 w 312322"/>
                  <a:gd name="connsiteY1" fmla="*/ 86949 h 173763"/>
                  <a:gd name="connsiteX2" fmla="*/ 100867 w 312322"/>
                  <a:gd name="connsiteY2" fmla="*/ 0 h 173763"/>
                  <a:gd name="connsiteX3" fmla="*/ 172305 w 312322"/>
                  <a:gd name="connsiteY3" fmla="*/ 172628 h 173763"/>
                  <a:gd name="connsiteX4" fmla="*/ 239932 w 312322"/>
                  <a:gd name="connsiteY4" fmla="*/ 88903 h 173763"/>
                  <a:gd name="connsiteX5" fmla="*/ 312322 w 312322"/>
                  <a:gd name="connsiteY5" fmla="*/ 87633 h 173763"/>
                  <a:gd name="connsiteX0" fmla="*/ 0 w 312322"/>
                  <a:gd name="connsiteY0" fmla="*/ 86656 h 173716"/>
                  <a:gd name="connsiteX1" fmla="*/ 60862 w 312322"/>
                  <a:gd name="connsiteY1" fmla="*/ 86949 h 173716"/>
                  <a:gd name="connsiteX2" fmla="*/ 100867 w 312322"/>
                  <a:gd name="connsiteY2" fmla="*/ 0 h 173716"/>
                  <a:gd name="connsiteX3" fmla="*/ 172305 w 312322"/>
                  <a:gd name="connsiteY3" fmla="*/ 172628 h 173716"/>
                  <a:gd name="connsiteX4" fmla="*/ 235438 w 312322"/>
                  <a:gd name="connsiteY4" fmla="*/ 85158 h 173716"/>
                  <a:gd name="connsiteX5" fmla="*/ 312322 w 312322"/>
                  <a:gd name="connsiteY5" fmla="*/ 87633 h 173716"/>
                  <a:gd name="connsiteX0" fmla="*/ 0 w 312322"/>
                  <a:gd name="connsiteY0" fmla="*/ 86656 h 174152"/>
                  <a:gd name="connsiteX1" fmla="*/ 60862 w 312322"/>
                  <a:gd name="connsiteY1" fmla="*/ 86949 h 174152"/>
                  <a:gd name="connsiteX2" fmla="*/ 100867 w 312322"/>
                  <a:gd name="connsiteY2" fmla="*/ 0 h 174152"/>
                  <a:gd name="connsiteX3" fmla="*/ 172305 w 312322"/>
                  <a:gd name="connsiteY3" fmla="*/ 172628 h 174152"/>
                  <a:gd name="connsiteX4" fmla="*/ 235438 w 312322"/>
                  <a:gd name="connsiteY4" fmla="*/ 85158 h 174152"/>
                  <a:gd name="connsiteX5" fmla="*/ 312322 w 312322"/>
                  <a:gd name="connsiteY5" fmla="*/ 87633 h 174152"/>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2322"/>
                  <a:gd name="connsiteY0" fmla="*/ 86656 h 172628"/>
                  <a:gd name="connsiteX1" fmla="*/ 60862 w 312322"/>
                  <a:gd name="connsiteY1" fmla="*/ 86949 h 172628"/>
                  <a:gd name="connsiteX2" fmla="*/ 100867 w 312322"/>
                  <a:gd name="connsiteY2" fmla="*/ 0 h 172628"/>
                  <a:gd name="connsiteX3" fmla="*/ 172305 w 312322"/>
                  <a:gd name="connsiteY3" fmla="*/ 172628 h 172628"/>
                  <a:gd name="connsiteX4" fmla="*/ 235438 w 312322"/>
                  <a:gd name="connsiteY4" fmla="*/ 85158 h 172628"/>
                  <a:gd name="connsiteX5" fmla="*/ 312322 w 312322"/>
                  <a:gd name="connsiteY5" fmla="*/ 87633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5438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4876 w 310637"/>
                  <a:gd name="connsiteY4" fmla="*/ 85158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8246 w 310637"/>
                  <a:gd name="connsiteY4" fmla="*/ 87405 h 172628"/>
                  <a:gd name="connsiteX5" fmla="*/ 310637 w 310637"/>
                  <a:gd name="connsiteY5" fmla="*/ 86884 h 172628"/>
                  <a:gd name="connsiteX0" fmla="*/ 0 w 310637"/>
                  <a:gd name="connsiteY0" fmla="*/ 86656 h 172628"/>
                  <a:gd name="connsiteX1" fmla="*/ 60862 w 310637"/>
                  <a:gd name="connsiteY1" fmla="*/ 86949 h 172628"/>
                  <a:gd name="connsiteX2" fmla="*/ 100867 w 310637"/>
                  <a:gd name="connsiteY2" fmla="*/ 0 h 172628"/>
                  <a:gd name="connsiteX3" fmla="*/ 172305 w 310637"/>
                  <a:gd name="connsiteY3" fmla="*/ 172628 h 172628"/>
                  <a:gd name="connsiteX4" fmla="*/ 237684 w 310637"/>
                  <a:gd name="connsiteY4" fmla="*/ 85907 h 172628"/>
                  <a:gd name="connsiteX5" fmla="*/ 310637 w 310637"/>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884 h 172628"/>
                  <a:gd name="connsiteX0" fmla="*/ 0 w 308952"/>
                  <a:gd name="connsiteY0" fmla="*/ 86656 h 172628"/>
                  <a:gd name="connsiteX1" fmla="*/ 60862 w 308952"/>
                  <a:gd name="connsiteY1" fmla="*/ 86949 h 172628"/>
                  <a:gd name="connsiteX2" fmla="*/ 100867 w 308952"/>
                  <a:gd name="connsiteY2" fmla="*/ 0 h 172628"/>
                  <a:gd name="connsiteX3" fmla="*/ 172305 w 308952"/>
                  <a:gd name="connsiteY3" fmla="*/ 172628 h 172628"/>
                  <a:gd name="connsiteX4" fmla="*/ 237684 w 308952"/>
                  <a:gd name="connsiteY4" fmla="*/ 85907 h 172628"/>
                  <a:gd name="connsiteX5" fmla="*/ 308952 w 308952"/>
                  <a:gd name="connsiteY5" fmla="*/ 86135 h 172628"/>
                  <a:gd name="connsiteX0" fmla="*/ 0 w 308952"/>
                  <a:gd name="connsiteY0" fmla="*/ 86656 h 172628"/>
                  <a:gd name="connsiteX1" fmla="*/ 60862 w 308952"/>
                  <a:gd name="connsiteY1" fmla="*/ 86949 h 172628"/>
                  <a:gd name="connsiteX2" fmla="*/ 100867 w 308952"/>
                  <a:gd name="connsiteY2" fmla="*/ 0 h 172628"/>
                  <a:gd name="connsiteX3" fmla="*/ 183539 w 308952"/>
                  <a:gd name="connsiteY3" fmla="*/ 172628 h 172628"/>
                  <a:gd name="connsiteX4" fmla="*/ 237684 w 308952"/>
                  <a:gd name="connsiteY4" fmla="*/ 85907 h 172628"/>
                  <a:gd name="connsiteX5" fmla="*/ 308952 w 308952"/>
                  <a:gd name="connsiteY5" fmla="*/ 86135 h 172628"/>
                  <a:gd name="connsiteX0" fmla="*/ 0 w 308952"/>
                  <a:gd name="connsiteY0" fmla="*/ 86656 h 190603"/>
                  <a:gd name="connsiteX1" fmla="*/ 60862 w 308952"/>
                  <a:gd name="connsiteY1" fmla="*/ 86949 h 190603"/>
                  <a:gd name="connsiteX2" fmla="*/ 100867 w 308952"/>
                  <a:gd name="connsiteY2" fmla="*/ 0 h 190603"/>
                  <a:gd name="connsiteX3" fmla="*/ 185786 w 308952"/>
                  <a:gd name="connsiteY3" fmla="*/ 190603 h 190603"/>
                  <a:gd name="connsiteX4" fmla="*/ 237684 w 308952"/>
                  <a:gd name="connsiteY4" fmla="*/ 85907 h 190603"/>
                  <a:gd name="connsiteX5" fmla="*/ 308952 w 308952"/>
                  <a:gd name="connsiteY5" fmla="*/ 86135 h 190603"/>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81615"/>
                  <a:gd name="connsiteX1" fmla="*/ 60862 w 308952"/>
                  <a:gd name="connsiteY1" fmla="*/ 86949 h 181615"/>
                  <a:gd name="connsiteX2" fmla="*/ 100867 w 308952"/>
                  <a:gd name="connsiteY2" fmla="*/ 0 h 181615"/>
                  <a:gd name="connsiteX3" fmla="*/ 182416 w 308952"/>
                  <a:gd name="connsiteY3" fmla="*/ 181615 h 181615"/>
                  <a:gd name="connsiteX4" fmla="*/ 237684 w 308952"/>
                  <a:gd name="connsiteY4" fmla="*/ 85907 h 181615"/>
                  <a:gd name="connsiteX5" fmla="*/ 308952 w 308952"/>
                  <a:gd name="connsiteY5" fmla="*/ 86135 h 181615"/>
                  <a:gd name="connsiteX0" fmla="*/ 0 w 308952"/>
                  <a:gd name="connsiteY0" fmla="*/ 86656 h 171476"/>
                  <a:gd name="connsiteX1" fmla="*/ 60862 w 308952"/>
                  <a:gd name="connsiteY1" fmla="*/ 86949 h 171476"/>
                  <a:gd name="connsiteX2" fmla="*/ 100867 w 308952"/>
                  <a:gd name="connsiteY2" fmla="*/ 0 h 171476"/>
                  <a:gd name="connsiteX3" fmla="*/ 191921 w 308952"/>
                  <a:gd name="connsiteY3" fmla="*/ 171476 h 171476"/>
                  <a:gd name="connsiteX4" fmla="*/ 237684 w 308952"/>
                  <a:gd name="connsiteY4" fmla="*/ 85907 h 171476"/>
                  <a:gd name="connsiteX5" fmla="*/ 308952 w 308952"/>
                  <a:gd name="connsiteY5" fmla="*/ 86135 h 171476"/>
                  <a:gd name="connsiteX0" fmla="*/ 0 w 308952"/>
                  <a:gd name="connsiteY0" fmla="*/ 76517 h 161337"/>
                  <a:gd name="connsiteX1" fmla="*/ 60862 w 308952"/>
                  <a:gd name="connsiteY1" fmla="*/ 76810 h 161337"/>
                  <a:gd name="connsiteX2" fmla="*/ 102768 w 308952"/>
                  <a:gd name="connsiteY2" fmla="*/ 0 h 161337"/>
                  <a:gd name="connsiteX3" fmla="*/ 191921 w 308952"/>
                  <a:gd name="connsiteY3" fmla="*/ 161337 h 161337"/>
                  <a:gd name="connsiteX4" fmla="*/ 237684 w 308952"/>
                  <a:gd name="connsiteY4" fmla="*/ 75768 h 161337"/>
                  <a:gd name="connsiteX5" fmla="*/ 308952 w 308952"/>
                  <a:gd name="connsiteY5" fmla="*/ 75996 h 161337"/>
                  <a:gd name="connsiteX0" fmla="*/ 0 w 308952"/>
                  <a:gd name="connsiteY0" fmla="*/ 81587 h 166407"/>
                  <a:gd name="connsiteX1" fmla="*/ 60862 w 308952"/>
                  <a:gd name="connsiteY1" fmla="*/ 81880 h 166407"/>
                  <a:gd name="connsiteX2" fmla="*/ 112274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66407"/>
                  <a:gd name="connsiteX1" fmla="*/ 60862 w 308952"/>
                  <a:gd name="connsiteY1" fmla="*/ 81880 h 166407"/>
                  <a:gd name="connsiteX2" fmla="*/ 110373 w 308952"/>
                  <a:gd name="connsiteY2" fmla="*/ 0 h 166407"/>
                  <a:gd name="connsiteX3" fmla="*/ 191921 w 308952"/>
                  <a:gd name="connsiteY3" fmla="*/ 166407 h 166407"/>
                  <a:gd name="connsiteX4" fmla="*/ 237684 w 308952"/>
                  <a:gd name="connsiteY4" fmla="*/ 80838 h 166407"/>
                  <a:gd name="connsiteX5" fmla="*/ 308952 w 308952"/>
                  <a:gd name="connsiteY5" fmla="*/ 81066 h 166407"/>
                  <a:gd name="connsiteX0" fmla="*/ 0 w 308952"/>
                  <a:gd name="connsiteY0" fmla="*/ 81587 h 171477"/>
                  <a:gd name="connsiteX1" fmla="*/ 60862 w 308952"/>
                  <a:gd name="connsiteY1" fmla="*/ 81880 h 171477"/>
                  <a:gd name="connsiteX2" fmla="*/ 110373 w 308952"/>
                  <a:gd name="connsiteY2" fmla="*/ 0 h 171477"/>
                  <a:gd name="connsiteX3" fmla="*/ 190020 w 308952"/>
                  <a:gd name="connsiteY3" fmla="*/ 171477 h 171477"/>
                  <a:gd name="connsiteX4" fmla="*/ 237684 w 308952"/>
                  <a:gd name="connsiteY4" fmla="*/ 80838 h 171477"/>
                  <a:gd name="connsiteX5" fmla="*/ 308952 w 308952"/>
                  <a:gd name="connsiteY5" fmla="*/ 81066 h 171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52" h="171477">
                    <a:moveTo>
                      <a:pt x="0" y="81587"/>
                    </a:moveTo>
                    <a:lnTo>
                      <a:pt x="60862" y="81880"/>
                    </a:lnTo>
                    <a:lnTo>
                      <a:pt x="110373" y="0"/>
                    </a:lnTo>
                    <a:lnTo>
                      <a:pt x="190020" y="171477"/>
                    </a:lnTo>
                    <a:lnTo>
                      <a:pt x="237684" y="80838"/>
                    </a:lnTo>
                    <a:lnTo>
                      <a:pt x="308952" y="81066"/>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a:solidFill>
                    <a:schemeClr val="tx1"/>
                  </a:solidFill>
                </a:endParaRPr>
              </a:p>
            </p:txBody>
          </p:sp>
        </p:grpSp>
        <p:sp>
          <p:nvSpPr>
            <p:cNvPr id="921" name="Freeform: Shape 920">
              <a:extLst>
                <a:ext uri="{FF2B5EF4-FFF2-40B4-BE49-F238E27FC236}">
                  <a16:creationId xmlns:a16="http://schemas.microsoft.com/office/drawing/2014/main" id="{AABFC1FC-C64C-4A82-9844-2EC02AAE3CEA}"/>
                </a:ext>
              </a:extLst>
            </p:cNvPr>
            <p:cNvSpPr/>
            <p:nvPr/>
          </p:nvSpPr>
          <p:spPr bwMode="gray">
            <a:xfrm>
              <a:off x="5874994" y="3746171"/>
              <a:ext cx="835200" cy="165600"/>
            </a:xfrm>
            <a:custGeom>
              <a:avLst/>
              <a:gdLst>
                <a:gd name="connsiteX0" fmla="*/ 0 w 835200"/>
                <a:gd name="connsiteY0" fmla="*/ 0 h 1973608"/>
                <a:gd name="connsiteX1" fmla="*/ 208800 w 835200"/>
                <a:gd name="connsiteY1" fmla="*/ 0 h 1973608"/>
                <a:gd name="connsiteX2" fmla="*/ 417600 w 835200"/>
                <a:gd name="connsiteY2" fmla="*/ 0 h 1973608"/>
                <a:gd name="connsiteX3" fmla="*/ 626400 w 835200"/>
                <a:gd name="connsiteY3" fmla="*/ 0 h 1973608"/>
                <a:gd name="connsiteX4" fmla="*/ 835200 w 835200"/>
                <a:gd name="connsiteY4" fmla="*/ 0 h 1973608"/>
                <a:gd name="connsiteX5" fmla="*/ 835200 w 835200"/>
                <a:gd name="connsiteY5" fmla="*/ 197361 h 1973608"/>
                <a:gd name="connsiteX6" fmla="*/ 835200 w 835200"/>
                <a:gd name="connsiteY6" fmla="*/ 197362 h 1973608"/>
                <a:gd name="connsiteX7" fmla="*/ 835200 w 835200"/>
                <a:gd name="connsiteY7" fmla="*/ 394723 h 1973608"/>
                <a:gd name="connsiteX8" fmla="*/ 835200 w 835200"/>
                <a:gd name="connsiteY8" fmla="*/ 592083 h 1973608"/>
                <a:gd name="connsiteX9" fmla="*/ 835200 w 835200"/>
                <a:gd name="connsiteY9" fmla="*/ 592085 h 1973608"/>
                <a:gd name="connsiteX10" fmla="*/ 835200 w 835200"/>
                <a:gd name="connsiteY10" fmla="*/ 789444 h 1973608"/>
                <a:gd name="connsiteX11" fmla="*/ 835200 w 835200"/>
                <a:gd name="connsiteY11" fmla="*/ 789445 h 1973608"/>
                <a:gd name="connsiteX12" fmla="*/ 835200 w 835200"/>
                <a:gd name="connsiteY12" fmla="*/ 986804 h 1973608"/>
                <a:gd name="connsiteX13" fmla="*/ 835200 w 835200"/>
                <a:gd name="connsiteY13" fmla="*/ 986806 h 1973608"/>
                <a:gd name="connsiteX14" fmla="*/ 835200 w 835200"/>
                <a:gd name="connsiteY14" fmla="*/ 1184165 h 1973608"/>
                <a:gd name="connsiteX15" fmla="*/ 835200 w 835200"/>
                <a:gd name="connsiteY15" fmla="*/ 1184166 h 1973608"/>
                <a:gd name="connsiteX16" fmla="*/ 835200 w 835200"/>
                <a:gd name="connsiteY16" fmla="*/ 1381525 h 1973608"/>
                <a:gd name="connsiteX17" fmla="*/ 835200 w 835200"/>
                <a:gd name="connsiteY17" fmla="*/ 1381527 h 1973608"/>
                <a:gd name="connsiteX18" fmla="*/ 835200 w 835200"/>
                <a:gd name="connsiteY18" fmla="*/ 1578886 h 1973608"/>
                <a:gd name="connsiteX19" fmla="*/ 835200 w 835200"/>
                <a:gd name="connsiteY19" fmla="*/ 1578887 h 1973608"/>
                <a:gd name="connsiteX20" fmla="*/ 835200 w 835200"/>
                <a:gd name="connsiteY20" fmla="*/ 1776246 h 1973608"/>
                <a:gd name="connsiteX21" fmla="*/ 835200 w 835200"/>
                <a:gd name="connsiteY21" fmla="*/ 1776248 h 1973608"/>
                <a:gd name="connsiteX22" fmla="*/ 835200 w 835200"/>
                <a:gd name="connsiteY22" fmla="*/ 1973608 h 1973608"/>
                <a:gd name="connsiteX23" fmla="*/ 626400 w 835200"/>
                <a:gd name="connsiteY23" fmla="*/ 1973608 h 1973608"/>
                <a:gd name="connsiteX24" fmla="*/ 417600 w 835200"/>
                <a:gd name="connsiteY24" fmla="*/ 1973608 h 1973608"/>
                <a:gd name="connsiteX25" fmla="*/ 208800 w 835200"/>
                <a:gd name="connsiteY25" fmla="*/ 1973608 h 1973608"/>
                <a:gd name="connsiteX26" fmla="*/ 0 w 835200"/>
                <a:gd name="connsiteY26" fmla="*/ 1973608 h 1973608"/>
                <a:gd name="connsiteX27" fmla="*/ 0 w 835200"/>
                <a:gd name="connsiteY27" fmla="*/ 1776248 h 1973608"/>
                <a:gd name="connsiteX28" fmla="*/ 0 w 835200"/>
                <a:gd name="connsiteY28" fmla="*/ 1776246 h 1973608"/>
                <a:gd name="connsiteX29" fmla="*/ 0 w 835200"/>
                <a:gd name="connsiteY29" fmla="*/ 1578887 h 1973608"/>
                <a:gd name="connsiteX30" fmla="*/ 0 w 835200"/>
                <a:gd name="connsiteY30" fmla="*/ 1578886 h 1973608"/>
                <a:gd name="connsiteX31" fmla="*/ 0 w 835200"/>
                <a:gd name="connsiteY31" fmla="*/ 1381527 h 1973608"/>
                <a:gd name="connsiteX32" fmla="*/ 0 w 835200"/>
                <a:gd name="connsiteY32" fmla="*/ 1381525 h 1973608"/>
                <a:gd name="connsiteX33" fmla="*/ 0 w 835200"/>
                <a:gd name="connsiteY33" fmla="*/ 1184166 h 1973608"/>
                <a:gd name="connsiteX34" fmla="*/ 0 w 835200"/>
                <a:gd name="connsiteY34" fmla="*/ 1184165 h 1973608"/>
                <a:gd name="connsiteX35" fmla="*/ 0 w 835200"/>
                <a:gd name="connsiteY35" fmla="*/ 986806 h 1973608"/>
                <a:gd name="connsiteX36" fmla="*/ 0 w 835200"/>
                <a:gd name="connsiteY36" fmla="*/ 986804 h 1973608"/>
                <a:gd name="connsiteX37" fmla="*/ 0 w 835200"/>
                <a:gd name="connsiteY37" fmla="*/ 789445 h 1973608"/>
                <a:gd name="connsiteX38" fmla="*/ 0 w 835200"/>
                <a:gd name="connsiteY38" fmla="*/ 789444 h 1973608"/>
                <a:gd name="connsiteX39" fmla="*/ 0 w 835200"/>
                <a:gd name="connsiteY39" fmla="*/ 592085 h 1973608"/>
                <a:gd name="connsiteX40" fmla="*/ 0 w 835200"/>
                <a:gd name="connsiteY40" fmla="*/ 592083 h 1973608"/>
                <a:gd name="connsiteX41" fmla="*/ 0 w 835200"/>
                <a:gd name="connsiteY41" fmla="*/ 394723 h 1973608"/>
                <a:gd name="connsiteX42" fmla="*/ 0 w 835200"/>
                <a:gd name="connsiteY42" fmla="*/ 197362 h 1973608"/>
                <a:gd name="connsiteX43" fmla="*/ 0 w 835200"/>
                <a:gd name="connsiteY43" fmla="*/ 197361 h 197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35200" h="1973608">
                  <a:moveTo>
                    <a:pt x="0" y="0"/>
                  </a:moveTo>
                  <a:lnTo>
                    <a:pt x="208800" y="0"/>
                  </a:lnTo>
                  <a:lnTo>
                    <a:pt x="417600" y="0"/>
                  </a:lnTo>
                  <a:lnTo>
                    <a:pt x="626400" y="0"/>
                  </a:lnTo>
                  <a:lnTo>
                    <a:pt x="835200" y="0"/>
                  </a:lnTo>
                  <a:lnTo>
                    <a:pt x="835200" y="197361"/>
                  </a:lnTo>
                  <a:lnTo>
                    <a:pt x="835200" y="197362"/>
                  </a:lnTo>
                  <a:lnTo>
                    <a:pt x="835200" y="394723"/>
                  </a:lnTo>
                  <a:lnTo>
                    <a:pt x="835200" y="592083"/>
                  </a:lnTo>
                  <a:lnTo>
                    <a:pt x="835200" y="592085"/>
                  </a:lnTo>
                  <a:lnTo>
                    <a:pt x="835200" y="789444"/>
                  </a:lnTo>
                  <a:lnTo>
                    <a:pt x="835200" y="789445"/>
                  </a:lnTo>
                  <a:lnTo>
                    <a:pt x="835200" y="986804"/>
                  </a:lnTo>
                  <a:lnTo>
                    <a:pt x="835200" y="986806"/>
                  </a:lnTo>
                  <a:lnTo>
                    <a:pt x="835200" y="1184165"/>
                  </a:lnTo>
                  <a:lnTo>
                    <a:pt x="835200" y="1184166"/>
                  </a:lnTo>
                  <a:lnTo>
                    <a:pt x="835200" y="1381525"/>
                  </a:lnTo>
                  <a:lnTo>
                    <a:pt x="835200" y="1381527"/>
                  </a:lnTo>
                  <a:lnTo>
                    <a:pt x="835200" y="1578886"/>
                  </a:lnTo>
                  <a:lnTo>
                    <a:pt x="835200" y="1578887"/>
                  </a:lnTo>
                  <a:lnTo>
                    <a:pt x="835200" y="1776246"/>
                  </a:lnTo>
                  <a:lnTo>
                    <a:pt x="835200" y="1776248"/>
                  </a:lnTo>
                  <a:lnTo>
                    <a:pt x="835200" y="1973608"/>
                  </a:lnTo>
                  <a:lnTo>
                    <a:pt x="626400" y="1973608"/>
                  </a:lnTo>
                  <a:lnTo>
                    <a:pt x="417600" y="1973608"/>
                  </a:lnTo>
                  <a:lnTo>
                    <a:pt x="208800" y="1973608"/>
                  </a:lnTo>
                  <a:lnTo>
                    <a:pt x="0" y="1973608"/>
                  </a:lnTo>
                  <a:lnTo>
                    <a:pt x="0" y="1776248"/>
                  </a:lnTo>
                  <a:lnTo>
                    <a:pt x="0" y="1776246"/>
                  </a:lnTo>
                  <a:lnTo>
                    <a:pt x="0" y="1578887"/>
                  </a:lnTo>
                  <a:lnTo>
                    <a:pt x="0" y="1578886"/>
                  </a:lnTo>
                  <a:lnTo>
                    <a:pt x="0" y="1381527"/>
                  </a:lnTo>
                  <a:lnTo>
                    <a:pt x="0" y="1381525"/>
                  </a:lnTo>
                  <a:lnTo>
                    <a:pt x="0" y="1184166"/>
                  </a:lnTo>
                  <a:lnTo>
                    <a:pt x="0" y="1184165"/>
                  </a:lnTo>
                  <a:lnTo>
                    <a:pt x="0" y="986806"/>
                  </a:lnTo>
                  <a:lnTo>
                    <a:pt x="0" y="986804"/>
                  </a:lnTo>
                  <a:lnTo>
                    <a:pt x="0" y="789445"/>
                  </a:lnTo>
                  <a:lnTo>
                    <a:pt x="0" y="789444"/>
                  </a:lnTo>
                  <a:lnTo>
                    <a:pt x="0" y="592085"/>
                  </a:lnTo>
                  <a:lnTo>
                    <a:pt x="0" y="592083"/>
                  </a:lnTo>
                  <a:lnTo>
                    <a:pt x="0" y="394723"/>
                  </a:lnTo>
                  <a:lnTo>
                    <a:pt x="0" y="197362"/>
                  </a:lnTo>
                  <a:lnTo>
                    <a:pt x="0" y="197361"/>
                  </a:lnTo>
                  <a:close/>
                </a:path>
              </a:pathLst>
            </a:cu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nchorCtr="0">
              <a:noAutofit/>
            </a:bodyPr>
            <a:lstStyle/>
            <a:p>
              <a:pPr algn="ctr">
                <a:spcBef>
                  <a:spcPts val="300"/>
                </a:spcBef>
                <a:buClr>
                  <a:srgbClr val="002897"/>
                </a:buClr>
                <a:buSzPct val="70000"/>
              </a:pPr>
              <a:r>
                <a:rPr lang="de-DE" sz="1000" dirty="0">
                  <a:solidFill>
                    <a:schemeClr val="tx1"/>
                  </a:solidFill>
                </a:rPr>
                <a:t>Heat exchanger</a:t>
              </a:r>
            </a:p>
          </p:txBody>
        </p:sp>
      </p:grpSp>
      <p:cxnSp>
        <p:nvCxnSpPr>
          <p:cNvPr id="924" name="Connector: Elbow 923">
            <a:extLst>
              <a:ext uri="{FF2B5EF4-FFF2-40B4-BE49-F238E27FC236}">
                <a16:creationId xmlns:a16="http://schemas.microsoft.com/office/drawing/2014/main" id="{D12C2DCB-201B-4D9D-AD21-FCB890B07E41}"/>
              </a:ext>
            </a:extLst>
          </p:cNvPr>
          <p:cNvCxnSpPr>
            <a:cxnSpLocks/>
            <a:stCxn id="870" idx="1"/>
            <a:endCxn id="919" idx="41"/>
          </p:cNvCxnSpPr>
          <p:nvPr/>
        </p:nvCxnSpPr>
        <p:spPr bwMode="gray">
          <a:xfrm rot="10800000" flipH="1" flipV="1">
            <a:off x="5425335" y="3407880"/>
            <a:ext cx="1182939" cy="460630"/>
          </a:xfrm>
          <a:prstGeom prst="bentConnector5">
            <a:avLst>
              <a:gd name="adj1" fmla="val -19325"/>
              <a:gd name="adj2" fmla="val 45274"/>
              <a:gd name="adj3" fmla="val -1933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25" name="Connector: Elbow 924">
            <a:extLst>
              <a:ext uri="{FF2B5EF4-FFF2-40B4-BE49-F238E27FC236}">
                <a16:creationId xmlns:a16="http://schemas.microsoft.com/office/drawing/2014/main" id="{4E3F8753-42E1-4B7C-9D75-A85AA93791BE}"/>
              </a:ext>
            </a:extLst>
          </p:cNvPr>
          <p:cNvCxnSpPr>
            <a:cxnSpLocks/>
            <a:stCxn id="879" idx="4"/>
            <a:endCxn id="858" idx="31"/>
          </p:cNvCxnSpPr>
          <p:nvPr/>
        </p:nvCxnSpPr>
        <p:spPr bwMode="gray">
          <a:xfrm flipV="1">
            <a:off x="2734014" y="2697024"/>
            <a:ext cx="1612186" cy="1501798"/>
          </a:xfrm>
          <a:prstGeom prst="bentConnector3">
            <a:avLst>
              <a:gd name="adj1" fmla="val 86890"/>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26" name="Connector: Elbow 925">
            <a:extLst>
              <a:ext uri="{FF2B5EF4-FFF2-40B4-BE49-F238E27FC236}">
                <a16:creationId xmlns:a16="http://schemas.microsoft.com/office/drawing/2014/main" id="{F9FE3541-6EC8-43D6-96DA-55F078190A6A}"/>
              </a:ext>
            </a:extLst>
          </p:cNvPr>
          <p:cNvCxnSpPr>
            <a:cxnSpLocks/>
            <a:stCxn id="878" idx="1"/>
            <a:endCxn id="856" idx="1"/>
          </p:cNvCxnSpPr>
          <p:nvPr/>
        </p:nvCxnSpPr>
        <p:spPr bwMode="gray">
          <a:xfrm rot="16200000" flipH="1">
            <a:off x="9044537" y="3515968"/>
            <a:ext cx="1351894" cy="904919"/>
          </a:xfrm>
          <a:prstGeom prst="bentConnector3">
            <a:avLst>
              <a:gd name="adj1" fmla="val -3913"/>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927" name="Rectangle 926">
            <a:extLst>
              <a:ext uri="{FF2B5EF4-FFF2-40B4-BE49-F238E27FC236}">
                <a16:creationId xmlns:a16="http://schemas.microsoft.com/office/drawing/2014/main" id="{F8FB1EC8-DC9D-453E-A40C-1E39CEE860D3}"/>
              </a:ext>
            </a:extLst>
          </p:cNvPr>
          <p:cNvSpPr/>
          <p:nvPr/>
        </p:nvSpPr>
        <p:spPr bwMode="gray">
          <a:xfrm>
            <a:off x="2441119" y="2423122"/>
            <a:ext cx="518858" cy="1650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Fuel air</a:t>
            </a:r>
          </a:p>
        </p:txBody>
      </p:sp>
      <p:cxnSp>
        <p:nvCxnSpPr>
          <p:cNvPr id="928" name="Straight Arrow Connector 927">
            <a:extLst>
              <a:ext uri="{FF2B5EF4-FFF2-40B4-BE49-F238E27FC236}">
                <a16:creationId xmlns:a16="http://schemas.microsoft.com/office/drawing/2014/main" id="{3ABE4539-540E-4613-85AA-63AB48EF0FB4}"/>
              </a:ext>
            </a:extLst>
          </p:cNvPr>
          <p:cNvCxnSpPr>
            <a:cxnSpLocks/>
            <a:stCxn id="927" idx="3"/>
            <a:endCxn id="897" idx="0"/>
          </p:cNvCxnSpPr>
          <p:nvPr/>
        </p:nvCxnSpPr>
        <p:spPr bwMode="gray">
          <a:xfrm>
            <a:off x="2959977" y="2505637"/>
            <a:ext cx="210493" cy="3132"/>
          </a:xfrm>
          <a:prstGeom prst="straightConnector1">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29" name="Connector: Elbow 928">
            <a:extLst>
              <a:ext uri="{FF2B5EF4-FFF2-40B4-BE49-F238E27FC236}">
                <a16:creationId xmlns:a16="http://schemas.microsoft.com/office/drawing/2014/main" id="{E6FC534A-6BA7-4822-AF2D-EB92D7CBDF5B}"/>
              </a:ext>
            </a:extLst>
          </p:cNvPr>
          <p:cNvCxnSpPr>
            <a:cxnSpLocks/>
            <a:stCxn id="894" idx="3"/>
            <a:endCxn id="919" idx="33"/>
          </p:cNvCxnSpPr>
          <p:nvPr/>
        </p:nvCxnSpPr>
        <p:spPr bwMode="gray">
          <a:xfrm>
            <a:off x="3774031" y="2846835"/>
            <a:ext cx="2834244" cy="1203603"/>
          </a:xfrm>
          <a:prstGeom prst="bentConnector3">
            <a:avLst>
              <a:gd name="adj1" fmla="val 6094"/>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30" name="Connector: Elbow 929">
            <a:extLst>
              <a:ext uri="{FF2B5EF4-FFF2-40B4-BE49-F238E27FC236}">
                <a16:creationId xmlns:a16="http://schemas.microsoft.com/office/drawing/2014/main" id="{4C523526-B359-4EBD-80ED-1BD50C60E21E}"/>
              </a:ext>
            </a:extLst>
          </p:cNvPr>
          <p:cNvCxnSpPr>
            <a:cxnSpLocks/>
            <a:stCxn id="856" idx="0"/>
            <a:endCxn id="883" idx="2"/>
          </p:cNvCxnSpPr>
          <p:nvPr/>
        </p:nvCxnSpPr>
        <p:spPr bwMode="gray">
          <a:xfrm flipH="1">
            <a:off x="9285603" y="4769768"/>
            <a:ext cx="1007235" cy="763638"/>
          </a:xfrm>
          <a:prstGeom prst="bentConnector4">
            <a:avLst>
              <a:gd name="adj1" fmla="val -36809"/>
              <a:gd name="adj2" fmla="val 120955"/>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31" name="Connector: Elbow 930">
            <a:extLst>
              <a:ext uri="{FF2B5EF4-FFF2-40B4-BE49-F238E27FC236}">
                <a16:creationId xmlns:a16="http://schemas.microsoft.com/office/drawing/2014/main" id="{57D77965-3A82-4988-8B2A-84AAC91E2626}"/>
              </a:ext>
            </a:extLst>
          </p:cNvPr>
          <p:cNvCxnSpPr>
            <a:cxnSpLocks/>
            <a:stCxn id="834" idx="0"/>
            <a:endCxn id="919" idx="29"/>
          </p:cNvCxnSpPr>
          <p:nvPr/>
        </p:nvCxnSpPr>
        <p:spPr bwMode="gray">
          <a:xfrm rot="5400000" flipH="1" flipV="1">
            <a:off x="6179721" y="4341216"/>
            <a:ext cx="628367" cy="228741"/>
          </a:xfrm>
          <a:prstGeom prst="bentConnector4">
            <a:avLst>
              <a:gd name="adj1" fmla="val 42762"/>
              <a:gd name="adj2" fmla="val 61"/>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32" name="Connector: Elbow 931">
            <a:extLst>
              <a:ext uri="{FF2B5EF4-FFF2-40B4-BE49-F238E27FC236}">
                <a16:creationId xmlns:a16="http://schemas.microsoft.com/office/drawing/2014/main" id="{09888FCD-0155-4FA1-A283-6EA3AFE7AB8E}"/>
              </a:ext>
            </a:extLst>
          </p:cNvPr>
          <p:cNvCxnSpPr>
            <a:cxnSpLocks/>
            <a:stCxn id="835" idx="0"/>
            <a:endCxn id="873" idx="2"/>
          </p:cNvCxnSpPr>
          <p:nvPr/>
        </p:nvCxnSpPr>
        <p:spPr bwMode="gray">
          <a:xfrm rot="5400000" flipH="1" flipV="1">
            <a:off x="7694483" y="4114500"/>
            <a:ext cx="1146226" cy="164314"/>
          </a:xfrm>
          <a:prstGeom prst="bentConnector2">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33" name="Connector: Elbow 932">
            <a:extLst>
              <a:ext uri="{FF2B5EF4-FFF2-40B4-BE49-F238E27FC236}">
                <a16:creationId xmlns:a16="http://schemas.microsoft.com/office/drawing/2014/main" id="{D4E03D8D-368E-46F3-8C39-AAE9158C013F}"/>
              </a:ext>
            </a:extLst>
          </p:cNvPr>
          <p:cNvCxnSpPr>
            <a:cxnSpLocks/>
            <a:stCxn id="857" idx="2"/>
            <a:endCxn id="845" idx="1"/>
          </p:cNvCxnSpPr>
          <p:nvPr/>
        </p:nvCxnSpPr>
        <p:spPr bwMode="gray">
          <a:xfrm rot="5400000" flipH="1">
            <a:off x="6576511" y="1707101"/>
            <a:ext cx="174951" cy="7017915"/>
          </a:xfrm>
          <a:prstGeom prst="bentConnector4">
            <a:avLst>
              <a:gd name="adj1" fmla="val -294432"/>
              <a:gd name="adj2" fmla="val 103027"/>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34" name="Straight Connector 933">
            <a:extLst>
              <a:ext uri="{FF2B5EF4-FFF2-40B4-BE49-F238E27FC236}">
                <a16:creationId xmlns:a16="http://schemas.microsoft.com/office/drawing/2014/main" id="{35A6B63D-44EA-426B-901C-528EFA88D050}"/>
              </a:ext>
            </a:extLst>
          </p:cNvPr>
          <p:cNvCxnSpPr>
            <a:cxnSpLocks/>
          </p:cNvCxnSpPr>
          <p:nvPr/>
        </p:nvCxnSpPr>
        <p:spPr bwMode="gray">
          <a:xfrm>
            <a:off x="3831364" y="2505637"/>
            <a:ext cx="514836" cy="0"/>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35" name="Connector: Elbow 934">
            <a:extLst>
              <a:ext uri="{FF2B5EF4-FFF2-40B4-BE49-F238E27FC236}">
                <a16:creationId xmlns:a16="http://schemas.microsoft.com/office/drawing/2014/main" id="{3BE43DA7-485C-4D35-BABC-722030BCE2F0}"/>
              </a:ext>
            </a:extLst>
          </p:cNvPr>
          <p:cNvCxnSpPr>
            <a:cxnSpLocks/>
            <a:stCxn id="911" idx="1"/>
            <a:endCxn id="889" idx="0"/>
          </p:cNvCxnSpPr>
          <p:nvPr/>
        </p:nvCxnSpPr>
        <p:spPr bwMode="gray">
          <a:xfrm rot="10800000">
            <a:off x="5035586" y="5020577"/>
            <a:ext cx="2589036" cy="155368"/>
          </a:xfrm>
          <a:prstGeom prst="bentConnector4">
            <a:avLst>
              <a:gd name="adj1" fmla="val 47010"/>
              <a:gd name="adj2" fmla="val 208172"/>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36" name="Straight Connector 935">
            <a:extLst>
              <a:ext uri="{FF2B5EF4-FFF2-40B4-BE49-F238E27FC236}">
                <a16:creationId xmlns:a16="http://schemas.microsoft.com/office/drawing/2014/main" id="{CFDD88DB-90E7-4FB4-82C2-1163036C57C8}"/>
              </a:ext>
            </a:extLst>
          </p:cNvPr>
          <p:cNvCxnSpPr>
            <a:cxnSpLocks/>
            <a:stCxn id="854" idx="2"/>
            <a:endCxn id="837" idx="0"/>
          </p:cNvCxnSpPr>
          <p:nvPr/>
        </p:nvCxnSpPr>
        <p:spPr bwMode="gray">
          <a:xfrm>
            <a:off x="4135724" y="5684796"/>
            <a:ext cx="0" cy="129681"/>
          </a:xfrm>
          <a:prstGeom prst="line">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37" name="Connector: Elbow 936">
            <a:extLst>
              <a:ext uri="{FF2B5EF4-FFF2-40B4-BE49-F238E27FC236}">
                <a16:creationId xmlns:a16="http://schemas.microsoft.com/office/drawing/2014/main" id="{A7B112B6-BFCA-43CF-A2CB-75AECDFD92B3}"/>
              </a:ext>
            </a:extLst>
          </p:cNvPr>
          <p:cNvCxnSpPr>
            <a:cxnSpLocks/>
            <a:stCxn id="887" idx="2"/>
            <a:endCxn id="838" idx="1"/>
          </p:cNvCxnSpPr>
          <p:nvPr/>
        </p:nvCxnSpPr>
        <p:spPr bwMode="gray">
          <a:xfrm rot="16200000" flipH="1">
            <a:off x="2569227" y="5141129"/>
            <a:ext cx="605639" cy="133998"/>
          </a:xfrm>
          <a:prstGeom prst="bentConnector2">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
        <p:nvSpPr>
          <p:cNvPr id="938" name="Rectangle 937">
            <a:extLst>
              <a:ext uri="{FF2B5EF4-FFF2-40B4-BE49-F238E27FC236}">
                <a16:creationId xmlns:a16="http://schemas.microsoft.com/office/drawing/2014/main" id="{8AD41EBF-C43A-40D1-A685-3F907D3E63ED}"/>
              </a:ext>
            </a:extLst>
          </p:cNvPr>
          <p:cNvSpPr/>
          <p:nvPr/>
        </p:nvSpPr>
        <p:spPr bwMode="gray">
          <a:xfrm>
            <a:off x="5419877" y="1941246"/>
            <a:ext cx="697304" cy="13721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Exit gas</a:t>
            </a:r>
          </a:p>
        </p:txBody>
      </p:sp>
      <p:cxnSp>
        <p:nvCxnSpPr>
          <p:cNvPr id="939" name="Straight Connector 938">
            <a:extLst>
              <a:ext uri="{FF2B5EF4-FFF2-40B4-BE49-F238E27FC236}">
                <a16:creationId xmlns:a16="http://schemas.microsoft.com/office/drawing/2014/main" id="{6267494A-5246-4345-994F-B3FDE72988A0}"/>
              </a:ext>
            </a:extLst>
          </p:cNvPr>
          <p:cNvCxnSpPr>
            <a:cxnSpLocks/>
            <a:stCxn id="860" idx="0"/>
            <a:endCxn id="938" idx="2"/>
          </p:cNvCxnSpPr>
          <p:nvPr/>
        </p:nvCxnSpPr>
        <p:spPr bwMode="gray">
          <a:xfrm flipV="1">
            <a:off x="5767522" y="2078461"/>
            <a:ext cx="1007" cy="151697"/>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40" name="Connector: Elbow 939">
            <a:extLst>
              <a:ext uri="{FF2B5EF4-FFF2-40B4-BE49-F238E27FC236}">
                <a16:creationId xmlns:a16="http://schemas.microsoft.com/office/drawing/2014/main" id="{90B42854-B12F-4771-9035-8052EE415F03}"/>
              </a:ext>
            </a:extLst>
          </p:cNvPr>
          <p:cNvCxnSpPr>
            <a:cxnSpLocks/>
            <a:stCxn id="858" idx="19"/>
            <a:endCxn id="879" idx="7"/>
          </p:cNvCxnSpPr>
          <p:nvPr/>
        </p:nvCxnSpPr>
        <p:spPr bwMode="gray">
          <a:xfrm flipH="1">
            <a:off x="2734014" y="3397323"/>
            <a:ext cx="1931356" cy="949232"/>
          </a:xfrm>
          <a:prstGeom prst="bentConnector3">
            <a:avLst>
              <a:gd name="adj1" fmla="val -119"/>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41" name="Connector: Elbow 940">
            <a:extLst>
              <a:ext uri="{FF2B5EF4-FFF2-40B4-BE49-F238E27FC236}">
                <a16:creationId xmlns:a16="http://schemas.microsoft.com/office/drawing/2014/main" id="{76BC1377-D635-44EA-A218-88B8D7965BB2}"/>
              </a:ext>
            </a:extLst>
          </p:cNvPr>
          <p:cNvCxnSpPr>
            <a:cxnSpLocks/>
            <a:stCxn id="875" idx="2"/>
            <a:endCxn id="839" idx="0"/>
          </p:cNvCxnSpPr>
          <p:nvPr/>
        </p:nvCxnSpPr>
        <p:spPr bwMode="gray">
          <a:xfrm rot="16200000" flipH="1">
            <a:off x="7874974" y="4785326"/>
            <a:ext cx="1658730" cy="399572"/>
          </a:xfrm>
          <a:prstGeom prst="bentConnector3">
            <a:avLst>
              <a:gd name="adj1" fmla="val 50000"/>
            </a:avLst>
          </a:prstGeom>
          <a:ln w="12700">
            <a:solidFill>
              <a:schemeClr val="accent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grpSp>
        <p:nvGrpSpPr>
          <p:cNvPr id="942" name="Group 941">
            <a:extLst>
              <a:ext uri="{FF2B5EF4-FFF2-40B4-BE49-F238E27FC236}">
                <a16:creationId xmlns:a16="http://schemas.microsoft.com/office/drawing/2014/main" id="{39BC19C9-EC01-4CC2-B150-46CF04DBA278}"/>
              </a:ext>
            </a:extLst>
          </p:cNvPr>
          <p:cNvGrpSpPr/>
          <p:nvPr/>
        </p:nvGrpSpPr>
        <p:grpSpPr bwMode="gray">
          <a:xfrm>
            <a:off x="1496026" y="4429542"/>
            <a:ext cx="842400" cy="664219"/>
            <a:chOff x="3496037" y="4910525"/>
            <a:chExt cx="842400" cy="664219"/>
          </a:xfrm>
        </p:grpSpPr>
        <p:sp>
          <p:nvSpPr>
            <p:cNvPr id="943" name="Rectangle: Rounded Corners 942">
              <a:extLst>
                <a:ext uri="{FF2B5EF4-FFF2-40B4-BE49-F238E27FC236}">
                  <a16:creationId xmlns:a16="http://schemas.microsoft.com/office/drawing/2014/main" id="{CBAFDE48-8DA3-4A46-9241-245860441F89}"/>
                </a:ext>
              </a:extLst>
            </p:cNvPr>
            <p:cNvSpPr/>
            <p:nvPr/>
          </p:nvSpPr>
          <p:spPr bwMode="gray">
            <a:xfrm>
              <a:off x="3659264" y="4910525"/>
              <a:ext cx="515948" cy="307738"/>
            </a:xfrm>
            <a:prstGeom prst="roundRect">
              <a:avLst>
                <a:gd name="adj" fmla="val 50000"/>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anchor="t" anchorCtr="0"/>
            <a:lstStyle/>
            <a:p>
              <a:pPr algn="ctr">
                <a:spcBef>
                  <a:spcPts val="300"/>
                </a:spcBef>
                <a:buClr>
                  <a:srgbClr val="002897"/>
                </a:buClr>
                <a:buSzPct val="70000"/>
              </a:pPr>
              <a:endParaRPr lang="de-DE" sz="1000" dirty="0">
                <a:solidFill>
                  <a:schemeClr val="tx1"/>
                </a:solidFill>
              </a:endParaRPr>
            </a:p>
          </p:txBody>
        </p:sp>
        <p:sp>
          <p:nvSpPr>
            <p:cNvPr id="944" name="Rectangle 943">
              <a:extLst>
                <a:ext uri="{FF2B5EF4-FFF2-40B4-BE49-F238E27FC236}">
                  <a16:creationId xmlns:a16="http://schemas.microsoft.com/office/drawing/2014/main" id="{1C8FEF7E-FDFD-4230-82F0-3F64113DBD29}"/>
                </a:ext>
              </a:extLst>
            </p:cNvPr>
            <p:cNvSpPr/>
            <p:nvPr/>
          </p:nvSpPr>
          <p:spPr bwMode="gray">
            <a:xfrm>
              <a:off x="3496037" y="5221262"/>
              <a:ext cx="842400"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Caustic tank &amp; dosing</a:t>
              </a:r>
            </a:p>
          </p:txBody>
        </p:sp>
      </p:grpSp>
      <p:sp>
        <p:nvSpPr>
          <p:cNvPr id="945" name="Date Placeholder 944">
            <a:extLst>
              <a:ext uri="{FF2B5EF4-FFF2-40B4-BE49-F238E27FC236}">
                <a16:creationId xmlns:a16="http://schemas.microsoft.com/office/drawing/2014/main" id="{3358EB17-6378-4AEA-BFBF-BE876798EB79}"/>
              </a:ext>
            </a:extLst>
          </p:cNvPr>
          <p:cNvSpPr>
            <a:spLocks noGrp="1"/>
          </p:cNvSpPr>
          <p:nvPr>
            <p:ph type="dt" sz="half" idx="14"/>
          </p:nvPr>
        </p:nvSpPr>
        <p:spPr bwMode="gray">
          <a:xfrm>
            <a:off x="332367" y="6489341"/>
            <a:ext cx="1162951" cy="118192"/>
          </a:xfrm>
        </p:spPr>
        <p:txBody>
          <a:bodyPr/>
          <a:lstStyle/>
          <a:p>
            <a:fld id="{DA282774-11DF-4C40-BBF5-EE23009DD420}" type="datetime4">
              <a:rPr lang="en-US" smtClean="0"/>
              <a:t>September 8, 2019</a:t>
            </a:fld>
            <a:endParaRPr lang="en-US" dirty="0"/>
          </a:p>
        </p:txBody>
      </p:sp>
      <p:sp>
        <p:nvSpPr>
          <p:cNvPr id="946" name="Footer Placeholder 945">
            <a:extLst>
              <a:ext uri="{FF2B5EF4-FFF2-40B4-BE49-F238E27FC236}">
                <a16:creationId xmlns:a16="http://schemas.microsoft.com/office/drawing/2014/main" id="{D9999F63-7B77-4D6E-AEB0-5894EB2CE33D}"/>
              </a:ext>
            </a:extLst>
          </p:cNvPr>
          <p:cNvSpPr>
            <a:spLocks noGrp="1"/>
          </p:cNvSpPr>
          <p:nvPr>
            <p:ph type="ftr" sz="quarter" idx="15"/>
          </p:nvPr>
        </p:nvSpPr>
        <p:spPr bwMode="gray"/>
        <p:txBody>
          <a:bodyPr/>
          <a:lstStyle/>
          <a:p>
            <a:pPr lvl="8"/>
            <a:endParaRPr lang="en-US" dirty="0"/>
          </a:p>
        </p:txBody>
      </p:sp>
      <p:sp>
        <p:nvSpPr>
          <p:cNvPr id="947" name="Slide Number Placeholder 946">
            <a:extLst>
              <a:ext uri="{FF2B5EF4-FFF2-40B4-BE49-F238E27FC236}">
                <a16:creationId xmlns:a16="http://schemas.microsoft.com/office/drawing/2014/main" id="{01F8ADAD-C8D8-443C-92D0-512D1F96CD59}"/>
              </a:ext>
            </a:extLst>
          </p:cNvPr>
          <p:cNvSpPr>
            <a:spLocks noGrp="1"/>
          </p:cNvSpPr>
          <p:nvPr>
            <p:ph type="sldNum" sz="quarter" idx="16"/>
          </p:nvPr>
        </p:nvSpPr>
        <p:spPr bwMode="gray">
          <a:xfrm>
            <a:off x="1798114" y="6488733"/>
            <a:ext cx="676888" cy="118800"/>
          </a:xfrm>
        </p:spPr>
        <p:txBody>
          <a:bodyPr/>
          <a:lstStyle/>
          <a:p>
            <a:r>
              <a:rPr lang="en-US"/>
              <a:t>Slide </a:t>
            </a:r>
            <a:fld id="{619F89D8-7AE3-494A-97F3-03D680869632}" type="slidenum">
              <a:rPr lang="en-US" smtClean="0"/>
              <a:pPr/>
              <a:t>71</a:t>
            </a:fld>
            <a:endParaRPr lang="en-US" dirty="0"/>
          </a:p>
        </p:txBody>
      </p:sp>
      <p:grpSp>
        <p:nvGrpSpPr>
          <p:cNvPr id="975" name="Group 974">
            <a:extLst>
              <a:ext uri="{FF2B5EF4-FFF2-40B4-BE49-F238E27FC236}">
                <a16:creationId xmlns:a16="http://schemas.microsoft.com/office/drawing/2014/main" id="{094CE445-D544-4CA1-827C-7C12D4490D4A}"/>
              </a:ext>
            </a:extLst>
          </p:cNvPr>
          <p:cNvGrpSpPr/>
          <p:nvPr/>
        </p:nvGrpSpPr>
        <p:grpSpPr bwMode="gray">
          <a:xfrm>
            <a:off x="3741769" y="5020577"/>
            <a:ext cx="787910" cy="664219"/>
            <a:chOff x="2643094" y="5029996"/>
            <a:chExt cx="787910" cy="664219"/>
          </a:xfrm>
        </p:grpSpPr>
        <p:sp>
          <p:nvSpPr>
            <p:cNvPr id="854" name="Rectangle 853">
              <a:extLst>
                <a:ext uri="{FF2B5EF4-FFF2-40B4-BE49-F238E27FC236}">
                  <a16:creationId xmlns:a16="http://schemas.microsoft.com/office/drawing/2014/main" id="{A88A3B6C-BB40-4A4A-A7AA-6AE0E96E955C}"/>
                </a:ext>
              </a:extLst>
            </p:cNvPr>
            <p:cNvSpPr/>
            <p:nvPr/>
          </p:nvSpPr>
          <p:spPr bwMode="gray">
            <a:xfrm>
              <a:off x="2643094" y="5340733"/>
              <a:ext cx="787910" cy="35348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r>
                <a:rPr lang="de-DE" sz="1000" dirty="0">
                  <a:solidFill>
                    <a:schemeClr val="tx1"/>
                  </a:solidFill>
                </a:rPr>
                <a:t>Refrigerant</a:t>
              </a:r>
              <a:br>
                <a:rPr lang="de-DE" sz="1000" dirty="0">
                  <a:solidFill>
                    <a:schemeClr val="tx1"/>
                  </a:solidFill>
                </a:rPr>
              </a:br>
              <a:r>
                <a:rPr lang="de-DE" sz="1000" dirty="0">
                  <a:solidFill>
                    <a:schemeClr val="tx1"/>
                  </a:solidFill>
                </a:rPr>
                <a:t>condenser</a:t>
              </a:r>
            </a:p>
          </p:txBody>
        </p:sp>
        <p:grpSp>
          <p:nvGrpSpPr>
            <p:cNvPr id="974" name="Group 973">
              <a:extLst>
                <a:ext uri="{FF2B5EF4-FFF2-40B4-BE49-F238E27FC236}">
                  <a16:creationId xmlns:a16="http://schemas.microsoft.com/office/drawing/2014/main" id="{9CC2705E-B0E3-4253-BDCA-5F8B12A99137}"/>
                </a:ext>
              </a:extLst>
            </p:cNvPr>
            <p:cNvGrpSpPr/>
            <p:nvPr/>
          </p:nvGrpSpPr>
          <p:grpSpPr bwMode="gray">
            <a:xfrm>
              <a:off x="2882249" y="5029996"/>
              <a:ext cx="309600" cy="310736"/>
              <a:chOff x="2882249" y="5029996"/>
              <a:chExt cx="309600" cy="310736"/>
            </a:xfrm>
          </p:grpSpPr>
          <p:sp>
            <p:nvSpPr>
              <p:cNvPr id="852" name="Oval 851">
                <a:extLst>
                  <a:ext uri="{FF2B5EF4-FFF2-40B4-BE49-F238E27FC236}">
                    <a16:creationId xmlns:a16="http://schemas.microsoft.com/office/drawing/2014/main" id="{49AA541E-0329-4BAF-8829-ED3E3C21C9D4}"/>
                  </a:ext>
                </a:extLst>
              </p:cNvPr>
              <p:cNvSpPr/>
              <p:nvPr/>
            </p:nvSpPr>
            <p:spPr bwMode="gray">
              <a:xfrm flipH="1">
                <a:off x="2882249" y="5029996"/>
                <a:ext cx="309600" cy="310736"/>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a:solidFill>
                    <a:schemeClr val="tx1"/>
                  </a:solidFill>
                </a:endParaRPr>
              </a:p>
            </p:txBody>
          </p:sp>
          <p:sp>
            <p:nvSpPr>
              <p:cNvPr id="973" name="Freeform: Shape 972">
                <a:extLst>
                  <a:ext uri="{FF2B5EF4-FFF2-40B4-BE49-F238E27FC236}">
                    <a16:creationId xmlns:a16="http://schemas.microsoft.com/office/drawing/2014/main" id="{44FB0F2C-AA57-413E-8AE2-0CAA6601DAAD}"/>
                  </a:ext>
                </a:extLst>
              </p:cNvPr>
              <p:cNvSpPr/>
              <p:nvPr/>
            </p:nvSpPr>
            <p:spPr bwMode="gray">
              <a:xfrm rot="5400000">
                <a:off x="2944530" y="5077710"/>
                <a:ext cx="128873" cy="215306"/>
              </a:xfrm>
              <a:custGeom>
                <a:avLst/>
                <a:gdLst>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67715 w 128873"/>
                  <a:gd name="connsiteY4" fmla="*/ 5651 h 243834"/>
                  <a:gd name="connsiteX5" fmla="*/ 128873 w 128873"/>
                  <a:gd name="connsiteY5" fmla="*/ 5651 h 243834"/>
                  <a:gd name="connsiteX6" fmla="*/ 128873 w 128873"/>
                  <a:gd name="connsiteY6" fmla="*/ 243834 h 243834"/>
                  <a:gd name="connsiteX0" fmla="*/ 0 w 128873"/>
                  <a:gd name="connsiteY0" fmla="*/ 243834 h 243834"/>
                  <a:gd name="connsiteX1" fmla="*/ 0 w 128873"/>
                  <a:gd name="connsiteY1" fmla="*/ 5651 h 243834"/>
                  <a:gd name="connsiteX2" fmla="*/ 61160 w 128873"/>
                  <a:gd name="connsiteY2" fmla="*/ 5651 h 243834"/>
                  <a:gd name="connsiteX3" fmla="*/ 64437 w 128873"/>
                  <a:gd name="connsiteY3" fmla="*/ 0 h 243834"/>
                  <a:gd name="connsiteX4" fmla="*/ 128873 w 128873"/>
                  <a:gd name="connsiteY4" fmla="*/ 5651 h 243834"/>
                  <a:gd name="connsiteX5" fmla="*/ 128873 w 128873"/>
                  <a:gd name="connsiteY5" fmla="*/ 243834 h 243834"/>
                  <a:gd name="connsiteX6" fmla="*/ 0 w 128873"/>
                  <a:gd name="connsiteY6" fmla="*/ 243834 h 243834"/>
                  <a:gd name="connsiteX0" fmla="*/ 0 w 128873"/>
                  <a:gd name="connsiteY0" fmla="*/ 238183 h 238183"/>
                  <a:gd name="connsiteX1" fmla="*/ 0 w 128873"/>
                  <a:gd name="connsiteY1" fmla="*/ 0 h 238183"/>
                  <a:gd name="connsiteX2" fmla="*/ 61160 w 128873"/>
                  <a:gd name="connsiteY2" fmla="*/ 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 name="connsiteX5" fmla="*/ 0 w 128873"/>
                  <a:gd name="connsiteY5" fmla="*/ 238183 h 238183"/>
                  <a:gd name="connsiteX0" fmla="*/ 0 w 128873"/>
                  <a:gd name="connsiteY0" fmla="*/ 238183 h 240289"/>
                  <a:gd name="connsiteX1" fmla="*/ 0 w 128873"/>
                  <a:gd name="connsiteY1" fmla="*/ 0 h 240289"/>
                  <a:gd name="connsiteX2" fmla="*/ 63065 w 128873"/>
                  <a:gd name="connsiteY2" fmla="*/ 87630 h 240289"/>
                  <a:gd name="connsiteX3" fmla="*/ 128873 w 128873"/>
                  <a:gd name="connsiteY3" fmla="*/ 0 h 240289"/>
                  <a:gd name="connsiteX4" fmla="*/ 128873 w 128873"/>
                  <a:gd name="connsiteY4" fmla="*/ 238183 h 240289"/>
                  <a:gd name="connsiteX5" fmla="*/ 56864 w 128873"/>
                  <a:gd name="connsiteY5" fmla="*/ 240289 h 240289"/>
                  <a:gd name="connsiteX6" fmla="*/ 0 w 128873"/>
                  <a:gd name="connsiteY6" fmla="*/ 238183 h 240289"/>
                  <a:gd name="connsiteX0" fmla="*/ 56864 w 148304"/>
                  <a:gd name="connsiteY0" fmla="*/ 240289 h 341445"/>
                  <a:gd name="connsiteX1" fmla="*/ 0 w 148304"/>
                  <a:gd name="connsiteY1" fmla="*/ 238183 h 341445"/>
                  <a:gd name="connsiteX2" fmla="*/ 0 w 148304"/>
                  <a:gd name="connsiteY2" fmla="*/ 0 h 341445"/>
                  <a:gd name="connsiteX3" fmla="*/ 63065 w 148304"/>
                  <a:gd name="connsiteY3" fmla="*/ 87630 h 341445"/>
                  <a:gd name="connsiteX4" fmla="*/ 128873 w 148304"/>
                  <a:gd name="connsiteY4" fmla="*/ 0 h 341445"/>
                  <a:gd name="connsiteX5" fmla="*/ 128873 w 148304"/>
                  <a:gd name="connsiteY5" fmla="*/ 238183 h 341445"/>
                  <a:gd name="connsiteX6" fmla="*/ 148304 w 148304"/>
                  <a:gd name="connsiteY6" fmla="*/ 341445 h 341445"/>
                  <a:gd name="connsiteX0" fmla="*/ 0 w 148304"/>
                  <a:gd name="connsiteY0" fmla="*/ 238183 h 341445"/>
                  <a:gd name="connsiteX1" fmla="*/ 0 w 148304"/>
                  <a:gd name="connsiteY1" fmla="*/ 0 h 341445"/>
                  <a:gd name="connsiteX2" fmla="*/ 63065 w 148304"/>
                  <a:gd name="connsiteY2" fmla="*/ 87630 h 341445"/>
                  <a:gd name="connsiteX3" fmla="*/ 128873 w 148304"/>
                  <a:gd name="connsiteY3" fmla="*/ 0 h 341445"/>
                  <a:gd name="connsiteX4" fmla="*/ 128873 w 148304"/>
                  <a:gd name="connsiteY4" fmla="*/ 238183 h 341445"/>
                  <a:gd name="connsiteX5" fmla="*/ 148304 w 148304"/>
                  <a:gd name="connsiteY5" fmla="*/ 341445 h 341445"/>
                  <a:gd name="connsiteX0" fmla="*/ 0 w 128873"/>
                  <a:gd name="connsiteY0" fmla="*/ 238183 h 238183"/>
                  <a:gd name="connsiteX1" fmla="*/ 0 w 128873"/>
                  <a:gd name="connsiteY1" fmla="*/ 0 h 238183"/>
                  <a:gd name="connsiteX2" fmla="*/ 63065 w 128873"/>
                  <a:gd name="connsiteY2" fmla="*/ 87630 h 238183"/>
                  <a:gd name="connsiteX3" fmla="*/ 128873 w 128873"/>
                  <a:gd name="connsiteY3" fmla="*/ 0 h 238183"/>
                  <a:gd name="connsiteX4" fmla="*/ 128873 w 128873"/>
                  <a:gd name="connsiteY4" fmla="*/ 238183 h 2381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873" h="238183">
                    <a:moveTo>
                      <a:pt x="0" y="238183"/>
                    </a:moveTo>
                    <a:lnTo>
                      <a:pt x="0" y="0"/>
                    </a:lnTo>
                    <a:lnTo>
                      <a:pt x="63065" y="87630"/>
                    </a:lnTo>
                    <a:lnTo>
                      <a:pt x="128873" y="0"/>
                    </a:lnTo>
                    <a:lnTo>
                      <a:pt x="128873" y="238183"/>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spcBef>
                    <a:spcPts val="300"/>
                  </a:spcBef>
                  <a:buClr>
                    <a:srgbClr val="002897"/>
                  </a:buClr>
                  <a:buSzPct val="70000"/>
                </a:pPr>
                <a:endParaRPr lang="de-DE" sz="1000" dirty="0" err="1">
                  <a:solidFill>
                    <a:schemeClr val="tx1"/>
                  </a:solidFill>
                </a:endParaRPr>
              </a:p>
            </p:txBody>
          </p:sp>
        </p:grpSp>
      </p:grpSp>
      <p:cxnSp>
        <p:nvCxnSpPr>
          <p:cNvPr id="976" name="Straight Connector 975">
            <a:extLst>
              <a:ext uri="{FF2B5EF4-FFF2-40B4-BE49-F238E27FC236}">
                <a16:creationId xmlns:a16="http://schemas.microsoft.com/office/drawing/2014/main" id="{70DE8291-2E92-4D1A-A5E8-5364428A11CC}"/>
              </a:ext>
            </a:extLst>
          </p:cNvPr>
          <p:cNvCxnSpPr>
            <a:cxnSpLocks/>
          </p:cNvCxnSpPr>
          <p:nvPr/>
        </p:nvCxnSpPr>
        <p:spPr bwMode="gray">
          <a:xfrm>
            <a:off x="4290524" y="5236195"/>
            <a:ext cx="590262" cy="392"/>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cxnSp>
        <p:nvCxnSpPr>
          <p:cNvPr id="977" name="Straight Connector 976">
            <a:extLst>
              <a:ext uri="{FF2B5EF4-FFF2-40B4-BE49-F238E27FC236}">
                <a16:creationId xmlns:a16="http://schemas.microsoft.com/office/drawing/2014/main" id="{6AAC413A-AA40-4F15-824E-77F53175A4A5}"/>
              </a:ext>
            </a:extLst>
          </p:cNvPr>
          <p:cNvCxnSpPr>
            <a:cxnSpLocks/>
          </p:cNvCxnSpPr>
          <p:nvPr/>
        </p:nvCxnSpPr>
        <p:spPr bwMode="gray">
          <a:xfrm flipH="1">
            <a:off x="4290524" y="5121633"/>
            <a:ext cx="590262" cy="392"/>
          </a:xfrm>
          <a:prstGeom prst="line">
            <a:avLst/>
          </a:prstGeom>
          <a:ln w="12700">
            <a:solidFill>
              <a:schemeClr val="bg2"/>
            </a:solidFill>
            <a:headEnd type="none" w="sm" len="sm"/>
            <a:tailEnd type="arrow" w="sm" len="sm"/>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331225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8BDEE-73F6-491C-813E-F6349F685D39}"/>
              </a:ext>
            </a:extLst>
          </p:cNvPr>
          <p:cNvSpPr>
            <a:spLocks noGrp="1"/>
          </p:cNvSpPr>
          <p:nvPr>
            <p:ph type="title"/>
          </p:nvPr>
        </p:nvSpPr>
        <p:spPr/>
        <p:txBody>
          <a:bodyPr/>
          <a:lstStyle/>
          <a:p>
            <a:r>
              <a:rPr lang="de-DE" dirty="0"/>
              <a:t>Small </a:t>
            </a:r>
            <a:r>
              <a:rPr lang="de-DE" dirty="0" err="1"/>
              <a:t>scale</a:t>
            </a:r>
            <a:r>
              <a:rPr lang="de-DE" dirty="0"/>
              <a:t> CO</a:t>
            </a:r>
            <a:r>
              <a:rPr lang="de-DE" baseline="-25000" dirty="0"/>
              <a:t>2</a:t>
            </a:r>
            <a:r>
              <a:rPr lang="de-DE" dirty="0"/>
              <a:t> </a:t>
            </a:r>
            <a:r>
              <a:rPr lang="de-DE" dirty="0" err="1"/>
              <a:t>production</a:t>
            </a:r>
            <a:endParaRPr lang="en-US" dirty="0"/>
          </a:p>
        </p:txBody>
      </p:sp>
      <p:sp>
        <p:nvSpPr>
          <p:cNvPr id="3" name="Footer Placeholder 2">
            <a:extLst>
              <a:ext uri="{FF2B5EF4-FFF2-40B4-BE49-F238E27FC236}">
                <a16:creationId xmlns:a16="http://schemas.microsoft.com/office/drawing/2014/main" id="{FAB33356-5CAE-4181-8433-C03754B10D0D}"/>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C0626213-2BAE-4D8F-9092-72A4811F9790}"/>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7FA210F1-3DC5-4095-8264-242C7652C106}"/>
              </a:ext>
            </a:extLst>
          </p:cNvPr>
          <p:cNvSpPr>
            <a:spLocks noGrp="1"/>
          </p:cNvSpPr>
          <p:nvPr>
            <p:ph type="sldNum" sz="quarter" idx="12"/>
          </p:nvPr>
        </p:nvSpPr>
        <p:spPr/>
        <p:txBody>
          <a:bodyPr/>
          <a:lstStyle/>
          <a:p>
            <a:r>
              <a:rPr lang="en-US"/>
              <a:t>Slide </a:t>
            </a:r>
            <a:fld id="{619F89D8-7AE3-494A-97F3-03D680869632}" type="slidenum">
              <a:rPr lang="en-US" smtClean="0"/>
              <a:pPr/>
              <a:t>72</a:t>
            </a:fld>
            <a:endParaRPr lang="en-US" dirty="0"/>
          </a:p>
        </p:txBody>
      </p:sp>
      <p:sp>
        <p:nvSpPr>
          <p:cNvPr id="6" name="Content Placeholder 5">
            <a:extLst>
              <a:ext uri="{FF2B5EF4-FFF2-40B4-BE49-F238E27FC236}">
                <a16:creationId xmlns:a16="http://schemas.microsoft.com/office/drawing/2014/main" id="{252F64F4-E036-4539-AEC2-C4CF901180D6}"/>
              </a:ext>
            </a:extLst>
          </p:cNvPr>
          <p:cNvSpPr>
            <a:spLocks noGrp="1"/>
          </p:cNvSpPr>
          <p:nvPr>
            <p:ph sz="quarter" idx="20"/>
          </p:nvPr>
        </p:nvSpPr>
        <p:spPr/>
        <p:txBody>
          <a:bodyPr/>
          <a:lstStyle/>
          <a:p>
            <a:r>
              <a:rPr lang="de-DE" dirty="0"/>
              <a:t>Solution</a:t>
            </a:r>
          </a:p>
          <a:p>
            <a:pPr lvl="1"/>
            <a:r>
              <a:rPr lang="de-DE" dirty="0"/>
              <a:t>Uras26 NDIR </a:t>
            </a:r>
            <a:r>
              <a:rPr lang="de-DE" dirty="0" err="1"/>
              <a:t>photometer</a:t>
            </a:r>
            <a:r>
              <a:rPr lang="de-DE" dirty="0"/>
              <a:t> (90…100 vol% CO</a:t>
            </a:r>
            <a:r>
              <a:rPr lang="de-DE" baseline="-25000" dirty="0"/>
              <a:t>2</a:t>
            </a:r>
            <a:r>
              <a:rPr lang="de-DE" dirty="0"/>
              <a:t>)</a:t>
            </a:r>
          </a:p>
          <a:p>
            <a:pPr lvl="1"/>
            <a:endParaRPr lang="de-DE" dirty="0"/>
          </a:p>
          <a:p>
            <a:r>
              <a:rPr lang="de-DE" dirty="0"/>
              <a:t>Solution</a:t>
            </a:r>
          </a:p>
          <a:p>
            <a:pPr lvl="1"/>
            <a:r>
              <a:rPr lang="de-DE" dirty="0"/>
              <a:t>Uras26 NDIR </a:t>
            </a:r>
            <a:r>
              <a:rPr lang="de-DE" dirty="0" err="1"/>
              <a:t>photometer</a:t>
            </a:r>
            <a:r>
              <a:rPr lang="de-DE" dirty="0"/>
              <a:t> (CO / CH</a:t>
            </a:r>
            <a:r>
              <a:rPr lang="de-DE" baseline="-25000" dirty="0"/>
              <a:t>4</a:t>
            </a:r>
            <a:r>
              <a:rPr lang="de-DE" dirty="0"/>
              <a:t>)</a:t>
            </a:r>
          </a:p>
          <a:p>
            <a:pPr lvl="1"/>
            <a:r>
              <a:rPr lang="de-DE" dirty="0"/>
              <a:t>Limas21/23 NDUV </a:t>
            </a:r>
            <a:r>
              <a:rPr lang="de-DE" dirty="0" err="1"/>
              <a:t>photometer</a:t>
            </a:r>
            <a:r>
              <a:rPr lang="de-DE" dirty="0"/>
              <a:t> (NO / NO</a:t>
            </a:r>
            <a:r>
              <a:rPr lang="de-DE" baseline="-25000" dirty="0"/>
              <a:t>2</a:t>
            </a:r>
            <a:r>
              <a:rPr lang="de-DE" dirty="0"/>
              <a:t>)</a:t>
            </a:r>
          </a:p>
          <a:p>
            <a:pPr lvl="1"/>
            <a:r>
              <a:rPr lang="de-DE" dirty="0"/>
              <a:t>Fidas24 </a:t>
            </a:r>
            <a:r>
              <a:rPr lang="de-DE" dirty="0" err="1"/>
              <a:t>flame</a:t>
            </a:r>
            <a:r>
              <a:rPr lang="de-DE" dirty="0"/>
              <a:t> </a:t>
            </a:r>
            <a:r>
              <a:rPr lang="de-DE" dirty="0" err="1"/>
              <a:t>ionization</a:t>
            </a:r>
            <a:r>
              <a:rPr lang="de-DE" dirty="0"/>
              <a:t> </a:t>
            </a:r>
            <a:r>
              <a:rPr lang="de-DE" dirty="0" err="1"/>
              <a:t>detector</a:t>
            </a:r>
            <a:r>
              <a:rPr lang="de-DE" dirty="0"/>
              <a:t> (THC)</a:t>
            </a:r>
          </a:p>
          <a:p>
            <a:pPr lvl="1"/>
            <a:r>
              <a:rPr lang="de-DE" dirty="0"/>
              <a:t>Magnos28 </a:t>
            </a:r>
            <a:r>
              <a:rPr lang="de-DE" dirty="0" err="1"/>
              <a:t>paramagnetic</a:t>
            </a:r>
            <a:r>
              <a:rPr lang="de-DE" dirty="0"/>
              <a:t> </a:t>
            </a:r>
            <a:r>
              <a:rPr lang="de-DE" dirty="0" err="1"/>
              <a:t>detector</a:t>
            </a:r>
            <a:r>
              <a:rPr lang="de-DE" dirty="0"/>
              <a:t> (O</a:t>
            </a:r>
            <a:r>
              <a:rPr lang="de-DE" baseline="-25000" dirty="0"/>
              <a:t>2</a:t>
            </a:r>
            <a:r>
              <a:rPr lang="de-DE" dirty="0"/>
              <a:t>)</a:t>
            </a:r>
          </a:p>
        </p:txBody>
      </p:sp>
      <p:sp>
        <p:nvSpPr>
          <p:cNvPr id="7" name="Content Placeholder 6">
            <a:extLst>
              <a:ext uri="{FF2B5EF4-FFF2-40B4-BE49-F238E27FC236}">
                <a16:creationId xmlns:a16="http://schemas.microsoft.com/office/drawing/2014/main" id="{56411B2F-B2D2-4A9D-B692-751DE49E10E8}"/>
              </a:ext>
            </a:extLst>
          </p:cNvPr>
          <p:cNvSpPr>
            <a:spLocks noGrp="1"/>
          </p:cNvSpPr>
          <p:nvPr>
            <p:ph sz="quarter" idx="19"/>
          </p:nvPr>
        </p:nvSpPr>
        <p:spPr/>
        <p:txBody>
          <a:bodyPr/>
          <a:lstStyle/>
          <a:p>
            <a:r>
              <a:rPr lang="de-DE" dirty="0"/>
              <a:t>CO</a:t>
            </a:r>
            <a:r>
              <a:rPr lang="de-DE" baseline="-25000" dirty="0"/>
              <a:t>2</a:t>
            </a:r>
            <a:r>
              <a:rPr lang="de-DE" dirty="0"/>
              <a:t> </a:t>
            </a:r>
            <a:r>
              <a:rPr lang="de-DE" dirty="0" err="1"/>
              <a:t>purity</a:t>
            </a:r>
            <a:endParaRPr lang="de-DE" dirty="0"/>
          </a:p>
          <a:p>
            <a:pPr lvl="1"/>
            <a:r>
              <a:rPr lang="de-DE" dirty="0"/>
              <a:t>Carbon Dioxide (CO</a:t>
            </a:r>
            <a:r>
              <a:rPr lang="de-DE" baseline="-25000" dirty="0"/>
              <a:t>2</a:t>
            </a:r>
            <a:r>
              <a:rPr lang="de-DE" dirty="0"/>
              <a:t>)</a:t>
            </a:r>
          </a:p>
          <a:p>
            <a:endParaRPr lang="de-DE" dirty="0"/>
          </a:p>
          <a:p>
            <a:r>
              <a:rPr lang="de-DE" dirty="0"/>
              <a:t>CO</a:t>
            </a:r>
            <a:r>
              <a:rPr lang="de-DE" baseline="-25000" dirty="0"/>
              <a:t>2</a:t>
            </a:r>
            <a:r>
              <a:rPr lang="de-DE" dirty="0"/>
              <a:t> </a:t>
            </a:r>
            <a:r>
              <a:rPr lang="de-DE" dirty="0" err="1"/>
              <a:t>impurities</a:t>
            </a:r>
            <a:endParaRPr lang="de-DE" dirty="0"/>
          </a:p>
          <a:p>
            <a:pPr lvl="1"/>
            <a:r>
              <a:rPr lang="de-DE" dirty="0"/>
              <a:t>Carbon </a:t>
            </a:r>
            <a:r>
              <a:rPr lang="de-DE" dirty="0" err="1"/>
              <a:t>monoxide</a:t>
            </a:r>
            <a:r>
              <a:rPr lang="de-DE" dirty="0"/>
              <a:t> (CO)</a:t>
            </a:r>
          </a:p>
          <a:p>
            <a:pPr lvl="1"/>
            <a:r>
              <a:rPr lang="de-DE" dirty="0" err="1"/>
              <a:t>Methane</a:t>
            </a:r>
            <a:r>
              <a:rPr lang="de-DE" dirty="0"/>
              <a:t> (CH</a:t>
            </a:r>
            <a:r>
              <a:rPr lang="de-DE" baseline="-25000" dirty="0"/>
              <a:t>4</a:t>
            </a:r>
            <a:r>
              <a:rPr lang="de-DE" dirty="0"/>
              <a:t>)</a:t>
            </a:r>
          </a:p>
          <a:p>
            <a:pPr lvl="1"/>
            <a:r>
              <a:rPr lang="de-DE" dirty="0"/>
              <a:t>Nitrogen Oxide (NO)</a:t>
            </a:r>
          </a:p>
          <a:p>
            <a:pPr lvl="1"/>
            <a:r>
              <a:rPr lang="de-DE" dirty="0"/>
              <a:t>Nitrogen Dioxide (NO</a:t>
            </a:r>
            <a:r>
              <a:rPr lang="de-DE" baseline="-25000" dirty="0"/>
              <a:t>2</a:t>
            </a:r>
            <a:r>
              <a:rPr lang="de-DE" dirty="0"/>
              <a:t>)</a:t>
            </a:r>
          </a:p>
          <a:p>
            <a:pPr lvl="1"/>
            <a:r>
              <a:rPr lang="de-DE" dirty="0"/>
              <a:t>Total </a:t>
            </a:r>
            <a:r>
              <a:rPr lang="de-DE" dirty="0" err="1"/>
              <a:t>Hydrocarbons</a:t>
            </a:r>
            <a:r>
              <a:rPr lang="de-DE" dirty="0"/>
              <a:t> (THC)</a:t>
            </a:r>
          </a:p>
          <a:p>
            <a:pPr lvl="1"/>
            <a:r>
              <a:rPr lang="de-DE" dirty="0"/>
              <a:t>Oxygen (O</a:t>
            </a:r>
            <a:r>
              <a:rPr lang="de-DE" baseline="-25000" dirty="0"/>
              <a:t>2</a:t>
            </a:r>
            <a:r>
              <a:rPr lang="de-DE" dirty="0"/>
              <a:t>)</a:t>
            </a:r>
          </a:p>
          <a:p>
            <a:endParaRPr lang="en-US" dirty="0"/>
          </a:p>
        </p:txBody>
      </p:sp>
      <p:sp>
        <p:nvSpPr>
          <p:cNvPr id="8" name="Subtitle 7">
            <a:extLst>
              <a:ext uri="{FF2B5EF4-FFF2-40B4-BE49-F238E27FC236}">
                <a16:creationId xmlns:a16="http://schemas.microsoft.com/office/drawing/2014/main" id="{5D7AD41D-97E6-414E-9380-DC70146F02B3}"/>
              </a:ext>
            </a:extLst>
          </p:cNvPr>
          <p:cNvSpPr>
            <a:spLocks noGrp="1"/>
          </p:cNvSpPr>
          <p:nvPr>
            <p:ph type="subTitle" idx="13"/>
          </p:nvPr>
        </p:nvSpPr>
        <p:spPr/>
        <p:txBody>
          <a:bodyPr/>
          <a:lstStyle/>
          <a:p>
            <a:r>
              <a:rPr lang="de-DE" dirty="0"/>
              <a:t>Gas </a:t>
            </a:r>
            <a:r>
              <a:rPr lang="de-DE" dirty="0" err="1"/>
              <a:t>analyzer</a:t>
            </a:r>
            <a:r>
              <a:rPr lang="de-DE" dirty="0"/>
              <a:t> </a:t>
            </a:r>
            <a:r>
              <a:rPr lang="de-DE" dirty="0" err="1"/>
              <a:t>solutions</a:t>
            </a:r>
            <a:endParaRPr lang="en-US" dirty="0"/>
          </a:p>
        </p:txBody>
      </p:sp>
    </p:spTree>
    <p:extLst>
      <p:ext uri="{BB962C8B-B14F-4D97-AF65-F5344CB8AC3E}">
        <p14:creationId xmlns:p14="http://schemas.microsoft.com/office/powerpoint/2010/main" val="111130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56BFA-AAE7-406B-A3B3-2D0226C46E39}"/>
              </a:ext>
            </a:extLst>
          </p:cNvPr>
          <p:cNvSpPr>
            <a:spLocks noGrp="1"/>
          </p:cNvSpPr>
          <p:nvPr>
            <p:ph type="ctrTitle"/>
          </p:nvPr>
        </p:nvSpPr>
        <p:spPr bwMode="gray"/>
        <p:txBody>
          <a:bodyPr/>
          <a:lstStyle/>
          <a:p>
            <a:r>
              <a:rPr lang="de-DE" dirty="0"/>
              <a:t>Hydrogen</a:t>
            </a:r>
            <a:endParaRPr lang="de-DE" baseline="-25000" dirty="0"/>
          </a:p>
        </p:txBody>
      </p:sp>
      <p:sp>
        <p:nvSpPr>
          <p:cNvPr id="3" name="Subtitle 2">
            <a:extLst>
              <a:ext uri="{FF2B5EF4-FFF2-40B4-BE49-F238E27FC236}">
                <a16:creationId xmlns:a16="http://schemas.microsoft.com/office/drawing/2014/main" id="{EC5EC8F8-2510-42EC-B66A-48CFC5FDBAD5}"/>
              </a:ext>
            </a:extLst>
          </p:cNvPr>
          <p:cNvSpPr>
            <a:spLocks noGrp="1"/>
          </p:cNvSpPr>
          <p:nvPr>
            <p:ph type="subTitle" idx="1"/>
          </p:nvPr>
        </p:nvSpPr>
        <p:spPr bwMode="gray"/>
        <p:txBody>
          <a:bodyPr/>
          <a:lstStyle/>
          <a:p>
            <a:r>
              <a:rPr lang="de-DE" dirty="0"/>
              <a:t>Emerging </a:t>
            </a:r>
            <a:r>
              <a:rPr lang="de-DE" dirty="0" err="1"/>
              <a:t>applications</a:t>
            </a:r>
            <a:endParaRPr lang="de-DE" dirty="0"/>
          </a:p>
        </p:txBody>
      </p:sp>
    </p:spTree>
    <p:custDataLst>
      <p:tags r:id="rId1"/>
    </p:custDataLst>
    <p:extLst>
      <p:ext uri="{BB962C8B-B14F-4D97-AF65-F5344CB8AC3E}">
        <p14:creationId xmlns:p14="http://schemas.microsoft.com/office/powerpoint/2010/main" val="4160228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3">
            <a:extLst>
              <a:ext uri="{FF2B5EF4-FFF2-40B4-BE49-F238E27FC236}">
                <a16:creationId xmlns:a16="http://schemas.microsoft.com/office/drawing/2014/main" id="{A10D6E27-FEC7-46F0-B889-A75CD5986DFB}"/>
              </a:ext>
            </a:extLst>
          </p:cNvPr>
          <p:cNvSpPr txBox="1">
            <a:spLocks/>
          </p:cNvSpPr>
          <p:nvPr/>
        </p:nvSpPr>
        <p:spPr bwMode="gray">
          <a:xfrm>
            <a:off x="333264" y="2917724"/>
            <a:ext cx="5091590" cy="2994391"/>
          </a:xfrm>
          <a:prstGeom prst="rect">
            <a:avLst/>
          </a:prstGeom>
        </p:spPr>
        <p:txBody>
          <a:bodyPr lIns="108000" tIns="108000" rIns="36000" bIns="108000" anchor="t" anchorCtr="0"/>
          <a:lstStyle>
            <a:lvl1pPr marL="0" indent="0" algn="l" defTabSz="914491" rtl="0" eaLnBrk="1" latinLnBrk="0" hangingPunct="1">
              <a:spcBef>
                <a:spcPts val="600"/>
              </a:spcBef>
              <a:buFont typeface="Arial" panose="020B0604020202020204" pitchFamily="34" charset="0"/>
              <a:buNone/>
              <a:defRPr lang="en-US" sz="1800" b="1" kern="1200" dirty="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300"/>
              </a:spcBef>
            </a:pPr>
            <a:r>
              <a:rPr lang="en-US" sz="1400" b="1" dirty="0"/>
              <a:t>Germany</a:t>
            </a:r>
            <a:r>
              <a:rPr lang="en-US" sz="1400" dirty="0"/>
              <a:t> plans to build 400 vehicle fueling stations</a:t>
            </a:r>
          </a:p>
          <a:p>
            <a:pPr lvl="1">
              <a:spcBef>
                <a:spcPts val="300"/>
              </a:spcBef>
            </a:pPr>
            <a:r>
              <a:rPr lang="en-US" sz="1400" dirty="0"/>
              <a:t>Industrial gas majors </a:t>
            </a:r>
            <a:r>
              <a:rPr lang="en-US" sz="1400" b="1" dirty="0"/>
              <a:t>Westfalen</a:t>
            </a:r>
            <a:r>
              <a:rPr lang="en-US" sz="1400" dirty="0"/>
              <a:t>, </a:t>
            </a:r>
            <a:r>
              <a:rPr lang="en-US" sz="1400" b="1" dirty="0"/>
              <a:t>Linde</a:t>
            </a:r>
            <a:r>
              <a:rPr lang="en-US" sz="1400" dirty="0"/>
              <a:t> and </a:t>
            </a:r>
            <a:r>
              <a:rPr lang="en-US" sz="1400" b="1" dirty="0"/>
              <a:t>Air Liquide </a:t>
            </a:r>
            <a:br>
              <a:rPr lang="en-US" sz="1400" dirty="0"/>
            </a:br>
            <a:r>
              <a:rPr lang="en-US" sz="1400" dirty="0"/>
              <a:t>involved in clean energy partnership (CEP) which </a:t>
            </a:r>
            <a:br>
              <a:rPr lang="en-US" sz="1400" dirty="0"/>
            </a:br>
            <a:r>
              <a:rPr lang="en-US" sz="1400" dirty="0"/>
              <a:t>includes energy majors </a:t>
            </a:r>
            <a:r>
              <a:rPr lang="en-US" sz="1400" b="1" dirty="0"/>
              <a:t>Shell</a:t>
            </a:r>
            <a:r>
              <a:rPr lang="en-US" sz="1400" dirty="0"/>
              <a:t> and </a:t>
            </a:r>
            <a:r>
              <a:rPr lang="en-US" sz="1400" b="1" dirty="0"/>
              <a:t>OMV</a:t>
            </a:r>
            <a:r>
              <a:rPr lang="en-US" sz="1400" dirty="0"/>
              <a:t> with goal of </a:t>
            </a:r>
            <a:br>
              <a:rPr lang="en-US" sz="1400" dirty="0"/>
            </a:br>
            <a:r>
              <a:rPr lang="en-US" sz="1400" dirty="0"/>
              <a:t>achieving large-scale transition to H</a:t>
            </a:r>
            <a:r>
              <a:rPr lang="en-US" sz="1400" baseline="-25000" dirty="0"/>
              <a:t>2</a:t>
            </a:r>
            <a:r>
              <a:rPr lang="en-US" sz="1400" dirty="0"/>
              <a:t> as vehicle fuel</a:t>
            </a:r>
          </a:p>
          <a:p>
            <a:pPr lvl="1">
              <a:spcBef>
                <a:spcPts val="300"/>
              </a:spcBef>
            </a:pPr>
            <a:r>
              <a:rPr lang="en-US" sz="1400" dirty="0"/>
              <a:t>Many smaller niche and start-up companies such as </a:t>
            </a:r>
            <a:br>
              <a:rPr lang="en-US" sz="1400" dirty="0"/>
            </a:br>
            <a:r>
              <a:rPr lang="en-US" sz="1400" b="1" dirty="0" err="1"/>
              <a:t>McPhy</a:t>
            </a:r>
            <a:r>
              <a:rPr lang="en-US" sz="1400" dirty="0"/>
              <a:t> and </a:t>
            </a:r>
            <a:r>
              <a:rPr lang="en-US" sz="1400" b="1" dirty="0" err="1"/>
              <a:t>Hydrogenics</a:t>
            </a:r>
            <a:r>
              <a:rPr lang="en-US" sz="1400" dirty="0"/>
              <a:t> also involved</a:t>
            </a:r>
          </a:p>
          <a:p>
            <a:pPr lvl="1">
              <a:spcBef>
                <a:spcPts val="300"/>
              </a:spcBef>
            </a:pPr>
            <a:r>
              <a:rPr lang="en-US" sz="1400" dirty="0"/>
              <a:t>Major automotive manufacturers such as </a:t>
            </a:r>
            <a:r>
              <a:rPr lang="en-US" sz="1400" b="1" dirty="0"/>
              <a:t>Hyundai</a:t>
            </a:r>
            <a:r>
              <a:rPr lang="en-US" sz="1400" dirty="0"/>
              <a:t>, </a:t>
            </a:r>
            <a:br>
              <a:rPr lang="en-US" sz="1400" dirty="0"/>
            </a:br>
            <a:r>
              <a:rPr lang="en-US" sz="1400" b="1" dirty="0"/>
              <a:t>Toyota</a:t>
            </a:r>
            <a:r>
              <a:rPr lang="en-US" sz="1400" dirty="0"/>
              <a:t>, </a:t>
            </a:r>
            <a:r>
              <a:rPr lang="en-US" sz="1400" b="1" dirty="0"/>
              <a:t>BMW</a:t>
            </a:r>
            <a:r>
              <a:rPr lang="en-US" sz="1400" dirty="0"/>
              <a:t> and </a:t>
            </a:r>
            <a:r>
              <a:rPr lang="en-US" sz="1400" b="1" dirty="0"/>
              <a:t>Daimler</a:t>
            </a:r>
            <a:r>
              <a:rPr lang="en-US" sz="1400" dirty="0"/>
              <a:t> developing H</a:t>
            </a:r>
            <a:r>
              <a:rPr lang="en-US" sz="1400" baseline="-25000" dirty="0"/>
              <a:t>2</a:t>
            </a:r>
            <a:r>
              <a:rPr lang="en-US" sz="1400" dirty="0"/>
              <a:t>-fueled cars</a:t>
            </a:r>
          </a:p>
          <a:p>
            <a:pPr lvl="1">
              <a:spcBef>
                <a:spcPts val="300"/>
              </a:spcBef>
            </a:pPr>
            <a:r>
              <a:rPr lang="en-US" sz="1400" dirty="0"/>
              <a:t>Rigorous quality standards related to Hydrogen</a:t>
            </a:r>
          </a:p>
          <a:p>
            <a:pPr lvl="1">
              <a:spcBef>
                <a:spcPts val="300"/>
              </a:spcBef>
            </a:pPr>
            <a:r>
              <a:rPr lang="en-US" sz="1400" dirty="0"/>
              <a:t>Clearly, analytical instrumentation will be required </a:t>
            </a:r>
            <a:br>
              <a:rPr lang="en-US" sz="1400" dirty="0"/>
            </a:br>
            <a:r>
              <a:rPr lang="en-US" sz="1400" dirty="0"/>
              <a:t>to validate required quality levels</a:t>
            </a:r>
          </a:p>
        </p:txBody>
      </p:sp>
      <p:sp>
        <p:nvSpPr>
          <p:cNvPr id="2" name="Title 1">
            <a:extLst>
              <a:ext uri="{FF2B5EF4-FFF2-40B4-BE49-F238E27FC236}">
                <a16:creationId xmlns:a16="http://schemas.microsoft.com/office/drawing/2014/main" id="{E438A66C-A03A-464B-B5FB-D10180843700}"/>
              </a:ext>
            </a:extLst>
          </p:cNvPr>
          <p:cNvSpPr>
            <a:spLocks noGrp="1"/>
          </p:cNvSpPr>
          <p:nvPr>
            <p:ph type="title"/>
          </p:nvPr>
        </p:nvSpPr>
        <p:spPr bwMode="gray"/>
        <p:txBody>
          <a:bodyPr/>
          <a:lstStyle/>
          <a:p>
            <a:r>
              <a:rPr lang="en-US"/>
              <a:t>Hydrogen</a:t>
            </a:r>
          </a:p>
        </p:txBody>
      </p:sp>
      <p:sp>
        <p:nvSpPr>
          <p:cNvPr id="8" name="Subtitle 7">
            <a:extLst>
              <a:ext uri="{FF2B5EF4-FFF2-40B4-BE49-F238E27FC236}">
                <a16:creationId xmlns:a16="http://schemas.microsoft.com/office/drawing/2014/main" id="{6B1F2591-E03A-4A85-8887-320D5D1BCE71}"/>
              </a:ext>
            </a:extLst>
          </p:cNvPr>
          <p:cNvSpPr>
            <a:spLocks noGrp="1"/>
          </p:cNvSpPr>
          <p:nvPr>
            <p:ph type="subTitle" idx="13"/>
          </p:nvPr>
        </p:nvSpPr>
        <p:spPr bwMode="gray">
          <a:xfrm>
            <a:off x="332367" y="1085213"/>
            <a:ext cx="11520898" cy="504000"/>
          </a:xfrm>
        </p:spPr>
        <p:txBody>
          <a:bodyPr/>
          <a:lstStyle/>
          <a:p>
            <a:r>
              <a:rPr lang="en-US" dirty="0"/>
              <a:t>Emerging applications – electrolysis, transport fuel, gas-grid injection</a:t>
            </a:r>
          </a:p>
        </p:txBody>
      </p:sp>
      <p:sp>
        <p:nvSpPr>
          <p:cNvPr id="16" name="Content Placeholder 3">
            <a:extLst>
              <a:ext uri="{FF2B5EF4-FFF2-40B4-BE49-F238E27FC236}">
                <a16:creationId xmlns:a16="http://schemas.microsoft.com/office/drawing/2014/main" id="{5C60DD4C-3AFA-4C49-9A4A-A617B1B50004}"/>
              </a:ext>
            </a:extLst>
          </p:cNvPr>
          <p:cNvSpPr txBox="1">
            <a:spLocks/>
          </p:cNvSpPr>
          <p:nvPr/>
        </p:nvSpPr>
        <p:spPr bwMode="gray">
          <a:xfrm>
            <a:off x="333264" y="1931198"/>
            <a:ext cx="5091590" cy="720000"/>
          </a:xfrm>
          <a:prstGeom prst="rect">
            <a:avLst/>
          </a:prstGeom>
        </p:spPr>
        <p:txBody>
          <a:bodyPr lIns="0" tIns="0" rIns="0" bIns="0" anchor="t" anchorCtr="0"/>
          <a:lstStyle>
            <a:lvl1pPr marL="0" indent="0" algn="l" defTabSz="914491" rtl="0" eaLnBrk="1" latinLnBrk="0" hangingPunct="1">
              <a:spcBef>
                <a:spcPts val="600"/>
              </a:spcBef>
              <a:buFont typeface="Arial" panose="020B0604020202020204" pitchFamily="34" charset="0"/>
              <a:buNone/>
              <a:defRPr lang="en-US" sz="1800" b="1" kern="1200" dirty="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spcBef>
                <a:spcPts val="0"/>
              </a:spcBef>
            </a:pPr>
            <a:r>
              <a:rPr lang="en-US" sz="1400" dirty="0"/>
              <a:t>Hydrogen increasingly being used </a:t>
            </a:r>
            <a:br>
              <a:rPr lang="en-US" sz="1400" dirty="0"/>
            </a:br>
            <a:r>
              <a:rPr lang="en-US" sz="1400" dirty="0"/>
              <a:t>beyond conventional applications</a:t>
            </a:r>
          </a:p>
        </p:txBody>
      </p:sp>
      <p:sp>
        <p:nvSpPr>
          <p:cNvPr id="20" name="Content Placeholder 3">
            <a:extLst>
              <a:ext uri="{FF2B5EF4-FFF2-40B4-BE49-F238E27FC236}">
                <a16:creationId xmlns:a16="http://schemas.microsoft.com/office/drawing/2014/main" id="{B635DF56-A352-4194-B099-A6A0A46E9D21}"/>
              </a:ext>
            </a:extLst>
          </p:cNvPr>
          <p:cNvSpPr txBox="1">
            <a:spLocks/>
          </p:cNvSpPr>
          <p:nvPr/>
        </p:nvSpPr>
        <p:spPr bwMode="gray">
          <a:xfrm>
            <a:off x="5804419" y="2917820"/>
            <a:ext cx="2834640" cy="2995617"/>
          </a:xfrm>
          <a:prstGeom prst="rect">
            <a:avLst/>
          </a:prstGeom>
        </p:spPr>
        <p:txBody>
          <a:bodyPr lIns="108000" tIns="108000" rIns="108000" bIns="108000" anchor="t" anchorCtr="0"/>
          <a:lstStyle>
            <a:lvl1pPr marL="0" indent="0" algn="l" defTabSz="914491" rtl="0" eaLnBrk="1" latinLnBrk="0" hangingPunct="1">
              <a:spcBef>
                <a:spcPts val="600"/>
              </a:spcBef>
              <a:buFont typeface="Arial" panose="020B0604020202020204" pitchFamily="34" charset="0"/>
              <a:buNone/>
              <a:defRPr lang="en-US" sz="1800" b="1" kern="1200" dirty="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300"/>
              </a:spcBef>
            </a:pPr>
            <a:r>
              <a:rPr lang="en-US" sz="1400" dirty="0"/>
              <a:t>Project to be completed </a:t>
            </a:r>
            <a:br>
              <a:rPr lang="en-US" sz="1400" dirty="0"/>
            </a:br>
            <a:r>
              <a:rPr lang="en-US" sz="1400" dirty="0"/>
              <a:t>in 2021</a:t>
            </a:r>
          </a:p>
          <a:p>
            <a:pPr lvl="1">
              <a:spcBef>
                <a:spcPts val="300"/>
              </a:spcBef>
            </a:pPr>
            <a:r>
              <a:rPr lang="en-US" sz="1400" dirty="0"/>
              <a:t>Re-use existing natural </a:t>
            </a:r>
            <a:br>
              <a:rPr lang="en-US" sz="1400" dirty="0"/>
            </a:br>
            <a:r>
              <a:rPr lang="en-US" sz="1400" dirty="0"/>
              <a:t>gas grid</a:t>
            </a:r>
          </a:p>
          <a:p>
            <a:pPr lvl="1">
              <a:spcBef>
                <a:spcPts val="300"/>
              </a:spcBef>
            </a:pPr>
            <a:r>
              <a:rPr lang="en-US" sz="1400" dirty="0"/>
              <a:t>For homes and businesses </a:t>
            </a:r>
            <a:br>
              <a:rPr lang="en-US" sz="1400" dirty="0"/>
            </a:br>
            <a:r>
              <a:rPr lang="en-US" sz="1400" dirty="0"/>
              <a:t>to use for heating &amp; cooking</a:t>
            </a:r>
          </a:p>
          <a:p>
            <a:pPr lvl="1">
              <a:spcBef>
                <a:spcPts val="300"/>
              </a:spcBef>
            </a:pPr>
            <a:r>
              <a:rPr lang="en-US" sz="1400" dirty="0"/>
              <a:t>Pilot to replicated throughout UK</a:t>
            </a:r>
          </a:p>
          <a:p>
            <a:pPr lvl="1">
              <a:spcBef>
                <a:spcPts val="300"/>
              </a:spcBef>
            </a:pPr>
            <a:r>
              <a:rPr lang="en-US" sz="1400" dirty="0"/>
              <a:t>Highly likely new analytical instrumentation required</a:t>
            </a:r>
          </a:p>
        </p:txBody>
      </p:sp>
      <p:sp>
        <p:nvSpPr>
          <p:cNvPr id="21" name="Content Placeholder 3">
            <a:extLst>
              <a:ext uri="{FF2B5EF4-FFF2-40B4-BE49-F238E27FC236}">
                <a16:creationId xmlns:a16="http://schemas.microsoft.com/office/drawing/2014/main" id="{ADA7640F-7C54-4274-94F0-73FF158BAED3}"/>
              </a:ext>
            </a:extLst>
          </p:cNvPr>
          <p:cNvSpPr txBox="1">
            <a:spLocks/>
          </p:cNvSpPr>
          <p:nvPr/>
        </p:nvSpPr>
        <p:spPr bwMode="gray">
          <a:xfrm>
            <a:off x="5804419" y="1931197"/>
            <a:ext cx="2834640" cy="720000"/>
          </a:xfrm>
          <a:prstGeom prst="rect">
            <a:avLst/>
          </a:prstGeom>
        </p:spPr>
        <p:txBody>
          <a:bodyPr lIns="0" tIns="0" rIns="0" bIns="0" anchor="t" anchorCtr="0"/>
          <a:lstStyle>
            <a:lvl1pPr marL="0" indent="0" algn="l" defTabSz="914491" rtl="0" eaLnBrk="1" latinLnBrk="0" hangingPunct="1">
              <a:spcBef>
                <a:spcPts val="600"/>
              </a:spcBef>
              <a:buFont typeface="Arial" panose="020B0604020202020204" pitchFamily="34" charset="0"/>
              <a:buNone/>
              <a:defRPr lang="en-US" sz="1800" b="1" kern="1200" dirty="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spcBef>
                <a:spcPts val="0"/>
              </a:spcBef>
            </a:pPr>
            <a:r>
              <a:rPr lang="en-US" sz="1400" dirty="0"/>
              <a:t>UK ‘H21 Leeds Citygate’ project to generate H</a:t>
            </a:r>
            <a:r>
              <a:rPr lang="en-US" sz="1400" baseline="-25000" dirty="0"/>
              <a:t>2</a:t>
            </a:r>
            <a:r>
              <a:rPr lang="en-US" sz="1400" dirty="0"/>
              <a:t> that will be compressed into gas distribution grid</a:t>
            </a:r>
          </a:p>
        </p:txBody>
      </p:sp>
      <p:sp>
        <p:nvSpPr>
          <p:cNvPr id="22" name="Content Placeholder 3">
            <a:extLst>
              <a:ext uri="{FF2B5EF4-FFF2-40B4-BE49-F238E27FC236}">
                <a16:creationId xmlns:a16="http://schemas.microsoft.com/office/drawing/2014/main" id="{664B98FF-E09D-4A55-8F5C-BB6F742F095C}"/>
              </a:ext>
            </a:extLst>
          </p:cNvPr>
          <p:cNvSpPr txBox="1">
            <a:spLocks/>
          </p:cNvSpPr>
          <p:nvPr/>
        </p:nvSpPr>
        <p:spPr bwMode="gray">
          <a:xfrm>
            <a:off x="9018625" y="2917820"/>
            <a:ext cx="2834640" cy="2995617"/>
          </a:xfrm>
          <a:prstGeom prst="rect">
            <a:avLst/>
          </a:prstGeom>
        </p:spPr>
        <p:txBody>
          <a:bodyPr lIns="108000" tIns="108000" rIns="108000" bIns="108000" anchor="t" anchorCtr="0"/>
          <a:lstStyle>
            <a:lvl1pPr marL="0" indent="0" algn="l" defTabSz="914491" rtl="0" eaLnBrk="1" latinLnBrk="0" hangingPunct="1">
              <a:spcBef>
                <a:spcPts val="600"/>
              </a:spcBef>
              <a:buFont typeface="Arial" panose="020B0604020202020204" pitchFamily="34" charset="0"/>
              <a:buNone/>
              <a:defRPr lang="en-US" sz="1800" b="1" kern="1200" dirty="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300"/>
              </a:spcBef>
            </a:pPr>
            <a:r>
              <a:rPr lang="en-US" sz="1400" b="1" dirty="0"/>
              <a:t>France</a:t>
            </a:r>
            <a:r>
              <a:rPr lang="en-US" sz="1400" dirty="0"/>
              <a:t> to inject H</a:t>
            </a:r>
            <a:r>
              <a:rPr lang="en-US" sz="1400" baseline="-25000" dirty="0"/>
              <a:t>2</a:t>
            </a:r>
            <a:r>
              <a:rPr lang="en-US" sz="1400" dirty="0"/>
              <a:t> at 2-6% concentrations to gas grid</a:t>
            </a:r>
          </a:p>
          <a:p>
            <a:pPr lvl="1">
              <a:spcBef>
                <a:spcPts val="300"/>
              </a:spcBef>
            </a:pPr>
            <a:r>
              <a:rPr lang="en-US" sz="1400" b="1" dirty="0"/>
              <a:t>Netherlands</a:t>
            </a:r>
            <a:r>
              <a:rPr lang="en-US" sz="1400" dirty="0"/>
              <a:t> to use H</a:t>
            </a:r>
            <a:r>
              <a:rPr lang="en-US" sz="1400" baseline="-25000" dirty="0"/>
              <a:t>2</a:t>
            </a:r>
            <a:r>
              <a:rPr lang="en-US" sz="1400" dirty="0"/>
              <a:t> to fire </a:t>
            </a:r>
            <a:br>
              <a:rPr lang="en-US" sz="1400" dirty="0"/>
            </a:br>
            <a:r>
              <a:rPr lang="en-US" sz="1400" dirty="0"/>
              <a:t>gas turbine power station</a:t>
            </a:r>
          </a:p>
          <a:p>
            <a:pPr lvl="1">
              <a:spcBef>
                <a:spcPts val="300"/>
              </a:spcBef>
            </a:pPr>
            <a:r>
              <a:rPr lang="en-US" sz="1400" dirty="0"/>
              <a:t>H</a:t>
            </a:r>
            <a:r>
              <a:rPr lang="en-US" sz="1400" baseline="-25000" dirty="0"/>
              <a:t>2</a:t>
            </a:r>
            <a:r>
              <a:rPr lang="en-US" sz="1400" dirty="0"/>
              <a:t> produced using modern electrolysis technologies</a:t>
            </a:r>
          </a:p>
          <a:p>
            <a:pPr lvl="1">
              <a:spcBef>
                <a:spcPts val="300"/>
              </a:spcBef>
            </a:pPr>
            <a:r>
              <a:rPr lang="en-US" sz="1400" dirty="0"/>
              <a:t>Also possible to crack ammonia to produce H</a:t>
            </a:r>
            <a:r>
              <a:rPr lang="en-US" sz="1400" baseline="-25000" dirty="0"/>
              <a:t>2</a:t>
            </a:r>
          </a:p>
        </p:txBody>
      </p:sp>
      <p:sp>
        <p:nvSpPr>
          <p:cNvPr id="23" name="Content Placeholder 3">
            <a:extLst>
              <a:ext uri="{FF2B5EF4-FFF2-40B4-BE49-F238E27FC236}">
                <a16:creationId xmlns:a16="http://schemas.microsoft.com/office/drawing/2014/main" id="{E50CAC0C-B50B-4D89-A54A-83A9487145C8}"/>
              </a:ext>
            </a:extLst>
          </p:cNvPr>
          <p:cNvSpPr txBox="1">
            <a:spLocks/>
          </p:cNvSpPr>
          <p:nvPr/>
        </p:nvSpPr>
        <p:spPr bwMode="gray">
          <a:xfrm>
            <a:off x="9018625" y="1931197"/>
            <a:ext cx="2834640" cy="720000"/>
          </a:xfrm>
          <a:prstGeom prst="rect">
            <a:avLst/>
          </a:prstGeom>
        </p:spPr>
        <p:txBody>
          <a:bodyPr lIns="0" tIns="0" rIns="0" bIns="0" anchor="t" anchorCtr="0"/>
          <a:lstStyle>
            <a:lvl1pPr marL="0" indent="0" algn="l" defTabSz="914491" rtl="0" eaLnBrk="1" latinLnBrk="0" hangingPunct="1">
              <a:spcBef>
                <a:spcPts val="600"/>
              </a:spcBef>
              <a:buFont typeface="Arial" panose="020B0604020202020204" pitchFamily="34" charset="0"/>
              <a:buNone/>
              <a:defRPr lang="en-US" sz="1800" b="1" kern="1200" dirty="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a:spcBef>
                <a:spcPts val="0"/>
              </a:spcBef>
            </a:pPr>
            <a:r>
              <a:rPr lang="en-US" sz="1400" dirty="0"/>
              <a:t>Other </a:t>
            </a:r>
            <a:br>
              <a:rPr lang="en-US" sz="1400" dirty="0"/>
            </a:br>
            <a:r>
              <a:rPr lang="en-US" sz="1400" dirty="0"/>
              <a:t>developments</a:t>
            </a:r>
          </a:p>
        </p:txBody>
      </p:sp>
      <p:sp>
        <p:nvSpPr>
          <p:cNvPr id="39" name="TextBox 38">
            <a:extLst>
              <a:ext uri="{FF2B5EF4-FFF2-40B4-BE49-F238E27FC236}">
                <a16:creationId xmlns:a16="http://schemas.microsoft.com/office/drawing/2014/main" id="{1709C060-92B5-4741-ADF8-A4D6EE156332}"/>
              </a:ext>
            </a:extLst>
          </p:cNvPr>
          <p:cNvSpPr txBox="1">
            <a:spLocks/>
          </p:cNvSpPr>
          <p:nvPr/>
        </p:nvSpPr>
        <p:spPr bwMode="gray">
          <a:xfrm>
            <a:off x="333264" y="2922900"/>
            <a:ext cx="5091590" cy="2994391"/>
          </a:xfrm>
          <a:custGeom>
            <a:avLst/>
            <a:gdLst>
              <a:gd name="connsiteX0" fmla="*/ 156786 w 5091590"/>
              <a:gd name="connsiteY0" fmla="*/ 0 h 2994391"/>
              <a:gd name="connsiteX1" fmla="*/ 2860204 w 5091590"/>
              <a:gd name="connsiteY1" fmla="*/ 0 h 2994391"/>
              <a:gd name="connsiteX2" fmla="*/ 2860204 w 5091590"/>
              <a:gd name="connsiteY2" fmla="*/ 59517 h 2994391"/>
              <a:gd name="connsiteX3" fmla="*/ 3157384 w 5091590"/>
              <a:gd name="connsiteY3" fmla="*/ 59517 h 2994391"/>
              <a:gd name="connsiteX4" fmla="*/ 3157384 w 5091590"/>
              <a:gd name="connsiteY4" fmla="*/ 0 h 2994391"/>
              <a:gd name="connsiteX5" fmla="*/ 4934804 w 5091590"/>
              <a:gd name="connsiteY5" fmla="*/ 0 h 2994391"/>
              <a:gd name="connsiteX6" fmla="*/ 5091590 w 5091590"/>
              <a:gd name="connsiteY6" fmla="*/ 156786 h 2994391"/>
              <a:gd name="connsiteX7" fmla="*/ 5091590 w 5091590"/>
              <a:gd name="connsiteY7" fmla="*/ 2837605 h 2994391"/>
              <a:gd name="connsiteX8" fmla="*/ 4934804 w 5091590"/>
              <a:gd name="connsiteY8" fmla="*/ 2994391 h 2994391"/>
              <a:gd name="connsiteX9" fmla="*/ 156786 w 5091590"/>
              <a:gd name="connsiteY9" fmla="*/ 2994391 h 2994391"/>
              <a:gd name="connsiteX10" fmla="*/ 0 w 5091590"/>
              <a:gd name="connsiteY10" fmla="*/ 2837605 h 2994391"/>
              <a:gd name="connsiteX11" fmla="*/ 0 w 5091590"/>
              <a:gd name="connsiteY11" fmla="*/ 156786 h 2994391"/>
              <a:gd name="connsiteX12" fmla="*/ 156786 w 5091590"/>
              <a:gd name="connsiteY12" fmla="*/ 0 h 2994391"/>
              <a:gd name="connsiteX0" fmla="*/ 156786 w 5091590"/>
              <a:gd name="connsiteY0" fmla="*/ 0 h 2994391"/>
              <a:gd name="connsiteX1" fmla="*/ 2860204 w 5091590"/>
              <a:gd name="connsiteY1" fmla="*/ 0 h 2994391"/>
              <a:gd name="connsiteX2" fmla="*/ 3157384 w 5091590"/>
              <a:gd name="connsiteY2" fmla="*/ 59517 h 2994391"/>
              <a:gd name="connsiteX3" fmla="*/ 3157384 w 5091590"/>
              <a:gd name="connsiteY3" fmla="*/ 0 h 2994391"/>
              <a:gd name="connsiteX4" fmla="*/ 4934804 w 5091590"/>
              <a:gd name="connsiteY4" fmla="*/ 0 h 2994391"/>
              <a:gd name="connsiteX5" fmla="*/ 5091590 w 5091590"/>
              <a:gd name="connsiteY5" fmla="*/ 156786 h 2994391"/>
              <a:gd name="connsiteX6" fmla="*/ 5091590 w 5091590"/>
              <a:gd name="connsiteY6" fmla="*/ 2837605 h 2994391"/>
              <a:gd name="connsiteX7" fmla="*/ 4934804 w 5091590"/>
              <a:gd name="connsiteY7" fmla="*/ 2994391 h 2994391"/>
              <a:gd name="connsiteX8" fmla="*/ 156786 w 5091590"/>
              <a:gd name="connsiteY8" fmla="*/ 2994391 h 2994391"/>
              <a:gd name="connsiteX9" fmla="*/ 0 w 5091590"/>
              <a:gd name="connsiteY9" fmla="*/ 2837605 h 2994391"/>
              <a:gd name="connsiteX10" fmla="*/ 0 w 5091590"/>
              <a:gd name="connsiteY10" fmla="*/ 156786 h 2994391"/>
              <a:gd name="connsiteX11" fmla="*/ 156786 w 5091590"/>
              <a:gd name="connsiteY11" fmla="*/ 0 h 2994391"/>
              <a:gd name="connsiteX0" fmla="*/ 3157384 w 5091590"/>
              <a:gd name="connsiteY0" fmla="*/ 59517 h 2994391"/>
              <a:gd name="connsiteX1" fmla="*/ 3157384 w 5091590"/>
              <a:gd name="connsiteY1" fmla="*/ 0 h 2994391"/>
              <a:gd name="connsiteX2" fmla="*/ 4934804 w 5091590"/>
              <a:gd name="connsiteY2" fmla="*/ 0 h 2994391"/>
              <a:gd name="connsiteX3" fmla="*/ 5091590 w 5091590"/>
              <a:gd name="connsiteY3" fmla="*/ 156786 h 2994391"/>
              <a:gd name="connsiteX4" fmla="*/ 5091590 w 5091590"/>
              <a:gd name="connsiteY4" fmla="*/ 2837605 h 2994391"/>
              <a:gd name="connsiteX5" fmla="*/ 4934804 w 5091590"/>
              <a:gd name="connsiteY5" fmla="*/ 2994391 h 2994391"/>
              <a:gd name="connsiteX6" fmla="*/ 156786 w 5091590"/>
              <a:gd name="connsiteY6" fmla="*/ 2994391 h 2994391"/>
              <a:gd name="connsiteX7" fmla="*/ 0 w 5091590"/>
              <a:gd name="connsiteY7" fmla="*/ 2837605 h 2994391"/>
              <a:gd name="connsiteX8" fmla="*/ 0 w 5091590"/>
              <a:gd name="connsiteY8" fmla="*/ 156786 h 2994391"/>
              <a:gd name="connsiteX9" fmla="*/ 156786 w 5091590"/>
              <a:gd name="connsiteY9" fmla="*/ 0 h 2994391"/>
              <a:gd name="connsiteX10" fmla="*/ 2860204 w 5091590"/>
              <a:gd name="connsiteY10" fmla="*/ 0 h 2994391"/>
              <a:gd name="connsiteX11" fmla="*/ 3248824 w 5091590"/>
              <a:gd name="connsiteY11" fmla="*/ 150957 h 2994391"/>
              <a:gd name="connsiteX0" fmla="*/ 3157384 w 5091590"/>
              <a:gd name="connsiteY0" fmla="*/ 59517 h 2994391"/>
              <a:gd name="connsiteX1" fmla="*/ 3157384 w 5091590"/>
              <a:gd name="connsiteY1" fmla="*/ 0 h 2994391"/>
              <a:gd name="connsiteX2" fmla="*/ 4934804 w 5091590"/>
              <a:gd name="connsiteY2" fmla="*/ 0 h 2994391"/>
              <a:gd name="connsiteX3" fmla="*/ 5091590 w 5091590"/>
              <a:gd name="connsiteY3" fmla="*/ 156786 h 2994391"/>
              <a:gd name="connsiteX4" fmla="*/ 5091590 w 5091590"/>
              <a:gd name="connsiteY4" fmla="*/ 2837605 h 2994391"/>
              <a:gd name="connsiteX5" fmla="*/ 4934804 w 5091590"/>
              <a:gd name="connsiteY5" fmla="*/ 2994391 h 2994391"/>
              <a:gd name="connsiteX6" fmla="*/ 156786 w 5091590"/>
              <a:gd name="connsiteY6" fmla="*/ 2994391 h 2994391"/>
              <a:gd name="connsiteX7" fmla="*/ 0 w 5091590"/>
              <a:gd name="connsiteY7" fmla="*/ 2837605 h 2994391"/>
              <a:gd name="connsiteX8" fmla="*/ 0 w 5091590"/>
              <a:gd name="connsiteY8" fmla="*/ 156786 h 2994391"/>
              <a:gd name="connsiteX9" fmla="*/ 156786 w 5091590"/>
              <a:gd name="connsiteY9" fmla="*/ 0 h 2994391"/>
              <a:gd name="connsiteX10" fmla="*/ 2860204 w 5091590"/>
              <a:gd name="connsiteY10" fmla="*/ 0 h 2994391"/>
              <a:gd name="connsiteX0" fmla="*/ 3157384 w 5091590"/>
              <a:gd name="connsiteY0" fmla="*/ 0 h 2994391"/>
              <a:gd name="connsiteX1" fmla="*/ 4934804 w 5091590"/>
              <a:gd name="connsiteY1" fmla="*/ 0 h 2994391"/>
              <a:gd name="connsiteX2" fmla="*/ 5091590 w 5091590"/>
              <a:gd name="connsiteY2" fmla="*/ 156786 h 2994391"/>
              <a:gd name="connsiteX3" fmla="*/ 5091590 w 5091590"/>
              <a:gd name="connsiteY3" fmla="*/ 2837605 h 2994391"/>
              <a:gd name="connsiteX4" fmla="*/ 4934804 w 5091590"/>
              <a:gd name="connsiteY4" fmla="*/ 2994391 h 2994391"/>
              <a:gd name="connsiteX5" fmla="*/ 156786 w 5091590"/>
              <a:gd name="connsiteY5" fmla="*/ 2994391 h 2994391"/>
              <a:gd name="connsiteX6" fmla="*/ 0 w 5091590"/>
              <a:gd name="connsiteY6" fmla="*/ 2837605 h 2994391"/>
              <a:gd name="connsiteX7" fmla="*/ 0 w 5091590"/>
              <a:gd name="connsiteY7" fmla="*/ 156786 h 2994391"/>
              <a:gd name="connsiteX8" fmla="*/ 156786 w 5091590"/>
              <a:gd name="connsiteY8" fmla="*/ 0 h 2994391"/>
              <a:gd name="connsiteX9" fmla="*/ 2860204 w 5091590"/>
              <a:gd name="connsiteY9" fmla="*/ 0 h 299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91590" h="2994391">
                <a:moveTo>
                  <a:pt x="3157384" y="0"/>
                </a:moveTo>
                <a:lnTo>
                  <a:pt x="4934804" y="0"/>
                </a:lnTo>
                <a:cubicBezTo>
                  <a:pt x="5021395" y="0"/>
                  <a:pt x="5091590" y="70195"/>
                  <a:pt x="5091590" y="156786"/>
                </a:cubicBezTo>
                <a:lnTo>
                  <a:pt x="5091590" y="2837605"/>
                </a:lnTo>
                <a:cubicBezTo>
                  <a:pt x="5091590" y="2924196"/>
                  <a:pt x="5021395" y="2994391"/>
                  <a:pt x="4934804" y="2994391"/>
                </a:cubicBezTo>
                <a:lnTo>
                  <a:pt x="156786" y="2994391"/>
                </a:lnTo>
                <a:cubicBezTo>
                  <a:pt x="70195" y="2994391"/>
                  <a:pt x="0" y="2924196"/>
                  <a:pt x="0" y="2837605"/>
                </a:cubicBezTo>
                <a:lnTo>
                  <a:pt x="0" y="156786"/>
                </a:lnTo>
                <a:cubicBezTo>
                  <a:pt x="0" y="70195"/>
                  <a:pt x="70195" y="0"/>
                  <a:pt x="156786" y="0"/>
                </a:cubicBezTo>
                <a:lnTo>
                  <a:pt x="2860204" y="0"/>
                </a:lnTo>
              </a:path>
            </a:pathLst>
          </a:custGeom>
          <a:ln w="19050" cap="rnd">
            <a:solidFill>
              <a:schemeClr val="bg2"/>
            </a:solidFill>
          </a:ln>
        </p:spPr>
        <p:txBody>
          <a:bodyPr wrap="square" lIns="108000" tIns="72000" rIns="108000" bIns="72000" anchor="t" anchorCtr="0">
            <a:noAutofit/>
          </a:bodyPr>
          <a:lstStyle>
            <a:lvl1pPr marL="0" indent="0" algn="l" defTabSz="914491" rtl="0" eaLnBrk="1" latinLnBrk="0" hangingPunct="1">
              <a:spcBef>
                <a:spcPts val="600"/>
              </a:spcBef>
              <a:buFont typeface="Arial" panose="020B0604020202020204" pitchFamily="34" charset="0"/>
              <a:buNone/>
              <a:defRPr lang="en-US" sz="1800" b="1" kern="1200" dirty="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300"/>
              </a:spcBef>
            </a:pPr>
            <a:endParaRPr lang="en-US" sz="1400" dirty="0"/>
          </a:p>
        </p:txBody>
      </p:sp>
      <p:sp>
        <p:nvSpPr>
          <p:cNvPr id="41" name="TextBox 40">
            <a:extLst>
              <a:ext uri="{FF2B5EF4-FFF2-40B4-BE49-F238E27FC236}">
                <a16:creationId xmlns:a16="http://schemas.microsoft.com/office/drawing/2014/main" id="{EDACC1A5-3D18-42CB-AC7A-F1CBEA0763BC}"/>
              </a:ext>
            </a:extLst>
          </p:cNvPr>
          <p:cNvSpPr txBox="1">
            <a:spLocks/>
          </p:cNvSpPr>
          <p:nvPr/>
        </p:nvSpPr>
        <p:spPr bwMode="gray">
          <a:xfrm>
            <a:off x="5804419" y="2922900"/>
            <a:ext cx="2834640" cy="2995617"/>
          </a:xfrm>
          <a:custGeom>
            <a:avLst/>
            <a:gdLst>
              <a:gd name="connsiteX0" fmla="*/ 185612 w 2834640"/>
              <a:gd name="connsiteY0" fmla="*/ 0 h 2995617"/>
              <a:gd name="connsiteX1" fmla="*/ 1413171 w 2834640"/>
              <a:gd name="connsiteY1" fmla="*/ 0 h 2995617"/>
              <a:gd name="connsiteX2" fmla="*/ 1413171 w 2834640"/>
              <a:gd name="connsiteY2" fmla="*/ 60743 h 2995617"/>
              <a:gd name="connsiteX3" fmla="*/ 1710351 w 2834640"/>
              <a:gd name="connsiteY3" fmla="*/ 60743 h 2995617"/>
              <a:gd name="connsiteX4" fmla="*/ 1710351 w 2834640"/>
              <a:gd name="connsiteY4" fmla="*/ 0 h 2995617"/>
              <a:gd name="connsiteX5" fmla="*/ 2649028 w 2834640"/>
              <a:gd name="connsiteY5" fmla="*/ 0 h 2995617"/>
              <a:gd name="connsiteX6" fmla="*/ 2834640 w 2834640"/>
              <a:gd name="connsiteY6" fmla="*/ 185612 h 2995617"/>
              <a:gd name="connsiteX7" fmla="*/ 2834640 w 2834640"/>
              <a:gd name="connsiteY7" fmla="*/ 2810005 h 2995617"/>
              <a:gd name="connsiteX8" fmla="*/ 2649028 w 2834640"/>
              <a:gd name="connsiteY8" fmla="*/ 2995617 h 2995617"/>
              <a:gd name="connsiteX9" fmla="*/ 185612 w 2834640"/>
              <a:gd name="connsiteY9" fmla="*/ 2995617 h 2995617"/>
              <a:gd name="connsiteX10" fmla="*/ 0 w 2834640"/>
              <a:gd name="connsiteY10" fmla="*/ 2810005 h 2995617"/>
              <a:gd name="connsiteX11" fmla="*/ 0 w 2834640"/>
              <a:gd name="connsiteY11" fmla="*/ 185612 h 2995617"/>
              <a:gd name="connsiteX12" fmla="*/ 185612 w 2834640"/>
              <a:gd name="connsiteY12" fmla="*/ 0 h 2995617"/>
              <a:gd name="connsiteX0" fmla="*/ 1710351 w 2834640"/>
              <a:gd name="connsiteY0" fmla="*/ 60743 h 2995617"/>
              <a:gd name="connsiteX1" fmla="*/ 1710351 w 2834640"/>
              <a:gd name="connsiteY1" fmla="*/ 0 h 2995617"/>
              <a:gd name="connsiteX2" fmla="*/ 2649028 w 2834640"/>
              <a:gd name="connsiteY2" fmla="*/ 0 h 2995617"/>
              <a:gd name="connsiteX3" fmla="*/ 2834640 w 2834640"/>
              <a:gd name="connsiteY3" fmla="*/ 185612 h 2995617"/>
              <a:gd name="connsiteX4" fmla="*/ 2834640 w 2834640"/>
              <a:gd name="connsiteY4" fmla="*/ 2810005 h 2995617"/>
              <a:gd name="connsiteX5" fmla="*/ 2649028 w 2834640"/>
              <a:gd name="connsiteY5" fmla="*/ 2995617 h 2995617"/>
              <a:gd name="connsiteX6" fmla="*/ 185612 w 2834640"/>
              <a:gd name="connsiteY6" fmla="*/ 2995617 h 2995617"/>
              <a:gd name="connsiteX7" fmla="*/ 0 w 2834640"/>
              <a:gd name="connsiteY7" fmla="*/ 2810005 h 2995617"/>
              <a:gd name="connsiteX8" fmla="*/ 0 w 2834640"/>
              <a:gd name="connsiteY8" fmla="*/ 185612 h 2995617"/>
              <a:gd name="connsiteX9" fmla="*/ 185612 w 2834640"/>
              <a:gd name="connsiteY9" fmla="*/ 0 h 2995617"/>
              <a:gd name="connsiteX10" fmla="*/ 1413171 w 2834640"/>
              <a:gd name="connsiteY10" fmla="*/ 0 h 2995617"/>
              <a:gd name="connsiteX11" fmla="*/ 1413171 w 2834640"/>
              <a:gd name="connsiteY11" fmla="*/ 60743 h 2995617"/>
              <a:gd name="connsiteX12" fmla="*/ 1801791 w 2834640"/>
              <a:gd name="connsiteY12" fmla="*/ 152183 h 2995617"/>
              <a:gd name="connsiteX0" fmla="*/ 1710351 w 2834640"/>
              <a:gd name="connsiteY0" fmla="*/ 60743 h 2995617"/>
              <a:gd name="connsiteX1" fmla="*/ 1710351 w 2834640"/>
              <a:gd name="connsiteY1" fmla="*/ 0 h 2995617"/>
              <a:gd name="connsiteX2" fmla="*/ 2649028 w 2834640"/>
              <a:gd name="connsiteY2" fmla="*/ 0 h 2995617"/>
              <a:gd name="connsiteX3" fmla="*/ 2834640 w 2834640"/>
              <a:gd name="connsiteY3" fmla="*/ 185612 h 2995617"/>
              <a:gd name="connsiteX4" fmla="*/ 2834640 w 2834640"/>
              <a:gd name="connsiteY4" fmla="*/ 2810005 h 2995617"/>
              <a:gd name="connsiteX5" fmla="*/ 2649028 w 2834640"/>
              <a:gd name="connsiteY5" fmla="*/ 2995617 h 2995617"/>
              <a:gd name="connsiteX6" fmla="*/ 185612 w 2834640"/>
              <a:gd name="connsiteY6" fmla="*/ 2995617 h 2995617"/>
              <a:gd name="connsiteX7" fmla="*/ 0 w 2834640"/>
              <a:gd name="connsiteY7" fmla="*/ 2810005 h 2995617"/>
              <a:gd name="connsiteX8" fmla="*/ 0 w 2834640"/>
              <a:gd name="connsiteY8" fmla="*/ 185612 h 2995617"/>
              <a:gd name="connsiteX9" fmla="*/ 185612 w 2834640"/>
              <a:gd name="connsiteY9" fmla="*/ 0 h 2995617"/>
              <a:gd name="connsiteX10" fmla="*/ 1413171 w 2834640"/>
              <a:gd name="connsiteY10" fmla="*/ 0 h 2995617"/>
              <a:gd name="connsiteX11" fmla="*/ 1413171 w 2834640"/>
              <a:gd name="connsiteY11" fmla="*/ 60743 h 2995617"/>
              <a:gd name="connsiteX0" fmla="*/ 1710351 w 2834640"/>
              <a:gd name="connsiteY0" fmla="*/ 0 h 2995617"/>
              <a:gd name="connsiteX1" fmla="*/ 2649028 w 2834640"/>
              <a:gd name="connsiteY1" fmla="*/ 0 h 2995617"/>
              <a:gd name="connsiteX2" fmla="*/ 2834640 w 2834640"/>
              <a:gd name="connsiteY2" fmla="*/ 185612 h 2995617"/>
              <a:gd name="connsiteX3" fmla="*/ 2834640 w 2834640"/>
              <a:gd name="connsiteY3" fmla="*/ 2810005 h 2995617"/>
              <a:gd name="connsiteX4" fmla="*/ 2649028 w 2834640"/>
              <a:gd name="connsiteY4" fmla="*/ 2995617 h 2995617"/>
              <a:gd name="connsiteX5" fmla="*/ 185612 w 2834640"/>
              <a:gd name="connsiteY5" fmla="*/ 2995617 h 2995617"/>
              <a:gd name="connsiteX6" fmla="*/ 0 w 2834640"/>
              <a:gd name="connsiteY6" fmla="*/ 2810005 h 2995617"/>
              <a:gd name="connsiteX7" fmla="*/ 0 w 2834640"/>
              <a:gd name="connsiteY7" fmla="*/ 185612 h 2995617"/>
              <a:gd name="connsiteX8" fmla="*/ 185612 w 2834640"/>
              <a:gd name="connsiteY8" fmla="*/ 0 h 2995617"/>
              <a:gd name="connsiteX9" fmla="*/ 1413171 w 2834640"/>
              <a:gd name="connsiteY9" fmla="*/ 0 h 2995617"/>
              <a:gd name="connsiteX10" fmla="*/ 1413171 w 2834640"/>
              <a:gd name="connsiteY10" fmla="*/ 60743 h 2995617"/>
              <a:gd name="connsiteX0" fmla="*/ 1710351 w 2834640"/>
              <a:gd name="connsiteY0" fmla="*/ 0 h 2995617"/>
              <a:gd name="connsiteX1" fmla="*/ 2649028 w 2834640"/>
              <a:gd name="connsiteY1" fmla="*/ 0 h 2995617"/>
              <a:gd name="connsiteX2" fmla="*/ 2834640 w 2834640"/>
              <a:gd name="connsiteY2" fmla="*/ 185612 h 2995617"/>
              <a:gd name="connsiteX3" fmla="*/ 2834640 w 2834640"/>
              <a:gd name="connsiteY3" fmla="*/ 2810005 h 2995617"/>
              <a:gd name="connsiteX4" fmla="*/ 2649028 w 2834640"/>
              <a:gd name="connsiteY4" fmla="*/ 2995617 h 2995617"/>
              <a:gd name="connsiteX5" fmla="*/ 185612 w 2834640"/>
              <a:gd name="connsiteY5" fmla="*/ 2995617 h 2995617"/>
              <a:gd name="connsiteX6" fmla="*/ 0 w 2834640"/>
              <a:gd name="connsiteY6" fmla="*/ 2810005 h 2995617"/>
              <a:gd name="connsiteX7" fmla="*/ 0 w 2834640"/>
              <a:gd name="connsiteY7" fmla="*/ 185612 h 2995617"/>
              <a:gd name="connsiteX8" fmla="*/ 185612 w 2834640"/>
              <a:gd name="connsiteY8" fmla="*/ 0 h 2995617"/>
              <a:gd name="connsiteX9" fmla="*/ 1413171 w 2834640"/>
              <a:gd name="connsiteY9" fmla="*/ 0 h 299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34640" h="2995617">
                <a:moveTo>
                  <a:pt x="1710351" y="0"/>
                </a:moveTo>
                <a:lnTo>
                  <a:pt x="2649028" y="0"/>
                </a:lnTo>
                <a:cubicBezTo>
                  <a:pt x="2751539" y="0"/>
                  <a:pt x="2834640" y="83101"/>
                  <a:pt x="2834640" y="185612"/>
                </a:cubicBezTo>
                <a:lnTo>
                  <a:pt x="2834640" y="2810005"/>
                </a:lnTo>
                <a:cubicBezTo>
                  <a:pt x="2834640" y="2912516"/>
                  <a:pt x="2751539" y="2995617"/>
                  <a:pt x="2649028" y="2995617"/>
                </a:cubicBezTo>
                <a:lnTo>
                  <a:pt x="185612" y="2995617"/>
                </a:lnTo>
                <a:cubicBezTo>
                  <a:pt x="83101" y="2995617"/>
                  <a:pt x="0" y="2912516"/>
                  <a:pt x="0" y="2810005"/>
                </a:cubicBezTo>
                <a:lnTo>
                  <a:pt x="0" y="185612"/>
                </a:lnTo>
                <a:cubicBezTo>
                  <a:pt x="0" y="83101"/>
                  <a:pt x="83101" y="0"/>
                  <a:pt x="185612" y="0"/>
                </a:cubicBezTo>
                <a:lnTo>
                  <a:pt x="1413171" y="0"/>
                </a:lnTo>
              </a:path>
            </a:pathLst>
          </a:custGeom>
          <a:ln w="19050" cap="rnd">
            <a:solidFill>
              <a:schemeClr val="bg2"/>
            </a:solidFill>
          </a:ln>
        </p:spPr>
        <p:txBody>
          <a:bodyPr wrap="square" lIns="108000" tIns="72000" rIns="108000" bIns="72000" anchor="t" anchorCtr="0">
            <a:noAutofit/>
          </a:bodyPr>
          <a:lstStyle>
            <a:lvl1pPr marL="0" indent="0" algn="l" defTabSz="914491" rtl="0" eaLnBrk="1" latinLnBrk="0" hangingPunct="1">
              <a:spcBef>
                <a:spcPts val="600"/>
              </a:spcBef>
              <a:buFont typeface="Arial" panose="020B0604020202020204" pitchFamily="34" charset="0"/>
              <a:buNone/>
              <a:defRPr lang="en-US" sz="1800" b="1" kern="1200" dirty="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300"/>
              </a:spcBef>
            </a:pPr>
            <a:endParaRPr lang="en-US" sz="1400" dirty="0"/>
          </a:p>
        </p:txBody>
      </p:sp>
      <p:sp>
        <p:nvSpPr>
          <p:cNvPr id="38" name="TextBox 37">
            <a:extLst>
              <a:ext uri="{FF2B5EF4-FFF2-40B4-BE49-F238E27FC236}">
                <a16:creationId xmlns:a16="http://schemas.microsoft.com/office/drawing/2014/main" id="{11F99C2E-E008-408A-B9C0-6BA05871347F}"/>
              </a:ext>
            </a:extLst>
          </p:cNvPr>
          <p:cNvSpPr txBox="1">
            <a:spLocks/>
          </p:cNvSpPr>
          <p:nvPr/>
        </p:nvSpPr>
        <p:spPr bwMode="gray">
          <a:xfrm>
            <a:off x="9018625" y="2922900"/>
            <a:ext cx="2834640" cy="2995617"/>
          </a:xfrm>
          <a:custGeom>
            <a:avLst/>
            <a:gdLst>
              <a:gd name="connsiteX0" fmla="*/ 185612 w 2834640"/>
              <a:gd name="connsiteY0" fmla="*/ 0 h 2995617"/>
              <a:gd name="connsiteX1" fmla="*/ 1198550 w 2834640"/>
              <a:gd name="connsiteY1" fmla="*/ 0 h 2995617"/>
              <a:gd name="connsiteX2" fmla="*/ 1198550 w 2834640"/>
              <a:gd name="connsiteY2" fmla="*/ 60743 h 2995617"/>
              <a:gd name="connsiteX3" fmla="*/ 1495730 w 2834640"/>
              <a:gd name="connsiteY3" fmla="*/ 60743 h 2995617"/>
              <a:gd name="connsiteX4" fmla="*/ 1495730 w 2834640"/>
              <a:gd name="connsiteY4" fmla="*/ 0 h 2995617"/>
              <a:gd name="connsiteX5" fmla="*/ 2649028 w 2834640"/>
              <a:gd name="connsiteY5" fmla="*/ 0 h 2995617"/>
              <a:gd name="connsiteX6" fmla="*/ 2834640 w 2834640"/>
              <a:gd name="connsiteY6" fmla="*/ 185612 h 2995617"/>
              <a:gd name="connsiteX7" fmla="*/ 2834640 w 2834640"/>
              <a:gd name="connsiteY7" fmla="*/ 2810005 h 2995617"/>
              <a:gd name="connsiteX8" fmla="*/ 2649028 w 2834640"/>
              <a:gd name="connsiteY8" fmla="*/ 2995617 h 2995617"/>
              <a:gd name="connsiteX9" fmla="*/ 185612 w 2834640"/>
              <a:gd name="connsiteY9" fmla="*/ 2995617 h 2995617"/>
              <a:gd name="connsiteX10" fmla="*/ 0 w 2834640"/>
              <a:gd name="connsiteY10" fmla="*/ 2810005 h 2995617"/>
              <a:gd name="connsiteX11" fmla="*/ 0 w 2834640"/>
              <a:gd name="connsiteY11" fmla="*/ 185612 h 2995617"/>
              <a:gd name="connsiteX12" fmla="*/ 185612 w 2834640"/>
              <a:gd name="connsiteY12" fmla="*/ 0 h 2995617"/>
              <a:gd name="connsiteX0" fmla="*/ 185612 w 2834640"/>
              <a:gd name="connsiteY0" fmla="*/ 0 h 2995617"/>
              <a:gd name="connsiteX1" fmla="*/ 1198550 w 2834640"/>
              <a:gd name="connsiteY1" fmla="*/ 0 h 2995617"/>
              <a:gd name="connsiteX2" fmla="*/ 1198550 w 2834640"/>
              <a:gd name="connsiteY2" fmla="*/ 60743 h 2995617"/>
              <a:gd name="connsiteX3" fmla="*/ 1495730 w 2834640"/>
              <a:gd name="connsiteY3" fmla="*/ 0 h 2995617"/>
              <a:gd name="connsiteX4" fmla="*/ 2649028 w 2834640"/>
              <a:gd name="connsiteY4" fmla="*/ 0 h 2995617"/>
              <a:gd name="connsiteX5" fmla="*/ 2834640 w 2834640"/>
              <a:gd name="connsiteY5" fmla="*/ 185612 h 2995617"/>
              <a:gd name="connsiteX6" fmla="*/ 2834640 w 2834640"/>
              <a:gd name="connsiteY6" fmla="*/ 2810005 h 2995617"/>
              <a:gd name="connsiteX7" fmla="*/ 2649028 w 2834640"/>
              <a:gd name="connsiteY7" fmla="*/ 2995617 h 2995617"/>
              <a:gd name="connsiteX8" fmla="*/ 185612 w 2834640"/>
              <a:gd name="connsiteY8" fmla="*/ 2995617 h 2995617"/>
              <a:gd name="connsiteX9" fmla="*/ 0 w 2834640"/>
              <a:gd name="connsiteY9" fmla="*/ 2810005 h 2995617"/>
              <a:gd name="connsiteX10" fmla="*/ 0 w 2834640"/>
              <a:gd name="connsiteY10" fmla="*/ 185612 h 2995617"/>
              <a:gd name="connsiteX11" fmla="*/ 185612 w 2834640"/>
              <a:gd name="connsiteY11" fmla="*/ 0 h 2995617"/>
              <a:gd name="connsiteX0" fmla="*/ 1198550 w 2834640"/>
              <a:gd name="connsiteY0" fmla="*/ 60743 h 2995617"/>
              <a:gd name="connsiteX1" fmla="*/ 1495730 w 2834640"/>
              <a:gd name="connsiteY1" fmla="*/ 0 h 2995617"/>
              <a:gd name="connsiteX2" fmla="*/ 2649028 w 2834640"/>
              <a:gd name="connsiteY2" fmla="*/ 0 h 2995617"/>
              <a:gd name="connsiteX3" fmla="*/ 2834640 w 2834640"/>
              <a:gd name="connsiteY3" fmla="*/ 185612 h 2995617"/>
              <a:gd name="connsiteX4" fmla="*/ 2834640 w 2834640"/>
              <a:gd name="connsiteY4" fmla="*/ 2810005 h 2995617"/>
              <a:gd name="connsiteX5" fmla="*/ 2649028 w 2834640"/>
              <a:gd name="connsiteY5" fmla="*/ 2995617 h 2995617"/>
              <a:gd name="connsiteX6" fmla="*/ 185612 w 2834640"/>
              <a:gd name="connsiteY6" fmla="*/ 2995617 h 2995617"/>
              <a:gd name="connsiteX7" fmla="*/ 0 w 2834640"/>
              <a:gd name="connsiteY7" fmla="*/ 2810005 h 2995617"/>
              <a:gd name="connsiteX8" fmla="*/ 0 w 2834640"/>
              <a:gd name="connsiteY8" fmla="*/ 185612 h 2995617"/>
              <a:gd name="connsiteX9" fmla="*/ 185612 w 2834640"/>
              <a:gd name="connsiteY9" fmla="*/ 0 h 2995617"/>
              <a:gd name="connsiteX10" fmla="*/ 1198550 w 2834640"/>
              <a:gd name="connsiteY10" fmla="*/ 0 h 2995617"/>
              <a:gd name="connsiteX11" fmla="*/ 1289990 w 2834640"/>
              <a:gd name="connsiteY11" fmla="*/ 152183 h 2995617"/>
              <a:gd name="connsiteX0" fmla="*/ 1495730 w 2834640"/>
              <a:gd name="connsiteY0" fmla="*/ 0 h 2995617"/>
              <a:gd name="connsiteX1" fmla="*/ 2649028 w 2834640"/>
              <a:gd name="connsiteY1" fmla="*/ 0 h 2995617"/>
              <a:gd name="connsiteX2" fmla="*/ 2834640 w 2834640"/>
              <a:gd name="connsiteY2" fmla="*/ 185612 h 2995617"/>
              <a:gd name="connsiteX3" fmla="*/ 2834640 w 2834640"/>
              <a:gd name="connsiteY3" fmla="*/ 2810005 h 2995617"/>
              <a:gd name="connsiteX4" fmla="*/ 2649028 w 2834640"/>
              <a:gd name="connsiteY4" fmla="*/ 2995617 h 2995617"/>
              <a:gd name="connsiteX5" fmla="*/ 185612 w 2834640"/>
              <a:gd name="connsiteY5" fmla="*/ 2995617 h 2995617"/>
              <a:gd name="connsiteX6" fmla="*/ 0 w 2834640"/>
              <a:gd name="connsiteY6" fmla="*/ 2810005 h 2995617"/>
              <a:gd name="connsiteX7" fmla="*/ 0 w 2834640"/>
              <a:gd name="connsiteY7" fmla="*/ 185612 h 2995617"/>
              <a:gd name="connsiteX8" fmla="*/ 185612 w 2834640"/>
              <a:gd name="connsiteY8" fmla="*/ 0 h 2995617"/>
              <a:gd name="connsiteX9" fmla="*/ 1198550 w 2834640"/>
              <a:gd name="connsiteY9" fmla="*/ 0 h 2995617"/>
              <a:gd name="connsiteX10" fmla="*/ 1289990 w 2834640"/>
              <a:gd name="connsiteY10" fmla="*/ 152183 h 2995617"/>
              <a:gd name="connsiteX0" fmla="*/ 1495730 w 2834640"/>
              <a:gd name="connsiteY0" fmla="*/ 0 h 2995617"/>
              <a:gd name="connsiteX1" fmla="*/ 2649028 w 2834640"/>
              <a:gd name="connsiteY1" fmla="*/ 0 h 2995617"/>
              <a:gd name="connsiteX2" fmla="*/ 2834640 w 2834640"/>
              <a:gd name="connsiteY2" fmla="*/ 185612 h 2995617"/>
              <a:gd name="connsiteX3" fmla="*/ 2834640 w 2834640"/>
              <a:gd name="connsiteY3" fmla="*/ 2810005 h 2995617"/>
              <a:gd name="connsiteX4" fmla="*/ 2649028 w 2834640"/>
              <a:gd name="connsiteY4" fmla="*/ 2995617 h 2995617"/>
              <a:gd name="connsiteX5" fmla="*/ 185612 w 2834640"/>
              <a:gd name="connsiteY5" fmla="*/ 2995617 h 2995617"/>
              <a:gd name="connsiteX6" fmla="*/ 0 w 2834640"/>
              <a:gd name="connsiteY6" fmla="*/ 2810005 h 2995617"/>
              <a:gd name="connsiteX7" fmla="*/ 0 w 2834640"/>
              <a:gd name="connsiteY7" fmla="*/ 185612 h 2995617"/>
              <a:gd name="connsiteX8" fmla="*/ 185612 w 2834640"/>
              <a:gd name="connsiteY8" fmla="*/ 0 h 2995617"/>
              <a:gd name="connsiteX9" fmla="*/ 1198550 w 2834640"/>
              <a:gd name="connsiteY9" fmla="*/ 0 h 2995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34640" h="2995617">
                <a:moveTo>
                  <a:pt x="1495730" y="0"/>
                </a:moveTo>
                <a:lnTo>
                  <a:pt x="2649028" y="0"/>
                </a:lnTo>
                <a:cubicBezTo>
                  <a:pt x="2751539" y="0"/>
                  <a:pt x="2834640" y="83101"/>
                  <a:pt x="2834640" y="185612"/>
                </a:cubicBezTo>
                <a:lnTo>
                  <a:pt x="2834640" y="2810005"/>
                </a:lnTo>
                <a:cubicBezTo>
                  <a:pt x="2834640" y="2912516"/>
                  <a:pt x="2751539" y="2995617"/>
                  <a:pt x="2649028" y="2995617"/>
                </a:cubicBezTo>
                <a:lnTo>
                  <a:pt x="185612" y="2995617"/>
                </a:lnTo>
                <a:cubicBezTo>
                  <a:pt x="83101" y="2995617"/>
                  <a:pt x="0" y="2912516"/>
                  <a:pt x="0" y="2810005"/>
                </a:cubicBezTo>
                <a:lnTo>
                  <a:pt x="0" y="185612"/>
                </a:lnTo>
                <a:cubicBezTo>
                  <a:pt x="0" y="83101"/>
                  <a:pt x="83101" y="0"/>
                  <a:pt x="185612" y="0"/>
                </a:cubicBezTo>
                <a:lnTo>
                  <a:pt x="1198550" y="0"/>
                </a:lnTo>
              </a:path>
            </a:pathLst>
          </a:custGeom>
          <a:ln w="19050" cap="rnd">
            <a:solidFill>
              <a:schemeClr val="bg2"/>
            </a:solidFill>
          </a:ln>
        </p:spPr>
        <p:txBody>
          <a:bodyPr wrap="square" lIns="108000" tIns="72000" rIns="108000" bIns="72000" anchor="t" anchorCtr="0">
            <a:noAutofit/>
          </a:bodyPr>
          <a:lstStyle>
            <a:lvl1pPr marL="0" indent="0" algn="l" defTabSz="914491" rtl="0" eaLnBrk="1" latinLnBrk="0" hangingPunct="1">
              <a:spcBef>
                <a:spcPts val="600"/>
              </a:spcBef>
              <a:buFont typeface="Arial" panose="020B0604020202020204" pitchFamily="34" charset="0"/>
              <a:buNone/>
              <a:defRPr lang="en-US" sz="1800" b="1" kern="1200" dirty="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600" kern="1200" dirty="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lvl="1">
              <a:spcBef>
                <a:spcPts val="300"/>
              </a:spcBef>
            </a:pPr>
            <a:endParaRPr lang="en-US" sz="1400" dirty="0"/>
          </a:p>
        </p:txBody>
      </p:sp>
      <p:sp>
        <p:nvSpPr>
          <p:cNvPr id="46" name="Arc 45">
            <a:extLst>
              <a:ext uri="{FF2B5EF4-FFF2-40B4-BE49-F238E27FC236}">
                <a16:creationId xmlns:a16="http://schemas.microsoft.com/office/drawing/2014/main" id="{5FBEDE25-A4E4-45EB-A356-5DD9EF21217C}"/>
              </a:ext>
            </a:extLst>
          </p:cNvPr>
          <p:cNvSpPr>
            <a:spLocks noChangeAspect="1"/>
          </p:cNvSpPr>
          <p:nvPr/>
        </p:nvSpPr>
        <p:spPr bwMode="gray">
          <a:xfrm rot="10800000">
            <a:off x="3408090" y="2767109"/>
            <a:ext cx="164946" cy="151937"/>
          </a:xfrm>
          <a:prstGeom prst="arc">
            <a:avLst>
              <a:gd name="adj1" fmla="val 16200000"/>
              <a:gd name="adj2" fmla="val 21582379"/>
            </a:avLst>
          </a:prstGeom>
          <a:ln w="19050" cap="rnd">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7" name="Straight Connector 46">
            <a:extLst>
              <a:ext uri="{FF2B5EF4-FFF2-40B4-BE49-F238E27FC236}">
                <a16:creationId xmlns:a16="http://schemas.microsoft.com/office/drawing/2014/main" id="{93FEE3E3-1630-4385-8B29-3340C5C7616F}"/>
              </a:ext>
            </a:extLst>
          </p:cNvPr>
          <p:cNvCxnSpPr>
            <a:cxnSpLocks/>
            <a:stCxn id="48" idx="2"/>
            <a:endCxn id="46" idx="2"/>
          </p:cNvCxnSpPr>
          <p:nvPr/>
        </p:nvCxnSpPr>
        <p:spPr bwMode="gray">
          <a:xfrm>
            <a:off x="3408089" y="2342120"/>
            <a:ext cx="2" cy="501380"/>
          </a:xfrm>
          <a:prstGeom prst="line">
            <a:avLst/>
          </a:prstGeom>
          <a:ln w="19050" cap="rnd">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Arc 47">
            <a:extLst>
              <a:ext uri="{FF2B5EF4-FFF2-40B4-BE49-F238E27FC236}">
                <a16:creationId xmlns:a16="http://schemas.microsoft.com/office/drawing/2014/main" id="{9D88B128-B787-42AD-840A-73B054D94703}"/>
              </a:ext>
            </a:extLst>
          </p:cNvPr>
          <p:cNvSpPr>
            <a:spLocks noChangeAspect="1"/>
          </p:cNvSpPr>
          <p:nvPr/>
        </p:nvSpPr>
        <p:spPr bwMode="gray">
          <a:xfrm>
            <a:off x="3243144" y="2266574"/>
            <a:ext cx="164946" cy="151937"/>
          </a:xfrm>
          <a:prstGeom prst="arc">
            <a:avLst>
              <a:gd name="adj1" fmla="val 16200000"/>
              <a:gd name="adj2" fmla="val 21582379"/>
            </a:avLst>
          </a:prstGeom>
          <a:ln w="19050" cap="rnd">
            <a:solidFill>
              <a:schemeClr val="bg2"/>
            </a:solidFill>
            <a:headEnd type="oval"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Arc 24">
            <a:extLst>
              <a:ext uri="{FF2B5EF4-FFF2-40B4-BE49-F238E27FC236}">
                <a16:creationId xmlns:a16="http://schemas.microsoft.com/office/drawing/2014/main" id="{4BB4FE6A-D40A-41C9-93DE-E6A3B7ABEB81}"/>
              </a:ext>
            </a:extLst>
          </p:cNvPr>
          <p:cNvSpPr>
            <a:spLocks noChangeAspect="1"/>
          </p:cNvSpPr>
          <p:nvPr/>
        </p:nvSpPr>
        <p:spPr bwMode="gray">
          <a:xfrm rot="10800000">
            <a:off x="7432212" y="2767110"/>
            <a:ext cx="164946" cy="151937"/>
          </a:xfrm>
          <a:prstGeom prst="arc">
            <a:avLst>
              <a:gd name="adj1" fmla="val 16200000"/>
              <a:gd name="adj2" fmla="val 21582379"/>
            </a:avLst>
          </a:prstGeom>
          <a:ln w="19050" cap="rnd">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DC5AC730-380B-476B-95CE-E6E0AE8196AA}"/>
              </a:ext>
            </a:extLst>
          </p:cNvPr>
          <p:cNvCxnSpPr>
            <a:cxnSpLocks/>
            <a:stCxn id="27" idx="2"/>
            <a:endCxn id="25" idx="2"/>
          </p:cNvCxnSpPr>
          <p:nvPr/>
        </p:nvCxnSpPr>
        <p:spPr bwMode="gray">
          <a:xfrm>
            <a:off x="7432211" y="2750552"/>
            <a:ext cx="2" cy="92949"/>
          </a:xfrm>
          <a:prstGeom prst="line">
            <a:avLst/>
          </a:prstGeom>
          <a:ln w="19050" cap="rnd">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Arc 26">
            <a:extLst>
              <a:ext uri="{FF2B5EF4-FFF2-40B4-BE49-F238E27FC236}">
                <a16:creationId xmlns:a16="http://schemas.microsoft.com/office/drawing/2014/main" id="{D87F3B39-96EC-482E-9EA7-F6EAC21CC8B5}"/>
              </a:ext>
            </a:extLst>
          </p:cNvPr>
          <p:cNvSpPr>
            <a:spLocks noChangeAspect="1"/>
          </p:cNvSpPr>
          <p:nvPr/>
        </p:nvSpPr>
        <p:spPr bwMode="gray">
          <a:xfrm>
            <a:off x="7267266" y="2675006"/>
            <a:ext cx="164946" cy="151937"/>
          </a:xfrm>
          <a:prstGeom prst="arc">
            <a:avLst>
              <a:gd name="adj1" fmla="val 16200000"/>
              <a:gd name="adj2" fmla="val 21582379"/>
            </a:avLst>
          </a:prstGeom>
          <a:ln w="19050" cap="rnd">
            <a:solidFill>
              <a:schemeClr val="bg2"/>
            </a:solidFill>
            <a:headEnd type="oval"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Arc 29">
            <a:extLst>
              <a:ext uri="{FF2B5EF4-FFF2-40B4-BE49-F238E27FC236}">
                <a16:creationId xmlns:a16="http://schemas.microsoft.com/office/drawing/2014/main" id="{7C04D2C4-ABFD-43D4-B8E1-BB86BE964665}"/>
              </a:ext>
            </a:extLst>
          </p:cNvPr>
          <p:cNvSpPr>
            <a:spLocks noChangeAspect="1"/>
          </p:cNvSpPr>
          <p:nvPr/>
        </p:nvSpPr>
        <p:spPr bwMode="gray">
          <a:xfrm rot="10800000">
            <a:off x="10431797" y="2767110"/>
            <a:ext cx="164946" cy="151937"/>
          </a:xfrm>
          <a:prstGeom prst="arc">
            <a:avLst>
              <a:gd name="adj1" fmla="val 16200000"/>
              <a:gd name="adj2" fmla="val 21582379"/>
            </a:avLst>
          </a:prstGeom>
          <a:ln w="19050" cap="rnd">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31" name="Straight Connector 30">
            <a:extLst>
              <a:ext uri="{FF2B5EF4-FFF2-40B4-BE49-F238E27FC236}">
                <a16:creationId xmlns:a16="http://schemas.microsoft.com/office/drawing/2014/main" id="{C8E7690C-A408-498C-A84D-FFB0EB362C96}"/>
              </a:ext>
            </a:extLst>
          </p:cNvPr>
          <p:cNvCxnSpPr>
            <a:cxnSpLocks/>
            <a:stCxn id="32" idx="2"/>
            <a:endCxn id="30" idx="2"/>
          </p:cNvCxnSpPr>
          <p:nvPr/>
        </p:nvCxnSpPr>
        <p:spPr bwMode="gray">
          <a:xfrm>
            <a:off x="10431796" y="2342120"/>
            <a:ext cx="2" cy="501381"/>
          </a:xfrm>
          <a:prstGeom prst="line">
            <a:avLst/>
          </a:prstGeom>
          <a:ln w="19050" cap="rnd">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Arc 31">
            <a:extLst>
              <a:ext uri="{FF2B5EF4-FFF2-40B4-BE49-F238E27FC236}">
                <a16:creationId xmlns:a16="http://schemas.microsoft.com/office/drawing/2014/main" id="{34E179AC-8D5C-42A9-AD13-0E0BDE920EBA}"/>
              </a:ext>
            </a:extLst>
          </p:cNvPr>
          <p:cNvSpPr>
            <a:spLocks noChangeAspect="1"/>
          </p:cNvSpPr>
          <p:nvPr/>
        </p:nvSpPr>
        <p:spPr bwMode="gray">
          <a:xfrm>
            <a:off x="10266851" y="2266574"/>
            <a:ext cx="164946" cy="151937"/>
          </a:xfrm>
          <a:prstGeom prst="arc">
            <a:avLst>
              <a:gd name="adj1" fmla="val 16200000"/>
              <a:gd name="adj2" fmla="val 21582379"/>
            </a:avLst>
          </a:prstGeom>
          <a:ln w="19050" cap="rnd">
            <a:solidFill>
              <a:schemeClr val="bg2"/>
            </a:solidFill>
            <a:headEnd type="oval"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 name="Date Placeholder 2">
            <a:extLst>
              <a:ext uri="{FF2B5EF4-FFF2-40B4-BE49-F238E27FC236}">
                <a16:creationId xmlns:a16="http://schemas.microsoft.com/office/drawing/2014/main" id="{5F01BB69-091F-4586-9AAD-2A798B26A69D}"/>
              </a:ext>
            </a:extLst>
          </p:cNvPr>
          <p:cNvSpPr>
            <a:spLocks noGrp="1"/>
          </p:cNvSpPr>
          <p:nvPr>
            <p:ph type="dt" sz="half" idx="14"/>
          </p:nvPr>
        </p:nvSpPr>
        <p:spPr bwMode="gray"/>
        <p:txBody>
          <a:bodyPr/>
          <a:lstStyle/>
          <a:p>
            <a:fld id="{613E6AF6-C9FD-4F20-BB5C-41136C19007F}" type="datetime4">
              <a:rPr lang="en-US" smtClean="0"/>
              <a:t>September 8, 2019</a:t>
            </a:fld>
            <a:endParaRPr lang="en-US" dirty="0"/>
          </a:p>
        </p:txBody>
      </p:sp>
      <p:sp>
        <p:nvSpPr>
          <p:cNvPr id="4" name="Footer Placeholder 3">
            <a:extLst>
              <a:ext uri="{FF2B5EF4-FFF2-40B4-BE49-F238E27FC236}">
                <a16:creationId xmlns:a16="http://schemas.microsoft.com/office/drawing/2014/main" id="{9FF7D926-ECBE-4157-82B2-8EE5A6ADF0FD}"/>
              </a:ext>
            </a:extLst>
          </p:cNvPr>
          <p:cNvSpPr>
            <a:spLocks noGrp="1"/>
          </p:cNvSpPr>
          <p:nvPr>
            <p:ph type="ftr" sz="quarter" idx="15"/>
          </p:nvPr>
        </p:nvSpPr>
        <p:spPr bwMode="gray"/>
        <p:txBody>
          <a:bodyPr/>
          <a:lstStyle/>
          <a:p>
            <a:pPr lvl="8"/>
            <a:endParaRPr lang="en-US" dirty="0"/>
          </a:p>
        </p:txBody>
      </p:sp>
      <p:sp>
        <p:nvSpPr>
          <p:cNvPr id="5" name="Slide Number Placeholder 4">
            <a:extLst>
              <a:ext uri="{FF2B5EF4-FFF2-40B4-BE49-F238E27FC236}">
                <a16:creationId xmlns:a16="http://schemas.microsoft.com/office/drawing/2014/main" id="{C9A7F3D9-3D49-48D1-A759-84A7C6FA1641}"/>
              </a:ext>
            </a:extLst>
          </p:cNvPr>
          <p:cNvSpPr>
            <a:spLocks noGrp="1"/>
          </p:cNvSpPr>
          <p:nvPr>
            <p:ph type="sldNum" sz="quarter" idx="16"/>
          </p:nvPr>
        </p:nvSpPr>
        <p:spPr bwMode="gray"/>
        <p:txBody>
          <a:bodyPr/>
          <a:lstStyle/>
          <a:p>
            <a:r>
              <a:rPr lang="en-US"/>
              <a:t>Slide </a:t>
            </a:r>
            <a:fld id="{619F89D8-7AE3-494A-97F3-03D680869632}" type="slidenum">
              <a:rPr lang="en-US" smtClean="0"/>
              <a:pPr/>
              <a:t>74</a:t>
            </a:fld>
            <a:endParaRPr lang="en-US" dirty="0"/>
          </a:p>
        </p:txBody>
      </p:sp>
    </p:spTree>
    <p:custDataLst>
      <p:tags r:id="rId1"/>
    </p:custDataLst>
    <p:extLst>
      <p:ext uri="{BB962C8B-B14F-4D97-AF65-F5344CB8AC3E}">
        <p14:creationId xmlns:p14="http://schemas.microsoft.com/office/powerpoint/2010/main" val="229403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78BDEE-73F6-491C-813E-F6349F685D39}"/>
              </a:ext>
            </a:extLst>
          </p:cNvPr>
          <p:cNvSpPr>
            <a:spLocks noGrp="1"/>
          </p:cNvSpPr>
          <p:nvPr>
            <p:ph type="title"/>
          </p:nvPr>
        </p:nvSpPr>
        <p:spPr/>
        <p:txBody>
          <a:bodyPr/>
          <a:lstStyle/>
          <a:p>
            <a:r>
              <a:rPr lang="de-DE" dirty="0"/>
              <a:t>Hydrogen </a:t>
            </a:r>
            <a:r>
              <a:rPr lang="de-DE" dirty="0" err="1"/>
              <a:t>production</a:t>
            </a:r>
            <a:endParaRPr lang="en-US" dirty="0"/>
          </a:p>
        </p:txBody>
      </p:sp>
      <p:sp>
        <p:nvSpPr>
          <p:cNvPr id="3" name="Footer Placeholder 2">
            <a:extLst>
              <a:ext uri="{FF2B5EF4-FFF2-40B4-BE49-F238E27FC236}">
                <a16:creationId xmlns:a16="http://schemas.microsoft.com/office/drawing/2014/main" id="{FAB33356-5CAE-4181-8433-C03754B10D0D}"/>
              </a:ext>
            </a:extLst>
          </p:cNvPr>
          <p:cNvSpPr>
            <a:spLocks noGrp="1"/>
          </p:cNvSpPr>
          <p:nvPr>
            <p:ph type="ftr" sz="quarter" idx="10"/>
          </p:nvPr>
        </p:nvSpPr>
        <p:spPr/>
        <p:txBody>
          <a:bodyPr/>
          <a:lstStyle/>
          <a:p>
            <a:pPr lvl="8"/>
            <a:endParaRPr lang="en-US" dirty="0"/>
          </a:p>
        </p:txBody>
      </p:sp>
      <p:sp>
        <p:nvSpPr>
          <p:cNvPr id="4" name="Date Placeholder 3">
            <a:extLst>
              <a:ext uri="{FF2B5EF4-FFF2-40B4-BE49-F238E27FC236}">
                <a16:creationId xmlns:a16="http://schemas.microsoft.com/office/drawing/2014/main" id="{C0626213-2BAE-4D8F-9092-72A4811F9790}"/>
              </a:ext>
            </a:extLst>
          </p:cNvPr>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a:extLst>
              <a:ext uri="{FF2B5EF4-FFF2-40B4-BE49-F238E27FC236}">
                <a16:creationId xmlns:a16="http://schemas.microsoft.com/office/drawing/2014/main" id="{7FA210F1-3DC5-4095-8264-242C7652C106}"/>
              </a:ext>
            </a:extLst>
          </p:cNvPr>
          <p:cNvSpPr>
            <a:spLocks noGrp="1"/>
          </p:cNvSpPr>
          <p:nvPr>
            <p:ph type="sldNum" sz="quarter" idx="12"/>
          </p:nvPr>
        </p:nvSpPr>
        <p:spPr/>
        <p:txBody>
          <a:bodyPr/>
          <a:lstStyle/>
          <a:p>
            <a:r>
              <a:rPr lang="en-US"/>
              <a:t>Slide </a:t>
            </a:r>
            <a:fld id="{619F89D8-7AE3-494A-97F3-03D680869632}" type="slidenum">
              <a:rPr lang="en-US" smtClean="0"/>
              <a:pPr/>
              <a:t>75</a:t>
            </a:fld>
            <a:endParaRPr lang="en-US" dirty="0"/>
          </a:p>
        </p:txBody>
      </p:sp>
      <p:sp>
        <p:nvSpPr>
          <p:cNvPr id="6" name="Content Placeholder 5">
            <a:extLst>
              <a:ext uri="{FF2B5EF4-FFF2-40B4-BE49-F238E27FC236}">
                <a16:creationId xmlns:a16="http://schemas.microsoft.com/office/drawing/2014/main" id="{252F64F4-E036-4539-AEC2-C4CF901180D6}"/>
              </a:ext>
            </a:extLst>
          </p:cNvPr>
          <p:cNvSpPr>
            <a:spLocks noGrp="1"/>
          </p:cNvSpPr>
          <p:nvPr>
            <p:ph sz="quarter" idx="20"/>
          </p:nvPr>
        </p:nvSpPr>
        <p:spPr/>
        <p:txBody>
          <a:bodyPr/>
          <a:lstStyle/>
          <a:p>
            <a:r>
              <a:rPr lang="de-DE" dirty="0"/>
              <a:t>Solution</a:t>
            </a:r>
          </a:p>
          <a:p>
            <a:pPr lvl="1"/>
            <a:r>
              <a:rPr lang="de-DE" dirty="0"/>
              <a:t>Caldos27 thermal </a:t>
            </a:r>
            <a:r>
              <a:rPr lang="de-DE" dirty="0" err="1"/>
              <a:t>conductivity</a:t>
            </a:r>
            <a:r>
              <a:rPr lang="de-DE" dirty="0"/>
              <a:t> </a:t>
            </a:r>
            <a:r>
              <a:rPr lang="de-DE" dirty="0" err="1"/>
              <a:t>detector</a:t>
            </a:r>
            <a:r>
              <a:rPr lang="de-DE" dirty="0"/>
              <a:t> (H</a:t>
            </a:r>
            <a:r>
              <a:rPr lang="de-DE" baseline="-25000" dirty="0"/>
              <a:t>2</a:t>
            </a:r>
            <a:r>
              <a:rPr lang="de-DE" dirty="0"/>
              <a:t>)</a:t>
            </a:r>
          </a:p>
          <a:p>
            <a:pPr lvl="1"/>
            <a:endParaRPr lang="de-DE" dirty="0"/>
          </a:p>
          <a:p>
            <a:r>
              <a:rPr lang="de-DE" dirty="0"/>
              <a:t>Solution</a:t>
            </a:r>
          </a:p>
          <a:p>
            <a:pPr lvl="1"/>
            <a:r>
              <a:rPr lang="de-DE" dirty="0"/>
              <a:t>Uras26 NDIR </a:t>
            </a:r>
            <a:r>
              <a:rPr lang="de-DE" dirty="0" err="1"/>
              <a:t>photometer</a:t>
            </a:r>
            <a:r>
              <a:rPr lang="de-DE" dirty="0"/>
              <a:t> (CO / CH</a:t>
            </a:r>
            <a:r>
              <a:rPr lang="de-DE" baseline="-25000" dirty="0"/>
              <a:t>4</a:t>
            </a:r>
            <a:r>
              <a:rPr lang="de-DE" dirty="0"/>
              <a:t>)</a:t>
            </a:r>
          </a:p>
          <a:p>
            <a:pPr lvl="1"/>
            <a:r>
              <a:rPr lang="de-DE" dirty="0"/>
              <a:t>Fidas24 </a:t>
            </a:r>
            <a:r>
              <a:rPr lang="de-DE" dirty="0" err="1"/>
              <a:t>flame</a:t>
            </a:r>
            <a:r>
              <a:rPr lang="de-DE" dirty="0"/>
              <a:t> </a:t>
            </a:r>
            <a:r>
              <a:rPr lang="de-DE" dirty="0" err="1"/>
              <a:t>ionization</a:t>
            </a:r>
            <a:r>
              <a:rPr lang="de-DE" dirty="0"/>
              <a:t> </a:t>
            </a:r>
            <a:r>
              <a:rPr lang="de-DE" dirty="0" err="1"/>
              <a:t>detector</a:t>
            </a:r>
            <a:r>
              <a:rPr lang="de-DE" dirty="0"/>
              <a:t> (THC)</a:t>
            </a:r>
          </a:p>
          <a:p>
            <a:pPr lvl="1"/>
            <a:r>
              <a:rPr lang="de-DE" dirty="0"/>
              <a:t>Magnos28 </a:t>
            </a:r>
            <a:r>
              <a:rPr lang="de-DE" dirty="0" err="1"/>
              <a:t>paramagnetic</a:t>
            </a:r>
            <a:r>
              <a:rPr lang="de-DE" dirty="0"/>
              <a:t> </a:t>
            </a:r>
            <a:r>
              <a:rPr lang="de-DE" dirty="0" err="1"/>
              <a:t>detector</a:t>
            </a:r>
            <a:r>
              <a:rPr lang="de-DE" dirty="0"/>
              <a:t> (O</a:t>
            </a:r>
            <a:r>
              <a:rPr lang="de-DE" baseline="-25000" dirty="0"/>
              <a:t>2</a:t>
            </a:r>
            <a:r>
              <a:rPr lang="de-DE" dirty="0"/>
              <a:t>)</a:t>
            </a:r>
          </a:p>
          <a:p>
            <a:pPr lvl="1"/>
            <a:endParaRPr lang="de-DE" dirty="0"/>
          </a:p>
          <a:p>
            <a:r>
              <a:rPr lang="de-DE" dirty="0"/>
              <a:t>Alternative </a:t>
            </a:r>
            <a:r>
              <a:rPr lang="de-DE" dirty="0" err="1"/>
              <a:t>solution</a:t>
            </a:r>
            <a:endParaRPr lang="de-DE" dirty="0"/>
          </a:p>
          <a:p>
            <a:pPr lvl="1"/>
            <a:r>
              <a:rPr lang="de-DE" dirty="0"/>
              <a:t>PGC1000 </a:t>
            </a:r>
            <a:r>
              <a:rPr lang="de-DE" dirty="0" err="1"/>
              <a:t>process</a:t>
            </a:r>
            <a:r>
              <a:rPr lang="de-DE" dirty="0"/>
              <a:t> gas </a:t>
            </a:r>
            <a:r>
              <a:rPr lang="de-DE" dirty="0" err="1"/>
              <a:t>chromatograph</a:t>
            </a:r>
            <a:r>
              <a:rPr lang="de-DE" dirty="0"/>
              <a:t> (All)</a:t>
            </a:r>
          </a:p>
          <a:p>
            <a:pPr lvl="1"/>
            <a:r>
              <a:rPr lang="de-DE" dirty="0"/>
              <a:t>PGC5000 </a:t>
            </a:r>
            <a:r>
              <a:rPr lang="de-DE" dirty="0" err="1"/>
              <a:t>process</a:t>
            </a:r>
            <a:r>
              <a:rPr lang="de-DE" dirty="0"/>
              <a:t> gas </a:t>
            </a:r>
            <a:r>
              <a:rPr lang="de-DE" dirty="0" err="1"/>
              <a:t>chromatograph</a:t>
            </a:r>
            <a:r>
              <a:rPr lang="de-DE" dirty="0"/>
              <a:t> (All)</a:t>
            </a:r>
          </a:p>
        </p:txBody>
      </p:sp>
      <p:sp>
        <p:nvSpPr>
          <p:cNvPr id="7" name="Content Placeholder 6">
            <a:extLst>
              <a:ext uri="{FF2B5EF4-FFF2-40B4-BE49-F238E27FC236}">
                <a16:creationId xmlns:a16="http://schemas.microsoft.com/office/drawing/2014/main" id="{56411B2F-B2D2-4A9D-B692-751DE49E10E8}"/>
              </a:ext>
            </a:extLst>
          </p:cNvPr>
          <p:cNvSpPr>
            <a:spLocks noGrp="1"/>
          </p:cNvSpPr>
          <p:nvPr>
            <p:ph sz="quarter" idx="19"/>
          </p:nvPr>
        </p:nvSpPr>
        <p:spPr/>
        <p:txBody>
          <a:bodyPr/>
          <a:lstStyle/>
          <a:p>
            <a:r>
              <a:rPr lang="de-DE" dirty="0"/>
              <a:t>H</a:t>
            </a:r>
            <a:r>
              <a:rPr lang="de-DE" baseline="-25000" dirty="0"/>
              <a:t>2</a:t>
            </a:r>
            <a:r>
              <a:rPr lang="de-DE" dirty="0"/>
              <a:t> </a:t>
            </a:r>
            <a:r>
              <a:rPr lang="de-DE" dirty="0" err="1"/>
              <a:t>purity</a:t>
            </a:r>
            <a:endParaRPr lang="de-DE" dirty="0"/>
          </a:p>
          <a:p>
            <a:pPr lvl="1"/>
            <a:r>
              <a:rPr lang="de-DE" dirty="0"/>
              <a:t>Hydrogen (H</a:t>
            </a:r>
            <a:r>
              <a:rPr lang="de-DE" baseline="-25000" dirty="0"/>
              <a:t>2</a:t>
            </a:r>
            <a:r>
              <a:rPr lang="de-DE" dirty="0"/>
              <a:t>)</a:t>
            </a:r>
          </a:p>
          <a:p>
            <a:endParaRPr lang="de-DE" dirty="0"/>
          </a:p>
          <a:p>
            <a:r>
              <a:rPr lang="de-DE" dirty="0"/>
              <a:t>H</a:t>
            </a:r>
            <a:r>
              <a:rPr lang="de-DE" baseline="-25000" dirty="0"/>
              <a:t>2</a:t>
            </a:r>
            <a:r>
              <a:rPr lang="de-DE" dirty="0"/>
              <a:t> </a:t>
            </a:r>
            <a:r>
              <a:rPr lang="de-DE" dirty="0" err="1"/>
              <a:t>impurities</a:t>
            </a:r>
            <a:endParaRPr lang="de-DE" dirty="0"/>
          </a:p>
          <a:p>
            <a:pPr lvl="1"/>
            <a:r>
              <a:rPr lang="de-DE" dirty="0"/>
              <a:t>Carbon </a:t>
            </a:r>
            <a:r>
              <a:rPr lang="de-DE" dirty="0" err="1"/>
              <a:t>monoxide</a:t>
            </a:r>
            <a:r>
              <a:rPr lang="de-DE" dirty="0"/>
              <a:t> (CO)</a:t>
            </a:r>
          </a:p>
          <a:p>
            <a:pPr lvl="1"/>
            <a:r>
              <a:rPr lang="de-DE" dirty="0" err="1"/>
              <a:t>Methane</a:t>
            </a:r>
            <a:r>
              <a:rPr lang="de-DE" dirty="0"/>
              <a:t> (CH</a:t>
            </a:r>
            <a:r>
              <a:rPr lang="de-DE" baseline="-25000" dirty="0"/>
              <a:t>4</a:t>
            </a:r>
            <a:r>
              <a:rPr lang="de-DE" dirty="0"/>
              <a:t>)</a:t>
            </a:r>
          </a:p>
          <a:p>
            <a:pPr lvl="1"/>
            <a:r>
              <a:rPr lang="de-DE" dirty="0"/>
              <a:t>Total </a:t>
            </a:r>
            <a:r>
              <a:rPr lang="de-DE" dirty="0" err="1"/>
              <a:t>Hydrocarbons</a:t>
            </a:r>
            <a:r>
              <a:rPr lang="de-DE" dirty="0"/>
              <a:t> (THC)</a:t>
            </a:r>
          </a:p>
          <a:p>
            <a:pPr lvl="1"/>
            <a:r>
              <a:rPr lang="de-DE" dirty="0"/>
              <a:t>Oxygen (O</a:t>
            </a:r>
            <a:r>
              <a:rPr lang="de-DE" baseline="-25000" dirty="0"/>
              <a:t>2</a:t>
            </a:r>
            <a:r>
              <a:rPr lang="de-DE" dirty="0"/>
              <a:t>)</a:t>
            </a:r>
          </a:p>
          <a:p>
            <a:endParaRPr lang="en-US" dirty="0"/>
          </a:p>
        </p:txBody>
      </p:sp>
      <p:sp>
        <p:nvSpPr>
          <p:cNvPr id="8" name="Subtitle 7">
            <a:extLst>
              <a:ext uri="{FF2B5EF4-FFF2-40B4-BE49-F238E27FC236}">
                <a16:creationId xmlns:a16="http://schemas.microsoft.com/office/drawing/2014/main" id="{5D7AD41D-97E6-414E-9380-DC70146F02B3}"/>
              </a:ext>
            </a:extLst>
          </p:cNvPr>
          <p:cNvSpPr>
            <a:spLocks noGrp="1"/>
          </p:cNvSpPr>
          <p:nvPr>
            <p:ph type="subTitle" idx="13"/>
          </p:nvPr>
        </p:nvSpPr>
        <p:spPr/>
        <p:txBody>
          <a:bodyPr/>
          <a:lstStyle/>
          <a:p>
            <a:r>
              <a:rPr lang="de-DE" dirty="0"/>
              <a:t>Gas </a:t>
            </a:r>
            <a:r>
              <a:rPr lang="de-DE" dirty="0" err="1"/>
              <a:t>analyzer</a:t>
            </a:r>
            <a:r>
              <a:rPr lang="de-DE" dirty="0"/>
              <a:t> </a:t>
            </a:r>
            <a:r>
              <a:rPr lang="de-DE" dirty="0" err="1"/>
              <a:t>solutions</a:t>
            </a:r>
            <a:endParaRPr lang="en-US" dirty="0"/>
          </a:p>
        </p:txBody>
      </p:sp>
    </p:spTree>
    <p:extLst>
      <p:ext uri="{BB962C8B-B14F-4D97-AF65-F5344CB8AC3E}">
        <p14:creationId xmlns:p14="http://schemas.microsoft.com/office/powerpoint/2010/main" val="270237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856BFA-AAE7-406B-A3B3-2D0226C46E39}"/>
              </a:ext>
            </a:extLst>
          </p:cNvPr>
          <p:cNvSpPr>
            <a:spLocks noGrp="1"/>
          </p:cNvSpPr>
          <p:nvPr>
            <p:ph type="ctrTitle"/>
          </p:nvPr>
        </p:nvSpPr>
        <p:spPr bwMode="gray"/>
        <p:txBody>
          <a:bodyPr/>
          <a:lstStyle/>
          <a:p>
            <a:r>
              <a:rPr lang="en-US" dirty="0"/>
              <a:t>Cylinder / specialty gases</a:t>
            </a:r>
          </a:p>
        </p:txBody>
      </p:sp>
      <p:sp>
        <p:nvSpPr>
          <p:cNvPr id="3" name="Subtitle 2">
            <a:extLst>
              <a:ext uri="{FF2B5EF4-FFF2-40B4-BE49-F238E27FC236}">
                <a16:creationId xmlns:a16="http://schemas.microsoft.com/office/drawing/2014/main" id="{EC5EC8F8-2510-42EC-B66A-48CFC5FDBAD5}"/>
              </a:ext>
            </a:extLst>
          </p:cNvPr>
          <p:cNvSpPr>
            <a:spLocks noGrp="1"/>
          </p:cNvSpPr>
          <p:nvPr>
            <p:ph type="subTitle" idx="1"/>
          </p:nvPr>
        </p:nvSpPr>
        <p:spPr bwMode="gray"/>
        <p:txBody>
          <a:bodyPr/>
          <a:lstStyle/>
          <a:p>
            <a:endParaRPr lang="de-DE" dirty="0"/>
          </a:p>
        </p:txBody>
      </p:sp>
    </p:spTree>
    <p:custDataLst>
      <p:tags r:id="rId1"/>
    </p:custDataLst>
    <p:extLst>
      <p:ext uri="{BB962C8B-B14F-4D97-AF65-F5344CB8AC3E}">
        <p14:creationId xmlns:p14="http://schemas.microsoft.com/office/powerpoint/2010/main" val="525792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Box 103">
            <a:extLst>
              <a:ext uri="{FF2B5EF4-FFF2-40B4-BE49-F238E27FC236}">
                <a16:creationId xmlns:a16="http://schemas.microsoft.com/office/drawing/2014/main" id="{45120B1A-E3DF-474A-842C-537E3102CCA3}"/>
              </a:ext>
            </a:extLst>
          </p:cNvPr>
          <p:cNvSpPr txBox="1">
            <a:spLocks/>
          </p:cNvSpPr>
          <p:nvPr/>
        </p:nvSpPr>
        <p:spPr bwMode="gray">
          <a:xfrm flipH="1">
            <a:off x="2213144" y="4959490"/>
            <a:ext cx="9640119" cy="953949"/>
          </a:xfrm>
          <a:custGeom>
            <a:avLst/>
            <a:gdLst>
              <a:gd name="connsiteX0" fmla="*/ 8002143 w 9640119"/>
              <a:gd name="connsiteY0" fmla="*/ 0 h 953949"/>
              <a:gd name="connsiteX1" fmla="*/ 5503263 w 9640119"/>
              <a:gd name="connsiteY1" fmla="*/ 0 h 953949"/>
              <a:gd name="connsiteX2" fmla="*/ 2035258 w 9640119"/>
              <a:gd name="connsiteY2" fmla="*/ 0 h 953949"/>
              <a:gd name="connsiteX3" fmla="*/ 0 w 9640119"/>
              <a:gd name="connsiteY3" fmla="*/ 0 h 953949"/>
              <a:gd name="connsiteX4" fmla="*/ 0 w 9640119"/>
              <a:gd name="connsiteY4" fmla="*/ 953949 h 953949"/>
              <a:gd name="connsiteX5" fmla="*/ 25400 w 9640119"/>
              <a:gd name="connsiteY5" fmla="*/ 953949 h 953949"/>
              <a:gd name="connsiteX6" fmla="*/ 2035258 w 9640119"/>
              <a:gd name="connsiteY6" fmla="*/ 953949 h 953949"/>
              <a:gd name="connsiteX7" fmla="*/ 5503263 w 9640119"/>
              <a:gd name="connsiteY7" fmla="*/ 953949 h 953949"/>
              <a:gd name="connsiteX8" fmla="*/ 7680548 w 9640119"/>
              <a:gd name="connsiteY8" fmla="*/ 953949 h 953949"/>
              <a:gd name="connsiteX9" fmla="*/ 9640119 w 9640119"/>
              <a:gd name="connsiteY9" fmla="*/ 953949 h 953949"/>
              <a:gd name="connsiteX10" fmla="*/ 9640119 w 9640119"/>
              <a:gd name="connsiteY10" fmla="*/ 943673 h 953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40119" h="953949">
                <a:moveTo>
                  <a:pt x="8002143" y="0"/>
                </a:moveTo>
                <a:lnTo>
                  <a:pt x="5503263" y="0"/>
                </a:lnTo>
                <a:lnTo>
                  <a:pt x="2035258" y="0"/>
                </a:lnTo>
                <a:lnTo>
                  <a:pt x="0" y="0"/>
                </a:lnTo>
                <a:lnTo>
                  <a:pt x="0" y="953949"/>
                </a:lnTo>
                <a:lnTo>
                  <a:pt x="25400" y="953949"/>
                </a:lnTo>
                <a:lnTo>
                  <a:pt x="2035258" y="953949"/>
                </a:lnTo>
                <a:lnTo>
                  <a:pt x="5503263" y="953949"/>
                </a:lnTo>
                <a:lnTo>
                  <a:pt x="7680548" y="953949"/>
                </a:lnTo>
                <a:lnTo>
                  <a:pt x="9640119" y="953949"/>
                </a:lnTo>
                <a:lnTo>
                  <a:pt x="9640119" y="943673"/>
                </a:lnTo>
                <a:close/>
              </a:path>
            </a:pathLst>
          </a:custGeom>
          <a:solidFill>
            <a:schemeClr val="accent3"/>
          </a:solidFill>
        </p:spPr>
        <p:txBody>
          <a:bodyPr vert="horz" wrap="square" lIns="1800000" tIns="0" rIns="0" bIns="0" rtlCol="0" anchor="ctr">
            <a:noAutofit/>
          </a:bodyPr>
          <a:lstStyle>
            <a:lvl1pPr marL="0" indent="0" algn="l" defTabSz="914491" rtl="0" eaLnBrk="1" latinLnBrk="0" hangingPunct="1">
              <a:spcBef>
                <a:spcPts val="600"/>
              </a:spcBef>
              <a:buFont typeface="Arial" panose="020B0604020202020204" pitchFamily="34" charset="0"/>
              <a:buNone/>
              <a:defRPr lang="en-US" sz="1800" b="1" kern="1200">
                <a:solidFill>
                  <a:schemeClr val="bg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lang="en-US" sz="1800" b="1" kern="1200">
                <a:solidFill>
                  <a:schemeClr val="bg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lang="en-US" sz="1800" b="1" kern="1200">
                <a:solidFill>
                  <a:schemeClr val="bg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lang="en-US" sz="1800" b="1" kern="1200">
                <a:solidFill>
                  <a:schemeClr val="bg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lang="en-US" sz="1800" b="1" kern="1200" dirty="0">
                <a:solidFill>
                  <a:schemeClr val="bg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dirty="0"/>
              <a:t>ABB offers analytical solutions for all types of filling station</a:t>
            </a:r>
          </a:p>
        </p:txBody>
      </p:sp>
      <p:grpSp>
        <p:nvGrpSpPr>
          <p:cNvPr id="8" name="Group 7">
            <a:extLst>
              <a:ext uri="{FF2B5EF4-FFF2-40B4-BE49-F238E27FC236}">
                <a16:creationId xmlns:a16="http://schemas.microsoft.com/office/drawing/2014/main" id="{16D6B0C8-6896-403A-B8EB-F9689D63A90C}"/>
              </a:ext>
            </a:extLst>
          </p:cNvPr>
          <p:cNvGrpSpPr/>
          <p:nvPr/>
        </p:nvGrpSpPr>
        <p:grpSpPr bwMode="gray">
          <a:xfrm>
            <a:off x="332366" y="3917930"/>
            <a:ext cx="3489811" cy="1997095"/>
            <a:chOff x="332366" y="3917930"/>
            <a:chExt cx="3489811" cy="1997095"/>
          </a:xfrm>
        </p:grpSpPr>
        <p:sp>
          <p:nvSpPr>
            <p:cNvPr id="25" name="Freeform: Shape 24">
              <a:extLst>
                <a:ext uri="{FF2B5EF4-FFF2-40B4-BE49-F238E27FC236}">
                  <a16:creationId xmlns:a16="http://schemas.microsoft.com/office/drawing/2014/main" id="{E6278D82-80B4-499C-955C-F9A831C09798}"/>
                </a:ext>
              </a:extLst>
            </p:cNvPr>
            <p:cNvSpPr/>
            <p:nvPr/>
          </p:nvSpPr>
          <p:spPr bwMode="gray">
            <a:xfrm>
              <a:off x="332366" y="3917930"/>
              <a:ext cx="1746347" cy="1997095"/>
            </a:xfrm>
            <a:custGeom>
              <a:avLst/>
              <a:gdLst>
                <a:gd name="connsiteX0" fmla="*/ 698757 w 1049405"/>
                <a:gd name="connsiteY0" fmla="*/ 0 h 1794751"/>
                <a:gd name="connsiteX1" fmla="*/ 349623 w 1049405"/>
                <a:gd name="connsiteY1" fmla="*/ 594668 h 1794751"/>
                <a:gd name="connsiteX2" fmla="*/ 1049405 w 1049405"/>
                <a:gd name="connsiteY2" fmla="*/ 997827 h 1794751"/>
                <a:gd name="connsiteX3" fmla="*/ 1049405 w 1049405"/>
                <a:gd name="connsiteY3" fmla="*/ 1794751 h 1794751"/>
                <a:gd name="connsiteX4" fmla="*/ 0 w 1049405"/>
                <a:gd name="connsiteY4" fmla="*/ 1190167 h 1794751"/>
                <a:gd name="connsiteX0" fmla="*/ 0 w 1049405"/>
                <a:gd name="connsiteY0" fmla="*/ 595499 h 1200083"/>
                <a:gd name="connsiteX1" fmla="*/ 349623 w 1049405"/>
                <a:gd name="connsiteY1" fmla="*/ 0 h 1200083"/>
                <a:gd name="connsiteX2" fmla="*/ 1049405 w 1049405"/>
                <a:gd name="connsiteY2" fmla="*/ 403159 h 1200083"/>
                <a:gd name="connsiteX3" fmla="*/ 1049405 w 1049405"/>
                <a:gd name="connsiteY3" fmla="*/ 1200083 h 1200083"/>
                <a:gd name="connsiteX4" fmla="*/ 0 w 1049405"/>
                <a:gd name="connsiteY4" fmla="*/ 595499 h 1200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405" h="1200083">
                  <a:moveTo>
                    <a:pt x="0" y="595499"/>
                  </a:moveTo>
                  <a:lnTo>
                    <a:pt x="349623" y="0"/>
                  </a:lnTo>
                  <a:lnTo>
                    <a:pt x="1049405" y="403159"/>
                  </a:lnTo>
                  <a:lnTo>
                    <a:pt x="1049405" y="1200083"/>
                  </a:lnTo>
                  <a:lnTo>
                    <a:pt x="0" y="595499"/>
                  </a:lnTo>
                  <a:close/>
                </a:path>
              </a:pathLst>
            </a:custGeom>
            <a:solidFill>
              <a:schemeClr val="bg1"/>
            </a:solid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u="sng"/>
            </a:p>
          </p:txBody>
        </p:sp>
        <p:sp>
          <p:nvSpPr>
            <p:cNvPr id="36" name="Freeform: Shape 35">
              <a:extLst>
                <a:ext uri="{FF2B5EF4-FFF2-40B4-BE49-F238E27FC236}">
                  <a16:creationId xmlns:a16="http://schemas.microsoft.com/office/drawing/2014/main" id="{599B727F-927E-42EB-884C-F0EBE93E8320}"/>
                </a:ext>
              </a:extLst>
            </p:cNvPr>
            <p:cNvSpPr/>
            <p:nvPr/>
          </p:nvSpPr>
          <p:spPr bwMode="gray">
            <a:xfrm flipH="1">
              <a:off x="2075830" y="3917930"/>
              <a:ext cx="1746347" cy="1997095"/>
            </a:xfrm>
            <a:custGeom>
              <a:avLst/>
              <a:gdLst>
                <a:gd name="connsiteX0" fmla="*/ 698757 w 1049405"/>
                <a:gd name="connsiteY0" fmla="*/ 0 h 1794751"/>
                <a:gd name="connsiteX1" fmla="*/ 349623 w 1049405"/>
                <a:gd name="connsiteY1" fmla="*/ 594668 h 1794751"/>
                <a:gd name="connsiteX2" fmla="*/ 1049405 w 1049405"/>
                <a:gd name="connsiteY2" fmla="*/ 997827 h 1794751"/>
                <a:gd name="connsiteX3" fmla="*/ 1049405 w 1049405"/>
                <a:gd name="connsiteY3" fmla="*/ 1794751 h 1794751"/>
                <a:gd name="connsiteX4" fmla="*/ 0 w 1049405"/>
                <a:gd name="connsiteY4" fmla="*/ 1190167 h 1794751"/>
                <a:gd name="connsiteX0" fmla="*/ 0 w 1049405"/>
                <a:gd name="connsiteY0" fmla="*/ 595499 h 1200083"/>
                <a:gd name="connsiteX1" fmla="*/ 349623 w 1049405"/>
                <a:gd name="connsiteY1" fmla="*/ 0 h 1200083"/>
                <a:gd name="connsiteX2" fmla="*/ 1049405 w 1049405"/>
                <a:gd name="connsiteY2" fmla="*/ 403159 h 1200083"/>
                <a:gd name="connsiteX3" fmla="*/ 1049405 w 1049405"/>
                <a:gd name="connsiteY3" fmla="*/ 1200083 h 1200083"/>
                <a:gd name="connsiteX4" fmla="*/ 0 w 1049405"/>
                <a:gd name="connsiteY4" fmla="*/ 595499 h 1200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405" h="1200083">
                  <a:moveTo>
                    <a:pt x="0" y="595499"/>
                  </a:moveTo>
                  <a:lnTo>
                    <a:pt x="349623" y="0"/>
                  </a:lnTo>
                  <a:lnTo>
                    <a:pt x="1049405" y="403159"/>
                  </a:lnTo>
                  <a:lnTo>
                    <a:pt x="1049405" y="1200083"/>
                  </a:lnTo>
                  <a:lnTo>
                    <a:pt x="0" y="595499"/>
                  </a:lnTo>
                  <a:close/>
                </a:path>
              </a:pathLst>
            </a:custGeom>
            <a:solidFill>
              <a:schemeClr val="accent5"/>
            </a:solid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grpSp>
        <p:nvGrpSpPr>
          <p:cNvPr id="9" name="Group 8">
            <a:extLst>
              <a:ext uri="{FF2B5EF4-FFF2-40B4-BE49-F238E27FC236}">
                <a16:creationId xmlns:a16="http://schemas.microsoft.com/office/drawing/2014/main" id="{8841B2BB-CCD3-4101-A665-8AF87431C414}"/>
              </a:ext>
            </a:extLst>
          </p:cNvPr>
          <p:cNvGrpSpPr/>
          <p:nvPr/>
        </p:nvGrpSpPr>
        <p:grpSpPr bwMode="gray">
          <a:xfrm>
            <a:off x="914184" y="2932551"/>
            <a:ext cx="2326175" cy="1660515"/>
            <a:chOff x="914184" y="2932551"/>
            <a:chExt cx="2326175" cy="1660515"/>
          </a:xfrm>
        </p:grpSpPr>
        <p:sp>
          <p:nvSpPr>
            <p:cNvPr id="26" name="Freeform: Shape 25">
              <a:extLst>
                <a:ext uri="{FF2B5EF4-FFF2-40B4-BE49-F238E27FC236}">
                  <a16:creationId xmlns:a16="http://schemas.microsoft.com/office/drawing/2014/main" id="{D0F261C1-2044-44AD-8AB2-1FCEE9A8B5CB}"/>
                </a:ext>
              </a:extLst>
            </p:cNvPr>
            <p:cNvSpPr/>
            <p:nvPr/>
          </p:nvSpPr>
          <p:spPr bwMode="gray">
            <a:xfrm>
              <a:off x="914184" y="2932551"/>
              <a:ext cx="1164529" cy="1660515"/>
            </a:xfrm>
            <a:custGeom>
              <a:avLst/>
              <a:gdLst>
                <a:gd name="connsiteX0" fmla="*/ 349134 w 699782"/>
                <a:gd name="connsiteY0" fmla="*/ 0 h 997827"/>
                <a:gd name="connsiteX1" fmla="*/ 699782 w 699782"/>
                <a:gd name="connsiteY1" fmla="*/ 202015 h 997827"/>
                <a:gd name="connsiteX2" fmla="*/ 699782 w 699782"/>
                <a:gd name="connsiteY2" fmla="*/ 997827 h 997827"/>
                <a:gd name="connsiteX3" fmla="*/ 0 w 699782"/>
                <a:gd name="connsiteY3" fmla="*/ 594668 h 997827"/>
              </a:gdLst>
              <a:ahLst/>
              <a:cxnLst>
                <a:cxn ang="0">
                  <a:pos x="connsiteX0" y="connsiteY0"/>
                </a:cxn>
                <a:cxn ang="0">
                  <a:pos x="connsiteX1" y="connsiteY1"/>
                </a:cxn>
                <a:cxn ang="0">
                  <a:pos x="connsiteX2" y="connsiteY2"/>
                </a:cxn>
                <a:cxn ang="0">
                  <a:pos x="connsiteX3" y="connsiteY3"/>
                </a:cxn>
              </a:cxnLst>
              <a:rect l="l" t="t" r="r" b="b"/>
              <a:pathLst>
                <a:path w="699782" h="997827">
                  <a:moveTo>
                    <a:pt x="349134" y="0"/>
                  </a:moveTo>
                  <a:lnTo>
                    <a:pt x="699782" y="202015"/>
                  </a:lnTo>
                  <a:lnTo>
                    <a:pt x="699782" y="997827"/>
                  </a:lnTo>
                  <a:lnTo>
                    <a:pt x="0" y="594668"/>
                  </a:lnTo>
                  <a:close/>
                </a:path>
              </a:pathLst>
            </a:custGeom>
            <a:solidFill>
              <a:schemeClr val="bg1"/>
            </a:solid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p>
          </p:txBody>
        </p:sp>
        <p:sp>
          <p:nvSpPr>
            <p:cNvPr id="37" name="Freeform: Shape 36">
              <a:extLst>
                <a:ext uri="{FF2B5EF4-FFF2-40B4-BE49-F238E27FC236}">
                  <a16:creationId xmlns:a16="http://schemas.microsoft.com/office/drawing/2014/main" id="{49AD632F-10C6-4D94-88B4-E7C8BA172DD7}"/>
                </a:ext>
              </a:extLst>
            </p:cNvPr>
            <p:cNvSpPr/>
            <p:nvPr/>
          </p:nvSpPr>
          <p:spPr bwMode="gray">
            <a:xfrm flipH="1">
              <a:off x="2075830" y="2932551"/>
              <a:ext cx="1164529" cy="1660515"/>
            </a:xfrm>
            <a:custGeom>
              <a:avLst/>
              <a:gdLst>
                <a:gd name="connsiteX0" fmla="*/ 349134 w 699782"/>
                <a:gd name="connsiteY0" fmla="*/ 0 h 997827"/>
                <a:gd name="connsiteX1" fmla="*/ 699782 w 699782"/>
                <a:gd name="connsiteY1" fmla="*/ 202015 h 997827"/>
                <a:gd name="connsiteX2" fmla="*/ 699782 w 699782"/>
                <a:gd name="connsiteY2" fmla="*/ 997827 h 997827"/>
                <a:gd name="connsiteX3" fmla="*/ 0 w 699782"/>
                <a:gd name="connsiteY3" fmla="*/ 594668 h 997827"/>
              </a:gdLst>
              <a:ahLst/>
              <a:cxnLst>
                <a:cxn ang="0">
                  <a:pos x="connsiteX0" y="connsiteY0"/>
                </a:cxn>
                <a:cxn ang="0">
                  <a:pos x="connsiteX1" y="connsiteY1"/>
                </a:cxn>
                <a:cxn ang="0">
                  <a:pos x="connsiteX2" y="connsiteY2"/>
                </a:cxn>
                <a:cxn ang="0">
                  <a:pos x="connsiteX3" y="connsiteY3"/>
                </a:cxn>
              </a:cxnLst>
              <a:rect l="l" t="t" r="r" b="b"/>
              <a:pathLst>
                <a:path w="699782" h="997827">
                  <a:moveTo>
                    <a:pt x="349134" y="0"/>
                  </a:moveTo>
                  <a:lnTo>
                    <a:pt x="699782" y="202015"/>
                  </a:lnTo>
                  <a:lnTo>
                    <a:pt x="699782" y="997827"/>
                  </a:lnTo>
                  <a:lnTo>
                    <a:pt x="0" y="594668"/>
                  </a:lnTo>
                  <a:close/>
                </a:path>
              </a:pathLst>
            </a:custGeom>
            <a:solidFill>
              <a:schemeClr val="accent5"/>
            </a:solid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p>
          </p:txBody>
        </p:sp>
      </p:grpSp>
      <p:grpSp>
        <p:nvGrpSpPr>
          <p:cNvPr id="10" name="Group 9">
            <a:extLst>
              <a:ext uri="{FF2B5EF4-FFF2-40B4-BE49-F238E27FC236}">
                <a16:creationId xmlns:a16="http://schemas.microsoft.com/office/drawing/2014/main" id="{1491AF80-A51F-4059-A51C-576735D7FCFE}"/>
              </a:ext>
            </a:extLst>
          </p:cNvPr>
          <p:cNvGrpSpPr/>
          <p:nvPr/>
        </p:nvGrpSpPr>
        <p:grpSpPr bwMode="gray">
          <a:xfrm>
            <a:off x="1495189" y="1938654"/>
            <a:ext cx="1164165" cy="1330077"/>
            <a:chOff x="1495189" y="1938654"/>
            <a:chExt cx="1164165" cy="1330077"/>
          </a:xfrm>
        </p:grpSpPr>
        <p:sp>
          <p:nvSpPr>
            <p:cNvPr id="27" name="Freeform: Shape 26">
              <a:extLst>
                <a:ext uri="{FF2B5EF4-FFF2-40B4-BE49-F238E27FC236}">
                  <a16:creationId xmlns:a16="http://schemas.microsoft.com/office/drawing/2014/main" id="{36596270-DCC0-4EE2-A5BD-37911645E86A}"/>
                </a:ext>
              </a:extLst>
            </p:cNvPr>
            <p:cNvSpPr/>
            <p:nvPr/>
          </p:nvSpPr>
          <p:spPr bwMode="gray">
            <a:xfrm>
              <a:off x="1495189" y="1938654"/>
              <a:ext cx="583524" cy="1330077"/>
            </a:xfrm>
            <a:custGeom>
              <a:avLst/>
              <a:gdLst>
                <a:gd name="connsiteX0" fmla="*/ 350648 w 350648"/>
                <a:gd name="connsiteY0" fmla="*/ 0 h 799262"/>
                <a:gd name="connsiteX1" fmla="*/ 350648 w 350648"/>
                <a:gd name="connsiteY1" fmla="*/ 799262 h 799262"/>
                <a:gd name="connsiteX2" fmla="*/ 0 w 350648"/>
                <a:gd name="connsiteY2" fmla="*/ 597247 h 799262"/>
              </a:gdLst>
              <a:ahLst/>
              <a:cxnLst>
                <a:cxn ang="0">
                  <a:pos x="connsiteX0" y="connsiteY0"/>
                </a:cxn>
                <a:cxn ang="0">
                  <a:pos x="connsiteX1" y="connsiteY1"/>
                </a:cxn>
                <a:cxn ang="0">
                  <a:pos x="connsiteX2" y="connsiteY2"/>
                </a:cxn>
              </a:cxnLst>
              <a:rect l="l" t="t" r="r" b="b"/>
              <a:pathLst>
                <a:path w="350648" h="799262">
                  <a:moveTo>
                    <a:pt x="350648" y="0"/>
                  </a:moveTo>
                  <a:lnTo>
                    <a:pt x="350648" y="799262"/>
                  </a:lnTo>
                  <a:lnTo>
                    <a:pt x="0" y="597247"/>
                  </a:lnTo>
                  <a:close/>
                </a:path>
              </a:pathLst>
            </a:custGeom>
            <a:solidFill>
              <a:schemeClr val="bg1"/>
            </a:solid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5" name="Freeform: Shape 44">
              <a:extLst>
                <a:ext uri="{FF2B5EF4-FFF2-40B4-BE49-F238E27FC236}">
                  <a16:creationId xmlns:a16="http://schemas.microsoft.com/office/drawing/2014/main" id="{16B08C18-BA19-4AB2-8B8D-FBFE77F643B6}"/>
                </a:ext>
              </a:extLst>
            </p:cNvPr>
            <p:cNvSpPr/>
            <p:nvPr/>
          </p:nvSpPr>
          <p:spPr bwMode="gray">
            <a:xfrm flipH="1">
              <a:off x="2075830" y="1938654"/>
              <a:ext cx="583524" cy="1330077"/>
            </a:xfrm>
            <a:custGeom>
              <a:avLst/>
              <a:gdLst>
                <a:gd name="connsiteX0" fmla="*/ 350648 w 350648"/>
                <a:gd name="connsiteY0" fmla="*/ 0 h 799262"/>
                <a:gd name="connsiteX1" fmla="*/ 350648 w 350648"/>
                <a:gd name="connsiteY1" fmla="*/ 799262 h 799262"/>
                <a:gd name="connsiteX2" fmla="*/ 0 w 350648"/>
                <a:gd name="connsiteY2" fmla="*/ 597247 h 799262"/>
              </a:gdLst>
              <a:ahLst/>
              <a:cxnLst>
                <a:cxn ang="0">
                  <a:pos x="connsiteX0" y="connsiteY0"/>
                </a:cxn>
                <a:cxn ang="0">
                  <a:pos x="connsiteX1" y="connsiteY1"/>
                </a:cxn>
                <a:cxn ang="0">
                  <a:pos x="connsiteX2" y="connsiteY2"/>
                </a:cxn>
              </a:cxnLst>
              <a:rect l="l" t="t" r="r" b="b"/>
              <a:pathLst>
                <a:path w="350648" h="799262">
                  <a:moveTo>
                    <a:pt x="350648" y="0"/>
                  </a:moveTo>
                  <a:lnTo>
                    <a:pt x="350648" y="799262"/>
                  </a:lnTo>
                  <a:lnTo>
                    <a:pt x="0" y="597247"/>
                  </a:lnTo>
                  <a:close/>
                </a:path>
              </a:pathLst>
            </a:custGeom>
            <a:solidFill>
              <a:schemeClr val="accent5"/>
            </a:solidFill>
            <a:ln w="12700"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pSp>
      <p:sp>
        <p:nvSpPr>
          <p:cNvPr id="82" name="Freeform: Shape 81">
            <a:extLst>
              <a:ext uri="{FF2B5EF4-FFF2-40B4-BE49-F238E27FC236}">
                <a16:creationId xmlns:a16="http://schemas.microsoft.com/office/drawing/2014/main" id="{35EECA76-A43A-431C-92AD-A3007A2FCA53}"/>
              </a:ext>
            </a:extLst>
          </p:cNvPr>
          <p:cNvSpPr/>
          <p:nvPr/>
        </p:nvSpPr>
        <p:spPr bwMode="gray">
          <a:xfrm flipH="1">
            <a:off x="6039826" y="1951727"/>
            <a:ext cx="5813436" cy="982503"/>
          </a:xfrm>
          <a:custGeom>
            <a:avLst/>
            <a:gdLst>
              <a:gd name="connsiteX0" fmla="*/ 5813436 w 5813436"/>
              <a:gd name="connsiteY0" fmla="*/ 0 h 982503"/>
              <a:gd name="connsiteX1" fmla="*/ 0 w 5813436"/>
              <a:gd name="connsiteY1" fmla="*/ 0 h 982503"/>
              <a:gd name="connsiteX2" fmla="*/ 0 w 5813436"/>
              <a:gd name="connsiteY2" fmla="*/ 982503 h 982503"/>
              <a:gd name="connsiteX3" fmla="*/ 5233533 w 5813436"/>
              <a:gd name="connsiteY3" fmla="*/ 982503 h 982503"/>
            </a:gdLst>
            <a:ahLst/>
            <a:cxnLst>
              <a:cxn ang="0">
                <a:pos x="connsiteX0" y="connsiteY0"/>
              </a:cxn>
              <a:cxn ang="0">
                <a:pos x="connsiteX1" y="connsiteY1"/>
              </a:cxn>
              <a:cxn ang="0">
                <a:pos x="connsiteX2" y="connsiteY2"/>
              </a:cxn>
              <a:cxn ang="0">
                <a:pos x="connsiteX3" y="connsiteY3"/>
              </a:cxn>
            </a:cxnLst>
            <a:rect l="l" t="t" r="r" b="b"/>
            <a:pathLst>
              <a:path w="5813436" h="982503">
                <a:moveTo>
                  <a:pt x="5813436" y="0"/>
                </a:moveTo>
                <a:lnTo>
                  <a:pt x="0" y="0"/>
                </a:lnTo>
                <a:lnTo>
                  <a:pt x="0" y="982503"/>
                </a:lnTo>
                <a:lnTo>
                  <a:pt x="5233533" y="982503"/>
                </a:lnTo>
                <a:close/>
              </a:path>
            </a:pathLst>
          </a:custGeom>
          <a:solidFill>
            <a:schemeClr val="accent6"/>
          </a:solidFill>
          <a:ln w="12700">
            <a:solidFill>
              <a:schemeClr val="accent3"/>
            </a:solidFill>
          </a:ln>
          <a:effectLst/>
        </p:spPr>
        <p:style>
          <a:lnRef idx="1">
            <a:schemeClr val="dk2">
              <a:hueOff val="0"/>
              <a:satOff val="0"/>
              <a:lumOff val="0"/>
              <a:alphaOff val="0"/>
            </a:schemeClr>
          </a:lnRef>
          <a:fillRef idx="1">
            <a:schemeClr val="dk2">
              <a:alpha val="90000"/>
              <a:tint val="40000"/>
              <a:hueOff val="0"/>
              <a:satOff val="0"/>
              <a:lumOff val="0"/>
              <a:alphaOff val="0"/>
            </a:schemeClr>
          </a:fillRef>
          <a:effectRef idx="2">
            <a:schemeClr val="dk2">
              <a:alpha val="90000"/>
              <a:tint val="40000"/>
              <a:hueOff val="0"/>
              <a:satOff val="0"/>
              <a:lumOff val="0"/>
              <a:alphaOff val="0"/>
            </a:schemeClr>
          </a:effectRef>
          <a:fontRef idx="minor">
            <a:schemeClr val="dk2">
              <a:hueOff val="0"/>
              <a:satOff val="0"/>
              <a:lumOff val="0"/>
              <a:alphaOff val="0"/>
            </a:schemeClr>
          </a:fontRef>
        </p:style>
        <p:txBody>
          <a:bodyPr spcFirstLastPara="0" vert="horz" wrap="square" lIns="684000" tIns="72000" rIns="144000" bIns="72000" numCol="1" spcCol="1270" anchor="ctr" anchorCtr="0">
            <a:noAutofit/>
          </a:bodyPr>
          <a:lstStyle/>
          <a:p>
            <a:pPr marL="180018" lvl="1" indent="-180018" defTabSz="914491">
              <a:buFont typeface="ABBvoiceOffice" panose="020D0603020503020204" pitchFamily="34" charset="0"/>
              <a:buChar char="–"/>
            </a:pPr>
            <a:r>
              <a:rPr lang="en-US" sz="1400" dirty="0">
                <a:solidFill>
                  <a:schemeClr val="tx1"/>
                </a:solidFill>
              </a:rPr>
              <a:t>Electronic Special Gases</a:t>
            </a:r>
          </a:p>
          <a:p>
            <a:pPr marL="180018" lvl="1" indent="-180018" defTabSz="914491">
              <a:buFont typeface="ABBvoiceOffice" panose="020D0603020503020204" pitchFamily="34" charset="0"/>
              <a:buChar char="–"/>
            </a:pPr>
            <a:r>
              <a:rPr lang="en-US" sz="1400" dirty="0">
                <a:solidFill>
                  <a:schemeClr val="tx1"/>
                </a:solidFill>
              </a:rPr>
              <a:t>Specialty Gases &amp; Certified Mixtures</a:t>
            </a:r>
          </a:p>
        </p:txBody>
      </p:sp>
      <p:sp>
        <p:nvSpPr>
          <p:cNvPr id="83" name="Freeform: Shape 82">
            <a:extLst>
              <a:ext uri="{FF2B5EF4-FFF2-40B4-BE49-F238E27FC236}">
                <a16:creationId xmlns:a16="http://schemas.microsoft.com/office/drawing/2014/main" id="{A4AB03A3-D14E-431F-A514-49E479C901BA}"/>
              </a:ext>
            </a:extLst>
          </p:cNvPr>
          <p:cNvSpPr/>
          <p:nvPr/>
        </p:nvSpPr>
        <p:spPr bwMode="gray">
          <a:xfrm flipH="1">
            <a:off x="6614126" y="2934249"/>
            <a:ext cx="5239136" cy="982503"/>
          </a:xfrm>
          <a:custGeom>
            <a:avLst/>
            <a:gdLst>
              <a:gd name="connsiteX0" fmla="*/ 5239136 w 5239136"/>
              <a:gd name="connsiteY0" fmla="*/ 0 h 982503"/>
              <a:gd name="connsiteX1" fmla="*/ 0 w 5239136"/>
              <a:gd name="connsiteY1" fmla="*/ 0 h 982503"/>
              <a:gd name="connsiteX2" fmla="*/ 0 w 5239136"/>
              <a:gd name="connsiteY2" fmla="*/ 982503 h 982503"/>
              <a:gd name="connsiteX3" fmla="*/ 4659233 w 5239136"/>
              <a:gd name="connsiteY3" fmla="*/ 982503 h 982503"/>
            </a:gdLst>
            <a:ahLst/>
            <a:cxnLst>
              <a:cxn ang="0">
                <a:pos x="connsiteX0" y="connsiteY0"/>
              </a:cxn>
              <a:cxn ang="0">
                <a:pos x="connsiteX1" y="connsiteY1"/>
              </a:cxn>
              <a:cxn ang="0">
                <a:pos x="connsiteX2" y="connsiteY2"/>
              </a:cxn>
              <a:cxn ang="0">
                <a:pos x="connsiteX3" y="connsiteY3"/>
              </a:cxn>
            </a:cxnLst>
            <a:rect l="l" t="t" r="r" b="b"/>
            <a:pathLst>
              <a:path w="5239136" h="982503">
                <a:moveTo>
                  <a:pt x="5239136" y="0"/>
                </a:moveTo>
                <a:lnTo>
                  <a:pt x="0" y="0"/>
                </a:lnTo>
                <a:lnTo>
                  <a:pt x="0" y="982503"/>
                </a:lnTo>
                <a:lnTo>
                  <a:pt x="4659233" y="982503"/>
                </a:lnTo>
                <a:close/>
              </a:path>
            </a:pathLst>
          </a:custGeom>
          <a:solidFill>
            <a:schemeClr val="accent6"/>
          </a:solidFill>
          <a:ln w="12700">
            <a:solidFill>
              <a:schemeClr val="accent3"/>
            </a:solidFill>
          </a:ln>
          <a:effectLst/>
        </p:spPr>
        <p:style>
          <a:lnRef idx="1">
            <a:schemeClr val="dk2">
              <a:hueOff val="0"/>
              <a:satOff val="0"/>
              <a:lumOff val="0"/>
              <a:alphaOff val="0"/>
            </a:schemeClr>
          </a:lnRef>
          <a:fillRef idx="1">
            <a:schemeClr val="dk2">
              <a:alpha val="90000"/>
              <a:tint val="40000"/>
              <a:hueOff val="0"/>
              <a:satOff val="0"/>
              <a:lumOff val="0"/>
              <a:alphaOff val="0"/>
            </a:schemeClr>
          </a:fillRef>
          <a:effectRef idx="2">
            <a:schemeClr val="dk2">
              <a:alpha val="90000"/>
              <a:tint val="40000"/>
              <a:hueOff val="0"/>
              <a:satOff val="0"/>
              <a:lumOff val="0"/>
              <a:alphaOff val="0"/>
            </a:schemeClr>
          </a:effectRef>
          <a:fontRef idx="minor">
            <a:schemeClr val="dk2">
              <a:hueOff val="0"/>
              <a:satOff val="0"/>
              <a:lumOff val="0"/>
              <a:alphaOff val="0"/>
            </a:schemeClr>
          </a:fontRef>
        </p:style>
        <p:txBody>
          <a:bodyPr spcFirstLastPara="0" vert="horz" wrap="square" lIns="684000" tIns="72000" rIns="144000" bIns="72000" numCol="1" spcCol="1270" anchor="ctr" anchorCtr="0">
            <a:noAutofit/>
          </a:bodyPr>
          <a:lstStyle/>
          <a:p>
            <a:pPr marL="180018" lvl="1" indent="-180018" defTabSz="914491">
              <a:buFont typeface="ABBvoiceOffice" panose="020D0603020503020204" pitchFamily="34" charset="0"/>
              <a:buChar char="–"/>
            </a:pPr>
            <a:r>
              <a:rPr lang="en-US" sz="1400" dirty="0">
                <a:solidFill>
                  <a:schemeClr val="tx1"/>
                </a:solidFill>
              </a:rPr>
              <a:t>All products in group 3, plus…</a:t>
            </a:r>
          </a:p>
          <a:p>
            <a:pPr marL="180018" lvl="1" indent="-180018" defTabSz="914491">
              <a:buFont typeface="ABBvoiceOffice" panose="020D0603020503020204" pitchFamily="34" charset="0"/>
              <a:buChar char="–"/>
            </a:pPr>
            <a:r>
              <a:rPr lang="en-US" sz="1400" dirty="0">
                <a:solidFill>
                  <a:schemeClr val="tx1"/>
                </a:solidFill>
              </a:rPr>
              <a:t>Medical nitrous oxide</a:t>
            </a:r>
          </a:p>
          <a:p>
            <a:pPr marL="180018" lvl="1" indent="-180018" defTabSz="914491">
              <a:buFont typeface="ABBvoiceOffice" panose="020D0603020503020204" pitchFamily="34" charset="0"/>
              <a:buChar char="–"/>
            </a:pPr>
            <a:r>
              <a:rPr lang="en-US" sz="1400" dirty="0">
                <a:solidFill>
                  <a:schemeClr val="tx1"/>
                </a:solidFill>
              </a:rPr>
              <a:t>High purity industrial or specialty gases</a:t>
            </a:r>
          </a:p>
          <a:p>
            <a:pPr marL="180018" lvl="1" indent="-180018" defTabSz="914491">
              <a:buFont typeface="ABBvoiceOffice" panose="020D0603020503020204" pitchFamily="34" charset="0"/>
              <a:buChar char="–"/>
            </a:pPr>
            <a:r>
              <a:rPr lang="en-US" sz="1400" dirty="0">
                <a:solidFill>
                  <a:schemeClr val="tx1"/>
                </a:solidFill>
              </a:rPr>
              <a:t>Medical &amp; industrial gas mixtures</a:t>
            </a:r>
          </a:p>
        </p:txBody>
      </p:sp>
      <p:sp>
        <p:nvSpPr>
          <p:cNvPr id="84" name="Freeform: Shape 83">
            <a:extLst>
              <a:ext uri="{FF2B5EF4-FFF2-40B4-BE49-F238E27FC236}">
                <a16:creationId xmlns:a16="http://schemas.microsoft.com/office/drawing/2014/main" id="{9C0DD87C-EF65-48B7-BF32-D2B065C0F829}"/>
              </a:ext>
            </a:extLst>
          </p:cNvPr>
          <p:cNvSpPr/>
          <p:nvPr/>
        </p:nvSpPr>
        <p:spPr bwMode="gray">
          <a:xfrm flipH="1">
            <a:off x="7197814" y="3916768"/>
            <a:ext cx="4655449" cy="982503"/>
          </a:xfrm>
          <a:custGeom>
            <a:avLst/>
            <a:gdLst>
              <a:gd name="connsiteX0" fmla="*/ 4655449 w 4655449"/>
              <a:gd name="connsiteY0" fmla="*/ 0 h 982503"/>
              <a:gd name="connsiteX1" fmla="*/ 0 w 4655449"/>
              <a:gd name="connsiteY1" fmla="*/ 0 h 982503"/>
              <a:gd name="connsiteX2" fmla="*/ 0 w 4655449"/>
              <a:gd name="connsiteY2" fmla="*/ 982503 h 982503"/>
              <a:gd name="connsiteX3" fmla="*/ 4075546 w 4655449"/>
              <a:gd name="connsiteY3" fmla="*/ 982503 h 982503"/>
            </a:gdLst>
            <a:ahLst/>
            <a:cxnLst>
              <a:cxn ang="0">
                <a:pos x="connsiteX0" y="connsiteY0"/>
              </a:cxn>
              <a:cxn ang="0">
                <a:pos x="connsiteX1" y="connsiteY1"/>
              </a:cxn>
              <a:cxn ang="0">
                <a:pos x="connsiteX2" y="connsiteY2"/>
              </a:cxn>
              <a:cxn ang="0">
                <a:pos x="connsiteX3" y="connsiteY3"/>
              </a:cxn>
            </a:cxnLst>
            <a:rect l="l" t="t" r="r" b="b"/>
            <a:pathLst>
              <a:path w="4655449" h="982503">
                <a:moveTo>
                  <a:pt x="4655449" y="0"/>
                </a:moveTo>
                <a:lnTo>
                  <a:pt x="0" y="0"/>
                </a:lnTo>
                <a:lnTo>
                  <a:pt x="0" y="982503"/>
                </a:lnTo>
                <a:lnTo>
                  <a:pt x="4075546" y="982503"/>
                </a:lnTo>
                <a:close/>
              </a:path>
            </a:pathLst>
          </a:custGeom>
          <a:solidFill>
            <a:schemeClr val="accent6"/>
          </a:solidFill>
          <a:ln w="12700">
            <a:solidFill>
              <a:schemeClr val="accent3"/>
            </a:solidFill>
          </a:ln>
          <a:effectLst/>
        </p:spPr>
        <p:style>
          <a:lnRef idx="1">
            <a:schemeClr val="dk2">
              <a:hueOff val="0"/>
              <a:satOff val="0"/>
              <a:lumOff val="0"/>
              <a:alphaOff val="0"/>
            </a:schemeClr>
          </a:lnRef>
          <a:fillRef idx="1">
            <a:schemeClr val="dk2">
              <a:alpha val="90000"/>
              <a:tint val="40000"/>
              <a:hueOff val="0"/>
              <a:satOff val="0"/>
              <a:lumOff val="0"/>
              <a:alphaOff val="0"/>
            </a:schemeClr>
          </a:fillRef>
          <a:effectRef idx="2">
            <a:schemeClr val="dk2">
              <a:alpha val="90000"/>
              <a:tint val="40000"/>
              <a:hueOff val="0"/>
              <a:satOff val="0"/>
              <a:lumOff val="0"/>
              <a:alphaOff val="0"/>
            </a:schemeClr>
          </a:effectRef>
          <a:fontRef idx="minor">
            <a:schemeClr val="dk2">
              <a:hueOff val="0"/>
              <a:satOff val="0"/>
              <a:lumOff val="0"/>
              <a:alphaOff val="0"/>
            </a:schemeClr>
          </a:fontRef>
        </p:style>
        <p:txBody>
          <a:bodyPr spcFirstLastPara="0" vert="horz" wrap="square" lIns="684000" tIns="72000" rIns="144000" bIns="72000" numCol="1" spcCol="1270" anchor="ctr" anchorCtr="0">
            <a:noAutofit/>
          </a:bodyPr>
          <a:lstStyle/>
          <a:p>
            <a:pPr marL="180018" lvl="1" indent="-180018" defTabSz="914491">
              <a:buFont typeface="ABBvoiceOffice" panose="020D0603020503020204" pitchFamily="34" charset="0"/>
              <a:buChar char="–"/>
            </a:pPr>
            <a:r>
              <a:rPr lang="en-US" sz="1400" dirty="0">
                <a:solidFill>
                  <a:schemeClr val="tx1"/>
                </a:solidFill>
              </a:rPr>
              <a:t>Medical oxygen</a:t>
            </a:r>
          </a:p>
          <a:p>
            <a:pPr marL="180018" lvl="1" indent="-180018" defTabSz="914491">
              <a:buFont typeface="ABBvoiceOffice" panose="020D0603020503020204" pitchFamily="34" charset="0"/>
              <a:buChar char="–"/>
            </a:pPr>
            <a:r>
              <a:rPr lang="en-US" sz="1400" dirty="0">
                <a:solidFill>
                  <a:schemeClr val="tx1"/>
                </a:solidFill>
              </a:rPr>
              <a:t>LPG / Propane</a:t>
            </a:r>
          </a:p>
          <a:p>
            <a:pPr marL="180018" lvl="1" indent="-180018" defTabSz="914491">
              <a:buFont typeface="ABBvoiceOffice" panose="020D0603020503020204" pitchFamily="34" charset="0"/>
              <a:buChar char="–"/>
            </a:pPr>
            <a:r>
              <a:rPr lang="en-US" sz="1400" dirty="0">
                <a:solidFill>
                  <a:schemeClr val="tx1"/>
                </a:solidFill>
              </a:rPr>
              <a:t>Pure industrial gases</a:t>
            </a:r>
          </a:p>
          <a:p>
            <a:pPr marL="180018" lvl="1" indent="-180018" defTabSz="914491">
              <a:buFont typeface="ABBvoiceOffice" panose="020D0603020503020204" pitchFamily="34" charset="0"/>
              <a:buChar char="–"/>
            </a:pPr>
            <a:r>
              <a:rPr lang="en-US" sz="1400" dirty="0">
                <a:solidFill>
                  <a:schemeClr val="tx1"/>
                </a:solidFill>
              </a:rPr>
              <a:t>Some very common industrial gas mixtures</a:t>
            </a:r>
          </a:p>
        </p:txBody>
      </p:sp>
      <p:sp>
        <p:nvSpPr>
          <p:cNvPr id="77" name="Freeform: Shape 76">
            <a:extLst>
              <a:ext uri="{FF2B5EF4-FFF2-40B4-BE49-F238E27FC236}">
                <a16:creationId xmlns:a16="http://schemas.microsoft.com/office/drawing/2014/main" id="{F0C91FDD-01A0-4113-87AC-FCC52DF7C5E5}"/>
              </a:ext>
            </a:extLst>
          </p:cNvPr>
          <p:cNvSpPr/>
          <p:nvPr/>
        </p:nvSpPr>
        <p:spPr bwMode="gray">
          <a:xfrm flipH="1">
            <a:off x="2657648" y="2934249"/>
            <a:ext cx="4543622" cy="982503"/>
          </a:xfrm>
          <a:custGeom>
            <a:avLst/>
            <a:gdLst>
              <a:gd name="connsiteX0" fmla="*/ 4543622 w 4543622"/>
              <a:gd name="connsiteY0" fmla="*/ 0 h 982503"/>
              <a:gd name="connsiteX1" fmla="*/ 3484079 w 4543622"/>
              <a:gd name="connsiteY1" fmla="*/ 0 h 982503"/>
              <a:gd name="connsiteX2" fmla="*/ 1639446 w 4543622"/>
              <a:gd name="connsiteY2" fmla="*/ 0 h 982503"/>
              <a:gd name="connsiteX3" fmla="*/ 579903 w 4543622"/>
              <a:gd name="connsiteY3" fmla="*/ 0 h 982503"/>
              <a:gd name="connsiteX4" fmla="*/ 0 w 4543622"/>
              <a:gd name="connsiteY4" fmla="*/ 982503 h 982503"/>
              <a:gd name="connsiteX5" fmla="*/ 1059543 w 4543622"/>
              <a:gd name="connsiteY5" fmla="*/ 982503 h 982503"/>
              <a:gd name="connsiteX6" fmla="*/ 2904176 w 4543622"/>
              <a:gd name="connsiteY6" fmla="*/ 982503 h 982503"/>
              <a:gd name="connsiteX7" fmla="*/ 3963719 w 4543622"/>
              <a:gd name="connsiteY7" fmla="*/ 982503 h 98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3622" h="982503">
                <a:moveTo>
                  <a:pt x="4543622" y="0"/>
                </a:moveTo>
                <a:lnTo>
                  <a:pt x="3484079" y="0"/>
                </a:lnTo>
                <a:lnTo>
                  <a:pt x="1639446" y="0"/>
                </a:lnTo>
                <a:lnTo>
                  <a:pt x="579903" y="0"/>
                </a:lnTo>
                <a:lnTo>
                  <a:pt x="0" y="982503"/>
                </a:lnTo>
                <a:lnTo>
                  <a:pt x="1059543" y="982503"/>
                </a:lnTo>
                <a:lnTo>
                  <a:pt x="2904176" y="982503"/>
                </a:lnTo>
                <a:lnTo>
                  <a:pt x="3963719" y="982503"/>
                </a:lnTo>
                <a:close/>
              </a:path>
            </a:pathLst>
          </a:custGeom>
          <a:solidFill>
            <a:schemeClr val="bg1"/>
          </a:solidFill>
          <a:ln w="12700">
            <a:solidFill>
              <a:schemeClr val="accent3"/>
            </a:solidFill>
          </a:ln>
          <a:effectLst/>
        </p:spPr>
        <p:style>
          <a:lnRef idx="1">
            <a:schemeClr val="dk2">
              <a:hueOff val="0"/>
              <a:satOff val="0"/>
              <a:lumOff val="0"/>
              <a:alphaOff val="0"/>
            </a:schemeClr>
          </a:lnRef>
          <a:fillRef idx="1">
            <a:schemeClr val="dk2">
              <a:alpha val="90000"/>
              <a:tint val="40000"/>
              <a:hueOff val="0"/>
              <a:satOff val="0"/>
              <a:lumOff val="0"/>
              <a:alphaOff val="0"/>
            </a:schemeClr>
          </a:fillRef>
          <a:effectRef idx="2">
            <a:schemeClr val="dk2">
              <a:alpha val="90000"/>
              <a:tint val="40000"/>
              <a:hueOff val="0"/>
              <a:satOff val="0"/>
              <a:lumOff val="0"/>
              <a:alphaOff val="0"/>
            </a:schemeClr>
          </a:effectRef>
          <a:fontRef idx="minor">
            <a:schemeClr val="dk2">
              <a:hueOff val="0"/>
              <a:satOff val="0"/>
              <a:lumOff val="0"/>
              <a:alphaOff val="0"/>
            </a:schemeClr>
          </a:fontRef>
        </p:style>
        <p:txBody>
          <a:bodyPr spcFirstLastPara="0" vert="horz" wrap="square" lIns="792000" tIns="72000" rIns="720000" bIns="72000" numCol="1" spcCol="1270" anchor="ctr" anchorCtr="0">
            <a:noAutofit/>
          </a:bodyPr>
          <a:lstStyle/>
          <a:p>
            <a:pPr lvl="0" defTabSz="622300">
              <a:spcBef>
                <a:spcPts val="300"/>
              </a:spcBef>
            </a:pPr>
            <a:r>
              <a:rPr lang="en-US" sz="1400" b="1" dirty="0">
                <a:solidFill>
                  <a:schemeClr val="bg2"/>
                </a:solidFill>
              </a:rPr>
              <a:t>Regional or national hubs</a:t>
            </a:r>
          </a:p>
          <a:p>
            <a:pPr lvl="0" defTabSz="622300">
              <a:spcBef>
                <a:spcPts val="300"/>
              </a:spcBef>
            </a:pPr>
            <a:r>
              <a:rPr lang="en-US" sz="1400" dirty="0">
                <a:solidFill>
                  <a:schemeClr val="tx1"/>
                </a:solidFill>
              </a:rPr>
              <a:t>Medium number of sites with some medium complexity instruments. </a:t>
            </a:r>
            <a:br>
              <a:rPr lang="en-US" sz="1400" dirty="0">
                <a:solidFill>
                  <a:schemeClr val="tx1"/>
                </a:solidFill>
              </a:rPr>
            </a:br>
            <a:r>
              <a:rPr lang="en-US" sz="1400" dirty="0">
                <a:solidFill>
                  <a:schemeClr val="tx1"/>
                </a:solidFill>
              </a:rPr>
              <a:t>Multiple sites in a large country.</a:t>
            </a:r>
          </a:p>
        </p:txBody>
      </p:sp>
      <p:sp>
        <p:nvSpPr>
          <p:cNvPr id="78" name="Freeform: Shape 77">
            <a:extLst>
              <a:ext uri="{FF2B5EF4-FFF2-40B4-BE49-F238E27FC236}">
                <a16:creationId xmlns:a16="http://schemas.microsoft.com/office/drawing/2014/main" id="{B836C334-AE53-44CC-9E16-7FA5EB14EEA2}"/>
              </a:ext>
            </a:extLst>
          </p:cNvPr>
          <p:cNvSpPr/>
          <p:nvPr/>
        </p:nvSpPr>
        <p:spPr bwMode="gray">
          <a:xfrm flipH="1">
            <a:off x="3236654" y="3916768"/>
            <a:ext cx="4543622" cy="982503"/>
          </a:xfrm>
          <a:custGeom>
            <a:avLst/>
            <a:gdLst>
              <a:gd name="connsiteX0" fmla="*/ 4543622 w 4543622"/>
              <a:gd name="connsiteY0" fmla="*/ 0 h 982503"/>
              <a:gd name="connsiteX1" fmla="*/ 3484079 w 4543622"/>
              <a:gd name="connsiteY1" fmla="*/ 0 h 982503"/>
              <a:gd name="connsiteX2" fmla="*/ 1639446 w 4543622"/>
              <a:gd name="connsiteY2" fmla="*/ 0 h 982503"/>
              <a:gd name="connsiteX3" fmla="*/ 579903 w 4543622"/>
              <a:gd name="connsiteY3" fmla="*/ 0 h 982503"/>
              <a:gd name="connsiteX4" fmla="*/ 0 w 4543622"/>
              <a:gd name="connsiteY4" fmla="*/ 982503 h 982503"/>
              <a:gd name="connsiteX5" fmla="*/ 1059543 w 4543622"/>
              <a:gd name="connsiteY5" fmla="*/ 982503 h 982503"/>
              <a:gd name="connsiteX6" fmla="*/ 2904176 w 4543622"/>
              <a:gd name="connsiteY6" fmla="*/ 982503 h 982503"/>
              <a:gd name="connsiteX7" fmla="*/ 3963719 w 4543622"/>
              <a:gd name="connsiteY7" fmla="*/ 982503 h 98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3622" h="982503">
                <a:moveTo>
                  <a:pt x="4543622" y="0"/>
                </a:moveTo>
                <a:lnTo>
                  <a:pt x="3484079" y="0"/>
                </a:lnTo>
                <a:lnTo>
                  <a:pt x="1639446" y="0"/>
                </a:lnTo>
                <a:lnTo>
                  <a:pt x="579903" y="0"/>
                </a:lnTo>
                <a:lnTo>
                  <a:pt x="0" y="982503"/>
                </a:lnTo>
                <a:lnTo>
                  <a:pt x="1059543" y="982503"/>
                </a:lnTo>
                <a:lnTo>
                  <a:pt x="2904176" y="982503"/>
                </a:lnTo>
                <a:lnTo>
                  <a:pt x="3963719" y="982503"/>
                </a:lnTo>
                <a:close/>
              </a:path>
            </a:pathLst>
          </a:custGeom>
          <a:solidFill>
            <a:schemeClr val="bg1"/>
          </a:solidFill>
          <a:ln w="12700">
            <a:solidFill>
              <a:schemeClr val="accent3"/>
            </a:solidFill>
          </a:ln>
          <a:effectLst/>
        </p:spPr>
        <p:style>
          <a:lnRef idx="1">
            <a:schemeClr val="dk2">
              <a:hueOff val="0"/>
              <a:satOff val="0"/>
              <a:lumOff val="0"/>
              <a:alphaOff val="0"/>
            </a:schemeClr>
          </a:lnRef>
          <a:fillRef idx="1">
            <a:schemeClr val="dk2">
              <a:alpha val="90000"/>
              <a:tint val="40000"/>
              <a:hueOff val="0"/>
              <a:satOff val="0"/>
              <a:lumOff val="0"/>
              <a:alphaOff val="0"/>
            </a:schemeClr>
          </a:fillRef>
          <a:effectRef idx="2">
            <a:schemeClr val="dk2">
              <a:alpha val="90000"/>
              <a:tint val="40000"/>
              <a:hueOff val="0"/>
              <a:satOff val="0"/>
              <a:lumOff val="0"/>
              <a:alphaOff val="0"/>
            </a:schemeClr>
          </a:effectRef>
          <a:fontRef idx="minor">
            <a:schemeClr val="dk2">
              <a:hueOff val="0"/>
              <a:satOff val="0"/>
              <a:lumOff val="0"/>
              <a:alphaOff val="0"/>
            </a:schemeClr>
          </a:fontRef>
        </p:style>
        <p:txBody>
          <a:bodyPr spcFirstLastPara="0" vert="horz" wrap="square" lIns="792000" tIns="72000" rIns="720000" bIns="72000" numCol="1" spcCol="1270" anchor="ctr" anchorCtr="0">
            <a:noAutofit/>
          </a:bodyPr>
          <a:lstStyle/>
          <a:p>
            <a:pPr lvl="0" defTabSz="622300">
              <a:spcBef>
                <a:spcPts val="300"/>
              </a:spcBef>
            </a:pPr>
            <a:r>
              <a:rPr lang="en-US" sz="1400" b="1" dirty="0">
                <a:solidFill>
                  <a:schemeClr val="bg2"/>
                </a:solidFill>
              </a:rPr>
              <a:t>Local production sites</a:t>
            </a:r>
          </a:p>
          <a:p>
            <a:pPr lvl="0" defTabSz="622300">
              <a:spcBef>
                <a:spcPts val="300"/>
              </a:spcBef>
            </a:pPr>
            <a:r>
              <a:rPr lang="en-US" sz="1400" dirty="0">
                <a:solidFill>
                  <a:schemeClr val="tx1"/>
                </a:solidFill>
              </a:rPr>
              <a:t>Many basic cylinder filling sites close to their regional markets.  Each having few basic analyzers.</a:t>
            </a:r>
          </a:p>
        </p:txBody>
      </p:sp>
      <p:sp>
        <p:nvSpPr>
          <p:cNvPr id="76" name="Freeform: Shape 75">
            <a:extLst>
              <a:ext uri="{FF2B5EF4-FFF2-40B4-BE49-F238E27FC236}">
                <a16:creationId xmlns:a16="http://schemas.microsoft.com/office/drawing/2014/main" id="{7AC04245-29D4-4CCA-8755-3309099F8A88}"/>
              </a:ext>
            </a:extLst>
          </p:cNvPr>
          <p:cNvSpPr/>
          <p:nvPr/>
        </p:nvSpPr>
        <p:spPr bwMode="gray">
          <a:xfrm flipH="1">
            <a:off x="2078643" y="1951727"/>
            <a:ext cx="4543621" cy="982503"/>
          </a:xfrm>
          <a:custGeom>
            <a:avLst/>
            <a:gdLst>
              <a:gd name="connsiteX0" fmla="*/ 4543621 w 4543621"/>
              <a:gd name="connsiteY0" fmla="*/ 0 h 982503"/>
              <a:gd name="connsiteX1" fmla="*/ 3484079 w 4543621"/>
              <a:gd name="connsiteY1" fmla="*/ 0 h 982503"/>
              <a:gd name="connsiteX2" fmla="*/ 1639445 w 4543621"/>
              <a:gd name="connsiteY2" fmla="*/ 0 h 982503"/>
              <a:gd name="connsiteX3" fmla="*/ 579903 w 4543621"/>
              <a:gd name="connsiteY3" fmla="*/ 0 h 982503"/>
              <a:gd name="connsiteX4" fmla="*/ 0 w 4543621"/>
              <a:gd name="connsiteY4" fmla="*/ 982503 h 982503"/>
              <a:gd name="connsiteX5" fmla="*/ 1059542 w 4543621"/>
              <a:gd name="connsiteY5" fmla="*/ 982503 h 982503"/>
              <a:gd name="connsiteX6" fmla="*/ 2904176 w 4543621"/>
              <a:gd name="connsiteY6" fmla="*/ 982503 h 982503"/>
              <a:gd name="connsiteX7" fmla="*/ 3963718 w 4543621"/>
              <a:gd name="connsiteY7" fmla="*/ 982503 h 982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3621" h="982503">
                <a:moveTo>
                  <a:pt x="4543621" y="0"/>
                </a:moveTo>
                <a:lnTo>
                  <a:pt x="3484079" y="0"/>
                </a:lnTo>
                <a:lnTo>
                  <a:pt x="1639445" y="0"/>
                </a:lnTo>
                <a:lnTo>
                  <a:pt x="579903" y="0"/>
                </a:lnTo>
                <a:lnTo>
                  <a:pt x="0" y="982503"/>
                </a:lnTo>
                <a:lnTo>
                  <a:pt x="1059542" y="982503"/>
                </a:lnTo>
                <a:lnTo>
                  <a:pt x="2904176" y="982503"/>
                </a:lnTo>
                <a:lnTo>
                  <a:pt x="3963718" y="982503"/>
                </a:lnTo>
                <a:close/>
              </a:path>
            </a:pathLst>
          </a:custGeom>
          <a:solidFill>
            <a:schemeClr val="bg1"/>
          </a:solidFill>
          <a:ln w="12700">
            <a:solidFill>
              <a:schemeClr val="accent3"/>
            </a:solidFill>
          </a:ln>
          <a:effectLst/>
        </p:spPr>
        <p:style>
          <a:lnRef idx="1">
            <a:schemeClr val="dk2">
              <a:hueOff val="0"/>
              <a:satOff val="0"/>
              <a:lumOff val="0"/>
              <a:alphaOff val="0"/>
            </a:schemeClr>
          </a:lnRef>
          <a:fillRef idx="1">
            <a:schemeClr val="dk2">
              <a:alpha val="90000"/>
              <a:tint val="40000"/>
              <a:hueOff val="0"/>
              <a:satOff val="0"/>
              <a:lumOff val="0"/>
              <a:alphaOff val="0"/>
            </a:schemeClr>
          </a:fillRef>
          <a:effectRef idx="2">
            <a:schemeClr val="dk2">
              <a:alpha val="90000"/>
              <a:tint val="40000"/>
              <a:hueOff val="0"/>
              <a:satOff val="0"/>
              <a:lumOff val="0"/>
              <a:alphaOff val="0"/>
            </a:schemeClr>
          </a:effectRef>
          <a:fontRef idx="minor">
            <a:schemeClr val="dk2">
              <a:hueOff val="0"/>
              <a:satOff val="0"/>
              <a:lumOff val="0"/>
              <a:alphaOff val="0"/>
            </a:schemeClr>
          </a:fontRef>
        </p:style>
        <p:txBody>
          <a:bodyPr spcFirstLastPara="0" vert="horz" wrap="square" lIns="792000" tIns="72000" rIns="720000" bIns="72000" numCol="1" spcCol="1270" anchor="ctr" anchorCtr="0">
            <a:noAutofit/>
          </a:bodyPr>
          <a:lstStyle/>
          <a:p>
            <a:pPr lvl="0" defTabSz="622300">
              <a:spcBef>
                <a:spcPts val="300"/>
              </a:spcBef>
            </a:pPr>
            <a:r>
              <a:rPr lang="en-US" sz="1400" b="1" dirty="0">
                <a:solidFill>
                  <a:schemeClr val="bg2"/>
                </a:solidFill>
              </a:rPr>
              <a:t>Global, regional or national hubs</a:t>
            </a:r>
          </a:p>
          <a:p>
            <a:pPr lvl="0" defTabSz="622300">
              <a:spcBef>
                <a:spcPts val="300"/>
              </a:spcBef>
            </a:pPr>
            <a:r>
              <a:rPr lang="en-US" sz="1400" dirty="0">
                <a:solidFill>
                  <a:schemeClr val="tx1"/>
                </a:solidFill>
              </a:rPr>
              <a:t>Few highly sophisticated sites with many high value analyzers, can export products internationally.</a:t>
            </a:r>
          </a:p>
        </p:txBody>
      </p:sp>
      <p:sp>
        <p:nvSpPr>
          <p:cNvPr id="2" name="Title 1">
            <a:extLst>
              <a:ext uri="{FF2B5EF4-FFF2-40B4-BE49-F238E27FC236}">
                <a16:creationId xmlns:a16="http://schemas.microsoft.com/office/drawing/2014/main" id="{09E294C0-2AA2-4336-9C8A-A79A2F9AF378}"/>
              </a:ext>
            </a:extLst>
          </p:cNvPr>
          <p:cNvSpPr>
            <a:spLocks noGrp="1"/>
          </p:cNvSpPr>
          <p:nvPr>
            <p:ph type="title"/>
          </p:nvPr>
        </p:nvSpPr>
        <p:spPr bwMode="gray">
          <a:xfrm>
            <a:off x="333264" y="682313"/>
            <a:ext cx="11520000" cy="396000"/>
          </a:xfrm>
        </p:spPr>
        <p:txBody>
          <a:bodyPr/>
          <a:lstStyle/>
          <a:p>
            <a:r>
              <a:rPr lang="de-DE" dirty="0" err="1"/>
              <a:t>Cylinder</a:t>
            </a:r>
            <a:r>
              <a:rPr lang="de-DE" dirty="0"/>
              <a:t> </a:t>
            </a:r>
            <a:r>
              <a:rPr lang="de-DE" dirty="0" err="1"/>
              <a:t>gases</a:t>
            </a:r>
            <a:endParaRPr lang="en-US" dirty="0"/>
          </a:p>
        </p:txBody>
      </p:sp>
      <p:sp>
        <p:nvSpPr>
          <p:cNvPr id="12" name="Date Placeholder 11">
            <a:extLst>
              <a:ext uri="{FF2B5EF4-FFF2-40B4-BE49-F238E27FC236}">
                <a16:creationId xmlns:a16="http://schemas.microsoft.com/office/drawing/2014/main" id="{562D7E5D-AD67-473F-B6DC-9773FD7DB2AA}"/>
              </a:ext>
            </a:extLst>
          </p:cNvPr>
          <p:cNvSpPr>
            <a:spLocks noGrp="1"/>
          </p:cNvSpPr>
          <p:nvPr>
            <p:ph type="dt" sz="half" idx="14"/>
          </p:nvPr>
        </p:nvSpPr>
        <p:spPr bwMode="gray"/>
        <p:txBody>
          <a:bodyPr/>
          <a:lstStyle/>
          <a:p>
            <a:fld id="{ED4418A7-E8E0-42C3-AC0C-9BF91949BA0B}" type="datetime4">
              <a:rPr lang="en-US" smtClean="0"/>
              <a:t>September 8, 2019</a:t>
            </a:fld>
            <a:endParaRPr lang="en-US"/>
          </a:p>
        </p:txBody>
      </p:sp>
      <p:sp>
        <p:nvSpPr>
          <p:cNvPr id="13" name="Footer Placeholder 12">
            <a:extLst>
              <a:ext uri="{FF2B5EF4-FFF2-40B4-BE49-F238E27FC236}">
                <a16:creationId xmlns:a16="http://schemas.microsoft.com/office/drawing/2014/main" id="{37AA1FCA-EAB2-4196-BC86-5901772B5D79}"/>
              </a:ext>
            </a:extLst>
          </p:cNvPr>
          <p:cNvSpPr>
            <a:spLocks noGrp="1"/>
          </p:cNvSpPr>
          <p:nvPr>
            <p:ph type="ftr" sz="quarter" idx="15"/>
          </p:nvPr>
        </p:nvSpPr>
        <p:spPr bwMode="gray"/>
        <p:txBody>
          <a:bodyPr/>
          <a:lstStyle/>
          <a:p>
            <a:pPr lvl="8"/>
            <a:endParaRPr lang="en-US"/>
          </a:p>
        </p:txBody>
      </p:sp>
      <p:sp>
        <p:nvSpPr>
          <p:cNvPr id="14" name="Slide Number Placeholder 13">
            <a:extLst>
              <a:ext uri="{FF2B5EF4-FFF2-40B4-BE49-F238E27FC236}">
                <a16:creationId xmlns:a16="http://schemas.microsoft.com/office/drawing/2014/main" id="{1C064040-85D2-4D92-A886-994C011766E0}"/>
              </a:ext>
            </a:extLst>
          </p:cNvPr>
          <p:cNvSpPr>
            <a:spLocks noGrp="1"/>
          </p:cNvSpPr>
          <p:nvPr>
            <p:ph type="sldNum" sz="quarter" idx="16"/>
          </p:nvPr>
        </p:nvSpPr>
        <p:spPr bwMode="gray"/>
        <p:txBody>
          <a:bodyPr/>
          <a:lstStyle/>
          <a:p>
            <a:r>
              <a:rPr lang="en-US"/>
              <a:t>Slide </a:t>
            </a:r>
            <a:fld id="{619F89D8-7AE3-494A-97F3-03D680869632}" type="slidenum">
              <a:rPr lang="en-US" smtClean="0"/>
              <a:pPr/>
              <a:t>77</a:t>
            </a:fld>
            <a:endParaRPr lang="en-US"/>
          </a:p>
        </p:txBody>
      </p:sp>
      <p:sp>
        <p:nvSpPr>
          <p:cNvPr id="15" name="Subtitle 14">
            <a:extLst>
              <a:ext uri="{FF2B5EF4-FFF2-40B4-BE49-F238E27FC236}">
                <a16:creationId xmlns:a16="http://schemas.microsoft.com/office/drawing/2014/main" id="{847F1449-65DF-4129-AFEC-044C1AA4D4D5}"/>
              </a:ext>
            </a:extLst>
          </p:cNvPr>
          <p:cNvSpPr>
            <a:spLocks noGrp="1"/>
          </p:cNvSpPr>
          <p:nvPr>
            <p:ph type="subTitle" idx="13"/>
          </p:nvPr>
        </p:nvSpPr>
        <p:spPr bwMode="gray"/>
        <p:txBody>
          <a:bodyPr/>
          <a:lstStyle/>
          <a:p>
            <a:r>
              <a:rPr lang="en-US" dirty="0"/>
              <a:t>Filling stations hierarchy</a:t>
            </a:r>
          </a:p>
        </p:txBody>
      </p:sp>
      <p:grpSp>
        <p:nvGrpSpPr>
          <p:cNvPr id="91" name="Group 90">
            <a:extLst>
              <a:ext uri="{FF2B5EF4-FFF2-40B4-BE49-F238E27FC236}">
                <a16:creationId xmlns:a16="http://schemas.microsoft.com/office/drawing/2014/main" id="{7417E10C-6411-4CEE-9AD4-55B385AAB1B9}"/>
              </a:ext>
            </a:extLst>
          </p:cNvPr>
          <p:cNvGrpSpPr/>
          <p:nvPr/>
        </p:nvGrpSpPr>
        <p:grpSpPr bwMode="gray">
          <a:xfrm>
            <a:off x="332366" y="3917930"/>
            <a:ext cx="3489811" cy="1997095"/>
            <a:chOff x="332366" y="3917930"/>
            <a:chExt cx="3489811" cy="1997095"/>
          </a:xfrm>
        </p:grpSpPr>
        <p:sp>
          <p:nvSpPr>
            <p:cNvPr id="92" name="Freeform: Shape 91">
              <a:extLst>
                <a:ext uri="{FF2B5EF4-FFF2-40B4-BE49-F238E27FC236}">
                  <a16:creationId xmlns:a16="http://schemas.microsoft.com/office/drawing/2014/main" id="{D043A6AE-C49C-4903-9C6B-0C1DE285B7F4}"/>
                </a:ext>
              </a:extLst>
            </p:cNvPr>
            <p:cNvSpPr/>
            <p:nvPr/>
          </p:nvSpPr>
          <p:spPr bwMode="gray">
            <a:xfrm>
              <a:off x="332366" y="3917930"/>
              <a:ext cx="1746347" cy="1997095"/>
            </a:xfrm>
            <a:custGeom>
              <a:avLst/>
              <a:gdLst>
                <a:gd name="connsiteX0" fmla="*/ 698757 w 1049405"/>
                <a:gd name="connsiteY0" fmla="*/ 0 h 1794751"/>
                <a:gd name="connsiteX1" fmla="*/ 349623 w 1049405"/>
                <a:gd name="connsiteY1" fmla="*/ 594668 h 1794751"/>
                <a:gd name="connsiteX2" fmla="*/ 1049405 w 1049405"/>
                <a:gd name="connsiteY2" fmla="*/ 997827 h 1794751"/>
                <a:gd name="connsiteX3" fmla="*/ 1049405 w 1049405"/>
                <a:gd name="connsiteY3" fmla="*/ 1794751 h 1794751"/>
                <a:gd name="connsiteX4" fmla="*/ 0 w 1049405"/>
                <a:gd name="connsiteY4" fmla="*/ 1190167 h 1794751"/>
                <a:gd name="connsiteX0" fmla="*/ 0 w 1049405"/>
                <a:gd name="connsiteY0" fmla="*/ 595499 h 1200083"/>
                <a:gd name="connsiteX1" fmla="*/ 349623 w 1049405"/>
                <a:gd name="connsiteY1" fmla="*/ 0 h 1200083"/>
                <a:gd name="connsiteX2" fmla="*/ 1049405 w 1049405"/>
                <a:gd name="connsiteY2" fmla="*/ 403159 h 1200083"/>
                <a:gd name="connsiteX3" fmla="*/ 1049405 w 1049405"/>
                <a:gd name="connsiteY3" fmla="*/ 1200083 h 1200083"/>
                <a:gd name="connsiteX4" fmla="*/ 0 w 1049405"/>
                <a:gd name="connsiteY4" fmla="*/ 595499 h 1200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405" h="1200083">
                  <a:moveTo>
                    <a:pt x="0" y="595499"/>
                  </a:moveTo>
                  <a:lnTo>
                    <a:pt x="349623" y="0"/>
                  </a:lnTo>
                  <a:lnTo>
                    <a:pt x="1049405" y="403159"/>
                  </a:lnTo>
                  <a:lnTo>
                    <a:pt x="1049405" y="1200083"/>
                  </a:lnTo>
                  <a:lnTo>
                    <a:pt x="0" y="595499"/>
                  </a:lnTo>
                  <a:close/>
                </a:path>
              </a:pathLst>
            </a:custGeom>
            <a:solidFill>
              <a:schemeClr val="bg2">
                <a:lumMod val="40000"/>
                <a:lumOff val="60000"/>
              </a:schemeClr>
            </a:solidFill>
            <a:ln w="127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3" name="Freeform: Shape 92">
              <a:extLst>
                <a:ext uri="{FF2B5EF4-FFF2-40B4-BE49-F238E27FC236}">
                  <a16:creationId xmlns:a16="http://schemas.microsoft.com/office/drawing/2014/main" id="{797870B0-4D10-4BDA-B6FA-842E608C68AF}"/>
                </a:ext>
              </a:extLst>
            </p:cNvPr>
            <p:cNvSpPr/>
            <p:nvPr/>
          </p:nvSpPr>
          <p:spPr bwMode="gray">
            <a:xfrm flipH="1">
              <a:off x="2075830" y="3917930"/>
              <a:ext cx="1746347" cy="1997095"/>
            </a:xfrm>
            <a:custGeom>
              <a:avLst/>
              <a:gdLst>
                <a:gd name="connsiteX0" fmla="*/ 698757 w 1049405"/>
                <a:gd name="connsiteY0" fmla="*/ 0 h 1794751"/>
                <a:gd name="connsiteX1" fmla="*/ 349623 w 1049405"/>
                <a:gd name="connsiteY1" fmla="*/ 594668 h 1794751"/>
                <a:gd name="connsiteX2" fmla="*/ 1049405 w 1049405"/>
                <a:gd name="connsiteY2" fmla="*/ 997827 h 1794751"/>
                <a:gd name="connsiteX3" fmla="*/ 1049405 w 1049405"/>
                <a:gd name="connsiteY3" fmla="*/ 1794751 h 1794751"/>
                <a:gd name="connsiteX4" fmla="*/ 0 w 1049405"/>
                <a:gd name="connsiteY4" fmla="*/ 1190167 h 1794751"/>
                <a:gd name="connsiteX0" fmla="*/ 0 w 1049405"/>
                <a:gd name="connsiteY0" fmla="*/ 595499 h 1200083"/>
                <a:gd name="connsiteX1" fmla="*/ 349623 w 1049405"/>
                <a:gd name="connsiteY1" fmla="*/ 0 h 1200083"/>
                <a:gd name="connsiteX2" fmla="*/ 1049405 w 1049405"/>
                <a:gd name="connsiteY2" fmla="*/ 403159 h 1200083"/>
                <a:gd name="connsiteX3" fmla="*/ 1049405 w 1049405"/>
                <a:gd name="connsiteY3" fmla="*/ 1200083 h 1200083"/>
                <a:gd name="connsiteX4" fmla="*/ 0 w 1049405"/>
                <a:gd name="connsiteY4" fmla="*/ 595499 h 1200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9405" h="1200083">
                  <a:moveTo>
                    <a:pt x="0" y="595499"/>
                  </a:moveTo>
                  <a:lnTo>
                    <a:pt x="349623" y="0"/>
                  </a:lnTo>
                  <a:lnTo>
                    <a:pt x="1049405" y="403159"/>
                  </a:lnTo>
                  <a:lnTo>
                    <a:pt x="1049405" y="1200083"/>
                  </a:lnTo>
                  <a:lnTo>
                    <a:pt x="0" y="595499"/>
                  </a:lnTo>
                  <a:close/>
                </a:path>
              </a:pathLst>
            </a:custGeom>
            <a:solidFill>
              <a:schemeClr val="bg2">
                <a:lumMod val="60000"/>
                <a:lumOff val="40000"/>
              </a:schemeClr>
            </a:solidFill>
            <a:ln w="127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94" name="Group 93">
            <a:extLst>
              <a:ext uri="{FF2B5EF4-FFF2-40B4-BE49-F238E27FC236}">
                <a16:creationId xmlns:a16="http://schemas.microsoft.com/office/drawing/2014/main" id="{D5D403A1-CAF4-4325-A01C-BC950B9BCD8F}"/>
              </a:ext>
            </a:extLst>
          </p:cNvPr>
          <p:cNvGrpSpPr/>
          <p:nvPr/>
        </p:nvGrpSpPr>
        <p:grpSpPr bwMode="gray">
          <a:xfrm>
            <a:off x="914184" y="2932551"/>
            <a:ext cx="2326175" cy="1660515"/>
            <a:chOff x="914184" y="2932551"/>
            <a:chExt cx="2326175" cy="1660515"/>
          </a:xfrm>
        </p:grpSpPr>
        <p:sp>
          <p:nvSpPr>
            <p:cNvPr id="95" name="Freeform: Shape 94">
              <a:extLst>
                <a:ext uri="{FF2B5EF4-FFF2-40B4-BE49-F238E27FC236}">
                  <a16:creationId xmlns:a16="http://schemas.microsoft.com/office/drawing/2014/main" id="{18869940-5D0D-4D8F-8AE6-FB596069B431}"/>
                </a:ext>
              </a:extLst>
            </p:cNvPr>
            <p:cNvSpPr/>
            <p:nvPr/>
          </p:nvSpPr>
          <p:spPr bwMode="gray">
            <a:xfrm>
              <a:off x="914184" y="2932551"/>
              <a:ext cx="1164529" cy="1660515"/>
            </a:xfrm>
            <a:custGeom>
              <a:avLst/>
              <a:gdLst>
                <a:gd name="connsiteX0" fmla="*/ 349134 w 699782"/>
                <a:gd name="connsiteY0" fmla="*/ 0 h 997827"/>
                <a:gd name="connsiteX1" fmla="*/ 699782 w 699782"/>
                <a:gd name="connsiteY1" fmla="*/ 202015 h 997827"/>
                <a:gd name="connsiteX2" fmla="*/ 699782 w 699782"/>
                <a:gd name="connsiteY2" fmla="*/ 997827 h 997827"/>
                <a:gd name="connsiteX3" fmla="*/ 0 w 699782"/>
                <a:gd name="connsiteY3" fmla="*/ 594668 h 997827"/>
              </a:gdLst>
              <a:ahLst/>
              <a:cxnLst>
                <a:cxn ang="0">
                  <a:pos x="connsiteX0" y="connsiteY0"/>
                </a:cxn>
                <a:cxn ang="0">
                  <a:pos x="connsiteX1" y="connsiteY1"/>
                </a:cxn>
                <a:cxn ang="0">
                  <a:pos x="connsiteX2" y="connsiteY2"/>
                </a:cxn>
                <a:cxn ang="0">
                  <a:pos x="connsiteX3" y="connsiteY3"/>
                </a:cxn>
              </a:cxnLst>
              <a:rect l="l" t="t" r="r" b="b"/>
              <a:pathLst>
                <a:path w="699782" h="997827">
                  <a:moveTo>
                    <a:pt x="349134" y="0"/>
                  </a:moveTo>
                  <a:lnTo>
                    <a:pt x="699782" y="202015"/>
                  </a:lnTo>
                  <a:lnTo>
                    <a:pt x="699782" y="997827"/>
                  </a:lnTo>
                  <a:lnTo>
                    <a:pt x="0" y="594668"/>
                  </a:lnTo>
                  <a:close/>
                </a:path>
              </a:pathLst>
            </a:custGeom>
            <a:solidFill>
              <a:schemeClr val="bg2">
                <a:lumMod val="40000"/>
                <a:lumOff val="60000"/>
              </a:schemeClr>
            </a:solidFill>
            <a:ln w="127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p>
          </p:txBody>
        </p:sp>
        <p:sp>
          <p:nvSpPr>
            <p:cNvPr id="96" name="Freeform: Shape 95">
              <a:extLst>
                <a:ext uri="{FF2B5EF4-FFF2-40B4-BE49-F238E27FC236}">
                  <a16:creationId xmlns:a16="http://schemas.microsoft.com/office/drawing/2014/main" id="{7DEA74EC-5A10-4006-8A2F-90D9D0C17D52}"/>
                </a:ext>
              </a:extLst>
            </p:cNvPr>
            <p:cNvSpPr/>
            <p:nvPr/>
          </p:nvSpPr>
          <p:spPr bwMode="gray">
            <a:xfrm flipH="1">
              <a:off x="2075830" y="2932551"/>
              <a:ext cx="1164529" cy="1660515"/>
            </a:xfrm>
            <a:custGeom>
              <a:avLst/>
              <a:gdLst>
                <a:gd name="connsiteX0" fmla="*/ 349134 w 699782"/>
                <a:gd name="connsiteY0" fmla="*/ 0 h 997827"/>
                <a:gd name="connsiteX1" fmla="*/ 699782 w 699782"/>
                <a:gd name="connsiteY1" fmla="*/ 202015 h 997827"/>
                <a:gd name="connsiteX2" fmla="*/ 699782 w 699782"/>
                <a:gd name="connsiteY2" fmla="*/ 997827 h 997827"/>
                <a:gd name="connsiteX3" fmla="*/ 0 w 699782"/>
                <a:gd name="connsiteY3" fmla="*/ 594668 h 997827"/>
              </a:gdLst>
              <a:ahLst/>
              <a:cxnLst>
                <a:cxn ang="0">
                  <a:pos x="connsiteX0" y="connsiteY0"/>
                </a:cxn>
                <a:cxn ang="0">
                  <a:pos x="connsiteX1" y="connsiteY1"/>
                </a:cxn>
                <a:cxn ang="0">
                  <a:pos x="connsiteX2" y="connsiteY2"/>
                </a:cxn>
                <a:cxn ang="0">
                  <a:pos x="connsiteX3" y="connsiteY3"/>
                </a:cxn>
              </a:cxnLst>
              <a:rect l="l" t="t" r="r" b="b"/>
              <a:pathLst>
                <a:path w="699782" h="997827">
                  <a:moveTo>
                    <a:pt x="349134" y="0"/>
                  </a:moveTo>
                  <a:lnTo>
                    <a:pt x="699782" y="202015"/>
                  </a:lnTo>
                  <a:lnTo>
                    <a:pt x="699782" y="997827"/>
                  </a:lnTo>
                  <a:lnTo>
                    <a:pt x="0" y="594668"/>
                  </a:lnTo>
                  <a:close/>
                </a:path>
              </a:pathLst>
            </a:custGeom>
            <a:solidFill>
              <a:schemeClr val="bg2">
                <a:lumMod val="60000"/>
                <a:lumOff val="40000"/>
              </a:schemeClr>
            </a:solidFill>
            <a:ln w="127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a:p>
          </p:txBody>
        </p:sp>
      </p:grpSp>
      <p:grpSp>
        <p:nvGrpSpPr>
          <p:cNvPr id="97" name="Group 96">
            <a:extLst>
              <a:ext uri="{FF2B5EF4-FFF2-40B4-BE49-F238E27FC236}">
                <a16:creationId xmlns:a16="http://schemas.microsoft.com/office/drawing/2014/main" id="{5261EF91-CB6A-4B62-8316-5F0EE0E04EB4}"/>
              </a:ext>
            </a:extLst>
          </p:cNvPr>
          <p:cNvGrpSpPr/>
          <p:nvPr/>
        </p:nvGrpSpPr>
        <p:grpSpPr bwMode="gray">
          <a:xfrm>
            <a:off x="1495189" y="1938654"/>
            <a:ext cx="1164165" cy="1330077"/>
            <a:chOff x="1495189" y="1938654"/>
            <a:chExt cx="1164165" cy="1330077"/>
          </a:xfrm>
        </p:grpSpPr>
        <p:sp>
          <p:nvSpPr>
            <p:cNvPr id="98" name="Freeform: Shape 97">
              <a:extLst>
                <a:ext uri="{FF2B5EF4-FFF2-40B4-BE49-F238E27FC236}">
                  <a16:creationId xmlns:a16="http://schemas.microsoft.com/office/drawing/2014/main" id="{8BA0F015-D67B-4EEE-9E5E-D90F5E5A6C14}"/>
                </a:ext>
              </a:extLst>
            </p:cNvPr>
            <p:cNvSpPr/>
            <p:nvPr/>
          </p:nvSpPr>
          <p:spPr bwMode="gray">
            <a:xfrm>
              <a:off x="1495189" y="1938654"/>
              <a:ext cx="583524" cy="1330077"/>
            </a:xfrm>
            <a:custGeom>
              <a:avLst/>
              <a:gdLst>
                <a:gd name="connsiteX0" fmla="*/ 350648 w 350648"/>
                <a:gd name="connsiteY0" fmla="*/ 0 h 799262"/>
                <a:gd name="connsiteX1" fmla="*/ 350648 w 350648"/>
                <a:gd name="connsiteY1" fmla="*/ 799262 h 799262"/>
                <a:gd name="connsiteX2" fmla="*/ 0 w 350648"/>
                <a:gd name="connsiteY2" fmla="*/ 597247 h 799262"/>
              </a:gdLst>
              <a:ahLst/>
              <a:cxnLst>
                <a:cxn ang="0">
                  <a:pos x="connsiteX0" y="connsiteY0"/>
                </a:cxn>
                <a:cxn ang="0">
                  <a:pos x="connsiteX1" y="connsiteY1"/>
                </a:cxn>
                <a:cxn ang="0">
                  <a:pos x="connsiteX2" y="connsiteY2"/>
                </a:cxn>
              </a:cxnLst>
              <a:rect l="l" t="t" r="r" b="b"/>
              <a:pathLst>
                <a:path w="350648" h="799262">
                  <a:moveTo>
                    <a:pt x="350648" y="0"/>
                  </a:moveTo>
                  <a:lnTo>
                    <a:pt x="350648" y="799262"/>
                  </a:lnTo>
                  <a:lnTo>
                    <a:pt x="0" y="597247"/>
                  </a:lnTo>
                  <a:close/>
                </a:path>
              </a:pathLst>
            </a:custGeom>
            <a:solidFill>
              <a:schemeClr val="bg2">
                <a:lumMod val="40000"/>
                <a:lumOff val="60000"/>
              </a:schemeClr>
            </a:solidFill>
            <a:ln w="127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9" name="Freeform: Shape 98">
              <a:extLst>
                <a:ext uri="{FF2B5EF4-FFF2-40B4-BE49-F238E27FC236}">
                  <a16:creationId xmlns:a16="http://schemas.microsoft.com/office/drawing/2014/main" id="{57F6E547-DDD1-4449-AB98-7B635150B5D0}"/>
                </a:ext>
              </a:extLst>
            </p:cNvPr>
            <p:cNvSpPr/>
            <p:nvPr/>
          </p:nvSpPr>
          <p:spPr bwMode="gray">
            <a:xfrm flipH="1">
              <a:off x="2075830" y="1938654"/>
              <a:ext cx="583524" cy="1330077"/>
            </a:xfrm>
            <a:custGeom>
              <a:avLst/>
              <a:gdLst>
                <a:gd name="connsiteX0" fmla="*/ 350648 w 350648"/>
                <a:gd name="connsiteY0" fmla="*/ 0 h 799262"/>
                <a:gd name="connsiteX1" fmla="*/ 350648 w 350648"/>
                <a:gd name="connsiteY1" fmla="*/ 799262 h 799262"/>
                <a:gd name="connsiteX2" fmla="*/ 0 w 350648"/>
                <a:gd name="connsiteY2" fmla="*/ 597247 h 799262"/>
              </a:gdLst>
              <a:ahLst/>
              <a:cxnLst>
                <a:cxn ang="0">
                  <a:pos x="connsiteX0" y="connsiteY0"/>
                </a:cxn>
                <a:cxn ang="0">
                  <a:pos x="connsiteX1" y="connsiteY1"/>
                </a:cxn>
                <a:cxn ang="0">
                  <a:pos x="connsiteX2" y="connsiteY2"/>
                </a:cxn>
              </a:cxnLst>
              <a:rect l="l" t="t" r="r" b="b"/>
              <a:pathLst>
                <a:path w="350648" h="799262">
                  <a:moveTo>
                    <a:pt x="350648" y="0"/>
                  </a:moveTo>
                  <a:lnTo>
                    <a:pt x="350648" y="799262"/>
                  </a:lnTo>
                  <a:lnTo>
                    <a:pt x="0" y="597247"/>
                  </a:lnTo>
                  <a:close/>
                </a:path>
              </a:pathLst>
            </a:custGeom>
            <a:solidFill>
              <a:schemeClr val="bg2">
                <a:lumMod val="60000"/>
                <a:lumOff val="40000"/>
              </a:schemeClr>
            </a:solidFill>
            <a:ln w="12700"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29" name="Rectangle 28">
            <a:extLst>
              <a:ext uri="{FF2B5EF4-FFF2-40B4-BE49-F238E27FC236}">
                <a16:creationId xmlns:a16="http://schemas.microsoft.com/office/drawing/2014/main" id="{7961A21B-5BAC-4CAA-8458-B42EE5DD4F53}"/>
              </a:ext>
            </a:extLst>
          </p:cNvPr>
          <p:cNvSpPr/>
          <p:nvPr/>
        </p:nvSpPr>
        <p:spPr bwMode="gray">
          <a:xfrm flipH="1">
            <a:off x="1771705" y="2345597"/>
            <a:ext cx="228415" cy="554700"/>
          </a:xfrm>
          <a:prstGeom prst="rect">
            <a:avLst/>
          </a:prstGeom>
          <a:noFill/>
          <a:ln cap="rnd">
            <a:noFill/>
          </a:ln>
          <a:effectLst/>
          <a:scene3d>
            <a:camera prst="isometricLeftDown">
              <a:rot lat="600000" lon="2700000" rev="2040000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scene3d>
              <a:camera prst="isometricLeftDown"/>
              <a:lightRig rig="threePt" dir="t"/>
            </a:scene3d>
          </a:bodyPr>
          <a:lstStyle/>
          <a:p>
            <a:pPr algn="ctr" fontAlgn="base">
              <a:spcAft>
                <a:spcPct val="0"/>
              </a:spcAft>
            </a:pPr>
            <a:r>
              <a:rPr lang="de-DE" sz="2400" b="1" dirty="0">
                <a:solidFill>
                  <a:schemeClr val="bg1"/>
                </a:solidFill>
                <a:ea typeface="Verdana" panose="020B0604030504040204" pitchFamily="34" charset="0"/>
              </a:rPr>
              <a:t>1</a:t>
            </a:r>
          </a:p>
        </p:txBody>
      </p:sp>
      <p:sp>
        <p:nvSpPr>
          <p:cNvPr id="30" name="Rectangle 29">
            <a:extLst>
              <a:ext uri="{FF2B5EF4-FFF2-40B4-BE49-F238E27FC236}">
                <a16:creationId xmlns:a16="http://schemas.microsoft.com/office/drawing/2014/main" id="{C086F4D8-C183-4460-94D3-083A5AFDA09A}"/>
              </a:ext>
            </a:extLst>
          </p:cNvPr>
          <p:cNvSpPr/>
          <p:nvPr/>
        </p:nvSpPr>
        <p:spPr bwMode="gray">
          <a:xfrm flipH="1">
            <a:off x="1471477" y="3462341"/>
            <a:ext cx="228415" cy="554700"/>
          </a:xfrm>
          <a:prstGeom prst="rect">
            <a:avLst/>
          </a:prstGeom>
          <a:noFill/>
          <a:ln cap="rnd">
            <a:noFill/>
          </a:ln>
          <a:effectLst/>
          <a:scene3d>
            <a:camera prst="isometricLeftDown">
              <a:rot lat="600000" lon="2700000" rev="2040000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scene3d>
              <a:camera prst="isometricLeftDown"/>
              <a:lightRig rig="threePt" dir="t"/>
            </a:scene3d>
          </a:bodyPr>
          <a:lstStyle/>
          <a:p>
            <a:pPr algn="ctr" fontAlgn="base">
              <a:spcAft>
                <a:spcPct val="0"/>
              </a:spcAft>
            </a:pPr>
            <a:r>
              <a:rPr lang="de-DE" sz="2400" b="1" dirty="0">
                <a:solidFill>
                  <a:schemeClr val="bg1"/>
                </a:solidFill>
                <a:ea typeface="Verdana" panose="020B0604030504040204" pitchFamily="34" charset="0"/>
              </a:rPr>
              <a:t>2</a:t>
            </a:r>
          </a:p>
        </p:txBody>
      </p:sp>
      <p:sp>
        <p:nvSpPr>
          <p:cNvPr id="31" name="Rectangle 30">
            <a:extLst>
              <a:ext uri="{FF2B5EF4-FFF2-40B4-BE49-F238E27FC236}">
                <a16:creationId xmlns:a16="http://schemas.microsoft.com/office/drawing/2014/main" id="{10312EDB-2C6D-4B28-9DF1-ACAD79424009}"/>
              </a:ext>
            </a:extLst>
          </p:cNvPr>
          <p:cNvSpPr/>
          <p:nvPr/>
        </p:nvSpPr>
        <p:spPr bwMode="gray">
          <a:xfrm flipH="1">
            <a:off x="1171248" y="4579084"/>
            <a:ext cx="228415" cy="554700"/>
          </a:xfrm>
          <a:prstGeom prst="rect">
            <a:avLst/>
          </a:prstGeom>
          <a:noFill/>
          <a:ln cap="rnd">
            <a:noFill/>
          </a:ln>
          <a:effectLst/>
          <a:scene3d>
            <a:camera prst="isometricLeftDown">
              <a:rot lat="600000" lon="2700000" rev="20400000"/>
            </a:camera>
            <a:lightRig rig="threePt" dir="t"/>
          </a:scene3d>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scene3d>
              <a:camera prst="isometricLeftDown"/>
              <a:lightRig rig="threePt" dir="t"/>
            </a:scene3d>
          </a:bodyPr>
          <a:lstStyle/>
          <a:p>
            <a:pPr algn="ctr" fontAlgn="base">
              <a:spcAft>
                <a:spcPct val="0"/>
              </a:spcAft>
            </a:pPr>
            <a:r>
              <a:rPr lang="de-DE" sz="2400" b="1" dirty="0">
                <a:solidFill>
                  <a:schemeClr val="bg1"/>
                </a:solidFill>
                <a:ea typeface="Verdana" panose="020B0604030504040204" pitchFamily="34" charset="0"/>
              </a:rPr>
              <a:t>3</a:t>
            </a:r>
          </a:p>
        </p:txBody>
      </p:sp>
    </p:spTree>
    <p:custDataLst>
      <p:tags r:id="rId1"/>
    </p:custDataLst>
    <p:extLst>
      <p:ext uri="{BB962C8B-B14F-4D97-AF65-F5344CB8AC3E}">
        <p14:creationId xmlns:p14="http://schemas.microsoft.com/office/powerpoint/2010/main" val="3450562401"/>
      </p:ext>
    </p:extLst>
  </p:cSld>
  <p:clrMapOvr>
    <a:masterClrMapping/>
  </p:clrMapOvr>
  <mc:AlternateContent xmlns:mc="http://schemas.openxmlformats.org/markup-compatibility/2006" xmlns:p14="http://schemas.microsoft.com/office/powerpoint/2010/main">
    <mc:Choice Requires="p14">
      <p:transition spd="med" p14:dur="700" advTm="143585">
        <p:fade/>
      </p:transition>
    </mc:Choice>
    <mc:Fallback xmlns="">
      <p:transition spd="med" advTm="14358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1000"/>
                                        <p:tgtEl>
                                          <p:spTgt spid="10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1"/>
                                        </p:tgtEl>
                                        <p:attrNameLst>
                                          <p:attrName>style.visibility</p:attrName>
                                        </p:attrNameLst>
                                      </p:cBhvr>
                                      <p:to>
                                        <p:strVal val="visible"/>
                                      </p:to>
                                    </p:set>
                                    <p:animEffect transition="in" filter="fade">
                                      <p:cBhvr>
                                        <p:cTn id="12" dur="1000"/>
                                        <p:tgtEl>
                                          <p:spTgt spid="9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8"/>
                                        </p:tgtEl>
                                        <p:attrNameLst>
                                          <p:attrName>style.visibility</p:attrName>
                                        </p:attrNameLst>
                                      </p:cBhvr>
                                      <p:to>
                                        <p:strVal val="visible"/>
                                      </p:to>
                                    </p:set>
                                    <p:animEffect transition="in" filter="fade">
                                      <p:cBhvr>
                                        <p:cTn id="15" dur="1000"/>
                                        <p:tgtEl>
                                          <p:spTgt spid="7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84"/>
                                        </p:tgtEl>
                                        <p:attrNameLst>
                                          <p:attrName>style.visibility</p:attrName>
                                        </p:attrNameLst>
                                      </p:cBhvr>
                                      <p:to>
                                        <p:strVal val="visible"/>
                                      </p:to>
                                    </p:set>
                                    <p:animEffect transition="in" filter="fade">
                                      <p:cBhvr>
                                        <p:cTn id="18" dur="1000"/>
                                        <p:tgtEl>
                                          <p:spTgt spid="8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4"/>
                                        </p:tgtEl>
                                        <p:attrNameLst>
                                          <p:attrName>style.visibility</p:attrName>
                                        </p:attrNameLst>
                                      </p:cBhvr>
                                      <p:to>
                                        <p:strVal val="visible"/>
                                      </p:to>
                                    </p:set>
                                    <p:animEffect transition="in" filter="fade">
                                      <p:cBhvr>
                                        <p:cTn id="23" dur="1000"/>
                                        <p:tgtEl>
                                          <p:spTgt spid="9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7"/>
                                        </p:tgtEl>
                                        <p:attrNameLst>
                                          <p:attrName>style.visibility</p:attrName>
                                        </p:attrNameLst>
                                      </p:cBhvr>
                                      <p:to>
                                        <p:strVal val="visible"/>
                                      </p:to>
                                    </p:set>
                                    <p:animEffect transition="in" filter="fade">
                                      <p:cBhvr>
                                        <p:cTn id="26" dur="1000"/>
                                        <p:tgtEl>
                                          <p:spTgt spid="7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83"/>
                                        </p:tgtEl>
                                        <p:attrNameLst>
                                          <p:attrName>style.visibility</p:attrName>
                                        </p:attrNameLst>
                                      </p:cBhvr>
                                      <p:to>
                                        <p:strVal val="visible"/>
                                      </p:to>
                                    </p:set>
                                    <p:animEffect transition="in" filter="fade">
                                      <p:cBhvr>
                                        <p:cTn id="29" dur="1000"/>
                                        <p:tgtEl>
                                          <p:spTgt spid="83"/>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97"/>
                                        </p:tgtEl>
                                        <p:attrNameLst>
                                          <p:attrName>style.visibility</p:attrName>
                                        </p:attrNameLst>
                                      </p:cBhvr>
                                      <p:to>
                                        <p:strVal val="visible"/>
                                      </p:to>
                                    </p:set>
                                    <p:animEffect transition="in" filter="fade">
                                      <p:cBhvr>
                                        <p:cTn id="34" dur="1000"/>
                                        <p:tgtEl>
                                          <p:spTgt spid="9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6"/>
                                        </p:tgtEl>
                                        <p:attrNameLst>
                                          <p:attrName>style.visibility</p:attrName>
                                        </p:attrNameLst>
                                      </p:cBhvr>
                                      <p:to>
                                        <p:strVal val="visible"/>
                                      </p:to>
                                    </p:set>
                                    <p:animEffect transition="in" filter="fade">
                                      <p:cBhvr>
                                        <p:cTn id="37" dur="1000"/>
                                        <p:tgtEl>
                                          <p:spTgt spid="7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82"/>
                                        </p:tgtEl>
                                        <p:attrNameLst>
                                          <p:attrName>style.visibility</p:attrName>
                                        </p:attrNameLst>
                                      </p:cBhvr>
                                      <p:to>
                                        <p:strVal val="visible"/>
                                      </p:to>
                                    </p:set>
                                    <p:animEffect transition="in" filter="fade">
                                      <p:cBhvr>
                                        <p:cTn id="40" dur="10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animBg="1"/>
      <p:bldP spid="82" grpId="0" animBg="1"/>
      <p:bldP spid="83" grpId="0" animBg="1"/>
      <p:bldP spid="84" grpId="0" animBg="1"/>
      <p:bldP spid="77" grpId="0" animBg="1"/>
      <p:bldP spid="78" grpId="0" animBg="1"/>
      <p:bldP spid="76" grpId="0" animBg="1"/>
    </p:bldLst>
  </p:timing>
  <p:extLst mod="1">
    <p:ext uri="{E180D4A7-C9FB-4DFB-919C-405C955672EB}">
      <p14:showEvtLst xmlns:p14="http://schemas.microsoft.com/office/powerpoint/2010/main">
        <p14:playEvt time="1" objId="11"/>
        <p14:stopEvt time="143585" objId="11"/>
      </p14:showEvtLst>
    </p:ext>
  </p:extLs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8D028D-1D8B-4FDB-B4DD-6FC9501D5696}"/>
              </a:ext>
            </a:extLst>
          </p:cNvPr>
          <p:cNvSpPr>
            <a:spLocks noGrp="1"/>
          </p:cNvSpPr>
          <p:nvPr>
            <p:ph type="title"/>
          </p:nvPr>
        </p:nvSpPr>
        <p:spPr bwMode="gray"/>
        <p:txBody>
          <a:bodyPr/>
          <a:lstStyle/>
          <a:p>
            <a:r>
              <a:rPr lang="en-US"/>
              <a:t>Medical gases</a:t>
            </a:r>
          </a:p>
        </p:txBody>
      </p:sp>
      <p:sp>
        <p:nvSpPr>
          <p:cNvPr id="7" name="Subtitle 6">
            <a:extLst>
              <a:ext uri="{FF2B5EF4-FFF2-40B4-BE49-F238E27FC236}">
                <a16:creationId xmlns:a16="http://schemas.microsoft.com/office/drawing/2014/main" id="{F7832189-748A-44CF-952C-F72F63B06970}"/>
              </a:ext>
            </a:extLst>
          </p:cNvPr>
          <p:cNvSpPr>
            <a:spLocks noGrp="1"/>
          </p:cNvSpPr>
          <p:nvPr>
            <p:ph type="subTitle" idx="13"/>
          </p:nvPr>
        </p:nvSpPr>
        <p:spPr bwMode="gray"/>
        <p:txBody>
          <a:bodyPr/>
          <a:lstStyle/>
          <a:p>
            <a:r>
              <a:rPr lang="en-US"/>
              <a:t>Analytical techniques tightly defined by national and international pharmacopeia standards</a:t>
            </a:r>
          </a:p>
        </p:txBody>
      </p:sp>
      <p:sp>
        <p:nvSpPr>
          <p:cNvPr id="171" name="Textfeld 25">
            <a:extLst>
              <a:ext uri="{FF2B5EF4-FFF2-40B4-BE49-F238E27FC236}">
                <a16:creationId xmlns:a16="http://schemas.microsoft.com/office/drawing/2014/main" id="{80B6837E-C55B-4727-AA24-0DE99804216A}"/>
              </a:ext>
            </a:extLst>
          </p:cNvPr>
          <p:cNvSpPr txBox="1"/>
          <p:nvPr/>
        </p:nvSpPr>
        <p:spPr bwMode="gray">
          <a:xfrm>
            <a:off x="336549" y="2653822"/>
            <a:ext cx="4526613"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err="1">
                <a:solidFill>
                  <a:schemeClr val="tx1"/>
                </a:solidFill>
              </a:rPr>
              <a:t>HiTech</a:t>
            </a:r>
            <a:r>
              <a:rPr lang="en-US" dirty="0">
                <a:solidFill>
                  <a:schemeClr val="tx1"/>
                </a:solidFill>
              </a:rPr>
              <a:t> Engineered Solutions </a:t>
            </a:r>
            <a:br>
              <a:rPr lang="en-US" dirty="0">
                <a:solidFill>
                  <a:schemeClr val="tx1"/>
                </a:solidFill>
              </a:rPr>
            </a:br>
            <a:r>
              <a:rPr lang="en-US" dirty="0">
                <a:solidFill>
                  <a:schemeClr val="tx1"/>
                </a:solidFill>
              </a:rPr>
              <a:t>is one </a:t>
            </a:r>
            <a:r>
              <a:rPr lang="en-US" dirty="0" err="1">
                <a:solidFill>
                  <a:schemeClr val="tx1"/>
                </a:solidFill>
              </a:rPr>
              <a:t>manufacturerer</a:t>
            </a:r>
            <a:r>
              <a:rPr lang="en-US" dirty="0">
                <a:solidFill>
                  <a:schemeClr val="tx1"/>
                </a:solidFill>
              </a:rPr>
              <a:t> of </a:t>
            </a:r>
            <a:br>
              <a:rPr lang="en-US" dirty="0">
                <a:solidFill>
                  <a:schemeClr val="tx1"/>
                </a:solidFill>
              </a:rPr>
            </a:br>
            <a:r>
              <a:rPr lang="en-US" dirty="0">
                <a:solidFill>
                  <a:schemeClr val="tx1"/>
                </a:solidFill>
              </a:rPr>
              <a:t>nitrous oxide production plants</a:t>
            </a:r>
          </a:p>
        </p:txBody>
      </p:sp>
      <p:sp>
        <p:nvSpPr>
          <p:cNvPr id="172" name="Textfeld 25">
            <a:extLst>
              <a:ext uri="{FF2B5EF4-FFF2-40B4-BE49-F238E27FC236}">
                <a16:creationId xmlns:a16="http://schemas.microsoft.com/office/drawing/2014/main" id="{302CC157-8668-46A4-9BBB-08E9562BB415}"/>
              </a:ext>
            </a:extLst>
          </p:cNvPr>
          <p:cNvSpPr txBox="1"/>
          <p:nvPr/>
        </p:nvSpPr>
        <p:spPr bwMode="gray">
          <a:xfrm>
            <a:off x="336548" y="4715908"/>
            <a:ext cx="4526615"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solidFill>
                  <a:schemeClr val="tx1"/>
                </a:solidFill>
              </a:rPr>
              <a:t>O</a:t>
            </a:r>
            <a:r>
              <a:rPr lang="en-US" baseline="-25000" dirty="0">
                <a:solidFill>
                  <a:schemeClr val="tx1"/>
                </a:solidFill>
              </a:rPr>
              <a:t>2</a:t>
            </a:r>
            <a:r>
              <a:rPr lang="en-US" dirty="0">
                <a:solidFill>
                  <a:schemeClr val="tx1"/>
                </a:solidFill>
              </a:rPr>
              <a:t> is generally manufactured as </a:t>
            </a:r>
            <a:br>
              <a:rPr lang="en-US" dirty="0">
                <a:solidFill>
                  <a:schemeClr val="tx1"/>
                </a:solidFill>
              </a:rPr>
            </a:br>
            <a:r>
              <a:rPr lang="en-US" dirty="0">
                <a:solidFill>
                  <a:schemeClr val="tx1"/>
                </a:solidFill>
              </a:rPr>
              <a:t>bulk liquefied gas on ASU plants </a:t>
            </a:r>
            <a:br>
              <a:rPr lang="en-US" dirty="0">
                <a:solidFill>
                  <a:schemeClr val="tx1"/>
                </a:solidFill>
              </a:rPr>
            </a:br>
            <a:r>
              <a:rPr lang="en-US" dirty="0">
                <a:solidFill>
                  <a:schemeClr val="tx1"/>
                </a:solidFill>
              </a:rPr>
              <a:t>and delivered to filling plant</a:t>
            </a:r>
          </a:p>
        </p:txBody>
      </p:sp>
      <p:sp>
        <p:nvSpPr>
          <p:cNvPr id="173" name="Textfeld 25">
            <a:extLst>
              <a:ext uri="{FF2B5EF4-FFF2-40B4-BE49-F238E27FC236}">
                <a16:creationId xmlns:a16="http://schemas.microsoft.com/office/drawing/2014/main" id="{337C3AED-7A40-4CFF-966C-77A722415E67}"/>
              </a:ext>
            </a:extLst>
          </p:cNvPr>
          <p:cNvSpPr txBox="1"/>
          <p:nvPr/>
        </p:nvSpPr>
        <p:spPr bwMode="gray">
          <a:xfrm>
            <a:off x="338736" y="3663494"/>
            <a:ext cx="4165418"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solidFill>
                  <a:schemeClr val="tx1"/>
                </a:solidFill>
              </a:rPr>
              <a:t>N</a:t>
            </a:r>
            <a:r>
              <a:rPr lang="en-US" baseline="-25000" dirty="0">
                <a:solidFill>
                  <a:schemeClr val="tx1"/>
                </a:solidFill>
              </a:rPr>
              <a:t>2</a:t>
            </a:r>
            <a:r>
              <a:rPr lang="en-US" dirty="0">
                <a:solidFill>
                  <a:schemeClr val="tx1"/>
                </a:solidFill>
              </a:rPr>
              <a:t>O is produced by </a:t>
            </a:r>
            <a:br>
              <a:rPr lang="en-US" dirty="0">
                <a:solidFill>
                  <a:schemeClr val="tx1"/>
                </a:solidFill>
              </a:rPr>
            </a:br>
            <a:r>
              <a:rPr lang="en-US" dirty="0">
                <a:solidFill>
                  <a:schemeClr val="tx1"/>
                </a:solidFill>
              </a:rPr>
              <a:t>thermal decomposition of </a:t>
            </a:r>
            <a:br>
              <a:rPr lang="en-US" dirty="0">
                <a:solidFill>
                  <a:schemeClr val="tx1"/>
                </a:solidFill>
              </a:rPr>
            </a:br>
            <a:r>
              <a:rPr lang="en-US" dirty="0">
                <a:solidFill>
                  <a:schemeClr val="tx1"/>
                </a:solidFill>
              </a:rPr>
              <a:t>ammonium nitrate</a:t>
            </a:r>
          </a:p>
        </p:txBody>
      </p:sp>
      <p:sp>
        <p:nvSpPr>
          <p:cNvPr id="174" name="Textfeld 25">
            <a:extLst>
              <a:ext uri="{FF2B5EF4-FFF2-40B4-BE49-F238E27FC236}">
                <a16:creationId xmlns:a16="http://schemas.microsoft.com/office/drawing/2014/main" id="{58430D78-BDF1-4723-BF3C-266D31E28E90}"/>
              </a:ext>
            </a:extLst>
          </p:cNvPr>
          <p:cNvSpPr txBox="1"/>
          <p:nvPr/>
        </p:nvSpPr>
        <p:spPr bwMode="gray">
          <a:xfrm>
            <a:off x="4471686" y="2021510"/>
            <a:ext cx="3248628"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ctr"/>
            <a:r>
              <a:rPr lang="en-US" dirty="0">
                <a:solidFill>
                  <a:schemeClr val="tx1"/>
                </a:solidFill>
              </a:rPr>
              <a:t>Two main gases </a:t>
            </a:r>
            <a:br>
              <a:rPr lang="en-US" dirty="0">
                <a:solidFill>
                  <a:schemeClr val="tx1"/>
                </a:solidFill>
              </a:rPr>
            </a:br>
            <a:r>
              <a:rPr lang="en-US" dirty="0">
                <a:solidFill>
                  <a:schemeClr val="tx1"/>
                </a:solidFill>
              </a:rPr>
              <a:t>are </a:t>
            </a:r>
            <a:r>
              <a:rPr lang="en-US" b="1" dirty="0"/>
              <a:t>oxygen</a:t>
            </a:r>
            <a:r>
              <a:rPr lang="en-US" dirty="0">
                <a:solidFill>
                  <a:schemeClr val="tx1"/>
                </a:solidFill>
              </a:rPr>
              <a:t> and </a:t>
            </a:r>
            <a:br>
              <a:rPr lang="en-US" dirty="0">
                <a:solidFill>
                  <a:schemeClr val="tx1"/>
                </a:solidFill>
              </a:rPr>
            </a:br>
            <a:r>
              <a:rPr lang="en-US" b="1" dirty="0"/>
              <a:t>nitrous oxide</a:t>
            </a:r>
          </a:p>
        </p:txBody>
      </p:sp>
      <p:sp>
        <p:nvSpPr>
          <p:cNvPr id="175" name="Textfeld 25">
            <a:extLst>
              <a:ext uri="{FF2B5EF4-FFF2-40B4-BE49-F238E27FC236}">
                <a16:creationId xmlns:a16="http://schemas.microsoft.com/office/drawing/2014/main" id="{AF74041B-F184-47B0-BACA-322D8723DB7A}"/>
              </a:ext>
            </a:extLst>
          </p:cNvPr>
          <p:cNvSpPr txBox="1"/>
          <p:nvPr/>
        </p:nvSpPr>
        <p:spPr bwMode="gray">
          <a:xfrm>
            <a:off x="7750466" y="3663494"/>
            <a:ext cx="4102798"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dirty="0">
                <a:solidFill>
                  <a:schemeClr val="tx1"/>
                </a:solidFill>
              </a:rPr>
              <a:t>Gas mixture must be </a:t>
            </a:r>
            <a:br>
              <a:rPr lang="en-US" dirty="0">
                <a:solidFill>
                  <a:schemeClr val="tx1"/>
                </a:solidFill>
              </a:rPr>
            </a:br>
            <a:r>
              <a:rPr lang="en-US" dirty="0" err="1">
                <a:solidFill>
                  <a:schemeClr val="tx1"/>
                </a:solidFill>
              </a:rPr>
              <a:t>analysed</a:t>
            </a:r>
            <a:r>
              <a:rPr lang="en-US" dirty="0">
                <a:solidFill>
                  <a:schemeClr val="tx1"/>
                </a:solidFill>
              </a:rPr>
              <a:t> to ensure </a:t>
            </a:r>
            <a:br>
              <a:rPr lang="en-US" dirty="0">
                <a:solidFill>
                  <a:schemeClr val="tx1"/>
                </a:solidFill>
              </a:rPr>
            </a:br>
            <a:r>
              <a:rPr lang="en-US" dirty="0">
                <a:solidFill>
                  <a:schemeClr val="tx1"/>
                </a:solidFill>
              </a:rPr>
              <a:t>true 50/50</a:t>
            </a:r>
          </a:p>
        </p:txBody>
      </p:sp>
      <p:sp>
        <p:nvSpPr>
          <p:cNvPr id="176" name="Textfeld 25">
            <a:extLst>
              <a:ext uri="{FF2B5EF4-FFF2-40B4-BE49-F238E27FC236}">
                <a16:creationId xmlns:a16="http://schemas.microsoft.com/office/drawing/2014/main" id="{E71EB253-B30E-4C91-A5F4-B9AF69E81892}"/>
              </a:ext>
            </a:extLst>
          </p:cNvPr>
          <p:cNvSpPr txBox="1"/>
          <p:nvPr/>
        </p:nvSpPr>
        <p:spPr bwMode="gray">
          <a:xfrm>
            <a:off x="7334973" y="2653822"/>
            <a:ext cx="4522065"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dirty="0">
                <a:solidFill>
                  <a:schemeClr val="tx1"/>
                </a:solidFill>
              </a:rPr>
              <a:t>Either supplied </a:t>
            </a:r>
            <a:br>
              <a:rPr lang="en-US" dirty="0">
                <a:solidFill>
                  <a:schemeClr val="tx1"/>
                </a:solidFill>
              </a:rPr>
            </a:br>
            <a:r>
              <a:rPr lang="en-US" dirty="0">
                <a:solidFill>
                  <a:schemeClr val="tx1"/>
                </a:solidFill>
              </a:rPr>
              <a:t>as pure gases or </a:t>
            </a:r>
            <a:br>
              <a:rPr lang="en-US" dirty="0">
                <a:solidFill>
                  <a:schemeClr val="tx1"/>
                </a:solidFill>
              </a:rPr>
            </a:br>
            <a:r>
              <a:rPr lang="en-US" dirty="0">
                <a:solidFill>
                  <a:schemeClr val="tx1"/>
                </a:solidFill>
              </a:rPr>
              <a:t>50% N</a:t>
            </a:r>
            <a:r>
              <a:rPr lang="en-US" baseline="-25000" dirty="0">
                <a:solidFill>
                  <a:schemeClr val="tx1"/>
                </a:solidFill>
              </a:rPr>
              <a:t>2</a:t>
            </a:r>
            <a:r>
              <a:rPr lang="en-US" dirty="0">
                <a:solidFill>
                  <a:schemeClr val="tx1"/>
                </a:solidFill>
              </a:rPr>
              <a:t>O in O</a:t>
            </a:r>
            <a:r>
              <a:rPr lang="en-US" baseline="-25000" dirty="0">
                <a:solidFill>
                  <a:schemeClr val="tx1"/>
                </a:solidFill>
              </a:rPr>
              <a:t>2</a:t>
            </a:r>
          </a:p>
        </p:txBody>
      </p:sp>
      <p:sp>
        <p:nvSpPr>
          <p:cNvPr id="177" name="Textfeld 25">
            <a:extLst>
              <a:ext uri="{FF2B5EF4-FFF2-40B4-BE49-F238E27FC236}">
                <a16:creationId xmlns:a16="http://schemas.microsoft.com/office/drawing/2014/main" id="{2E3DBE20-1CA1-450A-9585-69437F5FD95B}"/>
              </a:ext>
            </a:extLst>
          </p:cNvPr>
          <p:cNvSpPr txBox="1"/>
          <p:nvPr/>
        </p:nvSpPr>
        <p:spPr bwMode="gray">
          <a:xfrm>
            <a:off x="7334974" y="4715908"/>
            <a:ext cx="4518290"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b="1" dirty="0"/>
              <a:t>Main gas must also be confirmed </a:t>
            </a:r>
            <a:br>
              <a:rPr lang="en-US" b="1" dirty="0"/>
            </a:br>
            <a:r>
              <a:rPr lang="en-US" b="1" dirty="0"/>
              <a:t>to be the stated gas (i.e. O</a:t>
            </a:r>
            <a:r>
              <a:rPr lang="en-US" b="1" baseline="-25000" dirty="0"/>
              <a:t>2</a:t>
            </a:r>
            <a:r>
              <a:rPr lang="en-US" b="1" dirty="0"/>
              <a:t> analyzed </a:t>
            </a:r>
            <a:br>
              <a:rPr lang="en-US" b="1" dirty="0"/>
            </a:br>
            <a:r>
              <a:rPr lang="en-US" b="1" dirty="0"/>
              <a:t>to ensure not N</a:t>
            </a:r>
            <a:r>
              <a:rPr lang="en-US" b="1" baseline="-25000" dirty="0"/>
              <a:t>2</a:t>
            </a:r>
            <a:r>
              <a:rPr lang="en-US" b="1" dirty="0"/>
              <a:t> or another gas)</a:t>
            </a:r>
          </a:p>
        </p:txBody>
      </p:sp>
      <p:sp>
        <p:nvSpPr>
          <p:cNvPr id="179" name="Oval 178">
            <a:extLst>
              <a:ext uri="{FF2B5EF4-FFF2-40B4-BE49-F238E27FC236}">
                <a16:creationId xmlns:a16="http://schemas.microsoft.com/office/drawing/2014/main" id="{91CF6897-5B2B-4998-90F9-23FF3BFE7525}"/>
              </a:ext>
            </a:extLst>
          </p:cNvPr>
          <p:cNvSpPr/>
          <p:nvPr/>
        </p:nvSpPr>
        <p:spPr bwMode="gray">
          <a:xfrm>
            <a:off x="4930992" y="2759292"/>
            <a:ext cx="2330016" cy="2330016"/>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80" name="Oval 179">
            <a:extLst>
              <a:ext uri="{FF2B5EF4-FFF2-40B4-BE49-F238E27FC236}">
                <a16:creationId xmlns:a16="http://schemas.microsoft.com/office/drawing/2014/main" id="{3E1CF47B-C52C-4353-A5FD-00870934615D}"/>
              </a:ext>
            </a:extLst>
          </p:cNvPr>
          <p:cNvSpPr/>
          <p:nvPr/>
        </p:nvSpPr>
        <p:spPr bwMode="gray">
          <a:xfrm>
            <a:off x="5238318" y="4711525"/>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81" name="Oval 180">
            <a:extLst>
              <a:ext uri="{FF2B5EF4-FFF2-40B4-BE49-F238E27FC236}">
                <a16:creationId xmlns:a16="http://schemas.microsoft.com/office/drawing/2014/main" id="{89A263C4-A3FF-41E8-8120-8172F2EC6292}"/>
              </a:ext>
            </a:extLst>
          </p:cNvPr>
          <p:cNvSpPr/>
          <p:nvPr/>
        </p:nvSpPr>
        <p:spPr bwMode="gray">
          <a:xfrm>
            <a:off x="6883225" y="3066618"/>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82" name="Oval 181">
            <a:extLst>
              <a:ext uri="{FF2B5EF4-FFF2-40B4-BE49-F238E27FC236}">
                <a16:creationId xmlns:a16="http://schemas.microsoft.com/office/drawing/2014/main" id="{2FEC2479-6105-4183-A31A-9772570DD67E}"/>
              </a:ext>
            </a:extLst>
          </p:cNvPr>
          <p:cNvSpPr/>
          <p:nvPr/>
        </p:nvSpPr>
        <p:spPr bwMode="gray">
          <a:xfrm>
            <a:off x="6883290" y="4711460"/>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83" name="Oval 182">
            <a:extLst>
              <a:ext uri="{FF2B5EF4-FFF2-40B4-BE49-F238E27FC236}">
                <a16:creationId xmlns:a16="http://schemas.microsoft.com/office/drawing/2014/main" id="{982B4C7B-5810-4483-9053-E9ECD912F78A}"/>
              </a:ext>
            </a:extLst>
          </p:cNvPr>
          <p:cNvSpPr/>
          <p:nvPr/>
        </p:nvSpPr>
        <p:spPr bwMode="gray">
          <a:xfrm>
            <a:off x="5238383" y="3066553"/>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84" name="Oval 183">
            <a:extLst>
              <a:ext uri="{FF2B5EF4-FFF2-40B4-BE49-F238E27FC236}">
                <a16:creationId xmlns:a16="http://schemas.microsoft.com/office/drawing/2014/main" id="{441A8453-5413-4D4B-AA94-FC566ADF65CE}"/>
              </a:ext>
            </a:extLst>
          </p:cNvPr>
          <p:cNvSpPr/>
          <p:nvPr/>
        </p:nvSpPr>
        <p:spPr bwMode="gray">
          <a:xfrm>
            <a:off x="4897647" y="3889072"/>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85" name="Oval 184">
            <a:extLst>
              <a:ext uri="{FF2B5EF4-FFF2-40B4-BE49-F238E27FC236}">
                <a16:creationId xmlns:a16="http://schemas.microsoft.com/office/drawing/2014/main" id="{9F6C68B6-5030-4C83-BDE8-39C2DC94B448}"/>
              </a:ext>
            </a:extLst>
          </p:cNvPr>
          <p:cNvSpPr/>
          <p:nvPr/>
        </p:nvSpPr>
        <p:spPr bwMode="gray">
          <a:xfrm>
            <a:off x="7223896" y="3889072"/>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86" name="Oval 185">
            <a:extLst>
              <a:ext uri="{FF2B5EF4-FFF2-40B4-BE49-F238E27FC236}">
                <a16:creationId xmlns:a16="http://schemas.microsoft.com/office/drawing/2014/main" id="{9D272EB7-3DA1-4906-A213-A34A295A12F5}"/>
              </a:ext>
            </a:extLst>
          </p:cNvPr>
          <p:cNvSpPr/>
          <p:nvPr/>
        </p:nvSpPr>
        <p:spPr bwMode="gray">
          <a:xfrm>
            <a:off x="6060864" y="5052196"/>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87" name="Oval 186">
            <a:extLst>
              <a:ext uri="{FF2B5EF4-FFF2-40B4-BE49-F238E27FC236}">
                <a16:creationId xmlns:a16="http://schemas.microsoft.com/office/drawing/2014/main" id="{8E07ECCC-1B8E-4BDC-83C5-2DEDA18E5429}"/>
              </a:ext>
            </a:extLst>
          </p:cNvPr>
          <p:cNvSpPr/>
          <p:nvPr/>
        </p:nvSpPr>
        <p:spPr bwMode="gray">
          <a:xfrm>
            <a:off x="6060864" y="2725947"/>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88" name="Textfeld 25">
            <a:extLst>
              <a:ext uri="{FF2B5EF4-FFF2-40B4-BE49-F238E27FC236}">
                <a16:creationId xmlns:a16="http://schemas.microsoft.com/office/drawing/2014/main" id="{AB58A549-9E03-484E-A8A7-7E8E05BC2723}"/>
              </a:ext>
            </a:extLst>
          </p:cNvPr>
          <p:cNvSpPr txBox="1"/>
          <p:nvPr/>
        </p:nvSpPr>
        <p:spPr bwMode="gray">
          <a:xfrm>
            <a:off x="4737904" y="5306154"/>
            <a:ext cx="2716192"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ctr"/>
            <a:r>
              <a:rPr lang="en-US" dirty="0">
                <a:solidFill>
                  <a:schemeClr val="tx1"/>
                </a:solidFill>
              </a:rPr>
              <a:t>Specification of </a:t>
            </a:r>
            <a:br>
              <a:rPr lang="en-US" dirty="0">
                <a:solidFill>
                  <a:schemeClr val="tx1"/>
                </a:solidFill>
              </a:rPr>
            </a:br>
            <a:r>
              <a:rPr lang="en-US" dirty="0">
                <a:solidFill>
                  <a:schemeClr val="tx1"/>
                </a:solidFill>
              </a:rPr>
              <a:t>analyzers also </a:t>
            </a:r>
            <a:br>
              <a:rPr lang="en-US" dirty="0">
                <a:solidFill>
                  <a:schemeClr val="tx1"/>
                </a:solidFill>
              </a:rPr>
            </a:br>
            <a:r>
              <a:rPr lang="en-US" dirty="0">
                <a:solidFill>
                  <a:schemeClr val="tx1"/>
                </a:solidFill>
              </a:rPr>
              <a:t>defined very tightly</a:t>
            </a:r>
          </a:p>
        </p:txBody>
      </p:sp>
      <p:grpSp>
        <p:nvGrpSpPr>
          <p:cNvPr id="189" name="Group 188">
            <a:extLst>
              <a:ext uri="{FF2B5EF4-FFF2-40B4-BE49-F238E27FC236}">
                <a16:creationId xmlns:a16="http://schemas.microsoft.com/office/drawing/2014/main" id="{BE297E81-65FC-48A6-AA36-1FD397CBE39D}"/>
              </a:ext>
            </a:extLst>
          </p:cNvPr>
          <p:cNvGrpSpPr/>
          <p:nvPr/>
        </p:nvGrpSpPr>
        <p:grpSpPr bwMode="gray">
          <a:xfrm>
            <a:off x="5931053" y="3390139"/>
            <a:ext cx="329895" cy="1068323"/>
            <a:chOff x="3909933" y="3544064"/>
            <a:chExt cx="107385" cy="347753"/>
          </a:xfrm>
        </p:grpSpPr>
        <p:sp>
          <p:nvSpPr>
            <p:cNvPr id="190" name="Rectangle: Rounded Corners 49">
              <a:extLst>
                <a:ext uri="{FF2B5EF4-FFF2-40B4-BE49-F238E27FC236}">
                  <a16:creationId xmlns:a16="http://schemas.microsoft.com/office/drawing/2014/main" id="{ABAC4C35-9FF7-4500-8569-279BFEE140C3}"/>
                </a:ext>
              </a:extLst>
            </p:cNvPr>
            <p:cNvSpPr/>
            <p:nvPr/>
          </p:nvSpPr>
          <p:spPr bwMode="gray">
            <a:xfrm>
              <a:off x="3909933" y="3626335"/>
              <a:ext cx="101694" cy="232027"/>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91" name="Freeform: Shape 190">
              <a:extLst>
                <a:ext uri="{FF2B5EF4-FFF2-40B4-BE49-F238E27FC236}">
                  <a16:creationId xmlns:a16="http://schemas.microsoft.com/office/drawing/2014/main" id="{DA5D4305-1A62-4D82-9277-869A058C5B7D}"/>
                </a:ext>
              </a:extLst>
            </p:cNvPr>
            <p:cNvSpPr/>
            <p:nvPr/>
          </p:nvSpPr>
          <p:spPr bwMode="gray">
            <a:xfrm>
              <a:off x="3941540" y="3570552"/>
              <a:ext cx="38480" cy="57600"/>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192" name="Straight Connector 191">
              <a:extLst>
                <a:ext uri="{FF2B5EF4-FFF2-40B4-BE49-F238E27FC236}">
                  <a16:creationId xmlns:a16="http://schemas.microsoft.com/office/drawing/2014/main" id="{EA785417-A29D-45D1-BA6A-37AFA65B1685}"/>
                </a:ext>
              </a:extLst>
            </p:cNvPr>
            <p:cNvCxnSpPr>
              <a:cxnSpLocks/>
            </p:cNvCxnSpPr>
            <p:nvPr/>
          </p:nvCxnSpPr>
          <p:spPr bwMode="gray">
            <a:xfrm>
              <a:off x="3981318" y="3599824"/>
              <a:ext cx="36000" cy="0"/>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193" name="Rectangle: Rounded Corners 49">
              <a:extLst>
                <a:ext uri="{FF2B5EF4-FFF2-40B4-BE49-F238E27FC236}">
                  <a16:creationId xmlns:a16="http://schemas.microsoft.com/office/drawing/2014/main" id="{25167FB0-4157-46A7-95B5-F9F12482EED7}"/>
                </a:ext>
              </a:extLst>
            </p:cNvPr>
            <p:cNvSpPr/>
            <p:nvPr/>
          </p:nvSpPr>
          <p:spPr bwMode="gray">
            <a:xfrm>
              <a:off x="3909933" y="3858362"/>
              <a:ext cx="101694" cy="33455"/>
            </a:xfrm>
            <a:prstGeom prst="rect">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194" name="Straight Connector 193">
              <a:extLst>
                <a:ext uri="{FF2B5EF4-FFF2-40B4-BE49-F238E27FC236}">
                  <a16:creationId xmlns:a16="http://schemas.microsoft.com/office/drawing/2014/main" id="{16F52C06-34EE-4BAB-BBB1-F2B024A95505}"/>
                </a:ext>
              </a:extLst>
            </p:cNvPr>
            <p:cNvCxnSpPr>
              <a:cxnSpLocks/>
            </p:cNvCxnSpPr>
            <p:nvPr/>
          </p:nvCxnSpPr>
          <p:spPr bwMode="gray">
            <a:xfrm>
              <a:off x="3941540" y="3548247"/>
              <a:ext cx="38480" cy="0"/>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95" name="Straight Connector 194">
              <a:extLst>
                <a:ext uri="{FF2B5EF4-FFF2-40B4-BE49-F238E27FC236}">
                  <a16:creationId xmlns:a16="http://schemas.microsoft.com/office/drawing/2014/main" id="{7CD6AA41-A3D2-4ED2-AED0-C9A1EB1F6605}"/>
                </a:ext>
              </a:extLst>
            </p:cNvPr>
            <p:cNvCxnSpPr>
              <a:cxnSpLocks/>
            </p:cNvCxnSpPr>
            <p:nvPr/>
          </p:nvCxnSpPr>
          <p:spPr bwMode="gray">
            <a:xfrm>
              <a:off x="3960780" y="3544064"/>
              <a:ext cx="0" cy="26343"/>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nvGrpSpPr>
            <p:cNvPr id="196" name="Group 195">
              <a:extLst>
                <a:ext uri="{FF2B5EF4-FFF2-40B4-BE49-F238E27FC236}">
                  <a16:creationId xmlns:a16="http://schemas.microsoft.com/office/drawing/2014/main" id="{97A89022-B749-4E26-87B2-3603E9316759}"/>
                </a:ext>
              </a:extLst>
            </p:cNvPr>
            <p:cNvGrpSpPr/>
            <p:nvPr/>
          </p:nvGrpSpPr>
          <p:grpSpPr bwMode="gray">
            <a:xfrm>
              <a:off x="3927548" y="3709116"/>
              <a:ext cx="66464" cy="66464"/>
              <a:chOff x="4142707" y="3697126"/>
              <a:chExt cx="57685" cy="57685"/>
            </a:xfrm>
          </p:grpSpPr>
          <p:cxnSp>
            <p:nvCxnSpPr>
              <p:cNvPr id="197" name="Straight Connector 196">
                <a:extLst>
                  <a:ext uri="{FF2B5EF4-FFF2-40B4-BE49-F238E27FC236}">
                    <a16:creationId xmlns:a16="http://schemas.microsoft.com/office/drawing/2014/main" id="{086CE0E3-0531-4C72-83CD-E36246DF34F8}"/>
                  </a:ext>
                </a:extLst>
              </p:cNvPr>
              <p:cNvCxnSpPr/>
              <p:nvPr/>
            </p:nvCxnSpPr>
            <p:spPr bwMode="gray">
              <a:xfrm>
                <a:off x="4142707" y="3725969"/>
                <a:ext cx="57685" cy="0"/>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98" name="Straight Connector 197">
                <a:extLst>
                  <a:ext uri="{FF2B5EF4-FFF2-40B4-BE49-F238E27FC236}">
                    <a16:creationId xmlns:a16="http://schemas.microsoft.com/office/drawing/2014/main" id="{496BA99F-1608-4303-BA92-DCA573F8E554}"/>
                  </a:ext>
                </a:extLst>
              </p:cNvPr>
              <p:cNvCxnSpPr>
                <a:cxnSpLocks/>
              </p:cNvCxnSpPr>
              <p:nvPr/>
            </p:nvCxnSpPr>
            <p:spPr bwMode="gray">
              <a:xfrm rot="5400000">
                <a:off x="4142707" y="3725969"/>
                <a:ext cx="57685" cy="0"/>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grpSp>
      <p:sp>
        <p:nvSpPr>
          <p:cNvPr id="199" name="Date Placeholder 198">
            <a:extLst>
              <a:ext uri="{FF2B5EF4-FFF2-40B4-BE49-F238E27FC236}">
                <a16:creationId xmlns:a16="http://schemas.microsoft.com/office/drawing/2014/main" id="{78B347ED-2FA9-4763-91FE-4CED2CA42D4F}"/>
              </a:ext>
            </a:extLst>
          </p:cNvPr>
          <p:cNvSpPr>
            <a:spLocks noGrp="1"/>
          </p:cNvSpPr>
          <p:nvPr>
            <p:ph type="dt" sz="half" idx="14"/>
          </p:nvPr>
        </p:nvSpPr>
        <p:spPr bwMode="gray"/>
        <p:txBody>
          <a:bodyPr/>
          <a:lstStyle/>
          <a:p>
            <a:fld id="{07B2EC9F-5120-4248-A2D5-CC5DA7F0FEAF}" type="datetime4">
              <a:rPr lang="en-US" smtClean="0"/>
              <a:t>September 8, 2019</a:t>
            </a:fld>
            <a:endParaRPr lang="en-US" dirty="0"/>
          </a:p>
        </p:txBody>
      </p:sp>
      <p:sp>
        <p:nvSpPr>
          <p:cNvPr id="200" name="Footer Placeholder 199">
            <a:extLst>
              <a:ext uri="{FF2B5EF4-FFF2-40B4-BE49-F238E27FC236}">
                <a16:creationId xmlns:a16="http://schemas.microsoft.com/office/drawing/2014/main" id="{8B9D9A6A-A7E5-470D-82AB-CAF32339117A}"/>
              </a:ext>
            </a:extLst>
          </p:cNvPr>
          <p:cNvSpPr>
            <a:spLocks noGrp="1"/>
          </p:cNvSpPr>
          <p:nvPr>
            <p:ph type="ftr" sz="quarter" idx="15"/>
          </p:nvPr>
        </p:nvSpPr>
        <p:spPr bwMode="gray"/>
        <p:txBody>
          <a:bodyPr/>
          <a:lstStyle/>
          <a:p>
            <a:pPr lvl="8"/>
            <a:endParaRPr lang="en-US" dirty="0"/>
          </a:p>
        </p:txBody>
      </p:sp>
      <p:sp>
        <p:nvSpPr>
          <p:cNvPr id="201" name="Slide Number Placeholder 200">
            <a:extLst>
              <a:ext uri="{FF2B5EF4-FFF2-40B4-BE49-F238E27FC236}">
                <a16:creationId xmlns:a16="http://schemas.microsoft.com/office/drawing/2014/main" id="{A679E5DD-F657-43D7-A698-ABB6A19EE3F4}"/>
              </a:ext>
            </a:extLst>
          </p:cNvPr>
          <p:cNvSpPr>
            <a:spLocks noGrp="1"/>
          </p:cNvSpPr>
          <p:nvPr>
            <p:ph type="sldNum" sz="quarter" idx="16"/>
          </p:nvPr>
        </p:nvSpPr>
        <p:spPr bwMode="gray"/>
        <p:txBody>
          <a:bodyPr/>
          <a:lstStyle/>
          <a:p>
            <a:r>
              <a:rPr lang="en-US"/>
              <a:t>Slide </a:t>
            </a:r>
            <a:fld id="{619F89D8-7AE3-494A-97F3-03D680869632}" type="slidenum">
              <a:rPr lang="en-US" smtClean="0"/>
              <a:pPr/>
              <a:t>78</a:t>
            </a:fld>
            <a:endParaRPr lang="en-US" dirty="0"/>
          </a:p>
        </p:txBody>
      </p:sp>
    </p:spTree>
    <p:custDataLst>
      <p:tags r:id="rId1"/>
    </p:custDataLst>
    <p:extLst>
      <p:ext uri="{BB962C8B-B14F-4D97-AF65-F5344CB8AC3E}">
        <p14:creationId xmlns:p14="http://schemas.microsoft.com/office/powerpoint/2010/main" val="4141775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79"/>
                                        </p:tgtEl>
                                        <p:attrNameLst>
                                          <p:attrName>style.visibility</p:attrName>
                                        </p:attrNameLst>
                                      </p:cBhvr>
                                      <p:to>
                                        <p:strVal val="visible"/>
                                      </p:to>
                                    </p:set>
                                    <p:animEffect transition="in" filter="wheel(1)">
                                      <p:cBhvr>
                                        <p:cTn id="7" dur="4750"/>
                                        <p:tgtEl>
                                          <p:spTgt spid="179"/>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87"/>
                                        </p:tgtEl>
                                        <p:attrNameLst>
                                          <p:attrName>style.visibility</p:attrName>
                                        </p:attrNameLst>
                                      </p:cBhvr>
                                      <p:to>
                                        <p:strVal val="visible"/>
                                      </p:to>
                                    </p:set>
                                    <p:anim calcmode="lin" valueType="num">
                                      <p:cBhvr>
                                        <p:cTn id="10" dur="500" fill="hold"/>
                                        <p:tgtEl>
                                          <p:spTgt spid="187"/>
                                        </p:tgtEl>
                                        <p:attrNameLst>
                                          <p:attrName>ppt_w</p:attrName>
                                        </p:attrNameLst>
                                      </p:cBhvr>
                                      <p:tavLst>
                                        <p:tav tm="0">
                                          <p:val>
                                            <p:fltVal val="0"/>
                                          </p:val>
                                        </p:tav>
                                        <p:tav tm="100000">
                                          <p:val>
                                            <p:strVal val="#ppt_w"/>
                                          </p:val>
                                        </p:tav>
                                      </p:tavLst>
                                    </p:anim>
                                    <p:anim calcmode="lin" valueType="num">
                                      <p:cBhvr>
                                        <p:cTn id="11" dur="500" fill="hold"/>
                                        <p:tgtEl>
                                          <p:spTgt spid="187"/>
                                        </p:tgtEl>
                                        <p:attrNameLst>
                                          <p:attrName>ppt_h</p:attrName>
                                        </p:attrNameLst>
                                      </p:cBhvr>
                                      <p:tavLst>
                                        <p:tav tm="0">
                                          <p:val>
                                            <p:fltVal val="0"/>
                                          </p:val>
                                        </p:tav>
                                        <p:tav tm="100000">
                                          <p:val>
                                            <p:strVal val="#ppt_h"/>
                                          </p:val>
                                        </p:tav>
                                      </p:tavLst>
                                    </p:anim>
                                    <p:animEffect transition="in" filter="fade">
                                      <p:cBhvr>
                                        <p:cTn id="12" dur="500"/>
                                        <p:tgtEl>
                                          <p:spTgt spid="18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4"/>
                                        </p:tgtEl>
                                        <p:attrNameLst>
                                          <p:attrName>style.visibility</p:attrName>
                                        </p:attrNameLst>
                                      </p:cBhvr>
                                      <p:to>
                                        <p:strVal val="visible"/>
                                      </p:to>
                                    </p:set>
                                    <p:animEffect transition="in" filter="fade">
                                      <p:cBhvr>
                                        <p:cTn id="15" dur="500"/>
                                        <p:tgtEl>
                                          <p:spTgt spid="174"/>
                                        </p:tgtEl>
                                      </p:cBhvr>
                                    </p:animEffect>
                                  </p:childTnLst>
                                </p:cTn>
                              </p:par>
                              <p:par>
                                <p:cTn id="16" presetID="53" presetClass="entr" presetSubtype="16" fill="hold" grpId="0" nodeType="withEffect">
                                  <p:stCondLst>
                                    <p:cond delay="500"/>
                                  </p:stCondLst>
                                  <p:childTnLst>
                                    <p:set>
                                      <p:cBhvr>
                                        <p:cTn id="17" dur="1" fill="hold">
                                          <p:stCondLst>
                                            <p:cond delay="0"/>
                                          </p:stCondLst>
                                        </p:cTn>
                                        <p:tgtEl>
                                          <p:spTgt spid="181"/>
                                        </p:tgtEl>
                                        <p:attrNameLst>
                                          <p:attrName>style.visibility</p:attrName>
                                        </p:attrNameLst>
                                      </p:cBhvr>
                                      <p:to>
                                        <p:strVal val="visible"/>
                                      </p:to>
                                    </p:set>
                                    <p:anim calcmode="lin" valueType="num">
                                      <p:cBhvr>
                                        <p:cTn id="18" dur="500" fill="hold"/>
                                        <p:tgtEl>
                                          <p:spTgt spid="181"/>
                                        </p:tgtEl>
                                        <p:attrNameLst>
                                          <p:attrName>ppt_w</p:attrName>
                                        </p:attrNameLst>
                                      </p:cBhvr>
                                      <p:tavLst>
                                        <p:tav tm="0">
                                          <p:val>
                                            <p:fltVal val="0"/>
                                          </p:val>
                                        </p:tav>
                                        <p:tav tm="100000">
                                          <p:val>
                                            <p:strVal val="#ppt_w"/>
                                          </p:val>
                                        </p:tav>
                                      </p:tavLst>
                                    </p:anim>
                                    <p:anim calcmode="lin" valueType="num">
                                      <p:cBhvr>
                                        <p:cTn id="19" dur="500" fill="hold"/>
                                        <p:tgtEl>
                                          <p:spTgt spid="181"/>
                                        </p:tgtEl>
                                        <p:attrNameLst>
                                          <p:attrName>ppt_h</p:attrName>
                                        </p:attrNameLst>
                                      </p:cBhvr>
                                      <p:tavLst>
                                        <p:tav tm="0">
                                          <p:val>
                                            <p:fltVal val="0"/>
                                          </p:val>
                                        </p:tav>
                                        <p:tav tm="100000">
                                          <p:val>
                                            <p:strVal val="#ppt_h"/>
                                          </p:val>
                                        </p:tav>
                                      </p:tavLst>
                                    </p:anim>
                                    <p:animEffect transition="in" filter="fade">
                                      <p:cBhvr>
                                        <p:cTn id="20" dur="500"/>
                                        <p:tgtEl>
                                          <p:spTgt spid="181"/>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176"/>
                                        </p:tgtEl>
                                        <p:attrNameLst>
                                          <p:attrName>style.visibility</p:attrName>
                                        </p:attrNameLst>
                                      </p:cBhvr>
                                      <p:to>
                                        <p:strVal val="visible"/>
                                      </p:to>
                                    </p:set>
                                    <p:animEffect transition="in" filter="fade">
                                      <p:cBhvr>
                                        <p:cTn id="23" dur="500"/>
                                        <p:tgtEl>
                                          <p:spTgt spid="176"/>
                                        </p:tgtEl>
                                      </p:cBhvr>
                                    </p:animEffect>
                                  </p:childTnLst>
                                </p:cTn>
                              </p:par>
                              <p:par>
                                <p:cTn id="24" presetID="53" presetClass="entr" presetSubtype="16" fill="hold" grpId="0" nodeType="withEffect">
                                  <p:stCondLst>
                                    <p:cond delay="1000"/>
                                  </p:stCondLst>
                                  <p:childTnLst>
                                    <p:set>
                                      <p:cBhvr>
                                        <p:cTn id="25" dur="1" fill="hold">
                                          <p:stCondLst>
                                            <p:cond delay="0"/>
                                          </p:stCondLst>
                                        </p:cTn>
                                        <p:tgtEl>
                                          <p:spTgt spid="185"/>
                                        </p:tgtEl>
                                        <p:attrNameLst>
                                          <p:attrName>style.visibility</p:attrName>
                                        </p:attrNameLst>
                                      </p:cBhvr>
                                      <p:to>
                                        <p:strVal val="visible"/>
                                      </p:to>
                                    </p:set>
                                    <p:anim calcmode="lin" valueType="num">
                                      <p:cBhvr>
                                        <p:cTn id="26" dur="500" fill="hold"/>
                                        <p:tgtEl>
                                          <p:spTgt spid="185"/>
                                        </p:tgtEl>
                                        <p:attrNameLst>
                                          <p:attrName>ppt_w</p:attrName>
                                        </p:attrNameLst>
                                      </p:cBhvr>
                                      <p:tavLst>
                                        <p:tav tm="0">
                                          <p:val>
                                            <p:fltVal val="0"/>
                                          </p:val>
                                        </p:tav>
                                        <p:tav tm="100000">
                                          <p:val>
                                            <p:strVal val="#ppt_w"/>
                                          </p:val>
                                        </p:tav>
                                      </p:tavLst>
                                    </p:anim>
                                    <p:anim calcmode="lin" valueType="num">
                                      <p:cBhvr>
                                        <p:cTn id="27" dur="500" fill="hold"/>
                                        <p:tgtEl>
                                          <p:spTgt spid="185"/>
                                        </p:tgtEl>
                                        <p:attrNameLst>
                                          <p:attrName>ppt_h</p:attrName>
                                        </p:attrNameLst>
                                      </p:cBhvr>
                                      <p:tavLst>
                                        <p:tav tm="0">
                                          <p:val>
                                            <p:fltVal val="0"/>
                                          </p:val>
                                        </p:tav>
                                        <p:tav tm="100000">
                                          <p:val>
                                            <p:strVal val="#ppt_h"/>
                                          </p:val>
                                        </p:tav>
                                      </p:tavLst>
                                    </p:anim>
                                    <p:animEffect transition="in" filter="fade">
                                      <p:cBhvr>
                                        <p:cTn id="28" dur="500"/>
                                        <p:tgtEl>
                                          <p:spTgt spid="185"/>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175"/>
                                        </p:tgtEl>
                                        <p:attrNameLst>
                                          <p:attrName>style.visibility</p:attrName>
                                        </p:attrNameLst>
                                      </p:cBhvr>
                                      <p:to>
                                        <p:strVal val="visible"/>
                                      </p:to>
                                    </p:set>
                                    <p:animEffect transition="in" filter="fade">
                                      <p:cBhvr>
                                        <p:cTn id="31" dur="500"/>
                                        <p:tgtEl>
                                          <p:spTgt spid="175"/>
                                        </p:tgtEl>
                                      </p:cBhvr>
                                    </p:animEffect>
                                  </p:childTnLst>
                                </p:cTn>
                              </p:par>
                              <p:par>
                                <p:cTn id="32" presetID="53" presetClass="entr" presetSubtype="16" fill="hold" grpId="0" nodeType="withEffect">
                                  <p:stCondLst>
                                    <p:cond delay="1500"/>
                                  </p:stCondLst>
                                  <p:childTnLst>
                                    <p:set>
                                      <p:cBhvr>
                                        <p:cTn id="33" dur="1" fill="hold">
                                          <p:stCondLst>
                                            <p:cond delay="0"/>
                                          </p:stCondLst>
                                        </p:cTn>
                                        <p:tgtEl>
                                          <p:spTgt spid="182"/>
                                        </p:tgtEl>
                                        <p:attrNameLst>
                                          <p:attrName>style.visibility</p:attrName>
                                        </p:attrNameLst>
                                      </p:cBhvr>
                                      <p:to>
                                        <p:strVal val="visible"/>
                                      </p:to>
                                    </p:set>
                                    <p:anim calcmode="lin" valueType="num">
                                      <p:cBhvr>
                                        <p:cTn id="34" dur="500" fill="hold"/>
                                        <p:tgtEl>
                                          <p:spTgt spid="182"/>
                                        </p:tgtEl>
                                        <p:attrNameLst>
                                          <p:attrName>ppt_w</p:attrName>
                                        </p:attrNameLst>
                                      </p:cBhvr>
                                      <p:tavLst>
                                        <p:tav tm="0">
                                          <p:val>
                                            <p:fltVal val="0"/>
                                          </p:val>
                                        </p:tav>
                                        <p:tav tm="100000">
                                          <p:val>
                                            <p:strVal val="#ppt_w"/>
                                          </p:val>
                                        </p:tav>
                                      </p:tavLst>
                                    </p:anim>
                                    <p:anim calcmode="lin" valueType="num">
                                      <p:cBhvr>
                                        <p:cTn id="35" dur="500" fill="hold"/>
                                        <p:tgtEl>
                                          <p:spTgt spid="182"/>
                                        </p:tgtEl>
                                        <p:attrNameLst>
                                          <p:attrName>ppt_h</p:attrName>
                                        </p:attrNameLst>
                                      </p:cBhvr>
                                      <p:tavLst>
                                        <p:tav tm="0">
                                          <p:val>
                                            <p:fltVal val="0"/>
                                          </p:val>
                                        </p:tav>
                                        <p:tav tm="100000">
                                          <p:val>
                                            <p:strVal val="#ppt_h"/>
                                          </p:val>
                                        </p:tav>
                                      </p:tavLst>
                                    </p:anim>
                                    <p:animEffect transition="in" filter="fade">
                                      <p:cBhvr>
                                        <p:cTn id="36" dur="500"/>
                                        <p:tgtEl>
                                          <p:spTgt spid="182"/>
                                        </p:tgtEl>
                                      </p:cBhvr>
                                    </p:animEffect>
                                  </p:childTnLst>
                                </p:cTn>
                              </p:par>
                              <p:par>
                                <p:cTn id="37" presetID="10" presetClass="entr" presetSubtype="0" fill="hold" grpId="0" nodeType="withEffect">
                                  <p:stCondLst>
                                    <p:cond delay="1500"/>
                                  </p:stCondLst>
                                  <p:childTnLst>
                                    <p:set>
                                      <p:cBhvr>
                                        <p:cTn id="38" dur="1" fill="hold">
                                          <p:stCondLst>
                                            <p:cond delay="0"/>
                                          </p:stCondLst>
                                        </p:cTn>
                                        <p:tgtEl>
                                          <p:spTgt spid="177"/>
                                        </p:tgtEl>
                                        <p:attrNameLst>
                                          <p:attrName>style.visibility</p:attrName>
                                        </p:attrNameLst>
                                      </p:cBhvr>
                                      <p:to>
                                        <p:strVal val="visible"/>
                                      </p:to>
                                    </p:set>
                                    <p:animEffect transition="in" filter="fade">
                                      <p:cBhvr>
                                        <p:cTn id="39" dur="500"/>
                                        <p:tgtEl>
                                          <p:spTgt spid="177"/>
                                        </p:tgtEl>
                                      </p:cBhvr>
                                    </p:animEffect>
                                  </p:childTnLst>
                                </p:cTn>
                              </p:par>
                              <p:par>
                                <p:cTn id="40" presetID="53" presetClass="entr" presetSubtype="16" fill="hold" grpId="0" nodeType="withEffect">
                                  <p:stCondLst>
                                    <p:cond delay="2000"/>
                                  </p:stCondLst>
                                  <p:childTnLst>
                                    <p:set>
                                      <p:cBhvr>
                                        <p:cTn id="41" dur="1" fill="hold">
                                          <p:stCondLst>
                                            <p:cond delay="0"/>
                                          </p:stCondLst>
                                        </p:cTn>
                                        <p:tgtEl>
                                          <p:spTgt spid="186"/>
                                        </p:tgtEl>
                                        <p:attrNameLst>
                                          <p:attrName>style.visibility</p:attrName>
                                        </p:attrNameLst>
                                      </p:cBhvr>
                                      <p:to>
                                        <p:strVal val="visible"/>
                                      </p:to>
                                    </p:set>
                                    <p:anim calcmode="lin" valueType="num">
                                      <p:cBhvr>
                                        <p:cTn id="42" dur="500" fill="hold"/>
                                        <p:tgtEl>
                                          <p:spTgt spid="186"/>
                                        </p:tgtEl>
                                        <p:attrNameLst>
                                          <p:attrName>ppt_w</p:attrName>
                                        </p:attrNameLst>
                                      </p:cBhvr>
                                      <p:tavLst>
                                        <p:tav tm="0">
                                          <p:val>
                                            <p:fltVal val="0"/>
                                          </p:val>
                                        </p:tav>
                                        <p:tav tm="100000">
                                          <p:val>
                                            <p:strVal val="#ppt_w"/>
                                          </p:val>
                                        </p:tav>
                                      </p:tavLst>
                                    </p:anim>
                                    <p:anim calcmode="lin" valueType="num">
                                      <p:cBhvr>
                                        <p:cTn id="43" dur="500" fill="hold"/>
                                        <p:tgtEl>
                                          <p:spTgt spid="186"/>
                                        </p:tgtEl>
                                        <p:attrNameLst>
                                          <p:attrName>ppt_h</p:attrName>
                                        </p:attrNameLst>
                                      </p:cBhvr>
                                      <p:tavLst>
                                        <p:tav tm="0">
                                          <p:val>
                                            <p:fltVal val="0"/>
                                          </p:val>
                                        </p:tav>
                                        <p:tav tm="100000">
                                          <p:val>
                                            <p:strVal val="#ppt_h"/>
                                          </p:val>
                                        </p:tav>
                                      </p:tavLst>
                                    </p:anim>
                                    <p:animEffect transition="in" filter="fade">
                                      <p:cBhvr>
                                        <p:cTn id="44" dur="500"/>
                                        <p:tgtEl>
                                          <p:spTgt spid="186"/>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88"/>
                                        </p:tgtEl>
                                        <p:attrNameLst>
                                          <p:attrName>style.visibility</p:attrName>
                                        </p:attrNameLst>
                                      </p:cBhvr>
                                      <p:to>
                                        <p:strVal val="visible"/>
                                      </p:to>
                                    </p:set>
                                    <p:animEffect transition="in" filter="fade">
                                      <p:cBhvr>
                                        <p:cTn id="47" dur="500"/>
                                        <p:tgtEl>
                                          <p:spTgt spid="188"/>
                                        </p:tgtEl>
                                      </p:cBhvr>
                                    </p:animEffect>
                                  </p:childTnLst>
                                </p:cTn>
                              </p:par>
                              <p:par>
                                <p:cTn id="48" presetID="53" presetClass="entr" presetSubtype="16" fill="hold" grpId="0" nodeType="withEffect">
                                  <p:stCondLst>
                                    <p:cond delay="2500"/>
                                  </p:stCondLst>
                                  <p:childTnLst>
                                    <p:set>
                                      <p:cBhvr>
                                        <p:cTn id="49" dur="1" fill="hold">
                                          <p:stCondLst>
                                            <p:cond delay="0"/>
                                          </p:stCondLst>
                                        </p:cTn>
                                        <p:tgtEl>
                                          <p:spTgt spid="180"/>
                                        </p:tgtEl>
                                        <p:attrNameLst>
                                          <p:attrName>style.visibility</p:attrName>
                                        </p:attrNameLst>
                                      </p:cBhvr>
                                      <p:to>
                                        <p:strVal val="visible"/>
                                      </p:to>
                                    </p:set>
                                    <p:anim calcmode="lin" valueType="num">
                                      <p:cBhvr>
                                        <p:cTn id="50" dur="500" fill="hold"/>
                                        <p:tgtEl>
                                          <p:spTgt spid="180"/>
                                        </p:tgtEl>
                                        <p:attrNameLst>
                                          <p:attrName>ppt_w</p:attrName>
                                        </p:attrNameLst>
                                      </p:cBhvr>
                                      <p:tavLst>
                                        <p:tav tm="0">
                                          <p:val>
                                            <p:fltVal val="0"/>
                                          </p:val>
                                        </p:tav>
                                        <p:tav tm="100000">
                                          <p:val>
                                            <p:strVal val="#ppt_w"/>
                                          </p:val>
                                        </p:tav>
                                      </p:tavLst>
                                    </p:anim>
                                    <p:anim calcmode="lin" valueType="num">
                                      <p:cBhvr>
                                        <p:cTn id="51" dur="500" fill="hold"/>
                                        <p:tgtEl>
                                          <p:spTgt spid="180"/>
                                        </p:tgtEl>
                                        <p:attrNameLst>
                                          <p:attrName>ppt_h</p:attrName>
                                        </p:attrNameLst>
                                      </p:cBhvr>
                                      <p:tavLst>
                                        <p:tav tm="0">
                                          <p:val>
                                            <p:fltVal val="0"/>
                                          </p:val>
                                        </p:tav>
                                        <p:tav tm="100000">
                                          <p:val>
                                            <p:strVal val="#ppt_h"/>
                                          </p:val>
                                        </p:tav>
                                      </p:tavLst>
                                    </p:anim>
                                    <p:animEffect transition="in" filter="fade">
                                      <p:cBhvr>
                                        <p:cTn id="52" dur="500"/>
                                        <p:tgtEl>
                                          <p:spTgt spid="180"/>
                                        </p:tgtEl>
                                      </p:cBhvr>
                                    </p:animEffect>
                                  </p:childTnLst>
                                </p:cTn>
                              </p:par>
                              <p:par>
                                <p:cTn id="53" presetID="10" presetClass="entr" presetSubtype="0" fill="hold" grpId="0" nodeType="withEffect">
                                  <p:stCondLst>
                                    <p:cond delay="2500"/>
                                  </p:stCondLst>
                                  <p:childTnLst>
                                    <p:set>
                                      <p:cBhvr>
                                        <p:cTn id="54" dur="1" fill="hold">
                                          <p:stCondLst>
                                            <p:cond delay="0"/>
                                          </p:stCondLst>
                                        </p:cTn>
                                        <p:tgtEl>
                                          <p:spTgt spid="172"/>
                                        </p:tgtEl>
                                        <p:attrNameLst>
                                          <p:attrName>style.visibility</p:attrName>
                                        </p:attrNameLst>
                                      </p:cBhvr>
                                      <p:to>
                                        <p:strVal val="visible"/>
                                      </p:to>
                                    </p:set>
                                    <p:animEffect transition="in" filter="fade">
                                      <p:cBhvr>
                                        <p:cTn id="55" dur="500"/>
                                        <p:tgtEl>
                                          <p:spTgt spid="172"/>
                                        </p:tgtEl>
                                      </p:cBhvr>
                                    </p:animEffect>
                                  </p:childTnLst>
                                </p:cTn>
                              </p:par>
                              <p:par>
                                <p:cTn id="56" presetID="53" presetClass="entr" presetSubtype="16" fill="hold" grpId="0" nodeType="withEffect">
                                  <p:stCondLst>
                                    <p:cond delay="3000"/>
                                  </p:stCondLst>
                                  <p:childTnLst>
                                    <p:set>
                                      <p:cBhvr>
                                        <p:cTn id="57" dur="1" fill="hold">
                                          <p:stCondLst>
                                            <p:cond delay="0"/>
                                          </p:stCondLst>
                                        </p:cTn>
                                        <p:tgtEl>
                                          <p:spTgt spid="184"/>
                                        </p:tgtEl>
                                        <p:attrNameLst>
                                          <p:attrName>style.visibility</p:attrName>
                                        </p:attrNameLst>
                                      </p:cBhvr>
                                      <p:to>
                                        <p:strVal val="visible"/>
                                      </p:to>
                                    </p:set>
                                    <p:anim calcmode="lin" valueType="num">
                                      <p:cBhvr>
                                        <p:cTn id="58" dur="500" fill="hold"/>
                                        <p:tgtEl>
                                          <p:spTgt spid="184"/>
                                        </p:tgtEl>
                                        <p:attrNameLst>
                                          <p:attrName>ppt_w</p:attrName>
                                        </p:attrNameLst>
                                      </p:cBhvr>
                                      <p:tavLst>
                                        <p:tav tm="0">
                                          <p:val>
                                            <p:fltVal val="0"/>
                                          </p:val>
                                        </p:tav>
                                        <p:tav tm="100000">
                                          <p:val>
                                            <p:strVal val="#ppt_w"/>
                                          </p:val>
                                        </p:tav>
                                      </p:tavLst>
                                    </p:anim>
                                    <p:anim calcmode="lin" valueType="num">
                                      <p:cBhvr>
                                        <p:cTn id="59" dur="500" fill="hold"/>
                                        <p:tgtEl>
                                          <p:spTgt spid="184"/>
                                        </p:tgtEl>
                                        <p:attrNameLst>
                                          <p:attrName>ppt_h</p:attrName>
                                        </p:attrNameLst>
                                      </p:cBhvr>
                                      <p:tavLst>
                                        <p:tav tm="0">
                                          <p:val>
                                            <p:fltVal val="0"/>
                                          </p:val>
                                        </p:tav>
                                        <p:tav tm="100000">
                                          <p:val>
                                            <p:strVal val="#ppt_h"/>
                                          </p:val>
                                        </p:tav>
                                      </p:tavLst>
                                    </p:anim>
                                    <p:animEffect transition="in" filter="fade">
                                      <p:cBhvr>
                                        <p:cTn id="60" dur="500"/>
                                        <p:tgtEl>
                                          <p:spTgt spid="184"/>
                                        </p:tgtEl>
                                      </p:cBhvr>
                                    </p:animEffect>
                                  </p:childTnLst>
                                </p:cTn>
                              </p:par>
                              <p:par>
                                <p:cTn id="61" presetID="10" presetClass="entr" presetSubtype="0" fill="hold" grpId="0" nodeType="withEffect">
                                  <p:stCondLst>
                                    <p:cond delay="3000"/>
                                  </p:stCondLst>
                                  <p:childTnLst>
                                    <p:set>
                                      <p:cBhvr>
                                        <p:cTn id="62" dur="1" fill="hold">
                                          <p:stCondLst>
                                            <p:cond delay="0"/>
                                          </p:stCondLst>
                                        </p:cTn>
                                        <p:tgtEl>
                                          <p:spTgt spid="173"/>
                                        </p:tgtEl>
                                        <p:attrNameLst>
                                          <p:attrName>style.visibility</p:attrName>
                                        </p:attrNameLst>
                                      </p:cBhvr>
                                      <p:to>
                                        <p:strVal val="visible"/>
                                      </p:to>
                                    </p:set>
                                    <p:animEffect transition="in" filter="fade">
                                      <p:cBhvr>
                                        <p:cTn id="63" dur="500"/>
                                        <p:tgtEl>
                                          <p:spTgt spid="173"/>
                                        </p:tgtEl>
                                      </p:cBhvr>
                                    </p:animEffect>
                                  </p:childTnLst>
                                </p:cTn>
                              </p:par>
                              <p:par>
                                <p:cTn id="64" presetID="53" presetClass="entr" presetSubtype="16" fill="hold" grpId="0" nodeType="withEffect">
                                  <p:stCondLst>
                                    <p:cond delay="3500"/>
                                  </p:stCondLst>
                                  <p:childTnLst>
                                    <p:set>
                                      <p:cBhvr>
                                        <p:cTn id="65" dur="1" fill="hold">
                                          <p:stCondLst>
                                            <p:cond delay="0"/>
                                          </p:stCondLst>
                                        </p:cTn>
                                        <p:tgtEl>
                                          <p:spTgt spid="183"/>
                                        </p:tgtEl>
                                        <p:attrNameLst>
                                          <p:attrName>style.visibility</p:attrName>
                                        </p:attrNameLst>
                                      </p:cBhvr>
                                      <p:to>
                                        <p:strVal val="visible"/>
                                      </p:to>
                                    </p:set>
                                    <p:anim calcmode="lin" valueType="num">
                                      <p:cBhvr>
                                        <p:cTn id="66" dur="500" fill="hold"/>
                                        <p:tgtEl>
                                          <p:spTgt spid="183"/>
                                        </p:tgtEl>
                                        <p:attrNameLst>
                                          <p:attrName>ppt_w</p:attrName>
                                        </p:attrNameLst>
                                      </p:cBhvr>
                                      <p:tavLst>
                                        <p:tav tm="0">
                                          <p:val>
                                            <p:fltVal val="0"/>
                                          </p:val>
                                        </p:tav>
                                        <p:tav tm="100000">
                                          <p:val>
                                            <p:strVal val="#ppt_w"/>
                                          </p:val>
                                        </p:tav>
                                      </p:tavLst>
                                    </p:anim>
                                    <p:anim calcmode="lin" valueType="num">
                                      <p:cBhvr>
                                        <p:cTn id="67" dur="500" fill="hold"/>
                                        <p:tgtEl>
                                          <p:spTgt spid="183"/>
                                        </p:tgtEl>
                                        <p:attrNameLst>
                                          <p:attrName>ppt_h</p:attrName>
                                        </p:attrNameLst>
                                      </p:cBhvr>
                                      <p:tavLst>
                                        <p:tav tm="0">
                                          <p:val>
                                            <p:fltVal val="0"/>
                                          </p:val>
                                        </p:tav>
                                        <p:tav tm="100000">
                                          <p:val>
                                            <p:strVal val="#ppt_h"/>
                                          </p:val>
                                        </p:tav>
                                      </p:tavLst>
                                    </p:anim>
                                    <p:animEffect transition="in" filter="fade">
                                      <p:cBhvr>
                                        <p:cTn id="68" dur="500"/>
                                        <p:tgtEl>
                                          <p:spTgt spid="183"/>
                                        </p:tgtEl>
                                      </p:cBhvr>
                                    </p:animEffect>
                                  </p:childTnLst>
                                </p:cTn>
                              </p:par>
                              <p:par>
                                <p:cTn id="69" presetID="10" presetClass="entr" presetSubtype="0" fill="hold" grpId="0" nodeType="withEffect">
                                  <p:stCondLst>
                                    <p:cond delay="3500"/>
                                  </p:stCondLst>
                                  <p:childTnLst>
                                    <p:set>
                                      <p:cBhvr>
                                        <p:cTn id="70" dur="1" fill="hold">
                                          <p:stCondLst>
                                            <p:cond delay="0"/>
                                          </p:stCondLst>
                                        </p:cTn>
                                        <p:tgtEl>
                                          <p:spTgt spid="171"/>
                                        </p:tgtEl>
                                        <p:attrNameLst>
                                          <p:attrName>style.visibility</p:attrName>
                                        </p:attrNameLst>
                                      </p:cBhvr>
                                      <p:to>
                                        <p:strVal val="visible"/>
                                      </p:to>
                                    </p:set>
                                    <p:animEffect transition="in" filter="fade">
                                      <p:cBhvr>
                                        <p:cTn id="71" dur="500"/>
                                        <p:tgtEl>
                                          <p:spTgt spid="1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1" grpId="0"/>
      <p:bldP spid="172" grpId="0"/>
      <p:bldP spid="173" grpId="0"/>
      <p:bldP spid="174" grpId="0"/>
      <p:bldP spid="175" grpId="0"/>
      <p:bldP spid="176" grpId="0"/>
      <p:bldP spid="177" grpId="0"/>
      <p:bldP spid="179" grpId="0" animBg="1"/>
      <p:bldP spid="180" grpId="0" animBg="1"/>
      <p:bldP spid="181" grpId="0" animBg="1"/>
      <p:bldP spid="182" grpId="0" animBg="1"/>
      <p:bldP spid="183" grpId="0" animBg="1"/>
      <p:bldP spid="184" grpId="0" animBg="1"/>
      <p:bldP spid="185" grpId="0" animBg="1"/>
      <p:bldP spid="186" grpId="0" animBg="1"/>
      <p:bldP spid="187" grpId="0" animBg="1"/>
      <p:bldP spid="188"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8D028D-1D8B-4FDB-B4DD-6FC9501D5696}"/>
              </a:ext>
            </a:extLst>
          </p:cNvPr>
          <p:cNvSpPr>
            <a:spLocks noGrp="1"/>
          </p:cNvSpPr>
          <p:nvPr>
            <p:ph type="title"/>
          </p:nvPr>
        </p:nvSpPr>
        <p:spPr bwMode="gray"/>
        <p:txBody>
          <a:bodyPr/>
          <a:lstStyle/>
          <a:p>
            <a:r>
              <a:rPr lang="en-GB" dirty="0"/>
              <a:t>Industrial / welding gases / gas mixtures</a:t>
            </a:r>
            <a:endParaRPr lang="de-DE" dirty="0"/>
          </a:p>
        </p:txBody>
      </p:sp>
      <p:sp>
        <p:nvSpPr>
          <p:cNvPr id="7" name="Subtitle 6">
            <a:extLst>
              <a:ext uri="{FF2B5EF4-FFF2-40B4-BE49-F238E27FC236}">
                <a16:creationId xmlns:a16="http://schemas.microsoft.com/office/drawing/2014/main" id="{F7832189-748A-44CF-952C-F72F63B06970}"/>
              </a:ext>
            </a:extLst>
          </p:cNvPr>
          <p:cNvSpPr>
            <a:spLocks noGrp="1"/>
          </p:cNvSpPr>
          <p:nvPr>
            <p:ph type="subTitle" idx="13"/>
          </p:nvPr>
        </p:nvSpPr>
        <p:spPr bwMode="gray"/>
        <p:txBody>
          <a:bodyPr/>
          <a:lstStyle/>
          <a:p>
            <a:r>
              <a:rPr lang="en-GB" dirty="0"/>
              <a:t>Filling plants built and operated by industrial gases companies, not by third parties</a:t>
            </a:r>
            <a:endParaRPr lang="de-DE" dirty="0"/>
          </a:p>
        </p:txBody>
      </p:sp>
      <p:sp>
        <p:nvSpPr>
          <p:cNvPr id="41" name="Textfeld 25">
            <a:extLst>
              <a:ext uri="{FF2B5EF4-FFF2-40B4-BE49-F238E27FC236}">
                <a16:creationId xmlns:a16="http://schemas.microsoft.com/office/drawing/2014/main" id="{73652F8D-1ECE-43B2-8401-E044CB74BA0B}"/>
              </a:ext>
            </a:extLst>
          </p:cNvPr>
          <p:cNvSpPr txBox="1"/>
          <p:nvPr/>
        </p:nvSpPr>
        <p:spPr bwMode="gray">
          <a:xfrm>
            <a:off x="336549" y="3000641"/>
            <a:ext cx="4526613"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solidFill>
                  <a:schemeClr val="tx1"/>
                </a:solidFill>
              </a:rPr>
              <a:t>Composition of the gas mixture must </a:t>
            </a:r>
            <a:br>
              <a:rPr lang="en-US" dirty="0">
                <a:solidFill>
                  <a:schemeClr val="tx1"/>
                </a:solidFill>
              </a:rPr>
            </a:br>
            <a:r>
              <a:rPr lang="en-US" dirty="0">
                <a:solidFill>
                  <a:schemeClr val="tx1"/>
                </a:solidFill>
              </a:rPr>
              <a:t>be analyzed to ensure it meets required </a:t>
            </a:r>
            <a:br>
              <a:rPr lang="en-US" dirty="0">
                <a:solidFill>
                  <a:schemeClr val="tx1"/>
                </a:solidFill>
              </a:rPr>
            </a:br>
            <a:r>
              <a:rPr lang="en-US" dirty="0">
                <a:solidFill>
                  <a:schemeClr val="tx1"/>
                </a:solidFill>
              </a:rPr>
              <a:t>blend composition specification within </a:t>
            </a:r>
            <a:br>
              <a:rPr lang="en-US" dirty="0">
                <a:solidFill>
                  <a:schemeClr val="tx1"/>
                </a:solidFill>
              </a:rPr>
            </a:br>
            <a:r>
              <a:rPr lang="en-US" dirty="0">
                <a:solidFill>
                  <a:schemeClr val="tx1"/>
                </a:solidFill>
              </a:rPr>
              <a:t>the acceptable tolerances</a:t>
            </a:r>
          </a:p>
        </p:txBody>
      </p:sp>
      <p:sp>
        <p:nvSpPr>
          <p:cNvPr id="42" name="Textfeld 25">
            <a:extLst>
              <a:ext uri="{FF2B5EF4-FFF2-40B4-BE49-F238E27FC236}">
                <a16:creationId xmlns:a16="http://schemas.microsoft.com/office/drawing/2014/main" id="{3BB5964D-41CE-4EA6-9863-165B541EC3C5}"/>
              </a:ext>
            </a:extLst>
          </p:cNvPr>
          <p:cNvSpPr txBox="1"/>
          <p:nvPr/>
        </p:nvSpPr>
        <p:spPr bwMode="gray">
          <a:xfrm>
            <a:off x="336548" y="4327022"/>
            <a:ext cx="4526615"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solidFill>
                  <a:schemeClr val="tx1"/>
                </a:solidFill>
              </a:rPr>
              <a:t>Industrial cylinder gases are </a:t>
            </a:r>
            <a:br>
              <a:rPr lang="en-US" dirty="0">
                <a:solidFill>
                  <a:schemeClr val="tx1"/>
                </a:solidFill>
              </a:rPr>
            </a:br>
            <a:r>
              <a:rPr lang="en-US" dirty="0">
                <a:solidFill>
                  <a:schemeClr val="tx1"/>
                </a:solidFill>
              </a:rPr>
              <a:t>either supplied as pure gases or </a:t>
            </a:r>
            <a:br>
              <a:rPr lang="en-US" dirty="0">
                <a:solidFill>
                  <a:schemeClr val="tx1"/>
                </a:solidFill>
              </a:rPr>
            </a:br>
            <a:r>
              <a:rPr lang="en-US" dirty="0">
                <a:solidFill>
                  <a:schemeClr val="tx1"/>
                </a:solidFill>
              </a:rPr>
              <a:t>as gas mixtures, e.g. gas mixtures </a:t>
            </a:r>
            <a:br>
              <a:rPr lang="en-US" dirty="0">
                <a:solidFill>
                  <a:schemeClr val="tx1"/>
                </a:solidFill>
              </a:rPr>
            </a:br>
            <a:r>
              <a:rPr lang="en-US" dirty="0">
                <a:solidFill>
                  <a:schemeClr val="tx1"/>
                </a:solidFill>
              </a:rPr>
              <a:t>of argon and carbon dioxide </a:t>
            </a:r>
            <a:br>
              <a:rPr lang="en-US" dirty="0">
                <a:solidFill>
                  <a:schemeClr val="tx1"/>
                </a:solidFill>
              </a:rPr>
            </a:br>
            <a:r>
              <a:rPr lang="en-US" dirty="0">
                <a:solidFill>
                  <a:schemeClr val="tx1"/>
                </a:solidFill>
              </a:rPr>
              <a:t>are very common for welding</a:t>
            </a:r>
          </a:p>
        </p:txBody>
      </p:sp>
      <p:sp>
        <p:nvSpPr>
          <p:cNvPr id="44" name="Textfeld 25">
            <a:extLst>
              <a:ext uri="{FF2B5EF4-FFF2-40B4-BE49-F238E27FC236}">
                <a16:creationId xmlns:a16="http://schemas.microsoft.com/office/drawing/2014/main" id="{408A93FE-7883-457B-BCA6-24071072A2E9}"/>
              </a:ext>
            </a:extLst>
          </p:cNvPr>
          <p:cNvSpPr txBox="1"/>
          <p:nvPr/>
        </p:nvSpPr>
        <p:spPr bwMode="gray">
          <a:xfrm>
            <a:off x="3352800" y="2021510"/>
            <a:ext cx="5486400"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ctr"/>
            <a:r>
              <a:rPr lang="en-US" dirty="0">
                <a:solidFill>
                  <a:schemeClr val="tx1"/>
                </a:solidFill>
              </a:rPr>
              <a:t>Main gases used for industrial applications </a:t>
            </a:r>
            <a:br>
              <a:rPr lang="en-US" dirty="0">
                <a:solidFill>
                  <a:schemeClr val="tx1"/>
                </a:solidFill>
              </a:rPr>
            </a:br>
            <a:r>
              <a:rPr lang="en-US" dirty="0">
                <a:solidFill>
                  <a:schemeClr val="tx1"/>
                </a:solidFill>
              </a:rPr>
              <a:t>are </a:t>
            </a:r>
            <a:r>
              <a:rPr lang="en-US" b="1" dirty="0"/>
              <a:t>oxygen</a:t>
            </a:r>
            <a:r>
              <a:rPr lang="en-US" dirty="0">
                <a:solidFill>
                  <a:schemeClr val="tx1"/>
                </a:solidFill>
              </a:rPr>
              <a:t>, </a:t>
            </a:r>
            <a:r>
              <a:rPr lang="en-US" b="1" dirty="0"/>
              <a:t>acetylene</a:t>
            </a:r>
            <a:r>
              <a:rPr lang="en-US" dirty="0">
                <a:solidFill>
                  <a:schemeClr val="tx1"/>
                </a:solidFill>
              </a:rPr>
              <a:t>,</a:t>
            </a:r>
            <a:r>
              <a:rPr lang="en-US" b="1" dirty="0">
                <a:solidFill>
                  <a:schemeClr val="tx1"/>
                </a:solidFill>
              </a:rPr>
              <a:t> </a:t>
            </a:r>
            <a:r>
              <a:rPr lang="en-US" b="1" dirty="0"/>
              <a:t>argon</a:t>
            </a:r>
            <a:r>
              <a:rPr lang="en-US" dirty="0">
                <a:solidFill>
                  <a:schemeClr val="tx1"/>
                </a:solidFill>
              </a:rPr>
              <a:t>,</a:t>
            </a:r>
            <a:r>
              <a:rPr lang="en-US" b="1" dirty="0">
                <a:solidFill>
                  <a:schemeClr val="tx1"/>
                </a:solidFill>
              </a:rPr>
              <a:t> </a:t>
            </a:r>
            <a:r>
              <a:rPr lang="en-US" b="1" dirty="0"/>
              <a:t>nitrogen</a:t>
            </a:r>
            <a:r>
              <a:rPr lang="en-US" b="1" dirty="0">
                <a:solidFill>
                  <a:schemeClr val="tx1"/>
                </a:solidFill>
              </a:rPr>
              <a:t> </a:t>
            </a:r>
            <a:br>
              <a:rPr lang="en-US" dirty="0">
                <a:solidFill>
                  <a:schemeClr val="tx1"/>
                </a:solidFill>
              </a:rPr>
            </a:br>
            <a:r>
              <a:rPr lang="en-US" dirty="0">
                <a:solidFill>
                  <a:schemeClr val="tx1"/>
                </a:solidFill>
              </a:rPr>
              <a:t>and </a:t>
            </a:r>
            <a:r>
              <a:rPr lang="en-US" b="1" dirty="0"/>
              <a:t>carbon dioxide</a:t>
            </a:r>
          </a:p>
        </p:txBody>
      </p:sp>
      <p:sp>
        <p:nvSpPr>
          <p:cNvPr id="46" name="Textfeld 25">
            <a:extLst>
              <a:ext uri="{FF2B5EF4-FFF2-40B4-BE49-F238E27FC236}">
                <a16:creationId xmlns:a16="http://schemas.microsoft.com/office/drawing/2014/main" id="{568D8DBF-9B1C-4EE7-A16D-0BE1816F5BDA}"/>
              </a:ext>
            </a:extLst>
          </p:cNvPr>
          <p:cNvSpPr txBox="1"/>
          <p:nvPr/>
        </p:nvSpPr>
        <p:spPr bwMode="gray">
          <a:xfrm>
            <a:off x="7334973" y="3000641"/>
            <a:ext cx="4522065"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dirty="0">
                <a:solidFill>
                  <a:schemeClr val="tx1"/>
                </a:solidFill>
              </a:rPr>
              <a:t>Carbon monoxide, </a:t>
            </a:r>
            <a:br>
              <a:rPr lang="en-US" dirty="0">
                <a:solidFill>
                  <a:schemeClr val="tx1"/>
                </a:solidFill>
              </a:rPr>
            </a:br>
            <a:r>
              <a:rPr lang="en-US" dirty="0">
                <a:solidFill>
                  <a:schemeClr val="tx1"/>
                </a:solidFill>
              </a:rPr>
              <a:t>helium and hydrogen </a:t>
            </a:r>
            <a:br>
              <a:rPr lang="en-US" dirty="0">
                <a:solidFill>
                  <a:schemeClr val="tx1"/>
                </a:solidFill>
              </a:rPr>
            </a:br>
            <a:r>
              <a:rPr lang="en-US" dirty="0">
                <a:solidFill>
                  <a:schemeClr val="tx1"/>
                </a:solidFill>
              </a:rPr>
              <a:t>are also used</a:t>
            </a:r>
          </a:p>
        </p:txBody>
      </p:sp>
      <p:sp>
        <p:nvSpPr>
          <p:cNvPr id="47" name="Textfeld 25">
            <a:extLst>
              <a:ext uri="{FF2B5EF4-FFF2-40B4-BE49-F238E27FC236}">
                <a16:creationId xmlns:a16="http://schemas.microsoft.com/office/drawing/2014/main" id="{5CE0D6B0-7458-42AF-8F25-83DA53D023D2}"/>
              </a:ext>
            </a:extLst>
          </p:cNvPr>
          <p:cNvSpPr txBox="1"/>
          <p:nvPr/>
        </p:nvSpPr>
        <p:spPr bwMode="gray">
          <a:xfrm>
            <a:off x="7334974" y="4327022"/>
            <a:ext cx="4518290"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dirty="0">
                <a:solidFill>
                  <a:schemeClr val="tx1"/>
                </a:solidFill>
              </a:rPr>
              <a:t>Sources for most of these gases are </a:t>
            </a:r>
            <a:br>
              <a:rPr lang="en-US" dirty="0">
                <a:solidFill>
                  <a:schemeClr val="tx1"/>
                </a:solidFill>
              </a:rPr>
            </a:br>
            <a:r>
              <a:rPr lang="en-US" dirty="0">
                <a:solidFill>
                  <a:schemeClr val="tx1"/>
                </a:solidFill>
              </a:rPr>
              <a:t>bulk liquefied gases from ASU’s or </a:t>
            </a:r>
            <a:br>
              <a:rPr lang="en-US" dirty="0">
                <a:solidFill>
                  <a:schemeClr val="tx1"/>
                </a:solidFill>
              </a:rPr>
            </a:br>
            <a:r>
              <a:rPr lang="en-US" dirty="0">
                <a:solidFill>
                  <a:schemeClr val="tx1"/>
                </a:solidFill>
              </a:rPr>
              <a:t>bulk liquefied carbon dioxide deliveries </a:t>
            </a:r>
            <a:br>
              <a:rPr lang="en-US" dirty="0">
                <a:solidFill>
                  <a:schemeClr val="tx1"/>
                </a:solidFill>
              </a:rPr>
            </a:br>
            <a:r>
              <a:rPr lang="en-US" dirty="0">
                <a:solidFill>
                  <a:schemeClr val="tx1"/>
                </a:solidFill>
              </a:rPr>
              <a:t>from a local CO</a:t>
            </a:r>
            <a:r>
              <a:rPr lang="en-US" baseline="-25000" dirty="0">
                <a:solidFill>
                  <a:schemeClr val="tx1"/>
                </a:solidFill>
              </a:rPr>
              <a:t>2</a:t>
            </a:r>
            <a:r>
              <a:rPr lang="en-US" dirty="0">
                <a:solidFill>
                  <a:schemeClr val="tx1"/>
                </a:solidFill>
              </a:rPr>
              <a:t> source</a:t>
            </a:r>
          </a:p>
        </p:txBody>
      </p:sp>
      <p:sp>
        <p:nvSpPr>
          <p:cNvPr id="49" name="Oval 48">
            <a:extLst>
              <a:ext uri="{FF2B5EF4-FFF2-40B4-BE49-F238E27FC236}">
                <a16:creationId xmlns:a16="http://schemas.microsoft.com/office/drawing/2014/main" id="{B480349A-3E44-4419-B86F-3978941A8CE6}"/>
              </a:ext>
            </a:extLst>
          </p:cNvPr>
          <p:cNvSpPr/>
          <p:nvPr/>
        </p:nvSpPr>
        <p:spPr bwMode="gray">
          <a:xfrm>
            <a:off x="4930992" y="2759292"/>
            <a:ext cx="2330016" cy="2330016"/>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0" name="Oval 49">
            <a:extLst>
              <a:ext uri="{FF2B5EF4-FFF2-40B4-BE49-F238E27FC236}">
                <a16:creationId xmlns:a16="http://schemas.microsoft.com/office/drawing/2014/main" id="{C85DE7A4-CD05-47DD-9CAA-1E7EFD42142D}"/>
              </a:ext>
            </a:extLst>
          </p:cNvPr>
          <p:cNvSpPr/>
          <p:nvPr/>
        </p:nvSpPr>
        <p:spPr bwMode="gray">
          <a:xfrm>
            <a:off x="5043169" y="4471538"/>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1" name="Oval 50">
            <a:extLst>
              <a:ext uri="{FF2B5EF4-FFF2-40B4-BE49-F238E27FC236}">
                <a16:creationId xmlns:a16="http://schemas.microsoft.com/office/drawing/2014/main" id="{C13CCB4D-284C-4729-B8A2-E3357D01CD55}"/>
              </a:ext>
            </a:extLst>
          </p:cNvPr>
          <p:cNvSpPr/>
          <p:nvPr/>
        </p:nvSpPr>
        <p:spPr bwMode="gray">
          <a:xfrm>
            <a:off x="7078374" y="3322686"/>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2" name="Oval 51">
            <a:extLst>
              <a:ext uri="{FF2B5EF4-FFF2-40B4-BE49-F238E27FC236}">
                <a16:creationId xmlns:a16="http://schemas.microsoft.com/office/drawing/2014/main" id="{085DBD91-FE9C-4CBF-96F1-CCB142CEBEE6}"/>
              </a:ext>
            </a:extLst>
          </p:cNvPr>
          <p:cNvSpPr/>
          <p:nvPr/>
        </p:nvSpPr>
        <p:spPr bwMode="gray">
          <a:xfrm>
            <a:off x="7078374" y="4471473"/>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3" name="Oval 52">
            <a:extLst>
              <a:ext uri="{FF2B5EF4-FFF2-40B4-BE49-F238E27FC236}">
                <a16:creationId xmlns:a16="http://schemas.microsoft.com/office/drawing/2014/main" id="{5F13C15F-214C-4F9C-9BA2-346AD0811C1F}"/>
              </a:ext>
            </a:extLst>
          </p:cNvPr>
          <p:cNvSpPr/>
          <p:nvPr/>
        </p:nvSpPr>
        <p:spPr bwMode="gray">
          <a:xfrm>
            <a:off x="5043169" y="3322621"/>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6" name="Oval 55">
            <a:extLst>
              <a:ext uri="{FF2B5EF4-FFF2-40B4-BE49-F238E27FC236}">
                <a16:creationId xmlns:a16="http://schemas.microsoft.com/office/drawing/2014/main" id="{B78550FB-64B1-48FF-A52A-799256E3063A}"/>
              </a:ext>
            </a:extLst>
          </p:cNvPr>
          <p:cNvSpPr/>
          <p:nvPr/>
        </p:nvSpPr>
        <p:spPr bwMode="gray">
          <a:xfrm>
            <a:off x="6060864" y="5052196"/>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7" name="Oval 56">
            <a:extLst>
              <a:ext uri="{FF2B5EF4-FFF2-40B4-BE49-F238E27FC236}">
                <a16:creationId xmlns:a16="http://schemas.microsoft.com/office/drawing/2014/main" id="{E77853E2-C34F-41FC-9BE8-227CDE6F0D7C}"/>
              </a:ext>
            </a:extLst>
          </p:cNvPr>
          <p:cNvSpPr/>
          <p:nvPr/>
        </p:nvSpPr>
        <p:spPr bwMode="gray">
          <a:xfrm>
            <a:off x="6060864" y="2725947"/>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58" name="Textfeld 25">
            <a:extLst>
              <a:ext uri="{FF2B5EF4-FFF2-40B4-BE49-F238E27FC236}">
                <a16:creationId xmlns:a16="http://schemas.microsoft.com/office/drawing/2014/main" id="{E9212A14-E2D4-465A-A195-1C0E225C8577}"/>
              </a:ext>
            </a:extLst>
          </p:cNvPr>
          <p:cNvSpPr txBox="1"/>
          <p:nvPr/>
        </p:nvSpPr>
        <p:spPr bwMode="gray">
          <a:xfrm>
            <a:off x="3802399" y="5306154"/>
            <a:ext cx="4587202"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ctr"/>
            <a:r>
              <a:rPr lang="en-US" dirty="0">
                <a:solidFill>
                  <a:schemeClr val="tx1"/>
                </a:solidFill>
              </a:rPr>
              <a:t>Acetylene is produced at </a:t>
            </a:r>
            <a:br>
              <a:rPr lang="en-US" dirty="0">
                <a:solidFill>
                  <a:schemeClr val="tx1"/>
                </a:solidFill>
              </a:rPr>
            </a:br>
            <a:r>
              <a:rPr lang="en-US" dirty="0">
                <a:solidFill>
                  <a:schemeClr val="tx1"/>
                </a:solidFill>
              </a:rPr>
              <a:t>specialist filling facilities from reaction between water and calcium carbide</a:t>
            </a:r>
          </a:p>
        </p:txBody>
      </p:sp>
      <p:grpSp>
        <p:nvGrpSpPr>
          <p:cNvPr id="135" name="Group 134">
            <a:extLst>
              <a:ext uri="{FF2B5EF4-FFF2-40B4-BE49-F238E27FC236}">
                <a16:creationId xmlns:a16="http://schemas.microsoft.com/office/drawing/2014/main" id="{F91F5A32-E04A-4780-A990-39A89A58FF24}"/>
              </a:ext>
            </a:extLst>
          </p:cNvPr>
          <p:cNvGrpSpPr/>
          <p:nvPr/>
        </p:nvGrpSpPr>
        <p:grpSpPr bwMode="gray">
          <a:xfrm>
            <a:off x="5285693" y="3906067"/>
            <a:ext cx="587164" cy="402175"/>
            <a:chOff x="12245993" y="1986808"/>
            <a:chExt cx="658683" cy="267025"/>
          </a:xfrm>
        </p:grpSpPr>
        <p:sp>
          <p:nvSpPr>
            <p:cNvPr id="136" name="Rectangle 135">
              <a:extLst>
                <a:ext uri="{FF2B5EF4-FFF2-40B4-BE49-F238E27FC236}">
                  <a16:creationId xmlns:a16="http://schemas.microsoft.com/office/drawing/2014/main" id="{89821BEA-65C3-46CB-9E18-9D730E41008A}"/>
                </a:ext>
              </a:extLst>
            </p:cNvPr>
            <p:cNvSpPr/>
            <p:nvPr/>
          </p:nvSpPr>
          <p:spPr bwMode="gray">
            <a:xfrm rot="16200000">
              <a:off x="12454386" y="1880801"/>
              <a:ext cx="241267" cy="479040"/>
            </a:xfrm>
            <a:prstGeom prst="rect">
              <a:avLst/>
            </a:prstGeom>
            <a:noFill/>
            <a:ln w="28575">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0" tIns="0" rIns="0" bIns="0" rtlCol="0" anchor="ctr"/>
            <a:lstStyle/>
            <a:p>
              <a:pPr algn="ctr">
                <a:spcBef>
                  <a:spcPts val="1100"/>
                </a:spcBef>
                <a:buClr>
                  <a:schemeClr val="tx2"/>
                </a:buClr>
                <a:buSzPct val="70000"/>
                <a:buFont typeface="Wingdings" pitchFamily="2" charset="2"/>
                <a:buNone/>
              </a:pPr>
              <a:endParaRPr lang="en-US">
                <a:solidFill>
                  <a:schemeClr val="bg1"/>
                </a:solidFill>
                <a:latin typeface="Arial" pitchFamily="34" charset="0"/>
                <a:cs typeface="Arial" pitchFamily="34" charset="0"/>
              </a:endParaRPr>
            </a:p>
          </p:txBody>
        </p:sp>
        <p:sp>
          <p:nvSpPr>
            <p:cNvPr id="137" name="Oval 152">
              <a:extLst>
                <a:ext uri="{FF2B5EF4-FFF2-40B4-BE49-F238E27FC236}">
                  <a16:creationId xmlns:a16="http://schemas.microsoft.com/office/drawing/2014/main" id="{250C11C8-64EB-4AF0-B325-8DB82DA09FA0}"/>
                </a:ext>
              </a:extLst>
            </p:cNvPr>
            <p:cNvSpPr/>
            <p:nvPr/>
          </p:nvSpPr>
          <p:spPr bwMode="gray">
            <a:xfrm flipH="1">
              <a:off x="12559519" y="2103599"/>
              <a:ext cx="31001" cy="30668"/>
            </a:xfrm>
            <a:custGeom>
              <a:avLst/>
              <a:gdLst>
                <a:gd name="connsiteX0" fmla="*/ 182355 w 364707"/>
                <a:gd name="connsiteY0" fmla="*/ 0 h 609571"/>
                <a:gd name="connsiteX1" fmla="*/ 182355 w 364707"/>
                <a:gd name="connsiteY1" fmla="*/ 215475 h 609571"/>
                <a:gd name="connsiteX2" fmla="*/ 182354 w 364707"/>
                <a:gd name="connsiteY2" fmla="*/ 215475 h 609571"/>
                <a:gd name="connsiteX3" fmla="*/ 182353 w 364707"/>
                <a:gd name="connsiteY3" fmla="*/ 0 h 609571"/>
                <a:gd name="connsiteX4" fmla="*/ 89921 w 364707"/>
                <a:gd name="connsiteY4" fmla="*/ 206858 h 609571"/>
                <a:gd name="connsiteX5" fmla="*/ 5356 w 364707"/>
                <a:gd name="connsiteY5" fmla="*/ 383573 h 609571"/>
                <a:gd name="connsiteX6" fmla="*/ 4829 w 364707"/>
                <a:gd name="connsiteY6" fmla="*/ 474058 h 609571"/>
                <a:gd name="connsiteX7" fmla="*/ 182354 w 364707"/>
                <a:gd name="connsiteY7" fmla="*/ 609529 h 609571"/>
                <a:gd name="connsiteX8" fmla="*/ 359879 w 364707"/>
                <a:gd name="connsiteY8" fmla="*/ 474058 h 609571"/>
                <a:gd name="connsiteX9" fmla="*/ 359352 w 364707"/>
                <a:gd name="connsiteY9" fmla="*/ 383573 h 609571"/>
                <a:gd name="connsiteX10" fmla="*/ 274787 w 364707"/>
                <a:gd name="connsiteY10" fmla="*/ 206858 h 609571"/>
                <a:gd name="connsiteX11" fmla="*/ 182355 w 364707"/>
                <a:gd name="connsiteY11" fmla="*/ 0 h 609571"/>
                <a:gd name="connsiteX0" fmla="*/ 182355 w 364707"/>
                <a:gd name="connsiteY0" fmla="*/ 0 h 609571"/>
                <a:gd name="connsiteX1" fmla="*/ 182355 w 364707"/>
                <a:gd name="connsiteY1" fmla="*/ 215475 h 609571"/>
                <a:gd name="connsiteX2" fmla="*/ 182353 w 364707"/>
                <a:gd name="connsiteY2" fmla="*/ 0 h 609571"/>
                <a:gd name="connsiteX3" fmla="*/ 89921 w 364707"/>
                <a:gd name="connsiteY3" fmla="*/ 206858 h 609571"/>
                <a:gd name="connsiteX4" fmla="*/ 5356 w 364707"/>
                <a:gd name="connsiteY4" fmla="*/ 383573 h 609571"/>
                <a:gd name="connsiteX5" fmla="*/ 4829 w 364707"/>
                <a:gd name="connsiteY5" fmla="*/ 474058 h 609571"/>
                <a:gd name="connsiteX6" fmla="*/ 182354 w 364707"/>
                <a:gd name="connsiteY6" fmla="*/ 609529 h 609571"/>
                <a:gd name="connsiteX7" fmla="*/ 359879 w 364707"/>
                <a:gd name="connsiteY7" fmla="*/ 474058 h 609571"/>
                <a:gd name="connsiteX8" fmla="*/ 359352 w 364707"/>
                <a:gd name="connsiteY8" fmla="*/ 383573 h 609571"/>
                <a:gd name="connsiteX9" fmla="*/ 274787 w 364707"/>
                <a:gd name="connsiteY9" fmla="*/ 206858 h 609571"/>
                <a:gd name="connsiteX10" fmla="*/ 182355 w 364707"/>
                <a:gd name="connsiteY10" fmla="*/ 0 h 609571"/>
                <a:gd name="connsiteX0" fmla="*/ 182355 w 364707"/>
                <a:gd name="connsiteY0" fmla="*/ 0 h 609571"/>
                <a:gd name="connsiteX1" fmla="*/ 182353 w 364707"/>
                <a:gd name="connsiteY1" fmla="*/ 0 h 609571"/>
                <a:gd name="connsiteX2" fmla="*/ 89921 w 364707"/>
                <a:gd name="connsiteY2" fmla="*/ 206858 h 609571"/>
                <a:gd name="connsiteX3" fmla="*/ 5356 w 364707"/>
                <a:gd name="connsiteY3" fmla="*/ 383573 h 609571"/>
                <a:gd name="connsiteX4" fmla="*/ 4829 w 364707"/>
                <a:gd name="connsiteY4" fmla="*/ 474058 h 609571"/>
                <a:gd name="connsiteX5" fmla="*/ 182354 w 364707"/>
                <a:gd name="connsiteY5" fmla="*/ 609529 h 609571"/>
                <a:gd name="connsiteX6" fmla="*/ 359879 w 364707"/>
                <a:gd name="connsiteY6" fmla="*/ 474058 h 609571"/>
                <a:gd name="connsiteX7" fmla="*/ 359352 w 364707"/>
                <a:gd name="connsiteY7" fmla="*/ 383573 h 609571"/>
                <a:gd name="connsiteX8" fmla="*/ 274787 w 364707"/>
                <a:gd name="connsiteY8" fmla="*/ 206858 h 609571"/>
                <a:gd name="connsiteX9" fmla="*/ 182355 w 364707"/>
                <a:gd name="connsiteY9" fmla="*/ 0 h 60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707" h="609571">
                  <a:moveTo>
                    <a:pt x="182355" y="0"/>
                  </a:moveTo>
                  <a:lnTo>
                    <a:pt x="182353" y="0"/>
                  </a:lnTo>
                  <a:cubicBezTo>
                    <a:pt x="157316" y="78656"/>
                    <a:pt x="137198" y="113634"/>
                    <a:pt x="89921" y="206858"/>
                  </a:cubicBezTo>
                  <a:cubicBezTo>
                    <a:pt x="68168" y="249752"/>
                    <a:pt x="17100" y="317230"/>
                    <a:pt x="5356" y="383573"/>
                  </a:cubicBezTo>
                  <a:cubicBezTo>
                    <a:pt x="-1194" y="415500"/>
                    <a:pt x="-2159" y="445393"/>
                    <a:pt x="4829" y="474058"/>
                  </a:cubicBezTo>
                  <a:cubicBezTo>
                    <a:pt x="28811" y="572441"/>
                    <a:pt x="99109" y="611035"/>
                    <a:pt x="182354" y="609529"/>
                  </a:cubicBezTo>
                  <a:cubicBezTo>
                    <a:pt x="265599" y="611035"/>
                    <a:pt x="335897" y="572441"/>
                    <a:pt x="359879" y="474058"/>
                  </a:cubicBezTo>
                  <a:cubicBezTo>
                    <a:pt x="366867" y="445393"/>
                    <a:pt x="365902" y="415500"/>
                    <a:pt x="359352" y="383573"/>
                  </a:cubicBezTo>
                  <a:cubicBezTo>
                    <a:pt x="347608" y="317230"/>
                    <a:pt x="296540" y="249752"/>
                    <a:pt x="274787" y="206858"/>
                  </a:cubicBezTo>
                  <a:cubicBezTo>
                    <a:pt x="227510" y="113634"/>
                    <a:pt x="207392" y="78656"/>
                    <a:pt x="182355" y="0"/>
                  </a:cubicBezTo>
                  <a:close/>
                </a:path>
              </a:pathLst>
            </a:custGeom>
            <a:noFill/>
            <a:ln w="28575">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0" tIns="0" rIns="0" bIns="0" rtlCol="0" anchor="ctr"/>
            <a:lstStyle/>
            <a:p>
              <a:pPr algn="ctr">
                <a:spcBef>
                  <a:spcPts val="1100"/>
                </a:spcBef>
                <a:buClr>
                  <a:schemeClr val="tx2"/>
                </a:buClr>
                <a:buSzPct val="70000"/>
                <a:buFont typeface="Wingdings" pitchFamily="2" charset="2"/>
                <a:buNone/>
              </a:pPr>
              <a:endParaRPr lang="en-US">
                <a:solidFill>
                  <a:schemeClr val="bg1"/>
                </a:solidFill>
                <a:latin typeface="Arial" pitchFamily="34" charset="0"/>
                <a:cs typeface="Arial" pitchFamily="34" charset="0"/>
              </a:endParaRPr>
            </a:p>
          </p:txBody>
        </p:sp>
        <p:sp>
          <p:nvSpPr>
            <p:cNvPr id="138" name="Oval 137">
              <a:extLst>
                <a:ext uri="{FF2B5EF4-FFF2-40B4-BE49-F238E27FC236}">
                  <a16:creationId xmlns:a16="http://schemas.microsoft.com/office/drawing/2014/main" id="{2FF3D15B-E6D2-4A29-99D6-83D507A8019F}"/>
                </a:ext>
              </a:extLst>
            </p:cNvPr>
            <p:cNvSpPr/>
            <p:nvPr/>
          </p:nvSpPr>
          <p:spPr bwMode="gray">
            <a:xfrm rot="16200000">
              <a:off x="12536303" y="2054906"/>
              <a:ext cx="77434" cy="130831"/>
            </a:xfrm>
            <a:prstGeom prst="ellipse">
              <a:avLst/>
            </a:prstGeom>
            <a:noFill/>
            <a:ln w="28575">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0" tIns="0" rIns="0" bIns="0" rtlCol="0" anchor="ctr"/>
            <a:lstStyle/>
            <a:p>
              <a:pPr algn="ctr">
                <a:spcBef>
                  <a:spcPts val="1100"/>
                </a:spcBef>
                <a:buClr>
                  <a:schemeClr val="tx2"/>
                </a:buClr>
                <a:buSzPct val="70000"/>
                <a:buFont typeface="Wingdings" pitchFamily="2" charset="2"/>
                <a:buNone/>
              </a:pPr>
              <a:endParaRPr lang="en-US">
                <a:solidFill>
                  <a:schemeClr val="bg1"/>
                </a:solidFill>
                <a:latin typeface="Arial" pitchFamily="34" charset="0"/>
                <a:cs typeface="Arial" pitchFamily="34" charset="0"/>
              </a:endParaRPr>
            </a:p>
          </p:txBody>
        </p:sp>
        <p:sp>
          <p:nvSpPr>
            <p:cNvPr id="139" name="Flowchart: Delay 138">
              <a:extLst>
                <a:ext uri="{FF2B5EF4-FFF2-40B4-BE49-F238E27FC236}">
                  <a16:creationId xmlns:a16="http://schemas.microsoft.com/office/drawing/2014/main" id="{A6CE10FF-6896-4230-8DB3-E0E0F4889611}"/>
                </a:ext>
              </a:extLst>
            </p:cNvPr>
            <p:cNvSpPr/>
            <p:nvPr/>
          </p:nvSpPr>
          <p:spPr bwMode="gray">
            <a:xfrm>
              <a:off x="12814760" y="1999688"/>
              <a:ext cx="89916" cy="241267"/>
            </a:xfrm>
            <a:prstGeom prst="flowChartDelay">
              <a:avLst/>
            </a:prstGeom>
            <a:noFill/>
            <a:ln w="28575">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0" tIns="0" rIns="0" bIns="0" rtlCol="0" anchor="ctr"/>
            <a:lstStyle/>
            <a:p>
              <a:pPr algn="ctr">
                <a:spcBef>
                  <a:spcPts val="1100"/>
                </a:spcBef>
                <a:buClr>
                  <a:schemeClr val="tx2"/>
                </a:buClr>
                <a:buSzPct val="70000"/>
                <a:buFont typeface="Wingdings" pitchFamily="2" charset="2"/>
                <a:buNone/>
              </a:pPr>
              <a:endParaRPr lang="en-US">
                <a:solidFill>
                  <a:schemeClr val="bg1"/>
                </a:solidFill>
                <a:latin typeface="Arial" pitchFamily="34" charset="0"/>
                <a:cs typeface="Arial" pitchFamily="34" charset="0"/>
              </a:endParaRPr>
            </a:p>
          </p:txBody>
        </p:sp>
        <p:sp>
          <p:nvSpPr>
            <p:cNvPr id="140" name="Flowchart: Delay 139">
              <a:extLst>
                <a:ext uri="{FF2B5EF4-FFF2-40B4-BE49-F238E27FC236}">
                  <a16:creationId xmlns:a16="http://schemas.microsoft.com/office/drawing/2014/main" id="{AD7AFAAD-5ABF-4853-8017-6B46E91F6046}"/>
                </a:ext>
              </a:extLst>
            </p:cNvPr>
            <p:cNvSpPr/>
            <p:nvPr/>
          </p:nvSpPr>
          <p:spPr bwMode="gray">
            <a:xfrm flipH="1">
              <a:off x="12245993" y="1999688"/>
              <a:ext cx="89916" cy="241267"/>
            </a:xfrm>
            <a:prstGeom prst="flowChartDelay">
              <a:avLst/>
            </a:prstGeom>
            <a:noFill/>
            <a:ln w="28575">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0" tIns="0" rIns="0" bIns="0" rtlCol="0" anchor="ctr"/>
            <a:lstStyle/>
            <a:p>
              <a:pPr algn="ctr">
                <a:spcBef>
                  <a:spcPts val="1100"/>
                </a:spcBef>
                <a:buClr>
                  <a:schemeClr val="tx2"/>
                </a:buClr>
                <a:buSzPct val="70000"/>
                <a:buFont typeface="Wingdings" pitchFamily="2" charset="2"/>
                <a:buNone/>
              </a:pPr>
              <a:endParaRPr lang="en-US">
                <a:solidFill>
                  <a:schemeClr val="bg1"/>
                </a:solidFill>
                <a:latin typeface="Arial" pitchFamily="34" charset="0"/>
                <a:cs typeface="Arial" pitchFamily="34" charset="0"/>
              </a:endParaRPr>
            </a:p>
          </p:txBody>
        </p:sp>
        <p:cxnSp>
          <p:nvCxnSpPr>
            <p:cNvPr id="141" name="Straight Connector 140">
              <a:extLst>
                <a:ext uri="{FF2B5EF4-FFF2-40B4-BE49-F238E27FC236}">
                  <a16:creationId xmlns:a16="http://schemas.microsoft.com/office/drawing/2014/main" id="{A2F5A31B-D0AC-4F58-ABE4-770FEB2A15E2}"/>
                </a:ext>
              </a:extLst>
            </p:cNvPr>
            <p:cNvCxnSpPr>
              <a:cxnSpLocks/>
            </p:cNvCxnSpPr>
            <p:nvPr/>
          </p:nvCxnSpPr>
          <p:spPr bwMode="gray">
            <a:xfrm>
              <a:off x="12335500" y="1986809"/>
              <a:ext cx="0" cy="267024"/>
            </a:xfrm>
            <a:prstGeom prst="line">
              <a:avLst/>
            </a:prstGeom>
            <a:noFill/>
            <a:ln w="28575">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2" name="Straight Connector 141">
              <a:extLst>
                <a:ext uri="{FF2B5EF4-FFF2-40B4-BE49-F238E27FC236}">
                  <a16:creationId xmlns:a16="http://schemas.microsoft.com/office/drawing/2014/main" id="{73A15EBE-5481-4ADA-B44F-E03218B2C098}"/>
                </a:ext>
              </a:extLst>
            </p:cNvPr>
            <p:cNvCxnSpPr>
              <a:cxnSpLocks/>
            </p:cNvCxnSpPr>
            <p:nvPr/>
          </p:nvCxnSpPr>
          <p:spPr bwMode="gray">
            <a:xfrm>
              <a:off x="12495180" y="1986808"/>
              <a:ext cx="0" cy="267024"/>
            </a:xfrm>
            <a:prstGeom prst="line">
              <a:avLst/>
            </a:prstGeom>
            <a:noFill/>
            <a:ln w="28575">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3" name="Straight Connector 142">
              <a:extLst>
                <a:ext uri="{FF2B5EF4-FFF2-40B4-BE49-F238E27FC236}">
                  <a16:creationId xmlns:a16="http://schemas.microsoft.com/office/drawing/2014/main" id="{1ED2335A-5ABE-476E-810D-3832921F375C}"/>
                </a:ext>
              </a:extLst>
            </p:cNvPr>
            <p:cNvCxnSpPr>
              <a:cxnSpLocks/>
            </p:cNvCxnSpPr>
            <p:nvPr/>
          </p:nvCxnSpPr>
          <p:spPr bwMode="gray">
            <a:xfrm>
              <a:off x="12814540" y="1986808"/>
              <a:ext cx="0" cy="267024"/>
            </a:xfrm>
            <a:prstGeom prst="line">
              <a:avLst/>
            </a:prstGeom>
            <a:noFill/>
            <a:ln w="28575">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144" name="Straight Connector 143">
              <a:extLst>
                <a:ext uri="{FF2B5EF4-FFF2-40B4-BE49-F238E27FC236}">
                  <a16:creationId xmlns:a16="http://schemas.microsoft.com/office/drawing/2014/main" id="{2151C3D0-A4C0-4C1D-BB96-FFEEEF54ED75}"/>
                </a:ext>
              </a:extLst>
            </p:cNvPr>
            <p:cNvCxnSpPr>
              <a:cxnSpLocks/>
            </p:cNvCxnSpPr>
            <p:nvPr/>
          </p:nvCxnSpPr>
          <p:spPr bwMode="gray">
            <a:xfrm>
              <a:off x="12654859" y="1986809"/>
              <a:ext cx="0" cy="267024"/>
            </a:xfrm>
            <a:prstGeom prst="line">
              <a:avLst/>
            </a:prstGeom>
            <a:noFill/>
            <a:ln w="28575">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145" name="Group 144">
            <a:extLst>
              <a:ext uri="{FF2B5EF4-FFF2-40B4-BE49-F238E27FC236}">
                <a16:creationId xmlns:a16="http://schemas.microsoft.com/office/drawing/2014/main" id="{0B1AF53F-BD12-4ED8-8986-138166CF322E}"/>
              </a:ext>
            </a:extLst>
          </p:cNvPr>
          <p:cNvGrpSpPr/>
          <p:nvPr/>
        </p:nvGrpSpPr>
        <p:grpSpPr bwMode="gray">
          <a:xfrm>
            <a:off x="6055699" y="3137011"/>
            <a:ext cx="722625" cy="664966"/>
            <a:chOff x="4183379" y="3259672"/>
            <a:chExt cx="395170" cy="363639"/>
          </a:xfrm>
        </p:grpSpPr>
        <p:sp>
          <p:nvSpPr>
            <p:cNvPr id="146" name="Line 645">
              <a:extLst>
                <a:ext uri="{FF2B5EF4-FFF2-40B4-BE49-F238E27FC236}">
                  <a16:creationId xmlns:a16="http://schemas.microsoft.com/office/drawing/2014/main" id="{B1838EF8-209B-4EE8-BD6F-9F21B6604B0B}"/>
                </a:ext>
              </a:extLst>
            </p:cNvPr>
            <p:cNvSpPr>
              <a:spLocks noChangeShapeType="1"/>
            </p:cNvSpPr>
            <p:nvPr/>
          </p:nvSpPr>
          <p:spPr bwMode="gray">
            <a:xfrm rot="16200000">
              <a:off x="4321343" y="3338591"/>
              <a:ext cx="70193" cy="70193"/>
            </a:xfrm>
            <a:prstGeom prst="lin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a:p>
          </p:txBody>
        </p:sp>
        <p:sp>
          <p:nvSpPr>
            <p:cNvPr id="147" name="Trapezoid 146">
              <a:extLst>
                <a:ext uri="{FF2B5EF4-FFF2-40B4-BE49-F238E27FC236}">
                  <a16:creationId xmlns:a16="http://schemas.microsoft.com/office/drawing/2014/main" id="{3EF26DB8-6E82-47E7-9CBA-41099ED74BB5}"/>
                </a:ext>
              </a:extLst>
            </p:cNvPr>
            <p:cNvSpPr/>
            <p:nvPr/>
          </p:nvSpPr>
          <p:spPr bwMode="gray">
            <a:xfrm rot="5400000">
              <a:off x="4405973" y="3315518"/>
              <a:ext cx="25200" cy="54073"/>
            </a:xfrm>
            <a:prstGeom prst="trapezoid">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dirty="0" err="1"/>
            </a:p>
          </p:txBody>
        </p:sp>
        <p:sp>
          <p:nvSpPr>
            <p:cNvPr id="148" name="Rectangle 91">
              <a:extLst>
                <a:ext uri="{FF2B5EF4-FFF2-40B4-BE49-F238E27FC236}">
                  <a16:creationId xmlns:a16="http://schemas.microsoft.com/office/drawing/2014/main" id="{3DB78C67-14BD-4B85-90A4-0D2DE3841E24}"/>
                </a:ext>
              </a:extLst>
            </p:cNvPr>
            <p:cNvSpPr/>
            <p:nvPr/>
          </p:nvSpPr>
          <p:spPr bwMode="gray">
            <a:xfrm rot="18900000">
              <a:off x="4184856" y="3442828"/>
              <a:ext cx="159859" cy="44588"/>
            </a:xfrm>
            <a:custGeom>
              <a:avLst/>
              <a:gdLst>
                <a:gd name="connsiteX0" fmla="*/ 0 w 270095"/>
                <a:gd name="connsiteY0" fmla="*/ 0 h 73997"/>
                <a:gd name="connsiteX1" fmla="*/ 270095 w 270095"/>
                <a:gd name="connsiteY1" fmla="*/ 0 h 73997"/>
                <a:gd name="connsiteX2" fmla="*/ 270095 w 270095"/>
                <a:gd name="connsiteY2" fmla="*/ 73997 h 73997"/>
                <a:gd name="connsiteX3" fmla="*/ 0 w 270095"/>
                <a:gd name="connsiteY3" fmla="*/ 73997 h 73997"/>
                <a:gd name="connsiteX4" fmla="*/ 0 w 270095"/>
                <a:gd name="connsiteY4" fmla="*/ 0 h 73997"/>
                <a:gd name="connsiteX0" fmla="*/ 0 w 270095"/>
                <a:gd name="connsiteY0" fmla="*/ 1338 h 75335"/>
                <a:gd name="connsiteX1" fmla="*/ 124713 w 270095"/>
                <a:gd name="connsiteY1" fmla="*/ 0 h 75335"/>
                <a:gd name="connsiteX2" fmla="*/ 270095 w 270095"/>
                <a:gd name="connsiteY2" fmla="*/ 1338 h 75335"/>
                <a:gd name="connsiteX3" fmla="*/ 270095 w 270095"/>
                <a:gd name="connsiteY3" fmla="*/ 75335 h 75335"/>
                <a:gd name="connsiteX4" fmla="*/ 0 w 270095"/>
                <a:gd name="connsiteY4" fmla="*/ 75335 h 75335"/>
                <a:gd name="connsiteX5" fmla="*/ 0 w 270095"/>
                <a:gd name="connsiteY5" fmla="*/ 1338 h 7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0095" h="75335">
                  <a:moveTo>
                    <a:pt x="0" y="1338"/>
                  </a:moveTo>
                  <a:lnTo>
                    <a:pt x="124713" y="0"/>
                  </a:lnTo>
                  <a:lnTo>
                    <a:pt x="270095" y="1338"/>
                  </a:lnTo>
                  <a:lnTo>
                    <a:pt x="270095" y="75335"/>
                  </a:lnTo>
                  <a:lnTo>
                    <a:pt x="0" y="75335"/>
                  </a:lnTo>
                  <a:lnTo>
                    <a:pt x="0" y="1338"/>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dirty="0" err="1"/>
            </a:p>
          </p:txBody>
        </p:sp>
        <p:sp>
          <p:nvSpPr>
            <p:cNvPr id="149" name="Freeform 592">
              <a:extLst>
                <a:ext uri="{FF2B5EF4-FFF2-40B4-BE49-F238E27FC236}">
                  <a16:creationId xmlns:a16="http://schemas.microsoft.com/office/drawing/2014/main" id="{D64F8CE6-D6D6-4A94-B27C-6A09D2219E32}"/>
                </a:ext>
              </a:extLst>
            </p:cNvPr>
            <p:cNvSpPr>
              <a:spLocks/>
            </p:cNvSpPr>
            <p:nvPr/>
          </p:nvSpPr>
          <p:spPr bwMode="gray">
            <a:xfrm>
              <a:off x="4415761" y="3259672"/>
              <a:ext cx="50046" cy="62034"/>
            </a:xfrm>
            <a:custGeom>
              <a:avLst/>
              <a:gdLst>
                <a:gd name="T0" fmla="*/ 24 w 192"/>
                <a:gd name="T1" fmla="*/ 192 h 192"/>
                <a:gd name="T2" fmla="*/ 0 w 192"/>
                <a:gd name="T3" fmla="*/ 156 h 192"/>
                <a:gd name="T4" fmla="*/ 42 w 192"/>
                <a:gd name="T5" fmla="*/ 174 h 192"/>
                <a:gd name="T6" fmla="*/ 12 w 192"/>
                <a:gd name="T7" fmla="*/ 81 h 192"/>
                <a:gd name="T8" fmla="*/ 66 w 192"/>
                <a:gd name="T9" fmla="*/ 132 h 192"/>
                <a:gd name="T10" fmla="*/ 84 w 192"/>
                <a:gd name="T11" fmla="*/ 0 h 192"/>
                <a:gd name="T12" fmla="*/ 108 w 192"/>
                <a:gd name="T13" fmla="*/ 164 h 192"/>
                <a:gd name="T14" fmla="*/ 156 w 192"/>
                <a:gd name="T15" fmla="*/ 96 h 192"/>
                <a:gd name="T16" fmla="*/ 144 w 192"/>
                <a:gd name="T17" fmla="*/ 168 h 192"/>
                <a:gd name="T18" fmla="*/ 192 w 192"/>
                <a:gd name="T19" fmla="*/ 144 h 192"/>
                <a:gd name="T20" fmla="*/ 162 w 192"/>
                <a:gd name="T21" fmla="*/ 192 h 192"/>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8125 w 10000"/>
                <a:gd name="connsiteY7" fmla="*/ 5000 h 10000"/>
                <a:gd name="connsiteX8" fmla="*/ 7500 w 10000"/>
                <a:gd name="connsiteY8" fmla="*/ 8750 h 10000"/>
                <a:gd name="connsiteX9" fmla="*/ 10000 w 10000"/>
                <a:gd name="connsiteY9" fmla="*/ 7500 h 10000"/>
                <a:gd name="connsiteX0" fmla="*/ 1250 w 8125"/>
                <a:gd name="connsiteY0" fmla="*/ 10000 h 10000"/>
                <a:gd name="connsiteX1" fmla="*/ 0 w 8125"/>
                <a:gd name="connsiteY1" fmla="*/ 8125 h 10000"/>
                <a:gd name="connsiteX2" fmla="*/ 2188 w 8125"/>
                <a:gd name="connsiteY2" fmla="*/ 9063 h 10000"/>
                <a:gd name="connsiteX3" fmla="*/ 625 w 8125"/>
                <a:gd name="connsiteY3" fmla="*/ 4219 h 10000"/>
                <a:gd name="connsiteX4" fmla="*/ 3438 w 8125"/>
                <a:gd name="connsiteY4" fmla="*/ 6875 h 10000"/>
                <a:gd name="connsiteX5" fmla="*/ 4375 w 8125"/>
                <a:gd name="connsiteY5" fmla="*/ 0 h 10000"/>
                <a:gd name="connsiteX6" fmla="*/ 5625 w 8125"/>
                <a:gd name="connsiteY6" fmla="*/ 8542 h 10000"/>
                <a:gd name="connsiteX7" fmla="*/ 8125 w 8125"/>
                <a:gd name="connsiteY7" fmla="*/ 5000 h 10000"/>
                <a:gd name="connsiteX8" fmla="*/ 7500 w 8125"/>
                <a:gd name="connsiteY8" fmla="*/ 8750 h 10000"/>
                <a:gd name="connsiteX0" fmla="*/ 1538 w 10000"/>
                <a:gd name="connsiteY0" fmla="*/ 10000 h 10000"/>
                <a:gd name="connsiteX1" fmla="*/ 0 w 10000"/>
                <a:gd name="connsiteY1" fmla="*/ 8125 h 10000"/>
                <a:gd name="connsiteX2" fmla="*/ 2693 w 10000"/>
                <a:gd name="connsiteY2" fmla="*/ 9063 h 10000"/>
                <a:gd name="connsiteX3" fmla="*/ 769 w 10000"/>
                <a:gd name="connsiteY3" fmla="*/ 4219 h 10000"/>
                <a:gd name="connsiteX4" fmla="*/ 4231 w 10000"/>
                <a:gd name="connsiteY4" fmla="*/ 6875 h 10000"/>
                <a:gd name="connsiteX5" fmla="*/ 5385 w 10000"/>
                <a:gd name="connsiteY5" fmla="*/ 0 h 10000"/>
                <a:gd name="connsiteX6" fmla="*/ 6923 w 10000"/>
                <a:gd name="connsiteY6" fmla="*/ 8542 h 10000"/>
                <a:gd name="connsiteX7" fmla="*/ 10000 w 10000"/>
                <a:gd name="connsiteY7" fmla="*/ 5000 h 10000"/>
                <a:gd name="connsiteX0" fmla="*/ 1538 w 6923"/>
                <a:gd name="connsiteY0" fmla="*/ 10000 h 10000"/>
                <a:gd name="connsiteX1" fmla="*/ 0 w 6923"/>
                <a:gd name="connsiteY1" fmla="*/ 8125 h 10000"/>
                <a:gd name="connsiteX2" fmla="*/ 2693 w 6923"/>
                <a:gd name="connsiteY2" fmla="*/ 9063 h 10000"/>
                <a:gd name="connsiteX3" fmla="*/ 769 w 6923"/>
                <a:gd name="connsiteY3" fmla="*/ 4219 h 10000"/>
                <a:gd name="connsiteX4" fmla="*/ 4231 w 6923"/>
                <a:gd name="connsiteY4" fmla="*/ 6875 h 10000"/>
                <a:gd name="connsiteX5" fmla="*/ 5385 w 6923"/>
                <a:gd name="connsiteY5" fmla="*/ 0 h 10000"/>
                <a:gd name="connsiteX6" fmla="*/ 6923 w 6923"/>
                <a:gd name="connsiteY6" fmla="*/ 8542 h 10000"/>
                <a:gd name="connsiteX0" fmla="*/ 2222 w 10000"/>
                <a:gd name="connsiteY0" fmla="*/ 10000 h 10000"/>
                <a:gd name="connsiteX1" fmla="*/ 0 w 10000"/>
                <a:gd name="connsiteY1" fmla="*/ 8125 h 10000"/>
                <a:gd name="connsiteX2" fmla="*/ 3890 w 10000"/>
                <a:gd name="connsiteY2" fmla="*/ 8172 h 10000"/>
                <a:gd name="connsiteX3" fmla="*/ 1111 w 10000"/>
                <a:gd name="connsiteY3" fmla="*/ 4219 h 10000"/>
                <a:gd name="connsiteX4" fmla="*/ 6112 w 10000"/>
                <a:gd name="connsiteY4" fmla="*/ 6875 h 10000"/>
                <a:gd name="connsiteX5" fmla="*/ 7778 w 10000"/>
                <a:gd name="connsiteY5" fmla="*/ 0 h 10000"/>
                <a:gd name="connsiteX6" fmla="*/ 10000 w 10000"/>
                <a:gd name="connsiteY6" fmla="*/ 8542 h 10000"/>
                <a:gd name="connsiteX0" fmla="*/ 2222 w 10000"/>
                <a:gd name="connsiteY0" fmla="*/ 10000 h 10000"/>
                <a:gd name="connsiteX1" fmla="*/ 0 w 10000"/>
                <a:gd name="connsiteY1" fmla="*/ 8125 h 10000"/>
                <a:gd name="connsiteX2" fmla="*/ 3890 w 10000"/>
                <a:gd name="connsiteY2" fmla="*/ 8172 h 10000"/>
                <a:gd name="connsiteX3" fmla="*/ 1111 w 10000"/>
                <a:gd name="connsiteY3" fmla="*/ 4219 h 10000"/>
                <a:gd name="connsiteX4" fmla="*/ 6640 w 10000"/>
                <a:gd name="connsiteY4" fmla="*/ 5984 h 10000"/>
                <a:gd name="connsiteX5" fmla="*/ 7778 w 10000"/>
                <a:gd name="connsiteY5" fmla="*/ 0 h 10000"/>
                <a:gd name="connsiteX6" fmla="*/ 10000 w 10000"/>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2959 w 11848"/>
                <a:gd name="connsiteY3" fmla="*/ 4219 h 10000"/>
                <a:gd name="connsiteX4" fmla="*/ 8488 w 11848"/>
                <a:gd name="connsiteY4" fmla="*/ 5984 h 10000"/>
                <a:gd name="connsiteX5" fmla="*/ 9626 w 11848"/>
                <a:gd name="connsiteY5" fmla="*/ 0 h 10000"/>
                <a:gd name="connsiteX6" fmla="*/ 11848 w 11848"/>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2959 w 11848"/>
                <a:gd name="connsiteY3" fmla="*/ 4219 h 10000"/>
                <a:gd name="connsiteX4" fmla="*/ 6904 w 11848"/>
                <a:gd name="connsiteY4" fmla="*/ 6727 h 10000"/>
                <a:gd name="connsiteX5" fmla="*/ 9626 w 11848"/>
                <a:gd name="connsiteY5" fmla="*/ 0 h 10000"/>
                <a:gd name="connsiteX6" fmla="*/ 11848 w 11848"/>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2959 w 11848"/>
                <a:gd name="connsiteY3" fmla="*/ 4219 h 10000"/>
                <a:gd name="connsiteX4" fmla="*/ 6904 w 11848"/>
                <a:gd name="connsiteY4" fmla="*/ 6727 h 10000"/>
                <a:gd name="connsiteX5" fmla="*/ 9626 w 11848"/>
                <a:gd name="connsiteY5" fmla="*/ 0 h 10000"/>
                <a:gd name="connsiteX6" fmla="*/ 11848 w 11848"/>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1111 w 11848"/>
                <a:gd name="connsiteY3" fmla="*/ 4516 h 10000"/>
                <a:gd name="connsiteX4" fmla="*/ 6904 w 11848"/>
                <a:gd name="connsiteY4" fmla="*/ 6727 h 10000"/>
                <a:gd name="connsiteX5" fmla="*/ 9626 w 11848"/>
                <a:gd name="connsiteY5" fmla="*/ 0 h 10000"/>
                <a:gd name="connsiteX6" fmla="*/ 11848 w 11848"/>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1111 w 11848"/>
                <a:gd name="connsiteY3" fmla="*/ 4516 h 10000"/>
                <a:gd name="connsiteX4" fmla="*/ 8224 w 11848"/>
                <a:gd name="connsiteY4" fmla="*/ 6727 h 10000"/>
                <a:gd name="connsiteX5" fmla="*/ 9626 w 11848"/>
                <a:gd name="connsiteY5" fmla="*/ 0 h 10000"/>
                <a:gd name="connsiteX6" fmla="*/ 11848 w 11848"/>
                <a:gd name="connsiteY6" fmla="*/ 8542 h 10000"/>
                <a:gd name="connsiteX0" fmla="*/ 4070 w 10792"/>
                <a:gd name="connsiteY0" fmla="*/ 10000 h 10000"/>
                <a:gd name="connsiteX1" fmla="*/ 0 w 10792"/>
                <a:gd name="connsiteY1" fmla="*/ 8719 h 10000"/>
                <a:gd name="connsiteX2" fmla="*/ 5738 w 10792"/>
                <a:gd name="connsiteY2" fmla="*/ 8172 h 10000"/>
                <a:gd name="connsiteX3" fmla="*/ 1111 w 10792"/>
                <a:gd name="connsiteY3" fmla="*/ 4516 h 10000"/>
                <a:gd name="connsiteX4" fmla="*/ 8224 w 10792"/>
                <a:gd name="connsiteY4" fmla="*/ 6727 h 10000"/>
                <a:gd name="connsiteX5" fmla="*/ 9626 w 10792"/>
                <a:gd name="connsiteY5" fmla="*/ 0 h 10000"/>
                <a:gd name="connsiteX6" fmla="*/ 10792 w 10792"/>
                <a:gd name="connsiteY6" fmla="*/ 9136 h 10000"/>
                <a:gd name="connsiteX0" fmla="*/ 4070 w 10792"/>
                <a:gd name="connsiteY0" fmla="*/ 10000 h 10000"/>
                <a:gd name="connsiteX1" fmla="*/ 0 w 10792"/>
                <a:gd name="connsiteY1" fmla="*/ 8719 h 10000"/>
                <a:gd name="connsiteX2" fmla="*/ 5738 w 10792"/>
                <a:gd name="connsiteY2" fmla="*/ 8172 h 10000"/>
                <a:gd name="connsiteX3" fmla="*/ 1111 w 10792"/>
                <a:gd name="connsiteY3" fmla="*/ 4516 h 10000"/>
                <a:gd name="connsiteX4" fmla="*/ 6904 w 10792"/>
                <a:gd name="connsiteY4" fmla="*/ 6281 h 10000"/>
                <a:gd name="connsiteX5" fmla="*/ 9626 w 10792"/>
                <a:gd name="connsiteY5" fmla="*/ 0 h 10000"/>
                <a:gd name="connsiteX6" fmla="*/ 10792 w 10792"/>
                <a:gd name="connsiteY6" fmla="*/ 9136 h 10000"/>
                <a:gd name="connsiteX0" fmla="*/ 4070 w 10792"/>
                <a:gd name="connsiteY0" fmla="*/ 10000 h 10000"/>
                <a:gd name="connsiteX1" fmla="*/ 0 w 10792"/>
                <a:gd name="connsiteY1" fmla="*/ 8719 h 10000"/>
                <a:gd name="connsiteX2" fmla="*/ 5210 w 10792"/>
                <a:gd name="connsiteY2" fmla="*/ 7875 h 10000"/>
                <a:gd name="connsiteX3" fmla="*/ 1111 w 10792"/>
                <a:gd name="connsiteY3" fmla="*/ 4516 h 10000"/>
                <a:gd name="connsiteX4" fmla="*/ 6904 w 10792"/>
                <a:gd name="connsiteY4" fmla="*/ 6281 h 10000"/>
                <a:gd name="connsiteX5" fmla="*/ 9626 w 10792"/>
                <a:gd name="connsiteY5" fmla="*/ 0 h 10000"/>
                <a:gd name="connsiteX6" fmla="*/ 10792 w 10792"/>
                <a:gd name="connsiteY6" fmla="*/ 9136 h 10000"/>
                <a:gd name="connsiteX0" fmla="*/ 4070 w 10792"/>
                <a:gd name="connsiteY0" fmla="*/ 14307 h 14307"/>
                <a:gd name="connsiteX1" fmla="*/ 0 w 10792"/>
                <a:gd name="connsiteY1" fmla="*/ 13026 h 14307"/>
                <a:gd name="connsiteX2" fmla="*/ 5210 w 10792"/>
                <a:gd name="connsiteY2" fmla="*/ 12182 h 14307"/>
                <a:gd name="connsiteX3" fmla="*/ 1111 w 10792"/>
                <a:gd name="connsiteY3" fmla="*/ 8823 h 14307"/>
                <a:gd name="connsiteX4" fmla="*/ 6904 w 10792"/>
                <a:gd name="connsiteY4" fmla="*/ 10588 h 14307"/>
                <a:gd name="connsiteX5" fmla="*/ 5665 w 10792"/>
                <a:gd name="connsiteY5" fmla="*/ 0 h 14307"/>
                <a:gd name="connsiteX6" fmla="*/ 10792 w 10792"/>
                <a:gd name="connsiteY6" fmla="*/ 13443 h 14307"/>
                <a:gd name="connsiteX0" fmla="*/ 4070 w 10792"/>
                <a:gd name="connsiteY0" fmla="*/ 14307 h 14307"/>
                <a:gd name="connsiteX1" fmla="*/ 0 w 10792"/>
                <a:gd name="connsiteY1" fmla="*/ 13026 h 14307"/>
                <a:gd name="connsiteX2" fmla="*/ 5210 w 10792"/>
                <a:gd name="connsiteY2" fmla="*/ 12182 h 14307"/>
                <a:gd name="connsiteX3" fmla="*/ 1111 w 10792"/>
                <a:gd name="connsiteY3" fmla="*/ 8823 h 14307"/>
                <a:gd name="connsiteX4" fmla="*/ 6112 w 10792"/>
                <a:gd name="connsiteY4" fmla="*/ 10291 h 14307"/>
                <a:gd name="connsiteX5" fmla="*/ 5665 w 10792"/>
                <a:gd name="connsiteY5" fmla="*/ 0 h 14307"/>
                <a:gd name="connsiteX6" fmla="*/ 10792 w 10792"/>
                <a:gd name="connsiteY6" fmla="*/ 13443 h 14307"/>
                <a:gd name="connsiteX0" fmla="*/ 4070 w 10792"/>
                <a:gd name="connsiteY0" fmla="*/ 14307 h 14307"/>
                <a:gd name="connsiteX1" fmla="*/ 0 w 10792"/>
                <a:gd name="connsiteY1" fmla="*/ 13026 h 14307"/>
                <a:gd name="connsiteX2" fmla="*/ 5210 w 10792"/>
                <a:gd name="connsiteY2" fmla="*/ 12182 h 14307"/>
                <a:gd name="connsiteX3" fmla="*/ 319 w 10792"/>
                <a:gd name="connsiteY3" fmla="*/ 8377 h 14307"/>
                <a:gd name="connsiteX4" fmla="*/ 6112 w 10792"/>
                <a:gd name="connsiteY4" fmla="*/ 10291 h 14307"/>
                <a:gd name="connsiteX5" fmla="*/ 5665 w 10792"/>
                <a:gd name="connsiteY5" fmla="*/ 0 h 14307"/>
                <a:gd name="connsiteX6" fmla="*/ 10792 w 10792"/>
                <a:gd name="connsiteY6" fmla="*/ 13443 h 14307"/>
                <a:gd name="connsiteX0" fmla="*/ 4070 w 10792"/>
                <a:gd name="connsiteY0" fmla="*/ 11931 h 11931"/>
                <a:gd name="connsiteX1" fmla="*/ 0 w 10792"/>
                <a:gd name="connsiteY1" fmla="*/ 10650 h 11931"/>
                <a:gd name="connsiteX2" fmla="*/ 5210 w 10792"/>
                <a:gd name="connsiteY2" fmla="*/ 9806 h 11931"/>
                <a:gd name="connsiteX3" fmla="*/ 319 w 10792"/>
                <a:gd name="connsiteY3" fmla="*/ 6001 h 11931"/>
                <a:gd name="connsiteX4" fmla="*/ 6112 w 10792"/>
                <a:gd name="connsiteY4" fmla="*/ 7915 h 11931"/>
                <a:gd name="connsiteX5" fmla="*/ 5137 w 10792"/>
                <a:gd name="connsiteY5" fmla="*/ 0 h 11931"/>
                <a:gd name="connsiteX6" fmla="*/ 10792 w 10792"/>
                <a:gd name="connsiteY6" fmla="*/ 11067 h 11931"/>
                <a:gd name="connsiteX0" fmla="*/ 4070 w 10264"/>
                <a:gd name="connsiteY0" fmla="*/ 11931 h 11931"/>
                <a:gd name="connsiteX1" fmla="*/ 0 w 10264"/>
                <a:gd name="connsiteY1" fmla="*/ 10650 h 11931"/>
                <a:gd name="connsiteX2" fmla="*/ 5210 w 10264"/>
                <a:gd name="connsiteY2" fmla="*/ 9806 h 11931"/>
                <a:gd name="connsiteX3" fmla="*/ 319 w 10264"/>
                <a:gd name="connsiteY3" fmla="*/ 6001 h 11931"/>
                <a:gd name="connsiteX4" fmla="*/ 6112 w 10264"/>
                <a:gd name="connsiteY4" fmla="*/ 7915 h 11931"/>
                <a:gd name="connsiteX5" fmla="*/ 5137 w 10264"/>
                <a:gd name="connsiteY5" fmla="*/ 0 h 11931"/>
                <a:gd name="connsiteX6" fmla="*/ 10264 w 10264"/>
                <a:gd name="connsiteY6" fmla="*/ 11067 h 11931"/>
                <a:gd name="connsiteX0" fmla="*/ 4070 w 10264"/>
                <a:gd name="connsiteY0" fmla="*/ 11931 h 11931"/>
                <a:gd name="connsiteX1" fmla="*/ 0 w 10264"/>
                <a:gd name="connsiteY1" fmla="*/ 10650 h 11931"/>
                <a:gd name="connsiteX2" fmla="*/ 5210 w 10264"/>
                <a:gd name="connsiteY2" fmla="*/ 9806 h 11931"/>
                <a:gd name="connsiteX3" fmla="*/ 319 w 10264"/>
                <a:gd name="connsiteY3" fmla="*/ 6001 h 11931"/>
                <a:gd name="connsiteX4" fmla="*/ 6112 w 10264"/>
                <a:gd name="connsiteY4" fmla="*/ 8361 h 11931"/>
                <a:gd name="connsiteX5" fmla="*/ 5137 w 10264"/>
                <a:gd name="connsiteY5" fmla="*/ 0 h 11931"/>
                <a:gd name="connsiteX6" fmla="*/ 10264 w 10264"/>
                <a:gd name="connsiteY6" fmla="*/ 11067 h 11931"/>
                <a:gd name="connsiteX0" fmla="*/ 4070 w 10264"/>
                <a:gd name="connsiteY0" fmla="*/ 11931 h 11931"/>
                <a:gd name="connsiteX1" fmla="*/ 0 w 10264"/>
                <a:gd name="connsiteY1" fmla="*/ 10650 h 11931"/>
                <a:gd name="connsiteX2" fmla="*/ 4154 w 10264"/>
                <a:gd name="connsiteY2" fmla="*/ 9806 h 11931"/>
                <a:gd name="connsiteX3" fmla="*/ 319 w 10264"/>
                <a:gd name="connsiteY3" fmla="*/ 6001 h 11931"/>
                <a:gd name="connsiteX4" fmla="*/ 6112 w 10264"/>
                <a:gd name="connsiteY4" fmla="*/ 8361 h 11931"/>
                <a:gd name="connsiteX5" fmla="*/ 5137 w 10264"/>
                <a:gd name="connsiteY5" fmla="*/ 0 h 11931"/>
                <a:gd name="connsiteX6" fmla="*/ 10264 w 10264"/>
                <a:gd name="connsiteY6" fmla="*/ 11067 h 11931"/>
                <a:gd name="connsiteX0" fmla="*/ 3751 w 9945"/>
                <a:gd name="connsiteY0" fmla="*/ 11931 h 11931"/>
                <a:gd name="connsiteX1" fmla="*/ 3835 w 9945"/>
                <a:gd name="connsiteY1" fmla="*/ 9806 h 11931"/>
                <a:gd name="connsiteX2" fmla="*/ 0 w 9945"/>
                <a:gd name="connsiteY2" fmla="*/ 6001 h 11931"/>
                <a:gd name="connsiteX3" fmla="*/ 5793 w 9945"/>
                <a:gd name="connsiteY3" fmla="*/ 8361 h 11931"/>
                <a:gd name="connsiteX4" fmla="*/ 4818 w 9945"/>
                <a:gd name="connsiteY4" fmla="*/ 0 h 11931"/>
                <a:gd name="connsiteX5" fmla="*/ 9945 w 9945"/>
                <a:gd name="connsiteY5" fmla="*/ 11067 h 11931"/>
                <a:gd name="connsiteX0" fmla="*/ 3856 w 10000"/>
                <a:gd name="connsiteY0" fmla="*/ 8219 h 9276"/>
                <a:gd name="connsiteX1" fmla="*/ 0 w 10000"/>
                <a:gd name="connsiteY1" fmla="*/ 5030 h 9276"/>
                <a:gd name="connsiteX2" fmla="*/ 5825 w 10000"/>
                <a:gd name="connsiteY2" fmla="*/ 7008 h 9276"/>
                <a:gd name="connsiteX3" fmla="*/ 4845 w 10000"/>
                <a:gd name="connsiteY3" fmla="*/ 0 h 9276"/>
                <a:gd name="connsiteX4" fmla="*/ 10000 w 10000"/>
                <a:gd name="connsiteY4" fmla="*/ 9276 h 9276"/>
                <a:gd name="connsiteX0" fmla="*/ 6046 w 10000"/>
                <a:gd name="connsiteY0" fmla="*/ 11888 h 11888"/>
                <a:gd name="connsiteX1" fmla="*/ 0 w 10000"/>
                <a:gd name="connsiteY1" fmla="*/ 5423 h 11888"/>
                <a:gd name="connsiteX2" fmla="*/ 5825 w 10000"/>
                <a:gd name="connsiteY2" fmla="*/ 7555 h 11888"/>
                <a:gd name="connsiteX3" fmla="*/ 4845 w 10000"/>
                <a:gd name="connsiteY3" fmla="*/ 0 h 11888"/>
                <a:gd name="connsiteX4" fmla="*/ 10000 w 10000"/>
                <a:gd name="connsiteY4" fmla="*/ 10000 h 11888"/>
                <a:gd name="connsiteX0" fmla="*/ 6046 w 10000"/>
                <a:gd name="connsiteY0" fmla="*/ 11888 h 11888"/>
                <a:gd name="connsiteX1" fmla="*/ 0 w 10000"/>
                <a:gd name="connsiteY1" fmla="*/ 5423 h 11888"/>
                <a:gd name="connsiteX2" fmla="*/ 7020 w 10000"/>
                <a:gd name="connsiteY2" fmla="*/ 8830 h 11888"/>
                <a:gd name="connsiteX3" fmla="*/ 4845 w 10000"/>
                <a:gd name="connsiteY3" fmla="*/ 0 h 11888"/>
                <a:gd name="connsiteX4" fmla="*/ 10000 w 10000"/>
                <a:gd name="connsiteY4" fmla="*/ 10000 h 11888"/>
                <a:gd name="connsiteX0" fmla="*/ 6046 w 10000"/>
                <a:gd name="connsiteY0" fmla="*/ 11888 h 11888"/>
                <a:gd name="connsiteX1" fmla="*/ 0 w 10000"/>
                <a:gd name="connsiteY1" fmla="*/ 5423 h 11888"/>
                <a:gd name="connsiteX2" fmla="*/ 7020 w 10000"/>
                <a:gd name="connsiteY2" fmla="*/ 8830 h 11888"/>
                <a:gd name="connsiteX3" fmla="*/ 4845 w 10000"/>
                <a:gd name="connsiteY3" fmla="*/ 0 h 11888"/>
                <a:gd name="connsiteX4" fmla="*/ 10000 w 10000"/>
                <a:gd name="connsiteY4" fmla="*/ 10000 h 11888"/>
                <a:gd name="connsiteX0" fmla="*/ 6046 w 10000"/>
                <a:gd name="connsiteY0" fmla="*/ 11888 h 11888"/>
                <a:gd name="connsiteX1" fmla="*/ 0 w 10000"/>
                <a:gd name="connsiteY1" fmla="*/ 5423 h 11888"/>
                <a:gd name="connsiteX2" fmla="*/ 7020 w 10000"/>
                <a:gd name="connsiteY2" fmla="*/ 8830 h 11888"/>
                <a:gd name="connsiteX3" fmla="*/ 4845 w 10000"/>
                <a:gd name="connsiteY3" fmla="*/ 0 h 11888"/>
                <a:gd name="connsiteX4" fmla="*/ 10000 w 10000"/>
                <a:gd name="connsiteY4" fmla="*/ 10000 h 11888"/>
                <a:gd name="connsiteX0" fmla="*/ 3855 w 7809"/>
                <a:gd name="connsiteY0" fmla="*/ 11888 h 11888"/>
                <a:gd name="connsiteX1" fmla="*/ 0 w 7809"/>
                <a:gd name="connsiteY1" fmla="*/ 7813 h 11888"/>
                <a:gd name="connsiteX2" fmla="*/ 4829 w 7809"/>
                <a:gd name="connsiteY2" fmla="*/ 8830 h 11888"/>
                <a:gd name="connsiteX3" fmla="*/ 2654 w 7809"/>
                <a:gd name="connsiteY3" fmla="*/ 0 h 11888"/>
                <a:gd name="connsiteX4" fmla="*/ 7809 w 7809"/>
                <a:gd name="connsiteY4" fmla="*/ 10000 h 11888"/>
                <a:gd name="connsiteX0" fmla="*/ 4937 w 10000"/>
                <a:gd name="connsiteY0" fmla="*/ 6515 h 6515"/>
                <a:gd name="connsiteX1" fmla="*/ 0 w 10000"/>
                <a:gd name="connsiteY1" fmla="*/ 3087 h 6515"/>
                <a:gd name="connsiteX2" fmla="*/ 6184 w 10000"/>
                <a:gd name="connsiteY2" fmla="*/ 3943 h 6515"/>
                <a:gd name="connsiteX3" fmla="*/ 4674 w 10000"/>
                <a:gd name="connsiteY3" fmla="*/ 0 h 6515"/>
                <a:gd name="connsiteX4" fmla="*/ 10000 w 10000"/>
                <a:gd name="connsiteY4" fmla="*/ 4927 h 65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6515">
                  <a:moveTo>
                    <a:pt x="4937" y="6515"/>
                  </a:moveTo>
                  <a:lnTo>
                    <a:pt x="0" y="3087"/>
                  </a:lnTo>
                  <a:lnTo>
                    <a:pt x="6184" y="3943"/>
                  </a:lnTo>
                  <a:lnTo>
                    <a:pt x="4674" y="0"/>
                  </a:lnTo>
                  <a:lnTo>
                    <a:pt x="10000" y="4927"/>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a:p>
          </p:txBody>
        </p:sp>
        <p:sp>
          <p:nvSpPr>
            <p:cNvPr id="150" name="Freeform 592">
              <a:extLst>
                <a:ext uri="{FF2B5EF4-FFF2-40B4-BE49-F238E27FC236}">
                  <a16:creationId xmlns:a16="http://schemas.microsoft.com/office/drawing/2014/main" id="{161008FA-4365-449D-8CE8-351D3BB7B98B}"/>
                </a:ext>
              </a:extLst>
            </p:cNvPr>
            <p:cNvSpPr>
              <a:spLocks/>
            </p:cNvSpPr>
            <p:nvPr/>
          </p:nvSpPr>
          <p:spPr bwMode="gray">
            <a:xfrm flipV="1">
              <a:off x="4414803" y="3362484"/>
              <a:ext cx="43530" cy="63843"/>
            </a:xfrm>
            <a:custGeom>
              <a:avLst/>
              <a:gdLst>
                <a:gd name="T0" fmla="*/ 24 w 192"/>
                <a:gd name="T1" fmla="*/ 192 h 192"/>
                <a:gd name="T2" fmla="*/ 0 w 192"/>
                <a:gd name="T3" fmla="*/ 156 h 192"/>
                <a:gd name="T4" fmla="*/ 42 w 192"/>
                <a:gd name="T5" fmla="*/ 174 h 192"/>
                <a:gd name="T6" fmla="*/ 12 w 192"/>
                <a:gd name="T7" fmla="*/ 81 h 192"/>
                <a:gd name="T8" fmla="*/ 66 w 192"/>
                <a:gd name="T9" fmla="*/ 132 h 192"/>
                <a:gd name="T10" fmla="*/ 84 w 192"/>
                <a:gd name="T11" fmla="*/ 0 h 192"/>
                <a:gd name="T12" fmla="*/ 108 w 192"/>
                <a:gd name="T13" fmla="*/ 164 h 192"/>
                <a:gd name="T14" fmla="*/ 156 w 192"/>
                <a:gd name="T15" fmla="*/ 96 h 192"/>
                <a:gd name="T16" fmla="*/ 144 w 192"/>
                <a:gd name="T17" fmla="*/ 168 h 192"/>
                <a:gd name="T18" fmla="*/ 192 w 192"/>
                <a:gd name="T19" fmla="*/ 144 h 192"/>
                <a:gd name="T20" fmla="*/ 162 w 192"/>
                <a:gd name="T21" fmla="*/ 192 h 192"/>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8125 w 10000"/>
                <a:gd name="connsiteY7" fmla="*/ 5000 h 10000"/>
                <a:gd name="connsiteX8" fmla="*/ 7500 w 10000"/>
                <a:gd name="connsiteY8" fmla="*/ 8750 h 10000"/>
                <a:gd name="connsiteX9" fmla="*/ 10000 w 10000"/>
                <a:gd name="connsiteY9" fmla="*/ 7500 h 10000"/>
                <a:gd name="connsiteX0" fmla="*/ 1250 w 8125"/>
                <a:gd name="connsiteY0" fmla="*/ 10000 h 10000"/>
                <a:gd name="connsiteX1" fmla="*/ 0 w 8125"/>
                <a:gd name="connsiteY1" fmla="*/ 8125 h 10000"/>
                <a:gd name="connsiteX2" fmla="*/ 2188 w 8125"/>
                <a:gd name="connsiteY2" fmla="*/ 9063 h 10000"/>
                <a:gd name="connsiteX3" fmla="*/ 625 w 8125"/>
                <a:gd name="connsiteY3" fmla="*/ 4219 h 10000"/>
                <a:gd name="connsiteX4" fmla="*/ 3438 w 8125"/>
                <a:gd name="connsiteY4" fmla="*/ 6875 h 10000"/>
                <a:gd name="connsiteX5" fmla="*/ 4375 w 8125"/>
                <a:gd name="connsiteY5" fmla="*/ 0 h 10000"/>
                <a:gd name="connsiteX6" fmla="*/ 5625 w 8125"/>
                <a:gd name="connsiteY6" fmla="*/ 8542 h 10000"/>
                <a:gd name="connsiteX7" fmla="*/ 8125 w 8125"/>
                <a:gd name="connsiteY7" fmla="*/ 5000 h 10000"/>
                <a:gd name="connsiteX8" fmla="*/ 7500 w 8125"/>
                <a:gd name="connsiteY8" fmla="*/ 8750 h 10000"/>
                <a:gd name="connsiteX0" fmla="*/ 1538 w 10000"/>
                <a:gd name="connsiteY0" fmla="*/ 10000 h 10000"/>
                <a:gd name="connsiteX1" fmla="*/ 0 w 10000"/>
                <a:gd name="connsiteY1" fmla="*/ 8125 h 10000"/>
                <a:gd name="connsiteX2" fmla="*/ 2693 w 10000"/>
                <a:gd name="connsiteY2" fmla="*/ 9063 h 10000"/>
                <a:gd name="connsiteX3" fmla="*/ 769 w 10000"/>
                <a:gd name="connsiteY3" fmla="*/ 4219 h 10000"/>
                <a:gd name="connsiteX4" fmla="*/ 4231 w 10000"/>
                <a:gd name="connsiteY4" fmla="*/ 6875 h 10000"/>
                <a:gd name="connsiteX5" fmla="*/ 5385 w 10000"/>
                <a:gd name="connsiteY5" fmla="*/ 0 h 10000"/>
                <a:gd name="connsiteX6" fmla="*/ 6923 w 10000"/>
                <a:gd name="connsiteY6" fmla="*/ 8542 h 10000"/>
                <a:gd name="connsiteX7" fmla="*/ 10000 w 10000"/>
                <a:gd name="connsiteY7" fmla="*/ 5000 h 10000"/>
                <a:gd name="connsiteX0" fmla="*/ 1538 w 6923"/>
                <a:gd name="connsiteY0" fmla="*/ 10000 h 10000"/>
                <a:gd name="connsiteX1" fmla="*/ 0 w 6923"/>
                <a:gd name="connsiteY1" fmla="*/ 8125 h 10000"/>
                <a:gd name="connsiteX2" fmla="*/ 2693 w 6923"/>
                <a:gd name="connsiteY2" fmla="*/ 9063 h 10000"/>
                <a:gd name="connsiteX3" fmla="*/ 769 w 6923"/>
                <a:gd name="connsiteY3" fmla="*/ 4219 h 10000"/>
                <a:gd name="connsiteX4" fmla="*/ 4231 w 6923"/>
                <a:gd name="connsiteY4" fmla="*/ 6875 h 10000"/>
                <a:gd name="connsiteX5" fmla="*/ 5385 w 6923"/>
                <a:gd name="connsiteY5" fmla="*/ 0 h 10000"/>
                <a:gd name="connsiteX6" fmla="*/ 6923 w 6923"/>
                <a:gd name="connsiteY6" fmla="*/ 8542 h 10000"/>
                <a:gd name="connsiteX0" fmla="*/ 2222 w 10000"/>
                <a:gd name="connsiteY0" fmla="*/ 10000 h 10000"/>
                <a:gd name="connsiteX1" fmla="*/ 0 w 10000"/>
                <a:gd name="connsiteY1" fmla="*/ 8125 h 10000"/>
                <a:gd name="connsiteX2" fmla="*/ 3890 w 10000"/>
                <a:gd name="connsiteY2" fmla="*/ 8172 h 10000"/>
                <a:gd name="connsiteX3" fmla="*/ 1111 w 10000"/>
                <a:gd name="connsiteY3" fmla="*/ 4219 h 10000"/>
                <a:gd name="connsiteX4" fmla="*/ 6112 w 10000"/>
                <a:gd name="connsiteY4" fmla="*/ 6875 h 10000"/>
                <a:gd name="connsiteX5" fmla="*/ 7778 w 10000"/>
                <a:gd name="connsiteY5" fmla="*/ 0 h 10000"/>
                <a:gd name="connsiteX6" fmla="*/ 10000 w 10000"/>
                <a:gd name="connsiteY6" fmla="*/ 8542 h 10000"/>
                <a:gd name="connsiteX0" fmla="*/ 2222 w 10000"/>
                <a:gd name="connsiteY0" fmla="*/ 10000 h 10000"/>
                <a:gd name="connsiteX1" fmla="*/ 0 w 10000"/>
                <a:gd name="connsiteY1" fmla="*/ 8125 h 10000"/>
                <a:gd name="connsiteX2" fmla="*/ 3890 w 10000"/>
                <a:gd name="connsiteY2" fmla="*/ 8172 h 10000"/>
                <a:gd name="connsiteX3" fmla="*/ 1111 w 10000"/>
                <a:gd name="connsiteY3" fmla="*/ 4219 h 10000"/>
                <a:gd name="connsiteX4" fmla="*/ 6640 w 10000"/>
                <a:gd name="connsiteY4" fmla="*/ 5984 h 10000"/>
                <a:gd name="connsiteX5" fmla="*/ 7778 w 10000"/>
                <a:gd name="connsiteY5" fmla="*/ 0 h 10000"/>
                <a:gd name="connsiteX6" fmla="*/ 10000 w 10000"/>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2959 w 11848"/>
                <a:gd name="connsiteY3" fmla="*/ 4219 h 10000"/>
                <a:gd name="connsiteX4" fmla="*/ 8488 w 11848"/>
                <a:gd name="connsiteY4" fmla="*/ 5984 h 10000"/>
                <a:gd name="connsiteX5" fmla="*/ 9626 w 11848"/>
                <a:gd name="connsiteY5" fmla="*/ 0 h 10000"/>
                <a:gd name="connsiteX6" fmla="*/ 11848 w 11848"/>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2959 w 11848"/>
                <a:gd name="connsiteY3" fmla="*/ 4219 h 10000"/>
                <a:gd name="connsiteX4" fmla="*/ 6904 w 11848"/>
                <a:gd name="connsiteY4" fmla="*/ 6727 h 10000"/>
                <a:gd name="connsiteX5" fmla="*/ 9626 w 11848"/>
                <a:gd name="connsiteY5" fmla="*/ 0 h 10000"/>
                <a:gd name="connsiteX6" fmla="*/ 11848 w 11848"/>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2959 w 11848"/>
                <a:gd name="connsiteY3" fmla="*/ 4219 h 10000"/>
                <a:gd name="connsiteX4" fmla="*/ 6904 w 11848"/>
                <a:gd name="connsiteY4" fmla="*/ 6727 h 10000"/>
                <a:gd name="connsiteX5" fmla="*/ 9626 w 11848"/>
                <a:gd name="connsiteY5" fmla="*/ 0 h 10000"/>
                <a:gd name="connsiteX6" fmla="*/ 11848 w 11848"/>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1111 w 11848"/>
                <a:gd name="connsiteY3" fmla="*/ 4516 h 10000"/>
                <a:gd name="connsiteX4" fmla="*/ 6904 w 11848"/>
                <a:gd name="connsiteY4" fmla="*/ 6727 h 10000"/>
                <a:gd name="connsiteX5" fmla="*/ 9626 w 11848"/>
                <a:gd name="connsiteY5" fmla="*/ 0 h 10000"/>
                <a:gd name="connsiteX6" fmla="*/ 11848 w 11848"/>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1111 w 11848"/>
                <a:gd name="connsiteY3" fmla="*/ 4516 h 10000"/>
                <a:gd name="connsiteX4" fmla="*/ 8224 w 11848"/>
                <a:gd name="connsiteY4" fmla="*/ 6727 h 10000"/>
                <a:gd name="connsiteX5" fmla="*/ 9626 w 11848"/>
                <a:gd name="connsiteY5" fmla="*/ 0 h 10000"/>
                <a:gd name="connsiteX6" fmla="*/ 11848 w 11848"/>
                <a:gd name="connsiteY6" fmla="*/ 8542 h 10000"/>
                <a:gd name="connsiteX0" fmla="*/ 4070 w 10792"/>
                <a:gd name="connsiteY0" fmla="*/ 10000 h 10000"/>
                <a:gd name="connsiteX1" fmla="*/ 0 w 10792"/>
                <a:gd name="connsiteY1" fmla="*/ 8719 h 10000"/>
                <a:gd name="connsiteX2" fmla="*/ 5738 w 10792"/>
                <a:gd name="connsiteY2" fmla="*/ 8172 h 10000"/>
                <a:gd name="connsiteX3" fmla="*/ 1111 w 10792"/>
                <a:gd name="connsiteY3" fmla="*/ 4516 h 10000"/>
                <a:gd name="connsiteX4" fmla="*/ 8224 w 10792"/>
                <a:gd name="connsiteY4" fmla="*/ 6727 h 10000"/>
                <a:gd name="connsiteX5" fmla="*/ 9626 w 10792"/>
                <a:gd name="connsiteY5" fmla="*/ 0 h 10000"/>
                <a:gd name="connsiteX6" fmla="*/ 10792 w 10792"/>
                <a:gd name="connsiteY6" fmla="*/ 9136 h 10000"/>
                <a:gd name="connsiteX0" fmla="*/ 4070 w 10792"/>
                <a:gd name="connsiteY0" fmla="*/ 10000 h 10000"/>
                <a:gd name="connsiteX1" fmla="*/ 0 w 10792"/>
                <a:gd name="connsiteY1" fmla="*/ 8719 h 10000"/>
                <a:gd name="connsiteX2" fmla="*/ 5738 w 10792"/>
                <a:gd name="connsiteY2" fmla="*/ 8172 h 10000"/>
                <a:gd name="connsiteX3" fmla="*/ 1111 w 10792"/>
                <a:gd name="connsiteY3" fmla="*/ 4516 h 10000"/>
                <a:gd name="connsiteX4" fmla="*/ 6904 w 10792"/>
                <a:gd name="connsiteY4" fmla="*/ 6281 h 10000"/>
                <a:gd name="connsiteX5" fmla="*/ 9626 w 10792"/>
                <a:gd name="connsiteY5" fmla="*/ 0 h 10000"/>
                <a:gd name="connsiteX6" fmla="*/ 10792 w 10792"/>
                <a:gd name="connsiteY6" fmla="*/ 9136 h 10000"/>
                <a:gd name="connsiteX0" fmla="*/ 4070 w 10792"/>
                <a:gd name="connsiteY0" fmla="*/ 10000 h 10000"/>
                <a:gd name="connsiteX1" fmla="*/ 0 w 10792"/>
                <a:gd name="connsiteY1" fmla="*/ 8719 h 10000"/>
                <a:gd name="connsiteX2" fmla="*/ 5210 w 10792"/>
                <a:gd name="connsiteY2" fmla="*/ 7875 h 10000"/>
                <a:gd name="connsiteX3" fmla="*/ 1111 w 10792"/>
                <a:gd name="connsiteY3" fmla="*/ 4516 h 10000"/>
                <a:gd name="connsiteX4" fmla="*/ 6904 w 10792"/>
                <a:gd name="connsiteY4" fmla="*/ 6281 h 10000"/>
                <a:gd name="connsiteX5" fmla="*/ 9626 w 10792"/>
                <a:gd name="connsiteY5" fmla="*/ 0 h 10000"/>
                <a:gd name="connsiteX6" fmla="*/ 10792 w 10792"/>
                <a:gd name="connsiteY6" fmla="*/ 9136 h 10000"/>
                <a:gd name="connsiteX0" fmla="*/ 4070 w 10792"/>
                <a:gd name="connsiteY0" fmla="*/ 14307 h 14307"/>
                <a:gd name="connsiteX1" fmla="*/ 0 w 10792"/>
                <a:gd name="connsiteY1" fmla="*/ 13026 h 14307"/>
                <a:gd name="connsiteX2" fmla="*/ 5210 w 10792"/>
                <a:gd name="connsiteY2" fmla="*/ 12182 h 14307"/>
                <a:gd name="connsiteX3" fmla="*/ 1111 w 10792"/>
                <a:gd name="connsiteY3" fmla="*/ 8823 h 14307"/>
                <a:gd name="connsiteX4" fmla="*/ 6904 w 10792"/>
                <a:gd name="connsiteY4" fmla="*/ 10588 h 14307"/>
                <a:gd name="connsiteX5" fmla="*/ 5665 w 10792"/>
                <a:gd name="connsiteY5" fmla="*/ 0 h 14307"/>
                <a:gd name="connsiteX6" fmla="*/ 10792 w 10792"/>
                <a:gd name="connsiteY6" fmla="*/ 13443 h 14307"/>
                <a:gd name="connsiteX0" fmla="*/ 4070 w 10792"/>
                <a:gd name="connsiteY0" fmla="*/ 14307 h 14307"/>
                <a:gd name="connsiteX1" fmla="*/ 0 w 10792"/>
                <a:gd name="connsiteY1" fmla="*/ 13026 h 14307"/>
                <a:gd name="connsiteX2" fmla="*/ 5210 w 10792"/>
                <a:gd name="connsiteY2" fmla="*/ 12182 h 14307"/>
                <a:gd name="connsiteX3" fmla="*/ 1111 w 10792"/>
                <a:gd name="connsiteY3" fmla="*/ 8823 h 14307"/>
                <a:gd name="connsiteX4" fmla="*/ 6112 w 10792"/>
                <a:gd name="connsiteY4" fmla="*/ 10291 h 14307"/>
                <a:gd name="connsiteX5" fmla="*/ 5665 w 10792"/>
                <a:gd name="connsiteY5" fmla="*/ 0 h 14307"/>
                <a:gd name="connsiteX6" fmla="*/ 10792 w 10792"/>
                <a:gd name="connsiteY6" fmla="*/ 13443 h 14307"/>
                <a:gd name="connsiteX0" fmla="*/ 4070 w 10792"/>
                <a:gd name="connsiteY0" fmla="*/ 14307 h 14307"/>
                <a:gd name="connsiteX1" fmla="*/ 0 w 10792"/>
                <a:gd name="connsiteY1" fmla="*/ 13026 h 14307"/>
                <a:gd name="connsiteX2" fmla="*/ 5210 w 10792"/>
                <a:gd name="connsiteY2" fmla="*/ 12182 h 14307"/>
                <a:gd name="connsiteX3" fmla="*/ 319 w 10792"/>
                <a:gd name="connsiteY3" fmla="*/ 8377 h 14307"/>
                <a:gd name="connsiteX4" fmla="*/ 6112 w 10792"/>
                <a:gd name="connsiteY4" fmla="*/ 10291 h 14307"/>
                <a:gd name="connsiteX5" fmla="*/ 5665 w 10792"/>
                <a:gd name="connsiteY5" fmla="*/ 0 h 14307"/>
                <a:gd name="connsiteX6" fmla="*/ 10792 w 10792"/>
                <a:gd name="connsiteY6" fmla="*/ 13443 h 14307"/>
                <a:gd name="connsiteX0" fmla="*/ 4070 w 10792"/>
                <a:gd name="connsiteY0" fmla="*/ 11931 h 11931"/>
                <a:gd name="connsiteX1" fmla="*/ 0 w 10792"/>
                <a:gd name="connsiteY1" fmla="*/ 10650 h 11931"/>
                <a:gd name="connsiteX2" fmla="*/ 5210 w 10792"/>
                <a:gd name="connsiteY2" fmla="*/ 9806 h 11931"/>
                <a:gd name="connsiteX3" fmla="*/ 319 w 10792"/>
                <a:gd name="connsiteY3" fmla="*/ 6001 h 11931"/>
                <a:gd name="connsiteX4" fmla="*/ 6112 w 10792"/>
                <a:gd name="connsiteY4" fmla="*/ 7915 h 11931"/>
                <a:gd name="connsiteX5" fmla="*/ 5137 w 10792"/>
                <a:gd name="connsiteY5" fmla="*/ 0 h 11931"/>
                <a:gd name="connsiteX6" fmla="*/ 10792 w 10792"/>
                <a:gd name="connsiteY6" fmla="*/ 11067 h 11931"/>
                <a:gd name="connsiteX0" fmla="*/ 4070 w 10264"/>
                <a:gd name="connsiteY0" fmla="*/ 11931 h 11931"/>
                <a:gd name="connsiteX1" fmla="*/ 0 w 10264"/>
                <a:gd name="connsiteY1" fmla="*/ 10650 h 11931"/>
                <a:gd name="connsiteX2" fmla="*/ 5210 w 10264"/>
                <a:gd name="connsiteY2" fmla="*/ 9806 h 11931"/>
                <a:gd name="connsiteX3" fmla="*/ 319 w 10264"/>
                <a:gd name="connsiteY3" fmla="*/ 6001 h 11931"/>
                <a:gd name="connsiteX4" fmla="*/ 6112 w 10264"/>
                <a:gd name="connsiteY4" fmla="*/ 7915 h 11931"/>
                <a:gd name="connsiteX5" fmla="*/ 5137 w 10264"/>
                <a:gd name="connsiteY5" fmla="*/ 0 h 11931"/>
                <a:gd name="connsiteX6" fmla="*/ 10264 w 10264"/>
                <a:gd name="connsiteY6" fmla="*/ 11067 h 11931"/>
                <a:gd name="connsiteX0" fmla="*/ 4070 w 10264"/>
                <a:gd name="connsiteY0" fmla="*/ 11931 h 11931"/>
                <a:gd name="connsiteX1" fmla="*/ 0 w 10264"/>
                <a:gd name="connsiteY1" fmla="*/ 10650 h 11931"/>
                <a:gd name="connsiteX2" fmla="*/ 5210 w 10264"/>
                <a:gd name="connsiteY2" fmla="*/ 9806 h 11931"/>
                <a:gd name="connsiteX3" fmla="*/ 319 w 10264"/>
                <a:gd name="connsiteY3" fmla="*/ 6001 h 11931"/>
                <a:gd name="connsiteX4" fmla="*/ 6112 w 10264"/>
                <a:gd name="connsiteY4" fmla="*/ 8361 h 11931"/>
                <a:gd name="connsiteX5" fmla="*/ 5137 w 10264"/>
                <a:gd name="connsiteY5" fmla="*/ 0 h 11931"/>
                <a:gd name="connsiteX6" fmla="*/ 10264 w 10264"/>
                <a:gd name="connsiteY6" fmla="*/ 11067 h 11931"/>
                <a:gd name="connsiteX0" fmla="*/ 4070 w 10264"/>
                <a:gd name="connsiteY0" fmla="*/ 11931 h 11931"/>
                <a:gd name="connsiteX1" fmla="*/ 0 w 10264"/>
                <a:gd name="connsiteY1" fmla="*/ 10650 h 11931"/>
                <a:gd name="connsiteX2" fmla="*/ 4154 w 10264"/>
                <a:gd name="connsiteY2" fmla="*/ 9806 h 11931"/>
                <a:gd name="connsiteX3" fmla="*/ 319 w 10264"/>
                <a:gd name="connsiteY3" fmla="*/ 6001 h 11931"/>
                <a:gd name="connsiteX4" fmla="*/ 6112 w 10264"/>
                <a:gd name="connsiteY4" fmla="*/ 8361 h 11931"/>
                <a:gd name="connsiteX5" fmla="*/ 5137 w 10264"/>
                <a:gd name="connsiteY5" fmla="*/ 0 h 11931"/>
                <a:gd name="connsiteX6" fmla="*/ 10264 w 10264"/>
                <a:gd name="connsiteY6" fmla="*/ 11067 h 11931"/>
                <a:gd name="connsiteX0" fmla="*/ 4070 w 9137"/>
                <a:gd name="connsiteY0" fmla="*/ 11931 h 11931"/>
                <a:gd name="connsiteX1" fmla="*/ 0 w 9137"/>
                <a:gd name="connsiteY1" fmla="*/ 10650 h 11931"/>
                <a:gd name="connsiteX2" fmla="*/ 4154 w 9137"/>
                <a:gd name="connsiteY2" fmla="*/ 9806 h 11931"/>
                <a:gd name="connsiteX3" fmla="*/ 319 w 9137"/>
                <a:gd name="connsiteY3" fmla="*/ 6001 h 11931"/>
                <a:gd name="connsiteX4" fmla="*/ 6112 w 9137"/>
                <a:gd name="connsiteY4" fmla="*/ 8361 h 11931"/>
                <a:gd name="connsiteX5" fmla="*/ 5137 w 9137"/>
                <a:gd name="connsiteY5" fmla="*/ 0 h 11931"/>
                <a:gd name="connsiteX6" fmla="*/ 9137 w 9137"/>
                <a:gd name="connsiteY6" fmla="*/ 9796 h 11931"/>
                <a:gd name="connsiteX0" fmla="*/ 4105 w 9651"/>
                <a:gd name="connsiteY0" fmla="*/ 10000 h 10000"/>
                <a:gd name="connsiteX1" fmla="*/ 4197 w 9651"/>
                <a:gd name="connsiteY1" fmla="*/ 8219 h 10000"/>
                <a:gd name="connsiteX2" fmla="*/ 0 w 9651"/>
                <a:gd name="connsiteY2" fmla="*/ 5030 h 10000"/>
                <a:gd name="connsiteX3" fmla="*/ 6340 w 9651"/>
                <a:gd name="connsiteY3" fmla="*/ 7008 h 10000"/>
                <a:gd name="connsiteX4" fmla="*/ 5273 w 9651"/>
                <a:gd name="connsiteY4" fmla="*/ 0 h 10000"/>
                <a:gd name="connsiteX5" fmla="*/ 9651 w 9651"/>
                <a:gd name="connsiteY5" fmla="*/ 8211 h 10000"/>
                <a:gd name="connsiteX0" fmla="*/ 4349 w 10000"/>
                <a:gd name="connsiteY0" fmla="*/ 8219 h 8219"/>
                <a:gd name="connsiteX1" fmla="*/ 0 w 10000"/>
                <a:gd name="connsiteY1" fmla="*/ 5030 h 8219"/>
                <a:gd name="connsiteX2" fmla="*/ 6569 w 10000"/>
                <a:gd name="connsiteY2" fmla="*/ 7008 h 8219"/>
                <a:gd name="connsiteX3" fmla="*/ 5464 w 10000"/>
                <a:gd name="connsiteY3" fmla="*/ 0 h 8219"/>
                <a:gd name="connsiteX4" fmla="*/ 10000 w 10000"/>
                <a:gd name="connsiteY4" fmla="*/ 8211 h 8219"/>
                <a:gd name="connsiteX0" fmla="*/ 4860 w 10000"/>
                <a:gd name="connsiteY0" fmla="*/ 11851 h 11851"/>
                <a:gd name="connsiteX1" fmla="*/ 0 w 10000"/>
                <a:gd name="connsiteY1" fmla="*/ 6120 h 11851"/>
                <a:gd name="connsiteX2" fmla="*/ 6569 w 10000"/>
                <a:gd name="connsiteY2" fmla="*/ 8527 h 11851"/>
                <a:gd name="connsiteX3" fmla="*/ 5464 w 10000"/>
                <a:gd name="connsiteY3" fmla="*/ 0 h 11851"/>
                <a:gd name="connsiteX4" fmla="*/ 10000 w 10000"/>
                <a:gd name="connsiteY4" fmla="*/ 9990 h 11851"/>
                <a:gd name="connsiteX0" fmla="*/ 4860 w 10000"/>
                <a:gd name="connsiteY0" fmla="*/ 11111 h 11111"/>
                <a:gd name="connsiteX1" fmla="*/ 0 w 10000"/>
                <a:gd name="connsiteY1" fmla="*/ 5380 h 11111"/>
                <a:gd name="connsiteX2" fmla="*/ 6569 w 10000"/>
                <a:gd name="connsiteY2" fmla="*/ 7787 h 11111"/>
                <a:gd name="connsiteX3" fmla="*/ 5975 w 10000"/>
                <a:gd name="connsiteY3" fmla="*/ 0 h 11111"/>
                <a:gd name="connsiteX4" fmla="*/ 10000 w 10000"/>
                <a:gd name="connsiteY4" fmla="*/ 9250 h 11111"/>
                <a:gd name="connsiteX0" fmla="*/ 5627 w 10767"/>
                <a:gd name="connsiteY0" fmla="*/ 11111 h 11111"/>
                <a:gd name="connsiteX1" fmla="*/ 0 w 10767"/>
                <a:gd name="connsiteY1" fmla="*/ 6306 h 11111"/>
                <a:gd name="connsiteX2" fmla="*/ 7336 w 10767"/>
                <a:gd name="connsiteY2" fmla="*/ 7787 h 11111"/>
                <a:gd name="connsiteX3" fmla="*/ 6742 w 10767"/>
                <a:gd name="connsiteY3" fmla="*/ 0 h 11111"/>
                <a:gd name="connsiteX4" fmla="*/ 10767 w 10767"/>
                <a:gd name="connsiteY4" fmla="*/ 9250 h 11111"/>
                <a:gd name="connsiteX0" fmla="*/ 5627 w 10767"/>
                <a:gd name="connsiteY0" fmla="*/ 11111 h 11111"/>
                <a:gd name="connsiteX1" fmla="*/ 0 w 10767"/>
                <a:gd name="connsiteY1" fmla="*/ 6306 h 11111"/>
                <a:gd name="connsiteX2" fmla="*/ 6313 w 10767"/>
                <a:gd name="connsiteY2" fmla="*/ 7972 h 11111"/>
                <a:gd name="connsiteX3" fmla="*/ 6742 w 10767"/>
                <a:gd name="connsiteY3" fmla="*/ 0 h 11111"/>
                <a:gd name="connsiteX4" fmla="*/ 10767 w 10767"/>
                <a:gd name="connsiteY4" fmla="*/ 9250 h 11111"/>
                <a:gd name="connsiteX0" fmla="*/ 5883 w 10767"/>
                <a:gd name="connsiteY0" fmla="*/ 12037 h 12037"/>
                <a:gd name="connsiteX1" fmla="*/ 0 w 10767"/>
                <a:gd name="connsiteY1" fmla="*/ 6306 h 12037"/>
                <a:gd name="connsiteX2" fmla="*/ 6313 w 10767"/>
                <a:gd name="connsiteY2" fmla="*/ 7972 h 12037"/>
                <a:gd name="connsiteX3" fmla="*/ 6742 w 10767"/>
                <a:gd name="connsiteY3" fmla="*/ 0 h 12037"/>
                <a:gd name="connsiteX4" fmla="*/ 10767 w 10767"/>
                <a:gd name="connsiteY4" fmla="*/ 9250 h 12037"/>
                <a:gd name="connsiteX0" fmla="*/ 5883 w 10767"/>
                <a:gd name="connsiteY0" fmla="*/ 12037 h 12037"/>
                <a:gd name="connsiteX1" fmla="*/ 0 w 10767"/>
                <a:gd name="connsiteY1" fmla="*/ 6306 h 12037"/>
                <a:gd name="connsiteX2" fmla="*/ 6313 w 10767"/>
                <a:gd name="connsiteY2" fmla="*/ 7972 h 12037"/>
                <a:gd name="connsiteX3" fmla="*/ 3418 w 10767"/>
                <a:gd name="connsiteY3" fmla="*/ 0 h 12037"/>
                <a:gd name="connsiteX4" fmla="*/ 10767 w 10767"/>
                <a:gd name="connsiteY4" fmla="*/ 9250 h 12037"/>
                <a:gd name="connsiteX0" fmla="*/ 5883 w 10767"/>
                <a:gd name="connsiteY0" fmla="*/ 9260 h 9260"/>
                <a:gd name="connsiteX1" fmla="*/ 0 w 10767"/>
                <a:gd name="connsiteY1" fmla="*/ 3529 h 9260"/>
                <a:gd name="connsiteX2" fmla="*/ 6313 w 10767"/>
                <a:gd name="connsiteY2" fmla="*/ 5195 h 9260"/>
                <a:gd name="connsiteX3" fmla="*/ 5975 w 10767"/>
                <a:gd name="connsiteY3" fmla="*/ 0 h 9260"/>
                <a:gd name="connsiteX4" fmla="*/ 10767 w 10767"/>
                <a:gd name="connsiteY4" fmla="*/ 6473 h 9260"/>
                <a:gd name="connsiteX0" fmla="*/ 5464 w 10000"/>
                <a:gd name="connsiteY0" fmla="*/ 10000 h 10000"/>
                <a:gd name="connsiteX1" fmla="*/ 0 w 10000"/>
                <a:gd name="connsiteY1" fmla="*/ 3811 h 10000"/>
                <a:gd name="connsiteX2" fmla="*/ 7050 w 10000"/>
                <a:gd name="connsiteY2" fmla="*/ 7609 h 10000"/>
                <a:gd name="connsiteX3" fmla="*/ 5549 w 10000"/>
                <a:gd name="connsiteY3" fmla="*/ 0 h 10000"/>
                <a:gd name="connsiteX4" fmla="*/ 10000 w 10000"/>
                <a:gd name="connsiteY4" fmla="*/ 6990 h 10000"/>
                <a:gd name="connsiteX0" fmla="*/ 3564 w 8100"/>
                <a:gd name="connsiteY0" fmla="*/ 10000 h 10000"/>
                <a:gd name="connsiteX1" fmla="*/ 0 w 8100"/>
                <a:gd name="connsiteY1" fmla="*/ 5010 h 10000"/>
                <a:gd name="connsiteX2" fmla="*/ 5150 w 8100"/>
                <a:gd name="connsiteY2" fmla="*/ 7609 h 10000"/>
                <a:gd name="connsiteX3" fmla="*/ 3649 w 8100"/>
                <a:gd name="connsiteY3" fmla="*/ 0 h 10000"/>
                <a:gd name="connsiteX4" fmla="*/ 8100 w 8100"/>
                <a:gd name="connsiteY4" fmla="*/ 699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0" h="10000">
                  <a:moveTo>
                    <a:pt x="3564" y="10000"/>
                  </a:moveTo>
                  <a:lnTo>
                    <a:pt x="0" y="5010"/>
                  </a:lnTo>
                  <a:lnTo>
                    <a:pt x="5150" y="7609"/>
                  </a:lnTo>
                  <a:cubicBezTo>
                    <a:pt x="5045" y="5739"/>
                    <a:pt x="3754" y="1870"/>
                    <a:pt x="3649" y="0"/>
                  </a:cubicBezTo>
                  <a:lnTo>
                    <a:pt x="8100" y="6990"/>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a:p>
          </p:txBody>
        </p:sp>
        <p:sp>
          <p:nvSpPr>
            <p:cNvPr id="151" name="Freeform 592">
              <a:extLst>
                <a:ext uri="{FF2B5EF4-FFF2-40B4-BE49-F238E27FC236}">
                  <a16:creationId xmlns:a16="http://schemas.microsoft.com/office/drawing/2014/main" id="{BC945AB7-ECD3-43EE-93CF-98FBE3971080}"/>
                </a:ext>
              </a:extLst>
            </p:cNvPr>
            <p:cNvSpPr>
              <a:spLocks/>
            </p:cNvSpPr>
            <p:nvPr/>
          </p:nvSpPr>
          <p:spPr bwMode="gray">
            <a:xfrm rot="4500000" flipH="1">
              <a:off x="4439936" y="3269640"/>
              <a:ext cx="145590" cy="131637"/>
            </a:xfrm>
            <a:custGeom>
              <a:avLst/>
              <a:gdLst>
                <a:gd name="T0" fmla="*/ 24 w 192"/>
                <a:gd name="T1" fmla="*/ 192 h 192"/>
                <a:gd name="T2" fmla="*/ 0 w 192"/>
                <a:gd name="T3" fmla="*/ 156 h 192"/>
                <a:gd name="T4" fmla="*/ 42 w 192"/>
                <a:gd name="T5" fmla="*/ 174 h 192"/>
                <a:gd name="T6" fmla="*/ 12 w 192"/>
                <a:gd name="T7" fmla="*/ 81 h 192"/>
                <a:gd name="T8" fmla="*/ 66 w 192"/>
                <a:gd name="T9" fmla="*/ 132 h 192"/>
                <a:gd name="T10" fmla="*/ 84 w 192"/>
                <a:gd name="T11" fmla="*/ 0 h 192"/>
                <a:gd name="T12" fmla="*/ 108 w 192"/>
                <a:gd name="T13" fmla="*/ 164 h 192"/>
                <a:gd name="T14" fmla="*/ 156 w 192"/>
                <a:gd name="T15" fmla="*/ 96 h 192"/>
                <a:gd name="T16" fmla="*/ 144 w 192"/>
                <a:gd name="T17" fmla="*/ 168 h 192"/>
                <a:gd name="T18" fmla="*/ 192 w 192"/>
                <a:gd name="T19" fmla="*/ 144 h 192"/>
                <a:gd name="T20" fmla="*/ 162 w 192"/>
                <a:gd name="T21" fmla="*/ 192 h 192"/>
                <a:gd name="connsiteX0" fmla="*/ 1250 w 10000"/>
                <a:gd name="connsiteY0" fmla="*/ 10000 h 10000"/>
                <a:gd name="connsiteX1" fmla="*/ 0 w 10000"/>
                <a:gd name="connsiteY1" fmla="*/ 8125 h 10000"/>
                <a:gd name="connsiteX2" fmla="*/ 2188 w 10000"/>
                <a:gd name="connsiteY2" fmla="*/ 9063 h 10000"/>
                <a:gd name="connsiteX3" fmla="*/ 625 w 10000"/>
                <a:gd name="connsiteY3" fmla="*/ 4219 h 10000"/>
                <a:gd name="connsiteX4" fmla="*/ 3438 w 10000"/>
                <a:gd name="connsiteY4" fmla="*/ 6875 h 10000"/>
                <a:gd name="connsiteX5" fmla="*/ 4375 w 10000"/>
                <a:gd name="connsiteY5" fmla="*/ 0 h 10000"/>
                <a:gd name="connsiteX6" fmla="*/ 5625 w 10000"/>
                <a:gd name="connsiteY6" fmla="*/ 8542 h 10000"/>
                <a:gd name="connsiteX7" fmla="*/ 8125 w 10000"/>
                <a:gd name="connsiteY7" fmla="*/ 5000 h 10000"/>
                <a:gd name="connsiteX8" fmla="*/ 7500 w 10000"/>
                <a:gd name="connsiteY8" fmla="*/ 8750 h 10000"/>
                <a:gd name="connsiteX9" fmla="*/ 10000 w 10000"/>
                <a:gd name="connsiteY9" fmla="*/ 7500 h 10000"/>
                <a:gd name="connsiteX0" fmla="*/ 1250 w 8125"/>
                <a:gd name="connsiteY0" fmla="*/ 10000 h 10000"/>
                <a:gd name="connsiteX1" fmla="*/ 0 w 8125"/>
                <a:gd name="connsiteY1" fmla="*/ 8125 h 10000"/>
                <a:gd name="connsiteX2" fmla="*/ 2188 w 8125"/>
                <a:gd name="connsiteY2" fmla="*/ 9063 h 10000"/>
                <a:gd name="connsiteX3" fmla="*/ 625 w 8125"/>
                <a:gd name="connsiteY3" fmla="*/ 4219 h 10000"/>
                <a:gd name="connsiteX4" fmla="*/ 3438 w 8125"/>
                <a:gd name="connsiteY4" fmla="*/ 6875 h 10000"/>
                <a:gd name="connsiteX5" fmla="*/ 4375 w 8125"/>
                <a:gd name="connsiteY5" fmla="*/ 0 h 10000"/>
                <a:gd name="connsiteX6" fmla="*/ 5625 w 8125"/>
                <a:gd name="connsiteY6" fmla="*/ 8542 h 10000"/>
                <a:gd name="connsiteX7" fmla="*/ 8125 w 8125"/>
                <a:gd name="connsiteY7" fmla="*/ 5000 h 10000"/>
                <a:gd name="connsiteX8" fmla="*/ 7500 w 8125"/>
                <a:gd name="connsiteY8" fmla="*/ 8750 h 10000"/>
                <a:gd name="connsiteX0" fmla="*/ 1538 w 10000"/>
                <a:gd name="connsiteY0" fmla="*/ 10000 h 10000"/>
                <a:gd name="connsiteX1" fmla="*/ 0 w 10000"/>
                <a:gd name="connsiteY1" fmla="*/ 8125 h 10000"/>
                <a:gd name="connsiteX2" fmla="*/ 2693 w 10000"/>
                <a:gd name="connsiteY2" fmla="*/ 9063 h 10000"/>
                <a:gd name="connsiteX3" fmla="*/ 769 w 10000"/>
                <a:gd name="connsiteY3" fmla="*/ 4219 h 10000"/>
                <a:gd name="connsiteX4" fmla="*/ 4231 w 10000"/>
                <a:gd name="connsiteY4" fmla="*/ 6875 h 10000"/>
                <a:gd name="connsiteX5" fmla="*/ 5385 w 10000"/>
                <a:gd name="connsiteY5" fmla="*/ 0 h 10000"/>
                <a:gd name="connsiteX6" fmla="*/ 6923 w 10000"/>
                <a:gd name="connsiteY6" fmla="*/ 8542 h 10000"/>
                <a:gd name="connsiteX7" fmla="*/ 10000 w 10000"/>
                <a:gd name="connsiteY7" fmla="*/ 5000 h 10000"/>
                <a:gd name="connsiteX0" fmla="*/ 1538 w 6923"/>
                <a:gd name="connsiteY0" fmla="*/ 10000 h 10000"/>
                <a:gd name="connsiteX1" fmla="*/ 0 w 6923"/>
                <a:gd name="connsiteY1" fmla="*/ 8125 h 10000"/>
                <a:gd name="connsiteX2" fmla="*/ 2693 w 6923"/>
                <a:gd name="connsiteY2" fmla="*/ 9063 h 10000"/>
                <a:gd name="connsiteX3" fmla="*/ 769 w 6923"/>
                <a:gd name="connsiteY3" fmla="*/ 4219 h 10000"/>
                <a:gd name="connsiteX4" fmla="*/ 4231 w 6923"/>
                <a:gd name="connsiteY4" fmla="*/ 6875 h 10000"/>
                <a:gd name="connsiteX5" fmla="*/ 5385 w 6923"/>
                <a:gd name="connsiteY5" fmla="*/ 0 h 10000"/>
                <a:gd name="connsiteX6" fmla="*/ 6923 w 6923"/>
                <a:gd name="connsiteY6" fmla="*/ 8542 h 10000"/>
                <a:gd name="connsiteX0" fmla="*/ 2222 w 10000"/>
                <a:gd name="connsiteY0" fmla="*/ 10000 h 10000"/>
                <a:gd name="connsiteX1" fmla="*/ 0 w 10000"/>
                <a:gd name="connsiteY1" fmla="*/ 8125 h 10000"/>
                <a:gd name="connsiteX2" fmla="*/ 3890 w 10000"/>
                <a:gd name="connsiteY2" fmla="*/ 8172 h 10000"/>
                <a:gd name="connsiteX3" fmla="*/ 1111 w 10000"/>
                <a:gd name="connsiteY3" fmla="*/ 4219 h 10000"/>
                <a:gd name="connsiteX4" fmla="*/ 6112 w 10000"/>
                <a:gd name="connsiteY4" fmla="*/ 6875 h 10000"/>
                <a:gd name="connsiteX5" fmla="*/ 7778 w 10000"/>
                <a:gd name="connsiteY5" fmla="*/ 0 h 10000"/>
                <a:gd name="connsiteX6" fmla="*/ 10000 w 10000"/>
                <a:gd name="connsiteY6" fmla="*/ 8542 h 10000"/>
                <a:gd name="connsiteX0" fmla="*/ 2222 w 10000"/>
                <a:gd name="connsiteY0" fmla="*/ 10000 h 10000"/>
                <a:gd name="connsiteX1" fmla="*/ 0 w 10000"/>
                <a:gd name="connsiteY1" fmla="*/ 8125 h 10000"/>
                <a:gd name="connsiteX2" fmla="*/ 3890 w 10000"/>
                <a:gd name="connsiteY2" fmla="*/ 8172 h 10000"/>
                <a:gd name="connsiteX3" fmla="*/ 1111 w 10000"/>
                <a:gd name="connsiteY3" fmla="*/ 4219 h 10000"/>
                <a:gd name="connsiteX4" fmla="*/ 6640 w 10000"/>
                <a:gd name="connsiteY4" fmla="*/ 5984 h 10000"/>
                <a:gd name="connsiteX5" fmla="*/ 7778 w 10000"/>
                <a:gd name="connsiteY5" fmla="*/ 0 h 10000"/>
                <a:gd name="connsiteX6" fmla="*/ 10000 w 10000"/>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2959 w 11848"/>
                <a:gd name="connsiteY3" fmla="*/ 4219 h 10000"/>
                <a:gd name="connsiteX4" fmla="*/ 8488 w 11848"/>
                <a:gd name="connsiteY4" fmla="*/ 5984 h 10000"/>
                <a:gd name="connsiteX5" fmla="*/ 9626 w 11848"/>
                <a:gd name="connsiteY5" fmla="*/ 0 h 10000"/>
                <a:gd name="connsiteX6" fmla="*/ 11848 w 11848"/>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2959 w 11848"/>
                <a:gd name="connsiteY3" fmla="*/ 4219 h 10000"/>
                <a:gd name="connsiteX4" fmla="*/ 6904 w 11848"/>
                <a:gd name="connsiteY4" fmla="*/ 6727 h 10000"/>
                <a:gd name="connsiteX5" fmla="*/ 9626 w 11848"/>
                <a:gd name="connsiteY5" fmla="*/ 0 h 10000"/>
                <a:gd name="connsiteX6" fmla="*/ 11848 w 11848"/>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2959 w 11848"/>
                <a:gd name="connsiteY3" fmla="*/ 4219 h 10000"/>
                <a:gd name="connsiteX4" fmla="*/ 6904 w 11848"/>
                <a:gd name="connsiteY4" fmla="*/ 6727 h 10000"/>
                <a:gd name="connsiteX5" fmla="*/ 9626 w 11848"/>
                <a:gd name="connsiteY5" fmla="*/ 0 h 10000"/>
                <a:gd name="connsiteX6" fmla="*/ 11848 w 11848"/>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1111 w 11848"/>
                <a:gd name="connsiteY3" fmla="*/ 4516 h 10000"/>
                <a:gd name="connsiteX4" fmla="*/ 6904 w 11848"/>
                <a:gd name="connsiteY4" fmla="*/ 6727 h 10000"/>
                <a:gd name="connsiteX5" fmla="*/ 9626 w 11848"/>
                <a:gd name="connsiteY5" fmla="*/ 0 h 10000"/>
                <a:gd name="connsiteX6" fmla="*/ 11848 w 11848"/>
                <a:gd name="connsiteY6" fmla="*/ 8542 h 10000"/>
                <a:gd name="connsiteX0" fmla="*/ 4070 w 11848"/>
                <a:gd name="connsiteY0" fmla="*/ 10000 h 10000"/>
                <a:gd name="connsiteX1" fmla="*/ 0 w 11848"/>
                <a:gd name="connsiteY1" fmla="*/ 8719 h 10000"/>
                <a:gd name="connsiteX2" fmla="*/ 5738 w 11848"/>
                <a:gd name="connsiteY2" fmla="*/ 8172 h 10000"/>
                <a:gd name="connsiteX3" fmla="*/ 1111 w 11848"/>
                <a:gd name="connsiteY3" fmla="*/ 4516 h 10000"/>
                <a:gd name="connsiteX4" fmla="*/ 8224 w 11848"/>
                <a:gd name="connsiteY4" fmla="*/ 6727 h 10000"/>
                <a:gd name="connsiteX5" fmla="*/ 9626 w 11848"/>
                <a:gd name="connsiteY5" fmla="*/ 0 h 10000"/>
                <a:gd name="connsiteX6" fmla="*/ 11848 w 11848"/>
                <a:gd name="connsiteY6" fmla="*/ 8542 h 10000"/>
                <a:gd name="connsiteX0" fmla="*/ 4070 w 10792"/>
                <a:gd name="connsiteY0" fmla="*/ 10000 h 10000"/>
                <a:gd name="connsiteX1" fmla="*/ 0 w 10792"/>
                <a:gd name="connsiteY1" fmla="*/ 8719 h 10000"/>
                <a:gd name="connsiteX2" fmla="*/ 5738 w 10792"/>
                <a:gd name="connsiteY2" fmla="*/ 8172 h 10000"/>
                <a:gd name="connsiteX3" fmla="*/ 1111 w 10792"/>
                <a:gd name="connsiteY3" fmla="*/ 4516 h 10000"/>
                <a:gd name="connsiteX4" fmla="*/ 8224 w 10792"/>
                <a:gd name="connsiteY4" fmla="*/ 6727 h 10000"/>
                <a:gd name="connsiteX5" fmla="*/ 9626 w 10792"/>
                <a:gd name="connsiteY5" fmla="*/ 0 h 10000"/>
                <a:gd name="connsiteX6" fmla="*/ 10792 w 10792"/>
                <a:gd name="connsiteY6" fmla="*/ 9136 h 10000"/>
                <a:gd name="connsiteX0" fmla="*/ 4070 w 10792"/>
                <a:gd name="connsiteY0" fmla="*/ 10000 h 10000"/>
                <a:gd name="connsiteX1" fmla="*/ 0 w 10792"/>
                <a:gd name="connsiteY1" fmla="*/ 8719 h 10000"/>
                <a:gd name="connsiteX2" fmla="*/ 5738 w 10792"/>
                <a:gd name="connsiteY2" fmla="*/ 8172 h 10000"/>
                <a:gd name="connsiteX3" fmla="*/ 1111 w 10792"/>
                <a:gd name="connsiteY3" fmla="*/ 4516 h 10000"/>
                <a:gd name="connsiteX4" fmla="*/ 6904 w 10792"/>
                <a:gd name="connsiteY4" fmla="*/ 6281 h 10000"/>
                <a:gd name="connsiteX5" fmla="*/ 9626 w 10792"/>
                <a:gd name="connsiteY5" fmla="*/ 0 h 10000"/>
                <a:gd name="connsiteX6" fmla="*/ 10792 w 10792"/>
                <a:gd name="connsiteY6" fmla="*/ 9136 h 10000"/>
                <a:gd name="connsiteX0" fmla="*/ 4070 w 10792"/>
                <a:gd name="connsiteY0" fmla="*/ 10000 h 10000"/>
                <a:gd name="connsiteX1" fmla="*/ 0 w 10792"/>
                <a:gd name="connsiteY1" fmla="*/ 8719 h 10000"/>
                <a:gd name="connsiteX2" fmla="*/ 5210 w 10792"/>
                <a:gd name="connsiteY2" fmla="*/ 7875 h 10000"/>
                <a:gd name="connsiteX3" fmla="*/ 1111 w 10792"/>
                <a:gd name="connsiteY3" fmla="*/ 4516 h 10000"/>
                <a:gd name="connsiteX4" fmla="*/ 6904 w 10792"/>
                <a:gd name="connsiteY4" fmla="*/ 6281 h 10000"/>
                <a:gd name="connsiteX5" fmla="*/ 9626 w 10792"/>
                <a:gd name="connsiteY5" fmla="*/ 0 h 10000"/>
                <a:gd name="connsiteX6" fmla="*/ 10792 w 10792"/>
                <a:gd name="connsiteY6" fmla="*/ 9136 h 10000"/>
                <a:gd name="connsiteX0" fmla="*/ 4070 w 10792"/>
                <a:gd name="connsiteY0" fmla="*/ 14307 h 14307"/>
                <a:gd name="connsiteX1" fmla="*/ 0 w 10792"/>
                <a:gd name="connsiteY1" fmla="*/ 13026 h 14307"/>
                <a:gd name="connsiteX2" fmla="*/ 5210 w 10792"/>
                <a:gd name="connsiteY2" fmla="*/ 12182 h 14307"/>
                <a:gd name="connsiteX3" fmla="*/ 1111 w 10792"/>
                <a:gd name="connsiteY3" fmla="*/ 8823 h 14307"/>
                <a:gd name="connsiteX4" fmla="*/ 6904 w 10792"/>
                <a:gd name="connsiteY4" fmla="*/ 10588 h 14307"/>
                <a:gd name="connsiteX5" fmla="*/ 5665 w 10792"/>
                <a:gd name="connsiteY5" fmla="*/ 0 h 14307"/>
                <a:gd name="connsiteX6" fmla="*/ 10792 w 10792"/>
                <a:gd name="connsiteY6" fmla="*/ 13443 h 14307"/>
                <a:gd name="connsiteX0" fmla="*/ 4070 w 10792"/>
                <a:gd name="connsiteY0" fmla="*/ 14307 h 14307"/>
                <a:gd name="connsiteX1" fmla="*/ 0 w 10792"/>
                <a:gd name="connsiteY1" fmla="*/ 13026 h 14307"/>
                <a:gd name="connsiteX2" fmla="*/ 5210 w 10792"/>
                <a:gd name="connsiteY2" fmla="*/ 12182 h 14307"/>
                <a:gd name="connsiteX3" fmla="*/ 1111 w 10792"/>
                <a:gd name="connsiteY3" fmla="*/ 8823 h 14307"/>
                <a:gd name="connsiteX4" fmla="*/ 6112 w 10792"/>
                <a:gd name="connsiteY4" fmla="*/ 10291 h 14307"/>
                <a:gd name="connsiteX5" fmla="*/ 5665 w 10792"/>
                <a:gd name="connsiteY5" fmla="*/ 0 h 14307"/>
                <a:gd name="connsiteX6" fmla="*/ 10792 w 10792"/>
                <a:gd name="connsiteY6" fmla="*/ 13443 h 14307"/>
                <a:gd name="connsiteX0" fmla="*/ 4070 w 10792"/>
                <a:gd name="connsiteY0" fmla="*/ 14307 h 14307"/>
                <a:gd name="connsiteX1" fmla="*/ 0 w 10792"/>
                <a:gd name="connsiteY1" fmla="*/ 13026 h 14307"/>
                <a:gd name="connsiteX2" fmla="*/ 5210 w 10792"/>
                <a:gd name="connsiteY2" fmla="*/ 12182 h 14307"/>
                <a:gd name="connsiteX3" fmla="*/ 319 w 10792"/>
                <a:gd name="connsiteY3" fmla="*/ 8377 h 14307"/>
                <a:gd name="connsiteX4" fmla="*/ 6112 w 10792"/>
                <a:gd name="connsiteY4" fmla="*/ 10291 h 14307"/>
                <a:gd name="connsiteX5" fmla="*/ 5665 w 10792"/>
                <a:gd name="connsiteY5" fmla="*/ 0 h 14307"/>
                <a:gd name="connsiteX6" fmla="*/ 10792 w 10792"/>
                <a:gd name="connsiteY6" fmla="*/ 13443 h 14307"/>
                <a:gd name="connsiteX0" fmla="*/ 4070 w 10792"/>
                <a:gd name="connsiteY0" fmla="*/ 11931 h 11931"/>
                <a:gd name="connsiteX1" fmla="*/ 0 w 10792"/>
                <a:gd name="connsiteY1" fmla="*/ 10650 h 11931"/>
                <a:gd name="connsiteX2" fmla="*/ 5210 w 10792"/>
                <a:gd name="connsiteY2" fmla="*/ 9806 h 11931"/>
                <a:gd name="connsiteX3" fmla="*/ 319 w 10792"/>
                <a:gd name="connsiteY3" fmla="*/ 6001 h 11931"/>
                <a:gd name="connsiteX4" fmla="*/ 6112 w 10792"/>
                <a:gd name="connsiteY4" fmla="*/ 7915 h 11931"/>
                <a:gd name="connsiteX5" fmla="*/ 5137 w 10792"/>
                <a:gd name="connsiteY5" fmla="*/ 0 h 11931"/>
                <a:gd name="connsiteX6" fmla="*/ 10792 w 10792"/>
                <a:gd name="connsiteY6" fmla="*/ 11067 h 11931"/>
                <a:gd name="connsiteX0" fmla="*/ 4070 w 10264"/>
                <a:gd name="connsiteY0" fmla="*/ 11931 h 11931"/>
                <a:gd name="connsiteX1" fmla="*/ 0 w 10264"/>
                <a:gd name="connsiteY1" fmla="*/ 10650 h 11931"/>
                <a:gd name="connsiteX2" fmla="*/ 5210 w 10264"/>
                <a:gd name="connsiteY2" fmla="*/ 9806 h 11931"/>
                <a:gd name="connsiteX3" fmla="*/ 319 w 10264"/>
                <a:gd name="connsiteY3" fmla="*/ 6001 h 11931"/>
                <a:gd name="connsiteX4" fmla="*/ 6112 w 10264"/>
                <a:gd name="connsiteY4" fmla="*/ 7915 h 11931"/>
                <a:gd name="connsiteX5" fmla="*/ 5137 w 10264"/>
                <a:gd name="connsiteY5" fmla="*/ 0 h 11931"/>
                <a:gd name="connsiteX6" fmla="*/ 10264 w 10264"/>
                <a:gd name="connsiteY6" fmla="*/ 11067 h 11931"/>
                <a:gd name="connsiteX0" fmla="*/ 4070 w 10264"/>
                <a:gd name="connsiteY0" fmla="*/ 11931 h 11931"/>
                <a:gd name="connsiteX1" fmla="*/ 0 w 10264"/>
                <a:gd name="connsiteY1" fmla="*/ 10650 h 11931"/>
                <a:gd name="connsiteX2" fmla="*/ 5210 w 10264"/>
                <a:gd name="connsiteY2" fmla="*/ 9806 h 11931"/>
                <a:gd name="connsiteX3" fmla="*/ 319 w 10264"/>
                <a:gd name="connsiteY3" fmla="*/ 6001 h 11931"/>
                <a:gd name="connsiteX4" fmla="*/ 6112 w 10264"/>
                <a:gd name="connsiteY4" fmla="*/ 8361 h 11931"/>
                <a:gd name="connsiteX5" fmla="*/ 5137 w 10264"/>
                <a:gd name="connsiteY5" fmla="*/ 0 h 11931"/>
                <a:gd name="connsiteX6" fmla="*/ 10264 w 10264"/>
                <a:gd name="connsiteY6" fmla="*/ 11067 h 11931"/>
                <a:gd name="connsiteX0" fmla="*/ 4070 w 10264"/>
                <a:gd name="connsiteY0" fmla="*/ 11931 h 11931"/>
                <a:gd name="connsiteX1" fmla="*/ 0 w 10264"/>
                <a:gd name="connsiteY1" fmla="*/ 10650 h 11931"/>
                <a:gd name="connsiteX2" fmla="*/ 4154 w 10264"/>
                <a:gd name="connsiteY2" fmla="*/ 9806 h 11931"/>
                <a:gd name="connsiteX3" fmla="*/ 319 w 10264"/>
                <a:gd name="connsiteY3" fmla="*/ 6001 h 11931"/>
                <a:gd name="connsiteX4" fmla="*/ 6112 w 10264"/>
                <a:gd name="connsiteY4" fmla="*/ 8361 h 11931"/>
                <a:gd name="connsiteX5" fmla="*/ 5137 w 10264"/>
                <a:gd name="connsiteY5" fmla="*/ 0 h 11931"/>
                <a:gd name="connsiteX6" fmla="*/ 10264 w 10264"/>
                <a:gd name="connsiteY6" fmla="*/ 11067 h 11931"/>
                <a:gd name="connsiteX0" fmla="*/ 4070 w 10264"/>
                <a:gd name="connsiteY0" fmla="*/ 11931 h 11931"/>
                <a:gd name="connsiteX1" fmla="*/ 0 w 10264"/>
                <a:gd name="connsiteY1" fmla="*/ 10650 h 11931"/>
                <a:gd name="connsiteX2" fmla="*/ 4154 w 10264"/>
                <a:gd name="connsiteY2" fmla="*/ 9806 h 11931"/>
                <a:gd name="connsiteX3" fmla="*/ 319 w 10264"/>
                <a:gd name="connsiteY3" fmla="*/ 6001 h 11931"/>
                <a:gd name="connsiteX4" fmla="*/ 6112 w 10264"/>
                <a:gd name="connsiteY4" fmla="*/ 8361 h 11931"/>
                <a:gd name="connsiteX5" fmla="*/ 5137 w 10264"/>
                <a:gd name="connsiteY5" fmla="*/ 0 h 11931"/>
                <a:gd name="connsiteX6" fmla="*/ 9136 w 10264"/>
                <a:gd name="connsiteY6" fmla="*/ 8383 h 11931"/>
                <a:gd name="connsiteX7" fmla="*/ 10264 w 10264"/>
                <a:gd name="connsiteY7" fmla="*/ 11067 h 11931"/>
                <a:gd name="connsiteX0" fmla="*/ 4070 w 21406"/>
                <a:gd name="connsiteY0" fmla="*/ 16302 h 16302"/>
                <a:gd name="connsiteX1" fmla="*/ 0 w 21406"/>
                <a:gd name="connsiteY1" fmla="*/ 15021 h 16302"/>
                <a:gd name="connsiteX2" fmla="*/ 4154 w 21406"/>
                <a:gd name="connsiteY2" fmla="*/ 14177 h 16302"/>
                <a:gd name="connsiteX3" fmla="*/ 319 w 21406"/>
                <a:gd name="connsiteY3" fmla="*/ 10372 h 16302"/>
                <a:gd name="connsiteX4" fmla="*/ 6112 w 21406"/>
                <a:gd name="connsiteY4" fmla="*/ 12732 h 16302"/>
                <a:gd name="connsiteX5" fmla="*/ 5137 w 21406"/>
                <a:gd name="connsiteY5" fmla="*/ 4371 h 16302"/>
                <a:gd name="connsiteX6" fmla="*/ 9136 w 21406"/>
                <a:gd name="connsiteY6" fmla="*/ 12754 h 16302"/>
                <a:gd name="connsiteX7" fmla="*/ 21406 w 21406"/>
                <a:gd name="connsiteY7" fmla="*/ 0 h 16302"/>
                <a:gd name="connsiteX0" fmla="*/ 4070 w 21406"/>
                <a:gd name="connsiteY0" fmla="*/ 16302 h 16302"/>
                <a:gd name="connsiteX1" fmla="*/ 0 w 21406"/>
                <a:gd name="connsiteY1" fmla="*/ 15021 h 16302"/>
                <a:gd name="connsiteX2" fmla="*/ 4154 w 21406"/>
                <a:gd name="connsiteY2" fmla="*/ 14177 h 16302"/>
                <a:gd name="connsiteX3" fmla="*/ 319 w 21406"/>
                <a:gd name="connsiteY3" fmla="*/ 10372 h 16302"/>
                <a:gd name="connsiteX4" fmla="*/ 6112 w 21406"/>
                <a:gd name="connsiteY4" fmla="*/ 12732 h 16302"/>
                <a:gd name="connsiteX5" fmla="*/ 5137 w 21406"/>
                <a:gd name="connsiteY5" fmla="*/ 4371 h 16302"/>
                <a:gd name="connsiteX6" fmla="*/ 9136 w 21406"/>
                <a:gd name="connsiteY6" fmla="*/ 12754 h 16302"/>
                <a:gd name="connsiteX7" fmla="*/ 14475 w 21406"/>
                <a:gd name="connsiteY7" fmla="*/ 8011 h 16302"/>
                <a:gd name="connsiteX8" fmla="*/ 21406 w 21406"/>
                <a:gd name="connsiteY8" fmla="*/ 0 h 16302"/>
                <a:gd name="connsiteX0" fmla="*/ 4070 w 14475"/>
                <a:gd name="connsiteY0" fmla="*/ 11931 h 11931"/>
                <a:gd name="connsiteX1" fmla="*/ 0 w 14475"/>
                <a:gd name="connsiteY1" fmla="*/ 10650 h 11931"/>
                <a:gd name="connsiteX2" fmla="*/ 4154 w 14475"/>
                <a:gd name="connsiteY2" fmla="*/ 9806 h 11931"/>
                <a:gd name="connsiteX3" fmla="*/ 319 w 14475"/>
                <a:gd name="connsiteY3" fmla="*/ 6001 h 11931"/>
                <a:gd name="connsiteX4" fmla="*/ 6112 w 14475"/>
                <a:gd name="connsiteY4" fmla="*/ 8361 h 11931"/>
                <a:gd name="connsiteX5" fmla="*/ 5137 w 14475"/>
                <a:gd name="connsiteY5" fmla="*/ 0 h 11931"/>
                <a:gd name="connsiteX6" fmla="*/ 9136 w 14475"/>
                <a:gd name="connsiteY6" fmla="*/ 8383 h 11931"/>
                <a:gd name="connsiteX7" fmla="*/ 14475 w 14475"/>
                <a:gd name="connsiteY7" fmla="*/ 3640 h 11931"/>
                <a:gd name="connsiteX8" fmla="*/ 13376 w 14475"/>
                <a:gd name="connsiteY8" fmla="*/ 10507 h 11931"/>
                <a:gd name="connsiteX0" fmla="*/ 4070 w 22987"/>
                <a:gd name="connsiteY0" fmla="*/ 15434 h 15434"/>
                <a:gd name="connsiteX1" fmla="*/ 0 w 22987"/>
                <a:gd name="connsiteY1" fmla="*/ 14153 h 15434"/>
                <a:gd name="connsiteX2" fmla="*/ 4154 w 22987"/>
                <a:gd name="connsiteY2" fmla="*/ 13309 h 15434"/>
                <a:gd name="connsiteX3" fmla="*/ 319 w 22987"/>
                <a:gd name="connsiteY3" fmla="*/ 9504 h 15434"/>
                <a:gd name="connsiteX4" fmla="*/ 6112 w 22987"/>
                <a:gd name="connsiteY4" fmla="*/ 11864 h 15434"/>
                <a:gd name="connsiteX5" fmla="*/ 5137 w 22987"/>
                <a:gd name="connsiteY5" fmla="*/ 3503 h 15434"/>
                <a:gd name="connsiteX6" fmla="*/ 9136 w 22987"/>
                <a:gd name="connsiteY6" fmla="*/ 11886 h 15434"/>
                <a:gd name="connsiteX7" fmla="*/ 22987 w 22987"/>
                <a:gd name="connsiteY7" fmla="*/ 0 h 15434"/>
                <a:gd name="connsiteX8" fmla="*/ 13376 w 22987"/>
                <a:gd name="connsiteY8" fmla="*/ 14010 h 15434"/>
                <a:gd name="connsiteX0" fmla="*/ 4070 w 22987"/>
                <a:gd name="connsiteY0" fmla="*/ 15434 h 15434"/>
                <a:gd name="connsiteX1" fmla="*/ 0 w 22987"/>
                <a:gd name="connsiteY1" fmla="*/ 14153 h 15434"/>
                <a:gd name="connsiteX2" fmla="*/ 4154 w 22987"/>
                <a:gd name="connsiteY2" fmla="*/ 13309 h 15434"/>
                <a:gd name="connsiteX3" fmla="*/ 319 w 22987"/>
                <a:gd name="connsiteY3" fmla="*/ 9504 h 15434"/>
                <a:gd name="connsiteX4" fmla="*/ 6112 w 22987"/>
                <a:gd name="connsiteY4" fmla="*/ 11864 h 15434"/>
                <a:gd name="connsiteX5" fmla="*/ 5137 w 22987"/>
                <a:gd name="connsiteY5" fmla="*/ 3503 h 15434"/>
                <a:gd name="connsiteX6" fmla="*/ 9136 w 22987"/>
                <a:gd name="connsiteY6" fmla="*/ 11886 h 15434"/>
                <a:gd name="connsiteX7" fmla="*/ 22987 w 22987"/>
                <a:gd name="connsiteY7" fmla="*/ 0 h 15434"/>
                <a:gd name="connsiteX8" fmla="*/ 14995 w 22987"/>
                <a:gd name="connsiteY8" fmla="*/ 13259 h 15434"/>
                <a:gd name="connsiteX0" fmla="*/ 4070 w 26676"/>
                <a:gd name="connsiteY0" fmla="*/ 13393 h 13393"/>
                <a:gd name="connsiteX1" fmla="*/ 0 w 26676"/>
                <a:gd name="connsiteY1" fmla="*/ 12112 h 13393"/>
                <a:gd name="connsiteX2" fmla="*/ 4154 w 26676"/>
                <a:gd name="connsiteY2" fmla="*/ 11268 h 13393"/>
                <a:gd name="connsiteX3" fmla="*/ 319 w 26676"/>
                <a:gd name="connsiteY3" fmla="*/ 7463 h 13393"/>
                <a:gd name="connsiteX4" fmla="*/ 6112 w 26676"/>
                <a:gd name="connsiteY4" fmla="*/ 9823 h 13393"/>
                <a:gd name="connsiteX5" fmla="*/ 5137 w 26676"/>
                <a:gd name="connsiteY5" fmla="*/ 1462 h 13393"/>
                <a:gd name="connsiteX6" fmla="*/ 9136 w 26676"/>
                <a:gd name="connsiteY6" fmla="*/ 9845 h 13393"/>
                <a:gd name="connsiteX7" fmla="*/ 26676 w 26676"/>
                <a:gd name="connsiteY7" fmla="*/ 0 h 13393"/>
                <a:gd name="connsiteX8" fmla="*/ 14995 w 26676"/>
                <a:gd name="connsiteY8" fmla="*/ 11218 h 13393"/>
                <a:gd name="connsiteX0" fmla="*/ 4070 w 26676"/>
                <a:gd name="connsiteY0" fmla="*/ 13393 h 13393"/>
                <a:gd name="connsiteX1" fmla="*/ 0 w 26676"/>
                <a:gd name="connsiteY1" fmla="*/ 12112 h 13393"/>
                <a:gd name="connsiteX2" fmla="*/ 4154 w 26676"/>
                <a:gd name="connsiteY2" fmla="*/ 11268 h 13393"/>
                <a:gd name="connsiteX3" fmla="*/ 319 w 26676"/>
                <a:gd name="connsiteY3" fmla="*/ 7463 h 13393"/>
                <a:gd name="connsiteX4" fmla="*/ 6112 w 26676"/>
                <a:gd name="connsiteY4" fmla="*/ 9823 h 13393"/>
                <a:gd name="connsiteX5" fmla="*/ 5137 w 26676"/>
                <a:gd name="connsiteY5" fmla="*/ 1462 h 13393"/>
                <a:gd name="connsiteX6" fmla="*/ 12364 w 26676"/>
                <a:gd name="connsiteY6" fmla="*/ 10353 h 13393"/>
                <a:gd name="connsiteX7" fmla="*/ 26676 w 26676"/>
                <a:gd name="connsiteY7" fmla="*/ 0 h 13393"/>
                <a:gd name="connsiteX8" fmla="*/ 14995 w 26676"/>
                <a:gd name="connsiteY8" fmla="*/ 11218 h 13393"/>
                <a:gd name="connsiteX0" fmla="*/ 4070 w 22304"/>
                <a:gd name="connsiteY0" fmla="*/ 11931 h 11931"/>
                <a:gd name="connsiteX1" fmla="*/ 0 w 22304"/>
                <a:gd name="connsiteY1" fmla="*/ 10650 h 11931"/>
                <a:gd name="connsiteX2" fmla="*/ 4154 w 22304"/>
                <a:gd name="connsiteY2" fmla="*/ 9806 h 11931"/>
                <a:gd name="connsiteX3" fmla="*/ 319 w 22304"/>
                <a:gd name="connsiteY3" fmla="*/ 6001 h 11931"/>
                <a:gd name="connsiteX4" fmla="*/ 6112 w 22304"/>
                <a:gd name="connsiteY4" fmla="*/ 8361 h 11931"/>
                <a:gd name="connsiteX5" fmla="*/ 5137 w 22304"/>
                <a:gd name="connsiteY5" fmla="*/ 0 h 11931"/>
                <a:gd name="connsiteX6" fmla="*/ 12364 w 22304"/>
                <a:gd name="connsiteY6" fmla="*/ 8891 h 11931"/>
                <a:gd name="connsiteX7" fmla="*/ 22304 w 22304"/>
                <a:gd name="connsiteY7" fmla="*/ 1042 h 11931"/>
                <a:gd name="connsiteX8" fmla="*/ 14995 w 22304"/>
                <a:gd name="connsiteY8" fmla="*/ 9756 h 11931"/>
                <a:gd name="connsiteX0" fmla="*/ 4070 w 22304"/>
                <a:gd name="connsiteY0" fmla="*/ 16960 h 16960"/>
                <a:gd name="connsiteX1" fmla="*/ 0 w 22304"/>
                <a:gd name="connsiteY1" fmla="*/ 15679 h 16960"/>
                <a:gd name="connsiteX2" fmla="*/ 4154 w 22304"/>
                <a:gd name="connsiteY2" fmla="*/ 14835 h 16960"/>
                <a:gd name="connsiteX3" fmla="*/ 319 w 22304"/>
                <a:gd name="connsiteY3" fmla="*/ 11030 h 16960"/>
                <a:gd name="connsiteX4" fmla="*/ 6112 w 22304"/>
                <a:gd name="connsiteY4" fmla="*/ 13390 h 16960"/>
                <a:gd name="connsiteX5" fmla="*/ 12440 w 22304"/>
                <a:gd name="connsiteY5" fmla="*/ 0 h 16960"/>
                <a:gd name="connsiteX6" fmla="*/ 12364 w 22304"/>
                <a:gd name="connsiteY6" fmla="*/ 13920 h 16960"/>
                <a:gd name="connsiteX7" fmla="*/ 22304 w 22304"/>
                <a:gd name="connsiteY7" fmla="*/ 6071 h 16960"/>
                <a:gd name="connsiteX8" fmla="*/ 14995 w 22304"/>
                <a:gd name="connsiteY8" fmla="*/ 14785 h 16960"/>
                <a:gd name="connsiteX0" fmla="*/ 4070 w 22304"/>
                <a:gd name="connsiteY0" fmla="*/ 16960 h 16960"/>
                <a:gd name="connsiteX1" fmla="*/ 0 w 22304"/>
                <a:gd name="connsiteY1" fmla="*/ 15679 h 16960"/>
                <a:gd name="connsiteX2" fmla="*/ 4154 w 22304"/>
                <a:gd name="connsiteY2" fmla="*/ 14835 h 16960"/>
                <a:gd name="connsiteX3" fmla="*/ 319 w 22304"/>
                <a:gd name="connsiteY3" fmla="*/ 11030 h 16960"/>
                <a:gd name="connsiteX4" fmla="*/ 6112 w 22304"/>
                <a:gd name="connsiteY4" fmla="*/ 13390 h 16960"/>
                <a:gd name="connsiteX5" fmla="*/ 8391 w 22304"/>
                <a:gd name="connsiteY5" fmla="*/ 9573 h 16960"/>
                <a:gd name="connsiteX6" fmla="*/ 12440 w 22304"/>
                <a:gd name="connsiteY6" fmla="*/ 0 h 16960"/>
                <a:gd name="connsiteX7" fmla="*/ 12364 w 22304"/>
                <a:gd name="connsiteY7" fmla="*/ 13920 h 16960"/>
                <a:gd name="connsiteX8" fmla="*/ 22304 w 22304"/>
                <a:gd name="connsiteY8" fmla="*/ 6071 h 16960"/>
                <a:gd name="connsiteX9" fmla="*/ 14995 w 22304"/>
                <a:gd name="connsiteY9" fmla="*/ 14785 h 16960"/>
                <a:gd name="connsiteX0" fmla="*/ 4070 w 22304"/>
                <a:gd name="connsiteY0" fmla="*/ 16960 h 16960"/>
                <a:gd name="connsiteX1" fmla="*/ 0 w 22304"/>
                <a:gd name="connsiteY1" fmla="*/ 15679 h 16960"/>
                <a:gd name="connsiteX2" fmla="*/ 4154 w 22304"/>
                <a:gd name="connsiteY2" fmla="*/ 14835 h 16960"/>
                <a:gd name="connsiteX3" fmla="*/ 319 w 22304"/>
                <a:gd name="connsiteY3" fmla="*/ 11030 h 16960"/>
                <a:gd name="connsiteX4" fmla="*/ 6112 w 22304"/>
                <a:gd name="connsiteY4" fmla="*/ 13390 h 16960"/>
                <a:gd name="connsiteX5" fmla="*/ 854 w 22304"/>
                <a:gd name="connsiteY5" fmla="*/ 2243 h 16960"/>
                <a:gd name="connsiteX6" fmla="*/ 12440 w 22304"/>
                <a:gd name="connsiteY6" fmla="*/ 0 h 16960"/>
                <a:gd name="connsiteX7" fmla="*/ 12364 w 22304"/>
                <a:gd name="connsiteY7" fmla="*/ 13920 h 16960"/>
                <a:gd name="connsiteX8" fmla="*/ 22304 w 22304"/>
                <a:gd name="connsiteY8" fmla="*/ 6071 h 16960"/>
                <a:gd name="connsiteX9" fmla="*/ 14995 w 22304"/>
                <a:gd name="connsiteY9" fmla="*/ 14785 h 16960"/>
                <a:gd name="connsiteX0" fmla="*/ 4070 w 22304"/>
                <a:gd name="connsiteY0" fmla="*/ 16960 h 16960"/>
                <a:gd name="connsiteX1" fmla="*/ 0 w 22304"/>
                <a:gd name="connsiteY1" fmla="*/ 15679 h 16960"/>
                <a:gd name="connsiteX2" fmla="*/ 4154 w 22304"/>
                <a:gd name="connsiteY2" fmla="*/ 14835 h 16960"/>
                <a:gd name="connsiteX3" fmla="*/ 319 w 22304"/>
                <a:gd name="connsiteY3" fmla="*/ 11030 h 16960"/>
                <a:gd name="connsiteX4" fmla="*/ 6112 w 22304"/>
                <a:gd name="connsiteY4" fmla="*/ 13390 h 16960"/>
                <a:gd name="connsiteX5" fmla="*/ 854 w 22304"/>
                <a:gd name="connsiteY5" fmla="*/ 2243 h 16960"/>
                <a:gd name="connsiteX6" fmla="*/ 8175 w 22304"/>
                <a:gd name="connsiteY6" fmla="*/ 679 h 16960"/>
                <a:gd name="connsiteX7" fmla="*/ 12440 w 22304"/>
                <a:gd name="connsiteY7" fmla="*/ 0 h 16960"/>
                <a:gd name="connsiteX8" fmla="*/ 12364 w 22304"/>
                <a:gd name="connsiteY8" fmla="*/ 13920 h 16960"/>
                <a:gd name="connsiteX9" fmla="*/ 22304 w 22304"/>
                <a:gd name="connsiteY9" fmla="*/ 6071 h 16960"/>
                <a:gd name="connsiteX10" fmla="*/ 14995 w 22304"/>
                <a:gd name="connsiteY10" fmla="*/ 14785 h 16960"/>
                <a:gd name="connsiteX0" fmla="*/ 4070 w 22304"/>
                <a:gd name="connsiteY0" fmla="*/ 16960 h 16960"/>
                <a:gd name="connsiteX1" fmla="*/ 0 w 22304"/>
                <a:gd name="connsiteY1" fmla="*/ 15679 h 16960"/>
                <a:gd name="connsiteX2" fmla="*/ 4154 w 22304"/>
                <a:gd name="connsiteY2" fmla="*/ 14835 h 16960"/>
                <a:gd name="connsiteX3" fmla="*/ 319 w 22304"/>
                <a:gd name="connsiteY3" fmla="*/ 11030 h 16960"/>
                <a:gd name="connsiteX4" fmla="*/ 6112 w 22304"/>
                <a:gd name="connsiteY4" fmla="*/ 13390 h 16960"/>
                <a:gd name="connsiteX5" fmla="*/ 854 w 22304"/>
                <a:gd name="connsiteY5" fmla="*/ 2243 h 16960"/>
                <a:gd name="connsiteX6" fmla="*/ 9519 w 22304"/>
                <a:gd name="connsiteY6" fmla="*/ 13321 h 16960"/>
                <a:gd name="connsiteX7" fmla="*/ 12440 w 22304"/>
                <a:gd name="connsiteY7" fmla="*/ 0 h 16960"/>
                <a:gd name="connsiteX8" fmla="*/ 12364 w 22304"/>
                <a:gd name="connsiteY8" fmla="*/ 13920 h 16960"/>
                <a:gd name="connsiteX9" fmla="*/ 22304 w 22304"/>
                <a:gd name="connsiteY9" fmla="*/ 6071 h 16960"/>
                <a:gd name="connsiteX10" fmla="*/ 14995 w 22304"/>
                <a:gd name="connsiteY10" fmla="*/ 14785 h 16960"/>
                <a:gd name="connsiteX0" fmla="*/ 4070 w 22304"/>
                <a:gd name="connsiteY0" fmla="*/ 16960 h 16960"/>
                <a:gd name="connsiteX1" fmla="*/ 0 w 22304"/>
                <a:gd name="connsiteY1" fmla="*/ 15679 h 16960"/>
                <a:gd name="connsiteX2" fmla="*/ 4154 w 22304"/>
                <a:gd name="connsiteY2" fmla="*/ 14835 h 16960"/>
                <a:gd name="connsiteX3" fmla="*/ 319 w 22304"/>
                <a:gd name="connsiteY3" fmla="*/ 11030 h 16960"/>
                <a:gd name="connsiteX4" fmla="*/ 6112 w 22304"/>
                <a:gd name="connsiteY4" fmla="*/ 13390 h 16960"/>
                <a:gd name="connsiteX5" fmla="*/ 3092 w 22304"/>
                <a:gd name="connsiteY5" fmla="*/ 6273 h 16960"/>
                <a:gd name="connsiteX6" fmla="*/ 9519 w 22304"/>
                <a:gd name="connsiteY6" fmla="*/ 13321 h 16960"/>
                <a:gd name="connsiteX7" fmla="*/ 12440 w 22304"/>
                <a:gd name="connsiteY7" fmla="*/ 0 h 16960"/>
                <a:gd name="connsiteX8" fmla="*/ 12364 w 22304"/>
                <a:gd name="connsiteY8" fmla="*/ 13920 h 16960"/>
                <a:gd name="connsiteX9" fmla="*/ 22304 w 22304"/>
                <a:gd name="connsiteY9" fmla="*/ 6071 h 16960"/>
                <a:gd name="connsiteX10" fmla="*/ 14995 w 22304"/>
                <a:gd name="connsiteY10" fmla="*/ 14785 h 16960"/>
                <a:gd name="connsiteX0" fmla="*/ 9478 w 27712"/>
                <a:gd name="connsiteY0" fmla="*/ 16960 h 16960"/>
                <a:gd name="connsiteX1" fmla="*/ 0 w 27712"/>
                <a:gd name="connsiteY1" fmla="*/ 16787 h 16960"/>
                <a:gd name="connsiteX2" fmla="*/ 9562 w 27712"/>
                <a:gd name="connsiteY2" fmla="*/ 14835 h 16960"/>
                <a:gd name="connsiteX3" fmla="*/ 5727 w 27712"/>
                <a:gd name="connsiteY3" fmla="*/ 11030 h 16960"/>
                <a:gd name="connsiteX4" fmla="*/ 11520 w 27712"/>
                <a:gd name="connsiteY4" fmla="*/ 13390 h 16960"/>
                <a:gd name="connsiteX5" fmla="*/ 8500 w 27712"/>
                <a:gd name="connsiteY5" fmla="*/ 6273 h 16960"/>
                <a:gd name="connsiteX6" fmla="*/ 14927 w 27712"/>
                <a:gd name="connsiteY6" fmla="*/ 13321 h 16960"/>
                <a:gd name="connsiteX7" fmla="*/ 17848 w 27712"/>
                <a:gd name="connsiteY7" fmla="*/ 0 h 16960"/>
                <a:gd name="connsiteX8" fmla="*/ 17772 w 27712"/>
                <a:gd name="connsiteY8" fmla="*/ 13920 h 16960"/>
                <a:gd name="connsiteX9" fmla="*/ 27712 w 27712"/>
                <a:gd name="connsiteY9" fmla="*/ 6071 h 16960"/>
                <a:gd name="connsiteX10" fmla="*/ 20403 w 27712"/>
                <a:gd name="connsiteY10" fmla="*/ 14785 h 16960"/>
                <a:gd name="connsiteX0" fmla="*/ 9786 w 27712"/>
                <a:gd name="connsiteY0" fmla="*/ 17982 h 17982"/>
                <a:gd name="connsiteX1" fmla="*/ 0 w 27712"/>
                <a:gd name="connsiteY1" fmla="*/ 16787 h 17982"/>
                <a:gd name="connsiteX2" fmla="*/ 9562 w 27712"/>
                <a:gd name="connsiteY2" fmla="*/ 14835 h 17982"/>
                <a:gd name="connsiteX3" fmla="*/ 5727 w 27712"/>
                <a:gd name="connsiteY3" fmla="*/ 11030 h 17982"/>
                <a:gd name="connsiteX4" fmla="*/ 11520 w 27712"/>
                <a:gd name="connsiteY4" fmla="*/ 13390 h 17982"/>
                <a:gd name="connsiteX5" fmla="*/ 8500 w 27712"/>
                <a:gd name="connsiteY5" fmla="*/ 6273 h 17982"/>
                <a:gd name="connsiteX6" fmla="*/ 14927 w 27712"/>
                <a:gd name="connsiteY6" fmla="*/ 13321 h 17982"/>
                <a:gd name="connsiteX7" fmla="*/ 17848 w 27712"/>
                <a:gd name="connsiteY7" fmla="*/ 0 h 17982"/>
                <a:gd name="connsiteX8" fmla="*/ 17772 w 27712"/>
                <a:gd name="connsiteY8" fmla="*/ 13920 h 17982"/>
                <a:gd name="connsiteX9" fmla="*/ 27712 w 27712"/>
                <a:gd name="connsiteY9" fmla="*/ 6071 h 17982"/>
                <a:gd name="connsiteX10" fmla="*/ 20403 w 27712"/>
                <a:gd name="connsiteY10" fmla="*/ 14785 h 17982"/>
                <a:gd name="connsiteX0" fmla="*/ 9786 w 27712"/>
                <a:gd name="connsiteY0" fmla="*/ 17982 h 17982"/>
                <a:gd name="connsiteX1" fmla="*/ 0 w 27712"/>
                <a:gd name="connsiteY1" fmla="*/ 16787 h 17982"/>
                <a:gd name="connsiteX2" fmla="*/ 11400 w 27712"/>
                <a:gd name="connsiteY2" fmla="*/ 15492 h 17982"/>
                <a:gd name="connsiteX3" fmla="*/ 5727 w 27712"/>
                <a:gd name="connsiteY3" fmla="*/ 11030 h 17982"/>
                <a:gd name="connsiteX4" fmla="*/ 11520 w 27712"/>
                <a:gd name="connsiteY4" fmla="*/ 13390 h 17982"/>
                <a:gd name="connsiteX5" fmla="*/ 8500 w 27712"/>
                <a:gd name="connsiteY5" fmla="*/ 6273 h 17982"/>
                <a:gd name="connsiteX6" fmla="*/ 14927 w 27712"/>
                <a:gd name="connsiteY6" fmla="*/ 13321 h 17982"/>
                <a:gd name="connsiteX7" fmla="*/ 17848 w 27712"/>
                <a:gd name="connsiteY7" fmla="*/ 0 h 17982"/>
                <a:gd name="connsiteX8" fmla="*/ 17772 w 27712"/>
                <a:gd name="connsiteY8" fmla="*/ 13920 h 17982"/>
                <a:gd name="connsiteX9" fmla="*/ 27712 w 27712"/>
                <a:gd name="connsiteY9" fmla="*/ 6071 h 17982"/>
                <a:gd name="connsiteX10" fmla="*/ 20403 w 27712"/>
                <a:gd name="connsiteY10" fmla="*/ 14785 h 17982"/>
                <a:gd name="connsiteX0" fmla="*/ 9786 w 27712"/>
                <a:gd name="connsiteY0" fmla="*/ 17982 h 17982"/>
                <a:gd name="connsiteX1" fmla="*/ 0 w 27712"/>
                <a:gd name="connsiteY1" fmla="*/ 16787 h 17982"/>
                <a:gd name="connsiteX2" fmla="*/ 11400 w 27712"/>
                <a:gd name="connsiteY2" fmla="*/ 15492 h 17982"/>
                <a:gd name="connsiteX3" fmla="*/ 5307 w 27712"/>
                <a:gd name="connsiteY3" fmla="*/ 11678 h 17982"/>
                <a:gd name="connsiteX4" fmla="*/ 11520 w 27712"/>
                <a:gd name="connsiteY4" fmla="*/ 13390 h 17982"/>
                <a:gd name="connsiteX5" fmla="*/ 8500 w 27712"/>
                <a:gd name="connsiteY5" fmla="*/ 6273 h 17982"/>
                <a:gd name="connsiteX6" fmla="*/ 14927 w 27712"/>
                <a:gd name="connsiteY6" fmla="*/ 13321 h 17982"/>
                <a:gd name="connsiteX7" fmla="*/ 17848 w 27712"/>
                <a:gd name="connsiteY7" fmla="*/ 0 h 17982"/>
                <a:gd name="connsiteX8" fmla="*/ 17772 w 27712"/>
                <a:gd name="connsiteY8" fmla="*/ 13920 h 17982"/>
                <a:gd name="connsiteX9" fmla="*/ 27712 w 27712"/>
                <a:gd name="connsiteY9" fmla="*/ 6071 h 17982"/>
                <a:gd name="connsiteX10" fmla="*/ 20403 w 27712"/>
                <a:gd name="connsiteY10" fmla="*/ 14785 h 17982"/>
                <a:gd name="connsiteX0" fmla="*/ 9786 w 27712"/>
                <a:gd name="connsiteY0" fmla="*/ 17982 h 17982"/>
                <a:gd name="connsiteX1" fmla="*/ 0 w 27712"/>
                <a:gd name="connsiteY1" fmla="*/ 16787 h 17982"/>
                <a:gd name="connsiteX2" fmla="*/ 11400 w 27712"/>
                <a:gd name="connsiteY2" fmla="*/ 15492 h 17982"/>
                <a:gd name="connsiteX3" fmla="*/ 5307 w 27712"/>
                <a:gd name="connsiteY3" fmla="*/ 11678 h 17982"/>
                <a:gd name="connsiteX4" fmla="*/ 11520 w 27712"/>
                <a:gd name="connsiteY4" fmla="*/ 13390 h 17982"/>
                <a:gd name="connsiteX5" fmla="*/ 7403 w 27712"/>
                <a:gd name="connsiteY5" fmla="*/ 6717 h 17982"/>
                <a:gd name="connsiteX6" fmla="*/ 14927 w 27712"/>
                <a:gd name="connsiteY6" fmla="*/ 13321 h 17982"/>
                <a:gd name="connsiteX7" fmla="*/ 17848 w 27712"/>
                <a:gd name="connsiteY7" fmla="*/ 0 h 17982"/>
                <a:gd name="connsiteX8" fmla="*/ 17772 w 27712"/>
                <a:gd name="connsiteY8" fmla="*/ 13920 h 17982"/>
                <a:gd name="connsiteX9" fmla="*/ 27712 w 27712"/>
                <a:gd name="connsiteY9" fmla="*/ 6071 h 17982"/>
                <a:gd name="connsiteX10" fmla="*/ 20403 w 27712"/>
                <a:gd name="connsiteY10" fmla="*/ 14785 h 17982"/>
                <a:gd name="connsiteX0" fmla="*/ 9786 w 27712"/>
                <a:gd name="connsiteY0" fmla="*/ 16653 h 16653"/>
                <a:gd name="connsiteX1" fmla="*/ 0 w 27712"/>
                <a:gd name="connsiteY1" fmla="*/ 15458 h 16653"/>
                <a:gd name="connsiteX2" fmla="*/ 11400 w 27712"/>
                <a:gd name="connsiteY2" fmla="*/ 14163 h 16653"/>
                <a:gd name="connsiteX3" fmla="*/ 5307 w 27712"/>
                <a:gd name="connsiteY3" fmla="*/ 10349 h 16653"/>
                <a:gd name="connsiteX4" fmla="*/ 11520 w 27712"/>
                <a:gd name="connsiteY4" fmla="*/ 12061 h 16653"/>
                <a:gd name="connsiteX5" fmla="*/ 7403 w 27712"/>
                <a:gd name="connsiteY5" fmla="*/ 5388 h 16653"/>
                <a:gd name="connsiteX6" fmla="*/ 14927 w 27712"/>
                <a:gd name="connsiteY6" fmla="*/ 11992 h 16653"/>
                <a:gd name="connsiteX7" fmla="*/ 17633 w 27712"/>
                <a:gd name="connsiteY7" fmla="*/ 0 h 16653"/>
                <a:gd name="connsiteX8" fmla="*/ 17772 w 27712"/>
                <a:gd name="connsiteY8" fmla="*/ 12591 h 16653"/>
                <a:gd name="connsiteX9" fmla="*/ 27712 w 27712"/>
                <a:gd name="connsiteY9" fmla="*/ 4742 h 16653"/>
                <a:gd name="connsiteX10" fmla="*/ 20403 w 27712"/>
                <a:gd name="connsiteY10" fmla="*/ 13456 h 16653"/>
                <a:gd name="connsiteX0" fmla="*/ 9786 w 27712"/>
                <a:gd name="connsiteY0" fmla="*/ 16653 h 16653"/>
                <a:gd name="connsiteX1" fmla="*/ 0 w 27712"/>
                <a:gd name="connsiteY1" fmla="*/ 15458 h 16653"/>
                <a:gd name="connsiteX2" fmla="*/ 11400 w 27712"/>
                <a:gd name="connsiteY2" fmla="*/ 14163 h 16653"/>
                <a:gd name="connsiteX3" fmla="*/ 2906 w 27712"/>
                <a:gd name="connsiteY3" fmla="*/ 8731 h 16653"/>
                <a:gd name="connsiteX4" fmla="*/ 11520 w 27712"/>
                <a:gd name="connsiteY4" fmla="*/ 12061 h 16653"/>
                <a:gd name="connsiteX5" fmla="*/ 7403 w 27712"/>
                <a:gd name="connsiteY5" fmla="*/ 5388 h 16653"/>
                <a:gd name="connsiteX6" fmla="*/ 14927 w 27712"/>
                <a:gd name="connsiteY6" fmla="*/ 11992 h 16653"/>
                <a:gd name="connsiteX7" fmla="*/ 17633 w 27712"/>
                <a:gd name="connsiteY7" fmla="*/ 0 h 16653"/>
                <a:gd name="connsiteX8" fmla="*/ 17772 w 27712"/>
                <a:gd name="connsiteY8" fmla="*/ 12591 h 16653"/>
                <a:gd name="connsiteX9" fmla="*/ 27712 w 27712"/>
                <a:gd name="connsiteY9" fmla="*/ 4742 h 16653"/>
                <a:gd name="connsiteX10" fmla="*/ 20403 w 27712"/>
                <a:gd name="connsiteY10" fmla="*/ 13456 h 16653"/>
                <a:gd name="connsiteX0" fmla="*/ 9786 w 27712"/>
                <a:gd name="connsiteY0" fmla="*/ 16653 h 16653"/>
                <a:gd name="connsiteX1" fmla="*/ 0 w 27712"/>
                <a:gd name="connsiteY1" fmla="*/ 15458 h 16653"/>
                <a:gd name="connsiteX2" fmla="*/ 9546 w 27712"/>
                <a:gd name="connsiteY2" fmla="*/ 14362 h 16653"/>
                <a:gd name="connsiteX3" fmla="*/ 2906 w 27712"/>
                <a:gd name="connsiteY3" fmla="*/ 8731 h 16653"/>
                <a:gd name="connsiteX4" fmla="*/ 11520 w 27712"/>
                <a:gd name="connsiteY4" fmla="*/ 12061 h 16653"/>
                <a:gd name="connsiteX5" fmla="*/ 7403 w 27712"/>
                <a:gd name="connsiteY5" fmla="*/ 5388 h 16653"/>
                <a:gd name="connsiteX6" fmla="*/ 14927 w 27712"/>
                <a:gd name="connsiteY6" fmla="*/ 11992 h 16653"/>
                <a:gd name="connsiteX7" fmla="*/ 17633 w 27712"/>
                <a:gd name="connsiteY7" fmla="*/ 0 h 16653"/>
                <a:gd name="connsiteX8" fmla="*/ 17772 w 27712"/>
                <a:gd name="connsiteY8" fmla="*/ 12591 h 16653"/>
                <a:gd name="connsiteX9" fmla="*/ 27712 w 27712"/>
                <a:gd name="connsiteY9" fmla="*/ 4742 h 16653"/>
                <a:gd name="connsiteX10" fmla="*/ 20403 w 27712"/>
                <a:gd name="connsiteY10" fmla="*/ 13456 h 16653"/>
                <a:gd name="connsiteX0" fmla="*/ 9786 w 27712"/>
                <a:gd name="connsiteY0" fmla="*/ 16653 h 16653"/>
                <a:gd name="connsiteX1" fmla="*/ 0 w 27712"/>
                <a:gd name="connsiteY1" fmla="*/ 15458 h 16653"/>
                <a:gd name="connsiteX2" fmla="*/ 9546 w 27712"/>
                <a:gd name="connsiteY2" fmla="*/ 14362 h 16653"/>
                <a:gd name="connsiteX3" fmla="*/ 2906 w 27712"/>
                <a:gd name="connsiteY3" fmla="*/ 8731 h 16653"/>
                <a:gd name="connsiteX4" fmla="*/ 11520 w 27712"/>
                <a:gd name="connsiteY4" fmla="*/ 12061 h 16653"/>
                <a:gd name="connsiteX5" fmla="*/ 7858 w 27712"/>
                <a:gd name="connsiteY5" fmla="*/ 2358 h 16653"/>
                <a:gd name="connsiteX6" fmla="*/ 14927 w 27712"/>
                <a:gd name="connsiteY6" fmla="*/ 11992 h 16653"/>
                <a:gd name="connsiteX7" fmla="*/ 17633 w 27712"/>
                <a:gd name="connsiteY7" fmla="*/ 0 h 16653"/>
                <a:gd name="connsiteX8" fmla="*/ 17772 w 27712"/>
                <a:gd name="connsiteY8" fmla="*/ 12591 h 16653"/>
                <a:gd name="connsiteX9" fmla="*/ 27712 w 27712"/>
                <a:gd name="connsiteY9" fmla="*/ 4742 h 16653"/>
                <a:gd name="connsiteX10" fmla="*/ 20403 w 27712"/>
                <a:gd name="connsiteY10" fmla="*/ 13456 h 16653"/>
                <a:gd name="connsiteX0" fmla="*/ 9786 w 29652"/>
                <a:gd name="connsiteY0" fmla="*/ 16653 h 16653"/>
                <a:gd name="connsiteX1" fmla="*/ 0 w 29652"/>
                <a:gd name="connsiteY1" fmla="*/ 15458 h 16653"/>
                <a:gd name="connsiteX2" fmla="*/ 9546 w 29652"/>
                <a:gd name="connsiteY2" fmla="*/ 14362 h 16653"/>
                <a:gd name="connsiteX3" fmla="*/ 2906 w 29652"/>
                <a:gd name="connsiteY3" fmla="*/ 8731 h 16653"/>
                <a:gd name="connsiteX4" fmla="*/ 11520 w 29652"/>
                <a:gd name="connsiteY4" fmla="*/ 12061 h 16653"/>
                <a:gd name="connsiteX5" fmla="*/ 7858 w 29652"/>
                <a:gd name="connsiteY5" fmla="*/ 2358 h 16653"/>
                <a:gd name="connsiteX6" fmla="*/ 14927 w 29652"/>
                <a:gd name="connsiteY6" fmla="*/ 11992 h 16653"/>
                <a:gd name="connsiteX7" fmla="*/ 17633 w 29652"/>
                <a:gd name="connsiteY7" fmla="*/ 0 h 16653"/>
                <a:gd name="connsiteX8" fmla="*/ 17772 w 29652"/>
                <a:gd name="connsiteY8" fmla="*/ 12591 h 16653"/>
                <a:gd name="connsiteX9" fmla="*/ 29652 w 29652"/>
                <a:gd name="connsiteY9" fmla="*/ 5739 h 16653"/>
                <a:gd name="connsiteX10" fmla="*/ 20403 w 29652"/>
                <a:gd name="connsiteY10" fmla="*/ 13456 h 16653"/>
                <a:gd name="connsiteX0" fmla="*/ 9786 w 29652"/>
                <a:gd name="connsiteY0" fmla="*/ 16641 h 16641"/>
                <a:gd name="connsiteX1" fmla="*/ 0 w 29652"/>
                <a:gd name="connsiteY1" fmla="*/ 15446 h 16641"/>
                <a:gd name="connsiteX2" fmla="*/ 9546 w 29652"/>
                <a:gd name="connsiteY2" fmla="*/ 14350 h 16641"/>
                <a:gd name="connsiteX3" fmla="*/ 2906 w 29652"/>
                <a:gd name="connsiteY3" fmla="*/ 8719 h 16641"/>
                <a:gd name="connsiteX4" fmla="*/ 11520 w 29652"/>
                <a:gd name="connsiteY4" fmla="*/ 12049 h 16641"/>
                <a:gd name="connsiteX5" fmla="*/ 7858 w 29652"/>
                <a:gd name="connsiteY5" fmla="*/ 2346 h 16641"/>
                <a:gd name="connsiteX6" fmla="*/ 14927 w 29652"/>
                <a:gd name="connsiteY6" fmla="*/ 11980 h 16641"/>
                <a:gd name="connsiteX7" fmla="*/ 20644 w 29652"/>
                <a:gd name="connsiteY7" fmla="*/ 0 h 16641"/>
                <a:gd name="connsiteX8" fmla="*/ 17772 w 29652"/>
                <a:gd name="connsiteY8" fmla="*/ 12579 h 16641"/>
                <a:gd name="connsiteX9" fmla="*/ 29652 w 29652"/>
                <a:gd name="connsiteY9" fmla="*/ 5727 h 16641"/>
                <a:gd name="connsiteX10" fmla="*/ 20403 w 29652"/>
                <a:gd name="connsiteY10" fmla="*/ 13444 h 16641"/>
                <a:gd name="connsiteX0" fmla="*/ 9786 w 29652"/>
                <a:gd name="connsiteY0" fmla="*/ 16641 h 16641"/>
                <a:gd name="connsiteX1" fmla="*/ 0 w 29652"/>
                <a:gd name="connsiteY1" fmla="*/ 15446 h 16641"/>
                <a:gd name="connsiteX2" fmla="*/ 9546 w 29652"/>
                <a:gd name="connsiteY2" fmla="*/ 14350 h 16641"/>
                <a:gd name="connsiteX3" fmla="*/ 2906 w 29652"/>
                <a:gd name="connsiteY3" fmla="*/ 8719 h 16641"/>
                <a:gd name="connsiteX4" fmla="*/ 11520 w 29652"/>
                <a:gd name="connsiteY4" fmla="*/ 12049 h 16641"/>
                <a:gd name="connsiteX5" fmla="*/ 8587 w 29652"/>
                <a:gd name="connsiteY5" fmla="*/ 225 h 16641"/>
                <a:gd name="connsiteX6" fmla="*/ 14927 w 29652"/>
                <a:gd name="connsiteY6" fmla="*/ 11980 h 16641"/>
                <a:gd name="connsiteX7" fmla="*/ 20644 w 29652"/>
                <a:gd name="connsiteY7" fmla="*/ 0 h 16641"/>
                <a:gd name="connsiteX8" fmla="*/ 17772 w 29652"/>
                <a:gd name="connsiteY8" fmla="*/ 12579 h 16641"/>
                <a:gd name="connsiteX9" fmla="*/ 29652 w 29652"/>
                <a:gd name="connsiteY9" fmla="*/ 5727 h 16641"/>
                <a:gd name="connsiteX10" fmla="*/ 20403 w 29652"/>
                <a:gd name="connsiteY10" fmla="*/ 13444 h 16641"/>
                <a:gd name="connsiteX0" fmla="*/ 9786 w 29652"/>
                <a:gd name="connsiteY0" fmla="*/ 16641 h 16641"/>
                <a:gd name="connsiteX1" fmla="*/ 0 w 29652"/>
                <a:gd name="connsiteY1" fmla="*/ 15446 h 16641"/>
                <a:gd name="connsiteX2" fmla="*/ 9546 w 29652"/>
                <a:gd name="connsiteY2" fmla="*/ 14350 h 16641"/>
                <a:gd name="connsiteX3" fmla="*/ 2683 w 29652"/>
                <a:gd name="connsiteY3" fmla="*/ 7068 h 16641"/>
                <a:gd name="connsiteX4" fmla="*/ 11520 w 29652"/>
                <a:gd name="connsiteY4" fmla="*/ 12049 h 16641"/>
                <a:gd name="connsiteX5" fmla="*/ 8587 w 29652"/>
                <a:gd name="connsiteY5" fmla="*/ 225 h 16641"/>
                <a:gd name="connsiteX6" fmla="*/ 14927 w 29652"/>
                <a:gd name="connsiteY6" fmla="*/ 11980 h 16641"/>
                <a:gd name="connsiteX7" fmla="*/ 20644 w 29652"/>
                <a:gd name="connsiteY7" fmla="*/ 0 h 16641"/>
                <a:gd name="connsiteX8" fmla="*/ 17772 w 29652"/>
                <a:gd name="connsiteY8" fmla="*/ 12579 h 16641"/>
                <a:gd name="connsiteX9" fmla="*/ 29652 w 29652"/>
                <a:gd name="connsiteY9" fmla="*/ 5727 h 16641"/>
                <a:gd name="connsiteX10" fmla="*/ 20403 w 29652"/>
                <a:gd name="connsiteY10" fmla="*/ 13444 h 16641"/>
                <a:gd name="connsiteX0" fmla="*/ 10519 w 30385"/>
                <a:gd name="connsiteY0" fmla="*/ 16641 h 16641"/>
                <a:gd name="connsiteX1" fmla="*/ 0 w 30385"/>
                <a:gd name="connsiteY1" fmla="*/ 13917 h 16641"/>
                <a:gd name="connsiteX2" fmla="*/ 10279 w 30385"/>
                <a:gd name="connsiteY2" fmla="*/ 14350 h 16641"/>
                <a:gd name="connsiteX3" fmla="*/ 3416 w 30385"/>
                <a:gd name="connsiteY3" fmla="*/ 7068 h 16641"/>
                <a:gd name="connsiteX4" fmla="*/ 12253 w 30385"/>
                <a:gd name="connsiteY4" fmla="*/ 12049 h 16641"/>
                <a:gd name="connsiteX5" fmla="*/ 9320 w 30385"/>
                <a:gd name="connsiteY5" fmla="*/ 225 h 16641"/>
                <a:gd name="connsiteX6" fmla="*/ 15660 w 30385"/>
                <a:gd name="connsiteY6" fmla="*/ 11980 h 16641"/>
                <a:gd name="connsiteX7" fmla="*/ 21377 w 30385"/>
                <a:gd name="connsiteY7" fmla="*/ 0 h 16641"/>
                <a:gd name="connsiteX8" fmla="*/ 18505 w 30385"/>
                <a:gd name="connsiteY8" fmla="*/ 12579 h 16641"/>
                <a:gd name="connsiteX9" fmla="*/ 30385 w 30385"/>
                <a:gd name="connsiteY9" fmla="*/ 5727 h 16641"/>
                <a:gd name="connsiteX10" fmla="*/ 21136 w 30385"/>
                <a:gd name="connsiteY10" fmla="*/ 13444 h 16641"/>
                <a:gd name="connsiteX0" fmla="*/ 12367 w 32233"/>
                <a:gd name="connsiteY0" fmla="*/ 16641 h 16641"/>
                <a:gd name="connsiteX1" fmla="*/ 0 w 32233"/>
                <a:gd name="connsiteY1" fmla="*/ 15271 h 16641"/>
                <a:gd name="connsiteX2" fmla="*/ 12127 w 32233"/>
                <a:gd name="connsiteY2" fmla="*/ 14350 h 16641"/>
                <a:gd name="connsiteX3" fmla="*/ 5264 w 32233"/>
                <a:gd name="connsiteY3" fmla="*/ 7068 h 16641"/>
                <a:gd name="connsiteX4" fmla="*/ 14101 w 32233"/>
                <a:gd name="connsiteY4" fmla="*/ 12049 h 16641"/>
                <a:gd name="connsiteX5" fmla="*/ 11168 w 32233"/>
                <a:gd name="connsiteY5" fmla="*/ 225 h 16641"/>
                <a:gd name="connsiteX6" fmla="*/ 17508 w 32233"/>
                <a:gd name="connsiteY6" fmla="*/ 11980 h 16641"/>
                <a:gd name="connsiteX7" fmla="*/ 23225 w 32233"/>
                <a:gd name="connsiteY7" fmla="*/ 0 h 16641"/>
                <a:gd name="connsiteX8" fmla="*/ 20353 w 32233"/>
                <a:gd name="connsiteY8" fmla="*/ 12579 h 16641"/>
                <a:gd name="connsiteX9" fmla="*/ 32233 w 32233"/>
                <a:gd name="connsiteY9" fmla="*/ 5727 h 16641"/>
                <a:gd name="connsiteX10" fmla="*/ 22984 w 32233"/>
                <a:gd name="connsiteY10" fmla="*/ 13444 h 16641"/>
                <a:gd name="connsiteX0" fmla="*/ 11793 w 32233"/>
                <a:gd name="connsiteY0" fmla="*/ 16778 h 16778"/>
                <a:gd name="connsiteX1" fmla="*/ 0 w 32233"/>
                <a:gd name="connsiteY1" fmla="*/ 15271 h 16778"/>
                <a:gd name="connsiteX2" fmla="*/ 12127 w 32233"/>
                <a:gd name="connsiteY2" fmla="*/ 14350 h 16778"/>
                <a:gd name="connsiteX3" fmla="*/ 5264 w 32233"/>
                <a:gd name="connsiteY3" fmla="*/ 7068 h 16778"/>
                <a:gd name="connsiteX4" fmla="*/ 14101 w 32233"/>
                <a:gd name="connsiteY4" fmla="*/ 12049 h 16778"/>
                <a:gd name="connsiteX5" fmla="*/ 11168 w 32233"/>
                <a:gd name="connsiteY5" fmla="*/ 225 h 16778"/>
                <a:gd name="connsiteX6" fmla="*/ 17508 w 32233"/>
                <a:gd name="connsiteY6" fmla="*/ 11980 h 16778"/>
                <a:gd name="connsiteX7" fmla="*/ 23225 w 32233"/>
                <a:gd name="connsiteY7" fmla="*/ 0 h 16778"/>
                <a:gd name="connsiteX8" fmla="*/ 20353 w 32233"/>
                <a:gd name="connsiteY8" fmla="*/ 12579 h 16778"/>
                <a:gd name="connsiteX9" fmla="*/ 32233 w 32233"/>
                <a:gd name="connsiteY9" fmla="*/ 5727 h 16778"/>
                <a:gd name="connsiteX10" fmla="*/ 22984 w 32233"/>
                <a:gd name="connsiteY10" fmla="*/ 13444 h 16778"/>
                <a:gd name="connsiteX0" fmla="*/ 11793 w 32233"/>
                <a:gd name="connsiteY0" fmla="*/ 16778 h 16778"/>
                <a:gd name="connsiteX1" fmla="*/ 0 w 32233"/>
                <a:gd name="connsiteY1" fmla="*/ 15271 h 16778"/>
                <a:gd name="connsiteX2" fmla="*/ 12127 w 32233"/>
                <a:gd name="connsiteY2" fmla="*/ 14350 h 16778"/>
                <a:gd name="connsiteX3" fmla="*/ 3963 w 32233"/>
                <a:gd name="connsiteY3" fmla="*/ 6831 h 16778"/>
                <a:gd name="connsiteX4" fmla="*/ 14101 w 32233"/>
                <a:gd name="connsiteY4" fmla="*/ 12049 h 16778"/>
                <a:gd name="connsiteX5" fmla="*/ 11168 w 32233"/>
                <a:gd name="connsiteY5" fmla="*/ 225 h 16778"/>
                <a:gd name="connsiteX6" fmla="*/ 17508 w 32233"/>
                <a:gd name="connsiteY6" fmla="*/ 11980 h 16778"/>
                <a:gd name="connsiteX7" fmla="*/ 23225 w 32233"/>
                <a:gd name="connsiteY7" fmla="*/ 0 h 16778"/>
                <a:gd name="connsiteX8" fmla="*/ 20353 w 32233"/>
                <a:gd name="connsiteY8" fmla="*/ 12579 h 16778"/>
                <a:gd name="connsiteX9" fmla="*/ 32233 w 32233"/>
                <a:gd name="connsiteY9" fmla="*/ 5727 h 16778"/>
                <a:gd name="connsiteX10" fmla="*/ 22984 w 32233"/>
                <a:gd name="connsiteY10" fmla="*/ 13444 h 16778"/>
                <a:gd name="connsiteX0" fmla="*/ 11793 w 32233"/>
                <a:gd name="connsiteY0" fmla="*/ 18189 h 18189"/>
                <a:gd name="connsiteX1" fmla="*/ 0 w 32233"/>
                <a:gd name="connsiteY1" fmla="*/ 16682 h 18189"/>
                <a:gd name="connsiteX2" fmla="*/ 12127 w 32233"/>
                <a:gd name="connsiteY2" fmla="*/ 15761 h 18189"/>
                <a:gd name="connsiteX3" fmla="*/ 3963 w 32233"/>
                <a:gd name="connsiteY3" fmla="*/ 8242 h 18189"/>
                <a:gd name="connsiteX4" fmla="*/ 14101 w 32233"/>
                <a:gd name="connsiteY4" fmla="*/ 13460 h 18189"/>
                <a:gd name="connsiteX5" fmla="*/ 11906 w 32233"/>
                <a:gd name="connsiteY5" fmla="*/ 0 h 18189"/>
                <a:gd name="connsiteX6" fmla="*/ 17508 w 32233"/>
                <a:gd name="connsiteY6" fmla="*/ 13391 h 18189"/>
                <a:gd name="connsiteX7" fmla="*/ 23225 w 32233"/>
                <a:gd name="connsiteY7" fmla="*/ 1411 h 18189"/>
                <a:gd name="connsiteX8" fmla="*/ 20353 w 32233"/>
                <a:gd name="connsiteY8" fmla="*/ 13990 h 18189"/>
                <a:gd name="connsiteX9" fmla="*/ 32233 w 32233"/>
                <a:gd name="connsiteY9" fmla="*/ 7138 h 18189"/>
                <a:gd name="connsiteX10" fmla="*/ 22984 w 32233"/>
                <a:gd name="connsiteY10" fmla="*/ 14855 h 18189"/>
                <a:gd name="connsiteX0" fmla="*/ 11793 w 32233"/>
                <a:gd name="connsiteY0" fmla="*/ 18189 h 18189"/>
                <a:gd name="connsiteX1" fmla="*/ 0 w 32233"/>
                <a:gd name="connsiteY1" fmla="*/ 16682 h 18189"/>
                <a:gd name="connsiteX2" fmla="*/ 12127 w 32233"/>
                <a:gd name="connsiteY2" fmla="*/ 15761 h 18189"/>
                <a:gd name="connsiteX3" fmla="*/ 3963 w 32233"/>
                <a:gd name="connsiteY3" fmla="*/ 8242 h 18189"/>
                <a:gd name="connsiteX4" fmla="*/ 14101 w 32233"/>
                <a:gd name="connsiteY4" fmla="*/ 13460 h 18189"/>
                <a:gd name="connsiteX5" fmla="*/ 11906 w 32233"/>
                <a:gd name="connsiteY5" fmla="*/ 0 h 18189"/>
                <a:gd name="connsiteX6" fmla="*/ 17508 w 32233"/>
                <a:gd name="connsiteY6" fmla="*/ 13391 h 18189"/>
                <a:gd name="connsiteX7" fmla="*/ 22286 w 32233"/>
                <a:gd name="connsiteY7" fmla="*/ 5104 h 18189"/>
                <a:gd name="connsiteX8" fmla="*/ 20353 w 32233"/>
                <a:gd name="connsiteY8" fmla="*/ 13990 h 18189"/>
                <a:gd name="connsiteX9" fmla="*/ 32233 w 32233"/>
                <a:gd name="connsiteY9" fmla="*/ 7138 h 18189"/>
                <a:gd name="connsiteX10" fmla="*/ 22984 w 32233"/>
                <a:gd name="connsiteY10" fmla="*/ 14855 h 18189"/>
                <a:gd name="connsiteX0" fmla="*/ 11793 w 29951"/>
                <a:gd name="connsiteY0" fmla="*/ 18189 h 18189"/>
                <a:gd name="connsiteX1" fmla="*/ 0 w 29951"/>
                <a:gd name="connsiteY1" fmla="*/ 16682 h 18189"/>
                <a:gd name="connsiteX2" fmla="*/ 12127 w 29951"/>
                <a:gd name="connsiteY2" fmla="*/ 15761 h 18189"/>
                <a:gd name="connsiteX3" fmla="*/ 3963 w 29951"/>
                <a:gd name="connsiteY3" fmla="*/ 8242 h 18189"/>
                <a:gd name="connsiteX4" fmla="*/ 14101 w 29951"/>
                <a:gd name="connsiteY4" fmla="*/ 13460 h 18189"/>
                <a:gd name="connsiteX5" fmla="*/ 11906 w 29951"/>
                <a:gd name="connsiteY5" fmla="*/ 0 h 18189"/>
                <a:gd name="connsiteX6" fmla="*/ 17508 w 29951"/>
                <a:gd name="connsiteY6" fmla="*/ 13391 h 18189"/>
                <a:gd name="connsiteX7" fmla="*/ 22286 w 29951"/>
                <a:gd name="connsiteY7" fmla="*/ 5104 h 18189"/>
                <a:gd name="connsiteX8" fmla="*/ 20353 w 29951"/>
                <a:gd name="connsiteY8" fmla="*/ 13990 h 18189"/>
                <a:gd name="connsiteX9" fmla="*/ 29951 w 29951"/>
                <a:gd name="connsiteY9" fmla="*/ 8413 h 18189"/>
                <a:gd name="connsiteX10" fmla="*/ 22984 w 29951"/>
                <a:gd name="connsiteY10" fmla="*/ 14855 h 18189"/>
                <a:gd name="connsiteX0" fmla="*/ 11793 w 29951"/>
                <a:gd name="connsiteY0" fmla="*/ 18189 h 18189"/>
                <a:gd name="connsiteX1" fmla="*/ 0 w 29951"/>
                <a:gd name="connsiteY1" fmla="*/ 16682 h 18189"/>
                <a:gd name="connsiteX2" fmla="*/ 12127 w 29951"/>
                <a:gd name="connsiteY2" fmla="*/ 15761 h 18189"/>
                <a:gd name="connsiteX3" fmla="*/ 7820 w 29951"/>
                <a:gd name="connsiteY3" fmla="*/ 11521 h 18189"/>
                <a:gd name="connsiteX4" fmla="*/ 14101 w 29951"/>
                <a:gd name="connsiteY4" fmla="*/ 13460 h 18189"/>
                <a:gd name="connsiteX5" fmla="*/ 11906 w 29951"/>
                <a:gd name="connsiteY5" fmla="*/ 0 h 18189"/>
                <a:gd name="connsiteX6" fmla="*/ 17508 w 29951"/>
                <a:gd name="connsiteY6" fmla="*/ 13391 h 18189"/>
                <a:gd name="connsiteX7" fmla="*/ 22286 w 29951"/>
                <a:gd name="connsiteY7" fmla="*/ 5104 h 18189"/>
                <a:gd name="connsiteX8" fmla="*/ 20353 w 29951"/>
                <a:gd name="connsiteY8" fmla="*/ 13990 h 18189"/>
                <a:gd name="connsiteX9" fmla="*/ 29951 w 29951"/>
                <a:gd name="connsiteY9" fmla="*/ 8413 h 18189"/>
                <a:gd name="connsiteX10" fmla="*/ 22984 w 29951"/>
                <a:gd name="connsiteY10" fmla="*/ 14855 h 18189"/>
                <a:gd name="connsiteX0" fmla="*/ 7902 w 26060"/>
                <a:gd name="connsiteY0" fmla="*/ 18189 h 18189"/>
                <a:gd name="connsiteX1" fmla="*/ 0 w 26060"/>
                <a:gd name="connsiteY1" fmla="*/ 16667 h 18189"/>
                <a:gd name="connsiteX2" fmla="*/ 8236 w 26060"/>
                <a:gd name="connsiteY2" fmla="*/ 15761 h 18189"/>
                <a:gd name="connsiteX3" fmla="*/ 3929 w 26060"/>
                <a:gd name="connsiteY3" fmla="*/ 11521 h 18189"/>
                <a:gd name="connsiteX4" fmla="*/ 10210 w 26060"/>
                <a:gd name="connsiteY4" fmla="*/ 13460 h 18189"/>
                <a:gd name="connsiteX5" fmla="*/ 8015 w 26060"/>
                <a:gd name="connsiteY5" fmla="*/ 0 h 18189"/>
                <a:gd name="connsiteX6" fmla="*/ 13617 w 26060"/>
                <a:gd name="connsiteY6" fmla="*/ 13391 h 18189"/>
                <a:gd name="connsiteX7" fmla="*/ 18395 w 26060"/>
                <a:gd name="connsiteY7" fmla="*/ 5104 h 18189"/>
                <a:gd name="connsiteX8" fmla="*/ 16462 w 26060"/>
                <a:gd name="connsiteY8" fmla="*/ 13990 h 18189"/>
                <a:gd name="connsiteX9" fmla="*/ 26060 w 26060"/>
                <a:gd name="connsiteY9" fmla="*/ 8413 h 18189"/>
                <a:gd name="connsiteX10" fmla="*/ 19093 w 26060"/>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3929 w 23549"/>
                <a:gd name="connsiteY3" fmla="*/ 11521 h 18189"/>
                <a:gd name="connsiteX4" fmla="*/ 10210 w 23549"/>
                <a:gd name="connsiteY4" fmla="*/ 13460 h 18189"/>
                <a:gd name="connsiteX5" fmla="*/ 8015 w 23549"/>
                <a:gd name="connsiteY5" fmla="*/ 0 h 18189"/>
                <a:gd name="connsiteX6" fmla="*/ 13617 w 23549"/>
                <a:gd name="connsiteY6" fmla="*/ 13391 h 18189"/>
                <a:gd name="connsiteX7" fmla="*/ 18395 w 23549"/>
                <a:gd name="connsiteY7" fmla="*/ 5104 h 18189"/>
                <a:gd name="connsiteX8" fmla="*/ 16462 w 23549"/>
                <a:gd name="connsiteY8" fmla="*/ 13990 h 18189"/>
                <a:gd name="connsiteX9" fmla="*/ 23549 w 23549"/>
                <a:gd name="connsiteY9" fmla="*/ 10290 h 18189"/>
                <a:gd name="connsiteX10" fmla="*/ 19093 w 23549"/>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3929 w 23549"/>
                <a:gd name="connsiteY3" fmla="*/ 11521 h 18189"/>
                <a:gd name="connsiteX4" fmla="*/ 10210 w 23549"/>
                <a:gd name="connsiteY4" fmla="*/ 13460 h 18189"/>
                <a:gd name="connsiteX5" fmla="*/ 8015 w 23549"/>
                <a:gd name="connsiteY5" fmla="*/ 0 h 18189"/>
                <a:gd name="connsiteX6" fmla="*/ 13617 w 23549"/>
                <a:gd name="connsiteY6" fmla="*/ 13391 h 18189"/>
                <a:gd name="connsiteX7" fmla="*/ 18460 w 23549"/>
                <a:gd name="connsiteY7" fmla="*/ 6001 h 18189"/>
                <a:gd name="connsiteX8" fmla="*/ 16462 w 23549"/>
                <a:gd name="connsiteY8" fmla="*/ 13990 h 18189"/>
                <a:gd name="connsiteX9" fmla="*/ 23549 w 23549"/>
                <a:gd name="connsiteY9" fmla="*/ 10290 h 18189"/>
                <a:gd name="connsiteX10" fmla="*/ 19093 w 23549"/>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3929 w 23549"/>
                <a:gd name="connsiteY3" fmla="*/ 11521 h 18189"/>
                <a:gd name="connsiteX4" fmla="*/ 10210 w 23549"/>
                <a:gd name="connsiteY4" fmla="*/ 13460 h 18189"/>
                <a:gd name="connsiteX5" fmla="*/ 8015 w 23549"/>
                <a:gd name="connsiteY5" fmla="*/ 0 h 18189"/>
                <a:gd name="connsiteX6" fmla="*/ 13617 w 23549"/>
                <a:gd name="connsiteY6" fmla="*/ 13391 h 18189"/>
                <a:gd name="connsiteX7" fmla="*/ 18460 w 23549"/>
                <a:gd name="connsiteY7" fmla="*/ 6001 h 18189"/>
                <a:gd name="connsiteX8" fmla="*/ 16462 w 23549"/>
                <a:gd name="connsiteY8" fmla="*/ 13990 h 18189"/>
                <a:gd name="connsiteX9" fmla="*/ 23549 w 23549"/>
                <a:gd name="connsiteY9" fmla="*/ 10290 h 18189"/>
                <a:gd name="connsiteX10" fmla="*/ 19093 w 23549"/>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3929 w 23549"/>
                <a:gd name="connsiteY3" fmla="*/ 11521 h 18189"/>
                <a:gd name="connsiteX4" fmla="*/ 10210 w 23549"/>
                <a:gd name="connsiteY4" fmla="*/ 13460 h 18189"/>
                <a:gd name="connsiteX5" fmla="*/ 8015 w 23549"/>
                <a:gd name="connsiteY5" fmla="*/ 0 h 18189"/>
                <a:gd name="connsiteX6" fmla="*/ 13617 w 23549"/>
                <a:gd name="connsiteY6" fmla="*/ 13391 h 18189"/>
                <a:gd name="connsiteX7" fmla="*/ 19085 w 23549"/>
                <a:gd name="connsiteY7" fmla="*/ 6034 h 18189"/>
                <a:gd name="connsiteX8" fmla="*/ 16462 w 23549"/>
                <a:gd name="connsiteY8" fmla="*/ 13990 h 18189"/>
                <a:gd name="connsiteX9" fmla="*/ 23549 w 23549"/>
                <a:gd name="connsiteY9" fmla="*/ 10290 h 18189"/>
                <a:gd name="connsiteX10" fmla="*/ 19093 w 23549"/>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3929 w 23549"/>
                <a:gd name="connsiteY3" fmla="*/ 11521 h 18189"/>
                <a:gd name="connsiteX4" fmla="*/ 10210 w 23549"/>
                <a:gd name="connsiteY4" fmla="*/ 13460 h 18189"/>
                <a:gd name="connsiteX5" fmla="*/ 8015 w 23549"/>
                <a:gd name="connsiteY5" fmla="*/ 0 h 18189"/>
                <a:gd name="connsiteX6" fmla="*/ 13617 w 23549"/>
                <a:gd name="connsiteY6" fmla="*/ 13391 h 18189"/>
                <a:gd name="connsiteX7" fmla="*/ 19085 w 23549"/>
                <a:gd name="connsiteY7" fmla="*/ 6034 h 18189"/>
                <a:gd name="connsiteX8" fmla="*/ 16462 w 23549"/>
                <a:gd name="connsiteY8" fmla="*/ 13990 h 18189"/>
                <a:gd name="connsiteX9" fmla="*/ 23549 w 23549"/>
                <a:gd name="connsiteY9" fmla="*/ 10290 h 18189"/>
                <a:gd name="connsiteX10" fmla="*/ 19093 w 23549"/>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3929 w 23549"/>
                <a:gd name="connsiteY3" fmla="*/ 11521 h 18189"/>
                <a:gd name="connsiteX4" fmla="*/ 10210 w 23549"/>
                <a:gd name="connsiteY4" fmla="*/ 13460 h 18189"/>
                <a:gd name="connsiteX5" fmla="*/ 8015 w 23549"/>
                <a:gd name="connsiteY5" fmla="*/ 0 h 18189"/>
                <a:gd name="connsiteX6" fmla="*/ 13617 w 23549"/>
                <a:gd name="connsiteY6" fmla="*/ 13391 h 18189"/>
                <a:gd name="connsiteX7" fmla="*/ 19085 w 23549"/>
                <a:gd name="connsiteY7" fmla="*/ 6034 h 18189"/>
                <a:gd name="connsiteX8" fmla="*/ 16462 w 23549"/>
                <a:gd name="connsiteY8" fmla="*/ 13990 h 18189"/>
                <a:gd name="connsiteX9" fmla="*/ 23549 w 23549"/>
                <a:gd name="connsiteY9" fmla="*/ 10290 h 18189"/>
                <a:gd name="connsiteX10" fmla="*/ 19093 w 23549"/>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4363 w 23549"/>
                <a:gd name="connsiteY3" fmla="*/ 11600 h 18189"/>
                <a:gd name="connsiteX4" fmla="*/ 10210 w 23549"/>
                <a:gd name="connsiteY4" fmla="*/ 13460 h 18189"/>
                <a:gd name="connsiteX5" fmla="*/ 8015 w 23549"/>
                <a:gd name="connsiteY5" fmla="*/ 0 h 18189"/>
                <a:gd name="connsiteX6" fmla="*/ 13617 w 23549"/>
                <a:gd name="connsiteY6" fmla="*/ 13391 h 18189"/>
                <a:gd name="connsiteX7" fmla="*/ 19085 w 23549"/>
                <a:gd name="connsiteY7" fmla="*/ 6034 h 18189"/>
                <a:gd name="connsiteX8" fmla="*/ 16462 w 23549"/>
                <a:gd name="connsiteY8" fmla="*/ 13990 h 18189"/>
                <a:gd name="connsiteX9" fmla="*/ 23549 w 23549"/>
                <a:gd name="connsiteY9" fmla="*/ 10290 h 18189"/>
                <a:gd name="connsiteX10" fmla="*/ 19093 w 23549"/>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4363 w 23549"/>
                <a:gd name="connsiteY3" fmla="*/ 11600 h 18189"/>
                <a:gd name="connsiteX4" fmla="*/ 10210 w 23549"/>
                <a:gd name="connsiteY4" fmla="*/ 13460 h 18189"/>
                <a:gd name="connsiteX5" fmla="*/ 8015 w 23549"/>
                <a:gd name="connsiteY5" fmla="*/ 0 h 18189"/>
                <a:gd name="connsiteX6" fmla="*/ 13617 w 23549"/>
                <a:gd name="connsiteY6" fmla="*/ 13391 h 18189"/>
                <a:gd name="connsiteX7" fmla="*/ 19085 w 23549"/>
                <a:gd name="connsiteY7" fmla="*/ 6034 h 18189"/>
                <a:gd name="connsiteX8" fmla="*/ 16462 w 23549"/>
                <a:gd name="connsiteY8" fmla="*/ 13990 h 18189"/>
                <a:gd name="connsiteX9" fmla="*/ 23549 w 23549"/>
                <a:gd name="connsiteY9" fmla="*/ 10290 h 18189"/>
                <a:gd name="connsiteX10" fmla="*/ 19093 w 23549"/>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4363 w 23549"/>
                <a:gd name="connsiteY3" fmla="*/ 11600 h 18189"/>
                <a:gd name="connsiteX4" fmla="*/ 10210 w 23549"/>
                <a:gd name="connsiteY4" fmla="*/ 13460 h 18189"/>
                <a:gd name="connsiteX5" fmla="*/ 8015 w 23549"/>
                <a:gd name="connsiteY5" fmla="*/ 0 h 18189"/>
                <a:gd name="connsiteX6" fmla="*/ 13617 w 23549"/>
                <a:gd name="connsiteY6" fmla="*/ 13391 h 18189"/>
                <a:gd name="connsiteX7" fmla="*/ 19085 w 23549"/>
                <a:gd name="connsiteY7" fmla="*/ 6034 h 18189"/>
                <a:gd name="connsiteX8" fmla="*/ 16462 w 23549"/>
                <a:gd name="connsiteY8" fmla="*/ 13990 h 18189"/>
                <a:gd name="connsiteX9" fmla="*/ 23549 w 23549"/>
                <a:gd name="connsiteY9" fmla="*/ 10290 h 18189"/>
                <a:gd name="connsiteX10" fmla="*/ 19093 w 23549"/>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4363 w 23549"/>
                <a:gd name="connsiteY3" fmla="*/ 11600 h 18189"/>
                <a:gd name="connsiteX4" fmla="*/ 10210 w 23549"/>
                <a:gd name="connsiteY4" fmla="*/ 13460 h 18189"/>
                <a:gd name="connsiteX5" fmla="*/ 8015 w 23549"/>
                <a:gd name="connsiteY5" fmla="*/ 0 h 18189"/>
                <a:gd name="connsiteX6" fmla="*/ 13617 w 23549"/>
                <a:gd name="connsiteY6" fmla="*/ 13391 h 18189"/>
                <a:gd name="connsiteX7" fmla="*/ 19085 w 23549"/>
                <a:gd name="connsiteY7" fmla="*/ 6034 h 18189"/>
                <a:gd name="connsiteX8" fmla="*/ 16462 w 23549"/>
                <a:gd name="connsiteY8" fmla="*/ 13990 h 18189"/>
                <a:gd name="connsiteX9" fmla="*/ 23549 w 23549"/>
                <a:gd name="connsiteY9" fmla="*/ 10290 h 18189"/>
                <a:gd name="connsiteX10" fmla="*/ 19093 w 23549"/>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4363 w 23549"/>
                <a:gd name="connsiteY3" fmla="*/ 11600 h 18189"/>
                <a:gd name="connsiteX4" fmla="*/ 10210 w 23549"/>
                <a:gd name="connsiteY4" fmla="*/ 13460 h 18189"/>
                <a:gd name="connsiteX5" fmla="*/ 8015 w 23549"/>
                <a:gd name="connsiteY5" fmla="*/ 0 h 18189"/>
                <a:gd name="connsiteX6" fmla="*/ 13743 w 23549"/>
                <a:gd name="connsiteY6" fmla="*/ 12448 h 18189"/>
                <a:gd name="connsiteX7" fmla="*/ 19085 w 23549"/>
                <a:gd name="connsiteY7" fmla="*/ 6034 h 18189"/>
                <a:gd name="connsiteX8" fmla="*/ 16462 w 23549"/>
                <a:gd name="connsiteY8" fmla="*/ 13990 h 18189"/>
                <a:gd name="connsiteX9" fmla="*/ 23549 w 23549"/>
                <a:gd name="connsiteY9" fmla="*/ 10290 h 18189"/>
                <a:gd name="connsiteX10" fmla="*/ 19093 w 23549"/>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4363 w 23549"/>
                <a:gd name="connsiteY3" fmla="*/ 11600 h 18189"/>
                <a:gd name="connsiteX4" fmla="*/ 10210 w 23549"/>
                <a:gd name="connsiteY4" fmla="*/ 13460 h 18189"/>
                <a:gd name="connsiteX5" fmla="*/ 8015 w 23549"/>
                <a:gd name="connsiteY5" fmla="*/ 0 h 18189"/>
                <a:gd name="connsiteX6" fmla="*/ 13743 w 23549"/>
                <a:gd name="connsiteY6" fmla="*/ 12448 h 18189"/>
                <a:gd name="connsiteX7" fmla="*/ 19085 w 23549"/>
                <a:gd name="connsiteY7" fmla="*/ 6034 h 18189"/>
                <a:gd name="connsiteX8" fmla="*/ 16462 w 23549"/>
                <a:gd name="connsiteY8" fmla="*/ 13990 h 18189"/>
                <a:gd name="connsiteX9" fmla="*/ 23549 w 23549"/>
                <a:gd name="connsiteY9" fmla="*/ 10290 h 18189"/>
                <a:gd name="connsiteX10" fmla="*/ 19093 w 23549"/>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4363 w 23549"/>
                <a:gd name="connsiteY3" fmla="*/ 11600 h 18189"/>
                <a:gd name="connsiteX4" fmla="*/ 10210 w 23549"/>
                <a:gd name="connsiteY4" fmla="*/ 13460 h 18189"/>
                <a:gd name="connsiteX5" fmla="*/ 8015 w 23549"/>
                <a:gd name="connsiteY5" fmla="*/ 0 h 18189"/>
                <a:gd name="connsiteX6" fmla="*/ 14126 w 23549"/>
                <a:gd name="connsiteY6" fmla="*/ 12357 h 18189"/>
                <a:gd name="connsiteX7" fmla="*/ 19085 w 23549"/>
                <a:gd name="connsiteY7" fmla="*/ 6034 h 18189"/>
                <a:gd name="connsiteX8" fmla="*/ 16462 w 23549"/>
                <a:gd name="connsiteY8" fmla="*/ 13990 h 18189"/>
                <a:gd name="connsiteX9" fmla="*/ 23549 w 23549"/>
                <a:gd name="connsiteY9" fmla="*/ 10290 h 18189"/>
                <a:gd name="connsiteX10" fmla="*/ 19093 w 23549"/>
                <a:gd name="connsiteY10" fmla="*/ 14855 h 18189"/>
                <a:gd name="connsiteX0" fmla="*/ 7902 w 23549"/>
                <a:gd name="connsiteY0" fmla="*/ 18189 h 18189"/>
                <a:gd name="connsiteX1" fmla="*/ 0 w 23549"/>
                <a:gd name="connsiteY1" fmla="*/ 16667 h 18189"/>
                <a:gd name="connsiteX2" fmla="*/ 8236 w 23549"/>
                <a:gd name="connsiteY2" fmla="*/ 15761 h 18189"/>
                <a:gd name="connsiteX3" fmla="*/ 4363 w 23549"/>
                <a:gd name="connsiteY3" fmla="*/ 11600 h 18189"/>
                <a:gd name="connsiteX4" fmla="*/ 10210 w 23549"/>
                <a:gd name="connsiteY4" fmla="*/ 13460 h 18189"/>
                <a:gd name="connsiteX5" fmla="*/ 8015 w 23549"/>
                <a:gd name="connsiteY5" fmla="*/ 0 h 18189"/>
                <a:gd name="connsiteX6" fmla="*/ 14126 w 23549"/>
                <a:gd name="connsiteY6" fmla="*/ 12357 h 18189"/>
                <a:gd name="connsiteX7" fmla="*/ 19085 w 23549"/>
                <a:gd name="connsiteY7" fmla="*/ 6034 h 18189"/>
                <a:gd name="connsiteX8" fmla="*/ 17265 w 23549"/>
                <a:gd name="connsiteY8" fmla="*/ 13251 h 18189"/>
                <a:gd name="connsiteX9" fmla="*/ 23549 w 23549"/>
                <a:gd name="connsiteY9" fmla="*/ 10290 h 18189"/>
                <a:gd name="connsiteX10" fmla="*/ 19093 w 23549"/>
                <a:gd name="connsiteY10" fmla="*/ 14855 h 18189"/>
                <a:gd name="connsiteX0" fmla="*/ 6945 w 22592"/>
                <a:gd name="connsiteY0" fmla="*/ 18189 h 18189"/>
                <a:gd name="connsiteX1" fmla="*/ 0 w 22592"/>
                <a:gd name="connsiteY1" fmla="*/ 16439 h 18189"/>
                <a:gd name="connsiteX2" fmla="*/ 7279 w 22592"/>
                <a:gd name="connsiteY2" fmla="*/ 15761 h 18189"/>
                <a:gd name="connsiteX3" fmla="*/ 3406 w 22592"/>
                <a:gd name="connsiteY3" fmla="*/ 11600 h 18189"/>
                <a:gd name="connsiteX4" fmla="*/ 9253 w 22592"/>
                <a:gd name="connsiteY4" fmla="*/ 13460 h 18189"/>
                <a:gd name="connsiteX5" fmla="*/ 7058 w 22592"/>
                <a:gd name="connsiteY5" fmla="*/ 0 h 18189"/>
                <a:gd name="connsiteX6" fmla="*/ 13169 w 22592"/>
                <a:gd name="connsiteY6" fmla="*/ 12357 h 18189"/>
                <a:gd name="connsiteX7" fmla="*/ 18128 w 22592"/>
                <a:gd name="connsiteY7" fmla="*/ 6034 h 18189"/>
                <a:gd name="connsiteX8" fmla="*/ 16308 w 22592"/>
                <a:gd name="connsiteY8" fmla="*/ 13251 h 18189"/>
                <a:gd name="connsiteX9" fmla="*/ 22592 w 22592"/>
                <a:gd name="connsiteY9" fmla="*/ 10290 h 18189"/>
                <a:gd name="connsiteX10" fmla="*/ 18136 w 22592"/>
                <a:gd name="connsiteY10" fmla="*/ 14855 h 18189"/>
                <a:gd name="connsiteX0" fmla="*/ 6945 w 22592"/>
                <a:gd name="connsiteY0" fmla="*/ 18189 h 18189"/>
                <a:gd name="connsiteX1" fmla="*/ 0 w 22592"/>
                <a:gd name="connsiteY1" fmla="*/ 16439 h 18189"/>
                <a:gd name="connsiteX2" fmla="*/ 7279 w 22592"/>
                <a:gd name="connsiteY2" fmla="*/ 15761 h 18189"/>
                <a:gd name="connsiteX3" fmla="*/ 3751 w 22592"/>
                <a:gd name="connsiteY3" fmla="*/ 12065 h 18189"/>
                <a:gd name="connsiteX4" fmla="*/ 9253 w 22592"/>
                <a:gd name="connsiteY4" fmla="*/ 13460 h 18189"/>
                <a:gd name="connsiteX5" fmla="*/ 7058 w 22592"/>
                <a:gd name="connsiteY5" fmla="*/ 0 h 18189"/>
                <a:gd name="connsiteX6" fmla="*/ 13169 w 22592"/>
                <a:gd name="connsiteY6" fmla="*/ 12357 h 18189"/>
                <a:gd name="connsiteX7" fmla="*/ 18128 w 22592"/>
                <a:gd name="connsiteY7" fmla="*/ 6034 h 18189"/>
                <a:gd name="connsiteX8" fmla="*/ 16308 w 22592"/>
                <a:gd name="connsiteY8" fmla="*/ 13251 h 18189"/>
                <a:gd name="connsiteX9" fmla="*/ 22592 w 22592"/>
                <a:gd name="connsiteY9" fmla="*/ 10290 h 18189"/>
                <a:gd name="connsiteX10" fmla="*/ 18136 w 22592"/>
                <a:gd name="connsiteY10" fmla="*/ 14855 h 18189"/>
                <a:gd name="connsiteX0" fmla="*/ 6945 w 22592"/>
                <a:gd name="connsiteY0" fmla="*/ 18189 h 18189"/>
                <a:gd name="connsiteX1" fmla="*/ 0 w 22592"/>
                <a:gd name="connsiteY1" fmla="*/ 16439 h 18189"/>
                <a:gd name="connsiteX2" fmla="*/ 7279 w 22592"/>
                <a:gd name="connsiteY2" fmla="*/ 15761 h 18189"/>
                <a:gd name="connsiteX3" fmla="*/ 3751 w 22592"/>
                <a:gd name="connsiteY3" fmla="*/ 12065 h 18189"/>
                <a:gd name="connsiteX4" fmla="*/ 9253 w 22592"/>
                <a:gd name="connsiteY4" fmla="*/ 13460 h 18189"/>
                <a:gd name="connsiteX5" fmla="*/ 7058 w 22592"/>
                <a:gd name="connsiteY5" fmla="*/ 0 h 18189"/>
                <a:gd name="connsiteX6" fmla="*/ 13169 w 22592"/>
                <a:gd name="connsiteY6" fmla="*/ 12357 h 18189"/>
                <a:gd name="connsiteX7" fmla="*/ 17619 w 22592"/>
                <a:gd name="connsiteY7" fmla="*/ 7068 h 18189"/>
                <a:gd name="connsiteX8" fmla="*/ 16308 w 22592"/>
                <a:gd name="connsiteY8" fmla="*/ 13251 h 18189"/>
                <a:gd name="connsiteX9" fmla="*/ 22592 w 22592"/>
                <a:gd name="connsiteY9" fmla="*/ 10290 h 18189"/>
                <a:gd name="connsiteX10" fmla="*/ 18136 w 22592"/>
                <a:gd name="connsiteY10" fmla="*/ 14855 h 18189"/>
                <a:gd name="connsiteX0" fmla="*/ 6945 w 22592"/>
                <a:gd name="connsiteY0" fmla="*/ 18189 h 18189"/>
                <a:gd name="connsiteX1" fmla="*/ 0 w 22592"/>
                <a:gd name="connsiteY1" fmla="*/ 16439 h 18189"/>
                <a:gd name="connsiteX2" fmla="*/ 7279 w 22592"/>
                <a:gd name="connsiteY2" fmla="*/ 15761 h 18189"/>
                <a:gd name="connsiteX3" fmla="*/ 3751 w 22592"/>
                <a:gd name="connsiteY3" fmla="*/ 12065 h 18189"/>
                <a:gd name="connsiteX4" fmla="*/ 9253 w 22592"/>
                <a:gd name="connsiteY4" fmla="*/ 13460 h 18189"/>
                <a:gd name="connsiteX5" fmla="*/ 7058 w 22592"/>
                <a:gd name="connsiteY5" fmla="*/ 0 h 18189"/>
                <a:gd name="connsiteX6" fmla="*/ 13169 w 22592"/>
                <a:gd name="connsiteY6" fmla="*/ 12357 h 18189"/>
                <a:gd name="connsiteX7" fmla="*/ 17619 w 22592"/>
                <a:gd name="connsiteY7" fmla="*/ 7068 h 18189"/>
                <a:gd name="connsiteX8" fmla="*/ 16308 w 22592"/>
                <a:gd name="connsiteY8" fmla="*/ 13251 h 18189"/>
                <a:gd name="connsiteX9" fmla="*/ 22592 w 22592"/>
                <a:gd name="connsiteY9" fmla="*/ 10290 h 18189"/>
                <a:gd name="connsiteX10" fmla="*/ 18136 w 22592"/>
                <a:gd name="connsiteY10" fmla="*/ 14855 h 18189"/>
                <a:gd name="connsiteX0" fmla="*/ 6945 w 22592"/>
                <a:gd name="connsiteY0" fmla="*/ 18189 h 18189"/>
                <a:gd name="connsiteX1" fmla="*/ 0 w 22592"/>
                <a:gd name="connsiteY1" fmla="*/ 16439 h 18189"/>
                <a:gd name="connsiteX2" fmla="*/ 7279 w 22592"/>
                <a:gd name="connsiteY2" fmla="*/ 15761 h 18189"/>
                <a:gd name="connsiteX3" fmla="*/ 3751 w 22592"/>
                <a:gd name="connsiteY3" fmla="*/ 12065 h 18189"/>
                <a:gd name="connsiteX4" fmla="*/ 9253 w 22592"/>
                <a:gd name="connsiteY4" fmla="*/ 13460 h 18189"/>
                <a:gd name="connsiteX5" fmla="*/ 7058 w 22592"/>
                <a:gd name="connsiteY5" fmla="*/ 0 h 18189"/>
                <a:gd name="connsiteX6" fmla="*/ 13169 w 22592"/>
                <a:gd name="connsiteY6" fmla="*/ 12357 h 18189"/>
                <a:gd name="connsiteX7" fmla="*/ 17619 w 22592"/>
                <a:gd name="connsiteY7" fmla="*/ 7068 h 18189"/>
                <a:gd name="connsiteX8" fmla="*/ 16308 w 22592"/>
                <a:gd name="connsiteY8" fmla="*/ 13251 h 18189"/>
                <a:gd name="connsiteX9" fmla="*/ 22592 w 22592"/>
                <a:gd name="connsiteY9" fmla="*/ 10290 h 18189"/>
                <a:gd name="connsiteX10" fmla="*/ 18136 w 22592"/>
                <a:gd name="connsiteY10" fmla="*/ 14855 h 18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592" h="18189">
                  <a:moveTo>
                    <a:pt x="6945" y="18189"/>
                  </a:moveTo>
                  <a:lnTo>
                    <a:pt x="0" y="16439"/>
                  </a:lnTo>
                  <a:lnTo>
                    <a:pt x="7279" y="15761"/>
                  </a:lnTo>
                  <a:lnTo>
                    <a:pt x="3751" y="12065"/>
                  </a:lnTo>
                  <a:lnTo>
                    <a:pt x="9253" y="13460"/>
                  </a:lnTo>
                  <a:lnTo>
                    <a:pt x="7058" y="0"/>
                  </a:lnTo>
                  <a:lnTo>
                    <a:pt x="13169" y="12357"/>
                  </a:lnTo>
                  <a:lnTo>
                    <a:pt x="17619" y="7068"/>
                  </a:lnTo>
                  <a:lnTo>
                    <a:pt x="16308" y="13251"/>
                  </a:lnTo>
                  <a:lnTo>
                    <a:pt x="22592" y="10290"/>
                  </a:lnTo>
                  <a:lnTo>
                    <a:pt x="18136" y="14855"/>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a:p>
          </p:txBody>
        </p:sp>
        <p:sp>
          <p:nvSpPr>
            <p:cNvPr id="152" name="Freeform: Shape 151">
              <a:extLst>
                <a:ext uri="{FF2B5EF4-FFF2-40B4-BE49-F238E27FC236}">
                  <a16:creationId xmlns:a16="http://schemas.microsoft.com/office/drawing/2014/main" id="{BA381F2D-50DA-4CB6-9252-1F9D925211F1}"/>
                </a:ext>
              </a:extLst>
            </p:cNvPr>
            <p:cNvSpPr/>
            <p:nvPr/>
          </p:nvSpPr>
          <p:spPr bwMode="gray">
            <a:xfrm>
              <a:off x="4183379" y="3524251"/>
              <a:ext cx="22019" cy="99060"/>
            </a:xfrm>
            <a:custGeom>
              <a:avLst/>
              <a:gdLst>
                <a:gd name="connsiteX0" fmla="*/ 13470 w 34898"/>
                <a:gd name="connsiteY0" fmla="*/ 0 h 129679"/>
                <a:gd name="connsiteX1" fmla="*/ 135 w 34898"/>
                <a:gd name="connsiteY1" fmla="*/ 34290 h 129679"/>
                <a:gd name="connsiteX2" fmla="*/ 11565 w 34898"/>
                <a:gd name="connsiteY2" fmla="*/ 127635 h 129679"/>
                <a:gd name="connsiteX3" fmla="*/ 2040 w 34898"/>
                <a:gd name="connsiteY3" fmla="*/ 120015 h 129679"/>
                <a:gd name="connsiteX0" fmla="*/ 13470 w 34898"/>
                <a:gd name="connsiteY0" fmla="*/ 0 h 129679"/>
                <a:gd name="connsiteX1" fmla="*/ 135 w 34898"/>
                <a:gd name="connsiteY1" fmla="*/ 34290 h 129679"/>
                <a:gd name="connsiteX2" fmla="*/ 11565 w 34898"/>
                <a:gd name="connsiteY2" fmla="*/ 127635 h 129679"/>
                <a:gd name="connsiteX0" fmla="*/ 13401 w 23277"/>
                <a:gd name="connsiteY0" fmla="*/ 0 h 133652"/>
                <a:gd name="connsiteX1" fmla="*/ 66 w 23277"/>
                <a:gd name="connsiteY1" fmla="*/ 34290 h 133652"/>
                <a:gd name="connsiteX2" fmla="*/ 66 w 23277"/>
                <a:gd name="connsiteY2" fmla="*/ 133350 h 133652"/>
                <a:gd name="connsiteX0" fmla="*/ 13391 w 27499"/>
                <a:gd name="connsiteY0" fmla="*/ 0 h 133350"/>
                <a:gd name="connsiteX1" fmla="*/ 56 w 27499"/>
                <a:gd name="connsiteY1" fmla="*/ 34290 h 133350"/>
                <a:gd name="connsiteX2" fmla="*/ 56 w 27499"/>
                <a:gd name="connsiteY2" fmla="*/ 133350 h 133350"/>
                <a:gd name="connsiteX0" fmla="*/ 19050 w 28734"/>
                <a:gd name="connsiteY0" fmla="*/ 0 h 99060"/>
                <a:gd name="connsiteX1" fmla="*/ 5715 w 28734"/>
                <a:gd name="connsiteY1" fmla="*/ 34290 h 99060"/>
                <a:gd name="connsiteX2" fmla="*/ 0 w 28734"/>
                <a:gd name="connsiteY2" fmla="*/ 99060 h 99060"/>
                <a:gd name="connsiteX0" fmla="*/ 19050 w 27719"/>
                <a:gd name="connsiteY0" fmla="*/ 0 h 99060"/>
                <a:gd name="connsiteX1" fmla="*/ 1905 w 27719"/>
                <a:gd name="connsiteY1" fmla="*/ 20955 h 99060"/>
                <a:gd name="connsiteX2" fmla="*/ 0 w 27719"/>
                <a:gd name="connsiteY2" fmla="*/ 99060 h 99060"/>
                <a:gd name="connsiteX0" fmla="*/ 19050 w 19050"/>
                <a:gd name="connsiteY0" fmla="*/ 0 h 99060"/>
                <a:gd name="connsiteX1" fmla="*/ 0 w 19050"/>
                <a:gd name="connsiteY1" fmla="*/ 99060 h 99060"/>
                <a:gd name="connsiteX0" fmla="*/ 19050 w 19050"/>
                <a:gd name="connsiteY0" fmla="*/ 0 h 99060"/>
                <a:gd name="connsiteX1" fmla="*/ 0 w 19050"/>
                <a:gd name="connsiteY1" fmla="*/ 99060 h 99060"/>
                <a:gd name="connsiteX0" fmla="*/ 19050 w 22019"/>
                <a:gd name="connsiteY0" fmla="*/ 0 h 99060"/>
                <a:gd name="connsiteX1" fmla="*/ 0 w 22019"/>
                <a:gd name="connsiteY1" fmla="*/ 99060 h 99060"/>
              </a:gdLst>
              <a:ahLst/>
              <a:cxnLst>
                <a:cxn ang="0">
                  <a:pos x="connsiteX0" y="connsiteY0"/>
                </a:cxn>
                <a:cxn ang="0">
                  <a:pos x="connsiteX1" y="connsiteY1"/>
                </a:cxn>
              </a:cxnLst>
              <a:rect l="l" t="t" r="r" b="b"/>
              <a:pathLst>
                <a:path w="22019" h="99060">
                  <a:moveTo>
                    <a:pt x="19050" y="0"/>
                  </a:moveTo>
                  <a:cubicBezTo>
                    <a:pt x="-8255" y="33020"/>
                    <a:pt x="52070" y="56515"/>
                    <a:pt x="0" y="99060"/>
                  </a:cubicBez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dirty="0"/>
            </a:p>
          </p:txBody>
        </p:sp>
      </p:grpSp>
      <p:grpSp>
        <p:nvGrpSpPr>
          <p:cNvPr id="153" name="Group 152">
            <a:extLst>
              <a:ext uri="{FF2B5EF4-FFF2-40B4-BE49-F238E27FC236}">
                <a16:creationId xmlns:a16="http://schemas.microsoft.com/office/drawing/2014/main" id="{7E00B5EA-0BDC-4224-8A8E-F4CC5CD623B8}"/>
              </a:ext>
            </a:extLst>
          </p:cNvPr>
          <p:cNvGrpSpPr/>
          <p:nvPr/>
        </p:nvGrpSpPr>
        <p:grpSpPr bwMode="gray">
          <a:xfrm>
            <a:off x="6313186" y="3937037"/>
            <a:ext cx="214682" cy="686859"/>
            <a:chOff x="2510463" y="3470880"/>
            <a:chExt cx="183353" cy="586624"/>
          </a:xfrm>
        </p:grpSpPr>
        <p:grpSp>
          <p:nvGrpSpPr>
            <p:cNvPr id="154" name="Group 153">
              <a:extLst>
                <a:ext uri="{FF2B5EF4-FFF2-40B4-BE49-F238E27FC236}">
                  <a16:creationId xmlns:a16="http://schemas.microsoft.com/office/drawing/2014/main" id="{3413E629-243A-4F46-90ED-542485D32125}"/>
                </a:ext>
              </a:extLst>
            </p:cNvPr>
            <p:cNvGrpSpPr/>
            <p:nvPr/>
          </p:nvGrpSpPr>
          <p:grpSpPr bwMode="gray">
            <a:xfrm>
              <a:off x="2510463" y="3470880"/>
              <a:ext cx="183353" cy="586624"/>
              <a:chOff x="6890962" y="5156473"/>
              <a:chExt cx="183353" cy="343570"/>
            </a:xfrm>
          </p:grpSpPr>
          <p:sp>
            <p:nvSpPr>
              <p:cNvPr id="165" name="Rectangle: Rounded Corners 49">
                <a:extLst>
                  <a:ext uri="{FF2B5EF4-FFF2-40B4-BE49-F238E27FC236}">
                    <a16:creationId xmlns:a16="http://schemas.microsoft.com/office/drawing/2014/main" id="{39B5FFEE-4287-42EE-A6D2-69A3CD5319AF}"/>
                  </a:ext>
                </a:extLst>
              </p:cNvPr>
              <p:cNvSpPr/>
              <p:nvPr/>
            </p:nvSpPr>
            <p:spPr bwMode="gray">
              <a:xfrm>
                <a:off x="6890962" y="5234559"/>
                <a:ext cx="173636" cy="232027"/>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66" name="Freeform: Shape 165">
                <a:extLst>
                  <a:ext uri="{FF2B5EF4-FFF2-40B4-BE49-F238E27FC236}">
                    <a16:creationId xmlns:a16="http://schemas.microsoft.com/office/drawing/2014/main" id="{7A217EA6-2FDF-4C04-87D8-6AF476F657F9}"/>
                  </a:ext>
                </a:extLst>
              </p:cNvPr>
              <p:cNvSpPr/>
              <p:nvPr/>
            </p:nvSpPr>
            <p:spPr bwMode="gray">
              <a:xfrm>
                <a:off x="6944929" y="5178776"/>
                <a:ext cx="65702" cy="57600"/>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167" name="Straight Connector 166">
                <a:extLst>
                  <a:ext uri="{FF2B5EF4-FFF2-40B4-BE49-F238E27FC236}">
                    <a16:creationId xmlns:a16="http://schemas.microsoft.com/office/drawing/2014/main" id="{0524BFAF-8F31-47B8-936F-437EDE3B1790}"/>
                  </a:ext>
                </a:extLst>
              </p:cNvPr>
              <p:cNvCxnSpPr>
                <a:cxnSpLocks/>
              </p:cNvCxnSpPr>
              <p:nvPr/>
            </p:nvCxnSpPr>
            <p:spPr bwMode="gray">
              <a:xfrm>
                <a:off x="7012847" y="5208048"/>
                <a:ext cx="61468" cy="0"/>
              </a:xfrm>
              <a:prstGeom prst="lin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168" name="Rectangle: Rounded Corners 49">
                <a:extLst>
                  <a:ext uri="{FF2B5EF4-FFF2-40B4-BE49-F238E27FC236}">
                    <a16:creationId xmlns:a16="http://schemas.microsoft.com/office/drawing/2014/main" id="{2920D69F-31D0-4DD0-8CBB-0CA21DB912EA}"/>
                  </a:ext>
                </a:extLst>
              </p:cNvPr>
              <p:cNvSpPr/>
              <p:nvPr/>
            </p:nvSpPr>
            <p:spPr bwMode="gray">
              <a:xfrm>
                <a:off x="6890962" y="5466588"/>
                <a:ext cx="173636" cy="33455"/>
              </a:xfrm>
              <a:prstGeom prst="rect">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169" name="Straight Connector 168">
                <a:extLst>
                  <a:ext uri="{FF2B5EF4-FFF2-40B4-BE49-F238E27FC236}">
                    <a16:creationId xmlns:a16="http://schemas.microsoft.com/office/drawing/2014/main" id="{7A82D6F4-BBE4-40B1-872B-CC1B4BE93F16}"/>
                  </a:ext>
                </a:extLst>
              </p:cNvPr>
              <p:cNvCxnSpPr>
                <a:cxnSpLocks/>
              </p:cNvCxnSpPr>
              <p:nvPr/>
            </p:nvCxnSpPr>
            <p:spPr bwMode="gray">
              <a:xfrm>
                <a:off x="6944929" y="5156473"/>
                <a:ext cx="65702" cy="0"/>
              </a:xfrm>
              <a:prstGeom prst="lin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70" name="Straight Connector 169">
                <a:extLst>
                  <a:ext uri="{FF2B5EF4-FFF2-40B4-BE49-F238E27FC236}">
                    <a16:creationId xmlns:a16="http://schemas.microsoft.com/office/drawing/2014/main" id="{74D4A60E-E490-4132-AE47-8C2DACDF9CD2}"/>
                  </a:ext>
                </a:extLst>
              </p:cNvPr>
              <p:cNvCxnSpPr>
                <a:cxnSpLocks/>
              </p:cNvCxnSpPr>
              <p:nvPr/>
            </p:nvCxnSpPr>
            <p:spPr bwMode="gray">
              <a:xfrm>
                <a:off x="6977780" y="5156473"/>
                <a:ext cx="0" cy="22162"/>
              </a:xfrm>
              <a:prstGeom prst="lin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cxnSp>
          <p:nvCxnSpPr>
            <p:cNvPr id="155" name="Straight Connector 154">
              <a:extLst>
                <a:ext uri="{FF2B5EF4-FFF2-40B4-BE49-F238E27FC236}">
                  <a16:creationId xmlns:a16="http://schemas.microsoft.com/office/drawing/2014/main" id="{A856DAB4-2A87-43BB-937D-B105C0E28462}"/>
                </a:ext>
              </a:extLst>
            </p:cNvPr>
            <p:cNvCxnSpPr>
              <a:cxnSpLocks/>
              <a:stCxn id="165" idx="5"/>
              <a:endCxn id="165" idx="3"/>
            </p:cNvCxnSpPr>
            <p:nvPr/>
          </p:nvCxnSpPr>
          <p:spPr bwMode="gray">
            <a:xfrm flipV="1">
              <a:off x="2510463" y="3691027"/>
              <a:ext cx="173636" cy="309353"/>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5D3D7E87-F4C8-4076-A81A-592C51245ADA}"/>
                </a:ext>
              </a:extLst>
            </p:cNvPr>
            <p:cNvCxnSpPr>
              <a:stCxn id="165" idx="0"/>
              <a:endCxn id="165" idx="3"/>
            </p:cNvCxnSpPr>
            <p:nvPr/>
          </p:nvCxnSpPr>
          <p:spPr bwMode="gray">
            <a:xfrm>
              <a:off x="2510463" y="3691027"/>
              <a:ext cx="173636" cy="0"/>
            </a:xfrm>
            <a:prstGeom prst="line">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nvGrpSpPr>
            <p:cNvPr id="157" name="Group 156">
              <a:extLst>
                <a:ext uri="{FF2B5EF4-FFF2-40B4-BE49-F238E27FC236}">
                  <a16:creationId xmlns:a16="http://schemas.microsoft.com/office/drawing/2014/main" id="{0E6A8CAA-2B0B-4F16-B0C5-7431100E7286}"/>
                </a:ext>
              </a:extLst>
            </p:cNvPr>
            <p:cNvGrpSpPr/>
            <p:nvPr/>
          </p:nvGrpSpPr>
          <p:grpSpPr bwMode="gray">
            <a:xfrm>
              <a:off x="2594150" y="3900185"/>
              <a:ext cx="60482" cy="60482"/>
              <a:chOff x="2601762" y="3880870"/>
              <a:chExt cx="45300" cy="47634"/>
            </a:xfrm>
          </p:grpSpPr>
          <p:cxnSp>
            <p:nvCxnSpPr>
              <p:cNvPr id="162" name="Straight Connector 161">
                <a:extLst>
                  <a:ext uri="{FF2B5EF4-FFF2-40B4-BE49-F238E27FC236}">
                    <a16:creationId xmlns:a16="http://schemas.microsoft.com/office/drawing/2014/main" id="{C80F4D99-AC21-4523-B722-1EF86E682556}"/>
                  </a:ext>
                </a:extLst>
              </p:cNvPr>
              <p:cNvCxnSpPr>
                <a:cxnSpLocks/>
              </p:cNvCxnSpPr>
              <p:nvPr/>
            </p:nvCxnSpPr>
            <p:spPr bwMode="gray">
              <a:xfrm flipV="1">
                <a:off x="2603665" y="3880870"/>
                <a:ext cx="41493" cy="4763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63" name="Rectangle: Rounded Corners 162">
                <a:extLst>
                  <a:ext uri="{FF2B5EF4-FFF2-40B4-BE49-F238E27FC236}">
                    <a16:creationId xmlns:a16="http://schemas.microsoft.com/office/drawing/2014/main" id="{E68A1461-D579-4A4A-8838-BC4C0E6613B4}"/>
                  </a:ext>
                </a:extLst>
              </p:cNvPr>
              <p:cNvSpPr>
                <a:spLocks noChangeAspect="1"/>
              </p:cNvSpPr>
              <p:nvPr/>
            </p:nvSpPr>
            <p:spPr bwMode="gray">
              <a:xfrm>
                <a:off x="2601762" y="3882593"/>
                <a:ext cx="7200" cy="7993"/>
              </a:xfrm>
              <a:prstGeom prst="roundRect">
                <a:avLst>
                  <a:gd name="adj" fmla="val 50000"/>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de-DE" sz="1400" dirty="0" err="1"/>
              </a:p>
            </p:txBody>
          </p:sp>
          <p:sp>
            <p:nvSpPr>
              <p:cNvPr id="164" name="Rectangle: Rounded Corners 163">
                <a:extLst>
                  <a:ext uri="{FF2B5EF4-FFF2-40B4-BE49-F238E27FC236}">
                    <a16:creationId xmlns:a16="http://schemas.microsoft.com/office/drawing/2014/main" id="{FF3F5AE3-394D-4653-930A-AF7A9A5F7852}"/>
                  </a:ext>
                </a:extLst>
              </p:cNvPr>
              <p:cNvSpPr>
                <a:spLocks noChangeAspect="1"/>
              </p:cNvSpPr>
              <p:nvPr/>
            </p:nvSpPr>
            <p:spPr bwMode="gray">
              <a:xfrm>
                <a:off x="2639862" y="3918788"/>
                <a:ext cx="7200" cy="7993"/>
              </a:xfrm>
              <a:prstGeom prst="roundRect">
                <a:avLst>
                  <a:gd name="adj" fmla="val 50000"/>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de-DE" sz="1400" dirty="0" err="1"/>
              </a:p>
            </p:txBody>
          </p:sp>
        </p:grpSp>
        <p:grpSp>
          <p:nvGrpSpPr>
            <p:cNvPr id="158" name="Group 157">
              <a:extLst>
                <a:ext uri="{FF2B5EF4-FFF2-40B4-BE49-F238E27FC236}">
                  <a16:creationId xmlns:a16="http://schemas.microsoft.com/office/drawing/2014/main" id="{2C55FA7E-D76D-40C6-8693-B0E70B123D56}"/>
                </a:ext>
              </a:extLst>
            </p:cNvPr>
            <p:cNvGrpSpPr/>
            <p:nvPr/>
          </p:nvGrpSpPr>
          <p:grpSpPr bwMode="gray">
            <a:xfrm>
              <a:off x="2536777" y="3731654"/>
              <a:ext cx="60482" cy="60482"/>
              <a:chOff x="2601762" y="3880870"/>
              <a:chExt cx="45300" cy="47634"/>
            </a:xfrm>
          </p:grpSpPr>
          <p:cxnSp>
            <p:nvCxnSpPr>
              <p:cNvPr id="159" name="Straight Connector 158">
                <a:extLst>
                  <a:ext uri="{FF2B5EF4-FFF2-40B4-BE49-F238E27FC236}">
                    <a16:creationId xmlns:a16="http://schemas.microsoft.com/office/drawing/2014/main" id="{C0BFDBE9-B049-4532-9040-50B5ACDAD105}"/>
                  </a:ext>
                </a:extLst>
              </p:cNvPr>
              <p:cNvCxnSpPr>
                <a:cxnSpLocks/>
              </p:cNvCxnSpPr>
              <p:nvPr/>
            </p:nvCxnSpPr>
            <p:spPr bwMode="gray">
              <a:xfrm flipV="1">
                <a:off x="2603665" y="3880870"/>
                <a:ext cx="41493" cy="4763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60" name="Rectangle: Rounded Corners 159">
                <a:extLst>
                  <a:ext uri="{FF2B5EF4-FFF2-40B4-BE49-F238E27FC236}">
                    <a16:creationId xmlns:a16="http://schemas.microsoft.com/office/drawing/2014/main" id="{CEB8DDD7-935F-4DEC-B018-F38651BC6AA4}"/>
                  </a:ext>
                </a:extLst>
              </p:cNvPr>
              <p:cNvSpPr>
                <a:spLocks noChangeAspect="1"/>
              </p:cNvSpPr>
              <p:nvPr/>
            </p:nvSpPr>
            <p:spPr bwMode="gray">
              <a:xfrm>
                <a:off x="2601762" y="3882593"/>
                <a:ext cx="7200" cy="7993"/>
              </a:xfrm>
              <a:prstGeom prst="roundRect">
                <a:avLst>
                  <a:gd name="adj" fmla="val 50000"/>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de-DE" sz="1400" dirty="0" err="1"/>
              </a:p>
            </p:txBody>
          </p:sp>
          <p:sp>
            <p:nvSpPr>
              <p:cNvPr id="161" name="Rectangle: Rounded Corners 160">
                <a:extLst>
                  <a:ext uri="{FF2B5EF4-FFF2-40B4-BE49-F238E27FC236}">
                    <a16:creationId xmlns:a16="http://schemas.microsoft.com/office/drawing/2014/main" id="{00597F8D-3067-4AA2-A8EC-CCAE94B79C08}"/>
                  </a:ext>
                </a:extLst>
              </p:cNvPr>
              <p:cNvSpPr>
                <a:spLocks noChangeAspect="1"/>
              </p:cNvSpPr>
              <p:nvPr/>
            </p:nvSpPr>
            <p:spPr bwMode="gray">
              <a:xfrm>
                <a:off x="2639862" y="3918788"/>
                <a:ext cx="7200" cy="7993"/>
              </a:xfrm>
              <a:prstGeom prst="roundRect">
                <a:avLst>
                  <a:gd name="adj" fmla="val 50000"/>
                </a:avLst>
              </a:prstGeom>
              <a:noFill/>
              <a:ln w="28575"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de-DE" sz="1400" dirty="0" err="1"/>
              </a:p>
            </p:txBody>
          </p:sp>
        </p:grpSp>
      </p:grpSp>
      <p:sp>
        <p:nvSpPr>
          <p:cNvPr id="172" name="Date Placeholder 171">
            <a:extLst>
              <a:ext uri="{FF2B5EF4-FFF2-40B4-BE49-F238E27FC236}">
                <a16:creationId xmlns:a16="http://schemas.microsoft.com/office/drawing/2014/main" id="{39782179-B067-4145-AE7D-54FDCDD628F7}"/>
              </a:ext>
            </a:extLst>
          </p:cNvPr>
          <p:cNvSpPr>
            <a:spLocks noGrp="1"/>
          </p:cNvSpPr>
          <p:nvPr>
            <p:ph type="dt" sz="half" idx="14"/>
          </p:nvPr>
        </p:nvSpPr>
        <p:spPr bwMode="gray"/>
        <p:txBody>
          <a:bodyPr/>
          <a:lstStyle/>
          <a:p>
            <a:fld id="{F93D6F75-A6E7-4E1A-A848-CFF65678F64C}" type="datetime4">
              <a:rPr lang="en-US" smtClean="0"/>
              <a:t>September 8, 2019</a:t>
            </a:fld>
            <a:endParaRPr lang="en-US" dirty="0"/>
          </a:p>
        </p:txBody>
      </p:sp>
      <p:sp>
        <p:nvSpPr>
          <p:cNvPr id="173" name="Footer Placeholder 172">
            <a:extLst>
              <a:ext uri="{FF2B5EF4-FFF2-40B4-BE49-F238E27FC236}">
                <a16:creationId xmlns:a16="http://schemas.microsoft.com/office/drawing/2014/main" id="{8F0FF0E6-68FD-4802-B77E-CE0E1121BE17}"/>
              </a:ext>
            </a:extLst>
          </p:cNvPr>
          <p:cNvSpPr>
            <a:spLocks noGrp="1"/>
          </p:cNvSpPr>
          <p:nvPr>
            <p:ph type="ftr" sz="quarter" idx="15"/>
          </p:nvPr>
        </p:nvSpPr>
        <p:spPr bwMode="gray"/>
        <p:txBody>
          <a:bodyPr/>
          <a:lstStyle/>
          <a:p>
            <a:pPr lvl="8"/>
            <a:endParaRPr lang="en-US" dirty="0"/>
          </a:p>
        </p:txBody>
      </p:sp>
      <p:sp>
        <p:nvSpPr>
          <p:cNvPr id="174" name="Slide Number Placeholder 173">
            <a:extLst>
              <a:ext uri="{FF2B5EF4-FFF2-40B4-BE49-F238E27FC236}">
                <a16:creationId xmlns:a16="http://schemas.microsoft.com/office/drawing/2014/main" id="{FAC3E64D-5549-4574-9FEA-B53C6BBCBE95}"/>
              </a:ext>
            </a:extLst>
          </p:cNvPr>
          <p:cNvSpPr>
            <a:spLocks noGrp="1"/>
          </p:cNvSpPr>
          <p:nvPr>
            <p:ph type="sldNum" sz="quarter" idx="16"/>
          </p:nvPr>
        </p:nvSpPr>
        <p:spPr bwMode="gray"/>
        <p:txBody>
          <a:bodyPr/>
          <a:lstStyle/>
          <a:p>
            <a:r>
              <a:rPr lang="en-US"/>
              <a:t>Slide </a:t>
            </a:r>
            <a:fld id="{619F89D8-7AE3-494A-97F3-03D680869632}" type="slidenum">
              <a:rPr lang="en-US" smtClean="0"/>
              <a:pPr/>
              <a:t>79</a:t>
            </a:fld>
            <a:endParaRPr lang="en-US" dirty="0"/>
          </a:p>
        </p:txBody>
      </p:sp>
    </p:spTree>
    <p:custDataLst>
      <p:tags r:id="rId1"/>
    </p:custDataLst>
    <p:extLst>
      <p:ext uri="{BB962C8B-B14F-4D97-AF65-F5344CB8AC3E}">
        <p14:creationId xmlns:p14="http://schemas.microsoft.com/office/powerpoint/2010/main" val="2182367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heel(1)">
                                      <p:cBhvr>
                                        <p:cTn id="7" dur="3750"/>
                                        <p:tgtEl>
                                          <p:spTgt spid="49"/>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57"/>
                                        </p:tgtEl>
                                        <p:attrNameLst>
                                          <p:attrName>style.visibility</p:attrName>
                                        </p:attrNameLst>
                                      </p:cBhvr>
                                      <p:to>
                                        <p:strVal val="visible"/>
                                      </p:to>
                                    </p:set>
                                    <p:anim calcmode="lin" valueType="num">
                                      <p:cBhvr>
                                        <p:cTn id="10" dur="500" fill="hold"/>
                                        <p:tgtEl>
                                          <p:spTgt spid="57"/>
                                        </p:tgtEl>
                                        <p:attrNameLst>
                                          <p:attrName>ppt_w</p:attrName>
                                        </p:attrNameLst>
                                      </p:cBhvr>
                                      <p:tavLst>
                                        <p:tav tm="0">
                                          <p:val>
                                            <p:fltVal val="0"/>
                                          </p:val>
                                        </p:tav>
                                        <p:tav tm="100000">
                                          <p:val>
                                            <p:strVal val="#ppt_w"/>
                                          </p:val>
                                        </p:tav>
                                      </p:tavLst>
                                    </p:anim>
                                    <p:anim calcmode="lin" valueType="num">
                                      <p:cBhvr>
                                        <p:cTn id="11" dur="500" fill="hold"/>
                                        <p:tgtEl>
                                          <p:spTgt spid="57"/>
                                        </p:tgtEl>
                                        <p:attrNameLst>
                                          <p:attrName>ppt_h</p:attrName>
                                        </p:attrNameLst>
                                      </p:cBhvr>
                                      <p:tavLst>
                                        <p:tav tm="0">
                                          <p:val>
                                            <p:fltVal val="0"/>
                                          </p:val>
                                        </p:tav>
                                        <p:tav tm="100000">
                                          <p:val>
                                            <p:strVal val="#ppt_h"/>
                                          </p:val>
                                        </p:tav>
                                      </p:tavLst>
                                    </p:anim>
                                    <p:animEffect transition="in" filter="fade">
                                      <p:cBhvr>
                                        <p:cTn id="12" dur="500"/>
                                        <p:tgtEl>
                                          <p:spTgt spid="5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fade">
                                      <p:cBhvr>
                                        <p:cTn id="15" dur="500"/>
                                        <p:tgtEl>
                                          <p:spTgt spid="44"/>
                                        </p:tgtEl>
                                      </p:cBhvr>
                                    </p:animEffect>
                                  </p:childTnLst>
                                </p:cTn>
                              </p:par>
                              <p:par>
                                <p:cTn id="16" presetID="53" presetClass="entr" presetSubtype="16" fill="hold" grpId="0" nodeType="withEffect">
                                  <p:stCondLst>
                                    <p:cond delay="500"/>
                                  </p:stCondLst>
                                  <p:childTnLst>
                                    <p:set>
                                      <p:cBhvr>
                                        <p:cTn id="17" dur="1" fill="hold">
                                          <p:stCondLst>
                                            <p:cond delay="0"/>
                                          </p:stCondLst>
                                        </p:cTn>
                                        <p:tgtEl>
                                          <p:spTgt spid="51"/>
                                        </p:tgtEl>
                                        <p:attrNameLst>
                                          <p:attrName>style.visibility</p:attrName>
                                        </p:attrNameLst>
                                      </p:cBhvr>
                                      <p:to>
                                        <p:strVal val="visible"/>
                                      </p:to>
                                    </p:set>
                                    <p:anim calcmode="lin" valueType="num">
                                      <p:cBhvr>
                                        <p:cTn id="18" dur="500" fill="hold"/>
                                        <p:tgtEl>
                                          <p:spTgt spid="51"/>
                                        </p:tgtEl>
                                        <p:attrNameLst>
                                          <p:attrName>ppt_w</p:attrName>
                                        </p:attrNameLst>
                                      </p:cBhvr>
                                      <p:tavLst>
                                        <p:tav tm="0">
                                          <p:val>
                                            <p:fltVal val="0"/>
                                          </p:val>
                                        </p:tav>
                                        <p:tav tm="100000">
                                          <p:val>
                                            <p:strVal val="#ppt_w"/>
                                          </p:val>
                                        </p:tav>
                                      </p:tavLst>
                                    </p:anim>
                                    <p:anim calcmode="lin" valueType="num">
                                      <p:cBhvr>
                                        <p:cTn id="19" dur="500" fill="hold"/>
                                        <p:tgtEl>
                                          <p:spTgt spid="51"/>
                                        </p:tgtEl>
                                        <p:attrNameLst>
                                          <p:attrName>ppt_h</p:attrName>
                                        </p:attrNameLst>
                                      </p:cBhvr>
                                      <p:tavLst>
                                        <p:tav tm="0">
                                          <p:val>
                                            <p:fltVal val="0"/>
                                          </p:val>
                                        </p:tav>
                                        <p:tav tm="100000">
                                          <p:val>
                                            <p:strVal val="#ppt_h"/>
                                          </p:val>
                                        </p:tav>
                                      </p:tavLst>
                                    </p:anim>
                                    <p:animEffect transition="in" filter="fade">
                                      <p:cBhvr>
                                        <p:cTn id="20" dur="500"/>
                                        <p:tgtEl>
                                          <p:spTgt spid="51"/>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500"/>
                                        <p:tgtEl>
                                          <p:spTgt spid="46"/>
                                        </p:tgtEl>
                                      </p:cBhvr>
                                    </p:animEffect>
                                  </p:childTnLst>
                                </p:cTn>
                              </p:par>
                              <p:par>
                                <p:cTn id="24" presetID="53" presetClass="entr" presetSubtype="16" fill="hold" grpId="0" nodeType="withEffect">
                                  <p:stCondLst>
                                    <p:cond delay="1000"/>
                                  </p:stCondLst>
                                  <p:childTnLst>
                                    <p:set>
                                      <p:cBhvr>
                                        <p:cTn id="25" dur="1" fill="hold">
                                          <p:stCondLst>
                                            <p:cond delay="0"/>
                                          </p:stCondLst>
                                        </p:cTn>
                                        <p:tgtEl>
                                          <p:spTgt spid="52"/>
                                        </p:tgtEl>
                                        <p:attrNameLst>
                                          <p:attrName>style.visibility</p:attrName>
                                        </p:attrNameLst>
                                      </p:cBhvr>
                                      <p:to>
                                        <p:strVal val="visible"/>
                                      </p:to>
                                    </p:set>
                                    <p:anim calcmode="lin" valueType="num">
                                      <p:cBhvr>
                                        <p:cTn id="26" dur="500" fill="hold"/>
                                        <p:tgtEl>
                                          <p:spTgt spid="52"/>
                                        </p:tgtEl>
                                        <p:attrNameLst>
                                          <p:attrName>ppt_w</p:attrName>
                                        </p:attrNameLst>
                                      </p:cBhvr>
                                      <p:tavLst>
                                        <p:tav tm="0">
                                          <p:val>
                                            <p:fltVal val="0"/>
                                          </p:val>
                                        </p:tav>
                                        <p:tav tm="100000">
                                          <p:val>
                                            <p:strVal val="#ppt_w"/>
                                          </p:val>
                                        </p:tav>
                                      </p:tavLst>
                                    </p:anim>
                                    <p:anim calcmode="lin" valueType="num">
                                      <p:cBhvr>
                                        <p:cTn id="27" dur="500" fill="hold"/>
                                        <p:tgtEl>
                                          <p:spTgt spid="52"/>
                                        </p:tgtEl>
                                        <p:attrNameLst>
                                          <p:attrName>ppt_h</p:attrName>
                                        </p:attrNameLst>
                                      </p:cBhvr>
                                      <p:tavLst>
                                        <p:tav tm="0">
                                          <p:val>
                                            <p:fltVal val="0"/>
                                          </p:val>
                                        </p:tav>
                                        <p:tav tm="100000">
                                          <p:val>
                                            <p:strVal val="#ppt_h"/>
                                          </p:val>
                                        </p:tav>
                                      </p:tavLst>
                                    </p:anim>
                                    <p:animEffect transition="in" filter="fade">
                                      <p:cBhvr>
                                        <p:cTn id="28" dur="500"/>
                                        <p:tgtEl>
                                          <p:spTgt spid="52"/>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47"/>
                                        </p:tgtEl>
                                        <p:attrNameLst>
                                          <p:attrName>style.visibility</p:attrName>
                                        </p:attrNameLst>
                                      </p:cBhvr>
                                      <p:to>
                                        <p:strVal val="visible"/>
                                      </p:to>
                                    </p:set>
                                    <p:animEffect transition="in" filter="fade">
                                      <p:cBhvr>
                                        <p:cTn id="31" dur="500"/>
                                        <p:tgtEl>
                                          <p:spTgt spid="47"/>
                                        </p:tgtEl>
                                      </p:cBhvr>
                                    </p:animEffect>
                                  </p:childTnLst>
                                </p:cTn>
                              </p:par>
                              <p:par>
                                <p:cTn id="32" presetID="53" presetClass="entr" presetSubtype="16" fill="hold" grpId="0" nodeType="withEffect">
                                  <p:stCondLst>
                                    <p:cond delay="1500"/>
                                  </p:stCondLst>
                                  <p:childTnLst>
                                    <p:set>
                                      <p:cBhvr>
                                        <p:cTn id="33" dur="1" fill="hold">
                                          <p:stCondLst>
                                            <p:cond delay="0"/>
                                          </p:stCondLst>
                                        </p:cTn>
                                        <p:tgtEl>
                                          <p:spTgt spid="56"/>
                                        </p:tgtEl>
                                        <p:attrNameLst>
                                          <p:attrName>style.visibility</p:attrName>
                                        </p:attrNameLst>
                                      </p:cBhvr>
                                      <p:to>
                                        <p:strVal val="visible"/>
                                      </p:to>
                                    </p:set>
                                    <p:anim calcmode="lin" valueType="num">
                                      <p:cBhvr>
                                        <p:cTn id="34" dur="500" fill="hold"/>
                                        <p:tgtEl>
                                          <p:spTgt spid="56"/>
                                        </p:tgtEl>
                                        <p:attrNameLst>
                                          <p:attrName>ppt_w</p:attrName>
                                        </p:attrNameLst>
                                      </p:cBhvr>
                                      <p:tavLst>
                                        <p:tav tm="0">
                                          <p:val>
                                            <p:fltVal val="0"/>
                                          </p:val>
                                        </p:tav>
                                        <p:tav tm="100000">
                                          <p:val>
                                            <p:strVal val="#ppt_w"/>
                                          </p:val>
                                        </p:tav>
                                      </p:tavLst>
                                    </p:anim>
                                    <p:anim calcmode="lin" valueType="num">
                                      <p:cBhvr>
                                        <p:cTn id="35" dur="500" fill="hold"/>
                                        <p:tgtEl>
                                          <p:spTgt spid="56"/>
                                        </p:tgtEl>
                                        <p:attrNameLst>
                                          <p:attrName>ppt_h</p:attrName>
                                        </p:attrNameLst>
                                      </p:cBhvr>
                                      <p:tavLst>
                                        <p:tav tm="0">
                                          <p:val>
                                            <p:fltVal val="0"/>
                                          </p:val>
                                        </p:tav>
                                        <p:tav tm="100000">
                                          <p:val>
                                            <p:strVal val="#ppt_h"/>
                                          </p:val>
                                        </p:tav>
                                      </p:tavLst>
                                    </p:anim>
                                    <p:animEffect transition="in" filter="fade">
                                      <p:cBhvr>
                                        <p:cTn id="36" dur="500"/>
                                        <p:tgtEl>
                                          <p:spTgt spid="56"/>
                                        </p:tgtEl>
                                      </p:cBhvr>
                                    </p:animEffect>
                                  </p:childTnLst>
                                </p:cTn>
                              </p:par>
                              <p:par>
                                <p:cTn id="37" presetID="10" presetClass="entr" presetSubtype="0" fill="hold" grpId="0" nodeType="withEffect">
                                  <p:stCondLst>
                                    <p:cond delay="1500"/>
                                  </p:stCondLst>
                                  <p:childTnLst>
                                    <p:set>
                                      <p:cBhvr>
                                        <p:cTn id="38" dur="1" fill="hold">
                                          <p:stCondLst>
                                            <p:cond delay="0"/>
                                          </p:stCondLst>
                                        </p:cTn>
                                        <p:tgtEl>
                                          <p:spTgt spid="58"/>
                                        </p:tgtEl>
                                        <p:attrNameLst>
                                          <p:attrName>style.visibility</p:attrName>
                                        </p:attrNameLst>
                                      </p:cBhvr>
                                      <p:to>
                                        <p:strVal val="visible"/>
                                      </p:to>
                                    </p:set>
                                    <p:animEffect transition="in" filter="fade">
                                      <p:cBhvr>
                                        <p:cTn id="39" dur="500"/>
                                        <p:tgtEl>
                                          <p:spTgt spid="58"/>
                                        </p:tgtEl>
                                      </p:cBhvr>
                                    </p:animEffect>
                                  </p:childTnLst>
                                </p:cTn>
                              </p:par>
                              <p:par>
                                <p:cTn id="40" presetID="53" presetClass="entr" presetSubtype="16" fill="hold" grpId="0" nodeType="withEffect">
                                  <p:stCondLst>
                                    <p:cond delay="2000"/>
                                  </p:stCondLst>
                                  <p:childTnLst>
                                    <p:set>
                                      <p:cBhvr>
                                        <p:cTn id="41" dur="1" fill="hold">
                                          <p:stCondLst>
                                            <p:cond delay="0"/>
                                          </p:stCondLst>
                                        </p:cTn>
                                        <p:tgtEl>
                                          <p:spTgt spid="50"/>
                                        </p:tgtEl>
                                        <p:attrNameLst>
                                          <p:attrName>style.visibility</p:attrName>
                                        </p:attrNameLst>
                                      </p:cBhvr>
                                      <p:to>
                                        <p:strVal val="visible"/>
                                      </p:to>
                                    </p:set>
                                    <p:anim calcmode="lin" valueType="num">
                                      <p:cBhvr>
                                        <p:cTn id="42" dur="500" fill="hold"/>
                                        <p:tgtEl>
                                          <p:spTgt spid="50"/>
                                        </p:tgtEl>
                                        <p:attrNameLst>
                                          <p:attrName>ppt_w</p:attrName>
                                        </p:attrNameLst>
                                      </p:cBhvr>
                                      <p:tavLst>
                                        <p:tav tm="0">
                                          <p:val>
                                            <p:fltVal val="0"/>
                                          </p:val>
                                        </p:tav>
                                        <p:tav tm="100000">
                                          <p:val>
                                            <p:strVal val="#ppt_w"/>
                                          </p:val>
                                        </p:tav>
                                      </p:tavLst>
                                    </p:anim>
                                    <p:anim calcmode="lin" valueType="num">
                                      <p:cBhvr>
                                        <p:cTn id="43" dur="500" fill="hold"/>
                                        <p:tgtEl>
                                          <p:spTgt spid="50"/>
                                        </p:tgtEl>
                                        <p:attrNameLst>
                                          <p:attrName>ppt_h</p:attrName>
                                        </p:attrNameLst>
                                      </p:cBhvr>
                                      <p:tavLst>
                                        <p:tav tm="0">
                                          <p:val>
                                            <p:fltVal val="0"/>
                                          </p:val>
                                        </p:tav>
                                        <p:tav tm="100000">
                                          <p:val>
                                            <p:strVal val="#ppt_h"/>
                                          </p:val>
                                        </p:tav>
                                      </p:tavLst>
                                    </p:anim>
                                    <p:animEffect transition="in" filter="fade">
                                      <p:cBhvr>
                                        <p:cTn id="44" dur="500"/>
                                        <p:tgtEl>
                                          <p:spTgt spid="50"/>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42"/>
                                        </p:tgtEl>
                                        <p:attrNameLst>
                                          <p:attrName>style.visibility</p:attrName>
                                        </p:attrNameLst>
                                      </p:cBhvr>
                                      <p:to>
                                        <p:strVal val="visible"/>
                                      </p:to>
                                    </p:set>
                                    <p:animEffect transition="in" filter="fade">
                                      <p:cBhvr>
                                        <p:cTn id="47" dur="500"/>
                                        <p:tgtEl>
                                          <p:spTgt spid="42"/>
                                        </p:tgtEl>
                                      </p:cBhvr>
                                    </p:animEffect>
                                  </p:childTnLst>
                                </p:cTn>
                              </p:par>
                              <p:par>
                                <p:cTn id="48" presetID="53" presetClass="entr" presetSubtype="16" fill="hold" grpId="0" nodeType="withEffect">
                                  <p:stCondLst>
                                    <p:cond delay="2500"/>
                                  </p:stCondLst>
                                  <p:childTnLst>
                                    <p:set>
                                      <p:cBhvr>
                                        <p:cTn id="49" dur="1" fill="hold">
                                          <p:stCondLst>
                                            <p:cond delay="0"/>
                                          </p:stCondLst>
                                        </p:cTn>
                                        <p:tgtEl>
                                          <p:spTgt spid="53"/>
                                        </p:tgtEl>
                                        <p:attrNameLst>
                                          <p:attrName>style.visibility</p:attrName>
                                        </p:attrNameLst>
                                      </p:cBhvr>
                                      <p:to>
                                        <p:strVal val="visible"/>
                                      </p:to>
                                    </p:set>
                                    <p:anim calcmode="lin" valueType="num">
                                      <p:cBhvr>
                                        <p:cTn id="50" dur="500" fill="hold"/>
                                        <p:tgtEl>
                                          <p:spTgt spid="53"/>
                                        </p:tgtEl>
                                        <p:attrNameLst>
                                          <p:attrName>ppt_w</p:attrName>
                                        </p:attrNameLst>
                                      </p:cBhvr>
                                      <p:tavLst>
                                        <p:tav tm="0">
                                          <p:val>
                                            <p:fltVal val="0"/>
                                          </p:val>
                                        </p:tav>
                                        <p:tav tm="100000">
                                          <p:val>
                                            <p:strVal val="#ppt_w"/>
                                          </p:val>
                                        </p:tav>
                                      </p:tavLst>
                                    </p:anim>
                                    <p:anim calcmode="lin" valueType="num">
                                      <p:cBhvr>
                                        <p:cTn id="51" dur="500" fill="hold"/>
                                        <p:tgtEl>
                                          <p:spTgt spid="53"/>
                                        </p:tgtEl>
                                        <p:attrNameLst>
                                          <p:attrName>ppt_h</p:attrName>
                                        </p:attrNameLst>
                                      </p:cBhvr>
                                      <p:tavLst>
                                        <p:tav tm="0">
                                          <p:val>
                                            <p:fltVal val="0"/>
                                          </p:val>
                                        </p:tav>
                                        <p:tav tm="100000">
                                          <p:val>
                                            <p:strVal val="#ppt_h"/>
                                          </p:val>
                                        </p:tav>
                                      </p:tavLst>
                                    </p:anim>
                                    <p:animEffect transition="in" filter="fade">
                                      <p:cBhvr>
                                        <p:cTn id="52" dur="500"/>
                                        <p:tgtEl>
                                          <p:spTgt spid="53"/>
                                        </p:tgtEl>
                                      </p:cBhvr>
                                    </p:animEffect>
                                  </p:childTnLst>
                                </p:cTn>
                              </p:par>
                              <p:par>
                                <p:cTn id="53" presetID="10" presetClass="entr" presetSubtype="0" fill="hold" grpId="0" nodeType="withEffect">
                                  <p:stCondLst>
                                    <p:cond delay="2500"/>
                                  </p:stCondLst>
                                  <p:childTnLst>
                                    <p:set>
                                      <p:cBhvr>
                                        <p:cTn id="54" dur="1" fill="hold">
                                          <p:stCondLst>
                                            <p:cond delay="0"/>
                                          </p:stCondLst>
                                        </p:cTn>
                                        <p:tgtEl>
                                          <p:spTgt spid="41"/>
                                        </p:tgtEl>
                                        <p:attrNameLst>
                                          <p:attrName>style.visibility</p:attrName>
                                        </p:attrNameLst>
                                      </p:cBhvr>
                                      <p:to>
                                        <p:strVal val="visible"/>
                                      </p:to>
                                    </p:set>
                                    <p:animEffect transition="in" filter="fade">
                                      <p:cBhvr>
                                        <p:cTn id="55"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4" grpId="0"/>
      <p:bldP spid="46" grpId="0"/>
      <p:bldP spid="47" grpId="0"/>
      <p:bldP spid="49" grpId="0" animBg="1"/>
      <p:bldP spid="50" grpId="0" animBg="1"/>
      <p:bldP spid="51" grpId="0" animBg="1"/>
      <p:bldP spid="52" grpId="0" animBg="1"/>
      <p:bldP spid="53" grpId="0" animBg="1"/>
      <p:bldP spid="56" grpId="0" animBg="1"/>
      <p:bldP spid="57" grpId="0" animBg="1"/>
      <p:bldP spid="5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0" name="Picture 3">
            <a:extLst>
              <a:ext uri="{FF2B5EF4-FFF2-40B4-BE49-F238E27FC236}">
                <a16:creationId xmlns:a16="http://schemas.microsoft.com/office/drawing/2014/main" id="{6DE509CD-5CDA-4450-BE60-FCDA2D1A23E4}"/>
              </a:ext>
            </a:extLst>
          </p:cNvPr>
          <p:cNvPicPr>
            <a:picLocks noChangeAspect="1" noChangeArrowheads="1"/>
          </p:cNvPicPr>
          <p:nvPr/>
        </p:nvPicPr>
        <p:blipFill>
          <a:blip r:embed="rId4"/>
          <a:stretch>
            <a:fillRect/>
          </a:stretch>
        </p:blipFill>
        <p:spPr bwMode="gray">
          <a:xfrm>
            <a:off x="7405493" y="2667325"/>
            <a:ext cx="2122634" cy="2122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9" name="Rectangle 398">
            <a:extLst>
              <a:ext uri="{FF2B5EF4-FFF2-40B4-BE49-F238E27FC236}">
                <a16:creationId xmlns:a16="http://schemas.microsoft.com/office/drawing/2014/main" id="{F6F5DC28-1BD8-4261-BAEC-572D38F8BF02}"/>
              </a:ext>
            </a:extLst>
          </p:cNvPr>
          <p:cNvSpPr/>
          <p:nvPr/>
        </p:nvSpPr>
        <p:spPr bwMode="gray">
          <a:xfrm>
            <a:off x="7269708" y="2586751"/>
            <a:ext cx="2209367" cy="23957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401" name="Group 400">
            <a:extLst>
              <a:ext uri="{FF2B5EF4-FFF2-40B4-BE49-F238E27FC236}">
                <a16:creationId xmlns:a16="http://schemas.microsoft.com/office/drawing/2014/main" id="{D9787E1A-6B79-4C20-9094-FDDB9EDBF81E}"/>
              </a:ext>
            </a:extLst>
          </p:cNvPr>
          <p:cNvGrpSpPr/>
          <p:nvPr/>
        </p:nvGrpSpPr>
        <p:grpSpPr bwMode="gray">
          <a:xfrm>
            <a:off x="5085224" y="3101340"/>
            <a:ext cx="2023757" cy="1638564"/>
            <a:chOff x="7581901" y="2867104"/>
            <a:chExt cx="1773555" cy="1435985"/>
          </a:xfrm>
        </p:grpSpPr>
        <p:sp>
          <p:nvSpPr>
            <p:cNvPr id="402" name="Rectangle 287">
              <a:extLst>
                <a:ext uri="{FF2B5EF4-FFF2-40B4-BE49-F238E27FC236}">
                  <a16:creationId xmlns:a16="http://schemas.microsoft.com/office/drawing/2014/main" id="{347E1AA8-EF4C-4BA4-BC7E-6ED258A95CA4}"/>
                </a:ext>
              </a:extLst>
            </p:cNvPr>
            <p:cNvSpPr/>
            <p:nvPr/>
          </p:nvSpPr>
          <p:spPr bwMode="gray">
            <a:xfrm>
              <a:off x="7581901" y="3850645"/>
              <a:ext cx="1508759" cy="452444"/>
            </a:xfrm>
            <a:custGeom>
              <a:avLst/>
              <a:gdLst>
                <a:gd name="connsiteX0" fmla="*/ 0 w 3809268"/>
                <a:gd name="connsiteY0" fmla="*/ 0 h 1092624"/>
                <a:gd name="connsiteX1" fmla="*/ 3809268 w 3809268"/>
                <a:gd name="connsiteY1" fmla="*/ 0 h 1092624"/>
                <a:gd name="connsiteX2" fmla="*/ 3809268 w 3809268"/>
                <a:gd name="connsiteY2" fmla="*/ 247925 h 1092624"/>
                <a:gd name="connsiteX3" fmla="*/ 3738111 w 3809268"/>
                <a:gd name="connsiteY3" fmla="*/ 247925 h 1092624"/>
                <a:gd name="connsiteX4" fmla="*/ 3687987 w 3809268"/>
                <a:gd name="connsiteY4" fmla="*/ 298049 h 1092624"/>
                <a:gd name="connsiteX5" fmla="*/ 3687987 w 3809268"/>
                <a:gd name="connsiteY5" fmla="*/ 315662 h 1092624"/>
                <a:gd name="connsiteX6" fmla="*/ 3738111 w 3809268"/>
                <a:gd name="connsiteY6" fmla="*/ 365786 h 1092624"/>
                <a:gd name="connsiteX7" fmla="*/ 3809268 w 3809268"/>
                <a:gd name="connsiteY7" fmla="*/ 365786 h 1092624"/>
                <a:gd name="connsiteX8" fmla="*/ 3809268 w 3809268"/>
                <a:gd name="connsiteY8" fmla="*/ 726839 h 1092624"/>
                <a:gd name="connsiteX9" fmla="*/ 3738111 w 3809268"/>
                <a:gd name="connsiteY9" fmla="*/ 726839 h 1092624"/>
                <a:gd name="connsiteX10" fmla="*/ 3687987 w 3809268"/>
                <a:gd name="connsiteY10" fmla="*/ 776963 h 1092624"/>
                <a:gd name="connsiteX11" fmla="*/ 3687987 w 3809268"/>
                <a:gd name="connsiteY11" fmla="*/ 794576 h 1092624"/>
                <a:gd name="connsiteX12" fmla="*/ 3738111 w 3809268"/>
                <a:gd name="connsiteY12" fmla="*/ 844700 h 1092624"/>
                <a:gd name="connsiteX13" fmla="*/ 3809268 w 3809268"/>
                <a:gd name="connsiteY13" fmla="*/ 844700 h 1092624"/>
                <a:gd name="connsiteX14" fmla="*/ 3809268 w 3809268"/>
                <a:gd name="connsiteY14" fmla="*/ 1092624 h 1092624"/>
                <a:gd name="connsiteX15" fmla="*/ 0 w 3809268"/>
                <a:gd name="connsiteY15" fmla="*/ 1092624 h 1092624"/>
                <a:gd name="connsiteX16" fmla="*/ 0 w 3809268"/>
                <a:gd name="connsiteY16" fmla="*/ 844700 h 1092624"/>
                <a:gd name="connsiteX17" fmla="*/ 74540 w 3809268"/>
                <a:gd name="connsiteY17" fmla="*/ 844700 h 1092624"/>
                <a:gd name="connsiteX18" fmla="*/ 124664 w 3809268"/>
                <a:gd name="connsiteY18" fmla="*/ 794576 h 1092624"/>
                <a:gd name="connsiteX19" fmla="*/ 74540 w 3809268"/>
                <a:gd name="connsiteY19" fmla="*/ 726839 h 1092624"/>
                <a:gd name="connsiteX20" fmla="*/ 0 w 3809268"/>
                <a:gd name="connsiteY20" fmla="*/ 726839 h 1092624"/>
                <a:gd name="connsiteX21" fmla="*/ 0 w 3809268"/>
                <a:gd name="connsiteY21" fmla="*/ 365786 h 1092624"/>
                <a:gd name="connsiteX22" fmla="*/ 74540 w 3809268"/>
                <a:gd name="connsiteY22" fmla="*/ 365786 h 1092624"/>
                <a:gd name="connsiteX23" fmla="*/ 124664 w 3809268"/>
                <a:gd name="connsiteY23" fmla="*/ 315662 h 1092624"/>
                <a:gd name="connsiteX24" fmla="*/ 124664 w 3809268"/>
                <a:gd name="connsiteY24" fmla="*/ 298049 h 1092624"/>
                <a:gd name="connsiteX25" fmla="*/ 74540 w 3809268"/>
                <a:gd name="connsiteY25" fmla="*/ 247925 h 1092624"/>
                <a:gd name="connsiteX26" fmla="*/ 0 w 3809268"/>
                <a:gd name="connsiteY26" fmla="*/ 247925 h 1092624"/>
                <a:gd name="connsiteX27" fmla="*/ 0 w 3809268"/>
                <a:gd name="connsiteY27" fmla="*/ 0 h 1092624"/>
                <a:gd name="connsiteX0" fmla="*/ 0 w 3809268"/>
                <a:gd name="connsiteY0" fmla="*/ 0 h 1092624"/>
                <a:gd name="connsiteX1" fmla="*/ 3809268 w 3809268"/>
                <a:gd name="connsiteY1" fmla="*/ 0 h 1092624"/>
                <a:gd name="connsiteX2" fmla="*/ 3809268 w 3809268"/>
                <a:gd name="connsiteY2" fmla="*/ 247925 h 1092624"/>
                <a:gd name="connsiteX3" fmla="*/ 3738111 w 3809268"/>
                <a:gd name="connsiteY3" fmla="*/ 247925 h 1092624"/>
                <a:gd name="connsiteX4" fmla="*/ 3687987 w 3809268"/>
                <a:gd name="connsiteY4" fmla="*/ 298049 h 1092624"/>
                <a:gd name="connsiteX5" fmla="*/ 3687987 w 3809268"/>
                <a:gd name="connsiteY5" fmla="*/ 315662 h 1092624"/>
                <a:gd name="connsiteX6" fmla="*/ 3738111 w 3809268"/>
                <a:gd name="connsiteY6" fmla="*/ 365786 h 1092624"/>
                <a:gd name="connsiteX7" fmla="*/ 3809268 w 3809268"/>
                <a:gd name="connsiteY7" fmla="*/ 365786 h 1092624"/>
                <a:gd name="connsiteX8" fmla="*/ 3809268 w 3809268"/>
                <a:gd name="connsiteY8" fmla="*/ 726839 h 1092624"/>
                <a:gd name="connsiteX9" fmla="*/ 3738111 w 3809268"/>
                <a:gd name="connsiteY9" fmla="*/ 726839 h 1092624"/>
                <a:gd name="connsiteX10" fmla="*/ 3687987 w 3809268"/>
                <a:gd name="connsiteY10" fmla="*/ 776963 h 1092624"/>
                <a:gd name="connsiteX11" fmla="*/ 3687987 w 3809268"/>
                <a:gd name="connsiteY11" fmla="*/ 794576 h 1092624"/>
                <a:gd name="connsiteX12" fmla="*/ 3738111 w 3809268"/>
                <a:gd name="connsiteY12" fmla="*/ 844700 h 1092624"/>
                <a:gd name="connsiteX13" fmla="*/ 3809268 w 3809268"/>
                <a:gd name="connsiteY13" fmla="*/ 844700 h 1092624"/>
                <a:gd name="connsiteX14" fmla="*/ 3809268 w 3809268"/>
                <a:gd name="connsiteY14" fmla="*/ 1092624 h 1092624"/>
                <a:gd name="connsiteX15" fmla="*/ 0 w 3809268"/>
                <a:gd name="connsiteY15" fmla="*/ 1092624 h 1092624"/>
                <a:gd name="connsiteX16" fmla="*/ 0 w 3809268"/>
                <a:gd name="connsiteY16" fmla="*/ 844700 h 1092624"/>
                <a:gd name="connsiteX17" fmla="*/ 74540 w 3809268"/>
                <a:gd name="connsiteY17" fmla="*/ 844700 h 1092624"/>
                <a:gd name="connsiteX18" fmla="*/ 74540 w 3809268"/>
                <a:gd name="connsiteY18" fmla="*/ 726839 h 1092624"/>
                <a:gd name="connsiteX19" fmla="*/ 0 w 3809268"/>
                <a:gd name="connsiteY19" fmla="*/ 726839 h 1092624"/>
                <a:gd name="connsiteX20" fmla="*/ 0 w 3809268"/>
                <a:gd name="connsiteY20" fmla="*/ 365786 h 1092624"/>
                <a:gd name="connsiteX21" fmla="*/ 74540 w 3809268"/>
                <a:gd name="connsiteY21" fmla="*/ 365786 h 1092624"/>
                <a:gd name="connsiteX22" fmla="*/ 124664 w 3809268"/>
                <a:gd name="connsiteY22" fmla="*/ 315662 h 1092624"/>
                <a:gd name="connsiteX23" fmla="*/ 124664 w 3809268"/>
                <a:gd name="connsiteY23" fmla="*/ 298049 h 1092624"/>
                <a:gd name="connsiteX24" fmla="*/ 74540 w 3809268"/>
                <a:gd name="connsiteY24" fmla="*/ 247925 h 1092624"/>
                <a:gd name="connsiteX25" fmla="*/ 0 w 3809268"/>
                <a:gd name="connsiteY25" fmla="*/ 247925 h 1092624"/>
                <a:gd name="connsiteX26" fmla="*/ 0 w 3809268"/>
                <a:gd name="connsiteY26" fmla="*/ 0 h 1092624"/>
                <a:gd name="connsiteX0" fmla="*/ 0 w 3809268"/>
                <a:gd name="connsiteY0" fmla="*/ 0 h 1092624"/>
                <a:gd name="connsiteX1" fmla="*/ 3809268 w 3809268"/>
                <a:gd name="connsiteY1" fmla="*/ 0 h 1092624"/>
                <a:gd name="connsiteX2" fmla="*/ 3809268 w 3809268"/>
                <a:gd name="connsiteY2" fmla="*/ 247925 h 1092624"/>
                <a:gd name="connsiteX3" fmla="*/ 3738111 w 3809268"/>
                <a:gd name="connsiteY3" fmla="*/ 247925 h 1092624"/>
                <a:gd name="connsiteX4" fmla="*/ 3687987 w 3809268"/>
                <a:gd name="connsiteY4" fmla="*/ 298049 h 1092624"/>
                <a:gd name="connsiteX5" fmla="*/ 3687987 w 3809268"/>
                <a:gd name="connsiteY5" fmla="*/ 315662 h 1092624"/>
                <a:gd name="connsiteX6" fmla="*/ 3738111 w 3809268"/>
                <a:gd name="connsiteY6" fmla="*/ 365786 h 1092624"/>
                <a:gd name="connsiteX7" fmla="*/ 3809268 w 3809268"/>
                <a:gd name="connsiteY7" fmla="*/ 365786 h 1092624"/>
                <a:gd name="connsiteX8" fmla="*/ 3809268 w 3809268"/>
                <a:gd name="connsiteY8" fmla="*/ 726839 h 1092624"/>
                <a:gd name="connsiteX9" fmla="*/ 3738111 w 3809268"/>
                <a:gd name="connsiteY9" fmla="*/ 726839 h 1092624"/>
                <a:gd name="connsiteX10" fmla="*/ 3687987 w 3809268"/>
                <a:gd name="connsiteY10" fmla="*/ 776963 h 1092624"/>
                <a:gd name="connsiteX11" fmla="*/ 3687987 w 3809268"/>
                <a:gd name="connsiteY11" fmla="*/ 794576 h 1092624"/>
                <a:gd name="connsiteX12" fmla="*/ 3738111 w 3809268"/>
                <a:gd name="connsiteY12" fmla="*/ 844700 h 1092624"/>
                <a:gd name="connsiteX13" fmla="*/ 3809268 w 3809268"/>
                <a:gd name="connsiteY13" fmla="*/ 844700 h 1092624"/>
                <a:gd name="connsiteX14" fmla="*/ 3809268 w 3809268"/>
                <a:gd name="connsiteY14" fmla="*/ 1092624 h 1092624"/>
                <a:gd name="connsiteX15" fmla="*/ 0 w 3809268"/>
                <a:gd name="connsiteY15" fmla="*/ 1092624 h 1092624"/>
                <a:gd name="connsiteX16" fmla="*/ 0 w 3809268"/>
                <a:gd name="connsiteY16" fmla="*/ 844700 h 1092624"/>
                <a:gd name="connsiteX17" fmla="*/ 74540 w 3809268"/>
                <a:gd name="connsiteY17" fmla="*/ 844700 h 1092624"/>
                <a:gd name="connsiteX18" fmla="*/ 0 w 3809268"/>
                <a:gd name="connsiteY18" fmla="*/ 726839 h 1092624"/>
                <a:gd name="connsiteX19" fmla="*/ 0 w 3809268"/>
                <a:gd name="connsiteY19" fmla="*/ 365786 h 1092624"/>
                <a:gd name="connsiteX20" fmla="*/ 74540 w 3809268"/>
                <a:gd name="connsiteY20" fmla="*/ 365786 h 1092624"/>
                <a:gd name="connsiteX21" fmla="*/ 124664 w 3809268"/>
                <a:gd name="connsiteY21" fmla="*/ 315662 h 1092624"/>
                <a:gd name="connsiteX22" fmla="*/ 124664 w 3809268"/>
                <a:gd name="connsiteY22" fmla="*/ 298049 h 1092624"/>
                <a:gd name="connsiteX23" fmla="*/ 74540 w 3809268"/>
                <a:gd name="connsiteY23" fmla="*/ 247925 h 1092624"/>
                <a:gd name="connsiteX24" fmla="*/ 0 w 3809268"/>
                <a:gd name="connsiteY24" fmla="*/ 247925 h 1092624"/>
                <a:gd name="connsiteX25" fmla="*/ 0 w 3809268"/>
                <a:gd name="connsiteY25" fmla="*/ 0 h 1092624"/>
                <a:gd name="connsiteX0" fmla="*/ 0 w 3809268"/>
                <a:gd name="connsiteY0" fmla="*/ 0 h 1092624"/>
                <a:gd name="connsiteX1" fmla="*/ 3809268 w 3809268"/>
                <a:gd name="connsiteY1" fmla="*/ 0 h 1092624"/>
                <a:gd name="connsiteX2" fmla="*/ 3809268 w 3809268"/>
                <a:gd name="connsiteY2" fmla="*/ 247925 h 1092624"/>
                <a:gd name="connsiteX3" fmla="*/ 3738111 w 3809268"/>
                <a:gd name="connsiteY3" fmla="*/ 247925 h 1092624"/>
                <a:gd name="connsiteX4" fmla="*/ 3687987 w 3809268"/>
                <a:gd name="connsiteY4" fmla="*/ 298049 h 1092624"/>
                <a:gd name="connsiteX5" fmla="*/ 3687987 w 3809268"/>
                <a:gd name="connsiteY5" fmla="*/ 315662 h 1092624"/>
                <a:gd name="connsiteX6" fmla="*/ 3738111 w 3809268"/>
                <a:gd name="connsiteY6" fmla="*/ 365786 h 1092624"/>
                <a:gd name="connsiteX7" fmla="*/ 3809268 w 3809268"/>
                <a:gd name="connsiteY7" fmla="*/ 365786 h 1092624"/>
                <a:gd name="connsiteX8" fmla="*/ 3809268 w 3809268"/>
                <a:gd name="connsiteY8" fmla="*/ 726839 h 1092624"/>
                <a:gd name="connsiteX9" fmla="*/ 3738111 w 3809268"/>
                <a:gd name="connsiteY9" fmla="*/ 726839 h 1092624"/>
                <a:gd name="connsiteX10" fmla="*/ 3687987 w 3809268"/>
                <a:gd name="connsiteY10" fmla="*/ 776963 h 1092624"/>
                <a:gd name="connsiteX11" fmla="*/ 3687987 w 3809268"/>
                <a:gd name="connsiteY11" fmla="*/ 794576 h 1092624"/>
                <a:gd name="connsiteX12" fmla="*/ 3738111 w 3809268"/>
                <a:gd name="connsiteY12" fmla="*/ 844700 h 1092624"/>
                <a:gd name="connsiteX13" fmla="*/ 3809268 w 3809268"/>
                <a:gd name="connsiteY13" fmla="*/ 844700 h 1092624"/>
                <a:gd name="connsiteX14" fmla="*/ 3809268 w 3809268"/>
                <a:gd name="connsiteY14" fmla="*/ 1092624 h 1092624"/>
                <a:gd name="connsiteX15" fmla="*/ 0 w 3809268"/>
                <a:gd name="connsiteY15" fmla="*/ 1092624 h 1092624"/>
                <a:gd name="connsiteX16" fmla="*/ 0 w 3809268"/>
                <a:gd name="connsiteY16" fmla="*/ 844700 h 1092624"/>
                <a:gd name="connsiteX17" fmla="*/ 0 w 3809268"/>
                <a:gd name="connsiteY17" fmla="*/ 726839 h 1092624"/>
                <a:gd name="connsiteX18" fmla="*/ 0 w 3809268"/>
                <a:gd name="connsiteY18" fmla="*/ 365786 h 1092624"/>
                <a:gd name="connsiteX19" fmla="*/ 74540 w 3809268"/>
                <a:gd name="connsiteY19" fmla="*/ 365786 h 1092624"/>
                <a:gd name="connsiteX20" fmla="*/ 124664 w 3809268"/>
                <a:gd name="connsiteY20" fmla="*/ 315662 h 1092624"/>
                <a:gd name="connsiteX21" fmla="*/ 124664 w 3809268"/>
                <a:gd name="connsiteY21" fmla="*/ 298049 h 1092624"/>
                <a:gd name="connsiteX22" fmla="*/ 74540 w 3809268"/>
                <a:gd name="connsiteY22" fmla="*/ 247925 h 1092624"/>
                <a:gd name="connsiteX23" fmla="*/ 0 w 3809268"/>
                <a:gd name="connsiteY23" fmla="*/ 247925 h 1092624"/>
                <a:gd name="connsiteX24" fmla="*/ 0 w 3809268"/>
                <a:gd name="connsiteY24" fmla="*/ 0 h 1092624"/>
                <a:gd name="connsiteX0" fmla="*/ 0 w 3809268"/>
                <a:gd name="connsiteY0" fmla="*/ 0 h 1092624"/>
                <a:gd name="connsiteX1" fmla="*/ 3809268 w 3809268"/>
                <a:gd name="connsiteY1" fmla="*/ 0 h 1092624"/>
                <a:gd name="connsiteX2" fmla="*/ 3809268 w 3809268"/>
                <a:gd name="connsiteY2" fmla="*/ 247925 h 1092624"/>
                <a:gd name="connsiteX3" fmla="*/ 3738111 w 3809268"/>
                <a:gd name="connsiteY3" fmla="*/ 247925 h 1092624"/>
                <a:gd name="connsiteX4" fmla="*/ 3687987 w 3809268"/>
                <a:gd name="connsiteY4" fmla="*/ 298049 h 1092624"/>
                <a:gd name="connsiteX5" fmla="*/ 3687987 w 3809268"/>
                <a:gd name="connsiteY5" fmla="*/ 315662 h 1092624"/>
                <a:gd name="connsiteX6" fmla="*/ 3738111 w 3809268"/>
                <a:gd name="connsiteY6" fmla="*/ 365786 h 1092624"/>
                <a:gd name="connsiteX7" fmla="*/ 3809268 w 3809268"/>
                <a:gd name="connsiteY7" fmla="*/ 365786 h 1092624"/>
                <a:gd name="connsiteX8" fmla="*/ 3809268 w 3809268"/>
                <a:gd name="connsiteY8" fmla="*/ 726839 h 1092624"/>
                <a:gd name="connsiteX9" fmla="*/ 3738111 w 3809268"/>
                <a:gd name="connsiteY9" fmla="*/ 726839 h 1092624"/>
                <a:gd name="connsiteX10" fmla="*/ 3687987 w 3809268"/>
                <a:gd name="connsiteY10" fmla="*/ 776963 h 1092624"/>
                <a:gd name="connsiteX11" fmla="*/ 3687987 w 3809268"/>
                <a:gd name="connsiteY11" fmla="*/ 794576 h 1092624"/>
                <a:gd name="connsiteX12" fmla="*/ 3738111 w 3809268"/>
                <a:gd name="connsiteY12" fmla="*/ 844700 h 1092624"/>
                <a:gd name="connsiteX13" fmla="*/ 3809268 w 3809268"/>
                <a:gd name="connsiteY13" fmla="*/ 844700 h 1092624"/>
                <a:gd name="connsiteX14" fmla="*/ 3809268 w 3809268"/>
                <a:gd name="connsiteY14" fmla="*/ 1092624 h 1092624"/>
                <a:gd name="connsiteX15" fmla="*/ 0 w 3809268"/>
                <a:gd name="connsiteY15" fmla="*/ 1092624 h 1092624"/>
                <a:gd name="connsiteX16" fmla="*/ 0 w 3809268"/>
                <a:gd name="connsiteY16" fmla="*/ 844700 h 1092624"/>
                <a:gd name="connsiteX17" fmla="*/ 0 w 3809268"/>
                <a:gd name="connsiteY17" fmla="*/ 726839 h 1092624"/>
                <a:gd name="connsiteX18" fmla="*/ 0 w 3809268"/>
                <a:gd name="connsiteY18" fmla="*/ 365786 h 1092624"/>
                <a:gd name="connsiteX19" fmla="*/ 74540 w 3809268"/>
                <a:gd name="connsiteY19" fmla="*/ 365786 h 1092624"/>
                <a:gd name="connsiteX20" fmla="*/ 124664 w 3809268"/>
                <a:gd name="connsiteY20" fmla="*/ 315662 h 1092624"/>
                <a:gd name="connsiteX21" fmla="*/ 74540 w 3809268"/>
                <a:gd name="connsiteY21" fmla="*/ 247925 h 1092624"/>
                <a:gd name="connsiteX22" fmla="*/ 0 w 3809268"/>
                <a:gd name="connsiteY22" fmla="*/ 247925 h 1092624"/>
                <a:gd name="connsiteX23" fmla="*/ 0 w 3809268"/>
                <a:gd name="connsiteY23" fmla="*/ 0 h 1092624"/>
                <a:gd name="connsiteX0" fmla="*/ 0 w 3809268"/>
                <a:gd name="connsiteY0" fmla="*/ 0 h 1092624"/>
                <a:gd name="connsiteX1" fmla="*/ 3809268 w 3809268"/>
                <a:gd name="connsiteY1" fmla="*/ 0 h 1092624"/>
                <a:gd name="connsiteX2" fmla="*/ 3809268 w 3809268"/>
                <a:gd name="connsiteY2" fmla="*/ 247925 h 1092624"/>
                <a:gd name="connsiteX3" fmla="*/ 3738111 w 3809268"/>
                <a:gd name="connsiteY3" fmla="*/ 247925 h 1092624"/>
                <a:gd name="connsiteX4" fmla="*/ 3687987 w 3809268"/>
                <a:gd name="connsiteY4" fmla="*/ 298049 h 1092624"/>
                <a:gd name="connsiteX5" fmla="*/ 3687987 w 3809268"/>
                <a:gd name="connsiteY5" fmla="*/ 315662 h 1092624"/>
                <a:gd name="connsiteX6" fmla="*/ 3738111 w 3809268"/>
                <a:gd name="connsiteY6" fmla="*/ 365786 h 1092624"/>
                <a:gd name="connsiteX7" fmla="*/ 3809268 w 3809268"/>
                <a:gd name="connsiteY7" fmla="*/ 365786 h 1092624"/>
                <a:gd name="connsiteX8" fmla="*/ 3809268 w 3809268"/>
                <a:gd name="connsiteY8" fmla="*/ 726839 h 1092624"/>
                <a:gd name="connsiteX9" fmla="*/ 3738111 w 3809268"/>
                <a:gd name="connsiteY9" fmla="*/ 726839 h 1092624"/>
                <a:gd name="connsiteX10" fmla="*/ 3687987 w 3809268"/>
                <a:gd name="connsiteY10" fmla="*/ 776963 h 1092624"/>
                <a:gd name="connsiteX11" fmla="*/ 3687987 w 3809268"/>
                <a:gd name="connsiteY11" fmla="*/ 794576 h 1092624"/>
                <a:gd name="connsiteX12" fmla="*/ 3738111 w 3809268"/>
                <a:gd name="connsiteY12" fmla="*/ 844700 h 1092624"/>
                <a:gd name="connsiteX13" fmla="*/ 3809268 w 3809268"/>
                <a:gd name="connsiteY13" fmla="*/ 844700 h 1092624"/>
                <a:gd name="connsiteX14" fmla="*/ 3809268 w 3809268"/>
                <a:gd name="connsiteY14" fmla="*/ 1092624 h 1092624"/>
                <a:gd name="connsiteX15" fmla="*/ 0 w 3809268"/>
                <a:gd name="connsiteY15" fmla="*/ 1092624 h 1092624"/>
                <a:gd name="connsiteX16" fmla="*/ 0 w 3809268"/>
                <a:gd name="connsiteY16" fmla="*/ 844700 h 1092624"/>
                <a:gd name="connsiteX17" fmla="*/ 0 w 3809268"/>
                <a:gd name="connsiteY17" fmla="*/ 726839 h 1092624"/>
                <a:gd name="connsiteX18" fmla="*/ 0 w 3809268"/>
                <a:gd name="connsiteY18" fmla="*/ 365786 h 1092624"/>
                <a:gd name="connsiteX19" fmla="*/ 74540 w 3809268"/>
                <a:gd name="connsiteY19" fmla="*/ 365786 h 1092624"/>
                <a:gd name="connsiteX20" fmla="*/ 74540 w 3809268"/>
                <a:gd name="connsiteY20" fmla="*/ 247925 h 1092624"/>
                <a:gd name="connsiteX21" fmla="*/ 0 w 3809268"/>
                <a:gd name="connsiteY21" fmla="*/ 247925 h 1092624"/>
                <a:gd name="connsiteX22" fmla="*/ 0 w 3809268"/>
                <a:gd name="connsiteY22" fmla="*/ 0 h 1092624"/>
                <a:gd name="connsiteX0" fmla="*/ 0 w 3809268"/>
                <a:gd name="connsiteY0" fmla="*/ 0 h 1092624"/>
                <a:gd name="connsiteX1" fmla="*/ 3809268 w 3809268"/>
                <a:gd name="connsiteY1" fmla="*/ 0 h 1092624"/>
                <a:gd name="connsiteX2" fmla="*/ 3809268 w 3809268"/>
                <a:gd name="connsiteY2" fmla="*/ 247925 h 1092624"/>
                <a:gd name="connsiteX3" fmla="*/ 3738111 w 3809268"/>
                <a:gd name="connsiteY3" fmla="*/ 247925 h 1092624"/>
                <a:gd name="connsiteX4" fmla="*/ 3687987 w 3809268"/>
                <a:gd name="connsiteY4" fmla="*/ 298049 h 1092624"/>
                <a:gd name="connsiteX5" fmla="*/ 3687987 w 3809268"/>
                <a:gd name="connsiteY5" fmla="*/ 315662 h 1092624"/>
                <a:gd name="connsiteX6" fmla="*/ 3738111 w 3809268"/>
                <a:gd name="connsiteY6" fmla="*/ 365786 h 1092624"/>
                <a:gd name="connsiteX7" fmla="*/ 3809268 w 3809268"/>
                <a:gd name="connsiteY7" fmla="*/ 365786 h 1092624"/>
                <a:gd name="connsiteX8" fmla="*/ 3809268 w 3809268"/>
                <a:gd name="connsiteY8" fmla="*/ 726839 h 1092624"/>
                <a:gd name="connsiteX9" fmla="*/ 3738111 w 3809268"/>
                <a:gd name="connsiteY9" fmla="*/ 726839 h 1092624"/>
                <a:gd name="connsiteX10" fmla="*/ 3687987 w 3809268"/>
                <a:gd name="connsiteY10" fmla="*/ 776963 h 1092624"/>
                <a:gd name="connsiteX11" fmla="*/ 3687987 w 3809268"/>
                <a:gd name="connsiteY11" fmla="*/ 794576 h 1092624"/>
                <a:gd name="connsiteX12" fmla="*/ 3738111 w 3809268"/>
                <a:gd name="connsiteY12" fmla="*/ 844700 h 1092624"/>
                <a:gd name="connsiteX13" fmla="*/ 3809268 w 3809268"/>
                <a:gd name="connsiteY13" fmla="*/ 844700 h 1092624"/>
                <a:gd name="connsiteX14" fmla="*/ 3809268 w 3809268"/>
                <a:gd name="connsiteY14" fmla="*/ 1092624 h 1092624"/>
                <a:gd name="connsiteX15" fmla="*/ 0 w 3809268"/>
                <a:gd name="connsiteY15" fmla="*/ 1092624 h 1092624"/>
                <a:gd name="connsiteX16" fmla="*/ 0 w 3809268"/>
                <a:gd name="connsiteY16" fmla="*/ 844700 h 1092624"/>
                <a:gd name="connsiteX17" fmla="*/ 0 w 3809268"/>
                <a:gd name="connsiteY17" fmla="*/ 726839 h 1092624"/>
                <a:gd name="connsiteX18" fmla="*/ 0 w 3809268"/>
                <a:gd name="connsiteY18" fmla="*/ 365786 h 1092624"/>
                <a:gd name="connsiteX19" fmla="*/ 74540 w 3809268"/>
                <a:gd name="connsiteY19" fmla="*/ 365786 h 1092624"/>
                <a:gd name="connsiteX20" fmla="*/ 0 w 3809268"/>
                <a:gd name="connsiteY20" fmla="*/ 247925 h 1092624"/>
                <a:gd name="connsiteX21" fmla="*/ 0 w 3809268"/>
                <a:gd name="connsiteY21" fmla="*/ 0 h 1092624"/>
                <a:gd name="connsiteX0" fmla="*/ 0 w 3809268"/>
                <a:gd name="connsiteY0" fmla="*/ 0 h 1092624"/>
                <a:gd name="connsiteX1" fmla="*/ 3809268 w 3809268"/>
                <a:gd name="connsiteY1" fmla="*/ 0 h 1092624"/>
                <a:gd name="connsiteX2" fmla="*/ 3809268 w 3809268"/>
                <a:gd name="connsiteY2" fmla="*/ 247925 h 1092624"/>
                <a:gd name="connsiteX3" fmla="*/ 3738111 w 3809268"/>
                <a:gd name="connsiteY3" fmla="*/ 247925 h 1092624"/>
                <a:gd name="connsiteX4" fmla="*/ 3687987 w 3809268"/>
                <a:gd name="connsiteY4" fmla="*/ 298049 h 1092624"/>
                <a:gd name="connsiteX5" fmla="*/ 3687987 w 3809268"/>
                <a:gd name="connsiteY5" fmla="*/ 315662 h 1092624"/>
                <a:gd name="connsiteX6" fmla="*/ 3738111 w 3809268"/>
                <a:gd name="connsiteY6" fmla="*/ 365786 h 1092624"/>
                <a:gd name="connsiteX7" fmla="*/ 3809268 w 3809268"/>
                <a:gd name="connsiteY7" fmla="*/ 365786 h 1092624"/>
                <a:gd name="connsiteX8" fmla="*/ 3809268 w 3809268"/>
                <a:gd name="connsiteY8" fmla="*/ 726839 h 1092624"/>
                <a:gd name="connsiteX9" fmla="*/ 3738111 w 3809268"/>
                <a:gd name="connsiteY9" fmla="*/ 726839 h 1092624"/>
                <a:gd name="connsiteX10" fmla="*/ 3687987 w 3809268"/>
                <a:gd name="connsiteY10" fmla="*/ 776963 h 1092624"/>
                <a:gd name="connsiteX11" fmla="*/ 3687987 w 3809268"/>
                <a:gd name="connsiteY11" fmla="*/ 794576 h 1092624"/>
                <a:gd name="connsiteX12" fmla="*/ 3738111 w 3809268"/>
                <a:gd name="connsiteY12" fmla="*/ 844700 h 1092624"/>
                <a:gd name="connsiteX13" fmla="*/ 3809268 w 3809268"/>
                <a:gd name="connsiteY13" fmla="*/ 844700 h 1092624"/>
                <a:gd name="connsiteX14" fmla="*/ 3809268 w 3809268"/>
                <a:gd name="connsiteY14" fmla="*/ 1092624 h 1092624"/>
                <a:gd name="connsiteX15" fmla="*/ 0 w 3809268"/>
                <a:gd name="connsiteY15" fmla="*/ 1092624 h 1092624"/>
                <a:gd name="connsiteX16" fmla="*/ 0 w 3809268"/>
                <a:gd name="connsiteY16" fmla="*/ 844700 h 1092624"/>
                <a:gd name="connsiteX17" fmla="*/ 0 w 3809268"/>
                <a:gd name="connsiteY17" fmla="*/ 726839 h 1092624"/>
                <a:gd name="connsiteX18" fmla="*/ 0 w 3809268"/>
                <a:gd name="connsiteY18" fmla="*/ 365786 h 1092624"/>
                <a:gd name="connsiteX19" fmla="*/ 0 w 3809268"/>
                <a:gd name="connsiteY19" fmla="*/ 247925 h 1092624"/>
                <a:gd name="connsiteX20" fmla="*/ 0 w 3809268"/>
                <a:gd name="connsiteY20" fmla="*/ 0 h 1092624"/>
                <a:gd name="connsiteX0" fmla="*/ 0 w 3809268"/>
                <a:gd name="connsiteY0" fmla="*/ 0 h 1092624"/>
                <a:gd name="connsiteX1" fmla="*/ 3809268 w 3809268"/>
                <a:gd name="connsiteY1" fmla="*/ 0 h 1092624"/>
                <a:gd name="connsiteX2" fmla="*/ 3809268 w 3809268"/>
                <a:gd name="connsiteY2" fmla="*/ 247925 h 1092624"/>
                <a:gd name="connsiteX3" fmla="*/ 3738111 w 3809268"/>
                <a:gd name="connsiteY3" fmla="*/ 247925 h 1092624"/>
                <a:gd name="connsiteX4" fmla="*/ 3687987 w 3809268"/>
                <a:gd name="connsiteY4" fmla="*/ 298049 h 1092624"/>
                <a:gd name="connsiteX5" fmla="*/ 3687987 w 3809268"/>
                <a:gd name="connsiteY5" fmla="*/ 315662 h 1092624"/>
                <a:gd name="connsiteX6" fmla="*/ 3738111 w 3809268"/>
                <a:gd name="connsiteY6" fmla="*/ 365786 h 1092624"/>
                <a:gd name="connsiteX7" fmla="*/ 3809268 w 3809268"/>
                <a:gd name="connsiteY7" fmla="*/ 365786 h 1092624"/>
                <a:gd name="connsiteX8" fmla="*/ 3809268 w 3809268"/>
                <a:gd name="connsiteY8" fmla="*/ 726839 h 1092624"/>
                <a:gd name="connsiteX9" fmla="*/ 3738111 w 3809268"/>
                <a:gd name="connsiteY9" fmla="*/ 726839 h 1092624"/>
                <a:gd name="connsiteX10" fmla="*/ 3687987 w 3809268"/>
                <a:gd name="connsiteY10" fmla="*/ 776963 h 1092624"/>
                <a:gd name="connsiteX11" fmla="*/ 3687987 w 3809268"/>
                <a:gd name="connsiteY11" fmla="*/ 794576 h 1092624"/>
                <a:gd name="connsiteX12" fmla="*/ 3738111 w 3809268"/>
                <a:gd name="connsiteY12" fmla="*/ 844700 h 1092624"/>
                <a:gd name="connsiteX13" fmla="*/ 3809268 w 3809268"/>
                <a:gd name="connsiteY13" fmla="*/ 844700 h 1092624"/>
                <a:gd name="connsiteX14" fmla="*/ 3809268 w 3809268"/>
                <a:gd name="connsiteY14" fmla="*/ 1092624 h 1092624"/>
                <a:gd name="connsiteX15" fmla="*/ 0 w 3809268"/>
                <a:gd name="connsiteY15" fmla="*/ 1092624 h 1092624"/>
                <a:gd name="connsiteX16" fmla="*/ 0 w 3809268"/>
                <a:gd name="connsiteY16" fmla="*/ 726839 h 1092624"/>
                <a:gd name="connsiteX17" fmla="*/ 0 w 3809268"/>
                <a:gd name="connsiteY17" fmla="*/ 365786 h 1092624"/>
                <a:gd name="connsiteX18" fmla="*/ 0 w 3809268"/>
                <a:gd name="connsiteY18" fmla="*/ 247925 h 1092624"/>
                <a:gd name="connsiteX19" fmla="*/ 0 w 3809268"/>
                <a:gd name="connsiteY19" fmla="*/ 0 h 1092624"/>
                <a:gd name="connsiteX0" fmla="*/ 0 w 3809268"/>
                <a:gd name="connsiteY0" fmla="*/ 0 h 1092624"/>
                <a:gd name="connsiteX1" fmla="*/ 3809268 w 3809268"/>
                <a:gd name="connsiteY1" fmla="*/ 0 h 1092624"/>
                <a:gd name="connsiteX2" fmla="*/ 3809268 w 3809268"/>
                <a:gd name="connsiteY2" fmla="*/ 247925 h 1092624"/>
                <a:gd name="connsiteX3" fmla="*/ 3738111 w 3809268"/>
                <a:gd name="connsiteY3" fmla="*/ 247925 h 1092624"/>
                <a:gd name="connsiteX4" fmla="*/ 3687987 w 3809268"/>
                <a:gd name="connsiteY4" fmla="*/ 298049 h 1092624"/>
                <a:gd name="connsiteX5" fmla="*/ 3687987 w 3809268"/>
                <a:gd name="connsiteY5" fmla="*/ 315662 h 1092624"/>
                <a:gd name="connsiteX6" fmla="*/ 3738111 w 3809268"/>
                <a:gd name="connsiteY6" fmla="*/ 365786 h 1092624"/>
                <a:gd name="connsiteX7" fmla="*/ 3809268 w 3809268"/>
                <a:gd name="connsiteY7" fmla="*/ 365786 h 1092624"/>
                <a:gd name="connsiteX8" fmla="*/ 3809268 w 3809268"/>
                <a:gd name="connsiteY8" fmla="*/ 726839 h 1092624"/>
                <a:gd name="connsiteX9" fmla="*/ 3738111 w 3809268"/>
                <a:gd name="connsiteY9" fmla="*/ 726839 h 1092624"/>
                <a:gd name="connsiteX10" fmla="*/ 3687987 w 3809268"/>
                <a:gd name="connsiteY10" fmla="*/ 776963 h 1092624"/>
                <a:gd name="connsiteX11" fmla="*/ 3687987 w 3809268"/>
                <a:gd name="connsiteY11" fmla="*/ 794576 h 1092624"/>
                <a:gd name="connsiteX12" fmla="*/ 3738111 w 3809268"/>
                <a:gd name="connsiteY12" fmla="*/ 844700 h 1092624"/>
                <a:gd name="connsiteX13" fmla="*/ 3809268 w 3809268"/>
                <a:gd name="connsiteY13" fmla="*/ 844700 h 1092624"/>
                <a:gd name="connsiteX14" fmla="*/ 3809268 w 3809268"/>
                <a:gd name="connsiteY14" fmla="*/ 1092624 h 1092624"/>
                <a:gd name="connsiteX15" fmla="*/ 0 w 3809268"/>
                <a:gd name="connsiteY15" fmla="*/ 1092624 h 1092624"/>
                <a:gd name="connsiteX16" fmla="*/ 0 w 3809268"/>
                <a:gd name="connsiteY16" fmla="*/ 365786 h 1092624"/>
                <a:gd name="connsiteX17" fmla="*/ 0 w 3809268"/>
                <a:gd name="connsiteY17" fmla="*/ 247925 h 1092624"/>
                <a:gd name="connsiteX18" fmla="*/ 0 w 3809268"/>
                <a:gd name="connsiteY18" fmla="*/ 0 h 1092624"/>
                <a:gd name="connsiteX0" fmla="*/ 0 w 3809268"/>
                <a:gd name="connsiteY0" fmla="*/ 0 h 1092624"/>
                <a:gd name="connsiteX1" fmla="*/ 3809268 w 3809268"/>
                <a:gd name="connsiteY1" fmla="*/ 0 h 1092624"/>
                <a:gd name="connsiteX2" fmla="*/ 3809268 w 3809268"/>
                <a:gd name="connsiteY2" fmla="*/ 247925 h 1092624"/>
                <a:gd name="connsiteX3" fmla="*/ 3738111 w 3809268"/>
                <a:gd name="connsiteY3" fmla="*/ 247925 h 1092624"/>
                <a:gd name="connsiteX4" fmla="*/ 3687987 w 3809268"/>
                <a:gd name="connsiteY4" fmla="*/ 298049 h 1092624"/>
                <a:gd name="connsiteX5" fmla="*/ 3687987 w 3809268"/>
                <a:gd name="connsiteY5" fmla="*/ 315662 h 1092624"/>
                <a:gd name="connsiteX6" fmla="*/ 3738111 w 3809268"/>
                <a:gd name="connsiteY6" fmla="*/ 365786 h 1092624"/>
                <a:gd name="connsiteX7" fmla="*/ 3809268 w 3809268"/>
                <a:gd name="connsiteY7" fmla="*/ 365786 h 1092624"/>
                <a:gd name="connsiteX8" fmla="*/ 3809268 w 3809268"/>
                <a:gd name="connsiteY8" fmla="*/ 726839 h 1092624"/>
                <a:gd name="connsiteX9" fmla="*/ 3738111 w 3809268"/>
                <a:gd name="connsiteY9" fmla="*/ 726839 h 1092624"/>
                <a:gd name="connsiteX10" fmla="*/ 3687987 w 3809268"/>
                <a:gd name="connsiteY10" fmla="*/ 776963 h 1092624"/>
                <a:gd name="connsiteX11" fmla="*/ 3687987 w 3809268"/>
                <a:gd name="connsiteY11" fmla="*/ 794576 h 1092624"/>
                <a:gd name="connsiteX12" fmla="*/ 3738111 w 3809268"/>
                <a:gd name="connsiteY12" fmla="*/ 844700 h 1092624"/>
                <a:gd name="connsiteX13" fmla="*/ 3809268 w 3809268"/>
                <a:gd name="connsiteY13" fmla="*/ 844700 h 1092624"/>
                <a:gd name="connsiteX14" fmla="*/ 3809268 w 3809268"/>
                <a:gd name="connsiteY14" fmla="*/ 1092624 h 1092624"/>
                <a:gd name="connsiteX15" fmla="*/ 0 w 3809268"/>
                <a:gd name="connsiteY15" fmla="*/ 1092624 h 1092624"/>
                <a:gd name="connsiteX16" fmla="*/ 0 w 3809268"/>
                <a:gd name="connsiteY16" fmla="*/ 247925 h 1092624"/>
                <a:gd name="connsiteX17" fmla="*/ 0 w 3809268"/>
                <a:gd name="connsiteY17" fmla="*/ 0 h 1092624"/>
                <a:gd name="connsiteX0" fmla="*/ 0 w 3809268"/>
                <a:gd name="connsiteY0" fmla="*/ 0 h 1092624"/>
                <a:gd name="connsiteX1" fmla="*/ 3809268 w 3809268"/>
                <a:gd name="connsiteY1" fmla="*/ 0 h 1092624"/>
                <a:gd name="connsiteX2" fmla="*/ 3809268 w 3809268"/>
                <a:gd name="connsiteY2" fmla="*/ 247925 h 1092624"/>
                <a:gd name="connsiteX3" fmla="*/ 3738111 w 3809268"/>
                <a:gd name="connsiteY3" fmla="*/ 247925 h 1092624"/>
                <a:gd name="connsiteX4" fmla="*/ 3687987 w 3809268"/>
                <a:gd name="connsiteY4" fmla="*/ 298049 h 1092624"/>
                <a:gd name="connsiteX5" fmla="*/ 3687987 w 3809268"/>
                <a:gd name="connsiteY5" fmla="*/ 315662 h 1092624"/>
                <a:gd name="connsiteX6" fmla="*/ 3738111 w 3809268"/>
                <a:gd name="connsiteY6" fmla="*/ 365786 h 1092624"/>
                <a:gd name="connsiteX7" fmla="*/ 3809268 w 3809268"/>
                <a:gd name="connsiteY7" fmla="*/ 365786 h 1092624"/>
                <a:gd name="connsiteX8" fmla="*/ 3809268 w 3809268"/>
                <a:gd name="connsiteY8" fmla="*/ 726839 h 1092624"/>
                <a:gd name="connsiteX9" fmla="*/ 3738111 w 3809268"/>
                <a:gd name="connsiteY9" fmla="*/ 726839 h 1092624"/>
                <a:gd name="connsiteX10" fmla="*/ 3687987 w 3809268"/>
                <a:gd name="connsiteY10" fmla="*/ 776963 h 1092624"/>
                <a:gd name="connsiteX11" fmla="*/ 3687987 w 3809268"/>
                <a:gd name="connsiteY11" fmla="*/ 794576 h 1092624"/>
                <a:gd name="connsiteX12" fmla="*/ 3738111 w 3809268"/>
                <a:gd name="connsiteY12" fmla="*/ 844700 h 1092624"/>
                <a:gd name="connsiteX13" fmla="*/ 3809268 w 3809268"/>
                <a:gd name="connsiteY13" fmla="*/ 844700 h 1092624"/>
                <a:gd name="connsiteX14" fmla="*/ 3809268 w 3809268"/>
                <a:gd name="connsiteY14" fmla="*/ 1092624 h 1092624"/>
                <a:gd name="connsiteX15" fmla="*/ 0 w 3809268"/>
                <a:gd name="connsiteY15" fmla="*/ 1092624 h 1092624"/>
                <a:gd name="connsiteX16" fmla="*/ 0 w 3809268"/>
                <a:gd name="connsiteY16" fmla="*/ 0 h 109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09268" h="1092624">
                  <a:moveTo>
                    <a:pt x="0" y="0"/>
                  </a:moveTo>
                  <a:lnTo>
                    <a:pt x="3809268" y="0"/>
                  </a:lnTo>
                  <a:lnTo>
                    <a:pt x="3809268" y="247925"/>
                  </a:lnTo>
                  <a:lnTo>
                    <a:pt x="3738111" y="247925"/>
                  </a:lnTo>
                  <a:cubicBezTo>
                    <a:pt x="3710428" y="247925"/>
                    <a:pt x="3687987" y="270366"/>
                    <a:pt x="3687987" y="298049"/>
                  </a:cubicBezTo>
                  <a:lnTo>
                    <a:pt x="3687987" y="315662"/>
                  </a:lnTo>
                  <a:cubicBezTo>
                    <a:pt x="3687987" y="343345"/>
                    <a:pt x="3710428" y="365786"/>
                    <a:pt x="3738111" y="365786"/>
                  </a:cubicBezTo>
                  <a:lnTo>
                    <a:pt x="3809268" y="365786"/>
                  </a:lnTo>
                  <a:lnTo>
                    <a:pt x="3809268" y="726839"/>
                  </a:lnTo>
                  <a:lnTo>
                    <a:pt x="3738111" y="726839"/>
                  </a:lnTo>
                  <a:cubicBezTo>
                    <a:pt x="3710428" y="726839"/>
                    <a:pt x="3687987" y="749280"/>
                    <a:pt x="3687987" y="776963"/>
                  </a:cubicBezTo>
                  <a:lnTo>
                    <a:pt x="3687987" y="794576"/>
                  </a:lnTo>
                  <a:cubicBezTo>
                    <a:pt x="3687987" y="822259"/>
                    <a:pt x="3710428" y="844700"/>
                    <a:pt x="3738111" y="844700"/>
                  </a:cubicBezTo>
                  <a:lnTo>
                    <a:pt x="3809268" y="844700"/>
                  </a:lnTo>
                  <a:lnTo>
                    <a:pt x="3809268" y="1092624"/>
                  </a:lnTo>
                  <a:lnTo>
                    <a:pt x="0" y="1092624"/>
                  </a:lnTo>
                  <a:lnTo>
                    <a:pt x="0" y="0"/>
                  </a:lnTo>
                  <a:close/>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03" name="Oval 402">
              <a:extLst>
                <a:ext uri="{FF2B5EF4-FFF2-40B4-BE49-F238E27FC236}">
                  <a16:creationId xmlns:a16="http://schemas.microsoft.com/office/drawing/2014/main" id="{2BE64657-BE02-4EE3-BFCF-ABB84BE9CD14}"/>
                </a:ext>
              </a:extLst>
            </p:cNvPr>
            <p:cNvSpPr>
              <a:spLocks noChangeAspect="1"/>
            </p:cNvSpPr>
            <p:nvPr/>
          </p:nvSpPr>
          <p:spPr bwMode="gray">
            <a:xfrm>
              <a:off x="7683196" y="3902901"/>
              <a:ext cx="25114" cy="25200"/>
            </a:xfrm>
            <a:prstGeom prst="ellipse">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04" name="Oval 403">
              <a:extLst>
                <a:ext uri="{FF2B5EF4-FFF2-40B4-BE49-F238E27FC236}">
                  <a16:creationId xmlns:a16="http://schemas.microsoft.com/office/drawing/2014/main" id="{0A7F1213-DDB8-435D-93D3-2B70461E908C}"/>
                </a:ext>
              </a:extLst>
            </p:cNvPr>
            <p:cNvSpPr>
              <a:spLocks noChangeAspect="1"/>
            </p:cNvSpPr>
            <p:nvPr/>
          </p:nvSpPr>
          <p:spPr bwMode="gray">
            <a:xfrm>
              <a:off x="7683196" y="4221548"/>
              <a:ext cx="25114" cy="25200"/>
            </a:xfrm>
            <a:prstGeom prst="ellipse">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05" name="Oval 404">
              <a:extLst>
                <a:ext uri="{FF2B5EF4-FFF2-40B4-BE49-F238E27FC236}">
                  <a16:creationId xmlns:a16="http://schemas.microsoft.com/office/drawing/2014/main" id="{42E112AA-D330-49F4-9284-34A474975A66}"/>
                </a:ext>
              </a:extLst>
            </p:cNvPr>
            <p:cNvSpPr>
              <a:spLocks noChangeAspect="1"/>
            </p:cNvSpPr>
            <p:nvPr/>
          </p:nvSpPr>
          <p:spPr bwMode="gray">
            <a:xfrm>
              <a:off x="8953182" y="3902901"/>
              <a:ext cx="25114" cy="25200"/>
            </a:xfrm>
            <a:prstGeom prst="ellipse">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06" name="Oval 405">
              <a:extLst>
                <a:ext uri="{FF2B5EF4-FFF2-40B4-BE49-F238E27FC236}">
                  <a16:creationId xmlns:a16="http://schemas.microsoft.com/office/drawing/2014/main" id="{EDBE43CF-6F9E-4397-99C9-AE7266C38DA5}"/>
                </a:ext>
              </a:extLst>
            </p:cNvPr>
            <p:cNvSpPr>
              <a:spLocks noChangeAspect="1"/>
            </p:cNvSpPr>
            <p:nvPr/>
          </p:nvSpPr>
          <p:spPr bwMode="gray">
            <a:xfrm>
              <a:off x="8953182" y="4221548"/>
              <a:ext cx="25114" cy="25200"/>
            </a:xfrm>
            <a:prstGeom prst="ellipse">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07" name="Rectangle 406">
              <a:extLst>
                <a:ext uri="{FF2B5EF4-FFF2-40B4-BE49-F238E27FC236}">
                  <a16:creationId xmlns:a16="http://schemas.microsoft.com/office/drawing/2014/main" id="{8D07E050-3EED-4802-9328-96C51CB72C16}"/>
                </a:ext>
              </a:extLst>
            </p:cNvPr>
            <p:cNvSpPr/>
            <p:nvPr/>
          </p:nvSpPr>
          <p:spPr bwMode="gray">
            <a:xfrm>
              <a:off x="8343901" y="3939933"/>
              <a:ext cx="530213" cy="273869"/>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08" name="Rectangle 407">
              <a:extLst>
                <a:ext uri="{FF2B5EF4-FFF2-40B4-BE49-F238E27FC236}">
                  <a16:creationId xmlns:a16="http://schemas.microsoft.com/office/drawing/2014/main" id="{51B25232-D240-4C31-9EB1-CA340AB2C6E9}"/>
                </a:ext>
              </a:extLst>
            </p:cNvPr>
            <p:cNvSpPr/>
            <p:nvPr/>
          </p:nvSpPr>
          <p:spPr bwMode="gray">
            <a:xfrm>
              <a:off x="8427721" y="3995844"/>
              <a:ext cx="184905" cy="158237"/>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09" name="Rectangle 408">
              <a:extLst>
                <a:ext uri="{FF2B5EF4-FFF2-40B4-BE49-F238E27FC236}">
                  <a16:creationId xmlns:a16="http://schemas.microsoft.com/office/drawing/2014/main" id="{EB5FB0D6-4A93-41DA-A28B-3A04CC12F168}"/>
                </a:ext>
              </a:extLst>
            </p:cNvPr>
            <p:cNvSpPr/>
            <p:nvPr/>
          </p:nvSpPr>
          <p:spPr bwMode="gray">
            <a:xfrm>
              <a:off x="8728963" y="4006478"/>
              <a:ext cx="37282" cy="38077"/>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10" name="Rectangle 409">
              <a:extLst>
                <a:ext uri="{FF2B5EF4-FFF2-40B4-BE49-F238E27FC236}">
                  <a16:creationId xmlns:a16="http://schemas.microsoft.com/office/drawing/2014/main" id="{4810F157-0F84-4868-BA23-6D91DDD0AC8F}"/>
                </a:ext>
              </a:extLst>
            </p:cNvPr>
            <p:cNvSpPr/>
            <p:nvPr/>
          </p:nvSpPr>
          <p:spPr bwMode="gray">
            <a:xfrm>
              <a:off x="8674997" y="4057829"/>
              <a:ext cx="37282" cy="38077"/>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11" name="Rectangle 410">
              <a:extLst>
                <a:ext uri="{FF2B5EF4-FFF2-40B4-BE49-F238E27FC236}">
                  <a16:creationId xmlns:a16="http://schemas.microsoft.com/office/drawing/2014/main" id="{BA684C26-89B2-4ADD-BFE5-53E4D90705D7}"/>
                </a:ext>
              </a:extLst>
            </p:cNvPr>
            <p:cNvSpPr/>
            <p:nvPr/>
          </p:nvSpPr>
          <p:spPr bwMode="gray">
            <a:xfrm>
              <a:off x="8728963" y="4057829"/>
              <a:ext cx="37282" cy="38077"/>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12" name="Rectangle 411">
              <a:extLst>
                <a:ext uri="{FF2B5EF4-FFF2-40B4-BE49-F238E27FC236}">
                  <a16:creationId xmlns:a16="http://schemas.microsoft.com/office/drawing/2014/main" id="{27B6D7B5-5D31-4913-AF80-3DFFF01C96E0}"/>
                </a:ext>
              </a:extLst>
            </p:cNvPr>
            <p:cNvSpPr/>
            <p:nvPr/>
          </p:nvSpPr>
          <p:spPr bwMode="gray">
            <a:xfrm>
              <a:off x="8782931" y="4057829"/>
              <a:ext cx="37282" cy="38077"/>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13" name="Rectangle 412">
              <a:extLst>
                <a:ext uri="{FF2B5EF4-FFF2-40B4-BE49-F238E27FC236}">
                  <a16:creationId xmlns:a16="http://schemas.microsoft.com/office/drawing/2014/main" id="{AB8D939B-CEAC-4248-8869-9C0187EE2812}"/>
                </a:ext>
              </a:extLst>
            </p:cNvPr>
            <p:cNvSpPr/>
            <p:nvPr/>
          </p:nvSpPr>
          <p:spPr bwMode="gray">
            <a:xfrm>
              <a:off x="8728963" y="4109181"/>
              <a:ext cx="37282" cy="38077"/>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14" name="Freeform: Shape 413">
              <a:extLst>
                <a:ext uri="{FF2B5EF4-FFF2-40B4-BE49-F238E27FC236}">
                  <a16:creationId xmlns:a16="http://schemas.microsoft.com/office/drawing/2014/main" id="{C949CCDA-31E3-44C8-BCAA-56B65532FFB4}"/>
                </a:ext>
              </a:extLst>
            </p:cNvPr>
            <p:cNvSpPr/>
            <p:nvPr/>
          </p:nvSpPr>
          <p:spPr bwMode="gray">
            <a:xfrm>
              <a:off x="7611460" y="3750945"/>
              <a:ext cx="1671605" cy="99519"/>
            </a:xfrm>
            <a:custGeom>
              <a:avLst/>
              <a:gdLst>
                <a:gd name="connsiteX0" fmla="*/ 1046692 w 3295567"/>
                <a:gd name="connsiteY0" fmla="*/ 0 h 283579"/>
                <a:gd name="connsiteX1" fmla="*/ 2923635 w 3295567"/>
                <a:gd name="connsiteY1" fmla="*/ 0 h 283579"/>
                <a:gd name="connsiteX2" fmla="*/ 3295567 w 3295567"/>
                <a:gd name="connsiteY2" fmla="*/ 634 h 283579"/>
                <a:gd name="connsiteX3" fmla="*/ 2947984 w 3295567"/>
                <a:gd name="connsiteY3" fmla="*/ 281675 h 283579"/>
                <a:gd name="connsiteX4" fmla="*/ 0 w 3295567"/>
                <a:gd name="connsiteY4" fmla="*/ 283579 h 283579"/>
                <a:gd name="connsiteX0" fmla="*/ 1046692 w 3295567"/>
                <a:gd name="connsiteY0" fmla="*/ 0 h 283579"/>
                <a:gd name="connsiteX1" fmla="*/ 3295567 w 3295567"/>
                <a:gd name="connsiteY1" fmla="*/ 634 h 283579"/>
                <a:gd name="connsiteX2" fmla="*/ 2947984 w 3295567"/>
                <a:gd name="connsiteY2" fmla="*/ 281675 h 283579"/>
                <a:gd name="connsiteX3" fmla="*/ 0 w 3295567"/>
                <a:gd name="connsiteY3" fmla="*/ 283579 h 283579"/>
                <a:gd name="connsiteX4" fmla="*/ 1046692 w 3295567"/>
                <a:gd name="connsiteY4" fmla="*/ 0 h 283579"/>
                <a:gd name="connsiteX0" fmla="*/ 1046692 w 3482075"/>
                <a:gd name="connsiteY0" fmla="*/ 23378 h 306957"/>
                <a:gd name="connsiteX1" fmla="*/ 3482075 w 3482075"/>
                <a:gd name="connsiteY1" fmla="*/ 0 h 306957"/>
                <a:gd name="connsiteX2" fmla="*/ 2947984 w 3482075"/>
                <a:gd name="connsiteY2" fmla="*/ 305053 h 306957"/>
                <a:gd name="connsiteX3" fmla="*/ 0 w 3482075"/>
                <a:gd name="connsiteY3" fmla="*/ 306957 h 306957"/>
                <a:gd name="connsiteX4" fmla="*/ 1046692 w 3482075"/>
                <a:gd name="connsiteY4" fmla="*/ 23378 h 306957"/>
                <a:gd name="connsiteX0" fmla="*/ 1054629 w 3482075"/>
                <a:gd name="connsiteY0" fmla="*/ 0 h 313593"/>
                <a:gd name="connsiteX1" fmla="*/ 3482075 w 3482075"/>
                <a:gd name="connsiteY1" fmla="*/ 6636 h 313593"/>
                <a:gd name="connsiteX2" fmla="*/ 2947984 w 3482075"/>
                <a:gd name="connsiteY2" fmla="*/ 311689 h 313593"/>
                <a:gd name="connsiteX3" fmla="*/ 0 w 3482075"/>
                <a:gd name="connsiteY3" fmla="*/ 313593 h 313593"/>
                <a:gd name="connsiteX4" fmla="*/ 1054629 w 3482075"/>
                <a:gd name="connsiteY4" fmla="*/ 0 h 313593"/>
                <a:gd name="connsiteX0" fmla="*/ 1137962 w 3482075"/>
                <a:gd name="connsiteY0" fmla="*/ 17375 h 306957"/>
                <a:gd name="connsiteX1" fmla="*/ 3482075 w 3482075"/>
                <a:gd name="connsiteY1" fmla="*/ 0 h 306957"/>
                <a:gd name="connsiteX2" fmla="*/ 2947984 w 3482075"/>
                <a:gd name="connsiteY2" fmla="*/ 305053 h 306957"/>
                <a:gd name="connsiteX3" fmla="*/ 0 w 3482075"/>
                <a:gd name="connsiteY3" fmla="*/ 306957 h 306957"/>
                <a:gd name="connsiteX4" fmla="*/ 1137962 w 3482075"/>
                <a:gd name="connsiteY4" fmla="*/ 17375 h 306957"/>
                <a:gd name="connsiteX0" fmla="*/ 1145898 w 3482075"/>
                <a:gd name="connsiteY0" fmla="*/ 0 h 313593"/>
                <a:gd name="connsiteX1" fmla="*/ 3482075 w 3482075"/>
                <a:gd name="connsiteY1" fmla="*/ 6636 h 313593"/>
                <a:gd name="connsiteX2" fmla="*/ 2947984 w 3482075"/>
                <a:gd name="connsiteY2" fmla="*/ 311689 h 313593"/>
                <a:gd name="connsiteX3" fmla="*/ 0 w 3482075"/>
                <a:gd name="connsiteY3" fmla="*/ 313593 h 313593"/>
                <a:gd name="connsiteX4" fmla="*/ 1145898 w 3482075"/>
                <a:gd name="connsiteY4" fmla="*/ 0 h 3135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2075" h="313593">
                  <a:moveTo>
                    <a:pt x="1145898" y="0"/>
                  </a:moveTo>
                  <a:lnTo>
                    <a:pt x="3482075" y="6636"/>
                  </a:lnTo>
                  <a:lnTo>
                    <a:pt x="2947984" y="311689"/>
                  </a:lnTo>
                  <a:lnTo>
                    <a:pt x="0" y="313593"/>
                  </a:lnTo>
                  <a:lnTo>
                    <a:pt x="1145898" y="0"/>
                  </a:lnTo>
                  <a:close/>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15" name="Freeform: Shape 414">
              <a:extLst>
                <a:ext uri="{FF2B5EF4-FFF2-40B4-BE49-F238E27FC236}">
                  <a16:creationId xmlns:a16="http://schemas.microsoft.com/office/drawing/2014/main" id="{77664FCD-EB7B-4AC5-BA66-2442ACA1A535}"/>
                </a:ext>
              </a:extLst>
            </p:cNvPr>
            <p:cNvSpPr/>
            <p:nvPr/>
          </p:nvSpPr>
          <p:spPr bwMode="gray">
            <a:xfrm>
              <a:off x="9037176" y="3753339"/>
              <a:ext cx="247795" cy="468622"/>
            </a:xfrm>
            <a:custGeom>
              <a:avLst/>
              <a:gdLst>
                <a:gd name="connsiteX0" fmla="*/ 247795 w 247795"/>
                <a:gd name="connsiteY0" fmla="*/ 0 h 468622"/>
                <a:gd name="connsiteX1" fmla="*/ 245890 w 247795"/>
                <a:gd name="connsiteY1" fmla="*/ 255863 h 468622"/>
                <a:gd name="connsiteX2" fmla="*/ 245890 w 247795"/>
                <a:gd name="connsiteY2" fmla="*/ 360751 h 468622"/>
                <a:gd name="connsiteX3" fmla="*/ 55167 w 247795"/>
                <a:gd name="connsiteY3" fmla="*/ 468622 h 468622"/>
                <a:gd name="connsiteX4" fmla="*/ 53485 w 247795"/>
                <a:gd name="connsiteY4" fmla="*/ 468284 h 468622"/>
                <a:gd name="connsiteX5" fmla="*/ 53485 w 247795"/>
                <a:gd name="connsiteY5" fmla="*/ 447088 h 468622"/>
                <a:gd name="connsiteX6" fmla="*/ 25301 w 247795"/>
                <a:gd name="connsiteY6" fmla="*/ 447088 h 468622"/>
                <a:gd name="connsiteX7" fmla="*/ 5449 w 247795"/>
                <a:gd name="connsiteY7" fmla="*/ 426332 h 468622"/>
                <a:gd name="connsiteX8" fmla="*/ 5449 w 247795"/>
                <a:gd name="connsiteY8" fmla="*/ 419038 h 468622"/>
                <a:gd name="connsiteX9" fmla="*/ 25301 w 247795"/>
                <a:gd name="connsiteY9" fmla="*/ 398282 h 468622"/>
                <a:gd name="connsiteX10" fmla="*/ 53485 w 247795"/>
                <a:gd name="connsiteY10" fmla="*/ 398282 h 468622"/>
                <a:gd name="connsiteX11" fmla="*/ 53485 w 247795"/>
                <a:gd name="connsiteY11" fmla="*/ 248774 h 468622"/>
                <a:gd name="connsiteX12" fmla="*/ 25301 w 247795"/>
                <a:gd name="connsiteY12" fmla="*/ 248774 h 468622"/>
                <a:gd name="connsiteX13" fmla="*/ 5449 w 247795"/>
                <a:gd name="connsiteY13" fmla="*/ 228018 h 468622"/>
                <a:gd name="connsiteX14" fmla="*/ 5449 w 247795"/>
                <a:gd name="connsiteY14" fmla="*/ 220725 h 468622"/>
                <a:gd name="connsiteX15" fmla="*/ 25301 w 247795"/>
                <a:gd name="connsiteY15" fmla="*/ 199969 h 468622"/>
                <a:gd name="connsiteX16" fmla="*/ 53485 w 247795"/>
                <a:gd name="connsiteY16" fmla="*/ 199969 h 468622"/>
                <a:gd name="connsiteX17" fmla="*/ 53485 w 247795"/>
                <a:gd name="connsiteY17" fmla="*/ 97306 h 468622"/>
                <a:gd name="connsiteX18" fmla="*/ 0 w 247795"/>
                <a:gd name="connsiteY18" fmla="*/ 97306 h 468622"/>
                <a:gd name="connsiteX19" fmla="*/ 182 w 247795"/>
                <a:gd name="connsiteY19" fmla="*/ 96944 h 46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7795" h="468622">
                  <a:moveTo>
                    <a:pt x="247795" y="0"/>
                  </a:moveTo>
                  <a:cubicBezTo>
                    <a:pt x="247160" y="85288"/>
                    <a:pt x="246525" y="170576"/>
                    <a:pt x="245890" y="255863"/>
                  </a:cubicBezTo>
                  <a:lnTo>
                    <a:pt x="245890" y="360751"/>
                  </a:lnTo>
                  <a:lnTo>
                    <a:pt x="55167" y="468622"/>
                  </a:lnTo>
                  <a:lnTo>
                    <a:pt x="53485" y="468284"/>
                  </a:lnTo>
                  <a:lnTo>
                    <a:pt x="53485" y="447088"/>
                  </a:lnTo>
                  <a:lnTo>
                    <a:pt x="25301" y="447088"/>
                  </a:lnTo>
                  <a:cubicBezTo>
                    <a:pt x="14337" y="447088"/>
                    <a:pt x="5449" y="437795"/>
                    <a:pt x="5449" y="426332"/>
                  </a:cubicBezTo>
                  <a:lnTo>
                    <a:pt x="5449" y="419038"/>
                  </a:lnTo>
                  <a:cubicBezTo>
                    <a:pt x="5449" y="407575"/>
                    <a:pt x="14337" y="398282"/>
                    <a:pt x="25301" y="398282"/>
                  </a:cubicBezTo>
                  <a:lnTo>
                    <a:pt x="53485" y="398282"/>
                  </a:lnTo>
                  <a:lnTo>
                    <a:pt x="53485" y="248774"/>
                  </a:lnTo>
                  <a:lnTo>
                    <a:pt x="25301" y="248774"/>
                  </a:lnTo>
                  <a:cubicBezTo>
                    <a:pt x="14337" y="248774"/>
                    <a:pt x="5449" y="239482"/>
                    <a:pt x="5449" y="228018"/>
                  </a:cubicBezTo>
                  <a:lnTo>
                    <a:pt x="5449" y="220725"/>
                  </a:lnTo>
                  <a:cubicBezTo>
                    <a:pt x="5449" y="209262"/>
                    <a:pt x="14337" y="199969"/>
                    <a:pt x="25301" y="199969"/>
                  </a:cubicBezTo>
                  <a:lnTo>
                    <a:pt x="53485" y="199969"/>
                  </a:lnTo>
                  <a:lnTo>
                    <a:pt x="53485" y="97306"/>
                  </a:lnTo>
                  <a:lnTo>
                    <a:pt x="0" y="97306"/>
                  </a:lnTo>
                  <a:lnTo>
                    <a:pt x="182" y="96944"/>
                  </a:lnTo>
                  <a:close/>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grpSp>
          <p:nvGrpSpPr>
            <p:cNvPr id="416" name="Group 415">
              <a:extLst>
                <a:ext uri="{FF2B5EF4-FFF2-40B4-BE49-F238E27FC236}">
                  <a16:creationId xmlns:a16="http://schemas.microsoft.com/office/drawing/2014/main" id="{93507CA8-879D-413C-96FB-B7C3FEC1383B}"/>
                </a:ext>
              </a:extLst>
            </p:cNvPr>
            <p:cNvGrpSpPr/>
            <p:nvPr/>
          </p:nvGrpSpPr>
          <p:grpSpPr bwMode="gray">
            <a:xfrm>
              <a:off x="7586966" y="3889194"/>
              <a:ext cx="1461784" cy="370134"/>
              <a:chOff x="7769845" y="1869309"/>
              <a:chExt cx="5427741" cy="1374343"/>
            </a:xfrm>
          </p:grpSpPr>
          <p:sp>
            <p:nvSpPr>
              <p:cNvPr id="440" name="Freeform: Shape 439">
                <a:extLst>
                  <a:ext uri="{FF2B5EF4-FFF2-40B4-BE49-F238E27FC236}">
                    <a16:creationId xmlns:a16="http://schemas.microsoft.com/office/drawing/2014/main" id="{519B2815-7013-462D-92DD-5035D6C928DC}"/>
                  </a:ext>
                </a:extLst>
              </p:cNvPr>
              <p:cNvSpPr/>
              <p:nvPr/>
            </p:nvSpPr>
            <p:spPr bwMode="gray">
              <a:xfrm>
                <a:off x="7769845" y="1873092"/>
                <a:ext cx="276471" cy="1370560"/>
              </a:xfrm>
              <a:custGeom>
                <a:avLst/>
                <a:gdLst>
                  <a:gd name="connsiteX0" fmla="*/ 233680 w 256540"/>
                  <a:gd name="connsiteY0" fmla="*/ 106680 h 1366520"/>
                  <a:gd name="connsiteX1" fmla="*/ 231140 w 256540"/>
                  <a:gd name="connsiteY1" fmla="*/ 0 h 1366520"/>
                  <a:gd name="connsiteX2" fmla="*/ 88900 w 256540"/>
                  <a:gd name="connsiteY2" fmla="*/ 30480 h 1366520"/>
                  <a:gd name="connsiteX3" fmla="*/ 0 w 256540"/>
                  <a:gd name="connsiteY3" fmla="*/ 167640 h 1366520"/>
                  <a:gd name="connsiteX4" fmla="*/ 0 w 256540"/>
                  <a:gd name="connsiteY4" fmla="*/ 1206500 h 1366520"/>
                  <a:gd name="connsiteX5" fmla="*/ 114300 w 256540"/>
                  <a:gd name="connsiteY5" fmla="*/ 1366520 h 1366520"/>
                  <a:gd name="connsiteX6" fmla="*/ 256540 w 256540"/>
                  <a:gd name="connsiteY6" fmla="*/ 1323340 h 1366520"/>
                  <a:gd name="connsiteX7" fmla="*/ 254000 w 256540"/>
                  <a:gd name="connsiteY7" fmla="*/ 1231900 h 1366520"/>
                  <a:gd name="connsiteX8" fmla="*/ 149860 w 256540"/>
                  <a:gd name="connsiteY8" fmla="*/ 1264920 h 1366520"/>
                  <a:gd name="connsiteX9" fmla="*/ 124460 w 256540"/>
                  <a:gd name="connsiteY9" fmla="*/ 1252220 h 1366520"/>
                  <a:gd name="connsiteX10" fmla="*/ 111760 w 256540"/>
                  <a:gd name="connsiteY10" fmla="*/ 180340 h 1366520"/>
                  <a:gd name="connsiteX11" fmla="*/ 134620 w 256540"/>
                  <a:gd name="connsiteY11" fmla="*/ 124460 h 1366520"/>
                  <a:gd name="connsiteX12" fmla="*/ 233680 w 256540"/>
                  <a:gd name="connsiteY12" fmla="*/ 106680 h 1366520"/>
                  <a:gd name="connsiteX0" fmla="*/ 238760 w 256540"/>
                  <a:gd name="connsiteY0" fmla="*/ 99060 h 1366520"/>
                  <a:gd name="connsiteX1" fmla="*/ 231140 w 256540"/>
                  <a:gd name="connsiteY1" fmla="*/ 0 h 1366520"/>
                  <a:gd name="connsiteX2" fmla="*/ 88900 w 256540"/>
                  <a:gd name="connsiteY2" fmla="*/ 30480 h 1366520"/>
                  <a:gd name="connsiteX3" fmla="*/ 0 w 256540"/>
                  <a:gd name="connsiteY3" fmla="*/ 167640 h 1366520"/>
                  <a:gd name="connsiteX4" fmla="*/ 0 w 256540"/>
                  <a:gd name="connsiteY4" fmla="*/ 1206500 h 1366520"/>
                  <a:gd name="connsiteX5" fmla="*/ 114300 w 256540"/>
                  <a:gd name="connsiteY5" fmla="*/ 1366520 h 1366520"/>
                  <a:gd name="connsiteX6" fmla="*/ 256540 w 256540"/>
                  <a:gd name="connsiteY6" fmla="*/ 1323340 h 1366520"/>
                  <a:gd name="connsiteX7" fmla="*/ 254000 w 256540"/>
                  <a:gd name="connsiteY7" fmla="*/ 1231900 h 1366520"/>
                  <a:gd name="connsiteX8" fmla="*/ 149860 w 256540"/>
                  <a:gd name="connsiteY8" fmla="*/ 1264920 h 1366520"/>
                  <a:gd name="connsiteX9" fmla="*/ 124460 w 256540"/>
                  <a:gd name="connsiteY9" fmla="*/ 1252220 h 1366520"/>
                  <a:gd name="connsiteX10" fmla="*/ 111760 w 256540"/>
                  <a:gd name="connsiteY10" fmla="*/ 180340 h 1366520"/>
                  <a:gd name="connsiteX11" fmla="*/ 134620 w 256540"/>
                  <a:gd name="connsiteY11" fmla="*/ 124460 h 1366520"/>
                  <a:gd name="connsiteX12" fmla="*/ 238760 w 256540"/>
                  <a:gd name="connsiteY12" fmla="*/ 99060 h 1366520"/>
                  <a:gd name="connsiteX0" fmla="*/ 238760 w 256540"/>
                  <a:gd name="connsiteY0" fmla="*/ 99060 h 1366520"/>
                  <a:gd name="connsiteX1" fmla="*/ 231140 w 256540"/>
                  <a:gd name="connsiteY1" fmla="*/ 0 h 1366520"/>
                  <a:gd name="connsiteX2" fmla="*/ 88900 w 256540"/>
                  <a:gd name="connsiteY2" fmla="*/ 30480 h 1366520"/>
                  <a:gd name="connsiteX3" fmla="*/ 0 w 256540"/>
                  <a:gd name="connsiteY3" fmla="*/ 167640 h 1366520"/>
                  <a:gd name="connsiteX4" fmla="*/ 0 w 256540"/>
                  <a:gd name="connsiteY4" fmla="*/ 1206500 h 1366520"/>
                  <a:gd name="connsiteX5" fmla="*/ 114300 w 256540"/>
                  <a:gd name="connsiteY5" fmla="*/ 1366520 h 1366520"/>
                  <a:gd name="connsiteX6" fmla="*/ 256540 w 256540"/>
                  <a:gd name="connsiteY6" fmla="*/ 1323340 h 1366520"/>
                  <a:gd name="connsiteX7" fmla="*/ 254000 w 256540"/>
                  <a:gd name="connsiteY7" fmla="*/ 1231900 h 1366520"/>
                  <a:gd name="connsiteX8" fmla="*/ 149860 w 256540"/>
                  <a:gd name="connsiteY8" fmla="*/ 1264920 h 1366520"/>
                  <a:gd name="connsiteX9" fmla="*/ 124460 w 256540"/>
                  <a:gd name="connsiteY9" fmla="*/ 1252220 h 1366520"/>
                  <a:gd name="connsiteX10" fmla="*/ 111760 w 256540"/>
                  <a:gd name="connsiteY10" fmla="*/ 180340 h 1366520"/>
                  <a:gd name="connsiteX11" fmla="*/ 134620 w 256540"/>
                  <a:gd name="connsiteY11" fmla="*/ 124460 h 1366520"/>
                  <a:gd name="connsiteX12" fmla="*/ 238760 w 256540"/>
                  <a:gd name="connsiteY12" fmla="*/ 99060 h 1366520"/>
                  <a:gd name="connsiteX0" fmla="*/ 238760 w 260109"/>
                  <a:gd name="connsiteY0" fmla="*/ 99845 h 1367305"/>
                  <a:gd name="connsiteX1" fmla="*/ 231140 w 260109"/>
                  <a:gd name="connsiteY1" fmla="*/ 785 h 1367305"/>
                  <a:gd name="connsiteX2" fmla="*/ 88900 w 260109"/>
                  <a:gd name="connsiteY2" fmla="*/ 31265 h 1367305"/>
                  <a:gd name="connsiteX3" fmla="*/ 0 w 260109"/>
                  <a:gd name="connsiteY3" fmla="*/ 168425 h 1367305"/>
                  <a:gd name="connsiteX4" fmla="*/ 0 w 260109"/>
                  <a:gd name="connsiteY4" fmla="*/ 1207285 h 1367305"/>
                  <a:gd name="connsiteX5" fmla="*/ 114300 w 260109"/>
                  <a:gd name="connsiteY5" fmla="*/ 1367305 h 1367305"/>
                  <a:gd name="connsiteX6" fmla="*/ 256540 w 260109"/>
                  <a:gd name="connsiteY6" fmla="*/ 1324125 h 1367305"/>
                  <a:gd name="connsiteX7" fmla="*/ 254000 w 260109"/>
                  <a:gd name="connsiteY7" fmla="*/ 1232685 h 1367305"/>
                  <a:gd name="connsiteX8" fmla="*/ 149860 w 260109"/>
                  <a:gd name="connsiteY8" fmla="*/ 1265705 h 1367305"/>
                  <a:gd name="connsiteX9" fmla="*/ 124460 w 260109"/>
                  <a:gd name="connsiteY9" fmla="*/ 1253005 h 1367305"/>
                  <a:gd name="connsiteX10" fmla="*/ 111760 w 260109"/>
                  <a:gd name="connsiteY10" fmla="*/ 181125 h 1367305"/>
                  <a:gd name="connsiteX11" fmla="*/ 134620 w 260109"/>
                  <a:gd name="connsiteY11" fmla="*/ 125245 h 1367305"/>
                  <a:gd name="connsiteX12" fmla="*/ 238760 w 260109"/>
                  <a:gd name="connsiteY12" fmla="*/ 99845 h 1367305"/>
                  <a:gd name="connsiteX0" fmla="*/ 238760 w 260109"/>
                  <a:gd name="connsiteY0" fmla="*/ 99845 h 1367305"/>
                  <a:gd name="connsiteX1" fmla="*/ 231140 w 260109"/>
                  <a:gd name="connsiteY1" fmla="*/ 785 h 1367305"/>
                  <a:gd name="connsiteX2" fmla="*/ 88900 w 260109"/>
                  <a:gd name="connsiteY2" fmla="*/ 31265 h 1367305"/>
                  <a:gd name="connsiteX3" fmla="*/ 0 w 260109"/>
                  <a:gd name="connsiteY3" fmla="*/ 168425 h 1367305"/>
                  <a:gd name="connsiteX4" fmla="*/ 0 w 260109"/>
                  <a:gd name="connsiteY4" fmla="*/ 1207285 h 1367305"/>
                  <a:gd name="connsiteX5" fmla="*/ 114300 w 260109"/>
                  <a:gd name="connsiteY5" fmla="*/ 1367305 h 1367305"/>
                  <a:gd name="connsiteX6" fmla="*/ 256540 w 260109"/>
                  <a:gd name="connsiteY6" fmla="*/ 1324125 h 1367305"/>
                  <a:gd name="connsiteX7" fmla="*/ 254000 w 260109"/>
                  <a:gd name="connsiteY7" fmla="*/ 1232685 h 1367305"/>
                  <a:gd name="connsiteX8" fmla="*/ 149860 w 260109"/>
                  <a:gd name="connsiteY8" fmla="*/ 1265705 h 1367305"/>
                  <a:gd name="connsiteX9" fmla="*/ 124460 w 260109"/>
                  <a:gd name="connsiteY9" fmla="*/ 1253005 h 1367305"/>
                  <a:gd name="connsiteX10" fmla="*/ 111760 w 260109"/>
                  <a:gd name="connsiteY10" fmla="*/ 181125 h 1367305"/>
                  <a:gd name="connsiteX11" fmla="*/ 134620 w 260109"/>
                  <a:gd name="connsiteY11" fmla="*/ 125245 h 1367305"/>
                  <a:gd name="connsiteX12" fmla="*/ 238760 w 260109"/>
                  <a:gd name="connsiteY12" fmla="*/ 99845 h 1367305"/>
                  <a:gd name="connsiteX0" fmla="*/ 238776 w 260125"/>
                  <a:gd name="connsiteY0" fmla="*/ 99845 h 1367305"/>
                  <a:gd name="connsiteX1" fmla="*/ 231156 w 260125"/>
                  <a:gd name="connsiteY1" fmla="*/ 785 h 1367305"/>
                  <a:gd name="connsiteX2" fmla="*/ 88916 w 260125"/>
                  <a:gd name="connsiteY2" fmla="*/ 31265 h 1367305"/>
                  <a:gd name="connsiteX3" fmla="*/ 16 w 260125"/>
                  <a:gd name="connsiteY3" fmla="*/ 168425 h 1367305"/>
                  <a:gd name="connsiteX4" fmla="*/ 16 w 260125"/>
                  <a:gd name="connsiteY4" fmla="*/ 1207285 h 1367305"/>
                  <a:gd name="connsiteX5" fmla="*/ 114316 w 260125"/>
                  <a:gd name="connsiteY5" fmla="*/ 1367305 h 1367305"/>
                  <a:gd name="connsiteX6" fmla="*/ 256556 w 260125"/>
                  <a:gd name="connsiteY6" fmla="*/ 1324125 h 1367305"/>
                  <a:gd name="connsiteX7" fmla="*/ 254016 w 260125"/>
                  <a:gd name="connsiteY7" fmla="*/ 1232685 h 1367305"/>
                  <a:gd name="connsiteX8" fmla="*/ 149876 w 260125"/>
                  <a:gd name="connsiteY8" fmla="*/ 1265705 h 1367305"/>
                  <a:gd name="connsiteX9" fmla="*/ 124476 w 260125"/>
                  <a:gd name="connsiteY9" fmla="*/ 1253005 h 1367305"/>
                  <a:gd name="connsiteX10" fmla="*/ 111776 w 260125"/>
                  <a:gd name="connsiteY10" fmla="*/ 181125 h 1367305"/>
                  <a:gd name="connsiteX11" fmla="*/ 134636 w 260125"/>
                  <a:gd name="connsiteY11" fmla="*/ 125245 h 1367305"/>
                  <a:gd name="connsiteX12" fmla="*/ 238776 w 260125"/>
                  <a:gd name="connsiteY12" fmla="*/ 99845 h 1367305"/>
                  <a:gd name="connsiteX0" fmla="*/ 238776 w 260125"/>
                  <a:gd name="connsiteY0" fmla="*/ 99845 h 1367305"/>
                  <a:gd name="connsiteX1" fmla="*/ 231156 w 260125"/>
                  <a:gd name="connsiteY1" fmla="*/ 785 h 1367305"/>
                  <a:gd name="connsiteX2" fmla="*/ 88916 w 260125"/>
                  <a:gd name="connsiteY2" fmla="*/ 31265 h 1367305"/>
                  <a:gd name="connsiteX3" fmla="*/ 16 w 260125"/>
                  <a:gd name="connsiteY3" fmla="*/ 168425 h 1367305"/>
                  <a:gd name="connsiteX4" fmla="*/ 16 w 260125"/>
                  <a:gd name="connsiteY4" fmla="*/ 1207285 h 1367305"/>
                  <a:gd name="connsiteX5" fmla="*/ 114316 w 260125"/>
                  <a:gd name="connsiteY5" fmla="*/ 1367305 h 1367305"/>
                  <a:gd name="connsiteX6" fmla="*/ 256556 w 260125"/>
                  <a:gd name="connsiteY6" fmla="*/ 1324125 h 1367305"/>
                  <a:gd name="connsiteX7" fmla="*/ 254016 w 260125"/>
                  <a:gd name="connsiteY7" fmla="*/ 1232685 h 1367305"/>
                  <a:gd name="connsiteX8" fmla="*/ 149876 w 260125"/>
                  <a:gd name="connsiteY8" fmla="*/ 1265705 h 1367305"/>
                  <a:gd name="connsiteX9" fmla="*/ 124476 w 260125"/>
                  <a:gd name="connsiteY9" fmla="*/ 1253005 h 1367305"/>
                  <a:gd name="connsiteX10" fmla="*/ 111776 w 260125"/>
                  <a:gd name="connsiteY10" fmla="*/ 181125 h 1367305"/>
                  <a:gd name="connsiteX11" fmla="*/ 134636 w 260125"/>
                  <a:gd name="connsiteY11" fmla="*/ 125245 h 1367305"/>
                  <a:gd name="connsiteX12" fmla="*/ 238776 w 260125"/>
                  <a:gd name="connsiteY12" fmla="*/ 99845 h 1367305"/>
                  <a:gd name="connsiteX0" fmla="*/ 238776 w 260125"/>
                  <a:gd name="connsiteY0" fmla="*/ 99845 h 1369686"/>
                  <a:gd name="connsiteX1" fmla="*/ 231156 w 260125"/>
                  <a:gd name="connsiteY1" fmla="*/ 785 h 1369686"/>
                  <a:gd name="connsiteX2" fmla="*/ 88916 w 260125"/>
                  <a:gd name="connsiteY2" fmla="*/ 31265 h 1369686"/>
                  <a:gd name="connsiteX3" fmla="*/ 16 w 260125"/>
                  <a:gd name="connsiteY3" fmla="*/ 168425 h 1369686"/>
                  <a:gd name="connsiteX4" fmla="*/ 16 w 260125"/>
                  <a:gd name="connsiteY4" fmla="*/ 1207285 h 1369686"/>
                  <a:gd name="connsiteX5" fmla="*/ 114316 w 260125"/>
                  <a:gd name="connsiteY5" fmla="*/ 1367305 h 1369686"/>
                  <a:gd name="connsiteX6" fmla="*/ 256556 w 260125"/>
                  <a:gd name="connsiteY6" fmla="*/ 1324125 h 1369686"/>
                  <a:gd name="connsiteX7" fmla="*/ 254016 w 260125"/>
                  <a:gd name="connsiteY7" fmla="*/ 1232685 h 1369686"/>
                  <a:gd name="connsiteX8" fmla="*/ 149876 w 260125"/>
                  <a:gd name="connsiteY8" fmla="*/ 1265705 h 1369686"/>
                  <a:gd name="connsiteX9" fmla="*/ 124476 w 260125"/>
                  <a:gd name="connsiteY9" fmla="*/ 1253005 h 1369686"/>
                  <a:gd name="connsiteX10" fmla="*/ 111776 w 260125"/>
                  <a:gd name="connsiteY10" fmla="*/ 181125 h 1369686"/>
                  <a:gd name="connsiteX11" fmla="*/ 134636 w 260125"/>
                  <a:gd name="connsiteY11" fmla="*/ 125245 h 1369686"/>
                  <a:gd name="connsiteX12" fmla="*/ 238776 w 260125"/>
                  <a:gd name="connsiteY12" fmla="*/ 99845 h 1369686"/>
                  <a:gd name="connsiteX0" fmla="*/ 238776 w 260125"/>
                  <a:gd name="connsiteY0" fmla="*/ 99845 h 1369686"/>
                  <a:gd name="connsiteX1" fmla="*/ 231156 w 260125"/>
                  <a:gd name="connsiteY1" fmla="*/ 785 h 1369686"/>
                  <a:gd name="connsiteX2" fmla="*/ 88916 w 260125"/>
                  <a:gd name="connsiteY2" fmla="*/ 31265 h 1369686"/>
                  <a:gd name="connsiteX3" fmla="*/ 16 w 260125"/>
                  <a:gd name="connsiteY3" fmla="*/ 168425 h 1369686"/>
                  <a:gd name="connsiteX4" fmla="*/ 16 w 260125"/>
                  <a:gd name="connsiteY4" fmla="*/ 1207285 h 1369686"/>
                  <a:gd name="connsiteX5" fmla="*/ 114316 w 260125"/>
                  <a:gd name="connsiteY5" fmla="*/ 1367305 h 1369686"/>
                  <a:gd name="connsiteX6" fmla="*/ 256556 w 260125"/>
                  <a:gd name="connsiteY6" fmla="*/ 1324125 h 1369686"/>
                  <a:gd name="connsiteX7" fmla="*/ 254016 w 260125"/>
                  <a:gd name="connsiteY7" fmla="*/ 1232685 h 1369686"/>
                  <a:gd name="connsiteX8" fmla="*/ 149876 w 260125"/>
                  <a:gd name="connsiteY8" fmla="*/ 1265705 h 1369686"/>
                  <a:gd name="connsiteX9" fmla="*/ 120666 w 260125"/>
                  <a:gd name="connsiteY9" fmla="*/ 1214905 h 1369686"/>
                  <a:gd name="connsiteX10" fmla="*/ 111776 w 260125"/>
                  <a:gd name="connsiteY10" fmla="*/ 181125 h 1369686"/>
                  <a:gd name="connsiteX11" fmla="*/ 134636 w 260125"/>
                  <a:gd name="connsiteY11" fmla="*/ 125245 h 1369686"/>
                  <a:gd name="connsiteX12" fmla="*/ 238776 w 260125"/>
                  <a:gd name="connsiteY12" fmla="*/ 99845 h 1369686"/>
                  <a:gd name="connsiteX0" fmla="*/ 238776 w 260125"/>
                  <a:gd name="connsiteY0" fmla="*/ 99845 h 1369686"/>
                  <a:gd name="connsiteX1" fmla="*/ 231156 w 260125"/>
                  <a:gd name="connsiteY1" fmla="*/ 785 h 1369686"/>
                  <a:gd name="connsiteX2" fmla="*/ 88916 w 260125"/>
                  <a:gd name="connsiteY2" fmla="*/ 31265 h 1369686"/>
                  <a:gd name="connsiteX3" fmla="*/ 16 w 260125"/>
                  <a:gd name="connsiteY3" fmla="*/ 168425 h 1369686"/>
                  <a:gd name="connsiteX4" fmla="*/ 16 w 260125"/>
                  <a:gd name="connsiteY4" fmla="*/ 1207285 h 1369686"/>
                  <a:gd name="connsiteX5" fmla="*/ 114316 w 260125"/>
                  <a:gd name="connsiteY5" fmla="*/ 1367305 h 1369686"/>
                  <a:gd name="connsiteX6" fmla="*/ 256556 w 260125"/>
                  <a:gd name="connsiteY6" fmla="*/ 1324125 h 1369686"/>
                  <a:gd name="connsiteX7" fmla="*/ 254016 w 260125"/>
                  <a:gd name="connsiteY7" fmla="*/ 1232685 h 1369686"/>
                  <a:gd name="connsiteX8" fmla="*/ 149876 w 260125"/>
                  <a:gd name="connsiteY8" fmla="*/ 1265705 h 1369686"/>
                  <a:gd name="connsiteX9" fmla="*/ 120666 w 260125"/>
                  <a:gd name="connsiteY9" fmla="*/ 1214905 h 1369686"/>
                  <a:gd name="connsiteX10" fmla="*/ 111776 w 260125"/>
                  <a:gd name="connsiteY10" fmla="*/ 181125 h 1369686"/>
                  <a:gd name="connsiteX11" fmla="*/ 134636 w 260125"/>
                  <a:gd name="connsiteY11" fmla="*/ 125245 h 1369686"/>
                  <a:gd name="connsiteX12" fmla="*/ 238776 w 260125"/>
                  <a:gd name="connsiteY12" fmla="*/ 99845 h 1369686"/>
                  <a:gd name="connsiteX0" fmla="*/ 238776 w 260125"/>
                  <a:gd name="connsiteY0" fmla="*/ 99845 h 1369686"/>
                  <a:gd name="connsiteX1" fmla="*/ 231156 w 260125"/>
                  <a:gd name="connsiteY1" fmla="*/ 785 h 1369686"/>
                  <a:gd name="connsiteX2" fmla="*/ 88916 w 260125"/>
                  <a:gd name="connsiteY2" fmla="*/ 31265 h 1369686"/>
                  <a:gd name="connsiteX3" fmla="*/ 16 w 260125"/>
                  <a:gd name="connsiteY3" fmla="*/ 168425 h 1369686"/>
                  <a:gd name="connsiteX4" fmla="*/ 16 w 260125"/>
                  <a:gd name="connsiteY4" fmla="*/ 1207285 h 1369686"/>
                  <a:gd name="connsiteX5" fmla="*/ 114316 w 260125"/>
                  <a:gd name="connsiteY5" fmla="*/ 1367305 h 1369686"/>
                  <a:gd name="connsiteX6" fmla="*/ 256556 w 260125"/>
                  <a:gd name="connsiteY6" fmla="*/ 1324125 h 1369686"/>
                  <a:gd name="connsiteX7" fmla="*/ 254016 w 260125"/>
                  <a:gd name="connsiteY7" fmla="*/ 1232685 h 1369686"/>
                  <a:gd name="connsiteX8" fmla="*/ 149876 w 260125"/>
                  <a:gd name="connsiteY8" fmla="*/ 1265705 h 1369686"/>
                  <a:gd name="connsiteX9" fmla="*/ 120666 w 260125"/>
                  <a:gd name="connsiteY9" fmla="*/ 1214905 h 1369686"/>
                  <a:gd name="connsiteX10" fmla="*/ 111776 w 260125"/>
                  <a:gd name="connsiteY10" fmla="*/ 181125 h 1369686"/>
                  <a:gd name="connsiteX11" fmla="*/ 134636 w 260125"/>
                  <a:gd name="connsiteY11" fmla="*/ 125245 h 1369686"/>
                  <a:gd name="connsiteX12" fmla="*/ 238776 w 260125"/>
                  <a:gd name="connsiteY12" fmla="*/ 99845 h 1369686"/>
                  <a:gd name="connsiteX0" fmla="*/ 238776 w 261672"/>
                  <a:gd name="connsiteY0" fmla="*/ 99845 h 1369686"/>
                  <a:gd name="connsiteX1" fmla="*/ 231156 w 261672"/>
                  <a:gd name="connsiteY1" fmla="*/ 785 h 1369686"/>
                  <a:gd name="connsiteX2" fmla="*/ 88916 w 261672"/>
                  <a:gd name="connsiteY2" fmla="*/ 31265 h 1369686"/>
                  <a:gd name="connsiteX3" fmla="*/ 16 w 261672"/>
                  <a:gd name="connsiteY3" fmla="*/ 168425 h 1369686"/>
                  <a:gd name="connsiteX4" fmla="*/ 16 w 261672"/>
                  <a:gd name="connsiteY4" fmla="*/ 1207285 h 1369686"/>
                  <a:gd name="connsiteX5" fmla="*/ 114316 w 261672"/>
                  <a:gd name="connsiteY5" fmla="*/ 1367305 h 1369686"/>
                  <a:gd name="connsiteX6" fmla="*/ 256556 w 261672"/>
                  <a:gd name="connsiteY6" fmla="*/ 1324125 h 1369686"/>
                  <a:gd name="connsiteX7" fmla="*/ 254016 w 261672"/>
                  <a:gd name="connsiteY7" fmla="*/ 1232685 h 1369686"/>
                  <a:gd name="connsiteX8" fmla="*/ 149876 w 261672"/>
                  <a:gd name="connsiteY8" fmla="*/ 1265705 h 1369686"/>
                  <a:gd name="connsiteX9" fmla="*/ 120666 w 261672"/>
                  <a:gd name="connsiteY9" fmla="*/ 1214905 h 1369686"/>
                  <a:gd name="connsiteX10" fmla="*/ 111776 w 261672"/>
                  <a:gd name="connsiteY10" fmla="*/ 181125 h 1369686"/>
                  <a:gd name="connsiteX11" fmla="*/ 134636 w 261672"/>
                  <a:gd name="connsiteY11" fmla="*/ 125245 h 1369686"/>
                  <a:gd name="connsiteX12" fmla="*/ 238776 w 261672"/>
                  <a:gd name="connsiteY12" fmla="*/ 99845 h 1369686"/>
                  <a:gd name="connsiteX0" fmla="*/ 238776 w 272284"/>
                  <a:gd name="connsiteY0" fmla="*/ 99845 h 1369686"/>
                  <a:gd name="connsiteX1" fmla="*/ 231156 w 272284"/>
                  <a:gd name="connsiteY1" fmla="*/ 785 h 1369686"/>
                  <a:gd name="connsiteX2" fmla="*/ 88916 w 272284"/>
                  <a:gd name="connsiteY2" fmla="*/ 31265 h 1369686"/>
                  <a:gd name="connsiteX3" fmla="*/ 16 w 272284"/>
                  <a:gd name="connsiteY3" fmla="*/ 168425 h 1369686"/>
                  <a:gd name="connsiteX4" fmla="*/ 16 w 272284"/>
                  <a:gd name="connsiteY4" fmla="*/ 1207285 h 1369686"/>
                  <a:gd name="connsiteX5" fmla="*/ 114316 w 272284"/>
                  <a:gd name="connsiteY5" fmla="*/ 1367305 h 1369686"/>
                  <a:gd name="connsiteX6" fmla="*/ 256556 w 272284"/>
                  <a:gd name="connsiteY6" fmla="*/ 1324125 h 1369686"/>
                  <a:gd name="connsiteX7" fmla="*/ 254016 w 272284"/>
                  <a:gd name="connsiteY7" fmla="*/ 1232685 h 1369686"/>
                  <a:gd name="connsiteX8" fmla="*/ 149876 w 272284"/>
                  <a:gd name="connsiteY8" fmla="*/ 1265705 h 1369686"/>
                  <a:gd name="connsiteX9" fmla="*/ 120666 w 272284"/>
                  <a:gd name="connsiteY9" fmla="*/ 1214905 h 1369686"/>
                  <a:gd name="connsiteX10" fmla="*/ 111776 w 272284"/>
                  <a:gd name="connsiteY10" fmla="*/ 181125 h 1369686"/>
                  <a:gd name="connsiteX11" fmla="*/ 134636 w 272284"/>
                  <a:gd name="connsiteY11" fmla="*/ 125245 h 1369686"/>
                  <a:gd name="connsiteX12" fmla="*/ 238776 w 272284"/>
                  <a:gd name="connsiteY12" fmla="*/ 99845 h 1369686"/>
                  <a:gd name="connsiteX0" fmla="*/ 238776 w 266249"/>
                  <a:gd name="connsiteY0" fmla="*/ 99845 h 1369686"/>
                  <a:gd name="connsiteX1" fmla="*/ 231156 w 266249"/>
                  <a:gd name="connsiteY1" fmla="*/ 785 h 1369686"/>
                  <a:gd name="connsiteX2" fmla="*/ 88916 w 266249"/>
                  <a:gd name="connsiteY2" fmla="*/ 31265 h 1369686"/>
                  <a:gd name="connsiteX3" fmla="*/ 16 w 266249"/>
                  <a:gd name="connsiteY3" fmla="*/ 168425 h 1369686"/>
                  <a:gd name="connsiteX4" fmla="*/ 16 w 266249"/>
                  <a:gd name="connsiteY4" fmla="*/ 1207285 h 1369686"/>
                  <a:gd name="connsiteX5" fmla="*/ 114316 w 266249"/>
                  <a:gd name="connsiteY5" fmla="*/ 1367305 h 1369686"/>
                  <a:gd name="connsiteX6" fmla="*/ 256556 w 266249"/>
                  <a:gd name="connsiteY6" fmla="*/ 1324125 h 1369686"/>
                  <a:gd name="connsiteX7" fmla="*/ 229251 w 266249"/>
                  <a:gd name="connsiteY7" fmla="*/ 1234590 h 1369686"/>
                  <a:gd name="connsiteX8" fmla="*/ 149876 w 266249"/>
                  <a:gd name="connsiteY8" fmla="*/ 1265705 h 1369686"/>
                  <a:gd name="connsiteX9" fmla="*/ 120666 w 266249"/>
                  <a:gd name="connsiteY9" fmla="*/ 1214905 h 1369686"/>
                  <a:gd name="connsiteX10" fmla="*/ 111776 w 266249"/>
                  <a:gd name="connsiteY10" fmla="*/ 181125 h 1369686"/>
                  <a:gd name="connsiteX11" fmla="*/ 134636 w 266249"/>
                  <a:gd name="connsiteY11" fmla="*/ 125245 h 1369686"/>
                  <a:gd name="connsiteX12" fmla="*/ 238776 w 266249"/>
                  <a:gd name="connsiteY12" fmla="*/ 99845 h 1369686"/>
                  <a:gd name="connsiteX0" fmla="*/ 238776 w 270032"/>
                  <a:gd name="connsiteY0" fmla="*/ 99845 h 1369686"/>
                  <a:gd name="connsiteX1" fmla="*/ 231156 w 270032"/>
                  <a:gd name="connsiteY1" fmla="*/ 785 h 1369686"/>
                  <a:gd name="connsiteX2" fmla="*/ 88916 w 270032"/>
                  <a:gd name="connsiteY2" fmla="*/ 31265 h 1369686"/>
                  <a:gd name="connsiteX3" fmla="*/ 16 w 270032"/>
                  <a:gd name="connsiteY3" fmla="*/ 168425 h 1369686"/>
                  <a:gd name="connsiteX4" fmla="*/ 16 w 270032"/>
                  <a:gd name="connsiteY4" fmla="*/ 1207285 h 1369686"/>
                  <a:gd name="connsiteX5" fmla="*/ 114316 w 270032"/>
                  <a:gd name="connsiteY5" fmla="*/ 1367305 h 1369686"/>
                  <a:gd name="connsiteX6" fmla="*/ 256556 w 270032"/>
                  <a:gd name="connsiteY6" fmla="*/ 1324125 h 1369686"/>
                  <a:gd name="connsiteX7" fmla="*/ 229251 w 270032"/>
                  <a:gd name="connsiteY7" fmla="*/ 1234590 h 1369686"/>
                  <a:gd name="connsiteX8" fmla="*/ 149876 w 270032"/>
                  <a:gd name="connsiteY8" fmla="*/ 1265705 h 1369686"/>
                  <a:gd name="connsiteX9" fmla="*/ 120666 w 270032"/>
                  <a:gd name="connsiteY9" fmla="*/ 1214905 h 1369686"/>
                  <a:gd name="connsiteX10" fmla="*/ 111776 w 270032"/>
                  <a:gd name="connsiteY10" fmla="*/ 181125 h 1369686"/>
                  <a:gd name="connsiteX11" fmla="*/ 134636 w 270032"/>
                  <a:gd name="connsiteY11" fmla="*/ 125245 h 1369686"/>
                  <a:gd name="connsiteX12" fmla="*/ 238776 w 270032"/>
                  <a:gd name="connsiteY12" fmla="*/ 99845 h 1369686"/>
                  <a:gd name="connsiteX0" fmla="*/ 238776 w 272572"/>
                  <a:gd name="connsiteY0" fmla="*/ 99845 h 1369686"/>
                  <a:gd name="connsiteX1" fmla="*/ 231156 w 272572"/>
                  <a:gd name="connsiteY1" fmla="*/ 785 h 1369686"/>
                  <a:gd name="connsiteX2" fmla="*/ 88916 w 272572"/>
                  <a:gd name="connsiteY2" fmla="*/ 31265 h 1369686"/>
                  <a:gd name="connsiteX3" fmla="*/ 16 w 272572"/>
                  <a:gd name="connsiteY3" fmla="*/ 168425 h 1369686"/>
                  <a:gd name="connsiteX4" fmla="*/ 16 w 272572"/>
                  <a:gd name="connsiteY4" fmla="*/ 1207285 h 1369686"/>
                  <a:gd name="connsiteX5" fmla="*/ 114316 w 272572"/>
                  <a:gd name="connsiteY5" fmla="*/ 1367305 h 1369686"/>
                  <a:gd name="connsiteX6" fmla="*/ 256556 w 272572"/>
                  <a:gd name="connsiteY6" fmla="*/ 1324125 h 1369686"/>
                  <a:gd name="connsiteX7" fmla="*/ 229251 w 272572"/>
                  <a:gd name="connsiteY7" fmla="*/ 1234590 h 1369686"/>
                  <a:gd name="connsiteX8" fmla="*/ 149876 w 272572"/>
                  <a:gd name="connsiteY8" fmla="*/ 1265705 h 1369686"/>
                  <a:gd name="connsiteX9" fmla="*/ 120666 w 272572"/>
                  <a:gd name="connsiteY9" fmla="*/ 1214905 h 1369686"/>
                  <a:gd name="connsiteX10" fmla="*/ 111776 w 272572"/>
                  <a:gd name="connsiteY10" fmla="*/ 181125 h 1369686"/>
                  <a:gd name="connsiteX11" fmla="*/ 134636 w 272572"/>
                  <a:gd name="connsiteY11" fmla="*/ 125245 h 1369686"/>
                  <a:gd name="connsiteX12" fmla="*/ 238776 w 272572"/>
                  <a:gd name="connsiteY12" fmla="*/ 99845 h 1369686"/>
                  <a:gd name="connsiteX0" fmla="*/ 238776 w 272572"/>
                  <a:gd name="connsiteY0" fmla="*/ 99845 h 1369686"/>
                  <a:gd name="connsiteX1" fmla="*/ 231156 w 272572"/>
                  <a:gd name="connsiteY1" fmla="*/ 785 h 1369686"/>
                  <a:gd name="connsiteX2" fmla="*/ 88916 w 272572"/>
                  <a:gd name="connsiteY2" fmla="*/ 31265 h 1369686"/>
                  <a:gd name="connsiteX3" fmla="*/ 16 w 272572"/>
                  <a:gd name="connsiteY3" fmla="*/ 168425 h 1369686"/>
                  <a:gd name="connsiteX4" fmla="*/ 16 w 272572"/>
                  <a:gd name="connsiteY4" fmla="*/ 1207285 h 1369686"/>
                  <a:gd name="connsiteX5" fmla="*/ 114316 w 272572"/>
                  <a:gd name="connsiteY5" fmla="*/ 1367305 h 1369686"/>
                  <a:gd name="connsiteX6" fmla="*/ 256556 w 272572"/>
                  <a:gd name="connsiteY6" fmla="*/ 1324125 h 1369686"/>
                  <a:gd name="connsiteX7" fmla="*/ 229251 w 272572"/>
                  <a:gd name="connsiteY7" fmla="*/ 1234590 h 1369686"/>
                  <a:gd name="connsiteX8" fmla="*/ 149876 w 272572"/>
                  <a:gd name="connsiteY8" fmla="*/ 1252370 h 1369686"/>
                  <a:gd name="connsiteX9" fmla="*/ 120666 w 272572"/>
                  <a:gd name="connsiteY9" fmla="*/ 1214905 h 1369686"/>
                  <a:gd name="connsiteX10" fmla="*/ 111776 w 272572"/>
                  <a:gd name="connsiteY10" fmla="*/ 181125 h 1369686"/>
                  <a:gd name="connsiteX11" fmla="*/ 134636 w 272572"/>
                  <a:gd name="connsiteY11" fmla="*/ 125245 h 1369686"/>
                  <a:gd name="connsiteX12" fmla="*/ 238776 w 272572"/>
                  <a:gd name="connsiteY12" fmla="*/ 99845 h 1369686"/>
                  <a:gd name="connsiteX0" fmla="*/ 238776 w 272572"/>
                  <a:gd name="connsiteY0" fmla="*/ 99845 h 1369686"/>
                  <a:gd name="connsiteX1" fmla="*/ 231156 w 272572"/>
                  <a:gd name="connsiteY1" fmla="*/ 785 h 1369686"/>
                  <a:gd name="connsiteX2" fmla="*/ 88916 w 272572"/>
                  <a:gd name="connsiteY2" fmla="*/ 31265 h 1369686"/>
                  <a:gd name="connsiteX3" fmla="*/ 16 w 272572"/>
                  <a:gd name="connsiteY3" fmla="*/ 168425 h 1369686"/>
                  <a:gd name="connsiteX4" fmla="*/ 16 w 272572"/>
                  <a:gd name="connsiteY4" fmla="*/ 1207285 h 1369686"/>
                  <a:gd name="connsiteX5" fmla="*/ 114316 w 272572"/>
                  <a:gd name="connsiteY5" fmla="*/ 1367305 h 1369686"/>
                  <a:gd name="connsiteX6" fmla="*/ 256556 w 272572"/>
                  <a:gd name="connsiteY6" fmla="*/ 1324125 h 1369686"/>
                  <a:gd name="connsiteX7" fmla="*/ 229251 w 272572"/>
                  <a:gd name="connsiteY7" fmla="*/ 1219350 h 1369686"/>
                  <a:gd name="connsiteX8" fmla="*/ 149876 w 272572"/>
                  <a:gd name="connsiteY8" fmla="*/ 1252370 h 1369686"/>
                  <a:gd name="connsiteX9" fmla="*/ 120666 w 272572"/>
                  <a:gd name="connsiteY9" fmla="*/ 1214905 h 1369686"/>
                  <a:gd name="connsiteX10" fmla="*/ 111776 w 272572"/>
                  <a:gd name="connsiteY10" fmla="*/ 181125 h 1369686"/>
                  <a:gd name="connsiteX11" fmla="*/ 134636 w 272572"/>
                  <a:gd name="connsiteY11" fmla="*/ 125245 h 1369686"/>
                  <a:gd name="connsiteX12" fmla="*/ 238776 w 272572"/>
                  <a:gd name="connsiteY12" fmla="*/ 99845 h 1369686"/>
                  <a:gd name="connsiteX0" fmla="*/ 238776 w 272085"/>
                  <a:gd name="connsiteY0" fmla="*/ 99845 h 1369686"/>
                  <a:gd name="connsiteX1" fmla="*/ 231156 w 272085"/>
                  <a:gd name="connsiteY1" fmla="*/ 785 h 1369686"/>
                  <a:gd name="connsiteX2" fmla="*/ 88916 w 272085"/>
                  <a:gd name="connsiteY2" fmla="*/ 31265 h 1369686"/>
                  <a:gd name="connsiteX3" fmla="*/ 16 w 272085"/>
                  <a:gd name="connsiteY3" fmla="*/ 168425 h 1369686"/>
                  <a:gd name="connsiteX4" fmla="*/ 16 w 272085"/>
                  <a:gd name="connsiteY4" fmla="*/ 1207285 h 1369686"/>
                  <a:gd name="connsiteX5" fmla="*/ 114316 w 272085"/>
                  <a:gd name="connsiteY5" fmla="*/ 1367305 h 1369686"/>
                  <a:gd name="connsiteX6" fmla="*/ 256556 w 272085"/>
                  <a:gd name="connsiteY6" fmla="*/ 1324125 h 1369686"/>
                  <a:gd name="connsiteX7" fmla="*/ 227346 w 272085"/>
                  <a:gd name="connsiteY7" fmla="*/ 1230780 h 1369686"/>
                  <a:gd name="connsiteX8" fmla="*/ 149876 w 272085"/>
                  <a:gd name="connsiteY8" fmla="*/ 1252370 h 1369686"/>
                  <a:gd name="connsiteX9" fmla="*/ 120666 w 272085"/>
                  <a:gd name="connsiteY9" fmla="*/ 1214905 h 1369686"/>
                  <a:gd name="connsiteX10" fmla="*/ 111776 w 272085"/>
                  <a:gd name="connsiteY10" fmla="*/ 181125 h 1369686"/>
                  <a:gd name="connsiteX11" fmla="*/ 134636 w 272085"/>
                  <a:gd name="connsiteY11" fmla="*/ 125245 h 1369686"/>
                  <a:gd name="connsiteX12" fmla="*/ 238776 w 272085"/>
                  <a:gd name="connsiteY12" fmla="*/ 99845 h 1369686"/>
                  <a:gd name="connsiteX0" fmla="*/ 238776 w 272085"/>
                  <a:gd name="connsiteY0" fmla="*/ 99845 h 1369686"/>
                  <a:gd name="connsiteX1" fmla="*/ 231156 w 272085"/>
                  <a:gd name="connsiteY1" fmla="*/ 785 h 1369686"/>
                  <a:gd name="connsiteX2" fmla="*/ 88916 w 272085"/>
                  <a:gd name="connsiteY2" fmla="*/ 31265 h 1369686"/>
                  <a:gd name="connsiteX3" fmla="*/ 16 w 272085"/>
                  <a:gd name="connsiteY3" fmla="*/ 168425 h 1369686"/>
                  <a:gd name="connsiteX4" fmla="*/ 16 w 272085"/>
                  <a:gd name="connsiteY4" fmla="*/ 1207285 h 1369686"/>
                  <a:gd name="connsiteX5" fmla="*/ 114316 w 272085"/>
                  <a:gd name="connsiteY5" fmla="*/ 1367305 h 1369686"/>
                  <a:gd name="connsiteX6" fmla="*/ 256556 w 272085"/>
                  <a:gd name="connsiteY6" fmla="*/ 1324125 h 1369686"/>
                  <a:gd name="connsiteX7" fmla="*/ 227346 w 272085"/>
                  <a:gd name="connsiteY7" fmla="*/ 1230780 h 1369686"/>
                  <a:gd name="connsiteX8" fmla="*/ 157496 w 272085"/>
                  <a:gd name="connsiteY8" fmla="*/ 1248560 h 1369686"/>
                  <a:gd name="connsiteX9" fmla="*/ 120666 w 272085"/>
                  <a:gd name="connsiteY9" fmla="*/ 1214905 h 1369686"/>
                  <a:gd name="connsiteX10" fmla="*/ 111776 w 272085"/>
                  <a:gd name="connsiteY10" fmla="*/ 181125 h 1369686"/>
                  <a:gd name="connsiteX11" fmla="*/ 134636 w 272085"/>
                  <a:gd name="connsiteY11" fmla="*/ 125245 h 1369686"/>
                  <a:gd name="connsiteX12" fmla="*/ 238776 w 272085"/>
                  <a:gd name="connsiteY12" fmla="*/ 99845 h 1369686"/>
                  <a:gd name="connsiteX0" fmla="*/ 238776 w 275808"/>
                  <a:gd name="connsiteY0" fmla="*/ 99845 h 1369686"/>
                  <a:gd name="connsiteX1" fmla="*/ 231156 w 275808"/>
                  <a:gd name="connsiteY1" fmla="*/ 785 h 1369686"/>
                  <a:gd name="connsiteX2" fmla="*/ 88916 w 275808"/>
                  <a:gd name="connsiteY2" fmla="*/ 31265 h 1369686"/>
                  <a:gd name="connsiteX3" fmla="*/ 16 w 275808"/>
                  <a:gd name="connsiteY3" fmla="*/ 168425 h 1369686"/>
                  <a:gd name="connsiteX4" fmla="*/ 16 w 275808"/>
                  <a:gd name="connsiteY4" fmla="*/ 1207285 h 1369686"/>
                  <a:gd name="connsiteX5" fmla="*/ 114316 w 275808"/>
                  <a:gd name="connsiteY5" fmla="*/ 1367305 h 1369686"/>
                  <a:gd name="connsiteX6" fmla="*/ 256556 w 275808"/>
                  <a:gd name="connsiteY6" fmla="*/ 1324125 h 1369686"/>
                  <a:gd name="connsiteX7" fmla="*/ 227346 w 275808"/>
                  <a:gd name="connsiteY7" fmla="*/ 1230780 h 1369686"/>
                  <a:gd name="connsiteX8" fmla="*/ 157496 w 275808"/>
                  <a:gd name="connsiteY8" fmla="*/ 1248560 h 1369686"/>
                  <a:gd name="connsiteX9" fmla="*/ 120666 w 275808"/>
                  <a:gd name="connsiteY9" fmla="*/ 1214905 h 1369686"/>
                  <a:gd name="connsiteX10" fmla="*/ 111776 w 275808"/>
                  <a:gd name="connsiteY10" fmla="*/ 181125 h 1369686"/>
                  <a:gd name="connsiteX11" fmla="*/ 134636 w 275808"/>
                  <a:gd name="connsiteY11" fmla="*/ 125245 h 1369686"/>
                  <a:gd name="connsiteX12" fmla="*/ 238776 w 275808"/>
                  <a:gd name="connsiteY12" fmla="*/ 99845 h 1369686"/>
                  <a:gd name="connsiteX0" fmla="*/ 238776 w 275808"/>
                  <a:gd name="connsiteY0" fmla="*/ 99845 h 1369686"/>
                  <a:gd name="connsiteX1" fmla="*/ 231156 w 275808"/>
                  <a:gd name="connsiteY1" fmla="*/ 785 h 1369686"/>
                  <a:gd name="connsiteX2" fmla="*/ 88916 w 275808"/>
                  <a:gd name="connsiteY2" fmla="*/ 31265 h 1369686"/>
                  <a:gd name="connsiteX3" fmla="*/ 16 w 275808"/>
                  <a:gd name="connsiteY3" fmla="*/ 168425 h 1369686"/>
                  <a:gd name="connsiteX4" fmla="*/ 16 w 275808"/>
                  <a:gd name="connsiteY4" fmla="*/ 1207285 h 1369686"/>
                  <a:gd name="connsiteX5" fmla="*/ 114316 w 275808"/>
                  <a:gd name="connsiteY5" fmla="*/ 1367305 h 1369686"/>
                  <a:gd name="connsiteX6" fmla="*/ 256556 w 275808"/>
                  <a:gd name="connsiteY6" fmla="*/ 1324125 h 1369686"/>
                  <a:gd name="connsiteX7" fmla="*/ 227346 w 275808"/>
                  <a:gd name="connsiteY7" fmla="*/ 1230780 h 1369686"/>
                  <a:gd name="connsiteX8" fmla="*/ 157496 w 275808"/>
                  <a:gd name="connsiteY8" fmla="*/ 1248560 h 1369686"/>
                  <a:gd name="connsiteX9" fmla="*/ 120666 w 275808"/>
                  <a:gd name="connsiteY9" fmla="*/ 1214905 h 1369686"/>
                  <a:gd name="connsiteX10" fmla="*/ 111776 w 275808"/>
                  <a:gd name="connsiteY10" fmla="*/ 181125 h 1369686"/>
                  <a:gd name="connsiteX11" fmla="*/ 130826 w 275808"/>
                  <a:gd name="connsiteY11" fmla="*/ 142390 h 1369686"/>
                  <a:gd name="connsiteX12" fmla="*/ 238776 w 275808"/>
                  <a:gd name="connsiteY12" fmla="*/ 99845 h 1369686"/>
                  <a:gd name="connsiteX0" fmla="*/ 238776 w 275808"/>
                  <a:gd name="connsiteY0" fmla="*/ 99845 h 1369686"/>
                  <a:gd name="connsiteX1" fmla="*/ 231156 w 275808"/>
                  <a:gd name="connsiteY1" fmla="*/ 785 h 1369686"/>
                  <a:gd name="connsiteX2" fmla="*/ 88916 w 275808"/>
                  <a:gd name="connsiteY2" fmla="*/ 31265 h 1369686"/>
                  <a:gd name="connsiteX3" fmla="*/ 16 w 275808"/>
                  <a:gd name="connsiteY3" fmla="*/ 168425 h 1369686"/>
                  <a:gd name="connsiteX4" fmla="*/ 16 w 275808"/>
                  <a:gd name="connsiteY4" fmla="*/ 1207285 h 1369686"/>
                  <a:gd name="connsiteX5" fmla="*/ 114316 w 275808"/>
                  <a:gd name="connsiteY5" fmla="*/ 1367305 h 1369686"/>
                  <a:gd name="connsiteX6" fmla="*/ 256556 w 275808"/>
                  <a:gd name="connsiteY6" fmla="*/ 1324125 h 1369686"/>
                  <a:gd name="connsiteX7" fmla="*/ 227346 w 275808"/>
                  <a:gd name="connsiteY7" fmla="*/ 1230780 h 1369686"/>
                  <a:gd name="connsiteX8" fmla="*/ 157496 w 275808"/>
                  <a:gd name="connsiteY8" fmla="*/ 1248560 h 1369686"/>
                  <a:gd name="connsiteX9" fmla="*/ 120666 w 275808"/>
                  <a:gd name="connsiteY9" fmla="*/ 1214905 h 1369686"/>
                  <a:gd name="connsiteX10" fmla="*/ 111776 w 275808"/>
                  <a:gd name="connsiteY10" fmla="*/ 181125 h 1369686"/>
                  <a:gd name="connsiteX11" fmla="*/ 130826 w 275808"/>
                  <a:gd name="connsiteY11" fmla="*/ 142390 h 1369686"/>
                  <a:gd name="connsiteX12" fmla="*/ 238776 w 275808"/>
                  <a:gd name="connsiteY12" fmla="*/ 99845 h 1369686"/>
                  <a:gd name="connsiteX0" fmla="*/ 238776 w 275808"/>
                  <a:gd name="connsiteY0" fmla="*/ 99845 h 1369686"/>
                  <a:gd name="connsiteX1" fmla="*/ 231156 w 275808"/>
                  <a:gd name="connsiteY1" fmla="*/ 785 h 1369686"/>
                  <a:gd name="connsiteX2" fmla="*/ 88916 w 275808"/>
                  <a:gd name="connsiteY2" fmla="*/ 31265 h 1369686"/>
                  <a:gd name="connsiteX3" fmla="*/ 16 w 275808"/>
                  <a:gd name="connsiteY3" fmla="*/ 168425 h 1369686"/>
                  <a:gd name="connsiteX4" fmla="*/ 16 w 275808"/>
                  <a:gd name="connsiteY4" fmla="*/ 1207285 h 1369686"/>
                  <a:gd name="connsiteX5" fmla="*/ 114316 w 275808"/>
                  <a:gd name="connsiteY5" fmla="*/ 1367305 h 1369686"/>
                  <a:gd name="connsiteX6" fmla="*/ 256556 w 275808"/>
                  <a:gd name="connsiteY6" fmla="*/ 1324125 h 1369686"/>
                  <a:gd name="connsiteX7" fmla="*/ 227346 w 275808"/>
                  <a:gd name="connsiteY7" fmla="*/ 1230780 h 1369686"/>
                  <a:gd name="connsiteX8" fmla="*/ 157496 w 275808"/>
                  <a:gd name="connsiteY8" fmla="*/ 1248560 h 1369686"/>
                  <a:gd name="connsiteX9" fmla="*/ 120666 w 275808"/>
                  <a:gd name="connsiteY9" fmla="*/ 1214905 h 1369686"/>
                  <a:gd name="connsiteX10" fmla="*/ 111776 w 275808"/>
                  <a:gd name="connsiteY10" fmla="*/ 181125 h 1369686"/>
                  <a:gd name="connsiteX11" fmla="*/ 130826 w 275808"/>
                  <a:gd name="connsiteY11" fmla="*/ 142390 h 1369686"/>
                  <a:gd name="connsiteX12" fmla="*/ 238776 w 275808"/>
                  <a:gd name="connsiteY12" fmla="*/ 99845 h 1369686"/>
                  <a:gd name="connsiteX0" fmla="*/ 238776 w 275808"/>
                  <a:gd name="connsiteY0" fmla="*/ 99845 h 1369686"/>
                  <a:gd name="connsiteX1" fmla="*/ 231156 w 275808"/>
                  <a:gd name="connsiteY1" fmla="*/ 785 h 1369686"/>
                  <a:gd name="connsiteX2" fmla="*/ 88916 w 275808"/>
                  <a:gd name="connsiteY2" fmla="*/ 31265 h 1369686"/>
                  <a:gd name="connsiteX3" fmla="*/ 16 w 275808"/>
                  <a:gd name="connsiteY3" fmla="*/ 168425 h 1369686"/>
                  <a:gd name="connsiteX4" fmla="*/ 16 w 275808"/>
                  <a:gd name="connsiteY4" fmla="*/ 1207285 h 1369686"/>
                  <a:gd name="connsiteX5" fmla="*/ 114316 w 275808"/>
                  <a:gd name="connsiteY5" fmla="*/ 1367305 h 1369686"/>
                  <a:gd name="connsiteX6" fmla="*/ 256556 w 275808"/>
                  <a:gd name="connsiteY6" fmla="*/ 1324125 h 1369686"/>
                  <a:gd name="connsiteX7" fmla="*/ 227346 w 275808"/>
                  <a:gd name="connsiteY7" fmla="*/ 1230780 h 1369686"/>
                  <a:gd name="connsiteX8" fmla="*/ 157496 w 275808"/>
                  <a:gd name="connsiteY8" fmla="*/ 1248560 h 1369686"/>
                  <a:gd name="connsiteX9" fmla="*/ 120666 w 275808"/>
                  <a:gd name="connsiteY9" fmla="*/ 1214905 h 1369686"/>
                  <a:gd name="connsiteX10" fmla="*/ 111776 w 275808"/>
                  <a:gd name="connsiteY10" fmla="*/ 181125 h 1369686"/>
                  <a:gd name="connsiteX11" fmla="*/ 130826 w 275808"/>
                  <a:gd name="connsiteY11" fmla="*/ 142390 h 1369686"/>
                  <a:gd name="connsiteX12" fmla="*/ 238776 w 275808"/>
                  <a:gd name="connsiteY12" fmla="*/ 99845 h 1369686"/>
                  <a:gd name="connsiteX0" fmla="*/ 238776 w 275808"/>
                  <a:gd name="connsiteY0" fmla="*/ 99845 h 1369686"/>
                  <a:gd name="connsiteX1" fmla="*/ 231156 w 275808"/>
                  <a:gd name="connsiteY1" fmla="*/ 785 h 1369686"/>
                  <a:gd name="connsiteX2" fmla="*/ 88916 w 275808"/>
                  <a:gd name="connsiteY2" fmla="*/ 31265 h 1369686"/>
                  <a:gd name="connsiteX3" fmla="*/ 16 w 275808"/>
                  <a:gd name="connsiteY3" fmla="*/ 168425 h 1369686"/>
                  <a:gd name="connsiteX4" fmla="*/ 16 w 275808"/>
                  <a:gd name="connsiteY4" fmla="*/ 1207285 h 1369686"/>
                  <a:gd name="connsiteX5" fmla="*/ 114316 w 275808"/>
                  <a:gd name="connsiteY5" fmla="*/ 1367305 h 1369686"/>
                  <a:gd name="connsiteX6" fmla="*/ 256556 w 275808"/>
                  <a:gd name="connsiteY6" fmla="*/ 1324125 h 1369686"/>
                  <a:gd name="connsiteX7" fmla="*/ 227346 w 275808"/>
                  <a:gd name="connsiteY7" fmla="*/ 1230780 h 1369686"/>
                  <a:gd name="connsiteX8" fmla="*/ 157496 w 275808"/>
                  <a:gd name="connsiteY8" fmla="*/ 1248560 h 1369686"/>
                  <a:gd name="connsiteX9" fmla="*/ 120666 w 275808"/>
                  <a:gd name="connsiteY9" fmla="*/ 1214905 h 1369686"/>
                  <a:gd name="connsiteX10" fmla="*/ 111776 w 275808"/>
                  <a:gd name="connsiteY10" fmla="*/ 181125 h 1369686"/>
                  <a:gd name="connsiteX11" fmla="*/ 130826 w 275808"/>
                  <a:gd name="connsiteY11" fmla="*/ 142390 h 1369686"/>
                  <a:gd name="connsiteX12" fmla="*/ 238776 w 275808"/>
                  <a:gd name="connsiteY12" fmla="*/ 99845 h 1369686"/>
                  <a:gd name="connsiteX0" fmla="*/ 238776 w 275808"/>
                  <a:gd name="connsiteY0" fmla="*/ 99845 h 1369686"/>
                  <a:gd name="connsiteX1" fmla="*/ 193056 w 275808"/>
                  <a:gd name="connsiteY1" fmla="*/ 785 h 1369686"/>
                  <a:gd name="connsiteX2" fmla="*/ 88916 w 275808"/>
                  <a:gd name="connsiteY2" fmla="*/ 31265 h 1369686"/>
                  <a:gd name="connsiteX3" fmla="*/ 16 w 275808"/>
                  <a:gd name="connsiteY3" fmla="*/ 168425 h 1369686"/>
                  <a:gd name="connsiteX4" fmla="*/ 16 w 275808"/>
                  <a:gd name="connsiteY4" fmla="*/ 1207285 h 1369686"/>
                  <a:gd name="connsiteX5" fmla="*/ 114316 w 275808"/>
                  <a:gd name="connsiteY5" fmla="*/ 1367305 h 1369686"/>
                  <a:gd name="connsiteX6" fmla="*/ 256556 w 275808"/>
                  <a:gd name="connsiteY6" fmla="*/ 1324125 h 1369686"/>
                  <a:gd name="connsiteX7" fmla="*/ 227346 w 275808"/>
                  <a:gd name="connsiteY7" fmla="*/ 1230780 h 1369686"/>
                  <a:gd name="connsiteX8" fmla="*/ 157496 w 275808"/>
                  <a:gd name="connsiteY8" fmla="*/ 1248560 h 1369686"/>
                  <a:gd name="connsiteX9" fmla="*/ 120666 w 275808"/>
                  <a:gd name="connsiteY9" fmla="*/ 1214905 h 1369686"/>
                  <a:gd name="connsiteX10" fmla="*/ 111776 w 275808"/>
                  <a:gd name="connsiteY10" fmla="*/ 181125 h 1369686"/>
                  <a:gd name="connsiteX11" fmla="*/ 130826 w 275808"/>
                  <a:gd name="connsiteY11" fmla="*/ 142390 h 1369686"/>
                  <a:gd name="connsiteX12" fmla="*/ 238776 w 275808"/>
                  <a:gd name="connsiteY12" fmla="*/ 99845 h 1369686"/>
                  <a:gd name="connsiteX0" fmla="*/ 238776 w 275808"/>
                  <a:gd name="connsiteY0" fmla="*/ 103439 h 1373280"/>
                  <a:gd name="connsiteX1" fmla="*/ 193056 w 275808"/>
                  <a:gd name="connsiteY1" fmla="*/ 4379 h 1373280"/>
                  <a:gd name="connsiteX2" fmla="*/ 88916 w 275808"/>
                  <a:gd name="connsiteY2" fmla="*/ 34859 h 1373280"/>
                  <a:gd name="connsiteX3" fmla="*/ 16 w 275808"/>
                  <a:gd name="connsiteY3" fmla="*/ 172019 h 1373280"/>
                  <a:gd name="connsiteX4" fmla="*/ 16 w 275808"/>
                  <a:gd name="connsiteY4" fmla="*/ 1210879 h 1373280"/>
                  <a:gd name="connsiteX5" fmla="*/ 114316 w 275808"/>
                  <a:gd name="connsiteY5" fmla="*/ 1370899 h 1373280"/>
                  <a:gd name="connsiteX6" fmla="*/ 256556 w 275808"/>
                  <a:gd name="connsiteY6" fmla="*/ 1327719 h 1373280"/>
                  <a:gd name="connsiteX7" fmla="*/ 227346 w 275808"/>
                  <a:gd name="connsiteY7" fmla="*/ 1234374 h 1373280"/>
                  <a:gd name="connsiteX8" fmla="*/ 157496 w 275808"/>
                  <a:gd name="connsiteY8" fmla="*/ 1252154 h 1373280"/>
                  <a:gd name="connsiteX9" fmla="*/ 120666 w 275808"/>
                  <a:gd name="connsiteY9" fmla="*/ 1218499 h 1373280"/>
                  <a:gd name="connsiteX10" fmla="*/ 111776 w 275808"/>
                  <a:gd name="connsiteY10" fmla="*/ 184719 h 1373280"/>
                  <a:gd name="connsiteX11" fmla="*/ 130826 w 275808"/>
                  <a:gd name="connsiteY11" fmla="*/ 145984 h 1373280"/>
                  <a:gd name="connsiteX12" fmla="*/ 238776 w 275808"/>
                  <a:gd name="connsiteY12" fmla="*/ 103439 h 1373280"/>
                  <a:gd name="connsiteX0" fmla="*/ 238776 w 275808"/>
                  <a:gd name="connsiteY0" fmla="*/ 103439 h 1373280"/>
                  <a:gd name="connsiteX1" fmla="*/ 193056 w 275808"/>
                  <a:gd name="connsiteY1" fmla="*/ 4379 h 1373280"/>
                  <a:gd name="connsiteX2" fmla="*/ 88916 w 275808"/>
                  <a:gd name="connsiteY2" fmla="*/ 34859 h 1373280"/>
                  <a:gd name="connsiteX3" fmla="*/ 16 w 275808"/>
                  <a:gd name="connsiteY3" fmla="*/ 172019 h 1373280"/>
                  <a:gd name="connsiteX4" fmla="*/ 16 w 275808"/>
                  <a:gd name="connsiteY4" fmla="*/ 1210879 h 1373280"/>
                  <a:gd name="connsiteX5" fmla="*/ 114316 w 275808"/>
                  <a:gd name="connsiteY5" fmla="*/ 1370899 h 1373280"/>
                  <a:gd name="connsiteX6" fmla="*/ 256556 w 275808"/>
                  <a:gd name="connsiteY6" fmla="*/ 1327719 h 1373280"/>
                  <a:gd name="connsiteX7" fmla="*/ 227346 w 275808"/>
                  <a:gd name="connsiteY7" fmla="*/ 1234374 h 1373280"/>
                  <a:gd name="connsiteX8" fmla="*/ 157496 w 275808"/>
                  <a:gd name="connsiteY8" fmla="*/ 1252154 h 1373280"/>
                  <a:gd name="connsiteX9" fmla="*/ 120666 w 275808"/>
                  <a:gd name="connsiteY9" fmla="*/ 1218499 h 1373280"/>
                  <a:gd name="connsiteX10" fmla="*/ 111776 w 275808"/>
                  <a:gd name="connsiteY10" fmla="*/ 184719 h 1373280"/>
                  <a:gd name="connsiteX11" fmla="*/ 130826 w 275808"/>
                  <a:gd name="connsiteY11" fmla="*/ 145984 h 1373280"/>
                  <a:gd name="connsiteX12" fmla="*/ 238776 w 275808"/>
                  <a:gd name="connsiteY12" fmla="*/ 103439 h 1373280"/>
                  <a:gd name="connsiteX0" fmla="*/ 238776 w 275808"/>
                  <a:gd name="connsiteY0" fmla="*/ 103439 h 1373280"/>
                  <a:gd name="connsiteX1" fmla="*/ 193056 w 275808"/>
                  <a:gd name="connsiteY1" fmla="*/ 4379 h 1373280"/>
                  <a:gd name="connsiteX2" fmla="*/ 88916 w 275808"/>
                  <a:gd name="connsiteY2" fmla="*/ 34859 h 1373280"/>
                  <a:gd name="connsiteX3" fmla="*/ 16 w 275808"/>
                  <a:gd name="connsiteY3" fmla="*/ 172019 h 1373280"/>
                  <a:gd name="connsiteX4" fmla="*/ 16 w 275808"/>
                  <a:gd name="connsiteY4" fmla="*/ 1210879 h 1373280"/>
                  <a:gd name="connsiteX5" fmla="*/ 114316 w 275808"/>
                  <a:gd name="connsiteY5" fmla="*/ 1370899 h 1373280"/>
                  <a:gd name="connsiteX6" fmla="*/ 256556 w 275808"/>
                  <a:gd name="connsiteY6" fmla="*/ 1327719 h 1373280"/>
                  <a:gd name="connsiteX7" fmla="*/ 227346 w 275808"/>
                  <a:gd name="connsiteY7" fmla="*/ 1234374 h 1373280"/>
                  <a:gd name="connsiteX8" fmla="*/ 157496 w 275808"/>
                  <a:gd name="connsiteY8" fmla="*/ 1252154 h 1373280"/>
                  <a:gd name="connsiteX9" fmla="*/ 120666 w 275808"/>
                  <a:gd name="connsiteY9" fmla="*/ 1218499 h 1373280"/>
                  <a:gd name="connsiteX10" fmla="*/ 111776 w 275808"/>
                  <a:gd name="connsiteY10" fmla="*/ 184719 h 1373280"/>
                  <a:gd name="connsiteX11" fmla="*/ 130826 w 275808"/>
                  <a:gd name="connsiteY11" fmla="*/ 145984 h 1373280"/>
                  <a:gd name="connsiteX12" fmla="*/ 238776 w 275808"/>
                  <a:gd name="connsiteY12" fmla="*/ 103439 h 1373280"/>
                  <a:gd name="connsiteX0" fmla="*/ 238776 w 275808"/>
                  <a:gd name="connsiteY0" fmla="*/ 103439 h 1373280"/>
                  <a:gd name="connsiteX1" fmla="*/ 193056 w 275808"/>
                  <a:gd name="connsiteY1" fmla="*/ 4379 h 1373280"/>
                  <a:gd name="connsiteX2" fmla="*/ 88916 w 275808"/>
                  <a:gd name="connsiteY2" fmla="*/ 34859 h 1373280"/>
                  <a:gd name="connsiteX3" fmla="*/ 16 w 275808"/>
                  <a:gd name="connsiteY3" fmla="*/ 172019 h 1373280"/>
                  <a:gd name="connsiteX4" fmla="*/ 16 w 275808"/>
                  <a:gd name="connsiteY4" fmla="*/ 1210879 h 1373280"/>
                  <a:gd name="connsiteX5" fmla="*/ 114316 w 275808"/>
                  <a:gd name="connsiteY5" fmla="*/ 1370899 h 1373280"/>
                  <a:gd name="connsiteX6" fmla="*/ 256556 w 275808"/>
                  <a:gd name="connsiteY6" fmla="*/ 1327719 h 1373280"/>
                  <a:gd name="connsiteX7" fmla="*/ 227346 w 275808"/>
                  <a:gd name="connsiteY7" fmla="*/ 1234374 h 1373280"/>
                  <a:gd name="connsiteX8" fmla="*/ 157496 w 275808"/>
                  <a:gd name="connsiteY8" fmla="*/ 1252154 h 1373280"/>
                  <a:gd name="connsiteX9" fmla="*/ 120666 w 275808"/>
                  <a:gd name="connsiteY9" fmla="*/ 1218499 h 1373280"/>
                  <a:gd name="connsiteX10" fmla="*/ 111776 w 275808"/>
                  <a:gd name="connsiteY10" fmla="*/ 184719 h 1373280"/>
                  <a:gd name="connsiteX11" fmla="*/ 130826 w 275808"/>
                  <a:gd name="connsiteY11" fmla="*/ 145984 h 1373280"/>
                  <a:gd name="connsiteX12" fmla="*/ 238776 w 275808"/>
                  <a:gd name="connsiteY12" fmla="*/ 103439 h 1373280"/>
                  <a:gd name="connsiteX0" fmla="*/ 238776 w 275808"/>
                  <a:gd name="connsiteY0" fmla="*/ 103439 h 1373280"/>
                  <a:gd name="connsiteX1" fmla="*/ 193056 w 275808"/>
                  <a:gd name="connsiteY1" fmla="*/ 4379 h 1373280"/>
                  <a:gd name="connsiteX2" fmla="*/ 88916 w 275808"/>
                  <a:gd name="connsiteY2" fmla="*/ 34859 h 1373280"/>
                  <a:gd name="connsiteX3" fmla="*/ 16 w 275808"/>
                  <a:gd name="connsiteY3" fmla="*/ 172019 h 1373280"/>
                  <a:gd name="connsiteX4" fmla="*/ 16 w 275808"/>
                  <a:gd name="connsiteY4" fmla="*/ 1210879 h 1373280"/>
                  <a:gd name="connsiteX5" fmla="*/ 114316 w 275808"/>
                  <a:gd name="connsiteY5" fmla="*/ 1370899 h 1373280"/>
                  <a:gd name="connsiteX6" fmla="*/ 256556 w 275808"/>
                  <a:gd name="connsiteY6" fmla="*/ 1327719 h 1373280"/>
                  <a:gd name="connsiteX7" fmla="*/ 227346 w 275808"/>
                  <a:gd name="connsiteY7" fmla="*/ 1234374 h 1373280"/>
                  <a:gd name="connsiteX8" fmla="*/ 157496 w 275808"/>
                  <a:gd name="connsiteY8" fmla="*/ 1252154 h 1373280"/>
                  <a:gd name="connsiteX9" fmla="*/ 120666 w 275808"/>
                  <a:gd name="connsiteY9" fmla="*/ 1218499 h 1373280"/>
                  <a:gd name="connsiteX10" fmla="*/ 115586 w 275808"/>
                  <a:gd name="connsiteY10" fmla="*/ 194244 h 1373280"/>
                  <a:gd name="connsiteX11" fmla="*/ 130826 w 275808"/>
                  <a:gd name="connsiteY11" fmla="*/ 145984 h 1373280"/>
                  <a:gd name="connsiteX12" fmla="*/ 238776 w 275808"/>
                  <a:gd name="connsiteY12" fmla="*/ 103439 h 1373280"/>
                  <a:gd name="connsiteX0" fmla="*/ 238776 w 275808"/>
                  <a:gd name="connsiteY0" fmla="*/ 103439 h 1373280"/>
                  <a:gd name="connsiteX1" fmla="*/ 193056 w 275808"/>
                  <a:gd name="connsiteY1" fmla="*/ 4379 h 1373280"/>
                  <a:gd name="connsiteX2" fmla="*/ 88916 w 275808"/>
                  <a:gd name="connsiteY2" fmla="*/ 34859 h 1373280"/>
                  <a:gd name="connsiteX3" fmla="*/ 16 w 275808"/>
                  <a:gd name="connsiteY3" fmla="*/ 172019 h 1373280"/>
                  <a:gd name="connsiteX4" fmla="*/ 16 w 275808"/>
                  <a:gd name="connsiteY4" fmla="*/ 1210879 h 1373280"/>
                  <a:gd name="connsiteX5" fmla="*/ 114316 w 275808"/>
                  <a:gd name="connsiteY5" fmla="*/ 1370899 h 1373280"/>
                  <a:gd name="connsiteX6" fmla="*/ 256556 w 275808"/>
                  <a:gd name="connsiteY6" fmla="*/ 1327719 h 1373280"/>
                  <a:gd name="connsiteX7" fmla="*/ 227346 w 275808"/>
                  <a:gd name="connsiteY7" fmla="*/ 1234374 h 1373280"/>
                  <a:gd name="connsiteX8" fmla="*/ 157496 w 275808"/>
                  <a:gd name="connsiteY8" fmla="*/ 1252154 h 1373280"/>
                  <a:gd name="connsiteX9" fmla="*/ 120666 w 275808"/>
                  <a:gd name="connsiteY9" fmla="*/ 1218499 h 1373280"/>
                  <a:gd name="connsiteX10" fmla="*/ 115586 w 275808"/>
                  <a:gd name="connsiteY10" fmla="*/ 205674 h 1373280"/>
                  <a:gd name="connsiteX11" fmla="*/ 130826 w 275808"/>
                  <a:gd name="connsiteY11" fmla="*/ 145984 h 1373280"/>
                  <a:gd name="connsiteX12" fmla="*/ 238776 w 275808"/>
                  <a:gd name="connsiteY12" fmla="*/ 103439 h 1373280"/>
                  <a:gd name="connsiteX0" fmla="*/ 238776 w 275808"/>
                  <a:gd name="connsiteY0" fmla="*/ 103439 h 1373280"/>
                  <a:gd name="connsiteX1" fmla="*/ 193056 w 275808"/>
                  <a:gd name="connsiteY1" fmla="*/ 4379 h 1373280"/>
                  <a:gd name="connsiteX2" fmla="*/ 88916 w 275808"/>
                  <a:gd name="connsiteY2" fmla="*/ 34859 h 1373280"/>
                  <a:gd name="connsiteX3" fmla="*/ 16 w 275808"/>
                  <a:gd name="connsiteY3" fmla="*/ 172019 h 1373280"/>
                  <a:gd name="connsiteX4" fmla="*/ 16 w 275808"/>
                  <a:gd name="connsiteY4" fmla="*/ 1210879 h 1373280"/>
                  <a:gd name="connsiteX5" fmla="*/ 114316 w 275808"/>
                  <a:gd name="connsiteY5" fmla="*/ 1370899 h 1373280"/>
                  <a:gd name="connsiteX6" fmla="*/ 256556 w 275808"/>
                  <a:gd name="connsiteY6" fmla="*/ 1327719 h 1373280"/>
                  <a:gd name="connsiteX7" fmla="*/ 227346 w 275808"/>
                  <a:gd name="connsiteY7" fmla="*/ 1234374 h 1373280"/>
                  <a:gd name="connsiteX8" fmla="*/ 157496 w 275808"/>
                  <a:gd name="connsiteY8" fmla="*/ 1252154 h 1373280"/>
                  <a:gd name="connsiteX9" fmla="*/ 120666 w 275808"/>
                  <a:gd name="connsiteY9" fmla="*/ 1218499 h 1373280"/>
                  <a:gd name="connsiteX10" fmla="*/ 119396 w 275808"/>
                  <a:gd name="connsiteY10" fmla="*/ 213294 h 1373280"/>
                  <a:gd name="connsiteX11" fmla="*/ 130826 w 275808"/>
                  <a:gd name="connsiteY11" fmla="*/ 145984 h 1373280"/>
                  <a:gd name="connsiteX12" fmla="*/ 238776 w 275808"/>
                  <a:gd name="connsiteY12" fmla="*/ 103439 h 1373280"/>
                  <a:gd name="connsiteX0" fmla="*/ 238776 w 275808"/>
                  <a:gd name="connsiteY0" fmla="*/ 103439 h 1373280"/>
                  <a:gd name="connsiteX1" fmla="*/ 193056 w 275808"/>
                  <a:gd name="connsiteY1" fmla="*/ 4379 h 1373280"/>
                  <a:gd name="connsiteX2" fmla="*/ 88916 w 275808"/>
                  <a:gd name="connsiteY2" fmla="*/ 34859 h 1373280"/>
                  <a:gd name="connsiteX3" fmla="*/ 16 w 275808"/>
                  <a:gd name="connsiteY3" fmla="*/ 172019 h 1373280"/>
                  <a:gd name="connsiteX4" fmla="*/ 16 w 275808"/>
                  <a:gd name="connsiteY4" fmla="*/ 1210879 h 1373280"/>
                  <a:gd name="connsiteX5" fmla="*/ 114316 w 275808"/>
                  <a:gd name="connsiteY5" fmla="*/ 1370899 h 1373280"/>
                  <a:gd name="connsiteX6" fmla="*/ 256556 w 275808"/>
                  <a:gd name="connsiteY6" fmla="*/ 1327719 h 1373280"/>
                  <a:gd name="connsiteX7" fmla="*/ 227346 w 275808"/>
                  <a:gd name="connsiteY7" fmla="*/ 1234374 h 1373280"/>
                  <a:gd name="connsiteX8" fmla="*/ 157496 w 275808"/>
                  <a:gd name="connsiteY8" fmla="*/ 1252154 h 1373280"/>
                  <a:gd name="connsiteX9" fmla="*/ 120666 w 275808"/>
                  <a:gd name="connsiteY9" fmla="*/ 1218499 h 1373280"/>
                  <a:gd name="connsiteX10" fmla="*/ 119396 w 275808"/>
                  <a:gd name="connsiteY10" fmla="*/ 213294 h 1373280"/>
                  <a:gd name="connsiteX11" fmla="*/ 142256 w 275808"/>
                  <a:gd name="connsiteY11" fmla="*/ 149794 h 1373280"/>
                  <a:gd name="connsiteX12" fmla="*/ 238776 w 275808"/>
                  <a:gd name="connsiteY12" fmla="*/ 103439 h 1373280"/>
                  <a:gd name="connsiteX0" fmla="*/ 240681 w 275808"/>
                  <a:gd name="connsiteY0" fmla="*/ 116364 h 1372870"/>
                  <a:gd name="connsiteX1" fmla="*/ 193056 w 275808"/>
                  <a:gd name="connsiteY1" fmla="*/ 3969 h 1372870"/>
                  <a:gd name="connsiteX2" fmla="*/ 88916 w 275808"/>
                  <a:gd name="connsiteY2" fmla="*/ 34449 h 1372870"/>
                  <a:gd name="connsiteX3" fmla="*/ 16 w 275808"/>
                  <a:gd name="connsiteY3" fmla="*/ 171609 h 1372870"/>
                  <a:gd name="connsiteX4" fmla="*/ 16 w 275808"/>
                  <a:gd name="connsiteY4" fmla="*/ 1210469 h 1372870"/>
                  <a:gd name="connsiteX5" fmla="*/ 114316 w 275808"/>
                  <a:gd name="connsiteY5" fmla="*/ 1370489 h 1372870"/>
                  <a:gd name="connsiteX6" fmla="*/ 256556 w 275808"/>
                  <a:gd name="connsiteY6" fmla="*/ 1327309 h 1372870"/>
                  <a:gd name="connsiteX7" fmla="*/ 227346 w 275808"/>
                  <a:gd name="connsiteY7" fmla="*/ 1233964 h 1372870"/>
                  <a:gd name="connsiteX8" fmla="*/ 157496 w 275808"/>
                  <a:gd name="connsiteY8" fmla="*/ 1251744 h 1372870"/>
                  <a:gd name="connsiteX9" fmla="*/ 120666 w 275808"/>
                  <a:gd name="connsiteY9" fmla="*/ 1218089 h 1372870"/>
                  <a:gd name="connsiteX10" fmla="*/ 119396 w 275808"/>
                  <a:gd name="connsiteY10" fmla="*/ 212884 h 1372870"/>
                  <a:gd name="connsiteX11" fmla="*/ 142256 w 275808"/>
                  <a:gd name="connsiteY11" fmla="*/ 149384 h 1372870"/>
                  <a:gd name="connsiteX12" fmla="*/ 240681 w 275808"/>
                  <a:gd name="connsiteY12" fmla="*/ 116364 h 1372870"/>
                  <a:gd name="connsiteX0" fmla="*/ 240681 w 275808"/>
                  <a:gd name="connsiteY0" fmla="*/ 116364 h 1369182"/>
                  <a:gd name="connsiteX1" fmla="*/ 193056 w 275808"/>
                  <a:gd name="connsiteY1" fmla="*/ 3969 h 1369182"/>
                  <a:gd name="connsiteX2" fmla="*/ 88916 w 275808"/>
                  <a:gd name="connsiteY2" fmla="*/ 34449 h 1369182"/>
                  <a:gd name="connsiteX3" fmla="*/ 16 w 275808"/>
                  <a:gd name="connsiteY3" fmla="*/ 171609 h 1369182"/>
                  <a:gd name="connsiteX4" fmla="*/ 16 w 275808"/>
                  <a:gd name="connsiteY4" fmla="*/ 1210469 h 1369182"/>
                  <a:gd name="connsiteX5" fmla="*/ 127651 w 275808"/>
                  <a:gd name="connsiteY5" fmla="*/ 1366679 h 1369182"/>
                  <a:gd name="connsiteX6" fmla="*/ 256556 w 275808"/>
                  <a:gd name="connsiteY6" fmla="*/ 1327309 h 1369182"/>
                  <a:gd name="connsiteX7" fmla="*/ 227346 w 275808"/>
                  <a:gd name="connsiteY7" fmla="*/ 1233964 h 1369182"/>
                  <a:gd name="connsiteX8" fmla="*/ 157496 w 275808"/>
                  <a:gd name="connsiteY8" fmla="*/ 1251744 h 1369182"/>
                  <a:gd name="connsiteX9" fmla="*/ 120666 w 275808"/>
                  <a:gd name="connsiteY9" fmla="*/ 1218089 h 1369182"/>
                  <a:gd name="connsiteX10" fmla="*/ 119396 w 275808"/>
                  <a:gd name="connsiteY10" fmla="*/ 212884 h 1369182"/>
                  <a:gd name="connsiteX11" fmla="*/ 142256 w 275808"/>
                  <a:gd name="connsiteY11" fmla="*/ 149384 h 1369182"/>
                  <a:gd name="connsiteX12" fmla="*/ 240681 w 275808"/>
                  <a:gd name="connsiteY12" fmla="*/ 116364 h 1369182"/>
                  <a:gd name="connsiteX0" fmla="*/ 240681 w 275808"/>
                  <a:gd name="connsiteY0" fmla="*/ 116364 h 1369693"/>
                  <a:gd name="connsiteX1" fmla="*/ 193056 w 275808"/>
                  <a:gd name="connsiteY1" fmla="*/ 3969 h 1369693"/>
                  <a:gd name="connsiteX2" fmla="*/ 88916 w 275808"/>
                  <a:gd name="connsiteY2" fmla="*/ 34449 h 1369693"/>
                  <a:gd name="connsiteX3" fmla="*/ 16 w 275808"/>
                  <a:gd name="connsiteY3" fmla="*/ 171609 h 1369693"/>
                  <a:gd name="connsiteX4" fmla="*/ 16 w 275808"/>
                  <a:gd name="connsiteY4" fmla="*/ 1210469 h 1369693"/>
                  <a:gd name="connsiteX5" fmla="*/ 127651 w 275808"/>
                  <a:gd name="connsiteY5" fmla="*/ 1366679 h 1369693"/>
                  <a:gd name="connsiteX6" fmla="*/ 256556 w 275808"/>
                  <a:gd name="connsiteY6" fmla="*/ 1327309 h 1369693"/>
                  <a:gd name="connsiteX7" fmla="*/ 227346 w 275808"/>
                  <a:gd name="connsiteY7" fmla="*/ 1233964 h 1369693"/>
                  <a:gd name="connsiteX8" fmla="*/ 157496 w 275808"/>
                  <a:gd name="connsiteY8" fmla="*/ 1251744 h 1369693"/>
                  <a:gd name="connsiteX9" fmla="*/ 120666 w 275808"/>
                  <a:gd name="connsiteY9" fmla="*/ 1218089 h 1369693"/>
                  <a:gd name="connsiteX10" fmla="*/ 119396 w 275808"/>
                  <a:gd name="connsiteY10" fmla="*/ 212884 h 1369693"/>
                  <a:gd name="connsiteX11" fmla="*/ 142256 w 275808"/>
                  <a:gd name="connsiteY11" fmla="*/ 149384 h 1369693"/>
                  <a:gd name="connsiteX12" fmla="*/ 240681 w 275808"/>
                  <a:gd name="connsiteY12" fmla="*/ 116364 h 1369693"/>
                  <a:gd name="connsiteX0" fmla="*/ 240681 w 275808"/>
                  <a:gd name="connsiteY0" fmla="*/ 116364 h 1370560"/>
                  <a:gd name="connsiteX1" fmla="*/ 193056 w 275808"/>
                  <a:gd name="connsiteY1" fmla="*/ 3969 h 1370560"/>
                  <a:gd name="connsiteX2" fmla="*/ 88916 w 275808"/>
                  <a:gd name="connsiteY2" fmla="*/ 34449 h 1370560"/>
                  <a:gd name="connsiteX3" fmla="*/ 16 w 275808"/>
                  <a:gd name="connsiteY3" fmla="*/ 171609 h 1370560"/>
                  <a:gd name="connsiteX4" fmla="*/ 16 w 275808"/>
                  <a:gd name="connsiteY4" fmla="*/ 1210469 h 1370560"/>
                  <a:gd name="connsiteX5" fmla="*/ 127651 w 275808"/>
                  <a:gd name="connsiteY5" fmla="*/ 1366679 h 1370560"/>
                  <a:gd name="connsiteX6" fmla="*/ 256556 w 275808"/>
                  <a:gd name="connsiteY6" fmla="*/ 1327309 h 1370560"/>
                  <a:gd name="connsiteX7" fmla="*/ 227346 w 275808"/>
                  <a:gd name="connsiteY7" fmla="*/ 1233964 h 1370560"/>
                  <a:gd name="connsiteX8" fmla="*/ 157496 w 275808"/>
                  <a:gd name="connsiteY8" fmla="*/ 1251744 h 1370560"/>
                  <a:gd name="connsiteX9" fmla="*/ 120666 w 275808"/>
                  <a:gd name="connsiteY9" fmla="*/ 1218089 h 1370560"/>
                  <a:gd name="connsiteX10" fmla="*/ 119396 w 275808"/>
                  <a:gd name="connsiteY10" fmla="*/ 212884 h 1370560"/>
                  <a:gd name="connsiteX11" fmla="*/ 142256 w 275808"/>
                  <a:gd name="connsiteY11" fmla="*/ 149384 h 1370560"/>
                  <a:gd name="connsiteX12" fmla="*/ 240681 w 275808"/>
                  <a:gd name="connsiteY12" fmla="*/ 116364 h 1370560"/>
                  <a:gd name="connsiteX0" fmla="*/ 240681 w 272996"/>
                  <a:gd name="connsiteY0" fmla="*/ 116364 h 1370560"/>
                  <a:gd name="connsiteX1" fmla="*/ 193056 w 272996"/>
                  <a:gd name="connsiteY1" fmla="*/ 3969 h 1370560"/>
                  <a:gd name="connsiteX2" fmla="*/ 88916 w 272996"/>
                  <a:gd name="connsiteY2" fmla="*/ 34449 h 1370560"/>
                  <a:gd name="connsiteX3" fmla="*/ 16 w 272996"/>
                  <a:gd name="connsiteY3" fmla="*/ 171609 h 1370560"/>
                  <a:gd name="connsiteX4" fmla="*/ 16 w 272996"/>
                  <a:gd name="connsiteY4" fmla="*/ 1210469 h 1370560"/>
                  <a:gd name="connsiteX5" fmla="*/ 127651 w 272996"/>
                  <a:gd name="connsiteY5" fmla="*/ 1366679 h 1370560"/>
                  <a:gd name="connsiteX6" fmla="*/ 256556 w 272996"/>
                  <a:gd name="connsiteY6" fmla="*/ 1327309 h 1370560"/>
                  <a:gd name="connsiteX7" fmla="*/ 217821 w 272996"/>
                  <a:gd name="connsiteY7" fmla="*/ 1220629 h 1370560"/>
                  <a:gd name="connsiteX8" fmla="*/ 157496 w 272996"/>
                  <a:gd name="connsiteY8" fmla="*/ 1251744 h 1370560"/>
                  <a:gd name="connsiteX9" fmla="*/ 120666 w 272996"/>
                  <a:gd name="connsiteY9" fmla="*/ 1218089 h 1370560"/>
                  <a:gd name="connsiteX10" fmla="*/ 119396 w 272996"/>
                  <a:gd name="connsiteY10" fmla="*/ 212884 h 1370560"/>
                  <a:gd name="connsiteX11" fmla="*/ 142256 w 272996"/>
                  <a:gd name="connsiteY11" fmla="*/ 149384 h 1370560"/>
                  <a:gd name="connsiteX12" fmla="*/ 240681 w 272996"/>
                  <a:gd name="connsiteY12" fmla="*/ 116364 h 1370560"/>
                  <a:gd name="connsiteX0" fmla="*/ 240681 w 272996"/>
                  <a:gd name="connsiteY0" fmla="*/ 116364 h 1370560"/>
                  <a:gd name="connsiteX1" fmla="*/ 193056 w 272996"/>
                  <a:gd name="connsiteY1" fmla="*/ 3969 h 1370560"/>
                  <a:gd name="connsiteX2" fmla="*/ 88916 w 272996"/>
                  <a:gd name="connsiteY2" fmla="*/ 34449 h 1370560"/>
                  <a:gd name="connsiteX3" fmla="*/ 16 w 272996"/>
                  <a:gd name="connsiteY3" fmla="*/ 171609 h 1370560"/>
                  <a:gd name="connsiteX4" fmla="*/ 16 w 272996"/>
                  <a:gd name="connsiteY4" fmla="*/ 1210469 h 1370560"/>
                  <a:gd name="connsiteX5" fmla="*/ 127651 w 272996"/>
                  <a:gd name="connsiteY5" fmla="*/ 1366679 h 1370560"/>
                  <a:gd name="connsiteX6" fmla="*/ 256556 w 272996"/>
                  <a:gd name="connsiteY6" fmla="*/ 1327309 h 1370560"/>
                  <a:gd name="connsiteX7" fmla="*/ 217821 w 272996"/>
                  <a:gd name="connsiteY7" fmla="*/ 1220629 h 1370560"/>
                  <a:gd name="connsiteX8" fmla="*/ 153686 w 272996"/>
                  <a:gd name="connsiteY8" fmla="*/ 1242219 h 1370560"/>
                  <a:gd name="connsiteX9" fmla="*/ 120666 w 272996"/>
                  <a:gd name="connsiteY9" fmla="*/ 1218089 h 1370560"/>
                  <a:gd name="connsiteX10" fmla="*/ 119396 w 272996"/>
                  <a:gd name="connsiteY10" fmla="*/ 212884 h 1370560"/>
                  <a:gd name="connsiteX11" fmla="*/ 142256 w 272996"/>
                  <a:gd name="connsiteY11" fmla="*/ 149384 h 1370560"/>
                  <a:gd name="connsiteX12" fmla="*/ 240681 w 272996"/>
                  <a:gd name="connsiteY12" fmla="*/ 116364 h 1370560"/>
                  <a:gd name="connsiteX0" fmla="*/ 240681 w 272996"/>
                  <a:gd name="connsiteY0" fmla="*/ 116364 h 1377770"/>
                  <a:gd name="connsiteX1" fmla="*/ 193056 w 272996"/>
                  <a:gd name="connsiteY1" fmla="*/ 3969 h 1377770"/>
                  <a:gd name="connsiteX2" fmla="*/ 88916 w 272996"/>
                  <a:gd name="connsiteY2" fmla="*/ 34449 h 1377770"/>
                  <a:gd name="connsiteX3" fmla="*/ 16 w 272996"/>
                  <a:gd name="connsiteY3" fmla="*/ 171609 h 1377770"/>
                  <a:gd name="connsiteX4" fmla="*/ 16 w 272996"/>
                  <a:gd name="connsiteY4" fmla="*/ 1210469 h 1377770"/>
                  <a:gd name="connsiteX5" fmla="*/ 131461 w 272996"/>
                  <a:gd name="connsiteY5" fmla="*/ 1374299 h 1377770"/>
                  <a:gd name="connsiteX6" fmla="*/ 256556 w 272996"/>
                  <a:gd name="connsiteY6" fmla="*/ 1327309 h 1377770"/>
                  <a:gd name="connsiteX7" fmla="*/ 217821 w 272996"/>
                  <a:gd name="connsiteY7" fmla="*/ 1220629 h 1377770"/>
                  <a:gd name="connsiteX8" fmla="*/ 153686 w 272996"/>
                  <a:gd name="connsiteY8" fmla="*/ 1242219 h 1377770"/>
                  <a:gd name="connsiteX9" fmla="*/ 120666 w 272996"/>
                  <a:gd name="connsiteY9" fmla="*/ 1218089 h 1377770"/>
                  <a:gd name="connsiteX10" fmla="*/ 119396 w 272996"/>
                  <a:gd name="connsiteY10" fmla="*/ 212884 h 1377770"/>
                  <a:gd name="connsiteX11" fmla="*/ 142256 w 272996"/>
                  <a:gd name="connsiteY11" fmla="*/ 149384 h 1377770"/>
                  <a:gd name="connsiteX12" fmla="*/ 240681 w 272996"/>
                  <a:gd name="connsiteY12" fmla="*/ 116364 h 1377770"/>
                  <a:gd name="connsiteX0" fmla="*/ 240681 w 272996"/>
                  <a:gd name="connsiteY0" fmla="*/ 116364 h 1370560"/>
                  <a:gd name="connsiteX1" fmla="*/ 193056 w 272996"/>
                  <a:gd name="connsiteY1" fmla="*/ 3969 h 1370560"/>
                  <a:gd name="connsiteX2" fmla="*/ 88916 w 272996"/>
                  <a:gd name="connsiteY2" fmla="*/ 34449 h 1370560"/>
                  <a:gd name="connsiteX3" fmla="*/ 16 w 272996"/>
                  <a:gd name="connsiteY3" fmla="*/ 171609 h 1370560"/>
                  <a:gd name="connsiteX4" fmla="*/ 16 w 272996"/>
                  <a:gd name="connsiteY4" fmla="*/ 1210469 h 1370560"/>
                  <a:gd name="connsiteX5" fmla="*/ 142891 w 272996"/>
                  <a:gd name="connsiteY5" fmla="*/ 1366679 h 1370560"/>
                  <a:gd name="connsiteX6" fmla="*/ 256556 w 272996"/>
                  <a:gd name="connsiteY6" fmla="*/ 1327309 h 1370560"/>
                  <a:gd name="connsiteX7" fmla="*/ 217821 w 272996"/>
                  <a:gd name="connsiteY7" fmla="*/ 1220629 h 1370560"/>
                  <a:gd name="connsiteX8" fmla="*/ 153686 w 272996"/>
                  <a:gd name="connsiteY8" fmla="*/ 1242219 h 1370560"/>
                  <a:gd name="connsiteX9" fmla="*/ 120666 w 272996"/>
                  <a:gd name="connsiteY9" fmla="*/ 1218089 h 1370560"/>
                  <a:gd name="connsiteX10" fmla="*/ 119396 w 272996"/>
                  <a:gd name="connsiteY10" fmla="*/ 212884 h 1370560"/>
                  <a:gd name="connsiteX11" fmla="*/ 142256 w 272996"/>
                  <a:gd name="connsiteY11" fmla="*/ 149384 h 1370560"/>
                  <a:gd name="connsiteX12" fmla="*/ 240681 w 272996"/>
                  <a:gd name="connsiteY12" fmla="*/ 116364 h 1370560"/>
                  <a:gd name="connsiteX0" fmla="*/ 240681 w 272996"/>
                  <a:gd name="connsiteY0" fmla="*/ 116364 h 1370560"/>
                  <a:gd name="connsiteX1" fmla="*/ 193056 w 272996"/>
                  <a:gd name="connsiteY1" fmla="*/ 3969 h 1370560"/>
                  <a:gd name="connsiteX2" fmla="*/ 88916 w 272996"/>
                  <a:gd name="connsiteY2" fmla="*/ 34449 h 1370560"/>
                  <a:gd name="connsiteX3" fmla="*/ 16 w 272996"/>
                  <a:gd name="connsiteY3" fmla="*/ 171609 h 1370560"/>
                  <a:gd name="connsiteX4" fmla="*/ 16 w 272996"/>
                  <a:gd name="connsiteY4" fmla="*/ 1210469 h 1370560"/>
                  <a:gd name="connsiteX5" fmla="*/ 142891 w 272996"/>
                  <a:gd name="connsiteY5" fmla="*/ 1366679 h 1370560"/>
                  <a:gd name="connsiteX6" fmla="*/ 256556 w 272996"/>
                  <a:gd name="connsiteY6" fmla="*/ 1327309 h 1370560"/>
                  <a:gd name="connsiteX7" fmla="*/ 217821 w 272996"/>
                  <a:gd name="connsiteY7" fmla="*/ 1220629 h 1370560"/>
                  <a:gd name="connsiteX8" fmla="*/ 153686 w 272996"/>
                  <a:gd name="connsiteY8" fmla="*/ 1242219 h 1370560"/>
                  <a:gd name="connsiteX9" fmla="*/ 120666 w 272996"/>
                  <a:gd name="connsiteY9" fmla="*/ 1218089 h 1370560"/>
                  <a:gd name="connsiteX10" fmla="*/ 119396 w 272996"/>
                  <a:gd name="connsiteY10" fmla="*/ 212884 h 1370560"/>
                  <a:gd name="connsiteX11" fmla="*/ 142256 w 272996"/>
                  <a:gd name="connsiteY11" fmla="*/ 149384 h 1370560"/>
                  <a:gd name="connsiteX12" fmla="*/ 240681 w 272996"/>
                  <a:gd name="connsiteY12" fmla="*/ 116364 h 1370560"/>
                  <a:gd name="connsiteX0" fmla="*/ 240681 w 275852"/>
                  <a:gd name="connsiteY0" fmla="*/ 116364 h 1370560"/>
                  <a:gd name="connsiteX1" fmla="*/ 193056 w 275852"/>
                  <a:gd name="connsiteY1" fmla="*/ 3969 h 1370560"/>
                  <a:gd name="connsiteX2" fmla="*/ 88916 w 275852"/>
                  <a:gd name="connsiteY2" fmla="*/ 34449 h 1370560"/>
                  <a:gd name="connsiteX3" fmla="*/ 16 w 275852"/>
                  <a:gd name="connsiteY3" fmla="*/ 171609 h 1370560"/>
                  <a:gd name="connsiteX4" fmla="*/ 16 w 275852"/>
                  <a:gd name="connsiteY4" fmla="*/ 1210469 h 1370560"/>
                  <a:gd name="connsiteX5" fmla="*/ 142891 w 275852"/>
                  <a:gd name="connsiteY5" fmla="*/ 1366679 h 1370560"/>
                  <a:gd name="connsiteX6" fmla="*/ 260366 w 275852"/>
                  <a:gd name="connsiteY6" fmla="*/ 1325404 h 1370560"/>
                  <a:gd name="connsiteX7" fmla="*/ 217821 w 275852"/>
                  <a:gd name="connsiteY7" fmla="*/ 1220629 h 1370560"/>
                  <a:gd name="connsiteX8" fmla="*/ 153686 w 275852"/>
                  <a:gd name="connsiteY8" fmla="*/ 1242219 h 1370560"/>
                  <a:gd name="connsiteX9" fmla="*/ 120666 w 275852"/>
                  <a:gd name="connsiteY9" fmla="*/ 1218089 h 1370560"/>
                  <a:gd name="connsiteX10" fmla="*/ 119396 w 275852"/>
                  <a:gd name="connsiteY10" fmla="*/ 212884 h 1370560"/>
                  <a:gd name="connsiteX11" fmla="*/ 142256 w 275852"/>
                  <a:gd name="connsiteY11" fmla="*/ 149384 h 1370560"/>
                  <a:gd name="connsiteX12" fmla="*/ 240681 w 275852"/>
                  <a:gd name="connsiteY12" fmla="*/ 116364 h 1370560"/>
                  <a:gd name="connsiteX0" fmla="*/ 240681 w 275852"/>
                  <a:gd name="connsiteY0" fmla="*/ 116364 h 1370560"/>
                  <a:gd name="connsiteX1" fmla="*/ 193056 w 275852"/>
                  <a:gd name="connsiteY1" fmla="*/ 3969 h 1370560"/>
                  <a:gd name="connsiteX2" fmla="*/ 88916 w 275852"/>
                  <a:gd name="connsiteY2" fmla="*/ 34449 h 1370560"/>
                  <a:gd name="connsiteX3" fmla="*/ 16 w 275852"/>
                  <a:gd name="connsiteY3" fmla="*/ 171609 h 1370560"/>
                  <a:gd name="connsiteX4" fmla="*/ 16 w 275852"/>
                  <a:gd name="connsiteY4" fmla="*/ 1210469 h 1370560"/>
                  <a:gd name="connsiteX5" fmla="*/ 142891 w 275852"/>
                  <a:gd name="connsiteY5" fmla="*/ 1366679 h 1370560"/>
                  <a:gd name="connsiteX6" fmla="*/ 260366 w 275852"/>
                  <a:gd name="connsiteY6" fmla="*/ 1325404 h 1370560"/>
                  <a:gd name="connsiteX7" fmla="*/ 217821 w 275852"/>
                  <a:gd name="connsiteY7" fmla="*/ 1220629 h 1370560"/>
                  <a:gd name="connsiteX8" fmla="*/ 153686 w 275852"/>
                  <a:gd name="connsiteY8" fmla="*/ 1242219 h 1370560"/>
                  <a:gd name="connsiteX9" fmla="*/ 120666 w 275852"/>
                  <a:gd name="connsiteY9" fmla="*/ 1218089 h 1370560"/>
                  <a:gd name="connsiteX10" fmla="*/ 119396 w 275852"/>
                  <a:gd name="connsiteY10" fmla="*/ 212884 h 1370560"/>
                  <a:gd name="connsiteX11" fmla="*/ 142256 w 275852"/>
                  <a:gd name="connsiteY11" fmla="*/ 149384 h 1370560"/>
                  <a:gd name="connsiteX12" fmla="*/ 240681 w 275852"/>
                  <a:gd name="connsiteY12" fmla="*/ 116364 h 1370560"/>
                  <a:gd name="connsiteX0" fmla="*/ 240681 w 275006"/>
                  <a:gd name="connsiteY0" fmla="*/ 116364 h 1370560"/>
                  <a:gd name="connsiteX1" fmla="*/ 193056 w 275006"/>
                  <a:gd name="connsiteY1" fmla="*/ 3969 h 1370560"/>
                  <a:gd name="connsiteX2" fmla="*/ 88916 w 275006"/>
                  <a:gd name="connsiteY2" fmla="*/ 34449 h 1370560"/>
                  <a:gd name="connsiteX3" fmla="*/ 16 w 275006"/>
                  <a:gd name="connsiteY3" fmla="*/ 171609 h 1370560"/>
                  <a:gd name="connsiteX4" fmla="*/ 16 w 275006"/>
                  <a:gd name="connsiteY4" fmla="*/ 1210469 h 1370560"/>
                  <a:gd name="connsiteX5" fmla="*/ 142891 w 275006"/>
                  <a:gd name="connsiteY5" fmla="*/ 1366679 h 1370560"/>
                  <a:gd name="connsiteX6" fmla="*/ 260366 w 275006"/>
                  <a:gd name="connsiteY6" fmla="*/ 1325404 h 1370560"/>
                  <a:gd name="connsiteX7" fmla="*/ 217821 w 275006"/>
                  <a:gd name="connsiteY7" fmla="*/ 1220629 h 1370560"/>
                  <a:gd name="connsiteX8" fmla="*/ 153686 w 275006"/>
                  <a:gd name="connsiteY8" fmla="*/ 1242219 h 1370560"/>
                  <a:gd name="connsiteX9" fmla="*/ 120666 w 275006"/>
                  <a:gd name="connsiteY9" fmla="*/ 1218089 h 1370560"/>
                  <a:gd name="connsiteX10" fmla="*/ 119396 w 275006"/>
                  <a:gd name="connsiteY10" fmla="*/ 212884 h 1370560"/>
                  <a:gd name="connsiteX11" fmla="*/ 142256 w 275006"/>
                  <a:gd name="connsiteY11" fmla="*/ 149384 h 1370560"/>
                  <a:gd name="connsiteX12" fmla="*/ 240681 w 275006"/>
                  <a:gd name="connsiteY12" fmla="*/ 116364 h 1370560"/>
                  <a:gd name="connsiteX0" fmla="*/ 240681 w 275006"/>
                  <a:gd name="connsiteY0" fmla="*/ 116364 h 1370560"/>
                  <a:gd name="connsiteX1" fmla="*/ 193056 w 275006"/>
                  <a:gd name="connsiteY1" fmla="*/ 3969 h 1370560"/>
                  <a:gd name="connsiteX2" fmla="*/ 88916 w 275006"/>
                  <a:gd name="connsiteY2" fmla="*/ 34449 h 1370560"/>
                  <a:gd name="connsiteX3" fmla="*/ 16 w 275006"/>
                  <a:gd name="connsiteY3" fmla="*/ 171609 h 1370560"/>
                  <a:gd name="connsiteX4" fmla="*/ 16 w 275006"/>
                  <a:gd name="connsiteY4" fmla="*/ 1210469 h 1370560"/>
                  <a:gd name="connsiteX5" fmla="*/ 142891 w 275006"/>
                  <a:gd name="connsiteY5" fmla="*/ 1366679 h 1370560"/>
                  <a:gd name="connsiteX6" fmla="*/ 260366 w 275006"/>
                  <a:gd name="connsiteY6" fmla="*/ 1325404 h 1370560"/>
                  <a:gd name="connsiteX7" fmla="*/ 217821 w 275006"/>
                  <a:gd name="connsiteY7" fmla="*/ 1220629 h 1370560"/>
                  <a:gd name="connsiteX8" fmla="*/ 159401 w 275006"/>
                  <a:gd name="connsiteY8" fmla="*/ 1242219 h 1370560"/>
                  <a:gd name="connsiteX9" fmla="*/ 120666 w 275006"/>
                  <a:gd name="connsiteY9" fmla="*/ 1218089 h 1370560"/>
                  <a:gd name="connsiteX10" fmla="*/ 119396 w 275006"/>
                  <a:gd name="connsiteY10" fmla="*/ 212884 h 1370560"/>
                  <a:gd name="connsiteX11" fmla="*/ 142256 w 275006"/>
                  <a:gd name="connsiteY11" fmla="*/ 149384 h 1370560"/>
                  <a:gd name="connsiteX12" fmla="*/ 240681 w 275006"/>
                  <a:gd name="connsiteY12" fmla="*/ 116364 h 1370560"/>
                  <a:gd name="connsiteX0" fmla="*/ 240681 w 275959"/>
                  <a:gd name="connsiteY0" fmla="*/ 116364 h 1370560"/>
                  <a:gd name="connsiteX1" fmla="*/ 193056 w 275959"/>
                  <a:gd name="connsiteY1" fmla="*/ 3969 h 1370560"/>
                  <a:gd name="connsiteX2" fmla="*/ 88916 w 275959"/>
                  <a:gd name="connsiteY2" fmla="*/ 34449 h 1370560"/>
                  <a:gd name="connsiteX3" fmla="*/ 16 w 275959"/>
                  <a:gd name="connsiteY3" fmla="*/ 171609 h 1370560"/>
                  <a:gd name="connsiteX4" fmla="*/ 16 w 275959"/>
                  <a:gd name="connsiteY4" fmla="*/ 1210469 h 1370560"/>
                  <a:gd name="connsiteX5" fmla="*/ 142891 w 275959"/>
                  <a:gd name="connsiteY5" fmla="*/ 1366679 h 1370560"/>
                  <a:gd name="connsiteX6" fmla="*/ 260366 w 275959"/>
                  <a:gd name="connsiteY6" fmla="*/ 1325404 h 1370560"/>
                  <a:gd name="connsiteX7" fmla="*/ 221631 w 275959"/>
                  <a:gd name="connsiteY7" fmla="*/ 1220629 h 1370560"/>
                  <a:gd name="connsiteX8" fmla="*/ 159401 w 275959"/>
                  <a:gd name="connsiteY8" fmla="*/ 1242219 h 1370560"/>
                  <a:gd name="connsiteX9" fmla="*/ 120666 w 275959"/>
                  <a:gd name="connsiteY9" fmla="*/ 1218089 h 1370560"/>
                  <a:gd name="connsiteX10" fmla="*/ 119396 w 275959"/>
                  <a:gd name="connsiteY10" fmla="*/ 212884 h 1370560"/>
                  <a:gd name="connsiteX11" fmla="*/ 142256 w 275959"/>
                  <a:gd name="connsiteY11" fmla="*/ 149384 h 1370560"/>
                  <a:gd name="connsiteX12" fmla="*/ 240681 w 275959"/>
                  <a:gd name="connsiteY12" fmla="*/ 116364 h 1370560"/>
                  <a:gd name="connsiteX0" fmla="*/ 240681 w 276471"/>
                  <a:gd name="connsiteY0" fmla="*/ 116364 h 1370560"/>
                  <a:gd name="connsiteX1" fmla="*/ 193056 w 276471"/>
                  <a:gd name="connsiteY1" fmla="*/ 3969 h 1370560"/>
                  <a:gd name="connsiteX2" fmla="*/ 88916 w 276471"/>
                  <a:gd name="connsiteY2" fmla="*/ 34449 h 1370560"/>
                  <a:gd name="connsiteX3" fmla="*/ 16 w 276471"/>
                  <a:gd name="connsiteY3" fmla="*/ 171609 h 1370560"/>
                  <a:gd name="connsiteX4" fmla="*/ 16 w 276471"/>
                  <a:gd name="connsiteY4" fmla="*/ 1210469 h 1370560"/>
                  <a:gd name="connsiteX5" fmla="*/ 142891 w 276471"/>
                  <a:gd name="connsiteY5" fmla="*/ 1366679 h 1370560"/>
                  <a:gd name="connsiteX6" fmla="*/ 260366 w 276471"/>
                  <a:gd name="connsiteY6" fmla="*/ 1325404 h 1370560"/>
                  <a:gd name="connsiteX7" fmla="*/ 223536 w 276471"/>
                  <a:gd name="connsiteY7" fmla="*/ 1224439 h 1370560"/>
                  <a:gd name="connsiteX8" fmla="*/ 159401 w 276471"/>
                  <a:gd name="connsiteY8" fmla="*/ 1242219 h 1370560"/>
                  <a:gd name="connsiteX9" fmla="*/ 120666 w 276471"/>
                  <a:gd name="connsiteY9" fmla="*/ 1218089 h 1370560"/>
                  <a:gd name="connsiteX10" fmla="*/ 119396 w 276471"/>
                  <a:gd name="connsiteY10" fmla="*/ 212884 h 1370560"/>
                  <a:gd name="connsiteX11" fmla="*/ 142256 w 276471"/>
                  <a:gd name="connsiteY11" fmla="*/ 149384 h 1370560"/>
                  <a:gd name="connsiteX12" fmla="*/ 240681 w 276471"/>
                  <a:gd name="connsiteY12" fmla="*/ 116364 h 137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6471" h="1370560">
                    <a:moveTo>
                      <a:pt x="240681" y="116364"/>
                    </a:moveTo>
                    <a:cubicBezTo>
                      <a:pt x="280474" y="98584"/>
                      <a:pt x="260578" y="-23336"/>
                      <a:pt x="193056" y="3969"/>
                    </a:cubicBezTo>
                    <a:lnTo>
                      <a:pt x="88916" y="34449"/>
                    </a:lnTo>
                    <a:cubicBezTo>
                      <a:pt x="31343" y="52229"/>
                      <a:pt x="-831" y="125889"/>
                      <a:pt x="16" y="171609"/>
                    </a:cubicBezTo>
                    <a:lnTo>
                      <a:pt x="16" y="1210469"/>
                    </a:lnTo>
                    <a:cubicBezTo>
                      <a:pt x="4461" y="1346359"/>
                      <a:pt x="96536" y="1383824"/>
                      <a:pt x="142891" y="1366679"/>
                    </a:cubicBezTo>
                    <a:cubicBezTo>
                      <a:pt x="182049" y="1352921"/>
                      <a:pt x="217398" y="1346782"/>
                      <a:pt x="260366" y="1325404"/>
                    </a:cubicBezTo>
                    <a:cubicBezTo>
                      <a:pt x="291904" y="1315879"/>
                      <a:pt x="275818" y="1205389"/>
                      <a:pt x="223536" y="1224439"/>
                    </a:cubicBezTo>
                    <a:lnTo>
                      <a:pt x="159401" y="1242219"/>
                    </a:lnTo>
                    <a:cubicBezTo>
                      <a:pt x="149664" y="1246241"/>
                      <a:pt x="126593" y="1261692"/>
                      <a:pt x="120666" y="1218089"/>
                    </a:cubicBezTo>
                    <a:cubicBezTo>
                      <a:pt x="117703" y="873496"/>
                      <a:pt x="122359" y="557477"/>
                      <a:pt x="119396" y="212884"/>
                    </a:cubicBezTo>
                    <a:cubicBezTo>
                      <a:pt x="121936" y="196162"/>
                      <a:pt x="124476" y="164201"/>
                      <a:pt x="142256" y="149384"/>
                    </a:cubicBezTo>
                    <a:lnTo>
                      <a:pt x="240681" y="116364"/>
                    </a:lnTo>
                    <a:close/>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41" name="Freeform: Shape 440">
                <a:extLst>
                  <a:ext uri="{FF2B5EF4-FFF2-40B4-BE49-F238E27FC236}">
                    <a16:creationId xmlns:a16="http://schemas.microsoft.com/office/drawing/2014/main" id="{4C4D1351-7B58-4CC3-A03F-C370FFED638B}"/>
                  </a:ext>
                </a:extLst>
              </p:cNvPr>
              <p:cNvSpPr/>
              <p:nvPr/>
            </p:nvSpPr>
            <p:spPr bwMode="gray">
              <a:xfrm>
                <a:off x="12961632" y="1869309"/>
                <a:ext cx="235954" cy="1369633"/>
              </a:xfrm>
              <a:custGeom>
                <a:avLst/>
                <a:gdLst>
                  <a:gd name="connsiteX0" fmla="*/ 156786 w 233419"/>
                  <a:gd name="connsiteY0" fmla="*/ 3308 h 1355480"/>
                  <a:gd name="connsiteX1" fmla="*/ 206683 w 233419"/>
                  <a:gd name="connsiteY1" fmla="*/ 109988 h 1355480"/>
                  <a:gd name="connsiteX2" fmla="*/ 147336 w 233419"/>
                  <a:gd name="connsiteY2" fmla="*/ 140727 h 1355480"/>
                  <a:gd name="connsiteX3" fmla="*/ 147558 w 233419"/>
                  <a:gd name="connsiteY3" fmla="*/ 141198 h 1355480"/>
                  <a:gd name="connsiteX4" fmla="*/ 136586 w 233419"/>
                  <a:gd name="connsiteY4" fmla="*/ 160746 h 1355480"/>
                  <a:gd name="connsiteX5" fmla="*/ 131828 w 233419"/>
                  <a:gd name="connsiteY5" fmla="*/ 174044 h 1355480"/>
                  <a:gd name="connsiteX6" fmla="*/ 128126 w 233419"/>
                  <a:gd name="connsiteY6" fmla="*/ 206508 h 1355480"/>
                  <a:gd name="connsiteX7" fmla="*/ 128949 w 233419"/>
                  <a:gd name="connsiteY7" fmla="*/ 1211713 h 1355480"/>
                  <a:gd name="connsiteX8" fmla="*/ 154038 w 233419"/>
                  <a:gd name="connsiteY8" fmla="*/ 1235843 h 1355480"/>
                  <a:gd name="connsiteX9" fmla="*/ 168908 w 233419"/>
                  <a:gd name="connsiteY9" fmla="*/ 1231398 h 1355480"/>
                  <a:gd name="connsiteX10" fmla="*/ 219433 w 233419"/>
                  <a:gd name="connsiteY10" fmla="*/ 1319028 h 1355480"/>
                  <a:gd name="connsiteX11" fmla="*/ 148425 w 233419"/>
                  <a:gd name="connsiteY11" fmla="*/ 1355223 h 1355480"/>
                  <a:gd name="connsiteX12" fmla="*/ 15901 w 233419"/>
                  <a:gd name="connsiteY12" fmla="*/ 1257800 h 1355480"/>
                  <a:gd name="connsiteX13" fmla="*/ 13670 w 233419"/>
                  <a:gd name="connsiteY13" fmla="*/ 1239912 h 1355480"/>
                  <a:gd name="connsiteX14" fmla="*/ 10832 w 233419"/>
                  <a:gd name="connsiteY14" fmla="*/ 1231254 h 1355480"/>
                  <a:gd name="connsiteX15" fmla="*/ 5318 w 233419"/>
                  <a:gd name="connsiteY15" fmla="*/ 1185555 h 1355480"/>
                  <a:gd name="connsiteX16" fmla="*/ 5318 w 233419"/>
                  <a:gd name="connsiteY16" fmla="*/ 1172949 h 1355480"/>
                  <a:gd name="connsiteX17" fmla="*/ 5084 w 233419"/>
                  <a:gd name="connsiteY17" fmla="*/ 1171073 h 1355480"/>
                  <a:gd name="connsiteX18" fmla="*/ 5 w 233419"/>
                  <a:gd name="connsiteY18" fmla="*/ 165233 h 1355480"/>
                  <a:gd name="connsiteX19" fmla="*/ 7098 w 233419"/>
                  <a:gd name="connsiteY19" fmla="*/ 128205 h 1355480"/>
                  <a:gd name="connsiteX20" fmla="*/ 24723 w 233419"/>
                  <a:gd name="connsiteY20" fmla="*/ 92635 h 1355480"/>
                  <a:gd name="connsiteX21" fmla="*/ 27861 w 233419"/>
                  <a:gd name="connsiteY21" fmla="*/ 85262 h 1355480"/>
                  <a:gd name="connsiteX22" fmla="*/ 55920 w 233419"/>
                  <a:gd name="connsiteY22" fmla="*/ 50223 h 1355480"/>
                  <a:gd name="connsiteX23" fmla="*/ 79618 w 233419"/>
                  <a:gd name="connsiteY23" fmla="*/ 36518 h 1355480"/>
                  <a:gd name="connsiteX24" fmla="*/ 80445 w 233419"/>
                  <a:gd name="connsiteY24" fmla="*/ 35693 h 1355480"/>
                  <a:gd name="connsiteX25" fmla="*/ 82697 w 233419"/>
                  <a:gd name="connsiteY25" fmla="*/ 34738 h 1355480"/>
                  <a:gd name="connsiteX26" fmla="*/ 94218 w 233419"/>
                  <a:gd name="connsiteY26" fmla="*/ 28075 h 1355480"/>
                  <a:gd name="connsiteX27" fmla="*/ 94916 w 233419"/>
                  <a:gd name="connsiteY27" fmla="*/ 29554 h 1355480"/>
                  <a:gd name="connsiteX0" fmla="*/ 156786 w 233419"/>
                  <a:gd name="connsiteY0" fmla="*/ 3308 h 1355480"/>
                  <a:gd name="connsiteX1" fmla="*/ 206683 w 233419"/>
                  <a:gd name="connsiteY1" fmla="*/ 109988 h 1355480"/>
                  <a:gd name="connsiteX2" fmla="*/ 147336 w 233419"/>
                  <a:gd name="connsiteY2" fmla="*/ 140727 h 1355480"/>
                  <a:gd name="connsiteX3" fmla="*/ 147558 w 233419"/>
                  <a:gd name="connsiteY3" fmla="*/ 141198 h 1355480"/>
                  <a:gd name="connsiteX4" fmla="*/ 136586 w 233419"/>
                  <a:gd name="connsiteY4" fmla="*/ 160746 h 1355480"/>
                  <a:gd name="connsiteX5" fmla="*/ 131828 w 233419"/>
                  <a:gd name="connsiteY5" fmla="*/ 174044 h 1355480"/>
                  <a:gd name="connsiteX6" fmla="*/ 128126 w 233419"/>
                  <a:gd name="connsiteY6" fmla="*/ 206508 h 1355480"/>
                  <a:gd name="connsiteX7" fmla="*/ 128949 w 233419"/>
                  <a:gd name="connsiteY7" fmla="*/ 1211713 h 1355480"/>
                  <a:gd name="connsiteX8" fmla="*/ 154038 w 233419"/>
                  <a:gd name="connsiteY8" fmla="*/ 1235843 h 1355480"/>
                  <a:gd name="connsiteX9" fmla="*/ 168908 w 233419"/>
                  <a:gd name="connsiteY9" fmla="*/ 1231398 h 1355480"/>
                  <a:gd name="connsiteX10" fmla="*/ 219433 w 233419"/>
                  <a:gd name="connsiteY10" fmla="*/ 1319028 h 1355480"/>
                  <a:gd name="connsiteX11" fmla="*/ 148425 w 233419"/>
                  <a:gd name="connsiteY11" fmla="*/ 1355223 h 1355480"/>
                  <a:gd name="connsiteX12" fmla="*/ 15901 w 233419"/>
                  <a:gd name="connsiteY12" fmla="*/ 1257800 h 1355480"/>
                  <a:gd name="connsiteX13" fmla="*/ 13670 w 233419"/>
                  <a:gd name="connsiteY13" fmla="*/ 1239912 h 1355480"/>
                  <a:gd name="connsiteX14" fmla="*/ 10832 w 233419"/>
                  <a:gd name="connsiteY14" fmla="*/ 1231254 h 1355480"/>
                  <a:gd name="connsiteX15" fmla="*/ 5318 w 233419"/>
                  <a:gd name="connsiteY15" fmla="*/ 1185555 h 1355480"/>
                  <a:gd name="connsiteX16" fmla="*/ 5318 w 233419"/>
                  <a:gd name="connsiteY16" fmla="*/ 1172949 h 1355480"/>
                  <a:gd name="connsiteX17" fmla="*/ 5084 w 233419"/>
                  <a:gd name="connsiteY17" fmla="*/ 1171073 h 1355480"/>
                  <a:gd name="connsiteX18" fmla="*/ 5 w 233419"/>
                  <a:gd name="connsiteY18" fmla="*/ 165233 h 1355480"/>
                  <a:gd name="connsiteX19" fmla="*/ 7098 w 233419"/>
                  <a:gd name="connsiteY19" fmla="*/ 128205 h 1355480"/>
                  <a:gd name="connsiteX20" fmla="*/ 24723 w 233419"/>
                  <a:gd name="connsiteY20" fmla="*/ 92635 h 1355480"/>
                  <a:gd name="connsiteX21" fmla="*/ 55920 w 233419"/>
                  <a:gd name="connsiteY21" fmla="*/ 50223 h 1355480"/>
                  <a:gd name="connsiteX22" fmla="*/ 79618 w 233419"/>
                  <a:gd name="connsiteY22" fmla="*/ 36518 h 1355480"/>
                  <a:gd name="connsiteX23" fmla="*/ 80445 w 233419"/>
                  <a:gd name="connsiteY23" fmla="*/ 35693 h 1355480"/>
                  <a:gd name="connsiteX24" fmla="*/ 82697 w 233419"/>
                  <a:gd name="connsiteY24" fmla="*/ 34738 h 1355480"/>
                  <a:gd name="connsiteX25" fmla="*/ 94218 w 233419"/>
                  <a:gd name="connsiteY25" fmla="*/ 28075 h 1355480"/>
                  <a:gd name="connsiteX26" fmla="*/ 94916 w 233419"/>
                  <a:gd name="connsiteY26" fmla="*/ 29554 h 1355480"/>
                  <a:gd name="connsiteX27" fmla="*/ 156786 w 233419"/>
                  <a:gd name="connsiteY27" fmla="*/ 3308 h 1355480"/>
                  <a:gd name="connsiteX0" fmla="*/ 156786 w 233419"/>
                  <a:gd name="connsiteY0" fmla="*/ 3308 h 1355480"/>
                  <a:gd name="connsiteX1" fmla="*/ 206683 w 233419"/>
                  <a:gd name="connsiteY1" fmla="*/ 109988 h 1355480"/>
                  <a:gd name="connsiteX2" fmla="*/ 147336 w 233419"/>
                  <a:gd name="connsiteY2" fmla="*/ 140727 h 1355480"/>
                  <a:gd name="connsiteX3" fmla="*/ 147558 w 233419"/>
                  <a:gd name="connsiteY3" fmla="*/ 141198 h 1355480"/>
                  <a:gd name="connsiteX4" fmla="*/ 136586 w 233419"/>
                  <a:gd name="connsiteY4" fmla="*/ 160746 h 1355480"/>
                  <a:gd name="connsiteX5" fmla="*/ 131828 w 233419"/>
                  <a:gd name="connsiteY5" fmla="*/ 174044 h 1355480"/>
                  <a:gd name="connsiteX6" fmla="*/ 128126 w 233419"/>
                  <a:gd name="connsiteY6" fmla="*/ 206508 h 1355480"/>
                  <a:gd name="connsiteX7" fmla="*/ 128949 w 233419"/>
                  <a:gd name="connsiteY7" fmla="*/ 1211713 h 1355480"/>
                  <a:gd name="connsiteX8" fmla="*/ 154038 w 233419"/>
                  <a:gd name="connsiteY8" fmla="*/ 1235843 h 1355480"/>
                  <a:gd name="connsiteX9" fmla="*/ 168908 w 233419"/>
                  <a:gd name="connsiteY9" fmla="*/ 1231398 h 1355480"/>
                  <a:gd name="connsiteX10" fmla="*/ 219433 w 233419"/>
                  <a:gd name="connsiteY10" fmla="*/ 1319028 h 1355480"/>
                  <a:gd name="connsiteX11" fmla="*/ 148425 w 233419"/>
                  <a:gd name="connsiteY11" fmla="*/ 1355223 h 1355480"/>
                  <a:gd name="connsiteX12" fmla="*/ 15901 w 233419"/>
                  <a:gd name="connsiteY12" fmla="*/ 1257800 h 1355480"/>
                  <a:gd name="connsiteX13" fmla="*/ 13670 w 233419"/>
                  <a:gd name="connsiteY13" fmla="*/ 1239912 h 1355480"/>
                  <a:gd name="connsiteX14" fmla="*/ 10832 w 233419"/>
                  <a:gd name="connsiteY14" fmla="*/ 1231254 h 1355480"/>
                  <a:gd name="connsiteX15" fmla="*/ 5318 w 233419"/>
                  <a:gd name="connsiteY15" fmla="*/ 1185555 h 1355480"/>
                  <a:gd name="connsiteX16" fmla="*/ 5318 w 233419"/>
                  <a:gd name="connsiteY16" fmla="*/ 1172949 h 1355480"/>
                  <a:gd name="connsiteX17" fmla="*/ 5084 w 233419"/>
                  <a:gd name="connsiteY17" fmla="*/ 1171073 h 1355480"/>
                  <a:gd name="connsiteX18" fmla="*/ 5 w 233419"/>
                  <a:gd name="connsiteY18" fmla="*/ 165233 h 1355480"/>
                  <a:gd name="connsiteX19" fmla="*/ 7098 w 233419"/>
                  <a:gd name="connsiteY19" fmla="*/ 128205 h 1355480"/>
                  <a:gd name="connsiteX20" fmla="*/ 55920 w 233419"/>
                  <a:gd name="connsiteY20" fmla="*/ 50223 h 1355480"/>
                  <a:gd name="connsiteX21" fmla="*/ 79618 w 233419"/>
                  <a:gd name="connsiteY21" fmla="*/ 36518 h 1355480"/>
                  <a:gd name="connsiteX22" fmla="*/ 80445 w 233419"/>
                  <a:gd name="connsiteY22" fmla="*/ 35693 h 1355480"/>
                  <a:gd name="connsiteX23" fmla="*/ 82697 w 233419"/>
                  <a:gd name="connsiteY23" fmla="*/ 34738 h 1355480"/>
                  <a:gd name="connsiteX24" fmla="*/ 94218 w 233419"/>
                  <a:gd name="connsiteY24" fmla="*/ 28075 h 1355480"/>
                  <a:gd name="connsiteX25" fmla="*/ 94916 w 233419"/>
                  <a:gd name="connsiteY25" fmla="*/ 29554 h 1355480"/>
                  <a:gd name="connsiteX26" fmla="*/ 156786 w 233419"/>
                  <a:gd name="connsiteY26" fmla="*/ 3308 h 1355480"/>
                  <a:gd name="connsiteX0" fmla="*/ 156781 w 233414"/>
                  <a:gd name="connsiteY0" fmla="*/ 3308 h 1355480"/>
                  <a:gd name="connsiteX1" fmla="*/ 206678 w 233414"/>
                  <a:gd name="connsiteY1" fmla="*/ 109988 h 1355480"/>
                  <a:gd name="connsiteX2" fmla="*/ 147331 w 233414"/>
                  <a:gd name="connsiteY2" fmla="*/ 140727 h 1355480"/>
                  <a:gd name="connsiteX3" fmla="*/ 147553 w 233414"/>
                  <a:gd name="connsiteY3" fmla="*/ 141198 h 1355480"/>
                  <a:gd name="connsiteX4" fmla="*/ 136581 w 233414"/>
                  <a:gd name="connsiteY4" fmla="*/ 160746 h 1355480"/>
                  <a:gd name="connsiteX5" fmla="*/ 131823 w 233414"/>
                  <a:gd name="connsiteY5" fmla="*/ 174044 h 1355480"/>
                  <a:gd name="connsiteX6" fmla="*/ 128121 w 233414"/>
                  <a:gd name="connsiteY6" fmla="*/ 206508 h 1355480"/>
                  <a:gd name="connsiteX7" fmla="*/ 128944 w 233414"/>
                  <a:gd name="connsiteY7" fmla="*/ 1211713 h 1355480"/>
                  <a:gd name="connsiteX8" fmla="*/ 154033 w 233414"/>
                  <a:gd name="connsiteY8" fmla="*/ 1235843 h 1355480"/>
                  <a:gd name="connsiteX9" fmla="*/ 168903 w 233414"/>
                  <a:gd name="connsiteY9" fmla="*/ 1231398 h 1355480"/>
                  <a:gd name="connsiteX10" fmla="*/ 219428 w 233414"/>
                  <a:gd name="connsiteY10" fmla="*/ 1319028 h 1355480"/>
                  <a:gd name="connsiteX11" fmla="*/ 148420 w 233414"/>
                  <a:gd name="connsiteY11" fmla="*/ 1355223 h 1355480"/>
                  <a:gd name="connsiteX12" fmla="*/ 15896 w 233414"/>
                  <a:gd name="connsiteY12" fmla="*/ 1257800 h 1355480"/>
                  <a:gd name="connsiteX13" fmla="*/ 13665 w 233414"/>
                  <a:gd name="connsiteY13" fmla="*/ 1239912 h 1355480"/>
                  <a:gd name="connsiteX14" fmla="*/ 10827 w 233414"/>
                  <a:gd name="connsiteY14" fmla="*/ 1231254 h 1355480"/>
                  <a:gd name="connsiteX15" fmla="*/ 5313 w 233414"/>
                  <a:gd name="connsiteY15" fmla="*/ 1185555 h 1355480"/>
                  <a:gd name="connsiteX16" fmla="*/ 5313 w 233414"/>
                  <a:gd name="connsiteY16" fmla="*/ 1172949 h 1355480"/>
                  <a:gd name="connsiteX17" fmla="*/ 5079 w 233414"/>
                  <a:gd name="connsiteY17" fmla="*/ 1171073 h 1355480"/>
                  <a:gd name="connsiteX18" fmla="*/ 0 w 233414"/>
                  <a:gd name="connsiteY18" fmla="*/ 165233 h 1355480"/>
                  <a:gd name="connsiteX19" fmla="*/ 55915 w 233414"/>
                  <a:gd name="connsiteY19" fmla="*/ 50223 h 1355480"/>
                  <a:gd name="connsiteX20" fmla="*/ 79613 w 233414"/>
                  <a:gd name="connsiteY20" fmla="*/ 36518 h 1355480"/>
                  <a:gd name="connsiteX21" fmla="*/ 80440 w 233414"/>
                  <a:gd name="connsiteY21" fmla="*/ 35693 h 1355480"/>
                  <a:gd name="connsiteX22" fmla="*/ 82692 w 233414"/>
                  <a:gd name="connsiteY22" fmla="*/ 34738 h 1355480"/>
                  <a:gd name="connsiteX23" fmla="*/ 94213 w 233414"/>
                  <a:gd name="connsiteY23" fmla="*/ 28075 h 1355480"/>
                  <a:gd name="connsiteX24" fmla="*/ 94911 w 233414"/>
                  <a:gd name="connsiteY24" fmla="*/ 29554 h 1355480"/>
                  <a:gd name="connsiteX25" fmla="*/ 156781 w 233414"/>
                  <a:gd name="connsiteY25" fmla="*/ 3308 h 1355480"/>
                  <a:gd name="connsiteX0" fmla="*/ 156781 w 233414"/>
                  <a:gd name="connsiteY0" fmla="*/ 3308 h 1355480"/>
                  <a:gd name="connsiteX1" fmla="*/ 206678 w 233414"/>
                  <a:gd name="connsiteY1" fmla="*/ 109988 h 1355480"/>
                  <a:gd name="connsiteX2" fmla="*/ 147331 w 233414"/>
                  <a:gd name="connsiteY2" fmla="*/ 140727 h 1355480"/>
                  <a:gd name="connsiteX3" fmla="*/ 147553 w 233414"/>
                  <a:gd name="connsiteY3" fmla="*/ 141198 h 1355480"/>
                  <a:gd name="connsiteX4" fmla="*/ 136581 w 233414"/>
                  <a:gd name="connsiteY4" fmla="*/ 160746 h 1355480"/>
                  <a:gd name="connsiteX5" fmla="*/ 131823 w 233414"/>
                  <a:gd name="connsiteY5" fmla="*/ 174044 h 1355480"/>
                  <a:gd name="connsiteX6" fmla="*/ 128121 w 233414"/>
                  <a:gd name="connsiteY6" fmla="*/ 206508 h 1355480"/>
                  <a:gd name="connsiteX7" fmla="*/ 128944 w 233414"/>
                  <a:gd name="connsiteY7" fmla="*/ 1211713 h 1355480"/>
                  <a:gd name="connsiteX8" fmla="*/ 154033 w 233414"/>
                  <a:gd name="connsiteY8" fmla="*/ 1235843 h 1355480"/>
                  <a:gd name="connsiteX9" fmla="*/ 168903 w 233414"/>
                  <a:gd name="connsiteY9" fmla="*/ 1231398 h 1355480"/>
                  <a:gd name="connsiteX10" fmla="*/ 219428 w 233414"/>
                  <a:gd name="connsiteY10" fmla="*/ 1319028 h 1355480"/>
                  <a:gd name="connsiteX11" fmla="*/ 148420 w 233414"/>
                  <a:gd name="connsiteY11" fmla="*/ 1355223 h 1355480"/>
                  <a:gd name="connsiteX12" fmla="*/ 15896 w 233414"/>
                  <a:gd name="connsiteY12" fmla="*/ 1257800 h 1355480"/>
                  <a:gd name="connsiteX13" fmla="*/ 13665 w 233414"/>
                  <a:gd name="connsiteY13" fmla="*/ 1239912 h 1355480"/>
                  <a:gd name="connsiteX14" fmla="*/ 10827 w 233414"/>
                  <a:gd name="connsiteY14" fmla="*/ 1231254 h 1355480"/>
                  <a:gd name="connsiteX15" fmla="*/ 5313 w 233414"/>
                  <a:gd name="connsiteY15" fmla="*/ 1185555 h 1355480"/>
                  <a:gd name="connsiteX16" fmla="*/ 5313 w 233414"/>
                  <a:gd name="connsiteY16" fmla="*/ 1172949 h 1355480"/>
                  <a:gd name="connsiteX17" fmla="*/ 5079 w 233414"/>
                  <a:gd name="connsiteY17" fmla="*/ 1171073 h 1355480"/>
                  <a:gd name="connsiteX18" fmla="*/ 0 w 233414"/>
                  <a:gd name="connsiteY18" fmla="*/ 165233 h 1355480"/>
                  <a:gd name="connsiteX19" fmla="*/ 55915 w 233414"/>
                  <a:gd name="connsiteY19" fmla="*/ 50223 h 1355480"/>
                  <a:gd name="connsiteX20" fmla="*/ 79613 w 233414"/>
                  <a:gd name="connsiteY20" fmla="*/ 36518 h 1355480"/>
                  <a:gd name="connsiteX21" fmla="*/ 82692 w 233414"/>
                  <a:gd name="connsiteY21" fmla="*/ 34738 h 1355480"/>
                  <a:gd name="connsiteX22" fmla="*/ 94213 w 233414"/>
                  <a:gd name="connsiteY22" fmla="*/ 28075 h 1355480"/>
                  <a:gd name="connsiteX23" fmla="*/ 94911 w 233414"/>
                  <a:gd name="connsiteY23" fmla="*/ 29554 h 1355480"/>
                  <a:gd name="connsiteX24" fmla="*/ 156781 w 233414"/>
                  <a:gd name="connsiteY24" fmla="*/ 3308 h 1355480"/>
                  <a:gd name="connsiteX0" fmla="*/ 156781 w 233414"/>
                  <a:gd name="connsiteY0" fmla="*/ 3308 h 1355480"/>
                  <a:gd name="connsiteX1" fmla="*/ 206678 w 233414"/>
                  <a:gd name="connsiteY1" fmla="*/ 109988 h 1355480"/>
                  <a:gd name="connsiteX2" fmla="*/ 147331 w 233414"/>
                  <a:gd name="connsiteY2" fmla="*/ 140727 h 1355480"/>
                  <a:gd name="connsiteX3" fmla="*/ 147553 w 233414"/>
                  <a:gd name="connsiteY3" fmla="*/ 141198 h 1355480"/>
                  <a:gd name="connsiteX4" fmla="*/ 136581 w 233414"/>
                  <a:gd name="connsiteY4" fmla="*/ 160746 h 1355480"/>
                  <a:gd name="connsiteX5" fmla="*/ 131823 w 233414"/>
                  <a:gd name="connsiteY5" fmla="*/ 174044 h 1355480"/>
                  <a:gd name="connsiteX6" fmla="*/ 128121 w 233414"/>
                  <a:gd name="connsiteY6" fmla="*/ 206508 h 1355480"/>
                  <a:gd name="connsiteX7" fmla="*/ 128944 w 233414"/>
                  <a:gd name="connsiteY7" fmla="*/ 1211713 h 1355480"/>
                  <a:gd name="connsiteX8" fmla="*/ 154033 w 233414"/>
                  <a:gd name="connsiteY8" fmla="*/ 1235843 h 1355480"/>
                  <a:gd name="connsiteX9" fmla="*/ 168903 w 233414"/>
                  <a:gd name="connsiteY9" fmla="*/ 1231398 h 1355480"/>
                  <a:gd name="connsiteX10" fmla="*/ 219428 w 233414"/>
                  <a:gd name="connsiteY10" fmla="*/ 1319028 h 1355480"/>
                  <a:gd name="connsiteX11" fmla="*/ 148420 w 233414"/>
                  <a:gd name="connsiteY11" fmla="*/ 1355223 h 1355480"/>
                  <a:gd name="connsiteX12" fmla="*/ 15896 w 233414"/>
                  <a:gd name="connsiteY12" fmla="*/ 1257800 h 1355480"/>
                  <a:gd name="connsiteX13" fmla="*/ 13665 w 233414"/>
                  <a:gd name="connsiteY13" fmla="*/ 1239912 h 1355480"/>
                  <a:gd name="connsiteX14" fmla="*/ 10827 w 233414"/>
                  <a:gd name="connsiteY14" fmla="*/ 1231254 h 1355480"/>
                  <a:gd name="connsiteX15" fmla="*/ 5313 w 233414"/>
                  <a:gd name="connsiteY15" fmla="*/ 1185555 h 1355480"/>
                  <a:gd name="connsiteX16" fmla="*/ 5313 w 233414"/>
                  <a:gd name="connsiteY16" fmla="*/ 1172949 h 1355480"/>
                  <a:gd name="connsiteX17" fmla="*/ 5079 w 233414"/>
                  <a:gd name="connsiteY17" fmla="*/ 1171073 h 1355480"/>
                  <a:gd name="connsiteX18" fmla="*/ 0 w 233414"/>
                  <a:gd name="connsiteY18" fmla="*/ 165233 h 1355480"/>
                  <a:gd name="connsiteX19" fmla="*/ 55915 w 233414"/>
                  <a:gd name="connsiteY19" fmla="*/ 50223 h 1355480"/>
                  <a:gd name="connsiteX20" fmla="*/ 79613 w 233414"/>
                  <a:gd name="connsiteY20" fmla="*/ 36518 h 1355480"/>
                  <a:gd name="connsiteX21" fmla="*/ 82692 w 233414"/>
                  <a:gd name="connsiteY21" fmla="*/ 34738 h 1355480"/>
                  <a:gd name="connsiteX22" fmla="*/ 94213 w 233414"/>
                  <a:gd name="connsiteY22" fmla="*/ 28075 h 1355480"/>
                  <a:gd name="connsiteX23" fmla="*/ 156781 w 233414"/>
                  <a:gd name="connsiteY23" fmla="*/ 3308 h 1355480"/>
                  <a:gd name="connsiteX0" fmla="*/ 156781 w 233414"/>
                  <a:gd name="connsiteY0" fmla="*/ 3308 h 1355480"/>
                  <a:gd name="connsiteX1" fmla="*/ 206678 w 233414"/>
                  <a:gd name="connsiteY1" fmla="*/ 109988 h 1355480"/>
                  <a:gd name="connsiteX2" fmla="*/ 147331 w 233414"/>
                  <a:gd name="connsiteY2" fmla="*/ 140727 h 1355480"/>
                  <a:gd name="connsiteX3" fmla="*/ 147553 w 233414"/>
                  <a:gd name="connsiteY3" fmla="*/ 141198 h 1355480"/>
                  <a:gd name="connsiteX4" fmla="*/ 136581 w 233414"/>
                  <a:gd name="connsiteY4" fmla="*/ 160746 h 1355480"/>
                  <a:gd name="connsiteX5" fmla="*/ 131823 w 233414"/>
                  <a:gd name="connsiteY5" fmla="*/ 174044 h 1355480"/>
                  <a:gd name="connsiteX6" fmla="*/ 128121 w 233414"/>
                  <a:gd name="connsiteY6" fmla="*/ 206508 h 1355480"/>
                  <a:gd name="connsiteX7" fmla="*/ 128944 w 233414"/>
                  <a:gd name="connsiteY7" fmla="*/ 1211713 h 1355480"/>
                  <a:gd name="connsiteX8" fmla="*/ 154033 w 233414"/>
                  <a:gd name="connsiteY8" fmla="*/ 1235843 h 1355480"/>
                  <a:gd name="connsiteX9" fmla="*/ 168903 w 233414"/>
                  <a:gd name="connsiteY9" fmla="*/ 1231398 h 1355480"/>
                  <a:gd name="connsiteX10" fmla="*/ 219428 w 233414"/>
                  <a:gd name="connsiteY10" fmla="*/ 1319028 h 1355480"/>
                  <a:gd name="connsiteX11" fmla="*/ 148420 w 233414"/>
                  <a:gd name="connsiteY11" fmla="*/ 1355223 h 1355480"/>
                  <a:gd name="connsiteX12" fmla="*/ 15896 w 233414"/>
                  <a:gd name="connsiteY12" fmla="*/ 1257800 h 1355480"/>
                  <a:gd name="connsiteX13" fmla="*/ 13665 w 233414"/>
                  <a:gd name="connsiteY13" fmla="*/ 1239912 h 1355480"/>
                  <a:gd name="connsiteX14" fmla="*/ 10827 w 233414"/>
                  <a:gd name="connsiteY14" fmla="*/ 1231254 h 1355480"/>
                  <a:gd name="connsiteX15" fmla="*/ 5313 w 233414"/>
                  <a:gd name="connsiteY15" fmla="*/ 1185555 h 1355480"/>
                  <a:gd name="connsiteX16" fmla="*/ 5313 w 233414"/>
                  <a:gd name="connsiteY16" fmla="*/ 1172949 h 1355480"/>
                  <a:gd name="connsiteX17" fmla="*/ 5079 w 233414"/>
                  <a:gd name="connsiteY17" fmla="*/ 1171073 h 1355480"/>
                  <a:gd name="connsiteX18" fmla="*/ 0 w 233414"/>
                  <a:gd name="connsiteY18" fmla="*/ 165233 h 1355480"/>
                  <a:gd name="connsiteX19" fmla="*/ 55915 w 233414"/>
                  <a:gd name="connsiteY19" fmla="*/ 50223 h 1355480"/>
                  <a:gd name="connsiteX20" fmla="*/ 79613 w 233414"/>
                  <a:gd name="connsiteY20" fmla="*/ 36518 h 1355480"/>
                  <a:gd name="connsiteX21" fmla="*/ 94213 w 233414"/>
                  <a:gd name="connsiteY21" fmla="*/ 28075 h 1355480"/>
                  <a:gd name="connsiteX22" fmla="*/ 156781 w 233414"/>
                  <a:gd name="connsiteY22" fmla="*/ 3308 h 1355480"/>
                  <a:gd name="connsiteX0" fmla="*/ 156781 w 233414"/>
                  <a:gd name="connsiteY0" fmla="*/ 3308 h 1355480"/>
                  <a:gd name="connsiteX1" fmla="*/ 206678 w 233414"/>
                  <a:gd name="connsiteY1" fmla="*/ 109988 h 1355480"/>
                  <a:gd name="connsiteX2" fmla="*/ 147331 w 233414"/>
                  <a:gd name="connsiteY2" fmla="*/ 140727 h 1355480"/>
                  <a:gd name="connsiteX3" fmla="*/ 147553 w 233414"/>
                  <a:gd name="connsiteY3" fmla="*/ 141198 h 1355480"/>
                  <a:gd name="connsiteX4" fmla="*/ 136581 w 233414"/>
                  <a:gd name="connsiteY4" fmla="*/ 160746 h 1355480"/>
                  <a:gd name="connsiteX5" fmla="*/ 131823 w 233414"/>
                  <a:gd name="connsiteY5" fmla="*/ 174044 h 1355480"/>
                  <a:gd name="connsiteX6" fmla="*/ 128121 w 233414"/>
                  <a:gd name="connsiteY6" fmla="*/ 206508 h 1355480"/>
                  <a:gd name="connsiteX7" fmla="*/ 128944 w 233414"/>
                  <a:gd name="connsiteY7" fmla="*/ 1211713 h 1355480"/>
                  <a:gd name="connsiteX8" fmla="*/ 154033 w 233414"/>
                  <a:gd name="connsiteY8" fmla="*/ 1235843 h 1355480"/>
                  <a:gd name="connsiteX9" fmla="*/ 168903 w 233414"/>
                  <a:gd name="connsiteY9" fmla="*/ 1231398 h 1355480"/>
                  <a:gd name="connsiteX10" fmla="*/ 219428 w 233414"/>
                  <a:gd name="connsiteY10" fmla="*/ 1319028 h 1355480"/>
                  <a:gd name="connsiteX11" fmla="*/ 148420 w 233414"/>
                  <a:gd name="connsiteY11" fmla="*/ 1355223 h 1355480"/>
                  <a:gd name="connsiteX12" fmla="*/ 15896 w 233414"/>
                  <a:gd name="connsiteY12" fmla="*/ 1257800 h 1355480"/>
                  <a:gd name="connsiteX13" fmla="*/ 13665 w 233414"/>
                  <a:gd name="connsiteY13" fmla="*/ 1239912 h 1355480"/>
                  <a:gd name="connsiteX14" fmla="*/ 10827 w 233414"/>
                  <a:gd name="connsiteY14" fmla="*/ 1231254 h 1355480"/>
                  <a:gd name="connsiteX15" fmla="*/ 5313 w 233414"/>
                  <a:gd name="connsiteY15" fmla="*/ 1185555 h 1355480"/>
                  <a:gd name="connsiteX16" fmla="*/ 5313 w 233414"/>
                  <a:gd name="connsiteY16" fmla="*/ 1172949 h 1355480"/>
                  <a:gd name="connsiteX17" fmla="*/ 5079 w 233414"/>
                  <a:gd name="connsiteY17" fmla="*/ 1171073 h 1355480"/>
                  <a:gd name="connsiteX18" fmla="*/ 0 w 233414"/>
                  <a:gd name="connsiteY18" fmla="*/ 165233 h 1355480"/>
                  <a:gd name="connsiteX19" fmla="*/ 55915 w 233414"/>
                  <a:gd name="connsiteY19" fmla="*/ 50223 h 1355480"/>
                  <a:gd name="connsiteX20" fmla="*/ 79613 w 233414"/>
                  <a:gd name="connsiteY20" fmla="*/ 36518 h 1355480"/>
                  <a:gd name="connsiteX21" fmla="*/ 156781 w 233414"/>
                  <a:gd name="connsiteY21" fmla="*/ 3308 h 1355480"/>
                  <a:gd name="connsiteX0" fmla="*/ 156781 w 233414"/>
                  <a:gd name="connsiteY0" fmla="*/ 3308 h 1355480"/>
                  <a:gd name="connsiteX1" fmla="*/ 206678 w 233414"/>
                  <a:gd name="connsiteY1" fmla="*/ 109988 h 1355480"/>
                  <a:gd name="connsiteX2" fmla="*/ 147331 w 233414"/>
                  <a:gd name="connsiteY2" fmla="*/ 140727 h 1355480"/>
                  <a:gd name="connsiteX3" fmla="*/ 147553 w 233414"/>
                  <a:gd name="connsiteY3" fmla="*/ 141198 h 1355480"/>
                  <a:gd name="connsiteX4" fmla="*/ 136581 w 233414"/>
                  <a:gd name="connsiteY4" fmla="*/ 160746 h 1355480"/>
                  <a:gd name="connsiteX5" fmla="*/ 131823 w 233414"/>
                  <a:gd name="connsiteY5" fmla="*/ 174044 h 1355480"/>
                  <a:gd name="connsiteX6" fmla="*/ 128121 w 233414"/>
                  <a:gd name="connsiteY6" fmla="*/ 206508 h 1355480"/>
                  <a:gd name="connsiteX7" fmla="*/ 128944 w 233414"/>
                  <a:gd name="connsiteY7" fmla="*/ 1211713 h 1355480"/>
                  <a:gd name="connsiteX8" fmla="*/ 154033 w 233414"/>
                  <a:gd name="connsiteY8" fmla="*/ 1235843 h 1355480"/>
                  <a:gd name="connsiteX9" fmla="*/ 168903 w 233414"/>
                  <a:gd name="connsiteY9" fmla="*/ 1231398 h 1355480"/>
                  <a:gd name="connsiteX10" fmla="*/ 219428 w 233414"/>
                  <a:gd name="connsiteY10" fmla="*/ 1319028 h 1355480"/>
                  <a:gd name="connsiteX11" fmla="*/ 148420 w 233414"/>
                  <a:gd name="connsiteY11" fmla="*/ 1355223 h 1355480"/>
                  <a:gd name="connsiteX12" fmla="*/ 15896 w 233414"/>
                  <a:gd name="connsiteY12" fmla="*/ 1257800 h 1355480"/>
                  <a:gd name="connsiteX13" fmla="*/ 13665 w 233414"/>
                  <a:gd name="connsiteY13" fmla="*/ 1239912 h 1355480"/>
                  <a:gd name="connsiteX14" fmla="*/ 10827 w 233414"/>
                  <a:gd name="connsiteY14" fmla="*/ 1231254 h 1355480"/>
                  <a:gd name="connsiteX15" fmla="*/ 5313 w 233414"/>
                  <a:gd name="connsiteY15" fmla="*/ 1185555 h 1355480"/>
                  <a:gd name="connsiteX16" fmla="*/ 5313 w 233414"/>
                  <a:gd name="connsiteY16" fmla="*/ 1172949 h 1355480"/>
                  <a:gd name="connsiteX17" fmla="*/ 5079 w 233414"/>
                  <a:gd name="connsiteY17" fmla="*/ 1171073 h 1355480"/>
                  <a:gd name="connsiteX18" fmla="*/ 0 w 233414"/>
                  <a:gd name="connsiteY18" fmla="*/ 165233 h 1355480"/>
                  <a:gd name="connsiteX19" fmla="*/ 79613 w 233414"/>
                  <a:gd name="connsiteY19" fmla="*/ 36518 h 1355480"/>
                  <a:gd name="connsiteX20" fmla="*/ 156781 w 233414"/>
                  <a:gd name="connsiteY20" fmla="*/ 3308 h 1355480"/>
                  <a:gd name="connsiteX0" fmla="*/ 156781 w 233414"/>
                  <a:gd name="connsiteY0" fmla="*/ 3308 h 1355480"/>
                  <a:gd name="connsiteX1" fmla="*/ 206678 w 233414"/>
                  <a:gd name="connsiteY1" fmla="*/ 109988 h 1355480"/>
                  <a:gd name="connsiteX2" fmla="*/ 147331 w 233414"/>
                  <a:gd name="connsiteY2" fmla="*/ 140727 h 1355480"/>
                  <a:gd name="connsiteX3" fmla="*/ 147553 w 233414"/>
                  <a:gd name="connsiteY3" fmla="*/ 141198 h 1355480"/>
                  <a:gd name="connsiteX4" fmla="*/ 136581 w 233414"/>
                  <a:gd name="connsiteY4" fmla="*/ 160746 h 1355480"/>
                  <a:gd name="connsiteX5" fmla="*/ 131823 w 233414"/>
                  <a:gd name="connsiteY5" fmla="*/ 174044 h 1355480"/>
                  <a:gd name="connsiteX6" fmla="*/ 128121 w 233414"/>
                  <a:gd name="connsiteY6" fmla="*/ 206508 h 1355480"/>
                  <a:gd name="connsiteX7" fmla="*/ 128944 w 233414"/>
                  <a:gd name="connsiteY7" fmla="*/ 1211713 h 1355480"/>
                  <a:gd name="connsiteX8" fmla="*/ 154033 w 233414"/>
                  <a:gd name="connsiteY8" fmla="*/ 1235843 h 1355480"/>
                  <a:gd name="connsiteX9" fmla="*/ 168903 w 233414"/>
                  <a:gd name="connsiteY9" fmla="*/ 1231398 h 1355480"/>
                  <a:gd name="connsiteX10" fmla="*/ 219428 w 233414"/>
                  <a:gd name="connsiteY10" fmla="*/ 1319028 h 1355480"/>
                  <a:gd name="connsiteX11" fmla="*/ 148420 w 233414"/>
                  <a:gd name="connsiteY11" fmla="*/ 1355223 h 1355480"/>
                  <a:gd name="connsiteX12" fmla="*/ 15896 w 233414"/>
                  <a:gd name="connsiteY12" fmla="*/ 1257800 h 1355480"/>
                  <a:gd name="connsiteX13" fmla="*/ 13665 w 233414"/>
                  <a:gd name="connsiteY13" fmla="*/ 1239912 h 1355480"/>
                  <a:gd name="connsiteX14" fmla="*/ 10827 w 233414"/>
                  <a:gd name="connsiteY14" fmla="*/ 1231254 h 1355480"/>
                  <a:gd name="connsiteX15" fmla="*/ 5313 w 233414"/>
                  <a:gd name="connsiteY15" fmla="*/ 1185555 h 1355480"/>
                  <a:gd name="connsiteX16" fmla="*/ 5313 w 233414"/>
                  <a:gd name="connsiteY16" fmla="*/ 1172949 h 1355480"/>
                  <a:gd name="connsiteX17" fmla="*/ 5079 w 233414"/>
                  <a:gd name="connsiteY17" fmla="*/ 1171073 h 1355480"/>
                  <a:gd name="connsiteX18" fmla="*/ 0 w 233414"/>
                  <a:gd name="connsiteY18" fmla="*/ 165233 h 1355480"/>
                  <a:gd name="connsiteX19" fmla="*/ 156781 w 233414"/>
                  <a:gd name="connsiteY19" fmla="*/ 3308 h 1355480"/>
                  <a:gd name="connsiteX0" fmla="*/ 156781 w 233414"/>
                  <a:gd name="connsiteY0" fmla="*/ 6518 h 1358690"/>
                  <a:gd name="connsiteX1" fmla="*/ 206678 w 233414"/>
                  <a:gd name="connsiteY1" fmla="*/ 113198 h 1358690"/>
                  <a:gd name="connsiteX2" fmla="*/ 147331 w 233414"/>
                  <a:gd name="connsiteY2" fmla="*/ 143937 h 1358690"/>
                  <a:gd name="connsiteX3" fmla="*/ 147553 w 233414"/>
                  <a:gd name="connsiteY3" fmla="*/ 144408 h 1358690"/>
                  <a:gd name="connsiteX4" fmla="*/ 136581 w 233414"/>
                  <a:gd name="connsiteY4" fmla="*/ 163956 h 1358690"/>
                  <a:gd name="connsiteX5" fmla="*/ 131823 w 233414"/>
                  <a:gd name="connsiteY5" fmla="*/ 177254 h 1358690"/>
                  <a:gd name="connsiteX6" fmla="*/ 128121 w 233414"/>
                  <a:gd name="connsiteY6" fmla="*/ 209718 h 1358690"/>
                  <a:gd name="connsiteX7" fmla="*/ 128944 w 233414"/>
                  <a:gd name="connsiteY7" fmla="*/ 1214923 h 1358690"/>
                  <a:gd name="connsiteX8" fmla="*/ 154033 w 233414"/>
                  <a:gd name="connsiteY8" fmla="*/ 1239053 h 1358690"/>
                  <a:gd name="connsiteX9" fmla="*/ 168903 w 233414"/>
                  <a:gd name="connsiteY9" fmla="*/ 1234608 h 1358690"/>
                  <a:gd name="connsiteX10" fmla="*/ 219428 w 233414"/>
                  <a:gd name="connsiteY10" fmla="*/ 1322238 h 1358690"/>
                  <a:gd name="connsiteX11" fmla="*/ 148420 w 233414"/>
                  <a:gd name="connsiteY11" fmla="*/ 1358433 h 1358690"/>
                  <a:gd name="connsiteX12" fmla="*/ 15896 w 233414"/>
                  <a:gd name="connsiteY12" fmla="*/ 1261010 h 1358690"/>
                  <a:gd name="connsiteX13" fmla="*/ 13665 w 233414"/>
                  <a:gd name="connsiteY13" fmla="*/ 1243122 h 1358690"/>
                  <a:gd name="connsiteX14" fmla="*/ 10827 w 233414"/>
                  <a:gd name="connsiteY14" fmla="*/ 1234464 h 1358690"/>
                  <a:gd name="connsiteX15" fmla="*/ 5313 w 233414"/>
                  <a:gd name="connsiteY15" fmla="*/ 1188765 h 1358690"/>
                  <a:gd name="connsiteX16" fmla="*/ 5313 w 233414"/>
                  <a:gd name="connsiteY16" fmla="*/ 1176159 h 1358690"/>
                  <a:gd name="connsiteX17" fmla="*/ 5079 w 233414"/>
                  <a:gd name="connsiteY17" fmla="*/ 1174283 h 1358690"/>
                  <a:gd name="connsiteX18" fmla="*/ 0 w 233414"/>
                  <a:gd name="connsiteY18" fmla="*/ 168443 h 1358690"/>
                  <a:gd name="connsiteX19" fmla="*/ 54598 w 233414"/>
                  <a:gd name="connsiteY19" fmla="*/ 28743 h 1358690"/>
                  <a:gd name="connsiteX20" fmla="*/ 156781 w 233414"/>
                  <a:gd name="connsiteY20" fmla="*/ 6518 h 1358690"/>
                  <a:gd name="connsiteX0" fmla="*/ 156781 w 233414"/>
                  <a:gd name="connsiteY0" fmla="*/ 3309 h 1355481"/>
                  <a:gd name="connsiteX1" fmla="*/ 206678 w 233414"/>
                  <a:gd name="connsiteY1" fmla="*/ 109989 h 1355481"/>
                  <a:gd name="connsiteX2" fmla="*/ 147331 w 233414"/>
                  <a:gd name="connsiteY2" fmla="*/ 140728 h 1355481"/>
                  <a:gd name="connsiteX3" fmla="*/ 147553 w 233414"/>
                  <a:gd name="connsiteY3" fmla="*/ 141199 h 1355481"/>
                  <a:gd name="connsiteX4" fmla="*/ 136581 w 233414"/>
                  <a:gd name="connsiteY4" fmla="*/ 160747 h 1355481"/>
                  <a:gd name="connsiteX5" fmla="*/ 131823 w 233414"/>
                  <a:gd name="connsiteY5" fmla="*/ 174045 h 1355481"/>
                  <a:gd name="connsiteX6" fmla="*/ 128121 w 233414"/>
                  <a:gd name="connsiteY6" fmla="*/ 206509 h 1355481"/>
                  <a:gd name="connsiteX7" fmla="*/ 128944 w 233414"/>
                  <a:gd name="connsiteY7" fmla="*/ 1211714 h 1355481"/>
                  <a:gd name="connsiteX8" fmla="*/ 154033 w 233414"/>
                  <a:gd name="connsiteY8" fmla="*/ 1235844 h 1355481"/>
                  <a:gd name="connsiteX9" fmla="*/ 168903 w 233414"/>
                  <a:gd name="connsiteY9" fmla="*/ 1231399 h 1355481"/>
                  <a:gd name="connsiteX10" fmla="*/ 219428 w 233414"/>
                  <a:gd name="connsiteY10" fmla="*/ 1319029 h 1355481"/>
                  <a:gd name="connsiteX11" fmla="*/ 148420 w 233414"/>
                  <a:gd name="connsiteY11" fmla="*/ 1355224 h 1355481"/>
                  <a:gd name="connsiteX12" fmla="*/ 15896 w 233414"/>
                  <a:gd name="connsiteY12" fmla="*/ 1257801 h 1355481"/>
                  <a:gd name="connsiteX13" fmla="*/ 13665 w 233414"/>
                  <a:gd name="connsiteY13" fmla="*/ 1239913 h 1355481"/>
                  <a:gd name="connsiteX14" fmla="*/ 10827 w 233414"/>
                  <a:gd name="connsiteY14" fmla="*/ 1231255 h 1355481"/>
                  <a:gd name="connsiteX15" fmla="*/ 5313 w 233414"/>
                  <a:gd name="connsiteY15" fmla="*/ 1185556 h 1355481"/>
                  <a:gd name="connsiteX16" fmla="*/ 5313 w 233414"/>
                  <a:gd name="connsiteY16" fmla="*/ 1172950 h 1355481"/>
                  <a:gd name="connsiteX17" fmla="*/ 5079 w 233414"/>
                  <a:gd name="connsiteY17" fmla="*/ 1171074 h 1355481"/>
                  <a:gd name="connsiteX18" fmla="*/ 0 w 233414"/>
                  <a:gd name="connsiteY18" fmla="*/ 165234 h 1355481"/>
                  <a:gd name="connsiteX19" fmla="*/ 62218 w 233414"/>
                  <a:gd name="connsiteY19" fmla="*/ 63634 h 1355481"/>
                  <a:gd name="connsiteX20" fmla="*/ 156781 w 233414"/>
                  <a:gd name="connsiteY20" fmla="*/ 3309 h 1355481"/>
                  <a:gd name="connsiteX0" fmla="*/ 151702 w 228335"/>
                  <a:gd name="connsiteY0" fmla="*/ 3309 h 1355481"/>
                  <a:gd name="connsiteX1" fmla="*/ 201599 w 228335"/>
                  <a:gd name="connsiteY1" fmla="*/ 109989 h 1355481"/>
                  <a:gd name="connsiteX2" fmla="*/ 142252 w 228335"/>
                  <a:gd name="connsiteY2" fmla="*/ 140728 h 1355481"/>
                  <a:gd name="connsiteX3" fmla="*/ 142474 w 228335"/>
                  <a:gd name="connsiteY3" fmla="*/ 141199 h 1355481"/>
                  <a:gd name="connsiteX4" fmla="*/ 131502 w 228335"/>
                  <a:gd name="connsiteY4" fmla="*/ 160747 h 1355481"/>
                  <a:gd name="connsiteX5" fmla="*/ 126744 w 228335"/>
                  <a:gd name="connsiteY5" fmla="*/ 174045 h 1355481"/>
                  <a:gd name="connsiteX6" fmla="*/ 123042 w 228335"/>
                  <a:gd name="connsiteY6" fmla="*/ 206509 h 1355481"/>
                  <a:gd name="connsiteX7" fmla="*/ 123865 w 228335"/>
                  <a:gd name="connsiteY7" fmla="*/ 1211714 h 1355481"/>
                  <a:gd name="connsiteX8" fmla="*/ 148954 w 228335"/>
                  <a:gd name="connsiteY8" fmla="*/ 1235844 h 1355481"/>
                  <a:gd name="connsiteX9" fmla="*/ 163824 w 228335"/>
                  <a:gd name="connsiteY9" fmla="*/ 1231399 h 1355481"/>
                  <a:gd name="connsiteX10" fmla="*/ 214349 w 228335"/>
                  <a:gd name="connsiteY10" fmla="*/ 1319029 h 1355481"/>
                  <a:gd name="connsiteX11" fmla="*/ 143341 w 228335"/>
                  <a:gd name="connsiteY11" fmla="*/ 1355224 h 1355481"/>
                  <a:gd name="connsiteX12" fmla="*/ 10817 w 228335"/>
                  <a:gd name="connsiteY12" fmla="*/ 1257801 h 1355481"/>
                  <a:gd name="connsiteX13" fmla="*/ 8586 w 228335"/>
                  <a:gd name="connsiteY13" fmla="*/ 1239913 h 1355481"/>
                  <a:gd name="connsiteX14" fmla="*/ 5748 w 228335"/>
                  <a:gd name="connsiteY14" fmla="*/ 1231255 h 1355481"/>
                  <a:gd name="connsiteX15" fmla="*/ 234 w 228335"/>
                  <a:gd name="connsiteY15" fmla="*/ 1185556 h 1355481"/>
                  <a:gd name="connsiteX16" fmla="*/ 234 w 228335"/>
                  <a:gd name="connsiteY16" fmla="*/ 1172950 h 1355481"/>
                  <a:gd name="connsiteX17" fmla="*/ 0 w 228335"/>
                  <a:gd name="connsiteY17" fmla="*/ 1171074 h 1355481"/>
                  <a:gd name="connsiteX18" fmla="*/ 2541 w 228335"/>
                  <a:gd name="connsiteY18" fmla="*/ 283344 h 1355481"/>
                  <a:gd name="connsiteX19" fmla="*/ 57139 w 228335"/>
                  <a:gd name="connsiteY19" fmla="*/ 63634 h 1355481"/>
                  <a:gd name="connsiteX20" fmla="*/ 151702 w 228335"/>
                  <a:gd name="connsiteY20" fmla="*/ 3309 h 1355481"/>
                  <a:gd name="connsiteX0" fmla="*/ 151702 w 228335"/>
                  <a:gd name="connsiteY0" fmla="*/ 3309 h 1355481"/>
                  <a:gd name="connsiteX1" fmla="*/ 201599 w 228335"/>
                  <a:gd name="connsiteY1" fmla="*/ 109989 h 1355481"/>
                  <a:gd name="connsiteX2" fmla="*/ 142252 w 228335"/>
                  <a:gd name="connsiteY2" fmla="*/ 140728 h 1355481"/>
                  <a:gd name="connsiteX3" fmla="*/ 142474 w 228335"/>
                  <a:gd name="connsiteY3" fmla="*/ 141199 h 1355481"/>
                  <a:gd name="connsiteX4" fmla="*/ 131502 w 228335"/>
                  <a:gd name="connsiteY4" fmla="*/ 160747 h 1355481"/>
                  <a:gd name="connsiteX5" fmla="*/ 126744 w 228335"/>
                  <a:gd name="connsiteY5" fmla="*/ 174045 h 1355481"/>
                  <a:gd name="connsiteX6" fmla="*/ 123042 w 228335"/>
                  <a:gd name="connsiteY6" fmla="*/ 206509 h 1355481"/>
                  <a:gd name="connsiteX7" fmla="*/ 123865 w 228335"/>
                  <a:gd name="connsiteY7" fmla="*/ 1211714 h 1355481"/>
                  <a:gd name="connsiteX8" fmla="*/ 148954 w 228335"/>
                  <a:gd name="connsiteY8" fmla="*/ 1235844 h 1355481"/>
                  <a:gd name="connsiteX9" fmla="*/ 163824 w 228335"/>
                  <a:gd name="connsiteY9" fmla="*/ 1231399 h 1355481"/>
                  <a:gd name="connsiteX10" fmla="*/ 214349 w 228335"/>
                  <a:gd name="connsiteY10" fmla="*/ 1319029 h 1355481"/>
                  <a:gd name="connsiteX11" fmla="*/ 143341 w 228335"/>
                  <a:gd name="connsiteY11" fmla="*/ 1355224 h 1355481"/>
                  <a:gd name="connsiteX12" fmla="*/ 10817 w 228335"/>
                  <a:gd name="connsiteY12" fmla="*/ 1257801 h 1355481"/>
                  <a:gd name="connsiteX13" fmla="*/ 8586 w 228335"/>
                  <a:gd name="connsiteY13" fmla="*/ 1239913 h 1355481"/>
                  <a:gd name="connsiteX14" fmla="*/ 5748 w 228335"/>
                  <a:gd name="connsiteY14" fmla="*/ 1231255 h 1355481"/>
                  <a:gd name="connsiteX15" fmla="*/ 234 w 228335"/>
                  <a:gd name="connsiteY15" fmla="*/ 1185556 h 1355481"/>
                  <a:gd name="connsiteX16" fmla="*/ 234 w 228335"/>
                  <a:gd name="connsiteY16" fmla="*/ 1172950 h 1355481"/>
                  <a:gd name="connsiteX17" fmla="*/ 0 w 228335"/>
                  <a:gd name="connsiteY17" fmla="*/ 1171074 h 1355481"/>
                  <a:gd name="connsiteX18" fmla="*/ 2541 w 228335"/>
                  <a:gd name="connsiteY18" fmla="*/ 275724 h 1355481"/>
                  <a:gd name="connsiteX19" fmla="*/ 57139 w 228335"/>
                  <a:gd name="connsiteY19" fmla="*/ 63634 h 1355481"/>
                  <a:gd name="connsiteX20" fmla="*/ 151702 w 228335"/>
                  <a:gd name="connsiteY20" fmla="*/ 3309 h 1355481"/>
                  <a:gd name="connsiteX0" fmla="*/ 151702 w 228335"/>
                  <a:gd name="connsiteY0" fmla="*/ 3309 h 1355481"/>
                  <a:gd name="connsiteX1" fmla="*/ 201599 w 228335"/>
                  <a:gd name="connsiteY1" fmla="*/ 109989 h 1355481"/>
                  <a:gd name="connsiteX2" fmla="*/ 142252 w 228335"/>
                  <a:gd name="connsiteY2" fmla="*/ 140728 h 1355481"/>
                  <a:gd name="connsiteX3" fmla="*/ 142474 w 228335"/>
                  <a:gd name="connsiteY3" fmla="*/ 141199 h 1355481"/>
                  <a:gd name="connsiteX4" fmla="*/ 131502 w 228335"/>
                  <a:gd name="connsiteY4" fmla="*/ 160747 h 1355481"/>
                  <a:gd name="connsiteX5" fmla="*/ 123042 w 228335"/>
                  <a:gd name="connsiteY5" fmla="*/ 206509 h 1355481"/>
                  <a:gd name="connsiteX6" fmla="*/ 123865 w 228335"/>
                  <a:gd name="connsiteY6" fmla="*/ 1211714 h 1355481"/>
                  <a:gd name="connsiteX7" fmla="*/ 148954 w 228335"/>
                  <a:gd name="connsiteY7" fmla="*/ 1235844 h 1355481"/>
                  <a:gd name="connsiteX8" fmla="*/ 163824 w 228335"/>
                  <a:gd name="connsiteY8" fmla="*/ 1231399 h 1355481"/>
                  <a:gd name="connsiteX9" fmla="*/ 214349 w 228335"/>
                  <a:gd name="connsiteY9" fmla="*/ 1319029 h 1355481"/>
                  <a:gd name="connsiteX10" fmla="*/ 143341 w 228335"/>
                  <a:gd name="connsiteY10" fmla="*/ 1355224 h 1355481"/>
                  <a:gd name="connsiteX11" fmla="*/ 10817 w 228335"/>
                  <a:gd name="connsiteY11" fmla="*/ 1257801 h 1355481"/>
                  <a:gd name="connsiteX12" fmla="*/ 8586 w 228335"/>
                  <a:gd name="connsiteY12" fmla="*/ 1239913 h 1355481"/>
                  <a:gd name="connsiteX13" fmla="*/ 5748 w 228335"/>
                  <a:gd name="connsiteY13" fmla="*/ 1231255 h 1355481"/>
                  <a:gd name="connsiteX14" fmla="*/ 234 w 228335"/>
                  <a:gd name="connsiteY14" fmla="*/ 1185556 h 1355481"/>
                  <a:gd name="connsiteX15" fmla="*/ 234 w 228335"/>
                  <a:gd name="connsiteY15" fmla="*/ 1172950 h 1355481"/>
                  <a:gd name="connsiteX16" fmla="*/ 0 w 228335"/>
                  <a:gd name="connsiteY16" fmla="*/ 1171074 h 1355481"/>
                  <a:gd name="connsiteX17" fmla="*/ 2541 w 228335"/>
                  <a:gd name="connsiteY17" fmla="*/ 275724 h 1355481"/>
                  <a:gd name="connsiteX18" fmla="*/ 57139 w 228335"/>
                  <a:gd name="connsiteY18" fmla="*/ 63634 h 1355481"/>
                  <a:gd name="connsiteX19" fmla="*/ 151702 w 228335"/>
                  <a:gd name="connsiteY19" fmla="*/ 3309 h 1355481"/>
                  <a:gd name="connsiteX0" fmla="*/ 151702 w 228335"/>
                  <a:gd name="connsiteY0" fmla="*/ 3309 h 1355481"/>
                  <a:gd name="connsiteX1" fmla="*/ 201599 w 228335"/>
                  <a:gd name="connsiteY1" fmla="*/ 109989 h 1355481"/>
                  <a:gd name="connsiteX2" fmla="*/ 142252 w 228335"/>
                  <a:gd name="connsiteY2" fmla="*/ 140728 h 1355481"/>
                  <a:gd name="connsiteX3" fmla="*/ 142474 w 228335"/>
                  <a:gd name="connsiteY3" fmla="*/ 141199 h 1355481"/>
                  <a:gd name="connsiteX4" fmla="*/ 123042 w 228335"/>
                  <a:gd name="connsiteY4" fmla="*/ 206509 h 1355481"/>
                  <a:gd name="connsiteX5" fmla="*/ 123865 w 228335"/>
                  <a:gd name="connsiteY5" fmla="*/ 1211714 h 1355481"/>
                  <a:gd name="connsiteX6" fmla="*/ 148954 w 228335"/>
                  <a:gd name="connsiteY6" fmla="*/ 1235844 h 1355481"/>
                  <a:gd name="connsiteX7" fmla="*/ 163824 w 228335"/>
                  <a:gd name="connsiteY7" fmla="*/ 1231399 h 1355481"/>
                  <a:gd name="connsiteX8" fmla="*/ 214349 w 228335"/>
                  <a:gd name="connsiteY8" fmla="*/ 1319029 h 1355481"/>
                  <a:gd name="connsiteX9" fmla="*/ 143341 w 228335"/>
                  <a:gd name="connsiteY9" fmla="*/ 1355224 h 1355481"/>
                  <a:gd name="connsiteX10" fmla="*/ 10817 w 228335"/>
                  <a:gd name="connsiteY10" fmla="*/ 1257801 h 1355481"/>
                  <a:gd name="connsiteX11" fmla="*/ 8586 w 228335"/>
                  <a:gd name="connsiteY11" fmla="*/ 1239913 h 1355481"/>
                  <a:gd name="connsiteX12" fmla="*/ 5748 w 228335"/>
                  <a:gd name="connsiteY12" fmla="*/ 1231255 h 1355481"/>
                  <a:gd name="connsiteX13" fmla="*/ 234 w 228335"/>
                  <a:gd name="connsiteY13" fmla="*/ 1185556 h 1355481"/>
                  <a:gd name="connsiteX14" fmla="*/ 234 w 228335"/>
                  <a:gd name="connsiteY14" fmla="*/ 1172950 h 1355481"/>
                  <a:gd name="connsiteX15" fmla="*/ 0 w 228335"/>
                  <a:gd name="connsiteY15" fmla="*/ 1171074 h 1355481"/>
                  <a:gd name="connsiteX16" fmla="*/ 2541 w 228335"/>
                  <a:gd name="connsiteY16" fmla="*/ 275724 h 1355481"/>
                  <a:gd name="connsiteX17" fmla="*/ 57139 w 228335"/>
                  <a:gd name="connsiteY17" fmla="*/ 63634 h 1355481"/>
                  <a:gd name="connsiteX18" fmla="*/ 151702 w 228335"/>
                  <a:gd name="connsiteY18" fmla="*/ 3309 h 1355481"/>
                  <a:gd name="connsiteX0" fmla="*/ 151702 w 228335"/>
                  <a:gd name="connsiteY0" fmla="*/ 3309 h 1355481"/>
                  <a:gd name="connsiteX1" fmla="*/ 201599 w 228335"/>
                  <a:gd name="connsiteY1" fmla="*/ 109989 h 1355481"/>
                  <a:gd name="connsiteX2" fmla="*/ 142252 w 228335"/>
                  <a:gd name="connsiteY2" fmla="*/ 140728 h 1355481"/>
                  <a:gd name="connsiteX3" fmla="*/ 123042 w 228335"/>
                  <a:gd name="connsiteY3" fmla="*/ 206509 h 1355481"/>
                  <a:gd name="connsiteX4" fmla="*/ 123865 w 228335"/>
                  <a:gd name="connsiteY4" fmla="*/ 1211714 h 1355481"/>
                  <a:gd name="connsiteX5" fmla="*/ 148954 w 228335"/>
                  <a:gd name="connsiteY5" fmla="*/ 1235844 h 1355481"/>
                  <a:gd name="connsiteX6" fmla="*/ 163824 w 228335"/>
                  <a:gd name="connsiteY6" fmla="*/ 1231399 h 1355481"/>
                  <a:gd name="connsiteX7" fmla="*/ 214349 w 228335"/>
                  <a:gd name="connsiteY7" fmla="*/ 1319029 h 1355481"/>
                  <a:gd name="connsiteX8" fmla="*/ 143341 w 228335"/>
                  <a:gd name="connsiteY8" fmla="*/ 1355224 h 1355481"/>
                  <a:gd name="connsiteX9" fmla="*/ 10817 w 228335"/>
                  <a:gd name="connsiteY9" fmla="*/ 1257801 h 1355481"/>
                  <a:gd name="connsiteX10" fmla="*/ 8586 w 228335"/>
                  <a:gd name="connsiteY10" fmla="*/ 1239913 h 1355481"/>
                  <a:gd name="connsiteX11" fmla="*/ 5748 w 228335"/>
                  <a:gd name="connsiteY11" fmla="*/ 1231255 h 1355481"/>
                  <a:gd name="connsiteX12" fmla="*/ 234 w 228335"/>
                  <a:gd name="connsiteY12" fmla="*/ 1185556 h 1355481"/>
                  <a:gd name="connsiteX13" fmla="*/ 234 w 228335"/>
                  <a:gd name="connsiteY13" fmla="*/ 1172950 h 1355481"/>
                  <a:gd name="connsiteX14" fmla="*/ 0 w 228335"/>
                  <a:gd name="connsiteY14" fmla="*/ 1171074 h 1355481"/>
                  <a:gd name="connsiteX15" fmla="*/ 2541 w 228335"/>
                  <a:gd name="connsiteY15" fmla="*/ 275724 h 1355481"/>
                  <a:gd name="connsiteX16" fmla="*/ 57139 w 228335"/>
                  <a:gd name="connsiteY16" fmla="*/ 63634 h 1355481"/>
                  <a:gd name="connsiteX17" fmla="*/ 151702 w 228335"/>
                  <a:gd name="connsiteY17" fmla="*/ 3309 h 1355481"/>
                  <a:gd name="connsiteX0" fmla="*/ 151702 w 228335"/>
                  <a:gd name="connsiteY0" fmla="*/ 3309 h 1355481"/>
                  <a:gd name="connsiteX1" fmla="*/ 201599 w 228335"/>
                  <a:gd name="connsiteY1" fmla="*/ 109989 h 1355481"/>
                  <a:gd name="connsiteX2" fmla="*/ 123042 w 228335"/>
                  <a:gd name="connsiteY2" fmla="*/ 206509 h 1355481"/>
                  <a:gd name="connsiteX3" fmla="*/ 123865 w 228335"/>
                  <a:gd name="connsiteY3" fmla="*/ 1211714 h 1355481"/>
                  <a:gd name="connsiteX4" fmla="*/ 148954 w 228335"/>
                  <a:gd name="connsiteY4" fmla="*/ 1235844 h 1355481"/>
                  <a:gd name="connsiteX5" fmla="*/ 163824 w 228335"/>
                  <a:gd name="connsiteY5" fmla="*/ 1231399 h 1355481"/>
                  <a:gd name="connsiteX6" fmla="*/ 214349 w 228335"/>
                  <a:gd name="connsiteY6" fmla="*/ 1319029 h 1355481"/>
                  <a:gd name="connsiteX7" fmla="*/ 143341 w 228335"/>
                  <a:gd name="connsiteY7" fmla="*/ 1355224 h 1355481"/>
                  <a:gd name="connsiteX8" fmla="*/ 10817 w 228335"/>
                  <a:gd name="connsiteY8" fmla="*/ 1257801 h 1355481"/>
                  <a:gd name="connsiteX9" fmla="*/ 8586 w 228335"/>
                  <a:gd name="connsiteY9" fmla="*/ 1239913 h 1355481"/>
                  <a:gd name="connsiteX10" fmla="*/ 5748 w 228335"/>
                  <a:gd name="connsiteY10" fmla="*/ 1231255 h 1355481"/>
                  <a:gd name="connsiteX11" fmla="*/ 234 w 228335"/>
                  <a:gd name="connsiteY11" fmla="*/ 1185556 h 1355481"/>
                  <a:gd name="connsiteX12" fmla="*/ 234 w 228335"/>
                  <a:gd name="connsiteY12" fmla="*/ 1172950 h 1355481"/>
                  <a:gd name="connsiteX13" fmla="*/ 0 w 228335"/>
                  <a:gd name="connsiteY13" fmla="*/ 1171074 h 1355481"/>
                  <a:gd name="connsiteX14" fmla="*/ 2541 w 228335"/>
                  <a:gd name="connsiteY14" fmla="*/ 275724 h 1355481"/>
                  <a:gd name="connsiteX15" fmla="*/ 57139 w 228335"/>
                  <a:gd name="connsiteY15" fmla="*/ 63634 h 1355481"/>
                  <a:gd name="connsiteX16" fmla="*/ 151702 w 228335"/>
                  <a:gd name="connsiteY16" fmla="*/ 3309 h 1355481"/>
                  <a:gd name="connsiteX0" fmla="*/ 151702 w 228335"/>
                  <a:gd name="connsiteY0" fmla="*/ 3309 h 1355481"/>
                  <a:gd name="connsiteX1" fmla="*/ 201599 w 228335"/>
                  <a:gd name="connsiteY1" fmla="*/ 109989 h 1355481"/>
                  <a:gd name="connsiteX2" fmla="*/ 123042 w 228335"/>
                  <a:gd name="connsiteY2" fmla="*/ 206509 h 1355481"/>
                  <a:gd name="connsiteX3" fmla="*/ 123865 w 228335"/>
                  <a:gd name="connsiteY3" fmla="*/ 1211714 h 1355481"/>
                  <a:gd name="connsiteX4" fmla="*/ 148954 w 228335"/>
                  <a:gd name="connsiteY4" fmla="*/ 1235844 h 1355481"/>
                  <a:gd name="connsiteX5" fmla="*/ 163824 w 228335"/>
                  <a:gd name="connsiteY5" fmla="*/ 1231399 h 1355481"/>
                  <a:gd name="connsiteX6" fmla="*/ 214349 w 228335"/>
                  <a:gd name="connsiteY6" fmla="*/ 1319029 h 1355481"/>
                  <a:gd name="connsiteX7" fmla="*/ 143341 w 228335"/>
                  <a:gd name="connsiteY7" fmla="*/ 1355224 h 1355481"/>
                  <a:gd name="connsiteX8" fmla="*/ 10817 w 228335"/>
                  <a:gd name="connsiteY8" fmla="*/ 1257801 h 1355481"/>
                  <a:gd name="connsiteX9" fmla="*/ 8586 w 228335"/>
                  <a:gd name="connsiteY9" fmla="*/ 1239913 h 1355481"/>
                  <a:gd name="connsiteX10" fmla="*/ 5748 w 228335"/>
                  <a:gd name="connsiteY10" fmla="*/ 1231255 h 1355481"/>
                  <a:gd name="connsiteX11" fmla="*/ 234 w 228335"/>
                  <a:gd name="connsiteY11" fmla="*/ 1185556 h 1355481"/>
                  <a:gd name="connsiteX12" fmla="*/ 234 w 228335"/>
                  <a:gd name="connsiteY12" fmla="*/ 1172950 h 1355481"/>
                  <a:gd name="connsiteX13" fmla="*/ 0 w 228335"/>
                  <a:gd name="connsiteY13" fmla="*/ 1171074 h 1355481"/>
                  <a:gd name="connsiteX14" fmla="*/ 2541 w 228335"/>
                  <a:gd name="connsiteY14" fmla="*/ 275724 h 1355481"/>
                  <a:gd name="connsiteX15" fmla="*/ 57139 w 228335"/>
                  <a:gd name="connsiteY15" fmla="*/ 63634 h 1355481"/>
                  <a:gd name="connsiteX16" fmla="*/ 151702 w 228335"/>
                  <a:gd name="connsiteY16" fmla="*/ 3309 h 1355481"/>
                  <a:gd name="connsiteX0" fmla="*/ 151702 w 228335"/>
                  <a:gd name="connsiteY0" fmla="*/ 3309 h 1355481"/>
                  <a:gd name="connsiteX1" fmla="*/ 201599 w 228335"/>
                  <a:gd name="connsiteY1" fmla="*/ 109989 h 1355481"/>
                  <a:gd name="connsiteX2" fmla="*/ 123042 w 228335"/>
                  <a:gd name="connsiteY2" fmla="*/ 206509 h 1355481"/>
                  <a:gd name="connsiteX3" fmla="*/ 123865 w 228335"/>
                  <a:gd name="connsiteY3" fmla="*/ 1211714 h 1355481"/>
                  <a:gd name="connsiteX4" fmla="*/ 148954 w 228335"/>
                  <a:gd name="connsiteY4" fmla="*/ 1235844 h 1355481"/>
                  <a:gd name="connsiteX5" fmla="*/ 163824 w 228335"/>
                  <a:gd name="connsiteY5" fmla="*/ 1231399 h 1355481"/>
                  <a:gd name="connsiteX6" fmla="*/ 214349 w 228335"/>
                  <a:gd name="connsiteY6" fmla="*/ 1319029 h 1355481"/>
                  <a:gd name="connsiteX7" fmla="*/ 143341 w 228335"/>
                  <a:gd name="connsiteY7" fmla="*/ 1355224 h 1355481"/>
                  <a:gd name="connsiteX8" fmla="*/ 10817 w 228335"/>
                  <a:gd name="connsiteY8" fmla="*/ 1257801 h 1355481"/>
                  <a:gd name="connsiteX9" fmla="*/ 8586 w 228335"/>
                  <a:gd name="connsiteY9" fmla="*/ 1239913 h 1355481"/>
                  <a:gd name="connsiteX10" fmla="*/ 5748 w 228335"/>
                  <a:gd name="connsiteY10" fmla="*/ 1231255 h 1355481"/>
                  <a:gd name="connsiteX11" fmla="*/ 234 w 228335"/>
                  <a:gd name="connsiteY11" fmla="*/ 1185556 h 1355481"/>
                  <a:gd name="connsiteX12" fmla="*/ 234 w 228335"/>
                  <a:gd name="connsiteY12" fmla="*/ 1172950 h 1355481"/>
                  <a:gd name="connsiteX13" fmla="*/ 0 w 228335"/>
                  <a:gd name="connsiteY13" fmla="*/ 1171074 h 1355481"/>
                  <a:gd name="connsiteX14" fmla="*/ 2541 w 228335"/>
                  <a:gd name="connsiteY14" fmla="*/ 275724 h 1355481"/>
                  <a:gd name="connsiteX15" fmla="*/ 57139 w 228335"/>
                  <a:gd name="connsiteY15" fmla="*/ 63634 h 1355481"/>
                  <a:gd name="connsiteX16" fmla="*/ 151702 w 228335"/>
                  <a:gd name="connsiteY16" fmla="*/ 3309 h 1355481"/>
                  <a:gd name="connsiteX0" fmla="*/ 151702 w 228335"/>
                  <a:gd name="connsiteY0" fmla="*/ 4039 h 1356211"/>
                  <a:gd name="connsiteX1" fmla="*/ 201599 w 228335"/>
                  <a:gd name="connsiteY1" fmla="*/ 87859 h 1356211"/>
                  <a:gd name="connsiteX2" fmla="*/ 123042 w 228335"/>
                  <a:gd name="connsiteY2" fmla="*/ 207239 h 1356211"/>
                  <a:gd name="connsiteX3" fmla="*/ 123865 w 228335"/>
                  <a:gd name="connsiteY3" fmla="*/ 1212444 h 1356211"/>
                  <a:gd name="connsiteX4" fmla="*/ 148954 w 228335"/>
                  <a:gd name="connsiteY4" fmla="*/ 1236574 h 1356211"/>
                  <a:gd name="connsiteX5" fmla="*/ 163824 w 228335"/>
                  <a:gd name="connsiteY5" fmla="*/ 1232129 h 1356211"/>
                  <a:gd name="connsiteX6" fmla="*/ 214349 w 228335"/>
                  <a:gd name="connsiteY6" fmla="*/ 1319759 h 1356211"/>
                  <a:gd name="connsiteX7" fmla="*/ 143341 w 228335"/>
                  <a:gd name="connsiteY7" fmla="*/ 1355954 h 1356211"/>
                  <a:gd name="connsiteX8" fmla="*/ 10817 w 228335"/>
                  <a:gd name="connsiteY8" fmla="*/ 1258531 h 1356211"/>
                  <a:gd name="connsiteX9" fmla="*/ 8586 w 228335"/>
                  <a:gd name="connsiteY9" fmla="*/ 1240643 h 1356211"/>
                  <a:gd name="connsiteX10" fmla="*/ 5748 w 228335"/>
                  <a:gd name="connsiteY10" fmla="*/ 1231985 h 1356211"/>
                  <a:gd name="connsiteX11" fmla="*/ 234 w 228335"/>
                  <a:gd name="connsiteY11" fmla="*/ 1186286 h 1356211"/>
                  <a:gd name="connsiteX12" fmla="*/ 234 w 228335"/>
                  <a:gd name="connsiteY12" fmla="*/ 1173680 h 1356211"/>
                  <a:gd name="connsiteX13" fmla="*/ 0 w 228335"/>
                  <a:gd name="connsiteY13" fmla="*/ 1171804 h 1356211"/>
                  <a:gd name="connsiteX14" fmla="*/ 2541 w 228335"/>
                  <a:gd name="connsiteY14" fmla="*/ 276454 h 1356211"/>
                  <a:gd name="connsiteX15" fmla="*/ 57139 w 228335"/>
                  <a:gd name="connsiteY15" fmla="*/ 64364 h 1356211"/>
                  <a:gd name="connsiteX16" fmla="*/ 151702 w 228335"/>
                  <a:gd name="connsiteY16" fmla="*/ 4039 h 1356211"/>
                  <a:gd name="connsiteX0" fmla="*/ 151702 w 228335"/>
                  <a:gd name="connsiteY0" fmla="*/ 4039 h 1356211"/>
                  <a:gd name="connsiteX1" fmla="*/ 201599 w 228335"/>
                  <a:gd name="connsiteY1" fmla="*/ 87859 h 1356211"/>
                  <a:gd name="connsiteX2" fmla="*/ 123042 w 228335"/>
                  <a:gd name="connsiteY2" fmla="*/ 207239 h 1356211"/>
                  <a:gd name="connsiteX3" fmla="*/ 123865 w 228335"/>
                  <a:gd name="connsiteY3" fmla="*/ 1212444 h 1356211"/>
                  <a:gd name="connsiteX4" fmla="*/ 148954 w 228335"/>
                  <a:gd name="connsiteY4" fmla="*/ 1236574 h 1356211"/>
                  <a:gd name="connsiteX5" fmla="*/ 163824 w 228335"/>
                  <a:gd name="connsiteY5" fmla="*/ 1232129 h 1356211"/>
                  <a:gd name="connsiteX6" fmla="*/ 214349 w 228335"/>
                  <a:gd name="connsiteY6" fmla="*/ 1319759 h 1356211"/>
                  <a:gd name="connsiteX7" fmla="*/ 143341 w 228335"/>
                  <a:gd name="connsiteY7" fmla="*/ 1355954 h 1356211"/>
                  <a:gd name="connsiteX8" fmla="*/ 10817 w 228335"/>
                  <a:gd name="connsiteY8" fmla="*/ 1258531 h 1356211"/>
                  <a:gd name="connsiteX9" fmla="*/ 8586 w 228335"/>
                  <a:gd name="connsiteY9" fmla="*/ 1240643 h 1356211"/>
                  <a:gd name="connsiteX10" fmla="*/ 5748 w 228335"/>
                  <a:gd name="connsiteY10" fmla="*/ 1231985 h 1356211"/>
                  <a:gd name="connsiteX11" fmla="*/ 234 w 228335"/>
                  <a:gd name="connsiteY11" fmla="*/ 1186286 h 1356211"/>
                  <a:gd name="connsiteX12" fmla="*/ 234 w 228335"/>
                  <a:gd name="connsiteY12" fmla="*/ 1173680 h 1356211"/>
                  <a:gd name="connsiteX13" fmla="*/ 0 w 228335"/>
                  <a:gd name="connsiteY13" fmla="*/ 1171804 h 1356211"/>
                  <a:gd name="connsiteX14" fmla="*/ 2541 w 228335"/>
                  <a:gd name="connsiteY14" fmla="*/ 276454 h 1356211"/>
                  <a:gd name="connsiteX15" fmla="*/ 57139 w 228335"/>
                  <a:gd name="connsiteY15" fmla="*/ 64364 h 1356211"/>
                  <a:gd name="connsiteX16" fmla="*/ 151702 w 228335"/>
                  <a:gd name="connsiteY16" fmla="*/ 4039 h 1356211"/>
                  <a:gd name="connsiteX0" fmla="*/ 151702 w 228335"/>
                  <a:gd name="connsiteY0" fmla="*/ 4039 h 1356211"/>
                  <a:gd name="connsiteX1" fmla="*/ 201599 w 228335"/>
                  <a:gd name="connsiteY1" fmla="*/ 87859 h 1356211"/>
                  <a:gd name="connsiteX2" fmla="*/ 123042 w 228335"/>
                  <a:gd name="connsiteY2" fmla="*/ 207239 h 1356211"/>
                  <a:gd name="connsiteX3" fmla="*/ 123865 w 228335"/>
                  <a:gd name="connsiteY3" fmla="*/ 1212444 h 1356211"/>
                  <a:gd name="connsiteX4" fmla="*/ 148954 w 228335"/>
                  <a:gd name="connsiteY4" fmla="*/ 1236574 h 1356211"/>
                  <a:gd name="connsiteX5" fmla="*/ 163824 w 228335"/>
                  <a:gd name="connsiteY5" fmla="*/ 1232129 h 1356211"/>
                  <a:gd name="connsiteX6" fmla="*/ 214349 w 228335"/>
                  <a:gd name="connsiteY6" fmla="*/ 1319759 h 1356211"/>
                  <a:gd name="connsiteX7" fmla="*/ 143341 w 228335"/>
                  <a:gd name="connsiteY7" fmla="*/ 1355954 h 1356211"/>
                  <a:gd name="connsiteX8" fmla="*/ 10817 w 228335"/>
                  <a:gd name="connsiteY8" fmla="*/ 1258531 h 1356211"/>
                  <a:gd name="connsiteX9" fmla="*/ 8586 w 228335"/>
                  <a:gd name="connsiteY9" fmla="*/ 1240643 h 1356211"/>
                  <a:gd name="connsiteX10" fmla="*/ 5748 w 228335"/>
                  <a:gd name="connsiteY10" fmla="*/ 1231985 h 1356211"/>
                  <a:gd name="connsiteX11" fmla="*/ 234 w 228335"/>
                  <a:gd name="connsiteY11" fmla="*/ 1173680 h 1356211"/>
                  <a:gd name="connsiteX12" fmla="*/ 0 w 228335"/>
                  <a:gd name="connsiteY12" fmla="*/ 1171804 h 1356211"/>
                  <a:gd name="connsiteX13" fmla="*/ 2541 w 228335"/>
                  <a:gd name="connsiteY13" fmla="*/ 276454 h 1356211"/>
                  <a:gd name="connsiteX14" fmla="*/ 57139 w 228335"/>
                  <a:gd name="connsiteY14" fmla="*/ 64364 h 1356211"/>
                  <a:gd name="connsiteX15" fmla="*/ 151702 w 228335"/>
                  <a:gd name="connsiteY15" fmla="*/ 4039 h 1356211"/>
                  <a:gd name="connsiteX0" fmla="*/ 151702 w 228335"/>
                  <a:gd name="connsiteY0" fmla="*/ 4039 h 1356211"/>
                  <a:gd name="connsiteX1" fmla="*/ 201599 w 228335"/>
                  <a:gd name="connsiteY1" fmla="*/ 87859 h 1356211"/>
                  <a:gd name="connsiteX2" fmla="*/ 123042 w 228335"/>
                  <a:gd name="connsiteY2" fmla="*/ 207239 h 1356211"/>
                  <a:gd name="connsiteX3" fmla="*/ 123865 w 228335"/>
                  <a:gd name="connsiteY3" fmla="*/ 1212444 h 1356211"/>
                  <a:gd name="connsiteX4" fmla="*/ 148954 w 228335"/>
                  <a:gd name="connsiteY4" fmla="*/ 1236574 h 1356211"/>
                  <a:gd name="connsiteX5" fmla="*/ 163824 w 228335"/>
                  <a:gd name="connsiteY5" fmla="*/ 1232129 h 1356211"/>
                  <a:gd name="connsiteX6" fmla="*/ 214349 w 228335"/>
                  <a:gd name="connsiteY6" fmla="*/ 1319759 h 1356211"/>
                  <a:gd name="connsiteX7" fmla="*/ 143341 w 228335"/>
                  <a:gd name="connsiteY7" fmla="*/ 1355954 h 1356211"/>
                  <a:gd name="connsiteX8" fmla="*/ 10817 w 228335"/>
                  <a:gd name="connsiteY8" fmla="*/ 1258531 h 1356211"/>
                  <a:gd name="connsiteX9" fmla="*/ 8586 w 228335"/>
                  <a:gd name="connsiteY9" fmla="*/ 1240643 h 1356211"/>
                  <a:gd name="connsiteX10" fmla="*/ 234 w 228335"/>
                  <a:gd name="connsiteY10" fmla="*/ 1173680 h 1356211"/>
                  <a:gd name="connsiteX11" fmla="*/ 0 w 228335"/>
                  <a:gd name="connsiteY11" fmla="*/ 1171804 h 1356211"/>
                  <a:gd name="connsiteX12" fmla="*/ 2541 w 228335"/>
                  <a:gd name="connsiteY12" fmla="*/ 276454 h 1356211"/>
                  <a:gd name="connsiteX13" fmla="*/ 57139 w 228335"/>
                  <a:gd name="connsiteY13" fmla="*/ 64364 h 1356211"/>
                  <a:gd name="connsiteX14" fmla="*/ 151702 w 228335"/>
                  <a:gd name="connsiteY14" fmla="*/ 4039 h 1356211"/>
                  <a:gd name="connsiteX0" fmla="*/ 151702 w 228335"/>
                  <a:gd name="connsiteY0" fmla="*/ 4039 h 1356211"/>
                  <a:gd name="connsiteX1" fmla="*/ 201599 w 228335"/>
                  <a:gd name="connsiteY1" fmla="*/ 87859 h 1356211"/>
                  <a:gd name="connsiteX2" fmla="*/ 123042 w 228335"/>
                  <a:gd name="connsiteY2" fmla="*/ 207239 h 1356211"/>
                  <a:gd name="connsiteX3" fmla="*/ 123865 w 228335"/>
                  <a:gd name="connsiteY3" fmla="*/ 1212444 h 1356211"/>
                  <a:gd name="connsiteX4" fmla="*/ 148954 w 228335"/>
                  <a:gd name="connsiteY4" fmla="*/ 1236574 h 1356211"/>
                  <a:gd name="connsiteX5" fmla="*/ 163824 w 228335"/>
                  <a:gd name="connsiteY5" fmla="*/ 1232129 h 1356211"/>
                  <a:gd name="connsiteX6" fmla="*/ 214349 w 228335"/>
                  <a:gd name="connsiteY6" fmla="*/ 1319759 h 1356211"/>
                  <a:gd name="connsiteX7" fmla="*/ 143341 w 228335"/>
                  <a:gd name="connsiteY7" fmla="*/ 1355954 h 1356211"/>
                  <a:gd name="connsiteX8" fmla="*/ 10817 w 228335"/>
                  <a:gd name="connsiteY8" fmla="*/ 1258531 h 1356211"/>
                  <a:gd name="connsiteX9" fmla="*/ 234 w 228335"/>
                  <a:gd name="connsiteY9" fmla="*/ 1173680 h 1356211"/>
                  <a:gd name="connsiteX10" fmla="*/ 0 w 228335"/>
                  <a:gd name="connsiteY10" fmla="*/ 1171804 h 1356211"/>
                  <a:gd name="connsiteX11" fmla="*/ 2541 w 228335"/>
                  <a:gd name="connsiteY11" fmla="*/ 276454 h 1356211"/>
                  <a:gd name="connsiteX12" fmla="*/ 57139 w 228335"/>
                  <a:gd name="connsiteY12" fmla="*/ 64364 h 1356211"/>
                  <a:gd name="connsiteX13" fmla="*/ 151702 w 228335"/>
                  <a:gd name="connsiteY13" fmla="*/ 4039 h 1356211"/>
                  <a:gd name="connsiteX0" fmla="*/ 151468 w 228101"/>
                  <a:gd name="connsiteY0" fmla="*/ 4039 h 1356211"/>
                  <a:gd name="connsiteX1" fmla="*/ 201365 w 228101"/>
                  <a:gd name="connsiteY1" fmla="*/ 87859 h 1356211"/>
                  <a:gd name="connsiteX2" fmla="*/ 122808 w 228101"/>
                  <a:gd name="connsiteY2" fmla="*/ 207239 h 1356211"/>
                  <a:gd name="connsiteX3" fmla="*/ 123631 w 228101"/>
                  <a:gd name="connsiteY3" fmla="*/ 1212444 h 1356211"/>
                  <a:gd name="connsiteX4" fmla="*/ 148720 w 228101"/>
                  <a:gd name="connsiteY4" fmla="*/ 1236574 h 1356211"/>
                  <a:gd name="connsiteX5" fmla="*/ 163590 w 228101"/>
                  <a:gd name="connsiteY5" fmla="*/ 1232129 h 1356211"/>
                  <a:gd name="connsiteX6" fmla="*/ 214115 w 228101"/>
                  <a:gd name="connsiteY6" fmla="*/ 1319759 h 1356211"/>
                  <a:gd name="connsiteX7" fmla="*/ 143107 w 228101"/>
                  <a:gd name="connsiteY7" fmla="*/ 1355954 h 1356211"/>
                  <a:gd name="connsiteX8" fmla="*/ 10583 w 228101"/>
                  <a:gd name="connsiteY8" fmla="*/ 1258531 h 1356211"/>
                  <a:gd name="connsiteX9" fmla="*/ 0 w 228101"/>
                  <a:gd name="connsiteY9" fmla="*/ 1173680 h 1356211"/>
                  <a:gd name="connsiteX10" fmla="*/ 2307 w 228101"/>
                  <a:gd name="connsiteY10" fmla="*/ 276454 h 1356211"/>
                  <a:gd name="connsiteX11" fmla="*/ 56905 w 228101"/>
                  <a:gd name="connsiteY11" fmla="*/ 64364 h 1356211"/>
                  <a:gd name="connsiteX12" fmla="*/ 151468 w 228101"/>
                  <a:gd name="connsiteY12" fmla="*/ 4039 h 1356211"/>
                  <a:gd name="connsiteX0" fmla="*/ 151468 w 228101"/>
                  <a:gd name="connsiteY0" fmla="*/ 4039 h 1356211"/>
                  <a:gd name="connsiteX1" fmla="*/ 201365 w 228101"/>
                  <a:gd name="connsiteY1" fmla="*/ 87859 h 1356211"/>
                  <a:gd name="connsiteX2" fmla="*/ 122808 w 228101"/>
                  <a:gd name="connsiteY2" fmla="*/ 207239 h 1356211"/>
                  <a:gd name="connsiteX3" fmla="*/ 123631 w 228101"/>
                  <a:gd name="connsiteY3" fmla="*/ 1212444 h 1356211"/>
                  <a:gd name="connsiteX4" fmla="*/ 163590 w 228101"/>
                  <a:gd name="connsiteY4" fmla="*/ 1232129 h 1356211"/>
                  <a:gd name="connsiteX5" fmla="*/ 214115 w 228101"/>
                  <a:gd name="connsiteY5" fmla="*/ 1319759 h 1356211"/>
                  <a:gd name="connsiteX6" fmla="*/ 143107 w 228101"/>
                  <a:gd name="connsiteY6" fmla="*/ 1355954 h 1356211"/>
                  <a:gd name="connsiteX7" fmla="*/ 10583 w 228101"/>
                  <a:gd name="connsiteY7" fmla="*/ 1258531 h 1356211"/>
                  <a:gd name="connsiteX8" fmla="*/ 0 w 228101"/>
                  <a:gd name="connsiteY8" fmla="*/ 1173680 h 1356211"/>
                  <a:gd name="connsiteX9" fmla="*/ 2307 w 228101"/>
                  <a:gd name="connsiteY9" fmla="*/ 276454 h 1356211"/>
                  <a:gd name="connsiteX10" fmla="*/ 56905 w 228101"/>
                  <a:gd name="connsiteY10" fmla="*/ 64364 h 1356211"/>
                  <a:gd name="connsiteX11" fmla="*/ 151468 w 228101"/>
                  <a:gd name="connsiteY11" fmla="*/ 4039 h 1356211"/>
                  <a:gd name="connsiteX0" fmla="*/ 151468 w 228101"/>
                  <a:gd name="connsiteY0" fmla="*/ 4039 h 1356211"/>
                  <a:gd name="connsiteX1" fmla="*/ 201365 w 228101"/>
                  <a:gd name="connsiteY1" fmla="*/ 87859 h 1356211"/>
                  <a:gd name="connsiteX2" fmla="*/ 122808 w 228101"/>
                  <a:gd name="connsiteY2" fmla="*/ 207239 h 1356211"/>
                  <a:gd name="connsiteX3" fmla="*/ 123631 w 228101"/>
                  <a:gd name="connsiteY3" fmla="*/ 1212444 h 1356211"/>
                  <a:gd name="connsiteX4" fmla="*/ 163590 w 228101"/>
                  <a:gd name="connsiteY4" fmla="*/ 1232129 h 1356211"/>
                  <a:gd name="connsiteX5" fmla="*/ 214115 w 228101"/>
                  <a:gd name="connsiteY5" fmla="*/ 1319759 h 1356211"/>
                  <a:gd name="connsiteX6" fmla="*/ 143107 w 228101"/>
                  <a:gd name="connsiteY6" fmla="*/ 1355954 h 1356211"/>
                  <a:gd name="connsiteX7" fmla="*/ 10583 w 228101"/>
                  <a:gd name="connsiteY7" fmla="*/ 1258531 h 1356211"/>
                  <a:gd name="connsiteX8" fmla="*/ 0 w 228101"/>
                  <a:gd name="connsiteY8" fmla="*/ 1173680 h 1356211"/>
                  <a:gd name="connsiteX9" fmla="*/ 2307 w 228101"/>
                  <a:gd name="connsiteY9" fmla="*/ 276454 h 1356211"/>
                  <a:gd name="connsiteX10" fmla="*/ 56905 w 228101"/>
                  <a:gd name="connsiteY10" fmla="*/ 64364 h 1356211"/>
                  <a:gd name="connsiteX11" fmla="*/ 151468 w 228101"/>
                  <a:gd name="connsiteY11" fmla="*/ 4039 h 1356211"/>
                  <a:gd name="connsiteX0" fmla="*/ 151468 w 228101"/>
                  <a:gd name="connsiteY0" fmla="*/ 4039 h 1356211"/>
                  <a:gd name="connsiteX1" fmla="*/ 201365 w 228101"/>
                  <a:gd name="connsiteY1" fmla="*/ 87859 h 1356211"/>
                  <a:gd name="connsiteX2" fmla="*/ 122808 w 228101"/>
                  <a:gd name="connsiteY2" fmla="*/ 207239 h 1356211"/>
                  <a:gd name="connsiteX3" fmla="*/ 123631 w 228101"/>
                  <a:gd name="connsiteY3" fmla="*/ 1212444 h 1356211"/>
                  <a:gd name="connsiteX4" fmla="*/ 163590 w 228101"/>
                  <a:gd name="connsiteY4" fmla="*/ 1232129 h 1356211"/>
                  <a:gd name="connsiteX5" fmla="*/ 214115 w 228101"/>
                  <a:gd name="connsiteY5" fmla="*/ 1319759 h 1356211"/>
                  <a:gd name="connsiteX6" fmla="*/ 143107 w 228101"/>
                  <a:gd name="connsiteY6" fmla="*/ 1355954 h 1356211"/>
                  <a:gd name="connsiteX7" fmla="*/ 10583 w 228101"/>
                  <a:gd name="connsiteY7" fmla="*/ 1258531 h 1356211"/>
                  <a:gd name="connsiteX8" fmla="*/ 0 w 228101"/>
                  <a:gd name="connsiteY8" fmla="*/ 1173680 h 1356211"/>
                  <a:gd name="connsiteX9" fmla="*/ 2307 w 228101"/>
                  <a:gd name="connsiteY9" fmla="*/ 276454 h 1356211"/>
                  <a:gd name="connsiteX10" fmla="*/ 56905 w 228101"/>
                  <a:gd name="connsiteY10" fmla="*/ 64364 h 1356211"/>
                  <a:gd name="connsiteX11" fmla="*/ 151468 w 228101"/>
                  <a:gd name="connsiteY11" fmla="*/ 4039 h 1356211"/>
                  <a:gd name="connsiteX0" fmla="*/ 151468 w 228101"/>
                  <a:gd name="connsiteY0" fmla="*/ 4039 h 1356211"/>
                  <a:gd name="connsiteX1" fmla="*/ 201365 w 228101"/>
                  <a:gd name="connsiteY1" fmla="*/ 87859 h 1356211"/>
                  <a:gd name="connsiteX2" fmla="*/ 122808 w 228101"/>
                  <a:gd name="connsiteY2" fmla="*/ 207239 h 1356211"/>
                  <a:gd name="connsiteX3" fmla="*/ 123631 w 228101"/>
                  <a:gd name="connsiteY3" fmla="*/ 1212444 h 1356211"/>
                  <a:gd name="connsiteX4" fmla="*/ 163590 w 228101"/>
                  <a:gd name="connsiteY4" fmla="*/ 1232129 h 1356211"/>
                  <a:gd name="connsiteX5" fmla="*/ 214115 w 228101"/>
                  <a:gd name="connsiteY5" fmla="*/ 1319759 h 1356211"/>
                  <a:gd name="connsiteX6" fmla="*/ 143107 w 228101"/>
                  <a:gd name="connsiteY6" fmla="*/ 1355954 h 1356211"/>
                  <a:gd name="connsiteX7" fmla="*/ 10583 w 228101"/>
                  <a:gd name="connsiteY7" fmla="*/ 1258531 h 1356211"/>
                  <a:gd name="connsiteX8" fmla="*/ 0 w 228101"/>
                  <a:gd name="connsiteY8" fmla="*/ 1173680 h 1356211"/>
                  <a:gd name="connsiteX9" fmla="*/ 2307 w 228101"/>
                  <a:gd name="connsiteY9" fmla="*/ 276454 h 1356211"/>
                  <a:gd name="connsiteX10" fmla="*/ 56905 w 228101"/>
                  <a:gd name="connsiteY10" fmla="*/ 64364 h 1356211"/>
                  <a:gd name="connsiteX11" fmla="*/ 151468 w 228101"/>
                  <a:gd name="connsiteY11" fmla="*/ 4039 h 1356211"/>
                  <a:gd name="connsiteX0" fmla="*/ 153585 w 230218"/>
                  <a:gd name="connsiteY0" fmla="*/ 4039 h 1356232"/>
                  <a:gd name="connsiteX1" fmla="*/ 203482 w 230218"/>
                  <a:gd name="connsiteY1" fmla="*/ 87859 h 1356232"/>
                  <a:gd name="connsiteX2" fmla="*/ 124925 w 230218"/>
                  <a:gd name="connsiteY2" fmla="*/ 207239 h 1356232"/>
                  <a:gd name="connsiteX3" fmla="*/ 125748 w 230218"/>
                  <a:gd name="connsiteY3" fmla="*/ 1212444 h 1356232"/>
                  <a:gd name="connsiteX4" fmla="*/ 165707 w 230218"/>
                  <a:gd name="connsiteY4" fmla="*/ 1232129 h 1356232"/>
                  <a:gd name="connsiteX5" fmla="*/ 216232 w 230218"/>
                  <a:gd name="connsiteY5" fmla="*/ 1319759 h 1356232"/>
                  <a:gd name="connsiteX6" fmla="*/ 145224 w 230218"/>
                  <a:gd name="connsiteY6" fmla="*/ 1355954 h 1356232"/>
                  <a:gd name="connsiteX7" fmla="*/ 0 w 230218"/>
                  <a:gd name="connsiteY7" fmla="*/ 1261071 h 1356232"/>
                  <a:gd name="connsiteX8" fmla="*/ 2117 w 230218"/>
                  <a:gd name="connsiteY8" fmla="*/ 1173680 h 1356232"/>
                  <a:gd name="connsiteX9" fmla="*/ 4424 w 230218"/>
                  <a:gd name="connsiteY9" fmla="*/ 276454 h 1356232"/>
                  <a:gd name="connsiteX10" fmla="*/ 59022 w 230218"/>
                  <a:gd name="connsiteY10" fmla="*/ 64364 h 1356232"/>
                  <a:gd name="connsiteX11" fmla="*/ 153585 w 230218"/>
                  <a:gd name="connsiteY11" fmla="*/ 4039 h 1356232"/>
                  <a:gd name="connsiteX0" fmla="*/ 151506 w 228139"/>
                  <a:gd name="connsiteY0" fmla="*/ 4039 h 1356232"/>
                  <a:gd name="connsiteX1" fmla="*/ 201403 w 228139"/>
                  <a:gd name="connsiteY1" fmla="*/ 87859 h 1356232"/>
                  <a:gd name="connsiteX2" fmla="*/ 122846 w 228139"/>
                  <a:gd name="connsiteY2" fmla="*/ 207239 h 1356232"/>
                  <a:gd name="connsiteX3" fmla="*/ 123669 w 228139"/>
                  <a:gd name="connsiteY3" fmla="*/ 1212444 h 1356232"/>
                  <a:gd name="connsiteX4" fmla="*/ 163628 w 228139"/>
                  <a:gd name="connsiteY4" fmla="*/ 1232129 h 1356232"/>
                  <a:gd name="connsiteX5" fmla="*/ 214153 w 228139"/>
                  <a:gd name="connsiteY5" fmla="*/ 1319759 h 1356232"/>
                  <a:gd name="connsiteX6" fmla="*/ 143145 w 228139"/>
                  <a:gd name="connsiteY6" fmla="*/ 1355954 h 1356232"/>
                  <a:gd name="connsiteX7" fmla="*/ 8081 w 228139"/>
                  <a:gd name="connsiteY7" fmla="*/ 1261071 h 1356232"/>
                  <a:gd name="connsiteX8" fmla="*/ 38 w 228139"/>
                  <a:gd name="connsiteY8" fmla="*/ 1173680 h 1356232"/>
                  <a:gd name="connsiteX9" fmla="*/ 2345 w 228139"/>
                  <a:gd name="connsiteY9" fmla="*/ 276454 h 1356232"/>
                  <a:gd name="connsiteX10" fmla="*/ 56943 w 228139"/>
                  <a:gd name="connsiteY10" fmla="*/ 64364 h 1356232"/>
                  <a:gd name="connsiteX11" fmla="*/ 151506 w 228139"/>
                  <a:gd name="connsiteY11" fmla="*/ 4039 h 1356232"/>
                  <a:gd name="connsiteX0" fmla="*/ 151632 w 228265"/>
                  <a:gd name="connsiteY0" fmla="*/ 4039 h 1356121"/>
                  <a:gd name="connsiteX1" fmla="*/ 201529 w 228265"/>
                  <a:gd name="connsiteY1" fmla="*/ 87859 h 1356121"/>
                  <a:gd name="connsiteX2" fmla="*/ 122972 w 228265"/>
                  <a:gd name="connsiteY2" fmla="*/ 207239 h 1356121"/>
                  <a:gd name="connsiteX3" fmla="*/ 123795 w 228265"/>
                  <a:gd name="connsiteY3" fmla="*/ 1212444 h 1356121"/>
                  <a:gd name="connsiteX4" fmla="*/ 163754 w 228265"/>
                  <a:gd name="connsiteY4" fmla="*/ 1232129 h 1356121"/>
                  <a:gd name="connsiteX5" fmla="*/ 214279 w 228265"/>
                  <a:gd name="connsiteY5" fmla="*/ 1319759 h 1356121"/>
                  <a:gd name="connsiteX6" fmla="*/ 143271 w 228265"/>
                  <a:gd name="connsiteY6" fmla="*/ 1355954 h 1356121"/>
                  <a:gd name="connsiteX7" fmla="*/ 587 w 228265"/>
                  <a:gd name="connsiteY7" fmla="*/ 1240751 h 1356121"/>
                  <a:gd name="connsiteX8" fmla="*/ 164 w 228265"/>
                  <a:gd name="connsiteY8" fmla="*/ 1173680 h 1356121"/>
                  <a:gd name="connsiteX9" fmla="*/ 2471 w 228265"/>
                  <a:gd name="connsiteY9" fmla="*/ 276454 h 1356121"/>
                  <a:gd name="connsiteX10" fmla="*/ 57069 w 228265"/>
                  <a:gd name="connsiteY10" fmla="*/ 64364 h 1356121"/>
                  <a:gd name="connsiteX11" fmla="*/ 151632 w 228265"/>
                  <a:gd name="connsiteY11" fmla="*/ 4039 h 1356121"/>
                  <a:gd name="connsiteX0" fmla="*/ 153585 w 230218"/>
                  <a:gd name="connsiteY0" fmla="*/ 4039 h 1356257"/>
                  <a:gd name="connsiteX1" fmla="*/ 203482 w 230218"/>
                  <a:gd name="connsiteY1" fmla="*/ 87859 h 1356257"/>
                  <a:gd name="connsiteX2" fmla="*/ 124925 w 230218"/>
                  <a:gd name="connsiteY2" fmla="*/ 207239 h 1356257"/>
                  <a:gd name="connsiteX3" fmla="*/ 125748 w 230218"/>
                  <a:gd name="connsiteY3" fmla="*/ 1212444 h 1356257"/>
                  <a:gd name="connsiteX4" fmla="*/ 165707 w 230218"/>
                  <a:gd name="connsiteY4" fmla="*/ 1232129 h 1356257"/>
                  <a:gd name="connsiteX5" fmla="*/ 216232 w 230218"/>
                  <a:gd name="connsiteY5" fmla="*/ 1319759 h 1356257"/>
                  <a:gd name="connsiteX6" fmla="*/ 145224 w 230218"/>
                  <a:gd name="connsiteY6" fmla="*/ 1355954 h 1356257"/>
                  <a:gd name="connsiteX7" fmla="*/ 0 w 230218"/>
                  <a:gd name="connsiteY7" fmla="*/ 1263611 h 1356257"/>
                  <a:gd name="connsiteX8" fmla="*/ 2117 w 230218"/>
                  <a:gd name="connsiteY8" fmla="*/ 1173680 h 1356257"/>
                  <a:gd name="connsiteX9" fmla="*/ 4424 w 230218"/>
                  <a:gd name="connsiteY9" fmla="*/ 276454 h 1356257"/>
                  <a:gd name="connsiteX10" fmla="*/ 59022 w 230218"/>
                  <a:gd name="connsiteY10" fmla="*/ 64364 h 1356257"/>
                  <a:gd name="connsiteX11" fmla="*/ 153585 w 230218"/>
                  <a:gd name="connsiteY11" fmla="*/ 4039 h 1356257"/>
                  <a:gd name="connsiteX0" fmla="*/ 153585 w 230218"/>
                  <a:gd name="connsiteY0" fmla="*/ 4039 h 1360559"/>
                  <a:gd name="connsiteX1" fmla="*/ 203482 w 230218"/>
                  <a:gd name="connsiteY1" fmla="*/ 87859 h 1360559"/>
                  <a:gd name="connsiteX2" fmla="*/ 124925 w 230218"/>
                  <a:gd name="connsiteY2" fmla="*/ 207239 h 1360559"/>
                  <a:gd name="connsiteX3" fmla="*/ 125748 w 230218"/>
                  <a:gd name="connsiteY3" fmla="*/ 1212444 h 1360559"/>
                  <a:gd name="connsiteX4" fmla="*/ 165707 w 230218"/>
                  <a:gd name="connsiteY4" fmla="*/ 1232129 h 1360559"/>
                  <a:gd name="connsiteX5" fmla="*/ 216232 w 230218"/>
                  <a:gd name="connsiteY5" fmla="*/ 1319759 h 1360559"/>
                  <a:gd name="connsiteX6" fmla="*/ 145224 w 230218"/>
                  <a:gd name="connsiteY6" fmla="*/ 1355954 h 1360559"/>
                  <a:gd name="connsiteX7" fmla="*/ 0 w 230218"/>
                  <a:gd name="connsiteY7" fmla="*/ 1263611 h 1360559"/>
                  <a:gd name="connsiteX8" fmla="*/ 2117 w 230218"/>
                  <a:gd name="connsiteY8" fmla="*/ 1173680 h 1360559"/>
                  <a:gd name="connsiteX9" fmla="*/ 4424 w 230218"/>
                  <a:gd name="connsiteY9" fmla="*/ 276454 h 1360559"/>
                  <a:gd name="connsiteX10" fmla="*/ 59022 w 230218"/>
                  <a:gd name="connsiteY10" fmla="*/ 64364 h 1360559"/>
                  <a:gd name="connsiteX11" fmla="*/ 153585 w 230218"/>
                  <a:gd name="connsiteY11" fmla="*/ 4039 h 1360559"/>
                  <a:gd name="connsiteX0" fmla="*/ 153585 w 230218"/>
                  <a:gd name="connsiteY0" fmla="*/ 4039 h 1361198"/>
                  <a:gd name="connsiteX1" fmla="*/ 203482 w 230218"/>
                  <a:gd name="connsiteY1" fmla="*/ 87859 h 1361198"/>
                  <a:gd name="connsiteX2" fmla="*/ 124925 w 230218"/>
                  <a:gd name="connsiteY2" fmla="*/ 207239 h 1361198"/>
                  <a:gd name="connsiteX3" fmla="*/ 125748 w 230218"/>
                  <a:gd name="connsiteY3" fmla="*/ 1212444 h 1361198"/>
                  <a:gd name="connsiteX4" fmla="*/ 165707 w 230218"/>
                  <a:gd name="connsiteY4" fmla="*/ 1232129 h 1361198"/>
                  <a:gd name="connsiteX5" fmla="*/ 216232 w 230218"/>
                  <a:gd name="connsiteY5" fmla="*/ 1319759 h 1361198"/>
                  <a:gd name="connsiteX6" fmla="*/ 145224 w 230218"/>
                  <a:gd name="connsiteY6" fmla="*/ 1355954 h 1361198"/>
                  <a:gd name="connsiteX7" fmla="*/ 0 w 230218"/>
                  <a:gd name="connsiteY7" fmla="*/ 1271231 h 1361198"/>
                  <a:gd name="connsiteX8" fmla="*/ 2117 w 230218"/>
                  <a:gd name="connsiteY8" fmla="*/ 1173680 h 1361198"/>
                  <a:gd name="connsiteX9" fmla="*/ 4424 w 230218"/>
                  <a:gd name="connsiteY9" fmla="*/ 276454 h 1361198"/>
                  <a:gd name="connsiteX10" fmla="*/ 59022 w 230218"/>
                  <a:gd name="connsiteY10" fmla="*/ 64364 h 1361198"/>
                  <a:gd name="connsiteX11" fmla="*/ 153585 w 230218"/>
                  <a:gd name="connsiteY11" fmla="*/ 4039 h 1361198"/>
                  <a:gd name="connsiteX0" fmla="*/ 153585 w 230218"/>
                  <a:gd name="connsiteY0" fmla="*/ 4039 h 1360206"/>
                  <a:gd name="connsiteX1" fmla="*/ 203482 w 230218"/>
                  <a:gd name="connsiteY1" fmla="*/ 87859 h 1360206"/>
                  <a:gd name="connsiteX2" fmla="*/ 124925 w 230218"/>
                  <a:gd name="connsiteY2" fmla="*/ 207239 h 1360206"/>
                  <a:gd name="connsiteX3" fmla="*/ 125748 w 230218"/>
                  <a:gd name="connsiteY3" fmla="*/ 1212444 h 1360206"/>
                  <a:gd name="connsiteX4" fmla="*/ 165707 w 230218"/>
                  <a:gd name="connsiteY4" fmla="*/ 1232129 h 1360206"/>
                  <a:gd name="connsiteX5" fmla="*/ 216232 w 230218"/>
                  <a:gd name="connsiteY5" fmla="*/ 1319759 h 1360206"/>
                  <a:gd name="connsiteX6" fmla="*/ 145224 w 230218"/>
                  <a:gd name="connsiteY6" fmla="*/ 1355954 h 1360206"/>
                  <a:gd name="connsiteX7" fmla="*/ 0 w 230218"/>
                  <a:gd name="connsiteY7" fmla="*/ 1258531 h 1360206"/>
                  <a:gd name="connsiteX8" fmla="*/ 2117 w 230218"/>
                  <a:gd name="connsiteY8" fmla="*/ 1173680 h 1360206"/>
                  <a:gd name="connsiteX9" fmla="*/ 4424 w 230218"/>
                  <a:gd name="connsiteY9" fmla="*/ 276454 h 1360206"/>
                  <a:gd name="connsiteX10" fmla="*/ 59022 w 230218"/>
                  <a:gd name="connsiteY10" fmla="*/ 64364 h 1360206"/>
                  <a:gd name="connsiteX11" fmla="*/ 153585 w 230218"/>
                  <a:gd name="connsiteY11" fmla="*/ 4039 h 1360206"/>
                  <a:gd name="connsiteX0" fmla="*/ 165106 w 241739"/>
                  <a:gd name="connsiteY0" fmla="*/ 4039 h 1360206"/>
                  <a:gd name="connsiteX1" fmla="*/ 215003 w 241739"/>
                  <a:gd name="connsiteY1" fmla="*/ 87859 h 1360206"/>
                  <a:gd name="connsiteX2" fmla="*/ 136446 w 241739"/>
                  <a:gd name="connsiteY2" fmla="*/ 207239 h 1360206"/>
                  <a:gd name="connsiteX3" fmla="*/ 137269 w 241739"/>
                  <a:gd name="connsiteY3" fmla="*/ 1212444 h 1360206"/>
                  <a:gd name="connsiteX4" fmla="*/ 177228 w 241739"/>
                  <a:gd name="connsiteY4" fmla="*/ 1232129 h 1360206"/>
                  <a:gd name="connsiteX5" fmla="*/ 227753 w 241739"/>
                  <a:gd name="connsiteY5" fmla="*/ 1319759 h 1360206"/>
                  <a:gd name="connsiteX6" fmla="*/ 156745 w 241739"/>
                  <a:gd name="connsiteY6" fmla="*/ 1355954 h 1360206"/>
                  <a:gd name="connsiteX7" fmla="*/ 11521 w 241739"/>
                  <a:gd name="connsiteY7" fmla="*/ 1258531 h 1360206"/>
                  <a:gd name="connsiteX8" fmla="*/ 15945 w 241739"/>
                  <a:gd name="connsiteY8" fmla="*/ 276454 h 1360206"/>
                  <a:gd name="connsiteX9" fmla="*/ 70543 w 241739"/>
                  <a:gd name="connsiteY9" fmla="*/ 64364 h 1360206"/>
                  <a:gd name="connsiteX10" fmla="*/ 165106 w 241739"/>
                  <a:gd name="connsiteY10" fmla="*/ 4039 h 1360206"/>
                  <a:gd name="connsiteX0" fmla="*/ 156277 w 232910"/>
                  <a:gd name="connsiteY0" fmla="*/ 4039 h 1360206"/>
                  <a:gd name="connsiteX1" fmla="*/ 206174 w 232910"/>
                  <a:gd name="connsiteY1" fmla="*/ 87859 h 1360206"/>
                  <a:gd name="connsiteX2" fmla="*/ 127617 w 232910"/>
                  <a:gd name="connsiteY2" fmla="*/ 207239 h 1360206"/>
                  <a:gd name="connsiteX3" fmla="*/ 128440 w 232910"/>
                  <a:gd name="connsiteY3" fmla="*/ 1212444 h 1360206"/>
                  <a:gd name="connsiteX4" fmla="*/ 168399 w 232910"/>
                  <a:gd name="connsiteY4" fmla="*/ 1232129 h 1360206"/>
                  <a:gd name="connsiteX5" fmla="*/ 218924 w 232910"/>
                  <a:gd name="connsiteY5" fmla="*/ 1319759 h 1360206"/>
                  <a:gd name="connsiteX6" fmla="*/ 147916 w 232910"/>
                  <a:gd name="connsiteY6" fmla="*/ 1355954 h 1360206"/>
                  <a:gd name="connsiteX7" fmla="*/ 2692 w 232910"/>
                  <a:gd name="connsiteY7" fmla="*/ 1258531 h 1360206"/>
                  <a:gd name="connsiteX8" fmla="*/ 7116 w 232910"/>
                  <a:gd name="connsiteY8" fmla="*/ 276454 h 1360206"/>
                  <a:gd name="connsiteX9" fmla="*/ 61714 w 232910"/>
                  <a:gd name="connsiteY9" fmla="*/ 64364 h 1360206"/>
                  <a:gd name="connsiteX10" fmla="*/ 156277 w 232910"/>
                  <a:gd name="connsiteY10" fmla="*/ 4039 h 1360206"/>
                  <a:gd name="connsiteX0" fmla="*/ 161033 w 237666"/>
                  <a:gd name="connsiteY0" fmla="*/ 4039 h 1360206"/>
                  <a:gd name="connsiteX1" fmla="*/ 210930 w 237666"/>
                  <a:gd name="connsiteY1" fmla="*/ 87859 h 1360206"/>
                  <a:gd name="connsiteX2" fmla="*/ 132373 w 237666"/>
                  <a:gd name="connsiteY2" fmla="*/ 207239 h 1360206"/>
                  <a:gd name="connsiteX3" fmla="*/ 133196 w 237666"/>
                  <a:gd name="connsiteY3" fmla="*/ 1212444 h 1360206"/>
                  <a:gd name="connsiteX4" fmla="*/ 173155 w 237666"/>
                  <a:gd name="connsiteY4" fmla="*/ 1232129 h 1360206"/>
                  <a:gd name="connsiteX5" fmla="*/ 223680 w 237666"/>
                  <a:gd name="connsiteY5" fmla="*/ 1319759 h 1360206"/>
                  <a:gd name="connsiteX6" fmla="*/ 152672 w 237666"/>
                  <a:gd name="connsiteY6" fmla="*/ 1355954 h 1360206"/>
                  <a:gd name="connsiteX7" fmla="*/ 7448 w 237666"/>
                  <a:gd name="connsiteY7" fmla="*/ 1258531 h 1360206"/>
                  <a:gd name="connsiteX8" fmla="*/ 4252 w 237666"/>
                  <a:gd name="connsiteY8" fmla="*/ 263754 h 1360206"/>
                  <a:gd name="connsiteX9" fmla="*/ 66470 w 237666"/>
                  <a:gd name="connsiteY9" fmla="*/ 64364 h 1360206"/>
                  <a:gd name="connsiteX10" fmla="*/ 161033 w 237666"/>
                  <a:gd name="connsiteY10" fmla="*/ 4039 h 1360206"/>
                  <a:gd name="connsiteX0" fmla="*/ 161033 w 237666"/>
                  <a:gd name="connsiteY0" fmla="*/ 4039 h 1360206"/>
                  <a:gd name="connsiteX1" fmla="*/ 210930 w 237666"/>
                  <a:gd name="connsiteY1" fmla="*/ 87859 h 1360206"/>
                  <a:gd name="connsiteX2" fmla="*/ 132373 w 237666"/>
                  <a:gd name="connsiteY2" fmla="*/ 207239 h 1360206"/>
                  <a:gd name="connsiteX3" fmla="*/ 133196 w 237666"/>
                  <a:gd name="connsiteY3" fmla="*/ 1212444 h 1360206"/>
                  <a:gd name="connsiteX4" fmla="*/ 173155 w 237666"/>
                  <a:gd name="connsiteY4" fmla="*/ 1232129 h 1360206"/>
                  <a:gd name="connsiteX5" fmla="*/ 223680 w 237666"/>
                  <a:gd name="connsiteY5" fmla="*/ 1319759 h 1360206"/>
                  <a:gd name="connsiteX6" fmla="*/ 152672 w 237666"/>
                  <a:gd name="connsiteY6" fmla="*/ 1355954 h 1360206"/>
                  <a:gd name="connsiteX7" fmla="*/ 7448 w 237666"/>
                  <a:gd name="connsiteY7" fmla="*/ 1258531 h 1360206"/>
                  <a:gd name="connsiteX8" fmla="*/ 4252 w 237666"/>
                  <a:gd name="connsiteY8" fmla="*/ 263754 h 1360206"/>
                  <a:gd name="connsiteX9" fmla="*/ 66470 w 237666"/>
                  <a:gd name="connsiteY9" fmla="*/ 64364 h 1360206"/>
                  <a:gd name="connsiteX10" fmla="*/ 161033 w 237666"/>
                  <a:gd name="connsiteY10" fmla="*/ 4039 h 1360206"/>
                  <a:gd name="connsiteX0" fmla="*/ 161033 w 237666"/>
                  <a:gd name="connsiteY0" fmla="*/ 4039 h 1360206"/>
                  <a:gd name="connsiteX1" fmla="*/ 210930 w 237666"/>
                  <a:gd name="connsiteY1" fmla="*/ 87859 h 1360206"/>
                  <a:gd name="connsiteX2" fmla="*/ 132373 w 237666"/>
                  <a:gd name="connsiteY2" fmla="*/ 207239 h 1360206"/>
                  <a:gd name="connsiteX3" fmla="*/ 133196 w 237666"/>
                  <a:gd name="connsiteY3" fmla="*/ 1212444 h 1360206"/>
                  <a:gd name="connsiteX4" fmla="*/ 173155 w 237666"/>
                  <a:gd name="connsiteY4" fmla="*/ 1232129 h 1360206"/>
                  <a:gd name="connsiteX5" fmla="*/ 223680 w 237666"/>
                  <a:gd name="connsiteY5" fmla="*/ 1319759 h 1360206"/>
                  <a:gd name="connsiteX6" fmla="*/ 152672 w 237666"/>
                  <a:gd name="connsiteY6" fmla="*/ 1355954 h 1360206"/>
                  <a:gd name="connsiteX7" fmla="*/ 7448 w 237666"/>
                  <a:gd name="connsiteY7" fmla="*/ 1258531 h 1360206"/>
                  <a:gd name="connsiteX8" fmla="*/ 4252 w 237666"/>
                  <a:gd name="connsiteY8" fmla="*/ 263754 h 1360206"/>
                  <a:gd name="connsiteX9" fmla="*/ 66470 w 237666"/>
                  <a:gd name="connsiteY9" fmla="*/ 64364 h 1360206"/>
                  <a:gd name="connsiteX10" fmla="*/ 161033 w 237666"/>
                  <a:gd name="connsiteY10" fmla="*/ 4039 h 1360206"/>
                  <a:gd name="connsiteX0" fmla="*/ 161033 w 237666"/>
                  <a:gd name="connsiteY0" fmla="*/ 4039 h 1360206"/>
                  <a:gd name="connsiteX1" fmla="*/ 210930 w 237666"/>
                  <a:gd name="connsiteY1" fmla="*/ 87859 h 1360206"/>
                  <a:gd name="connsiteX2" fmla="*/ 132373 w 237666"/>
                  <a:gd name="connsiteY2" fmla="*/ 207239 h 1360206"/>
                  <a:gd name="connsiteX3" fmla="*/ 133196 w 237666"/>
                  <a:gd name="connsiteY3" fmla="*/ 1212444 h 1360206"/>
                  <a:gd name="connsiteX4" fmla="*/ 173155 w 237666"/>
                  <a:gd name="connsiteY4" fmla="*/ 1232129 h 1360206"/>
                  <a:gd name="connsiteX5" fmla="*/ 223680 w 237666"/>
                  <a:gd name="connsiteY5" fmla="*/ 1319759 h 1360206"/>
                  <a:gd name="connsiteX6" fmla="*/ 152672 w 237666"/>
                  <a:gd name="connsiteY6" fmla="*/ 1355954 h 1360206"/>
                  <a:gd name="connsiteX7" fmla="*/ 7448 w 237666"/>
                  <a:gd name="connsiteY7" fmla="*/ 1258531 h 1360206"/>
                  <a:gd name="connsiteX8" fmla="*/ 4252 w 237666"/>
                  <a:gd name="connsiteY8" fmla="*/ 263754 h 1360206"/>
                  <a:gd name="connsiteX9" fmla="*/ 66470 w 237666"/>
                  <a:gd name="connsiteY9" fmla="*/ 64364 h 1360206"/>
                  <a:gd name="connsiteX10" fmla="*/ 161033 w 237666"/>
                  <a:gd name="connsiteY10" fmla="*/ 4039 h 1360206"/>
                  <a:gd name="connsiteX0" fmla="*/ 163041 w 239674"/>
                  <a:gd name="connsiteY0" fmla="*/ 4039 h 1360206"/>
                  <a:gd name="connsiteX1" fmla="*/ 212938 w 239674"/>
                  <a:gd name="connsiteY1" fmla="*/ 87859 h 1360206"/>
                  <a:gd name="connsiteX2" fmla="*/ 134381 w 239674"/>
                  <a:gd name="connsiteY2" fmla="*/ 207239 h 1360206"/>
                  <a:gd name="connsiteX3" fmla="*/ 135204 w 239674"/>
                  <a:gd name="connsiteY3" fmla="*/ 1212444 h 1360206"/>
                  <a:gd name="connsiteX4" fmla="*/ 175163 w 239674"/>
                  <a:gd name="connsiteY4" fmla="*/ 1232129 h 1360206"/>
                  <a:gd name="connsiteX5" fmla="*/ 225688 w 239674"/>
                  <a:gd name="connsiteY5" fmla="*/ 1319759 h 1360206"/>
                  <a:gd name="connsiteX6" fmla="*/ 154680 w 239674"/>
                  <a:gd name="connsiteY6" fmla="*/ 1355954 h 1360206"/>
                  <a:gd name="connsiteX7" fmla="*/ 9456 w 239674"/>
                  <a:gd name="connsiteY7" fmla="*/ 1258531 h 1360206"/>
                  <a:gd name="connsiteX8" fmla="*/ 3720 w 239674"/>
                  <a:gd name="connsiteY8" fmla="*/ 263754 h 1360206"/>
                  <a:gd name="connsiteX9" fmla="*/ 68478 w 239674"/>
                  <a:gd name="connsiteY9" fmla="*/ 64364 h 1360206"/>
                  <a:gd name="connsiteX10" fmla="*/ 163041 w 239674"/>
                  <a:gd name="connsiteY10" fmla="*/ 4039 h 1360206"/>
                  <a:gd name="connsiteX0" fmla="*/ 159321 w 235954"/>
                  <a:gd name="connsiteY0" fmla="*/ 4039 h 1360206"/>
                  <a:gd name="connsiteX1" fmla="*/ 209218 w 235954"/>
                  <a:gd name="connsiteY1" fmla="*/ 87859 h 1360206"/>
                  <a:gd name="connsiteX2" fmla="*/ 130661 w 235954"/>
                  <a:gd name="connsiteY2" fmla="*/ 207239 h 1360206"/>
                  <a:gd name="connsiteX3" fmla="*/ 131484 w 235954"/>
                  <a:gd name="connsiteY3" fmla="*/ 1212444 h 1360206"/>
                  <a:gd name="connsiteX4" fmla="*/ 171443 w 235954"/>
                  <a:gd name="connsiteY4" fmla="*/ 1232129 h 1360206"/>
                  <a:gd name="connsiteX5" fmla="*/ 221968 w 235954"/>
                  <a:gd name="connsiteY5" fmla="*/ 1319759 h 1360206"/>
                  <a:gd name="connsiteX6" fmla="*/ 150960 w 235954"/>
                  <a:gd name="connsiteY6" fmla="*/ 1355954 h 1360206"/>
                  <a:gd name="connsiteX7" fmla="*/ 5736 w 235954"/>
                  <a:gd name="connsiteY7" fmla="*/ 1258531 h 1360206"/>
                  <a:gd name="connsiteX8" fmla="*/ 0 w 235954"/>
                  <a:gd name="connsiteY8" fmla="*/ 263754 h 1360206"/>
                  <a:gd name="connsiteX9" fmla="*/ 64758 w 235954"/>
                  <a:gd name="connsiteY9" fmla="*/ 64364 h 1360206"/>
                  <a:gd name="connsiteX10" fmla="*/ 159321 w 235954"/>
                  <a:gd name="connsiteY10" fmla="*/ 4039 h 1360206"/>
                  <a:gd name="connsiteX0" fmla="*/ 159321 w 235954"/>
                  <a:gd name="connsiteY0" fmla="*/ 4039 h 1360206"/>
                  <a:gd name="connsiteX1" fmla="*/ 209218 w 235954"/>
                  <a:gd name="connsiteY1" fmla="*/ 87859 h 1360206"/>
                  <a:gd name="connsiteX2" fmla="*/ 130661 w 235954"/>
                  <a:gd name="connsiteY2" fmla="*/ 207239 h 1360206"/>
                  <a:gd name="connsiteX3" fmla="*/ 131484 w 235954"/>
                  <a:gd name="connsiteY3" fmla="*/ 1212444 h 1360206"/>
                  <a:gd name="connsiteX4" fmla="*/ 171443 w 235954"/>
                  <a:gd name="connsiteY4" fmla="*/ 1232129 h 1360206"/>
                  <a:gd name="connsiteX5" fmla="*/ 221968 w 235954"/>
                  <a:gd name="connsiteY5" fmla="*/ 1319759 h 1360206"/>
                  <a:gd name="connsiteX6" fmla="*/ 150960 w 235954"/>
                  <a:gd name="connsiteY6" fmla="*/ 1355954 h 1360206"/>
                  <a:gd name="connsiteX7" fmla="*/ 5736 w 235954"/>
                  <a:gd name="connsiteY7" fmla="*/ 1258531 h 1360206"/>
                  <a:gd name="connsiteX8" fmla="*/ 0 w 235954"/>
                  <a:gd name="connsiteY8" fmla="*/ 263754 h 1360206"/>
                  <a:gd name="connsiteX9" fmla="*/ 64758 w 235954"/>
                  <a:gd name="connsiteY9" fmla="*/ 64364 h 1360206"/>
                  <a:gd name="connsiteX10" fmla="*/ 159321 w 235954"/>
                  <a:gd name="connsiteY10" fmla="*/ 4039 h 1360206"/>
                  <a:gd name="connsiteX0" fmla="*/ 159321 w 235954"/>
                  <a:gd name="connsiteY0" fmla="*/ 4039 h 1360206"/>
                  <a:gd name="connsiteX1" fmla="*/ 209218 w 235954"/>
                  <a:gd name="connsiteY1" fmla="*/ 87859 h 1360206"/>
                  <a:gd name="connsiteX2" fmla="*/ 130661 w 235954"/>
                  <a:gd name="connsiteY2" fmla="*/ 207239 h 1360206"/>
                  <a:gd name="connsiteX3" fmla="*/ 131484 w 235954"/>
                  <a:gd name="connsiteY3" fmla="*/ 1212444 h 1360206"/>
                  <a:gd name="connsiteX4" fmla="*/ 171443 w 235954"/>
                  <a:gd name="connsiteY4" fmla="*/ 1232129 h 1360206"/>
                  <a:gd name="connsiteX5" fmla="*/ 221968 w 235954"/>
                  <a:gd name="connsiteY5" fmla="*/ 1319759 h 1360206"/>
                  <a:gd name="connsiteX6" fmla="*/ 150960 w 235954"/>
                  <a:gd name="connsiteY6" fmla="*/ 1355954 h 1360206"/>
                  <a:gd name="connsiteX7" fmla="*/ 5736 w 235954"/>
                  <a:gd name="connsiteY7" fmla="*/ 1258531 h 1360206"/>
                  <a:gd name="connsiteX8" fmla="*/ 0 w 235954"/>
                  <a:gd name="connsiteY8" fmla="*/ 263754 h 1360206"/>
                  <a:gd name="connsiteX9" fmla="*/ 159321 w 235954"/>
                  <a:gd name="connsiteY9" fmla="*/ 4039 h 1360206"/>
                  <a:gd name="connsiteX0" fmla="*/ 159321 w 235954"/>
                  <a:gd name="connsiteY0" fmla="*/ 4039 h 1360206"/>
                  <a:gd name="connsiteX1" fmla="*/ 209218 w 235954"/>
                  <a:gd name="connsiteY1" fmla="*/ 87859 h 1360206"/>
                  <a:gd name="connsiteX2" fmla="*/ 130661 w 235954"/>
                  <a:gd name="connsiteY2" fmla="*/ 207239 h 1360206"/>
                  <a:gd name="connsiteX3" fmla="*/ 131484 w 235954"/>
                  <a:gd name="connsiteY3" fmla="*/ 1212444 h 1360206"/>
                  <a:gd name="connsiteX4" fmla="*/ 171443 w 235954"/>
                  <a:gd name="connsiteY4" fmla="*/ 1232129 h 1360206"/>
                  <a:gd name="connsiteX5" fmla="*/ 221968 w 235954"/>
                  <a:gd name="connsiteY5" fmla="*/ 1319759 h 1360206"/>
                  <a:gd name="connsiteX6" fmla="*/ 150960 w 235954"/>
                  <a:gd name="connsiteY6" fmla="*/ 1355954 h 1360206"/>
                  <a:gd name="connsiteX7" fmla="*/ 5736 w 235954"/>
                  <a:gd name="connsiteY7" fmla="*/ 1258531 h 1360206"/>
                  <a:gd name="connsiteX8" fmla="*/ 0 w 235954"/>
                  <a:gd name="connsiteY8" fmla="*/ 263754 h 1360206"/>
                  <a:gd name="connsiteX9" fmla="*/ 159321 w 235954"/>
                  <a:gd name="connsiteY9" fmla="*/ 4039 h 1360206"/>
                  <a:gd name="connsiteX0" fmla="*/ 159321 w 235954"/>
                  <a:gd name="connsiteY0" fmla="*/ 4039 h 1360206"/>
                  <a:gd name="connsiteX1" fmla="*/ 209218 w 235954"/>
                  <a:gd name="connsiteY1" fmla="*/ 87859 h 1360206"/>
                  <a:gd name="connsiteX2" fmla="*/ 130661 w 235954"/>
                  <a:gd name="connsiteY2" fmla="*/ 207239 h 1360206"/>
                  <a:gd name="connsiteX3" fmla="*/ 131484 w 235954"/>
                  <a:gd name="connsiteY3" fmla="*/ 1212444 h 1360206"/>
                  <a:gd name="connsiteX4" fmla="*/ 171443 w 235954"/>
                  <a:gd name="connsiteY4" fmla="*/ 1232129 h 1360206"/>
                  <a:gd name="connsiteX5" fmla="*/ 221968 w 235954"/>
                  <a:gd name="connsiteY5" fmla="*/ 1319759 h 1360206"/>
                  <a:gd name="connsiteX6" fmla="*/ 150960 w 235954"/>
                  <a:gd name="connsiteY6" fmla="*/ 1355954 h 1360206"/>
                  <a:gd name="connsiteX7" fmla="*/ 5736 w 235954"/>
                  <a:gd name="connsiteY7" fmla="*/ 1258531 h 1360206"/>
                  <a:gd name="connsiteX8" fmla="*/ 0 w 235954"/>
                  <a:gd name="connsiteY8" fmla="*/ 263754 h 1360206"/>
                  <a:gd name="connsiteX9" fmla="*/ 159321 w 235954"/>
                  <a:gd name="connsiteY9" fmla="*/ 4039 h 1360206"/>
                  <a:gd name="connsiteX0" fmla="*/ 159321 w 235954"/>
                  <a:gd name="connsiteY0" fmla="*/ 4039 h 1360206"/>
                  <a:gd name="connsiteX1" fmla="*/ 209218 w 235954"/>
                  <a:gd name="connsiteY1" fmla="*/ 87859 h 1360206"/>
                  <a:gd name="connsiteX2" fmla="*/ 128121 w 235954"/>
                  <a:gd name="connsiteY2" fmla="*/ 191999 h 1360206"/>
                  <a:gd name="connsiteX3" fmla="*/ 131484 w 235954"/>
                  <a:gd name="connsiteY3" fmla="*/ 1212444 h 1360206"/>
                  <a:gd name="connsiteX4" fmla="*/ 171443 w 235954"/>
                  <a:gd name="connsiteY4" fmla="*/ 1232129 h 1360206"/>
                  <a:gd name="connsiteX5" fmla="*/ 221968 w 235954"/>
                  <a:gd name="connsiteY5" fmla="*/ 1319759 h 1360206"/>
                  <a:gd name="connsiteX6" fmla="*/ 150960 w 235954"/>
                  <a:gd name="connsiteY6" fmla="*/ 1355954 h 1360206"/>
                  <a:gd name="connsiteX7" fmla="*/ 5736 w 235954"/>
                  <a:gd name="connsiteY7" fmla="*/ 1258531 h 1360206"/>
                  <a:gd name="connsiteX8" fmla="*/ 0 w 235954"/>
                  <a:gd name="connsiteY8" fmla="*/ 263754 h 1360206"/>
                  <a:gd name="connsiteX9" fmla="*/ 159321 w 235954"/>
                  <a:gd name="connsiteY9" fmla="*/ 4039 h 1360206"/>
                  <a:gd name="connsiteX0" fmla="*/ 159321 w 235954"/>
                  <a:gd name="connsiteY0" fmla="*/ 3522 h 1359689"/>
                  <a:gd name="connsiteX1" fmla="*/ 209218 w 235954"/>
                  <a:gd name="connsiteY1" fmla="*/ 102582 h 1359689"/>
                  <a:gd name="connsiteX2" fmla="*/ 128121 w 235954"/>
                  <a:gd name="connsiteY2" fmla="*/ 191482 h 1359689"/>
                  <a:gd name="connsiteX3" fmla="*/ 131484 w 235954"/>
                  <a:gd name="connsiteY3" fmla="*/ 1211927 h 1359689"/>
                  <a:gd name="connsiteX4" fmla="*/ 171443 w 235954"/>
                  <a:gd name="connsiteY4" fmla="*/ 1231612 h 1359689"/>
                  <a:gd name="connsiteX5" fmla="*/ 221968 w 235954"/>
                  <a:gd name="connsiteY5" fmla="*/ 1319242 h 1359689"/>
                  <a:gd name="connsiteX6" fmla="*/ 150960 w 235954"/>
                  <a:gd name="connsiteY6" fmla="*/ 1355437 h 1359689"/>
                  <a:gd name="connsiteX7" fmla="*/ 5736 w 235954"/>
                  <a:gd name="connsiteY7" fmla="*/ 1258014 h 1359689"/>
                  <a:gd name="connsiteX8" fmla="*/ 0 w 235954"/>
                  <a:gd name="connsiteY8" fmla="*/ 263237 h 1359689"/>
                  <a:gd name="connsiteX9" fmla="*/ 159321 w 235954"/>
                  <a:gd name="connsiteY9" fmla="*/ 3522 h 1359689"/>
                  <a:gd name="connsiteX0" fmla="*/ 159321 w 235954"/>
                  <a:gd name="connsiteY0" fmla="*/ 3522 h 1359689"/>
                  <a:gd name="connsiteX1" fmla="*/ 209218 w 235954"/>
                  <a:gd name="connsiteY1" fmla="*/ 102582 h 1359689"/>
                  <a:gd name="connsiteX2" fmla="*/ 128121 w 235954"/>
                  <a:gd name="connsiteY2" fmla="*/ 191482 h 1359689"/>
                  <a:gd name="connsiteX3" fmla="*/ 131484 w 235954"/>
                  <a:gd name="connsiteY3" fmla="*/ 1211927 h 1359689"/>
                  <a:gd name="connsiteX4" fmla="*/ 171443 w 235954"/>
                  <a:gd name="connsiteY4" fmla="*/ 1231612 h 1359689"/>
                  <a:gd name="connsiteX5" fmla="*/ 221968 w 235954"/>
                  <a:gd name="connsiteY5" fmla="*/ 1319242 h 1359689"/>
                  <a:gd name="connsiteX6" fmla="*/ 150960 w 235954"/>
                  <a:gd name="connsiteY6" fmla="*/ 1355437 h 1359689"/>
                  <a:gd name="connsiteX7" fmla="*/ 5736 w 235954"/>
                  <a:gd name="connsiteY7" fmla="*/ 1258014 h 1359689"/>
                  <a:gd name="connsiteX8" fmla="*/ 0 w 235954"/>
                  <a:gd name="connsiteY8" fmla="*/ 263237 h 1359689"/>
                  <a:gd name="connsiteX9" fmla="*/ 159321 w 235954"/>
                  <a:gd name="connsiteY9" fmla="*/ 3522 h 1359689"/>
                  <a:gd name="connsiteX0" fmla="*/ 159321 w 235954"/>
                  <a:gd name="connsiteY0" fmla="*/ 3595 h 1359762"/>
                  <a:gd name="connsiteX1" fmla="*/ 209218 w 235954"/>
                  <a:gd name="connsiteY1" fmla="*/ 102655 h 1359762"/>
                  <a:gd name="connsiteX2" fmla="*/ 128121 w 235954"/>
                  <a:gd name="connsiteY2" fmla="*/ 191555 h 1359762"/>
                  <a:gd name="connsiteX3" fmla="*/ 131484 w 235954"/>
                  <a:gd name="connsiteY3" fmla="*/ 1212000 h 1359762"/>
                  <a:gd name="connsiteX4" fmla="*/ 171443 w 235954"/>
                  <a:gd name="connsiteY4" fmla="*/ 1231685 h 1359762"/>
                  <a:gd name="connsiteX5" fmla="*/ 221968 w 235954"/>
                  <a:gd name="connsiteY5" fmla="*/ 1319315 h 1359762"/>
                  <a:gd name="connsiteX6" fmla="*/ 150960 w 235954"/>
                  <a:gd name="connsiteY6" fmla="*/ 1355510 h 1359762"/>
                  <a:gd name="connsiteX7" fmla="*/ 5736 w 235954"/>
                  <a:gd name="connsiteY7" fmla="*/ 1258087 h 1359762"/>
                  <a:gd name="connsiteX8" fmla="*/ 0 w 235954"/>
                  <a:gd name="connsiteY8" fmla="*/ 263310 h 1359762"/>
                  <a:gd name="connsiteX9" fmla="*/ 159321 w 235954"/>
                  <a:gd name="connsiteY9" fmla="*/ 3595 h 1359762"/>
                  <a:gd name="connsiteX0" fmla="*/ 156781 w 235954"/>
                  <a:gd name="connsiteY0" fmla="*/ 3306 h 1369633"/>
                  <a:gd name="connsiteX1" fmla="*/ 209218 w 235954"/>
                  <a:gd name="connsiteY1" fmla="*/ 112526 h 1369633"/>
                  <a:gd name="connsiteX2" fmla="*/ 128121 w 235954"/>
                  <a:gd name="connsiteY2" fmla="*/ 201426 h 1369633"/>
                  <a:gd name="connsiteX3" fmla="*/ 131484 w 235954"/>
                  <a:gd name="connsiteY3" fmla="*/ 1221871 h 1369633"/>
                  <a:gd name="connsiteX4" fmla="*/ 171443 w 235954"/>
                  <a:gd name="connsiteY4" fmla="*/ 1241556 h 1369633"/>
                  <a:gd name="connsiteX5" fmla="*/ 221968 w 235954"/>
                  <a:gd name="connsiteY5" fmla="*/ 1329186 h 1369633"/>
                  <a:gd name="connsiteX6" fmla="*/ 150960 w 235954"/>
                  <a:gd name="connsiteY6" fmla="*/ 1365381 h 1369633"/>
                  <a:gd name="connsiteX7" fmla="*/ 5736 w 235954"/>
                  <a:gd name="connsiteY7" fmla="*/ 1267958 h 1369633"/>
                  <a:gd name="connsiteX8" fmla="*/ 0 w 235954"/>
                  <a:gd name="connsiteY8" fmla="*/ 273181 h 1369633"/>
                  <a:gd name="connsiteX9" fmla="*/ 156781 w 235954"/>
                  <a:gd name="connsiteY9" fmla="*/ 3306 h 1369633"/>
                  <a:gd name="connsiteX0" fmla="*/ 156781 w 235954"/>
                  <a:gd name="connsiteY0" fmla="*/ 3306 h 1369633"/>
                  <a:gd name="connsiteX1" fmla="*/ 209218 w 235954"/>
                  <a:gd name="connsiteY1" fmla="*/ 112526 h 1369633"/>
                  <a:gd name="connsiteX2" fmla="*/ 128121 w 235954"/>
                  <a:gd name="connsiteY2" fmla="*/ 201426 h 1369633"/>
                  <a:gd name="connsiteX3" fmla="*/ 131484 w 235954"/>
                  <a:gd name="connsiteY3" fmla="*/ 1221871 h 1369633"/>
                  <a:gd name="connsiteX4" fmla="*/ 171443 w 235954"/>
                  <a:gd name="connsiteY4" fmla="*/ 1241556 h 1369633"/>
                  <a:gd name="connsiteX5" fmla="*/ 221968 w 235954"/>
                  <a:gd name="connsiteY5" fmla="*/ 1329186 h 1369633"/>
                  <a:gd name="connsiteX6" fmla="*/ 150960 w 235954"/>
                  <a:gd name="connsiteY6" fmla="*/ 1365381 h 1369633"/>
                  <a:gd name="connsiteX7" fmla="*/ 5736 w 235954"/>
                  <a:gd name="connsiteY7" fmla="*/ 1267958 h 1369633"/>
                  <a:gd name="connsiteX8" fmla="*/ 0 w 235954"/>
                  <a:gd name="connsiteY8" fmla="*/ 273181 h 1369633"/>
                  <a:gd name="connsiteX9" fmla="*/ 156781 w 235954"/>
                  <a:gd name="connsiteY9" fmla="*/ 3306 h 1369633"/>
                  <a:gd name="connsiteX0" fmla="*/ 156781 w 235954"/>
                  <a:gd name="connsiteY0" fmla="*/ 3306 h 1369633"/>
                  <a:gd name="connsiteX1" fmla="*/ 209218 w 235954"/>
                  <a:gd name="connsiteY1" fmla="*/ 112526 h 1369633"/>
                  <a:gd name="connsiteX2" fmla="*/ 128121 w 235954"/>
                  <a:gd name="connsiteY2" fmla="*/ 201426 h 1369633"/>
                  <a:gd name="connsiteX3" fmla="*/ 131484 w 235954"/>
                  <a:gd name="connsiteY3" fmla="*/ 1221871 h 1369633"/>
                  <a:gd name="connsiteX4" fmla="*/ 171443 w 235954"/>
                  <a:gd name="connsiteY4" fmla="*/ 1241556 h 1369633"/>
                  <a:gd name="connsiteX5" fmla="*/ 221968 w 235954"/>
                  <a:gd name="connsiteY5" fmla="*/ 1329186 h 1369633"/>
                  <a:gd name="connsiteX6" fmla="*/ 150960 w 235954"/>
                  <a:gd name="connsiteY6" fmla="*/ 1365381 h 1369633"/>
                  <a:gd name="connsiteX7" fmla="*/ 5736 w 235954"/>
                  <a:gd name="connsiteY7" fmla="*/ 1267958 h 1369633"/>
                  <a:gd name="connsiteX8" fmla="*/ 0 w 235954"/>
                  <a:gd name="connsiteY8" fmla="*/ 273181 h 1369633"/>
                  <a:gd name="connsiteX9" fmla="*/ 156781 w 235954"/>
                  <a:gd name="connsiteY9" fmla="*/ 3306 h 136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5954" h="1369633">
                    <a:moveTo>
                      <a:pt x="156781" y="3306"/>
                    </a:moveTo>
                    <a:cubicBezTo>
                      <a:pt x="223375" y="-20189"/>
                      <a:pt x="260392" y="88396"/>
                      <a:pt x="209218" y="112526"/>
                    </a:cubicBezTo>
                    <a:cubicBezTo>
                      <a:pt x="172872" y="142159"/>
                      <a:pt x="120017" y="161633"/>
                      <a:pt x="128121" y="201426"/>
                    </a:cubicBezTo>
                    <a:cubicBezTo>
                      <a:pt x="130041" y="546019"/>
                      <a:pt x="129565" y="877278"/>
                      <a:pt x="131484" y="1221871"/>
                    </a:cubicBezTo>
                    <a:cubicBezTo>
                      <a:pt x="133201" y="1242826"/>
                      <a:pt x="141122" y="1249070"/>
                      <a:pt x="171443" y="1241556"/>
                    </a:cubicBezTo>
                    <a:cubicBezTo>
                      <a:pt x="251025" y="1201551"/>
                      <a:pt x="242395" y="1319661"/>
                      <a:pt x="221968" y="1329186"/>
                    </a:cubicBezTo>
                    <a:cubicBezTo>
                      <a:pt x="194137" y="1350564"/>
                      <a:pt x="176322" y="1351623"/>
                      <a:pt x="150960" y="1365381"/>
                    </a:cubicBezTo>
                    <a:cubicBezTo>
                      <a:pt x="95422" y="1383955"/>
                      <a:pt x="25131" y="1339902"/>
                      <a:pt x="5736" y="1267958"/>
                    </a:cubicBezTo>
                    <a:cubicBezTo>
                      <a:pt x="2589" y="976281"/>
                      <a:pt x="2863" y="589049"/>
                      <a:pt x="0" y="273181"/>
                    </a:cubicBezTo>
                    <a:cubicBezTo>
                      <a:pt x="2737" y="46319"/>
                      <a:pt x="101591" y="35162"/>
                      <a:pt x="156781" y="3306"/>
                    </a:cubicBezTo>
                    <a:close/>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sp>
          <p:nvSpPr>
            <p:cNvPr id="417" name="Rectangle 287">
              <a:extLst>
                <a:ext uri="{FF2B5EF4-FFF2-40B4-BE49-F238E27FC236}">
                  <a16:creationId xmlns:a16="http://schemas.microsoft.com/office/drawing/2014/main" id="{0D198D10-FDC4-48B0-AA89-3B6AD59E784D}"/>
                </a:ext>
              </a:extLst>
            </p:cNvPr>
            <p:cNvSpPr/>
            <p:nvPr/>
          </p:nvSpPr>
          <p:spPr bwMode="gray">
            <a:xfrm>
              <a:off x="8161019" y="3054355"/>
              <a:ext cx="984885" cy="698984"/>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18" name="Oval 417">
              <a:extLst>
                <a:ext uri="{FF2B5EF4-FFF2-40B4-BE49-F238E27FC236}">
                  <a16:creationId xmlns:a16="http://schemas.microsoft.com/office/drawing/2014/main" id="{9669392F-9297-407A-8479-4D3E457DDCB6}"/>
                </a:ext>
              </a:extLst>
            </p:cNvPr>
            <p:cNvSpPr>
              <a:spLocks noChangeAspect="1"/>
            </p:cNvSpPr>
            <p:nvPr/>
          </p:nvSpPr>
          <p:spPr bwMode="gray">
            <a:xfrm>
              <a:off x="8195641" y="3093788"/>
              <a:ext cx="25114" cy="25200"/>
            </a:xfrm>
            <a:prstGeom prst="ellipse">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19" name="Oval 418">
              <a:extLst>
                <a:ext uri="{FF2B5EF4-FFF2-40B4-BE49-F238E27FC236}">
                  <a16:creationId xmlns:a16="http://schemas.microsoft.com/office/drawing/2014/main" id="{BE279ABE-C6F4-40EA-91F7-1860C82541DF}"/>
                </a:ext>
              </a:extLst>
            </p:cNvPr>
            <p:cNvSpPr>
              <a:spLocks noChangeAspect="1"/>
            </p:cNvSpPr>
            <p:nvPr/>
          </p:nvSpPr>
          <p:spPr bwMode="gray">
            <a:xfrm>
              <a:off x="9067482" y="3093788"/>
              <a:ext cx="25114" cy="25200"/>
            </a:xfrm>
            <a:prstGeom prst="ellipse">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grpSp>
          <p:nvGrpSpPr>
            <p:cNvPr id="420" name="Group 419">
              <a:extLst>
                <a:ext uri="{FF2B5EF4-FFF2-40B4-BE49-F238E27FC236}">
                  <a16:creationId xmlns:a16="http://schemas.microsoft.com/office/drawing/2014/main" id="{234429BA-6030-4482-A29B-7FBC7AC8B974}"/>
                </a:ext>
              </a:extLst>
            </p:cNvPr>
            <p:cNvGrpSpPr/>
            <p:nvPr/>
          </p:nvGrpSpPr>
          <p:grpSpPr bwMode="gray">
            <a:xfrm>
              <a:off x="8399144" y="3255266"/>
              <a:ext cx="478155" cy="238446"/>
              <a:chOff x="8343901" y="3210318"/>
              <a:chExt cx="530213" cy="273869"/>
            </a:xfrm>
          </p:grpSpPr>
          <p:sp>
            <p:nvSpPr>
              <p:cNvPr id="433" name="Rectangle 432">
                <a:extLst>
                  <a:ext uri="{FF2B5EF4-FFF2-40B4-BE49-F238E27FC236}">
                    <a16:creationId xmlns:a16="http://schemas.microsoft.com/office/drawing/2014/main" id="{7A46CBE2-1CEC-4045-82CC-6EE93F0DFCF0}"/>
                  </a:ext>
                </a:extLst>
              </p:cNvPr>
              <p:cNvSpPr/>
              <p:nvPr/>
            </p:nvSpPr>
            <p:spPr bwMode="gray">
              <a:xfrm>
                <a:off x="8343901" y="3210318"/>
                <a:ext cx="530213" cy="273869"/>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34" name="Rectangle 433">
                <a:extLst>
                  <a:ext uri="{FF2B5EF4-FFF2-40B4-BE49-F238E27FC236}">
                    <a16:creationId xmlns:a16="http://schemas.microsoft.com/office/drawing/2014/main" id="{D1C09CAF-9DBD-45DB-98EA-E7E67F41DF54}"/>
                  </a:ext>
                </a:extLst>
              </p:cNvPr>
              <p:cNvSpPr/>
              <p:nvPr/>
            </p:nvSpPr>
            <p:spPr bwMode="gray">
              <a:xfrm>
                <a:off x="8427721" y="3266229"/>
                <a:ext cx="184905" cy="158237"/>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35" name="Rectangle 434">
                <a:extLst>
                  <a:ext uri="{FF2B5EF4-FFF2-40B4-BE49-F238E27FC236}">
                    <a16:creationId xmlns:a16="http://schemas.microsoft.com/office/drawing/2014/main" id="{63BFB049-EDDC-4368-9156-9928069D61FB}"/>
                  </a:ext>
                </a:extLst>
              </p:cNvPr>
              <p:cNvSpPr/>
              <p:nvPr/>
            </p:nvSpPr>
            <p:spPr bwMode="gray">
              <a:xfrm>
                <a:off x="8728963" y="3276863"/>
                <a:ext cx="37282" cy="38077"/>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36" name="Rectangle 435">
                <a:extLst>
                  <a:ext uri="{FF2B5EF4-FFF2-40B4-BE49-F238E27FC236}">
                    <a16:creationId xmlns:a16="http://schemas.microsoft.com/office/drawing/2014/main" id="{9A2CBF86-4717-448E-B4C9-8DDD7E4B4523}"/>
                  </a:ext>
                </a:extLst>
              </p:cNvPr>
              <p:cNvSpPr/>
              <p:nvPr/>
            </p:nvSpPr>
            <p:spPr bwMode="gray">
              <a:xfrm>
                <a:off x="8674997" y="3328214"/>
                <a:ext cx="37282" cy="38077"/>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37" name="Rectangle 436">
                <a:extLst>
                  <a:ext uri="{FF2B5EF4-FFF2-40B4-BE49-F238E27FC236}">
                    <a16:creationId xmlns:a16="http://schemas.microsoft.com/office/drawing/2014/main" id="{6E5B902C-56E9-41F9-A1D3-5A9A9DCE687D}"/>
                  </a:ext>
                </a:extLst>
              </p:cNvPr>
              <p:cNvSpPr/>
              <p:nvPr/>
            </p:nvSpPr>
            <p:spPr bwMode="gray">
              <a:xfrm>
                <a:off x="8728963" y="3328214"/>
                <a:ext cx="37282" cy="38077"/>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38" name="Rectangle 437">
                <a:extLst>
                  <a:ext uri="{FF2B5EF4-FFF2-40B4-BE49-F238E27FC236}">
                    <a16:creationId xmlns:a16="http://schemas.microsoft.com/office/drawing/2014/main" id="{0A6B0D5D-503A-4C56-9FC2-33C2B8D8ECCA}"/>
                  </a:ext>
                </a:extLst>
              </p:cNvPr>
              <p:cNvSpPr/>
              <p:nvPr/>
            </p:nvSpPr>
            <p:spPr bwMode="gray">
              <a:xfrm>
                <a:off x="8782931" y="3328214"/>
                <a:ext cx="37282" cy="38077"/>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39" name="Rectangle 438">
                <a:extLst>
                  <a:ext uri="{FF2B5EF4-FFF2-40B4-BE49-F238E27FC236}">
                    <a16:creationId xmlns:a16="http://schemas.microsoft.com/office/drawing/2014/main" id="{C9BBE192-98DF-4B97-9265-3FC4539FE725}"/>
                  </a:ext>
                </a:extLst>
              </p:cNvPr>
              <p:cNvSpPr/>
              <p:nvPr/>
            </p:nvSpPr>
            <p:spPr bwMode="gray">
              <a:xfrm>
                <a:off x="8728963" y="3379566"/>
                <a:ext cx="37282" cy="38077"/>
              </a:xfrm>
              <a:prstGeom prst="rect">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grpSp>
        <p:sp>
          <p:nvSpPr>
            <p:cNvPr id="421" name="Freeform: Shape 420">
              <a:extLst>
                <a:ext uri="{FF2B5EF4-FFF2-40B4-BE49-F238E27FC236}">
                  <a16:creationId xmlns:a16="http://schemas.microsoft.com/office/drawing/2014/main" id="{B82373D8-16B7-410C-8999-4AC8120AE949}"/>
                </a:ext>
              </a:extLst>
            </p:cNvPr>
            <p:cNvSpPr/>
            <p:nvPr/>
          </p:nvSpPr>
          <p:spPr bwMode="gray">
            <a:xfrm>
              <a:off x="8166450" y="3005255"/>
              <a:ext cx="1183925" cy="51151"/>
            </a:xfrm>
            <a:custGeom>
              <a:avLst/>
              <a:gdLst>
                <a:gd name="connsiteX0" fmla="*/ 1046692 w 3295567"/>
                <a:gd name="connsiteY0" fmla="*/ 0 h 283579"/>
                <a:gd name="connsiteX1" fmla="*/ 2923635 w 3295567"/>
                <a:gd name="connsiteY1" fmla="*/ 0 h 283579"/>
                <a:gd name="connsiteX2" fmla="*/ 3295567 w 3295567"/>
                <a:gd name="connsiteY2" fmla="*/ 634 h 283579"/>
                <a:gd name="connsiteX3" fmla="*/ 2947984 w 3295567"/>
                <a:gd name="connsiteY3" fmla="*/ 281675 h 283579"/>
                <a:gd name="connsiteX4" fmla="*/ 0 w 3295567"/>
                <a:gd name="connsiteY4" fmla="*/ 283579 h 283579"/>
                <a:gd name="connsiteX0" fmla="*/ 1046692 w 3295567"/>
                <a:gd name="connsiteY0" fmla="*/ 0 h 283579"/>
                <a:gd name="connsiteX1" fmla="*/ 3295567 w 3295567"/>
                <a:gd name="connsiteY1" fmla="*/ 634 h 283579"/>
                <a:gd name="connsiteX2" fmla="*/ 2947984 w 3295567"/>
                <a:gd name="connsiteY2" fmla="*/ 281675 h 283579"/>
                <a:gd name="connsiteX3" fmla="*/ 0 w 3295567"/>
                <a:gd name="connsiteY3" fmla="*/ 283579 h 283579"/>
                <a:gd name="connsiteX4" fmla="*/ 1046692 w 3295567"/>
                <a:gd name="connsiteY4" fmla="*/ 0 h 283579"/>
                <a:gd name="connsiteX0" fmla="*/ 1046692 w 3482075"/>
                <a:gd name="connsiteY0" fmla="*/ 23378 h 306957"/>
                <a:gd name="connsiteX1" fmla="*/ 3482075 w 3482075"/>
                <a:gd name="connsiteY1" fmla="*/ 0 h 306957"/>
                <a:gd name="connsiteX2" fmla="*/ 2947984 w 3482075"/>
                <a:gd name="connsiteY2" fmla="*/ 305053 h 306957"/>
                <a:gd name="connsiteX3" fmla="*/ 0 w 3482075"/>
                <a:gd name="connsiteY3" fmla="*/ 306957 h 306957"/>
                <a:gd name="connsiteX4" fmla="*/ 1046692 w 3482075"/>
                <a:gd name="connsiteY4" fmla="*/ 23378 h 306957"/>
                <a:gd name="connsiteX0" fmla="*/ 1054629 w 3482075"/>
                <a:gd name="connsiteY0" fmla="*/ 0 h 313593"/>
                <a:gd name="connsiteX1" fmla="*/ 3482075 w 3482075"/>
                <a:gd name="connsiteY1" fmla="*/ 6636 h 313593"/>
                <a:gd name="connsiteX2" fmla="*/ 2947984 w 3482075"/>
                <a:gd name="connsiteY2" fmla="*/ 311689 h 313593"/>
                <a:gd name="connsiteX3" fmla="*/ 0 w 3482075"/>
                <a:gd name="connsiteY3" fmla="*/ 313593 h 313593"/>
                <a:gd name="connsiteX4" fmla="*/ 1054629 w 3482075"/>
                <a:gd name="connsiteY4" fmla="*/ 0 h 313593"/>
                <a:gd name="connsiteX0" fmla="*/ 1137962 w 3482075"/>
                <a:gd name="connsiteY0" fmla="*/ 17375 h 306957"/>
                <a:gd name="connsiteX1" fmla="*/ 3482075 w 3482075"/>
                <a:gd name="connsiteY1" fmla="*/ 0 h 306957"/>
                <a:gd name="connsiteX2" fmla="*/ 2947984 w 3482075"/>
                <a:gd name="connsiteY2" fmla="*/ 305053 h 306957"/>
                <a:gd name="connsiteX3" fmla="*/ 0 w 3482075"/>
                <a:gd name="connsiteY3" fmla="*/ 306957 h 306957"/>
                <a:gd name="connsiteX4" fmla="*/ 1137962 w 3482075"/>
                <a:gd name="connsiteY4" fmla="*/ 17375 h 306957"/>
                <a:gd name="connsiteX0" fmla="*/ 1145898 w 3482075"/>
                <a:gd name="connsiteY0" fmla="*/ 0 h 313593"/>
                <a:gd name="connsiteX1" fmla="*/ 3482075 w 3482075"/>
                <a:gd name="connsiteY1" fmla="*/ 6636 h 313593"/>
                <a:gd name="connsiteX2" fmla="*/ 2947984 w 3482075"/>
                <a:gd name="connsiteY2" fmla="*/ 311689 h 313593"/>
                <a:gd name="connsiteX3" fmla="*/ 0 w 3482075"/>
                <a:gd name="connsiteY3" fmla="*/ 313593 h 313593"/>
                <a:gd name="connsiteX4" fmla="*/ 1145898 w 3482075"/>
                <a:gd name="connsiteY4" fmla="*/ 0 h 313593"/>
                <a:gd name="connsiteX0" fmla="*/ 1145898 w 3394773"/>
                <a:gd name="connsiteY0" fmla="*/ 5166 h 318759"/>
                <a:gd name="connsiteX1" fmla="*/ 3394773 w 3394773"/>
                <a:gd name="connsiteY1" fmla="*/ 0 h 318759"/>
                <a:gd name="connsiteX2" fmla="*/ 2947984 w 3394773"/>
                <a:gd name="connsiteY2" fmla="*/ 316855 h 318759"/>
                <a:gd name="connsiteX3" fmla="*/ 0 w 3394773"/>
                <a:gd name="connsiteY3" fmla="*/ 318759 h 318759"/>
                <a:gd name="connsiteX4" fmla="*/ 1145898 w 3394773"/>
                <a:gd name="connsiteY4" fmla="*/ 5166 h 318759"/>
                <a:gd name="connsiteX0" fmla="*/ 1145898 w 3394773"/>
                <a:gd name="connsiteY0" fmla="*/ 5166 h 318759"/>
                <a:gd name="connsiteX1" fmla="*/ 1564085 w 3394773"/>
                <a:gd name="connsiteY1" fmla="*/ 5166 h 318759"/>
                <a:gd name="connsiteX2" fmla="*/ 3394773 w 3394773"/>
                <a:gd name="connsiteY2" fmla="*/ 0 h 318759"/>
                <a:gd name="connsiteX3" fmla="*/ 2947984 w 3394773"/>
                <a:gd name="connsiteY3" fmla="*/ 316855 h 318759"/>
                <a:gd name="connsiteX4" fmla="*/ 0 w 3394773"/>
                <a:gd name="connsiteY4" fmla="*/ 318759 h 318759"/>
                <a:gd name="connsiteX5" fmla="*/ 1145898 w 3394773"/>
                <a:gd name="connsiteY5" fmla="*/ 5166 h 318759"/>
                <a:gd name="connsiteX0" fmla="*/ 0 w 3394773"/>
                <a:gd name="connsiteY0" fmla="*/ 318759 h 318759"/>
                <a:gd name="connsiteX1" fmla="*/ 1564085 w 3394773"/>
                <a:gd name="connsiteY1" fmla="*/ 5166 h 318759"/>
                <a:gd name="connsiteX2" fmla="*/ 3394773 w 3394773"/>
                <a:gd name="connsiteY2" fmla="*/ 0 h 318759"/>
                <a:gd name="connsiteX3" fmla="*/ 2947984 w 3394773"/>
                <a:gd name="connsiteY3" fmla="*/ 316855 h 318759"/>
                <a:gd name="connsiteX4" fmla="*/ 0 w 3394773"/>
                <a:gd name="connsiteY4" fmla="*/ 318759 h 318759"/>
                <a:gd name="connsiteX0" fmla="*/ 0 w 2458265"/>
                <a:gd name="connsiteY0" fmla="*/ 271557 h 316857"/>
                <a:gd name="connsiteX1" fmla="*/ 627577 w 2458265"/>
                <a:gd name="connsiteY1" fmla="*/ 5166 h 316857"/>
                <a:gd name="connsiteX2" fmla="*/ 2458265 w 2458265"/>
                <a:gd name="connsiteY2" fmla="*/ 0 h 316857"/>
                <a:gd name="connsiteX3" fmla="*/ 2011476 w 2458265"/>
                <a:gd name="connsiteY3" fmla="*/ 316855 h 316857"/>
                <a:gd name="connsiteX4" fmla="*/ 0 w 2458265"/>
                <a:gd name="connsiteY4" fmla="*/ 271557 h 316857"/>
                <a:gd name="connsiteX0" fmla="*/ 0 w 2466202"/>
                <a:gd name="connsiteY0" fmla="*/ 306958 h 316857"/>
                <a:gd name="connsiteX1" fmla="*/ 635514 w 2466202"/>
                <a:gd name="connsiteY1" fmla="*/ 5166 h 316857"/>
                <a:gd name="connsiteX2" fmla="*/ 2466202 w 2466202"/>
                <a:gd name="connsiteY2" fmla="*/ 0 h 316857"/>
                <a:gd name="connsiteX3" fmla="*/ 2019413 w 2466202"/>
                <a:gd name="connsiteY3" fmla="*/ 316855 h 316857"/>
                <a:gd name="connsiteX4" fmla="*/ 0 w 2466202"/>
                <a:gd name="connsiteY4" fmla="*/ 306958 h 316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66202" h="316857">
                  <a:moveTo>
                    <a:pt x="0" y="306958"/>
                  </a:moveTo>
                  <a:lnTo>
                    <a:pt x="635514" y="5166"/>
                  </a:lnTo>
                  <a:lnTo>
                    <a:pt x="2466202" y="0"/>
                  </a:lnTo>
                  <a:lnTo>
                    <a:pt x="2019413" y="316855"/>
                  </a:lnTo>
                  <a:lnTo>
                    <a:pt x="0" y="306958"/>
                  </a:lnTo>
                  <a:close/>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sp>
          <p:nvSpPr>
            <p:cNvPr id="422" name="Freeform: Shape 421">
              <a:extLst>
                <a:ext uri="{FF2B5EF4-FFF2-40B4-BE49-F238E27FC236}">
                  <a16:creationId xmlns:a16="http://schemas.microsoft.com/office/drawing/2014/main" id="{432A7940-C049-48F9-8194-6770A27D6889}"/>
                </a:ext>
              </a:extLst>
            </p:cNvPr>
            <p:cNvSpPr/>
            <p:nvPr/>
          </p:nvSpPr>
          <p:spPr bwMode="gray">
            <a:xfrm>
              <a:off x="9145904" y="3002740"/>
              <a:ext cx="209552" cy="970705"/>
            </a:xfrm>
            <a:custGeom>
              <a:avLst/>
              <a:gdLst>
                <a:gd name="connsiteX0" fmla="*/ 209552 w 209552"/>
                <a:gd name="connsiteY0" fmla="*/ 0 h 970705"/>
                <a:gd name="connsiteX1" fmla="*/ 209552 w 209552"/>
                <a:gd name="connsiteY1" fmla="*/ 913941 h 970705"/>
                <a:gd name="connsiteX2" fmla="*/ 137428 w 209552"/>
                <a:gd name="connsiteY2" fmla="*/ 970705 h 970705"/>
                <a:gd name="connsiteX3" fmla="*/ 139067 w 209552"/>
                <a:gd name="connsiteY3" fmla="*/ 750600 h 970705"/>
                <a:gd name="connsiteX4" fmla="*/ 2799 w 209552"/>
                <a:gd name="connsiteY4" fmla="*/ 803951 h 970705"/>
                <a:gd name="connsiteX5" fmla="*/ 2788 w 209552"/>
                <a:gd name="connsiteY5" fmla="*/ 801047 h 970705"/>
                <a:gd name="connsiteX6" fmla="*/ 137161 w 209552"/>
                <a:gd name="connsiteY6" fmla="*/ 750311 h 970705"/>
                <a:gd name="connsiteX7" fmla="*/ 2599 w 209552"/>
                <a:gd name="connsiteY7" fmla="*/ 750058 h 970705"/>
                <a:gd name="connsiteX8" fmla="*/ 0 w 209552"/>
                <a:gd name="connsiteY8" fmla="*/ 51435 h 970705"/>
                <a:gd name="connsiteX0" fmla="*/ 209552 w 209552"/>
                <a:gd name="connsiteY0" fmla="*/ 0 h 970705"/>
                <a:gd name="connsiteX1" fmla="*/ 209552 w 209552"/>
                <a:gd name="connsiteY1" fmla="*/ 913941 h 970705"/>
                <a:gd name="connsiteX2" fmla="*/ 137428 w 209552"/>
                <a:gd name="connsiteY2" fmla="*/ 970705 h 970705"/>
                <a:gd name="connsiteX3" fmla="*/ 139067 w 209552"/>
                <a:gd name="connsiteY3" fmla="*/ 750600 h 970705"/>
                <a:gd name="connsiteX4" fmla="*/ 2799 w 209552"/>
                <a:gd name="connsiteY4" fmla="*/ 803951 h 970705"/>
                <a:gd name="connsiteX5" fmla="*/ 137161 w 209552"/>
                <a:gd name="connsiteY5" fmla="*/ 750311 h 970705"/>
                <a:gd name="connsiteX6" fmla="*/ 2599 w 209552"/>
                <a:gd name="connsiteY6" fmla="*/ 750058 h 970705"/>
                <a:gd name="connsiteX7" fmla="*/ 0 w 209552"/>
                <a:gd name="connsiteY7" fmla="*/ 51435 h 970705"/>
                <a:gd name="connsiteX8" fmla="*/ 209552 w 209552"/>
                <a:gd name="connsiteY8" fmla="*/ 0 h 970705"/>
                <a:gd name="connsiteX0" fmla="*/ 209552 w 209552"/>
                <a:gd name="connsiteY0" fmla="*/ 0 h 970705"/>
                <a:gd name="connsiteX1" fmla="*/ 209552 w 209552"/>
                <a:gd name="connsiteY1" fmla="*/ 913941 h 970705"/>
                <a:gd name="connsiteX2" fmla="*/ 137428 w 209552"/>
                <a:gd name="connsiteY2" fmla="*/ 970705 h 970705"/>
                <a:gd name="connsiteX3" fmla="*/ 139067 w 209552"/>
                <a:gd name="connsiteY3" fmla="*/ 750600 h 970705"/>
                <a:gd name="connsiteX4" fmla="*/ 137161 w 209552"/>
                <a:gd name="connsiteY4" fmla="*/ 750311 h 970705"/>
                <a:gd name="connsiteX5" fmla="*/ 2599 w 209552"/>
                <a:gd name="connsiteY5" fmla="*/ 750058 h 970705"/>
                <a:gd name="connsiteX6" fmla="*/ 0 w 209552"/>
                <a:gd name="connsiteY6" fmla="*/ 51435 h 970705"/>
                <a:gd name="connsiteX7" fmla="*/ 209552 w 209552"/>
                <a:gd name="connsiteY7" fmla="*/ 0 h 970705"/>
                <a:gd name="connsiteX0" fmla="*/ 209552 w 209552"/>
                <a:gd name="connsiteY0" fmla="*/ 0 h 970705"/>
                <a:gd name="connsiteX1" fmla="*/ 209552 w 209552"/>
                <a:gd name="connsiteY1" fmla="*/ 913941 h 970705"/>
                <a:gd name="connsiteX2" fmla="*/ 137428 w 209552"/>
                <a:gd name="connsiteY2" fmla="*/ 970705 h 970705"/>
                <a:gd name="connsiteX3" fmla="*/ 139067 w 209552"/>
                <a:gd name="connsiteY3" fmla="*/ 750600 h 970705"/>
                <a:gd name="connsiteX4" fmla="*/ 2599 w 209552"/>
                <a:gd name="connsiteY4" fmla="*/ 750058 h 970705"/>
                <a:gd name="connsiteX5" fmla="*/ 0 w 209552"/>
                <a:gd name="connsiteY5" fmla="*/ 51435 h 970705"/>
                <a:gd name="connsiteX6" fmla="*/ 209552 w 209552"/>
                <a:gd name="connsiteY6" fmla="*/ 0 h 97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552" h="970705">
                  <a:moveTo>
                    <a:pt x="209552" y="0"/>
                  </a:moveTo>
                  <a:lnTo>
                    <a:pt x="209552" y="913941"/>
                  </a:lnTo>
                  <a:lnTo>
                    <a:pt x="137428" y="970705"/>
                  </a:lnTo>
                  <a:cubicBezTo>
                    <a:pt x="137974" y="897337"/>
                    <a:pt x="138521" y="823968"/>
                    <a:pt x="139067" y="750600"/>
                  </a:cubicBezTo>
                  <a:lnTo>
                    <a:pt x="2599" y="750058"/>
                  </a:lnTo>
                  <a:cubicBezTo>
                    <a:pt x="1733" y="517184"/>
                    <a:pt x="866" y="284309"/>
                    <a:pt x="0" y="51435"/>
                  </a:cubicBezTo>
                  <a:lnTo>
                    <a:pt x="209552" y="0"/>
                  </a:lnTo>
                  <a:close/>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ABBvoice"/>
                <a:ea typeface="ABBvoice"/>
                <a:cs typeface="ABBvoice"/>
              </a:endParaRPr>
            </a:p>
          </p:txBody>
        </p:sp>
        <p:grpSp>
          <p:nvGrpSpPr>
            <p:cNvPr id="423" name="Group 422">
              <a:extLst>
                <a:ext uri="{FF2B5EF4-FFF2-40B4-BE49-F238E27FC236}">
                  <a16:creationId xmlns:a16="http://schemas.microsoft.com/office/drawing/2014/main" id="{4222A6E9-ADAB-420A-9600-4A99F3DF3892}"/>
                </a:ext>
              </a:extLst>
            </p:cNvPr>
            <p:cNvGrpSpPr/>
            <p:nvPr/>
          </p:nvGrpSpPr>
          <p:grpSpPr bwMode="gray">
            <a:xfrm>
              <a:off x="9258300" y="2867104"/>
              <a:ext cx="91440" cy="138980"/>
              <a:chOff x="9258300" y="2867104"/>
              <a:chExt cx="91440" cy="138980"/>
            </a:xfrm>
          </p:grpSpPr>
          <p:sp>
            <p:nvSpPr>
              <p:cNvPr id="430" name="Freeform: Shape 429">
                <a:extLst>
                  <a:ext uri="{FF2B5EF4-FFF2-40B4-BE49-F238E27FC236}">
                    <a16:creationId xmlns:a16="http://schemas.microsoft.com/office/drawing/2014/main" id="{19392153-869F-4D2D-95A4-DFBEA07702AA}"/>
                  </a:ext>
                </a:extLst>
              </p:cNvPr>
              <p:cNvSpPr/>
              <p:nvPr/>
            </p:nvSpPr>
            <p:spPr bwMode="gray">
              <a:xfrm>
                <a:off x="9258300" y="2867104"/>
                <a:ext cx="91440" cy="138980"/>
              </a:xfrm>
              <a:custGeom>
                <a:avLst/>
                <a:gdLst>
                  <a:gd name="connsiteX0" fmla="*/ 15240 w 91440"/>
                  <a:gd name="connsiteY0" fmla="*/ 0 h 138980"/>
                  <a:gd name="connsiteX1" fmla="*/ 76200 w 91440"/>
                  <a:gd name="connsiteY1" fmla="*/ 0 h 138980"/>
                  <a:gd name="connsiteX2" fmla="*/ 91440 w 91440"/>
                  <a:gd name="connsiteY2" fmla="*/ 15240 h 138980"/>
                  <a:gd name="connsiteX3" fmla="*/ 91440 w 91440"/>
                  <a:gd name="connsiteY3" fmla="*/ 138980 h 138980"/>
                  <a:gd name="connsiteX4" fmla="*/ 0 w 91440"/>
                  <a:gd name="connsiteY4" fmla="*/ 138980 h 138980"/>
                  <a:gd name="connsiteX5" fmla="*/ 0 w 91440"/>
                  <a:gd name="connsiteY5" fmla="*/ 15240 h 138980"/>
                  <a:gd name="connsiteX6" fmla="*/ 15240 w 91440"/>
                  <a:gd name="connsiteY6" fmla="*/ 0 h 13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 h="138980">
                    <a:moveTo>
                      <a:pt x="15240" y="0"/>
                    </a:moveTo>
                    <a:lnTo>
                      <a:pt x="76200" y="0"/>
                    </a:lnTo>
                    <a:cubicBezTo>
                      <a:pt x="84617" y="0"/>
                      <a:pt x="91440" y="6823"/>
                      <a:pt x="91440" y="15240"/>
                    </a:cubicBezTo>
                    <a:lnTo>
                      <a:pt x="91440" y="138980"/>
                    </a:lnTo>
                    <a:lnTo>
                      <a:pt x="0" y="138980"/>
                    </a:lnTo>
                    <a:lnTo>
                      <a:pt x="0" y="15240"/>
                    </a:lnTo>
                    <a:cubicBezTo>
                      <a:pt x="0" y="6823"/>
                      <a:pt x="6823" y="0"/>
                      <a:pt x="15240" y="0"/>
                    </a:cubicBezTo>
                    <a:close/>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err="1">
                  <a:ln>
                    <a:noFill/>
                  </a:ln>
                  <a:solidFill>
                    <a:srgbClr val="000000"/>
                  </a:solidFill>
                  <a:effectLst/>
                  <a:uLnTx/>
                  <a:uFillTx/>
                  <a:latin typeface="ABBvoice"/>
                  <a:ea typeface="ABBvoice"/>
                  <a:cs typeface="ABBvoice"/>
                </a:endParaRPr>
              </a:p>
            </p:txBody>
          </p:sp>
          <p:sp>
            <p:nvSpPr>
              <p:cNvPr id="431" name="Freeform: Shape 430">
                <a:extLst>
                  <a:ext uri="{FF2B5EF4-FFF2-40B4-BE49-F238E27FC236}">
                    <a16:creationId xmlns:a16="http://schemas.microsoft.com/office/drawing/2014/main" id="{917E146B-1031-4100-BBEA-3725B2845622}"/>
                  </a:ext>
                </a:extLst>
              </p:cNvPr>
              <p:cNvSpPr/>
              <p:nvPr/>
            </p:nvSpPr>
            <p:spPr bwMode="gray">
              <a:xfrm flipH="1" flipV="1">
                <a:off x="9273795" y="2923136"/>
                <a:ext cx="60450" cy="71014"/>
              </a:xfrm>
              <a:custGeom>
                <a:avLst/>
                <a:gdLst>
                  <a:gd name="connsiteX0" fmla="*/ 15825 w 60450"/>
                  <a:gd name="connsiteY0" fmla="*/ 71014 h 71014"/>
                  <a:gd name="connsiteX1" fmla="*/ 15825 w 60450"/>
                  <a:gd name="connsiteY1" fmla="*/ 54486 h 71014"/>
                  <a:gd name="connsiteX2" fmla="*/ 8853 w 60450"/>
                  <a:gd name="connsiteY2" fmla="*/ 51597 h 71014"/>
                  <a:gd name="connsiteX3" fmla="*/ 0 w 60450"/>
                  <a:gd name="connsiteY3" fmla="*/ 30225 h 71014"/>
                  <a:gd name="connsiteX4" fmla="*/ 30225 w 60450"/>
                  <a:gd name="connsiteY4" fmla="*/ 0 h 71014"/>
                  <a:gd name="connsiteX5" fmla="*/ 60450 w 60450"/>
                  <a:gd name="connsiteY5" fmla="*/ 30225 h 71014"/>
                  <a:gd name="connsiteX6" fmla="*/ 51597 w 60450"/>
                  <a:gd name="connsiteY6" fmla="*/ 51597 h 71014"/>
                  <a:gd name="connsiteX7" fmla="*/ 44625 w 60450"/>
                  <a:gd name="connsiteY7" fmla="*/ 54486 h 71014"/>
                  <a:gd name="connsiteX8" fmla="*/ 44625 w 60450"/>
                  <a:gd name="connsiteY8" fmla="*/ 69436 h 71014"/>
                  <a:gd name="connsiteX9" fmla="*/ 32130 w 60450"/>
                  <a:gd name="connsiteY9" fmla="*/ 64260 h 71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450" h="71014">
                    <a:moveTo>
                      <a:pt x="15825" y="71014"/>
                    </a:moveTo>
                    <a:lnTo>
                      <a:pt x="15825" y="54486"/>
                    </a:lnTo>
                    <a:lnTo>
                      <a:pt x="8853" y="51597"/>
                    </a:lnTo>
                    <a:cubicBezTo>
                      <a:pt x="3383" y="46128"/>
                      <a:pt x="0" y="38572"/>
                      <a:pt x="0" y="30225"/>
                    </a:cubicBezTo>
                    <a:cubicBezTo>
                      <a:pt x="0" y="13532"/>
                      <a:pt x="13532" y="0"/>
                      <a:pt x="30225" y="0"/>
                    </a:cubicBezTo>
                    <a:cubicBezTo>
                      <a:pt x="46918" y="0"/>
                      <a:pt x="60450" y="13532"/>
                      <a:pt x="60450" y="30225"/>
                    </a:cubicBezTo>
                    <a:cubicBezTo>
                      <a:pt x="60450" y="38572"/>
                      <a:pt x="57067" y="46128"/>
                      <a:pt x="51597" y="51597"/>
                    </a:cubicBezTo>
                    <a:lnTo>
                      <a:pt x="44625" y="54486"/>
                    </a:lnTo>
                    <a:lnTo>
                      <a:pt x="44625" y="69436"/>
                    </a:lnTo>
                    <a:lnTo>
                      <a:pt x="32130" y="64260"/>
                    </a:lnTo>
                    <a:close/>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err="1">
                  <a:ln>
                    <a:noFill/>
                  </a:ln>
                  <a:solidFill>
                    <a:srgbClr val="000000"/>
                  </a:solidFill>
                  <a:effectLst/>
                  <a:uLnTx/>
                  <a:uFillTx/>
                  <a:latin typeface="ABBvoice"/>
                  <a:ea typeface="ABBvoice"/>
                  <a:cs typeface="ABBvoice"/>
                </a:endParaRPr>
              </a:p>
            </p:txBody>
          </p:sp>
          <p:sp>
            <p:nvSpPr>
              <p:cNvPr id="432" name="Oval 431">
                <a:extLst>
                  <a:ext uri="{FF2B5EF4-FFF2-40B4-BE49-F238E27FC236}">
                    <a16:creationId xmlns:a16="http://schemas.microsoft.com/office/drawing/2014/main" id="{B5722ACA-0A71-4A3F-921E-A11370316BE1}"/>
                  </a:ext>
                </a:extLst>
              </p:cNvPr>
              <p:cNvSpPr/>
              <p:nvPr/>
            </p:nvSpPr>
            <p:spPr bwMode="gray">
              <a:xfrm>
                <a:off x="9277350" y="2880360"/>
                <a:ext cx="49530" cy="49530"/>
              </a:xfrm>
              <a:prstGeom prst="ellipse">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err="1">
                  <a:ln>
                    <a:noFill/>
                  </a:ln>
                  <a:solidFill>
                    <a:srgbClr val="000000"/>
                  </a:solidFill>
                  <a:effectLst/>
                  <a:uLnTx/>
                  <a:uFillTx/>
                  <a:latin typeface="ABBvoice"/>
                  <a:ea typeface="ABBvoice"/>
                  <a:cs typeface="ABBvoice"/>
                </a:endParaRPr>
              </a:p>
            </p:txBody>
          </p:sp>
        </p:grpSp>
        <p:grpSp>
          <p:nvGrpSpPr>
            <p:cNvPr id="424" name="Group 423">
              <a:extLst>
                <a:ext uri="{FF2B5EF4-FFF2-40B4-BE49-F238E27FC236}">
                  <a16:creationId xmlns:a16="http://schemas.microsoft.com/office/drawing/2014/main" id="{7412CAFA-6604-458F-9530-40A75B584710}"/>
                </a:ext>
              </a:extLst>
            </p:cNvPr>
            <p:cNvGrpSpPr/>
            <p:nvPr/>
          </p:nvGrpSpPr>
          <p:grpSpPr bwMode="gray">
            <a:xfrm>
              <a:off x="8488680" y="2867104"/>
              <a:ext cx="91440" cy="138980"/>
              <a:chOff x="9258300" y="2867104"/>
              <a:chExt cx="91440" cy="138980"/>
            </a:xfrm>
          </p:grpSpPr>
          <p:sp>
            <p:nvSpPr>
              <p:cNvPr id="427" name="Freeform: Shape 426">
                <a:extLst>
                  <a:ext uri="{FF2B5EF4-FFF2-40B4-BE49-F238E27FC236}">
                    <a16:creationId xmlns:a16="http://schemas.microsoft.com/office/drawing/2014/main" id="{99A92E73-BFB7-4042-B4F8-D33AE7B66DD1}"/>
                  </a:ext>
                </a:extLst>
              </p:cNvPr>
              <p:cNvSpPr/>
              <p:nvPr/>
            </p:nvSpPr>
            <p:spPr bwMode="gray">
              <a:xfrm>
                <a:off x="9258300" y="2867104"/>
                <a:ext cx="91440" cy="138980"/>
              </a:xfrm>
              <a:custGeom>
                <a:avLst/>
                <a:gdLst>
                  <a:gd name="connsiteX0" fmla="*/ 15240 w 91440"/>
                  <a:gd name="connsiteY0" fmla="*/ 0 h 138980"/>
                  <a:gd name="connsiteX1" fmla="*/ 76200 w 91440"/>
                  <a:gd name="connsiteY1" fmla="*/ 0 h 138980"/>
                  <a:gd name="connsiteX2" fmla="*/ 91440 w 91440"/>
                  <a:gd name="connsiteY2" fmla="*/ 15240 h 138980"/>
                  <a:gd name="connsiteX3" fmla="*/ 91440 w 91440"/>
                  <a:gd name="connsiteY3" fmla="*/ 138980 h 138980"/>
                  <a:gd name="connsiteX4" fmla="*/ 0 w 91440"/>
                  <a:gd name="connsiteY4" fmla="*/ 138980 h 138980"/>
                  <a:gd name="connsiteX5" fmla="*/ 0 w 91440"/>
                  <a:gd name="connsiteY5" fmla="*/ 15240 h 138980"/>
                  <a:gd name="connsiteX6" fmla="*/ 15240 w 91440"/>
                  <a:gd name="connsiteY6" fmla="*/ 0 h 13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 h="138980">
                    <a:moveTo>
                      <a:pt x="15240" y="0"/>
                    </a:moveTo>
                    <a:lnTo>
                      <a:pt x="76200" y="0"/>
                    </a:lnTo>
                    <a:cubicBezTo>
                      <a:pt x="84617" y="0"/>
                      <a:pt x="91440" y="6823"/>
                      <a:pt x="91440" y="15240"/>
                    </a:cubicBezTo>
                    <a:lnTo>
                      <a:pt x="91440" y="138980"/>
                    </a:lnTo>
                    <a:lnTo>
                      <a:pt x="0" y="138980"/>
                    </a:lnTo>
                    <a:lnTo>
                      <a:pt x="0" y="15240"/>
                    </a:lnTo>
                    <a:cubicBezTo>
                      <a:pt x="0" y="6823"/>
                      <a:pt x="6823" y="0"/>
                      <a:pt x="15240" y="0"/>
                    </a:cubicBezTo>
                    <a:close/>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err="1">
                  <a:ln>
                    <a:noFill/>
                  </a:ln>
                  <a:solidFill>
                    <a:srgbClr val="000000"/>
                  </a:solidFill>
                  <a:effectLst/>
                  <a:uLnTx/>
                  <a:uFillTx/>
                  <a:latin typeface="ABBvoice"/>
                  <a:ea typeface="ABBvoice"/>
                  <a:cs typeface="ABBvoice"/>
                </a:endParaRPr>
              </a:p>
            </p:txBody>
          </p:sp>
          <p:sp>
            <p:nvSpPr>
              <p:cNvPr id="428" name="Freeform: Shape 427">
                <a:extLst>
                  <a:ext uri="{FF2B5EF4-FFF2-40B4-BE49-F238E27FC236}">
                    <a16:creationId xmlns:a16="http://schemas.microsoft.com/office/drawing/2014/main" id="{6789CE0A-C8FE-4300-A0CA-9646AC0FE302}"/>
                  </a:ext>
                </a:extLst>
              </p:cNvPr>
              <p:cNvSpPr/>
              <p:nvPr/>
            </p:nvSpPr>
            <p:spPr bwMode="gray">
              <a:xfrm flipH="1" flipV="1">
                <a:off x="9273795" y="2923136"/>
                <a:ext cx="60450" cy="71014"/>
              </a:xfrm>
              <a:custGeom>
                <a:avLst/>
                <a:gdLst>
                  <a:gd name="connsiteX0" fmla="*/ 15825 w 60450"/>
                  <a:gd name="connsiteY0" fmla="*/ 71014 h 71014"/>
                  <a:gd name="connsiteX1" fmla="*/ 15825 w 60450"/>
                  <a:gd name="connsiteY1" fmla="*/ 54486 h 71014"/>
                  <a:gd name="connsiteX2" fmla="*/ 8853 w 60450"/>
                  <a:gd name="connsiteY2" fmla="*/ 51597 h 71014"/>
                  <a:gd name="connsiteX3" fmla="*/ 0 w 60450"/>
                  <a:gd name="connsiteY3" fmla="*/ 30225 h 71014"/>
                  <a:gd name="connsiteX4" fmla="*/ 30225 w 60450"/>
                  <a:gd name="connsiteY4" fmla="*/ 0 h 71014"/>
                  <a:gd name="connsiteX5" fmla="*/ 60450 w 60450"/>
                  <a:gd name="connsiteY5" fmla="*/ 30225 h 71014"/>
                  <a:gd name="connsiteX6" fmla="*/ 51597 w 60450"/>
                  <a:gd name="connsiteY6" fmla="*/ 51597 h 71014"/>
                  <a:gd name="connsiteX7" fmla="*/ 44625 w 60450"/>
                  <a:gd name="connsiteY7" fmla="*/ 54486 h 71014"/>
                  <a:gd name="connsiteX8" fmla="*/ 44625 w 60450"/>
                  <a:gd name="connsiteY8" fmla="*/ 69436 h 71014"/>
                  <a:gd name="connsiteX9" fmla="*/ 32130 w 60450"/>
                  <a:gd name="connsiteY9" fmla="*/ 64260 h 71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450" h="71014">
                    <a:moveTo>
                      <a:pt x="15825" y="71014"/>
                    </a:moveTo>
                    <a:lnTo>
                      <a:pt x="15825" y="54486"/>
                    </a:lnTo>
                    <a:lnTo>
                      <a:pt x="8853" y="51597"/>
                    </a:lnTo>
                    <a:cubicBezTo>
                      <a:pt x="3383" y="46128"/>
                      <a:pt x="0" y="38572"/>
                      <a:pt x="0" y="30225"/>
                    </a:cubicBezTo>
                    <a:cubicBezTo>
                      <a:pt x="0" y="13532"/>
                      <a:pt x="13532" y="0"/>
                      <a:pt x="30225" y="0"/>
                    </a:cubicBezTo>
                    <a:cubicBezTo>
                      <a:pt x="46918" y="0"/>
                      <a:pt x="60450" y="13532"/>
                      <a:pt x="60450" y="30225"/>
                    </a:cubicBezTo>
                    <a:cubicBezTo>
                      <a:pt x="60450" y="38572"/>
                      <a:pt x="57067" y="46128"/>
                      <a:pt x="51597" y="51597"/>
                    </a:cubicBezTo>
                    <a:lnTo>
                      <a:pt x="44625" y="54486"/>
                    </a:lnTo>
                    <a:lnTo>
                      <a:pt x="44625" y="69436"/>
                    </a:lnTo>
                    <a:lnTo>
                      <a:pt x="32130" y="64260"/>
                    </a:lnTo>
                    <a:close/>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err="1">
                  <a:ln>
                    <a:noFill/>
                  </a:ln>
                  <a:solidFill>
                    <a:srgbClr val="000000"/>
                  </a:solidFill>
                  <a:effectLst/>
                  <a:uLnTx/>
                  <a:uFillTx/>
                  <a:latin typeface="ABBvoice"/>
                  <a:ea typeface="ABBvoice"/>
                  <a:cs typeface="ABBvoice"/>
                </a:endParaRPr>
              </a:p>
            </p:txBody>
          </p:sp>
          <p:sp>
            <p:nvSpPr>
              <p:cNvPr id="429" name="Oval 428">
                <a:extLst>
                  <a:ext uri="{FF2B5EF4-FFF2-40B4-BE49-F238E27FC236}">
                    <a16:creationId xmlns:a16="http://schemas.microsoft.com/office/drawing/2014/main" id="{04277278-8AD1-4D05-8F83-82C0791C6CEC}"/>
                  </a:ext>
                </a:extLst>
              </p:cNvPr>
              <p:cNvSpPr/>
              <p:nvPr/>
            </p:nvSpPr>
            <p:spPr bwMode="gray">
              <a:xfrm>
                <a:off x="9277350" y="2880360"/>
                <a:ext cx="49530" cy="49530"/>
              </a:xfrm>
              <a:prstGeom prst="ellipse">
                <a:avLst/>
              </a:pr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err="1">
                  <a:ln>
                    <a:noFill/>
                  </a:ln>
                  <a:solidFill>
                    <a:srgbClr val="000000"/>
                  </a:solidFill>
                  <a:effectLst/>
                  <a:uLnTx/>
                  <a:uFillTx/>
                  <a:latin typeface="ABBvoice"/>
                  <a:ea typeface="ABBvoice"/>
                  <a:cs typeface="ABBvoice"/>
                </a:endParaRPr>
              </a:p>
            </p:txBody>
          </p:sp>
        </p:grpSp>
        <p:sp>
          <p:nvSpPr>
            <p:cNvPr id="425" name="Freeform: Shape 424">
              <a:extLst>
                <a:ext uri="{FF2B5EF4-FFF2-40B4-BE49-F238E27FC236}">
                  <a16:creationId xmlns:a16="http://schemas.microsoft.com/office/drawing/2014/main" id="{40F185A9-8531-43DD-998C-1870AEF64971}"/>
                </a:ext>
              </a:extLst>
            </p:cNvPr>
            <p:cNvSpPr/>
            <p:nvPr/>
          </p:nvSpPr>
          <p:spPr bwMode="gray">
            <a:xfrm>
              <a:off x="7619493" y="3951836"/>
              <a:ext cx="17652" cy="43142"/>
            </a:xfrm>
            <a:custGeom>
              <a:avLst/>
              <a:gdLst>
                <a:gd name="connsiteX0" fmla="*/ 0 w 17652"/>
                <a:gd name="connsiteY0" fmla="*/ 0 h 43142"/>
                <a:gd name="connsiteX1" fmla="*/ 10523 w 17652"/>
                <a:gd name="connsiteY1" fmla="*/ 4359 h 43142"/>
                <a:gd name="connsiteX2" fmla="*/ 17652 w 17652"/>
                <a:gd name="connsiteY2" fmla="*/ 21571 h 43142"/>
                <a:gd name="connsiteX3" fmla="*/ 10523 w 17652"/>
                <a:gd name="connsiteY3" fmla="*/ 38784 h 43142"/>
                <a:gd name="connsiteX4" fmla="*/ 0 w 17652"/>
                <a:gd name="connsiteY4" fmla="*/ 43142 h 43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52" h="43142">
                  <a:moveTo>
                    <a:pt x="0" y="0"/>
                  </a:moveTo>
                  <a:lnTo>
                    <a:pt x="10523" y="4359"/>
                  </a:lnTo>
                  <a:cubicBezTo>
                    <a:pt x="14928" y="8764"/>
                    <a:pt x="17652" y="14849"/>
                    <a:pt x="17652" y="21571"/>
                  </a:cubicBezTo>
                  <a:cubicBezTo>
                    <a:pt x="17652" y="28293"/>
                    <a:pt x="14928" y="34379"/>
                    <a:pt x="10523" y="38784"/>
                  </a:cubicBezTo>
                  <a:lnTo>
                    <a:pt x="0" y="43142"/>
                  </a:lnTo>
                  <a:close/>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err="1">
                <a:ln>
                  <a:noFill/>
                </a:ln>
                <a:solidFill>
                  <a:srgbClr val="000000"/>
                </a:solidFill>
                <a:effectLst/>
                <a:uLnTx/>
                <a:uFillTx/>
                <a:latin typeface="ABBvoice"/>
                <a:ea typeface="ABBvoice"/>
                <a:cs typeface="ABBvoice"/>
              </a:endParaRPr>
            </a:p>
          </p:txBody>
        </p:sp>
        <p:sp>
          <p:nvSpPr>
            <p:cNvPr id="426" name="Freeform: Shape 425">
              <a:extLst>
                <a:ext uri="{FF2B5EF4-FFF2-40B4-BE49-F238E27FC236}">
                  <a16:creationId xmlns:a16="http://schemas.microsoft.com/office/drawing/2014/main" id="{9CF7FED8-22FD-4195-BE10-81200CF48C94}"/>
                </a:ext>
              </a:extLst>
            </p:cNvPr>
            <p:cNvSpPr/>
            <p:nvPr/>
          </p:nvSpPr>
          <p:spPr bwMode="gray">
            <a:xfrm>
              <a:off x="7619493" y="4151861"/>
              <a:ext cx="17652" cy="43142"/>
            </a:xfrm>
            <a:custGeom>
              <a:avLst/>
              <a:gdLst>
                <a:gd name="connsiteX0" fmla="*/ 0 w 17652"/>
                <a:gd name="connsiteY0" fmla="*/ 0 h 43142"/>
                <a:gd name="connsiteX1" fmla="*/ 10523 w 17652"/>
                <a:gd name="connsiteY1" fmla="*/ 4359 h 43142"/>
                <a:gd name="connsiteX2" fmla="*/ 17652 w 17652"/>
                <a:gd name="connsiteY2" fmla="*/ 21571 h 43142"/>
                <a:gd name="connsiteX3" fmla="*/ 10523 w 17652"/>
                <a:gd name="connsiteY3" fmla="*/ 38784 h 43142"/>
                <a:gd name="connsiteX4" fmla="*/ 0 w 17652"/>
                <a:gd name="connsiteY4" fmla="*/ 43142 h 431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52" h="43142">
                  <a:moveTo>
                    <a:pt x="0" y="0"/>
                  </a:moveTo>
                  <a:lnTo>
                    <a:pt x="10523" y="4359"/>
                  </a:lnTo>
                  <a:cubicBezTo>
                    <a:pt x="14928" y="8764"/>
                    <a:pt x="17652" y="14849"/>
                    <a:pt x="17652" y="21571"/>
                  </a:cubicBezTo>
                  <a:cubicBezTo>
                    <a:pt x="17652" y="28293"/>
                    <a:pt x="14928" y="34379"/>
                    <a:pt x="10523" y="38784"/>
                  </a:cubicBezTo>
                  <a:lnTo>
                    <a:pt x="0" y="43142"/>
                  </a:lnTo>
                  <a:close/>
                </a:path>
              </a:pathLst>
            </a:custGeom>
            <a:noFill/>
            <a:ln w="1270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dirty="0" err="1">
                <a:ln>
                  <a:noFill/>
                </a:ln>
                <a:solidFill>
                  <a:srgbClr val="000000"/>
                </a:solidFill>
                <a:effectLst/>
                <a:uLnTx/>
                <a:uFillTx/>
                <a:latin typeface="ABBvoice"/>
                <a:ea typeface="ABBvoice"/>
                <a:cs typeface="ABBvoice"/>
              </a:endParaRPr>
            </a:p>
          </p:txBody>
        </p:sp>
      </p:grpSp>
      <p:sp>
        <p:nvSpPr>
          <p:cNvPr id="3" name="Title 2">
            <a:extLst>
              <a:ext uri="{FF2B5EF4-FFF2-40B4-BE49-F238E27FC236}">
                <a16:creationId xmlns:a16="http://schemas.microsoft.com/office/drawing/2014/main" id="{C4F078F9-3250-49D9-B1B9-06FCBC75F755}"/>
              </a:ext>
            </a:extLst>
          </p:cNvPr>
          <p:cNvSpPr>
            <a:spLocks noGrp="1"/>
          </p:cNvSpPr>
          <p:nvPr>
            <p:ph type="title"/>
          </p:nvPr>
        </p:nvSpPr>
        <p:spPr bwMode="gray">
          <a:xfrm>
            <a:off x="333264" y="682313"/>
            <a:ext cx="11520000" cy="396000"/>
          </a:xfrm>
        </p:spPr>
        <p:txBody>
          <a:bodyPr/>
          <a:lstStyle/>
          <a:p>
            <a:r>
              <a:rPr lang="de-DE" dirty="0" err="1"/>
              <a:t>EasyLine</a:t>
            </a:r>
            <a:r>
              <a:rPr lang="de-DE" dirty="0"/>
              <a:t> </a:t>
            </a:r>
            <a:r>
              <a:rPr lang="de-DE" dirty="0" err="1"/>
              <a:t>combinations</a:t>
            </a:r>
            <a:endParaRPr lang="en-US" dirty="0"/>
          </a:p>
        </p:txBody>
      </p:sp>
      <p:grpSp>
        <p:nvGrpSpPr>
          <p:cNvPr id="144" name="Group 143">
            <a:extLst>
              <a:ext uri="{FF2B5EF4-FFF2-40B4-BE49-F238E27FC236}">
                <a16:creationId xmlns:a16="http://schemas.microsoft.com/office/drawing/2014/main" id="{979E55AF-B5F2-4BE8-B55C-9537EE06F782}"/>
              </a:ext>
            </a:extLst>
          </p:cNvPr>
          <p:cNvGrpSpPr/>
          <p:nvPr/>
        </p:nvGrpSpPr>
        <p:grpSpPr bwMode="gray">
          <a:xfrm>
            <a:off x="343488" y="1935174"/>
            <a:ext cx="420420" cy="420418"/>
            <a:chOff x="-6032403" y="1784315"/>
            <a:chExt cx="527455" cy="527453"/>
          </a:xfrm>
          <a:solidFill>
            <a:schemeClr val="tx2"/>
          </a:solidFill>
        </p:grpSpPr>
        <p:sp>
          <p:nvSpPr>
            <p:cNvPr id="255" name="Oval 254">
              <a:extLst>
                <a:ext uri="{FF2B5EF4-FFF2-40B4-BE49-F238E27FC236}">
                  <a16:creationId xmlns:a16="http://schemas.microsoft.com/office/drawing/2014/main" id="{175FE7D4-E26E-4469-AB22-034F9847E16E}"/>
                </a:ext>
              </a:extLst>
            </p:cNvPr>
            <p:cNvSpPr/>
            <p:nvPr/>
          </p:nvSpPr>
          <p:spPr bwMode="gray">
            <a:xfrm>
              <a:off x="-6032403" y="1784315"/>
              <a:ext cx="527455" cy="52745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257" name="Group 256">
              <a:extLst>
                <a:ext uri="{FF2B5EF4-FFF2-40B4-BE49-F238E27FC236}">
                  <a16:creationId xmlns:a16="http://schemas.microsoft.com/office/drawing/2014/main" id="{68A2CB52-CA35-48F7-B753-DB29A85AF60C}"/>
                </a:ext>
              </a:extLst>
            </p:cNvPr>
            <p:cNvGrpSpPr/>
            <p:nvPr/>
          </p:nvGrpSpPr>
          <p:grpSpPr bwMode="gray">
            <a:xfrm>
              <a:off x="-5926001" y="1880186"/>
              <a:ext cx="355291" cy="335706"/>
              <a:chOff x="-640260" y="1957916"/>
              <a:chExt cx="355290" cy="335706"/>
            </a:xfrm>
            <a:grpFill/>
          </p:grpSpPr>
          <p:sp>
            <p:nvSpPr>
              <p:cNvPr id="258" name="Rectangle 17">
                <a:extLst>
                  <a:ext uri="{FF2B5EF4-FFF2-40B4-BE49-F238E27FC236}">
                    <a16:creationId xmlns:a16="http://schemas.microsoft.com/office/drawing/2014/main" id="{D6642B77-EBD3-4C76-941C-CCC04A39EA09}"/>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59" name="Rectangle 16">
                <a:extLst>
                  <a:ext uri="{FF2B5EF4-FFF2-40B4-BE49-F238E27FC236}">
                    <a16:creationId xmlns:a16="http://schemas.microsoft.com/office/drawing/2014/main" id="{007583B8-A602-4185-A697-A015766EF0AC}"/>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260" name="Straight Connector 259">
                <a:extLst>
                  <a:ext uri="{FF2B5EF4-FFF2-40B4-BE49-F238E27FC236}">
                    <a16:creationId xmlns:a16="http://schemas.microsoft.com/office/drawing/2014/main" id="{194D18F6-982E-427D-9589-15F73B84AC55}"/>
                  </a:ext>
                </a:extLst>
              </p:cNvPr>
              <p:cNvCxnSpPr/>
              <p:nvPr/>
            </p:nvCxnSpPr>
            <p:spPr bwMode="gray">
              <a:xfrm rot="5400000" flipH="1">
                <a:off x="-481603" y="1981616"/>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61" name="Straight Connector 260">
                <a:extLst>
                  <a:ext uri="{FF2B5EF4-FFF2-40B4-BE49-F238E27FC236}">
                    <a16:creationId xmlns:a16="http://schemas.microsoft.com/office/drawing/2014/main" id="{C914EAA6-DD90-4AAC-ACAD-8B3E233B1B76}"/>
                  </a:ext>
                </a:extLst>
              </p:cNvPr>
              <p:cNvCxnSpPr/>
              <p:nvPr/>
            </p:nvCxnSpPr>
            <p:spPr bwMode="gray">
              <a:xfrm rot="5400000" flipH="1">
                <a:off x="-481603" y="2269922"/>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62" name="Straight Connector 261">
                <a:extLst>
                  <a:ext uri="{FF2B5EF4-FFF2-40B4-BE49-F238E27FC236}">
                    <a16:creationId xmlns:a16="http://schemas.microsoft.com/office/drawing/2014/main" id="{5176B2AE-2B42-4774-8911-5316B0B72213}"/>
                  </a:ext>
                </a:extLst>
              </p:cNvPr>
              <p:cNvCxnSpPr/>
              <p:nvPr/>
            </p:nvCxnSpPr>
            <p:spPr bwMode="gray">
              <a:xfrm rot="2503489" flipH="1">
                <a:off x="-370223" y="2225091"/>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63" name="Straight Connector 262">
                <a:extLst>
                  <a:ext uri="{FF2B5EF4-FFF2-40B4-BE49-F238E27FC236}">
                    <a16:creationId xmlns:a16="http://schemas.microsoft.com/office/drawing/2014/main" id="{0A9A6AE1-35CD-4752-AA8C-DAB0E0DD15B8}"/>
                  </a:ext>
                </a:extLst>
              </p:cNvPr>
              <p:cNvCxnSpPr/>
              <p:nvPr/>
            </p:nvCxnSpPr>
            <p:spPr bwMode="gray">
              <a:xfrm rot="8296511">
                <a:off x="-370223" y="2026447"/>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264" name="Straight Connector 263">
                <a:extLst>
                  <a:ext uri="{FF2B5EF4-FFF2-40B4-BE49-F238E27FC236}">
                    <a16:creationId xmlns:a16="http://schemas.microsoft.com/office/drawing/2014/main" id="{9F3B4400-2415-4053-9756-D8B55E8E97BB}"/>
                  </a:ext>
                </a:extLst>
              </p:cNvPr>
              <p:cNvCxnSpPr/>
              <p:nvPr/>
            </p:nvCxnSpPr>
            <p:spPr bwMode="gray">
              <a:xfrm rot="10800000">
                <a:off x="-332370" y="2125769"/>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nvGrpSpPr>
              <p:cNvPr id="265" name="Group 264">
                <a:extLst>
                  <a:ext uri="{FF2B5EF4-FFF2-40B4-BE49-F238E27FC236}">
                    <a16:creationId xmlns:a16="http://schemas.microsoft.com/office/drawing/2014/main" id="{C185D18B-A80A-448A-AD1B-16895BCDBB0D}"/>
                  </a:ext>
                </a:extLst>
              </p:cNvPr>
              <p:cNvGrpSpPr/>
              <p:nvPr/>
            </p:nvGrpSpPr>
            <p:grpSpPr bwMode="gray">
              <a:xfrm>
                <a:off x="-507951" y="2091078"/>
                <a:ext cx="84957" cy="65573"/>
                <a:chOff x="-2412348" y="2137408"/>
                <a:chExt cx="717156" cy="553527"/>
              </a:xfrm>
              <a:grpFill/>
            </p:grpSpPr>
            <p:sp>
              <p:nvSpPr>
                <p:cNvPr id="266" name="Parallelogram 1029">
                  <a:extLst>
                    <a:ext uri="{FF2B5EF4-FFF2-40B4-BE49-F238E27FC236}">
                      <a16:creationId xmlns:a16="http://schemas.microsoft.com/office/drawing/2014/main" id="{D512632E-BB3E-4B3D-9178-AEE0288BEB61}"/>
                    </a:ext>
                  </a:extLst>
                </p:cNvPr>
                <p:cNvSpPr/>
                <p:nvPr/>
              </p:nvSpPr>
              <p:spPr bwMode="gray">
                <a:xfrm flipH="1">
                  <a:off x="-2128068" y="2137408"/>
                  <a:ext cx="432876"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67" name="Rectangle 266">
                  <a:extLst>
                    <a:ext uri="{FF2B5EF4-FFF2-40B4-BE49-F238E27FC236}">
                      <a16:creationId xmlns:a16="http://schemas.microsoft.com/office/drawing/2014/main" id="{CE6E4ABA-AE69-44CE-AFD6-2EDE8A53C123}"/>
                    </a:ext>
                  </a:extLst>
                </p:cNvPr>
                <p:cNvSpPr/>
                <p:nvPr/>
              </p:nvSpPr>
              <p:spPr bwMode="gray">
                <a:xfrm>
                  <a:off x="-2412348" y="2137408"/>
                  <a:ext cx="83823" cy="553527"/>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grpSp>
        <p:nvGrpSpPr>
          <p:cNvPr id="396" name="Group 395">
            <a:extLst>
              <a:ext uri="{FF2B5EF4-FFF2-40B4-BE49-F238E27FC236}">
                <a16:creationId xmlns:a16="http://schemas.microsoft.com/office/drawing/2014/main" id="{B78E7B52-8CD4-4F53-ACCA-89D3B6CE0C62}"/>
              </a:ext>
            </a:extLst>
          </p:cNvPr>
          <p:cNvGrpSpPr/>
          <p:nvPr/>
        </p:nvGrpSpPr>
        <p:grpSpPr bwMode="gray">
          <a:xfrm>
            <a:off x="932839" y="1935174"/>
            <a:ext cx="420420" cy="420420"/>
            <a:chOff x="-4803276" y="1800676"/>
            <a:chExt cx="527454" cy="527453"/>
          </a:xfrm>
          <a:solidFill>
            <a:schemeClr val="tx2"/>
          </a:solidFill>
        </p:grpSpPr>
        <p:sp>
          <p:nvSpPr>
            <p:cNvPr id="268" name="Oval 267">
              <a:extLst>
                <a:ext uri="{FF2B5EF4-FFF2-40B4-BE49-F238E27FC236}">
                  <a16:creationId xmlns:a16="http://schemas.microsoft.com/office/drawing/2014/main" id="{4D112DD0-CA21-4268-B0D5-BF9DBC1393F3}"/>
                </a:ext>
              </a:extLst>
            </p:cNvPr>
            <p:cNvSpPr/>
            <p:nvPr/>
          </p:nvSpPr>
          <p:spPr bwMode="gray">
            <a:xfrm rot="16200000">
              <a:off x="-4803276" y="1800676"/>
              <a:ext cx="527453" cy="52745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270" name="Group 269">
              <a:extLst>
                <a:ext uri="{FF2B5EF4-FFF2-40B4-BE49-F238E27FC236}">
                  <a16:creationId xmlns:a16="http://schemas.microsoft.com/office/drawing/2014/main" id="{30EEAB9E-C25C-41E7-A4DF-76FFBE534FDC}"/>
                </a:ext>
              </a:extLst>
            </p:cNvPr>
            <p:cNvGrpSpPr/>
            <p:nvPr/>
          </p:nvGrpSpPr>
          <p:grpSpPr bwMode="gray">
            <a:xfrm>
              <a:off x="-4751236" y="1999221"/>
              <a:ext cx="423358" cy="130374"/>
              <a:chOff x="5561561" y="3580012"/>
              <a:chExt cx="1068879" cy="329166"/>
            </a:xfrm>
            <a:grpFill/>
          </p:grpSpPr>
          <p:sp>
            <p:nvSpPr>
              <p:cNvPr id="271" name="Oval 270">
                <a:extLst>
                  <a:ext uri="{FF2B5EF4-FFF2-40B4-BE49-F238E27FC236}">
                    <a16:creationId xmlns:a16="http://schemas.microsoft.com/office/drawing/2014/main" id="{75B3C799-D8D5-415A-BD9C-CBD8CCE5271A}"/>
                  </a:ext>
                </a:extLst>
              </p:cNvPr>
              <p:cNvSpPr/>
              <p:nvPr/>
            </p:nvSpPr>
            <p:spPr bwMode="gray">
              <a:xfrm>
                <a:off x="5561561" y="3580012"/>
                <a:ext cx="329166" cy="329166"/>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72" name="Oval 271">
                <a:extLst>
                  <a:ext uri="{FF2B5EF4-FFF2-40B4-BE49-F238E27FC236}">
                    <a16:creationId xmlns:a16="http://schemas.microsoft.com/office/drawing/2014/main" id="{5807537A-7104-400F-BEFF-A0EB20B027E6}"/>
                  </a:ext>
                </a:extLst>
              </p:cNvPr>
              <p:cNvSpPr/>
              <p:nvPr/>
            </p:nvSpPr>
            <p:spPr bwMode="gray">
              <a:xfrm>
                <a:off x="6301274" y="3580012"/>
                <a:ext cx="329166" cy="329166"/>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273" name="Straight Connector 272">
                <a:extLst>
                  <a:ext uri="{FF2B5EF4-FFF2-40B4-BE49-F238E27FC236}">
                    <a16:creationId xmlns:a16="http://schemas.microsoft.com/office/drawing/2014/main" id="{1C47F4D2-90FD-4D05-AFD8-87919645D288}"/>
                  </a:ext>
                </a:extLst>
              </p:cNvPr>
              <p:cNvCxnSpPr>
                <a:stCxn id="271" idx="6"/>
                <a:endCxn id="272" idx="2"/>
              </p:cNvCxnSpPr>
              <p:nvPr/>
            </p:nvCxnSpPr>
            <p:spPr bwMode="gray">
              <a:xfrm>
                <a:off x="5890727" y="3744595"/>
                <a:ext cx="410547"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62ABB0B9-A664-4084-8D73-2B49C004A5D4}"/>
                  </a:ext>
                </a:extLst>
              </p:cNvPr>
              <p:cNvCxnSpPr/>
              <p:nvPr/>
            </p:nvCxnSpPr>
            <p:spPr bwMode="gray">
              <a:xfrm>
                <a:off x="6062617" y="3669857"/>
                <a:ext cx="66766" cy="149477"/>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39" name="Group 138">
            <a:extLst>
              <a:ext uri="{FF2B5EF4-FFF2-40B4-BE49-F238E27FC236}">
                <a16:creationId xmlns:a16="http://schemas.microsoft.com/office/drawing/2014/main" id="{65418DF6-7CB1-4CBA-BEE6-8FE3F3DFA6F6}"/>
              </a:ext>
            </a:extLst>
          </p:cNvPr>
          <p:cNvGrpSpPr/>
          <p:nvPr/>
        </p:nvGrpSpPr>
        <p:grpSpPr bwMode="gray">
          <a:xfrm>
            <a:off x="931441" y="4069319"/>
            <a:ext cx="421812" cy="421812"/>
            <a:chOff x="4051119" y="4012111"/>
            <a:chExt cx="421812" cy="421812"/>
          </a:xfrm>
          <a:solidFill>
            <a:schemeClr val="tx2"/>
          </a:solidFill>
        </p:grpSpPr>
        <p:sp>
          <p:nvSpPr>
            <p:cNvPr id="302" name="Rechteck 91">
              <a:extLst>
                <a:ext uri="{FF2B5EF4-FFF2-40B4-BE49-F238E27FC236}">
                  <a16:creationId xmlns:a16="http://schemas.microsoft.com/office/drawing/2014/main" id="{20317F04-2C0A-478F-BF46-EEBFCF70F28D}"/>
                </a:ext>
              </a:extLst>
            </p:cNvPr>
            <p:cNvSpPr/>
            <p:nvPr/>
          </p:nvSpPr>
          <p:spPr bwMode="gray">
            <a:xfrm>
              <a:off x="4051119" y="4012111"/>
              <a:ext cx="421812" cy="421812"/>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90000"/>
                </a:lnSpc>
                <a:spcBef>
                  <a:spcPts val="1100"/>
                </a:spcBef>
                <a:spcAft>
                  <a:spcPts val="0"/>
                </a:spcAft>
                <a:buClr>
                  <a:srgbClr val="002897"/>
                </a:buClr>
                <a:buSzPct val="70000"/>
                <a:buFontTx/>
                <a:buNone/>
                <a:tabLst/>
                <a:defRPr/>
              </a:pPr>
              <a:endParaRPr kumimoji="0" lang="en-US" sz="1000" b="1"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303" name="Rectangle 77">
              <a:extLst>
                <a:ext uri="{FF2B5EF4-FFF2-40B4-BE49-F238E27FC236}">
                  <a16:creationId xmlns:a16="http://schemas.microsoft.com/office/drawing/2014/main" id="{CF3FFF1A-A1FB-4736-B8CF-5877C16AE274}"/>
                </a:ext>
              </a:extLst>
            </p:cNvPr>
            <p:cNvSpPr/>
            <p:nvPr/>
          </p:nvSpPr>
          <p:spPr bwMode="gray">
            <a:xfrm>
              <a:off x="4073178" y="4165550"/>
              <a:ext cx="377694" cy="193053"/>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nvGrpSpPr>
          <p:cNvPr id="145" name="Group 144">
            <a:extLst>
              <a:ext uri="{FF2B5EF4-FFF2-40B4-BE49-F238E27FC236}">
                <a16:creationId xmlns:a16="http://schemas.microsoft.com/office/drawing/2014/main" id="{8ED6D988-202E-419B-ACD7-A84E61C90009}"/>
              </a:ext>
            </a:extLst>
          </p:cNvPr>
          <p:cNvGrpSpPr/>
          <p:nvPr/>
        </p:nvGrpSpPr>
        <p:grpSpPr bwMode="gray">
          <a:xfrm>
            <a:off x="10830826" y="1933106"/>
            <a:ext cx="420420" cy="420420"/>
            <a:chOff x="-2073284" y="1800682"/>
            <a:chExt cx="527454" cy="527454"/>
          </a:xfrm>
          <a:solidFill>
            <a:schemeClr val="tx2"/>
          </a:solidFill>
        </p:grpSpPr>
        <p:sp>
          <p:nvSpPr>
            <p:cNvPr id="340" name="Oval 339">
              <a:extLst>
                <a:ext uri="{FF2B5EF4-FFF2-40B4-BE49-F238E27FC236}">
                  <a16:creationId xmlns:a16="http://schemas.microsoft.com/office/drawing/2014/main" id="{7EDE958C-BA46-4CE1-972E-38856F187CB3}"/>
                </a:ext>
              </a:extLst>
            </p:cNvPr>
            <p:cNvSpPr/>
            <p:nvPr/>
          </p:nvSpPr>
          <p:spPr bwMode="gray">
            <a:xfrm rot="16200000">
              <a:off x="-2073284" y="1800682"/>
              <a:ext cx="527454" cy="52745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342" name="Group 341">
              <a:extLst>
                <a:ext uri="{FF2B5EF4-FFF2-40B4-BE49-F238E27FC236}">
                  <a16:creationId xmlns:a16="http://schemas.microsoft.com/office/drawing/2014/main" id="{1CDE00BE-E7AF-424C-A098-6E3BFB4EC945}"/>
                </a:ext>
              </a:extLst>
            </p:cNvPr>
            <p:cNvGrpSpPr/>
            <p:nvPr/>
          </p:nvGrpSpPr>
          <p:grpSpPr bwMode="gray">
            <a:xfrm>
              <a:off x="-1966883" y="1896556"/>
              <a:ext cx="355290" cy="335706"/>
              <a:chOff x="-1383434" y="2706826"/>
              <a:chExt cx="355290" cy="335706"/>
            </a:xfrm>
            <a:grpFill/>
          </p:grpSpPr>
          <p:grpSp>
            <p:nvGrpSpPr>
              <p:cNvPr id="343" name="Group 342">
                <a:extLst>
                  <a:ext uri="{FF2B5EF4-FFF2-40B4-BE49-F238E27FC236}">
                    <a16:creationId xmlns:a16="http://schemas.microsoft.com/office/drawing/2014/main" id="{B16D6A30-D14B-412E-9339-39E23E82D714}"/>
                  </a:ext>
                </a:extLst>
              </p:cNvPr>
              <p:cNvGrpSpPr/>
              <p:nvPr/>
            </p:nvGrpSpPr>
            <p:grpSpPr bwMode="gray">
              <a:xfrm rot="5400000">
                <a:off x="-1373642" y="2697034"/>
                <a:ext cx="335706" cy="355290"/>
                <a:chOff x="7048367" y="2836970"/>
                <a:chExt cx="571234" cy="604559"/>
              </a:xfrm>
              <a:grpFill/>
            </p:grpSpPr>
            <p:sp>
              <p:nvSpPr>
                <p:cNvPr id="347" name="Rectangle 17">
                  <a:extLst>
                    <a:ext uri="{FF2B5EF4-FFF2-40B4-BE49-F238E27FC236}">
                      <a16:creationId xmlns:a16="http://schemas.microsoft.com/office/drawing/2014/main" id="{35ACF27D-BE12-4FF2-912B-B47A0FF4597E}"/>
                    </a:ext>
                  </a:extLst>
                </p:cNvPr>
                <p:cNvSpPr/>
                <p:nvPr/>
              </p:nvSpPr>
              <p:spPr bwMode="gray">
                <a:xfrm>
                  <a:off x="7231075" y="3337062"/>
                  <a:ext cx="195681" cy="104467"/>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348" name="Rectangle 16">
                  <a:extLst>
                    <a:ext uri="{FF2B5EF4-FFF2-40B4-BE49-F238E27FC236}">
                      <a16:creationId xmlns:a16="http://schemas.microsoft.com/office/drawing/2014/main" id="{F9169380-3A81-4E7E-A329-DB051A17E461}"/>
                    </a:ext>
                  </a:extLst>
                </p:cNvPr>
                <p:cNvSpPr/>
                <p:nvPr/>
              </p:nvSpPr>
              <p:spPr bwMode="gray">
                <a:xfrm>
                  <a:off x="7175632" y="2976185"/>
                  <a:ext cx="306567" cy="360876"/>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349" name="Straight Connector 348">
                  <a:extLst>
                    <a:ext uri="{FF2B5EF4-FFF2-40B4-BE49-F238E27FC236}">
                      <a16:creationId xmlns:a16="http://schemas.microsoft.com/office/drawing/2014/main" id="{EF3CDECF-9A8A-430D-AE7D-7E2AAC683F89}"/>
                    </a:ext>
                  </a:extLst>
                </p:cNvPr>
                <p:cNvCxnSpPr/>
                <p:nvPr/>
              </p:nvCxnSpPr>
              <p:spPr bwMode="gray">
                <a:xfrm flipH="1">
                  <a:off x="7048367" y="3131232"/>
                  <a:ext cx="80655"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350" name="Straight Connector 349">
                  <a:extLst>
                    <a:ext uri="{FF2B5EF4-FFF2-40B4-BE49-F238E27FC236}">
                      <a16:creationId xmlns:a16="http://schemas.microsoft.com/office/drawing/2014/main" id="{EA2A8B54-6C5E-458A-8B05-794D5A62FD0B}"/>
                    </a:ext>
                  </a:extLst>
                </p:cNvPr>
                <p:cNvCxnSpPr/>
                <p:nvPr/>
              </p:nvCxnSpPr>
              <p:spPr bwMode="gray">
                <a:xfrm flipH="1">
                  <a:off x="7538946" y="3131232"/>
                  <a:ext cx="80655"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351" name="Straight Connector 350">
                  <a:extLst>
                    <a:ext uri="{FF2B5EF4-FFF2-40B4-BE49-F238E27FC236}">
                      <a16:creationId xmlns:a16="http://schemas.microsoft.com/office/drawing/2014/main" id="{D4D04552-64B3-46B9-9831-E4D2099162A6}"/>
                    </a:ext>
                  </a:extLst>
                </p:cNvPr>
                <p:cNvCxnSpPr/>
                <p:nvPr/>
              </p:nvCxnSpPr>
              <p:spPr bwMode="gray">
                <a:xfrm rot="18703489" flipH="1">
                  <a:off x="7462663" y="2941708"/>
                  <a:ext cx="80655"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352" name="Straight Connector 351">
                  <a:extLst>
                    <a:ext uri="{FF2B5EF4-FFF2-40B4-BE49-F238E27FC236}">
                      <a16:creationId xmlns:a16="http://schemas.microsoft.com/office/drawing/2014/main" id="{279DB1C2-6A8D-4ED9-A31D-087C0B27AA80}"/>
                    </a:ext>
                  </a:extLst>
                </p:cNvPr>
                <p:cNvCxnSpPr/>
                <p:nvPr/>
              </p:nvCxnSpPr>
              <p:spPr bwMode="gray">
                <a:xfrm rot="2896511">
                  <a:off x="7124651" y="2941708"/>
                  <a:ext cx="80655"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353" name="Straight Connector 352">
                  <a:extLst>
                    <a:ext uri="{FF2B5EF4-FFF2-40B4-BE49-F238E27FC236}">
                      <a16:creationId xmlns:a16="http://schemas.microsoft.com/office/drawing/2014/main" id="{CD811E68-CC71-45BD-9E1A-8444646DEA98}"/>
                    </a:ext>
                  </a:extLst>
                </p:cNvPr>
                <p:cNvCxnSpPr/>
                <p:nvPr/>
              </p:nvCxnSpPr>
              <p:spPr bwMode="gray">
                <a:xfrm rot="5400000">
                  <a:off x="7293657" y="2877298"/>
                  <a:ext cx="80655"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344" name="Group 343">
                <a:extLst>
                  <a:ext uri="{FF2B5EF4-FFF2-40B4-BE49-F238E27FC236}">
                    <a16:creationId xmlns:a16="http://schemas.microsoft.com/office/drawing/2014/main" id="{B2F92F09-EB7C-4E69-AD14-1AB4811DE16A}"/>
                  </a:ext>
                </a:extLst>
              </p:cNvPr>
              <p:cNvGrpSpPr/>
              <p:nvPr/>
            </p:nvGrpSpPr>
            <p:grpSpPr bwMode="gray">
              <a:xfrm>
                <a:off x="-1260274" y="2842575"/>
                <a:ext cx="111063" cy="64198"/>
                <a:chOff x="-2190753" y="2577465"/>
                <a:chExt cx="719458" cy="415868"/>
              </a:xfrm>
              <a:grpFill/>
            </p:grpSpPr>
            <p:sp>
              <p:nvSpPr>
                <p:cNvPr id="345" name="Freeform 168">
                  <a:extLst>
                    <a:ext uri="{FF2B5EF4-FFF2-40B4-BE49-F238E27FC236}">
                      <a16:creationId xmlns:a16="http://schemas.microsoft.com/office/drawing/2014/main" id="{4674418F-2BA6-4DAD-982C-90905AA372BB}"/>
                    </a:ext>
                  </a:extLst>
                </p:cNvPr>
                <p:cNvSpPr/>
                <p:nvPr/>
              </p:nvSpPr>
              <p:spPr bwMode="gray">
                <a:xfrm>
                  <a:off x="-1837055" y="2577465"/>
                  <a:ext cx="365760" cy="409575"/>
                </a:xfrm>
                <a:custGeom>
                  <a:avLst/>
                  <a:gdLst>
                    <a:gd name="connsiteX0" fmla="*/ 0 w 365760"/>
                    <a:gd name="connsiteY0" fmla="*/ 0 h 409575"/>
                    <a:gd name="connsiteX1" fmla="*/ 70485 w 365760"/>
                    <a:gd name="connsiteY1" fmla="*/ 0 h 409575"/>
                    <a:gd name="connsiteX2" fmla="*/ 184785 w 365760"/>
                    <a:gd name="connsiteY2" fmla="*/ 340995 h 409575"/>
                    <a:gd name="connsiteX3" fmla="*/ 300990 w 365760"/>
                    <a:gd name="connsiteY3" fmla="*/ 0 h 409575"/>
                    <a:gd name="connsiteX4" fmla="*/ 365760 w 365760"/>
                    <a:gd name="connsiteY4" fmla="*/ 0 h 409575"/>
                    <a:gd name="connsiteX5" fmla="*/ 217170 w 365760"/>
                    <a:gd name="connsiteY5" fmla="*/ 409575 h 409575"/>
                    <a:gd name="connsiteX6" fmla="*/ 150495 w 365760"/>
                    <a:gd name="connsiteY6" fmla="*/ 409575 h 409575"/>
                    <a:gd name="connsiteX7" fmla="*/ 0 w 365760"/>
                    <a:gd name="connsiteY7" fmla="*/ 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60" h="409575">
                      <a:moveTo>
                        <a:pt x="0" y="0"/>
                      </a:moveTo>
                      <a:lnTo>
                        <a:pt x="70485" y="0"/>
                      </a:lnTo>
                      <a:lnTo>
                        <a:pt x="184785" y="340995"/>
                      </a:lnTo>
                      <a:lnTo>
                        <a:pt x="300990" y="0"/>
                      </a:lnTo>
                      <a:lnTo>
                        <a:pt x="365760" y="0"/>
                      </a:lnTo>
                      <a:lnTo>
                        <a:pt x="217170" y="409575"/>
                      </a:lnTo>
                      <a:lnTo>
                        <a:pt x="150495" y="409575"/>
                      </a:lnTo>
                      <a:lnTo>
                        <a:pt x="0" y="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346" name="Flowchart: Delay 121">
                  <a:extLst>
                    <a:ext uri="{FF2B5EF4-FFF2-40B4-BE49-F238E27FC236}">
                      <a16:creationId xmlns:a16="http://schemas.microsoft.com/office/drawing/2014/main" id="{C8AF288F-D7C7-450C-A19D-4C5C699CC0A7}"/>
                    </a:ext>
                  </a:extLst>
                </p:cNvPr>
                <p:cNvSpPr/>
                <p:nvPr/>
              </p:nvSpPr>
              <p:spPr bwMode="gray">
                <a:xfrm rot="16200000" flipH="1">
                  <a:off x="-2233462" y="2620756"/>
                  <a:ext cx="415286" cy="329868"/>
                </a:xfrm>
                <a:custGeom>
                  <a:avLst/>
                  <a:gdLst/>
                  <a:ahLst/>
                  <a:cxnLst/>
                  <a:rect l="l" t="t" r="r" b="b"/>
                  <a:pathLst>
                    <a:path w="415286" h="329868">
                      <a:moveTo>
                        <a:pt x="0" y="0"/>
                      </a:moveTo>
                      <a:lnTo>
                        <a:pt x="0" y="58254"/>
                      </a:lnTo>
                      <a:lnTo>
                        <a:pt x="35612" y="58254"/>
                      </a:lnTo>
                      <a:lnTo>
                        <a:pt x="35612" y="58253"/>
                      </a:lnTo>
                      <a:lnTo>
                        <a:pt x="242796" y="58253"/>
                      </a:lnTo>
                      <a:cubicBezTo>
                        <a:pt x="307575" y="58253"/>
                        <a:pt x="360154" y="105927"/>
                        <a:pt x="360510" y="164934"/>
                      </a:cubicBezTo>
                      <a:cubicBezTo>
                        <a:pt x="360154" y="223941"/>
                        <a:pt x="307575" y="271615"/>
                        <a:pt x="242796" y="271615"/>
                      </a:cubicBezTo>
                      <a:lnTo>
                        <a:pt x="35612" y="271615"/>
                      </a:lnTo>
                      <a:lnTo>
                        <a:pt x="35612" y="271614"/>
                      </a:lnTo>
                      <a:lnTo>
                        <a:pt x="0" y="271614"/>
                      </a:lnTo>
                      <a:lnTo>
                        <a:pt x="0" y="329868"/>
                      </a:lnTo>
                      <a:lnTo>
                        <a:pt x="264652" y="329868"/>
                      </a:lnTo>
                      <a:cubicBezTo>
                        <a:pt x="347267" y="329868"/>
                        <a:pt x="414348" y="256627"/>
                        <a:pt x="414937" y="165886"/>
                      </a:cubicBezTo>
                      <a:lnTo>
                        <a:pt x="415286" y="165886"/>
                      </a:lnTo>
                      <a:cubicBezTo>
                        <a:pt x="415286" y="165568"/>
                        <a:pt x="415285" y="165251"/>
                        <a:pt x="415112" y="164934"/>
                      </a:cubicBezTo>
                      <a:cubicBezTo>
                        <a:pt x="415285" y="164618"/>
                        <a:pt x="415286" y="164300"/>
                        <a:pt x="415286" y="163982"/>
                      </a:cubicBezTo>
                      <a:lnTo>
                        <a:pt x="414937" y="163982"/>
                      </a:lnTo>
                      <a:cubicBezTo>
                        <a:pt x="414348" y="73241"/>
                        <a:pt x="347267" y="0"/>
                        <a:pt x="264652" y="0"/>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grpSp>
        <p:nvGrpSpPr>
          <p:cNvPr id="442" name="Group 441">
            <a:extLst>
              <a:ext uri="{FF2B5EF4-FFF2-40B4-BE49-F238E27FC236}">
                <a16:creationId xmlns:a16="http://schemas.microsoft.com/office/drawing/2014/main" id="{87E8A075-78A2-445D-B4B8-9D2642C27885}"/>
              </a:ext>
            </a:extLst>
          </p:cNvPr>
          <p:cNvGrpSpPr/>
          <p:nvPr/>
        </p:nvGrpSpPr>
        <p:grpSpPr bwMode="gray">
          <a:xfrm>
            <a:off x="343488" y="2619885"/>
            <a:ext cx="420420" cy="420418"/>
            <a:chOff x="-6032403" y="1784315"/>
            <a:chExt cx="527455" cy="527453"/>
          </a:xfrm>
          <a:solidFill>
            <a:schemeClr val="tx2"/>
          </a:solidFill>
        </p:grpSpPr>
        <p:sp>
          <p:nvSpPr>
            <p:cNvPr id="443" name="Oval 442">
              <a:extLst>
                <a:ext uri="{FF2B5EF4-FFF2-40B4-BE49-F238E27FC236}">
                  <a16:creationId xmlns:a16="http://schemas.microsoft.com/office/drawing/2014/main" id="{BE52F8CC-D840-4620-8948-19D0A76C186F}"/>
                </a:ext>
              </a:extLst>
            </p:cNvPr>
            <p:cNvSpPr/>
            <p:nvPr/>
          </p:nvSpPr>
          <p:spPr bwMode="gray">
            <a:xfrm>
              <a:off x="-6032403" y="1784315"/>
              <a:ext cx="527455" cy="52745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444" name="Group 443">
              <a:extLst>
                <a:ext uri="{FF2B5EF4-FFF2-40B4-BE49-F238E27FC236}">
                  <a16:creationId xmlns:a16="http://schemas.microsoft.com/office/drawing/2014/main" id="{343BD81C-5E33-49B0-A3D9-EA3E592276B9}"/>
                </a:ext>
              </a:extLst>
            </p:cNvPr>
            <p:cNvGrpSpPr/>
            <p:nvPr/>
          </p:nvGrpSpPr>
          <p:grpSpPr bwMode="gray">
            <a:xfrm>
              <a:off x="-5926001" y="1880186"/>
              <a:ext cx="355291" cy="335706"/>
              <a:chOff x="-640260" y="1957916"/>
              <a:chExt cx="355290" cy="335706"/>
            </a:xfrm>
            <a:grpFill/>
          </p:grpSpPr>
          <p:sp>
            <p:nvSpPr>
              <p:cNvPr id="445" name="Rectangle 17">
                <a:extLst>
                  <a:ext uri="{FF2B5EF4-FFF2-40B4-BE49-F238E27FC236}">
                    <a16:creationId xmlns:a16="http://schemas.microsoft.com/office/drawing/2014/main" id="{93BBD101-5431-43A8-90F0-851119E326DA}"/>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46" name="Rectangle 16">
                <a:extLst>
                  <a:ext uri="{FF2B5EF4-FFF2-40B4-BE49-F238E27FC236}">
                    <a16:creationId xmlns:a16="http://schemas.microsoft.com/office/drawing/2014/main" id="{CF80558E-53E4-4F88-876E-4B23FC6A0D6F}"/>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447" name="Straight Connector 446">
                <a:extLst>
                  <a:ext uri="{FF2B5EF4-FFF2-40B4-BE49-F238E27FC236}">
                    <a16:creationId xmlns:a16="http://schemas.microsoft.com/office/drawing/2014/main" id="{372684F2-58CC-41DE-B4AE-12F0A2208F09}"/>
                  </a:ext>
                </a:extLst>
              </p:cNvPr>
              <p:cNvCxnSpPr/>
              <p:nvPr/>
            </p:nvCxnSpPr>
            <p:spPr bwMode="gray">
              <a:xfrm rot="5400000" flipH="1">
                <a:off x="-481603" y="1981616"/>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448" name="Straight Connector 447">
                <a:extLst>
                  <a:ext uri="{FF2B5EF4-FFF2-40B4-BE49-F238E27FC236}">
                    <a16:creationId xmlns:a16="http://schemas.microsoft.com/office/drawing/2014/main" id="{A75D7042-A44C-438E-A6E4-3F438C75CFF3}"/>
                  </a:ext>
                </a:extLst>
              </p:cNvPr>
              <p:cNvCxnSpPr/>
              <p:nvPr/>
            </p:nvCxnSpPr>
            <p:spPr bwMode="gray">
              <a:xfrm rot="5400000" flipH="1">
                <a:off x="-481603" y="2269922"/>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449" name="Straight Connector 448">
                <a:extLst>
                  <a:ext uri="{FF2B5EF4-FFF2-40B4-BE49-F238E27FC236}">
                    <a16:creationId xmlns:a16="http://schemas.microsoft.com/office/drawing/2014/main" id="{6D5E7291-5E62-4E7D-B6E2-F18D8E8C9352}"/>
                  </a:ext>
                </a:extLst>
              </p:cNvPr>
              <p:cNvCxnSpPr/>
              <p:nvPr/>
            </p:nvCxnSpPr>
            <p:spPr bwMode="gray">
              <a:xfrm rot="2503489" flipH="1">
                <a:off x="-370223" y="2225091"/>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0" name="Straight Connector 449">
                <a:extLst>
                  <a:ext uri="{FF2B5EF4-FFF2-40B4-BE49-F238E27FC236}">
                    <a16:creationId xmlns:a16="http://schemas.microsoft.com/office/drawing/2014/main" id="{7A0FA8F0-D4F7-4A25-B797-80B8386C8243}"/>
                  </a:ext>
                </a:extLst>
              </p:cNvPr>
              <p:cNvCxnSpPr/>
              <p:nvPr/>
            </p:nvCxnSpPr>
            <p:spPr bwMode="gray">
              <a:xfrm rot="8296511">
                <a:off x="-370223" y="2026447"/>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1" name="Straight Connector 450">
                <a:extLst>
                  <a:ext uri="{FF2B5EF4-FFF2-40B4-BE49-F238E27FC236}">
                    <a16:creationId xmlns:a16="http://schemas.microsoft.com/office/drawing/2014/main" id="{98DAAB02-1211-4777-861B-C94D71AA40F7}"/>
                  </a:ext>
                </a:extLst>
              </p:cNvPr>
              <p:cNvCxnSpPr/>
              <p:nvPr/>
            </p:nvCxnSpPr>
            <p:spPr bwMode="gray">
              <a:xfrm rot="10800000">
                <a:off x="-332370" y="2125769"/>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nvGrpSpPr>
              <p:cNvPr id="452" name="Group 451">
                <a:extLst>
                  <a:ext uri="{FF2B5EF4-FFF2-40B4-BE49-F238E27FC236}">
                    <a16:creationId xmlns:a16="http://schemas.microsoft.com/office/drawing/2014/main" id="{AE5CFFD1-6104-40A1-963D-10DC0E7B4148}"/>
                  </a:ext>
                </a:extLst>
              </p:cNvPr>
              <p:cNvGrpSpPr/>
              <p:nvPr/>
            </p:nvGrpSpPr>
            <p:grpSpPr bwMode="gray">
              <a:xfrm>
                <a:off x="-507951" y="2091078"/>
                <a:ext cx="84957" cy="65573"/>
                <a:chOff x="-2412348" y="2137408"/>
                <a:chExt cx="717156" cy="553527"/>
              </a:xfrm>
              <a:grpFill/>
            </p:grpSpPr>
            <p:sp>
              <p:nvSpPr>
                <p:cNvPr id="453" name="Parallelogram 1029">
                  <a:extLst>
                    <a:ext uri="{FF2B5EF4-FFF2-40B4-BE49-F238E27FC236}">
                      <a16:creationId xmlns:a16="http://schemas.microsoft.com/office/drawing/2014/main" id="{BD59AFAF-B558-4F37-900A-83D3B3814FFC}"/>
                    </a:ext>
                  </a:extLst>
                </p:cNvPr>
                <p:cNvSpPr/>
                <p:nvPr/>
              </p:nvSpPr>
              <p:spPr bwMode="gray">
                <a:xfrm flipH="1">
                  <a:off x="-2128068" y="2137408"/>
                  <a:ext cx="432876"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54" name="Rectangle 453">
                  <a:extLst>
                    <a:ext uri="{FF2B5EF4-FFF2-40B4-BE49-F238E27FC236}">
                      <a16:creationId xmlns:a16="http://schemas.microsoft.com/office/drawing/2014/main" id="{7CB2683F-3F50-493F-8ADD-F565536EC1A6}"/>
                    </a:ext>
                  </a:extLst>
                </p:cNvPr>
                <p:cNvSpPr/>
                <p:nvPr/>
              </p:nvSpPr>
              <p:spPr bwMode="gray">
                <a:xfrm>
                  <a:off x="-2412348" y="2137408"/>
                  <a:ext cx="83823" cy="553527"/>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grpSp>
        <p:nvGrpSpPr>
          <p:cNvPr id="455" name="Group 454">
            <a:extLst>
              <a:ext uri="{FF2B5EF4-FFF2-40B4-BE49-F238E27FC236}">
                <a16:creationId xmlns:a16="http://schemas.microsoft.com/office/drawing/2014/main" id="{78F4DE10-2A49-4308-83C7-C1E98E7EEC74}"/>
              </a:ext>
            </a:extLst>
          </p:cNvPr>
          <p:cNvGrpSpPr/>
          <p:nvPr/>
        </p:nvGrpSpPr>
        <p:grpSpPr bwMode="gray">
          <a:xfrm>
            <a:off x="932839" y="2619885"/>
            <a:ext cx="420420" cy="420420"/>
            <a:chOff x="-4803276" y="1800676"/>
            <a:chExt cx="527454" cy="527453"/>
          </a:xfrm>
          <a:solidFill>
            <a:schemeClr val="tx2"/>
          </a:solidFill>
        </p:grpSpPr>
        <p:sp>
          <p:nvSpPr>
            <p:cNvPr id="456" name="Oval 455">
              <a:extLst>
                <a:ext uri="{FF2B5EF4-FFF2-40B4-BE49-F238E27FC236}">
                  <a16:creationId xmlns:a16="http://schemas.microsoft.com/office/drawing/2014/main" id="{A6B68DB8-CDDC-42D3-B54A-FF8C49362935}"/>
                </a:ext>
              </a:extLst>
            </p:cNvPr>
            <p:cNvSpPr/>
            <p:nvPr/>
          </p:nvSpPr>
          <p:spPr bwMode="gray">
            <a:xfrm rot="16200000">
              <a:off x="-4803276" y="1800676"/>
              <a:ext cx="527453" cy="52745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457" name="Group 456">
              <a:extLst>
                <a:ext uri="{FF2B5EF4-FFF2-40B4-BE49-F238E27FC236}">
                  <a16:creationId xmlns:a16="http://schemas.microsoft.com/office/drawing/2014/main" id="{4F0C2411-80D2-45EA-9DA2-FA3D3380A8A7}"/>
                </a:ext>
              </a:extLst>
            </p:cNvPr>
            <p:cNvGrpSpPr/>
            <p:nvPr/>
          </p:nvGrpSpPr>
          <p:grpSpPr bwMode="gray">
            <a:xfrm>
              <a:off x="-4751236" y="1999221"/>
              <a:ext cx="423358" cy="130374"/>
              <a:chOff x="5561561" y="3580012"/>
              <a:chExt cx="1068879" cy="329166"/>
            </a:xfrm>
            <a:grpFill/>
          </p:grpSpPr>
          <p:sp>
            <p:nvSpPr>
              <p:cNvPr id="458" name="Oval 457">
                <a:extLst>
                  <a:ext uri="{FF2B5EF4-FFF2-40B4-BE49-F238E27FC236}">
                    <a16:creationId xmlns:a16="http://schemas.microsoft.com/office/drawing/2014/main" id="{CA008F7E-16F2-4540-864A-7722ECFA138A}"/>
                  </a:ext>
                </a:extLst>
              </p:cNvPr>
              <p:cNvSpPr/>
              <p:nvPr/>
            </p:nvSpPr>
            <p:spPr bwMode="gray">
              <a:xfrm>
                <a:off x="5561561" y="3580012"/>
                <a:ext cx="329166" cy="329166"/>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59" name="Oval 458">
                <a:extLst>
                  <a:ext uri="{FF2B5EF4-FFF2-40B4-BE49-F238E27FC236}">
                    <a16:creationId xmlns:a16="http://schemas.microsoft.com/office/drawing/2014/main" id="{002B7CEE-73C9-44A6-AE2E-48651BCDC0F5}"/>
                  </a:ext>
                </a:extLst>
              </p:cNvPr>
              <p:cNvSpPr/>
              <p:nvPr/>
            </p:nvSpPr>
            <p:spPr bwMode="gray">
              <a:xfrm>
                <a:off x="6301274" y="3580012"/>
                <a:ext cx="329166" cy="329166"/>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460" name="Straight Connector 459">
                <a:extLst>
                  <a:ext uri="{FF2B5EF4-FFF2-40B4-BE49-F238E27FC236}">
                    <a16:creationId xmlns:a16="http://schemas.microsoft.com/office/drawing/2014/main" id="{FD19ADFF-865F-4BDE-A95C-E7C030CA1CAA}"/>
                  </a:ext>
                </a:extLst>
              </p:cNvPr>
              <p:cNvCxnSpPr>
                <a:stCxn id="458" idx="6"/>
                <a:endCxn id="459" idx="2"/>
              </p:cNvCxnSpPr>
              <p:nvPr/>
            </p:nvCxnSpPr>
            <p:spPr bwMode="gray">
              <a:xfrm>
                <a:off x="5890727" y="3744595"/>
                <a:ext cx="410547"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1" name="Straight Connector 460">
                <a:extLst>
                  <a:ext uri="{FF2B5EF4-FFF2-40B4-BE49-F238E27FC236}">
                    <a16:creationId xmlns:a16="http://schemas.microsoft.com/office/drawing/2014/main" id="{B05E5896-067C-4023-8FD6-A1B846638DE1}"/>
                  </a:ext>
                </a:extLst>
              </p:cNvPr>
              <p:cNvCxnSpPr/>
              <p:nvPr/>
            </p:nvCxnSpPr>
            <p:spPr bwMode="gray">
              <a:xfrm>
                <a:off x="6062617" y="3669857"/>
                <a:ext cx="66766" cy="149477"/>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462" name="Group 461">
            <a:extLst>
              <a:ext uri="{FF2B5EF4-FFF2-40B4-BE49-F238E27FC236}">
                <a16:creationId xmlns:a16="http://schemas.microsoft.com/office/drawing/2014/main" id="{E8544A4F-84F9-4A6B-AC4A-B46100880A5F}"/>
              </a:ext>
            </a:extLst>
          </p:cNvPr>
          <p:cNvGrpSpPr/>
          <p:nvPr/>
        </p:nvGrpSpPr>
        <p:grpSpPr bwMode="gray">
          <a:xfrm>
            <a:off x="346397" y="3327456"/>
            <a:ext cx="420420" cy="420418"/>
            <a:chOff x="-6032403" y="1784315"/>
            <a:chExt cx="527455" cy="527453"/>
          </a:xfrm>
          <a:solidFill>
            <a:schemeClr val="tx2"/>
          </a:solidFill>
        </p:grpSpPr>
        <p:sp>
          <p:nvSpPr>
            <p:cNvPr id="463" name="Oval 462">
              <a:extLst>
                <a:ext uri="{FF2B5EF4-FFF2-40B4-BE49-F238E27FC236}">
                  <a16:creationId xmlns:a16="http://schemas.microsoft.com/office/drawing/2014/main" id="{29725F07-2F64-4519-81B9-74E3BC167846}"/>
                </a:ext>
              </a:extLst>
            </p:cNvPr>
            <p:cNvSpPr/>
            <p:nvPr/>
          </p:nvSpPr>
          <p:spPr bwMode="gray">
            <a:xfrm>
              <a:off x="-6032403" y="1784315"/>
              <a:ext cx="527455" cy="52745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464" name="Group 463">
              <a:extLst>
                <a:ext uri="{FF2B5EF4-FFF2-40B4-BE49-F238E27FC236}">
                  <a16:creationId xmlns:a16="http://schemas.microsoft.com/office/drawing/2014/main" id="{E9E0B7B2-83C8-419A-B3A5-4A82343B2FDA}"/>
                </a:ext>
              </a:extLst>
            </p:cNvPr>
            <p:cNvGrpSpPr/>
            <p:nvPr/>
          </p:nvGrpSpPr>
          <p:grpSpPr bwMode="gray">
            <a:xfrm>
              <a:off x="-5926001" y="1880186"/>
              <a:ext cx="355291" cy="335706"/>
              <a:chOff x="-640260" y="1957916"/>
              <a:chExt cx="355290" cy="335706"/>
            </a:xfrm>
            <a:grpFill/>
          </p:grpSpPr>
          <p:sp>
            <p:nvSpPr>
              <p:cNvPr id="465" name="Rectangle 17">
                <a:extLst>
                  <a:ext uri="{FF2B5EF4-FFF2-40B4-BE49-F238E27FC236}">
                    <a16:creationId xmlns:a16="http://schemas.microsoft.com/office/drawing/2014/main" id="{A8AA088F-8682-425A-89B3-5A66A3123AB1}"/>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66" name="Rectangle 16">
                <a:extLst>
                  <a:ext uri="{FF2B5EF4-FFF2-40B4-BE49-F238E27FC236}">
                    <a16:creationId xmlns:a16="http://schemas.microsoft.com/office/drawing/2014/main" id="{DD9A2E10-1DB3-4A51-BA67-40AC7EF5D02C}"/>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467" name="Straight Connector 466">
                <a:extLst>
                  <a:ext uri="{FF2B5EF4-FFF2-40B4-BE49-F238E27FC236}">
                    <a16:creationId xmlns:a16="http://schemas.microsoft.com/office/drawing/2014/main" id="{D017D750-552C-4632-AE69-DC890C587707}"/>
                  </a:ext>
                </a:extLst>
              </p:cNvPr>
              <p:cNvCxnSpPr/>
              <p:nvPr/>
            </p:nvCxnSpPr>
            <p:spPr bwMode="gray">
              <a:xfrm rot="5400000" flipH="1">
                <a:off x="-481603" y="1981616"/>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8" name="Straight Connector 467">
                <a:extLst>
                  <a:ext uri="{FF2B5EF4-FFF2-40B4-BE49-F238E27FC236}">
                    <a16:creationId xmlns:a16="http://schemas.microsoft.com/office/drawing/2014/main" id="{99A26018-1E60-4048-84E5-CEFDFDFA7D6A}"/>
                  </a:ext>
                </a:extLst>
              </p:cNvPr>
              <p:cNvCxnSpPr/>
              <p:nvPr/>
            </p:nvCxnSpPr>
            <p:spPr bwMode="gray">
              <a:xfrm rot="5400000" flipH="1">
                <a:off x="-481603" y="2269922"/>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9" name="Straight Connector 468">
                <a:extLst>
                  <a:ext uri="{FF2B5EF4-FFF2-40B4-BE49-F238E27FC236}">
                    <a16:creationId xmlns:a16="http://schemas.microsoft.com/office/drawing/2014/main" id="{DAA8B26A-9DE0-4195-B19F-069F1B774128}"/>
                  </a:ext>
                </a:extLst>
              </p:cNvPr>
              <p:cNvCxnSpPr/>
              <p:nvPr/>
            </p:nvCxnSpPr>
            <p:spPr bwMode="gray">
              <a:xfrm rot="2503489" flipH="1">
                <a:off x="-370223" y="2225091"/>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470" name="Straight Connector 469">
                <a:extLst>
                  <a:ext uri="{FF2B5EF4-FFF2-40B4-BE49-F238E27FC236}">
                    <a16:creationId xmlns:a16="http://schemas.microsoft.com/office/drawing/2014/main" id="{860C3234-2507-48FF-9CF3-15468F40861D}"/>
                  </a:ext>
                </a:extLst>
              </p:cNvPr>
              <p:cNvCxnSpPr/>
              <p:nvPr/>
            </p:nvCxnSpPr>
            <p:spPr bwMode="gray">
              <a:xfrm rot="8296511">
                <a:off x="-370223" y="2026447"/>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471" name="Straight Connector 470">
                <a:extLst>
                  <a:ext uri="{FF2B5EF4-FFF2-40B4-BE49-F238E27FC236}">
                    <a16:creationId xmlns:a16="http://schemas.microsoft.com/office/drawing/2014/main" id="{CEA29E04-027B-43E1-A5E8-731E4BAF5ECC}"/>
                  </a:ext>
                </a:extLst>
              </p:cNvPr>
              <p:cNvCxnSpPr/>
              <p:nvPr/>
            </p:nvCxnSpPr>
            <p:spPr bwMode="gray">
              <a:xfrm rot="10800000">
                <a:off x="-332370" y="2125769"/>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nvGrpSpPr>
              <p:cNvPr id="472" name="Group 471">
                <a:extLst>
                  <a:ext uri="{FF2B5EF4-FFF2-40B4-BE49-F238E27FC236}">
                    <a16:creationId xmlns:a16="http://schemas.microsoft.com/office/drawing/2014/main" id="{B20299CD-805F-44D8-8212-81D7AAB0F939}"/>
                  </a:ext>
                </a:extLst>
              </p:cNvPr>
              <p:cNvGrpSpPr/>
              <p:nvPr/>
            </p:nvGrpSpPr>
            <p:grpSpPr bwMode="gray">
              <a:xfrm>
                <a:off x="-507951" y="2091078"/>
                <a:ext cx="84957" cy="65573"/>
                <a:chOff x="-2412348" y="2137408"/>
                <a:chExt cx="717156" cy="553527"/>
              </a:xfrm>
              <a:grpFill/>
            </p:grpSpPr>
            <p:sp>
              <p:nvSpPr>
                <p:cNvPr id="473" name="Parallelogram 1029">
                  <a:extLst>
                    <a:ext uri="{FF2B5EF4-FFF2-40B4-BE49-F238E27FC236}">
                      <a16:creationId xmlns:a16="http://schemas.microsoft.com/office/drawing/2014/main" id="{D46908DA-4E6E-4066-B6B7-C035534015F4}"/>
                    </a:ext>
                  </a:extLst>
                </p:cNvPr>
                <p:cNvSpPr/>
                <p:nvPr/>
              </p:nvSpPr>
              <p:spPr bwMode="gray">
                <a:xfrm flipH="1">
                  <a:off x="-2128068" y="2137408"/>
                  <a:ext cx="432876"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74" name="Rectangle 473">
                  <a:extLst>
                    <a:ext uri="{FF2B5EF4-FFF2-40B4-BE49-F238E27FC236}">
                      <a16:creationId xmlns:a16="http://schemas.microsoft.com/office/drawing/2014/main" id="{50FFF53C-1E90-403B-83BE-247EF908CCF0}"/>
                    </a:ext>
                  </a:extLst>
                </p:cNvPr>
                <p:cNvSpPr/>
                <p:nvPr/>
              </p:nvSpPr>
              <p:spPr bwMode="gray">
                <a:xfrm>
                  <a:off x="-2412348" y="2137408"/>
                  <a:ext cx="83823" cy="553527"/>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grpSp>
        <p:nvGrpSpPr>
          <p:cNvPr id="475" name="Group 474">
            <a:extLst>
              <a:ext uri="{FF2B5EF4-FFF2-40B4-BE49-F238E27FC236}">
                <a16:creationId xmlns:a16="http://schemas.microsoft.com/office/drawing/2014/main" id="{E26BDF08-7DE3-4969-8A8B-845693C5A9F9}"/>
              </a:ext>
            </a:extLst>
          </p:cNvPr>
          <p:cNvGrpSpPr/>
          <p:nvPr/>
        </p:nvGrpSpPr>
        <p:grpSpPr bwMode="gray">
          <a:xfrm>
            <a:off x="343488" y="4069317"/>
            <a:ext cx="420420" cy="420418"/>
            <a:chOff x="-6032403" y="1784315"/>
            <a:chExt cx="527455" cy="527453"/>
          </a:xfrm>
          <a:solidFill>
            <a:schemeClr val="tx2"/>
          </a:solidFill>
        </p:grpSpPr>
        <p:sp>
          <p:nvSpPr>
            <p:cNvPr id="476" name="Oval 475">
              <a:extLst>
                <a:ext uri="{FF2B5EF4-FFF2-40B4-BE49-F238E27FC236}">
                  <a16:creationId xmlns:a16="http://schemas.microsoft.com/office/drawing/2014/main" id="{01AE3032-60A3-4CEC-9BC1-C80122451914}"/>
                </a:ext>
              </a:extLst>
            </p:cNvPr>
            <p:cNvSpPr/>
            <p:nvPr/>
          </p:nvSpPr>
          <p:spPr bwMode="gray">
            <a:xfrm>
              <a:off x="-6032403" y="1784315"/>
              <a:ext cx="527455" cy="527453"/>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477" name="Group 476">
              <a:extLst>
                <a:ext uri="{FF2B5EF4-FFF2-40B4-BE49-F238E27FC236}">
                  <a16:creationId xmlns:a16="http://schemas.microsoft.com/office/drawing/2014/main" id="{4FC7C2AF-2C53-4B68-A258-BF298069EE77}"/>
                </a:ext>
              </a:extLst>
            </p:cNvPr>
            <p:cNvGrpSpPr/>
            <p:nvPr/>
          </p:nvGrpSpPr>
          <p:grpSpPr bwMode="gray">
            <a:xfrm>
              <a:off x="-5926001" y="1880186"/>
              <a:ext cx="355291" cy="335706"/>
              <a:chOff x="-640260" y="1957916"/>
              <a:chExt cx="355290" cy="335706"/>
            </a:xfrm>
            <a:grpFill/>
          </p:grpSpPr>
          <p:sp>
            <p:nvSpPr>
              <p:cNvPr id="478" name="Rectangle 17">
                <a:extLst>
                  <a:ext uri="{FF2B5EF4-FFF2-40B4-BE49-F238E27FC236}">
                    <a16:creationId xmlns:a16="http://schemas.microsoft.com/office/drawing/2014/main" id="{E594DC5C-1A96-46A9-9592-FB36D4020931}"/>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79" name="Rectangle 16">
                <a:extLst>
                  <a:ext uri="{FF2B5EF4-FFF2-40B4-BE49-F238E27FC236}">
                    <a16:creationId xmlns:a16="http://schemas.microsoft.com/office/drawing/2014/main" id="{33F34702-CA6F-43E6-9CB7-C648B9BE4A81}"/>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480" name="Straight Connector 479">
                <a:extLst>
                  <a:ext uri="{FF2B5EF4-FFF2-40B4-BE49-F238E27FC236}">
                    <a16:creationId xmlns:a16="http://schemas.microsoft.com/office/drawing/2014/main" id="{DED9A78E-0705-4607-9AA9-243D43CE2E06}"/>
                  </a:ext>
                </a:extLst>
              </p:cNvPr>
              <p:cNvCxnSpPr/>
              <p:nvPr/>
            </p:nvCxnSpPr>
            <p:spPr bwMode="gray">
              <a:xfrm rot="5400000" flipH="1">
                <a:off x="-481603" y="1981616"/>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1" name="Straight Connector 480">
                <a:extLst>
                  <a:ext uri="{FF2B5EF4-FFF2-40B4-BE49-F238E27FC236}">
                    <a16:creationId xmlns:a16="http://schemas.microsoft.com/office/drawing/2014/main" id="{B25243A6-061E-4BE2-A69E-9542FE7ABB88}"/>
                  </a:ext>
                </a:extLst>
              </p:cNvPr>
              <p:cNvCxnSpPr/>
              <p:nvPr/>
            </p:nvCxnSpPr>
            <p:spPr bwMode="gray">
              <a:xfrm rot="5400000" flipH="1">
                <a:off x="-481603" y="2269922"/>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2" name="Straight Connector 481">
                <a:extLst>
                  <a:ext uri="{FF2B5EF4-FFF2-40B4-BE49-F238E27FC236}">
                    <a16:creationId xmlns:a16="http://schemas.microsoft.com/office/drawing/2014/main" id="{DE562497-13AD-4A54-AD37-0B875951FED3}"/>
                  </a:ext>
                </a:extLst>
              </p:cNvPr>
              <p:cNvCxnSpPr/>
              <p:nvPr/>
            </p:nvCxnSpPr>
            <p:spPr bwMode="gray">
              <a:xfrm rot="2503489" flipH="1">
                <a:off x="-370223" y="2225091"/>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3" name="Straight Connector 482">
                <a:extLst>
                  <a:ext uri="{FF2B5EF4-FFF2-40B4-BE49-F238E27FC236}">
                    <a16:creationId xmlns:a16="http://schemas.microsoft.com/office/drawing/2014/main" id="{9221527A-0031-4B8D-B9C4-24C2FC85309B}"/>
                  </a:ext>
                </a:extLst>
              </p:cNvPr>
              <p:cNvCxnSpPr/>
              <p:nvPr/>
            </p:nvCxnSpPr>
            <p:spPr bwMode="gray">
              <a:xfrm rot="8296511">
                <a:off x="-370223" y="2026447"/>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4" name="Straight Connector 483">
                <a:extLst>
                  <a:ext uri="{FF2B5EF4-FFF2-40B4-BE49-F238E27FC236}">
                    <a16:creationId xmlns:a16="http://schemas.microsoft.com/office/drawing/2014/main" id="{843B8D24-A009-438E-95D2-5EA6783F22CA}"/>
                  </a:ext>
                </a:extLst>
              </p:cNvPr>
              <p:cNvCxnSpPr/>
              <p:nvPr/>
            </p:nvCxnSpPr>
            <p:spPr bwMode="gray">
              <a:xfrm rot="10800000">
                <a:off x="-332370" y="2125769"/>
                <a:ext cx="47400"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nvGrpSpPr>
              <p:cNvPr id="485" name="Group 484">
                <a:extLst>
                  <a:ext uri="{FF2B5EF4-FFF2-40B4-BE49-F238E27FC236}">
                    <a16:creationId xmlns:a16="http://schemas.microsoft.com/office/drawing/2014/main" id="{8DEB9E03-8AEF-4208-9A09-C52B6BC40739}"/>
                  </a:ext>
                </a:extLst>
              </p:cNvPr>
              <p:cNvGrpSpPr/>
              <p:nvPr/>
            </p:nvGrpSpPr>
            <p:grpSpPr bwMode="gray">
              <a:xfrm>
                <a:off x="-507951" y="2091078"/>
                <a:ext cx="84957" cy="65573"/>
                <a:chOff x="-2412348" y="2137408"/>
                <a:chExt cx="717156" cy="553527"/>
              </a:xfrm>
              <a:grpFill/>
            </p:grpSpPr>
            <p:sp>
              <p:nvSpPr>
                <p:cNvPr id="486" name="Parallelogram 1029">
                  <a:extLst>
                    <a:ext uri="{FF2B5EF4-FFF2-40B4-BE49-F238E27FC236}">
                      <a16:creationId xmlns:a16="http://schemas.microsoft.com/office/drawing/2014/main" id="{F2B5C304-5A25-4424-9F6C-420C2871F019}"/>
                    </a:ext>
                  </a:extLst>
                </p:cNvPr>
                <p:cNvSpPr/>
                <p:nvPr/>
              </p:nvSpPr>
              <p:spPr bwMode="gray">
                <a:xfrm flipH="1">
                  <a:off x="-2128068" y="2137408"/>
                  <a:ext cx="432876"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87" name="Rectangle 486">
                  <a:extLst>
                    <a:ext uri="{FF2B5EF4-FFF2-40B4-BE49-F238E27FC236}">
                      <a16:creationId xmlns:a16="http://schemas.microsoft.com/office/drawing/2014/main" id="{1D3D8F23-7F3A-4262-AABE-B6E0DCCE2AA1}"/>
                    </a:ext>
                  </a:extLst>
                </p:cNvPr>
                <p:cNvSpPr/>
                <p:nvPr/>
              </p:nvSpPr>
              <p:spPr bwMode="gray">
                <a:xfrm>
                  <a:off x="-2412348" y="2137408"/>
                  <a:ext cx="83823" cy="553527"/>
                </a:xfrm>
                <a:prstGeom prst="rect">
                  <a:avLst/>
                </a:pr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grpSp>
        <p:nvGrpSpPr>
          <p:cNvPr id="502" name="Group 501">
            <a:extLst>
              <a:ext uri="{FF2B5EF4-FFF2-40B4-BE49-F238E27FC236}">
                <a16:creationId xmlns:a16="http://schemas.microsoft.com/office/drawing/2014/main" id="{FEFB7DAC-29C4-4512-801F-96B6A6EFB9EE}"/>
              </a:ext>
            </a:extLst>
          </p:cNvPr>
          <p:cNvGrpSpPr/>
          <p:nvPr/>
        </p:nvGrpSpPr>
        <p:grpSpPr bwMode="gray">
          <a:xfrm>
            <a:off x="10829632" y="2617606"/>
            <a:ext cx="420420" cy="420420"/>
            <a:chOff x="-2073284" y="1800682"/>
            <a:chExt cx="527454" cy="527454"/>
          </a:xfrm>
          <a:solidFill>
            <a:schemeClr val="tx2"/>
          </a:solidFill>
        </p:grpSpPr>
        <p:sp>
          <p:nvSpPr>
            <p:cNvPr id="503" name="Oval 502">
              <a:extLst>
                <a:ext uri="{FF2B5EF4-FFF2-40B4-BE49-F238E27FC236}">
                  <a16:creationId xmlns:a16="http://schemas.microsoft.com/office/drawing/2014/main" id="{770E4356-5A95-4AC5-A66F-45EE868810AE}"/>
                </a:ext>
              </a:extLst>
            </p:cNvPr>
            <p:cNvSpPr/>
            <p:nvPr/>
          </p:nvSpPr>
          <p:spPr bwMode="gray">
            <a:xfrm rot="16200000">
              <a:off x="-2073284" y="1800682"/>
              <a:ext cx="527454" cy="52745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504" name="Group 503">
              <a:extLst>
                <a:ext uri="{FF2B5EF4-FFF2-40B4-BE49-F238E27FC236}">
                  <a16:creationId xmlns:a16="http://schemas.microsoft.com/office/drawing/2014/main" id="{BD3B8DDC-7F74-41E7-9342-BF0F89528205}"/>
                </a:ext>
              </a:extLst>
            </p:cNvPr>
            <p:cNvGrpSpPr/>
            <p:nvPr/>
          </p:nvGrpSpPr>
          <p:grpSpPr bwMode="gray">
            <a:xfrm>
              <a:off x="-1966883" y="1896556"/>
              <a:ext cx="355290" cy="335706"/>
              <a:chOff x="-1383434" y="2706826"/>
              <a:chExt cx="355290" cy="335706"/>
            </a:xfrm>
            <a:grpFill/>
          </p:grpSpPr>
          <p:grpSp>
            <p:nvGrpSpPr>
              <p:cNvPr id="505" name="Group 504">
                <a:extLst>
                  <a:ext uri="{FF2B5EF4-FFF2-40B4-BE49-F238E27FC236}">
                    <a16:creationId xmlns:a16="http://schemas.microsoft.com/office/drawing/2014/main" id="{570E4B77-5433-4A5B-B00E-34577AFCEA44}"/>
                  </a:ext>
                </a:extLst>
              </p:cNvPr>
              <p:cNvGrpSpPr/>
              <p:nvPr/>
            </p:nvGrpSpPr>
            <p:grpSpPr bwMode="gray">
              <a:xfrm rot="5400000">
                <a:off x="-1373642" y="2697034"/>
                <a:ext cx="335706" cy="355290"/>
                <a:chOff x="7048367" y="2836970"/>
                <a:chExt cx="571234" cy="604559"/>
              </a:xfrm>
              <a:grpFill/>
            </p:grpSpPr>
            <p:sp>
              <p:nvSpPr>
                <p:cNvPr id="509" name="Rectangle 17">
                  <a:extLst>
                    <a:ext uri="{FF2B5EF4-FFF2-40B4-BE49-F238E27FC236}">
                      <a16:creationId xmlns:a16="http://schemas.microsoft.com/office/drawing/2014/main" id="{6F787932-323E-49C0-922A-9EB192FF0D6B}"/>
                    </a:ext>
                  </a:extLst>
                </p:cNvPr>
                <p:cNvSpPr/>
                <p:nvPr/>
              </p:nvSpPr>
              <p:spPr bwMode="gray">
                <a:xfrm>
                  <a:off x="7231075" y="3337062"/>
                  <a:ext cx="195681" cy="104467"/>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10" name="Rectangle 16">
                  <a:extLst>
                    <a:ext uri="{FF2B5EF4-FFF2-40B4-BE49-F238E27FC236}">
                      <a16:creationId xmlns:a16="http://schemas.microsoft.com/office/drawing/2014/main" id="{3B4AA8C5-24D4-4CEC-9694-6D2BD0FB50CA}"/>
                    </a:ext>
                  </a:extLst>
                </p:cNvPr>
                <p:cNvSpPr/>
                <p:nvPr/>
              </p:nvSpPr>
              <p:spPr bwMode="gray">
                <a:xfrm>
                  <a:off x="7175632" y="2976185"/>
                  <a:ext cx="306567" cy="360876"/>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511" name="Straight Connector 510">
                  <a:extLst>
                    <a:ext uri="{FF2B5EF4-FFF2-40B4-BE49-F238E27FC236}">
                      <a16:creationId xmlns:a16="http://schemas.microsoft.com/office/drawing/2014/main" id="{B6E5D19C-657F-4EFD-A56E-45C9FC1B18B8}"/>
                    </a:ext>
                  </a:extLst>
                </p:cNvPr>
                <p:cNvCxnSpPr/>
                <p:nvPr/>
              </p:nvCxnSpPr>
              <p:spPr bwMode="gray">
                <a:xfrm flipH="1">
                  <a:off x="7048367" y="3131232"/>
                  <a:ext cx="80655"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2" name="Straight Connector 511">
                  <a:extLst>
                    <a:ext uri="{FF2B5EF4-FFF2-40B4-BE49-F238E27FC236}">
                      <a16:creationId xmlns:a16="http://schemas.microsoft.com/office/drawing/2014/main" id="{03E3C9E4-D7CB-44B2-9BA7-CFB9C00CE55F}"/>
                    </a:ext>
                  </a:extLst>
                </p:cNvPr>
                <p:cNvCxnSpPr/>
                <p:nvPr/>
              </p:nvCxnSpPr>
              <p:spPr bwMode="gray">
                <a:xfrm flipH="1">
                  <a:off x="7538946" y="3131232"/>
                  <a:ext cx="80655"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3" name="Straight Connector 512">
                  <a:extLst>
                    <a:ext uri="{FF2B5EF4-FFF2-40B4-BE49-F238E27FC236}">
                      <a16:creationId xmlns:a16="http://schemas.microsoft.com/office/drawing/2014/main" id="{60894630-9E9C-4B2E-AEEC-158DDFA07818}"/>
                    </a:ext>
                  </a:extLst>
                </p:cNvPr>
                <p:cNvCxnSpPr/>
                <p:nvPr/>
              </p:nvCxnSpPr>
              <p:spPr bwMode="gray">
                <a:xfrm rot="18703489" flipH="1">
                  <a:off x="7462663" y="2941708"/>
                  <a:ext cx="80655"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4" name="Straight Connector 513">
                  <a:extLst>
                    <a:ext uri="{FF2B5EF4-FFF2-40B4-BE49-F238E27FC236}">
                      <a16:creationId xmlns:a16="http://schemas.microsoft.com/office/drawing/2014/main" id="{11BEA949-FA02-47CC-8294-46E6656185BB}"/>
                    </a:ext>
                  </a:extLst>
                </p:cNvPr>
                <p:cNvCxnSpPr/>
                <p:nvPr/>
              </p:nvCxnSpPr>
              <p:spPr bwMode="gray">
                <a:xfrm rot="2896511">
                  <a:off x="7124651" y="2941708"/>
                  <a:ext cx="80655"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5" name="Straight Connector 514">
                  <a:extLst>
                    <a:ext uri="{FF2B5EF4-FFF2-40B4-BE49-F238E27FC236}">
                      <a16:creationId xmlns:a16="http://schemas.microsoft.com/office/drawing/2014/main" id="{F03C77D7-A275-41DB-AD51-41C130FBAD2B}"/>
                    </a:ext>
                  </a:extLst>
                </p:cNvPr>
                <p:cNvCxnSpPr/>
                <p:nvPr/>
              </p:nvCxnSpPr>
              <p:spPr bwMode="gray">
                <a:xfrm rot="5400000">
                  <a:off x="7293657" y="2877298"/>
                  <a:ext cx="80655" cy="0"/>
                </a:xfrm>
                <a:prstGeom prst="lin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06" name="Group 505">
                <a:extLst>
                  <a:ext uri="{FF2B5EF4-FFF2-40B4-BE49-F238E27FC236}">
                    <a16:creationId xmlns:a16="http://schemas.microsoft.com/office/drawing/2014/main" id="{64901DD5-763E-4BE3-BE34-66481E52324E}"/>
                  </a:ext>
                </a:extLst>
              </p:cNvPr>
              <p:cNvGrpSpPr/>
              <p:nvPr/>
            </p:nvGrpSpPr>
            <p:grpSpPr bwMode="gray">
              <a:xfrm>
                <a:off x="-1260274" y="2842575"/>
                <a:ext cx="111063" cy="64198"/>
                <a:chOff x="-2190753" y="2577465"/>
                <a:chExt cx="719458" cy="415868"/>
              </a:xfrm>
              <a:grpFill/>
            </p:grpSpPr>
            <p:sp>
              <p:nvSpPr>
                <p:cNvPr id="507" name="Freeform 168">
                  <a:extLst>
                    <a:ext uri="{FF2B5EF4-FFF2-40B4-BE49-F238E27FC236}">
                      <a16:creationId xmlns:a16="http://schemas.microsoft.com/office/drawing/2014/main" id="{D60F9BF3-B1E6-4385-8CCB-8BFDB2107023}"/>
                    </a:ext>
                  </a:extLst>
                </p:cNvPr>
                <p:cNvSpPr/>
                <p:nvPr/>
              </p:nvSpPr>
              <p:spPr bwMode="gray">
                <a:xfrm>
                  <a:off x="-1837055" y="2577465"/>
                  <a:ext cx="365760" cy="409575"/>
                </a:xfrm>
                <a:custGeom>
                  <a:avLst/>
                  <a:gdLst>
                    <a:gd name="connsiteX0" fmla="*/ 0 w 365760"/>
                    <a:gd name="connsiteY0" fmla="*/ 0 h 409575"/>
                    <a:gd name="connsiteX1" fmla="*/ 70485 w 365760"/>
                    <a:gd name="connsiteY1" fmla="*/ 0 h 409575"/>
                    <a:gd name="connsiteX2" fmla="*/ 184785 w 365760"/>
                    <a:gd name="connsiteY2" fmla="*/ 340995 h 409575"/>
                    <a:gd name="connsiteX3" fmla="*/ 300990 w 365760"/>
                    <a:gd name="connsiteY3" fmla="*/ 0 h 409575"/>
                    <a:gd name="connsiteX4" fmla="*/ 365760 w 365760"/>
                    <a:gd name="connsiteY4" fmla="*/ 0 h 409575"/>
                    <a:gd name="connsiteX5" fmla="*/ 217170 w 365760"/>
                    <a:gd name="connsiteY5" fmla="*/ 409575 h 409575"/>
                    <a:gd name="connsiteX6" fmla="*/ 150495 w 365760"/>
                    <a:gd name="connsiteY6" fmla="*/ 409575 h 409575"/>
                    <a:gd name="connsiteX7" fmla="*/ 0 w 365760"/>
                    <a:gd name="connsiteY7" fmla="*/ 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60" h="409575">
                      <a:moveTo>
                        <a:pt x="0" y="0"/>
                      </a:moveTo>
                      <a:lnTo>
                        <a:pt x="70485" y="0"/>
                      </a:lnTo>
                      <a:lnTo>
                        <a:pt x="184785" y="340995"/>
                      </a:lnTo>
                      <a:lnTo>
                        <a:pt x="300990" y="0"/>
                      </a:lnTo>
                      <a:lnTo>
                        <a:pt x="365760" y="0"/>
                      </a:lnTo>
                      <a:lnTo>
                        <a:pt x="217170" y="409575"/>
                      </a:lnTo>
                      <a:lnTo>
                        <a:pt x="150495" y="409575"/>
                      </a:lnTo>
                      <a:lnTo>
                        <a:pt x="0" y="0"/>
                      </a:ln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08" name="Flowchart: Delay 121">
                  <a:extLst>
                    <a:ext uri="{FF2B5EF4-FFF2-40B4-BE49-F238E27FC236}">
                      <a16:creationId xmlns:a16="http://schemas.microsoft.com/office/drawing/2014/main" id="{B96A7ACA-9F21-4AFC-B2E7-2A4A3F774FA0}"/>
                    </a:ext>
                  </a:extLst>
                </p:cNvPr>
                <p:cNvSpPr/>
                <p:nvPr/>
              </p:nvSpPr>
              <p:spPr bwMode="gray">
                <a:xfrm rot="16200000" flipH="1">
                  <a:off x="-2233462" y="2620756"/>
                  <a:ext cx="415286" cy="329868"/>
                </a:xfrm>
                <a:custGeom>
                  <a:avLst/>
                  <a:gdLst/>
                  <a:ahLst/>
                  <a:cxnLst/>
                  <a:rect l="l" t="t" r="r" b="b"/>
                  <a:pathLst>
                    <a:path w="415286" h="329868">
                      <a:moveTo>
                        <a:pt x="0" y="0"/>
                      </a:moveTo>
                      <a:lnTo>
                        <a:pt x="0" y="58254"/>
                      </a:lnTo>
                      <a:lnTo>
                        <a:pt x="35612" y="58254"/>
                      </a:lnTo>
                      <a:lnTo>
                        <a:pt x="35612" y="58253"/>
                      </a:lnTo>
                      <a:lnTo>
                        <a:pt x="242796" y="58253"/>
                      </a:lnTo>
                      <a:cubicBezTo>
                        <a:pt x="307575" y="58253"/>
                        <a:pt x="360154" y="105927"/>
                        <a:pt x="360510" y="164934"/>
                      </a:cubicBezTo>
                      <a:cubicBezTo>
                        <a:pt x="360154" y="223941"/>
                        <a:pt x="307575" y="271615"/>
                        <a:pt x="242796" y="271615"/>
                      </a:cubicBezTo>
                      <a:lnTo>
                        <a:pt x="35612" y="271615"/>
                      </a:lnTo>
                      <a:lnTo>
                        <a:pt x="35612" y="271614"/>
                      </a:lnTo>
                      <a:lnTo>
                        <a:pt x="0" y="271614"/>
                      </a:lnTo>
                      <a:lnTo>
                        <a:pt x="0" y="329868"/>
                      </a:lnTo>
                      <a:lnTo>
                        <a:pt x="264652" y="329868"/>
                      </a:lnTo>
                      <a:cubicBezTo>
                        <a:pt x="347267" y="329868"/>
                        <a:pt x="414348" y="256627"/>
                        <a:pt x="414937" y="165886"/>
                      </a:cubicBezTo>
                      <a:lnTo>
                        <a:pt x="415286" y="165886"/>
                      </a:lnTo>
                      <a:cubicBezTo>
                        <a:pt x="415286" y="165568"/>
                        <a:pt x="415285" y="165251"/>
                        <a:pt x="415112" y="164934"/>
                      </a:cubicBezTo>
                      <a:cubicBezTo>
                        <a:pt x="415285" y="164618"/>
                        <a:pt x="415286" y="164300"/>
                        <a:pt x="415286" y="163982"/>
                      </a:cubicBezTo>
                      <a:lnTo>
                        <a:pt x="414937" y="163982"/>
                      </a:lnTo>
                      <a:cubicBezTo>
                        <a:pt x="414348" y="73241"/>
                        <a:pt x="347267" y="0"/>
                        <a:pt x="264652" y="0"/>
                      </a:cubicBezTo>
                      <a:close/>
                    </a:path>
                  </a:pathLst>
                </a:custGeom>
                <a:grp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grpSp>
        <p:nvGrpSpPr>
          <p:cNvPr id="530" name="Group 529">
            <a:extLst>
              <a:ext uri="{FF2B5EF4-FFF2-40B4-BE49-F238E27FC236}">
                <a16:creationId xmlns:a16="http://schemas.microsoft.com/office/drawing/2014/main" id="{73558CF7-7D39-442C-8FB0-6D25424312D6}"/>
              </a:ext>
            </a:extLst>
          </p:cNvPr>
          <p:cNvGrpSpPr/>
          <p:nvPr/>
        </p:nvGrpSpPr>
        <p:grpSpPr bwMode="gray">
          <a:xfrm>
            <a:off x="11420179" y="1933106"/>
            <a:ext cx="420420" cy="420420"/>
            <a:chOff x="-4803283" y="1800682"/>
            <a:chExt cx="527454" cy="527454"/>
          </a:xfrm>
          <a:solidFill>
            <a:schemeClr val="tx2"/>
          </a:solidFill>
        </p:grpSpPr>
        <p:sp>
          <p:nvSpPr>
            <p:cNvPr id="531" name="Oval 530">
              <a:extLst>
                <a:ext uri="{FF2B5EF4-FFF2-40B4-BE49-F238E27FC236}">
                  <a16:creationId xmlns:a16="http://schemas.microsoft.com/office/drawing/2014/main" id="{D0204281-9149-431D-8DFB-44ED1E5C383E}"/>
                </a:ext>
              </a:extLst>
            </p:cNvPr>
            <p:cNvSpPr/>
            <p:nvPr/>
          </p:nvSpPr>
          <p:spPr bwMode="gray">
            <a:xfrm rot="16200000">
              <a:off x="-4803283" y="1800682"/>
              <a:ext cx="527454" cy="52745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532" name="Group 531">
              <a:extLst>
                <a:ext uri="{FF2B5EF4-FFF2-40B4-BE49-F238E27FC236}">
                  <a16:creationId xmlns:a16="http://schemas.microsoft.com/office/drawing/2014/main" id="{541E3A8F-5EA0-41AF-B345-A43160138218}"/>
                </a:ext>
              </a:extLst>
            </p:cNvPr>
            <p:cNvGrpSpPr/>
            <p:nvPr/>
          </p:nvGrpSpPr>
          <p:grpSpPr bwMode="gray">
            <a:xfrm>
              <a:off x="-4751236" y="1999222"/>
              <a:ext cx="423358" cy="130374"/>
              <a:chOff x="5561561" y="3580012"/>
              <a:chExt cx="1068879" cy="329166"/>
            </a:xfrm>
            <a:grpFill/>
          </p:grpSpPr>
          <p:sp>
            <p:nvSpPr>
              <p:cNvPr id="533" name="Oval 532">
                <a:extLst>
                  <a:ext uri="{FF2B5EF4-FFF2-40B4-BE49-F238E27FC236}">
                    <a16:creationId xmlns:a16="http://schemas.microsoft.com/office/drawing/2014/main" id="{F238E234-EBEC-4D4C-9422-427A295D9F6D}"/>
                  </a:ext>
                </a:extLst>
              </p:cNvPr>
              <p:cNvSpPr/>
              <p:nvPr/>
            </p:nvSpPr>
            <p:spPr bwMode="gray">
              <a:xfrm>
                <a:off x="5561561" y="3580012"/>
                <a:ext cx="329166" cy="329166"/>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34" name="Oval 533">
                <a:extLst>
                  <a:ext uri="{FF2B5EF4-FFF2-40B4-BE49-F238E27FC236}">
                    <a16:creationId xmlns:a16="http://schemas.microsoft.com/office/drawing/2014/main" id="{DD9D531D-6368-4126-9574-BEBEF748C42D}"/>
                  </a:ext>
                </a:extLst>
              </p:cNvPr>
              <p:cNvSpPr/>
              <p:nvPr/>
            </p:nvSpPr>
            <p:spPr bwMode="gray">
              <a:xfrm>
                <a:off x="6301274" y="3580012"/>
                <a:ext cx="329166" cy="329166"/>
              </a:xfrm>
              <a:prstGeom prst="ellipse">
                <a:avLst/>
              </a:pr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535" name="Straight Connector 534">
                <a:extLst>
                  <a:ext uri="{FF2B5EF4-FFF2-40B4-BE49-F238E27FC236}">
                    <a16:creationId xmlns:a16="http://schemas.microsoft.com/office/drawing/2014/main" id="{53FA9C23-12AE-4E4F-BFD2-D6640EC8D629}"/>
                  </a:ext>
                </a:extLst>
              </p:cNvPr>
              <p:cNvCxnSpPr>
                <a:stCxn id="533" idx="6"/>
                <a:endCxn id="534" idx="2"/>
              </p:cNvCxnSpPr>
              <p:nvPr/>
            </p:nvCxnSpPr>
            <p:spPr bwMode="gray">
              <a:xfrm>
                <a:off x="5890727" y="3744595"/>
                <a:ext cx="410547" cy="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6" name="Straight Connector 535">
                <a:extLst>
                  <a:ext uri="{FF2B5EF4-FFF2-40B4-BE49-F238E27FC236}">
                    <a16:creationId xmlns:a16="http://schemas.microsoft.com/office/drawing/2014/main" id="{D268696B-A66B-4E95-A1E0-48F5DF92E046}"/>
                  </a:ext>
                </a:extLst>
              </p:cNvPr>
              <p:cNvCxnSpPr/>
              <p:nvPr/>
            </p:nvCxnSpPr>
            <p:spPr bwMode="gray">
              <a:xfrm>
                <a:off x="6062617" y="3669857"/>
                <a:ext cx="66766" cy="149477"/>
              </a:xfrm>
              <a:prstGeom prst="line">
                <a:avLst/>
              </a:prstGeom>
              <a:grpFill/>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65" name="Group 64">
            <a:extLst>
              <a:ext uri="{FF2B5EF4-FFF2-40B4-BE49-F238E27FC236}">
                <a16:creationId xmlns:a16="http://schemas.microsoft.com/office/drawing/2014/main" id="{3BCC5930-12B1-4709-BAD1-6394829129A3}"/>
              </a:ext>
            </a:extLst>
          </p:cNvPr>
          <p:cNvGrpSpPr/>
          <p:nvPr/>
        </p:nvGrpSpPr>
        <p:grpSpPr bwMode="gray">
          <a:xfrm>
            <a:off x="11417593" y="2617606"/>
            <a:ext cx="421812" cy="421812"/>
            <a:chOff x="6550365" y="1952229"/>
            <a:chExt cx="421812" cy="421812"/>
          </a:xfrm>
          <a:solidFill>
            <a:schemeClr val="tx2"/>
          </a:solidFill>
        </p:grpSpPr>
        <p:sp>
          <p:nvSpPr>
            <p:cNvPr id="538" name="Oval 537">
              <a:extLst>
                <a:ext uri="{FF2B5EF4-FFF2-40B4-BE49-F238E27FC236}">
                  <a16:creationId xmlns:a16="http://schemas.microsoft.com/office/drawing/2014/main" id="{0BC8042D-9786-4AC2-A233-9163E4799625}"/>
                </a:ext>
              </a:extLst>
            </p:cNvPr>
            <p:cNvSpPr/>
            <p:nvPr/>
          </p:nvSpPr>
          <p:spPr bwMode="gray">
            <a:xfrm>
              <a:off x="6550365" y="1952229"/>
              <a:ext cx="421812" cy="421812"/>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39" name="Can 29">
              <a:extLst>
                <a:ext uri="{FF2B5EF4-FFF2-40B4-BE49-F238E27FC236}">
                  <a16:creationId xmlns:a16="http://schemas.microsoft.com/office/drawing/2014/main" id="{5D16EA89-3A11-4B6C-BB11-3E8C9E7EE0AC}"/>
                </a:ext>
              </a:extLst>
            </p:cNvPr>
            <p:cNvSpPr/>
            <p:nvPr/>
          </p:nvSpPr>
          <p:spPr bwMode="gray">
            <a:xfrm>
              <a:off x="6620889" y="2097702"/>
              <a:ext cx="280763" cy="194175"/>
            </a:xfrm>
            <a:custGeom>
              <a:avLst/>
              <a:gdLst/>
              <a:ahLst/>
              <a:cxnLst/>
              <a:rect l="l" t="t" r="r" b="b"/>
              <a:pathLst>
                <a:path w="352242" h="243610">
                  <a:moveTo>
                    <a:pt x="176121" y="0"/>
                  </a:moveTo>
                  <a:lnTo>
                    <a:pt x="237951" y="3589"/>
                  </a:lnTo>
                  <a:lnTo>
                    <a:pt x="239926" y="3874"/>
                  </a:lnTo>
                  <a:lnTo>
                    <a:pt x="239926" y="44223"/>
                  </a:lnTo>
                  <a:cubicBezTo>
                    <a:pt x="239926" y="52438"/>
                    <a:pt x="255949" y="59098"/>
                    <a:pt x="275713" y="59098"/>
                  </a:cubicBezTo>
                  <a:cubicBezTo>
                    <a:pt x="295478" y="59098"/>
                    <a:pt x="311501" y="52438"/>
                    <a:pt x="311501" y="44223"/>
                  </a:cubicBezTo>
                  <a:cubicBezTo>
                    <a:pt x="311501" y="35710"/>
                    <a:pt x="311501" y="27197"/>
                    <a:pt x="311501" y="18685"/>
                  </a:cubicBezTo>
                  <a:cubicBezTo>
                    <a:pt x="336993" y="27060"/>
                    <a:pt x="352242" y="38333"/>
                    <a:pt x="352242" y="50630"/>
                  </a:cubicBezTo>
                  <a:cubicBezTo>
                    <a:pt x="352242" y="98080"/>
                    <a:pt x="352242" y="145530"/>
                    <a:pt x="352242" y="192980"/>
                  </a:cubicBezTo>
                  <a:cubicBezTo>
                    <a:pt x="352242" y="220942"/>
                    <a:pt x="273389" y="243610"/>
                    <a:pt x="176121" y="243610"/>
                  </a:cubicBezTo>
                  <a:cubicBezTo>
                    <a:pt x="78852" y="243610"/>
                    <a:pt x="0" y="220942"/>
                    <a:pt x="0" y="192980"/>
                  </a:cubicBezTo>
                  <a:cubicBezTo>
                    <a:pt x="0" y="145530"/>
                    <a:pt x="1" y="98080"/>
                    <a:pt x="1" y="50630"/>
                  </a:cubicBezTo>
                  <a:cubicBezTo>
                    <a:pt x="1" y="38012"/>
                    <a:pt x="16055" y="26474"/>
                    <a:pt x="42716" y="17919"/>
                  </a:cubicBezTo>
                  <a:lnTo>
                    <a:pt x="42716" y="44223"/>
                  </a:lnTo>
                  <a:lnTo>
                    <a:pt x="42716" y="44223"/>
                  </a:lnTo>
                  <a:lnTo>
                    <a:pt x="42716" y="44223"/>
                  </a:lnTo>
                  <a:cubicBezTo>
                    <a:pt x="42716" y="52438"/>
                    <a:pt x="58739" y="59098"/>
                    <a:pt x="78504" y="59098"/>
                  </a:cubicBezTo>
                  <a:cubicBezTo>
                    <a:pt x="98269" y="59098"/>
                    <a:pt x="114291" y="52438"/>
                    <a:pt x="114291" y="44223"/>
                  </a:cubicBezTo>
                  <a:cubicBezTo>
                    <a:pt x="114291" y="44223"/>
                    <a:pt x="114291" y="44222"/>
                    <a:pt x="114291" y="44222"/>
                  </a:cubicBezTo>
                  <a:cubicBezTo>
                    <a:pt x="114291" y="30678"/>
                    <a:pt x="114291" y="17133"/>
                    <a:pt x="114292" y="3589"/>
                  </a:cubicBezTo>
                  <a:cubicBezTo>
                    <a:pt x="133500" y="1136"/>
                    <a:pt x="154349" y="0"/>
                    <a:pt x="176121"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40" name="Oval 119">
              <a:extLst>
                <a:ext uri="{FF2B5EF4-FFF2-40B4-BE49-F238E27FC236}">
                  <a16:creationId xmlns:a16="http://schemas.microsoft.com/office/drawing/2014/main" id="{876B025C-109D-47B7-95B1-C9E6A0308DAD}"/>
                </a:ext>
              </a:extLst>
            </p:cNvPr>
            <p:cNvSpPr/>
            <p:nvPr/>
          </p:nvSpPr>
          <p:spPr bwMode="gray">
            <a:xfrm>
              <a:off x="6620889" y="2097702"/>
              <a:ext cx="280762" cy="80710"/>
            </a:xfrm>
            <a:custGeom>
              <a:avLst/>
              <a:gdLst/>
              <a:ahLst/>
              <a:cxnLst/>
              <a:rect l="l" t="t" r="r" b="b"/>
              <a:pathLst>
                <a:path w="352241" h="101258">
                  <a:moveTo>
                    <a:pt x="176120" y="0"/>
                  </a:moveTo>
                  <a:lnTo>
                    <a:pt x="239926" y="3703"/>
                  </a:lnTo>
                  <a:lnTo>
                    <a:pt x="239925" y="44222"/>
                  </a:lnTo>
                  <a:cubicBezTo>
                    <a:pt x="239925" y="52437"/>
                    <a:pt x="255948" y="59097"/>
                    <a:pt x="275713" y="59097"/>
                  </a:cubicBezTo>
                  <a:cubicBezTo>
                    <a:pt x="295478" y="59097"/>
                    <a:pt x="311500" y="52437"/>
                    <a:pt x="311500" y="44222"/>
                  </a:cubicBezTo>
                  <a:cubicBezTo>
                    <a:pt x="311500" y="35684"/>
                    <a:pt x="311500" y="27145"/>
                    <a:pt x="311500" y="18607"/>
                  </a:cubicBezTo>
                  <a:cubicBezTo>
                    <a:pt x="336984" y="27054"/>
                    <a:pt x="352241" y="38329"/>
                    <a:pt x="352241" y="50629"/>
                  </a:cubicBezTo>
                  <a:cubicBezTo>
                    <a:pt x="352241" y="78591"/>
                    <a:pt x="273389" y="101258"/>
                    <a:pt x="176120" y="101258"/>
                  </a:cubicBezTo>
                  <a:cubicBezTo>
                    <a:pt x="78852" y="101258"/>
                    <a:pt x="0" y="78591"/>
                    <a:pt x="0" y="50629"/>
                  </a:cubicBezTo>
                  <a:cubicBezTo>
                    <a:pt x="0" y="38045"/>
                    <a:pt x="15971" y="26533"/>
                    <a:pt x="42716" y="18610"/>
                  </a:cubicBezTo>
                  <a:lnTo>
                    <a:pt x="42716" y="44223"/>
                  </a:lnTo>
                  <a:cubicBezTo>
                    <a:pt x="42716" y="52438"/>
                    <a:pt x="58739" y="59098"/>
                    <a:pt x="78504" y="59098"/>
                  </a:cubicBezTo>
                  <a:cubicBezTo>
                    <a:pt x="98269" y="59098"/>
                    <a:pt x="114291" y="52438"/>
                    <a:pt x="114291" y="44223"/>
                  </a:cubicBezTo>
                  <a:cubicBezTo>
                    <a:pt x="114291" y="30678"/>
                    <a:pt x="114291" y="17133"/>
                    <a:pt x="114292" y="3588"/>
                  </a:cubicBezTo>
                  <a:cubicBezTo>
                    <a:pt x="133500" y="1136"/>
                    <a:pt x="154348" y="0"/>
                    <a:pt x="17612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41" name="Can 221">
              <a:extLst>
                <a:ext uri="{FF2B5EF4-FFF2-40B4-BE49-F238E27FC236}">
                  <a16:creationId xmlns:a16="http://schemas.microsoft.com/office/drawing/2014/main" id="{43A7F151-055F-4787-9E07-2ECAC8736460}"/>
                </a:ext>
              </a:extLst>
            </p:cNvPr>
            <p:cNvSpPr/>
            <p:nvPr/>
          </p:nvSpPr>
          <p:spPr bwMode="gray">
            <a:xfrm>
              <a:off x="6654937" y="2069315"/>
              <a:ext cx="57051" cy="75493"/>
            </a:xfrm>
            <a:custGeom>
              <a:avLst/>
              <a:gdLst/>
              <a:ahLst/>
              <a:cxnLst/>
              <a:rect l="l" t="t" r="r" b="b"/>
              <a:pathLst>
                <a:path w="138065" h="182695">
                  <a:moveTo>
                    <a:pt x="69033" y="0"/>
                  </a:moveTo>
                  <a:cubicBezTo>
                    <a:pt x="107158" y="0"/>
                    <a:pt x="138065" y="12847"/>
                    <a:pt x="138065" y="28694"/>
                  </a:cubicBezTo>
                  <a:cubicBezTo>
                    <a:pt x="138065" y="70463"/>
                    <a:pt x="138064" y="112232"/>
                    <a:pt x="138064" y="154001"/>
                  </a:cubicBezTo>
                  <a:cubicBezTo>
                    <a:pt x="138064" y="169848"/>
                    <a:pt x="107157" y="182695"/>
                    <a:pt x="69032" y="182695"/>
                  </a:cubicBezTo>
                  <a:cubicBezTo>
                    <a:pt x="30907" y="182695"/>
                    <a:pt x="0" y="169848"/>
                    <a:pt x="0" y="154001"/>
                  </a:cubicBezTo>
                  <a:cubicBezTo>
                    <a:pt x="0" y="112232"/>
                    <a:pt x="1" y="70463"/>
                    <a:pt x="1" y="28694"/>
                  </a:cubicBezTo>
                  <a:cubicBezTo>
                    <a:pt x="1" y="12847"/>
                    <a:pt x="30908" y="0"/>
                    <a:pt x="69033"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42" name="Can 222">
              <a:extLst>
                <a:ext uri="{FF2B5EF4-FFF2-40B4-BE49-F238E27FC236}">
                  <a16:creationId xmlns:a16="http://schemas.microsoft.com/office/drawing/2014/main" id="{244D39B7-C363-42B3-94A0-C99ED47C8F4F}"/>
                </a:ext>
              </a:extLst>
            </p:cNvPr>
            <p:cNvSpPr/>
            <p:nvPr/>
          </p:nvSpPr>
          <p:spPr bwMode="gray">
            <a:xfrm>
              <a:off x="6812128" y="2069315"/>
              <a:ext cx="57051" cy="75493"/>
            </a:xfrm>
            <a:custGeom>
              <a:avLst/>
              <a:gdLst/>
              <a:ahLst/>
              <a:cxnLst/>
              <a:rect l="l" t="t" r="r" b="b"/>
              <a:pathLst>
                <a:path w="138065" h="182695">
                  <a:moveTo>
                    <a:pt x="69033" y="0"/>
                  </a:moveTo>
                  <a:cubicBezTo>
                    <a:pt x="107158" y="0"/>
                    <a:pt x="138065" y="12847"/>
                    <a:pt x="138065" y="28694"/>
                  </a:cubicBezTo>
                  <a:cubicBezTo>
                    <a:pt x="138065" y="70463"/>
                    <a:pt x="138064" y="112232"/>
                    <a:pt x="138064" y="154001"/>
                  </a:cubicBezTo>
                  <a:cubicBezTo>
                    <a:pt x="138064" y="169848"/>
                    <a:pt x="107157" y="182695"/>
                    <a:pt x="69032" y="182695"/>
                  </a:cubicBezTo>
                  <a:cubicBezTo>
                    <a:pt x="30907" y="182695"/>
                    <a:pt x="0" y="169848"/>
                    <a:pt x="0" y="154001"/>
                  </a:cubicBezTo>
                  <a:cubicBezTo>
                    <a:pt x="0" y="112232"/>
                    <a:pt x="1" y="70463"/>
                    <a:pt x="1" y="28694"/>
                  </a:cubicBezTo>
                  <a:cubicBezTo>
                    <a:pt x="1" y="12847"/>
                    <a:pt x="30908" y="0"/>
                    <a:pt x="69033"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543" name="Group 542">
              <a:extLst>
                <a:ext uri="{FF2B5EF4-FFF2-40B4-BE49-F238E27FC236}">
                  <a16:creationId xmlns:a16="http://schemas.microsoft.com/office/drawing/2014/main" id="{530A633E-B244-4876-85C7-E95AE47011E3}"/>
                </a:ext>
              </a:extLst>
            </p:cNvPr>
            <p:cNvGrpSpPr/>
            <p:nvPr/>
          </p:nvGrpSpPr>
          <p:grpSpPr bwMode="gray">
            <a:xfrm>
              <a:off x="6683463" y="2001220"/>
              <a:ext cx="157185" cy="77712"/>
              <a:chOff x="9985390" y="1226001"/>
              <a:chExt cx="167775" cy="90696"/>
            </a:xfrm>
            <a:grpFill/>
          </p:grpSpPr>
          <p:cxnSp>
            <p:nvCxnSpPr>
              <p:cNvPr id="547" name="Straight Connector 546">
                <a:extLst>
                  <a:ext uri="{FF2B5EF4-FFF2-40B4-BE49-F238E27FC236}">
                    <a16:creationId xmlns:a16="http://schemas.microsoft.com/office/drawing/2014/main" id="{5D1246DE-498C-49FA-A1FB-65A3FAC3F851}"/>
                  </a:ext>
                </a:extLst>
              </p:cNvPr>
              <p:cNvCxnSpPr/>
              <p:nvPr/>
            </p:nvCxnSpPr>
            <p:spPr bwMode="gray">
              <a:xfrm flipV="1">
                <a:off x="9985451" y="1276774"/>
                <a:ext cx="109" cy="39923"/>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548" name="Freeform 253">
                <a:extLst>
                  <a:ext uri="{FF2B5EF4-FFF2-40B4-BE49-F238E27FC236}">
                    <a16:creationId xmlns:a16="http://schemas.microsoft.com/office/drawing/2014/main" id="{EF4A1D89-755E-4FC9-912A-875468AF1192}"/>
                  </a:ext>
                </a:extLst>
              </p:cNvPr>
              <p:cNvSpPr/>
              <p:nvPr/>
            </p:nvSpPr>
            <p:spPr bwMode="gray">
              <a:xfrm>
                <a:off x="9985390" y="1226001"/>
                <a:ext cx="167622" cy="63112"/>
              </a:xfrm>
              <a:custGeom>
                <a:avLst/>
                <a:gdLst>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31520 w 767554"/>
                  <a:gd name="connsiteY22" fmla="*/ 21619 h 25429"/>
                  <a:gd name="connsiteX23" fmla="*/ 737235 w 767554"/>
                  <a:gd name="connsiteY23" fmla="*/ 19714 h 25429"/>
                  <a:gd name="connsiteX24" fmla="*/ 750570 w 767554"/>
                  <a:gd name="connsiteY24" fmla="*/ 15904 h 25429"/>
                  <a:gd name="connsiteX25" fmla="*/ 762000 w 767554"/>
                  <a:gd name="connsiteY25" fmla="*/ 8284 h 25429"/>
                  <a:gd name="connsiteX26" fmla="*/ 763905 w 767554"/>
                  <a:gd name="connsiteY26" fmla="*/ 2569 h 25429"/>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31520 w 767554"/>
                  <a:gd name="connsiteY22" fmla="*/ 21619 h 25429"/>
                  <a:gd name="connsiteX23" fmla="*/ 750570 w 767554"/>
                  <a:gd name="connsiteY23" fmla="*/ 15904 h 25429"/>
                  <a:gd name="connsiteX24" fmla="*/ 762000 w 767554"/>
                  <a:gd name="connsiteY24" fmla="*/ 8284 h 25429"/>
                  <a:gd name="connsiteX25" fmla="*/ 763905 w 767554"/>
                  <a:gd name="connsiteY25" fmla="*/ 2569 h 25429"/>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50570 w 767554"/>
                  <a:gd name="connsiteY22" fmla="*/ 15904 h 25429"/>
                  <a:gd name="connsiteX23" fmla="*/ 762000 w 767554"/>
                  <a:gd name="connsiteY23" fmla="*/ 8284 h 25429"/>
                  <a:gd name="connsiteX24" fmla="*/ 763905 w 767554"/>
                  <a:gd name="connsiteY24" fmla="*/ 2569 h 25429"/>
                  <a:gd name="connsiteX0" fmla="*/ 0 w 766977"/>
                  <a:gd name="connsiteY0" fmla="*/ 10189 h 25429"/>
                  <a:gd name="connsiteX1" fmla="*/ 11430 w 766977"/>
                  <a:gd name="connsiteY1" fmla="*/ 8284 h 25429"/>
                  <a:gd name="connsiteX2" fmla="*/ 28575 w 766977"/>
                  <a:gd name="connsiteY2" fmla="*/ 4474 h 25429"/>
                  <a:gd name="connsiteX3" fmla="*/ 57150 w 766977"/>
                  <a:gd name="connsiteY3" fmla="*/ 2569 h 25429"/>
                  <a:gd name="connsiteX4" fmla="*/ 104775 w 766977"/>
                  <a:gd name="connsiteY4" fmla="*/ 4474 h 25429"/>
                  <a:gd name="connsiteX5" fmla="*/ 133350 w 766977"/>
                  <a:gd name="connsiteY5" fmla="*/ 6379 h 25429"/>
                  <a:gd name="connsiteX6" fmla="*/ 169545 w 766977"/>
                  <a:gd name="connsiteY6" fmla="*/ 8284 h 25429"/>
                  <a:gd name="connsiteX7" fmla="*/ 262890 w 766977"/>
                  <a:gd name="connsiteY7" fmla="*/ 12094 h 25429"/>
                  <a:gd name="connsiteX8" fmla="*/ 289560 w 766977"/>
                  <a:gd name="connsiteY8" fmla="*/ 10189 h 25429"/>
                  <a:gd name="connsiteX9" fmla="*/ 300990 w 766977"/>
                  <a:gd name="connsiteY9" fmla="*/ 8284 h 25429"/>
                  <a:gd name="connsiteX10" fmla="*/ 350520 w 766977"/>
                  <a:gd name="connsiteY10" fmla="*/ 10189 h 25429"/>
                  <a:gd name="connsiteX11" fmla="*/ 390525 w 766977"/>
                  <a:gd name="connsiteY11" fmla="*/ 8284 h 25429"/>
                  <a:gd name="connsiteX12" fmla="*/ 419100 w 766977"/>
                  <a:gd name="connsiteY12" fmla="*/ 6379 h 25429"/>
                  <a:gd name="connsiteX13" fmla="*/ 491490 w 766977"/>
                  <a:gd name="connsiteY13" fmla="*/ 2569 h 25429"/>
                  <a:gd name="connsiteX14" fmla="*/ 575310 w 766977"/>
                  <a:gd name="connsiteY14" fmla="*/ 2569 h 25429"/>
                  <a:gd name="connsiteX15" fmla="*/ 586740 w 766977"/>
                  <a:gd name="connsiteY15" fmla="*/ 4474 h 25429"/>
                  <a:gd name="connsiteX16" fmla="*/ 617220 w 766977"/>
                  <a:gd name="connsiteY16" fmla="*/ 6379 h 25429"/>
                  <a:gd name="connsiteX17" fmla="*/ 661035 w 766977"/>
                  <a:gd name="connsiteY17" fmla="*/ 12094 h 25429"/>
                  <a:gd name="connsiteX18" fmla="*/ 678180 w 766977"/>
                  <a:gd name="connsiteY18" fmla="*/ 15904 h 25429"/>
                  <a:gd name="connsiteX19" fmla="*/ 689610 w 766977"/>
                  <a:gd name="connsiteY19" fmla="*/ 19714 h 25429"/>
                  <a:gd name="connsiteX20" fmla="*/ 699135 w 766977"/>
                  <a:gd name="connsiteY20" fmla="*/ 21619 h 25429"/>
                  <a:gd name="connsiteX21" fmla="*/ 716280 w 766977"/>
                  <a:gd name="connsiteY21" fmla="*/ 25429 h 25429"/>
                  <a:gd name="connsiteX22" fmla="*/ 762000 w 766977"/>
                  <a:gd name="connsiteY22" fmla="*/ 8284 h 25429"/>
                  <a:gd name="connsiteX23" fmla="*/ 763905 w 766977"/>
                  <a:gd name="connsiteY23" fmla="*/ 2569 h 25429"/>
                  <a:gd name="connsiteX0" fmla="*/ 0 w 762000"/>
                  <a:gd name="connsiteY0" fmla="*/ 10189 h 25429"/>
                  <a:gd name="connsiteX1" fmla="*/ 11430 w 762000"/>
                  <a:gd name="connsiteY1" fmla="*/ 8284 h 25429"/>
                  <a:gd name="connsiteX2" fmla="*/ 28575 w 762000"/>
                  <a:gd name="connsiteY2" fmla="*/ 4474 h 25429"/>
                  <a:gd name="connsiteX3" fmla="*/ 57150 w 762000"/>
                  <a:gd name="connsiteY3" fmla="*/ 2569 h 25429"/>
                  <a:gd name="connsiteX4" fmla="*/ 104775 w 762000"/>
                  <a:gd name="connsiteY4" fmla="*/ 4474 h 25429"/>
                  <a:gd name="connsiteX5" fmla="*/ 133350 w 762000"/>
                  <a:gd name="connsiteY5" fmla="*/ 6379 h 25429"/>
                  <a:gd name="connsiteX6" fmla="*/ 169545 w 762000"/>
                  <a:gd name="connsiteY6" fmla="*/ 8284 h 25429"/>
                  <a:gd name="connsiteX7" fmla="*/ 262890 w 762000"/>
                  <a:gd name="connsiteY7" fmla="*/ 12094 h 25429"/>
                  <a:gd name="connsiteX8" fmla="*/ 289560 w 762000"/>
                  <a:gd name="connsiteY8" fmla="*/ 10189 h 25429"/>
                  <a:gd name="connsiteX9" fmla="*/ 300990 w 762000"/>
                  <a:gd name="connsiteY9" fmla="*/ 8284 h 25429"/>
                  <a:gd name="connsiteX10" fmla="*/ 350520 w 762000"/>
                  <a:gd name="connsiteY10" fmla="*/ 10189 h 25429"/>
                  <a:gd name="connsiteX11" fmla="*/ 390525 w 762000"/>
                  <a:gd name="connsiteY11" fmla="*/ 8284 h 25429"/>
                  <a:gd name="connsiteX12" fmla="*/ 419100 w 762000"/>
                  <a:gd name="connsiteY12" fmla="*/ 6379 h 25429"/>
                  <a:gd name="connsiteX13" fmla="*/ 491490 w 762000"/>
                  <a:gd name="connsiteY13" fmla="*/ 2569 h 25429"/>
                  <a:gd name="connsiteX14" fmla="*/ 575310 w 762000"/>
                  <a:gd name="connsiteY14" fmla="*/ 2569 h 25429"/>
                  <a:gd name="connsiteX15" fmla="*/ 586740 w 762000"/>
                  <a:gd name="connsiteY15" fmla="*/ 4474 h 25429"/>
                  <a:gd name="connsiteX16" fmla="*/ 617220 w 762000"/>
                  <a:gd name="connsiteY16" fmla="*/ 6379 h 25429"/>
                  <a:gd name="connsiteX17" fmla="*/ 661035 w 762000"/>
                  <a:gd name="connsiteY17" fmla="*/ 12094 h 25429"/>
                  <a:gd name="connsiteX18" fmla="*/ 678180 w 762000"/>
                  <a:gd name="connsiteY18" fmla="*/ 15904 h 25429"/>
                  <a:gd name="connsiteX19" fmla="*/ 689610 w 762000"/>
                  <a:gd name="connsiteY19" fmla="*/ 19714 h 25429"/>
                  <a:gd name="connsiteX20" fmla="*/ 699135 w 762000"/>
                  <a:gd name="connsiteY20" fmla="*/ 21619 h 25429"/>
                  <a:gd name="connsiteX21" fmla="*/ 716280 w 762000"/>
                  <a:gd name="connsiteY21" fmla="*/ 25429 h 25429"/>
                  <a:gd name="connsiteX22" fmla="*/ 762000 w 762000"/>
                  <a:gd name="connsiteY22" fmla="*/ 8284 h 25429"/>
                  <a:gd name="connsiteX0" fmla="*/ 0 w 762000"/>
                  <a:gd name="connsiteY0" fmla="*/ 10189 h 26852"/>
                  <a:gd name="connsiteX1" fmla="*/ 11430 w 762000"/>
                  <a:gd name="connsiteY1" fmla="*/ 8284 h 26852"/>
                  <a:gd name="connsiteX2" fmla="*/ 28575 w 762000"/>
                  <a:gd name="connsiteY2" fmla="*/ 4474 h 26852"/>
                  <a:gd name="connsiteX3" fmla="*/ 57150 w 762000"/>
                  <a:gd name="connsiteY3" fmla="*/ 2569 h 26852"/>
                  <a:gd name="connsiteX4" fmla="*/ 104775 w 762000"/>
                  <a:gd name="connsiteY4" fmla="*/ 4474 h 26852"/>
                  <a:gd name="connsiteX5" fmla="*/ 133350 w 762000"/>
                  <a:gd name="connsiteY5" fmla="*/ 6379 h 26852"/>
                  <a:gd name="connsiteX6" fmla="*/ 169545 w 762000"/>
                  <a:gd name="connsiteY6" fmla="*/ 8284 h 26852"/>
                  <a:gd name="connsiteX7" fmla="*/ 262890 w 762000"/>
                  <a:gd name="connsiteY7" fmla="*/ 12094 h 26852"/>
                  <a:gd name="connsiteX8" fmla="*/ 289560 w 762000"/>
                  <a:gd name="connsiteY8" fmla="*/ 10189 h 26852"/>
                  <a:gd name="connsiteX9" fmla="*/ 300990 w 762000"/>
                  <a:gd name="connsiteY9" fmla="*/ 8284 h 26852"/>
                  <a:gd name="connsiteX10" fmla="*/ 350520 w 762000"/>
                  <a:gd name="connsiteY10" fmla="*/ 10189 h 26852"/>
                  <a:gd name="connsiteX11" fmla="*/ 390525 w 762000"/>
                  <a:gd name="connsiteY11" fmla="*/ 8284 h 26852"/>
                  <a:gd name="connsiteX12" fmla="*/ 419100 w 762000"/>
                  <a:gd name="connsiteY12" fmla="*/ 6379 h 26852"/>
                  <a:gd name="connsiteX13" fmla="*/ 491490 w 762000"/>
                  <a:gd name="connsiteY13" fmla="*/ 2569 h 26852"/>
                  <a:gd name="connsiteX14" fmla="*/ 575310 w 762000"/>
                  <a:gd name="connsiteY14" fmla="*/ 2569 h 26852"/>
                  <a:gd name="connsiteX15" fmla="*/ 586740 w 762000"/>
                  <a:gd name="connsiteY15" fmla="*/ 4474 h 26852"/>
                  <a:gd name="connsiteX16" fmla="*/ 617220 w 762000"/>
                  <a:gd name="connsiteY16" fmla="*/ 6379 h 26852"/>
                  <a:gd name="connsiteX17" fmla="*/ 661035 w 762000"/>
                  <a:gd name="connsiteY17" fmla="*/ 12094 h 26852"/>
                  <a:gd name="connsiteX18" fmla="*/ 678180 w 762000"/>
                  <a:gd name="connsiteY18" fmla="*/ 15904 h 26852"/>
                  <a:gd name="connsiteX19" fmla="*/ 689610 w 762000"/>
                  <a:gd name="connsiteY19" fmla="*/ 19714 h 26852"/>
                  <a:gd name="connsiteX20" fmla="*/ 699135 w 762000"/>
                  <a:gd name="connsiteY20" fmla="*/ 21619 h 26852"/>
                  <a:gd name="connsiteX21" fmla="*/ 706756 w 762000"/>
                  <a:gd name="connsiteY21" fmla="*/ 25429 h 26852"/>
                  <a:gd name="connsiteX22" fmla="*/ 716280 w 762000"/>
                  <a:gd name="connsiteY22" fmla="*/ 25429 h 26852"/>
                  <a:gd name="connsiteX23" fmla="*/ 762000 w 762000"/>
                  <a:gd name="connsiteY23" fmla="*/ 8284 h 26852"/>
                  <a:gd name="connsiteX0" fmla="*/ 0 w 762000"/>
                  <a:gd name="connsiteY0" fmla="*/ 10189 h 26852"/>
                  <a:gd name="connsiteX1" fmla="*/ 11430 w 762000"/>
                  <a:gd name="connsiteY1" fmla="*/ 8284 h 26852"/>
                  <a:gd name="connsiteX2" fmla="*/ 28575 w 762000"/>
                  <a:gd name="connsiteY2" fmla="*/ 4474 h 26852"/>
                  <a:gd name="connsiteX3" fmla="*/ 57150 w 762000"/>
                  <a:gd name="connsiteY3" fmla="*/ 2569 h 26852"/>
                  <a:gd name="connsiteX4" fmla="*/ 104775 w 762000"/>
                  <a:gd name="connsiteY4" fmla="*/ 4474 h 26852"/>
                  <a:gd name="connsiteX5" fmla="*/ 133350 w 762000"/>
                  <a:gd name="connsiteY5" fmla="*/ 6379 h 26852"/>
                  <a:gd name="connsiteX6" fmla="*/ 169545 w 762000"/>
                  <a:gd name="connsiteY6" fmla="*/ 8284 h 26852"/>
                  <a:gd name="connsiteX7" fmla="*/ 262890 w 762000"/>
                  <a:gd name="connsiteY7" fmla="*/ 12094 h 26852"/>
                  <a:gd name="connsiteX8" fmla="*/ 289560 w 762000"/>
                  <a:gd name="connsiteY8" fmla="*/ 10189 h 26852"/>
                  <a:gd name="connsiteX9" fmla="*/ 300990 w 762000"/>
                  <a:gd name="connsiteY9" fmla="*/ 8284 h 26852"/>
                  <a:gd name="connsiteX10" fmla="*/ 350520 w 762000"/>
                  <a:gd name="connsiteY10" fmla="*/ 10189 h 26852"/>
                  <a:gd name="connsiteX11" fmla="*/ 390525 w 762000"/>
                  <a:gd name="connsiteY11" fmla="*/ 8284 h 26852"/>
                  <a:gd name="connsiteX12" fmla="*/ 419100 w 762000"/>
                  <a:gd name="connsiteY12" fmla="*/ 6379 h 26852"/>
                  <a:gd name="connsiteX13" fmla="*/ 491490 w 762000"/>
                  <a:gd name="connsiteY13" fmla="*/ 2569 h 26852"/>
                  <a:gd name="connsiteX14" fmla="*/ 575310 w 762000"/>
                  <a:gd name="connsiteY14" fmla="*/ 2569 h 26852"/>
                  <a:gd name="connsiteX15" fmla="*/ 586740 w 762000"/>
                  <a:gd name="connsiteY15" fmla="*/ 4474 h 26852"/>
                  <a:gd name="connsiteX16" fmla="*/ 617220 w 762000"/>
                  <a:gd name="connsiteY16" fmla="*/ 6379 h 26852"/>
                  <a:gd name="connsiteX17" fmla="*/ 661035 w 762000"/>
                  <a:gd name="connsiteY17" fmla="*/ 12094 h 26852"/>
                  <a:gd name="connsiteX18" fmla="*/ 678180 w 762000"/>
                  <a:gd name="connsiteY18" fmla="*/ 15904 h 26852"/>
                  <a:gd name="connsiteX19" fmla="*/ 699135 w 762000"/>
                  <a:gd name="connsiteY19" fmla="*/ 21619 h 26852"/>
                  <a:gd name="connsiteX20" fmla="*/ 706756 w 762000"/>
                  <a:gd name="connsiteY20" fmla="*/ 25429 h 26852"/>
                  <a:gd name="connsiteX21" fmla="*/ 716280 w 762000"/>
                  <a:gd name="connsiteY21" fmla="*/ 25429 h 26852"/>
                  <a:gd name="connsiteX22" fmla="*/ 762000 w 762000"/>
                  <a:gd name="connsiteY22" fmla="*/ 8284 h 26852"/>
                  <a:gd name="connsiteX0" fmla="*/ 0 w 716280"/>
                  <a:gd name="connsiteY0" fmla="*/ 10189 h 26852"/>
                  <a:gd name="connsiteX1" fmla="*/ 11430 w 716280"/>
                  <a:gd name="connsiteY1" fmla="*/ 8284 h 26852"/>
                  <a:gd name="connsiteX2" fmla="*/ 28575 w 716280"/>
                  <a:gd name="connsiteY2" fmla="*/ 4474 h 26852"/>
                  <a:gd name="connsiteX3" fmla="*/ 57150 w 716280"/>
                  <a:gd name="connsiteY3" fmla="*/ 2569 h 26852"/>
                  <a:gd name="connsiteX4" fmla="*/ 104775 w 716280"/>
                  <a:gd name="connsiteY4" fmla="*/ 4474 h 26852"/>
                  <a:gd name="connsiteX5" fmla="*/ 133350 w 716280"/>
                  <a:gd name="connsiteY5" fmla="*/ 6379 h 26852"/>
                  <a:gd name="connsiteX6" fmla="*/ 169545 w 716280"/>
                  <a:gd name="connsiteY6" fmla="*/ 8284 h 26852"/>
                  <a:gd name="connsiteX7" fmla="*/ 262890 w 716280"/>
                  <a:gd name="connsiteY7" fmla="*/ 12094 h 26852"/>
                  <a:gd name="connsiteX8" fmla="*/ 289560 w 716280"/>
                  <a:gd name="connsiteY8" fmla="*/ 10189 h 26852"/>
                  <a:gd name="connsiteX9" fmla="*/ 300990 w 716280"/>
                  <a:gd name="connsiteY9" fmla="*/ 8284 h 26852"/>
                  <a:gd name="connsiteX10" fmla="*/ 350520 w 716280"/>
                  <a:gd name="connsiteY10" fmla="*/ 10189 h 26852"/>
                  <a:gd name="connsiteX11" fmla="*/ 390525 w 716280"/>
                  <a:gd name="connsiteY11" fmla="*/ 8284 h 26852"/>
                  <a:gd name="connsiteX12" fmla="*/ 419100 w 716280"/>
                  <a:gd name="connsiteY12" fmla="*/ 6379 h 26852"/>
                  <a:gd name="connsiteX13" fmla="*/ 491490 w 716280"/>
                  <a:gd name="connsiteY13" fmla="*/ 2569 h 26852"/>
                  <a:gd name="connsiteX14" fmla="*/ 575310 w 716280"/>
                  <a:gd name="connsiteY14" fmla="*/ 2569 h 26852"/>
                  <a:gd name="connsiteX15" fmla="*/ 586740 w 716280"/>
                  <a:gd name="connsiteY15" fmla="*/ 4474 h 26852"/>
                  <a:gd name="connsiteX16" fmla="*/ 617220 w 716280"/>
                  <a:gd name="connsiteY16" fmla="*/ 6379 h 26852"/>
                  <a:gd name="connsiteX17" fmla="*/ 661035 w 716280"/>
                  <a:gd name="connsiteY17" fmla="*/ 12094 h 26852"/>
                  <a:gd name="connsiteX18" fmla="*/ 678180 w 716280"/>
                  <a:gd name="connsiteY18" fmla="*/ 15904 h 26852"/>
                  <a:gd name="connsiteX19" fmla="*/ 699135 w 716280"/>
                  <a:gd name="connsiteY19" fmla="*/ 21619 h 26852"/>
                  <a:gd name="connsiteX20" fmla="*/ 706756 w 716280"/>
                  <a:gd name="connsiteY20" fmla="*/ 25429 h 26852"/>
                  <a:gd name="connsiteX21" fmla="*/ 716280 w 716280"/>
                  <a:gd name="connsiteY21" fmla="*/ 25429 h 26852"/>
                  <a:gd name="connsiteX0" fmla="*/ 0 w 706756"/>
                  <a:gd name="connsiteY0" fmla="*/ 10189 h 25429"/>
                  <a:gd name="connsiteX1" fmla="*/ 11430 w 706756"/>
                  <a:gd name="connsiteY1" fmla="*/ 8284 h 25429"/>
                  <a:gd name="connsiteX2" fmla="*/ 28575 w 706756"/>
                  <a:gd name="connsiteY2" fmla="*/ 4474 h 25429"/>
                  <a:gd name="connsiteX3" fmla="*/ 57150 w 706756"/>
                  <a:gd name="connsiteY3" fmla="*/ 2569 h 25429"/>
                  <a:gd name="connsiteX4" fmla="*/ 104775 w 706756"/>
                  <a:gd name="connsiteY4" fmla="*/ 4474 h 25429"/>
                  <a:gd name="connsiteX5" fmla="*/ 133350 w 706756"/>
                  <a:gd name="connsiteY5" fmla="*/ 6379 h 25429"/>
                  <a:gd name="connsiteX6" fmla="*/ 169545 w 706756"/>
                  <a:gd name="connsiteY6" fmla="*/ 8284 h 25429"/>
                  <a:gd name="connsiteX7" fmla="*/ 262890 w 706756"/>
                  <a:gd name="connsiteY7" fmla="*/ 12094 h 25429"/>
                  <a:gd name="connsiteX8" fmla="*/ 289560 w 706756"/>
                  <a:gd name="connsiteY8" fmla="*/ 10189 h 25429"/>
                  <a:gd name="connsiteX9" fmla="*/ 300990 w 706756"/>
                  <a:gd name="connsiteY9" fmla="*/ 8284 h 25429"/>
                  <a:gd name="connsiteX10" fmla="*/ 350520 w 706756"/>
                  <a:gd name="connsiteY10" fmla="*/ 10189 h 25429"/>
                  <a:gd name="connsiteX11" fmla="*/ 390525 w 706756"/>
                  <a:gd name="connsiteY11" fmla="*/ 8284 h 25429"/>
                  <a:gd name="connsiteX12" fmla="*/ 419100 w 706756"/>
                  <a:gd name="connsiteY12" fmla="*/ 6379 h 25429"/>
                  <a:gd name="connsiteX13" fmla="*/ 491490 w 706756"/>
                  <a:gd name="connsiteY13" fmla="*/ 2569 h 25429"/>
                  <a:gd name="connsiteX14" fmla="*/ 575310 w 706756"/>
                  <a:gd name="connsiteY14" fmla="*/ 2569 h 25429"/>
                  <a:gd name="connsiteX15" fmla="*/ 586740 w 706756"/>
                  <a:gd name="connsiteY15" fmla="*/ 4474 h 25429"/>
                  <a:gd name="connsiteX16" fmla="*/ 617220 w 706756"/>
                  <a:gd name="connsiteY16" fmla="*/ 6379 h 25429"/>
                  <a:gd name="connsiteX17" fmla="*/ 661035 w 706756"/>
                  <a:gd name="connsiteY17" fmla="*/ 12094 h 25429"/>
                  <a:gd name="connsiteX18" fmla="*/ 678180 w 706756"/>
                  <a:gd name="connsiteY18" fmla="*/ 15904 h 25429"/>
                  <a:gd name="connsiteX19" fmla="*/ 699135 w 706756"/>
                  <a:gd name="connsiteY19" fmla="*/ 21619 h 25429"/>
                  <a:gd name="connsiteX20" fmla="*/ 706756 w 706756"/>
                  <a:gd name="connsiteY20" fmla="*/ 25429 h 2542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61035 w 699135"/>
                  <a:gd name="connsiteY17" fmla="*/ 12094 h 21619"/>
                  <a:gd name="connsiteX18" fmla="*/ 678180 w 699135"/>
                  <a:gd name="connsiteY18" fmla="*/ 15904 h 21619"/>
                  <a:gd name="connsiteX19" fmla="*/ 699135 w 699135"/>
                  <a:gd name="connsiteY19" fmla="*/ 21619 h 2161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78180 w 699135"/>
                  <a:gd name="connsiteY17" fmla="*/ 15904 h 21619"/>
                  <a:gd name="connsiteX18" fmla="*/ 699135 w 699135"/>
                  <a:gd name="connsiteY18" fmla="*/ 21619 h 2161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99135 w 699135"/>
                  <a:gd name="connsiteY17" fmla="*/ 21619 h 21619"/>
                  <a:gd name="connsiteX0" fmla="*/ 0 w 617220"/>
                  <a:gd name="connsiteY0" fmla="*/ 10189 h 12094"/>
                  <a:gd name="connsiteX1" fmla="*/ 11430 w 617220"/>
                  <a:gd name="connsiteY1" fmla="*/ 8284 h 12094"/>
                  <a:gd name="connsiteX2" fmla="*/ 28575 w 617220"/>
                  <a:gd name="connsiteY2" fmla="*/ 4474 h 12094"/>
                  <a:gd name="connsiteX3" fmla="*/ 57150 w 617220"/>
                  <a:gd name="connsiteY3" fmla="*/ 2569 h 12094"/>
                  <a:gd name="connsiteX4" fmla="*/ 104775 w 617220"/>
                  <a:gd name="connsiteY4" fmla="*/ 4474 h 12094"/>
                  <a:gd name="connsiteX5" fmla="*/ 133350 w 617220"/>
                  <a:gd name="connsiteY5" fmla="*/ 6379 h 12094"/>
                  <a:gd name="connsiteX6" fmla="*/ 169545 w 617220"/>
                  <a:gd name="connsiteY6" fmla="*/ 8284 h 12094"/>
                  <a:gd name="connsiteX7" fmla="*/ 262890 w 617220"/>
                  <a:gd name="connsiteY7" fmla="*/ 12094 h 12094"/>
                  <a:gd name="connsiteX8" fmla="*/ 289560 w 617220"/>
                  <a:gd name="connsiteY8" fmla="*/ 10189 h 12094"/>
                  <a:gd name="connsiteX9" fmla="*/ 300990 w 617220"/>
                  <a:gd name="connsiteY9" fmla="*/ 8284 h 12094"/>
                  <a:gd name="connsiteX10" fmla="*/ 350520 w 617220"/>
                  <a:gd name="connsiteY10" fmla="*/ 10189 h 12094"/>
                  <a:gd name="connsiteX11" fmla="*/ 390525 w 617220"/>
                  <a:gd name="connsiteY11" fmla="*/ 8284 h 12094"/>
                  <a:gd name="connsiteX12" fmla="*/ 419100 w 617220"/>
                  <a:gd name="connsiteY12" fmla="*/ 6379 h 12094"/>
                  <a:gd name="connsiteX13" fmla="*/ 491490 w 617220"/>
                  <a:gd name="connsiteY13" fmla="*/ 2569 h 12094"/>
                  <a:gd name="connsiteX14" fmla="*/ 575310 w 617220"/>
                  <a:gd name="connsiteY14" fmla="*/ 2569 h 12094"/>
                  <a:gd name="connsiteX15" fmla="*/ 586740 w 617220"/>
                  <a:gd name="connsiteY15" fmla="*/ 4474 h 12094"/>
                  <a:gd name="connsiteX16" fmla="*/ 617220 w 617220"/>
                  <a:gd name="connsiteY16" fmla="*/ 6379 h 12094"/>
                  <a:gd name="connsiteX0" fmla="*/ 0 w 763905"/>
                  <a:gd name="connsiteY0" fmla="*/ 10189 h 12094"/>
                  <a:gd name="connsiteX1" fmla="*/ 11430 w 763905"/>
                  <a:gd name="connsiteY1" fmla="*/ 8284 h 12094"/>
                  <a:gd name="connsiteX2" fmla="*/ 28575 w 763905"/>
                  <a:gd name="connsiteY2" fmla="*/ 4474 h 12094"/>
                  <a:gd name="connsiteX3" fmla="*/ 57150 w 763905"/>
                  <a:gd name="connsiteY3" fmla="*/ 2569 h 12094"/>
                  <a:gd name="connsiteX4" fmla="*/ 104775 w 763905"/>
                  <a:gd name="connsiteY4" fmla="*/ 4474 h 12094"/>
                  <a:gd name="connsiteX5" fmla="*/ 133350 w 763905"/>
                  <a:gd name="connsiteY5" fmla="*/ 6379 h 12094"/>
                  <a:gd name="connsiteX6" fmla="*/ 169545 w 763905"/>
                  <a:gd name="connsiteY6" fmla="*/ 8284 h 12094"/>
                  <a:gd name="connsiteX7" fmla="*/ 262890 w 763905"/>
                  <a:gd name="connsiteY7" fmla="*/ 12094 h 12094"/>
                  <a:gd name="connsiteX8" fmla="*/ 289560 w 763905"/>
                  <a:gd name="connsiteY8" fmla="*/ 10189 h 12094"/>
                  <a:gd name="connsiteX9" fmla="*/ 300990 w 763905"/>
                  <a:gd name="connsiteY9" fmla="*/ 8284 h 12094"/>
                  <a:gd name="connsiteX10" fmla="*/ 350520 w 763905"/>
                  <a:gd name="connsiteY10" fmla="*/ 10189 h 12094"/>
                  <a:gd name="connsiteX11" fmla="*/ 390525 w 763905"/>
                  <a:gd name="connsiteY11" fmla="*/ 8284 h 12094"/>
                  <a:gd name="connsiteX12" fmla="*/ 419100 w 763905"/>
                  <a:gd name="connsiteY12" fmla="*/ 6379 h 12094"/>
                  <a:gd name="connsiteX13" fmla="*/ 491490 w 763905"/>
                  <a:gd name="connsiteY13" fmla="*/ 2569 h 12094"/>
                  <a:gd name="connsiteX14" fmla="*/ 575310 w 763905"/>
                  <a:gd name="connsiteY14" fmla="*/ 2569 h 12094"/>
                  <a:gd name="connsiteX15" fmla="*/ 586740 w 763905"/>
                  <a:gd name="connsiteY15" fmla="*/ 4474 h 12094"/>
                  <a:gd name="connsiteX16" fmla="*/ 763905 w 763905"/>
                  <a:gd name="connsiteY16" fmla="*/ 8284 h 12094"/>
                  <a:gd name="connsiteX0" fmla="*/ 0 w 763905"/>
                  <a:gd name="connsiteY0" fmla="*/ 9527 h 11432"/>
                  <a:gd name="connsiteX1" fmla="*/ 11430 w 763905"/>
                  <a:gd name="connsiteY1" fmla="*/ 7622 h 11432"/>
                  <a:gd name="connsiteX2" fmla="*/ 28575 w 763905"/>
                  <a:gd name="connsiteY2" fmla="*/ 3812 h 11432"/>
                  <a:gd name="connsiteX3" fmla="*/ 57150 w 763905"/>
                  <a:gd name="connsiteY3" fmla="*/ 1907 h 11432"/>
                  <a:gd name="connsiteX4" fmla="*/ 104775 w 763905"/>
                  <a:gd name="connsiteY4" fmla="*/ 3812 h 11432"/>
                  <a:gd name="connsiteX5" fmla="*/ 133350 w 763905"/>
                  <a:gd name="connsiteY5" fmla="*/ 5717 h 11432"/>
                  <a:gd name="connsiteX6" fmla="*/ 169545 w 763905"/>
                  <a:gd name="connsiteY6" fmla="*/ 7622 h 11432"/>
                  <a:gd name="connsiteX7" fmla="*/ 262890 w 763905"/>
                  <a:gd name="connsiteY7" fmla="*/ 11432 h 11432"/>
                  <a:gd name="connsiteX8" fmla="*/ 289560 w 763905"/>
                  <a:gd name="connsiteY8" fmla="*/ 9527 h 11432"/>
                  <a:gd name="connsiteX9" fmla="*/ 300990 w 763905"/>
                  <a:gd name="connsiteY9" fmla="*/ 7622 h 11432"/>
                  <a:gd name="connsiteX10" fmla="*/ 350520 w 763905"/>
                  <a:gd name="connsiteY10" fmla="*/ 9527 h 11432"/>
                  <a:gd name="connsiteX11" fmla="*/ 390525 w 763905"/>
                  <a:gd name="connsiteY11" fmla="*/ 7622 h 11432"/>
                  <a:gd name="connsiteX12" fmla="*/ 419100 w 763905"/>
                  <a:gd name="connsiteY12" fmla="*/ 5717 h 11432"/>
                  <a:gd name="connsiteX13" fmla="*/ 491490 w 763905"/>
                  <a:gd name="connsiteY13" fmla="*/ 1907 h 11432"/>
                  <a:gd name="connsiteX14" fmla="*/ 575310 w 763905"/>
                  <a:gd name="connsiteY14" fmla="*/ 1907 h 11432"/>
                  <a:gd name="connsiteX15" fmla="*/ 763905 w 763905"/>
                  <a:gd name="connsiteY15" fmla="*/ 7622 h 11432"/>
                  <a:gd name="connsiteX0" fmla="*/ 0 w 763905"/>
                  <a:gd name="connsiteY0" fmla="*/ 7620 h 9525"/>
                  <a:gd name="connsiteX1" fmla="*/ 11430 w 763905"/>
                  <a:gd name="connsiteY1" fmla="*/ 5715 h 9525"/>
                  <a:gd name="connsiteX2" fmla="*/ 28575 w 763905"/>
                  <a:gd name="connsiteY2" fmla="*/ 1905 h 9525"/>
                  <a:gd name="connsiteX3" fmla="*/ 57150 w 763905"/>
                  <a:gd name="connsiteY3" fmla="*/ 0 h 9525"/>
                  <a:gd name="connsiteX4" fmla="*/ 104775 w 763905"/>
                  <a:gd name="connsiteY4" fmla="*/ 1905 h 9525"/>
                  <a:gd name="connsiteX5" fmla="*/ 133350 w 763905"/>
                  <a:gd name="connsiteY5" fmla="*/ 3810 h 9525"/>
                  <a:gd name="connsiteX6" fmla="*/ 169545 w 763905"/>
                  <a:gd name="connsiteY6" fmla="*/ 5715 h 9525"/>
                  <a:gd name="connsiteX7" fmla="*/ 262890 w 763905"/>
                  <a:gd name="connsiteY7" fmla="*/ 9525 h 9525"/>
                  <a:gd name="connsiteX8" fmla="*/ 289560 w 763905"/>
                  <a:gd name="connsiteY8" fmla="*/ 7620 h 9525"/>
                  <a:gd name="connsiteX9" fmla="*/ 300990 w 763905"/>
                  <a:gd name="connsiteY9" fmla="*/ 5715 h 9525"/>
                  <a:gd name="connsiteX10" fmla="*/ 350520 w 763905"/>
                  <a:gd name="connsiteY10" fmla="*/ 7620 h 9525"/>
                  <a:gd name="connsiteX11" fmla="*/ 390525 w 763905"/>
                  <a:gd name="connsiteY11" fmla="*/ 5715 h 9525"/>
                  <a:gd name="connsiteX12" fmla="*/ 419100 w 763905"/>
                  <a:gd name="connsiteY12" fmla="*/ 3810 h 9525"/>
                  <a:gd name="connsiteX13" fmla="*/ 491490 w 763905"/>
                  <a:gd name="connsiteY13" fmla="*/ 0 h 9525"/>
                  <a:gd name="connsiteX14" fmla="*/ 763905 w 763905"/>
                  <a:gd name="connsiteY14" fmla="*/ 5715 h 9525"/>
                  <a:gd name="connsiteX0" fmla="*/ 0 w 10000"/>
                  <a:gd name="connsiteY0" fmla="*/ 8000 h 10000"/>
                  <a:gd name="connsiteX1" fmla="*/ 150 w 10000"/>
                  <a:gd name="connsiteY1" fmla="*/ 6000 h 10000"/>
                  <a:gd name="connsiteX2" fmla="*/ 748 w 10000"/>
                  <a:gd name="connsiteY2" fmla="*/ 0 h 10000"/>
                  <a:gd name="connsiteX3" fmla="*/ 1372 w 10000"/>
                  <a:gd name="connsiteY3" fmla="*/ 2000 h 10000"/>
                  <a:gd name="connsiteX4" fmla="*/ 1746 w 10000"/>
                  <a:gd name="connsiteY4" fmla="*/ 4000 h 10000"/>
                  <a:gd name="connsiteX5" fmla="*/ 2219 w 10000"/>
                  <a:gd name="connsiteY5" fmla="*/ 6000 h 10000"/>
                  <a:gd name="connsiteX6" fmla="*/ 3441 w 10000"/>
                  <a:gd name="connsiteY6" fmla="*/ 10000 h 10000"/>
                  <a:gd name="connsiteX7" fmla="*/ 3791 w 10000"/>
                  <a:gd name="connsiteY7" fmla="*/ 8000 h 10000"/>
                  <a:gd name="connsiteX8" fmla="*/ 3940 w 10000"/>
                  <a:gd name="connsiteY8" fmla="*/ 6000 h 10000"/>
                  <a:gd name="connsiteX9" fmla="*/ 4589 w 10000"/>
                  <a:gd name="connsiteY9" fmla="*/ 8000 h 10000"/>
                  <a:gd name="connsiteX10" fmla="*/ 5112 w 10000"/>
                  <a:gd name="connsiteY10" fmla="*/ 6000 h 10000"/>
                  <a:gd name="connsiteX11" fmla="*/ 5486 w 10000"/>
                  <a:gd name="connsiteY11" fmla="*/ 4000 h 10000"/>
                  <a:gd name="connsiteX12" fmla="*/ 6434 w 10000"/>
                  <a:gd name="connsiteY12" fmla="*/ 0 h 10000"/>
                  <a:gd name="connsiteX13" fmla="*/ 10000 w 10000"/>
                  <a:gd name="connsiteY13" fmla="*/ 6000 h 10000"/>
                  <a:gd name="connsiteX0" fmla="*/ 0 w 10000"/>
                  <a:gd name="connsiteY0" fmla="*/ 8000 h 10000"/>
                  <a:gd name="connsiteX1" fmla="*/ 748 w 10000"/>
                  <a:gd name="connsiteY1" fmla="*/ 0 h 10000"/>
                  <a:gd name="connsiteX2" fmla="*/ 1372 w 10000"/>
                  <a:gd name="connsiteY2" fmla="*/ 2000 h 10000"/>
                  <a:gd name="connsiteX3" fmla="*/ 1746 w 10000"/>
                  <a:gd name="connsiteY3" fmla="*/ 4000 h 10000"/>
                  <a:gd name="connsiteX4" fmla="*/ 2219 w 10000"/>
                  <a:gd name="connsiteY4" fmla="*/ 6000 h 10000"/>
                  <a:gd name="connsiteX5" fmla="*/ 3441 w 10000"/>
                  <a:gd name="connsiteY5" fmla="*/ 10000 h 10000"/>
                  <a:gd name="connsiteX6" fmla="*/ 3791 w 10000"/>
                  <a:gd name="connsiteY6" fmla="*/ 8000 h 10000"/>
                  <a:gd name="connsiteX7" fmla="*/ 3940 w 10000"/>
                  <a:gd name="connsiteY7" fmla="*/ 6000 h 10000"/>
                  <a:gd name="connsiteX8" fmla="*/ 4589 w 10000"/>
                  <a:gd name="connsiteY8" fmla="*/ 8000 h 10000"/>
                  <a:gd name="connsiteX9" fmla="*/ 5112 w 10000"/>
                  <a:gd name="connsiteY9" fmla="*/ 6000 h 10000"/>
                  <a:gd name="connsiteX10" fmla="*/ 5486 w 10000"/>
                  <a:gd name="connsiteY10" fmla="*/ 4000 h 10000"/>
                  <a:gd name="connsiteX11" fmla="*/ 6434 w 10000"/>
                  <a:gd name="connsiteY11" fmla="*/ 0 h 10000"/>
                  <a:gd name="connsiteX12" fmla="*/ 10000 w 10000"/>
                  <a:gd name="connsiteY12" fmla="*/ 6000 h 10000"/>
                  <a:gd name="connsiteX0" fmla="*/ 0 w 10000"/>
                  <a:gd name="connsiteY0" fmla="*/ 8000 h 10000"/>
                  <a:gd name="connsiteX1" fmla="*/ 1372 w 10000"/>
                  <a:gd name="connsiteY1" fmla="*/ 2000 h 10000"/>
                  <a:gd name="connsiteX2" fmla="*/ 1746 w 10000"/>
                  <a:gd name="connsiteY2" fmla="*/ 4000 h 10000"/>
                  <a:gd name="connsiteX3" fmla="*/ 2219 w 10000"/>
                  <a:gd name="connsiteY3" fmla="*/ 6000 h 10000"/>
                  <a:gd name="connsiteX4" fmla="*/ 3441 w 10000"/>
                  <a:gd name="connsiteY4" fmla="*/ 10000 h 10000"/>
                  <a:gd name="connsiteX5" fmla="*/ 3791 w 10000"/>
                  <a:gd name="connsiteY5" fmla="*/ 8000 h 10000"/>
                  <a:gd name="connsiteX6" fmla="*/ 3940 w 10000"/>
                  <a:gd name="connsiteY6" fmla="*/ 6000 h 10000"/>
                  <a:gd name="connsiteX7" fmla="*/ 4589 w 10000"/>
                  <a:gd name="connsiteY7" fmla="*/ 8000 h 10000"/>
                  <a:gd name="connsiteX8" fmla="*/ 5112 w 10000"/>
                  <a:gd name="connsiteY8" fmla="*/ 6000 h 10000"/>
                  <a:gd name="connsiteX9" fmla="*/ 5486 w 10000"/>
                  <a:gd name="connsiteY9" fmla="*/ 4000 h 10000"/>
                  <a:gd name="connsiteX10" fmla="*/ 6434 w 10000"/>
                  <a:gd name="connsiteY10" fmla="*/ 0 h 10000"/>
                  <a:gd name="connsiteX11" fmla="*/ 10000 w 10000"/>
                  <a:gd name="connsiteY11" fmla="*/ 6000 h 10000"/>
                  <a:gd name="connsiteX0" fmla="*/ 0 w 10000"/>
                  <a:gd name="connsiteY0" fmla="*/ 8000 h 10000"/>
                  <a:gd name="connsiteX1" fmla="*/ 1372 w 10000"/>
                  <a:gd name="connsiteY1" fmla="*/ 2000 h 10000"/>
                  <a:gd name="connsiteX2" fmla="*/ 2219 w 10000"/>
                  <a:gd name="connsiteY2" fmla="*/ 6000 h 10000"/>
                  <a:gd name="connsiteX3" fmla="*/ 3441 w 10000"/>
                  <a:gd name="connsiteY3" fmla="*/ 10000 h 10000"/>
                  <a:gd name="connsiteX4" fmla="*/ 3791 w 10000"/>
                  <a:gd name="connsiteY4" fmla="*/ 8000 h 10000"/>
                  <a:gd name="connsiteX5" fmla="*/ 3940 w 10000"/>
                  <a:gd name="connsiteY5" fmla="*/ 6000 h 10000"/>
                  <a:gd name="connsiteX6" fmla="*/ 4589 w 10000"/>
                  <a:gd name="connsiteY6" fmla="*/ 8000 h 10000"/>
                  <a:gd name="connsiteX7" fmla="*/ 5112 w 10000"/>
                  <a:gd name="connsiteY7" fmla="*/ 6000 h 10000"/>
                  <a:gd name="connsiteX8" fmla="*/ 5486 w 10000"/>
                  <a:gd name="connsiteY8" fmla="*/ 4000 h 10000"/>
                  <a:gd name="connsiteX9" fmla="*/ 6434 w 10000"/>
                  <a:gd name="connsiteY9" fmla="*/ 0 h 10000"/>
                  <a:gd name="connsiteX10" fmla="*/ 10000 w 10000"/>
                  <a:gd name="connsiteY10" fmla="*/ 6000 h 10000"/>
                  <a:gd name="connsiteX0" fmla="*/ 0 w 10000"/>
                  <a:gd name="connsiteY0" fmla="*/ 8000 h 10000"/>
                  <a:gd name="connsiteX1" fmla="*/ 2219 w 10000"/>
                  <a:gd name="connsiteY1" fmla="*/ 6000 h 10000"/>
                  <a:gd name="connsiteX2" fmla="*/ 3441 w 10000"/>
                  <a:gd name="connsiteY2" fmla="*/ 10000 h 10000"/>
                  <a:gd name="connsiteX3" fmla="*/ 3791 w 10000"/>
                  <a:gd name="connsiteY3" fmla="*/ 8000 h 10000"/>
                  <a:gd name="connsiteX4" fmla="*/ 3940 w 10000"/>
                  <a:gd name="connsiteY4" fmla="*/ 6000 h 10000"/>
                  <a:gd name="connsiteX5" fmla="*/ 4589 w 10000"/>
                  <a:gd name="connsiteY5" fmla="*/ 8000 h 10000"/>
                  <a:gd name="connsiteX6" fmla="*/ 5112 w 10000"/>
                  <a:gd name="connsiteY6" fmla="*/ 6000 h 10000"/>
                  <a:gd name="connsiteX7" fmla="*/ 5486 w 10000"/>
                  <a:gd name="connsiteY7" fmla="*/ 4000 h 10000"/>
                  <a:gd name="connsiteX8" fmla="*/ 6434 w 10000"/>
                  <a:gd name="connsiteY8" fmla="*/ 0 h 10000"/>
                  <a:gd name="connsiteX9" fmla="*/ 10000 w 10000"/>
                  <a:gd name="connsiteY9" fmla="*/ 6000 h 10000"/>
                  <a:gd name="connsiteX0" fmla="*/ 0 w 10000"/>
                  <a:gd name="connsiteY0" fmla="*/ 8000 h 10000"/>
                  <a:gd name="connsiteX1" fmla="*/ 3441 w 10000"/>
                  <a:gd name="connsiteY1" fmla="*/ 10000 h 10000"/>
                  <a:gd name="connsiteX2" fmla="*/ 3791 w 10000"/>
                  <a:gd name="connsiteY2" fmla="*/ 8000 h 10000"/>
                  <a:gd name="connsiteX3" fmla="*/ 3940 w 10000"/>
                  <a:gd name="connsiteY3" fmla="*/ 6000 h 10000"/>
                  <a:gd name="connsiteX4" fmla="*/ 4589 w 10000"/>
                  <a:gd name="connsiteY4" fmla="*/ 8000 h 10000"/>
                  <a:gd name="connsiteX5" fmla="*/ 5112 w 10000"/>
                  <a:gd name="connsiteY5" fmla="*/ 6000 h 10000"/>
                  <a:gd name="connsiteX6" fmla="*/ 5486 w 10000"/>
                  <a:gd name="connsiteY6" fmla="*/ 4000 h 10000"/>
                  <a:gd name="connsiteX7" fmla="*/ 6434 w 10000"/>
                  <a:gd name="connsiteY7" fmla="*/ 0 h 10000"/>
                  <a:gd name="connsiteX8" fmla="*/ 10000 w 10000"/>
                  <a:gd name="connsiteY8" fmla="*/ 6000 h 10000"/>
                  <a:gd name="connsiteX0" fmla="*/ 0 w 10125"/>
                  <a:gd name="connsiteY0" fmla="*/ 8000 h 10000"/>
                  <a:gd name="connsiteX1" fmla="*/ 3566 w 10125"/>
                  <a:gd name="connsiteY1" fmla="*/ 10000 h 10000"/>
                  <a:gd name="connsiteX2" fmla="*/ 3916 w 10125"/>
                  <a:gd name="connsiteY2" fmla="*/ 8000 h 10000"/>
                  <a:gd name="connsiteX3" fmla="*/ 4065 w 10125"/>
                  <a:gd name="connsiteY3" fmla="*/ 6000 h 10000"/>
                  <a:gd name="connsiteX4" fmla="*/ 4714 w 10125"/>
                  <a:gd name="connsiteY4" fmla="*/ 8000 h 10000"/>
                  <a:gd name="connsiteX5" fmla="*/ 5237 w 10125"/>
                  <a:gd name="connsiteY5" fmla="*/ 6000 h 10000"/>
                  <a:gd name="connsiteX6" fmla="*/ 5611 w 10125"/>
                  <a:gd name="connsiteY6" fmla="*/ 4000 h 10000"/>
                  <a:gd name="connsiteX7" fmla="*/ 6559 w 10125"/>
                  <a:gd name="connsiteY7" fmla="*/ 0 h 10000"/>
                  <a:gd name="connsiteX8" fmla="*/ 10125 w 10125"/>
                  <a:gd name="connsiteY8" fmla="*/ 6000 h 10000"/>
                  <a:gd name="connsiteX0" fmla="*/ 0 w 10175"/>
                  <a:gd name="connsiteY0" fmla="*/ 8000 h 10000"/>
                  <a:gd name="connsiteX1" fmla="*/ 3566 w 10175"/>
                  <a:gd name="connsiteY1" fmla="*/ 10000 h 10000"/>
                  <a:gd name="connsiteX2" fmla="*/ 3916 w 10175"/>
                  <a:gd name="connsiteY2" fmla="*/ 8000 h 10000"/>
                  <a:gd name="connsiteX3" fmla="*/ 4065 w 10175"/>
                  <a:gd name="connsiteY3" fmla="*/ 6000 h 10000"/>
                  <a:gd name="connsiteX4" fmla="*/ 4714 w 10175"/>
                  <a:gd name="connsiteY4" fmla="*/ 8000 h 10000"/>
                  <a:gd name="connsiteX5" fmla="*/ 5237 w 10175"/>
                  <a:gd name="connsiteY5" fmla="*/ 6000 h 10000"/>
                  <a:gd name="connsiteX6" fmla="*/ 5611 w 10175"/>
                  <a:gd name="connsiteY6" fmla="*/ 4000 h 10000"/>
                  <a:gd name="connsiteX7" fmla="*/ 6559 w 10175"/>
                  <a:gd name="connsiteY7" fmla="*/ 0 h 10000"/>
                  <a:gd name="connsiteX8" fmla="*/ 10175 w 10175"/>
                  <a:gd name="connsiteY8" fmla="*/ 10000 h 10000"/>
                  <a:gd name="connsiteX0" fmla="*/ 0 w 10175"/>
                  <a:gd name="connsiteY0" fmla="*/ 4000 h 6000"/>
                  <a:gd name="connsiteX1" fmla="*/ 3566 w 10175"/>
                  <a:gd name="connsiteY1" fmla="*/ 6000 h 6000"/>
                  <a:gd name="connsiteX2" fmla="*/ 3916 w 10175"/>
                  <a:gd name="connsiteY2" fmla="*/ 4000 h 6000"/>
                  <a:gd name="connsiteX3" fmla="*/ 4065 w 10175"/>
                  <a:gd name="connsiteY3" fmla="*/ 2000 h 6000"/>
                  <a:gd name="connsiteX4" fmla="*/ 4714 w 10175"/>
                  <a:gd name="connsiteY4" fmla="*/ 4000 h 6000"/>
                  <a:gd name="connsiteX5" fmla="*/ 5237 w 10175"/>
                  <a:gd name="connsiteY5" fmla="*/ 2000 h 6000"/>
                  <a:gd name="connsiteX6" fmla="*/ 5611 w 10175"/>
                  <a:gd name="connsiteY6" fmla="*/ 0 h 6000"/>
                  <a:gd name="connsiteX7" fmla="*/ 6509 w 10175"/>
                  <a:gd name="connsiteY7" fmla="*/ 2000 h 6000"/>
                  <a:gd name="connsiteX8" fmla="*/ 10175 w 10175"/>
                  <a:gd name="connsiteY8" fmla="*/ 6000 h 6000"/>
                  <a:gd name="connsiteX0" fmla="*/ 0 w 10000"/>
                  <a:gd name="connsiteY0" fmla="*/ 7264 h 17286"/>
                  <a:gd name="connsiteX1" fmla="*/ 3505 w 10000"/>
                  <a:gd name="connsiteY1" fmla="*/ 10597 h 17286"/>
                  <a:gd name="connsiteX2" fmla="*/ 3849 w 10000"/>
                  <a:gd name="connsiteY2" fmla="*/ 7264 h 17286"/>
                  <a:gd name="connsiteX3" fmla="*/ 3995 w 10000"/>
                  <a:gd name="connsiteY3" fmla="*/ 3930 h 17286"/>
                  <a:gd name="connsiteX4" fmla="*/ 4633 w 10000"/>
                  <a:gd name="connsiteY4" fmla="*/ 7264 h 17286"/>
                  <a:gd name="connsiteX5" fmla="*/ 5147 w 10000"/>
                  <a:gd name="connsiteY5" fmla="*/ 3930 h 17286"/>
                  <a:gd name="connsiteX6" fmla="*/ 5514 w 10000"/>
                  <a:gd name="connsiteY6" fmla="*/ 597 h 17286"/>
                  <a:gd name="connsiteX7" fmla="*/ 6250 w 10000"/>
                  <a:gd name="connsiteY7" fmla="*/ 17264 h 17286"/>
                  <a:gd name="connsiteX8" fmla="*/ 10000 w 10000"/>
                  <a:gd name="connsiteY8" fmla="*/ 10597 h 17286"/>
                  <a:gd name="connsiteX0" fmla="*/ 0 w 10000"/>
                  <a:gd name="connsiteY0" fmla="*/ 6883 h 10294"/>
                  <a:gd name="connsiteX1" fmla="*/ 3505 w 10000"/>
                  <a:gd name="connsiteY1" fmla="*/ 10216 h 10294"/>
                  <a:gd name="connsiteX2" fmla="*/ 3849 w 10000"/>
                  <a:gd name="connsiteY2" fmla="*/ 6883 h 10294"/>
                  <a:gd name="connsiteX3" fmla="*/ 3995 w 10000"/>
                  <a:gd name="connsiteY3" fmla="*/ 3549 h 10294"/>
                  <a:gd name="connsiteX4" fmla="*/ 4633 w 10000"/>
                  <a:gd name="connsiteY4" fmla="*/ 6883 h 10294"/>
                  <a:gd name="connsiteX5" fmla="*/ 5147 w 10000"/>
                  <a:gd name="connsiteY5" fmla="*/ 3549 h 10294"/>
                  <a:gd name="connsiteX6" fmla="*/ 5514 w 10000"/>
                  <a:gd name="connsiteY6" fmla="*/ 216 h 10294"/>
                  <a:gd name="connsiteX7" fmla="*/ 6176 w 10000"/>
                  <a:gd name="connsiteY7" fmla="*/ 10216 h 10294"/>
                  <a:gd name="connsiteX8" fmla="*/ 10000 w 10000"/>
                  <a:gd name="connsiteY8" fmla="*/ 10216 h 10294"/>
                  <a:gd name="connsiteX0" fmla="*/ 0 w 10000"/>
                  <a:gd name="connsiteY0" fmla="*/ 6881 h 10292"/>
                  <a:gd name="connsiteX1" fmla="*/ 3505 w 10000"/>
                  <a:gd name="connsiteY1" fmla="*/ 10214 h 10292"/>
                  <a:gd name="connsiteX2" fmla="*/ 3995 w 10000"/>
                  <a:gd name="connsiteY2" fmla="*/ 3547 h 10292"/>
                  <a:gd name="connsiteX3" fmla="*/ 4633 w 10000"/>
                  <a:gd name="connsiteY3" fmla="*/ 6881 h 10292"/>
                  <a:gd name="connsiteX4" fmla="*/ 5147 w 10000"/>
                  <a:gd name="connsiteY4" fmla="*/ 3547 h 10292"/>
                  <a:gd name="connsiteX5" fmla="*/ 5514 w 10000"/>
                  <a:gd name="connsiteY5" fmla="*/ 214 h 10292"/>
                  <a:gd name="connsiteX6" fmla="*/ 6176 w 10000"/>
                  <a:gd name="connsiteY6" fmla="*/ 10214 h 10292"/>
                  <a:gd name="connsiteX7" fmla="*/ 10000 w 10000"/>
                  <a:gd name="connsiteY7" fmla="*/ 10214 h 10292"/>
                  <a:gd name="connsiteX0" fmla="*/ 0 w 10000"/>
                  <a:gd name="connsiteY0" fmla="*/ 10127 h 76793"/>
                  <a:gd name="connsiteX1" fmla="*/ 3505 w 10000"/>
                  <a:gd name="connsiteY1" fmla="*/ 13460 h 76793"/>
                  <a:gd name="connsiteX2" fmla="*/ 3995 w 10000"/>
                  <a:gd name="connsiteY2" fmla="*/ 6793 h 76793"/>
                  <a:gd name="connsiteX3" fmla="*/ 4535 w 10000"/>
                  <a:gd name="connsiteY3" fmla="*/ 76793 h 76793"/>
                  <a:gd name="connsiteX4" fmla="*/ 5147 w 10000"/>
                  <a:gd name="connsiteY4" fmla="*/ 6793 h 76793"/>
                  <a:gd name="connsiteX5" fmla="*/ 5514 w 10000"/>
                  <a:gd name="connsiteY5" fmla="*/ 3460 h 76793"/>
                  <a:gd name="connsiteX6" fmla="*/ 6176 w 10000"/>
                  <a:gd name="connsiteY6" fmla="*/ 13460 h 76793"/>
                  <a:gd name="connsiteX7" fmla="*/ 10000 w 10000"/>
                  <a:gd name="connsiteY7" fmla="*/ 13460 h 76793"/>
                  <a:gd name="connsiteX0" fmla="*/ 0 w 10000"/>
                  <a:gd name="connsiteY0" fmla="*/ 74224 h 140890"/>
                  <a:gd name="connsiteX1" fmla="*/ 3505 w 10000"/>
                  <a:gd name="connsiteY1" fmla="*/ 77557 h 140890"/>
                  <a:gd name="connsiteX2" fmla="*/ 4093 w 10000"/>
                  <a:gd name="connsiteY2" fmla="*/ 891 h 140890"/>
                  <a:gd name="connsiteX3" fmla="*/ 4535 w 10000"/>
                  <a:gd name="connsiteY3" fmla="*/ 140890 h 140890"/>
                  <a:gd name="connsiteX4" fmla="*/ 5147 w 10000"/>
                  <a:gd name="connsiteY4" fmla="*/ 70890 h 140890"/>
                  <a:gd name="connsiteX5" fmla="*/ 5514 w 10000"/>
                  <a:gd name="connsiteY5" fmla="*/ 67557 h 140890"/>
                  <a:gd name="connsiteX6" fmla="*/ 6176 w 10000"/>
                  <a:gd name="connsiteY6" fmla="*/ 77557 h 140890"/>
                  <a:gd name="connsiteX7" fmla="*/ 10000 w 10000"/>
                  <a:gd name="connsiteY7" fmla="*/ 77557 h 140890"/>
                  <a:gd name="connsiteX0" fmla="*/ 0 w 10000"/>
                  <a:gd name="connsiteY0" fmla="*/ 74765 h 141431"/>
                  <a:gd name="connsiteX1" fmla="*/ 3505 w 10000"/>
                  <a:gd name="connsiteY1" fmla="*/ 78098 h 141431"/>
                  <a:gd name="connsiteX2" fmla="*/ 4093 w 10000"/>
                  <a:gd name="connsiteY2" fmla="*/ 1432 h 141431"/>
                  <a:gd name="connsiteX3" fmla="*/ 4535 w 10000"/>
                  <a:gd name="connsiteY3" fmla="*/ 141431 h 141431"/>
                  <a:gd name="connsiteX4" fmla="*/ 5147 w 10000"/>
                  <a:gd name="connsiteY4" fmla="*/ 71431 h 141431"/>
                  <a:gd name="connsiteX5" fmla="*/ 5514 w 10000"/>
                  <a:gd name="connsiteY5" fmla="*/ 68098 h 141431"/>
                  <a:gd name="connsiteX6" fmla="*/ 6176 w 10000"/>
                  <a:gd name="connsiteY6" fmla="*/ 78098 h 141431"/>
                  <a:gd name="connsiteX7" fmla="*/ 10000 w 10000"/>
                  <a:gd name="connsiteY7" fmla="*/ 78098 h 141431"/>
                  <a:gd name="connsiteX0" fmla="*/ 0 w 10000"/>
                  <a:gd name="connsiteY0" fmla="*/ 73867 h 140533"/>
                  <a:gd name="connsiteX1" fmla="*/ 3505 w 10000"/>
                  <a:gd name="connsiteY1" fmla="*/ 77200 h 140533"/>
                  <a:gd name="connsiteX2" fmla="*/ 4093 w 10000"/>
                  <a:gd name="connsiteY2" fmla="*/ 534 h 140533"/>
                  <a:gd name="connsiteX3" fmla="*/ 4535 w 10000"/>
                  <a:gd name="connsiteY3" fmla="*/ 140533 h 140533"/>
                  <a:gd name="connsiteX4" fmla="*/ 5147 w 10000"/>
                  <a:gd name="connsiteY4" fmla="*/ 70533 h 140533"/>
                  <a:gd name="connsiteX5" fmla="*/ 5514 w 10000"/>
                  <a:gd name="connsiteY5" fmla="*/ 67200 h 140533"/>
                  <a:gd name="connsiteX6" fmla="*/ 6176 w 10000"/>
                  <a:gd name="connsiteY6" fmla="*/ 77200 h 140533"/>
                  <a:gd name="connsiteX7" fmla="*/ 10000 w 10000"/>
                  <a:gd name="connsiteY7" fmla="*/ 77200 h 140533"/>
                  <a:gd name="connsiteX0" fmla="*/ 0 w 10000"/>
                  <a:gd name="connsiteY0" fmla="*/ 73867 h 140533"/>
                  <a:gd name="connsiteX1" fmla="*/ 3505 w 10000"/>
                  <a:gd name="connsiteY1" fmla="*/ 77200 h 140533"/>
                  <a:gd name="connsiteX2" fmla="*/ 4093 w 10000"/>
                  <a:gd name="connsiteY2" fmla="*/ 534 h 140533"/>
                  <a:gd name="connsiteX3" fmla="*/ 4535 w 10000"/>
                  <a:gd name="connsiteY3" fmla="*/ 140533 h 140533"/>
                  <a:gd name="connsiteX4" fmla="*/ 5147 w 10000"/>
                  <a:gd name="connsiteY4" fmla="*/ 70533 h 140533"/>
                  <a:gd name="connsiteX5" fmla="*/ 5514 w 10000"/>
                  <a:gd name="connsiteY5" fmla="*/ 67200 h 140533"/>
                  <a:gd name="connsiteX6" fmla="*/ 6176 w 10000"/>
                  <a:gd name="connsiteY6" fmla="*/ 77200 h 140533"/>
                  <a:gd name="connsiteX7" fmla="*/ 10000 w 10000"/>
                  <a:gd name="connsiteY7" fmla="*/ 77200 h 140533"/>
                  <a:gd name="connsiteX0" fmla="*/ 0 w 10000"/>
                  <a:gd name="connsiteY0" fmla="*/ 76346 h 143012"/>
                  <a:gd name="connsiteX1" fmla="*/ 3505 w 10000"/>
                  <a:gd name="connsiteY1" fmla="*/ 79679 h 143012"/>
                  <a:gd name="connsiteX2" fmla="*/ 4093 w 10000"/>
                  <a:gd name="connsiteY2" fmla="*/ 3013 h 143012"/>
                  <a:gd name="connsiteX3" fmla="*/ 4535 w 10000"/>
                  <a:gd name="connsiteY3" fmla="*/ 143012 h 143012"/>
                  <a:gd name="connsiteX4" fmla="*/ 5147 w 10000"/>
                  <a:gd name="connsiteY4" fmla="*/ 73012 h 143012"/>
                  <a:gd name="connsiteX5" fmla="*/ 5514 w 10000"/>
                  <a:gd name="connsiteY5" fmla="*/ 69679 h 143012"/>
                  <a:gd name="connsiteX6" fmla="*/ 6176 w 10000"/>
                  <a:gd name="connsiteY6" fmla="*/ 79679 h 143012"/>
                  <a:gd name="connsiteX7" fmla="*/ 10000 w 10000"/>
                  <a:gd name="connsiteY7" fmla="*/ 79679 h 143012"/>
                  <a:gd name="connsiteX0" fmla="*/ 0 w 10000"/>
                  <a:gd name="connsiteY0" fmla="*/ 76348 h 143014"/>
                  <a:gd name="connsiteX1" fmla="*/ 3505 w 10000"/>
                  <a:gd name="connsiteY1" fmla="*/ 79681 h 143014"/>
                  <a:gd name="connsiteX2" fmla="*/ 4093 w 10000"/>
                  <a:gd name="connsiteY2" fmla="*/ 3015 h 143014"/>
                  <a:gd name="connsiteX3" fmla="*/ 4535 w 10000"/>
                  <a:gd name="connsiteY3" fmla="*/ 143014 h 143014"/>
                  <a:gd name="connsiteX4" fmla="*/ 5147 w 10000"/>
                  <a:gd name="connsiteY4" fmla="*/ 73014 h 143014"/>
                  <a:gd name="connsiteX5" fmla="*/ 5514 w 10000"/>
                  <a:gd name="connsiteY5" fmla="*/ 69681 h 143014"/>
                  <a:gd name="connsiteX6" fmla="*/ 6176 w 10000"/>
                  <a:gd name="connsiteY6" fmla="*/ 79681 h 143014"/>
                  <a:gd name="connsiteX7" fmla="*/ 10000 w 10000"/>
                  <a:gd name="connsiteY7" fmla="*/ 79681 h 143014"/>
                  <a:gd name="connsiteX0" fmla="*/ 0 w 10000"/>
                  <a:gd name="connsiteY0" fmla="*/ 73333 h 139999"/>
                  <a:gd name="connsiteX1" fmla="*/ 3505 w 10000"/>
                  <a:gd name="connsiteY1" fmla="*/ 76666 h 139999"/>
                  <a:gd name="connsiteX2" fmla="*/ 4093 w 10000"/>
                  <a:gd name="connsiteY2" fmla="*/ 0 h 139999"/>
                  <a:gd name="connsiteX3" fmla="*/ 4535 w 10000"/>
                  <a:gd name="connsiteY3" fmla="*/ 139999 h 139999"/>
                  <a:gd name="connsiteX4" fmla="*/ 5147 w 10000"/>
                  <a:gd name="connsiteY4" fmla="*/ 69999 h 139999"/>
                  <a:gd name="connsiteX5" fmla="*/ 5514 w 10000"/>
                  <a:gd name="connsiteY5" fmla="*/ 66666 h 139999"/>
                  <a:gd name="connsiteX6" fmla="*/ 6176 w 10000"/>
                  <a:gd name="connsiteY6" fmla="*/ 76666 h 139999"/>
                  <a:gd name="connsiteX7" fmla="*/ 10000 w 10000"/>
                  <a:gd name="connsiteY7" fmla="*/ 76666 h 139999"/>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88187 h 161520"/>
                  <a:gd name="connsiteX1" fmla="*/ 3505 w 10000"/>
                  <a:gd name="connsiteY1" fmla="*/ 91520 h 161520"/>
                  <a:gd name="connsiteX2" fmla="*/ 4093 w 10000"/>
                  <a:gd name="connsiteY2" fmla="*/ 14854 h 161520"/>
                  <a:gd name="connsiteX3" fmla="*/ 4609 w 10000"/>
                  <a:gd name="connsiteY3" fmla="*/ 161520 h 161520"/>
                  <a:gd name="connsiteX4" fmla="*/ 5245 w 10000"/>
                  <a:gd name="connsiteY4" fmla="*/ 1521 h 161520"/>
                  <a:gd name="connsiteX5" fmla="*/ 5514 w 10000"/>
                  <a:gd name="connsiteY5" fmla="*/ 81520 h 161520"/>
                  <a:gd name="connsiteX6" fmla="*/ 6176 w 10000"/>
                  <a:gd name="connsiteY6" fmla="*/ 91520 h 161520"/>
                  <a:gd name="connsiteX7" fmla="*/ 10000 w 10000"/>
                  <a:gd name="connsiteY7" fmla="*/ 91520 h 161520"/>
                  <a:gd name="connsiteX0" fmla="*/ 0 w 10000"/>
                  <a:gd name="connsiteY0" fmla="*/ 88187 h 161520"/>
                  <a:gd name="connsiteX1" fmla="*/ 3505 w 10000"/>
                  <a:gd name="connsiteY1" fmla="*/ 91520 h 161520"/>
                  <a:gd name="connsiteX2" fmla="*/ 4093 w 10000"/>
                  <a:gd name="connsiteY2" fmla="*/ 14854 h 161520"/>
                  <a:gd name="connsiteX3" fmla="*/ 4609 w 10000"/>
                  <a:gd name="connsiteY3" fmla="*/ 161520 h 161520"/>
                  <a:gd name="connsiteX4" fmla="*/ 5245 w 10000"/>
                  <a:gd name="connsiteY4" fmla="*/ 1521 h 161520"/>
                  <a:gd name="connsiteX5" fmla="*/ 5514 w 10000"/>
                  <a:gd name="connsiteY5" fmla="*/ 81520 h 161520"/>
                  <a:gd name="connsiteX6" fmla="*/ 6176 w 10000"/>
                  <a:gd name="connsiteY6" fmla="*/ 91520 h 161520"/>
                  <a:gd name="connsiteX7" fmla="*/ 10000 w 10000"/>
                  <a:gd name="connsiteY7" fmla="*/ 91520 h 161520"/>
                  <a:gd name="connsiteX0" fmla="*/ 0 w 10000"/>
                  <a:gd name="connsiteY0" fmla="*/ 88918 h 162251"/>
                  <a:gd name="connsiteX1" fmla="*/ 3505 w 10000"/>
                  <a:gd name="connsiteY1" fmla="*/ 92251 h 162251"/>
                  <a:gd name="connsiteX2" fmla="*/ 4093 w 10000"/>
                  <a:gd name="connsiteY2" fmla="*/ 15585 h 162251"/>
                  <a:gd name="connsiteX3" fmla="*/ 4609 w 10000"/>
                  <a:gd name="connsiteY3" fmla="*/ 162251 h 162251"/>
                  <a:gd name="connsiteX4" fmla="*/ 5245 w 10000"/>
                  <a:gd name="connsiteY4" fmla="*/ 2252 h 162251"/>
                  <a:gd name="connsiteX5" fmla="*/ 5514 w 10000"/>
                  <a:gd name="connsiteY5" fmla="*/ 82251 h 162251"/>
                  <a:gd name="connsiteX6" fmla="*/ 6176 w 10000"/>
                  <a:gd name="connsiteY6" fmla="*/ 92251 h 162251"/>
                  <a:gd name="connsiteX7" fmla="*/ 10000 w 10000"/>
                  <a:gd name="connsiteY7" fmla="*/ 92251 h 162251"/>
                  <a:gd name="connsiteX0" fmla="*/ 0 w 10000"/>
                  <a:gd name="connsiteY0" fmla="*/ 88918 h 162251"/>
                  <a:gd name="connsiteX1" fmla="*/ 3505 w 10000"/>
                  <a:gd name="connsiteY1" fmla="*/ 92251 h 162251"/>
                  <a:gd name="connsiteX2" fmla="*/ 4093 w 10000"/>
                  <a:gd name="connsiteY2" fmla="*/ 15585 h 162251"/>
                  <a:gd name="connsiteX3" fmla="*/ 4609 w 10000"/>
                  <a:gd name="connsiteY3" fmla="*/ 162251 h 162251"/>
                  <a:gd name="connsiteX4" fmla="*/ 5245 w 10000"/>
                  <a:gd name="connsiteY4" fmla="*/ 2252 h 162251"/>
                  <a:gd name="connsiteX5" fmla="*/ 5514 w 10000"/>
                  <a:gd name="connsiteY5" fmla="*/ 82251 h 162251"/>
                  <a:gd name="connsiteX6" fmla="*/ 6176 w 10000"/>
                  <a:gd name="connsiteY6" fmla="*/ 92251 h 162251"/>
                  <a:gd name="connsiteX7" fmla="*/ 10000 w 10000"/>
                  <a:gd name="connsiteY7" fmla="*/ 92251 h 162251"/>
                  <a:gd name="connsiteX0" fmla="*/ 0 w 10000"/>
                  <a:gd name="connsiteY0" fmla="*/ 87898 h 161231"/>
                  <a:gd name="connsiteX1" fmla="*/ 3505 w 10000"/>
                  <a:gd name="connsiteY1" fmla="*/ 91231 h 161231"/>
                  <a:gd name="connsiteX2" fmla="*/ 4093 w 10000"/>
                  <a:gd name="connsiteY2" fmla="*/ 14565 h 161231"/>
                  <a:gd name="connsiteX3" fmla="*/ 4609 w 10000"/>
                  <a:gd name="connsiteY3" fmla="*/ 161231 h 161231"/>
                  <a:gd name="connsiteX4" fmla="*/ 5245 w 10000"/>
                  <a:gd name="connsiteY4" fmla="*/ 1232 h 161231"/>
                  <a:gd name="connsiteX5" fmla="*/ 5416 w 10000"/>
                  <a:gd name="connsiteY5" fmla="*/ 131230 h 161231"/>
                  <a:gd name="connsiteX6" fmla="*/ 6176 w 10000"/>
                  <a:gd name="connsiteY6" fmla="*/ 91231 h 161231"/>
                  <a:gd name="connsiteX7" fmla="*/ 10000 w 10000"/>
                  <a:gd name="connsiteY7" fmla="*/ 91231 h 161231"/>
                  <a:gd name="connsiteX0" fmla="*/ 0 w 10000"/>
                  <a:gd name="connsiteY0" fmla="*/ 87641 h 160974"/>
                  <a:gd name="connsiteX1" fmla="*/ 3505 w 10000"/>
                  <a:gd name="connsiteY1" fmla="*/ 90974 h 160974"/>
                  <a:gd name="connsiteX2" fmla="*/ 4093 w 10000"/>
                  <a:gd name="connsiteY2" fmla="*/ 14308 h 160974"/>
                  <a:gd name="connsiteX3" fmla="*/ 4609 w 10000"/>
                  <a:gd name="connsiteY3" fmla="*/ 160974 h 160974"/>
                  <a:gd name="connsiteX4" fmla="*/ 5245 w 10000"/>
                  <a:gd name="connsiteY4" fmla="*/ 975 h 160974"/>
                  <a:gd name="connsiteX5" fmla="*/ 5416 w 10000"/>
                  <a:gd name="connsiteY5" fmla="*/ 130973 h 160974"/>
                  <a:gd name="connsiteX6" fmla="*/ 5882 w 10000"/>
                  <a:gd name="connsiteY6" fmla="*/ 94307 h 160974"/>
                  <a:gd name="connsiteX7" fmla="*/ 6176 w 10000"/>
                  <a:gd name="connsiteY7" fmla="*/ 90974 h 160974"/>
                  <a:gd name="connsiteX8" fmla="*/ 10000 w 10000"/>
                  <a:gd name="connsiteY8" fmla="*/ 90974 h 160974"/>
                  <a:gd name="connsiteX0" fmla="*/ 0 w 10000"/>
                  <a:gd name="connsiteY0" fmla="*/ 96964 h 170297"/>
                  <a:gd name="connsiteX1" fmla="*/ 3505 w 10000"/>
                  <a:gd name="connsiteY1" fmla="*/ 100297 h 170297"/>
                  <a:gd name="connsiteX2" fmla="*/ 4093 w 10000"/>
                  <a:gd name="connsiteY2" fmla="*/ 23631 h 170297"/>
                  <a:gd name="connsiteX3" fmla="*/ 4609 w 10000"/>
                  <a:gd name="connsiteY3" fmla="*/ 170297 h 170297"/>
                  <a:gd name="connsiteX4" fmla="*/ 5245 w 10000"/>
                  <a:gd name="connsiteY4" fmla="*/ 10298 h 170297"/>
                  <a:gd name="connsiteX5" fmla="*/ 5416 w 10000"/>
                  <a:gd name="connsiteY5" fmla="*/ 140296 h 170297"/>
                  <a:gd name="connsiteX6" fmla="*/ 5833 w 10000"/>
                  <a:gd name="connsiteY6" fmla="*/ 298 h 170297"/>
                  <a:gd name="connsiteX7" fmla="*/ 6176 w 10000"/>
                  <a:gd name="connsiteY7" fmla="*/ 100297 h 170297"/>
                  <a:gd name="connsiteX8" fmla="*/ 10000 w 10000"/>
                  <a:gd name="connsiteY8" fmla="*/ 100297 h 170297"/>
                  <a:gd name="connsiteX0" fmla="*/ 0 w 10000"/>
                  <a:gd name="connsiteY0" fmla="*/ 96964 h 170297"/>
                  <a:gd name="connsiteX1" fmla="*/ 3505 w 10000"/>
                  <a:gd name="connsiteY1" fmla="*/ 100297 h 170297"/>
                  <a:gd name="connsiteX2" fmla="*/ 3970 w 10000"/>
                  <a:gd name="connsiteY2" fmla="*/ 20297 h 170297"/>
                  <a:gd name="connsiteX3" fmla="*/ 4609 w 10000"/>
                  <a:gd name="connsiteY3" fmla="*/ 170297 h 170297"/>
                  <a:gd name="connsiteX4" fmla="*/ 5245 w 10000"/>
                  <a:gd name="connsiteY4" fmla="*/ 10298 h 170297"/>
                  <a:gd name="connsiteX5" fmla="*/ 5416 w 10000"/>
                  <a:gd name="connsiteY5" fmla="*/ 140296 h 170297"/>
                  <a:gd name="connsiteX6" fmla="*/ 5833 w 10000"/>
                  <a:gd name="connsiteY6" fmla="*/ 298 h 170297"/>
                  <a:gd name="connsiteX7" fmla="*/ 6176 w 10000"/>
                  <a:gd name="connsiteY7" fmla="*/ 100297 h 170297"/>
                  <a:gd name="connsiteX8" fmla="*/ 10000 w 10000"/>
                  <a:gd name="connsiteY8" fmla="*/ 100297 h 170297"/>
                  <a:gd name="connsiteX0" fmla="*/ 0 w 10000"/>
                  <a:gd name="connsiteY0" fmla="*/ 96964 h 176218"/>
                  <a:gd name="connsiteX1" fmla="*/ 3505 w 10000"/>
                  <a:gd name="connsiteY1" fmla="*/ 100297 h 176218"/>
                  <a:gd name="connsiteX2" fmla="*/ 3970 w 10000"/>
                  <a:gd name="connsiteY2" fmla="*/ 20297 h 176218"/>
                  <a:gd name="connsiteX3" fmla="*/ 4609 w 10000"/>
                  <a:gd name="connsiteY3" fmla="*/ 170297 h 176218"/>
                  <a:gd name="connsiteX4" fmla="*/ 4436 w 10000"/>
                  <a:gd name="connsiteY4" fmla="*/ 120294 h 176218"/>
                  <a:gd name="connsiteX5" fmla="*/ 5245 w 10000"/>
                  <a:gd name="connsiteY5" fmla="*/ 10298 h 176218"/>
                  <a:gd name="connsiteX6" fmla="*/ 5416 w 10000"/>
                  <a:gd name="connsiteY6" fmla="*/ 140296 h 176218"/>
                  <a:gd name="connsiteX7" fmla="*/ 5833 w 10000"/>
                  <a:gd name="connsiteY7" fmla="*/ 298 h 176218"/>
                  <a:gd name="connsiteX8" fmla="*/ 6176 w 10000"/>
                  <a:gd name="connsiteY8" fmla="*/ 100297 h 176218"/>
                  <a:gd name="connsiteX9" fmla="*/ 10000 w 10000"/>
                  <a:gd name="connsiteY9" fmla="*/ 100297 h 176218"/>
                  <a:gd name="connsiteX0" fmla="*/ 0 w 10000"/>
                  <a:gd name="connsiteY0" fmla="*/ 113357 h 192613"/>
                  <a:gd name="connsiteX1" fmla="*/ 3505 w 10000"/>
                  <a:gd name="connsiteY1" fmla="*/ 116690 h 192613"/>
                  <a:gd name="connsiteX2" fmla="*/ 3970 w 10000"/>
                  <a:gd name="connsiteY2" fmla="*/ 36690 h 192613"/>
                  <a:gd name="connsiteX3" fmla="*/ 4609 w 10000"/>
                  <a:gd name="connsiteY3" fmla="*/ 186690 h 192613"/>
                  <a:gd name="connsiteX4" fmla="*/ 4436 w 10000"/>
                  <a:gd name="connsiteY4" fmla="*/ 136687 h 192613"/>
                  <a:gd name="connsiteX5" fmla="*/ 5000 w 10000"/>
                  <a:gd name="connsiteY5" fmla="*/ 24 h 192613"/>
                  <a:gd name="connsiteX6" fmla="*/ 5416 w 10000"/>
                  <a:gd name="connsiteY6" fmla="*/ 156689 h 192613"/>
                  <a:gd name="connsiteX7" fmla="*/ 5833 w 10000"/>
                  <a:gd name="connsiteY7" fmla="*/ 16691 h 192613"/>
                  <a:gd name="connsiteX8" fmla="*/ 6176 w 10000"/>
                  <a:gd name="connsiteY8" fmla="*/ 116690 h 192613"/>
                  <a:gd name="connsiteX9" fmla="*/ 10000 w 10000"/>
                  <a:gd name="connsiteY9" fmla="*/ 116690 h 192613"/>
                  <a:gd name="connsiteX0" fmla="*/ 0 w 10000"/>
                  <a:gd name="connsiteY0" fmla="*/ 113359 h 157828"/>
                  <a:gd name="connsiteX1" fmla="*/ 3505 w 10000"/>
                  <a:gd name="connsiteY1" fmla="*/ 116692 h 157828"/>
                  <a:gd name="connsiteX2" fmla="*/ 3970 w 10000"/>
                  <a:gd name="connsiteY2" fmla="*/ 36692 h 157828"/>
                  <a:gd name="connsiteX3" fmla="*/ 4436 w 10000"/>
                  <a:gd name="connsiteY3" fmla="*/ 136689 h 157828"/>
                  <a:gd name="connsiteX4" fmla="*/ 5000 w 10000"/>
                  <a:gd name="connsiteY4" fmla="*/ 26 h 157828"/>
                  <a:gd name="connsiteX5" fmla="*/ 5416 w 10000"/>
                  <a:gd name="connsiteY5" fmla="*/ 156691 h 157828"/>
                  <a:gd name="connsiteX6" fmla="*/ 5833 w 10000"/>
                  <a:gd name="connsiteY6" fmla="*/ 16693 h 157828"/>
                  <a:gd name="connsiteX7" fmla="*/ 6176 w 10000"/>
                  <a:gd name="connsiteY7" fmla="*/ 116692 h 157828"/>
                  <a:gd name="connsiteX8" fmla="*/ 10000 w 10000"/>
                  <a:gd name="connsiteY8" fmla="*/ 116692 h 157828"/>
                  <a:gd name="connsiteX0" fmla="*/ 0 w 10000"/>
                  <a:gd name="connsiteY0" fmla="*/ 113362 h 136955"/>
                  <a:gd name="connsiteX1" fmla="*/ 3505 w 10000"/>
                  <a:gd name="connsiteY1" fmla="*/ 116695 h 136955"/>
                  <a:gd name="connsiteX2" fmla="*/ 3970 w 10000"/>
                  <a:gd name="connsiteY2" fmla="*/ 36695 h 136955"/>
                  <a:gd name="connsiteX3" fmla="*/ 4436 w 10000"/>
                  <a:gd name="connsiteY3" fmla="*/ 136692 h 136955"/>
                  <a:gd name="connsiteX4" fmla="*/ 5000 w 10000"/>
                  <a:gd name="connsiteY4" fmla="*/ 29 h 136955"/>
                  <a:gd name="connsiteX5" fmla="*/ 5293 w 10000"/>
                  <a:gd name="connsiteY5" fmla="*/ 133361 h 136955"/>
                  <a:gd name="connsiteX6" fmla="*/ 5833 w 10000"/>
                  <a:gd name="connsiteY6" fmla="*/ 16696 h 136955"/>
                  <a:gd name="connsiteX7" fmla="*/ 6176 w 10000"/>
                  <a:gd name="connsiteY7" fmla="*/ 116695 h 136955"/>
                  <a:gd name="connsiteX8" fmla="*/ 10000 w 10000"/>
                  <a:gd name="connsiteY8" fmla="*/ 116695 h 136955"/>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833 w 10000"/>
                  <a:gd name="connsiteY6" fmla="*/ 26694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710 w 10000"/>
                  <a:gd name="connsiteY6" fmla="*/ 36694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710 w 10000"/>
                  <a:gd name="connsiteY6" fmla="*/ 36694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710 w 10000"/>
                  <a:gd name="connsiteY6" fmla="*/ 36694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685 w 10000"/>
                  <a:gd name="connsiteY6" fmla="*/ 23361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685 w 10000"/>
                  <a:gd name="connsiteY6" fmla="*/ 23361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32 h 146925"/>
                  <a:gd name="connsiteX1" fmla="*/ 3505 w 10000"/>
                  <a:gd name="connsiteY1" fmla="*/ 126665 h 146925"/>
                  <a:gd name="connsiteX2" fmla="*/ 3970 w 10000"/>
                  <a:gd name="connsiteY2" fmla="*/ 46665 h 146925"/>
                  <a:gd name="connsiteX3" fmla="*/ 4436 w 10000"/>
                  <a:gd name="connsiteY3" fmla="*/ 146662 h 146925"/>
                  <a:gd name="connsiteX4" fmla="*/ 4902 w 10000"/>
                  <a:gd name="connsiteY4" fmla="*/ 0 h 146925"/>
                  <a:gd name="connsiteX5" fmla="*/ 5293 w 10000"/>
                  <a:gd name="connsiteY5" fmla="*/ 143331 h 146925"/>
                  <a:gd name="connsiteX6" fmla="*/ 5685 w 10000"/>
                  <a:gd name="connsiteY6" fmla="*/ 23333 h 146925"/>
                  <a:gd name="connsiteX7" fmla="*/ 6176 w 10000"/>
                  <a:gd name="connsiteY7" fmla="*/ 126665 h 146925"/>
                  <a:gd name="connsiteX8" fmla="*/ 10000 w 10000"/>
                  <a:gd name="connsiteY8" fmla="*/ 126665 h 146925"/>
                  <a:gd name="connsiteX0" fmla="*/ 0 w 10000"/>
                  <a:gd name="connsiteY0" fmla="*/ 123332 h 146923"/>
                  <a:gd name="connsiteX1" fmla="*/ 3505 w 10000"/>
                  <a:gd name="connsiteY1" fmla="*/ 126665 h 146923"/>
                  <a:gd name="connsiteX2" fmla="*/ 3970 w 10000"/>
                  <a:gd name="connsiteY2" fmla="*/ 46665 h 146923"/>
                  <a:gd name="connsiteX3" fmla="*/ 4436 w 10000"/>
                  <a:gd name="connsiteY3" fmla="*/ 146662 h 146923"/>
                  <a:gd name="connsiteX4" fmla="*/ 4902 w 10000"/>
                  <a:gd name="connsiteY4" fmla="*/ 0 h 146923"/>
                  <a:gd name="connsiteX5" fmla="*/ 5293 w 10000"/>
                  <a:gd name="connsiteY5" fmla="*/ 143331 h 146923"/>
                  <a:gd name="connsiteX6" fmla="*/ 5685 w 10000"/>
                  <a:gd name="connsiteY6" fmla="*/ 23333 h 146923"/>
                  <a:gd name="connsiteX7" fmla="*/ 6176 w 10000"/>
                  <a:gd name="connsiteY7" fmla="*/ 126665 h 146923"/>
                  <a:gd name="connsiteX8" fmla="*/ 10000 w 10000"/>
                  <a:gd name="connsiteY8" fmla="*/ 126665 h 146923"/>
                  <a:gd name="connsiteX0" fmla="*/ 0 w 10000"/>
                  <a:gd name="connsiteY0" fmla="*/ 123332 h 146925"/>
                  <a:gd name="connsiteX1" fmla="*/ 3505 w 10000"/>
                  <a:gd name="connsiteY1" fmla="*/ 126665 h 146925"/>
                  <a:gd name="connsiteX2" fmla="*/ 3970 w 10000"/>
                  <a:gd name="connsiteY2" fmla="*/ 46665 h 146925"/>
                  <a:gd name="connsiteX3" fmla="*/ 4436 w 10000"/>
                  <a:gd name="connsiteY3" fmla="*/ 146662 h 146925"/>
                  <a:gd name="connsiteX4" fmla="*/ 4902 w 10000"/>
                  <a:gd name="connsiteY4" fmla="*/ 0 h 146925"/>
                  <a:gd name="connsiteX5" fmla="*/ 5293 w 10000"/>
                  <a:gd name="connsiteY5" fmla="*/ 143331 h 146925"/>
                  <a:gd name="connsiteX6" fmla="*/ 5685 w 10000"/>
                  <a:gd name="connsiteY6" fmla="*/ 23333 h 146925"/>
                  <a:gd name="connsiteX7" fmla="*/ 6176 w 10000"/>
                  <a:gd name="connsiteY7" fmla="*/ 126665 h 146925"/>
                  <a:gd name="connsiteX8" fmla="*/ 10000 w 10000"/>
                  <a:gd name="connsiteY8" fmla="*/ 126665 h 146925"/>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387 w 10000"/>
                  <a:gd name="connsiteY3" fmla="*/ 146663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6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55 w 10000"/>
                  <a:gd name="connsiteY1" fmla="*/ 113973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5479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355 w 10000"/>
                  <a:gd name="connsiteY1" fmla="*/ 116985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46664">
                    <a:moveTo>
                      <a:pt x="0" y="116665"/>
                    </a:moveTo>
                    <a:cubicBezTo>
                      <a:pt x="705" y="117360"/>
                      <a:pt x="2183" y="116985"/>
                      <a:pt x="3355" y="116985"/>
                    </a:cubicBezTo>
                    <a:cubicBezTo>
                      <a:pt x="3530" y="79762"/>
                      <a:pt x="3752" y="69442"/>
                      <a:pt x="3921" y="29998"/>
                    </a:cubicBezTo>
                    <a:cubicBezTo>
                      <a:pt x="4101" y="79997"/>
                      <a:pt x="4215" y="106107"/>
                      <a:pt x="4387" y="139996"/>
                    </a:cubicBezTo>
                    <a:cubicBezTo>
                      <a:pt x="4608" y="87218"/>
                      <a:pt x="4643" y="55555"/>
                      <a:pt x="4828" y="0"/>
                    </a:cubicBezTo>
                    <a:cubicBezTo>
                      <a:pt x="5062" y="74443"/>
                      <a:pt x="5187" y="97776"/>
                      <a:pt x="5268" y="146664"/>
                    </a:cubicBezTo>
                    <a:cubicBezTo>
                      <a:pt x="5496" y="88887"/>
                      <a:pt x="5509" y="76665"/>
                      <a:pt x="5759" y="23333"/>
                    </a:cubicBezTo>
                    <a:cubicBezTo>
                      <a:pt x="5960" y="69999"/>
                      <a:pt x="6029" y="77221"/>
                      <a:pt x="6176" y="119998"/>
                    </a:cubicBezTo>
                    <a:cubicBezTo>
                      <a:pt x="6915" y="120553"/>
                      <a:pt x="9270" y="117916"/>
                      <a:pt x="10000" y="119998"/>
                    </a:cubicBezTo>
                  </a:path>
                </a:pathLst>
              </a:custGeom>
              <a:grpFill/>
              <a:ln w="952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BBvoice"/>
                  <a:ea typeface="ABBvoice"/>
                  <a:cs typeface="ABBvoice"/>
                </a:endParaRPr>
              </a:p>
            </p:txBody>
          </p:sp>
          <p:cxnSp>
            <p:nvCxnSpPr>
              <p:cNvPr id="549" name="Straight Connector 548">
                <a:extLst>
                  <a:ext uri="{FF2B5EF4-FFF2-40B4-BE49-F238E27FC236}">
                    <a16:creationId xmlns:a16="http://schemas.microsoft.com/office/drawing/2014/main" id="{EC26B248-E15D-4237-B7CB-1B26B76A93C7}"/>
                  </a:ext>
                </a:extLst>
              </p:cNvPr>
              <p:cNvCxnSpPr/>
              <p:nvPr/>
            </p:nvCxnSpPr>
            <p:spPr bwMode="gray">
              <a:xfrm flipV="1">
                <a:off x="10153056" y="1276774"/>
                <a:ext cx="109" cy="39923"/>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44" name="Oval 119">
              <a:extLst>
                <a:ext uri="{FF2B5EF4-FFF2-40B4-BE49-F238E27FC236}">
                  <a16:creationId xmlns:a16="http://schemas.microsoft.com/office/drawing/2014/main" id="{6489FE3F-66AA-4CAC-AC75-A0E32668D2B1}"/>
                </a:ext>
              </a:extLst>
            </p:cNvPr>
            <p:cNvSpPr/>
            <p:nvPr/>
          </p:nvSpPr>
          <p:spPr bwMode="gray">
            <a:xfrm>
              <a:off x="6654938" y="2069315"/>
              <a:ext cx="57051" cy="21407"/>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45" name="Oval 119">
              <a:extLst>
                <a:ext uri="{FF2B5EF4-FFF2-40B4-BE49-F238E27FC236}">
                  <a16:creationId xmlns:a16="http://schemas.microsoft.com/office/drawing/2014/main" id="{1992B132-B5FD-44F0-8B2A-458D33B57E1F}"/>
                </a:ext>
              </a:extLst>
            </p:cNvPr>
            <p:cNvSpPr/>
            <p:nvPr/>
          </p:nvSpPr>
          <p:spPr bwMode="gray">
            <a:xfrm>
              <a:off x="6812129" y="2069315"/>
              <a:ext cx="57051" cy="21407"/>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546" name="Straight Connector 545">
              <a:extLst>
                <a:ext uri="{FF2B5EF4-FFF2-40B4-BE49-F238E27FC236}">
                  <a16:creationId xmlns:a16="http://schemas.microsoft.com/office/drawing/2014/main" id="{D795C4CF-8E89-4D3C-9F51-1360372DFE77}"/>
                </a:ext>
              </a:extLst>
            </p:cNvPr>
            <p:cNvCxnSpPr/>
            <p:nvPr/>
          </p:nvCxnSpPr>
          <p:spPr bwMode="gray">
            <a:xfrm>
              <a:off x="6761985" y="2097702"/>
              <a:ext cx="0" cy="80710"/>
            </a:xfrm>
            <a:prstGeom prst="line">
              <a:avLst/>
            </a:prstGeom>
            <a:grp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585" name="Group 584">
            <a:extLst>
              <a:ext uri="{FF2B5EF4-FFF2-40B4-BE49-F238E27FC236}">
                <a16:creationId xmlns:a16="http://schemas.microsoft.com/office/drawing/2014/main" id="{7C7DCE9E-0D81-4AC4-8F24-A4E59B0BBA4D}"/>
              </a:ext>
            </a:extLst>
          </p:cNvPr>
          <p:cNvGrpSpPr/>
          <p:nvPr/>
        </p:nvGrpSpPr>
        <p:grpSpPr bwMode="gray">
          <a:xfrm>
            <a:off x="934931" y="3327458"/>
            <a:ext cx="421812" cy="421812"/>
            <a:chOff x="6550365" y="1952229"/>
            <a:chExt cx="421812" cy="421812"/>
          </a:xfrm>
          <a:solidFill>
            <a:schemeClr val="tx2"/>
          </a:solidFill>
        </p:grpSpPr>
        <p:sp>
          <p:nvSpPr>
            <p:cNvPr id="586" name="Oval 585">
              <a:extLst>
                <a:ext uri="{FF2B5EF4-FFF2-40B4-BE49-F238E27FC236}">
                  <a16:creationId xmlns:a16="http://schemas.microsoft.com/office/drawing/2014/main" id="{2D6A5691-35D3-4A51-8B01-52CC244D3E57}"/>
                </a:ext>
              </a:extLst>
            </p:cNvPr>
            <p:cNvSpPr/>
            <p:nvPr/>
          </p:nvSpPr>
          <p:spPr bwMode="gray">
            <a:xfrm>
              <a:off x="6550365" y="1952229"/>
              <a:ext cx="421812" cy="421812"/>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87" name="Can 29">
              <a:extLst>
                <a:ext uri="{FF2B5EF4-FFF2-40B4-BE49-F238E27FC236}">
                  <a16:creationId xmlns:a16="http://schemas.microsoft.com/office/drawing/2014/main" id="{8F8729C8-F319-44E7-A825-471C34F97339}"/>
                </a:ext>
              </a:extLst>
            </p:cNvPr>
            <p:cNvSpPr/>
            <p:nvPr/>
          </p:nvSpPr>
          <p:spPr bwMode="gray">
            <a:xfrm>
              <a:off x="6620889" y="2097702"/>
              <a:ext cx="280763" cy="194175"/>
            </a:xfrm>
            <a:custGeom>
              <a:avLst/>
              <a:gdLst/>
              <a:ahLst/>
              <a:cxnLst/>
              <a:rect l="l" t="t" r="r" b="b"/>
              <a:pathLst>
                <a:path w="352242" h="243610">
                  <a:moveTo>
                    <a:pt x="176121" y="0"/>
                  </a:moveTo>
                  <a:lnTo>
                    <a:pt x="237951" y="3589"/>
                  </a:lnTo>
                  <a:lnTo>
                    <a:pt x="239926" y="3874"/>
                  </a:lnTo>
                  <a:lnTo>
                    <a:pt x="239926" y="44223"/>
                  </a:lnTo>
                  <a:cubicBezTo>
                    <a:pt x="239926" y="52438"/>
                    <a:pt x="255949" y="59098"/>
                    <a:pt x="275713" y="59098"/>
                  </a:cubicBezTo>
                  <a:cubicBezTo>
                    <a:pt x="295478" y="59098"/>
                    <a:pt x="311501" y="52438"/>
                    <a:pt x="311501" y="44223"/>
                  </a:cubicBezTo>
                  <a:cubicBezTo>
                    <a:pt x="311501" y="35710"/>
                    <a:pt x="311501" y="27197"/>
                    <a:pt x="311501" y="18685"/>
                  </a:cubicBezTo>
                  <a:cubicBezTo>
                    <a:pt x="336993" y="27060"/>
                    <a:pt x="352242" y="38333"/>
                    <a:pt x="352242" y="50630"/>
                  </a:cubicBezTo>
                  <a:cubicBezTo>
                    <a:pt x="352242" y="98080"/>
                    <a:pt x="352242" y="145530"/>
                    <a:pt x="352242" y="192980"/>
                  </a:cubicBezTo>
                  <a:cubicBezTo>
                    <a:pt x="352242" y="220942"/>
                    <a:pt x="273389" y="243610"/>
                    <a:pt x="176121" y="243610"/>
                  </a:cubicBezTo>
                  <a:cubicBezTo>
                    <a:pt x="78852" y="243610"/>
                    <a:pt x="0" y="220942"/>
                    <a:pt x="0" y="192980"/>
                  </a:cubicBezTo>
                  <a:cubicBezTo>
                    <a:pt x="0" y="145530"/>
                    <a:pt x="1" y="98080"/>
                    <a:pt x="1" y="50630"/>
                  </a:cubicBezTo>
                  <a:cubicBezTo>
                    <a:pt x="1" y="38012"/>
                    <a:pt x="16055" y="26474"/>
                    <a:pt x="42716" y="17919"/>
                  </a:cubicBezTo>
                  <a:lnTo>
                    <a:pt x="42716" y="44223"/>
                  </a:lnTo>
                  <a:lnTo>
                    <a:pt x="42716" y="44223"/>
                  </a:lnTo>
                  <a:lnTo>
                    <a:pt x="42716" y="44223"/>
                  </a:lnTo>
                  <a:cubicBezTo>
                    <a:pt x="42716" y="52438"/>
                    <a:pt x="58739" y="59098"/>
                    <a:pt x="78504" y="59098"/>
                  </a:cubicBezTo>
                  <a:cubicBezTo>
                    <a:pt x="98269" y="59098"/>
                    <a:pt x="114291" y="52438"/>
                    <a:pt x="114291" y="44223"/>
                  </a:cubicBezTo>
                  <a:cubicBezTo>
                    <a:pt x="114291" y="44223"/>
                    <a:pt x="114291" y="44222"/>
                    <a:pt x="114291" y="44222"/>
                  </a:cubicBezTo>
                  <a:cubicBezTo>
                    <a:pt x="114291" y="30678"/>
                    <a:pt x="114291" y="17133"/>
                    <a:pt x="114292" y="3589"/>
                  </a:cubicBezTo>
                  <a:cubicBezTo>
                    <a:pt x="133500" y="1136"/>
                    <a:pt x="154349" y="0"/>
                    <a:pt x="176121"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88" name="Oval 119">
              <a:extLst>
                <a:ext uri="{FF2B5EF4-FFF2-40B4-BE49-F238E27FC236}">
                  <a16:creationId xmlns:a16="http://schemas.microsoft.com/office/drawing/2014/main" id="{8EBC59ED-8E6D-457D-9700-3CC722F0ABFA}"/>
                </a:ext>
              </a:extLst>
            </p:cNvPr>
            <p:cNvSpPr/>
            <p:nvPr/>
          </p:nvSpPr>
          <p:spPr bwMode="gray">
            <a:xfrm>
              <a:off x="6620889" y="2097702"/>
              <a:ext cx="280762" cy="80710"/>
            </a:xfrm>
            <a:custGeom>
              <a:avLst/>
              <a:gdLst/>
              <a:ahLst/>
              <a:cxnLst/>
              <a:rect l="l" t="t" r="r" b="b"/>
              <a:pathLst>
                <a:path w="352241" h="101258">
                  <a:moveTo>
                    <a:pt x="176120" y="0"/>
                  </a:moveTo>
                  <a:lnTo>
                    <a:pt x="239926" y="3703"/>
                  </a:lnTo>
                  <a:lnTo>
                    <a:pt x="239925" y="44222"/>
                  </a:lnTo>
                  <a:cubicBezTo>
                    <a:pt x="239925" y="52437"/>
                    <a:pt x="255948" y="59097"/>
                    <a:pt x="275713" y="59097"/>
                  </a:cubicBezTo>
                  <a:cubicBezTo>
                    <a:pt x="295478" y="59097"/>
                    <a:pt x="311500" y="52437"/>
                    <a:pt x="311500" y="44222"/>
                  </a:cubicBezTo>
                  <a:cubicBezTo>
                    <a:pt x="311500" y="35684"/>
                    <a:pt x="311500" y="27145"/>
                    <a:pt x="311500" y="18607"/>
                  </a:cubicBezTo>
                  <a:cubicBezTo>
                    <a:pt x="336984" y="27054"/>
                    <a:pt x="352241" y="38329"/>
                    <a:pt x="352241" y="50629"/>
                  </a:cubicBezTo>
                  <a:cubicBezTo>
                    <a:pt x="352241" y="78591"/>
                    <a:pt x="273389" y="101258"/>
                    <a:pt x="176120" y="101258"/>
                  </a:cubicBezTo>
                  <a:cubicBezTo>
                    <a:pt x="78852" y="101258"/>
                    <a:pt x="0" y="78591"/>
                    <a:pt x="0" y="50629"/>
                  </a:cubicBezTo>
                  <a:cubicBezTo>
                    <a:pt x="0" y="38045"/>
                    <a:pt x="15971" y="26533"/>
                    <a:pt x="42716" y="18610"/>
                  </a:cubicBezTo>
                  <a:lnTo>
                    <a:pt x="42716" y="44223"/>
                  </a:lnTo>
                  <a:cubicBezTo>
                    <a:pt x="42716" y="52438"/>
                    <a:pt x="58739" y="59098"/>
                    <a:pt x="78504" y="59098"/>
                  </a:cubicBezTo>
                  <a:cubicBezTo>
                    <a:pt x="98269" y="59098"/>
                    <a:pt x="114291" y="52438"/>
                    <a:pt x="114291" y="44223"/>
                  </a:cubicBezTo>
                  <a:cubicBezTo>
                    <a:pt x="114291" y="30678"/>
                    <a:pt x="114291" y="17133"/>
                    <a:pt x="114292" y="3588"/>
                  </a:cubicBezTo>
                  <a:cubicBezTo>
                    <a:pt x="133500" y="1136"/>
                    <a:pt x="154348" y="0"/>
                    <a:pt x="176120"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89" name="Can 221">
              <a:extLst>
                <a:ext uri="{FF2B5EF4-FFF2-40B4-BE49-F238E27FC236}">
                  <a16:creationId xmlns:a16="http://schemas.microsoft.com/office/drawing/2014/main" id="{1CF2332E-46C9-4C47-BBB2-66A40CE0D302}"/>
                </a:ext>
              </a:extLst>
            </p:cNvPr>
            <p:cNvSpPr/>
            <p:nvPr/>
          </p:nvSpPr>
          <p:spPr bwMode="gray">
            <a:xfrm>
              <a:off x="6654937" y="2069315"/>
              <a:ext cx="57051" cy="75493"/>
            </a:xfrm>
            <a:custGeom>
              <a:avLst/>
              <a:gdLst/>
              <a:ahLst/>
              <a:cxnLst/>
              <a:rect l="l" t="t" r="r" b="b"/>
              <a:pathLst>
                <a:path w="138065" h="182695">
                  <a:moveTo>
                    <a:pt x="69033" y="0"/>
                  </a:moveTo>
                  <a:cubicBezTo>
                    <a:pt x="107158" y="0"/>
                    <a:pt x="138065" y="12847"/>
                    <a:pt x="138065" y="28694"/>
                  </a:cubicBezTo>
                  <a:cubicBezTo>
                    <a:pt x="138065" y="70463"/>
                    <a:pt x="138064" y="112232"/>
                    <a:pt x="138064" y="154001"/>
                  </a:cubicBezTo>
                  <a:cubicBezTo>
                    <a:pt x="138064" y="169848"/>
                    <a:pt x="107157" y="182695"/>
                    <a:pt x="69032" y="182695"/>
                  </a:cubicBezTo>
                  <a:cubicBezTo>
                    <a:pt x="30907" y="182695"/>
                    <a:pt x="0" y="169848"/>
                    <a:pt x="0" y="154001"/>
                  </a:cubicBezTo>
                  <a:cubicBezTo>
                    <a:pt x="0" y="112232"/>
                    <a:pt x="1" y="70463"/>
                    <a:pt x="1" y="28694"/>
                  </a:cubicBezTo>
                  <a:cubicBezTo>
                    <a:pt x="1" y="12847"/>
                    <a:pt x="30908" y="0"/>
                    <a:pt x="69033"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90" name="Can 222">
              <a:extLst>
                <a:ext uri="{FF2B5EF4-FFF2-40B4-BE49-F238E27FC236}">
                  <a16:creationId xmlns:a16="http://schemas.microsoft.com/office/drawing/2014/main" id="{5CF5CC52-0243-495A-A224-05C14C4D7873}"/>
                </a:ext>
              </a:extLst>
            </p:cNvPr>
            <p:cNvSpPr/>
            <p:nvPr/>
          </p:nvSpPr>
          <p:spPr bwMode="gray">
            <a:xfrm>
              <a:off x="6812128" y="2069315"/>
              <a:ext cx="57051" cy="75493"/>
            </a:xfrm>
            <a:custGeom>
              <a:avLst/>
              <a:gdLst/>
              <a:ahLst/>
              <a:cxnLst/>
              <a:rect l="l" t="t" r="r" b="b"/>
              <a:pathLst>
                <a:path w="138065" h="182695">
                  <a:moveTo>
                    <a:pt x="69033" y="0"/>
                  </a:moveTo>
                  <a:cubicBezTo>
                    <a:pt x="107158" y="0"/>
                    <a:pt x="138065" y="12847"/>
                    <a:pt x="138065" y="28694"/>
                  </a:cubicBezTo>
                  <a:cubicBezTo>
                    <a:pt x="138065" y="70463"/>
                    <a:pt x="138064" y="112232"/>
                    <a:pt x="138064" y="154001"/>
                  </a:cubicBezTo>
                  <a:cubicBezTo>
                    <a:pt x="138064" y="169848"/>
                    <a:pt x="107157" y="182695"/>
                    <a:pt x="69032" y="182695"/>
                  </a:cubicBezTo>
                  <a:cubicBezTo>
                    <a:pt x="30907" y="182695"/>
                    <a:pt x="0" y="169848"/>
                    <a:pt x="0" y="154001"/>
                  </a:cubicBezTo>
                  <a:cubicBezTo>
                    <a:pt x="0" y="112232"/>
                    <a:pt x="1" y="70463"/>
                    <a:pt x="1" y="28694"/>
                  </a:cubicBezTo>
                  <a:cubicBezTo>
                    <a:pt x="1" y="12847"/>
                    <a:pt x="30908" y="0"/>
                    <a:pt x="69033" y="0"/>
                  </a:cubicBezTo>
                  <a:close/>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591" name="Group 590">
              <a:extLst>
                <a:ext uri="{FF2B5EF4-FFF2-40B4-BE49-F238E27FC236}">
                  <a16:creationId xmlns:a16="http://schemas.microsoft.com/office/drawing/2014/main" id="{B8F3A264-DCAE-4FAB-B94F-A714B75D0C1A}"/>
                </a:ext>
              </a:extLst>
            </p:cNvPr>
            <p:cNvGrpSpPr/>
            <p:nvPr/>
          </p:nvGrpSpPr>
          <p:grpSpPr bwMode="gray">
            <a:xfrm>
              <a:off x="6683463" y="2001220"/>
              <a:ext cx="157185" cy="77712"/>
              <a:chOff x="9985390" y="1226001"/>
              <a:chExt cx="167775" cy="90696"/>
            </a:xfrm>
            <a:grpFill/>
          </p:grpSpPr>
          <p:cxnSp>
            <p:nvCxnSpPr>
              <p:cNvPr id="595" name="Straight Connector 594">
                <a:extLst>
                  <a:ext uri="{FF2B5EF4-FFF2-40B4-BE49-F238E27FC236}">
                    <a16:creationId xmlns:a16="http://schemas.microsoft.com/office/drawing/2014/main" id="{7C032115-51B3-4082-9DFE-CCCA2A22BE17}"/>
                  </a:ext>
                </a:extLst>
              </p:cNvPr>
              <p:cNvCxnSpPr/>
              <p:nvPr/>
            </p:nvCxnSpPr>
            <p:spPr bwMode="gray">
              <a:xfrm flipV="1">
                <a:off x="9985451" y="1276774"/>
                <a:ext cx="109" cy="39923"/>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596" name="Freeform 253">
                <a:extLst>
                  <a:ext uri="{FF2B5EF4-FFF2-40B4-BE49-F238E27FC236}">
                    <a16:creationId xmlns:a16="http://schemas.microsoft.com/office/drawing/2014/main" id="{35749D1C-DE20-42E9-9F3C-F90A70813B0E}"/>
                  </a:ext>
                </a:extLst>
              </p:cNvPr>
              <p:cNvSpPr/>
              <p:nvPr/>
            </p:nvSpPr>
            <p:spPr bwMode="gray">
              <a:xfrm>
                <a:off x="9985390" y="1226001"/>
                <a:ext cx="167622" cy="63112"/>
              </a:xfrm>
              <a:custGeom>
                <a:avLst/>
                <a:gdLst>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31520 w 767554"/>
                  <a:gd name="connsiteY22" fmla="*/ 21619 h 25429"/>
                  <a:gd name="connsiteX23" fmla="*/ 737235 w 767554"/>
                  <a:gd name="connsiteY23" fmla="*/ 19714 h 25429"/>
                  <a:gd name="connsiteX24" fmla="*/ 750570 w 767554"/>
                  <a:gd name="connsiteY24" fmla="*/ 15904 h 25429"/>
                  <a:gd name="connsiteX25" fmla="*/ 762000 w 767554"/>
                  <a:gd name="connsiteY25" fmla="*/ 8284 h 25429"/>
                  <a:gd name="connsiteX26" fmla="*/ 763905 w 767554"/>
                  <a:gd name="connsiteY26" fmla="*/ 2569 h 25429"/>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31520 w 767554"/>
                  <a:gd name="connsiteY22" fmla="*/ 21619 h 25429"/>
                  <a:gd name="connsiteX23" fmla="*/ 750570 w 767554"/>
                  <a:gd name="connsiteY23" fmla="*/ 15904 h 25429"/>
                  <a:gd name="connsiteX24" fmla="*/ 762000 w 767554"/>
                  <a:gd name="connsiteY24" fmla="*/ 8284 h 25429"/>
                  <a:gd name="connsiteX25" fmla="*/ 763905 w 767554"/>
                  <a:gd name="connsiteY25" fmla="*/ 2569 h 25429"/>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50570 w 767554"/>
                  <a:gd name="connsiteY22" fmla="*/ 15904 h 25429"/>
                  <a:gd name="connsiteX23" fmla="*/ 762000 w 767554"/>
                  <a:gd name="connsiteY23" fmla="*/ 8284 h 25429"/>
                  <a:gd name="connsiteX24" fmla="*/ 763905 w 767554"/>
                  <a:gd name="connsiteY24" fmla="*/ 2569 h 25429"/>
                  <a:gd name="connsiteX0" fmla="*/ 0 w 766977"/>
                  <a:gd name="connsiteY0" fmla="*/ 10189 h 25429"/>
                  <a:gd name="connsiteX1" fmla="*/ 11430 w 766977"/>
                  <a:gd name="connsiteY1" fmla="*/ 8284 h 25429"/>
                  <a:gd name="connsiteX2" fmla="*/ 28575 w 766977"/>
                  <a:gd name="connsiteY2" fmla="*/ 4474 h 25429"/>
                  <a:gd name="connsiteX3" fmla="*/ 57150 w 766977"/>
                  <a:gd name="connsiteY3" fmla="*/ 2569 h 25429"/>
                  <a:gd name="connsiteX4" fmla="*/ 104775 w 766977"/>
                  <a:gd name="connsiteY4" fmla="*/ 4474 h 25429"/>
                  <a:gd name="connsiteX5" fmla="*/ 133350 w 766977"/>
                  <a:gd name="connsiteY5" fmla="*/ 6379 h 25429"/>
                  <a:gd name="connsiteX6" fmla="*/ 169545 w 766977"/>
                  <a:gd name="connsiteY6" fmla="*/ 8284 h 25429"/>
                  <a:gd name="connsiteX7" fmla="*/ 262890 w 766977"/>
                  <a:gd name="connsiteY7" fmla="*/ 12094 h 25429"/>
                  <a:gd name="connsiteX8" fmla="*/ 289560 w 766977"/>
                  <a:gd name="connsiteY8" fmla="*/ 10189 h 25429"/>
                  <a:gd name="connsiteX9" fmla="*/ 300990 w 766977"/>
                  <a:gd name="connsiteY9" fmla="*/ 8284 h 25429"/>
                  <a:gd name="connsiteX10" fmla="*/ 350520 w 766977"/>
                  <a:gd name="connsiteY10" fmla="*/ 10189 h 25429"/>
                  <a:gd name="connsiteX11" fmla="*/ 390525 w 766977"/>
                  <a:gd name="connsiteY11" fmla="*/ 8284 h 25429"/>
                  <a:gd name="connsiteX12" fmla="*/ 419100 w 766977"/>
                  <a:gd name="connsiteY12" fmla="*/ 6379 h 25429"/>
                  <a:gd name="connsiteX13" fmla="*/ 491490 w 766977"/>
                  <a:gd name="connsiteY13" fmla="*/ 2569 h 25429"/>
                  <a:gd name="connsiteX14" fmla="*/ 575310 w 766977"/>
                  <a:gd name="connsiteY14" fmla="*/ 2569 h 25429"/>
                  <a:gd name="connsiteX15" fmla="*/ 586740 w 766977"/>
                  <a:gd name="connsiteY15" fmla="*/ 4474 h 25429"/>
                  <a:gd name="connsiteX16" fmla="*/ 617220 w 766977"/>
                  <a:gd name="connsiteY16" fmla="*/ 6379 h 25429"/>
                  <a:gd name="connsiteX17" fmla="*/ 661035 w 766977"/>
                  <a:gd name="connsiteY17" fmla="*/ 12094 h 25429"/>
                  <a:gd name="connsiteX18" fmla="*/ 678180 w 766977"/>
                  <a:gd name="connsiteY18" fmla="*/ 15904 h 25429"/>
                  <a:gd name="connsiteX19" fmla="*/ 689610 w 766977"/>
                  <a:gd name="connsiteY19" fmla="*/ 19714 h 25429"/>
                  <a:gd name="connsiteX20" fmla="*/ 699135 w 766977"/>
                  <a:gd name="connsiteY20" fmla="*/ 21619 h 25429"/>
                  <a:gd name="connsiteX21" fmla="*/ 716280 w 766977"/>
                  <a:gd name="connsiteY21" fmla="*/ 25429 h 25429"/>
                  <a:gd name="connsiteX22" fmla="*/ 762000 w 766977"/>
                  <a:gd name="connsiteY22" fmla="*/ 8284 h 25429"/>
                  <a:gd name="connsiteX23" fmla="*/ 763905 w 766977"/>
                  <a:gd name="connsiteY23" fmla="*/ 2569 h 25429"/>
                  <a:gd name="connsiteX0" fmla="*/ 0 w 762000"/>
                  <a:gd name="connsiteY0" fmla="*/ 10189 h 25429"/>
                  <a:gd name="connsiteX1" fmla="*/ 11430 w 762000"/>
                  <a:gd name="connsiteY1" fmla="*/ 8284 h 25429"/>
                  <a:gd name="connsiteX2" fmla="*/ 28575 w 762000"/>
                  <a:gd name="connsiteY2" fmla="*/ 4474 h 25429"/>
                  <a:gd name="connsiteX3" fmla="*/ 57150 w 762000"/>
                  <a:gd name="connsiteY3" fmla="*/ 2569 h 25429"/>
                  <a:gd name="connsiteX4" fmla="*/ 104775 w 762000"/>
                  <a:gd name="connsiteY4" fmla="*/ 4474 h 25429"/>
                  <a:gd name="connsiteX5" fmla="*/ 133350 w 762000"/>
                  <a:gd name="connsiteY5" fmla="*/ 6379 h 25429"/>
                  <a:gd name="connsiteX6" fmla="*/ 169545 w 762000"/>
                  <a:gd name="connsiteY6" fmla="*/ 8284 h 25429"/>
                  <a:gd name="connsiteX7" fmla="*/ 262890 w 762000"/>
                  <a:gd name="connsiteY7" fmla="*/ 12094 h 25429"/>
                  <a:gd name="connsiteX8" fmla="*/ 289560 w 762000"/>
                  <a:gd name="connsiteY8" fmla="*/ 10189 h 25429"/>
                  <a:gd name="connsiteX9" fmla="*/ 300990 w 762000"/>
                  <a:gd name="connsiteY9" fmla="*/ 8284 h 25429"/>
                  <a:gd name="connsiteX10" fmla="*/ 350520 w 762000"/>
                  <a:gd name="connsiteY10" fmla="*/ 10189 h 25429"/>
                  <a:gd name="connsiteX11" fmla="*/ 390525 w 762000"/>
                  <a:gd name="connsiteY11" fmla="*/ 8284 h 25429"/>
                  <a:gd name="connsiteX12" fmla="*/ 419100 w 762000"/>
                  <a:gd name="connsiteY12" fmla="*/ 6379 h 25429"/>
                  <a:gd name="connsiteX13" fmla="*/ 491490 w 762000"/>
                  <a:gd name="connsiteY13" fmla="*/ 2569 h 25429"/>
                  <a:gd name="connsiteX14" fmla="*/ 575310 w 762000"/>
                  <a:gd name="connsiteY14" fmla="*/ 2569 h 25429"/>
                  <a:gd name="connsiteX15" fmla="*/ 586740 w 762000"/>
                  <a:gd name="connsiteY15" fmla="*/ 4474 h 25429"/>
                  <a:gd name="connsiteX16" fmla="*/ 617220 w 762000"/>
                  <a:gd name="connsiteY16" fmla="*/ 6379 h 25429"/>
                  <a:gd name="connsiteX17" fmla="*/ 661035 w 762000"/>
                  <a:gd name="connsiteY17" fmla="*/ 12094 h 25429"/>
                  <a:gd name="connsiteX18" fmla="*/ 678180 w 762000"/>
                  <a:gd name="connsiteY18" fmla="*/ 15904 h 25429"/>
                  <a:gd name="connsiteX19" fmla="*/ 689610 w 762000"/>
                  <a:gd name="connsiteY19" fmla="*/ 19714 h 25429"/>
                  <a:gd name="connsiteX20" fmla="*/ 699135 w 762000"/>
                  <a:gd name="connsiteY20" fmla="*/ 21619 h 25429"/>
                  <a:gd name="connsiteX21" fmla="*/ 716280 w 762000"/>
                  <a:gd name="connsiteY21" fmla="*/ 25429 h 25429"/>
                  <a:gd name="connsiteX22" fmla="*/ 762000 w 762000"/>
                  <a:gd name="connsiteY22" fmla="*/ 8284 h 25429"/>
                  <a:gd name="connsiteX0" fmla="*/ 0 w 762000"/>
                  <a:gd name="connsiteY0" fmla="*/ 10189 h 26852"/>
                  <a:gd name="connsiteX1" fmla="*/ 11430 w 762000"/>
                  <a:gd name="connsiteY1" fmla="*/ 8284 h 26852"/>
                  <a:gd name="connsiteX2" fmla="*/ 28575 w 762000"/>
                  <a:gd name="connsiteY2" fmla="*/ 4474 h 26852"/>
                  <a:gd name="connsiteX3" fmla="*/ 57150 w 762000"/>
                  <a:gd name="connsiteY3" fmla="*/ 2569 h 26852"/>
                  <a:gd name="connsiteX4" fmla="*/ 104775 w 762000"/>
                  <a:gd name="connsiteY4" fmla="*/ 4474 h 26852"/>
                  <a:gd name="connsiteX5" fmla="*/ 133350 w 762000"/>
                  <a:gd name="connsiteY5" fmla="*/ 6379 h 26852"/>
                  <a:gd name="connsiteX6" fmla="*/ 169545 w 762000"/>
                  <a:gd name="connsiteY6" fmla="*/ 8284 h 26852"/>
                  <a:gd name="connsiteX7" fmla="*/ 262890 w 762000"/>
                  <a:gd name="connsiteY7" fmla="*/ 12094 h 26852"/>
                  <a:gd name="connsiteX8" fmla="*/ 289560 w 762000"/>
                  <a:gd name="connsiteY8" fmla="*/ 10189 h 26852"/>
                  <a:gd name="connsiteX9" fmla="*/ 300990 w 762000"/>
                  <a:gd name="connsiteY9" fmla="*/ 8284 h 26852"/>
                  <a:gd name="connsiteX10" fmla="*/ 350520 w 762000"/>
                  <a:gd name="connsiteY10" fmla="*/ 10189 h 26852"/>
                  <a:gd name="connsiteX11" fmla="*/ 390525 w 762000"/>
                  <a:gd name="connsiteY11" fmla="*/ 8284 h 26852"/>
                  <a:gd name="connsiteX12" fmla="*/ 419100 w 762000"/>
                  <a:gd name="connsiteY12" fmla="*/ 6379 h 26852"/>
                  <a:gd name="connsiteX13" fmla="*/ 491490 w 762000"/>
                  <a:gd name="connsiteY13" fmla="*/ 2569 h 26852"/>
                  <a:gd name="connsiteX14" fmla="*/ 575310 w 762000"/>
                  <a:gd name="connsiteY14" fmla="*/ 2569 h 26852"/>
                  <a:gd name="connsiteX15" fmla="*/ 586740 w 762000"/>
                  <a:gd name="connsiteY15" fmla="*/ 4474 h 26852"/>
                  <a:gd name="connsiteX16" fmla="*/ 617220 w 762000"/>
                  <a:gd name="connsiteY16" fmla="*/ 6379 h 26852"/>
                  <a:gd name="connsiteX17" fmla="*/ 661035 w 762000"/>
                  <a:gd name="connsiteY17" fmla="*/ 12094 h 26852"/>
                  <a:gd name="connsiteX18" fmla="*/ 678180 w 762000"/>
                  <a:gd name="connsiteY18" fmla="*/ 15904 h 26852"/>
                  <a:gd name="connsiteX19" fmla="*/ 689610 w 762000"/>
                  <a:gd name="connsiteY19" fmla="*/ 19714 h 26852"/>
                  <a:gd name="connsiteX20" fmla="*/ 699135 w 762000"/>
                  <a:gd name="connsiteY20" fmla="*/ 21619 h 26852"/>
                  <a:gd name="connsiteX21" fmla="*/ 706756 w 762000"/>
                  <a:gd name="connsiteY21" fmla="*/ 25429 h 26852"/>
                  <a:gd name="connsiteX22" fmla="*/ 716280 w 762000"/>
                  <a:gd name="connsiteY22" fmla="*/ 25429 h 26852"/>
                  <a:gd name="connsiteX23" fmla="*/ 762000 w 762000"/>
                  <a:gd name="connsiteY23" fmla="*/ 8284 h 26852"/>
                  <a:gd name="connsiteX0" fmla="*/ 0 w 762000"/>
                  <a:gd name="connsiteY0" fmla="*/ 10189 h 26852"/>
                  <a:gd name="connsiteX1" fmla="*/ 11430 w 762000"/>
                  <a:gd name="connsiteY1" fmla="*/ 8284 h 26852"/>
                  <a:gd name="connsiteX2" fmla="*/ 28575 w 762000"/>
                  <a:gd name="connsiteY2" fmla="*/ 4474 h 26852"/>
                  <a:gd name="connsiteX3" fmla="*/ 57150 w 762000"/>
                  <a:gd name="connsiteY3" fmla="*/ 2569 h 26852"/>
                  <a:gd name="connsiteX4" fmla="*/ 104775 w 762000"/>
                  <a:gd name="connsiteY4" fmla="*/ 4474 h 26852"/>
                  <a:gd name="connsiteX5" fmla="*/ 133350 w 762000"/>
                  <a:gd name="connsiteY5" fmla="*/ 6379 h 26852"/>
                  <a:gd name="connsiteX6" fmla="*/ 169545 w 762000"/>
                  <a:gd name="connsiteY6" fmla="*/ 8284 h 26852"/>
                  <a:gd name="connsiteX7" fmla="*/ 262890 w 762000"/>
                  <a:gd name="connsiteY7" fmla="*/ 12094 h 26852"/>
                  <a:gd name="connsiteX8" fmla="*/ 289560 w 762000"/>
                  <a:gd name="connsiteY8" fmla="*/ 10189 h 26852"/>
                  <a:gd name="connsiteX9" fmla="*/ 300990 w 762000"/>
                  <a:gd name="connsiteY9" fmla="*/ 8284 h 26852"/>
                  <a:gd name="connsiteX10" fmla="*/ 350520 w 762000"/>
                  <a:gd name="connsiteY10" fmla="*/ 10189 h 26852"/>
                  <a:gd name="connsiteX11" fmla="*/ 390525 w 762000"/>
                  <a:gd name="connsiteY11" fmla="*/ 8284 h 26852"/>
                  <a:gd name="connsiteX12" fmla="*/ 419100 w 762000"/>
                  <a:gd name="connsiteY12" fmla="*/ 6379 h 26852"/>
                  <a:gd name="connsiteX13" fmla="*/ 491490 w 762000"/>
                  <a:gd name="connsiteY13" fmla="*/ 2569 h 26852"/>
                  <a:gd name="connsiteX14" fmla="*/ 575310 w 762000"/>
                  <a:gd name="connsiteY14" fmla="*/ 2569 h 26852"/>
                  <a:gd name="connsiteX15" fmla="*/ 586740 w 762000"/>
                  <a:gd name="connsiteY15" fmla="*/ 4474 h 26852"/>
                  <a:gd name="connsiteX16" fmla="*/ 617220 w 762000"/>
                  <a:gd name="connsiteY16" fmla="*/ 6379 h 26852"/>
                  <a:gd name="connsiteX17" fmla="*/ 661035 w 762000"/>
                  <a:gd name="connsiteY17" fmla="*/ 12094 h 26852"/>
                  <a:gd name="connsiteX18" fmla="*/ 678180 w 762000"/>
                  <a:gd name="connsiteY18" fmla="*/ 15904 h 26852"/>
                  <a:gd name="connsiteX19" fmla="*/ 699135 w 762000"/>
                  <a:gd name="connsiteY19" fmla="*/ 21619 h 26852"/>
                  <a:gd name="connsiteX20" fmla="*/ 706756 w 762000"/>
                  <a:gd name="connsiteY20" fmla="*/ 25429 h 26852"/>
                  <a:gd name="connsiteX21" fmla="*/ 716280 w 762000"/>
                  <a:gd name="connsiteY21" fmla="*/ 25429 h 26852"/>
                  <a:gd name="connsiteX22" fmla="*/ 762000 w 762000"/>
                  <a:gd name="connsiteY22" fmla="*/ 8284 h 26852"/>
                  <a:gd name="connsiteX0" fmla="*/ 0 w 716280"/>
                  <a:gd name="connsiteY0" fmla="*/ 10189 h 26852"/>
                  <a:gd name="connsiteX1" fmla="*/ 11430 w 716280"/>
                  <a:gd name="connsiteY1" fmla="*/ 8284 h 26852"/>
                  <a:gd name="connsiteX2" fmla="*/ 28575 w 716280"/>
                  <a:gd name="connsiteY2" fmla="*/ 4474 h 26852"/>
                  <a:gd name="connsiteX3" fmla="*/ 57150 w 716280"/>
                  <a:gd name="connsiteY3" fmla="*/ 2569 h 26852"/>
                  <a:gd name="connsiteX4" fmla="*/ 104775 w 716280"/>
                  <a:gd name="connsiteY4" fmla="*/ 4474 h 26852"/>
                  <a:gd name="connsiteX5" fmla="*/ 133350 w 716280"/>
                  <a:gd name="connsiteY5" fmla="*/ 6379 h 26852"/>
                  <a:gd name="connsiteX6" fmla="*/ 169545 w 716280"/>
                  <a:gd name="connsiteY6" fmla="*/ 8284 h 26852"/>
                  <a:gd name="connsiteX7" fmla="*/ 262890 w 716280"/>
                  <a:gd name="connsiteY7" fmla="*/ 12094 h 26852"/>
                  <a:gd name="connsiteX8" fmla="*/ 289560 w 716280"/>
                  <a:gd name="connsiteY8" fmla="*/ 10189 h 26852"/>
                  <a:gd name="connsiteX9" fmla="*/ 300990 w 716280"/>
                  <a:gd name="connsiteY9" fmla="*/ 8284 h 26852"/>
                  <a:gd name="connsiteX10" fmla="*/ 350520 w 716280"/>
                  <a:gd name="connsiteY10" fmla="*/ 10189 h 26852"/>
                  <a:gd name="connsiteX11" fmla="*/ 390525 w 716280"/>
                  <a:gd name="connsiteY11" fmla="*/ 8284 h 26852"/>
                  <a:gd name="connsiteX12" fmla="*/ 419100 w 716280"/>
                  <a:gd name="connsiteY12" fmla="*/ 6379 h 26852"/>
                  <a:gd name="connsiteX13" fmla="*/ 491490 w 716280"/>
                  <a:gd name="connsiteY13" fmla="*/ 2569 h 26852"/>
                  <a:gd name="connsiteX14" fmla="*/ 575310 w 716280"/>
                  <a:gd name="connsiteY14" fmla="*/ 2569 h 26852"/>
                  <a:gd name="connsiteX15" fmla="*/ 586740 w 716280"/>
                  <a:gd name="connsiteY15" fmla="*/ 4474 h 26852"/>
                  <a:gd name="connsiteX16" fmla="*/ 617220 w 716280"/>
                  <a:gd name="connsiteY16" fmla="*/ 6379 h 26852"/>
                  <a:gd name="connsiteX17" fmla="*/ 661035 w 716280"/>
                  <a:gd name="connsiteY17" fmla="*/ 12094 h 26852"/>
                  <a:gd name="connsiteX18" fmla="*/ 678180 w 716280"/>
                  <a:gd name="connsiteY18" fmla="*/ 15904 h 26852"/>
                  <a:gd name="connsiteX19" fmla="*/ 699135 w 716280"/>
                  <a:gd name="connsiteY19" fmla="*/ 21619 h 26852"/>
                  <a:gd name="connsiteX20" fmla="*/ 706756 w 716280"/>
                  <a:gd name="connsiteY20" fmla="*/ 25429 h 26852"/>
                  <a:gd name="connsiteX21" fmla="*/ 716280 w 716280"/>
                  <a:gd name="connsiteY21" fmla="*/ 25429 h 26852"/>
                  <a:gd name="connsiteX0" fmla="*/ 0 w 706756"/>
                  <a:gd name="connsiteY0" fmla="*/ 10189 h 25429"/>
                  <a:gd name="connsiteX1" fmla="*/ 11430 w 706756"/>
                  <a:gd name="connsiteY1" fmla="*/ 8284 h 25429"/>
                  <a:gd name="connsiteX2" fmla="*/ 28575 w 706756"/>
                  <a:gd name="connsiteY2" fmla="*/ 4474 h 25429"/>
                  <a:gd name="connsiteX3" fmla="*/ 57150 w 706756"/>
                  <a:gd name="connsiteY3" fmla="*/ 2569 h 25429"/>
                  <a:gd name="connsiteX4" fmla="*/ 104775 w 706756"/>
                  <a:gd name="connsiteY4" fmla="*/ 4474 h 25429"/>
                  <a:gd name="connsiteX5" fmla="*/ 133350 w 706756"/>
                  <a:gd name="connsiteY5" fmla="*/ 6379 h 25429"/>
                  <a:gd name="connsiteX6" fmla="*/ 169545 w 706756"/>
                  <a:gd name="connsiteY6" fmla="*/ 8284 h 25429"/>
                  <a:gd name="connsiteX7" fmla="*/ 262890 w 706756"/>
                  <a:gd name="connsiteY7" fmla="*/ 12094 h 25429"/>
                  <a:gd name="connsiteX8" fmla="*/ 289560 w 706756"/>
                  <a:gd name="connsiteY8" fmla="*/ 10189 h 25429"/>
                  <a:gd name="connsiteX9" fmla="*/ 300990 w 706756"/>
                  <a:gd name="connsiteY9" fmla="*/ 8284 h 25429"/>
                  <a:gd name="connsiteX10" fmla="*/ 350520 w 706756"/>
                  <a:gd name="connsiteY10" fmla="*/ 10189 h 25429"/>
                  <a:gd name="connsiteX11" fmla="*/ 390525 w 706756"/>
                  <a:gd name="connsiteY11" fmla="*/ 8284 h 25429"/>
                  <a:gd name="connsiteX12" fmla="*/ 419100 w 706756"/>
                  <a:gd name="connsiteY12" fmla="*/ 6379 h 25429"/>
                  <a:gd name="connsiteX13" fmla="*/ 491490 w 706756"/>
                  <a:gd name="connsiteY13" fmla="*/ 2569 h 25429"/>
                  <a:gd name="connsiteX14" fmla="*/ 575310 w 706756"/>
                  <a:gd name="connsiteY14" fmla="*/ 2569 h 25429"/>
                  <a:gd name="connsiteX15" fmla="*/ 586740 w 706756"/>
                  <a:gd name="connsiteY15" fmla="*/ 4474 h 25429"/>
                  <a:gd name="connsiteX16" fmla="*/ 617220 w 706756"/>
                  <a:gd name="connsiteY16" fmla="*/ 6379 h 25429"/>
                  <a:gd name="connsiteX17" fmla="*/ 661035 w 706756"/>
                  <a:gd name="connsiteY17" fmla="*/ 12094 h 25429"/>
                  <a:gd name="connsiteX18" fmla="*/ 678180 w 706756"/>
                  <a:gd name="connsiteY18" fmla="*/ 15904 h 25429"/>
                  <a:gd name="connsiteX19" fmla="*/ 699135 w 706756"/>
                  <a:gd name="connsiteY19" fmla="*/ 21619 h 25429"/>
                  <a:gd name="connsiteX20" fmla="*/ 706756 w 706756"/>
                  <a:gd name="connsiteY20" fmla="*/ 25429 h 2542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61035 w 699135"/>
                  <a:gd name="connsiteY17" fmla="*/ 12094 h 21619"/>
                  <a:gd name="connsiteX18" fmla="*/ 678180 w 699135"/>
                  <a:gd name="connsiteY18" fmla="*/ 15904 h 21619"/>
                  <a:gd name="connsiteX19" fmla="*/ 699135 w 699135"/>
                  <a:gd name="connsiteY19" fmla="*/ 21619 h 2161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78180 w 699135"/>
                  <a:gd name="connsiteY17" fmla="*/ 15904 h 21619"/>
                  <a:gd name="connsiteX18" fmla="*/ 699135 w 699135"/>
                  <a:gd name="connsiteY18" fmla="*/ 21619 h 2161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99135 w 699135"/>
                  <a:gd name="connsiteY17" fmla="*/ 21619 h 21619"/>
                  <a:gd name="connsiteX0" fmla="*/ 0 w 617220"/>
                  <a:gd name="connsiteY0" fmla="*/ 10189 h 12094"/>
                  <a:gd name="connsiteX1" fmla="*/ 11430 w 617220"/>
                  <a:gd name="connsiteY1" fmla="*/ 8284 h 12094"/>
                  <a:gd name="connsiteX2" fmla="*/ 28575 w 617220"/>
                  <a:gd name="connsiteY2" fmla="*/ 4474 h 12094"/>
                  <a:gd name="connsiteX3" fmla="*/ 57150 w 617220"/>
                  <a:gd name="connsiteY3" fmla="*/ 2569 h 12094"/>
                  <a:gd name="connsiteX4" fmla="*/ 104775 w 617220"/>
                  <a:gd name="connsiteY4" fmla="*/ 4474 h 12094"/>
                  <a:gd name="connsiteX5" fmla="*/ 133350 w 617220"/>
                  <a:gd name="connsiteY5" fmla="*/ 6379 h 12094"/>
                  <a:gd name="connsiteX6" fmla="*/ 169545 w 617220"/>
                  <a:gd name="connsiteY6" fmla="*/ 8284 h 12094"/>
                  <a:gd name="connsiteX7" fmla="*/ 262890 w 617220"/>
                  <a:gd name="connsiteY7" fmla="*/ 12094 h 12094"/>
                  <a:gd name="connsiteX8" fmla="*/ 289560 w 617220"/>
                  <a:gd name="connsiteY8" fmla="*/ 10189 h 12094"/>
                  <a:gd name="connsiteX9" fmla="*/ 300990 w 617220"/>
                  <a:gd name="connsiteY9" fmla="*/ 8284 h 12094"/>
                  <a:gd name="connsiteX10" fmla="*/ 350520 w 617220"/>
                  <a:gd name="connsiteY10" fmla="*/ 10189 h 12094"/>
                  <a:gd name="connsiteX11" fmla="*/ 390525 w 617220"/>
                  <a:gd name="connsiteY11" fmla="*/ 8284 h 12094"/>
                  <a:gd name="connsiteX12" fmla="*/ 419100 w 617220"/>
                  <a:gd name="connsiteY12" fmla="*/ 6379 h 12094"/>
                  <a:gd name="connsiteX13" fmla="*/ 491490 w 617220"/>
                  <a:gd name="connsiteY13" fmla="*/ 2569 h 12094"/>
                  <a:gd name="connsiteX14" fmla="*/ 575310 w 617220"/>
                  <a:gd name="connsiteY14" fmla="*/ 2569 h 12094"/>
                  <a:gd name="connsiteX15" fmla="*/ 586740 w 617220"/>
                  <a:gd name="connsiteY15" fmla="*/ 4474 h 12094"/>
                  <a:gd name="connsiteX16" fmla="*/ 617220 w 617220"/>
                  <a:gd name="connsiteY16" fmla="*/ 6379 h 12094"/>
                  <a:gd name="connsiteX0" fmla="*/ 0 w 763905"/>
                  <a:gd name="connsiteY0" fmla="*/ 10189 h 12094"/>
                  <a:gd name="connsiteX1" fmla="*/ 11430 w 763905"/>
                  <a:gd name="connsiteY1" fmla="*/ 8284 h 12094"/>
                  <a:gd name="connsiteX2" fmla="*/ 28575 w 763905"/>
                  <a:gd name="connsiteY2" fmla="*/ 4474 h 12094"/>
                  <a:gd name="connsiteX3" fmla="*/ 57150 w 763905"/>
                  <a:gd name="connsiteY3" fmla="*/ 2569 h 12094"/>
                  <a:gd name="connsiteX4" fmla="*/ 104775 w 763905"/>
                  <a:gd name="connsiteY4" fmla="*/ 4474 h 12094"/>
                  <a:gd name="connsiteX5" fmla="*/ 133350 w 763905"/>
                  <a:gd name="connsiteY5" fmla="*/ 6379 h 12094"/>
                  <a:gd name="connsiteX6" fmla="*/ 169545 w 763905"/>
                  <a:gd name="connsiteY6" fmla="*/ 8284 h 12094"/>
                  <a:gd name="connsiteX7" fmla="*/ 262890 w 763905"/>
                  <a:gd name="connsiteY7" fmla="*/ 12094 h 12094"/>
                  <a:gd name="connsiteX8" fmla="*/ 289560 w 763905"/>
                  <a:gd name="connsiteY8" fmla="*/ 10189 h 12094"/>
                  <a:gd name="connsiteX9" fmla="*/ 300990 w 763905"/>
                  <a:gd name="connsiteY9" fmla="*/ 8284 h 12094"/>
                  <a:gd name="connsiteX10" fmla="*/ 350520 w 763905"/>
                  <a:gd name="connsiteY10" fmla="*/ 10189 h 12094"/>
                  <a:gd name="connsiteX11" fmla="*/ 390525 w 763905"/>
                  <a:gd name="connsiteY11" fmla="*/ 8284 h 12094"/>
                  <a:gd name="connsiteX12" fmla="*/ 419100 w 763905"/>
                  <a:gd name="connsiteY12" fmla="*/ 6379 h 12094"/>
                  <a:gd name="connsiteX13" fmla="*/ 491490 w 763905"/>
                  <a:gd name="connsiteY13" fmla="*/ 2569 h 12094"/>
                  <a:gd name="connsiteX14" fmla="*/ 575310 w 763905"/>
                  <a:gd name="connsiteY14" fmla="*/ 2569 h 12094"/>
                  <a:gd name="connsiteX15" fmla="*/ 586740 w 763905"/>
                  <a:gd name="connsiteY15" fmla="*/ 4474 h 12094"/>
                  <a:gd name="connsiteX16" fmla="*/ 763905 w 763905"/>
                  <a:gd name="connsiteY16" fmla="*/ 8284 h 12094"/>
                  <a:gd name="connsiteX0" fmla="*/ 0 w 763905"/>
                  <a:gd name="connsiteY0" fmla="*/ 9527 h 11432"/>
                  <a:gd name="connsiteX1" fmla="*/ 11430 w 763905"/>
                  <a:gd name="connsiteY1" fmla="*/ 7622 h 11432"/>
                  <a:gd name="connsiteX2" fmla="*/ 28575 w 763905"/>
                  <a:gd name="connsiteY2" fmla="*/ 3812 h 11432"/>
                  <a:gd name="connsiteX3" fmla="*/ 57150 w 763905"/>
                  <a:gd name="connsiteY3" fmla="*/ 1907 h 11432"/>
                  <a:gd name="connsiteX4" fmla="*/ 104775 w 763905"/>
                  <a:gd name="connsiteY4" fmla="*/ 3812 h 11432"/>
                  <a:gd name="connsiteX5" fmla="*/ 133350 w 763905"/>
                  <a:gd name="connsiteY5" fmla="*/ 5717 h 11432"/>
                  <a:gd name="connsiteX6" fmla="*/ 169545 w 763905"/>
                  <a:gd name="connsiteY6" fmla="*/ 7622 h 11432"/>
                  <a:gd name="connsiteX7" fmla="*/ 262890 w 763905"/>
                  <a:gd name="connsiteY7" fmla="*/ 11432 h 11432"/>
                  <a:gd name="connsiteX8" fmla="*/ 289560 w 763905"/>
                  <a:gd name="connsiteY8" fmla="*/ 9527 h 11432"/>
                  <a:gd name="connsiteX9" fmla="*/ 300990 w 763905"/>
                  <a:gd name="connsiteY9" fmla="*/ 7622 h 11432"/>
                  <a:gd name="connsiteX10" fmla="*/ 350520 w 763905"/>
                  <a:gd name="connsiteY10" fmla="*/ 9527 h 11432"/>
                  <a:gd name="connsiteX11" fmla="*/ 390525 w 763905"/>
                  <a:gd name="connsiteY11" fmla="*/ 7622 h 11432"/>
                  <a:gd name="connsiteX12" fmla="*/ 419100 w 763905"/>
                  <a:gd name="connsiteY12" fmla="*/ 5717 h 11432"/>
                  <a:gd name="connsiteX13" fmla="*/ 491490 w 763905"/>
                  <a:gd name="connsiteY13" fmla="*/ 1907 h 11432"/>
                  <a:gd name="connsiteX14" fmla="*/ 575310 w 763905"/>
                  <a:gd name="connsiteY14" fmla="*/ 1907 h 11432"/>
                  <a:gd name="connsiteX15" fmla="*/ 763905 w 763905"/>
                  <a:gd name="connsiteY15" fmla="*/ 7622 h 11432"/>
                  <a:gd name="connsiteX0" fmla="*/ 0 w 763905"/>
                  <a:gd name="connsiteY0" fmla="*/ 7620 h 9525"/>
                  <a:gd name="connsiteX1" fmla="*/ 11430 w 763905"/>
                  <a:gd name="connsiteY1" fmla="*/ 5715 h 9525"/>
                  <a:gd name="connsiteX2" fmla="*/ 28575 w 763905"/>
                  <a:gd name="connsiteY2" fmla="*/ 1905 h 9525"/>
                  <a:gd name="connsiteX3" fmla="*/ 57150 w 763905"/>
                  <a:gd name="connsiteY3" fmla="*/ 0 h 9525"/>
                  <a:gd name="connsiteX4" fmla="*/ 104775 w 763905"/>
                  <a:gd name="connsiteY4" fmla="*/ 1905 h 9525"/>
                  <a:gd name="connsiteX5" fmla="*/ 133350 w 763905"/>
                  <a:gd name="connsiteY5" fmla="*/ 3810 h 9525"/>
                  <a:gd name="connsiteX6" fmla="*/ 169545 w 763905"/>
                  <a:gd name="connsiteY6" fmla="*/ 5715 h 9525"/>
                  <a:gd name="connsiteX7" fmla="*/ 262890 w 763905"/>
                  <a:gd name="connsiteY7" fmla="*/ 9525 h 9525"/>
                  <a:gd name="connsiteX8" fmla="*/ 289560 w 763905"/>
                  <a:gd name="connsiteY8" fmla="*/ 7620 h 9525"/>
                  <a:gd name="connsiteX9" fmla="*/ 300990 w 763905"/>
                  <a:gd name="connsiteY9" fmla="*/ 5715 h 9525"/>
                  <a:gd name="connsiteX10" fmla="*/ 350520 w 763905"/>
                  <a:gd name="connsiteY10" fmla="*/ 7620 h 9525"/>
                  <a:gd name="connsiteX11" fmla="*/ 390525 w 763905"/>
                  <a:gd name="connsiteY11" fmla="*/ 5715 h 9525"/>
                  <a:gd name="connsiteX12" fmla="*/ 419100 w 763905"/>
                  <a:gd name="connsiteY12" fmla="*/ 3810 h 9525"/>
                  <a:gd name="connsiteX13" fmla="*/ 491490 w 763905"/>
                  <a:gd name="connsiteY13" fmla="*/ 0 h 9525"/>
                  <a:gd name="connsiteX14" fmla="*/ 763905 w 763905"/>
                  <a:gd name="connsiteY14" fmla="*/ 5715 h 9525"/>
                  <a:gd name="connsiteX0" fmla="*/ 0 w 10000"/>
                  <a:gd name="connsiteY0" fmla="*/ 8000 h 10000"/>
                  <a:gd name="connsiteX1" fmla="*/ 150 w 10000"/>
                  <a:gd name="connsiteY1" fmla="*/ 6000 h 10000"/>
                  <a:gd name="connsiteX2" fmla="*/ 748 w 10000"/>
                  <a:gd name="connsiteY2" fmla="*/ 0 h 10000"/>
                  <a:gd name="connsiteX3" fmla="*/ 1372 w 10000"/>
                  <a:gd name="connsiteY3" fmla="*/ 2000 h 10000"/>
                  <a:gd name="connsiteX4" fmla="*/ 1746 w 10000"/>
                  <a:gd name="connsiteY4" fmla="*/ 4000 h 10000"/>
                  <a:gd name="connsiteX5" fmla="*/ 2219 w 10000"/>
                  <a:gd name="connsiteY5" fmla="*/ 6000 h 10000"/>
                  <a:gd name="connsiteX6" fmla="*/ 3441 w 10000"/>
                  <a:gd name="connsiteY6" fmla="*/ 10000 h 10000"/>
                  <a:gd name="connsiteX7" fmla="*/ 3791 w 10000"/>
                  <a:gd name="connsiteY7" fmla="*/ 8000 h 10000"/>
                  <a:gd name="connsiteX8" fmla="*/ 3940 w 10000"/>
                  <a:gd name="connsiteY8" fmla="*/ 6000 h 10000"/>
                  <a:gd name="connsiteX9" fmla="*/ 4589 w 10000"/>
                  <a:gd name="connsiteY9" fmla="*/ 8000 h 10000"/>
                  <a:gd name="connsiteX10" fmla="*/ 5112 w 10000"/>
                  <a:gd name="connsiteY10" fmla="*/ 6000 h 10000"/>
                  <a:gd name="connsiteX11" fmla="*/ 5486 w 10000"/>
                  <a:gd name="connsiteY11" fmla="*/ 4000 h 10000"/>
                  <a:gd name="connsiteX12" fmla="*/ 6434 w 10000"/>
                  <a:gd name="connsiteY12" fmla="*/ 0 h 10000"/>
                  <a:gd name="connsiteX13" fmla="*/ 10000 w 10000"/>
                  <a:gd name="connsiteY13" fmla="*/ 6000 h 10000"/>
                  <a:gd name="connsiteX0" fmla="*/ 0 w 10000"/>
                  <a:gd name="connsiteY0" fmla="*/ 8000 h 10000"/>
                  <a:gd name="connsiteX1" fmla="*/ 748 w 10000"/>
                  <a:gd name="connsiteY1" fmla="*/ 0 h 10000"/>
                  <a:gd name="connsiteX2" fmla="*/ 1372 w 10000"/>
                  <a:gd name="connsiteY2" fmla="*/ 2000 h 10000"/>
                  <a:gd name="connsiteX3" fmla="*/ 1746 w 10000"/>
                  <a:gd name="connsiteY3" fmla="*/ 4000 h 10000"/>
                  <a:gd name="connsiteX4" fmla="*/ 2219 w 10000"/>
                  <a:gd name="connsiteY4" fmla="*/ 6000 h 10000"/>
                  <a:gd name="connsiteX5" fmla="*/ 3441 w 10000"/>
                  <a:gd name="connsiteY5" fmla="*/ 10000 h 10000"/>
                  <a:gd name="connsiteX6" fmla="*/ 3791 w 10000"/>
                  <a:gd name="connsiteY6" fmla="*/ 8000 h 10000"/>
                  <a:gd name="connsiteX7" fmla="*/ 3940 w 10000"/>
                  <a:gd name="connsiteY7" fmla="*/ 6000 h 10000"/>
                  <a:gd name="connsiteX8" fmla="*/ 4589 w 10000"/>
                  <a:gd name="connsiteY8" fmla="*/ 8000 h 10000"/>
                  <a:gd name="connsiteX9" fmla="*/ 5112 w 10000"/>
                  <a:gd name="connsiteY9" fmla="*/ 6000 h 10000"/>
                  <a:gd name="connsiteX10" fmla="*/ 5486 w 10000"/>
                  <a:gd name="connsiteY10" fmla="*/ 4000 h 10000"/>
                  <a:gd name="connsiteX11" fmla="*/ 6434 w 10000"/>
                  <a:gd name="connsiteY11" fmla="*/ 0 h 10000"/>
                  <a:gd name="connsiteX12" fmla="*/ 10000 w 10000"/>
                  <a:gd name="connsiteY12" fmla="*/ 6000 h 10000"/>
                  <a:gd name="connsiteX0" fmla="*/ 0 w 10000"/>
                  <a:gd name="connsiteY0" fmla="*/ 8000 h 10000"/>
                  <a:gd name="connsiteX1" fmla="*/ 1372 w 10000"/>
                  <a:gd name="connsiteY1" fmla="*/ 2000 h 10000"/>
                  <a:gd name="connsiteX2" fmla="*/ 1746 w 10000"/>
                  <a:gd name="connsiteY2" fmla="*/ 4000 h 10000"/>
                  <a:gd name="connsiteX3" fmla="*/ 2219 w 10000"/>
                  <a:gd name="connsiteY3" fmla="*/ 6000 h 10000"/>
                  <a:gd name="connsiteX4" fmla="*/ 3441 w 10000"/>
                  <a:gd name="connsiteY4" fmla="*/ 10000 h 10000"/>
                  <a:gd name="connsiteX5" fmla="*/ 3791 w 10000"/>
                  <a:gd name="connsiteY5" fmla="*/ 8000 h 10000"/>
                  <a:gd name="connsiteX6" fmla="*/ 3940 w 10000"/>
                  <a:gd name="connsiteY6" fmla="*/ 6000 h 10000"/>
                  <a:gd name="connsiteX7" fmla="*/ 4589 w 10000"/>
                  <a:gd name="connsiteY7" fmla="*/ 8000 h 10000"/>
                  <a:gd name="connsiteX8" fmla="*/ 5112 w 10000"/>
                  <a:gd name="connsiteY8" fmla="*/ 6000 h 10000"/>
                  <a:gd name="connsiteX9" fmla="*/ 5486 w 10000"/>
                  <a:gd name="connsiteY9" fmla="*/ 4000 h 10000"/>
                  <a:gd name="connsiteX10" fmla="*/ 6434 w 10000"/>
                  <a:gd name="connsiteY10" fmla="*/ 0 h 10000"/>
                  <a:gd name="connsiteX11" fmla="*/ 10000 w 10000"/>
                  <a:gd name="connsiteY11" fmla="*/ 6000 h 10000"/>
                  <a:gd name="connsiteX0" fmla="*/ 0 w 10000"/>
                  <a:gd name="connsiteY0" fmla="*/ 8000 h 10000"/>
                  <a:gd name="connsiteX1" fmla="*/ 1372 w 10000"/>
                  <a:gd name="connsiteY1" fmla="*/ 2000 h 10000"/>
                  <a:gd name="connsiteX2" fmla="*/ 2219 w 10000"/>
                  <a:gd name="connsiteY2" fmla="*/ 6000 h 10000"/>
                  <a:gd name="connsiteX3" fmla="*/ 3441 w 10000"/>
                  <a:gd name="connsiteY3" fmla="*/ 10000 h 10000"/>
                  <a:gd name="connsiteX4" fmla="*/ 3791 w 10000"/>
                  <a:gd name="connsiteY4" fmla="*/ 8000 h 10000"/>
                  <a:gd name="connsiteX5" fmla="*/ 3940 w 10000"/>
                  <a:gd name="connsiteY5" fmla="*/ 6000 h 10000"/>
                  <a:gd name="connsiteX6" fmla="*/ 4589 w 10000"/>
                  <a:gd name="connsiteY6" fmla="*/ 8000 h 10000"/>
                  <a:gd name="connsiteX7" fmla="*/ 5112 w 10000"/>
                  <a:gd name="connsiteY7" fmla="*/ 6000 h 10000"/>
                  <a:gd name="connsiteX8" fmla="*/ 5486 w 10000"/>
                  <a:gd name="connsiteY8" fmla="*/ 4000 h 10000"/>
                  <a:gd name="connsiteX9" fmla="*/ 6434 w 10000"/>
                  <a:gd name="connsiteY9" fmla="*/ 0 h 10000"/>
                  <a:gd name="connsiteX10" fmla="*/ 10000 w 10000"/>
                  <a:gd name="connsiteY10" fmla="*/ 6000 h 10000"/>
                  <a:gd name="connsiteX0" fmla="*/ 0 w 10000"/>
                  <a:gd name="connsiteY0" fmla="*/ 8000 h 10000"/>
                  <a:gd name="connsiteX1" fmla="*/ 2219 w 10000"/>
                  <a:gd name="connsiteY1" fmla="*/ 6000 h 10000"/>
                  <a:gd name="connsiteX2" fmla="*/ 3441 w 10000"/>
                  <a:gd name="connsiteY2" fmla="*/ 10000 h 10000"/>
                  <a:gd name="connsiteX3" fmla="*/ 3791 w 10000"/>
                  <a:gd name="connsiteY3" fmla="*/ 8000 h 10000"/>
                  <a:gd name="connsiteX4" fmla="*/ 3940 w 10000"/>
                  <a:gd name="connsiteY4" fmla="*/ 6000 h 10000"/>
                  <a:gd name="connsiteX5" fmla="*/ 4589 w 10000"/>
                  <a:gd name="connsiteY5" fmla="*/ 8000 h 10000"/>
                  <a:gd name="connsiteX6" fmla="*/ 5112 w 10000"/>
                  <a:gd name="connsiteY6" fmla="*/ 6000 h 10000"/>
                  <a:gd name="connsiteX7" fmla="*/ 5486 w 10000"/>
                  <a:gd name="connsiteY7" fmla="*/ 4000 h 10000"/>
                  <a:gd name="connsiteX8" fmla="*/ 6434 w 10000"/>
                  <a:gd name="connsiteY8" fmla="*/ 0 h 10000"/>
                  <a:gd name="connsiteX9" fmla="*/ 10000 w 10000"/>
                  <a:gd name="connsiteY9" fmla="*/ 6000 h 10000"/>
                  <a:gd name="connsiteX0" fmla="*/ 0 w 10000"/>
                  <a:gd name="connsiteY0" fmla="*/ 8000 h 10000"/>
                  <a:gd name="connsiteX1" fmla="*/ 3441 w 10000"/>
                  <a:gd name="connsiteY1" fmla="*/ 10000 h 10000"/>
                  <a:gd name="connsiteX2" fmla="*/ 3791 w 10000"/>
                  <a:gd name="connsiteY2" fmla="*/ 8000 h 10000"/>
                  <a:gd name="connsiteX3" fmla="*/ 3940 w 10000"/>
                  <a:gd name="connsiteY3" fmla="*/ 6000 h 10000"/>
                  <a:gd name="connsiteX4" fmla="*/ 4589 w 10000"/>
                  <a:gd name="connsiteY4" fmla="*/ 8000 h 10000"/>
                  <a:gd name="connsiteX5" fmla="*/ 5112 w 10000"/>
                  <a:gd name="connsiteY5" fmla="*/ 6000 h 10000"/>
                  <a:gd name="connsiteX6" fmla="*/ 5486 w 10000"/>
                  <a:gd name="connsiteY6" fmla="*/ 4000 h 10000"/>
                  <a:gd name="connsiteX7" fmla="*/ 6434 w 10000"/>
                  <a:gd name="connsiteY7" fmla="*/ 0 h 10000"/>
                  <a:gd name="connsiteX8" fmla="*/ 10000 w 10000"/>
                  <a:gd name="connsiteY8" fmla="*/ 6000 h 10000"/>
                  <a:gd name="connsiteX0" fmla="*/ 0 w 10125"/>
                  <a:gd name="connsiteY0" fmla="*/ 8000 h 10000"/>
                  <a:gd name="connsiteX1" fmla="*/ 3566 w 10125"/>
                  <a:gd name="connsiteY1" fmla="*/ 10000 h 10000"/>
                  <a:gd name="connsiteX2" fmla="*/ 3916 w 10125"/>
                  <a:gd name="connsiteY2" fmla="*/ 8000 h 10000"/>
                  <a:gd name="connsiteX3" fmla="*/ 4065 w 10125"/>
                  <a:gd name="connsiteY3" fmla="*/ 6000 h 10000"/>
                  <a:gd name="connsiteX4" fmla="*/ 4714 w 10125"/>
                  <a:gd name="connsiteY4" fmla="*/ 8000 h 10000"/>
                  <a:gd name="connsiteX5" fmla="*/ 5237 w 10125"/>
                  <a:gd name="connsiteY5" fmla="*/ 6000 h 10000"/>
                  <a:gd name="connsiteX6" fmla="*/ 5611 w 10125"/>
                  <a:gd name="connsiteY6" fmla="*/ 4000 h 10000"/>
                  <a:gd name="connsiteX7" fmla="*/ 6559 w 10125"/>
                  <a:gd name="connsiteY7" fmla="*/ 0 h 10000"/>
                  <a:gd name="connsiteX8" fmla="*/ 10125 w 10125"/>
                  <a:gd name="connsiteY8" fmla="*/ 6000 h 10000"/>
                  <a:gd name="connsiteX0" fmla="*/ 0 w 10175"/>
                  <a:gd name="connsiteY0" fmla="*/ 8000 h 10000"/>
                  <a:gd name="connsiteX1" fmla="*/ 3566 w 10175"/>
                  <a:gd name="connsiteY1" fmla="*/ 10000 h 10000"/>
                  <a:gd name="connsiteX2" fmla="*/ 3916 w 10175"/>
                  <a:gd name="connsiteY2" fmla="*/ 8000 h 10000"/>
                  <a:gd name="connsiteX3" fmla="*/ 4065 w 10175"/>
                  <a:gd name="connsiteY3" fmla="*/ 6000 h 10000"/>
                  <a:gd name="connsiteX4" fmla="*/ 4714 w 10175"/>
                  <a:gd name="connsiteY4" fmla="*/ 8000 h 10000"/>
                  <a:gd name="connsiteX5" fmla="*/ 5237 w 10175"/>
                  <a:gd name="connsiteY5" fmla="*/ 6000 h 10000"/>
                  <a:gd name="connsiteX6" fmla="*/ 5611 w 10175"/>
                  <a:gd name="connsiteY6" fmla="*/ 4000 h 10000"/>
                  <a:gd name="connsiteX7" fmla="*/ 6559 w 10175"/>
                  <a:gd name="connsiteY7" fmla="*/ 0 h 10000"/>
                  <a:gd name="connsiteX8" fmla="*/ 10175 w 10175"/>
                  <a:gd name="connsiteY8" fmla="*/ 10000 h 10000"/>
                  <a:gd name="connsiteX0" fmla="*/ 0 w 10175"/>
                  <a:gd name="connsiteY0" fmla="*/ 4000 h 6000"/>
                  <a:gd name="connsiteX1" fmla="*/ 3566 w 10175"/>
                  <a:gd name="connsiteY1" fmla="*/ 6000 h 6000"/>
                  <a:gd name="connsiteX2" fmla="*/ 3916 w 10175"/>
                  <a:gd name="connsiteY2" fmla="*/ 4000 h 6000"/>
                  <a:gd name="connsiteX3" fmla="*/ 4065 w 10175"/>
                  <a:gd name="connsiteY3" fmla="*/ 2000 h 6000"/>
                  <a:gd name="connsiteX4" fmla="*/ 4714 w 10175"/>
                  <a:gd name="connsiteY4" fmla="*/ 4000 h 6000"/>
                  <a:gd name="connsiteX5" fmla="*/ 5237 w 10175"/>
                  <a:gd name="connsiteY5" fmla="*/ 2000 h 6000"/>
                  <a:gd name="connsiteX6" fmla="*/ 5611 w 10175"/>
                  <a:gd name="connsiteY6" fmla="*/ 0 h 6000"/>
                  <a:gd name="connsiteX7" fmla="*/ 6509 w 10175"/>
                  <a:gd name="connsiteY7" fmla="*/ 2000 h 6000"/>
                  <a:gd name="connsiteX8" fmla="*/ 10175 w 10175"/>
                  <a:gd name="connsiteY8" fmla="*/ 6000 h 6000"/>
                  <a:gd name="connsiteX0" fmla="*/ 0 w 10000"/>
                  <a:gd name="connsiteY0" fmla="*/ 7264 h 17286"/>
                  <a:gd name="connsiteX1" fmla="*/ 3505 w 10000"/>
                  <a:gd name="connsiteY1" fmla="*/ 10597 h 17286"/>
                  <a:gd name="connsiteX2" fmla="*/ 3849 w 10000"/>
                  <a:gd name="connsiteY2" fmla="*/ 7264 h 17286"/>
                  <a:gd name="connsiteX3" fmla="*/ 3995 w 10000"/>
                  <a:gd name="connsiteY3" fmla="*/ 3930 h 17286"/>
                  <a:gd name="connsiteX4" fmla="*/ 4633 w 10000"/>
                  <a:gd name="connsiteY4" fmla="*/ 7264 h 17286"/>
                  <a:gd name="connsiteX5" fmla="*/ 5147 w 10000"/>
                  <a:gd name="connsiteY5" fmla="*/ 3930 h 17286"/>
                  <a:gd name="connsiteX6" fmla="*/ 5514 w 10000"/>
                  <a:gd name="connsiteY6" fmla="*/ 597 h 17286"/>
                  <a:gd name="connsiteX7" fmla="*/ 6250 w 10000"/>
                  <a:gd name="connsiteY7" fmla="*/ 17264 h 17286"/>
                  <a:gd name="connsiteX8" fmla="*/ 10000 w 10000"/>
                  <a:gd name="connsiteY8" fmla="*/ 10597 h 17286"/>
                  <a:gd name="connsiteX0" fmla="*/ 0 w 10000"/>
                  <a:gd name="connsiteY0" fmla="*/ 6883 h 10294"/>
                  <a:gd name="connsiteX1" fmla="*/ 3505 w 10000"/>
                  <a:gd name="connsiteY1" fmla="*/ 10216 h 10294"/>
                  <a:gd name="connsiteX2" fmla="*/ 3849 w 10000"/>
                  <a:gd name="connsiteY2" fmla="*/ 6883 h 10294"/>
                  <a:gd name="connsiteX3" fmla="*/ 3995 w 10000"/>
                  <a:gd name="connsiteY3" fmla="*/ 3549 h 10294"/>
                  <a:gd name="connsiteX4" fmla="*/ 4633 w 10000"/>
                  <a:gd name="connsiteY4" fmla="*/ 6883 h 10294"/>
                  <a:gd name="connsiteX5" fmla="*/ 5147 w 10000"/>
                  <a:gd name="connsiteY5" fmla="*/ 3549 h 10294"/>
                  <a:gd name="connsiteX6" fmla="*/ 5514 w 10000"/>
                  <a:gd name="connsiteY6" fmla="*/ 216 h 10294"/>
                  <a:gd name="connsiteX7" fmla="*/ 6176 w 10000"/>
                  <a:gd name="connsiteY7" fmla="*/ 10216 h 10294"/>
                  <a:gd name="connsiteX8" fmla="*/ 10000 w 10000"/>
                  <a:gd name="connsiteY8" fmla="*/ 10216 h 10294"/>
                  <a:gd name="connsiteX0" fmla="*/ 0 w 10000"/>
                  <a:gd name="connsiteY0" fmla="*/ 6881 h 10292"/>
                  <a:gd name="connsiteX1" fmla="*/ 3505 w 10000"/>
                  <a:gd name="connsiteY1" fmla="*/ 10214 h 10292"/>
                  <a:gd name="connsiteX2" fmla="*/ 3995 w 10000"/>
                  <a:gd name="connsiteY2" fmla="*/ 3547 h 10292"/>
                  <a:gd name="connsiteX3" fmla="*/ 4633 w 10000"/>
                  <a:gd name="connsiteY3" fmla="*/ 6881 h 10292"/>
                  <a:gd name="connsiteX4" fmla="*/ 5147 w 10000"/>
                  <a:gd name="connsiteY4" fmla="*/ 3547 h 10292"/>
                  <a:gd name="connsiteX5" fmla="*/ 5514 w 10000"/>
                  <a:gd name="connsiteY5" fmla="*/ 214 h 10292"/>
                  <a:gd name="connsiteX6" fmla="*/ 6176 w 10000"/>
                  <a:gd name="connsiteY6" fmla="*/ 10214 h 10292"/>
                  <a:gd name="connsiteX7" fmla="*/ 10000 w 10000"/>
                  <a:gd name="connsiteY7" fmla="*/ 10214 h 10292"/>
                  <a:gd name="connsiteX0" fmla="*/ 0 w 10000"/>
                  <a:gd name="connsiteY0" fmla="*/ 10127 h 76793"/>
                  <a:gd name="connsiteX1" fmla="*/ 3505 w 10000"/>
                  <a:gd name="connsiteY1" fmla="*/ 13460 h 76793"/>
                  <a:gd name="connsiteX2" fmla="*/ 3995 w 10000"/>
                  <a:gd name="connsiteY2" fmla="*/ 6793 h 76793"/>
                  <a:gd name="connsiteX3" fmla="*/ 4535 w 10000"/>
                  <a:gd name="connsiteY3" fmla="*/ 76793 h 76793"/>
                  <a:gd name="connsiteX4" fmla="*/ 5147 w 10000"/>
                  <a:gd name="connsiteY4" fmla="*/ 6793 h 76793"/>
                  <a:gd name="connsiteX5" fmla="*/ 5514 w 10000"/>
                  <a:gd name="connsiteY5" fmla="*/ 3460 h 76793"/>
                  <a:gd name="connsiteX6" fmla="*/ 6176 w 10000"/>
                  <a:gd name="connsiteY6" fmla="*/ 13460 h 76793"/>
                  <a:gd name="connsiteX7" fmla="*/ 10000 w 10000"/>
                  <a:gd name="connsiteY7" fmla="*/ 13460 h 76793"/>
                  <a:gd name="connsiteX0" fmla="*/ 0 w 10000"/>
                  <a:gd name="connsiteY0" fmla="*/ 74224 h 140890"/>
                  <a:gd name="connsiteX1" fmla="*/ 3505 w 10000"/>
                  <a:gd name="connsiteY1" fmla="*/ 77557 h 140890"/>
                  <a:gd name="connsiteX2" fmla="*/ 4093 w 10000"/>
                  <a:gd name="connsiteY2" fmla="*/ 891 h 140890"/>
                  <a:gd name="connsiteX3" fmla="*/ 4535 w 10000"/>
                  <a:gd name="connsiteY3" fmla="*/ 140890 h 140890"/>
                  <a:gd name="connsiteX4" fmla="*/ 5147 w 10000"/>
                  <a:gd name="connsiteY4" fmla="*/ 70890 h 140890"/>
                  <a:gd name="connsiteX5" fmla="*/ 5514 w 10000"/>
                  <a:gd name="connsiteY5" fmla="*/ 67557 h 140890"/>
                  <a:gd name="connsiteX6" fmla="*/ 6176 w 10000"/>
                  <a:gd name="connsiteY6" fmla="*/ 77557 h 140890"/>
                  <a:gd name="connsiteX7" fmla="*/ 10000 w 10000"/>
                  <a:gd name="connsiteY7" fmla="*/ 77557 h 140890"/>
                  <a:gd name="connsiteX0" fmla="*/ 0 w 10000"/>
                  <a:gd name="connsiteY0" fmla="*/ 74765 h 141431"/>
                  <a:gd name="connsiteX1" fmla="*/ 3505 w 10000"/>
                  <a:gd name="connsiteY1" fmla="*/ 78098 h 141431"/>
                  <a:gd name="connsiteX2" fmla="*/ 4093 w 10000"/>
                  <a:gd name="connsiteY2" fmla="*/ 1432 h 141431"/>
                  <a:gd name="connsiteX3" fmla="*/ 4535 w 10000"/>
                  <a:gd name="connsiteY3" fmla="*/ 141431 h 141431"/>
                  <a:gd name="connsiteX4" fmla="*/ 5147 w 10000"/>
                  <a:gd name="connsiteY4" fmla="*/ 71431 h 141431"/>
                  <a:gd name="connsiteX5" fmla="*/ 5514 w 10000"/>
                  <a:gd name="connsiteY5" fmla="*/ 68098 h 141431"/>
                  <a:gd name="connsiteX6" fmla="*/ 6176 w 10000"/>
                  <a:gd name="connsiteY6" fmla="*/ 78098 h 141431"/>
                  <a:gd name="connsiteX7" fmla="*/ 10000 w 10000"/>
                  <a:gd name="connsiteY7" fmla="*/ 78098 h 141431"/>
                  <a:gd name="connsiteX0" fmla="*/ 0 w 10000"/>
                  <a:gd name="connsiteY0" fmla="*/ 73867 h 140533"/>
                  <a:gd name="connsiteX1" fmla="*/ 3505 w 10000"/>
                  <a:gd name="connsiteY1" fmla="*/ 77200 h 140533"/>
                  <a:gd name="connsiteX2" fmla="*/ 4093 w 10000"/>
                  <a:gd name="connsiteY2" fmla="*/ 534 h 140533"/>
                  <a:gd name="connsiteX3" fmla="*/ 4535 w 10000"/>
                  <a:gd name="connsiteY3" fmla="*/ 140533 h 140533"/>
                  <a:gd name="connsiteX4" fmla="*/ 5147 w 10000"/>
                  <a:gd name="connsiteY4" fmla="*/ 70533 h 140533"/>
                  <a:gd name="connsiteX5" fmla="*/ 5514 w 10000"/>
                  <a:gd name="connsiteY5" fmla="*/ 67200 h 140533"/>
                  <a:gd name="connsiteX6" fmla="*/ 6176 w 10000"/>
                  <a:gd name="connsiteY6" fmla="*/ 77200 h 140533"/>
                  <a:gd name="connsiteX7" fmla="*/ 10000 w 10000"/>
                  <a:gd name="connsiteY7" fmla="*/ 77200 h 140533"/>
                  <a:gd name="connsiteX0" fmla="*/ 0 w 10000"/>
                  <a:gd name="connsiteY0" fmla="*/ 73867 h 140533"/>
                  <a:gd name="connsiteX1" fmla="*/ 3505 w 10000"/>
                  <a:gd name="connsiteY1" fmla="*/ 77200 h 140533"/>
                  <a:gd name="connsiteX2" fmla="*/ 4093 w 10000"/>
                  <a:gd name="connsiteY2" fmla="*/ 534 h 140533"/>
                  <a:gd name="connsiteX3" fmla="*/ 4535 w 10000"/>
                  <a:gd name="connsiteY3" fmla="*/ 140533 h 140533"/>
                  <a:gd name="connsiteX4" fmla="*/ 5147 w 10000"/>
                  <a:gd name="connsiteY4" fmla="*/ 70533 h 140533"/>
                  <a:gd name="connsiteX5" fmla="*/ 5514 w 10000"/>
                  <a:gd name="connsiteY5" fmla="*/ 67200 h 140533"/>
                  <a:gd name="connsiteX6" fmla="*/ 6176 w 10000"/>
                  <a:gd name="connsiteY6" fmla="*/ 77200 h 140533"/>
                  <a:gd name="connsiteX7" fmla="*/ 10000 w 10000"/>
                  <a:gd name="connsiteY7" fmla="*/ 77200 h 140533"/>
                  <a:gd name="connsiteX0" fmla="*/ 0 w 10000"/>
                  <a:gd name="connsiteY0" fmla="*/ 76346 h 143012"/>
                  <a:gd name="connsiteX1" fmla="*/ 3505 w 10000"/>
                  <a:gd name="connsiteY1" fmla="*/ 79679 h 143012"/>
                  <a:gd name="connsiteX2" fmla="*/ 4093 w 10000"/>
                  <a:gd name="connsiteY2" fmla="*/ 3013 h 143012"/>
                  <a:gd name="connsiteX3" fmla="*/ 4535 w 10000"/>
                  <a:gd name="connsiteY3" fmla="*/ 143012 h 143012"/>
                  <a:gd name="connsiteX4" fmla="*/ 5147 w 10000"/>
                  <a:gd name="connsiteY4" fmla="*/ 73012 h 143012"/>
                  <a:gd name="connsiteX5" fmla="*/ 5514 w 10000"/>
                  <a:gd name="connsiteY5" fmla="*/ 69679 h 143012"/>
                  <a:gd name="connsiteX6" fmla="*/ 6176 w 10000"/>
                  <a:gd name="connsiteY6" fmla="*/ 79679 h 143012"/>
                  <a:gd name="connsiteX7" fmla="*/ 10000 w 10000"/>
                  <a:gd name="connsiteY7" fmla="*/ 79679 h 143012"/>
                  <a:gd name="connsiteX0" fmla="*/ 0 w 10000"/>
                  <a:gd name="connsiteY0" fmla="*/ 76348 h 143014"/>
                  <a:gd name="connsiteX1" fmla="*/ 3505 w 10000"/>
                  <a:gd name="connsiteY1" fmla="*/ 79681 h 143014"/>
                  <a:gd name="connsiteX2" fmla="*/ 4093 w 10000"/>
                  <a:gd name="connsiteY2" fmla="*/ 3015 h 143014"/>
                  <a:gd name="connsiteX3" fmla="*/ 4535 w 10000"/>
                  <a:gd name="connsiteY3" fmla="*/ 143014 h 143014"/>
                  <a:gd name="connsiteX4" fmla="*/ 5147 w 10000"/>
                  <a:gd name="connsiteY4" fmla="*/ 73014 h 143014"/>
                  <a:gd name="connsiteX5" fmla="*/ 5514 w 10000"/>
                  <a:gd name="connsiteY5" fmla="*/ 69681 h 143014"/>
                  <a:gd name="connsiteX6" fmla="*/ 6176 w 10000"/>
                  <a:gd name="connsiteY6" fmla="*/ 79681 h 143014"/>
                  <a:gd name="connsiteX7" fmla="*/ 10000 w 10000"/>
                  <a:gd name="connsiteY7" fmla="*/ 79681 h 143014"/>
                  <a:gd name="connsiteX0" fmla="*/ 0 w 10000"/>
                  <a:gd name="connsiteY0" fmla="*/ 73333 h 139999"/>
                  <a:gd name="connsiteX1" fmla="*/ 3505 w 10000"/>
                  <a:gd name="connsiteY1" fmla="*/ 76666 h 139999"/>
                  <a:gd name="connsiteX2" fmla="*/ 4093 w 10000"/>
                  <a:gd name="connsiteY2" fmla="*/ 0 h 139999"/>
                  <a:gd name="connsiteX3" fmla="*/ 4535 w 10000"/>
                  <a:gd name="connsiteY3" fmla="*/ 139999 h 139999"/>
                  <a:gd name="connsiteX4" fmla="*/ 5147 w 10000"/>
                  <a:gd name="connsiteY4" fmla="*/ 69999 h 139999"/>
                  <a:gd name="connsiteX5" fmla="*/ 5514 w 10000"/>
                  <a:gd name="connsiteY5" fmla="*/ 66666 h 139999"/>
                  <a:gd name="connsiteX6" fmla="*/ 6176 w 10000"/>
                  <a:gd name="connsiteY6" fmla="*/ 76666 h 139999"/>
                  <a:gd name="connsiteX7" fmla="*/ 10000 w 10000"/>
                  <a:gd name="connsiteY7" fmla="*/ 76666 h 139999"/>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88187 h 161520"/>
                  <a:gd name="connsiteX1" fmla="*/ 3505 w 10000"/>
                  <a:gd name="connsiteY1" fmla="*/ 91520 h 161520"/>
                  <a:gd name="connsiteX2" fmla="*/ 4093 w 10000"/>
                  <a:gd name="connsiteY2" fmla="*/ 14854 h 161520"/>
                  <a:gd name="connsiteX3" fmla="*/ 4609 w 10000"/>
                  <a:gd name="connsiteY3" fmla="*/ 161520 h 161520"/>
                  <a:gd name="connsiteX4" fmla="*/ 5245 w 10000"/>
                  <a:gd name="connsiteY4" fmla="*/ 1521 h 161520"/>
                  <a:gd name="connsiteX5" fmla="*/ 5514 w 10000"/>
                  <a:gd name="connsiteY5" fmla="*/ 81520 h 161520"/>
                  <a:gd name="connsiteX6" fmla="*/ 6176 w 10000"/>
                  <a:gd name="connsiteY6" fmla="*/ 91520 h 161520"/>
                  <a:gd name="connsiteX7" fmla="*/ 10000 w 10000"/>
                  <a:gd name="connsiteY7" fmla="*/ 91520 h 161520"/>
                  <a:gd name="connsiteX0" fmla="*/ 0 w 10000"/>
                  <a:gd name="connsiteY0" fmla="*/ 88187 h 161520"/>
                  <a:gd name="connsiteX1" fmla="*/ 3505 w 10000"/>
                  <a:gd name="connsiteY1" fmla="*/ 91520 h 161520"/>
                  <a:gd name="connsiteX2" fmla="*/ 4093 w 10000"/>
                  <a:gd name="connsiteY2" fmla="*/ 14854 h 161520"/>
                  <a:gd name="connsiteX3" fmla="*/ 4609 w 10000"/>
                  <a:gd name="connsiteY3" fmla="*/ 161520 h 161520"/>
                  <a:gd name="connsiteX4" fmla="*/ 5245 w 10000"/>
                  <a:gd name="connsiteY4" fmla="*/ 1521 h 161520"/>
                  <a:gd name="connsiteX5" fmla="*/ 5514 w 10000"/>
                  <a:gd name="connsiteY5" fmla="*/ 81520 h 161520"/>
                  <a:gd name="connsiteX6" fmla="*/ 6176 w 10000"/>
                  <a:gd name="connsiteY6" fmla="*/ 91520 h 161520"/>
                  <a:gd name="connsiteX7" fmla="*/ 10000 w 10000"/>
                  <a:gd name="connsiteY7" fmla="*/ 91520 h 161520"/>
                  <a:gd name="connsiteX0" fmla="*/ 0 w 10000"/>
                  <a:gd name="connsiteY0" fmla="*/ 88918 h 162251"/>
                  <a:gd name="connsiteX1" fmla="*/ 3505 w 10000"/>
                  <a:gd name="connsiteY1" fmla="*/ 92251 h 162251"/>
                  <a:gd name="connsiteX2" fmla="*/ 4093 w 10000"/>
                  <a:gd name="connsiteY2" fmla="*/ 15585 h 162251"/>
                  <a:gd name="connsiteX3" fmla="*/ 4609 w 10000"/>
                  <a:gd name="connsiteY3" fmla="*/ 162251 h 162251"/>
                  <a:gd name="connsiteX4" fmla="*/ 5245 w 10000"/>
                  <a:gd name="connsiteY4" fmla="*/ 2252 h 162251"/>
                  <a:gd name="connsiteX5" fmla="*/ 5514 w 10000"/>
                  <a:gd name="connsiteY5" fmla="*/ 82251 h 162251"/>
                  <a:gd name="connsiteX6" fmla="*/ 6176 w 10000"/>
                  <a:gd name="connsiteY6" fmla="*/ 92251 h 162251"/>
                  <a:gd name="connsiteX7" fmla="*/ 10000 w 10000"/>
                  <a:gd name="connsiteY7" fmla="*/ 92251 h 162251"/>
                  <a:gd name="connsiteX0" fmla="*/ 0 w 10000"/>
                  <a:gd name="connsiteY0" fmla="*/ 88918 h 162251"/>
                  <a:gd name="connsiteX1" fmla="*/ 3505 w 10000"/>
                  <a:gd name="connsiteY1" fmla="*/ 92251 h 162251"/>
                  <a:gd name="connsiteX2" fmla="*/ 4093 w 10000"/>
                  <a:gd name="connsiteY2" fmla="*/ 15585 h 162251"/>
                  <a:gd name="connsiteX3" fmla="*/ 4609 w 10000"/>
                  <a:gd name="connsiteY3" fmla="*/ 162251 h 162251"/>
                  <a:gd name="connsiteX4" fmla="*/ 5245 w 10000"/>
                  <a:gd name="connsiteY4" fmla="*/ 2252 h 162251"/>
                  <a:gd name="connsiteX5" fmla="*/ 5514 w 10000"/>
                  <a:gd name="connsiteY5" fmla="*/ 82251 h 162251"/>
                  <a:gd name="connsiteX6" fmla="*/ 6176 w 10000"/>
                  <a:gd name="connsiteY6" fmla="*/ 92251 h 162251"/>
                  <a:gd name="connsiteX7" fmla="*/ 10000 w 10000"/>
                  <a:gd name="connsiteY7" fmla="*/ 92251 h 162251"/>
                  <a:gd name="connsiteX0" fmla="*/ 0 w 10000"/>
                  <a:gd name="connsiteY0" fmla="*/ 87898 h 161231"/>
                  <a:gd name="connsiteX1" fmla="*/ 3505 w 10000"/>
                  <a:gd name="connsiteY1" fmla="*/ 91231 h 161231"/>
                  <a:gd name="connsiteX2" fmla="*/ 4093 w 10000"/>
                  <a:gd name="connsiteY2" fmla="*/ 14565 h 161231"/>
                  <a:gd name="connsiteX3" fmla="*/ 4609 w 10000"/>
                  <a:gd name="connsiteY3" fmla="*/ 161231 h 161231"/>
                  <a:gd name="connsiteX4" fmla="*/ 5245 w 10000"/>
                  <a:gd name="connsiteY4" fmla="*/ 1232 h 161231"/>
                  <a:gd name="connsiteX5" fmla="*/ 5416 w 10000"/>
                  <a:gd name="connsiteY5" fmla="*/ 131230 h 161231"/>
                  <a:gd name="connsiteX6" fmla="*/ 6176 w 10000"/>
                  <a:gd name="connsiteY6" fmla="*/ 91231 h 161231"/>
                  <a:gd name="connsiteX7" fmla="*/ 10000 w 10000"/>
                  <a:gd name="connsiteY7" fmla="*/ 91231 h 161231"/>
                  <a:gd name="connsiteX0" fmla="*/ 0 w 10000"/>
                  <a:gd name="connsiteY0" fmla="*/ 87641 h 160974"/>
                  <a:gd name="connsiteX1" fmla="*/ 3505 w 10000"/>
                  <a:gd name="connsiteY1" fmla="*/ 90974 h 160974"/>
                  <a:gd name="connsiteX2" fmla="*/ 4093 w 10000"/>
                  <a:gd name="connsiteY2" fmla="*/ 14308 h 160974"/>
                  <a:gd name="connsiteX3" fmla="*/ 4609 w 10000"/>
                  <a:gd name="connsiteY3" fmla="*/ 160974 h 160974"/>
                  <a:gd name="connsiteX4" fmla="*/ 5245 w 10000"/>
                  <a:gd name="connsiteY4" fmla="*/ 975 h 160974"/>
                  <a:gd name="connsiteX5" fmla="*/ 5416 w 10000"/>
                  <a:gd name="connsiteY5" fmla="*/ 130973 h 160974"/>
                  <a:gd name="connsiteX6" fmla="*/ 5882 w 10000"/>
                  <a:gd name="connsiteY6" fmla="*/ 94307 h 160974"/>
                  <a:gd name="connsiteX7" fmla="*/ 6176 w 10000"/>
                  <a:gd name="connsiteY7" fmla="*/ 90974 h 160974"/>
                  <a:gd name="connsiteX8" fmla="*/ 10000 w 10000"/>
                  <a:gd name="connsiteY8" fmla="*/ 90974 h 160974"/>
                  <a:gd name="connsiteX0" fmla="*/ 0 w 10000"/>
                  <a:gd name="connsiteY0" fmla="*/ 96964 h 170297"/>
                  <a:gd name="connsiteX1" fmla="*/ 3505 w 10000"/>
                  <a:gd name="connsiteY1" fmla="*/ 100297 h 170297"/>
                  <a:gd name="connsiteX2" fmla="*/ 4093 w 10000"/>
                  <a:gd name="connsiteY2" fmla="*/ 23631 h 170297"/>
                  <a:gd name="connsiteX3" fmla="*/ 4609 w 10000"/>
                  <a:gd name="connsiteY3" fmla="*/ 170297 h 170297"/>
                  <a:gd name="connsiteX4" fmla="*/ 5245 w 10000"/>
                  <a:gd name="connsiteY4" fmla="*/ 10298 h 170297"/>
                  <a:gd name="connsiteX5" fmla="*/ 5416 w 10000"/>
                  <a:gd name="connsiteY5" fmla="*/ 140296 h 170297"/>
                  <a:gd name="connsiteX6" fmla="*/ 5833 w 10000"/>
                  <a:gd name="connsiteY6" fmla="*/ 298 h 170297"/>
                  <a:gd name="connsiteX7" fmla="*/ 6176 w 10000"/>
                  <a:gd name="connsiteY7" fmla="*/ 100297 h 170297"/>
                  <a:gd name="connsiteX8" fmla="*/ 10000 w 10000"/>
                  <a:gd name="connsiteY8" fmla="*/ 100297 h 170297"/>
                  <a:gd name="connsiteX0" fmla="*/ 0 w 10000"/>
                  <a:gd name="connsiteY0" fmla="*/ 96964 h 170297"/>
                  <a:gd name="connsiteX1" fmla="*/ 3505 w 10000"/>
                  <a:gd name="connsiteY1" fmla="*/ 100297 h 170297"/>
                  <a:gd name="connsiteX2" fmla="*/ 3970 w 10000"/>
                  <a:gd name="connsiteY2" fmla="*/ 20297 h 170297"/>
                  <a:gd name="connsiteX3" fmla="*/ 4609 w 10000"/>
                  <a:gd name="connsiteY3" fmla="*/ 170297 h 170297"/>
                  <a:gd name="connsiteX4" fmla="*/ 5245 w 10000"/>
                  <a:gd name="connsiteY4" fmla="*/ 10298 h 170297"/>
                  <a:gd name="connsiteX5" fmla="*/ 5416 w 10000"/>
                  <a:gd name="connsiteY5" fmla="*/ 140296 h 170297"/>
                  <a:gd name="connsiteX6" fmla="*/ 5833 w 10000"/>
                  <a:gd name="connsiteY6" fmla="*/ 298 h 170297"/>
                  <a:gd name="connsiteX7" fmla="*/ 6176 w 10000"/>
                  <a:gd name="connsiteY7" fmla="*/ 100297 h 170297"/>
                  <a:gd name="connsiteX8" fmla="*/ 10000 w 10000"/>
                  <a:gd name="connsiteY8" fmla="*/ 100297 h 170297"/>
                  <a:gd name="connsiteX0" fmla="*/ 0 w 10000"/>
                  <a:gd name="connsiteY0" fmla="*/ 96964 h 176218"/>
                  <a:gd name="connsiteX1" fmla="*/ 3505 w 10000"/>
                  <a:gd name="connsiteY1" fmla="*/ 100297 h 176218"/>
                  <a:gd name="connsiteX2" fmla="*/ 3970 w 10000"/>
                  <a:gd name="connsiteY2" fmla="*/ 20297 h 176218"/>
                  <a:gd name="connsiteX3" fmla="*/ 4609 w 10000"/>
                  <a:gd name="connsiteY3" fmla="*/ 170297 h 176218"/>
                  <a:gd name="connsiteX4" fmla="*/ 4436 w 10000"/>
                  <a:gd name="connsiteY4" fmla="*/ 120294 h 176218"/>
                  <a:gd name="connsiteX5" fmla="*/ 5245 w 10000"/>
                  <a:gd name="connsiteY5" fmla="*/ 10298 h 176218"/>
                  <a:gd name="connsiteX6" fmla="*/ 5416 w 10000"/>
                  <a:gd name="connsiteY6" fmla="*/ 140296 h 176218"/>
                  <a:gd name="connsiteX7" fmla="*/ 5833 w 10000"/>
                  <a:gd name="connsiteY7" fmla="*/ 298 h 176218"/>
                  <a:gd name="connsiteX8" fmla="*/ 6176 w 10000"/>
                  <a:gd name="connsiteY8" fmla="*/ 100297 h 176218"/>
                  <a:gd name="connsiteX9" fmla="*/ 10000 w 10000"/>
                  <a:gd name="connsiteY9" fmla="*/ 100297 h 176218"/>
                  <a:gd name="connsiteX0" fmla="*/ 0 w 10000"/>
                  <a:gd name="connsiteY0" fmla="*/ 113357 h 192613"/>
                  <a:gd name="connsiteX1" fmla="*/ 3505 w 10000"/>
                  <a:gd name="connsiteY1" fmla="*/ 116690 h 192613"/>
                  <a:gd name="connsiteX2" fmla="*/ 3970 w 10000"/>
                  <a:gd name="connsiteY2" fmla="*/ 36690 h 192613"/>
                  <a:gd name="connsiteX3" fmla="*/ 4609 w 10000"/>
                  <a:gd name="connsiteY3" fmla="*/ 186690 h 192613"/>
                  <a:gd name="connsiteX4" fmla="*/ 4436 w 10000"/>
                  <a:gd name="connsiteY4" fmla="*/ 136687 h 192613"/>
                  <a:gd name="connsiteX5" fmla="*/ 5000 w 10000"/>
                  <a:gd name="connsiteY5" fmla="*/ 24 h 192613"/>
                  <a:gd name="connsiteX6" fmla="*/ 5416 w 10000"/>
                  <a:gd name="connsiteY6" fmla="*/ 156689 h 192613"/>
                  <a:gd name="connsiteX7" fmla="*/ 5833 w 10000"/>
                  <a:gd name="connsiteY7" fmla="*/ 16691 h 192613"/>
                  <a:gd name="connsiteX8" fmla="*/ 6176 w 10000"/>
                  <a:gd name="connsiteY8" fmla="*/ 116690 h 192613"/>
                  <a:gd name="connsiteX9" fmla="*/ 10000 w 10000"/>
                  <a:gd name="connsiteY9" fmla="*/ 116690 h 192613"/>
                  <a:gd name="connsiteX0" fmla="*/ 0 w 10000"/>
                  <a:gd name="connsiteY0" fmla="*/ 113359 h 157828"/>
                  <a:gd name="connsiteX1" fmla="*/ 3505 w 10000"/>
                  <a:gd name="connsiteY1" fmla="*/ 116692 h 157828"/>
                  <a:gd name="connsiteX2" fmla="*/ 3970 w 10000"/>
                  <a:gd name="connsiteY2" fmla="*/ 36692 h 157828"/>
                  <a:gd name="connsiteX3" fmla="*/ 4436 w 10000"/>
                  <a:gd name="connsiteY3" fmla="*/ 136689 h 157828"/>
                  <a:gd name="connsiteX4" fmla="*/ 5000 w 10000"/>
                  <a:gd name="connsiteY4" fmla="*/ 26 h 157828"/>
                  <a:gd name="connsiteX5" fmla="*/ 5416 w 10000"/>
                  <a:gd name="connsiteY5" fmla="*/ 156691 h 157828"/>
                  <a:gd name="connsiteX6" fmla="*/ 5833 w 10000"/>
                  <a:gd name="connsiteY6" fmla="*/ 16693 h 157828"/>
                  <a:gd name="connsiteX7" fmla="*/ 6176 w 10000"/>
                  <a:gd name="connsiteY7" fmla="*/ 116692 h 157828"/>
                  <a:gd name="connsiteX8" fmla="*/ 10000 w 10000"/>
                  <a:gd name="connsiteY8" fmla="*/ 116692 h 157828"/>
                  <a:gd name="connsiteX0" fmla="*/ 0 w 10000"/>
                  <a:gd name="connsiteY0" fmla="*/ 113362 h 136955"/>
                  <a:gd name="connsiteX1" fmla="*/ 3505 w 10000"/>
                  <a:gd name="connsiteY1" fmla="*/ 116695 h 136955"/>
                  <a:gd name="connsiteX2" fmla="*/ 3970 w 10000"/>
                  <a:gd name="connsiteY2" fmla="*/ 36695 h 136955"/>
                  <a:gd name="connsiteX3" fmla="*/ 4436 w 10000"/>
                  <a:gd name="connsiteY3" fmla="*/ 136692 h 136955"/>
                  <a:gd name="connsiteX4" fmla="*/ 5000 w 10000"/>
                  <a:gd name="connsiteY4" fmla="*/ 29 h 136955"/>
                  <a:gd name="connsiteX5" fmla="*/ 5293 w 10000"/>
                  <a:gd name="connsiteY5" fmla="*/ 133361 h 136955"/>
                  <a:gd name="connsiteX6" fmla="*/ 5833 w 10000"/>
                  <a:gd name="connsiteY6" fmla="*/ 16696 h 136955"/>
                  <a:gd name="connsiteX7" fmla="*/ 6176 w 10000"/>
                  <a:gd name="connsiteY7" fmla="*/ 116695 h 136955"/>
                  <a:gd name="connsiteX8" fmla="*/ 10000 w 10000"/>
                  <a:gd name="connsiteY8" fmla="*/ 116695 h 136955"/>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833 w 10000"/>
                  <a:gd name="connsiteY6" fmla="*/ 26694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710 w 10000"/>
                  <a:gd name="connsiteY6" fmla="*/ 36694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710 w 10000"/>
                  <a:gd name="connsiteY6" fmla="*/ 36694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710 w 10000"/>
                  <a:gd name="connsiteY6" fmla="*/ 36694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685 w 10000"/>
                  <a:gd name="connsiteY6" fmla="*/ 23361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685 w 10000"/>
                  <a:gd name="connsiteY6" fmla="*/ 23361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32 h 146925"/>
                  <a:gd name="connsiteX1" fmla="*/ 3505 w 10000"/>
                  <a:gd name="connsiteY1" fmla="*/ 126665 h 146925"/>
                  <a:gd name="connsiteX2" fmla="*/ 3970 w 10000"/>
                  <a:gd name="connsiteY2" fmla="*/ 46665 h 146925"/>
                  <a:gd name="connsiteX3" fmla="*/ 4436 w 10000"/>
                  <a:gd name="connsiteY3" fmla="*/ 146662 h 146925"/>
                  <a:gd name="connsiteX4" fmla="*/ 4902 w 10000"/>
                  <a:gd name="connsiteY4" fmla="*/ 0 h 146925"/>
                  <a:gd name="connsiteX5" fmla="*/ 5293 w 10000"/>
                  <a:gd name="connsiteY5" fmla="*/ 143331 h 146925"/>
                  <a:gd name="connsiteX6" fmla="*/ 5685 w 10000"/>
                  <a:gd name="connsiteY6" fmla="*/ 23333 h 146925"/>
                  <a:gd name="connsiteX7" fmla="*/ 6176 w 10000"/>
                  <a:gd name="connsiteY7" fmla="*/ 126665 h 146925"/>
                  <a:gd name="connsiteX8" fmla="*/ 10000 w 10000"/>
                  <a:gd name="connsiteY8" fmla="*/ 126665 h 146925"/>
                  <a:gd name="connsiteX0" fmla="*/ 0 w 10000"/>
                  <a:gd name="connsiteY0" fmla="*/ 123332 h 146923"/>
                  <a:gd name="connsiteX1" fmla="*/ 3505 w 10000"/>
                  <a:gd name="connsiteY1" fmla="*/ 126665 h 146923"/>
                  <a:gd name="connsiteX2" fmla="*/ 3970 w 10000"/>
                  <a:gd name="connsiteY2" fmla="*/ 46665 h 146923"/>
                  <a:gd name="connsiteX3" fmla="*/ 4436 w 10000"/>
                  <a:gd name="connsiteY3" fmla="*/ 146662 h 146923"/>
                  <a:gd name="connsiteX4" fmla="*/ 4902 w 10000"/>
                  <a:gd name="connsiteY4" fmla="*/ 0 h 146923"/>
                  <a:gd name="connsiteX5" fmla="*/ 5293 w 10000"/>
                  <a:gd name="connsiteY5" fmla="*/ 143331 h 146923"/>
                  <a:gd name="connsiteX6" fmla="*/ 5685 w 10000"/>
                  <a:gd name="connsiteY6" fmla="*/ 23333 h 146923"/>
                  <a:gd name="connsiteX7" fmla="*/ 6176 w 10000"/>
                  <a:gd name="connsiteY7" fmla="*/ 126665 h 146923"/>
                  <a:gd name="connsiteX8" fmla="*/ 10000 w 10000"/>
                  <a:gd name="connsiteY8" fmla="*/ 126665 h 146923"/>
                  <a:gd name="connsiteX0" fmla="*/ 0 w 10000"/>
                  <a:gd name="connsiteY0" fmla="*/ 123332 h 146925"/>
                  <a:gd name="connsiteX1" fmla="*/ 3505 w 10000"/>
                  <a:gd name="connsiteY1" fmla="*/ 126665 h 146925"/>
                  <a:gd name="connsiteX2" fmla="*/ 3970 w 10000"/>
                  <a:gd name="connsiteY2" fmla="*/ 46665 h 146925"/>
                  <a:gd name="connsiteX3" fmla="*/ 4436 w 10000"/>
                  <a:gd name="connsiteY3" fmla="*/ 146662 h 146925"/>
                  <a:gd name="connsiteX4" fmla="*/ 4902 w 10000"/>
                  <a:gd name="connsiteY4" fmla="*/ 0 h 146925"/>
                  <a:gd name="connsiteX5" fmla="*/ 5293 w 10000"/>
                  <a:gd name="connsiteY5" fmla="*/ 143331 h 146925"/>
                  <a:gd name="connsiteX6" fmla="*/ 5685 w 10000"/>
                  <a:gd name="connsiteY6" fmla="*/ 23333 h 146925"/>
                  <a:gd name="connsiteX7" fmla="*/ 6176 w 10000"/>
                  <a:gd name="connsiteY7" fmla="*/ 126665 h 146925"/>
                  <a:gd name="connsiteX8" fmla="*/ 10000 w 10000"/>
                  <a:gd name="connsiteY8" fmla="*/ 126665 h 146925"/>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387 w 10000"/>
                  <a:gd name="connsiteY3" fmla="*/ 146663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6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55 w 10000"/>
                  <a:gd name="connsiteY1" fmla="*/ 113973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5479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355 w 10000"/>
                  <a:gd name="connsiteY1" fmla="*/ 116985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46664">
                    <a:moveTo>
                      <a:pt x="0" y="116665"/>
                    </a:moveTo>
                    <a:cubicBezTo>
                      <a:pt x="705" y="117360"/>
                      <a:pt x="2183" y="116985"/>
                      <a:pt x="3355" y="116985"/>
                    </a:cubicBezTo>
                    <a:cubicBezTo>
                      <a:pt x="3530" y="79762"/>
                      <a:pt x="3752" y="69442"/>
                      <a:pt x="3921" y="29998"/>
                    </a:cubicBezTo>
                    <a:cubicBezTo>
                      <a:pt x="4101" y="79997"/>
                      <a:pt x="4215" y="106107"/>
                      <a:pt x="4387" y="139996"/>
                    </a:cubicBezTo>
                    <a:cubicBezTo>
                      <a:pt x="4608" y="87218"/>
                      <a:pt x="4643" y="55555"/>
                      <a:pt x="4828" y="0"/>
                    </a:cubicBezTo>
                    <a:cubicBezTo>
                      <a:pt x="5062" y="74443"/>
                      <a:pt x="5187" y="97776"/>
                      <a:pt x="5268" y="146664"/>
                    </a:cubicBezTo>
                    <a:cubicBezTo>
                      <a:pt x="5496" y="88887"/>
                      <a:pt x="5509" y="76665"/>
                      <a:pt x="5759" y="23333"/>
                    </a:cubicBezTo>
                    <a:cubicBezTo>
                      <a:pt x="5960" y="69999"/>
                      <a:pt x="6029" y="77221"/>
                      <a:pt x="6176" y="119998"/>
                    </a:cubicBezTo>
                    <a:cubicBezTo>
                      <a:pt x="6915" y="120553"/>
                      <a:pt x="9270" y="117916"/>
                      <a:pt x="10000" y="119998"/>
                    </a:cubicBezTo>
                  </a:path>
                </a:pathLst>
              </a:custGeom>
              <a:grpFill/>
              <a:ln w="9525"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BBvoice"/>
                  <a:ea typeface="ABBvoice"/>
                  <a:cs typeface="ABBvoice"/>
                </a:endParaRPr>
              </a:p>
            </p:txBody>
          </p:sp>
          <p:cxnSp>
            <p:nvCxnSpPr>
              <p:cNvPr id="597" name="Straight Connector 596">
                <a:extLst>
                  <a:ext uri="{FF2B5EF4-FFF2-40B4-BE49-F238E27FC236}">
                    <a16:creationId xmlns:a16="http://schemas.microsoft.com/office/drawing/2014/main" id="{0B789D2F-C841-4B83-8C04-B2D294E3C83B}"/>
                  </a:ext>
                </a:extLst>
              </p:cNvPr>
              <p:cNvCxnSpPr/>
              <p:nvPr/>
            </p:nvCxnSpPr>
            <p:spPr bwMode="gray">
              <a:xfrm flipV="1">
                <a:off x="10153056" y="1276774"/>
                <a:ext cx="109" cy="39923"/>
              </a:xfrm>
              <a:prstGeom prst="line">
                <a:avLst/>
              </a:prstGeom>
              <a:grpFill/>
              <a:ln w="9525" cap="rnd">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92" name="Oval 119">
              <a:extLst>
                <a:ext uri="{FF2B5EF4-FFF2-40B4-BE49-F238E27FC236}">
                  <a16:creationId xmlns:a16="http://schemas.microsoft.com/office/drawing/2014/main" id="{59DCC9CD-E950-40C8-A083-617BF698DF27}"/>
                </a:ext>
              </a:extLst>
            </p:cNvPr>
            <p:cNvSpPr/>
            <p:nvPr/>
          </p:nvSpPr>
          <p:spPr bwMode="gray">
            <a:xfrm>
              <a:off x="6654938" y="2069315"/>
              <a:ext cx="57051" cy="21407"/>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93" name="Oval 119">
              <a:extLst>
                <a:ext uri="{FF2B5EF4-FFF2-40B4-BE49-F238E27FC236}">
                  <a16:creationId xmlns:a16="http://schemas.microsoft.com/office/drawing/2014/main" id="{23966325-3024-4DBB-A59B-5EA094A7F65A}"/>
                </a:ext>
              </a:extLst>
            </p:cNvPr>
            <p:cNvSpPr/>
            <p:nvPr/>
          </p:nvSpPr>
          <p:spPr bwMode="gray">
            <a:xfrm>
              <a:off x="6812129" y="2069315"/>
              <a:ext cx="57051" cy="21407"/>
            </a:xfrm>
            <a:prstGeom prst="ellipse">
              <a:avLst/>
            </a:prstGeom>
            <a:grp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594" name="Straight Connector 593">
              <a:extLst>
                <a:ext uri="{FF2B5EF4-FFF2-40B4-BE49-F238E27FC236}">
                  <a16:creationId xmlns:a16="http://schemas.microsoft.com/office/drawing/2014/main" id="{012D4D04-C534-4BF9-A43A-2BC4F0461788}"/>
                </a:ext>
              </a:extLst>
            </p:cNvPr>
            <p:cNvCxnSpPr/>
            <p:nvPr/>
          </p:nvCxnSpPr>
          <p:spPr bwMode="gray">
            <a:xfrm>
              <a:off x="6761985" y="2097702"/>
              <a:ext cx="0" cy="80710"/>
            </a:xfrm>
            <a:prstGeom prst="line">
              <a:avLst/>
            </a:prstGeom>
            <a:grpFill/>
            <a:ln w="9525">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cxnSp>
      </p:grpSp>
      <p:sp>
        <p:nvSpPr>
          <p:cNvPr id="615" name="Content Placeholder 1">
            <a:extLst>
              <a:ext uri="{FF2B5EF4-FFF2-40B4-BE49-F238E27FC236}">
                <a16:creationId xmlns:a16="http://schemas.microsoft.com/office/drawing/2014/main" id="{08CED276-EC3F-40C4-9F44-BBFBA43BDA12}"/>
              </a:ext>
            </a:extLst>
          </p:cNvPr>
          <p:cNvSpPr txBox="1">
            <a:spLocks/>
          </p:cNvSpPr>
          <p:nvPr/>
        </p:nvSpPr>
        <p:spPr bwMode="gray">
          <a:xfrm>
            <a:off x="1871277" y="3430864"/>
            <a:ext cx="2844000" cy="213610"/>
          </a:xfrm>
          <a:prstGeom prst="rect">
            <a:avLst/>
          </a:prstGeom>
        </p:spPr>
        <p:txBody>
          <a:bodyPr vert="horz" lIns="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800" b="1" kern="120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6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1" indent="0" algn="l" defTabSz="914491" rtl="0" eaLnBrk="1" fontAlgn="auto" latinLnBrk="0" hangingPunct="1">
              <a:lnSpc>
                <a:spcPct val="100000"/>
              </a:lnSpc>
              <a:spcBef>
                <a:spcPts val="600"/>
              </a:spcBef>
              <a:spcAft>
                <a:spcPts val="0"/>
              </a:spcAft>
              <a:buClrTx/>
              <a:buSzTx/>
              <a:buFont typeface="ABBvoiceOffice" panose="020D0603020503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BBvoice"/>
                <a:ea typeface="ABBvoice"/>
                <a:cs typeface="ABBvoice"/>
              </a:rPr>
              <a:t>Uras26 + O</a:t>
            </a:r>
            <a:r>
              <a:rPr kumimoji="0" lang="de-DE" sz="1400" b="0" i="0" u="none" strike="noStrike" kern="1200" cap="none" spc="0" normalizeH="0" baseline="-25000" noProof="0" dirty="0">
                <a:ln>
                  <a:noFill/>
                </a:ln>
                <a:solidFill>
                  <a:srgbClr val="000000"/>
                </a:solidFill>
                <a:effectLst/>
                <a:uLnTx/>
                <a:uFillTx/>
                <a:latin typeface="ABBvoice"/>
                <a:ea typeface="ABBvoice"/>
                <a:cs typeface="ABBvoice"/>
              </a:rPr>
              <a:t>2</a:t>
            </a:r>
            <a:r>
              <a:rPr kumimoji="0" lang="de-DE" sz="1400" b="0" i="0" u="none" strike="noStrike" kern="1200" cap="none" spc="0" normalizeH="0" baseline="0" noProof="0" dirty="0">
                <a:ln>
                  <a:noFill/>
                </a:ln>
                <a:solidFill>
                  <a:srgbClr val="000000"/>
                </a:solidFill>
                <a:effectLst/>
                <a:uLnTx/>
                <a:uFillTx/>
                <a:latin typeface="ABBvoice"/>
                <a:ea typeface="ABBvoice"/>
                <a:cs typeface="ABBvoice"/>
              </a:rPr>
              <a:t> sensor (up to </a:t>
            </a:r>
            <a:r>
              <a:rPr kumimoji="0" lang="de-DE" sz="1400" b="0" i="0" u="none" strike="noStrike" kern="1200" cap="none" spc="0" normalizeH="0" baseline="0" noProof="0" dirty="0" err="1">
                <a:ln>
                  <a:noFill/>
                </a:ln>
                <a:solidFill>
                  <a:srgbClr val="000000"/>
                </a:solidFill>
                <a:effectLst/>
                <a:uLnTx/>
                <a:uFillTx/>
                <a:latin typeface="ABBvoice"/>
                <a:ea typeface="ABBvoice"/>
                <a:cs typeface="ABBvoice"/>
              </a:rPr>
              <a:t>two</a:t>
            </a:r>
            <a:r>
              <a:rPr kumimoji="0" lang="de-DE" sz="1400" b="0" i="0" u="none" strike="noStrike" kern="1200" cap="none" spc="0" normalizeH="0" baseline="0" noProof="0" dirty="0">
                <a:ln>
                  <a:noFill/>
                </a:ln>
                <a:solidFill>
                  <a:srgbClr val="000000"/>
                </a:solidFill>
                <a:effectLst/>
                <a:uLnTx/>
                <a:uFillTx/>
                <a:latin typeface="ABBvoice"/>
                <a:ea typeface="ABBvoice"/>
                <a:cs typeface="ABBvoice"/>
              </a:rPr>
              <a:t>)*</a:t>
            </a:r>
          </a:p>
        </p:txBody>
      </p:sp>
      <p:sp>
        <p:nvSpPr>
          <p:cNvPr id="612" name="Content Placeholder 1">
            <a:extLst>
              <a:ext uri="{FF2B5EF4-FFF2-40B4-BE49-F238E27FC236}">
                <a16:creationId xmlns:a16="http://schemas.microsoft.com/office/drawing/2014/main" id="{42D0D14F-582A-4C6F-8133-10387B82C340}"/>
              </a:ext>
            </a:extLst>
          </p:cNvPr>
          <p:cNvSpPr txBox="1">
            <a:spLocks/>
          </p:cNvSpPr>
          <p:nvPr/>
        </p:nvSpPr>
        <p:spPr bwMode="gray">
          <a:xfrm>
            <a:off x="1859847" y="2038580"/>
            <a:ext cx="2844000" cy="213610"/>
          </a:xfrm>
          <a:prstGeom prst="rect">
            <a:avLst/>
          </a:prstGeom>
        </p:spPr>
        <p:txBody>
          <a:bodyPr vert="horz" lIns="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800" b="1" kern="120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6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1" indent="0" algn="l" defTabSz="914491" rtl="0" eaLnBrk="1" fontAlgn="auto" latinLnBrk="0" hangingPunct="1">
              <a:lnSpc>
                <a:spcPct val="100000"/>
              </a:lnSpc>
              <a:spcBef>
                <a:spcPts val="600"/>
              </a:spcBef>
              <a:spcAft>
                <a:spcPts val="0"/>
              </a:spcAft>
              <a:buClrTx/>
              <a:buSzTx/>
              <a:buFont typeface="ABBvoiceOffice" panose="020D0603020503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BBvoice"/>
                <a:ea typeface="ABBvoice"/>
                <a:cs typeface="ABBvoice"/>
              </a:rPr>
              <a:t>Uras26 + Magnos28</a:t>
            </a:r>
          </a:p>
        </p:txBody>
      </p:sp>
      <p:sp>
        <p:nvSpPr>
          <p:cNvPr id="614" name="Content Placeholder 1">
            <a:extLst>
              <a:ext uri="{FF2B5EF4-FFF2-40B4-BE49-F238E27FC236}">
                <a16:creationId xmlns:a16="http://schemas.microsoft.com/office/drawing/2014/main" id="{6C06E860-F35B-47D1-945F-1812238A1206}"/>
              </a:ext>
            </a:extLst>
          </p:cNvPr>
          <p:cNvSpPr txBox="1">
            <a:spLocks/>
          </p:cNvSpPr>
          <p:nvPr/>
        </p:nvSpPr>
        <p:spPr bwMode="gray">
          <a:xfrm>
            <a:off x="1859847" y="2723292"/>
            <a:ext cx="2844000" cy="213610"/>
          </a:xfrm>
          <a:prstGeom prst="rect">
            <a:avLst/>
          </a:prstGeom>
        </p:spPr>
        <p:txBody>
          <a:bodyPr vert="horz" lIns="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800" b="1" kern="120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6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1" indent="0" algn="l" defTabSz="914491" rtl="0" eaLnBrk="1" fontAlgn="auto" latinLnBrk="0" hangingPunct="1">
              <a:lnSpc>
                <a:spcPct val="100000"/>
              </a:lnSpc>
              <a:spcBef>
                <a:spcPts val="600"/>
              </a:spcBef>
              <a:spcAft>
                <a:spcPts val="0"/>
              </a:spcAft>
              <a:buClrTx/>
              <a:buSzTx/>
              <a:buFont typeface="ABBvoiceOffice" panose="020D0603020503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BBvoice"/>
                <a:ea typeface="ABBvoice"/>
                <a:cs typeface="ABBvoice"/>
              </a:rPr>
              <a:t>Uras26 + Magnos27*</a:t>
            </a:r>
          </a:p>
        </p:txBody>
      </p:sp>
      <p:sp>
        <p:nvSpPr>
          <p:cNvPr id="616" name="Content Placeholder 1">
            <a:extLst>
              <a:ext uri="{FF2B5EF4-FFF2-40B4-BE49-F238E27FC236}">
                <a16:creationId xmlns:a16="http://schemas.microsoft.com/office/drawing/2014/main" id="{8C4C4DE9-9EED-402F-B7E0-C3818A0FBEA1}"/>
              </a:ext>
            </a:extLst>
          </p:cNvPr>
          <p:cNvSpPr txBox="1">
            <a:spLocks/>
          </p:cNvSpPr>
          <p:nvPr/>
        </p:nvSpPr>
        <p:spPr bwMode="gray">
          <a:xfrm>
            <a:off x="1859847" y="4172726"/>
            <a:ext cx="2844000" cy="213610"/>
          </a:xfrm>
          <a:prstGeom prst="rect">
            <a:avLst/>
          </a:prstGeom>
        </p:spPr>
        <p:txBody>
          <a:bodyPr vert="horz" lIns="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800" b="1" kern="120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6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1" indent="0" algn="l" defTabSz="914491" rtl="0" eaLnBrk="1" fontAlgn="auto" latinLnBrk="0" hangingPunct="1">
              <a:lnSpc>
                <a:spcPct val="100000"/>
              </a:lnSpc>
              <a:spcBef>
                <a:spcPts val="600"/>
              </a:spcBef>
              <a:spcAft>
                <a:spcPts val="0"/>
              </a:spcAft>
              <a:buClrTx/>
              <a:buSzTx/>
              <a:buFont typeface="ABBvoiceOffice" panose="020D0603020503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BBvoice"/>
                <a:ea typeface="ABBvoice"/>
                <a:cs typeface="ABBvoice"/>
              </a:rPr>
              <a:t>Uras26 + Caldos27</a:t>
            </a:r>
          </a:p>
        </p:txBody>
      </p:sp>
      <p:sp>
        <p:nvSpPr>
          <p:cNvPr id="617" name="Content Placeholder 1">
            <a:extLst>
              <a:ext uri="{FF2B5EF4-FFF2-40B4-BE49-F238E27FC236}">
                <a16:creationId xmlns:a16="http://schemas.microsoft.com/office/drawing/2014/main" id="{CEF1E500-CECC-435F-A6F6-13ECBECFE9C0}"/>
              </a:ext>
            </a:extLst>
          </p:cNvPr>
          <p:cNvSpPr txBox="1">
            <a:spLocks/>
          </p:cNvSpPr>
          <p:nvPr/>
        </p:nvSpPr>
        <p:spPr bwMode="gray">
          <a:xfrm>
            <a:off x="7548769" y="2026436"/>
            <a:ext cx="2844000" cy="213610"/>
          </a:xfrm>
          <a:prstGeom prst="rect">
            <a:avLst/>
          </a:prstGeom>
        </p:spPr>
        <p:txBody>
          <a:bodyPr vert="horz" lIns="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800" b="1" kern="120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6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1" indent="0" algn="r" defTabSz="914491" rtl="0" eaLnBrk="1" fontAlgn="auto" latinLnBrk="0" hangingPunct="1">
              <a:lnSpc>
                <a:spcPct val="100000"/>
              </a:lnSpc>
              <a:spcBef>
                <a:spcPts val="600"/>
              </a:spcBef>
              <a:spcAft>
                <a:spcPts val="0"/>
              </a:spcAft>
              <a:buClrTx/>
              <a:buSzTx/>
              <a:buFont typeface="ABBvoiceOffice" panose="020D0603020503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BBvoice"/>
                <a:ea typeface="ABBvoice"/>
                <a:cs typeface="ABBvoice"/>
              </a:rPr>
              <a:t>Limas23 + Magnos28</a:t>
            </a:r>
          </a:p>
        </p:txBody>
      </p:sp>
      <p:sp>
        <p:nvSpPr>
          <p:cNvPr id="618" name="Content Placeholder 1">
            <a:extLst>
              <a:ext uri="{FF2B5EF4-FFF2-40B4-BE49-F238E27FC236}">
                <a16:creationId xmlns:a16="http://schemas.microsoft.com/office/drawing/2014/main" id="{E27FEA34-327B-4C3D-9420-888E4693843B}"/>
              </a:ext>
            </a:extLst>
          </p:cNvPr>
          <p:cNvSpPr txBox="1">
            <a:spLocks/>
          </p:cNvSpPr>
          <p:nvPr/>
        </p:nvSpPr>
        <p:spPr bwMode="gray">
          <a:xfrm>
            <a:off x="7536235" y="2722805"/>
            <a:ext cx="2844000" cy="213610"/>
          </a:xfrm>
          <a:prstGeom prst="rect">
            <a:avLst/>
          </a:prstGeom>
        </p:spPr>
        <p:txBody>
          <a:bodyPr vert="horz" lIns="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800" b="1" kern="120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6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1" indent="0" algn="r" defTabSz="914491" rtl="0" eaLnBrk="1" fontAlgn="auto" latinLnBrk="0" hangingPunct="1">
              <a:lnSpc>
                <a:spcPct val="100000"/>
              </a:lnSpc>
              <a:spcBef>
                <a:spcPts val="600"/>
              </a:spcBef>
              <a:spcAft>
                <a:spcPts val="0"/>
              </a:spcAft>
              <a:buClrTx/>
              <a:buSzTx/>
              <a:buFont typeface="ABBvoiceOffice" panose="020D0603020503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BBvoice"/>
                <a:ea typeface="ABBvoice"/>
                <a:cs typeface="ABBvoice"/>
              </a:rPr>
              <a:t>Limas23 + O</a:t>
            </a:r>
            <a:r>
              <a:rPr kumimoji="0" lang="de-DE" sz="1400" b="0" i="0" u="none" strike="noStrike" kern="1200" cap="none" spc="0" normalizeH="0" baseline="-25000" noProof="0" dirty="0">
                <a:ln>
                  <a:noFill/>
                </a:ln>
                <a:solidFill>
                  <a:srgbClr val="000000"/>
                </a:solidFill>
                <a:effectLst/>
                <a:uLnTx/>
                <a:uFillTx/>
                <a:latin typeface="ABBvoice"/>
                <a:ea typeface="ABBvoice"/>
                <a:cs typeface="ABBvoice"/>
              </a:rPr>
              <a:t>2</a:t>
            </a:r>
            <a:r>
              <a:rPr kumimoji="0" lang="de-DE" sz="1400" b="0" i="0" u="none" strike="noStrike" kern="1200" cap="none" spc="0" normalizeH="0" baseline="0" noProof="0" dirty="0">
                <a:ln>
                  <a:noFill/>
                </a:ln>
                <a:solidFill>
                  <a:srgbClr val="000000"/>
                </a:solidFill>
                <a:effectLst/>
                <a:uLnTx/>
                <a:uFillTx/>
                <a:latin typeface="ABBvoice"/>
                <a:ea typeface="ABBvoice"/>
                <a:cs typeface="ABBvoice"/>
              </a:rPr>
              <a:t> sensor</a:t>
            </a:r>
          </a:p>
        </p:txBody>
      </p:sp>
      <p:sp>
        <p:nvSpPr>
          <p:cNvPr id="620" name="Content Placeholder 1">
            <a:extLst>
              <a:ext uri="{FF2B5EF4-FFF2-40B4-BE49-F238E27FC236}">
                <a16:creationId xmlns:a16="http://schemas.microsoft.com/office/drawing/2014/main" id="{4E87EE45-9FFF-45B7-8257-A256ECDB34EF}"/>
              </a:ext>
            </a:extLst>
          </p:cNvPr>
          <p:cNvSpPr txBox="1">
            <a:spLocks/>
          </p:cNvSpPr>
          <p:nvPr/>
        </p:nvSpPr>
        <p:spPr bwMode="gray">
          <a:xfrm>
            <a:off x="7551749" y="5498354"/>
            <a:ext cx="2844000" cy="213610"/>
          </a:xfrm>
          <a:prstGeom prst="rect">
            <a:avLst/>
          </a:prstGeom>
        </p:spPr>
        <p:txBody>
          <a:bodyPr vert="horz" lIns="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800" b="1" kern="120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6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1" indent="0" algn="r" defTabSz="914491" rtl="0" eaLnBrk="1" fontAlgn="auto" latinLnBrk="0" hangingPunct="1">
              <a:lnSpc>
                <a:spcPct val="100000"/>
              </a:lnSpc>
              <a:spcBef>
                <a:spcPts val="600"/>
              </a:spcBef>
              <a:spcAft>
                <a:spcPts val="0"/>
              </a:spcAft>
              <a:buClrTx/>
              <a:buSzTx/>
              <a:buFont typeface="ABBvoiceOffice" panose="020D0603020503020204" pitchFamily="34" charset="0"/>
              <a:buNone/>
              <a:tabLst/>
              <a:defRPr/>
            </a:pPr>
            <a:r>
              <a:rPr kumimoji="0" lang="de-DE" sz="1400" b="1" i="0" u="none" strike="noStrike" kern="1200" cap="none" spc="0" normalizeH="0" baseline="0" noProof="0" dirty="0">
                <a:ln>
                  <a:noFill/>
                </a:ln>
                <a:solidFill>
                  <a:srgbClr val="D90000"/>
                </a:solidFill>
                <a:effectLst/>
                <a:uLnTx/>
                <a:uFillTx/>
                <a:latin typeface="ABBvoice"/>
                <a:ea typeface="ABBvoice"/>
                <a:cs typeface="ABBvoice"/>
              </a:rPr>
              <a:t>(New!) </a:t>
            </a:r>
            <a:r>
              <a:rPr kumimoji="0" lang="de-DE" sz="1400" b="0" i="0" u="none" strike="noStrike" kern="1200" cap="none" spc="0" normalizeH="0" baseline="0" noProof="0" dirty="0">
                <a:ln>
                  <a:noFill/>
                </a:ln>
                <a:solidFill>
                  <a:srgbClr val="D90000"/>
                </a:solidFill>
                <a:effectLst/>
                <a:uLnTx/>
                <a:uFillTx/>
                <a:latin typeface="ABBvoice"/>
                <a:ea typeface="ABBvoice"/>
                <a:cs typeface="ABBvoice"/>
              </a:rPr>
              <a:t>Caldos27 + Caldos27*</a:t>
            </a:r>
            <a:endParaRPr kumimoji="0" lang="de-DE" sz="1400" b="1" i="0" u="none" strike="noStrike" kern="1200" cap="none" spc="0" normalizeH="0" baseline="0" noProof="0" dirty="0">
              <a:ln>
                <a:noFill/>
              </a:ln>
              <a:solidFill>
                <a:srgbClr val="D90000"/>
              </a:solidFill>
              <a:effectLst/>
              <a:uLnTx/>
              <a:uFillTx/>
              <a:latin typeface="ABBvoice"/>
              <a:ea typeface="ABBvoice"/>
              <a:cs typeface="ABBvoice"/>
            </a:endParaRPr>
          </a:p>
        </p:txBody>
      </p:sp>
      <p:sp>
        <p:nvSpPr>
          <p:cNvPr id="621" name="Content Placeholder 1">
            <a:extLst>
              <a:ext uri="{FF2B5EF4-FFF2-40B4-BE49-F238E27FC236}">
                <a16:creationId xmlns:a16="http://schemas.microsoft.com/office/drawing/2014/main" id="{F89743B9-44CE-40BC-BF0D-C25C62B261AB}"/>
              </a:ext>
            </a:extLst>
          </p:cNvPr>
          <p:cNvSpPr txBox="1">
            <a:spLocks/>
          </p:cNvSpPr>
          <p:nvPr/>
        </p:nvSpPr>
        <p:spPr bwMode="gray">
          <a:xfrm>
            <a:off x="7551749" y="4140796"/>
            <a:ext cx="2844000" cy="213610"/>
          </a:xfrm>
          <a:prstGeom prst="rect">
            <a:avLst/>
          </a:prstGeom>
        </p:spPr>
        <p:txBody>
          <a:bodyPr vert="horz" lIns="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800" b="1" kern="120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6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1" indent="0" algn="r" defTabSz="914491" rtl="0" eaLnBrk="1" fontAlgn="auto" latinLnBrk="0" hangingPunct="1">
              <a:lnSpc>
                <a:spcPct val="100000"/>
              </a:lnSpc>
              <a:spcBef>
                <a:spcPts val="600"/>
              </a:spcBef>
              <a:spcAft>
                <a:spcPts val="0"/>
              </a:spcAft>
              <a:buClrTx/>
              <a:buSzTx/>
              <a:buFont typeface="ABBvoiceOffice" panose="020D0603020503020204" pitchFamily="34" charset="0"/>
              <a:buNone/>
              <a:tabLst/>
              <a:defRPr/>
            </a:pPr>
            <a:r>
              <a:rPr kumimoji="0" lang="de-DE" sz="1400" b="1" i="0" u="none" strike="noStrike" kern="1200" cap="none" spc="0" normalizeH="0" baseline="0" noProof="0" dirty="0">
                <a:ln>
                  <a:noFill/>
                </a:ln>
                <a:solidFill>
                  <a:srgbClr val="D90000"/>
                </a:solidFill>
                <a:effectLst/>
                <a:uLnTx/>
                <a:uFillTx/>
                <a:latin typeface="ABBvoice"/>
                <a:ea typeface="ABBvoice"/>
                <a:cs typeface="ABBvoice"/>
              </a:rPr>
              <a:t>(New!) </a:t>
            </a:r>
            <a:r>
              <a:rPr kumimoji="0" lang="de-DE" sz="1400" b="0" i="0" u="none" strike="noStrike" kern="1200" cap="none" spc="0" normalizeH="0" baseline="0" noProof="0" dirty="0">
                <a:ln>
                  <a:noFill/>
                </a:ln>
                <a:solidFill>
                  <a:srgbClr val="D90000"/>
                </a:solidFill>
                <a:effectLst/>
                <a:uLnTx/>
                <a:uFillTx/>
                <a:latin typeface="ABBvoice"/>
                <a:ea typeface="ABBvoice"/>
                <a:cs typeface="ABBvoice"/>
              </a:rPr>
              <a:t>Magnos28 + Magnos28*</a:t>
            </a:r>
            <a:endParaRPr kumimoji="0" lang="de-DE" sz="1400" b="1" i="0" u="none" strike="noStrike" kern="1200" cap="none" spc="0" normalizeH="0" baseline="0" noProof="0" dirty="0">
              <a:ln>
                <a:noFill/>
              </a:ln>
              <a:solidFill>
                <a:srgbClr val="D90000"/>
              </a:solidFill>
              <a:effectLst/>
              <a:uLnTx/>
              <a:uFillTx/>
              <a:latin typeface="ABBvoice"/>
              <a:ea typeface="ABBvoice"/>
              <a:cs typeface="ABBvoice"/>
            </a:endParaRPr>
          </a:p>
        </p:txBody>
      </p:sp>
      <p:sp>
        <p:nvSpPr>
          <p:cNvPr id="622" name="Content Placeholder 1">
            <a:extLst>
              <a:ext uri="{FF2B5EF4-FFF2-40B4-BE49-F238E27FC236}">
                <a16:creationId xmlns:a16="http://schemas.microsoft.com/office/drawing/2014/main" id="{16A44F1C-150B-4724-A251-632ABF3B6531}"/>
              </a:ext>
            </a:extLst>
          </p:cNvPr>
          <p:cNvSpPr txBox="1">
            <a:spLocks/>
          </p:cNvSpPr>
          <p:nvPr/>
        </p:nvSpPr>
        <p:spPr bwMode="gray">
          <a:xfrm>
            <a:off x="7551749" y="4814105"/>
            <a:ext cx="2844000" cy="213610"/>
          </a:xfrm>
          <a:prstGeom prst="rect">
            <a:avLst/>
          </a:prstGeom>
        </p:spPr>
        <p:txBody>
          <a:bodyPr vert="horz" lIns="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800" b="1" kern="120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6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1" indent="0" algn="r" defTabSz="914491" rtl="0" eaLnBrk="1" fontAlgn="auto" latinLnBrk="0" hangingPunct="1">
              <a:lnSpc>
                <a:spcPct val="100000"/>
              </a:lnSpc>
              <a:spcBef>
                <a:spcPts val="600"/>
              </a:spcBef>
              <a:spcAft>
                <a:spcPts val="0"/>
              </a:spcAft>
              <a:buClrTx/>
              <a:buSzTx/>
              <a:buFont typeface="ABBvoiceOffice" panose="020D0603020503020204" pitchFamily="34" charset="0"/>
              <a:buNone/>
              <a:tabLst/>
              <a:defRPr/>
            </a:pPr>
            <a:r>
              <a:rPr kumimoji="0" lang="de-DE" sz="1400" b="1" i="0" u="none" strike="noStrike" kern="1200" cap="none" spc="0" normalizeH="0" baseline="0" noProof="0" dirty="0">
                <a:ln>
                  <a:noFill/>
                </a:ln>
                <a:solidFill>
                  <a:srgbClr val="D90000"/>
                </a:solidFill>
                <a:effectLst/>
                <a:uLnTx/>
                <a:uFillTx/>
                <a:latin typeface="ABBvoice"/>
                <a:ea typeface="ABBvoice"/>
                <a:cs typeface="ABBvoice"/>
              </a:rPr>
              <a:t>(New!) </a:t>
            </a:r>
            <a:r>
              <a:rPr kumimoji="0" lang="de-DE" sz="1400" b="0" i="0" u="none" strike="noStrike" kern="1200" cap="none" spc="0" normalizeH="0" baseline="0" noProof="0" dirty="0">
                <a:ln>
                  <a:noFill/>
                </a:ln>
                <a:solidFill>
                  <a:srgbClr val="D90000"/>
                </a:solidFill>
                <a:effectLst/>
                <a:uLnTx/>
                <a:uFillTx/>
                <a:latin typeface="ABBvoice"/>
                <a:ea typeface="ABBvoice"/>
                <a:cs typeface="ABBvoice"/>
              </a:rPr>
              <a:t>Magnos28 + Caldos27*</a:t>
            </a:r>
            <a:endParaRPr kumimoji="0" lang="de-DE" sz="1400" b="1" i="0" u="none" strike="noStrike" kern="1200" cap="none" spc="0" normalizeH="0" baseline="0" noProof="0" dirty="0">
              <a:ln>
                <a:noFill/>
              </a:ln>
              <a:solidFill>
                <a:srgbClr val="D90000"/>
              </a:solidFill>
              <a:effectLst/>
              <a:uLnTx/>
              <a:uFillTx/>
              <a:latin typeface="ABBvoice"/>
              <a:ea typeface="ABBvoice"/>
              <a:cs typeface="ABBvoice"/>
            </a:endParaRPr>
          </a:p>
        </p:txBody>
      </p:sp>
      <p:sp>
        <p:nvSpPr>
          <p:cNvPr id="623" name="Content Placeholder 1">
            <a:extLst>
              <a:ext uri="{FF2B5EF4-FFF2-40B4-BE49-F238E27FC236}">
                <a16:creationId xmlns:a16="http://schemas.microsoft.com/office/drawing/2014/main" id="{16E963B6-6AE5-4909-940A-18DFCB1F2472}"/>
              </a:ext>
            </a:extLst>
          </p:cNvPr>
          <p:cNvSpPr txBox="1">
            <a:spLocks/>
          </p:cNvSpPr>
          <p:nvPr/>
        </p:nvSpPr>
        <p:spPr bwMode="gray">
          <a:xfrm>
            <a:off x="1865567" y="4896033"/>
            <a:ext cx="2844000" cy="213610"/>
          </a:xfrm>
          <a:prstGeom prst="rect">
            <a:avLst/>
          </a:prstGeom>
        </p:spPr>
        <p:txBody>
          <a:bodyPr vert="horz" lIns="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800" b="1" kern="120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6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1" indent="0" algn="l" defTabSz="914491" rtl="0" eaLnBrk="1" fontAlgn="auto" latinLnBrk="0" hangingPunct="1">
              <a:lnSpc>
                <a:spcPct val="100000"/>
              </a:lnSpc>
              <a:spcBef>
                <a:spcPts val="600"/>
              </a:spcBef>
              <a:spcAft>
                <a:spcPts val="0"/>
              </a:spcAft>
              <a:buClrTx/>
              <a:buSzTx/>
              <a:buFont typeface="ABBvoiceOffice" panose="020D0603020503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BBvoice"/>
                <a:ea typeface="ABBvoice"/>
                <a:cs typeface="ABBvoice"/>
              </a:rPr>
              <a:t>Fidas24 (</a:t>
            </a:r>
            <a:r>
              <a:rPr kumimoji="0" lang="de-DE" sz="1400" b="0" i="0" u="none" strike="noStrike" kern="1200" cap="none" spc="0" normalizeH="0" baseline="0" noProof="0" dirty="0" err="1">
                <a:ln>
                  <a:noFill/>
                </a:ln>
                <a:solidFill>
                  <a:srgbClr val="000000"/>
                </a:solidFill>
                <a:effectLst/>
                <a:uLnTx/>
                <a:uFillTx/>
                <a:latin typeface="ABBvoice"/>
                <a:ea typeface="ABBvoice"/>
                <a:cs typeface="ABBvoice"/>
              </a:rPr>
              <a:t>standalone</a:t>
            </a:r>
            <a:r>
              <a:rPr kumimoji="0" lang="de-DE" sz="1400" b="0" i="0" u="none" strike="noStrike" kern="1200" cap="none" spc="0" normalizeH="0" baseline="0" noProof="0" dirty="0">
                <a:ln>
                  <a:noFill/>
                </a:ln>
                <a:solidFill>
                  <a:srgbClr val="000000"/>
                </a:solidFill>
                <a:effectLst/>
                <a:uLnTx/>
                <a:uFillTx/>
                <a:latin typeface="ABBvoice"/>
                <a:ea typeface="ABBvoice"/>
                <a:cs typeface="ABBvoice"/>
              </a:rPr>
              <a:t>)</a:t>
            </a:r>
          </a:p>
        </p:txBody>
      </p:sp>
      <p:sp>
        <p:nvSpPr>
          <p:cNvPr id="624" name="Content Placeholder 1">
            <a:extLst>
              <a:ext uri="{FF2B5EF4-FFF2-40B4-BE49-F238E27FC236}">
                <a16:creationId xmlns:a16="http://schemas.microsoft.com/office/drawing/2014/main" id="{9334C5A1-3DBD-4D7C-BF92-CE70C7685902}"/>
              </a:ext>
            </a:extLst>
          </p:cNvPr>
          <p:cNvSpPr txBox="1">
            <a:spLocks/>
          </p:cNvSpPr>
          <p:nvPr/>
        </p:nvSpPr>
        <p:spPr bwMode="gray">
          <a:xfrm>
            <a:off x="1859847" y="5591374"/>
            <a:ext cx="2844000" cy="213610"/>
          </a:xfrm>
          <a:prstGeom prst="rect">
            <a:avLst/>
          </a:prstGeom>
        </p:spPr>
        <p:txBody>
          <a:bodyPr vert="horz" lIns="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800" b="1" kern="120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6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1" indent="0" algn="l" defTabSz="914491" rtl="0" eaLnBrk="1" fontAlgn="auto" latinLnBrk="0" hangingPunct="1">
              <a:lnSpc>
                <a:spcPct val="100000"/>
              </a:lnSpc>
              <a:spcBef>
                <a:spcPts val="600"/>
              </a:spcBef>
              <a:spcAft>
                <a:spcPts val="0"/>
              </a:spcAft>
              <a:buClrTx/>
              <a:buSzTx/>
              <a:buFont typeface="ABBvoiceOffice" panose="020D0603020503020204" pitchFamily="34" charset="0"/>
              <a:buNone/>
              <a:tabLst/>
              <a:defRPr/>
            </a:pPr>
            <a:r>
              <a:rPr kumimoji="0" lang="de-DE" sz="1400" b="0" i="0" u="none" strike="noStrike" kern="1200" cap="none" spc="0" normalizeH="0" baseline="0" noProof="0" dirty="0">
                <a:ln>
                  <a:noFill/>
                </a:ln>
                <a:solidFill>
                  <a:srgbClr val="000000"/>
                </a:solidFill>
                <a:effectLst/>
                <a:uLnTx/>
                <a:uFillTx/>
                <a:latin typeface="ABBvoice"/>
                <a:ea typeface="ABBvoice"/>
                <a:cs typeface="ABBvoice"/>
              </a:rPr>
              <a:t>ZO23 (standalone)</a:t>
            </a:r>
            <a:endParaRPr kumimoji="0" lang="en-US" sz="1400" b="0" i="0" u="none" strike="noStrike" kern="1200" cap="none" spc="0" normalizeH="0" baseline="0" noProof="0" dirty="0">
              <a:ln>
                <a:noFill/>
              </a:ln>
              <a:solidFill>
                <a:srgbClr val="000000"/>
              </a:solidFill>
              <a:effectLst/>
              <a:uLnTx/>
              <a:uFillTx/>
              <a:latin typeface="ABBvoice"/>
              <a:ea typeface="ABBvoice"/>
              <a:cs typeface="ABBvoice"/>
            </a:endParaRPr>
          </a:p>
        </p:txBody>
      </p:sp>
      <p:grpSp>
        <p:nvGrpSpPr>
          <p:cNvPr id="397" name="Group 396">
            <a:extLst>
              <a:ext uri="{FF2B5EF4-FFF2-40B4-BE49-F238E27FC236}">
                <a16:creationId xmlns:a16="http://schemas.microsoft.com/office/drawing/2014/main" id="{41B2A9FC-931C-42F5-9979-42074D2B1667}"/>
              </a:ext>
            </a:extLst>
          </p:cNvPr>
          <p:cNvGrpSpPr/>
          <p:nvPr/>
        </p:nvGrpSpPr>
        <p:grpSpPr bwMode="gray">
          <a:xfrm>
            <a:off x="11420530" y="4069317"/>
            <a:ext cx="420420" cy="420420"/>
            <a:chOff x="-6067979" y="4146647"/>
            <a:chExt cx="527454" cy="527454"/>
          </a:xfrm>
        </p:grpSpPr>
        <p:sp>
          <p:nvSpPr>
            <p:cNvPr id="354" name="Oval 353">
              <a:extLst>
                <a:ext uri="{FF2B5EF4-FFF2-40B4-BE49-F238E27FC236}">
                  <a16:creationId xmlns:a16="http://schemas.microsoft.com/office/drawing/2014/main" id="{B29887C6-A0C8-4A13-A23C-3DD8B22D8987}"/>
                </a:ext>
              </a:extLst>
            </p:cNvPr>
            <p:cNvSpPr/>
            <p:nvPr/>
          </p:nvSpPr>
          <p:spPr bwMode="gray">
            <a:xfrm rot="16200000">
              <a:off x="-6067979" y="4146647"/>
              <a:ext cx="527454" cy="5274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356" name="Group 355">
              <a:extLst>
                <a:ext uri="{FF2B5EF4-FFF2-40B4-BE49-F238E27FC236}">
                  <a16:creationId xmlns:a16="http://schemas.microsoft.com/office/drawing/2014/main" id="{C2C0F554-28A2-4B5B-B222-2C90BB2F06B0}"/>
                </a:ext>
              </a:extLst>
            </p:cNvPr>
            <p:cNvGrpSpPr/>
            <p:nvPr/>
          </p:nvGrpSpPr>
          <p:grpSpPr bwMode="gray">
            <a:xfrm>
              <a:off x="-6015932" y="4345187"/>
              <a:ext cx="423358" cy="130374"/>
              <a:chOff x="5561561" y="3580012"/>
              <a:chExt cx="1068879" cy="329166"/>
            </a:xfrm>
          </p:grpSpPr>
          <p:sp>
            <p:nvSpPr>
              <p:cNvPr id="357" name="Oval 356">
                <a:extLst>
                  <a:ext uri="{FF2B5EF4-FFF2-40B4-BE49-F238E27FC236}">
                    <a16:creationId xmlns:a16="http://schemas.microsoft.com/office/drawing/2014/main" id="{60E78E02-196C-439F-B401-D36390ECFF12}"/>
                  </a:ext>
                </a:extLst>
              </p:cNvPr>
              <p:cNvSpPr/>
              <p:nvPr/>
            </p:nvSpPr>
            <p:spPr bwMode="gray">
              <a:xfrm>
                <a:off x="5561561" y="3580012"/>
                <a:ext cx="329166" cy="32916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358" name="Oval 357">
                <a:extLst>
                  <a:ext uri="{FF2B5EF4-FFF2-40B4-BE49-F238E27FC236}">
                    <a16:creationId xmlns:a16="http://schemas.microsoft.com/office/drawing/2014/main" id="{495C5335-9982-45BC-9C64-3BE61F0612A2}"/>
                  </a:ext>
                </a:extLst>
              </p:cNvPr>
              <p:cNvSpPr/>
              <p:nvPr/>
            </p:nvSpPr>
            <p:spPr bwMode="gray">
              <a:xfrm>
                <a:off x="6301274" y="3580012"/>
                <a:ext cx="329166" cy="32916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359" name="Straight Connector 358">
                <a:extLst>
                  <a:ext uri="{FF2B5EF4-FFF2-40B4-BE49-F238E27FC236}">
                    <a16:creationId xmlns:a16="http://schemas.microsoft.com/office/drawing/2014/main" id="{95DE6511-22DE-4E1D-B693-522C992E1E63}"/>
                  </a:ext>
                </a:extLst>
              </p:cNvPr>
              <p:cNvCxnSpPr>
                <a:stCxn id="357" idx="6"/>
                <a:endCxn id="358" idx="2"/>
              </p:cNvCxnSpPr>
              <p:nvPr/>
            </p:nvCxnSpPr>
            <p:spPr bwMode="gray">
              <a:xfrm>
                <a:off x="5890727" y="3744595"/>
                <a:ext cx="41054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B9E70694-5859-4744-A4C7-8D9BB45ACB9C}"/>
                  </a:ext>
                </a:extLst>
              </p:cNvPr>
              <p:cNvCxnSpPr/>
              <p:nvPr/>
            </p:nvCxnSpPr>
            <p:spPr bwMode="gray">
              <a:xfrm>
                <a:off x="6062617" y="3669857"/>
                <a:ext cx="66766" cy="1494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69" name="Group 68">
            <a:extLst>
              <a:ext uri="{FF2B5EF4-FFF2-40B4-BE49-F238E27FC236}">
                <a16:creationId xmlns:a16="http://schemas.microsoft.com/office/drawing/2014/main" id="{4E386F38-07E9-4421-977A-EB1740EEA346}"/>
              </a:ext>
            </a:extLst>
          </p:cNvPr>
          <p:cNvGrpSpPr/>
          <p:nvPr/>
        </p:nvGrpSpPr>
        <p:grpSpPr bwMode="gray">
          <a:xfrm>
            <a:off x="11419138" y="4765493"/>
            <a:ext cx="421812" cy="421812"/>
            <a:chOff x="5566528" y="4804223"/>
            <a:chExt cx="421812" cy="421812"/>
          </a:xfrm>
        </p:grpSpPr>
        <p:sp>
          <p:nvSpPr>
            <p:cNvPr id="554" name="Rechteck 91">
              <a:extLst>
                <a:ext uri="{FF2B5EF4-FFF2-40B4-BE49-F238E27FC236}">
                  <a16:creationId xmlns:a16="http://schemas.microsoft.com/office/drawing/2014/main" id="{F98B006E-55D4-4B26-A3A8-70D055A09D78}"/>
                </a:ext>
              </a:extLst>
            </p:cNvPr>
            <p:cNvSpPr/>
            <p:nvPr/>
          </p:nvSpPr>
          <p:spPr bwMode="gray">
            <a:xfrm>
              <a:off x="5566528" y="4804223"/>
              <a:ext cx="421812" cy="421812"/>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90000"/>
                </a:lnSpc>
                <a:spcBef>
                  <a:spcPts val="1100"/>
                </a:spcBef>
                <a:spcAft>
                  <a:spcPts val="0"/>
                </a:spcAft>
                <a:buClr>
                  <a:srgbClr val="002897"/>
                </a:buClr>
                <a:buSzPct val="70000"/>
                <a:buFontTx/>
                <a:buNone/>
                <a:tabLst/>
                <a:defRPr/>
              </a:pPr>
              <a:endParaRPr kumimoji="0" lang="en-US" sz="1000" b="1"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555" name="Rectangle 77">
              <a:extLst>
                <a:ext uri="{FF2B5EF4-FFF2-40B4-BE49-F238E27FC236}">
                  <a16:creationId xmlns:a16="http://schemas.microsoft.com/office/drawing/2014/main" id="{9E30969E-E008-4F83-9FC2-AC1E56E3F932}"/>
                </a:ext>
              </a:extLst>
            </p:cNvPr>
            <p:cNvSpPr/>
            <p:nvPr/>
          </p:nvSpPr>
          <p:spPr bwMode="gray">
            <a:xfrm>
              <a:off x="5588587" y="4957662"/>
              <a:ext cx="377694" cy="193053"/>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nvGrpSpPr>
          <p:cNvPr id="62" name="Group 61">
            <a:extLst>
              <a:ext uri="{FF2B5EF4-FFF2-40B4-BE49-F238E27FC236}">
                <a16:creationId xmlns:a16="http://schemas.microsoft.com/office/drawing/2014/main" id="{75C8AD1E-4B2E-41AF-AB91-3CC1FA5D2F58}"/>
              </a:ext>
            </a:extLst>
          </p:cNvPr>
          <p:cNvGrpSpPr/>
          <p:nvPr/>
        </p:nvGrpSpPr>
        <p:grpSpPr bwMode="gray">
          <a:xfrm>
            <a:off x="645301" y="4792238"/>
            <a:ext cx="421200" cy="421200"/>
            <a:chOff x="7789227" y="140448"/>
            <a:chExt cx="421200" cy="421200"/>
          </a:xfrm>
          <a:solidFill>
            <a:schemeClr val="tx2"/>
          </a:solidFill>
        </p:grpSpPr>
        <p:sp>
          <p:nvSpPr>
            <p:cNvPr id="575" name="Text Box 240">
              <a:extLst>
                <a:ext uri="{FF2B5EF4-FFF2-40B4-BE49-F238E27FC236}">
                  <a16:creationId xmlns:a16="http://schemas.microsoft.com/office/drawing/2014/main" id="{46D4C54B-7C80-4D1B-BD58-91D327048FB1}"/>
                </a:ext>
              </a:extLst>
            </p:cNvPr>
            <p:cNvSpPr txBox="1">
              <a:spLocks noChangeArrowheads="1"/>
            </p:cNvSpPr>
            <p:nvPr/>
          </p:nvSpPr>
          <p:spPr bwMode="gray">
            <a:xfrm>
              <a:off x="7789227" y="140448"/>
              <a:ext cx="421200" cy="421200"/>
            </a:xfrm>
            <a:prstGeom prst="ellipse">
              <a:avLst/>
            </a:prstGeom>
            <a:grpFill/>
            <a:ln w="12700">
              <a:no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576" name="Group 575">
              <a:extLst>
                <a:ext uri="{FF2B5EF4-FFF2-40B4-BE49-F238E27FC236}">
                  <a16:creationId xmlns:a16="http://schemas.microsoft.com/office/drawing/2014/main" id="{3ACC327B-53AF-454D-B0AA-C46372837351}"/>
                </a:ext>
              </a:extLst>
            </p:cNvPr>
            <p:cNvGrpSpPr/>
            <p:nvPr/>
          </p:nvGrpSpPr>
          <p:grpSpPr bwMode="gray">
            <a:xfrm>
              <a:off x="7883845" y="245133"/>
              <a:ext cx="231964" cy="211831"/>
              <a:chOff x="-967926" y="3169597"/>
              <a:chExt cx="575910" cy="644168"/>
            </a:xfrm>
            <a:grpFill/>
          </p:grpSpPr>
          <p:sp>
            <p:nvSpPr>
              <p:cNvPr id="577" name="Freeform 404">
                <a:extLst>
                  <a:ext uri="{FF2B5EF4-FFF2-40B4-BE49-F238E27FC236}">
                    <a16:creationId xmlns:a16="http://schemas.microsoft.com/office/drawing/2014/main" id="{9041AFAC-6954-4F74-9215-D39078104123}"/>
                  </a:ext>
                </a:extLst>
              </p:cNvPr>
              <p:cNvSpPr/>
              <p:nvPr/>
            </p:nvSpPr>
            <p:spPr bwMode="gray">
              <a:xfrm>
                <a:off x="-967926" y="3169597"/>
                <a:ext cx="575910" cy="644168"/>
              </a:xfrm>
              <a:custGeom>
                <a:avLst/>
                <a:gdLst>
                  <a:gd name="connsiteX0" fmla="*/ 394445 w 915582"/>
                  <a:gd name="connsiteY0" fmla="*/ 1530534 h 1530534"/>
                  <a:gd name="connsiteX1" fmla="*/ 2559 w 915582"/>
                  <a:gd name="connsiteY1" fmla="*/ 937681 h 1530534"/>
                  <a:gd name="connsiteX2" fmla="*/ 223623 w 915582"/>
                  <a:gd name="connsiteY2" fmla="*/ 596037 h 1530534"/>
                  <a:gd name="connsiteX3" fmla="*/ 193478 w 915582"/>
                  <a:gd name="connsiteY3" fmla="*/ 3184 h 1530534"/>
                  <a:gd name="connsiteX4" fmla="*/ 906911 w 915582"/>
                  <a:gd name="connsiteY4" fmla="*/ 877391 h 1530534"/>
                  <a:gd name="connsiteX5" fmla="*/ 525073 w 915582"/>
                  <a:gd name="connsiteY5" fmla="*/ 1530534 h 1530534"/>
                  <a:gd name="connsiteX0" fmla="*/ 63771 w 1112883"/>
                  <a:gd name="connsiteY0" fmla="*/ 1460487 h 1530534"/>
                  <a:gd name="connsiteX1" fmla="*/ 199860 w 1112883"/>
                  <a:gd name="connsiteY1" fmla="*/ 937681 h 1530534"/>
                  <a:gd name="connsiteX2" fmla="*/ 420924 w 1112883"/>
                  <a:gd name="connsiteY2" fmla="*/ 596037 h 1530534"/>
                  <a:gd name="connsiteX3" fmla="*/ 390779 w 1112883"/>
                  <a:gd name="connsiteY3" fmla="*/ 3184 h 1530534"/>
                  <a:gd name="connsiteX4" fmla="*/ 1104212 w 1112883"/>
                  <a:gd name="connsiteY4" fmla="*/ 877391 h 1530534"/>
                  <a:gd name="connsiteX5" fmla="*/ 722374 w 1112883"/>
                  <a:gd name="connsiteY5" fmla="*/ 1530534 h 1530534"/>
                  <a:gd name="connsiteX0" fmla="*/ 63772 w 1109482"/>
                  <a:gd name="connsiteY0" fmla="*/ 1460487 h 1514369"/>
                  <a:gd name="connsiteX1" fmla="*/ 199861 w 1109482"/>
                  <a:gd name="connsiteY1" fmla="*/ 937681 h 1514369"/>
                  <a:gd name="connsiteX2" fmla="*/ 420925 w 1109482"/>
                  <a:gd name="connsiteY2" fmla="*/ 596037 h 1514369"/>
                  <a:gd name="connsiteX3" fmla="*/ 390780 w 1109482"/>
                  <a:gd name="connsiteY3" fmla="*/ 3184 h 1514369"/>
                  <a:gd name="connsiteX4" fmla="*/ 1104213 w 1109482"/>
                  <a:gd name="connsiteY4" fmla="*/ 877391 h 1514369"/>
                  <a:gd name="connsiteX5" fmla="*/ 548092 w 1109482"/>
                  <a:gd name="connsiteY5" fmla="*/ 1514369 h 1514369"/>
                  <a:gd name="connsiteX0" fmla="*/ 63772 w 874709"/>
                  <a:gd name="connsiteY0" fmla="*/ 1460715 h 1514597"/>
                  <a:gd name="connsiteX1" fmla="*/ 199861 w 874709"/>
                  <a:gd name="connsiteY1" fmla="*/ 937909 h 1514597"/>
                  <a:gd name="connsiteX2" fmla="*/ 420925 w 874709"/>
                  <a:gd name="connsiteY2" fmla="*/ 596265 h 1514597"/>
                  <a:gd name="connsiteX3" fmla="*/ 390780 w 874709"/>
                  <a:gd name="connsiteY3" fmla="*/ 3412 h 1514597"/>
                  <a:gd name="connsiteX4" fmla="*/ 863293 w 874709"/>
                  <a:gd name="connsiteY4" fmla="*/ 888395 h 1514597"/>
                  <a:gd name="connsiteX5" fmla="*/ 548092 w 874709"/>
                  <a:gd name="connsiteY5" fmla="*/ 1514597 h 1514597"/>
                  <a:gd name="connsiteX0" fmla="*/ 191224 w 1002160"/>
                  <a:gd name="connsiteY0" fmla="*/ 1460745 h 1514627"/>
                  <a:gd name="connsiteX1" fmla="*/ 24880 w 1002160"/>
                  <a:gd name="connsiteY1" fmla="*/ 964881 h 1514627"/>
                  <a:gd name="connsiteX2" fmla="*/ 548377 w 1002160"/>
                  <a:gd name="connsiteY2" fmla="*/ 596295 h 1514627"/>
                  <a:gd name="connsiteX3" fmla="*/ 518232 w 1002160"/>
                  <a:gd name="connsiteY3" fmla="*/ 3442 h 1514627"/>
                  <a:gd name="connsiteX4" fmla="*/ 990745 w 1002160"/>
                  <a:gd name="connsiteY4" fmla="*/ 888425 h 1514627"/>
                  <a:gd name="connsiteX5" fmla="*/ 675544 w 1002160"/>
                  <a:gd name="connsiteY5" fmla="*/ 1514627 h 1514627"/>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72063 h 1525945"/>
                  <a:gd name="connsiteX1" fmla="*/ 6383 w 983663"/>
                  <a:gd name="connsiteY1" fmla="*/ 976199 h 1525945"/>
                  <a:gd name="connsiteX2" fmla="*/ 268455 w 983663"/>
                  <a:gd name="connsiteY2" fmla="*/ 532179 h 1525945"/>
                  <a:gd name="connsiteX3" fmla="*/ 499735 w 983663"/>
                  <a:gd name="connsiteY3" fmla="*/ 14760 h 1525945"/>
                  <a:gd name="connsiteX4" fmla="*/ 972248 w 983663"/>
                  <a:gd name="connsiteY4" fmla="*/ 899743 h 1525945"/>
                  <a:gd name="connsiteX5" fmla="*/ 657047 w 983663"/>
                  <a:gd name="connsiteY5" fmla="*/ 1525945 h 1525945"/>
                  <a:gd name="connsiteX0" fmla="*/ 172727 w 983663"/>
                  <a:gd name="connsiteY0" fmla="*/ 1456181 h 1510063"/>
                  <a:gd name="connsiteX1" fmla="*/ 6383 w 983663"/>
                  <a:gd name="connsiteY1" fmla="*/ 960317 h 1510063"/>
                  <a:gd name="connsiteX2" fmla="*/ 268455 w 983663"/>
                  <a:gd name="connsiteY2" fmla="*/ 516297 h 1510063"/>
                  <a:gd name="connsiteX3" fmla="*/ 443349 w 983663"/>
                  <a:gd name="connsiteY3" fmla="*/ 15043 h 1510063"/>
                  <a:gd name="connsiteX4" fmla="*/ 972248 w 983663"/>
                  <a:gd name="connsiteY4" fmla="*/ 883861 h 1510063"/>
                  <a:gd name="connsiteX5" fmla="*/ 657047 w 983663"/>
                  <a:gd name="connsiteY5" fmla="*/ 1510063 h 1510063"/>
                  <a:gd name="connsiteX0" fmla="*/ 171348 w 982284"/>
                  <a:gd name="connsiteY0" fmla="*/ 1447162 h 1501044"/>
                  <a:gd name="connsiteX1" fmla="*/ 5004 w 982284"/>
                  <a:gd name="connsiteY1" fmla="*/ 951298 h 1501044"/>
                  <a:gd name="connsiteX2" fmla="*/ 246573 w 982284"/>
                  <a:gd name="connsiteY2" fmla="*/ 512666 h 1501044"/>
                  <a:gd name="connsiteX3" fmla="*/ 441970 w 982284"/>
                  <a:gd name="connsiteY3" fmla="*/ 6024 h 1501044"/>
                  <a:gd name="connsiteX4" fmla="*/ 970869 w 982284"/>
                  <a:gd name="connsiteY4" fmla="*/ 874842 h 1501044"/>
                  <a:gd name="connsiteX5" fmla="*/ 655668 w 982284"/>
                  <a:gd name="connsiteY5" fmla="*/ 1501044 h 1501044"/>
                  <a:gd name="connsiteX0" fmla="*/ 171348 w 982284"/>
                  <a:gd name="connsiteY0" fmla="*/ 1457131 h 1511013"/>
                  <a:gd name="connsiteX1" fmla="*/ 5004 w 982284"/>
                  <a:gd name="connsiteY1" fmla="*/ 961267 h 1511013"/>
                  <a:gd name="connsiteX2" fmla="*/ 246573 w 982284"/>
                  <a:gd name="connsiteY2" fmla="*/ 522635 h 1511013"/>
                  <a:gd name="connsiteX3" fmla="*/ 441970 w 982284"/>
                  <a:gd name="connsiteY3" fmla="*/ 15993 h 1511013"/>
                  <a:gd name="connsiteX4" fmla="*/ 970869 w 982284"/>
                  <a:gd name="connsiteY4" fmla="*/ 884811 h 1511013"/>
                  <a:gd name="connsiteX5" fmla="*/ 655668 w 982284"/>
                  <a:gd name="connsiteY5" fmla="*/ 1511013 h 1511013"/>
                  <a:gd name="connsiteX0" fmla="*/ 184998 w 995934"/>
                  <a:gd name="connsiteY0" fmla="*/ 1441330 h 1495212"/>
                  <a:gd name="connsiteX1" fmla="*/ 18654 w 995934"/>
                  <a:gd name="connsiteY1" fmla="*/ 945466 h 1495212"/>
                  <a:gd name="connsiteX2" fmla="*/ 455620 w 995934"/>
                  <a:gd name="connsiteY2" fmla="*/ 192 h 1495212"/>
                  <a:gd name="connsiteX3" fmla="*/ 984519 w 995934"/>
                  <a:gd name="connsiteY3" fmla="*/ 869010 h 1495212"/>
                  <a:gd name="connsiteX4" fmla="*/ 669318 w 995934"/>
                  <a:gd name="connsiteY4" fmla="*/ 1495212 h 1495212"/>
                  <a:gd name="connsiteX0" fmla="*/ 184998 w 995934"/>
                  <a:gd name="connsiteY0" fmla="*/ 1462589 h 1516471"/>
                  <a:gd name="connsiteX1" fmla="*/ 18654 w 995934"/>
                  <a:gd name="connsiteY1" fmla="*/ 966725 h 1516471"/>
                  <a:gd name="connsiteX2" fmla="*/ 455620 w 995934"/>
                  <a:gd name="connsiteY2" fmla="*/ 21451 h 1516471"/>
                  <a:gd name="connsiteX3" fmla="*/ 984519 w 995934"/>
                  <a:gd name="connsiteY3" fmla="*/ 890269 h 1516471"/>
                  <a:gd name="connsiteX4" fmla="*/ 669318 w 995934"/>
                  <a:gd name="connsiteY4" fmla="*/ 1516471 h 1516471"/>
                  <a:gd name="connsiteX0" fmla="*/ 178447 w 989383"/>
                  <a:gd name="connsiteY0" fmla="*/ 1462589 h 1516471"/>
                  <a:gd name="connsiteX1" fmla="*/ 12103 w 989383"/>
                  <a:gd name="connsiteY1" fmla="*/ 966725 h 1516471"/>
                  <a:gd name="connsiteX2" fmla="*/ 449069 w 989383"/>
                  <a:gd name="connsiteY2" fmla="*/ 21451 h 1516471"/>
                  <a:gd name="connsiteX3" fmla="*/ 977968 w 989383"/>
                  <a:gd name="connsiteY3" fmla="*/ 890269 h 1516471"/>
                  <a:gd name="connsiteX4" fmla="*/ 662767 w 989383"/>
                  <a:gd name="connsiteY4" fmla="*/ 1516471 h 1516471"/>
                  <a:gd name="connsiteX0" fmla="*/ 172077 w 983013"/>
                  <a:gd name="connsiteY0" fmla="*/ 1462589 h 1516471"/>
                  <a:gd name="connsiteX1" fmla="*/ 5733 w 983013"/>
                  <a:gd name="connsiteY1" fmla="*/ 966725 h 1516471"/>
                  <a:gd name="connsiteX2" fmla="*/ 442699 w 983013"/>
                  <a:gd name="connsiteY2" fmla="*/ 21451 h 1516471"/>
                  <a:gd name="connsiteX3" fmla="*/ 971598 w 983013"/>
                  <a:gd name="connsiteY3" fmla="*/ 890269 h 1516471"/>
                  <a:gd name="connsiteX4" fmla="*/ 656397 w 983013"/>
                  <a:gd name="connsiteY4" fmla="*/ 1516471 h 1516471"/>
                  <a:gd name="connsiteX0" fmla="*/ 167713 w 978649"/>
                  <a:gd name="connsiteY0" fmla="*/ 1462589 h 1516471"/>
                  <a:gd name="connsiteX1" fmla="*/ 1369 w 978649"/>
                  <a:gd name="connsiteY1" fmla="*/ 966725 h 1516471"/>
                  <a:gd name="connsiteX2" fmla="*/ 438335 w 978649"/>
                  <a:gd name="connsiteY2" fmla="*/ 21451 h 1516471"/>
                  <a:gd name="connsiteX3" fmla="*/ 967234 w 978649"/>
                  <a:gd name="connsiteY3" fmla="*/ 890269 h 1516471"/>
                  <a:gd name="connsiteX4" fmla="*/ 652033 w 978649"/>
                  <a:gd name="connsiteY4" fmla="*/ 1516471 h 1516471"/>
                  <a:gd name="connsiteX0" fmla="*/ 194053 w 984485"/>
                  <a:gd name="connsiteY0" fmla="*/ 1489530 h 1516471"/>
                  <a:gd name="connsiteX1" fmla="*/ 7205 w 984485"/>
                  <a:gd name="connsiteY1" fmla="*/ 966725 h 1516471"/>
                  <a:gd name="connsiteX2" fmla="*/ 444171 w 984485"/>
                  <a:gd name="connsiteY2" fmla="*/ 21451 h 1516471"/>
                  <a:gd name="connsiteX3" fmla="*/ 973070 w 984485"/>
                  <a:gd name="connsiteY3" fmla="*/ 890269 h 1516471"/>
                  <a:gd name="connsiteX4" fmla="*/ 657869 w 984485"/>
                  <a:gd name="connsiteY4" fmla="*/ 1516471 h 1516471"/>
                  <a:gd name="connsiteX0" fmla="*/ 194054 w 983258"/>
                  <a:gd name="connsiteY0" fmla="*/ 1489530 h 1489530"/>
                  <a:gd name="connsiteX1" fmla="*/ 7206 w 983258"/>
                  <a:gd name="connsiteY1" fmla="*/ 966725 h 1489530"/>
                  <a:gd name="connsiteX2" fmla="*/ 444172 w 983258"/>
                  <a:gd name="connsiteY2" fmla="*/ 21451 h 1489530"/>
                  <a:gd name="connsiteX3" fmla="*/ 973071 w 983258"/>
                  <a:gd name="connsiteY3" fmla="*/ 890269 h 1489530"/>
                  <a:gd name="connsiteX4" fmla="*/ 632240 w 983258"/>
                  <a:gd name="connsiteY4" fmla="*/ 1489530 h 1489530"/>
                  <a:gd name="connsiteX0" fmla="*/ 194054 w 958856"/>
                  <a:gd name="connsiteY0" fmla="*/ 1468401 h 1468401"/>
                  <a:gd name="connsiteX1" fmla="*/ 7206 w 958856"/>
                  <a:gd name="connsiteY1" fmla="*/ 945596 h 1468401"/>
                  <a:gd name="connsiteX2" fmla="*/ 444172 w 958856"/>
                  <a:gd name="connsiteY2" fmla="*/ 322 h 1468401"/>
                  <a:gd name="connsiteX3" fmla="*/ 947441 w 958856"/>
                  <a:gd name="connsiteY3" fmla="*/ 847587 h 1468401"/>
                  <a:gd name="connsiteX4" fmla="*/ 632240 w 958856"/>
                  <a:gd name="connsiteY4" fmla="*/ 1468401 h 1468401"/>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466 h 1473466"/>
                  <a:gd name="connsiteX1" fmla="*/ 6054 w 957704"/>
                  <a:gd name="connsiteY1" fmla="*/ 950661 h 1473466"/>
                  <a:gd name="connsiteX2" fmla="*/ 417391 w 957704"/>
                  <a:gd name="connsiteY2" fmla="*/ -1 h 1473466"/>
                  <a:gd name="connsiteX3" fmla="*/ 946289 w 957704"/>
                  <a:gd name="connsiteY3" fmla="*/ 852652 h 1473466"/>
                  <a:gd name="connsiteX4" fmla="*/ 631088 w 957704"/>
                  <a:gd name="connsiteY4" fmla="*/ 1473466 h 1473466"/>
                  <a:gd name="connsiteX0" fmla="*/ 192902 w 943205"/>
                  <a:gd name="connsiteY0" fmla="*/ 1473467 h 1473467"/>
                  <a:gd name="connsiteX1" fmla="*/ 6054 w 943205"/>
                  <a:gd name="connsiteY1" fmla="*/ 950662 h 1473467"/>
                  <a:gd name="connsiteX2" fmla="*/ 417391 w 943205"/>
                  <a:gd name="connsiteY2" fmla="*/ 0 h 1473467"/>
                  <a:gd name="connsiteX3" fmla="*/ 930912 w 943205"/>
                  <a:gd name="connsiteY3" fmla="*/ 852653 h 1473467"/>
                  <a:gd name="connsiteX4" fmla="*/ 631088 w 943205"/>
                  <a:gd name="connsiteY4" fmla="*/ 1473467 h 1473467"/>
                  <a:gd name="connsiteX0" fmla="*/ 190405 w 940708"/>
                  <a:gd name="connsiteY0" fmla="*/ 1495020 h 1495020"/>
                  <a:gd name="connsiteX1" fmla="*/ 3557 w 940708"/>
                  <a:gd name="connsiteY1" fmla="*/ 972215 h 1495020"/>
                  <a:gd name="connsiteX2" fmla="*/ 353382 w 940708"/>
                  <a:gd name="connsiteY2" fmla="*/ 0 h 1495020"/>
                  <a:gd name="connsiteX3" fmla="*/ 928415 w 940708"/>
                  <a:gd name="connsiteY3" fmla="*/ 874206 h 1495020"/>
                  <a:gd name="connsiteX4" fmla="*/ 628591 w 940708"/>
                  <a:gd name="connsiteY4" fmla="*/ 1495020 h 1495020"/>
                  <a:gd name="connsiteX0" fmla="*/ 281357 w 1031660"/>
                  <a:gd name="connsiteY0" fmla="*/ 1495020 h 1495020"/>
                  <a:gd name="connsiteX1" fmla="*/ 2242 w 1031660"/>
                  <a:gd name="connsiteY1" fmla="*/ 934498 h 1495020"/>
                  <a:gd name="connsiteX2" fmla="*/ 444334 w 1031660"/>
                  <a:gd name="connsiteY2" fmla="*/ 0 h 1495020"/>
                  <a:gd name="connsiteX3" fmla="*/ 1019367 w 1031660"/>
                  <a:gd name="connsiteY3" fmla="*/ 874206 h 1495020"/>
                  <a:gd name="connsiteX4" fmla="*/ 719543 w 1031660"/>
                  <a:gd name="connsiteY4" fmla="*/ 1495020 h 1495020"/>
                  <a:gd name="connsiteX0" fmla="*/ 280647 w 1030950"/>
                  <a:gd name="connsiteY0" fmla="*/ 1495020 h 1495020"/>
                  <a:gd name="connsiteX1" fmla="*/ 1532 w 1030950"/>
                  <a:gd name="connsiteY1" fmla="*/ 934498 h 1495020"/>
                  <a:gd name="connsiteX2" fmla="*/ 443624 w 1030950"/>
                  <a:gd name="connsiteY2" fmla="*/ 0 h 1495020"/>
                  <a:gd name="connsiteX3" fmla="*/ 1018657 w 1030950"/>
                  <a:gd name="connsiteY3" fmla="*/ 874206 h 1495020"/>
                  <a:gd name="connsiteX4" fmla="*/ 718833 w 1030950"/>
                  <a:gd name="connsiteY4" fmla="*/ 1495020 h 1495020"/>
                  <a:gd name="connsiteX0" fmla="*/ 298745 w 1031106"/>
                  <a:gd name="connsiteY0" fmla="*/ 1503102 h 1503102"/>
                  <a:gd name="connsiteX1" fmla="*/ 1688 w 1031106"/>
                  <a:gd name="connsiteY1" fmla="*/ 934498 h 1503102"/>
                  <a:gd name="connsiteX2" fmla="*/ 443780 w 1031106"/>
                  <a:gd name="connsiteY2" fmla="*/ 0 h 1503102"/>
                  <a:gd name="connsiteX3" fmla="*/ 1018813 w 1031106"/>
                  <a:gd name="connsiteY3" fmla="*/ 874206 h 1503102"/>
                  <a:gd name="connsiteX4" fmla="*/ 718989 w 1031106"/>
                  <a:gd name="connsiteY4" fmla="*/ 1495020 h 1503102"/>
                  <a:gd name="connsiteX0" fmla="*/ 299147 w 1031508"/>
                  <a:gd name="connsiteY0" fmla="*/ 1503102 h 1503102"/>
                  <a:gd name="connsiteX1" fmla="*/ 2090 w 1031508"/>
                  <a:gd name="connsiteY1" fmla="*/ 934498 h 1503102"/>
                  <a:gd name="connsiteX2" fmla="*/ 444182 w 1031508"/>
                  <a:gd name="connsiteY2" fmla="*/ 0 h 1503102"/>
                  <a:gd name="connsiteX3" fmla="*/ 1019215 w 1031508"/>
                  <a:gd name="connsiteY3" fmla="*/ 874206 h 1503102"/>
                  <a:gd name="connsiteX4" fmla="*/ 719391 w 1031508"/>
                  <a:gd name="connsiteY4" fmla="*/ 1495020 h 1503102"/>
                  <a:gd name="connsiteX0" fmla="*/ 301686 w 1034047"/>
                  <a:gd name="connsiteY0" fmla="*/ 1503102 h 1503102"/>
                  <a:gd name="connsiteX1" fmla="*/ 2065 w 1034047"/>
                  <a:gd name="connsiteY1" fmla="*/ 972215 h 1503102"/>
                  <a:gd name="connsiteX2" fmla="*/ 446721 w 1034047"/>
                  <a:gd name="connsiteY2" fmla="*/ 0 h 1503102"/>
                  <a:gd name="connsiteX3" fmla="*/ 1021754 w 1034047"/>
                  <a:gd name="connsiteY3" fmla="*/ 874206 h 1503102"/>
                  <a:gd name="connsiteX4" fmla="*/ 721930 w 1034047"/>
                  <a:gd name="connsiteY4" fmla="*/ 1495020 h 1503102"/>
                  <a:gd name="connsiteX0" fmla="*/ 316925 w 1049286"/>
                  <a:gd name="connsiteY0" fmla="*/ 1503102 h 1503102"/>
                  <a:gd name="connsiteX1" fmla="*/ 1926 w 1049286"/>
                  <a:gd name="connsiteY1" fmla="*/ 988380 h 1503102"/>
                  <a:gd name="connsiteX2" fmla="*/ 461960 w 1049286"/>
                  <a:gd name="connsiteY2" fmla="*/ 0 h 1503102"/>
                  <a:gd name="connsiteX3" fmla="*/ 1036993 w 1049286"/>
                  <a:gd name="connsiteY3" fmla="*/ 874206 h 1503102"/>
                  <a:gd name="connsiteX4" fmla="*/ 737169 w 1049286"/>
                  <a:gd name="connsiteY4" fmla="*/ 1495020 h 1503102"/>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936" h="1434920">
                    <a:moveTo>
                      <a:pt x="316575" y="1434920"/>
                    </a:moveTo>
                    <a:cubicBezTo>
                      <a:pt x="186127" y="1313356"/>
                      <a:pt x="-20068" y="1159351"/>
                      <a:pt x="1576" y="920198"/>
                    </a:cubicBezTo>
                    <a:cubicBezTo>
                      <a:pt x="23220" y="681045"/>
                      <a:pt x="453766" y="420451"/>
                      <a:pt x="446440" y="0"/>
                    </a:cubicBezTo>
                    <a:cubicBezTo>
                      <a:pt x="674910" y="255427"/>
                      <a:pt x="981377" y="551466"/>
                      <a:pt x="1036643" y="806024"/>
                    </a:cubicBezTo>
                    <a:cubicBezTo>
                      <a:pt x="1091909" y="1060582"/>
                      <a:pt x="955371" y="1227545"/>
                      <a:pt x="736819" y="1426838"/>
                    </a:cubicBezTo>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578" name="Freeform 405">
                <a:extLst>
                  <a:ext uri="{FF2B5EF4-FFF2-40B4-BE49-F238E27FC236}">
                    <a16:creationId xmlns:a16="http://schemas.microsoft.com/office/drawing/2014/main" id="{49374687-3EE3-4E88-B610-61CD3BF254C6}"/>
                  </a:ext>
                </a:extLst>
              </p:cNvPr>
              <p:cNvSpPr/>
              <p:nvPr/>
            </p:nvSpPr>
            <p:spPr bwMode="gray">
              <a:xfrm>
                <a:off x="-886112" y="3346900"/>
                <a:ext cx="408180" cy="466865"/>
              </a:xfrm>
              <a:custGeom>
                <a:avLst/>
                <a:gdLst>
                  <a:gd name="connsiteX0" fmla="*/ 312344 w 730519"/>
                  <a:gd name="connsiteY0" fmla="*/ 1257698 h 1257698"/>
                  <a:gd name="connsiteX1" fmla="*/ 845 w 730519"/>
                  <a:gd name="connsiteY1" fmla="*/ 745232 h 1257698"/>
                  <a:gd name="connsiteX2" fmla="*/ 221909 w 730519"/>
                  <a:gd name="connsiteY2" fmla="*/ 443782 h 1257698"/>
                  <a:gd name="connsiteX3" fmla="*/ 272151 w 730519"/>
                  <a:gd name="connsiteY3" fmla="*/ 1654 h 1257698"/>
                  <a:gd name="connsiteX4" fmla="*/ 724326 w 730519"/>
                  <a:gd name="connsiteY4" fmla="*/ 614604 h 1257698"/>
                  <a:gd name="connsiteX5" fmla="*/ 493214 w 730519"/>
                  <a:gd name="connsiteY5" fmla="*/ 1257698 h 1257698"/>
                  <a:gd name="connsiteX0" fmla="*/ 236291 w 654466"/>
                  <a:gd name="connsiteY0" fmla="*/ 1257760 h 1257760"/>
                  <a:gd name="connsiteX1" fmla="*/ 1236 w 654466"/>
                  <a:gd name="connsiteY1" fmla="*/ 826117 h 1257760"/>
                  <a:gd name="connsiteX2" fmla="*/ 145856 w 654466"/>
                  <a:gd name="connsiteY2" fmla="*/ 443844 h 1257760"/>
                  <a:gd name="connsiteX3" fmla="*/ 196098 w 654466"/>
                  <a:gd name="connsiteY3" fmla="*/ 1716 h 1257760"/>
                  <a:gd name="connsiteX4" fmla="*/ 648273 w 654466"/>
                  <a:gd name="connsiteY4" fmla="*/ 614666 h 1257760"/>
                  <a:gd name="connsiteX5" fmla="*/ 417161 w 654466"/>
                  <a:gd name="connsiteY5" fmla="*/ 1257760 h 1257760"/>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2938 h 1212938"/>
                  <a:gd name="connsiteX1" fmla="*/ 1566 w 654796"/>
                  <a:gd name="connsiteY1" fmla="*/ 781295 h 1212938"/>
                  <a:gd name="connsiteX2" fmla="*/ 146186 w 654796"/>
                  <a:gd name="connsiteY2" fmla="*/ 399022 h 1212938"/>
                  <a:gd name="connsiteX3" fmla="*/ 376615 w 654796"/>
                  <a:gd name="connsiteY3" fmla="*/ -1 h 1212938"/>
                  <a:gd name="connsiteX4" fmla="*/ 648603 w 654796"/>
                  <a:gd name="connsiteY4" fmla="*/ 569844 h 1212938"/>
                  <a:gd name="connsiteX5" fmla="*/ 417491 w 654796"/>
                  <a:gd name="connsiteY5" fmla="*/ 1212938 h 1212938"/>
                  <a:gd name="connsiteX0" fmla="*/ 236621 w 654796"/>
                  <a:gd name="connsiteY0" fmla="*/ 1212939 h 1212939"/>
                  <a:gd name="connsiteX1" fmla="*/ 1566 w 654796"/>
                  <a:gd name="connsiteY1" fmla="*/ 781296 h 1212939"/>
                  <a:gd name="connsiteX2" fmla="*/ 146186 w 654796"/>
                  <a:gd name="connsiteY2" fmla="*/ 399023 h 1212939"/>
                  <a:gd name="connsiteX3" fmla="*/ 376615 w 654796"/>
                  <a:gd name="connsiteY3" fmla="*/ 0 h 1212939"/>
                  <a:gd name="connsiteX4" fmla="*/ 648603 w 654796"/>
                  <a:gd name="connsiteY4" fmla="*/ 569845 h 1212939"/>
                  <a:gd name="connsiteX5" fmla="*/ 417491 w 654796"/>
                  <a:gd name="connsiteY5" fmla="*/ 1212939 h 1212939"/>
                  <a:gd name="connsiteX0" fmla="*/ 236621 w 691880"/>
                  <a:gd name="connsiteY0" fmla="*/ 1212939 h 1212939"/>
                  <a:gd name="connsiteX1" fmla="*/ 1566 w 691880"/>
                  <a:gd name="connsiteY1" fmla="*/ 781296 h 1212939"/>
                  <a:gd name="connsiteX2" fmla="*/ 146186 w 691880"/>
                  <a:gd name="connsiteY2" fmla="*/ 399023 h 1212939"/>
                  <a:gd name="connsiteX3" fmla="*/ 376615 w 691880"/>
                  <a:gd name="connsiteY3" fmla="*/ 0 h 1212939"/>
                  <a:gd name="connsiteX4" fmla="*/ 686825 w 691880"/>
                  <a:gd name="connsiteY4" fmla="*/ 666832 h 1212939"/>
                  <a:gd name="connsiteX5" fmla="*/ 417491 w 691880"/>
                  <a:gd name="connsiteY5" fmla="*/ 1212939 h 1212939"/>
                  <a:gd name="connsiteX0" fmla="*/ 236621 w 701317"/>
                  <a:gd name="connsiteY0" fmla="*/ 1212939 h 1212939"/>
                  <a:gd name="connsiteX1" fmla="*/ 1566 w 701317"/>
                  <a:gd name="connsiteY1" fmla="*/ 781296 h 1212939"/>
                  <a:gd name="connsiteX2" fmla="*/ 146186 w 701317"/>
                  <a:gd name="connsiteY2" fmla="*/ 399023 h 1212939"/>
                  <a:gd name="connsiteX3" fmla="*/ 376615 w 701317"/>
                  <a:gd name="connsiteY3" fmla="*/ 0 h 1212939"/>
                  <a:gd name="connsiteX4" fmla="*/ 686825 w 701317"/>
                  <a:gd name="connsiteY4" fmla="*/ 666832 h 1212939"/>
                  <a:gd name="connsiteX5" fmla="*/ 559456 w 701317"/>
                  <a:gd name="connsiteY5" fmla="*/ 1185998 h 1212939"/>
                  <a:gd name="connsiteX0" fmla="*/ 236621 w 739946"/>
                  <a:gd name="connsiteY0" fmla="*/ 1212939 h 1212939"/>
                  <a:gd name="connsiteX1" fmla="*/ 1566 w 739946"/>
                  <a:gd name="connsiteY1" fmla="*/ 781296 h 1212939"/>
                  <a:gd name="connsiteX2" fmla="*/ 146186 w 739946"/>
                  <a:gd name="connsiteY2" fmla="*/ 399023 h 1212939"/>
                  <a:gd name="connsiteX3" fmla="*/ 376615 w 739946"/>
                  <a:gd name="connsiteY3" fmla="*/ 0 h 1212939"/>
                  <a:gd name="connsiteX4" fmla="*/ 730507 w 739946"/>
                  <a:gd name="connsiteY4" fmla="*/ 634503 h 1212939"/>
                  <a:gd name="connsiteX5" fmla="*/ 559456 w 739946"/>
                  <a:gd name="connsiteY5" fmla="*/ 1185998 h 1212939"/>
                  <a:gd name="connsiteX0" fmla="*/ 236572 w 739897"/>
                  <a:gd name="connsiteY0" fmla="*/ 1164445 h 1164445"/>
                  <a:gd name="connsiteX1" fmla="*/ 1517 w 739897"/>
                  <a:gd name="connsiteY1" fmla="*/ 732802 h 1164445"/>
                  <a:gd name="connsiteX2" fmla="*/ 146137 w 739897"/>
                  <a:gd name="connsiteY2" fmla="*/ 350529 h 1164445"/>
                  <a:gd name="connsiteX3" fmla="*/ 354725 w 739897"/>
                  <a:gd name="connsiteY3" fmla="*/ 0 h 1164445"/>
                  <a:gd name="connsiteX4" fmla="*/ 730458 w 739897"/>
                  <a:gd name="connsiteY4" fmla="*/ 586009 h 1164445"/>
                  <a:gd name="connsiteX5" fmla="*/ 559407 w 739897"/>
                  <a:gd name="connsiteY5"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42766 w 746091"/>
                  <a:gd name="connsiteY0" fmla="*/ 1164445 h 1164445"/>
                  <a:gd name="connsiteX1" fmla="*/ 2250 w 746091"/>
                  <a:gd name="connsiteY1" fmla="*/ 700472 h 1164445"/>
                  <a:gd name="connsiteX2" fmla="*/ 360919 w 746091"/>
                  <a:gd name="connsiteY2" fmla="*/ 0 h 1164445"/>
                  <a:gd name="connsiteX3" fmla="*/ 736652 w 746091"/>
                  <a:gd name="connsiteY3" fmla="*/ 586009 h 1164445"/>
                  <a:gd name="connsiteX4" fmla="*/ 565601 w 746091"/>
                  <a:gd name="connsiteY4" fmla="*/ 1137504 h 1164445"/>
                  <a:gd name="connsiteX0" fmla="*/ 182965 w 751812"/>
                  <a:gd name="connsiteY0" fmla="*/ 1148280 h 1148280"/>
                  <a:gd name="connsiteX1" fmla="*/ 7971 w 751812"/>
                  <a:gd name="connsiteY1" fmla="*/ 700472 h 1148280"/>
                  <a:gd name="connsiteX2" fmla="*/ 366640 w 751812"/>
                  <a:gd name="connsiteY2" fmla="*/ 0 h 1148280"/>
                  <a:gd name="connsiteX3" fmla="*/ 742373 w 751812"/>
                  <a:gd name="connsiteY3" fmla="*/ 586009 h 1148280"/>
                  <a:gd name="connsiteX4" fmla="*/ 571322 w 751812"/>
                  <a:gd name="connsiteY4" fmla="*/ 1137504 h 1148280"/>
                  <a:gd name="connsiteX0" fmla="*/ 205889 w 748841"/>
                  <a:gd name="connsiteY0" fmla="*/ 1142892 h 1142892"/>
                  <a:gd name="connsiteX1" fmla="*/ 5000 w 748841"/>
                  <a:gd name="connsiteY1" fmla="*/ 700472 h 1142892"/>
                  <a:gd name="connsiteX2" fmla="*/ 363669 w 748841"/>
                  <a:gd name="connsiteY2" fmla="*/ 0 h 1142892"/>
                  <a:gd name="connsiteX3" fmla="*/ 739402 w 748841"/>
                  <a:gd name="connsiteY3" fmla="*/ 586009 h 1142892"/>
                  <a:gd name="connsiteX4" fmla="*/ 568351 w 748841"/>
                  <a:gd name="connsiteY4" fmla="*/ 1137504 h 1142892"/>
                  <a:gd name="connsiteX0" fmla="*/ 187451 w 751119"/>
                  <a:gd name="connsiteY0" fmla="*/ 1142892 h 1142892"/>
                  <a:gd name="connsiteX1" fmla="*/ 7278 w 751119"/>
                  <a:gd name="connsiteY1" fmla="*/ 700472 h 1142892"/>
                  <a:gd name="connsiteX2" fmla="*/ 365947 w 751119"/>
                  <a:gd name="connsiteY2" fmla="*/ 0 h 1142892"/>
                  <a:gd name="connsiteX3" fmla="*/ 741680 w 751119"/>
                  <a:gd name="connsiteY3" fmla="*/ 586009 h 1142892"/>
                  <a:gd name="connsiteX4" fmla="*/ 570629 w 751119"/>
                  <a:gd name="connsiteY4" fmla="*/ 1137504 h 1142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119" h="1142892">
                    <a:moveTo>
                      <a:pt x="187451" y="1142892"/>
                    </a:moveTo>
                    <a:cubicBezTo>
                      <a:pt x="39237" y="954485"/>
                      <a:pt x="-22471" y="890954"/>
                      <a:pt x="7278" y="700472"/>
                    </a:cubicBezTo>
                    <a:cubicBezTo>
                      <a:pt x="37027" y="509990"/>
                      <a:pt x="320900" y="272324"/>
                      <a:pt x="365947" y="0"/>
                    </a:cubicBezTo>
                    <a:cubicBezTo>
                      <a:pt x="504285" y="195504"/>
                      <a:pt x="704836" y="376668"/>
                      <a:pt x="741680" y="586009"/>
                    </a:cubicBezTo>
                    <a:cubicBezTo>
                      <a:pt x="778524" y="795350"/>
                      <a:pt x="704607" y="920627"/>
                      <a:pt x="570629" y="1137504"/>
                    </a:cubicBezTo>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579" name="Freeform 406">
                <a:extLst>
                  <a:ext uri="{FF2B5EF4-FFF2-40B4-BE49-F238E27FC236}">
                    <a16:creationId xmlns:a16="http://schemas.microsoft.com/office/drawing/2014/main" id="{9A39696A-FD39-4FF6-80C2-A2D7206C0B67}"/>
                  </a:ext>
                </a:extLst>
              </p:cNvPr>
              <p:cNvSpPr/>
              <p:nvPr/>
            </p:nvSpPr>
            <p:spPr bwMode="gray">
              <a:xfrm>
                <a:off x="-820606" y="3535648"/>
                <a:ext cx="273691" cy="278112"/>
              </a:xfrm>
              <a:custGeom>
                <a:avLst/>
                <a:gdLst>
                  <a:gd name="connsiteX0" fmla="*/ 95316 w 319358"/>
                  <a:gd name="connsiteY0" fmla="*/ 870562 h 870562"/>
                  <a:gd name="connsiteX1" fmla="*/ 66 w 319358"/>
                  <a:gd name="connsiteY1" fmla="*/ 483212 h 870562"/>
                  <a:gd name="connsiteX2" fmla="*/ 108016 w 319358"/>
                  <a:gd name="connsiteY2" fmla="*/ 324462 h 870562"/>
                  <a:gd name="connsiteX3" fmla="*/ 165166 w 319358"/>
                  <a:gd name="connsiteY3" fmla="*/ 612 h 870562"/>
                  <a:gd name="connsiteX4" fmla="*/ 317566 w 319358"/>
                  <a:gd name="connsiteY4" fmla="*/ 413362 h 870562"/>
                  <a:gd name="connsiteX5" fmla="*/ 235016 w 319358"/>
                  <a:gd name="connsiteY5" fmla="*/ 864212 h 870562"/>
                  <a:gd name="connsiteX0" fmla="*/ 95316 w 342347"/>
                  <a:gd name="connsiteY0" fmla="*/ 870562 h 870562"/>
                  <a:gd name="connsiteX1" fmla="*/ 66 w 342347"/>
                  <a:gd name="connsiteY1" fmla="*/ 483212 h 870562"/>
                  <a:gd name="connsiteX2" fmla="*/ 108016 w 342347"/>
                  <a:gd name="connsiteY2" fmla="*/ 324462 h 870562"/>
                  <a:gd name="connsiteX3" fmla="*/ 165166 w 342347"/>
                  <a:gd name="connsiteY3" fmla="*/ 612 h 870562"/>
                  <a:gd name="connsiteX4" fmla="*/ 317566 w 342347"/>
                  <a:gd name="connsiteY4" fmla="*/ 413362 h 870562"/>
                  <a:gd name="connsiteX5" fmla="*/ 319044 w 342347"/>
                  <a:gd name="connsiteY5" fmla="*/ 842659 h 870562"/>
                  <a:gd name="connsiteX0" fmla="*/ 95316 w 371927"/>
                  <a:gd name="connsiteY0" fmla="*/ 870562 h 870562"/>
                  <a:gd name="connsiteX1" fmla="*/ 66 w 371927"/>
                  <a:gd name="connsiteY1" fmla="*/ 483212 h 870562"/>
                  <a:gd name="connsiteX2" fmla="*/ 108016 w 371927"/>
                  <a:gd name="connsiteY2" fmla="*/ 324462 h 870562"/>
                  <a:gd name="connsiteX3" fmla="*/ 165166 w 371927"/>
                  <a:gd name="connsiteY3" fmla="*/ 612 h 870562"/>
                  <a:gd name="connsiteX4" fmla="*/ 367982 w 371927"/>
                  <a:gd name="connsiteY4" fmla="*/ 413363 h 870562"/>
                  <a:gd name="connsiteX5" fmla="*/ 319044 w 371927"/>
                  <a:gd name="connsiteY5" fmla="*/ 842659 h 870562"/>
                  <a:gd name="connsiteX0" fmla="*/ 95316 w 371927"/>
                  <a:gd name="connsiteY0" fmla="*/ 827551 h 827551"/>
                  <a:gd name="connsiteX1" fmla="*/ 66 w 371927"/>
                  <a:gd name="connsiteY1" fmla="*/ 440201 h 827551"/>
                  <a:gd name="connsiteX2" fmla="*/ 108016 w 371927"/>
                  <a:gd name="connsiteY2" fmla="*/ 281451 h 827551"/>
                  <a:gd name="connsiteX3" fmla="*/ 205499 w 371927"/>
                  <a:gd name="connsiteY3" fmla="*/ 707 h 827551"/>
                  <a:gd name="connsiteX4" fmla="*/ 367982 w 371927"/>
                  <a:gd name="connsiteY4" fmla="*/ 370352 h 827551"/>
                  <a:gd name="connsiteX5" fmla="*/ 319044 w 371927"/>
                  <a:gd name="connsiteY5" fmla="*/ 799648 h 827551"/>
                  <a:gd name="connsiteX0" fmla="*/ 98435 w 375046"/>
                  <a:gd name="connsiteY0" fmla="*/ 826844 h 826844"/>
                  <a:gd name="connsiteX1" fmla="*/ 3185 w 375046"/>
                  <a:gd name="connsiteY1" fmla="*/ 439494 h 826844"/>
                  <a:gd name="connsiteX2" fmla="*/ 208618 w 375046"/>
                  <a:gd name="connsiteY2" fmla="*/ 0 h 826844"/>
                  <a:gd name="connsiteX3" fmla="*/ 371101 w 375046"/>
                  <a:gd name="connsiteY3" fmla="*/ 369645 h 826844"/>
                  <a:gd name="connsiteX4" fmla="*/ 322163 w 375046"/>
                  <a:gd name="connsiteY4" fmla="*/ 798941 h 826844"/>
                  <a:gd name="connsiteX0" fmla="*/ 47224 w 323835"/>
                  <a:gd name="connsiteY0" fmla="*/ 826845 h 826845"/>
                  <a:gd name="connsiteX1" fmla="*/ 9112 w 323835"/>
                  <a:gd name="connsiteY1" fmla="*/ 374836 h 826845"/>
                  <a:gd name="connsiteX2" fmla="*/ 157407 w 323835"/>
                  <a:gd name="connsiteY2" fmla="*/ 1 h 826845"/>
                  <a:gd name="connsiteX3" fmla="*/ 319890 w 323835"/>
                  <a:gd name="connsiteY3" fmla="*/ 369646 h 826845"/>
                  <a:gd name="connsiteX4" fmla="*/ 270952 w 323835"/>
                  <a:gd name="connsiteY4" fmla="*/ 798942 h 826845"/>
                  <a:gd name="connsiteX0" fmla="*/ 48467 w 325078"/>
                  <a:gd name="connsiteY0" fmla="*/ 810682 h 810682"/>
                  <a:gd name="connsiteX1" fmla="*/ 10355 w 325078"/>
                  <a:gd name="connsiteY1" fmla="*/ 358673 h 810682"/>
                  <a:gd name="connsiteX2" fmla="*/ 175456 w 325078"/>
                  <a:gd name="connsiteY2" fmla="*/ 3 h 810682"/>
                  <a:gd name="connsiteX3" fmla="*/ 321133 w 325078"/>
                  <a:gd name="connsiteY3" fmla="*/ 353483 h 810682"/>
                  <a:gd name="connsiteX4" fmla="*/ 272195 w 325078"/>
                  <a:gd name="connsiteY4" fmla="*/ 782779 h 810682"/>
                  <a:gd name="connsiteX0" fmla="*/ 55744 w 322272"/>
                  <a:gd name="connsiteY0" fmla="*/ 805294 h 805294"/>
                  <a:gd name="connsiteX1" fmla="*/ 7549 w 322272"/>
                  <a:gd name="connsiteY1" fmla="*/ 358673 h 805294"/>
                  <a:gd name="connsiteX2" fmla="*/ 172650 w 322272"/>
                  <a:gd name="connsiteY2" fmla="*/ 3 h 805294"/>
                  <a:gd name="connsiteX3" fmla="*/ 318327 w 322272"/>
                  <a:gd name="connsiteY3" fmla="*/ 353483 h 805294"/>
                  <a:gd name="connsiteX4" fmla="*/ 269389 w 322272"/>
                  <a:gd name="connsiteY4" fmla="*/ 782779 h 805294"/>
                  <a:gd name="connsiteX0" fmla="*/ 55744 w 321540"/>
                  <a:gd name="connsiteY0" fmla="*/ 805294 h 805294"/>
                  <a:gd name="connsiteX1" fmla="*/ 7549 w 321540"/>
                  <a:gd name="connsiteY1" fmla="*/ 358673 h 805294"/>
                  <a:gd name="connsiteX2" fmla="*/ 172650 w 321540"/>
                  <a:gd name="connsiteY2" fmla="*/ 3 h 805294"/>
                  <a:gd name="connsiteX3" fmla="*/ 318327 w 321540"/>
                  <a:gd name="connsiteY3" fmla="*/ 353483 h 805294"/>
                  <a:gd name="connsiteX4" fmla="*/ 262564 w 321540"/>
                  <a:gd name="connsiteY4" fmla="*/ 798944 h 805294"/>
                  <a:gd name="connsiteX0" fmla="*/ 55744 w 321540"/>
                  <a:gd name="connsiteY0" fmla="*/ 789129 h 798944"/>
                  <a:gd name="connsiteX1" fmla="*/ 7549 w 321540"/>
                  <a:gd name="connsiteY1" fmla="*/ 358673 h 798944"/>
                  <a:gd name="connsiteX2" fmla="*/ 172650 w 321540"/>
                  <a:gd name="connsiteY2" fmla="*/ 3 h 798944"/>
                  <a:gd name="connsiteX3" fmla="*/ 318327 w 321540"/>
                  <a:gd name="connsiteY3" fmla="*/ 353483 h 798944"/>
                  <a:gd name="connsiteX4" fmla="*/ 262564 w 321540"/>
                  <a:gd name="connsiteY4" fmla="*/ 798944 h 798944"/>
                  <a:gd name="connsiteX0" fmla="*/ 55744 w 322748"/>
                  <a:gd name="connsiteY0" fmla="*/ 789129 h 789129"/>
                  <a:gd name="connsiteX1" fmla="*/ 7549 w 322748"/>
                  <a:gd name="connsiteY1" fmla="*/ 358673 h 789129"/>
                  <a:gd name="connsiteX2" fmla="*/ 172650 w 322748"/>
                  <a:gd name="connsiteY2" fmla="*/ 3 h 789129"/>
                  <a:gd name="connsiteX3" fmla="*/ 318327 w 322748"/>
                  <a:gd name="connsiteY3" fmla="*/ 353483 h 789129"/>
                  <a:gd name="connsiteX4" fmla="*/ 272801 w 322748"/>
                  <a:gd name="connsiteY4" fmla="*/ 782779 h 789129"/>
                  <a:gd name="connsiteX0" fmla="*/ 61546 w 328550"/>
                  <a:gd name="connsiteY0" fmla="*/ 789600 h 789600"/>
                  <a:gd name="connsiteX1" fmla="*/ 6527 w 328550"/>
                  <a:gd name="connsiteY1" fmla="*/ 426496 h 789600"/>
                  <a:gd name="connsiteX2" fmla="*/ 178452 w 328550"/>
                  <a:gd name="connsiteY2" fmla="*/ 474 h 789600"/>
                  <a:gd name="connsiteX3" fmla="*/ 324129 w 328550"/>
                  <a:gd name="connsiteY3" fmla="*/ 353954 h 789600"/>
                  <a:gd name="connsiteX4" fmla="*/ 278603 w 328550"/>
                  <a:gd name="connsiteY4" fmla="*/ 783250 h 789600"/>
                  <a:gd name="connsiteX0" fmla="*/ 61546 w 331487"/>
                  <a:gd name="connsiteY0" fmla="*/ 789171 h 789171"/>
                  <a:gd name="connsiteX1" fmla="*/ 6527 w 331487"/>
                  <a:gd name="connsiteY1" fmla="*/ 426067 h 789171"/>
                  <a:gd name="connsiteX2" fmla="*/ 178452 w 331487"/>
                  <a:gd name="connsiteY2" fmla="*/ 45 h 789171"/>
                  <a:gd name="connsiteX3" fmla="*/ 327542 w 331487"/>
                  <a:gd name="connsiteY3" fmla="*/ 402018 h 789171"/>
                  <a:gd name="connsiteX4" fmla="*/ 278603 w 331487"/>
                  <a:gd name="connsiteY4" fmla="*/ 782821 h 789171"/>
                  <a:gd name="connsiteX0" fmla="*/ 61895 w 331836"/>
                  <a:gd name="connsiteY0" fmla="*/ 724528 h 724528"/>
                  <a:gd name="connsiteX1" fmla="*/ 6876 w 331836"/>
                  <a:gd name="connsiteY1" fmla="*/ 361424 h 724528"/>
                  <a:gd name="connsiteX2" fmla="*/ 183919 w 331836"/>
                  <a:gd name="connsiteY2" fmla="*/ 61 h 724528"/>
                  <a:gd name="connsiteX3" fmla="*/ 327891 w 331836"/>
                  <a:gd name="connsiteY3" fmla="*/ 337375 h 724528"/>
                  <a:gd name="connsiteX4" fmla="*/ 278952 w 331836"/>
                  <a:gd name="connsiteY4" fmla="*/ 718178 h 72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36" h="724528">
                    <a:moveTo>
                      <a:pt x="61895" y="724528"/>
                    </a:moveTo>
                    <a:cubicBezTo>
                      <a:pt x="13211" y="576361"/>
                      <a:pt x="-13461" y="482169"/>
                      <a:pt x="6876" y="361424"/>
                    </a:cubicBezTo>
                    <a:cubicBezTo>
                      <a:pt x="27213" y="240680"/>
                      <a:pt x="130417" y="4069"/>
                      <a:pt x="183919" y="61"/>
                    </a:cubicBezTo>
                    <a:cubicBezTo>
                      <a:pt x="237422" y="-3947"/>
                      <a:pt x="316249" y="193442"/>
                      <a:pt x="327891" y="337375"/>
                    </a:cubicBezTo>
                    <a:cubicBezTo>
                      <a:pt x="339533" y="481308"/>
                      <a:pt x="326048" y="564719"/>
                      <a:pt x="278952" y="718178"/>
                    </a:cubicBezTo>
                  </a:path>
                </a:pathLst>
              </a:custGeom>
              <a:grp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BBvoice"/>
                  <a:ea typeface="ABBvoice"/>
                  <a:cs typeface="ABBvoice"/>
                </a:endParaRPr>
              </a:p>
            </p:txBody>
          </p:sp>
        </p:grpSp>
      </p:grpSp>
      <p:grpSp>
        <p:nvGrpSpPr>
          <p:cNvPr id="581" name="Group 580">
            <a:extLst>
              <a:ext uri="{FF2B5EF4-FFF2-40B4-BE49-F238E27FC236}">
                <a16:creationId xmlns:a16="http://schemas.microsoft.com/office/drawing/2014/main" id="{B930901F-DAD9-4F3A-B5CB-5E284EC68927}"/>
              </a:ext>
            </a:extLst>
          </p:cNvPr>
          <p:cNvGrpSpPr>
            <a:grpSpLocks noChangeAspect="1"/>
          </p:cNvGrpSpPr>
          <p:nvPr/>
        </p:nvGrpSpPr>
        <p:grpSpPr bwMode="gray">
          <a:xfrm>
            <a:off x="645309" y="5487542"/>
            <a:ext cx="421200" cy="421200"/>
            <a:chOff x="7683266" y="-4177956"/>
            <a:chExt cx="596915" cy="596916"/>
          </a:xfrm>
          <a:solidFill>
            <a:schemeClr val="tx2"/>
          </a:solidFill>
        </p:grpSpPr>
        <p:sp>
          <p:nvSpPr>
            <p:cNvPr id="583" name="Rechteck 91">
              <a:extLst>
                <a:ext uri="{FF2B5EF4-FFF2-40B4-BE49-F238E27FC236}">
                  <a16:creationId xmlns:a16="http://schemas.microsoft.com/office/drawing/2014/main" id="{6F598710-6509-40CC-93B9-EB830C1D9DAA}"/>
                </a:ext>
              </a:extLst>
            </p:cNvPr>
            <p:cNvSpPr/>
            <p:nvPr/>
          </p:nvSpPr>
          <p:spPr bwMode="gray">
            <a:xfrm>
              <a:off x="7683266" y="-4177956"/>
              <a:ext cx="596915" cy="596916"/>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90000"/>
                </a:lnSpc>
                <a:spcBef>
                  <a:spcPts val="1100"/>
                </a:spcBef>
                <a:spcAft>
                  <a:spcPts val="0"/>
                </a:spcAft>
                <a:buClr>
                  <a:srgbClr val="002897"/>
                </a:buClr>
                <a:buSzPct val="70000"/>
                <a:buFontTx/>
                <a:buNone/>
                <a:tabLst/>
                <a:defRPr/>
              </a:pPr>
              <a:endParaRPr kumimoji="0" lang="en-US" sz="1000" b="1"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584" name="Rectangle 2">
              <a:extLst>
                <a:ext uri="{FF2B5EF4-FFF2-40B4-BE49-F238E27FC236}">
                  <a16:creationId xmlns:a16="http://schemas.microsoft.com/office/drawing/2014/main" id="{EBD4E5E5-B85A-453D-9FB3-5C444489C23D}"/>
                </a:ext>
              </a:extLst>
            </p:cNvPr>
            <p:cNvSpPr/>
            <p:nvPr/>
          </p:nvSpPr>
          <p:spPr bwMode="gray">
            <a:xfrm rot="10800000" flipH="1">
              <a:off x="7762510" y="-4003681"/>
              <a:ext cx="438431" cy="248375"/>
            </a:xfrm>
            <a:custGeom>
              <a:avLst/>
              <a:gdLst/>
              <a:ahLst/>
              <a:cxnLst/>
              <a:rect l="l" t="t" r="r" b="b"/>
              <a:pathLst>
                <a:path w="420238" h="218437">
                  <a:moveTo>
                    <a:pt x="0" y="218437"/>
                  </a:moveTo>
                  <a:lnTo>
                    <a:pt x="420238" y="218437"/>
                  </a:lnTo>
                  <a:lnTo>
                    <a:pt x="420238" y="0"/>
                  </a:lnTo>
                  <a:lnTo>
                    <a:pt x="0" y="0"/>
                  </a:lnTo>
                  <a:lnTo>
                    <a:pt x="0" y="49819"/>
                  </a:lnTo>
                  <a:lnTo>
                    <a:pt x="360926" y="49819"/>
                  </a:lnTo>
                  <a:lnTo>
                    <a:pt x="360926" y="168619"/>
                  </a:lnTo>
                  <a:lnTo>
                    <a:pt x="0" y="168619"/>
                  </a:lnTo>
                  <a:close/>
                </a:path>
              </a:pathLst>
            </a:custGeom>
            <a:grpFill/>
            <a:ln w="12700">
              <a:solidFill>
                <a:schemeClr val="bg1"/>
              </a:solidFill>
              <a:prstDash val="sysDash"/>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BBvoice"/>
                <a:ea typeface="ABBvoice"/>
                <a:cs typeface="ABBvoice"/>
              </a:endParaRPr>
            </a:p>
          </p:txBody>
        </p:sp>
      </p:grpSp>
      <p:sp>
        <p:nvSpPr>
          <p:cNvPr id="195" name="Date Placeholder 194">
            <a:extLst>
              <a:ext uri="{FF2B5EF4-FFF2-40B4-BE49-F238E27FC236}">
                <a16:creationId xmlns:a16="http://schemas.microsoft.com/office/drawing/2014/main" id="{D101DDD7-9A78-4788-8CA6-818928221FCB}"/>
              </a:ext>
            </a:extLst>
          </p:cNvPr>
          <p:cNvSpPr>
            <a:spLocks noGrp="1"/>
          </p:cNvSpPr>
          <p:nvPr>
            <p:ph type="dt" sz="half" idx="14"/>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793FE7B-E45A-45F9-B90C-7EA69E69EB76}"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196" name="Footer Placeholder 195">
            <a:extLst>
              <a:ext uri="{FF2B5EF4-FFF2-40B4-BE49-F238E27FC236}">
                <a16:creationId xmlns:a16="http://schemas.microsoft.com/office/drawing/2014/main" id="{9007618E-5FA6-451B-AEA7-2D538563BDFD}"/>
              </a:ext>
            </a:extLst>
          </p:cNvPr>
          <p:cNvSpPr>
            <a:spLocks noGrp="1"/>
          </p:cNvSpPr>
          <p:nvPr>
            <p:ph type="ftr" sz="quarter" idx="15"/>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Combination</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only</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available</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in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rack</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moun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housing</a:t>
            </a: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197" name="Slide Number Placeholder 196">
            <a:extLst>
              <a:ext uri="{FF2B5EF4-FFF2-40B4-BE49-F238E27FC236}">
                <a16:creationId xmlns:a16="http://schemas.microsoft.com/office/drawing/2014/main" id="{7B7FB495-D337-4468-871A-1B8D80FA6939}"/>
              </a:ext>
            </a:extLst>
          </p:cNvPr>
          <p:cNvSpPr>
            <a:spLocks noGrp="1"/>
          </p:cNvSpPr>
          <p:nvPr>
            <p:ph type="sldNum" sz="quarter" idx="16"/>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grpSp>
        <p:nvGrpSpPr>
          <p:cNvPr id="284" name="Group 283">
            <a:extLst>
              <a:ext uri="{FF2B5EF4-FFF2-40B4-BE49-F238E27FC236}">
                <a16:creationId xmlns:a16="http://schemas.microsoft.com/office/drawing/2014/main" id="{FB8245B4-B460-4FF5-A0C4-42BC5E99B879}"/>
              </a:ext>
            </a:extLst>
          </p:cNvPr>
          <p:cNvGrpSpPr/>
          <p:nvPr/>
        </p:nvGrpSpPr>
        <p:grpSpPr bwMode="gray">
          <a:xfrm>
            <a:off x="10830596" y="4069317"/>
            <a:ext cx="420420" cy="420420"/>
            <a:chOff x="-4800222" y="2371136"/>
            <a:chExt cx="527454" cy="527454"/>
          </a:xfrm>
        </p:grpSpPr>
        <p:sp>
          <p:nvSpPr>
            <p:cNvPr id="285" name="Oval 284">
              <a:extLst>
                <a:ext uri="{FF2B5EF4-FFF2-40B4-BE49-F238E27FC236}">
                  <a16:creationId xmlns:a16="http://schemas.microsoft.com/office/drawing/2014/main" id="{0AE5F3E4-A16F-4A30-8B11-04C1AACBAF53}"/>
                </a:ext>
              </a:extLst>
            </p:cNvPr>
            <p:cNvSpPr/>
            <p:nvPr/>
          </p:nvSpPr>
          <p:spPr bwMode="gray">
            <a:xfrm rot="16200000">
              <a:off x="-4800222" y="2371136"/>
              <a:ext cx="527454" cy="5274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286" name="Group 285">
              <a:extLst>
                <a:ext uri="{FF2B5EF4-FFF2-40B4-BE49-F238E27FC236}">
                  <a16:creationId xmlns:a16="http://schemas.microsoft.com/office/drawing/2014/main" id="{7877B09C-C8D0-49F8-9CC2-4C1177F548DD}"/>
                </a:ext>
              </a:extLst>
            </p:cNvPr>
            <p:cNvGrpSpPr/>
            <p:nvPr/>
          </p:nvGrpSpPr>
          <p:grpSpPr bwMode="gray">
            <a:xfrm>
              <a:off x="-4748175" y="2569676"/>
              <a:ext cx="423358" cy="130374"/>
              <a:chOff x="5561561" y="3580012"/>
              <a:chExt cx="1068879" cy="329166"/>
            </a:xfrm>
          </p:grpSpPr>
          <p:sp>
            <p:nvSpPr>
              <p:cNvPr id="287" name="Oval 286">
                <a:extLst>
                  <a:ext uri="{FF2B5EF4-FFF2-40B4-BE49-F238E27FC236}">
                    <a16:creationId xmlns:a16="http://schemas.microsoft.com/office/drawing/2014/main" id="{E0C27630-1BE2-4AC7-971F-4BF4E19ACB37}"/>
                  </a:ext>
                </a:extLst>
              </p:cNvPr>
              <p:cNvSpPr/>
              <p:nvPr/>
            </p:nvSpPr>
            <p:spPr bwMode="gray">
              <a:xfrm>
                <a:off x="5561561" y="3580012"/>
                <a:ext cx="329166" cy="32916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88" name="Oval 287">
                <a:extLst>
                  <a:ext uri="{FF2B5EF4-FFF2-40B4-BE49-F238E27FC236}">
                    <a16:creationId xmlns:a16="http://schemas.microsoft.com/office/drawing/2014/main" id="{FA795895-7EAF-4A43-B648-5C3E8BF32198}"/>
                  </a:ext>
                </a:extLst>
              </p:cNvPr>
              <p:cNvSpPr/>
              <p:nvPr/>
            </p:nvSpPr>
            <p:spPr bwMode="gray">
              <a:xfrm>
                <a:off x="6301274" y="3580012"/>
                <a:ext cx="329166" cy="32916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289" name="Straight Connector 288">
                <a:extLst>
                  <a:ext uri="{FF2B5EF4-FFF2-40B4-BE49-F238E27FC236}">
                    <a16:creationId xmlns:a16="http://schemas.microsoft.com/office/drawing/2014/main" id="{9D7664A5-9D88-4ACE-A126-371E231DD80F}"/>
                  </a:ext>
                </a:extLst>
              </p:cNvPr>
              <p:cNvCxnSpPr>
                <a:stCxn id="287" idx="6"/>
                <a:endCxn id="288" idx="2"/>
              </p:cNvCxnSpPr>
              <p:nvPr/>
            </p:nvCxnSpPr>
            <p:spPr bwMode="gray">
              <a:xfrm>
                <a:off x="5890727" y="3744595"/>
                <a:ext cx="41054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D4D019C8-711E-4084-A83D-5C2BE63E843F}"/>
                  </a:ext>
                </a:extLst>
              </p:cNvPr>
              <p:cNvCxnSpPr/>
              <p:nvPr/>
            </p:nvCxnSpPr>
            <p:spPr bwMode="gray">
              <a:xfrm>
                <a:off x="6062617" y="3669857"/>
                <a:ext cx="66766" cy="1494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91" name="Group 290">
            <a:extLst>
              <a:ext uri="{FF2B5EF4-FFF2-40B4-BE49-F238E27FC236}">
                <a16:creationId xmlns:a16="http://schemas.microsoft.com/office/drawing/2014/main" id="{58DA08D6-698E-4FCE-BD14-DBF3D0116928}"/>
              </a:ext>
            </a:extLst>
          </p:cNvPr>
          <p:cNvGrpSpPr/>
          <p:nvPr/>
        </p:nvGrpSpPr>
        <p:grpSpPr bwMode="gray">
          <a:xfrm>
            <a:off x="10830596" y="4766885"/>
            <a:ext cx="420420" cy="420420"/>
            <a:chOff x="-4800222" y="2371136"/>
            <a:chExt cx="527454" cy="527454"/>
          </a:xfrm>
        </p:grpSpPr>
        <p:sp>
          <p:nvSpPr>
            <p:cNvPr id="292" name="Oval 291">
              <a:extLst>
                <a:ext uri="{FF2B5EF4-FFF2-40B4-BE49-F238E27FC236}">
                  <a16:creationId xmlns:a16="http://schemas.microsoft.com/office/drawing/2014/main" id="{4D525CC6-5A67-4B2A-8DA7-EE9F39FC3A5C}"/>
                </a:ext>
              </a:extLst>
            </p:cNvPr>
            <p:cNvSpPr/>
            <p:nvPr/>
          </p:nvSpPr>
          <p:spPr bwMode="gray">
            <a:xfrm rot="16200000">
              <a:off x="-4800222" y="2371136"/>
              <a:ext cx="527454" cy="52745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293" name="Group 292">
              <a:extLst>
                <a:ext uri="{FF2B5EF4-FFF2-40B4-BE49-F238E27FC236}">
                  <a16:creationId xmlns:a16="http://schemas.microsoft.com/office/drawing/2014/main" id="{624C0B5B-36B9-423D-AEC3-7F73A03D1C50}"/>
                </a:ext>
              </a:extLst>
            </p:cNvPr>
            <p:cNvGrpSpPr/>
            <p:nvPr/>
          </p:nvGrpSpPr>
          <p:grpSpPr bwMode="gray">
            <a:xfrm>
              <a:off x="-4748175" y="2569676"/>
              <a:ext cx="423358" cy="130374"/>
              <a:chOff x="5561561" y="3580012"/>
              <a:chExt cx="1068879" cy="329166"/>
            </a:xfrm>
          </p:grpSpPr>
          <p:sp>
            <p:nvSpPr>
              <p:cNvPr id="294" name="Oval 293">
                <a:extLst>
                  <a:ext uri="{FF2B5EF4-FFF2-40B4-BE49-F238E27FC236}">
                    <a16:creationId xmlns:a16="http://schemas.microsoft.com/office/drawing/2014/main" id="{1616CC17-0BBA-43D2-9728-5C01A737108E}"/>
                  </a:ext>
                </a:extLst>
              </p:cNvPr>
              <p:cNvSpPr/>
              <p:nvPr/>
            </p:nvSpPr>
            <p:spPr bwMode="gray">
              <a:xfrm>
                <a:off x="5561561" y="3580012"/>
                <a:ext cx="329166" cy="32916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95" name="Oval 294">
                <a:extLst>
                  <a:ext uri="{FF2B5EF4-FFF2-40B4-BE49-F238E27FC236}">
                    <a16:creationId xmlns:a16="http://schemas.microsoft.com/office/drawing/2014/main" id="{B3F306C3-540E-4DE7-9AE5-B6446B16D382}"/>
                  </a:ext>
                </a:extLst>
              </p:cNvPr>
              <p:cNvSpPr/>
              <p:nvPr/>
            </p:nvSpPr>
            <p:spPr bwMode="gray">
              <a:xfrm>
                <a:off x="6301274" y="3580012"/>
                <a:ext cx="329166" cy="32916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296" name="Straight Connector 295">
                <a:extLst>
                  <a:ext uri="{FF2B5EF4-FFF2-40B4-BE49-F238E27FC236}">
                    <a16:creationId xmlns:a16="http://schemas.microsoft.com/office/drawing/2014/main" id="{034504BF-71B5-406D-B18F-761DD34CA992}"/>
                  </a:ext>
                </a:extLst>
              </p:cNvPr>
              <p:cNvCxnSpPr>
                <a:stCxn id="294" idx="6"/>
                <a:endCxn id="295" idx="2"/>
              </p:cNvCxnSpPr>
              <p:nvPr/>
            </p:nvCxnSpPr>
            <p:spPr bwMode="gray">
              <a:xfrm>
                <a:off x="5890727" y="3744595"/>
                <a:ext cx="41054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4F610EC5-82DE-47B0-9F2C-EC31668D9A6A}"/>
                  </a:ext>
                </a:extLst>
              </p:cNvPr>
              <p:cNvCxnSpPr/>
              <p:nvPr/>
            </p:nvCxnSpPr>
            <p:spPr bwMode="gray">
              <a:xfrm>
                <a:off x="6062617" y="3669857"/>
                <a:ext cx="66766" cy="149477"/>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98" name="Group 297">
            <a:extLst>
              <a:ext uri="{FF2B5EF4-FFF2-40B4-BE49-F238E27FC236}">
                <a16:creationId xmlns:a16="http://schemas.microsoft.com/office/drawing/2014/main" id="{6904AB8A-4F43-42B0-915F-9D56A8B69671}"/>
              </a:ext>
            </a:extLst>
          </p:cNvPr>
          <p:cNvGrpSpPr/>
          <p:nvPr/>
        </p:nvGrpSpPr>
        <p:grpSpPr bwMode="gray">
          <a:xfrm>
            <a:off x="11419138" y="5494110"/>
            <a:ext cx="421812" cy="421812"/>
            <a:chOff x="5566528" y="4804223"/>
            <a:chExt cx="421812" cy="421812"/>
          </a:xfrm>
        </p:grpSpPr>
        <p:sp>
          <p:nvSpPr>
            <p:cNvPr id="299" name="Rechteck 91">
              <a:extLst>
                <a:ext uri="{FF2B5EF4-FFF2-40B4-BE49-F238E27FC236}">
                  <a16:creationId xmlns:a16="http://schemas.microsoft.com/office/drawing/2014/main" id="{0EE289AA-2887-4FEF-9DE5-C05F12577800}"/>
                </a:ext>
              </a:extLst>
            </p:cNvPr>
            <p:cNvSpPr/>
            <p:nvPr/>
          </p:nvSpPr>
          <p:spPr bwMode="gray">
            <a:xfrm>
              <a:off x="5566528" y="4804223"/>
              <a:ext cx="421812" cy="421812"/>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90000"/>
                </a:lnSpc>
                <a:spcBef>
                  <a:spcPts val="1100"/>
                </a:spcBef>
                <a:spcAft>
                  <a:spcPts val="0"/>
                </a:spcAft>
                <a:buClr>
                  <a:srgbClr val="002897"/>
                </a:buClr>
                <a:buSzPct val="70000"/>
                <a:buFontTx/>
                <a:buNone/>
                <a:tabLst/>
                <a:defRPr/>
              </a:pPr>
              <a:endParaRPr kumimoji="0" lang="en-US" sz="1000" b="1"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300" name="Rectangle 77">
              <a:extLst>
                <a:ext uri="{FF2B5EF4-FFF2-40B4-BE49-F238E27FC236}">
                  <a16:creationId xmlns:a16="http://schemas.microsoft.com/office/drawing/2014/main" id="{A84F6D1C-9511-448B-A5A3-DB1F80E45DA9}"/>
                </a:ext>
              </a:extLst>
            </p:cNvPr>
            <p:cNvSpPr/>
            <p:nvPr/>
          </p:nvSpPr>
          <p:spPr bwMode="gray">
            <a:xfrm>
              <a:off x="5588587" y="4957662"/>
              <a:ext cx="377694" cy="193053"/>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nvGrpSpPr>
          <p:cNvPr id="301" name="Group 300">
            <a:extLst>
              <a:ext uri="{FF2B5EF4-FFF2-40B4-BE49-F238E27FC236}">
                <a16:creationId xmlns:a16="http://schemas.microsoft.com/office/drawing/2014/main" id="{D624C108-4ED6-4ACD-8528-72AB36A8CC22}"/>
              </a:ext>
            </a:extLst>
          </p:cNvPr>
          <p:cNvGrpSpPr/>
          <p:nvPr/>
        </p:nvGrpSpPr>
        <p:grpSpPr bwMode="gray">
          <a:xfrm>
            <a:off x="10830596" y="5494110"/>
            <a:ext cx="421812" cy="421812"/>
            <a:chOff x="5566528" y="4804223"/>
            <a:chExt cx="421812" cy="421812"/>
          </a:xfrm>
        </p:grpSpPr>
        <p:sp>
          <p:nvSpPr>
            <p:cNvPr id="304" name="Rechteck 91">
              <a:extLst>
                <a:ext uri="{FF2B5EF4-FFF2-40B4-BE49-F238E27FC236}">
                  <a16:creationId xmlns:a16="http://schemas.microsoft.com/office/drawing/2014/main" id="{014B4CF3-A554-4BA7-9878-2C7A27658B30}"/>
                </a:ext>
              </a:extLst>
            </p:cNvPr>
            <p:cNvSpPr/>
            <p:nvPr/>
          </p:nvSpPr>
          <p:spPr bwMode="gray">
            <a:xfrm>
              <a:off x="5566528" y="4804223"/>
              <a:ext cx="421812" cy="421812"/>
            </a:xfrm>
            <a:prstGeom prst="ellipse">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90000"/>
                </a:lnSpc>
                <a:spcBef>
                  <a:spcPts val="1100"/>
                </a:spcBef>
                <a:spcAft>
                  <a:spcPts val="0"/>
                </a:spcAft>
                <a:buClr>
                  <a:srgbClr val="002897"/>
                </a:buClr>
                <a:buSzPct val="70000"/>
                <a:buFontTx/>
                <a:buNone/>
                <a:tabLst/>
                <a:defRPr/>
              </a:pPr>
              <a:endParaRPr kumimoji="0" lang="en-US" sz="1000" b="1"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305" name="Rectangle 77">
              <a:extLst>
                <a:ext uri="{FF2B5EF4-FFF2-40B4-BE49-F238E27FC236}">
                  <a16:creationId xmlns:a16="http://schemas.microsoft.com/office/drawing/2014/main" id="{8F961C3A-E8C5-4ACE-A424-70DB173C9BE8}"/>
                </a:ext>
              </a:extLst>
            </p:cNvPr>
            <p:cNvSpPr/>
            <p:nvPr/>
          </p:nvSpPr>
          <p:spPr bwMode="gray">
            <a:xfrm>
              <a:off x="5588587" y="4957662"/>
              <a:ext cx="377694" cy="193053"/>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sp>
        <p:nvSpPr>
          <p:cNvPr id="9" name="Subtitle 8">
            <a:extLst>
              <a:ext uri="{FF2B5EF4-FFF2-40B4-BE49-F238E27FC236}">
                <a16:creationId xmlns:a16="http://schemas.microsoft.com/office/drawing/2014/main" id="{07890C64-AFB8-4202-8908-FA2DD448B1E5}"/>
              </a:ext>
            </a:extLst>
          </p:cNvPr>
          <p:cNvSpPr>
            <a:spLocks noGrp="1"/>
          </p:cNvSpPr>
          <p:nvPr>
            <p:ph type="subTitle" idx="13"/>
          </p:nvPr>
        </p:nvSpPr>
        <p:spPr bwMode="gray"/>
        <p:txBody>
          <a:bodyPr/>
          <a:lstStyle/>
          <a:p>
            <a:r>
              <a:rPr lang="de-DE" dirty="0"/>
              <a:t>Up </a:t>
            </a:r>
            <a:r>
              <a:rPr lang="de-DE" dirty="0" err="1"/>
              <a:t>to</a:t>
            </a:r>
            <a:r>
              <a:rPr lang="de-DE" dirty="0"/>
              <a:t> </a:t>
            </a:r>
            <a:r>
              <a:rPr lang="de-DE" dirty="0" err="1"/>
              <a:t>two</a:t>
            </a:r>
            <a:r>
              <a:rPr lang="de-DE" dirty="0"/>
              <a:t> </a:t>
            </a:r>
            <a:r>
              <a:rPr lang="de-DE" dirty="0" err="1"/>
              <a:t>sensors</a:t>
            </a:r>
            <a:r>
              <a:rPr lang="de-DE" dirty="0"/>
              <a:t> per </a:t>
            </a:r>
            <a:r>
              <a:rPr lang="de-DE" dirty="0" err="1"/>
              <a:t>housing</a:t>
            </a:r>
            <a:r>
              <a:rPr lang="de-DE" dirty="0"/>
              <a:t>, </a:t>
            </a:r>
            <a:r>
              <a:rPr lang="de-DE" dirty="0" err="1"/>
              <a:t>multitude</a:t>
            </a:r>
            <a:r>
              <a:rPr lang="de-DE" dirty="0"/>
              <a:t> </a:t>
            </a:r>
            <a:r>
              <a:rPr lang="de-DE" dirty="0" err="1"/>
              <a:t>of</a:t>
            </a:r>
            <a:r>
              <a:rPr lang="de-DE" dirty="0"/>
              <a:t> </a:t>
            </a:r>
            <a:r>
              <a:rPr lang="de-DE" dirty="0" err="1"/>
              <a:t>combinations</a:t>
            </a:r>
            <a:endParaRPr lang="en-US" dirty="0"/>
          </a:p>
        </p:txBody>
      </p:sp>
      <p:cxnSp>
        <p:nvCxnSpPr>
          <p:cNvPr id="11" name="Straight Connector 10">
            <a:extLst>
              <a:ext uri="{FF2B5EF4-FFF2-40B4-BE49-F238E27FC236}">
                <a16:creationId xmlns:a16="http://schemas.microsoft.com/office/drawing/2014/main" id="{0E1B9B61-6E13-4EFD-BB69-2C3863D444CA}"/>
              </a:ext>
            </a:extLst>
          </p:cNvPr>
          <p:cNvCxnSpPr>
            <a:stCxn id="255" idx="6"/>
            <a:endCxn id="268" idx="0"/>
          </p:cNvCxnSpPr>
          <p:nvPr/>
        </p:nvCxnSpPr>
        <p:spPr bwMode="gray">
          <a:xfrm>
            <a:off x="763900" y="2145385"/>
            <a:ext cx="168933" cy="1"/>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4" name="Straight Connector 703">
            <a:extLst>
              <a:ext uri="{FF2B5EF4-FFF2-40B4-BE49-F238E27FC236}">
                <a16:creationId xmlns:a16="http://schemas.microsoft.com/office/drawing/2014/main" id="{F8C46C64-EABE-4431-A2C9-052759DBE001}"/>
              </a:ext>
            </a:extLst>
          </p:cNvPr>
          <p:cNvCxnSpPr>
            <a:cxnSpLocks/>
            <a:stCxn id="443" idx="6"/>
            <a:endCxn id="456" idx="0"/>
          </p:cNvCxnSpPr>
          <p:nvPr/>
        </p:nvCxnSpPr>
        <p:spPr bwMode="gray">
          <a:xfrm>
            <a:off x="763900" y="2830096"/>
            <a:ext cx="168933" cy="1"/>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5" name="Straight Connector 704">
            <a:extLst>
              <a:ext uri="{FF2B5EF4-FFF2-40B4-BE49-F238E27FC236}">
                <a16:creationId xmlns:a16="http://schemas.microsoft.com/office/drawing/2014/main" id="{712B2094-8C92-4C50-AAE5-1FA3A3DD5D96}"/>
              </a:ext>
            </a:extLst>
          </p:cNvPr>
          <p:cNvCxnSpPr>
            <a:cxnSpLocks/>
            <a:stCxn id="463" idx="6"/>
            <a:endCxn id="586" idx="2"/>
          </p:cNvCxnSpPr>
          <p:nvPr/>
        </p:nvCxnSpPr>
        <p:spPr bwMode="gray">
          <a:xfrm>
            <a:off x="766809" y="3537667"/>
            <a:ext cx="168122" cy="697"/>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7" name="Straight Connector 706">
            <a:extLst>
              <a:ext uri="{FF2B5EF4-FFF2-40B4-BE49-F238E27FC236}">
                <a16:creationId xmlns:a16="http://schemas.microsoft.com/office/drawing/2014/main" id="{13B7B5A0-CD60-449A-91FE-997DA2BA3AA0}"/>
              </a:ext>
            </a:extLst>
          </p:cNvPr>
          <p:cNvCxnSpPr>
            <a:cxnSpLocks/>
            <a:stCxn id="476" idx="6"/>
            <a:endCxn id="302" idx="2"/>
          </p:cNvCxnSpPr>
          <p:nvPr/>
        </p:nvCxnSpPr>
        <p:spPr bwMode="gray">
          <a:xfrm>
            <a:off x="763900" y="4279528"/>
            <a:ext cx="167541" cy="697"/>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8" name="Straight Connector 707">
            <a:extLst>
              <a:ext uri="{FF2B5EF4-FFF2-40B4-BE49-F238E27FC236}">
                <a16:creationId xmlns:a16="http://schemas.microsoft.com/office/drawing/2014/main" id="{C47D96A1-0FB5-4B94-94A7-9423C3FAC430}"/>
              </a:ext>
            </a:extLst>
          </p:cNvPr>
          <p:cNvCxnSpPr>
            <a:cxnSpLocks/>
            <a:stCxn id="340" idx="4"/>
            <a:endCxn id="531" idx="0"/>
          </p:cNvCxnSpPr>
          <p:nvPr/>
        </p:nvCxnSpPr>
        <p:spPr bwMode="gray">
          <a:xfrm>
            <a:off x="11251246" y="2143316"/>
            <a:ext cx="168933"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9" name="Straight Connector 708">
            <a:extLst>
              <a:ext uri="{FF2B5EF4-FFF2-40B4-BE49-F238E27FC236}">
                <a16:creationId xmlns:a16="http://schemas.microsoft.com/office/drawing/2014/main" id="{BDF086AF-FD1B-4CC2-99DD-2494624AAA00}"/>
              </a:ext>
            </a:extLst>
          </p:cNvPr>
          <p:cNvCxnSpPr>
            <a:cxnSpLocks/>
            <a:stCxn id="503" idx="4"/>
            <a:endCxn id="538" idx="2"/>
          </p:cNvCxnSpPr>
          <p:nvPr/>
        </p:nvCxnSpPr>
        <p:spPr bwMode="gray">
          <a:xfrm>
            <a:off x="11250052" y="2827816"/>
            <a:ext cx="167541" cy="696"/>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1" name="Straight Connector 710">
            <a:extLst>
              <a:ext uri="{FF2B5EF4-FFF2-40B4-BE49-F238E27FC236}">
                <a16:creationId xmlns:a16="http://schemas.microsoft.com/office/drawing/2014/main" id="{9B3734DB-D378-4075-A847-3AF777E4E216}"/>
              </a:ext>
            </a:extLst>
          </p:cNvPr>
          <p:cNvCxnSpPr>
            <a:cxnSpLocks/>
            <a:stCxn id="285" idx="4"/>
            <a:endCxn id="354" idx="0"/>
          </p:cNvCxnSpPr>
          <p:nvPr/>
        </p:nvCxnSpPr>
        <p:spPr bwMode="gray">
          <a:xfrm>
            <a:off x="11251016" y="4279527"/>
            <a:ext cx="169514"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2" name="Straight Connector 711">
            <a:extLst>
              <a:ext uri="{FF2B5EF4-FFF2-40B4-BE49-F238E27FC236}">
                <a16:creationId xmlns:a16="http://schemas.microsoft.com/office/drawing/2014/main" id="{14B5C5EE-92A7-427F-BF6D-5985483C7DDB}"/>
              </a:ext>
            </a:extLst>
          </p:cNvPr>
          <p:cNvCxnSpPr>
            <a:cxnSpLocks/>
            <a:stCxn id="292" idx="4"/>
            <a:endCxn id="554" idx="2"/>
          </p:cNvCxnSpPr>
          <p:nvPr/>
        </p:nvCxnSpPr>
        <p:spPr bwMode="gray">
          <a:xfrm flipV="1">
            <a:off x="11251016" y="4976399"/>
            <a:ext cx="168122" cy="696"/>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3" name="Straight Connector 712">
            <a:extLst>
              <a:ext uri="{FF2B5EF4-FFF2-40B4-BE49-F238E27FC236}">
                <a16:creationId xmlns:a16="http://schemas.microsoft.com/office/drawing/2014/main" id="{717226E9-49F8-4FD9-843A-084A088F2442}"/>
              </a:ext>
            </a:extLst>
          </p:cNvPr>
          <p:cNvCxnSpPr>
            <a:cxnSpLocks/>
            <a:stCxn id="304" idx="6"/>
            <a:endCxn id="299" idx="2"/>
          </p:cNvCxnSpPr>
          <p:nvPr/>
        </p:nvCxnSpPr>
        <p:spPr bwMode="gray">
          <a:xfrm>
            <a:off x="11252408" y="5705016"/>
            <a:ext cx="166730" cy="0"/>
          </a:xfrm>
          <a:prstGeom prst="line">
            <a:avLst/>
          </a:prstGeom>
          <a:ln w="19050" cap="rnd">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126315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fill="hold" nodeType="withEffect">
                                  <p:stCondLst>
                                    <p:cond delay="0"/>
                                  </p:stCondLst>
                                  <p:childTnLst>
                                    <p:animMotion origin="layout" path="M -1.04167E-6 1.48148E-6 L -0.19505 0.02685 " pathEditMode="relative" rAng="0" ptsTypes="AA">
                                      <p:cBhvr>
                                        <p:cTn id="6" dur="500" fill="hold"/>
                                        <p:tgtEl>
                                          <p:spTgt spid="400"/>
                                        </p:tgtEl>
                                        <p:attrNameLst>
                                          <p:attrName>ppt_x</p:attrName>
                                          <p:attrName>ppt_y</p:attrName>
                                        </p:attrNameLst>
                                      </p:cBhvr>
                                      <p:rCtr x="-9740" y="1343"/>
                                    </p:animMotion>
                                  </p:childTnLst>
                                </p:cTn>
                              </p:par>
                              <p:par>
                                <p:cTn id="7" presetID="6" presetClass="emph" presetSubtype="0" fill="hold" nodeType="withEffect">
                                  <p:stCondLst>
                                    <p:cond delay="0"/>
                                  </p:stCondLst>
                                  <p:childTnLst>
                                    <p:animScale>
                                      <p:cBhvr>
                                        <p:cTn id="8" dur="500" fill="hold"/>
                                        <p:tgtEl>
                                          <p:spTgt spid="400"/>
                                        </p:tgtEl>
                                      </p:cBhvr>
                                      <p:by x="114000" y="114000"/>
                                    </p:animScale>
                                  </p:childTnLst>
                                </p:cTn>
                              </p:par>
                              <p:par>
                                <p:cTn id="9" presetID="10" presetClass="exit" presetSubtype="0" fill="hold" nodeType="withEffect">
                                  <p:stCondLst>
                                    <p:cond delay="500"/>
                                  </p:stCondLst>
                                  <p:childTnLst>
                                    <p:animEffect transition="out" filter="fade">
                                      <p:cBhvr>
                                        <p:cTn id="10" dur="500"/>
                                        <p:tgtEl>
                                          <p:spTgt spid="400"/>
                                        </p:tgtEl>
                                      </p:cBhvr>
                                    </p:animEffect>
                                    <p:set>
                                      <p:cBhvr>
                                        <p:cTn id="11" dur="1" fill="hold">
                                          <p:stCondLst>
                                            <p:cond delay="499"/>
                                          </p:stCondLst>
                                        </p:cTn>
                                        <p:tgtEl>
                                          <p:spTgt spid="400"/>
                                        </p:tgtEl>
                                        <p:attrNameLst>
                                          <p:attrName>style.visibility</p:attrName>
                                        </p:attrNameLst>
                                      </p:cBhvr>
                                      <p:to>
                                        <p:strVal val="hidden"/>
                                      </p:to>
                                    </p:set>
                                  </p:childTnLst>
                                </p:cTn>
                              </p:par>
                              <p:par>
                                <p:cTn id="12" presetID="10" presetClass="entr" presetSubtype="0" fill="hold" nodeType="withEffect">
                                  <p:stCondLst>
                                    <p:cond delay="500"/>
                                  </p:stCondLst>
                                  <p:childTnLst>
                                    <p:set>
                                      <p:cBhvr>
                                        <p:cTn id="13" dur="1" fill="hold">
                                          <p:stCondLst>
                                            <p:cond delay="0"/>
                                          </p:stCondLst>
                                        </p:cTn>
                                        <p:tgtEl>
                                          <p:spTgt spid="401"/>
                                        </p:tgtEl>
                                        <p:attrNameLst>
                                          <p:attrName>style.visibility</p:attrName>
                                        </p:attrNameLst>
                                      </p:cBhvr>
                                      <p:to>
                                        <p:strVal val="visible"/>
                                      </p:to>
                                    </p:set>
                                    <p:animEffect transition="in" filter="fade">
                                      <p:cBhvr>
                                        <p:cTn id="14" dur="500"/>
                                        <p:tgtEl>
                                          <p:spTgt spid="401"/>
                                        </p:tgtEl>
                                      </p:cBhvr>
                                    </p:animEffect>
                                  </p:childTnLst>
                                </p:cTn>
                              </p:par>
                              <p:par>
                                <p:cTn id="15" presetID="1" presetClass="entr" presetSubtype="0" fill="hold" grpId="0" nodeType="withEffect">
                                  <p:stCondLst>
                                    <p:cond delay="500"/>
                                  </p:stCondLst>
                                  <p:childTnLst>
                                    <p:set>
                                      <p:cBhvr>
                                        <p:cTn id="16" dur="1" fill="hold">
                                          <p:stCondLst>
                                            <p:cond delay="0"/>
                                          </p:stCondLst>
                                        </p:cTn>
                                        <p:tgtEl>
                                          <p:spTgt spid="39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44"/>
                                        </p:tgtEl>
                                        <p:attrNameLst>
                                          <p:attrName>style.visibility</p:attrName>
                                        </p:attrNameLst>
                                      </p:cBhvr>
                                      <p:to>
                                        <p:strVal val="visible"/>
                                      </p:to>
                                    </p:set>
                                    <p:animEffect transition="in" filter="fade">
                                      <p:cBhvr>
                                        <p:cTn id="21" dur="1000"/>
                                        <p:tgtEl>
                                          <p:spTgt spid="144"/>
                                        </p:tgtEl>
                                      </p:cBhvr>
                                    </p:animEffect>
                                    <p:anim calcmode="lin" valueType="num">
                                      <p:cBhvr>
                                        <p:cTn id="22" dur="1000" fill="hold"/>
                                        <p:tgtEl>
                                          <p:spTgt spid="144"/>
                                        </p:tgtEl>
                                        <p:attrNameLst>
                                          <p:attrName>ppt_x</p:attrName>
                                        </p:attrNameLst>
                                      </p:cBhvr>
                                      <p:tavLst>
                                        <p:tav tm="0">
                                          <p:val>
                                            <p:strVal val="#ppt_x"/>
                                          </p:val>
                                        </p:tav>
                                        <p:tav tm="100000">
                                          <p:val>
                                            <p:strVal val="#ppt_x"/>
                                          </p:val>
                                        </p:tav>
                                      </p:tavLst>
                                    </p:anim>
                                    <p:anim calcmode="lin" valueType="num">
                                      <p:cBhvr>
                                        <p:cTn id="23" dur="1000" fill="hold"/>
                                        <p:tgtEl>
                                          <p:spTgt spid="144"/>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396"/>
                                        </p:tgtEl>
                                        <p:attrNameLst>
                                          <p:attrName>style.visibility</p:attrName>
                                        </p:attrNameLst>
                                      </p:cBhvr>
                                      <p:to>
                                        <p:strVal val="visible"/>
                                      </p:to>
                                    </p:set>
                                    <p:animEffect transition="in" filter="fade">
                                      <p:cBhvr>
                                        <p:cTn id="26" dur="1000"/>
                                        <p:tgtEl>
                                          <p:spTgt spid="396"/>
                                        </p:tgtEl>
                                      </p:cBhvr>
                                    </p:animEffect>
                                    <p:anim calcmode="lin" valueType="num">
                                      <p:cBhvr>
                                        <p:cTn id="27" dur="1000" fill="hold"/>
                                        <p:tgtEl>
                                          <p:spTgt spid="396"/>
                                        </p:tgtEl>
                                        <p:attrNameLst>
                                          <p:attrName>ppt_x</p:attrName>
                                        </p:attrNameLst>
                                      </p:cBhvr>
                                      <p:tavLst>
                                        <p:tav tm="0">
                                          <p:val>
                                            <p:strVal val="#ppt_x"/>
                                          </p:val>
                                        </p:tav>
                                        <p:tav tm="100000">
                                          <p:val>
                                            <p:strVal val="#ppt_x"/>
                                          </p:val>
                                        </p:tav>
                                      </p:tavLst>
                                    </p:anim>
                                    <p:anim calcmode="lin" valueType="num">
                                      <p:cBhvr>
                                        <p:cTn id="28" dur="1000" fill="hold"/>
                                        <p:tgtEl>
                                          <p:spTgt spid="396"/>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1000"/>
                                        <p:tgtEl>
                                          <p:spTgt spid="11"/>
                                        </p:tgtEl>
                                      </p:cBhvr>
                                    </p:animEffect>
                                    <p:anim calcmode="lin" valueType="num">
                                      <p:cBhvr>
                                        <p:cTn id="32" dur="1000" fill="hold"/>
                                        <p:tgtEl>
                                          <p:spTgt spid="11"/>
                                        </p:tgtEl>
                                        <p:attrNameLst>
                                          <p:attrName>ppt_x</p:attrName>
                                        </p:attrNameLst>
                                      </p:cBhvr>
                                      <p:tavLst>
                                        <p:tav tm="0">
                                          <p:val>
                                            <p:strVal val="#ppt_x"/>
                                          </p:val>
                                        </p:tav>
                                        <p:tav tm="100000">
                                          <p:val>
                                            <p:strVal val="#ppt_x"/>
                                          </p:val>
                                        </p:tav>
                                      </p:tavLst>
                                    </p:anim>
                                    <p:anim calcmode="lin" valueType="num">
                                      <p:cBhvr>
                                        <p:cTn id="33" dur="1000" fill="hold"/>
                                        <p:tgtEl>
                                          <p:spTgt spid="11"/>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612"/>
                                        </p:tgtEl>
                                        <p:attrNameLst>
                                          <p:attrName>style.visibility</p:attrName>
                                        </p:attrNameLst>
                                      </p:cBhvr>
                                      <p:to>
                                        <p:strVal val="visible"/>
                                      </p:to>
                                    </p:set>
                                    <p:animEffect transition="in" filter="fade">
                                      <p:cBhvr>
                                        <p:cTn id="36" dur="1000"/>
                                        <p:tgtEl>
                                          <p:spTgt spid="612"/>
                                        </p:tgtEl>
                                      </p:cBhvr>
                                    </p:animEffect>
                                    <p:anim calcmode="lin" valueType="num">
                                      <p:cBhvr>
                                        <p:cTn id="37" dur="1000" fill="hold"/>
                                        <p:tgtEl>
                                          <p:spTgt spid="612"/>
                                        </p:tgtEl>
                                        <p:attrNameLst>
                                          <p:attrName>ppt_x</p:attrName>
                                        </p:attrNameLst>
                                      </p:cBhvr>
                                      <p:tavLst>
                                        <p:tav tm="0">
                                          <p:val>
                                            <p:strVal val="#ppt_x"/>
                                          </p:val>
                                        </p:tav>
                                        <p:tav tm="100000">
                                          <p:val>
                                            <p:strVal val="#ppt_x"/>
                                          </p:val>
                                        </p:tav>
                                      </p:tavLst>
                                    </p:anim>
                                    <p:anim calcmode="lin" valueType="num">
                                      <p:cBhvr>
                                        <p:cTn id="38" dur="1000" fill="hold"/>
                                        <p:tgtEl>
                                          <p:spTgt spid="612"/>
                                        </p:tgtEl>
                                        <p:attrNameLst>
                                          <p:attrName>ppt_y</p:attrName>
                                        </p:attrNameLst>
                                      </p:cBhvr>
                                      <p:tavLst>
                                        <p:tav tm="0">
                                          <p:val>
                                            <p:strVal val="#ppt_y+.1"/>
                                          </p:val>
                                        </p:tav>
                                        <p:tav tm="100000">
                                          <p:val>
                                            <p:strVal val="#ppt_y"/>
                                          </p:val>
                                        </p:tav>
                                      </p:tavLst>
                                    </p:anim>
                                  </p:childTnLst>
                                </p:cTn>
                              </p:par>
                            </p:childTnLst>
                          </p:cTn>
                        </p:par>
                        <p:par>
                          <p:cTn id="39" fill="hold">
                            <p:stCondLst>
                              <p:cond delay="1000"/>
                            </p:stCondLst>
                            <p:childTnLst>
                              <p:par>
                                <p:cTn id="40" presetID="42" presetClass="entr" presetSubtype="0" fill="hold" nodeType="afterEffect">
                                  <p:stCondLst>
                                    <p:cond delay="0"/>
                                  </p:stCondLst>
                                  <p:childTnLst>
                                    <p:set>
                                      <p:cBhvr>
                                        <p:cTn id="41" dur="1" fill="hold">
                                          <p:stCondLst>
                                            <p:cond delay="0"/>
                                          </p:stCondLst>
                                        </p:cTn>
                                        <p:tgtEl>
                                          <p:spTgt spid="442"/>
                                        </p:tgtEl>
                                        <p:attrNameLst>
                                          <p:attrName>style.visibility</p:attrName>
                                        </p:attrNameLst>
                                      </p:cBhvr>
                                      <p:to>
                                        <p:strVal val="visible"/>
                                      </p:to>
                                    </p:set>
                                    <p:animEffect transition="in" filter="fade">
                                      <p:cBhvr>
                                        <p:cTn id="42" dur="1000"/>
                                        <p:tgtEl>
                                          <p:spTgt spid="442"/>
                                        </p:tgtEl>
                                      </p:cBhvr>
                                    </p:animEffect>
                                    <p:anim calcmode="lin" valueType="num">
                                      <p:cBhvr>
                                        <p:cTn id="43" dur="1000" fill="hold"/>
                                        <p:tgtEl>
                                          <p:spTgt spid="442"/>
                                        </p:tgtEl>
                                        <p:attrNameLst>
                                          <p:attrName>ppt_x</p:attrName>
                                        </p:attrNameLst>
                                      </p:cBhvr>
                                      <p:tavLst>
                                        <p:tav tm="0">
                                          <p:val>
                                            <p:strVal val="#ppt_x"/>
                                          </p:val>
                                        </p:tav>
                                        <p:tav tm="100000">
                                          <p:val>
                                            <p:strVal val="#ppt_x"/>
                                          </p:val>
                                        </p:tav>
                                      </p:tavLst>
                                    </p:anim>
                                    <p:anim calcmode="lin" valueType="num">
                                      <p:cBhvr>
                                        <p:cTn id="44" dur="1000" fill="hold"/>
                                        <p:tgtEl>
                                          <p:spTgt spid="442"/>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455"/>
                                        </p:tgtEl>
                                        <p:attrNameLst>
                                          <p:attrName>style.visibility</p:attrName>
                                        </p:attrNameLst>
                                      </p:cBhvr>
                                      <p:to>
                                        <p:strVal val="visible"/>
                                      </p:to>
                                    </p:set>
                                    <p:animEffect transition="in" filter="fade">
                                      <p:cBhvr>
                                        <p:cTn id="47" dur="1000"/>
                                        <p:tgtEl>
                                          <p:spTgt spid="455"/>
                                        </p:tgtEl>
                                      </p:cBhvr>
                                    </p:animEffect>
                                    <p:anim calcmode="lin" valueType="num">
                                      <p:cBhvr>
                                        <p:cTn id="48" dur="1000" fill="hold"/>
                                        <p:tgtEl>
                                          <p:spTgt spid="455"/>
                                        </p:tgtEl>
                                        <p:attrNameLst>
                                          <p:attrName>ppt_x</p:attrName>
                                        </p:attrNameLst>
                                      </p:cBhvr>
                                      <p:tavLst>
                                        <p:tav tm="0">
                                          <p:val>
                                            <p:strVal val="#ppt_x"/>
                                          </p:val>
                                        </p:tav>
                                        <p:tav tm="100000">
                                          <p:val>
                                            <p:strVal val="#ppt_x"/>
                                          </p:val>
                                        </p:tav>
                                      </p:tavLst>
                                    </p:anim>
                                    <p:anim calcmode="lin" valueType="num">
                                      <p:cBhvr>
                                        <p:cTn id="49" dur="1000" fill="hold"/>
                                        <p:tgtEl>
                                          <p:spTgt spid="45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614"/>
                                        </p:tgtEl>
                                        <p:attrNameLst>
                                          <p:attrName>style.visibility</p:attrName>
                                        </p:attrNameLst>
                                      </p:cBhvr>
                                      <p:to>
                                        <p:strVal val="visible"/>
                                      </p:to>
                                    </p:set>
                                    <p:animEffect transition="in" filter="fade">
                                      <p:cBhvr>
                                        <p:cTn id="52" dur="1000"/>
                                        <p:tgtEl>
                                          <p:spTgt spid="614"/>
                                        </p:tgtEl>
                                      </p:cBhvr>
                                    </p:animEffect>
                                    <p:anim calcmode="lin" valueType="num">
                                      <p:cBhvr>
                                        <p:cTn id="53" dur="1000" fill="hold"/>
                                        <p:tgtEl>
                                          <p:spTgt spid="614"/>
                                        </p:tgtEl>
                                        <p:attrNameLst>
                                          <p:attrName>ppt_x</p:attrName>
                                        </p:attrNameLst>
                                      </p:cBhvr>
                                      <p:tavLst>
                                        <p:tav tm="0">
                                          <p:val>
                                            <p:strVal val="#ppt_x"/>
                                          </p:val>
                                        </p:tav>
                                        <p:tav tm="100000">
                                          <p:val>
                                            <p:strVal val="#ppt_x"/>
                                          </p:val>
                                        </p:tav>
                                      </p:tavLst>
                                    </p:anim>
                                    <p:anim calcmode="lin" valueType="num">
                                      <p:cBhvr>
                                        <p:cTn id="54" dur="1000" fill="hold"/>
                                        <p:tgtEl>
                                          <p:spTgt spid="614"/>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704"/>
                                        </p:tgtEl>
                                        <p:attrNameLst>
                                          <p:attrName>style.visibility</p:attrName>
                                        </p:attrNameLst>
                                      </p:cBhvr>
                                      <p:to>
                                        <p:strVal val="visible"/>
                                      </p:to>
                                    </p:set>
                                    <p:animEffect transition="in" filter="fade">
                                      <p:cBhvr>
                                        <p:cTn id="57" dur="1000"/>
                                        <p:tgtEl>
                                          <p:spTgt spid="704"/>
                                        </p:tgtEl>
                                      </p:cBhvr>
                                    </p:animEffect>
                                    <p:anim calcmode="lin" valueType="num">
                                      <p:cBhvr>
                                        <p:cTn id="58" dur="1000" fill="hold"/>
                                        <p:tgtEl>
                                          <p:spTgt spid="704"/>
                                        </p:tgtEl>
                                        <p:attrNameLst>
                                          <p:attrName>ppt_x</p:attrName>
                                        </p:attrNameLst>
                                      </p:cBhvr>
                                      <p:tavLst>
                                        <p:tav tm="0">
                                          <p:val>
                                            <p:strVal val="#ppt_x"/>
                                          </p:val>
                                        </p:tav>
                                        <p:tav tm="100000">
                                          <p:val>
                                            <p:strVal val="#ppt_x"/>
                                          </p:val>
                                        </p:tav>
                                      </p:tavLst>
                                    </p:anim>
                                    <p:anim calcmode="lin" valueType="num">
                                      <p:cBhvr>
                                        <p:cTn id="59" dur="1000" fill="hold"/>
                                        <p:tgtEl>
                                          <p:spTgt spid="704"/>
                                        </p:tgtEl>
                                        <p:attrNameLst>
                                          <p:attrName>ppt_y</p:attrName>
                                        </p:attrNameLst>
                                      </p:cBhvr>
                                      <p:tavLst>
                                        <p:tav tm="0">
                                          <p:val>
                                            <p:strVal val="#ppt_y+.1"/>
                                          </p:val>
                                        </p:tav>
                                        <p:tav tm="100000">
                                          <p:val>
                                            <p:strVal val="#ppt_y"/>
                                          </p:val>
                                        </p:tav>
                                      </p:tavLst>
                                    </p:anim>
                                  </p:childTnLst>
                                </p:cTn>
                              </p:par>
                            </p:childTnLst>
                          </p:cTn>
                        </p:par>
                        <p:par>
                          <p:cTn id="60" fill="hold">
                            <p:stCondLst>
                              <p:cond delay="2000"/>
                            </p:stCondLst>
                            <p:childTnLst>
                              <p:par>
                                <p:cTn id="61" presetID="42" presetClass="entr" presetSubtype="0" fill="hold" nodeType="afterEffect">
                                  <p:stCondLst>
                                    <p:cond delay="0"/>
                                  </p:stCondLst>
                                  <p:childTnLst>
                                    <p:set>
                                      <p:cBhvr>
                                        <p:cTn id="62" dur="1" fill="hold">
                                          <p:stCondLst>
                                            <p:cond delay="0"/>
                                          </p:stCondLst>
                                        </p:cTn>
                                        <p:tgtEl>
                                          <p:spTgt spid="462"/>
                                        </p:tgtEl>
                                        <p:attrNameLst>
                                          <p:attrName>style.visibility</p:attrName>
                                        </p:attrNameLst>
                                      </p:cBhvr>
                                      <p:to>
                                        <p:strVal val="visible"/>
                                      </p:to>
                                    </p:set>
                                    <p:animEffect transition="in" filter="fade">
                                      <p:cBhvr>
                                        <p:cTn id="63" dur="1000"/>
                                        <p:tgtEl>
                                          <p:spTgt spid="462"/>
                                        </p:tgtEl>
                                      </p:cBhvr>
                                    </p:animEffect>
                                    <p:anim calcmode="lin" valueType="num">
                                      <p:cBhvr>
                                        <p:cTn id="64" dur="1000" fill="hold"/>
                                        <p:tgtEl>
                                          <p:spTgt spid="462"/>
                                        </p:tgtEl>
                                        <p:attrNameLst>
                                          <p:attrName>ppt_x</p:attrName>
                                        </p:attrNameLst>
                                      </p:cBhvr>
                                      <p:tavLst>
                                        <p:tav tm="0">
                                          <p:val>
                                            <p:strVal val="#ppt_x"/>
                                          </p:val>
                                        </p:tav>
                                        <p:tav tm="100000">
                                          <p:val>
                                            <p:strVal val="#ppt_x"/>
                                          </p:val>
                                        </p:tav>
                                      </p:tavLst>
                                    </p:anim>
                                    <p:anim calcmode="lin" valueType="num">
                                      <p:cBhvr>
                                        <p:cTn id="65" dur="1000" fill="hold"/>
                                        <p:tgtEl>
                                          <p:spTgt spid="462"/>
                                        </p:tgtEl>
                                        <p:attrNameLst>
                                          <p:attrName>ppt_y</p:attrName>
                                        </p:attrNameLst>
                                      </p:cBhvr>
                                      <p:tavLst>
                                        <p:tav tm="0">
                                          <p:val>
                                            <p:strVal val="#ppt_y+.1"/>
                                          </p:val>
                                        </p:tav>
                                        <p:tav tm="100000">
                                          <p:val>
                                            <p:strVal val="#ppt_y"/>
                                          </p:val>
                                        </p:tav>
                                      </p:tavLst>
                                    </p:anim>
                                  </p:childTnLst>
                                </p:cTn>
                              </p:par>
                              <p:par>
                                <p:cTn id="66" presetID="42" presetClass="entr" presetSubtype="0" fill="hold" nodeType="withEffect">
                                  <p:stCondLst>
                                    <p:cond delay="0"/>
                                  </p:stCondLst>
                                  <p:childTnLst>
                                    <p:set>
                                      <p:cBhvr>
                                        <p:cTn id="67" dur="1" fill="hold">
                                          <p:stCondLst>
                                            <p:cond delay="0"/>
                                          </p:stCondLst>
                                        </p:cTn>
                                        <p:tgtEl>
                                          <p:spTgt spid="585"/>
                                        </p:tgtEl>
                                        <p:attrNameLst>
                                          <p:attrName>style.visibility</p:attrName>
                                        </p:attrNameLst>
                                      </p:cBhvr>
                                      <p:to>
                                        <p:strVal val="visible"/>
                                      </p:to>
                                    </p:set>
                                    <p:animEffect transition="in" filter="fade">
                                      <p:cBhvr>
                                        <p:cTn id="68" dur="1000"/>
                                        <p:tgtEl>
                                          <p:spTgt spid="585"/>
                                        </p:tgtEl>
                                      </p:cBhvr>
                                    </p:animEffect>
                                    <p:anim calcmode="lin" valueType="num">
                                      <p:cBhvr>
                                        <p:cTn id="69" dur="1000" fill="hold"/>
                                        <p:tgtEl>
                                          <p:spTgt spid="585"/>
                                        </p:tgtEl>
                                        <p:attrNameLst>
                                          <p:attrName>ppt_x</p:attrName>
                                        </p:attrNameLst>
                                      </p:cBhvr>
                                      <p:tavLst>
                                        <p:tav tm="0">
                                          <p:val>
                                            <p:strVal val="#ppt_x"/>
                                          </p:val>
                                        </p:tav>
                                        <p:tav tm="100000">
                                          <p:val>
                                            <p:strVal val="#ppt_x"/>
                                          </p:val>
                                        </p:tav>
                                      </p:tavLst>
                                    </p:anim>
                                    <p:anim calcmode="lin" valueType="num">
                                      <p:cBhvr>
                                        <p:cTn id="70" dur="1000" fill="hold"/>
                                        <p:tgtEl>
                                          <p:spTgt spid="585"/>
                                        </p:tgtEl>
                                        <p:attrNameLst>
                                          <p:attrName>ppt_y</p:attrName>
                                        </p:attrNameLst>
                                      </p:cBhvr>
                                      <p:tavLst>
                                        <p:tav tm="0">
                                          <p:val>
                                            <p:strVal val="#ppt_y+.1"/>
                                          </p:val>
                                        </p:tav>
                                        <p:tav tm="100000">
                                          <p:val>
                                            <p:strVal val="#ppt_y"/>
                                          </p:val>
                                        </p:tav>
                                      </p:tavLst>
                                    </p:anim>
                                  </p:childTnLst>
                                </p:cTn>
                              </p:par>
                              <p:par>
                                <p:cTn id="71" presetID="42" presetClass="entr" presetSubtype="0" fill="hold" grpId="0" nodeType="withEffect">
                                  <p:stCondLst>
                                    <p:cond delay="0"/>
                                  </p:stCondLst>
                                  <p:childTnLst>
                                    <p:set>
                                      <p:cBhvr>
                                        <p:cTn id="72" dur="1" fill="hold">
                                          <p:stCondLst>
                                            <p:cond delay="0"/>
                                          </p:stCondLst>
                                        </p:cTn>
                                        <p:tgtEl>
                                          <p:spTgt spid="615"/>
                                        </p:tgtEl>
                                        <p:attrNameLst>
                                          <p:attrName>style.visibility</p:attrName>
                                        </p:attrNameLst>
                                      </p:cBhvr>
                                      <p:to>
                                        <p:strVal val="visible"/>
                                      </p:to>
                                    </p:set>
                                    <p:animEffect transition="in" filter="fade">
                                      <p:cBhvr>
                                        <p:cTn id="73" dur="1000"/>
                                        <p:tgtEl>
                                          <p:spTgt spid="615"/>
                                        </p:tgtEl>
                                      </p:cBhvr>
                                    </p:animEffect>
                                    <p:anim calcmode="lin" valueType="num">
                                      <p:cBhvr>
                                        <p:cTn id="74" dur="1000" fill="hold"/>
                                        <p:tgtEl>
                                          <p:spTgt spid="615"/>
                                        </p:tgtEl>
                                        <p:attrNameLst>
                                          <p:attrName>ppt_x</p:attrName>
                                        </p:attrNameLst>
                                      </p:cBhvr>
                                      <p:tavLst>
                                        <p:tav tm="0">
                                          <p:val>
                                            <p:strVal val="#ppt_x"/>
                                          </p:val>
                                        </p:tav>
                                        <p:tav tm="100000">
                                          <p:val>
                                            <p:strVal val="#ppt_x"/>
                                          </p:val>
                                        </p:tav>
                                      </p:tavLst>
                                    </p:anim>
                                    <p:anim calcmode="lin" valueType="num">
                                      <p:cBhvr>
                                        <p:cTn id="75" dur="1000" fill="hold"/>
                                        <p:tgtEl>
                                          <p:spTgt spid="615"/>
                                        </p:tgtEl>
                                        <p:attrNameLst>
                                          <p:attrName>ppt_y</p:attrName>
                                        </p:attrNameLst>
                                      </p:cBhvr>
                                      <p:tavLst>
                                        <p:tav tm="0">
                                          <p:val>
                                            <p:strVal val="#ppt_y+.1"/>
                                          </p:val>
                                        </p:tav>
                                        <p:tav tm="100000">
                                          <p:val>
                                            <p:strVal val="#ppt_y"/>
                                          </p:val>
                                        </p:tav>
                                      </p:tavLst>
                                    </p:anim>
                                  </p:childTnLst>
                                </p:cTn>
                              </p:par>
                              <p:par>
                                <p:cTn id="76" presetID="42" presetClass="entr" presetSubtype="0" fill="hold" nodeType="withEffect">
                                  <p:stCondLst>
                                    <p:cond delay="0"/>
                                  </p:stCondLst>
                                  <p:childTnLst>
                                    <p:set>
                                      <p:cBhvr>
                                        <p:cTn id="77" dur="1" fill="hold">
                                          <p:stCondLst>
                                            <p:cond delay="0"/>
                                          </p:stCondLst>
                                        </p:cTn>
                                        <p:tgtEl>
                                          <p:spTgt spid="705"/>
                                        </p:tgtEl>
                                        <p:attrNameLst>
                                          <p:attrName>style.visibility</p:attrName>
                                        </p:attrNameLst>
                                      </p:cBhvr>
                                      <p:to>
                                        <p:strVal val="visible"/>
                                      </p:to>
                                    </p:set>
                                    <p:animEffect transition="in" filter="fade">
                                      <p:cBhvr>
                                        <p:cTn id="78" dur="1000"/>
                                        <p:tgtEl>
                                          <p:spTgt spid="705"/>
                                        </p:tgtEl>
                                      </p:cBhvr>
                                    </p:animEffect>
                                    <p:anim calcmode="lin" valueType="num">
                                      <p:cBhvr>
                                        <p:cTn id="79" dur="1000" fill="hold"/>
                                        <p:tgtEl>
                                          <p:spTgt spid="705"/>
                                        </p:tgtEl>
                                        <p:attrNameLst>
                                          <p:attrName>ppt_x</p:attrName>
                                        </p:attrNameLst>
                                      </p:cBhvr>
                                      <p:tavLst>
                                        <p:tav tm="0">
                                          <p:val>
                                            <p:strVal val="#ppt_x"/>
                                          </p:val>
                                        </p:tav>
                                        <p:tav tm="100000">
                                          <p:val>
                                            <p:strVal val="#ppt_x"/>
                                          </p:val>
                                        </p:tav>
                                      </p:tavLst>
                                    </p:anim>
                                    <p:anim calcmode="lin" valueType="num">
                                      <p:cBhvr>
                                        <p:cTn id="80" dur="1000" fill="hold"/>
                                        <p:tgtEl>
                                          <p:spTgt spid="705"/>
                                        </p:tgtEl>
                                        <p:attrNameLst>
                                          <p:attrName>ppt_y</p:attrName>
                                        </p:attrNameLst>
                                      </p:cBhvr>
                                      <p:tavLst>
                                        <p:tav tm="0">
                                          <p:val>
                                            <p:strVal val="#ppt_y+.1"/>
                                          </p:val>
                                        </p:tav>
                                        <p:tav tm="100000">
                                          <p:val>
                                            <p:strVal val="#ppt_y"/>
                                          </p:val>
                                        </p:tav>
                                      </p:tavLst>
                                    </p:anim>
                                  </p:childTnLst>
                                </p:cTn>
                              </p:par>
                            </p:childTnLst>
                          </p:cTn>
                        </p:par>
                        <p:par>
                          <p:cTn id="81" fill="hold">
                            <p:stCondLst>
                              <p:cond delay="3000"/>
                            </p:stCondLst>
                            <p:childTnLst>
                              <p:par>
                                <p:cTn id="82" presetID="42" presetClass="entr" presetSubtype="0" fill="hold" nodeType="afterEffect">
                                  <p:stCondLst>
                                    <p:cond delay="0"/>
                                  </p:stCondLst>
                                  <p:childTnLst>
                                    <p:set>
                                      <p:cBhvr>
                                        <p:cTn id="83" dur="1" fill="hold">
                                          <p:stCondLst>
                                            <p:cond delay="0"/>
                                          </p:stCondLst>
                                        </p:cTn>
                                        <p:tgtEl>
                                          <p:spTgt spid="139"/>
                                        </p:tgtEl>
                                        <p:attrNameLst>
                                          <p:attrName>style.visibility</p:attrName>
                                        </p:attrNameLst>
                                      </p:cBhvr>
                                      <p:to>
                                        <p:strVal val="visible"/>
                                      </p:to>
                                    </p:set>
                                    <p:animEffect transition="in" filter="fade">
                                      <p:cBhvr>
                                        <p:cTn id="84" dur="1000"/>
                                        <p:tgtEl>
                                          <p:spTgt spid="139"/>
                                        </p:tgtEl>
                                      </p:cBhvr>
                                    </p:animEffect>
                                    <p:anim calcmode="lin" valueType="num">
                                      <p:cBhvr>
                                        <p:cTn id="85" dur="1000" fill="hold"/>
                                        <p:tgtEl>
                                          <p:spTgt spid="139"/>
                                        </p:tgtEl>
                                        <p:attrNameLst>
                                          <p:attrName>ppt_x</p:attrName>
                                        </p:attrNameLst>
                                      </p:cBhvr>
                                      <p:tavLst>
                                        <p:tav tm="0">
                                          <p:val>
                                            <p:strVal val="#ppt_x"/>
                                          </p:val>
                                        </p:tav>
                                        <p:tav tm="100000">
                                          <p:val>
                                            <p:strVal val="#ppt_x"/>
                                          </p:val>
                                        </p:tav>
                                      </p:tavLst>
                                    </p:anim>
                                    <p:anim calcmode="lin" valueType="num">
                                      <p:cBhvr>
                                        <p:cTn id="86" dur="1000" fill="hold"/>
                                        <p:tgtEl>
                                          <p:spTgt spid="139"/>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475"/>
                                        </p:tgtEl>
                                        <p:attrNameLst>
                                          <p:attrName>style.visibility</p:attrName>
                                        </p:attrNameLst>
                                      </p:cBhvr>
                                      <p:to>
                                        <p:strVal val="visible"/>
                                      </p:to>
                                    </p:set>
                                    <p:animEffect transition="in" filter="fade">
                                      <p:cBhvr>
                                        <p:cTn id="89" dur="1000"/>
                                        <p:tgtEl>
                                          <p:spTgt spid="475"/>
                                        </p:tgtEl>
                                      </p:cBhvr>
                                    </p:animEffect>
                                    <p:anim calcmode="lin" valueType="num">
                                      <p:cBhvr>
                                        <p:cTn id="90" dur="1000" fill="hold"/>
                                        <p:tgtEl>
                                          <p:spTgt spid="475"/>
                                        </p:tgtEl>
                                        <p:attrNameLst>
                                          <p:attrName>ppt_x</p:attrName>
                                        </p:attrNameLst>
                                      </p:cBhvr>
                                      <p:tavLst>
                                        <p:tav tm="0">
                                          <p:val>
                                            <p:strVal val="#ppt_x"/>
                                          </p:val>
                                        </p:tav>
                                        <p:tav tm="100000">
                                          <p:val>
                                            <p:strVal val="#ppt_x"/>
                                          </p:val>
                                        </p:tav>
                                      </p:tavLst>
                                    </p:anim>
                                    <p:anim calcmode="lin" valueType="num">
                                      <p:cBhvr>
                                        <p:cTn id="91" dur="1000" fill="hold"/>
                                        <p:tgtEl>
                                          <p:spTgt spid="475"/>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0"/>
                                  </p:stCondLst>
                                  <p:childTnLst>
                                    <p:set>
                                      <p:cBhvr>
                                        <p:cTn id="93" dur="1" fill="hold">
                                          <p:stCondLst>
                                            <p:cond delay="0"/>
                                          </p:stCondLst>
                                        </p:cTn>
                                        <p:tgtEl>
                                          <p:spTgt spid="616"/>
                                        </p:tgtEl>
                                        <p:attrNameLst>
                                          <p:attrName>style.visibility</p:attrName>
                                        </p:attrNameLst>
                                      </p:cBhvr>
                                      <p:to>
                                        <p:strVal val="visible"/>
                                      </p:to>
                                    </p:set>
                                    <p:animEffect transition="in" filter="fade">
                                      <p:cBhvr>
                                        <p:cTn id="94" dur="1000"/>
                                        <p:tgtEl>
                                          <p:spTgt spid="616"/>
                                        </p:tgtEl>
                                      </p:cBhvr>
                                    </p:animEffect>
                                    <p:anim calcmode="lin" valueType="num">
                                      <p:cBhvr>
                                        <p:cTn id="95" dur="1000" fill="hold"/>
                                        <p:tgtEl>
                                          <p:spTgt spid="616"/>
                                        </p:tgtEl>
                                        <p:attrNameLst>
                                          <p:attrName>ppt_x</p:attrName>
                                        </p:attrNameLst>
                                      </p:cBhvr>
                                      <p:tavLst>
                                        <p:tav tm="0">
                                          <p:val>
                                            <p:strVal val="#ppt_x"/>
                                          </p:val>
                                        </p:tav>
                                        <p:tav tm="100000">
                                          <p:val>
                                            <p:strVal val="#ppt_x"/>
                                          </p:val>
                                        </p:tav>
                                      </p:tavLst>
                                    </p:anim>
                                    <p:anim calcmode="lin" valueType="num">
                                      <p:cBhvr>
                                        <p:cTn id="96" dur="1000" fill="hold"/>
                                        <p:tgtEl>
                                          <p:spTgt spid="616"/>
                                        </p:tgtEl>
                                        <p:attrNameLst>
                                          <p:attrName>ppt_y</p:attrName>
                                        </p:attrNameLst>
                                      </p:cBhvr>
                                      <p:tavLst>
                                        <p:tav tm="0">
                                          <p:val>
                                            <p:strVal val="#ppt_y+.1"/>
                                          </p:val>
                                        </p:tav>
                                        <p:tav tm="100000">
                                          <p:val>
                                            <p:strVal val="#ppt_y"/>
                                          </p:val>
                                        </p:tav>
                                      </p:tavLst>
                                    </p:anim>
                                  </p:childTnLst>
                                </p:cTn>
                              </p:par>
                              <p:par>
                                <p:cTn id="97" presetID="42" presetClass="entr" presetSubtype="0" fill="hold" nodeType="withEffect">
                                  <p:stCondLst>
                                    <p:cond delay="0"/>
                                  </p:stCondLst>
                                  <p:childTnLst>
                                    <p:set>
                                      <p:cBhvr>
                                        <p:cTn id="98" dur="1" fill="hold">
                                          <p:stCondLst>
                                            <p:cond delay="0"/>
                                          </p:stCondLst>
                                        </p:cTn>
                                        <p:tgtEl>
                                          <p:spTgt spid="707"/>
                                        </p:tgtEl>
                                        <p:attrNameLst>
                                          <p:attrName>style.visibility</p:attrName>
                                        </p:attrNameLst>
                                      </p:cBhvr>
                                      <p:to>
                                        <p:strVal val="visible"/>
                                      </p:to>
                                    </p:set>
                                    <p:animEffect transition="in" filter="fade">
                                      <p:cBhvr>
                                        <p:cTn id="99" dur="1000"/>
                                        <p:tgtEl>
                                          <p:spTgt spid="707"/>
                                        </p:tgtEl>
                                      </p:cBhvr>
                                    </p:animEffect>
                                    <p:anim calcmode="lin" valueType="num">
                                      <p:cBhvr>
                                        <p:cTn id="100" dur="1000" fill="hold"/>
                                        <p:tgtEl>
                                          <p:spTgt spid="707"/>
                                        </p:tgtEl>
                                        <p:attrNameLst>
                                          <p:attrName>ppt_x</p:attrName>
                                        </p:attrNameLst>
                                      </p:cBhvr>
                                      <p:tavLst>
                                        <p:tav tm="0">
                                          <p:val>
                                            <p:strVal val="#ppt_x"/>
                                          </p:val>
                                        </p:tav>
                                        <p:tav tm="100000">
                                          <p:val>
                                            <p:strVal val="#ppt_x"/>
                                          </p:val>
                                        </p:tav>
                                      </p:tavLst>
                                    </p:anim>
                                    <p:anim calcmode="lin" valueType="num">
                                      <p:cBhvr>
                                        <p:cTn id="101" dur="1000" fill="hold"/>
                                        <p:tgtEl>
                                          <p:spTgt spid="707"/>
                                        </p:tgtEl>
                                        <p:attrNameLst>
                                          <p:attrName>ppt_y</p:attrName>
                                        </p:attrNameLst>
                                      </p:cBhvr>
                                      <p:tavLst>
                                        <p:tav tm="0">
                                          <p:val>
                                            <p:strVal val="#ppt_y+.1"/>
                                          </p:val>
                                        </p:tav>
                                        <p:tav tm="100000">
                                          <p:val>
                                            <p:strVal val="#ppt_y"/>
                                          </p:val>
                                        </p:tav>
                                      </p:tavLst>
                                    </p:anim>
                                  </p:childTnLst>
                                </p:cTn>
                              </p:par>
                            </p:childTnLst>
                          </p:cTn>
                        </p:par>
                      </p:childTnLst>
                    </p:cTn>
                  </p:par>
                  <p:par>
                    <p:cTn id="102" fill="hold">
                      <p:stCondLst>
                        <p:cond delay="indefinite"/>
                      </p:stCondLst>
                      <p:childTnLst>
                        <p:par>
                          <p:cTn id="103" fill="hold">
                            <p:stCondLst>
                              <p:cond delay="0"/>
                            </p:stCondLst>
                            <p:childTnLst>
                              <p:par>
                                <p:cTn id="104" presetID="42" presetClass="entr" presetSubtype="0" fill="hold" nodeType="clickEffect">
                                  <p:stCondLst>
                                    <p:cond delay="0"/>
                                  </p:stCondLst>
                                  <p:childTnLst>
                                    <p:set>
                                      <p:cBhvr>
                                        <p:cTn id="105" dur="1" fill="hold">
                                          <p:stCondLst>
                                            <p:cond delay="0"/>
                                          </p:stCondLst>
                                        </p:cTn>
                                        <p:tgtEl>
                                          <p:spTgt spid="145"/>
                                        </p:tgtEl>
                                        <p:attrNameLst>
                                          <p:attrName>style.visibility</p:attrName>
                                        </p:attrNameLst>
                                      </p:cBhvr>
                                      <p:to>
                                        <p:strVal val="visible"/>
                                      </p:to>
                                    </p:set>
                                    <p:animEffect transition="in" filter="fade">
                                      <p:cBhvr>
                                        <p:cTn id="106" dur="1000"/>
                                        <p:tgtEl>
                                          <p:spTgt spid="145"/>
                                        </p:tgtEl>
                                      </p:cBhvr>
                                    </p:animEffect>
                                    <p:anim calcmode="lin" valueType="num">
                                      <p:cBhvr>
                                        <p:cTn id="107" dur="1000" fill="hold"/>
                                        <p:tgtEl>
                                          <p:spTgt spid="145"/>
                                        </p:tgtEl>
                                        <p:attrNameLst>
                                          <p:attrName>ppt_x</p:attrName>
                                        </p:attrNameLst>
                                      </p:cBhvr>
                                      <p:tavLst>
                                        <p:tav tm="0">
                                          <p:val>
                                            <p:strVal val="#ppt_x"/>
                                          </p:val>
                                        </p:tav>
                                        <p:tav tm="100000">
                                          <p:val>
                                            <p:strVal val="#ppt_x"/>
                                          </p:val>
                                        </p:tav>
                                      </p:tavLst>
                                    </p:anim>
                                    <p:anim calcmode="lin" valueType="num">
                                      <p:cBhvr>
                                        <p:cTn id="108" dur="1000" fill="hold"/>
                                        <p:tgtEl>
                                          <p:spTgt spid="145"/>
                                        </p:tgtEl>
                                        <p:attrNameLst>
                                          <p:attrName>ppt_y</p:attrName>
                                        </p:attrNameLst>
                                      </p:cBhvr>
                                      <p:tavLst>
                                        <p:tav tm="0">
                                          <p:val>
                                            <p:strVal val="#ppt_y+.1"/>
                                          </p:val>
                                        </p:tav>
                                        <p:tav tm="100000">
                                          <p:val>
                                            <p:strVal val="#ppt_y"/>
                                          </p:val>
                                        </p:tav>
                                      </p:tavLst>
                                    </p:anim>
                                  </p:childTnLst>
                                </p:cTn>
                              </p:par>
                              <p:par>
                                <p:cTn id="109" presetID="42" presetClass="entr" presetSubtype="0" fill="hold" nodeType="withEffect">
                                  <p:stCondLst>
                                    <p:cond delay="0"/>
                                  </p:stCondLst>
                                  <p:childTnLst>
                                    <p:set>
                                      <p:cBhvr>
                                        <p:cTn id="110" dur="1" fill="hold">
                                          <p:stCondLst>
                                            <p:cond delay="0"/>
                                          </p:stCondLst>
                                        </p:cTn>
                                        <p:tgtEl>
                                          <p:spTgt spid="530"/>
                                        </p:tgtEl>
                                        <p:attrNameLst>
                                          <p:attrName>style.visibility</p:attrName>
                                        </p:attrNameLst>
                                      </p:cBhvr>
                                      <p:to>
                                        <p:strVal val="visible"/>
                                      </p:to>
                                    </p:set>
                                    <p:animEffect transition="in" filter="fade">
                                      <p:cBhvr>
                                        <p:cTn id="111" dur="1000"/>
                                        <p:tgtEl>
                                          <p:spTgt spid="530"/>
                                        </p:tgtEl>
                                      </p:cBhvr>
                                    </p:animEffect>
                                    <p:anim calcmode="lin" valueType="num">
                                      <p:cBhvr>
                                        <p:cTn id="112" dur="1000" fill="hold"/>
                                        <p:tgtEl>
                                          <p:spTgt spid="530"/>
                                        </p:tgtEl>
                                        <p:attrNameLst>
                                          <p:attrName>ppt_x</p:attrName>
                                        </p:attrNameLst>
                                      </p:cBhvr>
                                      <p:tavLst>
                                        <p:tav tm="0">
                                          <p:val>
                                            <p:strVal val="#ppt_x"/>
                                          </p:val>
                                        </p:tav>
                                        <p:tav tm="100000">
                                          <p:val>
                                            <p:strVal val="#ppt_x"/>
                                          </p:val>
                                        </p:tav>
                                      </p:tavLst>
                                    </p:anim>
                                    <p:anim calcmode="lin" valueType="num">
                                      <p:cBhvr>
                                        <p:cTn id="113" dur="1000" fill="hold"/>
                                        <p:tgtEl>
                                          <p:spTgt spid="530"/>
                                        </p:tgtEl>
                                        <p:attrNameLst>
                                          <p:attrName>ppt_y</p:attrName>
                                        </p:attrNameLst>
                                      </p:cBhvr>
                                      <p:tavLst>
                                        <p:tav tm="0">
                                          <p:val>
                                            <p:strVal val="#ppt_y+.1"/>
                                          </p:val>
                                        </p:tav>
                                        <p:tav tm="100000">
                                          <p:val>
                                            <p:strVal val="#ppt_y"/>
                                          </p:val>
                                        </p:tav>
                                      </p:tavLst>
                                    </p:anim>
                                  </p:childTnLst>
                                </p:cTn>
                              </p:par>
                              <p:par>
                                <p:cTn id="114" presetID="42" presetClass="entr" presetSubtype="0" fill="hold" grpId="0" nodeType="withEffect">
                                  <p:stCondLst>
                                    <p:cond delay="0"/>
                                  </p:stCondLst>
                                  <p:childTnLst>
                                    <p:set>
                                      <p:cBhvr>
                                        <p:cTn id="115" dur="1" fill="hold">
                                          <p:stCondLst>
                                            <p:cond delay="0"/>
                                          </p:stCondLst>
                                        </p:cTn>
                                        <p:tgtEl>
                                          <p:spTgt spid="617"/>
                                        </p:tgtEl>
                                        <p:attrNameLst>
                                          <p:attrName>style.visibility</p:attrName>
                                        </p:attrNameLst>
                                      </p:cBhvr>
                                      <p:to>
                                        <p:strVal val="visible"/>
                                      </p:to>
                                    </p:set>
                                    <p:animEffect transition="in" filter="fade">
                                      <p:cBhvr>
                                        <p:cTn id="116" dur="1000"/>
                                        <p:tgtEl>
                                          <p:spTgt spid="617"/>
                                        </p:tgtEl>
                                      </p:cBhvr>
                                    </p:animEffect>
                                    <p:anim calcmode="lin" valueType="num">
                                      <p:cBhvr>
                                        <p:cTn id="117" dur="1000" fill="hold"/>
                                        <p:tgtEl>
                                          <p:spTgt spid="617"/>
                                        </p:tgtEl>
                                        <p:attrNameLst>
                                          <p:attrName>ppt_x</p:attrName>
                                        </p:attrNameLst>
                                      </p:cBhvr>
                                      <p:tavLst>
                                        <p:tav tm="0">
                                          <p:val>
                                            <p:strVal val="#ppt_x"/>
                                          </p:val>
                                        </p:tav>
                                        <p:tav tm="100000">
                                          <p:val>
                                            <p:strVal val="#ppt_x"/>
                                          </p:val>
                                        </p:tav>
                                      </p:tavLst>
                                    </p:anim>
                                    <p:anim calcmode="lin" valueType="num">
                                      <p:cBhvr>
                                        <p:cTn id="118" dur="1000" fill="hold"/>
                                        <p:tgtEl>
                                          <p:spTgt spid="617"/>
                                        </p:tgtEl>
                                        <p:attrNameLst>
                                          <p:attrName>ppt_y</p:attrName>
                                        </p:attrNameLst>
                                      </p:cBhvr>
                                      <p:tavLst>
                                        <p:tav tm="0">
                                          <p:val>
                                            <p:strVal val="#ppt_y+.1"/>
                                          </p:val>
                                        </p:tav>
                                        <p:tav tm="100000">
                                          <p:val>
                                            <p:strVal val="#ppt_y"/>
                                          </p:val>
                                        </p:tav>
                                      </p:tavLst>
                                    </p:anim>
                                  </p:childTnLst>
                                </p:cTn>
                              </p:par>
                              <p:par>
                                <p:cTn id="119" presetID="42" presetClass="entr" presetSubtype="0" fill="hold" nodeType="withEffect">
                                  <p:stCondLst>
                                    <p:cond delay="0"/>
                                  </p:stCondLst>
                                  <p:childTnLst>
                                    <p:set>
                                      <p:cBhvr>
                                        <p:cTn id="120" dur="1" fill="hold">
                                          <p:stCondLst>
                                            <p:cond delay="0"/>
                                          </p:stCondLst>
                                        </p:cTn>
                                        <p:tgtEl>
                                          <p:spTgt spid="708"/>
                                        </p:tgtEl>
                                        <p:attrNameLst>
                                          <p:attrName>style.visibility</p:attrName>
                                        </p:attrNameLst>
                                      </p:cBhvr>
                                      <p:to>
                                        <p:strVal val="visible"/>
                                      </p:to>
                                    </p:set>
                                    <p:animEffect transition="in" filter="fade">
                                      <p:cBhvr>
                                        <p:cTn id="121" dur="1000"/>
                                        <p:tgtEl>
                                          <p:spTgt spid="708"/>
                                        </p:tgtEl>
                                      </p:cBhvr>
                                    </p:animEffect>
                                    <p:anim calcmode="lin" valueType="num">
                                      <p:cBhvr>
                                        <p:cTn id="122" dur="1000" fill="hold"/>
                                        <p:tgtEl>
                                          <p:spTgt spid="708"/>
                                        </p:tgtEl>
                                        <p:attrNameLst>
                                          <p:attrName>ppt_x</p:attrName>
                                        </p:attrNameLst>
                                      </p:cBhvr>
                                      <p:tavLst>
                                        <p:tav tm="0">
                                          <p:val>
                                            <p:strVal val="#ppt_x"/>
                                          </p:val>
                                        </p:tav>
                                        <p:tav tm="100000">
                                          <p:val>
                                            <p:strVal val="#ppt_x"/>
                                          </p:val>
                                        </p:tav>
                                      </p:tavLst>
                                    </p:anim>
                                    <p:anim calcmode="lin" valueType="num">
                                      <p:cBhvr>
                                        <p:cTn id="123" dur="1000" fill="hold"/>
                                        <p:tgtEl>
                                          <p:spTgt spid="708"/>
                                        </p:tgtEl>
                                        <p:attrNameLst>
                                          <p:attrName>ppt_y</p:attrName>
                                        </p:attrNameLst>
                                      </p:cBhvr>
                                      <p:tavLst>
                                        <p:tav tm="0">
                                          <p:val>
                                            <p:strVal val="#ppt_y+.1"/>
                                          </p:val>
                                        </p:tav>
                                        <p:tav tm="100000">
                                          <p:val>
                                            <p:strVal val="#ppt_y"/>
                                          </p:val>
                                        </p:tav>
                                      </p:tavLst>
                                    </p:anim>
                                  </p:childTnLst>
                                </p:cTn>
                              </p:par>
                            </p:childTnLst>
                          </p:cTn>
                        </p:par>
                        <p:par>
                          <p:cTn id="124" fill="hold">
                            <p:stCondLst>
                              <p:cond delay="1000"/>
                            </p:stCondLst>
                            <p:childTnLst>
                              <p:par>
                                <p:cTn id="125" presetID="42" presetClass="entr" presetSubtype="0" fill="hold" nodeType="afterEffect">
                                  <p:stCondLst>
                                    <p:cond delay="0"/>
                                  </p:stCondLst>
                                  <p:childTnLst>
                                    <p:set>
                                      <p:cBhvr>
                                        <p:cTn id="126" dur="1" fill="hold">
                                          <p:stCondLst>
                                            <p:cond delay="0"/>
                                          </p:stCondLst>
                                        </p:cTn>
                                        <p:tgtEl>
                                          <p:spTgt spid="502"/>
                                        </p:tgtEl>
                                        <p:attrNameLst>
                                          <p:attrName>style.visibility</p:attrName>
                                        </p:attrNameLst>
                                      </p:cBhvr>
                                      <p:to>
                                        <p:strVal val="visible"/>
                                      </p:to>
                                    </p:set>
                                    <p:animEffect transition="in" filter="fade">
                                      <p:cBhvr>
                                        <p:cTn id="127" dur="1000"/>
                                        <p:tgtEl>
                                          <p:spTgt spid="502"/>
                                        </p:tgtEl>
                                      </p:cBhvr>
                                    </p:animEffect>
                                    <p:anim calcmode="lin" valueType="num">
                                      <p:cBhvr>
                                        <p:cTn id="128" dur="1000" fill="hold"/>
                                        <p:tgtEl>
                                          <p:spTgt spid="502"/>
                                        </p:tgtEl>
                                        <p:attrNameLst>
                                          <p:attrName>ppt_x</p:attrName>
                                        </p:attrNameLst>
                                      </p:cBhvr>
                                      <p:tavLst>
                                        <p:tav tm="0">
                                          <p:val>
                                            <p:strVal val="#ppt_x"/>
                                          </p:val>
                                        </p:tav>
                                        <p:tav tm="100000">
                                          <p:val>
                                            <p:strVal val="#ppt_x"/>
                                          </p:val>
                                        </p:tav>
                                      </p:tavLst>
                                    </p:anim>
                                    <p:anim calcmode="lin" valueType="num">
                                      <p:cBhvr>
                                        <p:cTn id="129" dur="1000" fill="hold"/>
                                        <p:tgtEl>
                                          <p:spTgt spid="502"/>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0"/>
                                  </p:stCondLst>
                                  <p:childTnLst>
                                    <p:set>
                                      <p:cBhvr>
                                        <p:cTn id="131" dur="1" fill="hold">
                                          <p:stCondLst>
                                            <p:cond delay="0"/>
                                          </p:stCondLst>
                                        </p:cTn>
                                        <p:tgtEl>
                                          <p:spTgt spid="65"/>
                                        </p:tgtEl>
                                        <p:attrNameLst>
                                          <p:attrName>style.visibility</p:attrName>
                                        </p:attrNameLst>
                                      </p:cBhvr>
                                      <p:to>
                                        <p:strVal val="visible"/>
                                      </p:to>
                                    </p:set>
                                    <p:animEffect transition="in" filter="fade">
                                      <p:cBhvr>
                                        <p:cTn id="132" dur="1000"/>
                                        <p:tgtEl>
                                          <p:spTgt spid="65"/>
                                        </p:tgtEl>
                                      </p:cBhvr>
                                    </p:animEffect>
                                    <p:anim calcmode="lin" valueType="num">
                                      <p:cBhvr>
                                        <p:cTn id="133" dur="1000" fill="hold"/>
                                        <p:tgtEl>
                                          <p:spTgt spid="65"/>
                                        </p:tgtEl>
                                        <p:attrNameLst>
                                          <p:attrName>ppt_x</p:attrName>
                                        </p:attrNameLst>
                                      </p:cBhvr>
                                      <p:tavLst>
                                        <p:tav tm="0">
                                          <p:val>
                                            <p:strVal val="#ppt_x"/>
                                          </p:val>
                                        </p:tav>
                                        <p:tav tm="100000">
                                          <p:val>
                                            <p:strVal val="#ppt_x"/>
                                          </p:val>
                                        </p:tav>
                                      </p:tavLst>
                                    </p:anim>
                                    <p:anim calcmode="lin" valueType="num">
                                      <p:cBhvr>
                                        <p:cTn id="134" dur="1000" fill="hold"/>
                                        <p:tgtEl>
                                          <p:spTgt spid="65"/>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0"/>
                                  </p:stCondLst>
                                  <p:childTnLst>
                                    <p:set>
                                      <p:cBhvr>
                                        <p:cTn id="136" dur="1" fill="hold">
                                          <p:stCondLst>
                                            <p:cond delay="0"/>
                                          </p:stCondLst>
                                        </p:cTn>
                                        <p:tgtEl>
                                          <p:spTgt spid="618"/>
                                        </p:tgtEl>
                                        <p:attrNameLst>
                                          <p:attrName>style.visibility</p:attrName>
                                        </p:attrNameLst>
                                      </p:cBhvr>
                                      <p:to>
                                        <p:strVal val="visible"/>
                                      </p:to>
                                    </p:set>
                                    <p:animEffect transition="in" filter="fade">
                                      <p:cBhvr>
                                        <p:cTn id="137" dur="1000"/>
                                        <p:tgtEl>
                                          <p:spTgt spid="618"/>
                                        </p:tgtEl>
                                      </p:cBhvr>
                                    </p:animEffect>
                                    <p:anim calcmode="lin" valueType="num">
                                      <p:cBhvr>
                                        <p:cTn id="138" dur="1000" fill="hold"/>
                                        <p:tgtEl>
                                          <p:spTgt spid="618"/>
                                        </p:tgtEl>
                                        <p:attrNameLst>
                                          <p:attrName>ppt_x</p:attrName>
                                        </p:attrNameLst>
                                      </p:cBhvr>
                                      <p:tavLst>
                                        <p:tav tm="0">
                                          <p:val>
                                            <p:strVal val="#ppt_x"/>
                                          </p:val>
                                        </p:tav>
                                        <p:tav tm="100000">
                                          <p:val>
                                            <p:strVal val="#ppt_x"/>
                                          </p:val>
                                        </p:tav>
                                      </p:tavLst>
                                    </p:anim>
                                    <p:anim calcmode="lin" valueType="num">
                                      <p:cBhvr>
                                        <p:cTn id="139" dur="1000" fill="hold"/>
                                        <p:tgtEl>
                                          <p:spTgt spid="618"/>
                                        </p:tgtEl>
                                        <p:attrNameLst>
                                          <p:attrName>ppt_y</p:attrName>
                                        </p:attrNameLst>
                                      </p:cBhvr>
                                      <p:tavLst>
                                        <p:tav tm="0">
                                          <p:val>
                                            <p:strVal val="#ppt_y+.1"/>
                                          </p:val>
                                        </p:tav>
                                        <p:tav tm="100000">
                                          <p:val>
                                            <p:strVal val="#ppt_y"/>
                                          </p:val>
                                        </p:tav>
                                      </p:tavLst>
                                    </p:anim>
                                  </p:childTnLst>
                                </p:cTn>
                              </p:par>
                              <p:par>
                                <p:cTn id="140" presetID="42" presetClass="entr" presetSubtype="0" fill="hold" nodeType="withEffect">
                                  <p:stCondLst>
                                    <p:cond delay="0"/>
                                  </p:stCondLst>
                                  <p:childTnLst>
                                    <p:set>
                                      <p:cBhvr>
                                        <p:cTn id="141" dur="1" fill="hold">
                                          <p:stCondLst>
                                            <p:cond delay="0"/>
                                          </p:stCondLst>
                                        </p:cTn>
                                        <p:tgtEl>
                                          <p:spTgt spid="709"/>
                                        </p:tgtEl>
                                        <p:attrNameLst>
                                          <p:attrName>style.visibility</p:attrName>
                                        </p:attrNameLst>
                                      </p:cBhvr>
                                      <p:to>
                                        <p:strVal val="visible"/>
                                      </p:to>
                                    </p:set>
                                    <p:animEffect transition="in" filter="fade">
                                      <p:cBhvr>
                                        <p:cTn id="142" dur="1000"/>
                                        <p:tgtEl>
                                          <p:spTgt spid="709"/>
                                        </p:tgtEl>
                                      </p:cBhvr>
                                    </p:animEffect>
                                    <p:anim calcmode="lin" valueType="num">
                                      <p:cBhvr>
                                        <p:cTn id="143" dur="1000" fill="hold"/>
                                        <p:tgtEl>
                                          <p:spTgt spid="709"/>
                                        </p:tgtEl>
                                        <p:attrNameLst>
                                          <p:attrName>ppt_x</p:attrName>
                                        </p:attrNameLst>
                                      </p:cBhvr>
                                      <p:tavLst>
                                        <p:tav tm="0">
                                          <p:val>
                                            <p:strVal val="#ppt_x"/>
                                          </p:val>
                                        </p:tav>
                                        <p:tav tm="100000">
                                          <p:val>
                                            <p:strVal val="#ppt_x"/>
                                          </p:val>
                                        </p:tav>
                                      </p:tavLst>
                                    </p:anim>
                                    <p:anim calcmode="lin" valueType="num">
                                      <p:cBhvr>
                                        <p:cTn id="144" dur="1000" fill="hold"/>
                                        <p:tgtEl>
                                          <p:spTgt spid="709"/>
                                        </p:tgtEl>
                                        <p:attrNameLst>
                                          <p:attrName>ppt_y</p:attrName>
                                        </p:attrNameLst>
                                      </p:cBhvr>
                                      <p:tavLst>
                                        <p:tav tm="0">
                                          <p:val>
                                            <p:strVal val="#ppt_y+.1"/>
                                          </p:val>
                                        </p:tav>
                                        <p:tav tm="100000">
                                          <p:val>
                                            <p:strVal val="#ppt_y"/>
                                          </p:val>
                                        </p:tav>
                                      </p:tavLst>
                                    </p:anim>
                                  </p:childTnLst>
                                </p:cTn>
                              </p:par>
                            </p:childTnLst>
                          </p:cTn>
                        </p:par>
                      </p:childTnLst>
                    </p:cTn>
                  </p:par>
                  <p:par>
                    <p:cTn id="145" fill="hold">
                      <p:stCondLst>
                        <p:cond delay="indefinite"/>
                      </p:stCondLst>
                      <p:childTnLst>
                        <p:par>
                          <p:cTn id="146" fill="hold">
                            <p:stCondLst>
                              <p:cond delay="0"/>
                            </p:stCondLst>
                            <p:childTnLst>
                              <p:par>
                                <p:cTn id="147" presetID="42" presetClass="entr" presetSubtype="0" fill="hold" grpId="0" nodeType="clickEffect">
                                  <p:stCondLst>
                                    <p:cond delay="0"/>
                                  </p:stCondLst>
                                  <p:childTnLst>
                                    <p:set>
                                      <p:cBhvr>
                                        <p:cTn id="148" dur="1" fill="hold">
                                          <p:stCondLst>
                                            <p:cond delay="0"/>
                                          </p:stCondLst>
                                        </p:cTn>
                                        <p:tgtEl>
                                          <p:spTgt spid="623"/>
                                        </p:tgtEl>
                                        <p:attrNameLst>
                                          <p:attrName>style.visibility</p:attrName>
                                        </p:attrNameLst>
                                      </p:cBhvr>
                                      <p:to>
                                        <p:strVal val="visible"/>
                                      </p:to>
                                    </p:set>
                                    <p:animEffect transition="in" filter="fade">
                                      <p:cBhvr>
                                        <p:cTn id="149" dur="1000"/>
                                        <p:tgtEl>
                                          <p:spTgt spid="623"/>
                                        </p:tgtEl>
                                      </p:cBhvr>
                                    </p:animEffect>
                                    <p:anim calcmode="lin" valueType="num">
                                      <p:cBhvr>
                                        <p:cTn id="150" dur="1000" fill="hold"/>
                                        <p:tgtEl>
                                          <p:spTgt spid="623"/>
                                        </p:tgtEl>
                                        <p:attrNameLst>
                                          <p:attrName>ppt_x</p:attrName>
                                        </p:attrNameLst>
                                      </p:cBhvr>
                                      <p:tavLst>
                                        <p:tav tm="0">
                                          <p:val>
                                            <p:strVal val="#ppt_x"/>
                                          </p:val>
                                        </p:tav>
                                        <p:tav tm="100000">
                                          <p:val>
                                            <p:strVal val="#ppt_x"/>
                                          </p:val>
                                        </p:tav>
                                      </p:tavLst>
                                    </p:anim>
                                    <p:anim calcmode="lin" valueType="num">
                                      <p:cBhvr>
                                        <p:cTn id="151" dur="1000" fill="hold"/>
                                        <p:tgtEl>
                                          <p:spTgt spid="623"/>
                                        </p:tgtEl>
                                        <p:attrNameLst>
                                          <p:attrName>ppt_y</p:attrName>
                                        </p:attrNameLst>
                                      </p:cBhvr>
                                      <p:tavLst>
                                        <p:tav tm="0">
                                          <p:val>
                                            <p:strVal val="#ppt_y+.1"/>
                                          </p:val>
                                        </p:tav>
                                        <p:tav tm="100000">
                                          <p:val>
                                            <p:strVal val="#ppt_y"/>
                                          </p:val>
                                        </p:tav>
                                      </p:tavLst>
                                    </p:anim>
                                  </p:childTnLst>
                                </p:cTn>
                              </p:par>
                              <p:par>
                                <p:cTn id="152" presetID="42" presetClass="entr" presetSubtype="0" fill="hold" nodeType="withEffect">
                                  <p:stCondLst>
                                    <p:cond delay="0"/>
                                  </p:stCondLst>
                                  <p:childTnLst>
                                    <p:set>
                                      <p:cBhvr>
                                        <p:cTn id="153" dur="1" fill="hold">
                                          <p:stCondLst>
                                            <p:cond delay="0"/>
                                          </p:stCondLst>
                                        </p:cTn>
                                        <p:tgtEl>
                                          <p:spTgt spid="62"/>
                                        </p:tgtEl>
                                        <p:attrNameLst>
                                          <p:attrName>style.visibility</p:attrName>
                                        </p:attrNameLst>
                                      </p:cBhvr>
                                      <p:to>
                                        <p:strVal val="visible"/>
                                      </p:to>
                                    </p:set>
                                    <p:animEffect transition="in" filter="fade">
                                      <p:cBhvr>
                                        <p:cTn id="154" dur="1000"/>
                                        <p:tgtEl>
                                          <p:spTgt spid="62"/>
                                        </p:tgtEl>
                                      </p:cBhvr>
                                    </p:animEffect>
                                    <p:anim calcmode="lin" valueType="num">
                                      <p:cBhvr>
                                        <p:cTn id="155" dur="1000" fill="hold"/>
                                        <p:tgtEl>
                                          <p:spTgt spid="62"/>
                                        </p:tgtEl>
                                        <p:attrNameLst>
                                          <p:attrName>ppt_x</p:attrName>
                                        </p:attrNameLst>
                                      </p:cBhvr>
                                      <p:tavLst>
                                        <p:tav tm="0">
                                          <p:val>
                                            <p:strVal val="#ppt_x"/>
                                          </p:val>
                                        </p:tav>
                                        <p:tav tm="100000">
                                          <p:val>
                                            <p:strVal val="#ppt_x"/>
                                          </p:val>
                                        </p:tav>
                                      </p:tavLst>
                                    </p:anim>
                                    <p:anim calcmode="lin" valueType="num">
                                      <p:cBhvr>
                                        <p:cTn id="156" dur="1000" fill="hold"/>
                                        <p:tgtEl>
                                          <p:spTgt spid="62"/>
                                        </p:tgtEl>
                                        <p:attrNameLst>
                                          <p:attrName>ppt_y</p:attrName>
                                        </p:attrNameLst>
                                      </p:cBhvr>
                                      <p:tavLst>
                                        <p:tav tm="0">
                                          <p:val>
                                            <p:strVal val="#ppt_y+.1"/>
                                          </p:val>
                                        </p:tav>
                                        <p:tav tm="100000">
                                          <p:val>
                                            <p:strVal val="#ppt_y"/>
                                          </p:val>
                                        </p:tav>
                                      </p:tavLst>
                                    </p:anim>
                                  </p:childTnLst>
                                </p:cTn>
                              </p:par>
                            </p:childTnLst>
                          </p:cTn>
                        </p:par>
                        <p:par>
                          <p:cTn id="157" fill="hold">
                            <p:stCondLst>
                              <p:cond delay="1000"/>
                            </p:stCondLst>
                            <p:childTnLst>
                              <p:par>
                                <p:cTn id="158" presetID="42" presetClass="entr" presetSubtype="0" fill="hold" grpId="0" nodeType="afterEffect">
                                  <p:stCondLst>
                                    <p:cond delay="0"/>
                                  </p:stCondLst>
                                  <p:childTnLst>
                                    <p:set>
                                      <p:cBhvr>
                                        <p:cTn id="159" dur="1" fill="hold">
                                          <p:stCondLst>
                                            <p:cond delay="0"/>
                                          </p:stCondLst>
                                        </p:cTn>
                                        <p:tgtEl>
                                          <p:spTgt spid="624"/>
                                        </p:tgtEl>
                                        <p:attrNameLst>
                                          <p:attrName>style.visibility</p:attrName>
                                        </p:attrNameLst>
                                      </p:cBhvr>
                                      <p:to>
                                        <p:strVal val="visible"/>
                                      </p:to>
                                    </p:set>
                                    <p:animEffect transition="in" filter="fade">
                                      <p:cBhvr>
                                        <p:cTn id="160" dur="1000"/>
                                        <p:tgtEl>
                                          <p:spTgt spid="624"/>
                                        </p:tgtEl>
                                      </p:cBhvr>
                                    </p:animEffect>
                                    <p:anim calcmode="lin" valueType="num">
                                      <p:cBhvr>
                                        <p:cTn id="161" dur="1000" fill="hold"/>
                                        <p:tgtEl>
                                          <p:spTgt spid="624"/>
                                        </p:tgtEl>
                                        <p:attrNameLst>
                                          <p:attrName>ppt_x</p:attrName>
                                        </p:attrNameLst>
                                      </p:cBhvr>
                                      <p:tavLst>
                                        <p:tav tm="0">
                                          <p:val>
                                            <p:strVal val="#ppt_x"/>
                                          </p:val>
                                        </p:tav>
                                        <p:tav tm="100000">
                                          <p:val>
                                            <p:strVal val="#ppt_x"/>
                                          </p:val>
                                        </p:tav>
                                      </p:tavLst>
                                    </p:anim>
                                    <p:anim calcmode="lin" valueType="num">
                                      <p:cBhvr>
                                        <p:cTn id="162" dur="1000" fill="hold"/>
                                        <p:tgtEl>
                                          <p:spTgt spid="624"/>
                                        </p:tgtEl>
                                        <p:attrNameLst>
                                          <p:attrName>ppt_y</p:attrName>
                                        </p:attrNameLst>
                                      </p:cBhvr>
                                      <p:tavLst>
                                        <p:tav tm="0">
                                          <p:val>
                                            <p:strVal val="#ppt_y+.1"/>
                                          </p:val>
                                        </p:tav>
                                        <p:tav tm="100000">
                                          <p:val>
                                            <p:strVal val="#ppt_y"/>
                                          </p:val>
                                        </p:tav>
                                      </p:tavLst>
                                    </p:anim>
                                  </p:childTnLst>
                                </p:cTn>
                              </p:par>
                              <p:par>
                                <p:cTn id="163" presetID="42" presetClass="entr" presetSubtype="0" fill="hold" nodeType="withEffect">
                                  <p:stCondLst>
                                    <p:cond delay="0"/>
                                  </p:stCondLst>
                                  <p:childTnLst>
                                    <p:set>
                                      <p:cBhvr>
                                        <p:cTn id="164" dur="1" fill="hold">
                                          <p:stCondLst>
                                            <p:cond delay="0"/>
                                          </p:stCondLst>
                                        </p:cTn>
                                        <p:tgtEl>
                                          <p:spTgt spid="581"/>
                                        </p:tgtEl>
                                        <p:attrNameLst>
                                          <p:attrName>style.visibility</p:attrName>
                                        </p:attrNameLst>
                                      </p:cBhvr>
                                      <p:to>
                                        <p:strVal val="visible"/>
                                      </p:to>
                                    </p:set>
                                    <p:animEffect transition="in" filter="fade">
                                      <p:cBhvr>
                                        <p:cTn id="165" dur="1000"/>
                                        <p:tgtEl>
                                          <p:spTgt spid="581"/>
                                        </p:tgtEl>
                                      </p:cBhvr>
                                    </p:animEffect>
                                    <p:anim calcmode="lin" valueType="num">
                                      <p:cBhvr>
                                        <p:cTn id="166" dur="1000" fill="hold"/>
                                        <p:tgtEl>
                                          <p:spTgt spid="581"/>
                                        </p:tgtEl>
                                        <p:attrNameLst>
                                          <p:attrName>ppt_x</p:attrName>
                                        </p:attrNameLst>
                                      </p:cBhvr>
                                      <p:tavLst>
                                        <p:tav tm="0">
                                          <p:val>
                                            <p:strVal val="#ppt_x"/>
                                          </p:val>
                                        </p:tav>
                                        <p:tav tm="100000">
                                          <p:val>
                                            <p:strVal val="#ppt_x"/>
                                          </p:val>
                                        </p:tav>
                                      </p:tavLst>
                                    </p:anim>
                                    <p:anim calcmode="lin" valueType="num">
                                      <p:cBhvr>
                                        <p:cTn id="167" dur="1000" fill="hold"/>
                                        <p:tgtEl>
                                          <p:spTgt spid="581"/>
                                        </p:tgtEl>
                                        <p:attrNameLst>
                                          <p:attrName>ppt_y</p:attrName>
                                        </p:attrNameLst>
                                      </p:cBhvr>
                                      <p:tavLst>
                                        <p:tav tm="0">
                                          <p:val>
                                            <p:strVal val="#ppt_y+.1"/>
                                          </p:val>
                                        </p:tav>
                                        <p:tav tm="100000">
                                          <p:val>
                                            <p:strVal val="#ppt_y"/>
                                          </p:val>
                                        </p:tav>
                                      </p:tavLst>
                                    </p:anim>
                                  </p:childTnLst>
                                </p:cTn>
                              </p:par>
                            </p:childTnLst>
                          </p:cTn>
                        </p:par>
                      </p:childTnLst>
                    </p:cTn>
                  </p:par>
                  <p:par>
                    <p:cTn id="168" fill="hold">
                      <p:stCondLst>
                        <p:cond delay="indefinite"/>
                      </p:stCondLst>
                      <p:childTnLst>
                        <p:par>
                          <p:cTn id="169" fill="hold">
                            <p:stCondLst>
                              <p:cond delay="0"/>
                            </p:stCondLst>
                            <p:childTnLst>
                              <p:par>
                                <p:cTn id="170" presetID="42" presetClass="entr" presetSubtype="0" fill="hold" grpId="0" nodeType="clickEffect">
                                  <p:stCondLst>
                                    <p:cond delay="0"/>
                                  </p:stCondLst>
                                  <p:childTnLst>
                                    <p:set>
                                      <p:cBhvr>
                                        <p:cTn id="171" dur="1" fill="hold">
                                          <p:stCondLst>
                                            <p:cond delay="0"/>
                                          </p:stCondLst>
                                        </p:cTn>
                                        <p:tgtEl>
                                          <p:spTgt spid="621"/>
                                        </p:tgtEl>
                                        <p:attrNameLst>
                                          <p:attrName>style.visibility</p:attrName>
                                        </p:attrNameLst>
                                      </p:cBhvr>
                                      <p:to>
                                        <p:strVal val="visible"/>
                                      </p:to>
                                    </p:set>
                                    <p:animEffect transition="in" filter="fade">
                                      <p:cBhvr>
                                        <p:cTn id="172" dur="1000"/>
                                        <p:tgtEl>
                                          <p:spTgt spid="621"/>
                                        </p:tgtEl>
                                      </p:cBhvr>
                                    </p:animEffect>
                                    <p:anim calcmode="lin" valueType="num">
                                      <p:cBhvr>
                                        <p:cTn id="173" dur="1000" fill="hold"/>
                                        <p:tgtEl>
                                          <p:spTgt spid="621"/>
                                        </p:tgtEl>
                                        <p:attrNameLst>
                                          <p:attrName>ppt_x</p:attrName>
                                        </p:attrNameLst>
                                      </p:cBhvr>
                                      <p:tavLst>
                                        <p:tav tm="0">
                                          <p:val>
                                            <p:strVal val="#ppt_x"/>
                                          </p:val>
                                        </p:tav>
                                        <p:tav tm="100000">
                                          <p:val>
                                            <p:strVal val="#ppt_x"/>
                                          </p:val>
                                        </p:tav>
                                      </p:tavLst>
                                    </p:anim>
                                    <p:anim calcmode="lin" valueType="num">
                                      <p:cBhvr>
                                        <p:cTn id="174" dur="1000" fill="hold"/>
                                        <p:tgtEl>
                                          <p:spTgt spid="621"/>
                                        </p:tgtEl>
                                        <p:attrNameLst>
                                          <p:attrName>ppt_y</p:attrName>
                                        </p:attrNameLst>
                                      </p:cBhvr>
                                      <p:tavLst>
                                        <p:tav tm="0">
                                          <p:val>
                                            <p:strVal val="#ppt_y+.1"/>
                                          </p:val>
                                        </p:tav>
                                        <p:tav tm="100000">
                                          <p:val>
                                            <p:strVal val="#ppt_y"/>
                                          </p:val>
                                        </p:tav>
                                      </p:tavLst>
                                    </p:anim>
                                  </p:childTnLst>
                                </p:cTn>
                              </p:par>
                              <p:par>
                                <p:cTn id="175" presetID="42" presetClass="entr" presetSubtype="0" fill="hold" nodeType="withEffect">
                                  <p:stCondLst>
                                    <p:cond delay="0"/>
                                  </p:stCondLst>
                                  <p:childTnLst>
                                    <p:set>
                                      <p:cBhvr>
                                        <p:cTn id="176" dur="1" fill="hold">
                                          <p:stCondLst>
                                            <p:cond delay="0"/>
                                          </p:stCondLst>
                                        </p:cTn>
                                        <p:tgtEl>
                                          <p:spTgt spid="397"/>
                                        </p:tgtEl>
                                        <p:attrNameLst>
                                          <p:attrName>style.visibility</p:attrName>
                                        </p:attrNameLst>
                                      </p:cBhvr>
                                      <p:to>
                                        <p:strVal val="visible"/>
                                      </p:to>
                                    </p:set>
                                    <p:animEffect transition="in" filter="fade">
                                      <p:cBhvr>
                                        <p:cTn id="177" dur="1000"/>
                                        <p:tgtEl>
                                          <p:spTgt spid="397"/>
                                        </p:tgtEl>
                                      </p:cBhvr>
                                    </p:animEffect>
                                    <p:anim calcmode="lin" valueType="num">
                                      <p:cBhvr>
                                        <p:cTn id="178" dur="1000" fill="hold"/>
                                        <p:tgtEl>
                                          <p:spTgt spid="397"/>
                                        </p:tgtEl>
                                        <p:attrNameLst>
                                          <p:attrName>ppt_x</p:attrName>
                                        </p:attrNameLst>
                                      </p:cBhvr>
                                      <p:tavLst>
                                        <p:tav tm="0">
                                          <p:val>
                                            <p:strVal val="#ppt_x"/>
                                          </p:val>
                                        </p:tav>
                                        <p:tav tm="100000">
                                          <p:val>
                                            <p:strVal val="#ppt_x"/>
                                          </p:val>
                                        </p:tav>
                                      </p:tavLst>
                                    </p:anim>
                                    <p:anim calcmode="lin" valueType="num">
                                      <p:cBhvr>
                                        <p:cTn id="179" dur="1000" fill="hold"/>
                                        <p:tgtEl>
                                          <p:spTgt spid="397"/>
                                        </p:tgtEl>
                                        <p:attrNameLst>
                                          <p:attrName>ppt_y</p:attrName>
                                        </p:attrNameLst>
                                      </p:cBhvr>
                                      <p:tavLst>
                                        <p:tav tm="0">
                                          <p:val>
                                            <p:strVal val="#ppt_y+.1"/>
                                          </p:val>
                                        </p:tav>
                                        <p:tav tm="100000">
                                          <p:val>
                                            <p:strVal val="#ppt_y"/>
                                          </p:val>
                                        </p:tav>
                                      </p:tavLst>
                                    </p:anim>
                                  </p:childTnLst>
                                </p:cTn>
                              </p:par>
                              <p:par>
                                <p:cTn id="180" presetID="42" presetClass="entr" presetSubtype="0" fill="hold" nodeType="withEffect">
                                  <p:stCondLst>
                                    <p:cond delay="0"/>
                                  </p:stCondLst>
                                  <p:childTnLst>
                                    <p:set>
                                      <p:cBhvr>
                                        <p:cTn id="181" dur="1" fill="hold">
                                          <p:stCondLst>
                                            <p:cond delay="0"/>
                                          </p:stCondLst>
                                        </p:cTn>
                                        <p:tgtEl>
                                          <p:spTgt spid="284"/>
                                        </p:tgtEl>
                                        <p:attrNameLst>
                                          <p:attrName>style.visibility</p:attrName>
                                        </p:attrNameLst>
                                      </p:cBhvr>
                                      <p:to>
                                        <p:strVal val="visible"/>
                                      </p:to>
                                    </p:set>
                                    <p:animEffect transition="in" filter="fade">
                                      <p:cBhvr>
                                        <p:cTn id="182" dur="1000"/>
                                        <p:tgtEl>
                                          <p:spTgt spid="284"/>
                                        </p:tgtEl>
                                      </p:cBhvr>
                                    </p:animEffect>
                                    <p:anim calcmode="lin" valueType="num">
                                      <p:cBhvr>
                                        <p:cTn id="183" dur="1000" fill="hold"/>
                                        <p:tgtEl>
                                          <p:spTgt spid="284"/>
                                        </p:tgtEl>
                                        <p:attrNameLst>
                                          <p:attrName>ppt_x</p:attrName>
                                        </p:attrNameLst>
                                      </p:cBhvr>
                                      <p:tavLst>
                                        <p:tav tm="0">
                                          <p:val>
                                            <p:strVal val="#ppt_x"/>
                                          </p:val>
                                        </p:tav>
                                        <p:tav tm="100000">
                                          <p:val>
                                            <p:strVal val="#ppt_x"/>
                                          </p:val>
                                        </p:tav>
                                      </p:tavLst>
                                    </p:anim>
                                    <p:anim calcmode="lin" valueType="num">
                                      <p:cBhvr>
                                        <p:cTn id="184" dur="1000" fill="hold"/>
                                        <p:tgtEl>
                                          <p:spTgt spid="284"/>
                                        </p:tgtEl>
                                        <p:attrNameLst>
                                          <p:attrName>ppt_y</p:attrName>
                                        </p:attrNameLst>
                                      </p:cBhvr>
                                      <p:tavLst>
                                        <p:tav tm="0">
                                          <p:val>
                                            <p:strVal val="#ppt_y+.1"/>
                                          </p:val>
                                        </p:tav>
                                        <p:tav tm="100000">
                                          <p:val>
                                            <p:strVal val="#ppt_y"/>
                                          </p:val>
                                        </p:tav>
                                      </p:tavLst>
                                    </p:anim>
                                  </p:childTnLst>
                                </p:cTn>
                              </p:par>
                              <p:par>
                                <p:cTn id="185" presetID="42" presetClass="entr" presetSubtype="0" fill="hold" nodeType="withEffect">
                                  <p:stCondLst>
                                    <p:cond delay="0"/>
                                  </p:stCondLst>
                                  <p:childTnLst>
                                    <p:set>
                                      <p:cBhvr>
                                        <p:cTn id="186" dur="1" fill="hold">
                                          <p:stCondLst>
                                            <p:cond delay="0"/>
                                          </p:stCondLst>
                                        </p:cTn>
                                        <p:tgtEl>
                                          <p:spTgt spid="711"/>
                                        </p:tgtEl>
                                        <p:attrNameLst>
                                          <p:attrName>style.visibility</p:attrName>
                                        </p:attrNameLst>
                                      </p:cBhvr>
                                      <p:to>
                                        <p:strVal val="visible"/>
                                      </p:to>
                                    </p:set>
                                    <p:animEffect transition="in" filter="fade">
                                      <p:cBhvr>
                                        <p:cTn id="187" dur="1000"/>
                                        <p:tgtEl>
                                          <p:spTgt spid="711"/>
                                        </p:tgtEl>
                                      </p:cBhvr>
                                    </p:animEffect>
                                    <p:anim calcmode="lin" valueType="num">
                                      <p:cBhvr>
                                        <p:cTn id="188" dur="1000" fill="hold"/>
                                        <p:tgtEl>
                                          <p:spTgt spid="711"/>
                                        </p:tgtEl>
                                        <p:attrNameLst>
                                          <p:attrName>ppt_x</p:attrName>
                                        </p:attrNameLst>
                                      </p:cBhvr>
                                      <p:tavLst>
                                        <p:tav tm="0">
                                          <p:val>
                                            <p:strVal val="#ppt_x"/>
                                          </p:val>
                                        </p:tav>
                                        <p:tav tm="100000">
                                          <p:val>
                                            <p:strVal val="#ppt_x"/>
                                          </p:val>
                                        </p:tav>
                                      </p:tavLst>
                                    </p:anim>
                                    <p:anim calcmode="lin" valueType="num">
                                      <p:cBhvr>
                                        <p:cTn id="189" dur="1000" fill="hold"/>
                                        <p:tgtEl>
                                          <p:spTgt spid="711"/>
                                        </p:tgtEl>
                                        <p:attrNameLst>
                                          <p:attrName>ppt_y</p:attrName>
                                        </p:attrNameLst>
                                      </p:cBhvr>
                                      <p:tavLst>
                                        <p:tav tm="0">
                                          <p:val>
                                            <p:strVal val="#ppt_y+.1"/>
                                          </p:val>
                                        </p:tav>
                                        <p:tav tm="100000">
                                          <p:val>
                                            <p:strVal val="#ppt_y"/>
                                          </p:val>
                                        </p:tav>
                                      </p:tavLst>
                                    </p:anim>
                                  </p:childTnLst>
                                </p:cTn>
                              </p:par>
                            </p:childTnLst>
                          </p:cTn>
                        </p:par>
                        <p:par>
                          <p:cTn id="190" fill="hold">
                            <p:stCondLst>
                              <p:cond delay="1000"/>
                            </p:stCondLst>
                            <p:childTnLst>
                              <p:par>
                                <p:cTn id="191" presetID="42" presetClass="entr" presetSubtype="0" fill="hold" grpId="0" nodeType="afterEffect">
                                  <p:stCondLst>
                                    <p:cond delay="0"/>
                                  </p:stCondLst>
                                  <p:childTnLst>
                                    <p:set>
                                      <p:cBhvr>
                                        <p:cTn id="192" dur="1" fill="hold">
                                          <p:stCondLst>
                                            <p:cond delay="0"/>
                                          </p:stCondLst>
                                        </p:cTn>
                                        <p:tgtEl>
                                          <p:spTgt spid="622"/>
                                        </p:tgtEl>
                                        <p:attrNameLst>
                                          <p:attrName>style.visibility</p:attrName>
                                        </p:attrNameLst>
                                      </p:cBhvr>
                                      <p:to>
                                        <p:strVal val="visible"/>
                                      </p:to>
                                    </p:set>
                                    <p:animEffect transition="in" filter="fade">
                                      <p:cBhvr>
                                        <p:cTn id="193" dur="1000"/>
                                        <p:tgtEl>
                                          <p:spTgt spid="622"/>
                                        </p:tgtEl>
                                      </p:cBhvr>
                                    </p:animEffect>
                                    <p:anim calcmode="lin" valueType="num">
                                      <p:cBhvr>
                                        <p:cTn id="194" dur="1000" fill="hold"/>
                                        <p:tgtEl>
                                          <p:spTgt spid="622"/>
                                        </p:tgtEl>
                                        <p:attrNameLst>
                                          <p:attrName>ppt_x</p:attrName>
                                        </p:attrNameLst>
                                      </p:cBhvr>
                                      <p:tavLst>
                                        <p:tav tm="0">
                                          <p:val>
                                            <p:strVal val="#ppt_x"/>
                                          </p:val>
                                        </p:tav>
                                        <p:tav tm="100000">
                                          <p:val>
                                            <p:strVal val="#ppt_x"/>
                                          </p:val>
                                        </p:tav>
                                      </p:tavLst>
                                    </p:anim>
                                    <p:anim calcmode="lin" valueType="num">
                                      <p:cBhvr>
                                        <p:cTn id="195" dur="1000" fill="hold"/>
                                        <p:tgtEl>
                                          <p:spTgt spid="622"/>
                                        </p:tgtEl>
                                        <p:attrNameLst>
                                          <p:attrName>ppt_y</p:attrName>
                                        </p:attrNameLst>
                                      </p:cBhvr>
                                      <p:tavLst>
                                        <p:tav tm="0">
                                          <p:val>
                                            <p:strVal val="#ppt_y+.1"/>
                                          </p:val>
                                        </p:tav>
                                        <p:tav tm="100000">
                                          <p:val>
                                            <p:strVal val="#ppt_y"/>
                                          </p:val>
                                        </p:tav>
                                      </p:tavLst>
                                    </p:anim>
                                  </p:childTnLst>
                                </p:cTn>
                              </p:par>
                              <p:par>
                                <p:cTn id="196" presetID="42" presetClass="entr" presetSubtype="0" fill="hold" nodeType="withEffect">
                                  <p:stCondLst>
                                    <p:cond delay="0"/>
                                  </p:stCondLst>
                                  <p:childTnLst>
                                    <p:set>
                                      <p:cBhvr>
                                        <p:cTn id="197" dur="1" fill="hold">
                                          <p:stCondLst>
                                            <p:cond delay="0"/>
                                          </p:stCondLst>
                                        </p:cTn>
                                        <p:tgtEl>
                                          <p:spTgt spid="69"/>
                                        </p:tgtEl>
                                        <p:attrNameLst>
                                          <p:attrName>style.visibility</p:attrName>
                                        </p:attrNameLst>
                                      </p:cBhvr>
                                      <p:to>
                                        <p:strVal val="visible"/>
                                      </p:to>
                                    </p:set>
                                    <p:animEffect transition="in" filter="fade">
                                      <p:cBhvr>
                                        <p:cTn id="198" dur="1000"/>
                                        <p:tgtEl>
                                          <p:spTgt spid="69"/>
                                        </p:tgtEl>
                                      </p:cBhvr>
                                    </p:animEffect>
                                    <p:anim calcmode="lin" valueType="num">
                                      <p:cBhvr>
                                        <p:cTn id="199" dur="1000" fill="hold"/>
                                        <p:tgtEl>
                                          <p:spTgt spid="69"/>
                                        </p:tgtEl>
                                        <p:attrNameLst>
                                          <p:attrName>ppt_x</p:attrName>
                                        </p:attrNameLst>
                                      </p:cBhvr>
                                      <p:tavLst>
                                        <p:tav tm="0">
                                          <p:val>
                                            <p:strVal val="#ppt_x"/>
                                          </p:val>
                                        </p:tav>
                                        <p:tav tm="100000">
                                          <p:val>
                                            <p:strVal val="#ppt_x"/>
                                          </p:val>
                                        </p:tav>
                                      </p:tavLst>
                                    </p:anim>
                                    <p:anim calcmode="lin" valueType="num">
                                      <p:cBhvr>
                                        <p:cTn id="200" dur="1000" fill="hold"/>
                                        <p:tgtEl>
                                          <p:spTgt spid="69"/>
                                        </p:tgtEl>
                                        <p:attrNameLst>
                                          <p:attrName>ppt_y</p:attrName>
                                        </p:attrNameLst>
                                      </p:cBhvr>
                                      <p:tavLst>
                                        <p:tav tm="0">
                                          <p:val>
                                            <p:strVal val="#ppt_y+.1"/>
                                          </p:val>
                                        </p:tav>
                                        <p:tav tm="100000">
                                          <p:val>
                                            <p:strVal val="#ppt_y"/>
                                          </p:val>
                                        </p:tav>
                                      </p:tavLst>
                                    </p:anim>
                                  </p:childTnLst>
                                </p:cTn>
                              </p:par>
                              <p:par>
                                <p:cTn id="201" presetID="42" presetClass="entr" presetSubtype="0" fill="hold" nodeType="withEffect">
                                  <p:stCondLst>
                                    <p:cond delay="0"/>
                                  </p:stCondLst>
                                  <p:childTnLst>
                                    <p:set>
                                      <p:cBhvr>
                                        <p:cTn id="202" dur="1" fill="hold">
                                          <p:stCondLst>
                                            <p:cond delay="0"/>
                                          </p:stCondLst>
                                        </p:cTn>
                                        <p:tgtEl>
                                          <p:spTgt spid="291"/>
                                        </p:tgtEl>
                                        <p:attrNameLst>
                                          <p:attrName>style.visibility</p:attrName>
                                        </p:attrNameLst>
                                      </p:cBhvr>
                                      <p:to>
                                        <p:strVal val="visible"/>
                                      </p:to>
                                    </p:set>
                                    <p:animEffect transition="in" filter="fade">
                                      <p:cBhvr>
                                        <p:cTn id="203" dur="1000"/>
                                        <p:tgtEl>
                                          <p:spTgt spid="291"/>
                                        </p:tgtEl>
                                      </p:cBhvr>
                                    </p:animEffect>
                                    <p:anim calcmode="lin" valueType="num">
                                      <p:cBhvr>
                                        <p:cTn id="204" dur="1000" fill="hold"/>
                                        <p:tgtEl>
                                          <p:spTgt spid="291"/>
                                        </p:tgtEl>
                                        <p:attrNameLst>
                                          <p:attrName>ppt_x</p:attrName>
                                        </p:attrNameLst>
                                      </p:cBhvr>
                                      <p:tavLst>
                                        <p:tav tm="0">
                                          <p:val>
                                            <p:strVal val="#ppt_x"/>
                                          </p:val>
                                        </p:tav>
                                        <p:tav tm="100000">
                                          <p:val>
                                            <p:strVal val="#ppt_x"/>
                                          </p:val>
                                        </p:tav>
                                      </p:tavLst>
                                    </p:anim>
                                    <p:anim calcmode="lin" valueType="num">
                                      <p:cBhvr>
                                        <p:cTn id="205" dur="1000" fill="hold"/>
                                        <p:tgtEl>
                                          <p:spTgt spid="291"/>
                                        </p:tgtEl>
                                        <p:attrNameLst>
                                          <p:attrName>ppt_y</p:attrName>
                                        </p:attrNameLst>
                                      </p:cBhvr>
                                      <p:tavLst>
                                        <p:tav tm="0">
                                          <p:val>
                                            <p:strVal val="#ppt_y+.1"/>
                                          </p:val>
                                        </p:tav>
                                        <p:tav tm="100000">
                                          <p:val>
                                            <p:strVal val="#ppt_y"/>
                                          </p:val>
                                        </p:tav>
                                      </p:tavLst>
                                    </p:anim>
                                  </p:childTnLst>
                                </p:cTn>
                              </p:par>
                              <p:par>
                                <p:cTn id="206" presetID="42" presetClass="entr" presetSubtype="0" fill="hold" nodeType="withEffect">
                                  <p:stCondLst>
                                    <p:cond delay="0"/>
                                  </p:stCondLst>
                                  <p:childTnLst>
                                    <p:set>
                                      <p:cBhvr>
                                        <p:cTn id="207" dur="1" fill="hold">
                                          <p:stCondLst>
                                            <p:cond delay="0"/>
                                          </p:stCondLst>
                                        </p:cTn>
                                        <p:tgtEl>
                                          <p:spTgt spid="712"/>
                                        </p:tgtEl>
                                        <p:attrNameLst>
                                          <p:attrName>style.visibility</p:attrName>
                                        </p:attrNameLst>
                                      </p:cBhvr>
                                      <p:to>
                                        <p:strVal val="visible"/>
                                      </p:to>
                                    </p:set>
                                    <p:animEffect transition="in" filter="fade">
                                      <p:cBhvr>
                                        <p:cTn id="208" dur="1000"/>
                                        <p:tgtEl>
                                          <p:spTgt spid="712"/>
                                        </p:tgtEl>
                                      </p:cBhvr>
                                    </p:animEffect>
                                    <p:anim calcmode="lin" valueType="num">
                                      <p:cBhvr>
                                        <p:cTn id="209" dur="1000" fill="hold"/>
                                        <p:tgtEl>
                                          <p:spTgt spid="712"/>
                                        </p:tgtEl>
                                        <p:attrNameLst>
                                          <p:attrName>ppt_x</p:attrName>
                                        </p:attrNameLst>
                                      </p:cBhvr>
                                      <p:tavLst>
                                        <p:tav tm="0">
                                          <p:val>
                                            <p:strVal val="#ppt_x"/>
                                          </p:val>
                                        </p:tav>
                                        <p:tav tm="100000">
                                          <p:val>
                                            <p:strVal val="#ppt_x"/>
                                          </p:val>
                                        </p:tav>
                                      </p:tavLst>
                                    </p:anim>
                                    <p:anim calcmode="lin" valueType="num">
                                      <p:cBhvr>
                                        <p:cTn id="210" dur="1000" fill="hold"/>
                                        <p:tgtEl>
                                          <p:spTgt spid="712"/>
                                        </p:tgtEl>
                                        <p:attrNameLst>
                                          <p:attrName>ppt_y</p:attrName>
                                        </p:attrNameLst>
                                      </p:cBhvr>
                                      <p:tavLst>
                                        <p:tav tm="0">
                                          <p:val>
                                            <p:strVal val="#ppt_y+.1"/>
                                          </p:val>
                                        </p:tav>
                                        <p:tav tm="100000">
                                          <p:val>
                                            <p:strVal val="#ppt_y"/>
                                          </p:val>
                                        </p:tav>
                                      </p:tavLst>
                                    </p:anim>
                                  </p:childTnLst>
                                </p:cTn>
                              </p:par>
                            </p:childTnLst>
                          </p:cTn>
                        </p:par>
                        <p:par>
                          <p:cTn id="211" fill="hold">
                            <p:stCondLst>
                              <p:cond delay="2000"/>
                            </p:stCondLst>
                            <p:childTnLst>
                              <p:par>
                                <p:cTn id="212" presetID="42" presetClass="entr" presetSubtype="0" fill="hold" grpId="0" nodeType="afterEffect">
                                  <p:stCondLst>
                                    <p:cond delay="0"/>
                                  </p:stCondLst>
                                  <p:childTnLst>
                                    <p:set>
                                      <p:cBhvr>
                                        <p:cTn id="213" dur="1" fill="hold">
                                          <p:stCondLst>
                                            <p:cond delay="0"/>
                                          </p:stCondLst>
                                        </p:cTn>
                                        <p:tgtEl>
                                          <p:spTgt spid="620"/>
                                        </p:tgtEl>
                                        <p:attrNameLst>
                                          <p:attrName>style.visibility</p:attrName>
                                        </p:attrNameLst>
                                      </p:cBhvr>
                                      <p:to>
                                        <p:strVal val="visible"/>
                                      </p:to>
                                    </p:set>
                                    <p:animEffect transition="in" filter="fade">
                                      <p:cBhvr>
                                        <p:cTn id="214" dur="1000"/>
                                        <p:tgtEl>
                                          <p:spTgt spid="620"/>
                                        </p:tgtEl>
                                      </p:cBhvr>
                                    </p:animEffect>
                                    <p:anim calcmode="lin" valueType="num">
                                      <p:cBhvr>
                                        <p:cTn id="215" dur="1000" fill="hold"/>
                                        <p:tgtEl>
                                          <p:spTgt spid="620"/>
                                        </p:tgtEl>
                                        <p:attrNameLst>
                                          <p:attrName>ppt_x</p:attrName>
                                        </p:attrNameLst>
                                      </p:cBhvr>
                                      <p:tavLst>
                                        <p:tav tm="0">
                                          <p:val>
                                            <p:strVal val="#ppt_x"/>
                                          </p:val>
                                        </p:tav>
                                        <p:tav tm="100000">
                                          <p:val>
                                            <p:strVal val="#ppt_x"/>
                                          </p:val>
                                        </p:tav>
                                      </p:tavLst>
                                    </p:anim>
                                    <p:anim calcmode="lin" valueType="num">
                                      <p:cBhvr>
                                        <p:cTn id="216" dur="1000" fill="hold"/>
                                        <p:tgtEl>
                                          <p:spTgt spid="620"/>
                                        </p:tgtEl>
                                        <p:attrNameLst>
                                          <p:attrName>ppt_y</p:attrName>
                                        </p:attrNameLst>
                                      </p:cBhvr>
                                      <p:tavLst>
                                        <p:tav tm="0">
                                          <p:val>
                                            <p:strVal val="#ppt_y+.1"/>
                                          </p:val>
                                        </p:tav>
                                        <p:tav tm="100000">
                                          <p:val>
                                            <p:strVal val="#ppt_y"/>
                                          </p:val>
                                        </p:tav>
                                      </p:tavLst>
                                    </p:anim>
                                  </p:childTnLst>
                                </p:cTn>
                              </p:par>
                              <p:par>
                                <p:cTn id="217" presetID="42" presetClass="entr" presetSubtype="0" fill="hold" nodeType="withEffect">
                                  <p:stCondLst>
                                    <p:cond delay="0"/>
                                  </p:stCondLst>
                                  <p:childTnLst>
                                    <p:set>
                                      <p:cBhvr>
                                        <p:cTn id="218" dur="1" fill="hold">
                                          <p:stCondLst>
                                            <p:cond delay="0"/>
                                          </p:stCondLst>
                                        </p:cTn>
                                        <p:tgtEl>
                                          <p:spTgt spid="298"/>
                                        </p:tgtEl>
                                        <p:attrNameLst>
                                          <p:attrName>style.visibility</p:attrName>
                                        </p:attrNameLst>
                                      </p:cBhvr>
                                      <p:to>
                                        <p:strVal val="visible"/>
                                      </p:to>
                                    </p:set>
                                    <p:animEffect transition="in" filter="fade">
                                      <p:cBhvr>
                                        <p:cTn id="219" dur="1000"/>
                                        <p:tgtEl>
                                          <p:spTgt spid="298"/>
                                        </p:tgtEl>
                                      </p:cBhvr>
                                    </p:animEffect>
                                    <p:anim calcmode="lin" valueType="num">
                                      <p:cBhvr>
                                        <p:cTn id="220" dur="1000" fill="hold"/>
                                        <p:tgtEl>
                                          <p:spTgt spid="298"/>
                                        </p:tgtEl>
                                        <p:attrNameLst>
                                          <p:attrName>ppt_x</p:attrName>
                                        </p:attrNameLst>
                                      </p:cBhvr>
                                      <p:tavLst>
                                        <p:tav tm="0">
                                          <p:val>
                                            <p:strVal val="#ppt_x"/>
                                          </p:val>
                                        </p:tav>
                                        <p:tav tm="100000">
                                          <p:val>
                                            <p:strVal val="#ppt_x"/>
                                          </p:val>
                                        </p:tav>
                                      </p:tavLst>
                                    </p:anim>
                                    <p:anim calcmode="lin" valueType="num">
                                      <p:cBhvr>
                                        <p:cTn id="221" dur="1000" fill="hold"/>
                                        <p:tgtEl>
                                          <p:spTgt spid="298"/>
                                        </p:tgtEl>
                                        <p:attrNameLst>
                                          <p:attrName>ppt_y</p:attrName>
                                        </p:attrNameLst>
                                      </p:cBhvr>
                                      <p:tavLst>
                                        <p:tav tm="0">
                                          <p:val>
                                            <p:strVal val="#ppt_y+.1"/>
                                          </p:val>
                                        </p:tav>
                                        <p:tav tm="100000">
                                          <p:val>
                                            <p:strVal val="#ppt_y"/>
                                          </p:val>
                                        </p:tav>
                                      </p:tavLst>
                                    </p:anim>
                                  </p:childTnLst>
                                </p:cTn>
                              </p:par>
                              <p:par>
                                <p:cTn id="222" presetID="42" presetClass="entr" presetSubtype="0" fill="hold" nodeType="withEffect">
                                  <p:stCondLst>
                                    <p:cond delay="0"/>
                                  </p:stCondLst>
                                  <p:childTnLst>
                                    <p:set>
                                      <p:cBhvr>
                                        <p:cTn id="223" dur="1" fill="hold">
                                          <p:stCondLst>
                                            <p:cond delay="0"/>
                                          </p:stCondLst>
                                        </p:cTn>
                                        <p:tgtEl>
                                          <p:spTgt spid="301"/>
                                        </p:tgtEl>
                                        <p:attrNameLst>
                                          <p:attrName>style.visibility</p:attrName>
                                        </p:attrNameLst>
                                      </p:cBhvr>
                                      <p:to>
                                        <p:strVal val="visible"/>
                                      </p:to>
                                    </p:set>
                                    <p:animEffect transition="in" filter="fade">
                                      <p:cBhvr>
                                        <p:cTn id="224" dur="1000"/>
                                        <p:tgtEl>
                                          <p:spTgt spid="301"/>
                                        </p:tgtEl>
                                      </p:cBhvr>
                                    </p:animEffect>
                                    <p:anim calcmode="lin" valueType="num">
                                      <p:cBhvr>
                                        <p:cTn id="225" dur="1000" fill="hold"/>
                                        <p:tgtEl>
                                          <p:spTgt spid="301"/>
                                        </p:tgtEl>
                                        <p:attrNameLst>
                                          <p:attrName>ppt_x</p:attrName>
                                        </p:attrNameLst>
                                      </p:cBhvr>
                                      <p:tavLst>
                                        <p:tav tm="0">
                                          <p:val>
                                            <p:strVal val="#ppt_x"/>
                                          </p:val>
                                        </p:tav>
                                        <p:tav tm="100000">
                                          <p:val>
                                            <p:strVal val="#ppt_x"/>
                                          </p:val>
                                        </p:tav>
                                      </p:tavLst>
                                    </p:anim>
                                    <p:anim calcmode="lin" valueType="num">
                                      <p:cBhvr>
                                        <p:cTn id="226" dur="1000" fill="hold"/>
                                        <p:tgtEl>
                                          <p:spTgt spid="301"/>
                                        </p:tgtEl>
                                        <p:attrNameLst>
                                          <p:attrName>ppt_y</p:attrName>
                                        </p:attrNameLst>
                                      </p:cBhvr>
                                      <p:tavLst>
                                        <p:tav tm="0">
                                          <p:val>
                                            <p:strVal val="#ppt_y+.1"/>
                                          </p:val>
                                        </p:tav>
                                        <p:tav tm="100000">
                                          <p:val>
                                            <p:strVal val="#ppt_y"/>
                                          </p:val>
                                        </p:tav>
                                      </p:tavLst>
                                    </p:anim>
                                  </p:childTnLst>
                                </p:cTn>
                              </p:par>
                              <p:par>
                                <p:cTn id="227" presetID="42" presetClass="entr" presetSubtype="0" fill="hold" nodeType="withEffect">
                                  <p:stCondLst>
                                    <p:cond delay="0"/>
                                  </p:stCondLst>
                                  <p:childTnLst>
                                    <p:set>
                                      <p:cBhvr>
                                        <p:cTn id="228" dur="1" fill="hold">
                                          <p:stCondLst>
                                            <p:cond delay="0"/>
                                          </p:stCondLst>
                                        </p:cTn>
                                        <p:tgtEl>
                                          <p:spTgt spid="713"/>
                                        </p:tgtEl>
                                        <p:attrNameLst>
                                          <p:attrName>style.visibility</p:attrName>
                                        </p:attrNameLst>
                                      </p:cBhvr>
                                      <p:to>
                                        <p:strVal val="visible"/>
                                      </p:to>
                                    </p:set>
                                    <p:animEffect transition="in" filter="fade">
                                      <p:cBhvr>
                                        <p:cTn id="229" dur="1000"/>
                                        <p:tgtEl>
                                          <p:spTgt spid="713"/>
                                        </p:tgtEl>
                                      </p:cBhvr>
                                    </p:animEffect>
                                    <p:anim calcmode="lin" valueType="num">
                                      <p:cBhvr>
                                        <p:cTn id="230" dur="1000" fill="hold"/>
                                        <p:tgtEl>
                                          <p:spTgt spid="713"/>
                                        </p:tgtEl>
                                        <p:attrNameLst>
                                          <p:attrName>ppt_x</p:attrName>
                                        </p:attrNameLst>
                                      </p:cBhvr>
                                      <p:tavLst>
                                        <p:tav tm="0">
                                          <p:val>
                                            <p:strVal val="#ppt_x"/>
                                          </p:val>
                                        </p:tav>
                                        <p:tav tm="100000">
                                          <p:val>
                                            <p:strVal val="#ppt_x"/>
                                          </p:val>
                                        </p:tav>
                                      </p:tavLst>
                                    </p:anim>
                                    <p:anim calcmode="lin" valueType="num">
                                      <p:cBhvr>
                                        <p:cTn id="231" dur="1000" fill="hold"/>
                                        <p:tgtEl>
                                          <p:spTgt spid="7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9" grpId="0" animBg="1"/>
      <p:bldP spid="615" grpId="0"/>
      <p:bldP spid="612" grpId="0"/>
      <p:bldP spid="614" grpId="0"/>
      <p:bldP spid="616" grpId="0"/>
      <p:bldP spid="617" grpId="0"/>
      <p:bldP spid="618" grpId="0"/>
      <p:bldP spid="620" grpId="0"/>
      <p:bldP spid="621" grpId="0"/>
      <p:bldP spid="622" grpId="0"/>
      <p:bldP spid="623" grpId="0"/>
      <p:bldP spid="624"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07D8E92-6D90-4C41-8219-14C7E8005C34}"/>
              </a:ext>
            </a:extLst>
          </p:cNvPr>
          <p:cNvSpPr>
            <a:spLocks noGrp="1"/>
          </p:cNvSpPr>
          <p:nvPr>
            <p:ph type="title"/>
          </p:nvPr>
        </p:nvSpPr>
        <p:spPr bwMode="gray"/>
        <p:txBody>
          <a:bodyPr/>
          <a:lstStyle/>
          <a:p>
            <a:r>
              <a:rPr lang="de-DE" dirty="0" err="1"/>
              <a:t>Filling</a:t>
            </a:r>
            <a:r>
              <a:rPr lang="de-DE" dirty="0"/>
              <a:t> </a:t>
            </a:r>
            <a:r>
              <a:rPr lang="de-DE" dirty="0" err="1"/>
              <a:t>stations</a:t>
            </a:r>
            <a:endParaRPr lang="de-DE" dirty="0"/>
          </a:p>
        </p:txBody>
      </p:sp>
      <p:sp>
        <p:nvSpPr>
          <p:cNvPr id="4" name="Date Placeholder 3">
            <a:extLst>
              <a:ext uri="{FF2B5EF4-FFF2-40B4-BE49-F238E27FC236}">
                <a16:creationId xmlns:a16="http://schemas.microsoft.com/office/drawing/2014/main" id="{52596AA3-E293-470C-A4C3-6166BAEE9BB2}"/>
              </a:ext>
            </a:extLst>
          </p:cNvPr>
          <p:cNvSpPr>
            <a:spLocks noGrp="1"/>
          </p:cNvSpPr>
          <p:nvPr>
            <p:ph type="dt" sz="half" idx="18"/>
          </p:nvPr>
        </p:nvSpPr>
        <p:spPr bwMode="gray"/>
        <p:txBody>
          <a:bodyPr/>
          <a:lstStyle/>
          <a:p>
            <a:fld id="{FFAB2352-921F-4DD8-A99A-A1474F6943FF}" type="datetime4">
              <a:rPr lang="en-US" smtClean="0"/>
              <a:t>September 8, 2019</a:t>
            </a:fld>
            <a:endParaRPr lang="en-US" dirty="0"/>
          </a:p>
        </p:txBody>
      </p:sp>
      <p:sp>
        <p:nvSpPr>
          <p:cNvPr id="5" name="Footer Placeholder 4">
            <a:extLst>
              <a:ext uri="{FF2B5EF4-FFF2-40B4-BE49-F238E27FC236}">
                <a16:creationId xmlns:a16="http://schemas.microsoft.com/office/drawing/2014/main" id="{8C749703-7222-474A-A44A-52BB5E3C6728}"/>
              </a:ext>
            </a:extLst>
          </p:cNvPr>
          <p:cNvSpPr>
            <a:spLocks noGrp="1"/>
          </p:cNvSpPr>
          <p:nvPr>
            <p:ph type="ftr" sz="quarter" idx="19"/>
          </p:nvPr>
        </p:nvSpPr>
        <p:spPr bwMode="gray"/>
        <p:txBody>
          <a:bodyPr/>
          <a:lstStyle/>
          <a:p>
            <a:pPr lvl="8"/>
            <a:endParaRPr lang="en-US" dirty="0"/>
          </a:p>
        </p:txBody>
      </p:sp>
      <p:sp>
        <p:nvSpPr>
          <p:cNvPr id="6" name="Slide Number Placeholder 5">
            <a:extLst>
              <a:ext uri="{FF2B5EF4-FFF2-40B4-BE49-F238E27FC236}">
                <a16:creationId xmlns:a16="http://schemas.microsoft.com/office/drawing/2014/main" id="{39EF7583-4491-4051-A641-40B58041D6C2}"/>
              </a:ext>
            </a:extLst>
          </p:cNvPr>
          <p:cNvSpPr>
            <a:spLocks noGrp="1"/>
          </p:cNvSpPr>
          <p:nvPr>
            <p:ph type="sldNum" sz="quarter" idx="20"/>
          </p:nvPr>
        </p:nvSpPr>
        <p:spPr bwMode="gray"/>
        <p:txBody>
          <a:bodyPr/>
          <a:lstStyle/>
          <a:p>
            <a:r>
              <a:rPr lang="en-US"/>
              <a:t>Slide </a:t>
            </a:r>
            <a:fld id="{619F89D8-7AE3-494A-97F3-03D680869632}" type="slidenum">
              <a:rPr lang="en-US" smtClean="0"/>
              <a:pPr/>
              <a:t>80</a:t>
            </a:fld>
            <a:endParaRPr lang="en-US" dirty="0"/>
          </a:p>
        </p:txBody>
      </p:sp>
      <p:sp>
        <p:nvSpPr>
          <p:cNvPr id="7" name="Subtitle 6">
            <a:extLst>
              <a:ext uri="{FF2B5EF4-FFF2-40B4-BE49-F238E27FC236}">
                <a16:creationId xmlns:a16="http://schemas.microsoft.com/office/drawing/2014/main" id="{ABD82B9D-1A1C-4AC6-9995-FDBA4DA9F77D}"/>
              </a:ext>
            </a:extLst>
          </p:cNvPr>
          <p:cNvSpPr>
            <a:spLocks noGrp="1"/>
          </p:cNvSpPr>
          <p:nvPr>
            <p:ph type="subTitle" idx="13"/>
          </p:nvPr>
        </p:nvSpPr>
        <p:spPr bwMode="gray">
          <a:xfrm>
            <a:off x="333264" y="1085213"/>
            <a:ext cx="11520000" cy="504000"/>
          </a:xfrm>
        </p:spPr>
        <p:txBody>
          <a:bodyPr/>
          <a:lstStyle/>
          <a:p>
            <a:r>
              <a:rPr lang="de-DE" dirty="0"/>
              <a:t>Common </a:t>
            </a:r>
            <a:r>
              <a:rPr lang="de-DE" dirty="0" err="1"/>
              <a:t>analyzer</a:t>
            </a:r>
            <a:r>
              <a:rPr lang="de-DE" dirty="0"/>
              <a:t> </a:t>
            </a:r>
            <a:r>
              <a:rPr lang="de-DE" dirty="0" err="1"/>
              <a:t>requirements</a:t>
            </a:r>
            <a:r>
              <a:rPr lang="de-DE" dirty="0"/>
              <a:t> </a:t>
            </a:r>
            <a:r>
              <a:rPr lang="de-DE" dirty="0" err="1"/>
              <a:t>for</a:t>
            </a:r>
            <a:r>
              <a:rPr lang="de-DE" dirty="0"/>
              <a:t> </a:t>
            </a:r>
            <a:r>
              <a:rPr lang="de-DE" dirty="0" err="1"/>
              <a:t>industrial</a:t>
            </a:r>
            <a:r>
              <a:rPr lang="de-DE" dirty="0"/>
              <a:t> gas </a:t>
            </a:r>
            <a:r>
              <a:rPr lang="de-DE" dirty="0" err="1"/>
              <a:t>filling</a:t>
            </a:r>
            <a:r>
              <a:rPr lang="de-DE" dirty="0"/>
              <a:t> </a:t>
            </a:r>
            <a:r>
              <a:rPr lang="de-DE" dirty="0" err="1"/>
              <a:t>stations</a:t>
            </a:r>
            <a:endParaRPr lang="de-DE" dirty="0"/>
          </a:p>
        </p:txBody>
      </p:sp>
      <p:graphicFrame>
        <p:nvGraphicFramePr>
          <p:cNvPr id="8" name="Group 156">
            <a:extLst>
              <a:ext uri="{FF2B5EF4-FFF2-40B4-BE49-F238E27FC236}">
                <a16:creationId xmlns:a16="http://schemas.microsoft.com/office/drawing/2014/main" id="{40DD0346-CD82-49C1-A6B0-845F249FF546}"/>
              </a:ext>
            </a:extLst>
          </p:cNvPr>
          <p:cNvGraphicFramePr>
            <a:graphicFrameLocks noGrp="1"/>
          </p:cNvGraphicFramePr>
          <p:nvPr>
            <p:extLst>
              <p:ext uri="{D42A27DB-BD31-4B8C-83A1-F6EECF244321}">
                <p14:modId xmlns:p14="http://schemas.microsoft.com/office/powerpoint/2010/main" val="1707058627"/>
              </p:ext>
            </p:extLst>
          </p:nvPr>
        </p:nvGraphicFramePr>
        <p:xfrm>
          <a:off x="6276073" y="2619917"/>
          <a:ext cx="5577192" cy="1426800"/>
        </p:xfrm>
        <a:graphic>
          <a:graphicData uri="http://schemas.openxmlformats.org/drawingml/2006/table">
            <a:tbl>
              <a:tblPr/>
              <a:tblGrid>
                <a:gridCol w="2788596">
                  <a:extLst>
                    <a:ext uri="{9D8B030D-6E8A-4147-A177-3AD203B41FA5}">
                      <a16:colId xmlns:a16="http://schemas.microsoft.com/office/drawing/2014/main" val="87204990"/>
                    </a:ext>
                  </a:extLst>
                </a:gridCol>
                <a:gridCol w="2788596">
                  <a:extLst>
                    <a:ext uri="{9D8B030D-6E8A-4147-A177-3AD203B41FA5}">
                      <a16:colId xmlns:a16="http://schemas.microsoft.com/office/drawing/2014/main" val="4022384761"/>
                    </a:ext>
                  </a:extLst>
                </a:gridCol>
              </a:tblGrid>
              <a:tr h="266003">
                <a:tc gridSpan="2">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General </a:t>
                      </a:r>
                      <a:r>
                        <a:rPr kumimoji="0" lang="de-CH" altLang="de-DE" sz="1400" b="1" i="0" u="none" strike="noStrike" cap="none" normalizeH="0" baseline="0" dirty="0" err="1">
                          <a:ln>
                            <a:noFill/>
                          </a:ln>
                          <a:solidFill>
                            <a:schemeClr val="tx2"/>
                          </a:solidFill>
                          <a:effectLst/>
                          <a:latin typeface="Arial" panose="020B0604020202020204" pitchFamily="34" charset="0"/>
                          <a:cs typeface="Arial" panose="020B0604020202020204" pitchFamily="34" charset="0"/>
                        </a:rPr>
                        <a:t>purpose</a:t>
                      </a:r>
                      <a:r>
                        <a:rPr kumimoji="0" lang="de-CH" altLang="de-DE" sz="14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 </a:t>
                      </a:r>
                      <a:r>
                        <a:rPr kumimoji="0" lang="de-CH" altLang="de-DE" sz="1400" b="1" i="0" u="none" strike="noStrike" cap="none" normalizeH="0" baseline="0" dirty="0" err="1">
                          <a:ln>
                            <a:noFill/>
                          </a:ln>
                          <a:solidFill>
                            <a:schemeClr val="tx2"/>
                          </a:solidFill>
                          <a:effectLst/>
                          <a:latin typeface="Arial" panose="020B0604020202020204" pitchFamily="34" charset="0"/>
                          <a:cs typeface="Arial" panose="020B0604020202020204" pitchFamily="34" charset="0"/>
                        </a:rPr>
                        <a:t>area</a:t>
                      </a:r>
                      <a:endParaRPr kumimoji="0" lang="de-CH" altLang="de-DE" sz="1400" b="0" i="0" u="none" strike="noStrike" cap="none" normalizeH="0" baseline="0" dirty="0">
                        <a:ln>
                          <a:noFill/>
                        </a:ln>
                        <a:solidFill>
                          <a:schemeClr val="tx2"/>
                        </a:solidFill>
                        <a:effectLst/>
                        <a:latin typeface="Times New Roman" panose="02020603050405020304" pitchFamily="18" charset="0"/>
                      </a:endParaRPr>
                    </a:p>
                  </a:txBody>
                  <a:tcPr marL="0" marR="0" marT="36000" marB="36000" anchor="ctr" horzOverflow="overflow">
                    <a:lnL cap="flat">
                      <a:noFill/>
                    </a:lnL>
                    <a:lnR cap="flat">
                      <a:noFill/>
                    </a:lnR>
                    <a:lnT cap="flat">
                      <a:noFill/>
                    </a:lnT>
                    <a:lnB w="9525"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tc>
                <a:extLst>
                  <a:ext uri="{0D108BD9-81ED-4DB2-BD59-A6C34878D82A}">
                    <a16:rowId xmlns:a16="http://schemas.microsoft.com/office/drawing/2014/main" val="1542107780"/>
                  </a:ext>
                </a:extLst>
              </a:tr>
              <a:tr h="26600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Analyzer</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cap="flat">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1" i="0" u="none" strike="noStrike" cap="none" normalizeH="0" baseline="0">
                          <a:ln>
                            <a:noFill/>
                          </a:ln>
                          <a:solidFill>
                            <a:schemeClr val="tx1"/>
                          </a:solidFill>
                          <a:effectLst/>
                          <a:latin typeface="Arial" panose="020B0604020202020204" pitchFamily="34" charset="0"/>
                          <a:cs typeface="Arial" panose="020B0604020202020204" pitchFamily="34" charset="0"/>
                        </a:rPr>
                        <a:t>Measuring Range</a:t>
                      </a:r>
                      <a:endParaRPr kumimoji="0" lang="de-CH" altLang="de-DE" sz="1400" b="0" i="0" u="none" strike="noStrike" cap="none" normalizeH="0" baseline="0">
                        <a:ln>
                          <a:noFill/>
                        </a:ln>
                        <a:solidFill>
                          <a:schemeClr val="tx1"/>
                        </a:solidFill>
                        <a:effectLst/>
                        <a:latin typeface="Times New Roman" panose="02020603050405020304" pitchFamily="18" charset="0"/>
                      </a:endParaRPr>
                    </a:p>
                  </a:txBody>
                  <a:tcPr marL="0" marR="0" marT="36000" marB="36000" anchor="ctr" horzOverflow="overflow">
                    <a:lnL>
                      <a:noFill/>
                    </a:lnL>
                    <a:lnR cap="flat">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35032056"/>
                  </a:ext>
                </a:extLst>
              </a:tr>
              <a:tr h="26600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O2000 Caldos27 N</a:t>
                      </a:r>
                      <a:r>
                        <a:rPr kumimoji="0" lang="de-CH" altLang="de-DE" sz="1400" b="0" i="0" u="none" strike="noStrike" cap="none" normalizeH="0" baseline="-25000" dirty="0">
                          <a:ln>
                            <a:noFill/>
                          </a:ln>
                          <a:solidFill>
                            <a:schemeClr val="tx1"/>
                          </a:solidFill>
                          <a:effectLst/>
                          <a:latin typeface="Arial" panose="020B0604020202020204" pitchFamily="34" charset="0"/>
                          <a:cs typeface="Arial" panose="020B0604020202020204" pitchFamily="34" charset="0"/>
                        </a:rPr>
                        <a:t>2</a:t>
                      </a: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He</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cap="flat">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0 - 100 Vol%</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a:noFill/>
                    </a:lnL>
                    <a:lnR cap="flat">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92866942"/>
                  </a:ext>
                </a:extLst>
              </a:tr>
              <a:tr h="26600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O2000 Caldos27 Ar/He</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cap="flat">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0 - 100 Vol%</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a:noFill/>
                    </a:lnL>
                    <a:lnR cap="flat">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38043331"/>
                  </a:ext>
                </a:extLst>
              </a:tr>
              <a:tr h="26600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O2000 Caldos27 N</a:t>
                      </a:r>
                      <a:r>
                        <a:rPr kumimoji="0" lang="de-CH" altLang="de-DE" sz="1400" b="0" i="0" u="none" strike="noStrike" cap="none" normalizeH="0" baseline="-25000" dirty="0">
                          <a:ln>
                            <a:noFill/>
                          </a:ln>
                          <a:solidFill>
                            <a:schemeClr val="tx1"/>
                          </a:solidFill>
                          <a:effectLst/>
                          <a:latin typeface="Arial" panose="020B0604020202020204" pitchFamily="34" charset="0"/>
                          <a:cs typeface="Arial" panose="020B0604020202020204" pitchFamily="34" charset="0"/>
                        </a:rPr>
                        <a:t>2</a:t>
                      </a: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r</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cap="flat">
                      <a:noFill/>
                    </a:lnL>
                    <a:lnR>
                      <a:noFill/>
                    </a:lnR>
                    <a:lnT w="9525"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0 -100 Vol%</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a:noFill/>
                    </a:lnL>
                    <a:lnR cap="flat">
                      <a:noFill/>
                    </a:lnR>
                    <a:lnT w="9525" cap="flat" cmpd="sng" algn="ctr">
                      <a:solidFill>
                        <a:schemeClr val="tx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3409706098"/>
                  </a:ext>
                </a:extLst>
              </a:tr>
            </a:tbl>
          </a:graphicData>
        </a:graphic>
      </p:graphicFrame>
      <p:graphicFrame>
        <p:nvGraphicFramePr>
          <p:cNvPr id="9" name="Group 161">
            <a:extLst>
              <a:ext uri="{FF2B5EF4-FFF2-40B4-BE49-F238E27FC236}">
                <a16:creationId xmlns:a16="http://schemas.microsoft.com/office/drawing/2014/main" id="{011173F7-5D16-4AC5-8E31-4EE679E3D89A}"/>
              </a:ext>
            </a:extLst>
          </p:cNvPr>
          <p:cNvGraphicFramePr>
            <a:graphicFrameLocks noGrp="1"/>
          </p:cNvGraphicFramePr>
          <p:nvPr>
            <p:extLst>
              <p:ext uri="{D42A27DB-BD31-4B8C-83A1-F6EECF244321}">
                <p14:modId xmlns:p14="http://schemas.microsoft.com/office/powerpoint/2010/main" val="3447216381"/>
              </p:ext>
            </p:extLst>
          </p:nvPr>
        </p:nvGraphicFramePr>
        <p:xfrm>
          <a:off x="336550" y="2619917"/>
          <a:ext cx="5579310" cy="2568240"/>
        </p:xfrm>
        <a:graphic>
          <a:graphicData uri="http://schemas.openxmlformats.org/drawingml/2006/table">
            <a:tbl>
              <a:tblPr/>
              <a:tblGrid>
                <a:gridCol w="2789655">
                  <a:extLst>
                    <a:ext uri="{9D8B030D-6E8A-4147-A177-3AD203B41FA5}">
                      <a16:colId xmlns:a16="http://schemas.microsoft.com/office/drawing/2014/main" val="1816234661"/>
                    </a:ext>
                  </a:extLst>
                </a:gridCol>
                <a:gridCol w="2789655">
                  <a:extLst>
                    <a:ext uri="{9D8B030D-6E8A-4147-A177-3AD203B41FA5}">
                      <a16:colId xmlns:a16="http://schemas.microsoft.com/office/drawing/2014/main" val="2021409078"/>
                    </a:ext>
                  </a:extLst>
                </a:gridCol>
              </a:tblGrid>
              <a:tr h="266003">
                <a:tc gridSpan="2">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Hazardous area (ATEX Kat 2G)</a:t>
                      </a:r>
                      <a:endParaRPr kumimoji="0" lang="de-CH" altLang="de-DE" sz="1400" b="0" i="0" u="none" strike="noStrike" cap="none" normalizeH="0" baseline="0" dirty="0">
                        <a:ln>
                          <a:noFill/>
                        </a:ln>
                        <a:solidFill>
                          <a:schemeClr val="tx2"/>
                        </a:solidFill>
                        <a:effectLst/>
                        <a:latin typeface="Times New Roman" panose="02020603050405020304" pitchFamily="18" charset="0"/>
                      </a:endParaRPr>
                    </a:p>
                  </a:txBody>
                  <a:tcPr marL="0" marR="0" marT="36000" marB="36000" anchor="ctr" horzOverflow="overflow">
                    <a:lnL cap="flat">
                      <a:noFill/>
                    </a:lnL>
                    <a:lnR cap="flat">
                      <a:noFill/>
                    </a:lnR>
                    <a:lnT cap="flat">
                      <a:noFill/>
                    </a:lnT>
                    <a:lnB w="9525"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de-DE"/>
                    </a:p>
                  </a:txBody>
                  <a:tcPr/>
                </a:tc>
                <a:extLst>
                  <a:ext uri="{0D108BD9-81ED-4DB2-BD59-A6C34878D82A}">
                    <a16:rowId xmlns:a16="http://schemas.microsoft.com/office/drawing/2014/main" val="187416268"/>
                  </a:ext>
                </a:extLst>
              </a:tr>
              <a:tr h="26600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Analyzer</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cap="flat">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Measuring Range</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a:noFill/>
                    </a:lnL>
                    <a:lnR cap="flat">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90017236"/>
                  </a:ext>
                </a:extLst>
              </a:tr>
              <a:tr h="26600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L3060 Caldos27 H</a:t>
                      </a:r>
                      <a:r>
                        <a:rPr kumimoji="0" lang="de-CH" altLang="de-DE" sz="1400" b="0" i="0" u="none" strike="noStrike" cap="none" normalizeH="0" baseline="-25000" dirty="0">
                          <a:ln>
                            <a:noFill/>
                          </a:ln>
                          <a:solidFill>
                            <a:schemeClr val="tx1"/>
                          </a:solidFill>
                          <a:effectLst/>
                          <a:latin typeface="Arial" panose="020B0604020202020204" pitchFamily="34" charset="0"/>
                          <a:cs typeface="Arial" panose="020B0604020202020204" pitchFamily="34" charset="0"/>
                        </a:rPr>
                        <a:t>2</a:t>
                      </a: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r</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cap="flat">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0 - 50 Vol%</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a:noFill/>
                    </a:lnL>
                    <a:lnR cap="flat">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22120831"/>
                  </a:ext>
                </a:extLst>
              </a:tr>
              <a:tr h="26600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L3060 Caldos27 CH</a:t>
                      </a:r>
                      <a:r>
                        <a:rPr kumimoji="0" lang="de-CH" altLang="de-DE" sz="1400" b="0" i="0" u="none" strike="noStrike" cap="none" normalizeH="0" baseline="-25000" dirty="0">
                          <a:ln>
                            <a:noFill/>
                          </a:ln>
                          <a:solidFill>
                            <a:schemeClr val="tx1"/>
                          </a:solidFill>
                          <a:effectLst/>
                          <a:latin typeface="Arial" panose="020B0604020202020204" pitchFamily="34" charset="0"/>
                          <a:cs typeface="Arial" panose="020B0604020202020204" pitchFamily="34" charset="0"/>
                        </a:rPr>
                        <a:t>4</a:t>
                      </a: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Ar</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cap="flat">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0 - 20 Vol%</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a:noFill/>
                    </a:lnL>
                    <a:lnR cap="flat">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02720824"/>
                  </a:ext>
                </a:extLst>
              </a:tr>
              <a:tr h="26600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L3060 Caldos27 C</a:t>
                      </a:r>
                      <a:r>
                        <a:rPr kumimoji="0" lang="de-CH" altLang="de-DE" sz="1400" b="0" i="0" u="none" strike="noStrike" cap="none" normalizeH="0" baseline="-25000" dirty="0">
                          <a:ln>
                            <a:noFill/>
                          </a:ln>
                          <a:solidFill>
                            <a:schemeClr val="tx1"/>
                          </a:solidFill>
                          <a:effectLst/>
                          <a:latin typeface="Arial" panose="020B0604020202020204" pitchFamily="34" charset="0"/>
                          <a:cs typeface="Arial" panose="020B0604020202020204" pitchFamily="34" charset="0"/>
                        </a:rPr>
                        <a:t>2</a:t>
                      </a: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H</a:t>
                      </a:r>
                      <a:r>
                        <a:rPr kumimoji="0" lang="de-CH" altLang="de-DE" sz="1400" b="0" i="0" u="none" strike="noStrike" cap="none" normalizeH="0" baseline="-25000" dirty="0">
                          <a:ln>
                            <a:noFill/>
                          </a:ln>
                          <a:solidFill>
                            <a:schemeClr val="tx1"/>
                          </a:solidFill>
                          <a:effectLst/>
                          <a:latin typeface="Arial" panose="020B0604020202020204" pitchFamily="34" charset="0"/>
                          <a:cs typeface="Arial" panose="020B0604020202020204" pitchFamily="34" charset="0"/>
                        </a:rPr>
                        <a:t>4</a:t>
                      </a: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t>
                      </a:r>
                      <a:r>
                        <a:rPr kumimoji="0" lang="de-CH" altLang="de-DE" sz="1400" b="0" i="0" u="none" strike="noStrike" cap="none" normalizeH="0" baseline="-25000" dirty="0">
                          <a:ln>
                            <a:noFill/>
                          </a:ln>
                          <a:solidFill>
                            <a:schemeClr val="tx1"/>
                          </a:solidFill>
                          <a:effectLst/>
                          <a:latin typeface="Arial" panose="020B0604020202020204" pitchFamily="34" charset="0"/>
                          <a:cs typeface="Arial" panose="020B0604020202020204" pitchFamily="34" charset="0"/>
                        </a:rPr>
                        <a:t>2</a:t>
                      </a:r>
                      <a:endParaRPr kumimoji="0" lang="de-CH" altLang="de-DE" sz="1400" b="0" i="0" u="none" strike="noStrike" cap="none" normalizeH="0" baseline="-25000" dirty="0">
                        <a:ln>
                          <a:noFill/>
                        </a:ln>
                        <a:solidFill>
                          <a:schemeClr val="tx1"/>
                        </a:solidFill>
                        <a:effectLst/>
                        <a:latin typeface="Times New Roman" panose="02020603050405020304" pitchFamily="18" charset="0"/>
                      </a:endParaRPr>
                    </a:p>
                  </a:txBody>
                  <a:tcPr marL="0" marR="0" marT="36000" marB="36000" anchor="ctr" horzOverflow="overflow">
                    <a:lnL cap="flat">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0 - 16 Vol%</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a:noFill/>
                    </a:lnL>
                    <a:lnR cap="flat">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416951140"/>
                  </a:ext>
                </a:extLst>
              </a:tr>
              <a:tr h="26600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a:ln>
                            <a:noFill/>
                          </a:ln>
                          <a:solidFill>
                            <a:schemeClr val="tx1"/>
                          </a:solidFill>
                          <a:effectLst/>
                          <a:latin typeface="Arial" panose="020B0604020202020204" pitchFamily="34" charset="0"/>
                          <a:cs typeface="Arial" panose="020B0604020202020204" pitchFamily="34" charset="0"/>
                        </a:rPr>
                        <a:t>EL3060 Caldos27 H</a:t>
                      </a:r>
                      <a:r>
                        <a:rPr kumimoji="0" lang="de-CH" altLang="de-DE" sz="1400" b="0" i="0" u="none" strike="noStrike" cap="none" normalizeH="0" baseline="-25000">
                          <a:ln>
                            <a:noFill/>
                          </a:ln>
                          <a:solidFill>
                            <a:schemeClr val="tx1"/>
                          </a:solidFill>
                          <a:effectLst/>
                          <a:latin typeface="Arial" panose="020B0604020202020204" pitchFamily="34" charset="0"/>
                          <a:cs typeface="Arial" panose="020B0604020202020204" pitchFamily="34" charset="0"/>
                        </a:rPr>
                        <a:t>2</a:t>
                      </a:r>
                      <a:r>
                        <a:rPr kumimoji="0" lang="de-CH" altLang="de-DE" sz="1400" b="0" i="0" u="none" strike="noStrike" cap="none" normalizeH="0" baseline="0">
                          <a:ln>
                            <a:noFill/>
                          </a:ln>
                          <a:solidFill>
                            <a:schemeClr val="tx1"/>
                          </a:solidFill>
                          <a:effectLst/>
                          <a:latin typeface="Arial" panose="020B0604020202020204" pitchFamily="34" charset="0"/>
                          <a:cs typeface="Arial" panose="020B0604020202020204" pitchFamily="34" charset="0"/>
                        </a:rPr>
                        <a:t>/He</a:t>
                      </a:r>
                      <a:endParaRPr kumimoji="0" lang="de-CH" altLang="de-DE" sz="1400" b="0" i="0" u="none" strike="noStrike" cap="none" normalizeH="0" baseline="0">
                        <a:ln>
                          <a:noFill/>
                        </a:ln>
                        <a:solidFill>
                          <a:schemeClr val="tx1"/>
                        </a:solidFill>
                        <a:effectLst/>
                        <a:latin typeface="Times New Roman" panose="02020603050405020304" pitchFamily="18" charset="0"/>
                      </a:endParaRPr>
                    </a:p>
                  </a:txBody>
                  <a:tcPr marL="0" marR="0" marT="36000" marB="36000" anchor="ctr" horzOverflow="overflow">
                    <a:lnL cap="flat">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a:ln>
                            <a:noFill/>
                          </a:ln>
                          <a:solidFill>
                            <a:schemeClr val="tx1"/>
                          </a:solidFill>
                          <a:effectLst/>
                          <a:latin typeface="Arial" panose="020B0604020202020204" pitchFamily="34" charset="0"/>
                          <a:cs typeface="Arial" panose="020B0604020202020204" pitchFamily="34" charset="0"/>
                        </a:rPr>
                        <a:t>15 - 50 Vol%</a:t>
                      </a:r>
                      <a:endParaRPr kumimoji="0" lang="de-CH" altLang="de-DE" sz="1400" b="0" i="0" u="none" strike="noStrike" cap="none" normalizeH="0" baseline="0">
                        <a:ln>
                          <a:noFill/>
                        </a:ln>
                        <a:solidFill>
                          <a:schemeClr val="tx1"/>
                        </a:solidFill>
                        <a:effectLst/>
                        <a:latin typeface="Times New Roman" panose="02020603050405020304" pitchFamily="18" charset="0"/>
                      </a:endParaRPr>
                    </a:p>
                  </a:txBody>
                  <a:tcPr marL="0" marR="0" marT="36000" marB="36000" anchor="ctr" horzOverflow="overflow">
                    <a:lnL>
                      <a:noFill/>
                    </a:lnL>
                    <a:lnR cap="flat">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318462448"/>
                  </a:ext>
                </a:extLst>
              </a:tr>
              <a:tr h="26600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a:ln>
                            <a:noFill/>
                          </a:ln>
                          <a:solidFill>
                            <a:schemeClr val="tx1"/>
                          </a:solidFill>
                          <a:effectLst/>
                          <a:latin typeface="Arial" panose="020B0604020202020204" pitchFamily="34" charset="0"/>
                          <a:cs typeface="Arial" panose="020B0604020202020204" pitchFamily="34" charset="0"/>
                        </a:rPr>
                        <a:t>EL3060 Caldos27 H</a:t>
                      </a:r>
                      <a:r>
                        <a:rPr kumimoji="0" lang="de-CH" altLang="de-DE" sz="1400" b="0" i="0" u="none" strike="noStrike" cap="none" normalizeH="0" baseline="-25000">
                          <a:ln>
                            <a:noFill/>
                          </a:ln>
                          <a:solidFill>
                            <a:schemeClr val="tx1"/>
                          </a:solidFill>
                          <a:effectLst/>
                          <a:latin typeface="Arial" panose="020B0604020202020204" pitchFamily="34" charset="0"/>
                          <a:cs typeface="Arial" panose="020B0604020202020204" pitchFamily="34" charset="0"/>
                        </a:rPr>
                        <a:t>2</a:t>
                      </a:r>
                      <a:r>
                        <a:rPr kumimoji="0" lang="de-CH" altLang="de-DE" sz="1400" b="0" i="0" u="none" strike="noStrike" cap="none" normalizeH="0" baseline="0">
                          <a:ln>
                            <a:noFill/>
                          </a:ln>
                          <a:solidFill>
                            <a:schemeClr val="tx1"/>
                          </a:solidFill>
                          <a:effectLst/>
                          <a:latin typeface="Arial" panose="020B0604020202020204" pitchFamily="34" charset="0"/>
                          <a:cs typeface="Arial" panose="020B0604020202020204" pitchFamily="34" charset="0"/>
                        </a:rPr>
                        <a:t>/Ar</a:t>
                      </a:r>
                      <a:endParaRPr kumimoji="0" lang="de-CH" altLang="de-DE" sz="1400" b="0" i="0" u="none" strike="noStrike" cap="none" normalizeH="0" baseline="0">
                        <a:ln>
                          <a:noFill/>
                        </a:ln>
                        <a:solidFill>
                          <a:schemeClr val="tx1"/>
                        </a:solidFill>
                        <a:effectLst/>
                        <a:latin typeface="Times New Roman" panose="02020603050405020304" pitchFamily="18" charset="0"/>
                      </a:endParaRPr>
                    </a:p>
                  </a:txBody>
                  <a:tcPr marL="0" marR="0" marT="36000" marB="36000" anchor="ctr" horzOverflow="overflow">
                    <a:lnL cap="flat">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a:ln>
                            <a:noFill/>
                          </a:ln>
                          <a:solidFill>
                            <a:schemeClr val="tx1"/>
                          </a:solidFill>
                          <a:effectLst/>
                          <a:latin typeface="Arial" panose="020B0604020202020204" pitchFamily="34" charset="0"/>
                          <a:cs typeface="Arial" panose="020B0604020202020204" pitchFamily="34" charset="0"/>
                        </a:rPr>
                        <a:t>0 - 30 Vol%</a:t>
                      </a:r>
                      <a:endParaRPr kumimoji="0" lang="de-CH" altLang="de-DE" sz="1400" b="0" i="0" u="none" strike="noStrike" cap="none" normalizeH="0" baseline="0">
                        <a:ln>
                          <a:noFill/>
                        </a:ln>
                        <a:solidFill>
                          <a:schemeClr val="tx1"/>
                        </a:solidFill>
                        <a:effectLst/>
                        <a:latin typeface="Times New Roman" panose="02020603050405020304" pitchFamily="18" charset="0"/>
                      </a:endParaRPr>
                    </a:p>
                  </a:txBody>
                  <a:tcPr marL="0" marR="0" marT="36000" marB="36000" anchor="ctr" horzOverflow="overflow">
                    <a:lnL>
                      <a:noFill/>
                    </a:lnL>
                    <a:lnR cap="flat">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84648825"/>
                  </a:ext>
                </a:extLst>
              </a:tr>
              <a:tr h="26600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a:ln>
                            <a:noFill/>
                          </a:ln>
                          <a:solidFill>
                            <a:schemeClr val="tx1"/>
                          </a:solidFill>
                          <a:effectLst/>
                          <a:latin typeface="Arial" panose="020B0604020202020204" pitchFamily="34" charset="0"/>
                          <a:cs typeface="Arial" panose="020B0604020202020204" pitchFamily="34" charset="0"/>
                        </a:rPr>
                        <a:t>EL3060 Caldos27 H</a:t>
                      </a:r>
                      <a:r>
                        <a:rPr kumimoji="0" lang="de-CH" altLang="de-DE" sz="1400" b="0" i="0" u="none" strike="noStrike" cap="none" normalizeH="0" baseline="-25000">
                          <a:ln>
                            <a:noFill/>
                          </a:ln>
                          <a:solidFill>
                            <a:schemeClr val="tx1"/>
                          </a:solidFill>
                          <a:effectLst/>
                          <a:latin typeface="Arial" panose="020B0604020202020204" pitchFamily="34" charset="0"/>
                          <a:cs typeface="Arial" panose="020B0604020202020204" pitchFamily="34" charset="0"/>
                        </a:rPr>
                        <a:t>2</a:t>
                      </a:r>
                      <a:r>
                        <a:rPr kumimoji="0" lang="de-CH" altLang="de-DE" sz="1400" b="0" i="0" u="none" strike="noStrike" cap="none" normalizeH="0" baseline="0">
                          <a:ln>
                            <a:noFill/>
                          </a:ln>
                          <a:solidFill>
                            <a:schemeClr val="tx1"/>
                          </a:solidFill>
                          <a:effectLst/>
                          <a:latin typeface="Arial" panose="020B0604020202020204" pitchFamily="34" charset="0"/>
                          <a:cs typeface="Arial" panose="020B0604020202020204" pitchFamily="34" charset="0"/>
                        </a:rPr>
                        <a:t>/N</a:t>
                      </a:r>
                      <a:r>
                        <a:rPr kumimoji="0" lang="de-CH" altLang="de-DE" sz="1400" b="0" i="0" u="none" strike="noStrike" cap="none" normalizeH="0" baseline="-25000">
                          <a:ln>
                            <a:noFill/>
                          </a:ln>
                          <a:solidFill>
                            <a:schemeClr val="tx1"/>
                          </a:solidFill>
                          <a:effectLst/>
                          <a:latin typeface="Arial" panose="020B0604020202020204" pitchFamily="34" charset="0"/>
                          <a:cs typeface="Arial" panose="020B0604020202020204" pitchFamily="34" charset="0"/>
                        </a:rPr>
                        <a:t>2</a:t>
                      </a:r>
                      <a:endParaRPr kumimoji="0" lang="de-CH" altLang="de-DE" sz="1400" b="0" i="0" u="none" strike="noStrike" cap="none" normalizeH="0" baseline="-25000">
                        <a:ln>
                          <a:noFill/>
                        </a:ln>
                        <a:solidFill>
                          <a:schemeClr val="tx1"/>
                        </a:solidFill>
                        <a:effectLst/>
                        <a:latin typeface="Times New Roman" panose="02020603050405020304" pitchFamily="18" charset="0"/>
                      </a:endParaRPr>
                    </a:p>
                  </a:txBody>
                  <a:tcPr marL="0" marR="0" marT="36000" marB="36000" anchor="ctr" horzOverflow="overflow">
                    <a:lnL cap="flat">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a:ln>
                            <a:noFill/>
                          </a:ln>
                          <a:solidFill>
                            <a:schemeClr val="tx1"/>
                          </a:solidFill>
                          <a:effectLst/>
                          <a:latin typeface="Arial" panose="020B0604020202020204" pitchFamily="34" charset="0"/>
                          <a:cs typeface="Arial" panose="020B0604020202020204" pitchFamily="34" charset="0"/>
                        </a:rPr>
                        <a:t>0 - 100 Vol%</a:t>
                      </a:r>
                      <a:endParaRPr kumimoji="0" lang="de-CH" altLang="de-DE" sz="1400" b="0" i="0" u="none" strike="noStrike" cap="none" normalizeH="0" baseline="0">
                        <a:ln>
                          <a:noFill/>
                        </a:ln>
                        <a:solidFill>
                          <a:schemeClr val="tx1"/>
                        </a:solidFill>
                        <a:effectLst/>
                        <a:latin typeface="Times New Roman" panose="02020603050405020304" pitchFamily="18" charset="0"/>
                      </a:endParaRPr>
                    </a:p>
                  </a:txBody>
                  <a:tcPr marL="0" marR="0" marT="36000" marB="36000" anchor="ctr" horzOverflow="overflow">
                    <a:lnL>
                      <a:noFill/>
                    </a:lnL>
                    <a:lnR cap="flat">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91524076"/>
                  </a:ext>
                </a:extLst>
              </a:tr>
              <a:tr h="266003">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a:ln>
                            <a:noFill/>
                          </a:ln>
                          <a:solidFill>
                            <a:schemeClr val="tx1"/>
                          </a:solidFill>
                          <a:effectLst/>
                          <a:latin typeface="Arial" panose="020B0604020202020204" pitchFamily="34" charset="0"/>
                          <a:cs typeface="Arial" panose="020B0604020202020204" pitchFamily="34" charset="0"/>
                        </a:rPr>
                        <a:t>EL3060 Caldos27 H</a:t>
                      </a:r>
                      <a:r>
                        <a:rPr kumimoji="0" lang="de-CH" altLang="de-DE" sz="1400" b="0" i="0" u="none" strike="noStrike" cap="none" normalizeH="0" baseline="-25000">
                          <a:ln>
                            <a:noFill/>
                          </a:ln>
                          <a:solidFill>
                            <a:schemeClr val="tx1"/>
                          </a:solidFill>
                          <a:effectLst/>
                          <a:latin typeface="Arial" panose="020B0604020202020204" pitchFamily="34" charset="0"/>
                          <a:cs typeface="Arial" panose="020B0604020202020204" pitchFamily="34" charset="0"/>
                        </a:rPr>
                        <a:t>2</a:t>
                      </a:r>
                      <a:r>
                        <a:rPr kumimoji="0" lang="de-CH" altLang="de-DE" sz="1400" b="0" i="0" u="none" strike="noStrike" cap="none" normalizeH="0" baseline="0">
                          <a:ln>
                            <a:noFill/>
                          </a:ln>
                          <a:solidFill>
                            <a:schemeClr val="tx1"/>
                          </a:solidFill>
                          <a:effectLst/>
                          <a:latin typeface="Arial" panose="020B0604020202020204" pitchFamily="34" charset="0"/>
                          <a:cs typeface="Arial" panose="020B0604020202020204" pitchFamily="34" charset="0"/>
                        </a:rPr>
                        <a:t>/Ar</a:t>
                      </a:r>
                      <a:endParaRPr kumimoji="0" lang="de-CH" altLang="de-DE" sz="1400" b="0" i="0" u="none" strike="noStrike" cap="none" normalizeH="0" baseline="0">
                        <a:ln>
                          <a:noFill/>
                        </a:ln>
                        <a:solidFill>
                          <a:schemeClr val="tx1"/>
                        </a:solidFill>
                        <a:effectLst/>
                        <a:latin typeface="Times New Roman" panose="02020603050405020304" pitchFamily="18" charset="0"/>
                      </a:endParaRPr>
                    </a:p>
                  </a:txBody>
                  <a:tcPr marL="0" marR="0" marT="36000" marB="36000" anchor="ctr" horzOverflow="overflow">
                    <a:lnL cap="flat">
                      <a:noFill/>
                    </a:lnL>
                    <a:lnR>
                      <a:noFill/>
                    </a:lnR>
                    <a:lnT w="9525" cap="flat" cmpd="sng" algn="ctr">
                      <a:solidFill>
                        <a:schemeClr val="tx1"/>
                      </a:solidFill>
                      <a:prstDash val="solid"/>
                      <a:round/>
                      <a:headEnd type="none" w="med" len="med"/>
                      <a:tailEnd type="none" w="med" len="med"/>
                    </a:lnT>
                    <a:lnB cap="flat">
                      <a:noFill/>
                    </a:lnB>
                    <a:lnTlToBr>
                      <a:noFill/>
                    </a:lnTlToBr>
                    <a:lnBlToTr>
                      <a:noFill/>
                    </a:lnBlToTr>
                    <a:noFill/>
                  </a:tcPr>
                </a:tc>
                <a:tc>
                  <a:txBody>
                    <a:bodyPr/>
                    <a:lstStyle>
                      <a:lvl1pPr>
                        <a:spcBef>
                          <a:spcPct val="100000"/>
                        </a:spcBef>
                        <a:buClr>
                          <a:schemeClr val="tx2"/>
                        </a:buClr>
                        <a:buSzPct val="70000"/>
                        <a:buFont typeface="Wingdings" panose="05000000000000000000" pitchFamily="2" charset="2"/>
                        <a:defRPr sz="1600" b="1">
                          <a:solidFill>
                            <a:srgbClr val="000000"/>
                          </a:solidFill>
                          <a:latin typeface="Arial" panose="020B0604020202020204" pitchFamily="34" charset="0"/>
                          <a:cs typeface="Arial" panose="020B0604020202020204" pitchFamily="34" charset="0"/>
                        </a:defRPr>
                      </a:lvl1pPr>
                      <a:lvl2pPr>
                        <a:buClr>
                          <a:schemeClr val="tx2"/>
                        </a:buClr>
                        <a:buSzPct val="70000"/>
                        <a:buFont typeface="Wingdings" panose="05000000000000000000" pitchFamily="2" charset="2"/>
                        <a:defRPr sz="1600">
                          <a:solidFill>
                            <a:srgbClr val="000000"/>
                          </a:solidFill>
                          <a:latin typeface="Arial" panose="020B0604020202020204" pitchFamily="34" charset="0"/>
                          <a:cs typeface="Arial" panose="020B0604020202020204" pitchFamily="34" charset="0"/>
                        </a:defRPr>
                      </a:lvl2pPr>
                      <a:lvl3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3pPr>
                      <a:lvl4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4pPr>
                      <a:lvl5pPr>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5pPr>
                      <a:lvl6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6pPr>
                      <a:lvl7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7pPr>
                      <a:lvl8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8pPr>
                      <a:lvl9pPr fontAlgn="base">
                        <a:spcBef>
                          <a:spcPct val="0"/>
                        </a:spcBef>
                        <a:spcAft>
                          <a:spcPct val="0"/>
                        </a:spcAft>
                        <a:buClr>
                          <a:schemeClr val="tx2"/>
                        </a:buClr>
                        <a:buSzPct val="70000"/>
                        <a:buFont typeface="Wingdings" panose="05000000000000000000" pitchFamily="2" charset="2"/>
                        <a:defRPr sz="1400">
                          <a:solidFill>
                            <a:srgbClr val="000000"/>
                          </a:solidFill>
                          <a:latin typeface="Arial" panose="020B0604020202020204" pitchFamily="34" charset="0"/>
                          <a:cs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de-CH" altLang="de-DE" sz="14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0 - 100 Vol%</a:t>
                      </a:r>
                      <a:endParaRPr kumimoji="0" lang="de-CH" altLang="de-DE" sz="1400" b="0" i="0" u="none" strike="noStrike" cap="none" normalizeH="0" baseline="0" dirty="0">
                        <a:ln>
                          <a:noFill/>
                        </a:ln>
                        <a:solidFill>
                          <a:schemeClr val="tx1"/>
                        </a:solidFill>
                        <a:effectLst/>
                        <a:latin typeface="Times New Roman" panose="02020603050405020304" pitchFamily="18" charset="0"/>
                      </a:endParaRPr>
                    </a:p>
                  </a:txBody>
                  <a:tcPr marL="0" marR="0" marT="36000" marB="36000" anchor="ctr" horzOverflow="overflow">
                    <a:lnL>
                      <a:noFill/>
                    </a:lnL>
                    <a:lnR cap="flat">
                      <a:noFill/>
                    </a:lnR>
                    <a:lnT w="9525" cap="flat" cmpd="sng" algn="ctr">
                      <a:solidFill>
                        <a:schemeClr val="tx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2628157084"/>
                  </a:ext>
                </a:extLst>
              </a:tr>
            </a:tbl>
          </a:graphicData>
        </a:graphic>
      </p:graphicFrame>
      <p:grpSp>
        <p:nvGrpSpPr>
          <p:cNvPr id="10" name="Group 9">
            <a:extLst>
              <a:ext uri="{FF2B5EF4-FFF2-40B4-BE49-F238E27FC236}">
                <a16:creationId xmlns:a16="http://schemas.microsoft.com/office/drawing/2014/main" id="{9977CC6A-FB30-4285-BA11-5D496F82F4AD}"/>
              </a:ext>
            </a:extLst>
          </p:cNvPr>
          <p:cNvGrpSpPr/>
          <p:nvPr/>
        </p:nvGrpSpPr>
        <p:grpSpPr bwMode="gray">
          <a:xfrm>
            <a:off x="352083" y="1962105"/>
            <a:ext cx="622143" cy="618547"/>
            <a:chOff x="5549006" y="736787"/>
            <a:chExt cx="1831354" cy="1820772"/>
          </a:xfrm>
        </p:grpSpPr>
        <p:sp>
          <p:nvSpPr>
            <p:cNvPr id="11" name="Freeform: Shape 10">
              <a:extLst>
                <a:ext uri="{FF2B5EF4-FFF2-40B4-BE49-F238E27FC236}">
                  <a16:creationId xmlns:a16="http://schemas.microsoft.com/office/drawing/2014/main" id="{BEB71B98-207A-4D37-8343-2D52D49884D6}"/>
                </a:ext>
              </a:extLst>
            </p:cNvPr>
            <p:cNvSpPr/>
            <p:nvPr/>
          </p:nvSpPr>
          <p:spPr bwMode="gray">
            <a:xfrm rot="21139007">
              <a:off x="5892980" y="1801165"/>
              <a:ext cx="353656" cy="362484"/>
            </a:xfrm>
            <a:custGeom>
              <a:avLst/>
              <a:gdLst>
                <a:gd name="connsiteX0" fmla="*/ 370333 w 372238"/>
                <a:gd name="connsiteY0" fmla="*/ 114409 h 381530"/>
                <a:gd name="connsiteX1" fmla="*/ 372238 w 372238"/>
                <a:gd name="connsiteY1" fmla="*/ 120544 h 381530"/>
                <a:gd name="connsiteX2" fmla="*/ 367765 w 372238"/>
                <a:gd name="connsiteY2" fmla="*/ 120168 h 381530"/>
                <a:gd name="connsiteX3" fmla="*/ 155156 w 372238"/>
                <a:gd name="connsiteY3" fmla="*/ 0 h 381530"/>
                <a:gd name="connsiteX4" fmla="*/ 192087 w 372238"/>
                <a:gd name="connsiteY4" fmla="*/ 88592 h 381530"/>
                <a:gd name="connsiteX5" fmla="*/ 159770 w 372238"/>
                <a:gd name="connsiteY5" fmla="*/ 122971 h 381530"/>
                <a:gd name="connsiteX6" fmla="*/ 277593 w 372238"/>
                <a:gd name="connsiteY6" fmla="*/ 132248 h 381530"/>
                <a:gd name="connsiteX7" fmla="*/ 328965 w 372238"/>
                <a:gd name="connsiteY7" fmla="*/ 143614 h 381530"/>
                <a:gd name="connsiteX8" fmla="*/ 254961 w 372238"/>
                <a:gd name="connsiteY8" fmla="*/ 227846 h 381530"/>
                <a:gd name="connsiteX9" fmla="*/ 314019 w 372238"/>
                <a:gd name="connsiteY9" fmla="*/ 280298 h 381530"/>
                <a:gd name="connsiteX10" fmla="*/ 352867 w 372238"/>
                <a:gd name="connsiteY10" fmla="*/ 278059 h 381530"/>
                <a:gd name="connsiteX11" fmla="*/ 318974 w 372238"/>
                <a:gd name="connsiteY11" fmla="*/ 322234 h 381530"/>
                <a:gd name="connsiteX12" fmla="*/ 326221 w 372238"/>
                <a:gd name="connsiteY12" fmla="*/ 326897 h 381530"/>
                <a:gd name="connsiteX13" fmla="*/ 267645 w 372238"/>
                <a:gd name="connsiteY13" fmla="*/ 366390 h 381530"/>
                <a:gd name="connsiteX14" fmla="*/ 192655 w 372238"/>
                <a:gd name="connsiteY14" fmla="*/ 381530 h 381530"/>
                <a:gd name="connsiteX15" fmla="*/ 0 w 372238"/>
                <a:gd name="connsiteY15" fmla="*/ 188875 h 381530"/>
                <a:gd name="connsiteX16" fmla="*/ 153829 w 372238"/>
                <a:gd name="connsiteY16" fmla="*/ 134 h 38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2238" h="381530">
                  <a:moveTo>
                    <a:pt x="370333" y="114409"/>
                  </a:moveTo>
                  <a:lnTo>
                    <a:pt x="372238" y="120544"/>
                  </a:lnTo>
                  <a:lnTo>
                    <a:pt x="367765" y="120168"/>
                  </a:lnTo>
                  <a:close/>
                  <a:moveTo>
                    <a:pt x="155156" y="0"/>
                  </a:moveTo>
                  <a:lnTo>
                    <a:pt x="192087" y="88592"/>
                  </a:lnTo>
                  <a:lnTo>
                    <a:pt x="159770" y="122971"/>
                  </a:lnTo>
                  <a:lnTo>
                    <a:pt x="277593" y="132248"/>
                  </a:lnTo>
                  <a:lnTo>
                    <a:pt x="328965" y="143614"/>
                  </a:lnTo>
                  <a:lnTo>
                    <a:pt x="254961" y="227846"/>
                  </a:lnTo>
                  <a:lnTo>
                    <a:pt x="314019" y="280298"/>
                  </a:lnTo>
                  <a:lnTo>
                    <a:pt x="352867" y="278059"/>
                  </a:lnTo>
                  <a:lnTo>
                    <a:pt x="318974" y="322234"/>
                  </a:lnTo>
                  <a:lnTo>
                    <a:pt x="326221" y="326897"/>
                  </a:lnTo>
                  <a:lnTo>
                    <a:pt x="267645" y="366390"/>
                  </a:lnTo>
                  <a:cubicBezTo>
                    <a:pt x="244596" y="376139"/>
                    <a:pt x="219255" y="381530"/>
                    <a:pt x="192655" y="381530"/>
                  </a:cubicBezTo>
                  <a:cubicBezTo>
                    <a:pt x="86255" y="381530"/>
                    <a:pt x="0" y="295275"/>
                    <a:pt x="0" y="188875"/>
                  </a:cubicBezTo>
                  <a:cubicBezTo>
                    <a:pt x="0" y="95775"/>
                    <a:pt x="66039" y="18099"/>
                    <a:pt x="153829" y="134"/>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2" name="Freeform: Shape 11">
              <a:extLst>
                <a:ext uri="{FF2B5EF4-FFF2-40B4-BE49-F238E27FC236}">
                  <a16:creationId xmlns:a16="http://schemas.microsoft.com/office/drawing/2014/main" id="{A173E5EC-1416-4CEE-B5F8-BCBB6C77AAFD}"/>
                </a:ext>
              </a:extLst>
            </p:cNvPr>
            <p:cNvSpPr/>
            <p:nvPr/>
          </p:nvSpPr>
          <p:spPr bwMode="gray">
            <a:xfrm rot="2071426">
              <a:off x="5869445" y="1717693"/>
              <a:ext cx="74462" cy="58275"/>
            </a:xfrm>
            <a:custGeom>
              <a:avLst/>
              <a:gdLst>
                <a:gd name="connsiteX0" fmla="*/ 57150 w 175260"/>
                <a:gd name="connsiteY0" fmla="*/ 137160 h 137160"/>
                <a:gd name="connsiteX1" fmla="*/ 0 w 175260"/>
                <a:gd name="connsiteY1" fmla="*/ 95250 h 137160"/>
                <a:gd name="connsiteX2" fmla="*/ 68580 w 175260"/>
                <a:gd name="connsiteY2" fmla="*/ 0 h 137160"/>
                <a:gd name="connsiteX3" fmla="*/ 175260 w 175260"/>
                <a:gd name="connsiteY3" fmla="*/ 19050 h 137160"/>
                <a:gd name="connsiteX4" fmla="*/ 144780 w 175260"/>
                <a:gd name="connsiteY4" fmla="*/ 102870 h 137160"/>
                <a:gd name="connsiteX5" fmla="*/ 57150 w 175260"/>
                <a:gd name="connsiteY5" fmla="*/ 137160 h 13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60" h="137160">
                  <a:moveTo>
                    <a:pt x="57150" y="137160"/>
                  </a:moveTo>
                  <a:lnTo>
                    <a:pt x="0" y="95250"/>
                  </a:lnTo>
                  <a:lnTo>
                    <a:pt x="68580" y="0"/>
                  </a:lnTo>
                  <a:lnTo>
                    <a:pt x="175260" y="19050"/>
                  </a:lnTo>
                  <a:lnTo>
                    <a:pt x="144780" y="102870"/>
                  </a:lnTo>
                  <a:lnTo>
                    <a:pt x="57150" y="137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3" name="Freeform: Shape 12">
              <a:extLst>
                <a:ext uri="{FF2B5EF4-FFF2-40B4-BE49-F238E27FC236}">
                  <a16:creationId xmlns:a16="http://schemas.microsoft.com/office/drawing/2014/main" id="{C2EA678E-25B0-4191-934B-6DD1DFF3B8C7}"/>
                </a:ext>
              </a:extLst>
            </p:cNvPr>
            <p:cNvSpPr/>
            <p:nvPr/>
          </p:nvSpPr>
          <p:spPr bwMode="gray">
            <a:xfrm rot="6300000">
              <a:off x="5889379" y="1593292"/>
              <a:ext cx="91945" cy="70474"/>
            </a:xfrm>
            <a:custGeom>
              <a:avLst/>
              <a:gdLst>
                <a:gd name="connsiteX0" fmla="*/ 57150 w 175260"/>
                <a:gd name="connsiteY0" fmla="*/ 137160 h 137160"/>
                <a:gd name="connsiteX1" fmla="*/ 0 w 175260"/>
                <a:gd name="connsiteY1" fmla="*/ 95250 h 137160"/>
                <a:gd name="connsiteX2" fmla="*/ 68580 w 175260"/>
                <a:gd name="connsiteY2" fmla="*/ 0 h 137160"/>
                <a:gd name="connsiteX3" fmla="*/ 175260 w 175260"/>
                <a:gd name="connsiteY3" fmla="*/ 19050 h 137160"/>
                <a:gd name="connsiteX4" fmla="*/ 144780 w 175260"/>
                <a:gd name="connsiteY4" fmla="*/ 102870 h 137160"/>
                <a:gd name="connsiteX5" fmla="*/ 57150 w 175260"/>
                <a:gd name="connsiteY5" fmla="*/ 137160 h 137160"/>
                <a:gd name="connsiteX0" fmla="*/ 84635 w 175260"/>
                <a:gd name="connsiteY0" fmla="*/ 173899 h 173898"/>
                <a:gd name="connsiteX1" fmla="*/ 0 w 175260"/>
                <a:gd name="connsiteY1" fmla="*/ 95250 h 173898"/>
                <a:gd name="connsiteX2" fmla="*/ 68580 w 175260"/>
                <a:gd name="connsiteY2" fmla="*/ 0 h 173898"/>
                <a:gd name="connsiteX3" fmla="*/ 175260 w 175260"/>
                <a:gd name="connsiteY3" fmla="*/ 19050 h 173898"/>
                <a:gd name="connsiteX4" fmla="*/ 144780 w 175260"/>
                <a:gd name="connsiteY4" fmla="*/ 102870 h 173898"/>
                <a:gd name="connsiteX5" fmla="*/ 84635 w 175260"/>
                <a:gd name="connsiteY5" fmla="*/ 173899 h 173898"/>
                <a:gd name="connsiteX0" fmla="*/ 84635 w 192543"/>
                <a:gd name="connsiteY0" fmla="*/ 173899 h 173898"/>
                <a:gd name="connsiteX1" fmla="*/ 0 w 192543"/>
                <a:gd name="connsiteY1" fmla="*/ 95250 h 173898"/>
                <a:gd name="connsiteX2" fmla="*/ 68580 w 192543"/>
                <a:gd name="connsiteY2" fmla="*/ 0 h 173898"/>
                <a:gd name="connsiteX3" fmla="*/ 175260 w 192543"/>
                <a:gd name="connsiteY3" fmla="*/ 19050 h 173898"/>
                <a:gd name="connsiteX4" fmla="*/ 192543 w 192543"/>
                <a:gd name="connsiteY4" fmla="*/ 116539 h 173898"/>
                <a:gd name="connsiteX5" fmla="*/ 84635 w 192543"/>
                <a:gd name="connsiteY5" fmla="*/ 173899 h 173898"/>
                <a:gd name="connsiteX0" fmla="*/ 84635 w 192543"/>
                <a:gd name="connsiteY0" fmla="*/ 154849 h 154848"/>
                <a:gd name="connsiteX1" fmla="*/ 0 w 192543"/>
                <a:gd name="connsiteY1" fmla="*/ 76200 h 154848"/>
                <a:gd name="connsiteX2" fmla="*/ 75198 w 192543"/>
                <a:gd name="connsiteY2" fmla="*/ 5641 h 154848"/>
                <a:gd name="connsiteX3" fmla="*/ 175260 w 192543"/>
                <a:gd name="connsiteY3" fmla="*/ 0 h 154848"/>
                <a:gd name="connsiteX4" fmla="*/ 192543 w 192543"/>
                <a:gd name="connsiteY4" fmla="*/ 97489 h 154848"/>
                <a:gd name="connsiteX5" fmla="*/ 84635 w 192543"/>
                <a:gd name="connsiteY5" fmla="*/ 154849 h 154848"/>
                <a:gd name="connsiteX0" fmla="*/ 84635 w 216407"/>
                <a:gd name="connsiteY0" fmla="*/ 165873 h 165872"/>
                <a:gd name="connsiteX1" fmla="*/ 0 w 216407"/>
                <a:gd name="connsiteY1" fmla="*/ 87224 h 165872"/>
                <a:gd name="connsiteX2" fmla="*/ 75198 w 216407"/>
                <a:gd name="connsiteY2" fmla="*/ 16665 h 165872"/>
                <a:gd name="connsiteX3" fmla="*/ 216407 w 216407"/>
                <a:gd name="connsiteY3" fmla="*/ 0 h 165872"/>
                <a:gd name="connsiteX4" fmla="*/ 192543 w 216407"/>
                <a:gd name="connsiteY4" fmla="*/ 108513 h 165872"/>
                <a:gd name="connsiteX5" fmla="*/ 84635 w 216407"/>
                <a:gd name="connsiteY5" fmla="*/ 165873 h 165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407" h="165872">
                  <a:moveTo>
                    <a:pt x="84635" y="165873"/>
                  </a:moveTo>
                  <a:lnTo>
                    <a:pt x="0" y="87224"/>
                  </a:lnTo>
                  <a:lnTo>
                    <a:pt x="75198" y="16665"/>
                  </a:lnTo>
                  <a:lnTo>
                    <a:pt x="216407" y="0"/>
                  </a:lnTo>
                  <a:lnTo>
                    <a:pt x="192543" y="108513"/>
                  </a:lnTo>
                  <a:lnTo>
                    <a:pt x="84635" y="16587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4" name="Rectangle 75">
              <a:extLst>
                <a:ext uri="{FF2B5EF4-FFF2-40B4-BE49-F238E27FC236}">
                  <a16:creationId xmlns:a16="http://schemas.microsoft.com/office/drawing/2014/main" id="{4D83C767-446F-445B-80FD-EB8757C6ED77}"/>
                </a:ext>
              </a:extLst>
            </p:cNvPr>
            <p:cNvSpPr/>
            <p:nvPr/>
          </p:nvSpPr>
          <p:spPr bwMode="gray">
            <a:xfrm>
              <a:off x="5978863" y="1703227"/>
              <a:ext cx="32577" cy="34387"/>
            </a:xfrm>
            <a:custGeom>
              <a:avLst/>
              <a:gdLst>
                <a:gd name="connsiteX0" fmla="*/ 0 w 45719"/>
                <a:gd name="connsiteY0" fmla="*/ 0 h 45719"/>
                <a:gd name="connsiteX1" fmla="*/ 45719 w 45719"/>
                <a:gd name="connsiteY1" fmla="*/ 0 h 45719"/>
                <a:gd name="connsiteX2" fmla="*/ 45719 w 45719"/>
                <a:gd name="connsiteY2" fmla="*/ 45719 h 45719"/>
                <a:gd name="connsiteX3" fmla="*/ 0 w 45719"/>
                <a:gd name="connsiteY3" fmla="*/ 45719 h 45719"/>
                <a:gd name="connsiteX4" fmla="*/ 0 w 45719"/>
                <a:gd name="connsiteY4" fmla="*/ 0 h 45719"/>
                <a:gd name="connsiteX0" fmla="*/ 7620 w 45719"/>
                <a:gd name="connsiteY0" fmla="*/ 9525 h 45719"/>
                <a:gd name="connsiteX1" fmla="*/ 45719 w 45719"/>
                <a:gd name="connsiteY1" fmla="*/ 0 h 45719"/>
                <a:gd name="connsiteX2" fmla="*/ 45719 w 45719"/>
                <a:gd name="connsiteY2" fmla="*/ 45719 h 45719"/>
                <a:gd name="connsiteX3" fmla="*/ 0 w 45719"/>
                <a:gd name="connsiteY3" fmla="*/ 45719 h 45719"/>
                <a:gd name="connsiteX4" fmla="*/ 7620 w 45719"/>
                <a:gd name="connsiteY4" fmla="*/ 9525 h 45719"/>
                <a:gd name="connsiteX0" fmla="*/ 7620 w 45719"/>
                <a:gd name="connsiteY0" fmla="*/ 0 h 36194"/>
                <a:gd name="connsiteX1" fmla="*/ 38099 w 45719"/>
                <a:gd name="connsiteY1" fmla="*/ 0 h 36194"/>
                <a:gd name="connsiteX2" fmla="*/ 45719 w 45719"/>
                <a:gd name="connsiteY2" fmla="*/ 36194 h 36194"/>
                <a:gd name="connsiteX3" fmla="*/ 0 w 45719"/>
                <a:gd name="connsiteY3" fmla="*/ 36194 h 36194"/>
                <a:gd name="connsiteX4" fmla="*/ 7620 w 45719"/>
                <a:gd name="connsiteY4" fmla="*/ 0 h 36194"/>
                <a:gd name="connsiteX0" fmla="*/ 7620 w 38099"/>
                <a:gd name="connsiteY0" fmla="*/ 0 h 36194"/>
                <a:gd name="connsiteX1" fmla="*/ 38099 w 38099"/>
                <a:gd name="connsiteY1" fmla="*/ 0 h 36194"/>
                <a:gd name="connsiteX2" fmla="*/ 34289 w 38099"/>
                <a:gd name="connsiteY2" fmla="*/ 36194 h 36194"/>
                <a:gd name="connsiteX3" fmla="*/ 0 w 38099"/>
                <a:gd name="connsiteY3" fmla="*/ 36194 h 36194"/>
                <a:gd name="connsiteX4" fmla="*/ 7620 w 38099"/>
                <a:gd name="connsiteY4" fmla="*/ 0 h 36194"/>
                <a:gd name="connsiteX0" fmla="*/ 0 w 30479"/>
                <a:gd name="connsiteY0" fmla="*/ 0 h 36194"/>
                <a:gd name="connsiteX1" fmla="*/ 30479 w 30479"/>
                <a:gd name="connsiteY1" fmla="*/ 0 h 36194"/>
                <a:gd name="connsiteX2" fmla="*/ 26669 w 30479"/>
                <a:gd name="connsiteY2" fmla="*/ 36194 h 36194"/>
                <a:gd name="connsiteX3" fmla="*/ 7620 w 30479"/>
                <a:gd name="connsiteY3" fmla="*/ 32384 h 36194"/>
                <a:gd name="connsiteX4" fmla="*/ 0 w 30479"/>
                <a:gd name="connsiteY4" fmla="*/ 0 h 36194"/>
                <a:gd name="connsiteX0" fmla="*/ 0 w 34289"/>
                <a:gd name="connsiteY0" fmla="*/ 3810 h 36194"/>
                <a:gd name="connsiteX1" fmla="*/ 34289 w 34289"/>
                <a:gd name="connsiteY1" fmla="*/ 0 h 36194"/>
                <a:gd name="connsiteX2" fmla="*/ 30479 w 34289"/>
                <a:gd name="connsiteY2" fmla="*/ 36194 h 36194"/>
                <a:gd name="connsiteX3" fmla="*/ 11430 w 34289"/>
                <a:gd name="connsiteY3" fmla="*/ 32384 h 36194"/>
                <a:gd name="connsiteX4" fmla="*/ 0 w 34289"/>
                <a:gd name="connsiteY4" fmla="*/ 3810 h 36194"/>
                <a:gd name="connsiteX0" fmla="*/ 0 w 34289"/>
                <a:gd name="connsiteY0" fmla="*/ 3810 h 36194"/>
                <a:gd name="connsiteX1" fmla="*/ 34289 w 34289"/>
                <a:gd name="connsiteY1" fmla="*/ 0 h 36194"/>
                <a:gd name="connsiteX2" fmla="*/ 30479 w 34289"/>
                <a:gd name="connsiteY2" fmla="*/ 36194 h 36194"/>
                <a:gd name="connsiteX3" fmla="*/ 5715 w 34289"/>
                <a:gd name="connsiteY3" fmla="*/ 32384 h 36194"/>
                <a:gd name="connsiteX4" fmla="*/ 0 w 34289"/>
                <a:gd name="connsiteY4" fmla="*/ 3810 h 36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89" h="36194">
                  <a:moveTo>
                    <a:pt x="0" y="3810"/>
                  </a:moveTo>
                  <a:lnTo>
                    <a:pt x="34289" y="0"/>
                  </a:lnTo>
                  <a:lnTo>
                    <a:pt x="30479" y="36194"/>
                  </a:lnTo>
                  <a:lnTo>
                    <a:pt x="5715" y="32384"/>
                  </a:lnTo>
                  <a:lnTo>
                    <a:pt x="0" y="381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5" name="Freeform: Shape 14">
              <a:extLst>
                <a:ext uri="{FF2B5EF4-FFF2-40B4-BE49-F238E27FC236}">
                  <a16:creationId xmlns:a16="http://schemas.microsoft.com/office/drawing/2014/main" id="{6C6F1572-5C9E-4591-8C12-7ED35A801635}"/>
                </a:ext>
              </a:extLst>
            </p:cNvPr>
            <p:cNvSpPr/>
            <p:nvPr/>
          </p:nvSpPr>
          <p:spPr bwMode="gray">
            <a:xfrm rot="20591160">
              <a:off x="6100317" y="1788167"/>
              <a:ext cx="97998" cy="71749"/>
            </a:xfrm>
            <a:custGeom>
              <a:avLst/>
              <a:gdLst>
                <a:gd name="connsiteX0" fmla="*/ 0 w 264160"/>
                <a:gd name="connsiteY0" fmla="*/ 106680 h 203200"/>
                <a:gd name="connsiteX1" fmla="*/ 60960 w 264160"/>
                <a:gd name="connsiteY1" fmla="*/ 50800 h 203200"/>
                <a:gd name="connsiteX2" fmla="*/ 60960 w 264160"/>
                <a:gd name="connsiteY2" fmla="*/ 5080 h 203200"/>
                <a:gd name="connsiteX3" fmla="*/ 187960 w 264160"/>
                <a:gd name="connsiteY3" fmla="*/ 0 h 203200"/>
                <a:gd name="connsiteX4" fmla="*/ 213360 w 264160"/>
                <a:gd name="connsiteY4" fmla="*/ 35560 h 203200"/>
                <a:gd name="connsiteX5" fmla="*/ 264160 w 264160"/>
                <a:gd name="connsiteY5" fmla="*/ 40640 h 203200"/>
                <a:gd name="connsiteX6" fmla="*/ 264160 w 264160"/>
                <a:gd name="connsiteY6" fmla="*/ 101600 h 203200"/>
                <a:gd name="connsiteX7" fmla="*/ 218440 w 264160"/>
                <a:gd name="connsiteY7" fmla="*/ 111760 h 203200"/>
                <a:gd name="connsiteX8" fmla="*/ 218440 w 264160"/>
                <a:gd name="connsiteY8" fmla="*/ 177800 h 203200"/>
                <a:gd name="connsiteX9" fmla="*/ 137160 w 264160"/>
                <a:gd name="connsiteY9" fmla="*/ 203200 h 203200"/>
                <a:gd name="connsiteX10" fmla="*/ 66040 w 264160"/>
                <a:gd name="connsiteY10" fmla="*/ 152400 h 203200"/>
                <a:gd name="connsiteX11" fmla="*/ 0 w 264160"/>
                <a:gd name="connsiteY11" fmla="*/ 106680 h 203200"/>
                <a:gd name="connsiteX0" fmla="*/ 0 w 284480"/>
                <a:gd name="connsiteY0" fmla="*/ 137160 h 203200"/>
                <a:gd name="connsiteX1" fmla="*/ 81280 w 284480"/>
                <a:gd name="connsiteY1" fmla="*/ 50800 h 203200"/>
                <a:gd name="connsiteX2" fmla="*/ 81280 w 284480"/>
                <a:gd name="connsiteY2" fmla="*/ 5080 h 203200"/>
                <a:gd name="connsiteX3" fmla="*/ 208280 w 284480"/>
                <a:gd name="connsiteY3" fmla="*/ 0 h 203200"/>
                <a:gd name="connsiteX4" fmla="*/ 233680 w 284480"/>
                <a:gd name="connsiteY4" fmla="*/ 35560 h 203200"/>
                <a:gd name="connsiteX5" fmla="*/ 284480 w 284480"/>
                <a:gd name="connsiteY5" fmla="*/ 40640 h 203200"/>
                <a:gd name="connsiteX6" fmla="*/ 284480 w 284480"/>
                <a:gd name="connsiteY6" fmla="*/ 101600 h 203200"/>
                <a:gd name="connsiteX7" fmla="*/ 238760 w 284480"/>
                <a:gd name="connsiteY7" fmla="*/ 111760 h 203200"/>
                <a:gd name="connsiteX8" fmla="*/ 238760 w 284480"/>
                <a:gd name="connsiteY8" fmla="*/ 177800 h 203200"/>
                <a:gd name="connsiteX9" fmla="*/ 157480 w 284480"/>
                <a:gd name="connsiteY9" fmla="*/ 203200 h 203200"/>
                <a:gd name="connsiteX10" fmla="*/ 86360 w 284480"/>
                <a:gd name="connsiteY10" fmla="*/ 152400 h 203200"/>
                <a:gd name="connsiteX11" fmla="*/ 0 w 284480"/>
                <a:gd name="connsiteY11" fmla="*/ 137160 h 203200"/>
                <a:gd name="connsiteX0" fmla="*/ 0 w 284480"/>
                <a:gd name="connsiteY0" fmla="*/ 162560 h 228600"/>
                <a:gd name="connsiteX1" fmla="*/ 81280 w 284480"/>
                <a:gd name="connsiteY1" fmla="*/ 76200 h 228600"/>
                <a:gd name="connsiteX2" fmla="*/ 81280 w 284480"/>
                <a:gd name="connsiteY2" fmla="*/ 30480 h 228600"/>
                <a:gd name="connsiteX3" fmla="*/ 208280 w 284480"/>
                <a:gd name="connsiteY3" fmla="*/ 0 h 228600"/>
                <a:gd name="connsiteX4" fmla="*/ 233680 w 284480"/>
                <a:gd name="connsiteY4" fmla="*/ 60960 h 228600"/>
                <a:gd name="connsiteX5" fmla="*/ 284480 w 284480"/>
                <a:gd name="connsiteY5" fmla="*/ 66040 h 228600"/>
                <a:gd name="connsiteX6" fmla="*/ 284480 w 284480"/>
                <a:gd name="connsiteY6" fmla="*/ 127000 h 228600"/>
                <a:gd name="connsiteX7" fmla="*/ 238760 w 284480"/>
                <a:gd name="connsiteY7" fmla="*/ 137160 h 228600"/>
                <a:gd name="connsiteX8" fmla="*/ 238760 w 284480"/>
                <a:gd name="connsiteY8" fmla="*/ 203200 h 228600"/>
                <a:gd name="connsiteX9" fmla="*/ 157480 w 284480"/>
                <a:gd name="connsiteY9" fmla="*/ 228600 h 228600"/>
                <a:gd name="connsiteX10" fmla="*/ 86360 w 284480"/>
                <a:gd name="connsiteY10" fmla="*/ 177800 h 228600"/>
                <a:gd name="connsiteX11" fmla="*/ 0 w 284480"/>
                <a:gd name="connsiteY11" fmla="*/ 162560 h 228600"/>
                <a:gd name="connsiteX0" fmla="*/ 0 w 284480"/>
                <a:gd name="connsiteY0" fmla="*/ 162560 h 228600"/>
                <a:gd name="connsiteX1" fmla="*/ 81280 w 284480"/>
                <a:gd name="connsiteY1" fmla="*/ 76200 h 228600"/>
                <a:gd name="connsiteX2" fmla="*/ 81280 w 284480"/>
                <a:gd name="connsiteY2" fmla="*/ 30480 h 228600"/>
                <a:gd name="connsiteX3" fmla="*/ 208280 w 284480"/>
                <a:gd name="connsiteY3" fmla="*/ 0 h 228600"/>
                <a:gd name="connsiteX4" fmla="*/ 243840 w 284480"/>
                <a:gd name="connsiteY4" fmla="*/ 45720 h 228600"/>
                <a:gd name="connsiteX5" fmla="*/ 284480 w 284480"/>
                <a:gd name="connsiteY5" fmla="*/ 66040 h 228600"/>
                <a:gd name="connsiteX6" fmla="*/ 284480 w 284480"/>
                <a:gd name="connsiteY6" fmla="*/ 127000 h 228600"/>
                <a:gd name="connsiteX7" fmla="*/ 238760 w 284480"/>
                <a:gd name="connsiteY7" fmla="*/ 137160 h 228600"/>
                <a:gd name="connsiteX8" fmla="*/ 238760 w 284480"/>
                <a:gd name="connsiteY8" fmla="*/ 203200 h 228600"/>
                <a:gd name="connsiteX9" fmla="*/ 157480 w 284480"/>
                <a:gd name="connsiteY9" fmla="*/ 228600 h 228600"/>
                <a:gd name="connsiteX10" fmla="*/ 86360 w 284480"/>
                <a:gd name="connsiteY10" fmla="*/ 177800 h 228600"/>
                <a:gd name="connsiteX11" fmla="*/ 0 w 284480"/>
                <a:gd name="connsiteY11" fmla="*/ 162560 h 228600"/>
                <a:gd name="connsiteX0" fmla="*/ 0 w 284480"/>
                <a:gd name="connsiteY0" fmla="*/ 162560 h 228600"/>
                <a:gd name="connsiteX1" fmla="*/ 81280 w 284480"/>
                <a:gd name="connsiteY1" fmla="*/ 76200 h 228600"/>
                <a:gd name="connsiteX2" fmla="*/ 81280 w 284480"/>
                <a:gd name="connsiteY2" fmla="*/ 30480 h 228600"/>
                <a:gd name="connsiteX3" fmla="*/ 208280 w 284480"/>
                <a:gd name="connsiteY3" fmla="*/ 0 h 228600"/>
                <a:gd name="connsiteX4" fmla="*/ 243840 w 284480"/>
                <a:gd name="connsiteY4" fmla="*/ 45720 h 228600"/>
                <a:gd name="connsiteX5" fmla="*/ 284480 w 284480"/>
                <a:gd name="connsiteY5" fmla="*/ 66040 h 228600"/>
                <a:gd name="connsiteX6" fmla="*/ 284480 w 284480"/>
                <a:gd name="connsiteY6" fmla="*/ 127000 h 228600"/>
                <a:gd name="connsiteX7" fmla="*/ 259080 w 284480"/>
                <a:gd name="connsiteY7" fmla="*/ 137160 h 228600"/>
                <a:gd name="connsiteX8" fmla="*/ 238760 w 284480"/>
                <a:gd name="connsiteY8" fmla="*/ 203200 h 228600"/>
                <a:gd name="connsiteX9" fmla="*/ 157480 w 284480"/>
                <a:gd name="connsiteY9" fmla="*/ 228600 h 228600"/>
                <a:gd name="connsiteX10" fmla="*/ 86360 w 284480"/>
                <a:gd name="connsiteY10" fmla="*/ 177800 h 228600"/>
                <a:gd name="connsiteX11" fmla="*/ 0 w 284480"/>
                <a:gd name="connsiteY11" fmla="*/ 162560 h 228600"/>
                <a:gd name="connsiteX0" fmla="*/ 0 w 284480"/>
                <a:gd name="connsiteY0" fmla="*/ 162560 h 228600"/>
                <a:gd name="connsiteX1" fmla="*/ 81280 w 284480"/>
                <a:gd name="connsiteY1" fmla="*/ 76200 h 228600"/>
                <a:gd name="connsiteX2" fmla="*/ 81280 w 284480"/>
                <a:gd name="connsiteY2" fmla="*/ 30480 h 228600"/>
                <a:gd name="connsiteX3" fmla="*/ 208280 w 284480"/>
                <a:gd name="connsiteY3" fmla="*/ 0 h 228600"/>
                <a:gd name="connsiteX4" fmla="*/ 243840 w 284480"/>
                <a:gd name="connsiteY4" fmla="*/ 45720 h 228600"/>
                <a:gd name="connsiteX5" fmla="*/ 284480 w 284480"/>
                <a:gd name="connsiteY5" fmla="*/ 66040 h 228600"/>
                <a:gd name="connsiteX6" fmla="*/ 284480 w 284480"/>
                <a:gd name="connsiteY6" fmla="*/ 127000 h 228600"/>
                <a:gd name="connsiteX7" fmla="*/ 259080 w 284480"/>
                <a:gd name="connsiteY7" fmla="*/ 137160 h 228600"/>
                <a:gd name="connsiteX8" fmla="*/ 243840 w 284480"/>
                <a:gd name="connsiteY8" fmla="*/ 208280 h 228600"/>
                <a:gd name="connsiteX9" fmla="*/ 157480 w 284480"/>
                <a:gd name="connsiteY9" fmla="*/ 228600 h 228600"/>
                <a:gd name="connsiteX10" fmla="*/ 86360 w 284480"/>
                <a:gd name="connsiteY10" fmla="*/ 177800 h 228600"/>
                <a:gd name="connsiteX11" fmla="*/ 0 w 284480"/>
                <a:gd name="connsiteY11" fmla="*/ 162560 h 228600"/>
                <a:gd name="connsiteX0" fmla="*/ 0 w 284480"/>
                <a:gd name="connsiteY0" fmla="*/ 162560 h 208280"/>
                <a:gd name="connsiteX1" fmla="*/ 81280 w 284480"/>
                <a:gd name="connsiteY1" fmla="*/ 76200 h 208280"/>
                <a:gd name="connsiteX2" fmla="*/ 81280 w 284480"/>
                <a:gd name="connsiteY2" fmla="*/ 30480 h 208280"/>
                <a:gd name="connsiteX3" fmla="*/ 208280 w 284480"/>
                <a:gd name="connsiteY3" fmla="*/ 0 h 208280"/>
                <a:gd name="connsiteX4" fmla="*/ 243840 w 284480"/>
                <a:gd name="connsiteY4" fmla="*/ 45720 h 208280"/>
                <a:gd name="connsiteX5" fmla="*/ 284480 w 284480"/>
                <a:gd name="connsiteY5" fmla="*/ 66040 h 208280"/>
                <a:gd name="connsiteX6" fmla="*/ 284480 w 284480"/>
                <a:gd name="connsiteY6" fmla="*/ 127000 h 208280"/>
                <a:gd name="connsiteX7" fmla="*/ 259080 w 284480"/>
                <a:gd name="connsiteY7" fmla="*/ 137160 h 208280"/>
                <a:gd name="connsiteX8" fmla="*/ 243840 w 284480"/>
                <a:gd name="connsiteY8" fmla="*/ 208280 h 208280"/>
                <a:gd name="connsiteX9" fmla="*/ 127000 w 284480"/>
                <a:gd name="connsiteY9" fmla="*/ 208280 h 208280"/>
                <a:gd name="connsiteX10" fmla="*/ 86360 w 284480"/>
                <a:gd name="connsiteY10" fmla="*/ 177800 h 208280"/>
                <a:gd name="connsiteX11" fmla="*/ 0 w 284480"/>
                <a:gd name="connsiteY11" fmla="*/ 162560 h 208280"/>
                <a:gd name="connsiteX0" fmla="*/ 0 w 284480"/>
                <a:gd name="connsiteY0" fmla="*/ 162560 h 208280"/>
                <a:gd name="connsiteX1" fmla="*/ 81280 w 284480"/>
                <a:gd name="connsiteY1" fmla="*/ 76200 h 208280"/>
                <a:gd name="connsiteX2" fmla="*/ 101600 w 284480"/>
                <a:gd name="connsiteY2" fmla="*/ 30480 h 208280"/>
                <a:gd name="connsiteX3" fmla="*/ 208280 w 284480"/>
                <a:gd name="connsiteY3" fmla="*/ 0 h 208280"/>
                <a:gd name="connsiteX4" fmla="*/ 243840 w 284480"/>
                <a:gd name="connsiteY4" fmla="*/ 45720 h 208280"/>
                <a:gd name="connsiteX5" fmla="*/ 284480 w 284480"/>
                <a:gd name="connsiteY5" fmla="*/ 66040 h 208280"/>
                <a:gd name="connsiteX6" fmla="*/ 284480 w 284480"/>
                <a:gd name="connsiteY6" fmla="*/ 127000 h 208280"/>
                <a:gd name="connsiteX7" fmla="*/ 259080 w 284480"/>
                <a:gd name="connsiteY7" fmla="*/ 137160 h 208280"/>
                <a:gd name="connsiteX8" fmla="*/ 243840 w 284480"/>
                <a:gd name="connsiteY8" fmla="*/ 208280 h 208280"/>
                <a:gd name="connsiteX9" fmla="*/ 127000 w 284480"/>
                <a:gd name="connsiteY9" fmla="*/ 208280 h 208280"/>
                <a:gd name="connsiteX10" fmla="*/ 86360 w 284480"/>
                <a:gd name="connsiteY10" fmla="*/ 177800 h 208280"/>
                <a:gd name="connsiteX11" fmla="*/ 0 w 284480"/>
                <a:gd name="connsiteY11" fmla="*/ 162560 h 208280"/>
                <a:gd name="connsiteX0" fmla="*/ 0 w 284480"/>
                <a:gd name="connsiteY0" fmla="*/ 162560 h 208280"/>
                <a:gd name="connsiteX1" fmla="*/ 81280 w 284480"/>
                <a:gd name="connsiteY1" fmla="*/ 76200 h 208280"/>
                <a:gd name="connsiteX2" fmla="*/ 50800 w 284480"/>
                <a:gd name="connsiteY2" fmla="*/ 60960 h 208280"/>
                <a:gd name="connsiteX3" fmla="*/ 208280 w 284480"/>
                <a:gd name="connsiteY3" fmla="*/ 0 h 208280"/>
                <a:gd name="connsiteX4" fmla="*/ 243840 w 284480"/>
                <a:gd name="connsiteY4" fmla="*/ 45720 h 208280"/>
                <a:gd name="connsiteX5" fmla="*/ 284480 w 284480"/>
                <a:gd name="connsiteY5" fmla="*/ 66040 h 208280"/>
                <a:gd name="connsiteX6" fmla="*/ 284480 w 284480"/>
                <a:gd name="connsiteY6" fmla="*/ 127000 h 208280"/>
                <a:gd name="connsiteX7" fmla="*/ 259080 w 284480"/>
                <a:gd name="connsiteY7" fmla="*/ 137160 h 208280"/>
                <a:gd name="connsiteX8" fmla="*/ 243840 w 284480"/>
                <a:gd name="connsiteY8" fmla="*/ 208280 h 208280"/>
                <a:gd name="connsiteX9" fmla="*/ 127000 w 284480"/>
                <a:gd name="connsiteY9" fmla="*/ 208280 h 208280"/>
                <a:gd name="connsiteX10" fmla="*/ 86360 w 284480"/>
                <a:gd name="connsiteY10" fmla="*/ 177800 h 208280"/>
                <a:gd name="connsiteX11" fmla="*/ 0 w 284480"/>
                <a:gd name="connsiteY11" fmla="*/ 162560 h 208280"/>
                <a:gd name="connsiteX0" fmla="*/ 0 w 284480"/>
                <a:gd name="connsiteY0" fmla="*/ 162560 h 208280"/>
                <a:gd name="connsiteX1" fmla="*/ 81280 w 284480"/>
                <a:gd name="connsiteY1" fmla="*/ 76200 h 208280"/>
                <a:gd name="connsiteX2" fmla="*/ 208280 w 284480"/>
                <a:gd name="connsiteY2" fmla="*/ 0 h 208280"/>
                <a:gd name="connsiteX3" fmla="*/ 243840 w 284480"/>
                <a:gd name="connsiteY3" fmla="*/ 45720 h 208280"/>
                <a:gd name="connsiteX4" fmla="*/ 284480 w 284480"/>
                <a:gd name="connsiteY4" fmla="*/ 66040 h 208280"/>
                <a:gd name="connsiteX5" fmla="*/ 284480 w 284480"/>
                <a:gd name="connsiteY5" fmla="*/ 127000 h 208280"/>
                <a:gd name="connsiteX6" fmla="*/ 259080 w 284480"/>
                <a:gd name="connsiteY6" fmla="*/ 137160 h 208280"/>
                <a:gd name="connsiteX7" fmla="*/ 243840 w 284480"/>
                <a:gd name="connsiteY7" fmla="*/ 208280 h 208280"/>
                <a:gd name="connsiteX8" fmla="*/ 127000 w 284480"/>
                <a:gd name="connsiteY8" fmla="*/ 208280 h 208280"/>
                <a:gd name="connsiteX9" fmla="*/ 86360 w 284480"/>
                <a:gd name="connsiteY9" fmla="*/ 177800 h 208280"/>
                <a:gd name="connsiteX10" fmla="*/ 0 w 284480"/>
                <a:gd name="connsiteY10" fmla="*/ 162560 h 208280"/>
                <a:gd name="connsiteX0" fmla="*/ 0 w 284480"/>
                <a:gd name="connsiteY0" fmla="*/ 162560 h 208280"/>
                <a:gd name="connsiteX1" fmla="*/ 66040 w 284480"/>
                <a:gd name="connsiteY1" fmla="*/ 40640 h 208280"/>
                <a:gd name="connsiteX2" fmla="*/ 208280 w 284480"/>
                <a:gd name="connsiteY2" fmla="*/ 0 h 208280"/>
                <a:gd name="connsiteX3" fmla="*/ 243840 w 284480"/>
                <a:gd name="connsiteY3" fmla="*/ 45720 h 208280"/>
                <a:gd name="connsiteX4" fmla="*/ 284480 w 284480"/>
                <a:gd name="connsiteY4" fmla="*/ 66040 h 208280"/>
                <a:gd name="connsiteX5" fmla="*/ 284480 w 284480"/>
                <a:gd name="connsiteY5" fmla="*/ 127000 h 208280"/>
                <a:gd name="connsiteX6" fmla="*/ 259080 w 284480"/>
                <a:gd name="connsiteY6" fmla="*/ 137160 h 208280"/>
                <a:gd name="connsiteX7" fmla="*/ 243840 w 284480"/>
                <a:gd name="connsiteY7" fmla="*/ 208280 h 208280"/>
                <a:gd name="connsiteX8" fmla="*/ 127000 w 284480"/>
                <a:gd name="connsiteY8" fmla="*/ 208280 h 208280"/>
                <a:gd name="connsiteX9" fmla="*/ 86360 w 284480"/>
                <a:gd name="connsiteY9" fmla="*/ 177800 h 208280"/>
                <a:gd name="connsiteX10" fmla="*/ 0 w 284480"/>
                <a:gd name="connsiteY10" fmla="*/ 162560 h 208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4480" h="208280">
                  <a:moveTo>
                    <a:pt x="0" y="162560"/>
                  </a:moveTo>
                  <a:lnTo>
                    <a:pt x="66040" y="40640"/>
                  </a:lnTo>
                  <a:lnTo>
                    <a:pt x="208280" y="0"/>
                  </a:lnTo>
                  <a:lnTo>
                    <a:pt x="243840" y="45720"/>
                  </a:lnTo>
                  <a:lnTo>
                    <a:pt x="284480" y="66040"/>
                  </a:lnTo>
                  <a:lnTo>
                    <a:pt x="284480" y="127000"/>
                  </a:lnTo>
                  <a:lnTo>
                    <a:pt x="259080" y="137160"/>
                  </a:lnTo>
                  <a:lnTo>
                    <a:pt x="243840" y="208280"/>
                  </a:lnTo>
                  <a:lnTo>
                    <a:pt x="127000" y="208280"/>
                  </a:lnTo>
                  <a:lnTo>
                    <a:pt x="86360" y="177800"/>
                  </a:lnTo>
                  <a:lnTo>
                    <a:pt x="0" y="1625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6" name="Freeform: Shape 15">
              <a:extLst>
                <a:ext uri="{FF2B5EF4-FFF2-40B4-BE49-F238E27FC236}">
                  <a16:creationId xmlns:a16="http://schemas.microsoft.com/office/drawing/2014/main" id="{B84B504E-8C21-4E24-8284-3F7CE7CFEF86}"/>
                </a:ext>
              </a:extLst>
            </p:cNvPr>
            <p:cNvSpPr/>
            <p:nvPr/>
          </p:nvSpPr>
          <p:spPr bwMode="gray">
            <a:xfrm rot="19845995" flipV="1">
              <a:off x="6146025" y="1881576"/>
              <a:ext cx="121145" cy="87893"/>
            </a:xfrm>
            <a:custGeom>
              <a:avLst/>
              <a:gdLst>
                <a:gd name="connsiteX0" fmla="*/ 0 w 264160"/>
                <a:gd name="connsiteY0" fmla="*/ 106680 h 203200"/>
                <a:gd name="connsiteX1" fmla="*/ 60960 w 264160"/>
                <a:gd name="connsiteY1" fmla="*/ 50800 h 203200"/>
                <a:gd name="connsiteX2" fmla="*/ 60960 w 264160"/>
                <a:gd name="connsiteY2" fmla="*/ 5080 h 203200"/>
                <a:gd name="connsiteX3" fmla="*/ 187960 w 264160"/>
                <a:gd name="connsiteY3" fmla="*/ 0 h 203200"/>
                <a:gd name="connsiteX4" fmla="*/ 213360 w 264160"/>
                <a:gd name="connsiteY4" fmla="*/ 35560 h 203200"/>
                <a:gd name="connsiteX5" fmla="*/ 264160 w 264160"/>
                <a:gd name="connsiteY5" fmla="*/ 40640 h 203200"/>
                <a:gd name="connsiteX6" fmla="*/ 264160 w 264160"/>
                <a:gd name="connsiteY6" fmla="*/ 101600 h 203200"/>
                <a:gd name="connsiteX7" fmla="*/ 218440 w 264160"/>
                <a:gd name="connsiteY7" fmla="*/ 111760 h 203200"/>
                <a:gd name="connsiteX8" fmla="*/ 218440 w 264160"/>
                <a:gd name="connsiteY8" fmla="*/ 177800 h 203200"/>
                <a:gd name="connsiteX9" fmla="*/ 137160 w 264160"/>
                <a:gd name="connsiteY9" fmla="*/ 203200 h 203200"/>
                <a:gd name="connsiteX10" fmla="*/ 66040 w 264160"/>
                <a:gd name="connsiteY10" fmla="*/ 152400 h 203200"/>
                <a:gd name="connsiteX11" fmla="*/ 0 w 264160"/>
                <a:gd name="connsiteY11" fmla="*/ 106680 h 203200"/>
                <a:gd name="connsiteX0" fmla="*/ 0 w 284480"/>
                <a:gd name="connsiteY0" fmla="*/ 137160 h 203200"/>
                <a:gd name="connsiteX1" fmla="*/ 81280 w 284480"/>
                <a:gd name="connsiteY1" fmla="*/ 50800 h 203200"/>
                <a:gd name="connsiteX2" fmla="*/ 81280 w 284480"/>
                <a:gd name="connsiteY2" fmla="*/ 5080 h 203200"/>
                <a:gd name="connsiteX3" fmla="*/ 208280 w 284480"/>
                <a:gd name="connsiteY3" fmla="*/ 0 h 203200"/>
                <a:gd name="connsiteX4" fmla="*/ 233680 w 284480"/>
                <a:gd name="connsiteY4" fmla="*/ 35560 h 203200"/>
                <a:gd name="connsiteX5" fmla="*/ 284480 w 284480"/>
                <a:gd name="connsiteY5" fmla="*/ 40640 h 203200"/>
                <a:gd name="connsiteX6" fmla="*/ 284480 w 284480"/>
                <a:gd name="connsiteY6" fmla="*/ 101600 h 203200"/>
                <a:gd name="connsiteX7" fmla="*/ 238760 w 284480"/>
                <a:gd name="connsiteY7" fmla="*/ 111760 h 203200"/>
                <a:gd name="connsiteX8" fmla="*/ 238760 w 284480"/>
                <a:gd name="connsiteY8" fmla="*/ 177800 h 203200"/>
                <a:gd name="connsiteX9" fmla="*/ 157480 w 284480"/>
                <a:gd name="connsiteY9" fmla="*/ 203200 h 203200"/>
                <a:gd name="connsiteX10" fmla="*/ 86360 w 284480"/>
                <a:gd name="connsiteY10" fmla="*/ 152400 h 203200"/>
                <a:gd name="connsiteX11" fmla="*/ 0 w 284480"/>
                <a:gd name="connsiteY11" fmla="*/ 137160 h 203200"/>
                <a:gd name="connsiteX0" fmla="*/ 0 w 284480"/>
                <a:gd name="connsiteY0" fmla="*/ 162560 h 228600"/>
                <a:gd name="connsiteX1" fmla="*/ 81280 w 284480"/>
                <a:gd name="connsiteY1" fmla="*/ 76200 h 228600"/>
                <a:gd name="connsiteX2" fmla="*/ 81280 w 284480"/>
                <a:gd name="connsiteY2" fmla="*/ 30480 h 228600"/>
                <a:gd name="connsiteX3" fmla="*/ 208280 w 284480"/>
                <a:gd name="connsiteY3" fmla="*/ 0 h 228600"/>
                <a:gd name="connsiteX4" fmla="*/ 233680 w 284480"/>
                <a:gd name="connsiteY4" fmla="*/ 60960 h 228600"/>
                <a:gd name="connsiteX5" fmla="*/ 284480 w 284480"/>
                <a:gd name="connsiteY5" fmla="*/ 66040 h 228600"/>
                <a:gd name="connsiteX6" fmla="*/ 284480 w 284480"/>
                <a:gd name="connsiteY6" fmla="*/ 127000 h 228600"/>
                <a:gd name="connsiteX7" fmla="*/ 238760 w 284480"/>
                <a:gd name="connsiteY7" fmla="*/ 137160 h 228600"/>
                <a:gd name="connsiteX8" fmla="*/ 238760 w 284480"/>
                <a:gd name="connsiteY8" fmla="*/ 203200 h 228600"/>
                <a:gd name="connsiteX9" fmla="*/ 157480 w 284480"/>
                <a:gd name="connsiteY9" fmla="*/ 228600 h 228600"/>
                <a:gd name="connsiteX10" fmla="*/ 86360 w 284480"/>
                <a:gd name="connsiteY10" fmla="*/ 177800 h 228600"/>
                <a:gd name="connsiteX11" fmla="*/ 0 w 284480"/>
                <a:gd name="connsiteY11" fmla="*/ 162560 h 228600"/>
                <a:gd name="connsiteX0" fmla="*/ 0 w 284480"/>
                <a:gd name="connsiteY0" fmla="*/ 162560 h 228600"/>
                <a:gd name="connsiteX1" fmla="*/ 81280 w 284480"/>
                <a:gd name="connsiteY1" fmla="*/ 76200 h 228600"/>
                <a:gd name="connsiteX2" fmla="*/ 81280 w 284480"/>
                <a:gd name="connsiteY2" fmla="*/ 30480 h 228600"/>
                <a:gd name="connsiteX3" fmla="*/ 208280 w 284480"/>
                <a:gd name="connsiteY3" fmla="*/ 0 h 228600"/>
                <a:gd name="connsiteX4" fmla="*/ 243840 w 284480"/>
                <a:gd name="connsiteY4" fmla="*/ 45720 h 228600"/>
                <a:gd name="connsiteX5" fmla="*/ 284480 w 284480"/>
                <a:gd name="connsiteY5" fmla="*/ 66040 h 228600"/>
                <a:gd name="connsiteX6" fmla="*/ 284480 w 284480"/>
                <a:gd name="connsiteY6" fmla="*/ 127000 h 228600"/>
                <a:gd name="connsiteX7" fmla="*/ 238760 w 284480"/>
                <a:gd name="connsiteY7" fmla="*/ 137160 h 228600"/>
                <a:gd name="connsiteX8" fmla="*/ 238760 w 284480"/>
                <a:gd name="connsiteY8" fmla="*/ 203200 h 228600"/>
                <a:gd name="connsiteX9" fmla="*/ 157480 w 284480"/>
                <a:gd name="connsiteY9" fmla="*/ 228600 h 228600"/>
                <a:gd name="connsiteX10" fmla="*/ 86360 w 284480"/>
                <a:gd name="connsiteY10" fmla="*/ 177800 h 228600"/>
                <a:gd name="connsiteX11" fmla="*/ 0 w 284480"/>
                <a:gd name="connsiteY11" fmla="*/ 162560 h 228600"/>
                <a:gd name="connsiteX0" fmla="*/ 0 w 284480"/>
                <a:gd name="connsiteY0" fmla="*/ 162560 h 228600"/>
                <a:gd name="connsiteX1" fmla="*/ 81280 w 284480"/>
                <a:gd name="connsiteY1" fmla="*/ 76200 h 228600"/>
                <a:gd name="connsiteX2" fmla="*/ 81280 w 284480"/>
                <a:gd name="connsiteY2" fmla="*/ 30480 h 228600"/>
                <a:gd name="connsiteX3" fmla="*/ 208280 w 284480"/>
                <a:gd name="connsiteY3" fmla="*/ 0 h 228600"/>
                <a:gd name="connsiteX4" fmla="*/ 243840 w 284480"/>
                <a:gd name="connsiteY4" fmla="*/ 45720 h 228600"/>
                <a:gd name="connsiteX5" fmla="*/ 284480 w 284480"/>
                <a:gd name="connsiteY5" fmla="*/ 66040 h 228600"/>
                <a:gd name="connsiteX6" fmla="*/ 284480 w 284480"/>
                <a:gd name="connsiteY6" fmla="*/ 127000 h 228600"/>
                <a:gd name="connsiteX7" fmla="*/ 259080 w 284480"/>
                <a:gd name="connsiteY7" fmla="*/ 137160 h 228600"/>
                <a:gd name="connsiteX8" fmla="*/ 238760 w 284480"/>
                <a:gd name="connsiteY8" fmla="*/ 203200 h 228600"/>
                <a:gd name="connsiteX9" fmla="*/ 157480 w 284480"/>
                <a:gd name="connsiteY9" fmla="*/ 228600 h 228600"/>
                <a:gd name="connsiteX10" fmla="*/ 86360 w 284480"/>
                <a:gd name="connsiteY10" fmla="*/ 177800 h 228600"/>
                <a:gd name="connsiteX11" fmla="*/ 0 w 284480"/>
                <a:gd name="connsiteY11" fmla="*/ 162560 h 228600"/>
                <a:gd name="connsiteX0" fmla="*/ 0 w 284480"/>
                <a:gd name="connsiteY0" fmla="*/ 162560 h 228600"/>
                <a:gd name="connsiteX1" fmla="*/ 81280 w 284480"/>
                <a:gd name="connsiteY1" fmla="*/ 76200 h 228600"/>
                <a:gd name="connsiteX2" fmla="*/ 81280 w 284480"/>
                <a:gd name="connsiteY2" fmla="*/ 30480 h 228600"/>
                <a:gd name="connsiteX3" fmla="*/ 208280 w 284480"/>
                <a:gd name="connsiteY3" fmla="*/ 0 h 228600"/>
                <a:gd name="connsiteX4" fmla="*/ 243840 w 284480"/>
                <a:gd name="connsiteY4" fmla="*/ 45720 h 228600"/>
                <a:gd name="connsiteX5" fmla="*/ 284480 w 284480"/>
                <a:gd name="connsiteY5" fmla="*/ 66040 h 228600"/>
                <a:gd name="connsiteX6" fmla="*/ 284480 w 284480"/>
                <a:gd name="connsiteY6" fmla="*/ 127000 h 228600"/>
                <a:gd name="connsiteX7" fmla="*/ 259080 w 284480"/>
                <a:gd name="connsiteY7" fmla="*/ 137160 h 228600"/>
                <a:gd name="connsiteX8" fmla="*/ 243840 w 284480"/>
                <a:gd name="connsiteY8" fmla="*/ 208280 h 228600"/>
                <a:gd name="connsiteX9" fmla="*/ 157480 w 284480"/>
                <a:gd name="connsiteY9" fmla="*/ 228600 h 228600"/>
                <a:gd name="connsiteX10" fmla="*/ 86360 w 284480"/>
                <a:gd name="connsiteY10" fmla="*/ 177800 h 228600"/>
                <a:gd name="connsiteX11" fmla="*/ 0 w 284480"/>
                <a:gd name="connsiteY11" fmla="*/ 162560 h 228600"/>
                <a:gd name="connsiteX0" fmla="*/ 0 w 284480"/>
                <a:gd name="connsiteY0" fmla="*/ 162560 h 208280"/>
                <a:gd name="connsiteX1" fmla="*/ 81280 w 284480"/>
                <a:gd name="connsiteY1" fmla="*/ 76200 h 208280"/>
                <a:gd name="connsiteX2" fmla="*/ 81280 w 284480"/>
                <a:gd name="connsiteY2" fmla="*/ 30480 h 208280"/>
                <a:gd name="connsiteX3" fmla="*/ 208280 w 284480"/>
                <a:gd name="connsiteY3" fmla="*/ 0 h 208280"/>
                <a:gd name="connsiteX4" fmla="*/ 243840 w 284480"/>
                <a:gd name="connsiteY4" fmla="*/ 45720 h 208280"/>
                <a:gd name="connsiteX5" fmla="*/ 284480 w 284480"/>
                <a:gd name="connsiteY5" fmla="*/ 66040 h 208280"/>
                <a:gd name="connsiteX6" fmla="*/ 284480 w 284480"/>
                <a:gd name="connsiteY6" fmla="*/ 127000 h 208280"/>
                <a:gd name="connsiteX7" fmla="*/ 259080 w 284480"/>
                <a:gd name="connsiteY7" fmla="*/ 137160 h 208280"/>
                <a:gd name="connsiteX8" fmla="*/ 243840 w 284480"/>
                <a:gd name="connsiteY8" fmla="*/ 208280 h 208280"/>
                <a:gd name="connsiteX9" fmla="*/ 127000 w 284480"/>
                <a:gd name="connsiteY9" fmla="*/ 208280 h 208280"/>
                <a:gd name="connsiteX10" fmla="*/ 86360 w 284480"/>
                <a:gd name="connsiteY10" fmla="*/ 177800 h 208280"/>
                <a:gd name="connsiteX11" fmla="*/ 0 w 284480"/>
                <a:gd name="connsiteY11" fmla="*/ 162560 h 208280"/>
                <a:gd name="connsiteX0" fmla="*/ 0 w 284480"/>
                <a:gd name="connsiteY0" fmla="*/ 162560 h 208280"/>
                <a:gd name="connsiteX1" fmla="*/ 81280 w 284480"/>
                <a:gd name="connsiteY1" fmla="*/ 76200 h 208280"/>
                <a:gd name="connsiteX2" fmla="*/ 101600 w 284480"/>
                <a:gd name="connsiteY2" fmla="*/ 30480 h 208280"/>
                <a:gd name="connsiteX3" fmla="*/ 208280 w 284480"/>
                <a:gd name="connsiteY3" fmla="*/ 0 h 208280"/>
                <a:gd name="connsiteX4" fmla="*/ 243840 w 284480"/>
                <a:gd name="connsiteY4" fmla="*/ 45720 h 208280"/>
                <a:gd name="connsiteX5" fmla="*/ 284480 w 284480"/>
                <a:gd name="connsiteY5" fmla="*/ 66040 h 208280"/>
                <a:gd name="connsiteX6" fmla="*/ 284480 w 284480"/>
                <a:gd name="connsiteY6" fmla="*/ 127000 h 208280"/>
                <a:gd name="connsiteX7" fmla="*/ 259080 w 284480"/>
                <a:gd name="connsiteY7" fmla="*/ 137160 h 208280"/>
                <a:gd name="connsiteX8" fmla="*/ 243840 w 284480"/>
                <a:gd name="connsiteY8" fmla="*/ 208280 h 208280"/>
                <a:gd name="connsiteX9" fmla="*/ 127000 w 284480"/>
                <a:gd name="connsiteY9" fmla="*/ 208280 h 208280"/>
                <a:gd name="connsiteX10" fmla="*/ 86360 w 284480"/>
                <a:gd name="connsiteY10" fmla="*/ 177800 h 208280"/>
                <a:gd name="connsiteX11" fmla="*/ 0 w 284480"/>
                <a:gd name="connsiteY11" fmla="*/ 162560 h 208280"/>
                <a:gd name="connsiteX0" fmla="*/ 0 w 284480"/>
                <a:gd name="connsiteY0" fmla="*/ 162560 h 208280"/>
                <a:gd name="connsiteX1" fmla="*/ 81280 w 284480"/>
                <a:gd name="connsiteY1" fmla="*/ 76200 h 208280"/>
                <a:gd name="connsiteX2" fmla="*/ 50800 w 284480"/>
                <a:gd name="connsiteY2" fmla="*/ 60960 h 208280"/>
                <a:gd name="connsiteX3" fmla="*/ 208280 w 284480"/>
                <a:gd name="connsiteY3" fmla="*/ 0 h 208280"/>
                <a:gd name="connsiteX4" fmla="*/ 243840 w 284480"/>
                <a:gd name="connsiteY4" fmla="*/ 45720 h 208280"/>
                <a:gd name="connsiteX5" fmla="*/ 284480 w 284480"/>
                <a:gd name="connsiteY5" fmla="*/ 66040 h 208280"/>
                <a:gd name="connsiteX6" fmla="*/ 284480 w 284480"/>
                <a:gd name="connsiteY6" fmla="*/ 127000 h 208280"/>
                <a:gd name="connsiteX7" fmla="*/ 259080 w 284480"/>
                <a:gd name="connsiteY7" fmla="*/ 137160 h 208280"/>
                <a:gd name="connsiteX8" fmla="*/ 243840 w 284480"/>
                <a:gd name="connsiteY8" fmla="*/ 208280 h 208280"/>
                <a:gd name="connsiteX9" fmla="*/ 127000 w 284480"/>
                <a:gd name="connsiteY9" fmla="*/ 208280 h 208280"/>
                <a:gd name="connsiteX10" fmla="*/ 86360 w 284480"/>
                <a:gd name="connsiteY10" fmla="*/ 177800 h 208280"/>
                <a:gd name="connsiteX11" fmla="*/ 0 w 284480"/>
                <a:gd name="connsiteY11" fmla="*/ 162560 h 208280"/>
                <a:gd name="connsiteX0" fmla="*/ 0 w 284480"/>
                <a:gd name="connsiteY0" fmla="*/ 162560 h 208280"/>
                <a:gd name="connsiteX1" fmla="*/ 81280 w 284480"/>
                <a:gd name="connsiteY1" fmla="*/ 76200 h 208280"/>
                <a:gd name="connsiteX2" fmla="*/ 208280 w 284480"/>
                <a:gd name="connsiteY2" fmla="*/ 0 h 208280"/>
                <a:gd name="connsiteX3" fmla="*/ 243840 w 284480"/>
                <a:gd name="connsiteY3" fmla="*/ 45720 h 208280"/>
                <a:gd name="connsiteX4" fmla="*/ 284480 w 284480"/>
                <a:gd name="connsiteY4" fmla="*/ 66040 h 208280"/>
                <a:gd name="connsiteX5" fmla="*/ 284480 w 284480"/>
                <a:gd name="connsiteY5" fmla="*/ 127000 h 208280"/>
                <a:gd name="connsiteX6" fmla="*/ 259080 w 284480"/>
                <a:gd name="connsiteY6" fmla="*/ 137160 h 208280"/>
                <a:gd name="connsiteX7" fmla="*/ 243840 w 284480"/>
                <a:gd name="connsiteY7" fmla="*/ 208280 h 208280"/>
                <a:gd name="connsiteX8" fmla="*/ 127000 w 284480"/>
                <a:gd name="connsiteY8" fmla="*/ 208280 h 208280"/>
                <a:gd name="connsiteX9" fmla="*/ 86360 w 284480"/>
                <a:gd name="connsiteY9" fmla="*/ 177800 h 208280"/>
                <a:gd name="connsiteX10" fmla="*/ 0 w 284480"/>
                <a:gd name="connsiteY10" fmla="*/ 162560 h 208280"/>
                <a:gd name="connsiteX0" fmla="*/ 0 w 284480"/>
                <a:gd name="connsiteY0" fmla="*/ 162560 h 208280"/>
                <a:gd name="connsiteX1" fmla="*/ 66040 w 284480"/>
                <a:gd name="connsiteY1" fmla="*/ 40640 h 208280"/>
                <a:gd name="connsiteX2" fmla="*/ 208280 w 284480"/>
                <a:gd name="connsiteY2" fmla="*/ 0 h 208280"/>
                <a:gd name="connsiteX3" fmla="*/ 243840 w 284480"/>
                <a:gd name="connsiteY3" fmla="*/ 45720 h 208280"/>
                <a:gd name="connsiteX4" fmla="*/ 284480 w 284480"/>
                <a:gd name="connsiteY4" fmla="*/ 66040 h 208280"/>
                <a:gd name="connsiteX5" fmla="*/ 284480 w 284480"/>
                <a:gd name="connsiteY5" fmla="*/ 127000 h 208280"/>
                <a:gd name="connsiteX6" fmla="*/ 259080 w 284480"/>
                <a:gd name="connsiteY6" fmla="*/ 137160 h 208280"/>
                <a:gd name="connsiteX7" fmla="*/ 243840 w 284480"/>
                <a:gd name="connsiteY7" fmla="*/ 208280 h 208280"/>
                <a:gd name="connsiteX8" fmla="*/ 127000 w 284480"/>
                <a:gd name="connsiteY8" fmla="*/ 208280 h 208280"/>
                <a:gd name="connsiteX9" fmla="*/ 86360 w 284480"/>
                <a:gd name="connsiteY9" fmla="*/ 177800 h 208280"/>
                <a:gd name="connsiteX10" fmla="*/ 0 w 284480"/>
                <a:gd name="connsiteY10" fmla="*/ 162560 h 208280"/>
                <a:gd name="connsiteX0" fmla="*/ 0 w 284480"/>
                <a:gd name="connsiteY0" fmla="*/ 162560 h 208280"/>
                <a:gd name="connsiteX1" fmla="*/ 66040 w 284480"/>
                <a:gd name="connsiteY1" fmla="*/ 40640 h 208280"/>
                <a:gd name="connsiteX2" fmla="*/ 135281 w 284480"/>
                <a:gd name="connsiteY2" fmla="*/ 28963 h 208280"/>
                <a:gd name="connsiteX3" fmla="*/ 208280 w 284480"/>
                <a:gd name="connsiteY3" fmla="*/ 0 h 208280"/>
                <a:gd name="connsiteX4" fmla="*/ 243840 w 284480"/>
                <a:gd name="connsiteY4" fmla="*/ 45720 h 208280"/>
                <a:gd name="connsiteX5" fmla="*/ 284480 w 284480"/>
                <a:gd name="connsiteY5" fmla="*/ 66040 h 208280"/>
                <a:gd name="connsiteX6" fmla="*/ 284480 w 284480"/>
                <a:gd name="connsiteY6" fmla="*/ 127000 h 208280"/>
                <a:gd name="connsiteX7" fmla="*/ 259080 w 284480"/>
                <a:gd name="connsiteY7" fmla="*/ 137160 h 208280"/>
                <a:gd name="connsiteX8" fmla="*/ 243840 w 284480"/>
                <a:gd name="connsiteY8" fmla="*/ 208280 h 208280"/>
                <a:gd name="connsiteX9" fmla="*/ 127000 w 284480"/>
                <a:gd name="connsiteY9" fmla="*/ 208280 h 208280"/>
                <a:gd name="connsiteX10" fmla="*/ 86360 w 284480"/>
                <a:gd name="connsiteY10" fmla="*/ 177800 h 208280"/>
                <a:gd name="connsiteX11" fmla="*/ 0 w 284480"/>
                <a:gd name="connsiteY11" fmla="*/ 162560 h 208280"/>
                <a:gd name="connsiteX0" fmla="*/ 0 w 284480"/>
                <a:gd name="connsiteY0" fmla="*/ 162560 h 208280"/>
                <a:gd name="connsiteX1" fmla="*/ 66040 w 284480"/>
                <a:gd name="connsiteY1" fmla="*/ 40640 h 208280"/>
                <a:gd name="connsiteX2" fmla="*/ 144883 w 284480"/>
                <a:gd name="connsiteY2" fmla="*/ 46125 h 208280"/>
                <a:gd name="connsiteX3" fmla="*/ 208280 w 284480"/>
                <a:gd name="connsiteY3" fmla="*/ 0 h 208280"/>
                <a:gd name="connsiteX4" fmla="*/ 243840 w 284480"/>
                <a:gd name="connsiteY4" fmla="*/ 45720 h 208280"/>
                <a:gd name="connsiteX5" fmla="*/ 284480 w 284480"/>
                <a:gd name="connsiteY5" fmla="*/ 66040 h 208280"/>
                <a:gd name="connsiteX6" fmla="*/ 284480 w 284480"/>
                <a:gd name="connsiteY6" fmla="*/ 127000 h 208280"/>
                <a:gd name="connsiteX7" fmla="*/ 259080 w 284480"/>
                <a:gd name="connsiteY7" fmla="*/ 137160 h 208280"/>
                <a:gd name="connsiteX8" fmla="*/ 243840 w 284480"/>
                <a:gd name="connsiteY8" fmla="*/ 208280 h 208280"/>
                <a:gd name="connsiteX9" fmla="*/ 127000 w 284480"/>
                <a:gd name="connsiteY9" fmla="*/ 208280 h 208280"/>
                <a:gd name="connsiteX10" fmla="*/ 86360 w 284480"/>
                <a:gd name="connsiteY10" fmla="*/ 177800 h 208280"/>
                <a:gd name="connsiteX11" fmla="*/ 0 w 284480"/>
                <a:gd name="connsiteY11" fmla="*/ 162560 h 208280"/>
                <a:gd name="connsiteX0" fmla="*/ 0 w 284480"/>
                <a:gd name="connsiteY0" fmla="*/ 172165 h 217885"/>
                <a:gd name="connsiteX1" fmla="*/ 66040 w 284480"/>
                <a:gd name="connsiteY1" fmla="*/ 50245 h 217885"/>
                <a:gd name="connsiteX2" fmla="*/ 144883 w 284480"/>
                <a:gd name="connsiteY2" fmla="*/ 55730 h 217885"/>
                <a:gd name="connsiteX3" fmla="*/ 225443 w 284480"/>
                <a:gd name="connsiteY3" fmla="*/ 0 h 217885"/>
                <a:gd name="connsiteX4" fmla="*/ 243840 w 284480"/>
                <a:gd name="connsiteY4" fmla="*/ 55325 h 217885"/>
                <a:gd name="connsiteX5" fmla="*/ 284480 w 284480"/>
                <a:gd name="connsiteY5" fmla="*/ 75645 h 217885"/>
                <a:gd name="connsiteX6" fmla="*/ 284480 w 284480"/>
                <a:gd name="connsiteY6" fmla="*/ 136605 h 217885"/>
                <a:gd name="connsiteX7" fmla="*/ 259080 w 284480"/>
                <a:gd name="connsiteY7" fmla="*/ 146765 h 217885"/>
                <a:gd name="connsiteX8" fmla="*/ 243840 w 284480"/>
                <a:gd name="connsiteY8" fmla="*/ 217885 h 217885"/>
                <a:gd name="connsiteX9" fmla="*/ 127000 w 284480"/>
                <a:gd name="connsiteY9" fmla="*/ 217885 h 217885"/>
                <a:gd name="connsiteX10" fmla="*/ 86360 w 284480"/>
                <a:gd name="connsiteY10" fmla="*/ 187405 h 217885"/>
                <a:gd name="connsiteX11" fmla="*/ 0 w 284480"/>
                <a:gd name="connsiteY11" fmla="*/ 172165 h 217885"/>
                <a:gd name="connsiteX0" fmla="*/ 0 w 284480"/>
                <a:gd name="connsiteY0" fmla="*/ 172165 h 217885"/>
                <a:gd name="connsiteX1" fmla="*/ 66040 w 284480"/>
                <a:gd name="connsiteY1" fmla="*/ 50245 h 217885"/>
                <a:gd name="connsiteX2" fmla="*/ 144883 w 284480"/>
                <a:gd name="connsiteY2" fmla="*/ 55730 h 217885"/>
                <a:gd name="connsiteX3" fmla="*/ 225443 w 284480"/>
                <a:gd name="connsiteY3" fmla="*/ 0 h 217885"/>
                <a:gd name="connsiteX4" fmla="*/ 251044 w 284480"/>
                <a:gd name="connsiteY4" fmla="*/ 68197 h 217885"/>
                <a:gd name="connsiteX5" fmla="*/ 284480 w 284480"/>
                <a:gd name="connsiteY5" fmla="*/ 75645 h 217885"/>
                <a:gd name="connsiteX6" fmla="*/ 284480 w 284480"/>
                <a:gd name="connsiteY6" fmla="*/ 136605 h 217885"/>
                <a:gd name="connsiteX7" fmla="*/ 259080 w 284480"/>
                <a:gd name="connsiteY7" fmla="*/ 146765 h 217885"/>
                <a:gd name="connsiteX8" fmla="*/ 243840 w 284480"/>
                <a:gd name="connsiteY8" fmla="*/ 217885 h 217885"/>
                <a:gd name="connsiteX9" fmla="*/ 127000 w 284480"/>
                <a:gd name="connsiteY9" fmla="*/ 217885 h 217885"/>
                <a:gd name="connsiteX10" fmla="*/ 86360 w 284480"/>
                <a:gd name="connsiteY10" fmla="*/ 187405 h 217885"/>
                <a:gd name="connsiteX11" fmla="*/ 0 w 284480"/>
                <a:gd name="connsiteY11" fmla="*/ 172165 h 217885"/>
                <a:gd name="connsiteX0" fmla="*/ 0 w 284480"/>
                <a:gd name="connsiteY0" fmla="*/ 160672 h 206392"/>
                <a:gd name="connsiteX1" fmla="*/ 66040 w 284480"/>
                <a:gd name="connsiteY1" fmla="*/ 38752 h 206392"/>
                <a:gd name="connsiteX2" fmla="*/ 144883 w 284480"/>
                <a:gd name="connsiteY2" fmla="*/ 44237 h 206392"/>
                <a:gd name="connsiteX3" fmla="*/ 214972 w 284480"/>
                <a:gd name="connsiteY3" fmla="*/ -1 h 206392"/>
                <a:gd name="connsiteX4" fmla="*/ 251044 w 284480"/>
                <a:gd name="connsiteY4" fmla="*/ 56704 h 206392"/>
                <a:gd name="connsiteX5" fmla="*/ 284480 w 284480"/>
                <a:gd name="connsiteY5" fmla="*/ 64152 h 206392"/>
                <a:gd name="connsiteX6" fmla="*/ 284480 w 284480"/>
                <a:gd name="connsiteY6" fmla="*/ 125112 h 206392"/>
                <a:gd name="connsiteX7" fmla="*/ 259080 w 284480"/>
                <a:gd name="connsiteY7" fmla="*/ 135272 h 206392"/>
                <a:gd name="connsiteX8" fmla="*/ 243840 w 284480"/>
                <a:gd name="connsiteY8" fmla="*/ 206392 h 206392"/>
                <a:gd name="connsiteX9" fmla="*/ 127000 w 284480"/>
                <a:gd name="connsiteY9" fmla="*/ 206392 h 206392"/>
                <a:gd name="connsiteX10" fmla="*/ 86360 w 284480"/>
                <a:gd name="connsiteY10" fmla="*/ 175912 h 206392"/>
                <a:gd name="connsiteX11" fmla="*/ 0 w 284480"/>
                <a:gd name="connsiteY11" fmla="*/ 160672 h 206392"/>
                <a:gd name="connsiteX0" fmla="*/ 0 w 284480"/>
                <a:gd name="connsiteY0" fmla="*/ 160674 h 206394"/>
                <a:gd name="connsiteX1" fmla="*/ 66040 w 284480"/>
                <a:gd name="connsiteY1" fmla="*/ 38754 h 206394"/>
                <a:gd name="connsiteX2" fmla="*/ 144883 w 284480"/>
                <a:gd name="connsiteY2" fmla="*/ 44239 h 206394"/>
                <a:gd name="connsiteX3" fmla="*/ 214972 w 284480"/>
                <a:gd name="connsiteY3" fmla="*/ 1 h 206394"/>
                <a:gd name="connsiteX4" fmla="*/ 251044 w 284480"/>
                <a:gd name="connsiteY4" fmla="*/ 56706 h 206394"/>
                <a:gd name="connsiteX5" fmla="*/ 284480 w 284480"/>
                <a:gd name="connsiteY5" fmla="*/ 64154 h 206394"/>
                <a:gd name="connsiteX6" fmla="*/ 284480 w 284480"/>
                <a:gd name="connsiteY6" fmla="*/ 125114 h 206394"/>
                <a:gd name="connsiteX7" fmla="*/ 259080 w 284480"/>
                <a:gd name="connsiteY7" fmla="*/ 135274 h 206394"/>
                <a:gd name="connsiteX8" fmla="*/ 243840 w 284480"/>
                <a:gd name="connsiteY8" fmla="*/ 206394 h 206394"/>
                <a:gd name="connsiteX9" fmla="*/ 163727 w 284480"/>
                <a:gd name="connsiteY9" fmla="*/ 191476 h 206394"/>
                <a:gd name="connsiteX10" fmla="*/ 86360 w 284480"/>
                <a:gd name="connsiteY10" fmla="*/ 175914 h 206394"/>
                <a:gd name="connsiteX11" fmla="*/ 0 w 284480"/>
                <a:gd name="connsiteY11" fmla="*/ 160674 h 206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4480" h="206394">
                  <a:moveTo>
                    <a:pt x="0" y="160674"/>
                  </a:moveTo>
                  <a:lnTo>
                    <a:pt x="66040" y="38754"/>
                  </a:lnTo>
                  <a:lnTo>
                    <a:pt x="144883" y="44239"/>
                  </a:lnTo>
                  <a:lnTo>
                    <a:pt x="214972" y="1"/>
                  </a:lnTo>
                  <a:lnTo>
                    <a:pt x="251044" y="56706"/>
                  </a:lnTo>
                  <a:lnTo>
                    <a:pt x="284480" y="64154"/>
                  </a:lnTo>
                  <a:lnTo>
                    <a:pt x="284480" y="125114"/>
                  </a:lnTo>
                  <a:lnTo>
                    <a:pt x="259080" y="135274"/>
                  </a:lnTo>
                  <a:lnTo>
                    <a:pt x="243840" y="206394"/>
                  </a:lnTo>
                  <a:lnTo>
                    <a:pt x="163727" y="191476"/>
                  </a:lnTo>
                  <a:lnTo>
                    <a:pt x="86360" y="175914"/>
                  </a:lnTo>
                  <a:lnTo>
                    <a:pt x="0" y="160674"/>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7" name="Freeform: Shape 16">
              <a:extLst>
                <a:ext uri="{FF2B5EF4-FFF2-40B4-BE49-F238E27FC236}">
                  <a16:creationId xmlns:a16="http://schemas.microsoft.com/office/drawing/2014/main" id="{83DB210D-F554-439F-A0EA-BFA29686B200}"/>
                </a:ext>
              </a:extLst>
            </p:cNvPr>
            <p:cNvSpPr/>
            <p:nvPr/>
          </p:nvSpPr>
          <p:spPr bwMode="gray">
            <a:xfrm>
              <a:off x="6189372" y="2096000"/>
              <a:ext cx="126347" cy="73839"/>
            </a:xfrm>
            <a:custGeom>
              <a:avLst/>
              <a:gdLst>
                <a:gd name="connsiteX0" fmla="*/ 55880 w 391160"/>
                <a:gd name="connsiteY0" fmla="*/ 111760 h 228600"/>
                <a:gd name="connsiteX1" fmla="*/ 142240 w 391160"/>
                <a:gd name="connsiteY1" fmla="*/ 127000 h 228600"/>
                <a:gd name="connsiteX2" fmla="*/ 238760 w 391160"/>
                <a:gd name="connsiteY2" fmla="*/ 228600 h 228600"/>
                <a:gd name="connsiteX3" fmla="*/ 365760 w 391160"/>
                <a:gd name="connsiteY3" fmla="*/ 187960 h 228600"/>
                <a:gd name="connsiteX4" fmla="*/ 355600 w 391160"/>
                <a:gd name="connsiteY4" fmla="*/ 127000 h 228600"/>
                <a:gd name="connsiteX5" fmla="*/ 391160 w 391160"/>
                <a:gd name="connsiteY5" fmla="*/ 91440 h 228600"/>
                <a:gd name="connsiteX6" fmla="*/ 304800 w 391160"/>
                <a:gd name="connsiteY6" fmla="*/ 15240 h 228600"/>
                <a:gd name="connsiteX7" fmla="*/ 86360 w 391160"/>
                <a:gd name="connsiteY7" fmla="*/ 0 h 228600"/>
                <a:gd name="connsiteX8" fmla="*/ 0 w 391160"/>
                <a:gd name="connsiteY8" fmla="*/ 40640 h 228600"/>
                <a:gd name="connsiteX9" fmla="*/ 55880 w 391160"/>
                <a:gd name="connsiteY9" fmla="*/ 11176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1160" h="228600">
                  <a:moveTo>
                    <a:pt x="55880" y="111760"/>
                  </a:moveTo>
                  <a:lnTo>
                    <a:pt x="142240" y="127000"/>
                  </a:lnTo>
                  <a:lnTo>
                    <a:pt x="238760" y="228600"/>
                  </a:lnTo>
                  <a:lnTo>
                    <a:pt x="365760" y="187960"/>
                  </a:lnTo>
                  <a:lnTo>
                    <a:pt x="355600" y="127000"/>
                  </a:lnTo>
                  <a:lnTo>
                    <a:pt x="391160" y="91440"/>
                  </a:lnTo>
                  <a:lnTo>
                    <a:pt x="304800" y="15240"/>
                  </a:lnTo>
                  <a:lnTo>
                    <a:pt x="86360" y="0"/>
                  </a:lnTo>
                  <a:lnTo>
                    <a:pt x="0" y="40640"/>
                  </a:lnTo>
                  <a:lnTo>
                    <a:pt x="55880" y="1117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8" name="Freeform: Shape 17">
              <a:extLst>
                <a:ext uri="{FF2B5EF4-FFF2-40B4-BE49-F238E27FC236}">
                  <a16:creationId xmlns:a16="http://schemas.microsoft.com/office/drawing/2014/main" id="{D4433B6C-B9D8-4500-8B9A-4488DA968A02}"/>
                </a:ext>
              </a:extLst>
            </p:cNvPr>
            <p:cNvSpPr/>
            <p:nvPr/>
          </p:nvSpPr>
          <p:spPr bwMode="gray">
            <a:xfrm rot="348781">
              <a:off x="6159346" y="1537096"/>
              <a:ext cx="48077" cy="121458"/>
            </a:xfrm>
            <a:custGeom>
              <a:avLst/>
              <a:gdLst>
                <a:gd name="connsiteX0" fmla="*/ 86360 w 144780"/>
                <a:gd name="connsiteY0" fmla="*/ 292100 h 365760"/>
                <a:gd name="connsiteX1" fmla="*/ 111760 w 144780"/>
                <a:gd name="connsiteY1" fmla="*/ 226060 h 365760"/>
                <a:gd name="connsiteX2" fmla="*/ 116840 w 144780"/>
                <a:gd name="connsiteY2" fmla="*/ 172720 h 365760"/>
                <a:gd name="connsiteX3" fmla="*/ 132080 w 144780"/>
                <a:gd name="connsiteY3" fmla="*/ 111760 h 365760"/>
                <a:gd name="connsiteX4" fmla="*/ 144780 w 144780"/>
                <a:gd name="connsiteY4" fmla="*/ 99060 h 365760"/>
                <a:gd name="connsiteX5" fmla="*/ 129540 w 144780"/>
                <a:gd name="connsiteY5" fmla="*/ 0 h 365760"/>
                <a:gd name="connsiteX6" fmla="*/ 101600 w 144780"/>
                <a:gd name="connsiteY6" fmla="*/ 20320 h 365760"/>
                <a:gd name="connsiteX7" fmla="*/ 93980 w 144780"/>
                <a:gd name="connsiteY7" fmla="*/ 63500 h 365760"/>
                <a:gd name="connsiteX8" fmla="*/ 15240 w 144780"/>
                <a:gd name="connsiteY8" fmla="*/ 96520 h 365760"/>
                <a:gd name="connsiteX9" fmla="*/ 2540 w 144780"/>
                <a:gd name="connsiteY9" fmla="*/ 149860 h 365760"/>
                <a:gd name="connsiteX10" fmla="*/ 12700 w 144780"/>
                <a:gd name="connsiteY10" fmla="*/ 190500 h 365760"/>
                <a:gd name="connsiteX11" fmla="*/ 0 w 144780"/>
                <a:gd name="connsiteY11" fmla="*/ 231140 h 365760"/>
                <a:gd name="connsiteX12" fmla="*/ 17780 w 144780"/>
                <a:gd name="connsiteY12" fmla="*/ 266700 h 365760"/>
                <a:gd name="connsiteX13" fmla="*/ 22860 w 144780"/>
                <a:gd name="connsiteY13" fmla="*/ 365760 h 365760"/>
                <a:gd name="connsiteX14" fmla="*/ 63500 w 144780"/>
                <a:gd name="connsiteY14" fmla="*/ 363220 h 365760"/>
                <a:gd name="connsiteX15" fmla="*/ 86360 w 144780"/>
                <a:gd name="connsiteY15" fmla="*/ 29210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780" h="365760">
                  <a:moveTo>
                    <a:pt x="86360" y="292100"/>
                  </a:moveTo>
                  <a:lnTo>
                    <a:pt x="111760" y="226060"/>
                  </a:lnTo>
                  <a:lnTo>
                    <a:pt x="116840" y="172720"/>
                  </a:lnTo>
                  <a:lnTo>
                    <a:pt x="132080" y="111760"/>
                  </a:lnTo>
                  <a:lnTo>
                    <a:pt x="144780" y="99060"/>
                  </a:lnTo>
                  <a:lnTo>
                    <a:pt x="129540" y="0"/>
                  </a:lnTo>
                  <a:lnTo>
                    <a:pt x="101600" y="20320"/>
                  </a:lnTo>
                  <a:lnTo>
                    <a:pt x="93980" y="63500"/>
                  </a:lnTo>
                  <a:lnTo>
                    <a:pt x="15240" y="96520"/>
                  </a:lnTo>
                  <a:lnTo>
                    <a:pt x="2540" y="149860"/>
                  </a:lnTo>
                  <a:lnTo>
                    <a:pt x="12700" y="190500"/>
                  </a:lnTo>
                  <a:lnTo>
                    <a:pt x="0" y="231140"/>
                  </a:lnTo>
                  <a:lnTo>
                    <a:pt x="17780" y="266700"/>
                  </a:lnTo>
                  <a:lnTo>
                    <a:pt x="22860" y="365760"/>
                  </a:lnTo>
                  <a:lnTo>
                    <a:pt x="63500" y="363220"/>
                  </a:lnTo>
                  <a:lnTo>
                    <a:pt x="86360" y="2921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9" name="Freeform: Shape 18">
              <a:extLst>
                <a:ext uri="{FF2B5EF4-FFF2-40B4-BE49-F238E27FC236}">
                  <a16:creationId xmlns:a16="http://schemas.microsoft.com/office/drawing/2014/main" id="{76A8E405-95EA-4573-B3B8-C6628B924C9D}"/>
                </a:ext>
              </a:extLst>
            </p:cNvPr>
            <p:cNvSpPr/>
            <p:nvPr/>
          </p:nvSpPr>
          <p:spPr bwMode="gray">
            <a:xfrm>
              <a:off x="6191731" y="1342345"/>
              <a:ext cx="43437" cy="130310"/>
            </a:xfrm>
            <a:custGeom>
              <a:avLst/>
              <a:gdLst>
                <a:gd name="connsiteX0" fmla="*/ 30480 w 68580"/>
                <a:gd name="connsiteY0" fmla="*/ 205740 h 205740"/>
                <a:gd name="connsiteX1" fmla="*/ 50800 w 68580"/>
                <a:gd name="connsiteY1" fmla="*/ 157480 h 205740"/>
                <a:gd name="connsiteX2" fmla="*/ 68580 w 68580"/>
                <a:gd name="connsiteY2" fmla="*/ 152400 h 205740"/>
                <a:gd name="connsiteX3" fmla="*/ 53340 w 68580"/>
                <a:gd name="connsiteY3" fmla="*/ 0 h 205740"/>
                <a:gd name="connsiteX4" fmla="*/ 12700 w 68580"/>
                <a:gd name="connsiteY4" fmla="*/ 38100 h 205740"/>
                <a:gd name="connsiteX5" fmla="*/ 7620 w 68580"/>
                <a:gd name="connsiteY5" fmla="*/ 134620 h 205740"/>
                <a:gd name="connsiteX6" fmla="*/ 0 w 68580"/>
                <a:gd name="connsiteY6" fmla="*/ 154940 h 205740"/>
                <a:gd name="connsiteX7" fmla="*/ 30480 w 68580"/>
                <a:gd name="connsiteY7" fmla="*/ 205740 h 20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580" h="205740">
                  <a:moveTo>
                    <a:pt x="30480" y="205740"/>
                  </a:moveTo>
                  <a:lnTo>
                    <a:pt x="50800" y="157480"/>
                  </a:lnTo>
                  <a:lnTo>
                    <a:pt x="68580" y="152400"/>
                  </a:lnTo>
                  <a:lnTo>
                    <a:pt x="53340" y="0"/>
                  </a:lnTo>
                  <a:lnTo>
                    <a:pt x="12700" y="38100"/>
                  </a:lnTo>
                  <a:lnTo>
                    <a:pt x="7620" y="134620"/>
                  </a:lnTo>
                  <a:lnTo>
                    <a:pt x="0" y="154940"/>
                  </a:lnTo>
                  <a:lnTo>
                    <a:pt x="30480" y="20574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0" name="Freeform: Shape 19">
              <a:extLst>
                <a:ext uri="{FF2B5EF4-FFF2-40B4-BE49-F238E27FC236}">
                  <a16:creationId xmlns:a16="http://schemas.microsoft.com/office/drawing/2014/main" id="{2ED4C9F0-02D7-4677-8086-C37DF283A6FB}"/>
                </a:ext>
              </a:extLst>
            </p:cNvPr>
            <p:cNvSpPr/>
            <p:nvPr/>
          </p:nvSpPr>
          <p:spPr bwMode="gray">
            <a:xfrm>
              <a:off x="6240947" y="1174838"/>
              <a:ext cx="92114" cy="163268"/>
            </a:xfrm>
            <a:custGeom>
              <a:avLst/>
              <a:gdLst>
                <a:gd name="connsiteX0" fmla="*/ 0 w 93980"/>
                <a:gd name="connsiteY0" fmla="*/ 137160 h 187960"/>
                <a:gd name="connsiteX1" fmla="*/ 20320 w 93980"/>
                <a:gd name="connsiteY1" fmla="*/ 187960 h 187960"/>
                <a:gd name="connsiteX2" fmla="*/ 55880 w 93980"/>
                <a:gd name="connsiteY2" fmla="*/ 149860 h 187960"/>
                <a:gd name="connsiteX3" fmla="*/ 76200 w 93980"/>
                <a:gd name="connsiteY3" fmla="*/ 99060 h 187960"/>
                <a:gd name="connsiteX4" fmla="*/ 93980 w 93980"/>
                <a:gd name="connsiteY4" fmla="*/ 7620 h 187960"/>
                <a:gd name="connsiteX5" fmla="*/ 63500 w 93980"/>
                <a:gd name="connsiteY5" fmla="*/ 0 h 187960"/>
                <a:gd name="connsiteX6" fmla="*/ 27940 w 93980"/>
                <a:gd name="connsiteY6" fmla="*/ 35560 h 187960"/>
                <a:gd name="connsiteX7" fmla="*/ 0 w 93980"/>
                <a:gd name="connsiteY7" fmla="*/ 35560 h 187960"/>
                <a:gd name="connsiteX8" fmla="*/ 0 w 93980"/>
                <a:gd name="connsiteY8" fmla="*/ 137160 h 187960"/>
                <a:gd name="connsiteX0" fmla="*/ 2540 w 96520"/>
                <a:gd name="connsiteY0" fmla="*/ 137160 h 187960"/>
                <a:gd name="connsiteX1" fmla="*/ 22860 w 96520"/>
                <a:gd name="connsiteY1" fmla="*/ 187960 h 187960"/>
                <a:gd name="connsiteX2" fmla="*/ 58420 w 96520"/>
                <a:gd name="connsiteY2" fmla="*/ 149860 h 187960"/>
                <a:gd name="connsiteX3" fmla="*/ 78740 w 96520"/>
                <a:gd name="connsiteY3" fmla="*/ 99060 h 187960"/>
                <a:gd name="connsiteX4" fmla="*/ 96520 w 96520"/>
                <a:gd name="connsiteY4" fmla="*/ 7620 h 187960"/>
                <a:gd name="connsiteX5" fmla="*/ 66040 w 96520"/>
                <a:gd name="connsiteY5" fmla="*/ 0 h 187960"/>
                <a:gd name="connsiteX6" fmla="*/ 30480 w 96520"/>
                <a:gd name="connsiteY6" fmla="*/ 35560 h 187960"/>
                <a:gd name="connsiteX7" fmla="*/ 2540 w 96520"/>
                <a:gd name="connsiteY7" fmla="*/ 35560 h 187960"/>
                <a:gd name="connsiteX8" fmla="*/ 0 w 96520"/>
                <a:gd name="connsiteY8" fmla="*/ 93980 h 187960"/>
                <a:gd name="connsiteX9" fmla="*/ 2540 w 96520"/>
                <a:gd name="connsiteY9" fmla="*/ 137160 h 187960"/>
                <a:gd name="connsiteX0" fmla="*/ 15875 w 109855"/>
                <a:gd name="connsiteY0" fmla="*/ 137160 h 187960"/>
                <a:gd name="connsiteX1" fmla="*/ 36195 w 109855"/>
                <a:gd name="connsiteY1" fmla="*/ 187960 h 187960"/>
                <a:gd name="connsiteX2" fmla="*/ 71755 w 109855"/>
                <a:gd name="connsiteY2" fmla="*/ 149860 h 187960"/>
                <a:gd name="connsiteX3" fmla="*/ 92075 w 109855"/>
                <a:gd name="connsiteY3" fmla="*/ 99060 h 187960"/>
                <a:gd name="connsiteX4" fmla="*/ 109855 w 109855"/>
                <a:gd name="connsiteY4" fmla="*/ 7620 h 187960"/>
                <a:gd name="connsiteX5" fmla="*/ 79375 w 109855"/>
                <a:gd name="connsiteY5" fmla="*/ 0 h 187960"/>
                <a:gd name="connsiteX6" fmla="*/ 43815 w 109855"/>
                <a:gd name="connsiteY6" fmla="*/ 35560 h 187960"/>
                <a:gd name="connsiteX7" fmla="*/ 15875 w 109855"/>
                <a:gd name="connsiteY7" fmla="*/ 35560 h 187960"/>
                <a:gd name="connsiteX8" fmla="*/ 0 w 109855"/>
                <a:gd name="connsiteY8" fmla="*/ 99695 h 187960"/>
                <a:gd name="connsiteX9" fmla="*/ 15875 w 109855"/>
                <a:gd name="connsiteY9" fmla="*/ 137160 h 187960"/>
                <a:gd name="connsiteX0" fmla="*/ 15875 w 109855"/>
                <a:gd name="connsiteY0" fmla="*/ 137160 h 187960"/>
                <a:gd name="connsiteX1" fmla="*/ 36195 w 109855"/>
                <a:gd name="connsiteY1" fmla="*/ 187960 h 187960"/>
                <a:gd name="connsiteX2" fmla="*/ 71755 w 109855"/>
                <a:gd name="connsiteY2" fmla="*/ 149860 h 187960"/>
                <a:gd name="connsiteX3" fmla="*/ 92075 w 109855"/>
                <a:gd name="connsiteY3" fmla="*/ 99060 h 187960"/>
                <a:gd name="connsiteX4" fmla="*/ 109855 w 109855"/>
                <a:gd name="connsiteY4" fmla="*/ 7620 h 187960"/>
                <a:gd name="connsiteX5" fmla="*/ 79375 w 109855"/>
                <a:gd name="connsiteY5" fmla="*/ 0 h 187960"/>
                <a:gd name="connsiteX6" fmla="*/ 53340 w 109855"/>
                <a:gd name="connsiteY6" fmla="*/ 14605 h 187960"/>
                <a:gd name="connsiteX7" fmla="*/ 15875 w 109855"/>
                <a:gd name="connsiteY7" fmla="*/ 35560 h 187960"/>
                <a:gd name="connsiteX8" fmla="*/ 0 w 109855"/>
                <a:gd name="connsiteY8" fmla="*/ 99695 h 187960"/>
                <a:gd name="connsiteX9" fmla="*/ 15875 w 109855"/>
                <a:gd name="connsiteY9" fmla="*/ 137160 h 187960"/>
                <a:gd name="connsiteX0" fmla="*/ 15875 w 109855"/>
                <a:gd name="connsiteY0" fmla="*/ 137160 h 187960"/>
                <a:gd name="connsiteX1" fmla="*/ 36195 w 109855"/>
                <a:gd name="connsiteY1" fmla="*/ 187960 h 187960"/>
                <a:gd name="connsiteX2" fmla="*/ 71755 w 109855"/>
                <a:gd name="connsiteY2" fmla="*/ 149860 h 187960"/>
                <a:gd name="connsiteX3" fmla="*/ 92075 w 109855"/>
                <a:gd name="connsiteY3" fmla="*/ 99060 h 187960"/>
                <a:gd name="connsiteX4" fmla="*/ 109855 w 109855"/>
                <a:gd name="connsiteY4" fmla="*/ 7620 h 187960"/>
                <a:gd name="connsiteX5" fmla="*/ 79375 w 109855"/>
                <a:gd name="connsiteY5" fmla="*/ 0 h 187960"/>
                <a:gd name="connsiteX6" fmla="*/ 53340 w 109855"/>
                <a:gd name="connsiteY6" fmla="*/ 14605 h 187960"/>
                <a:gd name="connsiteX7" fmla="*/ 25400 w 109855"/>
                <a:gd name="connsiteY7" fmla="*/ 27940 h 187960"/>
                <a:gd name="connsiteX8" fmla="*/ 0 w 109855"/>
                <a:gd name="connsiteY8" fmla="*/ 99695 h 187960"/>
                <a:gd name="connsiteX9" fmla="*/ 15875 w 109855"/>
                <a:gd name="connsiteY9" fmla="*/ 137160 h 187960"/>
                <a:gd name="connsiteX0" fmla="*/ 12065 w 106045"/>
                <a:gd name="connsiteY0" fmla="*/ 137160 h 187960"/>
                <a:gd name="connsiteX1" fmla="*/ 32385 w 106045"/>
                <a:gd name="connsiteY1" fmla="*/ 187960 h 187960"/>
                <a:gd name="connsiteX2" fmla="*/ 67945 w 106045"/>
                <a:gd name="connsiteY2" fmla="*/ 149860 h 187960"/>
                <a:gd name="connsiteX3" fmla="*/ 88265 w 106045"/>
                <a:gd name="connsiteY3" fmla="*/ 99060 h 187960"/>
                <a:gd name="connsiteX4" fmla="*/ 106045 w 106045"/>
                <a:gd name="connsiteY4" fmla="*/ 7620 h 187960"/>
                <a:gd name="connsiteX5" fmla="*/ 75565 w 106045"/>
                <a:gd name="connsiteY5" fmla="*/ 0 h 187960"/>
                <a:gd name="connsiteX6" fmla="*/ 49530 w 106045"/>
                <a:gd name="connsiteY6" fmla="*/ 14605 h 187960"/>
                <a:gd name="connsiteX7" fmla="*/ 21590 w 106045"/>
                <a:gd name="connsiteY7" fmla="*/ 27940 h 187960"/>
                <a:gd name="connsiteX8" fmla="*/ 0 w 106045"/>
                <a:gd name="connsiteY8" fmla="*/ 103505 h 187960"/>
                <a:gd name="connsiteX9" fmla="*/ 12065 w 106045"/>
                <a:gd name="connsiteY9" fmla="*/ 137160 h 187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045" h="187960">
                  <a:moveTo>
                    <a:pt x="12065" y="137160"/>
                  </a:moveTo>
                  <a:lnTo>
                    <a:pt x="32385" y="187960"/>
                  </a:lnTo>
                  <a:lnTo>
                    <a:pt x="67945" y="149860"/>
                  </a:lnTo>
                  <a:lnTo>
                    <a:pt x="88265" y="99060"/>
                  </a:lnTo>
                  <a:lnTo>
                    <a:pt x="106045" y="7620"/>
                  </a:lnTo>
                  <a:lnTo>
                    <a:pt x="75565" y="0"/>
                  </a:lnTo>
                  <a:lnTo>
                    <a:pt x="49530" y="14605"/>
                  </a:lnTo>
                  <a:lnTo>
                    <a:pt x="21590" y="27940"/>
                  </a:lnTo>
                  <a:lnTo>
                    <a:pt x="0" y="103505"/>
                  </a:lnTo>
                  <a:lnTo>
                    <a:pt x="12065" y="13716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1" name="Freeform: Shape 20">
              <a:extLst>
                <a:ext uri="{FF2B5EF4-FFF2-40B4-BE49-F238E27FC236}">
                  <a16:creationId xmlns:a16="http://schemas.microsoft.com/office/drawing/2014/main" id="{06783B5B-5B12-4B80-9A44-16902FAE6F00}"/>
                </a:ext>
              </a:extLst>
            </p:cNvPr>
            <p:cNvSpPr/>
            <p:nvPr/>
          </p:nvSpPr>
          <p:spPr bwMode="gray">
            <a:xfrm rot="1310360">
              <a:off x="6484429" y="1135673"/>
              <a:ext cx="88298" cy="124655"/>
            </a:xfrm>
            <a:custGeom>
              <a:avLst/>
              <a:gdLst>
                <a:gd name="connsiteX0" fmla="*/ 0 w 381000"/>
                <a:gd name="connsiteY0" fmla="*/ 279400 h 365760"/>
                <a:gd name="connsiteX1" fmla="*/ 30480 w 381000"/>
                <a:gd name="connsiteY1" fmla="*/ 325120 h 365760"/>
                <a:gd name="connsiteX2" fmla="*/ 106680 w 381000"/>
                <a:gd name="connsiteY2" fmla="*/ 325120 h 365760"/>
                <a:gd name="connsiteX3" fmla="*/ 137160 w 381000"/>
                <a:gd name="connsiteY3" fmla="*/ 365760 h 365760"/>
                <a:gd name="connsiteX4" fmla="*/ 259080 w 381000"/>
                <a:gd name="connsiteY4" fmla="*/ 314960 h 365760"/>
                <a:gd name="connsiteX5" fmla="*/ 294640 w 381000"/>
                <a:gd name="connsiteY5" fmla="*/ 314960 h 365760"/>
                <a:gd name="connsiteX6" fmla="*/ 381000 w 381000"/>
                <a:gd name="connsiteY6" fmla="*/ 142240 h 365760"/>
                <a:gd name="connsiteX7" fmla="*/ 355600 w 381000"/>
                <a:gd name="connsiteY7" fmla="*/ 45720 h 365760"/>
                <a:gd name="connsiteX8" fmla="*/ 279400 w 381000"/>
                <a:gd name="connsiteY8" fmla="*/ 10160 h 365760"/>
                <a:gd name="connsiteX9" fmla="*/ 167640 w 381000"/>
                <a:gd name="connsiteY9" fmla="*/ 50800 h 365760"/>
                <a:gd name="connsiteX10" fmla="*/ 15240 w 381000"/>
                <a:gd name="connsiteY10" fmla="*/ 0 h 365760"/>
                <a:gd name="connsiteX11" fmla="*/ 0 w 381000"/>
                <a:gd name="connsiteY11" fmla="*/ 279400 h 365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000" h="365760">
                  <a:moveTo>
                    <a:pt x="0" y="279400"/>
                  </a:moveTo>
                  <a:lnTo>
                    <a:pt x="30480" y="325120"/>
                  </a:lnTo>
                  <a:lnTo>
                    <a:pt x="106680" y="325120"/>
                  </a:lnTo>
                  <a:lnTo>
                    <a:pt x="137160" y="365760"/>
                  </a:lnTo>
                  <a:lnTo>
                    <a:pt x="259080" y="314960"/>
                  </a:lnTo>
                  <a:lnTo>
                    <a:pt x="294640" y="314960"/>
                  </a:lnTo>
                  <a:lnTo>
                    <a:pt x="381000" y="142240"/>
                  </a:lnTo>
                  <a:lnTo>
                    <a:pt x="355600" y="45720"/>
                  </a:lnTo>
                  <a:lnTo>
                    <a:pt x="279400" y="10160"/>
                  </a:lnTo>
                  <a:lnTo>
                    <a:pt x="167640" y="50800"/>
                  </a:lnTo>
                  <a:lnTo>
                    <a:pt x="15240" y="0"/>
                  </a:lnTo>
                  <a:lnTo>
                    <a:pt x="0" y="27940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2" name="Freeform: Shape 21">
              <a:extLst>
                <a:ext uri="{FF2B5EF4-FFF2-40B4-BE49-F238E27FC236}">
                  <a16:creationId xmlns:a16="http://schemas.microsoft.com/office/drawing/2014/main" id="{C3DF61CD-94E8-419E-A0DC-F7B19CAF9CC9}"/>
                </a:ext>
              </a:extLst>
            </p:cNvPr>
            <p:cNvSpPr/>
            <p:nvPr/>
          </p:nvSpPr>
          <p:spPr bwMode="gray">
            <a:xfrm>
              <a:off x="6382490" y="1367606"/>
              <a:ext cx="46110" cy="92220"/>
            </a:xfrm>
            <a:custGeom>
              <a:avLst/>
              <a:gdLst>
                <a:gd name="connsiteX0" fmla="*/ 0 w 66040"/>
                <a:gd name="connsiteY0" fmla="*/ 132080 h 132080"/>
                <a:gd name="connsiteX1" fmla="*/ 0 w 66040"/>
                <a:gd name="connsiteY1" fmla="*/ 76200 h 132080"/>
                <a:gd name="connsiteX2" fmla="*/ 10160 w 66040"/>
                <a:gd name="connsiteY2" fmla="*/ 15240 h 132080"/>
                <a:gd name="connsiteX3" fmla="*/ 45720 w 66040"/>
                <a:gd name="connsiteY3" fmla="*/ 0 h 132080"/>
                <a:gd name="connsiteX4" fmla="*/ 66040 w 66040"/>
                <a:gd name="connsiteY4" fmla="*/ 76200 h 132080"/>
                <a:gd name="connsiteX5" fmla="*/ 0 w 66040"/>
                <a:gd name="connsiteY5" fmla="*/ 132080 h 13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040" h="132080">
                  <a:moveTo>
                    <a:pt x="0" y="132080"/>
                  </a:moveTo>
                  <a:lnTo>
                    <a:pt x="0" y="76200"/>
                  </a:lnTo>
                  <a:lnTo>
                    <a:pt x="10160" y="15240"/>
                  </a:lnTo>
                  <a:lnTo>
                    <a:pt x="45720" y="0"/>
                  </a:lnTo>
                  <a:lnTo>
                    <a:pt x="66040" y="76200"/>
                  </a:lnTo>
                  <a:lnTo>
                    <a:pt x="0" y="13208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3" name="Freeform: Shape 22">
              <a:extLst>
                <a:ext uri="{FF2B5EF4-FFF2-40B4-BE49-F238E27FC236}">
                  <a16:creationId xmlns:a16="http://schemas.microsoft.com/office/drawing/2014/main" id="{405E2E44-BEB9-4D8B-9318-9ADF25C5EC6F}"/>
                </a:ext>
              </a:extLst>
            </p:cNvPr>
            <p:cNvSpPr/>
            <p:nvPr/>
          </p:nvSpPr>
          <p:spPr bwMode="gray">
            <a:xfrm>
              <a:off x="6097802" y="910770"/>
              <a:ext cx="1263700" cy="1068214"/>
            </a:xfrm>
            <a:custGeom>
              <a:avLst/>
              <a:gdLst>
                <a:gd name="connsiteX0" fmla="*/ 893022 w 1263700"/>
                <a:gd name="connsiteY0" fmla="*/ 0 h 1068214"/>
                <a:gd name="connsiteX1" fmla="*/ 1005330 w 1263700"/>
                <a:gd name="connsiteY1" fmla="*/ 92663 h 1068214"/>
                <a:gd name="connsiteX2" fmla="*/ 1028234 w 1263700"/>
                <a:gd name="connsiteY2" fmla="*/ 120423 h 1068214"/>
                <a:gd name="connsiteX3" fmla="*/ 264549 w 1263700"/>
                <a:gd name="connsiteY3" fmla="*/ 815807 h 1068214"/>
                <a:gd name="connsiteX4" fmla="*/ 305313 w 1263700"/>
                <a:gd name="connsiteY4" fmla="*/ 847514 h 1068214"/>
                <a:gd name="connsiteX5" fmla="*/ 1127806 w 1263700"/>
                <a:gd name="connsiteY5" fmla="*/ 246014 h 1068214"/>
                <a:gd name="connsiteX6" fmla="*/ 1162098 w 1263700"/>
                <a:gd name="connsiteY6" fmla="*/ 302459 h 1068214"/>
                <a:gd name="connsiteX7" fmla="*/ 1184452 w 1263700"/>
                <a:gd name="connsiteY7" fmla="*/ 348864 h 1068214"/>
                <a:gd name="connsiteX8" fmla="*/ 385497 w 1263700"/>
                <a:gd name="connsiteY8" fmla="*/ 821319 h 1068214"/>
                <a:gd name="connsiteX9" fmla="*/ 373913 w 1263700"/>
                <a:gd name="connsiteY9" fmla="*/ 871514 h 1068214"/>
                <a:gd name="connsiteX10" fmla="*/ 1234375 w 1263700"/>
                <a:gd name="connsiteY10" fmla="*/ 478625 h 1068214"/>
                <a:gd name="connsiteX11" fmla="*/ 1253480 w 1263700"/>
                <a:gd name="connsiteY11" fmla="*/ 552929 h 1068214"/>
                <a:gd name="connsiteX12" fmla="*/ 1263700 w 1263700"/>
                <a:gd name="connsiteY12" fmla="*/ 619889 h 1068214"/>
                <a:gd name="connsiteX13" fmla="*/ 303612 w 1263700"/>
                <a:gd name="connsiteY13" fmla="*/ 917011 h 1068214"/>
                <a:gd name="connsiteX14" fmla="*/ 283524 w 1263700"/>
                <a:gd name="connsiteY14" fmla="*/ 926871 h 1068214"/>
                <a:gd name="connsiteX15" fmla="*/ 283302 w 1263700"/>
                <a:gd name="connsiteY15" fmla="*/ 923297 h 1068214"/>
                <a:gd name="connsiteX16" fmla="*/ 280161 w 1263700"/>
                <a:gd name="connsiteY16" fmla="*/ 872536 h 1068214"/>
                <a:gd name="connsiteX17" fmla="*/ 279846 w 1263700"/>
                <a:gd name="connsiteY17" fmla="*/ 867437 h 1068214"/>
                <a:gd name="connsiteX18" fmla="*/ 279799 w 1263700"/>
                <a:gd name="connsiteY18" fmla="*/ 866686 h 1068214"/>
                <a:gd name="connsiteX19" fmla="*/ 235962 w 1263700"/>
                <a:gd name="connsiteY19" fmla="*/ 843082 h 1068214"/>
                <a:gd name="connsiteX20" fmla="*/ 0 w 1263700"/>
                <a:gd name="connsiteY20" fmla="*/ 1068214 h 1068214"/>
                <a:gd name="connsiteX21" fmla="*/ 141392 w 1263700"/>
                <a:gd name="connsiteY21" fmla="*/ 904560 h 1068214"/>
                <a:gd name="connsiteX22" fmla="*/ 127090 w 1263700"/>
                <a:gd name="connsiteY22" fmla="*/ 878464 h 1068214"/>
                <a:gd name="connsiteX23" fmla="*/ 105967 w 1263700"/>
                <a:gd name="connsiteY23" fmla="*/ 804534 h 1068214"/>
                <a:gd name="connsiteX24" fmla="*/ 132371 w 1263700"/>
                <a:gd name="connsiteY24" fmla="*/ 765241 h 1068214"/>
                <a:gd name="connsiteX25" fmla="*/ 177571 w 1263700"/>
                <a:gd name="connsiteY25" fmla="*/ 773929 h 1068214"/>
                <a:gd name="connsiteX26" fmla="*/ 200569 w 1263700"/>
                <a:gd name="connsiteY26" fmla="*/ 798004 h 1068214"/>
                <a:gd name="connsiteX27" fmla="*/ 222145 w 1263700"/>
                <a:gd name="connsiteY27" fmla="*/ 783412 h 1068214"/>
                <a:gd name="connsiteX28" fmla="*/ 236657 w 1263700"/>
                <a:gd name="connsiteY28" fmla="*/ 794296 h 1068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63700" h="1068214">
                  <a:moveTo>
                    <a:pt x="893022" y="0"/>
                  </a:moveTo>
                  <a:lnTo>
                    <a:pt x="1005330" y="92663"/>
                  </a:lnTo>
                  <a:lnTo>
                    <a:pt x="1028234" y="120423"/>
                  </a:lnTo>
                  <a:lnTo>
                    <a:pt x="264549" y="815807"/>
                  </a:lnTo>
                  <a:lnTo>
                    <a:pt x="305313" y="847514"/>
                  </a:lnTo>
                  <a:lnTo>
                    <a:pt x="1127806" y="246014"/>
                  </a:lnTo>
                  <a:lnTo>
                    <a:pt x="1162098" y="302459"/>
                  </a:lnTo>
                  <a:lnTo>
                    <a:pt x="1184452" y="348864"/>
                  </a:lnTo>
                  <a:lnTo>
                    <a:pt x="385497" y="821319"/>
                  </a:lnTo>
                  <a:lnTo>
                    <a:pt x="373913" y="871514"/>
                  </a:lnTo>
                  <a:lnTo>
                    <a:pt x="1234375" y="478625"/>
                  </a:lnTo>
                  <a:lnTo>
                    <a:pt x="1253480" y="552929"/>
                  </a:lnTo>
                  <a:lnTo>
                    <a:pt x="1263700" y="619889"/>
                  </a:lnTo>
                  <a:lnTo>
                    <a:pt x="303612" y="917011"/>
                  </a:lnTo>
                  <a:lnTo>
                    <a:pt x="283524" y="926871"/>
                  </a:lnTo>
                  <a:cubicBezTo>
                    <a:pt x="283450" y="925679"/>
                    <a:pt x="283377" y="924488"/>
                    <a:pt x="283302" y="923297"/>
                  </a:cubicBezTo>
                  <a:lnTo>
                    <a:pt x="280161" y="872536"/>
                  </a:lnTo>
                  <a:cubicBezTo>
                    <a:pt x="280056" y="870836"/>
                    <a:pt x="279952" y="869137"/>
                    <a:pt x="279846" y="867437"/>
                  </a:cubicBezTo>
                  <a:cubicBezTo>
                    <a:pt x="279831" y="867187"/>
                    <a:pt x="279815" y="866936"/>
                    <a:pt x="279799" y="866686"/>
                  </a:cubicBezTo>
                  <a:lnTo>
                    <a:pt x="235962" y="843082"/>
                  </a:lnTo>
                  <a:lnTo>
                    <a:pt x="0" y="1068214"/>
                  </a:lnTo>
                  <a:lnTo>
                    <a:pt x="141392" y="904560"/>
                  </a:lnTo>
                  <a:lnTo>
                    <a:pt x="127090" y="878464"/>
                  </a:lnTo>
                  <a:lnTo>
                    <a:pt x="105967" y="804534"/>
                  </a:lnTo>
                  <a:lnTo>
                    <a:pt x="132371" y="765241"/>
                  </a:lnTo>
                  <a:lnTo>
                    <a:pt x="177571" y="773929"/>
                  </a:lnTo>
                  <a:lnTo>
                    <a:pt x="200569" y="798004"/>
                  </a:lnTo>
                  <a:lnTo>
                    <a:pt x="222145" y="783412"/>
                  </a:lnTo>
                  <a:lnTo>
                    <a:pt x="236657" y="794296"/>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4" name="Freeform: Shape 23">
              <a:extLst>
                <a:ext uri="{FF2B5EF4-FFF2-40B4-BE49-F238E27FC236}">
                  <a16:creationId xmlns:a16="http://schemas.microsoft.com/office/drawing/2014/main" id="{BE98D077-4A01-4D49-B8BC-9C919E5AAD0A}"/>
                </a:ext>
              </a:extLst>
            </p:cNvPr>
            <p:cNvSpPr/>
            <p:nvPr/>
          </p:nvSpPr>
          <p:spPr bwMode="gray">
            <a:xfrm>
              <a:off x="6869781" y="1245112"/>
              <a:ext cx="73777" cy="115093"/>
            </a:xfrm>
            <a:custGeom>
              <a:avLst/>
              <a:gdLst>
                <a:gd name="connsiteX0" fmla="*/ 6096 w 152400"/>
                <a:gd name="connsiteY0" fmla="*/ 97536 h 237744"/>
                <a:gd name="connsiteX1" fmla="*/ 0 w 152400"/>
                <a:gd name="connsiteY1" fmla="*/ 207264 h 237744"/>
                <a:gd name="connsiteX2" fmla="*/ 85344 w 152400"/>
                <a:gd name="connsiteY2" fmla="*/ 237744 h 237744"/>
                <a:gd name="connsiteX3" fmla="*/ 152400 w 152400"/>
                <a:gd name="connsiteY3" fmla="*/ 128016 h 237744"/>
                <a:gd name="connsiteX4" fmla="*/ 121920 w 152400"/>
                <a:gd name="connsiteY4" fmla="*/ 0 h 237744"/>
                <a:gd name="connsiteX5" fmla="*/ 73152 w 152400"/>
                <a:gd name="connsiteY5" fmla="*/ 54864 h 237744"/>
                <a:gd name="connsiteX6" fmla="*/ 6096 w 152400"/>
                <a:gd name="connsiteY6" fmla="*/ 97536 h 237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237744">
                  <a:moveTo>
                    <a:pt x="6096" y="97536"/>
                  </a:moveTo>
                  <a:lnTo>
                    <a:pt x="0" y="207264"/>
                  </a:lnTo>
                  <a:lnTo>
                    <a:pt x="85344" y="237744"/>
                  </a:lnTo>
                  <a:lnTo>
                    <a:pt x="152400" y="128016"/>
                  </a:lnTo>
                  <a:lnTo>
                    <a:pt x="121920" y="0"/>
                  </a:lnTo>
                  <a:lnTo>
                    <a:pt x="73152" y="54864"/>
                  </a:lnTo>
                  <a:lnTo>
                    <a:pt x="6096" y="97536"/>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5" name="Freeform: Shape 24">
              <a:extLst>
                <a:ext uri="{FF2B5EF4-FFF2-40B4-BE49-F238E27FC236}">
                  <a16:creationId xmlns:a16="http://schemas.microsoft.com/office/drawing/2014/main" id="{C97BCC59-48BF-4F03-AD95-12B79463464C}"/>
                </a:ext>
              </a:extLst>
            </p:cNvPr>
            <p:cNvSpPr/>
            <p:nvPr/>
          </p:nvSpPr>
          <p:spPr bwMode="gray">
            <a:xfrm>
              <a:off x="6679224" y="1562771"/>
              <a:ext cx="114563" cy="103107"/>
            </a:xfrm>
            <a:custGeom>
              <a:avLst/>
              <a:gdLst>
                <a:gd name="connsiteX0" fmla="*/ 73152 w 371856"/>
                <a:gd name="connsiteY0" fmla="*/ 243840 h 329184"/>
                <a:gd name="connsiteX1" fmla="*/ 0 w 371856"/>
                <a:gd name="connsiteY1" fmla="*/ 225552 h 329184"/>
                <a:gd name="connsiteX2" fmla="*/ 54864 w 371856"/>
                <a:gd name="connsiteY2" fmla="*/ 146304 h 329184"/>
                <a:gd name="connsiteX3" fmla="*/ 146304 w 371856"/>
                <a:gd name="connsiteY3" fmla="*/ 103632 h 329184"/>
                <a:gd name="connsiteX4" fmla="*/ 115824 w 371856"/>
                <a:gd name="connsiteY4" fmla="*/ 60960 h 329184"/>
                <a:gd name="connsiteX5" fmla="*/ 182880 w 371856"/>
                <a:gd name="connsiteY5" fmla="*/ 67056 h 329184"/>
                <a:gd name="connsiteX6" fmla="*/ 219456 w 371856"/>
                <a:gd name="connsiteY6" fmla="*/ 0 h 329184"/>
                <a:gd name="connsiteX7" fmla="*/ 371856 w 371856"/>
                <a:gd name="connsiteY7" fmla="*/ 97536 h 329184"/>
                <a:gd name="connsiteX8" fmla="*/ 323088 w 371856"/>
                <a:gd name="connsiteY8" fmla="*/ 128016 h 329184"/>
                <a:gd name="connsiteX9" fmla="*/ 335280 w 371856"/>
                <a:gd name="connsiteY9" fmla="*/ 219456 h 329184"/>
                <a:gd name="connsiteX10" fmla="*/ 256032 w 371856"/>
                <a:gd name="connsiteY10" fmla="*/ 280416 h 329184"/>
                <a:gd name="connsiteX11" fmla="*/ 146304 w 371856"/>
                <a:gd name="connsiteY11" fmla="*/ 237744 h 329184"/>
                <a:gd name="connsiteX12" fmla="*/ 67056 w 371856"/>
                <a:gd name="connsiteY12" fmla="*/ 329184 h 329184"/>
                <a:gd name="connsiteX13" fmla="*/ 73152 w 371856"/>
                <a:gd name="connsiteY13" fmla="*/ 243840 h 329184"/>
                <a:gd name="connsiteX0" fmla="*/ 67056 w 371856"/>
                <a:gd name="connsiteY0" fmla="*/ 329184 h 329184"/>
                <a:gd name="connsiteX1" fmla="*/ 0 w 371856"/>
                <a:gd name="connsiteY1" fmla="*/ 225552 h 329184"/>
                <a:gd name="connsiteX2" fmla="*/ 54864 w 371856"/>
                <a:gd name="connsiteY2" fmla="*/ 146304 h 329184"/>
                <a:gd name="connsiteX3" fmla="*/ 146304 w 371856"/>
                <a:gd name="connsiteY3" fmla="*/ 103632 h 329184"/>
                <a:gd name="connsiteX4" fmla="*/ 115824 w 371856"/>
                <a:gd name="connsiteY4" fmla="*/ 60960 h 329184"/>
                <a:gd name="connsiteX5" fmla="*/ 182880 w 371856"/>
                <a:gd name="connsiteY5" fmla="*/ 67056 h 329184"/>
                <a:gd name="connsiteX6" fmla="*/ 219456 w 371856"/>
                <a:gd name="connsiteY6" fmla="*/ 0 h 329184"/>
                <a:gd name="connsiteX7" fmla="*/ 371856 w 371856"/>
                <a:gd name="connsiteY7" fmla="*/ 97536 h 329184"/>
                <a:gd name="connsiteX8" fmla="*/ 323088 w 371856"/>
                <a:gd name="connsiteY8" fmla="*/ 128016 h 329184"/>
                <a:gd name="connsiteX9" fmla="*/ 335280 w 371856"/>
                <a:gd name="connsiteY9" fmla="*/ 219456 h 329184"/>
                <a:gd name="connsiteX10" fmla="*/ 256032 w 371856"/>
                <a:gd name="connsiteY10" fmla="*/ 280416 h 329184"/>
                <a:gd name="connsiteX11" fmla="*/ 146304 w 371856"/>
                <a:gd name="connsiteY11" fmla="*/ 237744 h 329184"/>
                <a:gd name="connsiteX12" fmla="*/ 67056 w 371856"/>
                <a:gd name="connsiteY12" fmla="*/ 329184 h 329184"/>
                <a:gd name="connsiteX0" fmla="*/ 60960 w 365760"/>
                <a:gd name="connsiteY0" fmla="*/ 329184 h 329184"/>
                <a:gd name="connsiteX1" fmla="*/ 0 w 365760"/>
                <a:gd name="connsiteY1" fmla="*/ 268224 h 329184"/>
                <a:gd name="connsiteX2" fmla="*/ 48768 w 365760"/>
                <a:gd name="connsiteY2" fmla="*/ 146304 h 329184"/>
                <a:gd name="connsiteX3" fmla="*/ 140208 w 365760"/>
                <a:gd name="connsiteY3" fmla="*/ 103632 h 329184"/>
                <a:gd name="connsiteX4" fmla="*/ 109728 w 365760"/>
                <a:gd name="connsiteY4" fmla="*/ 60960 h 329184"/>
                <a:gd name="connsiteX5" fmla="*/ 176784 w 365760"/>
                <a:gd name="connsiteY5" fmla="*/ 67056 h 329184"/>
                <a:gd name="connsiteX6" fmla="*/ 213360 w 365760"/>
                <a:gd name="connsiteY6" fmla="*/ 0 h 329184"/>
                <a:gd name="connsiteX7" fmla="*/ 365760 w 365760"/>
                <a:gd name="connsiteY7" fmla="*/ 97536 h 329184"/>
                <a:gd name="connsiteX8" fmla="*/ 316992 w 365760"/>
                <a:gd name="connsiteY8" fmla="*/ 128016 h 329184"/>
                <a:gd name="connsiteX9" fmla="*/ 329184 w 365760"/>
                <a:gd name="connsiteY9" fmla="*/ 219456 h 329184"/>
                <a:gd name="connsiteX10" fmla="*/ 249936 w 365760"/>
                <a:gd name="connsiteY10" fmla="*/ 280416 h 329184"/>
                <a:gd name="connsiteX11" fmla="*/ 140208 w 365760"/>
                <a:gd name="connsiteY11" fmla="*/ 237744 h 329184"/>
                <a:gd name="connsiteX12" fmla="*/ 60960 w 365760"/>
                <a:gd name="connsiteY12" fmla="*/ 329184 h 329184"/>
                <a:gd name="connsiteX0" fmla="*/ 60960 w 365760"/>
                <a:gd name="connsiteY0" fmla="*/ 329184 h 329184"/>
                <a:gd name="connsiteX1" fmla="*/ 0 w 365760"/>
                <a:gd name="connsiteY1" fmla="*/ 268224 h 329184"/>
                <a:gd name="connsiteX2" fmla="*/ 36576 w 365760"/>
                <a:gd name="connsiteY2" fmla="*/ 164592 h 329184"/>
                <a:gd name="connsiteX3" fmla="*/ 140208 w 365760"/>
                <a:gd name="connsiteY3" fmla="*/ 103632 h 329184"/>
                <a:gd name="connsiteX4" fmla="*/ 109728 w 365760"/>
                <a:gd name="connsiteY4" fmla="*/ 60960 h 329184"/>
                <a:gd name="connsiteX5" fmla="*/ 176784 w 365760"/>
                <a:gd name="connsiteY5" fmla="*/ 67056 h 329184"/>
                <a:gd name="connsiteX6" fmla="*/ 213360 w 365760"/>
                <a:gd name="connsiteY6" fmla="*/ 0 h 329184"/>
                <a:gd name="connsiteX7" fmla="*/ 365760 w 365760"/>
                <a:gd name="connsiteY7" fmla="*/ 97536 h 329184"/>
                <a:gd name="connsiteX8" fmla="*/ 316992 w 365760"/>
                <a:gd name="connsiteY8" fmla="*/ 128016 h 329184"/>
                <a:gd name="connsiteX9" fmla="*/ 329184 w 365760"/>
                <a:gd name="connsiteY9" fmla="*/ 219456 h 329184"/>
                <a:gd name="connsiteX10" fmla="*/ 249936 w 365760"/>
                <a:gd name="connsiteY10" fmla="*/ 280416 h 329184"/>
                <a:gd name="connsiteX11" fmla="*/ 140208 w 365760"/>
                <a:gd name="connsiteY11" fmla="*/ 237744 h 329184"/>
                <a:gd name="connsiteX12" fmla="*/ 60960 w 365760"/>
                <a:gd name="connsiteY12" fmla="*/ 329184 h 329184"/>
                <a:gd name="connsiteX0" fmla="*/ 60960 w 365760"/>
                <a:gd name="connsiteY0" fmla="*/ 329184 h 329184"/>
                <a:gd name="connsiteX1" fmla="*/ 0 w 365760"/>
                <a:gd name="connsiteY1" fmla="*/ 268224 h 329184"/>
                <a:gd name="connsiteX2" fmla="*/ 36576 w 365760"/>
                <a:gd name="connsiteY2" fmla="*/ 164592 h 329184"/>
                <a:gd name="connsiteX3" fmla="*/ 140208 w 365760"/>
                <a:gd name="connsiteY3" fmla="*/ 103632 h 329184"/>
                <a:gd name="connsiteX4" fmla="*/ 176784 w 365760"/>
                <a:gd name="connsiteY4" fmla="*/ 67056 h 329184"/>
                <a:gd name="connsiteX5" fmla="*/ 213360 w 365760"/>
                <a:gd name="connsiteY5" fmla="*/ 0 h 329184"/>
                <a:gd name="connsiteX6" fmla="*/ 365760 w 365760"/>
                <a:gd name="connsiteY6" fmla="*/ 97536 h 329184"/>
                <a:gd name="connsiteX7" fmla="*/ 316992 w 365760"/>
                <a:gd name="connsiteY7" fmla="*/ 128016 h 329184"/>
                <a:gd name="connsiteX8" fmla="*/ 329184 w 365760"/>
                <a:gd name="connsiteY8" fmla="*/ 219456 h 329184"/>
                <a:gd name="connsiteX9" fmla="*/ 249936 w 365760"/>
                <a:gd name="connsiteY9" fmla="*/ 280416 h 329184"/>
                <a:gd name="connsiteX10" fmla="*/ 140208 w 365760"/>
                <a:gd name="connsiteY10" fmla="*/ 237744 h 329184"/>
                <a:gd name="connsiteX11" fmla="*/ 60960 w 365760"/>
                <a:gd name="connsiteY11" fmla="*/ 329184 h 329184"/>
                <a:gd name="connsiteX0" fmla="*/ 60960 w 365760"/>
                <a:gd name="connsiteY0" fmla="*/ 329184 h 329184"/>
                <a:gd name="connsiteX1" fmla="*/ 0 w 365760"/>
                <a:gd name="connsiteY1" fmla="*/ 268224 h 329184"/>
                <a:gd name="connsiteX2" fmla="*/ 36576 w 365760"/>
                <a:gd name="connsiteY2" fmla="*/ 164592 h 329184"/>
                <a:gd name="connsiteX3" fmla="*/ 140208 w 365760"/>
                <a:gd name="connsiteY3" fmla="*/ 103632 h 329184"/>
                <a:gd name="connsiteX4" fmla="*/ 176784 w 365760"/>
                <a:gd name="connsiteY4" fmla="*/ 67056 h 329184"/>
                <a:gd name="connsiteX5" fmla="*/ 213360 w 365760"/>
                <a:gd name="connsiteY5" fmla="*/ 0 h 329184"/>
                <a:gd name="connsiteX6" fmla="*/ 268224 w 365760"/>
                <a:gd name="connsiteY6" fmla="*/ 36576 h 329184"/>
                <a:gd name="connsiteX7" fmla="*/ 365760 w 365760"/>
                <a:gd name="connsiteY7" fmla="*/ 97536 h 329184"/>
                <a:gd name="connsiteX8" fmla="*/ 316992 w 365760"/>
                <a:gd name="connsiteY8" fmla="*/ 128016 h 329184"/>
                <a:gd name="connsiteX9" fmla="*/ 329184 w 365760"/>
                <a:gd name="connsiteY9" fmla="*/ 219456 h 329184"/>
                <a:gd name="connsiteX10" fmla="*/ 249936 w 365760"/>
                <a:gd name="connsiteY10" fmla="*/ 280416 h 329184"/>
                <a:gd name="connsiteX11" fmla="*/ 140208 w 365760"/>
                <a:gd name="connsiteY11" fmla="*/ 237744 h 329184"/>
                <a:gd name="connsiteX12" fmla="*/ 60960 w 365760"/>
                <a:gd name="connsiteY12" fmla="*/ 329184 h 329184"/>
                <a:gd name="connsiteX0" fmla="*/ 60960 w 365760"/>
                <a:gd name="connsiteY0" fmla="*/ 329184 h 329184"/>
                <a:gd name="connsiteX1" fmla="*/ 0 w 365760"/>
                <a:gd name="connsiteY1" fmla="*/ 268224 h 329184"/>
                <a:gd name="connsiteX2" fmla="*/ 36576 w 365760"/>
                <a:gd name="connsiteY2" fmla="*/ 164592 h 329184"/>
                <a:gd name="connsiteX3" fmla="*/ 140208 w 365760"/>
                <a:gd name="connsiteY3" fmla="*/ 103632 h 329184"/>
                <a:gd name="connsiteX4" fmla="*/ 176784 w 365760"/>
                <a:gd name="connsiteY4" fmla="*/ 67056 h 329184"/>
                <a:gd name="connsiteX5" fmla="*/ 213360 w 365760"/>
                <a:gd name="connsiteY5" fmla="*/ 0 h 329184"/>
                <a:gd name="connsiteX6" fmla="*/ 323088 w 365760"/>
                <a:gd name="connsiteY6" fmla="*/ 0 h 329184"/>
                <a:gd name="connsiteX7" fmla="*/ 365760 w 365760"/>
                <a:gd name="connsiteY7" fmla="*/ 97536 h 329184"/>
                <a:gd name="connsiteX8" fmla="*/ 316992 w 365760"/>
                <a:gd name="connsiteY8" fmla="*/ 128016 h 329184"/>
                <a:gd name="connsiteX9" fmla="*/ 329184 w 365760"/>
                <a:gd name="connsiteY9" fmla="*/ 219456 h 329184"/>
                <a:gd name="connsiteX10" fmla="*/ 249936 w 365760"/>
                <a:gd name="connsiteY10" fmla="*/ 280416 h 329184"/>
                <a:gd name="connsiteX11" fmla="*/ 140208 w 365760"/>
                <a:gd name="connsiteY11" fmla="*/ 237744 h 329184"/>
                <a:gd name="connsiteX12" fmla="*/ 60960 w 365760"/>
                <a:gd name="connsiteY12" fmla="*/ 329184 h 329184"/>
                <a:gd name="connsiteX0" fmla="*/ 60960 w 365760"/>
                <a:gd name="connsiteY0" fmla="*/ 329184 h 329184"/>
                <a:gd name="connsiteX1" fmla="*/ 0 w 365760"/>
                <a:gd name="connsiteY1" fmla="*/ 268224 h 329184"/>
                <a:gd name="connsiteX2" fmla="*/ 36576 w 365760"/>
                <a:gd name="connsiteY2" fmla="*/ 164592 h 329184"/>
                <a:gd name="connsiteX3" fmla="*/ 140208 w 365760"/>
                <a:gd name="connsiteY3" fmla="*/ 103632 h 329184"/>
                <a:gd name="connsiteX4" fmla="*/ 176784 w 365760"/>
                <a:gd name="connsiteY4" fmla="*/ 67056 h 329184"/>
                <a:gd name="connsiteX5" fmla="*/ 213360 w 365760"/>
                <a:gd name="connsiteY5" fmla="*/ 0 h 329184"/>
                <a:gd name="connsiteX6" fmla="*/ 323088 w 365760"/>
                <a:gd name="connsiteY6" fmla="*/ 0 h 329184"/>
                <a:gd name="connsiteX7" fmla="*/ 365760 w 365760"/>
                <a:gd name="connsiteY7" fmla="*/ 97536 h 329184"/>
                <a:gd name="connsiteX8" fmla="*/ 316992 w 365760"/>
                <a:gd name="connsiteY8" fmla="*/ 128016 h 329184"/>
                <a:gd name="connsiteX9" fmla="*/ 329184 w 365760"/>
                <a:gd name="connsiteY9" fmla="*/ 219456 h 329184"/>
                <a:gd name="connsiteX10" fmla="*/ 237744 w 365760"/>
                <a:gd name="connsiteY10" fmla="*/ 249936 h 329184"/>
                <a:gd name="connsiteX11" fmla="*/ 140208 w 365760"/>
                <a:gd name="connsiteY11" fmla="*/ 237744 h 329184"/>
                <a:gd name="connsiteX12" fmla="*/ 60960 w 365760"/>
                <a:gd name="connsiteY12" fmla="*/ 329184 h 329184"/>
                <a:gd name="connsiteX0" fmla="*/ 60960 w 365760"/>
                <a:gd name="connsiteY0" fmla="*/ 329184 h 329184"/>
                <a:gd name="connsiteX1" fmla="*/ 0 w 365760"/>
                <a:gd name="connsiteY1" fmla="*/ 268224 h 329184"/>
                <a:gd name="connsiteX2" fmla="*/ 36576 w 365760"/>
                <a:gd name="connsiteY2" fmla="*/ 164592 h 329184"/>
                <a:gd name="connsiteX3" fmla="*/ 140208 w 365760"/>
                <a:gd name="connsiteY3" fmla="*/ 103632 h 329184"/>
                <a:gd name="connsiteX4" fmla="*/ 176784 w 365760"/>
                <a:gd name="connsiteY4" fmla="*/ 67056 h 329184"/>
                <a:gd name="connsiteX5" fmla="*/ 213360 w 365760"/>
                <a:gd name="connsiteY5" fmla="*/ 0 h 329184"/>
                <a:gd name="connsiteX6" fmla="*/ 323088 w 365760"/>
                <a:gd name="connsiteY6" fmla="*/ 0 h 329184"/>
                <a:gd name="connsiteX7" fmla="*/ 365760 w 365760"/>
                <a:gd name="connsiteY7" fmla="*/ 97536 h 329184"/>
                <a:gd name="connsiteX8" fmla="*/ 316992 w 365760"/>
                <a:gd name="connsiteY8" fmla="*/ 128016 h 329184"/>
                <a:gd name="connsiteX9" fmla="*/ 329184 w 365760"/>
                <a:gd name="connsiteY9" fmla="*/ 219456 h 329184"/>
                <a:gd name="connsiteX10" fmla="*/ 237744 w 365760"/>
                <a:gd name="connsiteY10" fmla="*/ 249936 h 329184"/>
                <a:gd name="connsiteX11" fmla="*/ 128016 w 365760"/>
                <a:gd name="connsiteY11" fmla="*/ 256032 h 329184"/>
                <a:gd name="connsiteX12" fmla="*/ 60960 w 365760"/>
                <a:gd name="connsiteY12" fmla="*/ 329184 h 329184"/>
                <a:gd name="connsiteX0" fmla="*/ 60960 w 365760"/>
                <a:gd name="connsiteY0" fmla="*/ 329184 h 329184"/>
                <a:gd name="connsiteX1" fmla="*/ 0 w 365760"/>
                <a:gd name="connsiteY1" fmla="*/ 268224 h 329184"/>
                <a:gd name="connsiteX2" fmla="*/ 48768 w 365760"/>
                <a:gd name="connsiteY2" fmla="*/ 164592 h 329184"/>
                <a:gd name="connsiteX3" fmla="*/ 140208 w 365760"/>
                <a:gd name="connsiteY3" fmla="*/ 103632 h 329184"/>
                <a:gd name="connsiteX4" fmla="*/ 176784 w 365760"/>
                <a:gd name="connsiteY4" fmla="*/ 67056 h 329184"/>
                <a:gd name="connsiteX5" fmla="*/ 213360 w 365760"/>
                <a:gd name="connsiteY5" fmla="*/ 0 h 329184"/>
                <a:gd name="connsiteX6" fmla="*/ 323088 w 365760"/>
                <a:gd name="connsiteY6" fmla="*/ 0 h 329184"/>
                <a:gd name="connsiteX7" fmla="*/ 365760 w 365760"/>
                <a:gd name="connsiteY7" fmla="*/ 97536 h 329184"/>
                <a:gd name="connsiteX8" fmla="*/ 316992 w 365760"/>
                <a:gd name="connsiteY8" fmla="*/ 128016 h 329184"/>
                <a:gd name="connsiteX9" fmla="*/ 329184 w 365760"/>
                <a:gd name="connsiteY9" fmla="*/ 219456 h 329184"/>
                <a:gd name="connsiteX10" fmla="*/ 237744 w 365760"/>
                <a:gd name="connsiteY10" fmla="*/ 249936 h 329184"/>
                <a:gd name="connsiteX11" fmla="*/ 128016 w 365760"/>
                <a:gd name="connsiteY11" fmla="*/ 256032 h 329184"/>
                <a:gd name="connsiteX12" fmla="*/ 60960 w 365760"/>
                <a:gd name="connsiteY12" fmla="*/ 329184 h 329184"/>
                <a:gd name="connsiteX0" fmla="*/ 60960 w 365760"/>
                <a:gd name="connsiteY0" fmla="*/ 329184 h 329184"/>
                <a:gd name="connsiteX1" fmla="*/ 0 w 365760"/>
                <a:gd name="connsiteY1" fmla="*/ 268224 h 329184"/>
                <a:gd name="connsiteX2" fmla="*/ 48768 w 365760"/>
                <a:gd name="connsiteY2" fmla="*/ 164592 h 329184"/>
                <a:gd name="connsiteX3" fmla="*/ 140208 w 365760"/>
                <a:gd name="connsiteY3" fmla="*/ 103632 h 329184"/>
                <a:gd name="connsiteX4" fmla="*/ 176784 w 365760"/>
                <a:gd name="connsiteY4" fmla="*/ 67056 h 329184"/>
                <a:gd name="connsiteX5" fmla="*/ 237744 w 365760"/>
                <a:gd name="connsiteY5" fmla="*/ 12192 h 329184"/>
                <a:gd name="connsiteX6" fmla="*/ 323088 w 365760"/>
                <a:gd name="connsiteY6" fmla="*/ 0 h 329184"/>
                <a:gd name="connsiteX7" fmla="*/ 365760 w 365760"/>
                <a:gd name="connsiteY7" fmla="*/ 97536 h 329184"/>
                <a:gd name="connsiteX8" fmla="*/ 316992 w 365760"/>
                <a:gd name="connsiteY8" fmla="*/ 128016 h 329184"/>
                <a:gd name="connsiteX9" fmla="*/ 329184 w 365760"/>
                <a:gd name="connsiteY9" fmla="*/ 219456 h 329184"/>
                <a:gd name="connsiteX10" fmla="*/ 237744 w 365760"/>
                <a:gd name="connsiteY10" fmla="*/ 249936 h 329184"/>
                <a:gd name="connsiteX11" fmla="*/ 128016 w 365760"/>
                <a:gd name="connsiteY11" fmla="*/ 256032 h 329184"/>
                <a:gd name="connsiteX12" fmla="*/ 60960 w 365760"/>
                <a:gd name="connsiteY12" fmla="*/ 329184 h 329184"/>
                <a:gd name="connsiteX0" fmla="*/ 60960 w 365760"/>
                <a:gd name="connsiteY0" fmla="*/ 329184 h 329184"/>
                <a:gd name="connsiteX1" fmla="*/ 0 w 365760"/>
                <a:gd name="connsiteY1" fmla="*/ 268224 h 329184"/>
                <a:gd name="connsiteX2" fmla="*/ 48768 w 365760"/>
                <a:gd name="connsiteY2" fmla="*/ 182880 h 329184"/>
                <a:gd name="connsiteX3" fmla="*/ 140208 w 365760"/>
                <a:gd name="connsiteY3" fmla="*/ 103632 h 329184"/>
                <a:gd name="connsiteX4" fmla="*/ 176784 w 365760"/>
                <a:gd name="connsiteY4" fmla="*/ 67056 h 329184"/>
                <a:gd name="connsiteX5" fmla="*/ 237744 w 365760"/>
                <a:gd name="connsiteY5" fmla="*/ 12192 h 329184"/>
                <a:gd name="connsiteX6" fmla="*/ 323088 w 365760"/>
                <a:gd name="connsiteY6" fmla="*/ 0 h 329184"/>
                <a:gd name="connsiteX7" fmla="*/ 365760 w 365760"/>
                <a:gd name="connsiteY7" fmla="*/ 97536 h 329184"/>
                <a:gd name="connsiteX8" fmla="*/ 316992 w 365760"/>
                <a:gd name="connsiteY8" fmla="*/ 128016 h 329184"/>
                <a:gd name="connsiteX9" fmla="*/ 329184 w 365760"/>
                <a:gd name="connsiteY9" fmla="*/ 219456 h 329184"/>
                <a:gd name="connsiteX10" fmla="*/ 237744 w 365760"/>
                <a:gd name="connsiteY10" fmla="*/ 249936 h 329184"/>
                <a:gd name="connsiteX11" fmla="*/ 128016 w 365760"/>
                <a:gd name="connsiteY11" fmla="*/ 256032 h 329184"/>
                <a:gd name="connsiteX12" fmla="*/ 60960 w 365760"/>
                <a:gd name="connsiteY12" fmla="*/ 329184 h 32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760" h="329184">
                  <a:moveTo>
                    <a:pt x="60960" y="329184"/>
                  </a:moveTo>
                  <a:lnTo>
                    <a:pt x="0" y="268224"/>
                  </a:lnTo>
                  <a:lnTo>
                    <a:pt x="48768" y="182880"/>
                  </a:lnTo>
                  <a:cubicBezTo>
                    <a:pt x="83312" y="162560"/>
                    <a:pt x="118872" y="122936"/>
                    <a:pt x="140208" y="103632"/>
                  </a:cubicBezTo>
                  <a:cubicBezTo>
                    <a:pt x="161544" y="84328"/>
                    <a:pt x="164592" y="84328"/>
                    <a:pt x="176784" y="67056"/>
                  </a:cubicBezTo>
                  <a:lnTo>
                    <a:pt x="237744" y="12192"/>
                  </a:lnTo>
                  <a:lnTo>
                    <a:pt x="323088" y="0"/>
                  </a:lnTo>
                  <a:lnTo>
                    <a:pt x="365760" y="97536"/>
                  </a:lnTo>
                  <a:lnTo>
                    <a:pt x="316992" y="128016"/>
                  </a:lnTo>
                  <a:lnTo>
                    <a:pt x="329184" y="219456"/>
                  </a:lnTo>
                  <a:lnTo>
                    <a:pt x="237744" y="249936"/>
                  </a:lnTo>
                  <a:lnTo>
                    <a:pt x="128016" y="256032"/>
                  </a:lnTo>
                  <a:lnTo>
                    <a:pt x="60960" y="329184"/>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6" name="Freeform: Shape 25">
              <a:extLst>
                <a:ext uri="{FF2B5EF4-FFF2-40B4-BE49-F238E27FC236}">
                  <a16:creationId xmlns:a16="http://schemas.microsoft.com/office/drawing/2014/main" id="{BA5AA5EA-AE2D-4E39-865D-67D45002C2BB}"/>
                </a:ext>
              </a:extLst>
            </p:cNvPr>
            <p:cNvSpPr/>
            <p:nvPr/>
          </p:nvSpPr>
          <p:spPr bwMode="gray">
            <a:xfrm>
              <a:off x="6432704" y="1907378"/>
              <a:ext cx="108444" cy="78868"/>
            </a:xfrm>
            <a:custGeom>
              <a:avLst/>
              <a:gdLst>
                <a:gd name="connsiteX0" fmla="*/ 0 w 134112"/>
                <a:gd name="connsiteY0" fmla="*/ 0 h 97536"/>
                <a:gd name="connsiteX1" fmla="*/ 128016 w 134112"/>
                <a:gd name="connsiteY1" fmla="*/ 6096 h 97536"/>
                <a:gd name="connsiteX2" fmla="*/ 134112 w 134112"/>
                <a:gd name="connsiteY2" fmla="*/ 73152 h 97536"/>
                <a:gd name="connsiteX3" fmla="*/ 109728 w 134112"/>
                <a:gd name="connsiteY3" fmla="*/ 97536 h 97536"/>
                <a:gd name="connsiteX4" fmla="*/ 73152 w 134112"/>
                <a:gd name="connsiteY4" fmla="*/ 54864 h 97536"/>
                <a:gd name="connsiteX5" fmla="*/ 24384 w 134112"/>
                <a:gd name="connsiteY5" fmla="*/ 67056 h 97536"/>
                <a:gd name="connsiteX6" fmla="*/ 0 w 134112"/>
                <a:gd name="connsiteY6" fmla="*/ 0 h 9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112" h="97536">
                  <a:moveTo>
                    <a:pt x="0" y="0"/>
                  </a:moveTo>
                  <a:lnTo>
                    <a:pt x="128016" y="6096"/>
                  </a:lnTo>
                  <a:lnTo>
                    <a:pt x="134112" y="73152"/>
                  </a:lnTo>
                  <a:lnTo>
                    <a:pt x="109728" y="97536"/>
                  </a:lnTo>
                  <a:lnTo>
                    <a:pt x="73152" y="54864"/>
                  </a:lnTo>
                  <a:lnTo>
                    <a:pt x="24384" y="67056"/>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7" name="Freeform: Shape 26">
              <a:extLst>
                <a:ext uri="{FF2B5EF4-FFF2-40B4-BE49-F238E27FC236}">
                  <a16:creationId xmlns:a16="http://schemas.microsoft.com/office/drawing/2014/main" id="{3A1CBB6E-C3A0-46BD-92BC-7ED4730F267E}"/>
                </a:ext>
              </a:extLst>
            </p:cNvPr>
            <p:cNvSpPr/>
            <p:nvPr/>
          </p:nvSpPr>
          <p:spPr bwMode="gray">
            <a:xfrm>
              <a:off x="6411481" y="2000433"/>
              <a:ext cx="78813" cy="48090"/>
            </a:xfrm>
            <a:custGeom>
              <a:avLst/>
              <a:gdLst>
                <a:gd name="connsiteX0" fmla="*/ 42672 w 164592"/>
                <a:gd name="connsiteY0" fmla="*/ 146304 h 176784"/>
                <a:gd name="connsiteX1" fmla="*/ 164592 w 164592"/>
                <a:gd name="connsiteY1" fmla="*/ 176784 h 176784"/>
                <a:gd name="connsiteX2" fmla="*/ 121920 w 164592"/>
                <a:gd name="connsiteY2" fmla="*/ 0 h 176784"/>
                <a:gd name="connsiteX3" fmla="*/ 30480 w 164592"/>
                <a:gd name="connsiteY3" fmla="*/ 12192 h 176784"/>
                <a:gd name="connsiteX4" fmla="*/ 0 w 164592"/>
                <a:gd name="connsiteY4" fmla="*/ 91440 h 176784"/>
                <a:gd name="connsiteX5" fmla="*/ 42672 w 164592"/>
                <a:gd name="connsiteY5" fmla="*/ 146304 h 176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4592" h="176784">
                  <a:moveTo>
                    <a:pt x="42672" y="146304"/>
                  </a:moveTo>
                  <a:lnTo>
                    <a:pt x="164592" y="176784"/>
                  </a:lnTo>
                  <a:lnTo>
                    <a:pt x="121920" y="0"/>
                  </a:lnTo>
                  <a:lnTo>
                    <a:pt x="30480" y="12192"/>
                  </a:lnTo>
                  <a:lnTo>
                    <a:pt x="0" y="91440"/>
                  </a:lnTo>
                  <a:lnTo>
                    <a:pt x="42672" y="146304"/>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8" name="Freeform: Shape 27">
              <a:extLst>
                <a:ext uri="{FF2B5EF4-FFF2-40B4-BE49-F238E27FC236}">
                  <a16:creationId xmlns:a16="http://schemas.microsoft.com/office/drawing/2014/main" id="{21F832C0-90FD-4A8E-B305-6D25A5592C2C}"/>
                </a:ext>
              </a:extLst>
            </p:cNvPr>
            <p:cNvSpPr/>
            <p:nvPr/>
          </p:nvSpPr>
          <p:spPr bwMode="gray">
            <a:xfrm>
              <a:off x="6712510" y="1968307"/>
              <a:ext cx="167959" cy="78868"/>
            </a:xfrm>
            <a:custGeom>
              <a:avLst/>
              <a:gdLst>
                <a:gd name="connsiteX0" fmla="*/ 0 w 701040"/>
                <a:gd name="connsiteY0" fmla="*/ 48768 h 329184"/>
                <a:gd name="connsiteX1" fmla="*/ 158496 w 701040"/>
                <a:gd name="connsiteY1" fmla="*/ 146304 h 329184"/>
                <a:gd name="connsiteX2" fmla="*/ 134112 w 701040"/>
                <a:gd name="connsiteY2" fmla="*/ 231648 h 329184"/>
                <a:gd name="connsiteX3" fmla="*/ 274320 w 701040"/>
                <a:gd name="connsiteY3" fmla="*/ 274320 h 329184"/>
                <a:gd name="connsiteX4" fmla="*/ 420624 w 701040"/>
                <a:gd name="connsiteY4" fmla="*/ 329184 h 329184"/>
                <a:gd name="connsiteX5" fmla="*/ 518160 w 701040"/>
                <a:gd name="connsiteY5" fmla="*/ 286512 h 329184"/>
                <a:gd name="connsiteX6" fmla="*/ 676656 w 701040"/>
                <a:gd name="connsiteY6" fmla="*/ 292608 h 329184"/>
                <a:gd name="connsiteX7" fmla="*/ 701040 w 701040"/>
                <a:gd name="connsiteY7" fmla="*/ 170688 h 329184"/>
                <a:gd name="connsiteX8" fmla="*/ 402336 w 701040"/>
                <a:gd name="connsiteY8" fmla="*/ 30480 h 329184"/>
                <a:gd name="connsiteX9" fmla="*/ 390144 w 701040"/>
                <a:gd name="connsiteY9" fmla="*/ 91440 h 329184"/>
                <a:gd name="connsiteX10" fmla="*/ 115824 w 701040"/>
                <a:gd name="connsiteY10" fmla="*/ 0 h 329184"/>
                <a:gd name="connsiteX11" fmla="*/ 0 w 701040"/>
                <a:gd name="connsiteY11" fmla="*/ 48768 h 32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1040" h="329184">
                  <a:moveTo>
                    <a:pt x="0" y="48768"/>
                  </a:moveTo>
                  <a:lnTo>
                    <a:pt x="158496" y="146304"/>
                  </a:lnTo>
                  <a:lnTo>
                    <a:pt x="134112" y="231648"/>
                  </a:lnTo>
                  <a:lnTo>
                    <a:pt x="274320" y="274320"/>
                  </a:lnTo>
                  <a:lnTo>
                    <a:pt x="420624" y="329184"/>
                  </a:lnTo>
                  <a:lnTo>
                    <a:pt x="518160" y="286512"/>
                  </a:lnTo>
                  <a:lnTo>
                    <a:pt x="676656" y="292608"/>
                  </a:lnTo>
                  <a:lnTo>
                    <a:pt x="701040" y="170688"/>
                  </a:lnTo>
                  <a:lnTo>
                    <a:pt x="402336" y="30480"/>
                  </a:lnTo>
                  <a:lnTo>
                    <a:pt x="390144" y="91440"/>
                  </a:lnTo>
                  <a:lnTo>
                    <a:pt x="115824" y="0"/>
                  </a:lnTo>
                  <a:lnTo>
                    <a:pt x="0" y="48768"/>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29" name="Freeform: Shape 28">
              <a:extLst>
                <a:ext uri="{FF2B5EF4-FFF2-40B4-BE49-F238E27FC236}">
                  <a16:creationId xmlns:a16="http://schemas.microsoft.com/office/drawing/2014/main" id="{73614890-550F-465A-A93F-0796A0CDACF0}"/>
                </a:ext>
              </a:extLst>
            </p:cNvPr>
            <p:cNvSpPr/>
            <p:nvPr/>
          </p:nvSpPr>
          <p:spPr bwMode="gray">
            <a:xfrm rot="737239">
              <a:off x="6546832" y="2089910"/>
              <a:ext cx="215473" cy="88925"/>
            </a:xfrm>
            <a:custGeom>
              <a:avLst/>
              <a:gdLst>
                <a:gd name="connsiteX0" fmla="*/ 97536 w 768096"/>
                <a:gd name="connsiteY0" fmla="*/ 0 h 316992"/>
                <a:gd name="connsiteX1" fmla="*/ 0 w 768096"/>
                <a:gd name="connsiteY1" fmla="*/ 60960 h 316992"/>
                <a:gd name="connsiteX2" fmla="*/ 36576 w 768096"/>
                <a:gd name="connsiteY2" fmla="*/ 158496 h 316992"/>
                <a:gd name="connsiteX3" fmla="*/ 231648 w 768096"/>
                <a:gd name="connsiteY3" fmla="*/ 219456 h 316992"/>
                <a:gd name="connsiteX4" fmla="*/ 298704 w 768096"/>
                <a:gd name="connsiteY4" fmla="*/ 188976 h 316992"/>
                <a:gd name="connsiteX5" fmla="*/ 359664 w 768096"/>
                <a:gd name="connsiteY5" fmla="*/ 256032 h 316992"/>
                <a:gd name="connsiteX6" fmla="*/ 542544 w 768096"/>
                <a:gd name="connsiteY6" fmla="*/ 316992 h 316992"/>
                <a:gd name="connsiteX7" fmla="*/ 603504 w 768096"/>
                <a:gd name="connsiteY7" fmla="*/ 256032 h 316992"/>
                <a:gd name="connsiteX8" fmla="*/ 731520 w 768096"/>
                <a:gd name="connsiteY8" fmla="*/ 256032 h 316992"/>
                <a:gd name="connsiteX9" fmla="*/ 768096 w 768096"/>
                <a:gd name="connsiteY9" fmla="*/ 188976 h 316992"/>
                <a:gd name="connsiteX10" fmla="*/ 725424 w 768096"/>
                <a:gd name="connsiteY10" fmla="*/ 60960 h 316992"/>
                <a:gd name="connsiteX11" fmla="*/ 603504 w 768096"/>
                <a:gd name="connsiteY11" fmla="*/ 67056 h 316992"/>
                <a:gd name="connsiteX12" fmla="*/ 97536 w 768096"/>
                <a:gd name="connsiteY12" fmla="*/ 0 h 31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68096" h="316992">
                  <a:moveTo>
                    <a:pt x="97536" y="0"/>
                  </a:moveTo>
                  <a:lnTo>
                    <a:pt x="0" y="60960"/>
                  </a:lnTo>
                  <a:lnTo>
                    <a:pt x="36576" y="158496"/>
                  </a:lnTo>
                  <a:lnTo>
                    <a:pt x="231648" y="219456"/>
                  </a:lnTo>
                  <a:lnTo>
                    <a:pt x="298704" y="188976"/>
                  </a:lnTo>
                  <a:lnTo>
                    <a:pt x="359664" y="256032"/>
                  </a:lnTo>
                  <a:lnTo>
                    <a:pt x="542544" y="316992"/>
                  </a:lnTo>
                  <a:lnTo>
                    <a:pt x="603504" y="256032"/>
                  </a:lnTo>
                  <a:lnTo>
                    <a:pt x="731520" y="256032"/>
                  </a:lnTo>
                  <a:lnTo>
                    <a:pt x="768096" y="188976"/>
                  </a:lnTo>
                  <a:lnTo>
                    <a:pt x="725424" y="60960"/>
                  </a:lnTo>
                  <a:lnTo>
                    <a:pt x="603504" y="67056"/>
                  </a:lnTo>
                  <a:lnTo>
                    <a:pt x="97536"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0" name="Freeform: Shape 29">
              <a:extLst>
                <a:ext uri="{FF2B5EF4-FFF2-40B4-BE49-F238E27FC236}">
                  <a16:creationId xmlns:a16="http://schemas.microsoft.com/office/drawing/2014/main" id="{34C0B5E3-CECD-4207-8F3F-60DAEF24B238}"/>
                </a:ext>
              </a:extLst>
            </p:cNvPr>
            <p:cNvSpPr/>
            <p:nvPr/>
          </p:nvSpPr>
          <p:spPr bwMode="gray">
            <a:xfrm>
              <a:off x="6438093" y="2100796"/>
              <a:ext cx="52636" cy="59216"/>
            </a:xfrm>
            <a:custGeom>
              <a:avLst/>
              <a:gdLst>
                <a:gd name="connsiteX0" fmla="*/ 0 w 97536"/>
                <a:gd name="connsiteY0" fmla="*/ 67056 h 109728"/>
                <a:gd name="connsiteX1" fmla="*/ 97536 w 97536"/>
                <a:gd name="connsiteY1" fmla="*/ 109728 h 109728"/>
                <a:gd name="connsiteX2" fmla="*/ 97536 w 97536"/>
                <a:gd name="connsiteY2" fmla="*/ 48768 h 109728"/>
                <a:gd name="connsiteX3" fmla="*/ 54864 w 97536"/>
                <a:gd name="connsiteY3" fmla="*/ 0 h 109728"/>
                <a:gd name="connsiteX4" fmla="*/ 0 w 97536"/>
                <a:gd name="connsiteY4" fmla="*/ 67056 h 1097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36" h="109728">
                  <a:moveTo>
                    <a:pt x="0" y="67056"/>
                  </a:moveTo>
                  <a:lnTo>
                    <a:pt x="97536" y="109728"/>
                  </a:lnTo>
                  <a:lnTo>
                    <a:pt x="97536" y="48768"/>
                  </a:lnTo>
                  <a:lnTo>
                    <a:pt x="54864" y="0"/>
                  </a:lnTo>
                  <a:lnTo>
                    <a:pt x="0" y="67056"/>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1" name="Freeform: Shape 30">
              <a:extLst>
                <a:ext uri="{FF2B5EF4-FFF2-40B4-BE49-F238E27FC236}">
                  <a16:creationId xmlns:a16="http://schemas.microsoft.com/office/drawing/2014/main" id="{F87A6A23-B060-4B5D-A168-7CE34EE40B53}"/>
                </a:ext>
              </a:extLst>
            </p:cNvPr>
            <p:cNvSpPr/>
            <p:nvPr/>
          </p:nvSpPr>
          <p:spPr bwMode="gray">
            <a:xfrm rot="9820716">
              <a:off x="5801832" y="1015707"/>
              <a:ext cx="134104" cy="812625"/>
            </a:xfrm>
            <a:custGeom>
              <a:avLst/>
              <a:gdLst>
                <a:gd name="connsiteX0" fmla="*/ 15784 w 134104"/>
                <a:gd name="connsiteY0" fmla="*/ 812625 h 812625"/>
                <a:gd name="connsiteX1" fmla="*/ 0 w 134104"/>
                <a:gd name="connsiteY1" fmla="*/ 0 h 812625"/>
                <a:gd name="connsiteX2" fmla="*/ 134104 w 134104"/>
                <a:gd name="connsiteY2" fmla="*/ 732355 h 812625"/>
              </a:gdLst>
              <a:ahLst/>
              <a:cxnLst>
                <a:cxn ang="0">
                  <a:pos x="connsiteX0" y="connsiteY0"/>
                </a:cxn>
                <a:cxn ang="0">
                  <a:pos x="connsiteX1" y="connsiteY1"/>
                </a:cxn>
                <a:cxn ang="0">
                  <a:pos x="connsiteX2" y="connsiteY2"/>
                </a:cxn>
              </a:cxnLst>
              <a:rect l="l" t="t" r="r" b="b"/>
              <a:pathLst>
                <a:path w="134104" h="812625">
                  <a:moveTo>
                    <a:pt x="15784" y="812625"/>
                  </a:moveTo>
                  <a:lnTo>
                    <a:pt x="0" y="0"/>
                  </a:lnTo>
                  <a:lnTo>
                    <a:pt x="134104" y="732355"/>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2" name="Freeform: Shape 31">
              <a:extLst>
                <a:ext uri="{FF2B5EF4-FFF2-40B4-BE49-F238E27FC236}">
                  <a16:creationId xmlns:a16="http://schemas.microsoft.com/office/drawing/2014/main" id="{6F044520-B41A-4F96-866D-A74DC87F5E50}"/>
                </a:ext>
              </a:extLst>
            </p:cNvPr>
            <p:cNvSpPr/>
            <p:nvPr/>
          </p:nvSpPr>
          <p:spPr bwMode="gray">
            <a:xfrm rot="12956299">
              <a:off x="6539059" y="744710"/>
              <a:ext cx="120081" cy="963144"/>
            </a:xfrm>
            <a:custGeom>
              <a:avLst/>
              <a:gdLst>
                <a:gd name="connsiteX0" fmla="*/ 120081 w 120081"/>
                <a:gd name="connsiteY0" fmla="*/ 947451 h 963144"/>
                <a:gd name="connsiteX1" fmla="*/ 0 w 120081"/>
                <a:gd name="connsiteY1" fmla="*/ 963144 h 963144"/>
                <a:gd name="connsiteX2" fmla="*/ 53941 w 120081"/>
                <a:gd name="connsiteY2" fmla="*/ 0 h 963144"/>
              </a:gdLst>
              <a:ahLst/>
              <a:cxnLst>
                <a:cxn ang="0">
                  <a:pos x="connsiteX0" y="connsiteY0"/>
                </a:cxn>
                <a:cxn ang="0">
                  <a:pos x="connsiteX1" y="connsiteY1"/>
                </a:cxn>
                <a:cxn ang="0">
                  <a:pos x="connsiteX2" y="connsiteY2"/>
                </a:cxn>
              </a:cxnLst>
              <a:rect l="l" t="t" r="r" b="b"/>
              <a:pathLst>
                <a:path w="120081" h="963144">
                  <a:moveTo>
                    <a:pt x="120081" y="947451"/>
                  </a:moveTo>
                  <a:lnTo>
                    <a:pt x="0" y="963144"/>
                  </a:lnTo>
                  <a:lnTo>
                    <a:pt x="5394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3" name="Freeform: Shape 32">
              <a:extLst>
                <a:ext uri="{FF2B5EF4-FFF2-40B4-BE49-F238E27FC236}">
                  <a16:creationId xmlns:a16="http://schemas.microsoft.com/office/drawing/2014/main" id="{71824C9E-CFF8-4C6A-B68B-9D82ECB50CDA}"/>
                </a:ext>
              </a:extLst>
            </p:cNvPr>
            <p:cNvSpPr/>
            <p:nvPr/>
          </p:nvSpPr>
          <p:spPr bwMode="gray">
            <a:xfrm rot="15733897">
              <a:off x="6885486" y="1337560"/>
              <a:ext cx="109401" cy="880347"/>
            </a:xfrm>
            <a:custGeom>
              <a:avLst/>
              <a:gdLst>
                <a:gd name="connsiteX0" fmla="*/ 109401 w 109401"/>
                <a:gd name="connsiteY0" fmla="*/ 880347 h 880347"/>
                <a:gd name="connsiteX1" fmla="*/ 34404 w 109401"/>
                <a:gd name="connsiteY1" fmla="*/ 866232 h 880347"/>
                <a:gd name="connsiteX2" fmla="*/ 0 w 109401"/>
                <a:gd name="connsiteY2" fmla="*/ 856076 h 880347"/>
                <a:gd name="connsiteX3" fmla="*/ 47945 w 109401"/>
                <a:gd name="connsiteY3" fmla="*/ 0 h 880347"/>
              </a:gdLst>
              <a:ahLst/>
              <a:cxnLst>
                <a:cxn ang="0">
                  <a:pos x="connsiteX0" y="connsiteY0"/>
                </a:cxn>
                <a:cxn ang="0">
                  <a:pos x="connsiteX1" y="connsiteY1"/>
                </a:cxn>
                <a:cxn ang="0">
                  <a:pos x="connsiteX2" y="connsiteY2"/>
                </a:cxn>
                <a:cxn ang="0">
                  <a:pos x="connsiteX3" y="connsiteY3"/>
                </a:cxn>
              </a:cxnLst>
              <a:rect l="l" t="t" r="r" b="b"/>
              <a:pathLst>
                <a:path w="109401" h="880347">
                  <a:moveTo>
                    <a:pt x="109401" y="880347"/>
                  </a:moveTo>
                  <a:lnTo>
                    <a:pt x="34404" y="866232"/>
                  </a:lnTo>
                  <a:lnTo>
                    <a:pt x="0" y="856076"/>
                  </a:lnTo>
                  <a:lnTo>
                    <a:pt x="47945"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4" name="Freeform: Shape 33">
              <a:extLst>
                <a:ext uri="{FF2B5EF4-FFF2-40B4-BE49-F238E27FC236}">
                  <a16:creationId xmlns:a16="http://schemas.microsoft.com/office/drawing/2014/main" id="{36B4E9E2-63B7-4AD6-8ACE-9B8C646CFF8E}"/>
                </a:ext>
              </a:extLst>
            </p:cNvPr>
            <p:cNvSpPr/>
            <p:nvPr/>
          </p:nvSpPr>
          <p:spPr bwMode="gray">
            <a:xfrm rot="16200000">
              <a:off x="6764870" y="1380436"/>
              <a:ext cx="128826" cy="1040982"/>
            </a:xfrm>
            <a:custGeom>
              <a:avLst/>
              <a:gdLst>
                <a:gd name="connsiteX0" fmla="*/ 128826 w 128826"/>
                <a:gd name="connsiteY0" fmla="*/ 1040982 h 1040982"/>
                <a:gd name="connsiteX1" fmla="*/ 47447 w 128826"/>
                <a:gd name="connsiteY1" fmla="*/ 1020058 h 1040982"/>
                <a:gd name="connsiteX2" fmla="*/ 0 w 128826"/>
                <a:gd name="connsiteY2" fmla="*/ 1002692 h 1040982"/>
                <a:gd name="connsiteX3" fmla="*/ 56156 w 128826"/>
                <a:gd name="connsiteY3" fmla="*/ 0 h 1040982"/>
              </a:gdLst>
              <a:ahLst/>
              <a:cxnLst>
                <a:cxn ang="0">
                  <a:pos x="connsiteX0" y="connsiteY0"/>
                </a:cxn>
                <a:cxn ang="0">
                  <a:pos x="connsiteX1" y="connsiteY1"/>
                </a:cxn>
                <a:cxn ang="0">
                  <a:pos x="connsiteX2" y="connsiteY2"/>
                </a:cxn>
                <a:cxn ang="0">
                  <a:pos x="connsiteX3" y="connsiteY3"/>
                </a:cxn>
              </a:cxnLst>
              <a:rect l="l" t="t" r="r" b="b"/>
              <a:pathLst>
                <a:path w="128826" h="1040982">
                  <a:moveTo>
                    <a:pt x="128826" y="1040982"/>
                  </a:moveTo>
                  <a:lnTo>
                    <a:pt x="47447" y="1020058"/>
                  </a:lnTo>
                  <a:lnTo>
                    <a:pt x="0" y="1002692"/>
                  </a:lnTo>
                  <a:lnTo>
                    <a:pt x="56156"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5" name="Freeform: Shape 34">
              <a:extLst>
                <a:ext uri="{FF2B5EF4-FFF2-40B4-BE49-F238E27FC236}">
                  <a16:creationId xmlns:a16="http://schemas.microsoft.com/office/drawing/2014/main" id="{AF38425F-6C1C-41FF-AAA6-D1B380F1A305}"/>
                </a:ext>
              </a:extLst>
            </p:cNvPr>
            <p:cNvSpPr/>
            <p:nvPr/>
          </p:nvSpPr>
          <p:spPr bwMode="gray">
            <a:xfrm rot="16911285">
              <a:off x="6708103" y="1646993"/>
              <a:ext cx="77292" cy="923284"/>
            </a:xfrm>
            <a:custGeom>
              <a:avLst/>
              <a:gdLst>
                <a:gd name="connsiteX0" fmla="*/ 33551 w 77292"/>
                <a:gd name="connsiteY0" fmla="*/ 0 h 923284"/>
                <a:gd name="connsiteX1" fmla="*/ 77292 w 77292"/>
                <a:gd name="connsiteY1" fmla="*/ 923284 h 923284"/>
                <a:gd name="connsiteX2" fmla="*/ 0 w 77292"/>
                <a:gd name="connsiteY2" fmla="*/ 882756 h 923284"/>
              </a:gdLst>
              <a:ahLst/>
              <a:cxnLst>
                <a:cxn ang="0">
                  <a:pos x="connsiteX0" y="connsiteY0"/>
                </a:cxn>
                <a:cxn ang="0">
                  <a:pos x="connsiteX1" y="connsiteY1"/>
                </a:cxn>
                <a:cxn ang="0">
                  <a:pos x="connsiteX2" y="connsiteY2"/>
                </a:cxn>
              </a:cxnLst>
              <a:rect l="l" t="t" r="r" b="b"/>
              <a:pathLst>
                <a:path w="77292" h="923284">
                  <a:moveTo>
                    <a:pt x="33551" y="0"/>
                  </a:moveTo>
                  <a:lnTo>
                    <a:pt x="77292" y="923284"/>
                  </a:lnTo>
                  <a:lnTo>
                    <a:pt x="0" y="882756"/>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6" name="Freeform: Shape 35">
              <a:extLst>
                <a:ext uri="{FF2B5EF4-FFF2-40B4-BE49-F238E27FC236}">
                  <a16:creationId xmlns:a16="http://schemas.microsoft.com/office/drawing/2014/main" id="{BB32967C-EC3F-40DD-90EC-E78C3CB5AB46}"/>
                </a:ext>
              </a:extLst>
            </p:cNvPr>
            <p:cNvSpPr/>
            <p:nvPr/>
          </p:nvSpPr>
          <p:spPr bwMode="gray">
            <a:xfrm rot="18000000">
              <a:off x="6527178" y="1805059"/>
              <a:ext cx="138311" cy="844749"/>
            </a:xfrm>
            <a:custGeom>
              <a:avLst/>
              <a:gdLst>
                <a:gd name="connsiteX0" fmla="*/ 56993 w 138311"/>
                <a:gd name="connsiteY0" fmla="*/ 0 h 844749"/>
                <a:gd name="connsiteX1" fmla="*/ 138311 w 138311"/>
                <a:gd name="connsiteY1" fmla="*/ 844749 h 844749"/>
                <a:gd name="connsiteX2" fmla="*/ 103939 w 138311"/>
                <a:gd name="connsiteY2" fmla="*/ 831916 h 844749"/>
                <a:gd name="connsiteX3" fmla="*/ 26917 w 138311"/>
                <a:gd name="connsiteY3" fmla="*/ 789711 h 844749"/>
                <a:gd name="connsiteX4" fmla="*/ 0 w 138311"/>
                <a:gd name="connsiteY4" fmla="*/ 771364 h 844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11" h="844749">
                  <a:moveTo>
                    <a:pt x="56993" y="0"/>
                  </a:moveTo>
                  <a:lnTo>
                    <a:pt x="138311" y="844749"/>
                  </a:lnTo>
                  <a:lnTo>
                    <a:pt x="103939" y="831916"/>
                  </a:lnTo>
                  <a:cubicBezTo>
                    <a:pt x="77662" y="819124"/>
                    <a:pt x="51953" y="805046"/>
                    <a:pt x="26917" y="789711"/>
                  </a:cubicBezTo>
                  <a:lnTo>
                    <a:pt x="0" y="771364"/>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7" name="Freeform: Shape 36">
              <a:extLst>
                <a:ext uri="{FF2B5EF4-FFF2-40B4-BE49-F238E27FC236}">
                  <a16:creationId xmlns:a16="http://schemas.microsoft.com/office/drawing/2014/main" id="{9F6BF8A0-754E-4CBB-A532-F2821610FA18}"/>
                </a:ext>
              </a:extLst>
            </p:cNvPr>
            <p:cNvSpPr/>
            <p:nvPr/>
          </p:nvSpPr>
          <p:spPr bwMode="gray">
            <a:xfrm>
              <a:off x="6210943" y="740449"/>
              <a:ext cx="463814" cy="992027"/>
            </a:xfrm>
            <a:custGeom>
              <a:avLst/>
              <a:gdLst>
                <a:gd name="connsiteX0" fmla="*/ 320948 w 463814"/>
                <a:gd name="connsiteY0" fmla="*/ 0 h 992027"/>
                <a:gd name="connsiteX1" fmla="*/ 341531 w 463814"/>
                <a:gd name="connsiteY1" fmla="*/ 1039 h 992027"/>
                <a:gd name="connsiteX2" fmla="*/ 431924 w 463814"/>
                <a:gd name="connsiteY2" fmla="*/ 14835 h 992027"/>
                <a:gd name="connsiteX3" fmla="*/ 463814 w 463814"/>
                <a:gd name="connsiteY3" fmla="*/ 23035 h 992027"/>
                <a:gd name="connsiteX4" fmla="*/ 0 w 463814"/>
                <a:gd name="connsiteY4" fmla="*/ 992027 h 992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814" h="992027">
                  <a:moveTo>
                    <a:pt x="320948" y="0"/>
                  </a:moveTo>
                  <a:lnTo>
                    <a:pt x="341531" y="1039"/>
                  </a:lnTo>
                  <a:cubicBezTo>
                    <a:pt x="372135" y="4147"/>
                    <a:pt x="402292" y="8771"/>
                    <a:pt x="431924" y="14835"/>
                  </a:cubicBezTo>
                  <a:lnTo>
                    <a:pt x="463814" y="23035"/>
                  </a:lnTo>
                  <a:lnTo>
                    <a:pt x="0" y="992027"/>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8" name="Freeform: Shape 37">
              <a:extLst>
                <a:ext uri="{FF2B5EF4-FFF2-40B4-BE49-F238E27FC236}">
                  <a16:creationId xmlns:a16="http://schemas.microsoft.com/office/drawing/2014/main" id="{048E8ABC-4F4D-4F37-8CB5-F699958BC638}"/>
                </a:ext>
              </a:extLst>
            </p:cNvPr>
            <p:cNvSpPr/>
            <p:nvPr/>
          </p:nvSpPr>
          <p:spPr bwMode="gray">
            <a:xfrm>
              <a:off x="5910240" y="755443"/>
              <a:ext cx="365060" cy="1029835"/>
            </a:xfrm>
            <a:custGeom>
              <a:avLst/>
              <a:gdLst>
                <a:gd name="connsiteX0" fmla="*/ 365060 w 365060"/>
                <a:gd name="connsiteY0" fmla="*/ 0 h 1029835"/>
                <a:gd name="connsiteX1" fmla="*/ 183902 w 365060"/>
                <a:gd name="connsiteY1" fmla="*/ 1029835 h 1029835"/>
                <a:gd name="connsiteX2" fmla="*/ 194299 w 365060"/>
                <a:gd name="connsiteY2" fmla="*/ 839107 h 1029835"/>
                <a:gd name="connsiteX3" fmla="*/ 151232 w 365060"/>
                <a:gd name="connsiteY3" fmla="*/ 896530 h 1029835"/>
                <a:gd name="connsiteX4" fmla="*/ 149134 w 365060"/>
                <a:gd name="connsiteY4" fmla="*/ 890469 h 1029835"/>
                <a:gd name="connsiteX5" fmla="*/ 118219 w 365060"/>
                <a:gd name="connsiteY5" fmla="*/ 801161 h 1029835"/>
                <a:gd name="connsiteX6" fmla="*/ 107794 w 365060"/>
                <a:gd name="connsiteY6" fmla="*/ 771043 h 1029835"/>
                <a:gd name="connsiteX7" fmla="*/ 104513 w 365060"/>
                <a:gd name="connsiteY7" fmla="*/ 727977 h 1029835"/>
                <a:gd name="connsiteX8" fmla="*/ 0 w 365060"/>
                <a:gd name="connsiteY8" fmla="*/ 169949 h 1029835"/>
                <a:gd name="connsiteX9" fmla="*/ 40147 w 365060"/>
                <a:gd name="connsiteY9" fmla="*/ 136825 h 1029835"/>
                <a:gd name="connsiteX10" fmla="*/ 79792 w 365060"/>
                <a:gd name="connsiteY10" fmla="*/ 115306 h 1029835"/>
                <a:gd name="connsiteX11" fmla="*/ 88743 w 365060"/>
                <a:gd name="connsiteY11" fmla="*/ 215371 h 1029835"/>
                <a:gd name="connsiteX12" fmla="*/ 107794 w 365060"/>
                <a:gd name="connsiteY12" fmla="*/ 167743 h 1029835"/>
                <a:gd name="connsiteX13" fmla="*/ 151232 w 365060"/>
                <a:gd name="connsiteY13" fmla="*/ 182222 h 1029835"/>
                <a:gd name="connsiteX14" fmla="*/ 146405 w 365060"/>
                <a:gd name="connsiteY14" fmla="*/ 124305 h 1029835"/>
                <a:gd name="connsiteX15" fmla="*/ 213975 w 365060"/>
                <a:gd name="connsiteY15" fmla="*/ 80868 h 1029835"/>
                <a:gd name="connsiteX16" fmla="*/ 230429 w 365060"/>
                <a:gd name="connsiteY16" fmla="*/ 176299 h 1029835"/>
                <a:gd name="connsiteX17" fmla="*/ 238019 w 365060"/>
                <a:gd name="connsiteY17" fmla="*/ 37066 h 1029835"/>
                <a:gd name="connsiteX18" fmla="*/ 278431 w 365060"/>
                <a:gd name="connsiteY18" fmla="*/ 22274 h 102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5060" h="1029835">
                  <a:moveTo>
                    <a:pt x="365060" y="0"/>
                  </a:moveTo>
                  <a:lnTo>
                    <a:pt x="183902" y="1029835"/>
                  </a:lnTo>
                  <a:lnTo>
                    <a:pt x="194299" y="839107"/>
                  </a:lnTo>
                  <a:lnTo>
                    <a:pt x="151232" y="896530"/>
                  </a:lnTo>
                  <a:lnTo>
                    <a:pt x="149134" y="890469"/>
                  </a:lnTo>
                  <a:lnTo>
                    <a:pt x="118219" y="801161"/>
                  </a:lnTo>
                  <a:lnTo>
                    <a:pt x="107794" y="771043"/>
                  </a:lnTo>
                  <a:lnTo>
                    <a:pt x="104513" y="727977"/>
                  </a:lnTo>
                  <a:lnTo>
                    <a:pt x="0" y="169949"/>
                  </a:lnTo>
                  <a:lnTo>
                    <a:pt x="40147" y="136825"/>
                  </a:lnTo>
                  <a:lnTo>
                    <a:pt x="79792" y="115306"/>
                  </a:lnTo>
                  <a:lnTo>
                    <a:pt x="88743" y="215371"/>
                  </a:lnTo>
                  <a:lnTo>
                    <a:pt x="107794" y="167743"/>
                  </a:lnTo>
                  <a:lnTo>
                    <a:pt x="151232" y="182222"/>
                  </a:lnTo>
                  <a:lnTo>
                    <a:pt x="146405" y="124305"/>
                  </a:lnTo>
                  <a:lnTo>
                    <a:pt x="213975" y="80868"/>
                  </a:lnTo>
                  <a:lnTo>
                    <a:pt x="230429" y="176299"/>
                  </a:lnTo>
                  <a:lnTo>
                    <a:pt x="238019" y="37066"/>
                  </a:lnTo>
                  <a:lnTo>
                    <a:pt x="278431" y="22274"/>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9" name="Oval 38">
              <a:extLst>
                <a:ext uri="{FF2B5EF4-FFF2-40B4-BE49-F238E27FC236}">
                  <a16:creationId xmlns:a16="http://schemas.microsoft.com/office/drawing/2014/main" id="{41261416-E030-4CCC-A3A9-095B33BF4DA6}"/>
                </a:ext>
              </a:extLst>
            </p:cNvPr>
            <p:cNvSpPr/>
            <p:nvPr/>
          </p:nvSpPr>
          <p:spPr bwMode="gray">
            <a:xfrm>
              <a:off x="5549006" y="736787"/>
              <a:ext cx="1820772" cy="1820772"/>
            </a:xfrm>
            <a:prstGeom prst="ellipse">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grpSp>
        <p:nvGrpSpPr>
          <p:cNvPr id="42" name="Group 41">
            <a:extLst>
              <a:ext uri="{FF2B5EF4-FFF2-40B4-BE49-F238E27FC236}">
                <a16:creationId xmlns:a16="http://schemas.microsoft.com/office/drawing/2014/main" id="{8403C343-7B6E-4734-B031-095219B943B2}"/>
              </a:ext>
            </a:extLst>
          </p:cNvPr>
          <p:cNvGrpSpPr/>
          <p:nvPr/>
        </p:nvGrpSpPr>
        <p:grpSpPr bwMode="gray">
          <a:xfrm>
            <a:off x="6286006" y="1955201"/>
            <a:ext cx="754706" cy="632356"/>
            <a:chOff x="9804190" y="3922559"/>
            <a:chExt cx="374768" cy="314012"/>
          </a:xfrm>
        </p:grpSpPr>
        <p:grpSp>
          <p:nvGrpSpPr>
            <p:cNvPr id="43" name="Group 42">
              <a:extLst>
                <a:ext uri="{FF2B5EF4-FFF2-40B4-BE49-F238E27FC236}">
                  <a16:creationId xmlns:a16="http://schemas.microsoft.com/office/drawing/2014/main" id="{BA55FEBD-C38D-4FDD-990F-E32B0943E1F6}"/>
                </a:ext>
              </a:extLst>
            </p:cNvPr>
            <p:cNvGrpSpPr/>
            <p:nvPr/>
          </p:nvGrpSpPr>
          <p:grpSpPr bwMode="gray">
            <a:xfrm>
              <a:off x="9804190" y="3922559"/>
              <a:ext cx="374768" cy="314012"/>
              <a:chOff x="5382466" y="2044232"/>
              <a:chExt cx="937763" cy="785738"/>
            </a:xfrm>
            <a:solidFill>
              <a:schemeClr val="tx1"/>
            </a:solidFill>
          </p:grpSpPr>
          <p:grpSp>
            <p:nvGrpSpPr>
              <p:cNvPr id="45" name="Gruppieren 3076">
                <a:extLst>
                  <a:ext uri="{FF2B5EF4-FFF2-40B4-BE49-F238E27FC236}">
                    <a16:creationId xmlns:a16="http://schemas.microsoft.com/office/drawing/2014/main" id="{AE6A5C74-5729-417E-A22C-5F2D0935AA50}"/>
                  </a:ext>
                </a:extLst>
              </p:cNvPr>
              <p:cNvGrpSpPr/>
              <p:nvPr/>
            </p:nvGrpSpPr>
            <p:grpSpPr bwMode="gray">
              <a:xfrm>
                <a:off x="5624826" y="2208674"/>
                <a:ext cx="453043" cy="460345"/>
                <a:chOff x="6433785" y="4335053"/>
                <a:chExt cx="453043" cy="460345"/>
              </a:xfrm>
              <a:grpFill/>
            </p:grpSpPr>
            <p:sp>
              <p:nvSpPr>
                <p:cNvPr id="47" name="Rechteck 297">
                  <a:extLst>
                    <a:ext uri="{FF2B5EF4-FFF2-40B4-BE49-F238E27FC236}">
                      <a16:creationId xmlns:a16="http://schemas.microsoft.com/office/drawing/2014/main" id="{11837887-EED9-4F05-B7FA-CB80E427ACA5}"/>
                    </a:ext>
                  </a:extLst>
                </p:cNvPr>
                <p:cNvSpPr/>
                <p:nvPr/>
              </p:nvSpPr>
              <p:spPr bwMode="gray">
                <a:xfrm>
                  <a:off x="6684854" y="4541041"/>
                  <a:ext cx="201974" cy="254357"/>
                </a:xfrm>
                <a:custGeom>
                  <a:avLst/>
                  <a:gdLst/>
                  <a:ahLst/>
                  <a:cxnLst/>
                  <a:rect l="l" t="t" r="r" b="b"/>
                  <a:pathLst>
                    <a:path w="171193" h="215593">
                      <a:moveTo>
                        <a:pt x="2732" y="0"/>
                      </a:moveTo>
                      <a:cubicBezTo>
                        <a:pt x="31801" y="5583"/>
                        <a:pt x="45458" y="13241"/>
                        <a:pt x="55614" y="25569"/>
                      </a:cubicBezTo>
                      <a:lnTo>
                        <a:pt x="85597" y="78441"/>
                      </a:lnTo>
                      <a:lnTo>
                        <a:pt x="115579" y="25569"/>
                      </a:lnTo>
                      <a:cubicBezTo>
                        <a:pt x="125735" y="13241"/>
                        <a:pt x="139392" y="5583"/>
                        <a:pt x="168461" y="0"/>
                      </a:cubicBezTo>
                      <a:lnTo>
                        <a:pt x="169737" y="36539"/>
                      </a:lnTo>
                      <a:cubicBezTo>
                        <a:pt x="150035" y="44140"/>
                        <a:pt x="147302" y="43960"/>
                        <a:pt x="138661" y="56436"/>
                      </a:cubicBezTo>
                      <a:lnTo>
                        <a:pt x="104983" y="112627"/>
                      </a:lnTo>
                      <a:lnTo>
                        <a:pt x="132675" y="161459"/>
                      </a:lnTo>
                      <a:cubicBezTo>
                        <a:pt x="138215" y="169054"/>
                        <a:pt x="153825" y="177709"/>
                        <a:pt x="171193" y="182998"/>
                      </a:cubicBezTo>
                      <a:cubicBezTo>
                        <a:pt x="170615" y="193863"/>
                        <a:pt x="170036" y="204728"/>
                        <a:pt x="169458" y="215593"/>
                      </a:cubicBezTo>
                      <a:cubicBezTo>
                        <a:pt x="145227" y="213278"/>
                        <a:pt x="126884" y="206716"/>
                        <a:pt x="109815" y="185383"/>
                      </a:cubicBezTo>
                      <a:lnTo>
                        <a:pt x="85597" y="144974"/>
                      </a:lnTo>
                      <a:lnTo>
                        <a:pt x="61378" y="185383"/>
                      </a:lnTo>
                      <a:cubicBezTo>
                        <a:pt x="44309" y="206716"/>
                        <a:pt x="25966" y="213278"/>
                        <a:pt x="1735" y="215593"/>
                      </a:cubicBezTo>
                      <a:cubicBezTo>
                        <a:pt x="1157" y="204728"/>
                        <a:pt x="578" y="193863"/>
                        <a:pt x="0" y="182998"/>
                      </a:cubicBezTo>
                      <a:cubicBezTo>
                        <a:pt x="17368" y="177709"/>
                        <a:pt x="32978" y="169054"/>
                        <a:pt x="38518" y="161459"/>
                      </a:cubicBezTo>
                      <a:lnTo>
                        <a:pt x="66210" y="112627"/>
                      </a:lnTo>
                      <a:lnTo>
                        <a:pt x="32532" y="56436"/>
                      </a:lnTo>
                      <a:cubicBezTo>
                        <a:pt x="23891" y="43960"/>
                        <a:pt x="21158" y="44140"/>
                        <a:pt x="1456" y="36539"/>
                      </a:cubicBezTo>
                      <a:cubicBezTo>
                        <a:pt x="1881" y="24360"/>
                        <a:pt x="2307" y="12180"/>
                        <a:pt x="2732" y="0"/>
                      </a:cubicBez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en-US">
                    <a:solidFill>
                      <a:schemeClr val="tx1"/>
                    </a:solidFill>
                    <a:cs typeface="Arial" pitchFamily="34" charset="0"/>
                  </a:endParaRPr>
                </a:p>
              </p:txBody>
            </p:sp>
            <p:sp>
              <p:nvSpPr>
                <p:cNvPr id="48" name="Rechteck 305">
                  <a:extLst>
                    <a:ext uri="{FF2B5EF4-FFF2-40B4-BE49-F238E27FC236}">
                      <a16:creationId xmlns:a16="http://schemas.microsoft.com/office/drawing/2014/main" id="{B2A50CAE-5C85-4DB1-8DE6-83A42C8DF894}"/>
                    </a:ext>
                  </a:extLst>
                </p:cNvPr>
                <p:cNvSpPr/>
                <p:nvPr/>
              </p:nvSpPr>
              <p:spPr bwMode="gray">
                <a:xfrm>
                  <a:off x="6433785" y="4335053"/>
                  <a:ext cx="212100" cy="452561"/>
                </a:xfrm>
                <a:custGeom>
                  <a:avLst/>
                  <a:gdLst/>
                  <a:ahLst/>
                  <a:cxnLst/>
                  <a:rect l="l" t="t" r="r" b="b"/>
                  <a:pathLst>
                    <a:path w="179776" h="383591">
                      <a:moveTo>
                        <a:pt x="104498" y="0"/>
                      </a:moveTo>
                      <a:cubicBezTo>
                        <a:pt x="134377" y="0"/>
                        <a:pt x="161327" y="12540"/>
                        <a:pt x="179776" y="33145"/>
                      </a:cubicBezTo>
                      <a:lnTo>
                        <a:pt x="151910" y="61011"/>
                      </a:lnTo>
                      <a:cubicBezTo>
                        <a:pt x="141353" y="45309"/>
                        <a:pt x="123149" y="36648"/>
                        <a:pt x="102922" y="36648"/>
                      </a:cubicBezTo>
                      <a:cubicBezTo>
                        <a:pt x="64629" y="36648"/>
                        <a:pt x="33587" y="67690"/>
                        <a:pt x="33587" y="105984"/>
                      </a:cubicBezTo>
                      <a:cubicBezTo>
                        <a:pt x="33587" y="142135"/>
                        <a:pt x="61253" y="171823"/>
                        <a:pt x="96657" y="174054"/>
                      </a:cubicBezTo>
                      <a:lnTo>
                        <a:pt x="109630" y="174595"/>
                      </a:lnTo>
                      <a:lnTo>
                        <a:pt x="140774" y="174595"/>
                      </a:lnTo>
                      <a:lnTo>
                        <a:pt x="140774" y="175318"/>
                      </a:lnTo>
                      <a:lnTo>
                        <a:pt x="140774" y="181919"/>
                      </a:lnTo>
                      <a:lnTo>
                        <a:pt x="140774" y="201672"/>
                      </a:lnTo>
                      <a:lnTo>
                        <a:pt x="140774" y="208273"/>
                      </a:lnTo>
                      <a:lnTo>
                        <a:pt x="140774" y="208996"/>
                      </a:lnTo>
                      <a:lnTo>
                        <a:pt x="109630" y="208996"/>
                      </a:lnTo>
                      <a:lnTo>
                        <a:pt x="96657" y="209537"/>
                      </a:lnTo>
                      <a:cubicBezTo>
                        <a:pt x="61253" y="211768"/>
                        <a:pt x="33587" y="241456"/>
                        <a:pt x="33587" y="277607"/>
                      </a:cubicBezTo>
                      <a:cubicBezTo>
                        <a:pt x="33587" y="315901"/>
                        <a:pt x="64629" y="346943"/>
                        <a:pt x="102922" y="346943"/>
                      </a:cubicBezTo>
                      <a:cubicBezTo>
                        <a:pt x="123149" y="346943"/>
                        <a:pt x="141353" y="338282"/>
                        <a:pt x="151910" y="322580"/>
                      </a:cubicBezTo>
                      <a:lnTo>
                        <a:pt x="179776" y="350446"/>
                      </a:lnTo>
                      <a:cubicBezTo>
                        <a:pt x="161327" y="371051"/>
                        <a:pt x="134377" y="383591"/>
                        <a:pt x="104498" y="383591"/>
                      </a:cubicBezTo>
                      <a:cubicBezTo>
                        <a:pt x="46785" y="383591"/>
                        <a:pt x="0" y="336806"/>
                        <a:pt x="0" y="279093"/>
                      </a:cubicBezTo>
                      <a:cubicBezTo>
                        <a:pt x="0" y="241544"/>
                        <a:pt x="19804" y="208621"/>
                        <a:pt x="50253" y="191796"/>
                      </a:cubicBezTo>
                      <a:cubicBezTo>
                        <a:pt x="19804" y="174970"/>
                        <a:pt x="0" y="142048"/>
                        <a:pt x="0" y="104498"/>
                      </a:cubicBezTo>
                      <a:cubicBezTo>
                        <a:pt x="0" y="46785"/>
                        <a:pt x="46785" y="0"/>
                        <a:pt x="104498" y="0"/>
                      </a:cubicBez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en-US">
                    <a:solidFill>
                      <a:schemeClr val="tx1"/>
                    </a:solidFill>
                    <a:cs typeface="Arial" pitchFamily="34" charset="0"/>
                  </a:endParaRPr>
                </a:p>
              </p:txBody>
            </p:sp>
          </p:grpSp>
          <p:sp>
            <p:nvSpPr>
              <p:cNvPr id="46" name="Sechseck 314">
                <a:extLst>
                  <a:ext uri="{FF2B5EF4-FFF2-40B4-BE49-F238E27FC236}">
                    <a16:creationId xmlns:a16="http://schemas.microsoft.com/office/drawing/2014/main" id="{DAA4DF1F-949E-4361-BC81-EC6479C0DFC8}"/>
                  </a:ext>
                </a:extLst>
              </p:cNvPr>
              <p:cNvSpPr/>
              <p:nvPr/>
            </p:nvSpPr>
            <p:spPr bwMode="gray">
              <a:xfrm>
                <a:off x="5382466" y="2044232"/>
                <a:ext cx="937763" cy="785738"/>
              </a:xfrm>
              <a:custGeom>
                <a:avLst/>
                <a:gdLst/>
                <a:ahLst/>
                <a:cxnLst/>
                <a:rect l="l" t="t" r="r" b="b"/>
                <a:pathLst>
                  <a:path w="988678" h="828399">
                    <a:moveTo>
                      <a:pt x="263630" y="43631"/>
                    </a:moveTo>
                    <a:lnTo>
                      <a:pt x="52073" y="414199"/>
                    </a:lnTo>
                    <a:lnTo>
                      <a:pt x="263630" y="784767"/>
                    </a:lnTo>
                    <a:lnTo>
                      <a:pt x="725049" y="784767"/>
                    </a:lnTo>
                    <a:lnTo>
                      <a:pt x="936606" y="414199"/>
                    </a:lnTo>
                    <a:lnTo>
                      <a:pt x="725049" y="43631"/>
                    </a:lnTo>
                    <a:close/>
                    <a:moveTo>
                      <a:pt x="236466" y="0"/>
                    </a:moveTo>
                    <a:lnTo>
                      <a:pt x="752212" y="0"/>
                    </a:lnTo>
                    <a:lnTo>
                      <a:pt x="988678" y="414200"/>
                    </a:lnTo>
                    <a:lnTo>
                      <a:pt x="752212" y="828399"/>
                    </a:lnTo>
                    <a:lnTo>
                      <a:pt x="236466" y="828399"/>
                    </a:lnTo>
                    <a:lnTo>
                      <a:pt x="0" y="414200"/>
                    </a:lnTo>
                    <a:close/>
                  </a:path>
                </a:pathLst>
              </a:cu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1100"/>
                  </a:spcBef>
                  <a:buClr>
                    <a:schemeClr val="tx2"/>
                  </a:buClr>
                  <a:buSzPct val="70000"/>
                  <a:buFont typeface="Wingdings" pitchFamily="2" charset="2"/>
                  <a:buNone/>
                </a:pPr>
                <a:endParaRPr lang="en-US">
                  <a:solidFill>
                    <a:schemeClr val="tx1"/>
                  </a:solidFill>
                  <a:cs typeface="Arial" pitchFamily="34" charset="0"/>
                </a:endParaRPr>
              </a:p>
            </p:txBody>
          </p:sp>
        </p:grpSp>
        <p:sp>
          <p:nvSpPr>
            <p:cNvPr id="44" name="Multiplication Sign 43">
              <a:extLst>
                <a:ext uri="{FF2B5EF4-FFF2-40B4-BE49-F238E27FC236}">
                  <a16:creationId xmlns:a16="http://schemas.microsoft.com/office/drawing/2014/main" id="{555D186B-3230-4E86-BC8F-765F00D7F7CA}"/>
                </a:ext>
              </a:extLst>
            </p:cNvPr>
            <p:cNvSpPr/>
            <p:nvPr/>
          </p:nvSpPr>
          <p:spPr bwMode="gray">
            <a:xfrm>
              <a:off x="9824860" y="3943896"/>
              <a:ext cx="333435" cy="271339"/>
            </a:xfrm>
            <a:custGeom>
              <a:avLst/>
              <a:gdLst>
                <a:gd name="connsiteX0" fmla="*/ 324085 w 1349371"/>
                <a:gd name="connsiteY0" fmla="*/ 263731 h 1098077"/>
                <a:gd name="connsiteX1" fmla="*/ 324085 w 1349371"/>
                <a:gd name="connsiteY1" fmla="*/ 263731 h 1098077"/>
                <a:gd name="connsiteX2" fmla="*/ 674686 w 1349371"/>
                <a:gd name="connsiteY2" fmla="*/ 549039 h 1098077"/>
                <a:gd name="connsiteX3" fmla="*/ 1025286 w 1349371"/>
                <a:gd name="connsiteY3" fmla="*/ 263731 h 1098077"/>
                <a:gd name="connsiteX4" fmla="*/ 1025286 w 1349371"/>
                <a:gd name="connsiteY4" fmla="*/ 263731 h 1098077"/>
                <a:gd name="connsiteX5" fmla="*/ 674686 w 1349371"/>
                <a:gd name="connsiteY5" fmla="*/ 549039 h 1098077"/>
                <a:gd name="connsiteX6" fmla="*/ 1025286 w 1349371"/>
                <a:gd name="connsiteY6" fmla="*/ 834346 h 1098077"/>
                <a:gd name="connsiteX7" fmla="*/ 1025286 w 1349371"/>
                <a:gd name="connsiteY7" fmla="*/ 834346 h 1098077"/>
                <a:gd name="connsiteX8" fmla="*/ 674686 w 1349371"/>
                <a:gd name="connsiteY8" fmla="*/ 549039 h 1098077"/>
                <a:gd name="connsiteX9" fmla="*/ 324085 w 1349371"/>
                <a:gd name="connsiteY9" fmla="*/ 834346 h 1098077"/>
                <a:gd name="connsiteX10" fmla="*/ 324085 w 1349371"/>
                <a:gd name="connsiteY10" fmla="*/ 834346 h 1098077"/>
                <a:gd name="connsiteX11" fmla="*/ 674686 w 1349371"/>
                <a:gd name="connsiteY11" fmla="*/ 549039 h 1098077"/>
                <a:gd name="connsiteX12" fmla="*/ 324085 w 1349371"/>
                <a:gd name="connsiteY12" fmla="*/ 263731 h 1098077"/>
                <a:gd name="connsiteX0" fmla="*/ 0 w 701201"/>
                <a:gd name="connsiteY0" fmla="*/ 0 h 570615"/>
                <a:gd name="connsiteX1" fmla="*/ 0 w 701201"/>
                <a:gd name="connsiteY1" fmla="*/ 0 h 570615"/>
                <a:gd name="connsiteX2" fmla="*/ 350601 w 701201"/>
                <a:gd name="connsiteY2" fmla="*/ 285308 h 570615"/>
                <a:gd name="connsiteX3" fmla="*/ 701201 w 701201"/>
                <a:gd name="connsiteY3" fmla="*/ 0 h 570615"/>
                <a:gd name="connsiteX4" fmla="*/ 701201 w 701201"/>
                <a:gd name="connsiteY4" fmla="*/ 0 h 570615"/>
                <a:gd name="connsiteX5" fmla="*/ 534637 w 701201"/>
                <a:gd name="connsiteY5" fmla="*/ 139450 h 570615"/>
                <a:gd name="connsiteX6" fmla="*/ 350601 w 701201"/>
                <a:gd name="connsiteY6" fmla="*/ 285308 h 570615"/>
                <a:gd name="connsiteX7" fmla="*/ 701201 w 701201"/>
                <a:gd name="connsiteY7" fmla="*/ 570615 h 570615"/>
                <a:gd name="connsiteX8" fmla="*/ 701201 w 701201"/>
                <a:gd name="connsiteY8" fmla="*/ 570615 h 570615"/>
                <a:gd name="connsiteX9" fmla="*/ 350601 w 701201"/>
                <a:gd name="connsiteY9" fmla="*/ 285308 h 570615"/>
                <a:gd name="connsiteX10" fmla="*/ 0 w 701201"/>
                <a:gd name="connsiteY10" fmla="*/ 570615 h 570615"/>
                <a:gd name="connsiteX11" fmla="*/ 0 w 701201"/>
                <a:gd name="connsiteY11" fmla="*/ 570615 h 570615"/>
                <a:gd name="connsiteX12" fmla="*/ 350601 w 701201"/>
                <a:gd name="connsiteY12" fmla="*/ 285308 h 570615"/>
                <a:gd name="connsiteX13" fmla="*/ 0 w 701201"/>
                <a:gd name="connsiteY13" fmla="*/ 0 h 570615"/>
                <a:gd name="connsiteX0" fmla="*/ 0 w 701201"/>
                <a:gd name="connsiteY0" fmla="*/ 0 h 570615"/>
                <a:gd name="connsiteX1" fmla="*/ 0 w 701201"/>
                <a:gd name="connsiteY1" fmla="*/ 0 h 570615"/>
                <a:gd name="connsiteX2" fmla="*/ 350601 w 701201"/>
                <a:gd name="connsiteY2" fmla="*/ 285308 h 570615"/>
                <a:gd name="connsiteX3" fmla="*/ 701201 w 701201"/>
                <a:gd name="connsiteY3" fmla="*/ 0 h 570615"/>
                <a:gd name="connsiteX4" fmla="*/ 701201 w 701201"/>
                <a:gd name="connsiteY4" fmla="*/ 0 h 570615"/>
                <a:gd name="connsiteX5" fmla="*/ 350601 w 701201"/>
                <a:gd name="connsiteY5" fmla="*/ 285308 h 570615"/>
                <a:gd name="connsiteX6" fmla="*/ 701201 w 701201"/>
                <a:gd name="connsiteY6" fmla="*/ 570615 h 570615"/>
                <a:gd name="connsiteX7" fmla="*/ 701201 w 701201"/>
                <a:gd name="connsiteY7" fmla="*/ 570615 h 570615"/>
                <a:gd name="connsiteX8" fmla="*/ 350601 w 701201"/>
                <a:gd name="connsiteY8" fmla="*/ 285308 h 570615"/>
                <a:gd name="connsiteX9" fmla="*/ 0 w 701201"/>
                <a:gd name="connsiteY9" fmla="*/ 570615 h 570615"/>
                <a:gd name="connsiteX10" fmla="*/ 0 w 701201"/>
                <a:gd name="connsiteY10" fmla="*/ 570615 h 570615"/>
                <a:gd name="connsiteX11" fmla="*/ 350601 w 701201"/>
                <a:gd name="connsiteY11" fmla="*/ 285308 h 570615"/>
                <a:gd name="connsiteX12" fmla="*/ 0 w 701201"/>
                <a:gd name="connsiteY12" fmla="*/ 0 h 570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1201" h="570615">
                  <a:moveTo>
                    <a:pt x="0" y="0"/>
                  </a:moveTo>
                  <a:lnTo>
                    <a:pt x="0" y="0"/>
                  </a:lnTo>
                  <a:lnTo>
                    <a:pt x="350601" y="285308"/>
                  </a:lnTo>
                  <a:lnTo>
                    <a:pt x="701201" y="0"/>
                  </a:lnTo>
                  <a:lnTo>
                    <a:pt x="701201" y="0"/>
                  </a:lnTo>
                  <a:lnTo>
                    <a:pt x="350601" y="285308"/>
                  </a:lnTo>
                  <a:lnTo>
                    <a:pt x="701201" y="570615"/>
                  </a:lnTo>
                  <a:lnTo>
                    <a:pt x="701201" y="570615"/>
                  </a:lnTo>
                  <a:lnTo>
                    <a:pt x="350601" y="285308"/>
                  </a:lnTo>
                  <a:lnTo>
                    <a:pt x="0" y="570615"/>
                  </a:lnTo>
                  <a:lnTo>
                    <a:pt x="0" y="570615"/>
                  </a:lnTo>
                  <a:lnTo>
                    <a:pt x="350601" y="285308"/>
                  </a:lnTo>
                  <a:lnTo>
                    <a:pt x="0" y="0"/>
                  </a:lnTo>
                  <a:close/>
                </a:path>
              </a:pathLst>
            </a:custGeom>
            <a:solidFill>
              <a:schemeClr val="tx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spTree>
    <p:custDataLst>
      <p:tags r:id="rId1"/>
    </p:custDataLst>
    <p:extLst>
      <p:ext uri="{BB962C8B-B14F-4D97-AF65-F5344CB8AC3E}">
        <p14:creationId xmlns:p14="http://schemas.microsoft.com/office/powerpoint/2010/main" val="2462032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2C22EF-54FD-480D-BD10-5E41911D3728}"/>
              </a:ext>
            </a:extLst>
          </p:cNvPr>
          <p:cNvSpPr>
            <a:spLocks noGrp="1"/>
          </p:cNvSpPr>
          <p:nvPr>
            <p:ph type="title"/>
          </p:nvPr>
        </p:nvSpPr>
        <p:spPr bwMode="gray"/>
        <p:txBody>
          <a:bodyPr/>
          <a:lstStyle/>
          <a:p>
            <a:r>
              <a:rPr lang="en-GB" dirty="0"/>
              <a:t>Food and beverage gas mixtures</a:t>
            </a:r>
            <a:endParaRPr lang="de-DE" dirty="0"/>
          </a:p>
        </p:txBody>
      </p:sp>
      <p:sp>
        <p:nvSpPr>
          <p:cNvPr id="8" name="Subtitle 7">
            <a:extLst>
              <a:ext uri="{FF2B5EF4-FFF2-40B4-BE49-F238E27FC236}">
                <a16:creationId xmlns:a16="http://schemas.microsoft.com/office/drawing/2014/main" id="{3426F330-4D5D-4C11-B71F-070EE772F2F2}"/>
              </a:ext>
            </a:extLst>
          </p:cNvPr>
          <p:cNvSpPr>
            <a:spLocks noGrp="1"/>
          </p:cNvSpPr>
          <p:nvPr>
            <p:ph type="subTitle" idx="13"/>
          </p:nvPr>
        </p:nvSpPr>
        <p:spPr bwMode="gray"/>
        <p:txBody>
          <a:bodyPr/>
          <a:lstStyle/>
          <a:p>
            <a:r>
              <a:rPr lang="en-GB" dirty="0"/>
              <a:t>Product group that sits at the edge between industrial gases and specialty gases</a:t>
            </a:r>
            <a:endParaRPr lang="de-DE" dirty="0"/>
          </a:p>
        </p:txBody>
      </p:sp>
      <p:sp>
        <p:nvSpPr>
          <p:cNvPr id="111" name="Oval 110">
            <a:extLst>
              <a:ext uri="{FF2B5EF4-FFF2-40B4-BE49-F238E27FC236}">
                <a16:creationId xmlns:a16="http://schemas.microsoft.com/office/drawing/2014/main" id="{67C748A1-E4B4-4E01-A89D-D3B473D47DB2}"/>
              </a:ext>
            </a:extLst>
          </p:cNvPr>
          <p:cNvSpPr/>
          <p:nvPr/>
        </p:nvSpPr>
        <p:spPr bwMode="gray">
          <a:xfrm>
            <a:off x="4931365" y="2758154"/>
            <a:ext cx="2329270" cy="2329270"/>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13" name="Oval 112">
            <a:extLst>
              <a:ext uri="{FF2B5EF4-FFF2-40B4-BE49-F238E27FC236}">
                <a16:creationId xmlns:a16="http://schemas.microsoft.com/office/drawing/2014/main" id="{7E249092-41F4-4E9E-8CF4-0E14058FF0E4}"/>
              </a:ext>
            </a:extLst>
          </p:cNvPr>
          <p:cNvSpPr/>
          <p:nvPr/>
        </p:nvSpPr>
        <p:spPr bwMode="gray">
          <a:xfrm>
            <a:off x="5559486" y="4944702"/>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14" name="Oval 113">
            <a:extLst>
              <a:ext uri="{FF2B5EF4-FFF2-40B4-BE49-F238E27FC236}">
                <a16:creationId xmlns:a16="http://schemas.microsoft.com/office/drawing/2014/main" id="{39EDF255-08CF-41B4-9F74-86058E422F2F}"/>
              </a:ext>
            </a:extLst>
          </p:cNvPr>
          <p:cNvSpPr/>
          <p:nvPr/>
        </p:nvSpPr>
        <p:spPr bwMode="gray">
          <a:xfrm>
            <a:off x="6968927" y="3157066"/>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15" name="Oval 114">
            <a:extLst>
              <a:ext uri="{FF2B5EF4-FFF2-40B4-BE49-F238E27FC236}">
                <a16:creationId xmlns:a16="http://schemas.microsoft.com/office/drawing/2014/main" id="{BDECD474-F66A-436A-AC70-F3874B14B559}"/>
              </a:ext>
            </a:extLst>
          </p:cNvPr>
          <p:cNvSpPr/>
          <p:nvPr/>
        </p:nvSpPr>
        <p:spPr bwMode="gray">
          <a:xfrm>
            <a:off x="6562144" y="4944637"/>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16" name="Oval 115">
            <a:extLst>
              <a:ext uri="{FF2B5EF4-FFF2-40B4-BE49-F238E27FC236}">
                <a16:creationId xmlns:a16="http://schemas.microsoft.com/office/drawing/2014/main" id="{D5A250E5-0B1B-48AD-A012-26C7AB4EBE15}"/>
              </a:ext>
            </a:extLst>
          </p:cNvPr>
          <p:cNvSpPr/>
          <p:nvPr/>
        </p:nvSpPr>
        <p:spPr bwMode="gray">
          <a:xfrm>
            <a:off x="5152704" y="3157001"/>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17" name="Oval 116">
            <a:extLst>
              <a:ext uri="{FF2B5EF4-FFF2-40B4-BE49-F238E27FC236}">
                <a16:creationId xmlns:a16="http://schemas.microsoft.com/office/drawing/2014/main" id="{5854F2DF-ED4F-43B1-B51D-ADF670F138E8}"/>
              </a:ext>
            </a:extLst>
          </p:cNvPr>
          <p:cNvSpPr/>
          <p:nvPr/>
        </p:nvSpPr>
        <p:spPr bwMode="gray">
          <a:xfrm>
            <a:off x="4926682" y="4156735"/>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18" name="Oval 117">
            <a:extLst>
              <a:ext uri="{FF2B5EF4-FFF2-40B4-BE49-F238E27FC236}">
                <a16:creationId xmlns:a16="http://schemas.microsoft.com/office/drawing/2014/main" id="{363F43DF-068F-49C7-996E-ED41FC0F3716}"/>
              </a:ext>
            </a:extLst>
          </p:cNvPr>
          <p:cNvSpPr/>
          <p:nvPr/>
        </p:nvSpPr>
        <p:spPr bwMode="gray">
          <a:xfrm>
            <a:off x="7194884" y="4156735"/>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19" name="Oval 118">
            <a:extLst>
              <a:ext uri="{FF2B5EF4-FFF2-40B4-BE49-F238E27FC236}">
                <a16:creationId xmlns:a16="http://schemas.microsoft.com/office/drawing/2014/main" id="{17B402AD-59FB-4BDE-9604-5C28FAFB8F06}"/>
              </a:ext>
            </a:extLst>
          </p:cNvPr>
          <p:cNvSpPr/>
          <p:nvPr/>
        </p:nvSpPr>
        <p:spPr bwMode="gray">
          <a:xfrm>
            <a:off x="6060875" y="2724820"/>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120" name="Group 119">
            <a:extLst>
              <a:ext uri="{FF2B5EF4-FFF2-40B4-BE49-F238E27FC236}">
                <a16:creationId xmlns:a16="http://schemas.microsoft.com/office/drawing/2014/main" id="{C9C6FAC4-09EC-412C-844A-351BBA39B0BE}"/>
              </a:ext>
            </a:extLst>
          </p:cNvPr>
          <p:cNvGrpSpPr/>
          <p:nvPr/>
        </p:nvGrpSpPr>
        <p:grpSpPr bwMode="gray">
          <a:xfrm>
            <a:off x="5559486" y="3390139"/>
            <a:ext cx="329895" cy="1068323"/>
            <a:chOff x="3909933" y="3544064"/>
            <a:chExt cx="107385" cy="347753"/>
          </a:xfrm>
        </p:grpSpPr>
        <p:sp>
          <p:nvSpPr>
            <p:cNvPr id="121" name="Rectangle: Rounded Corners 49">
              <a:extLst>
                <a:ext uri="{FF2B5EF4-FFF2-40B4-BE49-F238E27FC236}">
                  <a16:creationId xmlns:a16="http://schemas.microsoft.com/office/drawing/2014/main" id="{DAC64E41-98EB-48F1-A3C2-1E05E9DBB731}"/>
                </a:ext>
              </a:extLst>
            </p:cNvPr>
            <p:cNvSpPr/>
            <p:nvPr/>
          </p:nvSpPr>
          <p:spPr bwMode="gray">
            <a:xfrm>
              <a:off x="3909933" y="3626335"/>
              <a:ext cx="101694" cy="232027"/>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22" name="Freeform: Shape 121">
              <a:extLst>
                <a:ext uri="{FF2B5EF4-FFF2-40B4-BE49-F238E27FC236}">
                  <a16:creationId xmlns:a16="http://schemas.microsoft.com/office/drawing/2014/main" id="{D11A1352-A23C-4F43-B968-703D5D9D9A00}"/>
                </a:ext>
              </a:extLst>
            </p:cNvPr>
            <p:cNvSpPr/>
            <p:nvPr/>
          </p:nvSpPr>
          <p:spPr bwMode="gray">
            <a:xfrm>
              <a:off x="3941540" y="3570552"/>
              <a:ext cx="38480" cy="57600"/>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123" name="Straight Connector 122">
              <a:extLst>
                <a:ext uri="{FF2B5EF4-FFF2-40B4-BE49-F238E27FC236}">
                  <a16:creationId xmlns:a16="http://schemas.microsoft.com/office/drawing/2014/main" id="{E3F0AEAB-569A-4B06-809A-97BA1C16ECA6}"/>
                </a:ext>
              </a:extLst>
            </p:cNvPr>
            <p:cNvCxnSpPr>
              <a:cxnSpLocks/>
            </p:cNvCxnSpPr>
            <p:nvPr/>
          </p:nvCxnSpPr>
          <p:spPr bwMode="gray">
            <a:xfrm>
              <a:off x="3981318" y="3599824"/>
              <a:ext cx="36000" cy="0"/>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124" name="Rectangle: Rounded Corners 49">
              <a:extLst>
                <a:ext uri="{FF2B5EF4-FFF2-40B4-BE49-F238E27FC236}">
                  <a16:creationId xmlns:a16="http://schemas.microsoft.com/office/drawing/2014/main" id="{6131BC30-EDBB-4BB6-BB08-D267E6057EBA}"/>
                </a:ext>
              </a:extLst>
            </p:cNvPr>
            <p:cNvSpPr/>
            <p:nvPr/>
          </p:nvSpPr>
          <p:spPr bwMode="gray">
            <a:xfrm>
              <a:off x="3909933" y="3858362"/>
              <a:ext cx="101694" cy="33455"/>
            </a:xfrm>
            <a:prstGeom prst="rect">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125" name="Straight Connector 124">
              <a:extLst>
                <a:ext uri="{FF2B5EF4-FFF2-40B4-BE49-F238E27FC236}">
                  <a16:creationId xmlns:a16="http://schemas.microsoft.com/office/drawing/2014/main" id="{7DFA6F17-ED5B-4C53-8CA3-F6A4827420BE}"/>
                </a:ext>
              </a:extLst>
            </p:cNvPr>
            <p:cNvCxnSpPr>
              <a:cxnSpLocks/>
            </p:cNvCxnSpPr>
            <p:nvPr/>
          </p:nvCxnSpPr>
          <p:spPr bwMode="gray">
            <a:xfrm>
              <a:off x="3941540" y="3548247"/>
              <a:ext cx="38480" cy="0"/>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26" name="Straight Connector 125">
              <a:extLst>
                <a:ext uri="{FF2B5EF4-FFF2-40B4-BE49-F238E27FC236}">
                  <a16:creationId xmlns:a16="http://schemas.microsoft.com/office/drawing/2014/main" id="{AD4CA590-238F-4518-B9A4-D2D35808C841}"/>
                </a:ext>
              </a:extLst>
            </p:cNvPr>
            <p:cNvCxnSpPr>
              <a:cxnSpLocks/>
            </p:cNvCxnSpPr>
            <p:nvPr/>
          </p:nvCxnSpPr>
          <p:spPr bwMode="gray">
            <a:xfrm>
              <a:off x="3960780" y="3544064"/>
              <a:ext cx="0" cy="26343"/>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grpSp>
        <p:nvGrpSpPr>
          <p:cNvPr id="127" name="Group 126">
            <a:extLst>
              <a:ext uri="{FF2B5EF4-FFF2-40B4-BE49-F238E27FC236}">
                <a16:creationId xmlns:a16="http://schemas.microsoft.com/office/drawing/2014/main" id="{CC3FB6DF-3BF3-45B4-B0B9-7C84A7BE5897}"/>
              </a:ext>
            </a:extLst>
          </p:cNvPr>
          <p:cNvGrpSpPr/>
          <p:nvPr/>
        </p:nvGrpSpPr>
        <p:grpSpPr bwMode="gray">
          <a:xfrm>
            <a:off x="6065365" y="3311114"/>
            <a:ext cx="574182" cy="617063"/>
            <a:chOff x="3581490" y="4082223"/>
            <a:chExt cx="372251" cy="400051"/>
          </a:xfrm>
        </p:grpSpPr>
        <p:sp>
          <p:nvSpPr>
            <p:cNvPr id="128" name="Rectangle 495">
              <a:extLst>
                <a:ext uri="{FF2B5EF4-FFF2-40B4-BE49-F238E27FC236}">
                  <a16:creationId xmlns:a16="http://schemas.microsoft.com/office/drawing/2014/main" id="{A8A2BBA2-FCB8-487B-96C7-927A8F28259D}"/>
                </a:ext>
              </a:extLst>
            </p:cNvPr>
            <p:cNvSpPr>
              <a:spLocks noChangeArrowheads="1"/>
            </p:cNvSpPr>
            <p:nvPr/>
          </p:nvSpPr>
          <p:spPr bwMode="gray">
            <a:xfrm>
              <a:off x="3841028" y="4082223"/>
              <a:ext cx="76200" cy="47625"/>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129" name="Freeform 496">
              <a:extLst>
                <a:ext uri="{FF2B5EF4-FFF2-40B4-BE49-F238E27FC236}">
                  <a16:creationId xmlns:a16="http://schemas.microsoft.com/office/drawing/2014/main" id="{B2257FB4-6A80-466A-A1C7-52F6EA545D97}"/>
                </a:ext>
              </a:extLst>
            </p:cNvPr>
            <p:cNvSpPr>
              <a:spLocks/>
            </p:cNvSpPr>
            <p:nvPr/>
          </p:nvSpPr>
          <p:spPr bwMode="gray">
            <a:xfrm>
              <a:off x="3802928" y="4129848"/>
              <a:ext cx="150813" cy="352425"/>
            </a:xfrm>
            <a:custGeom>
              <a:avLst/>
              <a:gdLst>
                <a:gd name="T0" fmla="*/ 24 w 95"/>
                <a:gd name="T1" fmla="*/ 0 h 222"/>
                <a:gd name="T2" fmla="*/ 0 w 95"/>
                <a:gd name="T3" fmla="*/ 33 h 222"/>
                <a:gd name="T4" fmla="*/ 0 w 95"/>
                <a:gd name="T5" fmla="*/ 72 h 222"/>
                <a:gd name="T6" fmla="*/ 12 w 95"/>
                <a:gd name="T7" fmla="*/ 96 h 222"/>
                <a:gd name="T8" fmla="*/ 0 w 95"/>
                <a:gd name="T9" fmla="*/ 126 h 222"/>
                <a:gd name="T10" fmla="*/ 0 w 95"/>
                <a:gd name="T11" fmla="*/ 144 h 222"/>
                <a:gd name="T12" fmla="*/ 0 w 95"/>
                <a:gd name="T13" fmla="*/ 162 h 222"/>
                <a:gd name="T14" fmla="*/ 0 w 95"/>
                <a:gd name="T15" fmla="*/ 216 h 222"/>
                <a:gd name="T16" fmla="*/ 6 w 95"/>
                <a:gd name="T17" fmla="*/ 222 h 222"/>
                <a:gd name="T18" fmla="*/ 18 w 95"/>
                <a:gd name="T19" fmla="*/ 222 h 222"/>
                <a:gd name="T20" fmla="*/ 24 w 95"/>
                <a:gd name="T21" fmla="*/ 216 h 222"/>
                <a:gd name="T22" fmla="*/ 36 w 95"/>
                <a:gd name="T23" fmla="*/ 216 h 222"/>
                <a:gd name="T24" fmla="*/ 42 w 95"/>
                <a:gd name="T25" fmla="*/ 222 h 222"/>
                <a:gd name="T26" fmla="*/ 54 w 95"/>
                <a:gd name="T27" fmla="*/ 222 h 222"/>
                <a:gd name="T28" fmla="*/ 60 w 95"/>
                <a:gd name="T29" fmla="*/ 216 h 222"/>
                <a:gd name="T30" fmla="*/ 72 w 95"/>
                <a:gd name="T31" fmla="*/ 216 h 222"/>
                <a:gd name="T32" fmla="*/ 78 w 95"/>
                <a:gd name="T33" fmla="*/ 222 h 222"/>
                <a:gd name="T34" fmla="*/ 89 w 95"/>
                <a:gd name="T35" fmla="*/ 222 h 222"/>
                <a:gd name="T36" fmla="*/ 95 w 95"/>
                <a:gd name="T37" fmla="*/ 216 h 222"/>
                <a:gd name="T38" fmla="*/ 95 w 95"/>
                <a:gd name="T39" fmla="*/ 162 h 222"/>
                <a:gd name="T40" fmla="*/ 95 w 95"/>
                <a:gd name="T41" fmla="*/ 144 h 222"/>
                <a:gd name="T42" fmla="*/ 95 w 95"/>
                <a:gd name="T43" fmla="*/ 126 h 222"/>
                <a:gd name="T44" fmla="*/ 83 w 95"/>
                <a:gd name="T45" fmla="*/ 96 h 222"/>
                <a:gd name="T46" fmla="*/ 95 w 95"/>
                <a:gd name="T47" fmla="*/ 72 h 222"/>
                <a:gd name="T48" fmla="*/ 95 w 95"/>
                <a:gd name="T49" fmla="*/ 33 h 222"/>
                <a:gd name="T50" fmla="*/ 72 w 95"/>
                <a:gd name="T51"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222">
                  <a:moveTo>
                    <a:pt x="24" y="0"/>
                  </a:moveTo>
                  <a:lnTo>
                    <a:pt x="0" y="33"/>
                  </a:lnTo>
                  <a:lnTo>
                    <a:pt x="0" y="72"/>
                  </a:lnTo>
                  <a:lnTo>
                    <a:pt x="12" y="96"/>
                  </a:lnTo>
                  <a:lnTo>
                    <a:pt x="0" y="126"/>
                  </a:lnTo>
                  <a:lnTo>
                    <a:pt x="0" y="144"/>
                  </a:lnTo>
                  <a:lnTo>
                    <a:pt x="0" y="162"/>
                  </a:lnTo>
                  <a:lnTo>
                    <a:pt x="0" y="216"/>
                  </a:lnTo>
                  <a:lnTo>
                    <a:pt x="6" y="222"/>
                  </a:lnTo>
                  <a:lnTo>
                    <a:pt x="18" y="222"/>
                  </a:lnTo>
                  <a:lnTo>
                    <a:pt x="24" y="216"/>
                  </a:lnTo>
                  <a:lnTo>
                    <a:pt x="36" y="216"/>
                  </a:lnTo>
                  <a:lnTo>
                    <a:pt x="42" y="222"/>
                  </a:lnTo>
                  <a:lnTo>
                    <a:pt x="54" y="222"/>
                  </a:lnTo>
                  <a:lnTo>
                    <a:pt x="60" y="216"/>
                  </a:lnTo>
                  <a:lnTo>
                    <a:pt x="72" y="216"/>
                  </a:lnTo>
                  <a:lnTo>
                    <a:pt x="78" y="222"/>
                  </a:lnTo>
                  <a:lnTo>
                    <a:pt x="89" y="222"/>
                  </a:lnTo>
                  <a:lnTo>
                    <a:pt x="95" y="216"/>
                  </a:lnTo>
                  <a:lnTo>
                    <a:pt x="95" y="162"/>
                  </a:lnTo>
                  <a:lnTo>
                    <a:pt x="95" y="144"/>
                  </a:lnTo>
                  <a:lnTo>
                    <a:pt x="95" y="126"/>
                  </a:lnTo>
                  <a:lnTo>
                    <a:pt x="83" y="96"/>
                  </a:lnTo>
                  <a:lnTo>
                    <a:pt x="95" y="72"/>
                  </a:lnTo>
                  <a:lnTo>
                    <a:pt x="95" y="33"/>
                  </a:lnTo>
                  <a:lnTo>
                    <a:pt x="72" y="0"/>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130" name="Line 497">
              <a:extLst>
                <a:ext uri="{FF2B5EF4-FFF2-40B4-BE49-F238E27FC236}">
                  <a16:creationId xmlns:a16="http://schemas.microsoft.com/office/drawing/2014/main" id="{FE0172D5-71F5-446D-818E-7D8ADC509FC6}"/>
                </a:ext>
              </a:extLst>
            </p:cNvPr>
            <p:cNvSpPr>
              <a:spLocks noChangeShapeType="1"/>
            </p:cNvSpPr>
            <p:nvPr/>
          </p:nvSpPr>
          <p:spPr bwMode="gray">
            <a:xfrm>
              <a:off x="3802928" y="4339398"/>
              <a:ext cx="76200"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131" name="Line 498">
              <a:extLst>
                <a:ext uri="{FF2B5EF4-FFF2-40B4-BE49-F238E27FC236}">
                  <a16:creationId xmlns:a16="http://schemas.microsoft.com/office/drawing/2014/main" id="{EC5E36D8-1CF0-428A-9EBB-D12A4DE379CA}"/>
                </a:ext>
              </a:extLst>
            </p:cNvPr>
            <p:cNvSpPr>
              <a:spLocks noChangeShapeType="1"/>
            </p:cNvSpPr>
            <p:nvPr/>
          </p:nvSpPr>
          <p:spPr bwMode="gray">
            <a:xfrm>
              <a:off x="3821978" y="4282248"/>
              <a:ext cx="66675"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132" name="Line 499">
              <a:extLst>
                <a:ext uri="{FF2B5EF4-FFF2-40B4-BE49-F238E27FC236}">
                  <a16:creationId xmlns:a16="http://schemas.microsoft.com/office/drawing/2014/main" id="{948F0034-E0B6-4612-AE65-A0563ACEE542}"/>
                </a:ext>
              </a:extLst>
            </p:cNvPr>
            <p:cNvSpPr>
              <a:spLocks noChangeShapeType="1"/>
            </p:cNvSpPr>
            <p:nvPr/>
          </p:nvSpPr>
          <p:spPr bwMode="gray">
            <a:xfrm>
              <a:off x="3802928" y="4225098"/>
              <a:ext cx="123825"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133" name="Line 498">
              <a:extLst>
                <a:ext uri="{FF2B5EF4-FFF2-40B4-BE49-F238E27FC236}">
                  <a16:creationId xmlns:a16="http://schemas.microsoft.com/office/drawing/2014/main" id="{D14DD444-CBAD-42DE-85B0-41E81FC09C4C}"/>
                </a:ext>
              </a:extLst>
            </p:cNvPr>
            <p:cNvSpPr>
              <a:spLocks noChangeShapeType="1"/>
            </p:cNvSpPr>
            <p:nvPr/>
          </p:nvSpPr>
          <p:spPr bwMode="gray">
            <a:xfrm>
              <a:off x="3589947" y="4199223"/>
              <a:ext cx="66675"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134" name="Line 498">
              <a:extLst>
                <a:ext uri="{FF2B5EF4-FFF2-40B4-BE49-F238E27FC236}">
                  <a16:creationId xmlns:a16="http://schemas.microsoft.com/office/drawing/2014/main" id="{C2F40DCB-400E-45C6-AF5F-495F3D4D9971}"/>
                </a:ext>
              </a:extLst>
            </p:cNvPr>
            <p:cNvSpPr>
              <a:spLocks noChangeShapeType="1"/>
            </p:cNvSpPr>
            <p:nvPr/>
          </p:nvSpPr>
          <p:spPr bwMode="gray">
            <a:xfrm>
              <a:off x="3589947" y="4382890"/>
              <a:ext cx="66675"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135" name="Line 498">
              <a:extLst>
                <a:ext uri="{FF2B5EF4-FFF2-40B4-BE49-F238E27FC236}">
                  <a16:creationId xmlns:a16="http://schemas.microsoft.com/office/drawing/2014/main" id="{444280B5-4D5F-4CA6-9157-642C4D79F421}"/>
                </a:ext>
              </a:extLst>
            </p:cNvPr>
            <p:cNvSpPr>
              <a:spLocks noChangeShapeType="1"/>
            </p:cNvSpPr>
            <p:nvPr/>
          </p:nvSpPr>
          <p:spPr bwMode="gray">
            <a:xfrm>
              <a:off x="3589947" y="4291057"/>
              <a:ext cx="66675"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136" name="Freeform: Shape 135">
              <a:extLst>
                <a:ext uri="{FF2B5EF4-FFF2-40B4-BE49-F238E27FC236}">
                  <a16:creationId xmlns:a16="http://schemas.microsoft.com/office/drawing/2014/main" id="{01C643FE-E545-4C6A-9454-058AA9018160}"/>
                </a:ext>
              </a:extLst>
            </p:cNvPr>
            <p:cNvSpPr/>
            <p:nvPr/>
          </p:nvSpPr>
          <p:spPr bwMode="gray">
            <a:xfrm flipV="1">
              <a:off x="3581490" y="4101150"/>
              <a:ext cx="132300" cy="381124"/>
            </a:xfrm>
            <a:custGeom>
              <a:avLst/>
              <a:gdLst>
                <a:gd name="connsiteX0" fmla="*/ 71617 w 132300"/>
                <a:gd name="connsiteY0" fmla="*/ 381124 h 381124"/>
                <a:gd name="connsiteX1" fmla="*/ 126080 w 132300"/>
                <a:gd name="connsiteY1" fmla="*/ 318199 h 381124"/>
                <a:gd name="connsiteX2" fmla="*/ 132300 w 132300"/>
                <a:gd name="connsiteY2" fmla="*/ 284887 h 381124"/>
                <a:gd name="connsiteX3" fmla="*/ 132300 w 132300"/>
                <a:gd name="connsiteY3" fmla="*/ 96237 h 381124"/>
                <a:gd name="connsiteX4" fmla="*/ 126080 w 132300"/>
                <a:gd name="connsiteY4" fmla="*/ 62925 h 381124"/>
                <a:gd name="connsiteX5" fmla="*/ 71617 w 132300"/>
                <a:gd name="connsiteY5" fmla="*/ 0 h 381124"/>
                <a:gd name="connsiteX6" fmla="*/ 17154 w 132300"/>
                <a:gd name="connsiteY6" fmla="*/ 62925 h 381124"/>
                <a:gd name="connsiteX7" fmla="*/ 10932 w 132300"/>
                <a:gd name="connsiteY7" fmla="*/ 96237 h 381124"/>
                <a:gd name="connsiteX8" fmla="*/ 0 w 132300"/>
                <a:gd name="connsiteY8" fmla="*/ 141368 h 381124"/>
                <a:gd name="connsiteX9" fmla="*/ 10157 w 132300"/>
                <a:gd name="connsiteY9" fmla="*/ 190562 h 381124"/>
                <a:gd name="connsiteX10" fmla="*/ 0 w 132300"/>
                <a:gd name="connsiteY10" fmla="*/ 239756 h 381124"/>
                <a:gd name="connsiteX11" fmla="*/ 10932 w 132300"/>
                <a:gd name="connsiteY11" fmla="*/ 284887 h 381124"/>
                <a:gd name="connsiteX12" fmla="*/ 17154 w 132300"/>
                <a:gd name="connsiteY12" fmla="*/ 318199 h 381124"/>
                <a:gd name="connsiteX13" fmla="*/ 71617 w 132300"/>
                <a:gd name="connsiteY13" fmla="*/ 381124 h 381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300" h="381124">
                  <a:moveTo>
                    <a:pt x="71617" y="381124"/>
                  </a:moveTo>
                  <a:cubicBezTo>
                    <a:pt x="96100" y="381124"/>
                    <a:pt x="117107" y="355177"/>
                    <a:pt x="126080" y="318199"/>
                  </a:cubicBezTo>
                  <a:lnTo>
                    <a:pt x="132300" y="284887"/>
                  </a:lnTo>
                  <a:lnTo>
                    <a:pt x="132300" y="96237"/>
                  </a:lnTo>
                  <a:lnTo>
                    <a:pt x="126080" y="62925"/>
                  </a:lnTo>
                  <a:cubicBezTo>
                    <a:pt x="117107" y="25947"/>
                    <a:pt x="96100" y="0"/>
                    <a:pt x="71617" y="0"/>
                  </a:cubicBezTo>
                  <a:cubicBezTo>
                    <a:pt x="47134" y="0"/>
                    <a:pt x="26127" y="25947"/>
                    <a:pt x="17154" y="62925"/>
                  </a:cubicBezTo>
                  <a:lnTo>
                    <a:pt x="10932" y="96237"/>
                  </a:lnTo>
                  <a:cubicBezTo>
                    <a:pt x="4192" y="109376"/>
                    <a:pt x="310" y="124896"/>
                    <a:pt x="0" y="141368"/>
                  </a:cubicBezTo>
                  <a:lnTo>
                    <a:pt x="10157" y="190562"/>
                  </a:lnTo>
                  <a:lnTo>
                    <a:pt x="0" y="239756"/>
                  </a:lnTo>
                  <a:cubicBezTo>
                    <a:pt x="310" y="256229"/>
                    <a:pt x="4192" y="271749"/>
                    <a:pt x="10932" y="284887"/>
                  </a:cubicBezTo>
                  <a:lnTo>
                    <a:pt x="17154" y="318199"/>
                  </a:lnTo>
                  <a:cubicBezTo>
                    <a:pt x="26127" y="355177"/>
                    <a:pt x="47134" y="381124"/>
                    <a:pt x="71617" y="381124"/>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grpSp>
      <p:sp>
        <p:nvSpPr>
          <p:cNvPr id="137" name="Textfeld 25">
            <a:extLst>
              <a:ext uri="{FF2B5EF4-FFF2-40B4-BE49-F238E27FC236}">
                <a16:creationId xmlns:a16="http://schemas.microsoft.com/office/drawing/2014/main" id="{86540AC3-018B-4DFD-A4B9-A1477CCDE86B}"/>
              </a:ext>
            </a:extLst>
          </p:cNvPr>
          <p:cNvSpPr txBox="1"/>
          <p:nvPr/>
        </p:nvSpPr>
        <p:spPr bwMode="gray">
          <a:xfrm>
            <a:off x="336549" y="2783471"/>
            <a:ext cx="4526613"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b="1" dirty="0"/>
              <a:t>Gas chromatography often used to </a:t>
            </a:r>
            <a:br>
              <a:rPr lang="en-US" b="1" dirty="0"/>
            </a:br>
            <a:r>
              <a:rPr lang="en-US" b="1" dirty="0"/>
              <a:t>detect and quantify range of organic </a:t>
            </a:r>
            <a:br>
              <a:rPr lang="en-US" b="1" dirty="0"/>
            </a:br>
            <a:r>
              <a:rPr lang="en-US" b="1" dirty="0"/>
              <a:t>and inorganic impurities in the CO</a:t>
            </a:r>
            <a:r>
              <a:rPr lang="en-US" b="1" baseline="-25000" dirty="0"/>
              <a:t>2</a:t>
            </a:r>
          </a:p>
        </p:txBody>
      </p:sp>
      <p:sp>
        <p:nvSpPr>
          <p:cNvPr id="138" name="Textfeld 25">
            <a:extLst>
              <a:ext uri="{FF2B5EF4-FFF2-40B4-BE49-F238E27FC236}">
                <a16:creationId xmlns:a16="http://schemas.microsoft.com/office/drawing/2014/main" id="{7244E4BD-32CA-43C1-85A2-1128EF9AC667}"/>
              </a:ext>
            </a:extLst>
          </p:cNvPr>
          <p:cNvSpPr txBox="1"/>
          <p:nvPr/>
        </p:nvSpPr>
        <p:spPr bwMode="gray">
          <a:xfrm>
            <a:off x="338736" y="5234343"/>
            <a:ext cx="5059753"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solidFill>
                  <a:schemeClr val="tx1"/>
                </a:solidFill>
              </a:rPr>
              <a:t>On the other hand, food application and </a:t>
            </a:r>
            <a:br>
              <a:rPr lang="en-US" dirty="0">
                <a:solidFill>
                  <a:schemeClr val="tx1"/>
                </a:solidFill>
              </a:rPr>
            </a:br>
            <a:r>
              <a:rPr lang="en-US" dirty="0">
                <a:solidFill>
                  <a:schemeClr val="tx1"/>
                </a:solidFill>
              </a:rPr>
              <a:t>related quality control aspects means </a:t>
            </a:r>
            <a:br>
              <a:rPr lang="en-US" dirty="0">
                <a:solidFill>
                  <a:schemeClr val="tx1"/>
                </a:solidFill>
              </a:rPr>
            </a:br>
            <a:r>
              <a:rPr lang="en-US" dirty="0">
                <a:solidFill>
                  <a:schemeClr val="tx1"/>
                </a:solidFill>
              </a:rPr>
              <a:t>handled like “specialty” gases</a:t>
            </a:r>
          </a:p>
        </p:txBody>
      </p:sp>
      <p:sp>
        <p:nvSpPr>
          <p:cNvPr id="139" name="Textfeld 25">
            <a:extLst>
              <a:ext uri="{FF2B5EF4-FFF2-40B4-BE49-F238E27FC236}">
                <a16:creationId xmlns:a16="http://schemas.microsoft.com/office/drawing/2014/main" id="{4511BF30-0067-4C83-BB3A-B6C753DD1DB4}"/>
              </a:ext>
            </a:extLst>
          </p:cNvPr>
          <p:cNvSpPr txBox="1"/>
          <p:nvPr/>
        </p:nvSpPr>
        <p:spPr bwMode="gray">
          <a:xfrm>
            <a:off x="477636" y="3976090"/>
            <a:ext cx="4165418"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solidFill>
                  <a:schemeClr val="tx1"/>
                </a:solidFill>
              </a:rPr>
              <a:t>Due to production pathway of CO</a:t>
            </a:r>
            <a:r>
              <a:rPr lang="en-US" baseline="-25000" dirty="0">
                <a:solidFill>
                  <a:schemeClr val="tx1"/>
                </a:solidFill>
              </a:rPr>
              <a:t>2</a:t>
            </a:r>
            <a:r>
              <a:rPr lang="en-US" dirty="0">
                <a:solidFill>
                  <a:schemeClr val="tx1"/>
                </a:solidFill>
              </a:rPr>
              <a:t>, </a:t>
            </a:r>
            <a:br>
              <a:rPr lang="en-US" dirty="0">
                <a:solidFill>
                  <a:schemeClr val="tx1"/>
                </a:solidFill>
              </a:rPr>
            </a:br>
            <a:r>
              <a:rPr lang="en-US" dirty="0">
                <a:solidFill>
                  <a:schemeClr val="tx1"/>
                </a:solidFill>
              </a:rPr>
              <a:t>there are additional quality control precautions associated with that gas</a:t>
            </a:r>
          </a:p>
        </p:txBody>
      </p:sp>
      <p:sp>
        <p:nvSpPr>
          <p:cNvPr id="140" name="Textfeld 25">
            <a:extLst>
              <a:ext uri="{FF2B5EF4-FFF2-40B4-BE49-F238E27FC236}">
                <a16:creationId xmlns:a16="http://schemas.microsoft.com/office/drawing/2014/main" id="{1489E96E-3775-4E0C-91F8-17BF7D456264}"/>
              </a:ext>
            </a:extLst>
          </p:cNvPr>
          <p:cNvSpPr txBox="1"/>
          <p:nvPr/>
        </p:nvSpPr>
        <p:spPr bwMode="gray">
          <a:xfrm>
            <a:off x="4471686" y="2021510"/>
            <a:ext cx="3248628"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ctr"/>
            <a:r>
              <a:rPr lang="en-US" dirty="0">
                <a:solidFill>
                  <a:schemeClr val="tx1"/>
                </a:solidFill>
              </a:rPr>
              <a:t>Blends for </a:t>
            </a:r>
            <a:r>
              <a:rPr lang="en-US" b="1" dirty="0"/>
              <a:t>oxygen</a:t>
            </a:r>
            <a:r>
              <a:rPr lang="en-US" dirty="0">
                <a:solidFill>
                  <a:schemeClr val="tx1"/>
                </a:solidFill>
              </a:rPr>
              <a:t>, </a:t>
            </a:r>
            <a:r>
              <a:rPr lang="en-US" b="1" dirty="0"/>
              <a:t>nitrogen</a:t>
            </a:r>
            <a:r>
              <a:rPr lang="en-US" b="1" dirty="0">
                <a:solidFill>
                  <a:schemeClr val="tx1"/>
                </a:solidFill>
              </a:rPr>
              <a:t> </a:t>
            </a:r>
            <a:br>
              <a:rPr lang="en-US" b="1" dirty="0">
                <a:solidFill>
                  <a:schemeClr val="tx1"/>
                </a:solidFill>
              </a:rPr>
            </a:br>
            <a:r>
              <a:rPr lang="en-US" dirty="0">
                <a:solidFill>
                  <a:schemeClr val="tx1"/>
                </a:solidFill>
              </a:rPr>
              <a:t>and </a:t>
            </a:r>
            <a:r>
              <a:rPr lang="en-US" b="1" dirty="0"/>
              <a:t>carbon dioxide</a:t>
            </a:r>
          </a:p>
        </p:txBody>
      </p:sp>
      <p:sp>
        <p:nvSpPr>
          <p:cNvPr id="141" name="Textfeld 25">
            <a:extLst>
              <a:ext uri="{FF2B5EF4-FFF2-40B4-BE49-F238E27FC236}">
                <a16:creationId xmlns:a16="http://schemas.microsoft.com/office/drawing/2014/main" id="{E7CC12E3-A1C4-416D-96BC-586DEC48B994}"/>
              </a:ext>
            </a:extLst>
          </p:cNvPr>
          <p:cNvSpPr txBox="1"/>
          <p:nvPr/>
        </p:nvSpPr>
        <p:spPr bwMode="gray">
          <a:xfrm>
            <a:off x="7611566" y="3976090"/>
            <a:ext cx="4102798"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dirty="0">
                <a:solidFill>
                  <a:schemeClr val="tx1"/>
                </a:solidFill>
              </a:rPr>
              <a:t>In some countries, carbon monoxide is added to some red meat packaging gas mixtures at low % level concentrations</a:t>
            </a:r>
          </a:p>
        </p:txBody>
      </p:sp>
      <p:sp>
        <p:nvSpPr>
          <p:cNvPr id="142" name="Textfeld 25">
            <a:extLst>
              <a:ext uri="{FF2B5EF4-FFF2-40B4-BE49-F238E27FC236}">
                <a16:creationId xmlns:a16="http://schemas.microsoft.com/office/drawing/2014/main" id="{2E18FC6F-75C9-4100-8FB3-D24F1C137716}"/>
              </a:ext>
            </a:extLst>
          </p:cNvPr>
          <p:cNvSpPr txBox="1"/>
          <p:nvPr/>
        </p:nvSpPr>
        <p:spPr bwMode="gray">
          <a:xfrm>
            <a:off x="7334973" y="2783471"/>
            <a:ext cx="4522065"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dirty="0">
                <a:solidFill>
                  <a:schemeClr val="tx1"/>
                </a:solidFill>
              </a:rPr>
              <a:t>Fruit ripening gas is </a:t>
            </a:r>
            <a:br>
              <a:rPr lang="en-US" dirty="0">
                <a:solidFill>
                  <a:schemeClr val="tx1"/>
                </a:solidFill>
              </a:rPr>
            </a:br>
            <a:r>
              <a:rPr lang="en-US" dirty="0">
                <a:solidFill>
                  <a:schemeClr val="tx1"/>
                </a:solidFill>
              </a:rPr>
              <a:t>a 4% ethylene in nitrogen </a:t>
            </a:r>
            <a:br>
              <a:rPr lang="en-US" dirty="0">
                <a:solidFill>
                  <a:schemeClr val="tx1"/>
                </a:solidFill>
              </a:rPr>
            </a:br>
            <a:r>
              <a:rPr lang="en-US" dirty="0">
                <a:solidFill>
                  <a:schemeClr val="tx1"/>
                </a:solidFill>
              </a:rPr>
              <a:t>gas mixture</a:t>
            </a:r>
          </a:p>
        </p:txBody>
      </p:sp>
      <p:sp>
        <p:nvSpPr>
          <p:cNvPr id="143" name="Textfeld 25">
            <a:extLst>
              <a:ext uri="{FF2B5EF4-FFF2-40B4-BE49-F238E27FC236}">
                <a16:creationId xmlns:a16="http://schemas.microsoft.com/office/drawing/2014/main" id="{D5D0E048-D341-42DA-8A80-E133A4FDADA2}"/>
              </a:ext>
            </a:extLst>
          </p:cNvPr>
          <p:cNvSpPr txBox="1"/>
          <p:nvPr/>
        </p:nvSpPr>
        <p:spPr bwMode="gray">
          <a:xfrm>
            <a:off x="6791664" y="5234343"/>
            <a:ext cx="5061600"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dirty="0">
                <a:solidFill>
                  <a:schemeClr val="tx1"/>
                </a:solidFill>
              </a:rPr>
              <a:t>Gas components used, high production </a:t>
            </a:r>
            <a:br>
              <a:rPr lang="en-US" dirty="0">
                <a:solidFill>
                  <a:schemeClr val="tx1"/>
                </a:solidFill>
              </a:rPr>
            </a:br>
            <a:r>
              <a:rPr lang="en-US" dirty="0">
                <a:solidFill>
                  <a:schemeClr val="tx1"/>
                </a:solidFill>
              </a:rPr>
              <a:t>volumes and the % level ranges are like </a:t>
            </a:r>
            <a:br>
              <a:rPr lang="en-US" dirty="0">
                <a:solidFill>
                  <a:schemeClr val="tx1"/>
                </a:solidFill>
              </a:rPr>
            </a:br>
            <a:r>
              <a:rPr lang="en-US" dirty="0">
                <a:solidFill>
                  <a:schemeClr val="tx1"/>
                </a:solidFill>
              </a:rPr>
              <a:t>“industrial” cylinder gas mixtures</a:t>
            </a:r>
          </a:p>
        </p:txBody>
      </p:sp>
      <p:sp>
        <p:nvSpPr>
          <p:cNvPr id="144" name="Date Placeholder 143">
            <a:extLst>
              <a:ext uri="{FF2B5EF4-FFF2-40B4-BE49-F238E27FC236}">
                <a16:creationId xmlns:a16="http://schemas.microsoft.com/office/drawing/2014/main" id="{92843A4A-E285-4B1C-9139-048F4E4D0421}"/>
              </a:ext>
            </a:extLst>
          </p:cNvPr>
          <p:cNvSpPr>
            <a:spLocks noGrp="1"/>
          </p:cNvSpPr>
          <p:nvPr>
            <p:ph type="dt" sz="half" idx="14"/>
          </p:nvPr>
        </p:nvSpPr>
        <p:spPr bwMode="gray"/>
        <p:txBody>
          <a:bodyPr/>
          <a:lstStyle/>
          <a:p>
            <a:fld id="{D1884BE2-6902-472F-A027-446E23D3E42B}" type="datetime4">
              <a:rPr lang="en-US" smtClean="0"/>
              <a:t>September 8, 2019</a:t>
            </a:fld>
            <a:endParaRPr lang="en-US" dirty="0"/>
          </a:p>
        </p:txBody>
      </p:sp>
      <p:sp>
        <p:nvSpPr>
          <p:cNvPr id="145" name="Footer Placeholder 144">
            <a:extLst>
              <a:ext uri="{FF2B5EF4-FFF2-40B4-BE49-F238E27FC236}">
                <a16:creationId xmlns:a16="http://schemas.microsoft.com/office/drawing/2014/main" id="{17C2943B-417E-4396-ADDF-592E85BCE610}"/>
              </a:ext>
            </a:extLst>
          </p:cNvPr>
          <p:cNvSpPr>
            <a:spLocks noGrp="1"/>
          </p:cNvSpPr>
          <p:nvPr>
            <p:ph type="ftr" sz="quarter" idx="15"/>
          </p:nvPr>
        </p:nvSpPr>
        <p:spPr bwMode="gray"/>
        <p:txBody>
          <a:bodyPr/>
          <a:lstStyle/>
          <a:p>
            <a:pPr lvl="8"/>
            <a:endParaRPr lang="en-US" dirty="0"/>
          </a:p>
        </p:txBody>
      </p:sp>
      <p:sp>
        <p:nvSpPr>
          <p:cNvPr id="146" name="Slide Number Placeholder 145">
            <a:extLst>
              <a:ext uri="{FF2B5EF4-FFF2-40B4-BE49-F238E27FC236}">
                <a16:creationId xmlns:a16="http://schemas.microsoft.com/office/drawing/2014/main" id="{53057753-1E6C-46B6-A7D8-75992AD26AC8}"/>
              </a:ext>
            </a:extLst>
          </p:cNvPr>
          <p:cNvSpPr>
            <a:spLocks noGrp="1"/>
          </p:cNvSpPr>
          <p:nvPr>
            <p:ph type="sldNum" sz="quarter" idx="16"/>
          </p:nvPr>
        </p:nvSpPr>
        <p:spPr bwMode="gray"/>
        <p:txBody>
          <a:bodyPr/>
          <a:lstStyle/>
          <a:p>
            <a:r>
              <a:rPr lang="en-US"/>
              <a:t>Slide </a:t>
            </a:r>
            <a:fld id="{619F89D8-7AE3-494A-97F3-03D680869632}" type="slidenum">
              <a:rPr lang="en-US" smtClean="0"/>
              <a:pPr/>
              <a:t>81</a:t>
            </a:fld>
            <a:endParaRPr lang="en-US" dirty="0"/>
          </a:p>
        </p:txBody>
      </p:sp>
    </p:spTree>
    <p:custDataLst>
      <p:tags r:id="rId1"/>
    </p:custDataLst>
    <p:extLst>
      <p:ext uri="{BB962C8B-B14F-4D97-AF65-F5344CB8AC3E}">
        <p14:creationId xmlns:p14="http://schemas.microsoft.com/office/powerpoint/2010/main" val="4003682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wheel(1)">
                                      <p:cBhvr>
                                        <p:cTn id="7" dur="4250"/>
                                        <p:tgtEl>
                                          <p:spTgt spid="111"/>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19"/>
                                        </p:tgtEl>
                                        <p:attrNameLst>
                                          <p:attrName>style.visibility</p:attrName>
                                        </p:attrNameLst>
                                      </p:cBhvr>
                                      <p:to>
                                        <p:strVal val="visible"/>
                                      </p:to>
                                    </p:set>
                                    <p:anim calcmode="lin" valueType="num">
                                      <p:cBhvr>
                                        <p:cTn id="10" dur="500" fill="hold"/>
                                        <p:tgtEl>
                                          <p:spTgt spid="119"/>
                                        </p:tgtEl>
                                        <p:attrNameLst>
                                          <p:attrName>ppt_w</p:attrName>
                                        </p:attrNameLst>
                                      </p:cBhvr>
                                      <p:tavLst>
                                        <p:tav tm="0">
                                          <p:val>
                                            <p:fltVal val="0"/>
                                          </p:val>
                                        </p:tav>
                                        <p:tav tm="100000">
                                          <p:val>
                                            <p:strVal val="#ppt_w"/>
                                          </p:val>
                                        </p:tav>
                                      </p:tavLst>
                                    </p:anim>
                                    <p:anim calcmode="lin" valueType="num">
                                      <p:cBhvr>
                                        <p:cTn id="11" dur="500" fill="hold"/>
                                        <p:tgtEl>
                                          <p:spTgt spid="119"/>
                                        </p:tgtEl>
                                        <p:attrNameLst>
                                          <p:attrName>ppt_h</p:attrName>
                                        </p:attrNameLst>
                                      </p:cBhvr>
                                      <p:tavLst>
                                        <p:tav tm="0">
                                          <p:val>
                                            <p:fltVal val="0"/>
                                          </p:val>
                                        </p:tav>
                                        <p:tav tm="100000">
                                          <p:val>
                                            <p:strVal val="#ppt_h"/>
                                          </p:val>
                                        </p:tav>
                                      </p:tavLst>
                                    </p:anim>
                                    <p:animEffect transition="in" filter="fade">
                                      <p:cBhvr>
                                        <p:cTn id="12" dur="500"/>
                                        <p:tgtEl>
                                          <p:spTgt spid="11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40"/>
                                        </p:tgtEl>
                                        <p:attrNameLst>
                                          <p:attrName>style.visibility</p:attrName>
                                        </p:attrNameLst>
                                      </p:cBhvr>
                                      <p:to>
                                        <p:strVal val="visible"/>
                                      </p:to>
                                    </p:set>
                                    <p:animEffect transition="in" filter="fade">
                                      <p:cBhvr>
                                        <p:cTn id="15" dur="500"/>
                                        <p:tgtEl>
                                          <p:spTgt spid="140"/>
                                        </p:tgtEl>
                                      </p:cBhvr>
                                    </p:animEffect>
                                  </p:childTnLst>
                                </p:cTn>
                              </p:par>
                              <p:par>
                                <p:cTn id="16" presetID="53" presetClass="entr" presetSubtype="16" fill="hold" grpId="0" nodeType="withEffect">
                                  <p:stCondLst>
                                    <p:cond delay="500"/>
                                  </p:stCondLst>
                                  <p:childTnLst>
                                    <p:set>
                                      <p:cBhvr>
                                        <p:cTn id="17" dur="1" fill="hold">
                                          <p:stCondLst>
                                            <p:cond delay="0"/>
                                          </p:stCondLst>
                                        </p:cTn>
                                        <p:tgtEl>
                                          <p:spTgt spid="114"/>
                                        </p:tgtEl>
                                        <p:attrNameLst>
                                          <p:attrName>style.visibility</p:attrName>
                                        </p:attrNameLst>
                                      </p:cBhvr>
                                      <p:to>
                                        <p:strVal val="visible"/>
                                      </p:to>
                                    </p:set>
                                    <p:anim calcmode="lin" valueType="num">
                                      <p:cBhvr>
                                        <p:cTn id="18" dur="500" fill="hold"/>
                                        <p:tgtEl>
                                          <p:spTgt spid="114"/>
                                        </p:tgtEl>
                                        <p:attrNameLst>
                                          <p:attrName>ppt_w</p:attrName>
                                        </p:attrNameLst>
                                      </p:cBhvr>
                                      <p:tavLst>
                                        <p:tav tm="0">
                                          <p:val>
                                            <p:fltVal val="0"/>
                                          </p:val>
                                        </p:tav>
                                        <p:tav tm="100000">
                                          <p:val>
                                            <p:strVal val="#ppt_w"/>
                                          </p:val>
                                        </p:tav>
                                      </p:tavLst>
                                    </p:anim>
                                    <p:anim calcmode="lin" valueType="num">
                                      <p:cBhvr>
                                        <p:cTn id="19" dur="500" fill="hold"/>
                                        <p:tgtEl>
                                          <p:spTgt spid="114"/>
                                        </p:tgtEl>
                                        <p:attrNameLst>
                                          <p:attrName>ppt_h</p:attrName>
                                        </p:attrNameLst>
                                      </p:cBhvr>
                                      <p:tavLst>
                                        <p:tav tm="0">
                                          <p:val>
                                            <p:fltVal val="0"/>
                                          </p:val>
                                        </p:tav>
                                        <p:tav tm="100000">
                                          <p:val>
                                            <p:strVal val="#ppt_h"/>
                                          </p:val>
                                        </p:tav>
                                      </p:tavLst>
                                    </p:anim>
                                    <p:animEffect transition="in" filter="fade">
                                      <p:cBhvr>
                                        <p:cTn id="20" dur="500"/>
                                        <p:tgtEl>
                                          <p:spTgt spid="114"/>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142"/>
                                        </p:tgtEl>
                                        <p:attrNameLst>
                                          <p:attrName>style.visibility</p:attrName>
                                        </p:attrNameLst>
                                      </p:cBhvr>
                                      <p:to>
                                        <p:strVal val="visible"/>
                                      </p:to>
                                    </p:set>
                                    <p:animEffect transition="in" filter="fade">
                                      <p:cBhvr>
                                        <p:cTn id="23" dur="500"/>
                                        <p:tgtEl>
                                          <p:spTgt spid="142"/>
                                        </p:tgtEl>
                                      </p:cBhvr>
                                    </p:animEffect>
                                  </p:childTnLst>
                                </p:cTn>
                              </p:par>
                              <p:par>
                                <p:cTn id="24" presetID="53" presetClass="entr" presetSubtype="16" fill="hold" grpId="0" nodeType="withEffect">
                                  <p:stCondLst>
                                    <p:cond delay="1000"/>
                                  </p:stCondLst>
                                  <p:childTnLst>
                                    <p:set>
                                      <p:cBhvr>
                                        <p:cTn id="25" dur="1" fill="hold">
                                          <p:stCondLst>
                                            <p:cond delay="0"/>
                                          </p:stCondLst>
                                        </p:cTn>
                                        <p:tgtEl>
                                          <p:spTgt spid="118"/>
                                        </p:tgtEl>
                                        <p:attrNameLst>
                                          <p:attrName>style.visibility</p:attrName>
                                        </p:attrNameLst>
                                      </p:cBhvr>
                                      <p:to>
                                        <p:strVal val="visible"/>
                                      </p:to>
                                    </p:set>
                                    <p:anim calcmode="lin" valueType="num">
                                      <p:cBhvr>
                                        <p:cTn id="26" dur="500" fill="hold"/>
                                        <p:tgtEl>
                                          <p:spTgt spid="118"/>
                                        </p:tgtEl>
                                        <p:attrNameLst>
                                          <p:attrName>ppt_w</p:attrName>
                                        </p:attrNameLst>
                                      </p:cBhvr>
                                      <p:tavLst>
                                        <p:tav tm="0">
                                          <p:val>
                                            <p:fltVal val="0"/>
                                          </p:val>
                                        </p:tav>
                                        <p:tav tm="100000">
                                          <p:val>
                                            <p:strVal val="#ppt_w"/>
                                          </p:val>
                                        </p:tav>
                                      </p:tavLst>
                                    </p:anim>
                                    <p:anim calcmode="lin" valueType="num">
                                      <p:cBhvr>
                                        <p:cTn id="27" dur="500" fill="hold"/>
                                        <p:tgtEl>
                                          <p:spTgt spid="118"/>
                                        </p:tgtEl>
                                        <p:attrNameLst>
                                          <p:attrName>ppt_h</p:attrName>
                                        </p:attrNameLst>
                                      </p:cBhvr>
                                      <p:tavLst>
                                        <p:tav tm="0">
                                          <p:val>
                                            <p:fltVal val="0"/>
                                          </p:val>
                                        </p:tav>
                                        <p:tav tm="100000">
                                          <p:val>
                                            <p:strVal val="#ppt_h"/>
                                          </p:val>
                                        </p:tav>
                                      </p:tavLst>
                                    </p:anim>
                                    <p:animEffect transition="in" filter="fade">
                                      <p:cBhvr>
                                        <p:cTn id="28" dur="500"/>
                                        <p:tgtEl>
                                          <p:spTgt spid="118"/>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141"/>
                                        </p:tgtEl>
                                        <p:attrNameLst>
                                          <p:attrName>style.visibility</p:attrName>
                                        </p:attrNameLst>
                                      </p:cBhvr>
                                      <p:to>
                                        <p:strVal val="visible"/>
                                      </p:to>
                                    </p:set>
                                    <p:animEffect transition="in" filter="fade">
                                      <p:cBhvr>
                                        <p:cTn id="31" dur="500"/>
                                        <p:tgtEl>
                                          <p:spTgt spid="141"/>
                                        </p:tgtEl>
                                      </p:cBhvr>
                                    </p:animEffect>
                                  </p:childTnLst>
                                </p:cTn>
                              </p:par>
                              <p:par>
                                <p:cTn id="32" presetID="53" presetClass="entr" presetSubtype="16" fill="hold" grpId="0" nodeType="withEffect">
                                  <p:stCondLst>
                                    <p:cond delay="1500"/>
                                  </p:stCondLst>
                                  <p:childTnLst>
                                    <p:set>
                                      <p:cBhvr>
                                        <p:cTn id="33" dur="1" fill="hold">
                                          <p:stCondLst>
                                            <p:cond delay="0"/>
                                          </p:stCondLst>
                                        </p:cTn>
                                        <p:tgtEl>
                                          <p:spTgt spid="115"/>
                                        </p:tgtEl>
                                        <p:attrNameLst>
                                          <p:attrName>style.visibility</p:attrName>
                                        </p:attrNameLst>
                                      </p:cBhvr>
                                      <p:to>
                                        <p:strVal val="visible"/>
                                      </p:to>
                                    </p:set>
                                    <p:anim calcmode="lin" valueType="num">
                                      <p:cBhvr>
                                        <p:cTn id="34" dur="500" fill="hold"/>
                                        <p:tgtEl>
                                          <p:spTgt spid="115"/>
                                        </p:tgtEl>
                                        <p:attrNameLst>
                                          <p:attrName>ppt_w</p:attrName>
                                        </p:attrNameLst>
                                      </p:cBhvr>
                                      <p:tavLst>
                                        <p:tav tm="0">
                                          <p:val>
                                            <p:fltVal val="0"/>
                                          </p:val>
                                        </p:tav>
                                        <p:tav tm="100000">
                                          <p:val>
                                            <p:strVal val="#ppt_w"/>
                                          </p:val>
                                        </p:tav>
                                      </p:tavLst>
                                    </p:anim>
                                    <p:anim calcmode="lin" valueType="num">
                                      <p:cBhvr>
                                        <p:cTn id="35" dur="500" fill="hold"/>
                                        <p:tgtEl>
                                          <p:spTgt spid="115"/>
                                        </p:tgtEl>
                                        <p:attrNameLst>
                                          <p:attrName>ppt_h</p:attrName>
                                        </p:attrNameLst>
                                      </p:cBhvr>
                                      <p:tavLst>
                                        <p:tav tm="0">
                                          <p:val>
                                            <p:fltVal val="0"/>
                                          </p:val>
                                        </p:tav>
                                        <p:tav tm="100000">
                                          <p:val>
                                            <p:strVal val="#ppt_h"/>
                                          </p:val>
                                        </p:tav>
                                      </p:tavLst>
                                    </p:anim>
                                    <p:animEffect transition="in" filter="fade">
                                      <p:cBhvr>
                                        <p:cTn id="36" dur="500"/>
                                        <p:tgtEl>
                                          <p:spTgt spid="115"/>
                                        </p:tgtEl>
                                      </p:cBhvr>
                                    </p:animEffect>
                                  </p:childTnLst>
                                </p:cTn>
                              </p:par>
                              <p:par>
                                <p:cTn id="37" presetID="10" presetClass="entr" presetSubtype="0" fill="hold" grpId="0" nodeType="withEffect">
                                  <p:stCondLst>
                                    <p:cond delay="1500"/>
                                  </p:stCondLst>
                                  <p:childTnLst>
                                    <p:set>
                                      <p:cBhvr>
                                        <p:cTn id="38" dur="1" fill="hold">
                                          <p:stCondLst>
                                            <p:cond delay="0"/>
                                          </p:stCondLst>
                                        </p:cTn>
                                        <p:tgtEl>
                                          <p:spTgt spid="143"/>
                                        </p:tgtEl>
                                        <p:attrNameLst>
                                          <p:attrName>style.visibility</p:attrName>
                                        </p:attrNameLst>
                                      </p:cBhvr>
                                      <p:to>
                                        <p:strVal val="visible"/>
                                      </p:to>
                                    </p:set>
                                    <p:animEffect transition="in" filter="fade">
                                      <p:cBhvr>
                                        <p:cTn id="39" dur="500"/>
                                        <p:tgtEl>
                                          <p:spTgt spid="143"/>
                                        </p:tgtEl>
                                      </p:cBhvr>
                                    </p:animEffect>
                                  </p:childTnLst>
                                </p:cTn>
                              </p:par>
                              <p:par>
                                <p:cTn id="40" presetID="53" presetClass="entr" presetSubtype="16" fill="hold" grpId="0" nodeType="withEffect">
                                  <p:stCondLst>
                                    <p:cond delay="2000"/>
                                  </p:stCondLst>
                                  <p:childTnLst>
                                    <p:set>
                                      <p:cBhvr>
                                        <p:cTn id="41" dur="1" fill="hold">
                                          <p:stCondLst>
                                            <p:cond delay="0"/>
                                          </p:stCondLst>
                                        </p:cTn>
                                        <p:tgtEl>
                                          <p:spTgt spid="113"/>
                                        </p:tgtEl>
                                        <p:attrNameLst>
                                          <p:attrName>style.visibility</p:attrName>
                                        </p:attrNameLst>
                                      </p:cBhvr>
                                      <p:to>
                                        <p:strVal val="visible"/>
                                      </p:to>
                                    </p:set>
                                    <p:anim calcmode="lin" valueType="num">
                                      <p:cBhvr>
                                        <p:cTn id="42" dur="500" fill="hold"/>
                                        <p:tgtEl>
                                          <p:spTgt spid="113"/>
                                        </p:tgtEl>
                                        <p:attrNameLst>
                                          <p:attrName>ppt_w</p:attrName>
                                        </p:attrNameLst>
                                      </p:cBhvr>
                                      <p:tavLst>
                                        <p:tav tm="0">
                                          <p:val>
                                            <p:fltVal val="0"/>
                                          </p:val>
                                        </p:tav>
                                        <p:tav tm="100000">
                                          <p:val>
                                            <p:strVal val="#ppt_w"/>
                                          </p:val>
                                        </p:tav>
                                      </p:tavLst>
                                    </p:anim>
                                    <p:anim calcmode="lin" valueType="num">
                                      <p:cBhvr>
                                        <p:cTn id="43" dur="500" fill="hold"/>
                                        <p:tgtEl>
                                          <p:spTgt spid="113"/>
                                        </p:tgtEl>
                                        <p:attrNameLst>
                                          <p:attrName>ppt_h</p:attrName>
                                        </p:attrNameLst>
                                      </p:cBhvr>
                                      <p:tavLst>
                                        <p:tav tm="0">
                                          <p:val>
                                            <p:fltVal val="0"/>
                                          </p:val>
                                        </p:tav>
                                        <p:tav tm="100000">
                                          <p:val>
                                            <p:strVal val="#ppt_h"/>
                                          </p:val>
                                        </p:tav>
                                      </p:tavLst>
                                    </p:anim>
                                    <p:animEffect transition="in" filter="fade">
                                      <p:cBhvr>
                                        <p:cTn id="44" dur="500"/>
                                        <p:tgtEl>
                                          <p:spTgt spid="113"/>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38"/>
                                        </p:tgtEl>
                                        <p:attrNameLst>
                                          <p:attrName>style.visibility</p:attrName>
                                        </p:attrNameLst>
                                      </p:cBhvr>
                                      <p:to>
                                        <p:strVal val="visible"/>
                                      </p:to>
                                    </p:set>
                                    <p:animEffect transition="in" filter="fade">
                                      <p:cBhvr>
                                        <p:cTn id="47" dur="500"/>
                                        <p:tgtEl>
                                          <p:spTgt spid="138"/>
                                        </p:tgtEl>
                                      </p:cBhvr>
                                    </p:animEffect>
                                  </p:childTnLst>
                                </p:cTn>
                              </p:par>
                              <p:par>
                                <p:cTn id="48" presetID="53" presetClass="entr" presetSubtype="16" fill="hold" grpId="0" nodeType="withEffect">
                                  <p:stCondLst>
                                    <p:cond delay="2500"/>
                                  </p:stCondLst>
                                  <p:childTnLst>
                                    <p:set>
                                      <p:cBhvr>
                                        <p:cTn id="49" dur="1" fill="hold">
                                          <p:stCondLst>
                                            <p:cond delay="0"/>
                                          </p:stCondLst>
                                        </p:cTn>
                                        <p:tgtEl>
                                          <p:spTgt spid="117"/>
                                        </p:tgtEl>
                                        <p:attrNameLst>
                                          <p:attrName>style.visibility</p:attrName>
                                        </p:attrNameLst>
                                      </p:cBhvr>
                                      <p:to>
                                        <p:strVal val="visible"/>
                                      </p:to>
                                    </p:set>
                                    <p:anim calcmode="lin" valueType="num">
                                      <p:cBhvr>
                                        <p:cTn id="50" dur="500" fill="hold"/>
                                        <p:tgtEl>
                                          <p:spTgt spid="117"/>
                                        </p:tgtEl>
                                        <p:attrNameLst>
                                          <p:attrName>ppt_w</p:attrName>
                                        </p:attrNameLst>
                                      </p:cBhvr>
                                      <p:tavLst>
                                        <p:tav tm="0">
                                          <p:val>
                                            <p:fltVal val="0"/>
                                          </p:val>
                                        </p:tav>
                                        <p:tav tm="100000">
                                          <p:val>
                                            <p:strVal val="#ppt_w"/>
                                          </p:val>
                                        </p:tav>
                                      </p:tavLst>
                                    </p:anim>
                                    <p:anim calcmode="lin" valueType="num">
                                      <p:cBhvr>
                                        <p:cTn id="51" dur="500" fill="hold"/>
                                        <p:tgtEl>
                                          <p:spTgt spid="117"/>
                                        </p:tgtEl>
                                        <p:attrNameLst>
                                          <p:attrName>ppt_h</p:attrName>
                                        </p:attrNameLst>
                                      </p:cBhvr>
                                      <p:tavLst>
                                        <p:tav tm="0">
                                          <p:val>
                                            <p:fltVal val="0"/>
                                          </p:val>
                                        </p:tav>
                                        <p:tav tm="100000">
                                          <p:val>
                                            <p:strVal val="#ppt_h"/>
                                          </p:val>
                                        </p:tav>
                                      </p:tavLst>
                                    </p:anim>
                                    <p:animEffect transition="in" filter="fade">
                                      <p:cBhvr>
                                        <p:cTn id="52" dur="500"/>
                                        <p:tgtEl>
                                          <p:spTgt spid="117"/>
                                        </p:tgtEl>
                                      </p:cBhvr>
                                    </p:animEffect>
                                  </p:childTnLst>
                                </p:cTn>
                              </p:par>
                              <p:par>
                                <p:cTn id="53" presetID="10" presetClass="entr" presetSubtype="0" fill="hold" grpId="0" nodeType="withEffect">
                                  <p:stCondLst>
                                    <p:cond delay="2500"/>
                                  </p:stCondLst>
                                  <p:childTnLst>
                                    <p:set>
                                      <p:cBhvr>
                                        <p:cTn id="54" dur="1" fill="hold">
                                          <p:stCondLst>
                                            <p:cond delay="0"/>
                                          </p:stCondLst>
                                        </p:cTn>
                                        <p:tgtEl>
                                          <p:spTgt spid="139"/>
                                        </p:tgtEl>
                                        <p:attrNameLst>
                                          <p:attrName>style.visibility</p:attrName>
                                        </p:attrNameLst>
                                      </p:cBhvr>
                                      <p:to>
                                        <p:strVal val="visible"/>
                                      </p:to>
                                    </p:set>
                                    <p:animEffect transition="in" filter="fade">
                                      <p:cBhvr>
                                        <p:cTn id="55" dur="500"/>
                                        <p:tgtEl>
                                          <p:spTgt spid="139"/>
                                        </p:tgtEl>
                                      </p:cBhvr>
                                    </p:animEffect>
                                  </p:childTnLst>
                                </p:cTn>
                              </p:par>
                              <p:par>
                                <p:cTn id="56" presetID="53" presetClass="entr" presetSubtype="16" fill="hold" grpId="0" nodeType="withEffect">
                                  <p:stCondLst>
                                    <p:cond delay="3000"/>
                                  </p:stCondLst>
                                  <p:childTnLst>
                                    <p:set>
                                      <p:cBhvr>
                                        <p:cTn id="57" dur="1" fill="hold">
                                          <p:stCondLst>
                                            <p:cond delay="0"/>
                                          </p:stCondLst>
                                        </p:cTn>
                                        <p:tgtEl>
                                          <p:spTgt spid="116"/>
                                        </p:tgtEl>
                                        <p:attrNameLst>
                                          <p:attrName>style.visibility</p:attrName>
                                        </p:attrNameLst>
                                      </p:cBhvr>
                                      <p:to>
                                        <p:strVal val="visible"/>
                                      </p:to>
                                    </p:set>
                                    <p:anim calcmode="lin" valueType="num">
                                      <p:cBhvr>
                                        <p:cTn id="58" dur="500" fill="hold"/>
                                        <p:tgtEl>
                                          <p:spTgt spid="116"/>
                                        </p:tgtEl>
                                        <p:attrNameLst>
                                          <p:attrName>ppt_w</p:attrName>
                                        </p:attrNameLst>
                                      </p:cBhvr>
                                      <p:tavLst>
                                        <p:tav tm="0">
                                          <p:val>
                                            <p:fltVal val="0"/>
                                          </p:val>
                                        </p:tav>
                                        <p:tav tm="100000">
                                          <p:val>
                                            <p:strVal val="#ppt_w"/>
                                          </p:val>
                                        </p:tav>
                                      </p:tavLst>
                                    </p:anim>
                                    <p:anim calcmode="lin" valueType="num">
                                      <p:cBhvr>
                                        <p:cTn id="59" dur="500" fill="hold"/>
                                        <p:tgtEl>
                                          <p:spTgt spid="116"/>
                                        </p:tgtEl>
                                        <p:attrNameLst>
                                          <p:attrName>ppt_h</p:attrName>
                                        </p:attrNameLst>
                                      </p:cBhvr>
                                      <p:tavLst>
                                        <p:tav tm="0">
                                          <p:val>
                                            <p:fltVal val="0"/>
                                          </p:val>
                                        </p:tav>
                                        <p:tav tm="100000">
                                          <p:val>
                                            <p:strVal val="#ppt_h"/>
                                          </p:val>
                                        </p:tav>
                                      </p:tavLst>
                                    </p:anim>
                                    <p:animEffect transition="in" filter="fade">
                                      <p:cBhvr>
                                        <p:cTn id="60" dur="500"/>
                                        <p:tgtEl>
                                          <p:spTgt spid="116"/>
                                        </p:tgtEl>
                                      </p:cBhvr>
                                    </p:animEffect>
                                  </p:childTnLst>
                                </p:cTn>
                              </p:par>
                              <p:par>
                                <p:cTn id="61" presetID="10" presetClass="entr" presetSubtype="0" fill="hold" grpId="0" nodeType="withEffect">
                                  <p:stCondLst>
                                    <p:cond delay="3000"/>
                                  </p:stCondLst>
                                  <p:childTnLst>
                                    <p:set>
                                      <p:cBhvr>
                                        <p:cTn id="62" dur="1" fill="hold">
                                          <p:stCondLst>
                                            <p:cond delay="0"/>
                                          </p:stCondLst>
                                        </p:cTn>
                                        <p:tgtEl>
                                          <p:spTgt spid="137"/>
                                        </p:tgtEl>
                                        <p:attrNameLst>
                                          <p:attrName>style.visibility</p:attrName>
                                        </p:attrNameLst>
                                      </p:cBhvr>
                                      <p:to>
                                        <p:strVal val="visible"/>
                                      </p:to>
                                    </p:set>
                                    <p:animEffect transition="in" filter="fade">
                                      <p:cBhvr>
                                        <p:cTn id="63" dur="500"/>
                                        <p:tgtEl>
                                          <p:spTgt spid="1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 grpId="0" animBg="1"/>
      <p:bldP spid="113" grpId="0" animBg="1"/>
      <p:bldP spid="114" grpId="0" animBg="1"/>
      <p:bldP spid="115" grpId="0" animBg="1"/>
      <p:bldP spid="116" grpId="0" animBg="1"/>
      <p:bldP spid="117" grpId="0" animBg="1"/>
      <p:bldP spid="118" grpId="0" animBg="1"/>
      <p:bldP spid="119" grpId="0" animBg="1"/>
      <p:bldP spid="137" grpId="0"/>
      <p:bldP spid="138" grpId="0"/>
      <p:bldP spid="139" grpId="0"/>
      <p:bldP spid="140" grpId="0"/>
      <p:bldP spid="141" grpId="0"/>
      <p:bldP spid="142" grpId="0"/>
      <p:bldP spid="143"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Subtitle 157">
            <a:extLst>
              <a:ext uri="{FF2B5EF4-FFF2-40B4-BE49-F238E27FC236}">
                <a16:creationId xmlns:a16="http://schemas.microsoft.com/office/drawing/2014/main" id="{1701E821-F4DF-42AE-AC37-9DB994294191}"/>
              </a:ext>
            </a:extLst>
          </p:cNvPr>
          <p:cNvSpPr>
            <a:spLocks noGrp="1"/>
          </p:cNvSpPr>
          <p:nvPr>
            <p:ph type="subTitle" idx="13"/>
          </p:nvPr>
        </p:nvSpPr>
        <p:spPr bwMode="gray"/>
        <p:txBody>
          <a:bodyPr/>
          <a:lstStyle/>
          <a:p>
            <a:r>
              <a:rPr lang="en-US" dirty="0"/>
              <a:t>Sold with a certificate of analysis which states the precise composition of the gas</a:t>
            </a:r>
          </a:p>
        </p:txBody>
      </p:sp>
      <p:sp>
        <p:nvSpPr>
          <p:cNvPr id="2" name="Title 1">
            <a:extLst>
              <a:ext uri="{FF2B5EF4-FFF2-40B4-BE49-F238E27FC236}">
                <a16:creationId xmlns:a16="http://schemas.microsoft.com/office/drawing/2014/main" id="{4DDE8ADC-3C61-4548-A6B5-C3924CFF5213}"/>
              </a:ext>
            </a:extLst>
          </p:cNvPr>
          <p:cNvSpPr>
            <a:spLocks noGrp="1"/>
          </p:cNvSpPr>
          <p:nvPr>
            <p:ph type="title"/>
          </p:nvPr>
        </p:nvSpPr>
        <p:spPr bwMode="gray"/>
        <p:txBody>
          <a:bodyPr/>
          <a:lstStyle/>
          <a:p>
            <a:r>
              <a:rPr lang="en-US" dirty="0"/>
              <a:t>Specialty gases / gas mixtures</a:t>
            </a:r>
          </a:p>
        </p:txBody>
      </p:sp>
      <p:sp>
        <p:nvSpPr>
          <p:cNvPr id="161" name="Textfeld 25">
            <a:extLst>
              <a:ext uri="{FF2B5EF4-FFF2-40B4-BE49-F238E27FC236}">
                <a16:creationId xmlns:a16="http://schemas.microsoft.com/office/drawing/2014/main" id="{A2C72053-8605-461D-9DBA-8263D30B407C}"/>
              </a:ext>
            </a:extLst>
          </p:cNvPr>
          <p:cNvSpPr txBox="1"/>
          <p:nvPr/>
        </p:nvSpPr>
        <p:spPr bwMode="gray">
          <a:xfrm>
            <a:off x="336549" y="3000641"/>
            <a:ext cx="4526613"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solidFill>
                  <a:schemeClr val="tx1"/>
                </a:solidFill>
              </a:rPr>
              <a:t>Some extreme niche mixtures </a:t>
            </a:r>
            <a:br>
              <a:rPr lang="en-US" dirty="0">
                <a:solidFill>
                  <a:schemeClr val="tx1"/>
                </a:solidFill>
              </a:rPr>
            </a:br>
            <a:r>
              <a:rPr lang="en-US" dirty="0">
                <a:solidFill>
                  <a:schemeClr val="tx1"/>
                </a:solidFill>
              </a:rPr>
              <a:t>(e.g. TO14, TO17 VOCs or elemental Hg) produced in 1 or 2 locations globally</a:t>
            </a:r>
          </a:p>
        </p:txBody>
      </p:sp>
      <p:sp>
        <p:nvSpPr>
          <p:cNvPr id="162" name="Textfeld 25">
            <a:extLst>
              <a:ext uri="{FF2B5EF4-FFF2-40B4-BE49-F238E27FC236}">
                <a16:creationId xmlns:a16="http://schemas.microsoft.com/office/drawing/2014/main" id="{147DC78B-6767-4613-994F-7580B6BB333E}"/>
              </a:ext>
            </a:extLst>
          </p:cNvPr>
          <p:cNvSpPr txBox="1"/>
          <p:nvPr/>
        </p:nvSpPr>
        <p:spPr bwMode="gray">
          <a:xfrm>
            <a:off x="338735" y="4327022"/>
            <a:ext cx="4524428"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solidFill>
                  <a:schemeClr val="tx1"/>
                </a:solidFill>
              </a:rPr>
              <a:t>More complex specialty gas mixtures produced at hub locations on a regional basis (e.g. Western Europe, Eastern Europe, </a:t>
            </a:r>
            <a:br>
              <a:rPr lang="en-US" dirty="0">
                <a:solidFill>
                  <a:schemeClr val="tx1"/>
                </a:solidFill>
              </a:rPr>
            </a:br>
            <a:r>
              <a:rPr lang="en-US" dirty="0">
                <a:solidFill>
                  <a:schemeClr val="tx1"/>
                </a:solidFill>
              </a:rPr>
              <a:t>South-East Asia)</a:t>
            </a:r>
          </a:p>
        </p:txBody>
      </p:sp>
      <p:sp>
        <p:nvSpPr>
          <p:cNvPr id="163" name="Textfeld 25">
            <a:extLst>
              <a:ext uri="{FF2B5EF4-FFF2-40B4-BE49-F238E27FC236}">
                <a16:creationId xmlns:a16="http://schemas.microsoft.com/office/drawing/2014/main" id="{48DA1083-2D84-478D-A1AE-13391F481468}"/>
              </a:ext>
            </a:extLst>
          </p:cNvPr>
          <p:cNvSpPr txBox="1"/>
          <p:nvPr/>
        </p:nvSpPr>
        <p:spPr bwMode="gray">
          <a:xfrm>
            <a:off x="4030494" y="2021510"/>
            <a:ext cx="4131012"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ctr"/>
            <a:r>
              <a:rPr lang="en-US" dirty="0">
                <a:solidFill>
                  <a:schemeClr val="tx1"/>
                </a:solidFill>
              </a:rPr>
              <a:t>Number of instruments depends </a:t>
            </a:r>
            <a:br>
              <a:rPr lang="en-US" dirty="0">
                <a:solidFill>
                  <a:schemeClr val="tx1"/>
                </a:solidFill>
              </a:rPr>
            </a:br>
            <a:r>
              <a:rPr lang="en-US" dirty="0">
                <a:solidFill>
                  <a:schemeClr val="tx1"/>
                </a:solidFill>
              </a:rPr>
              <a:t>on complexity of gases</a:t>
            </a:r>
          </a:p>
        </p:txBody>
      </p:sp>
      <p:sp>
        <p:nvSpPr>
          <p:cNvPr id="164" name="Textfeld 25">
            <a:extLst>
              <a:ext uri="{FF2B5EF4-FFF2-40B4-BE49-F238E27FC236}">
                <a16:creationId xmlns:a16="http://schemas.microsoft.com/office/drawing/2014/main" id="{E4A3B6CF-E556-41FC-8C55-129D54F4A468}"/>
              </a:ext>
            </a:extLst>
          </p:cNvPr>
          <p:cNvSpPr txBox="1"/>
          <p:nvPr/>
        </p:nvSpPr>
        <p:spPr bwMode="gray">
          <a:xfrm>
            <a:off x="7334973" y="3000641"/>
            <a:ext cx="4522065"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dirty="0">
                <a:solidFill>
                  <a:schemeClr val="tx1"/>
                </a:solidFill>
              </a:rPr>
              <a:t>Typically more than 20 analyzers </a:t>
            </a:r>
            <a:br>
              <a:rPr lang="en-US" dirty="0">
                <a:solidFill>
                  <a:schemeClr val="tx1"/>
                </a:solidFill>
              </a:rPr>
            </a:br>
            <a:r>
              <a:rPr lang="en-US" dirty="0">
                <a:solidFill>
                  <a:schemeClr val="tx1"/>
                </a:solidFill>
              </a:rPr>
              <a:t>per filling operation</a:t>
            </a:r>
          </a:p>
        </p:txBody>
      </p:sp>
      <p:sp>
        <p:nvSpPr>
          <p:cNvPr id="165" name="Textfeld 25">
            <a:extLst>
              <a:ext uri="{FF2B5EF4-FFF2-40B4-BE49-F238E27FC236}">
                <a16:creationId xmlns:a16="http://schemas.microsoft.com/office/drawing/2014/main" id="{75F734A9-D3F5-443C-BE1F-7501374158D0}"/>
              </a:ext>
            </a:extLst>
          </p:cNvPr>
          <p:cNvSpPr txBox="1"/>
          <p:nvPr/>
        </p:nvSpPr>
        <p:spPr bwMode="gray">
          <a:xfrm>
            <a:off x="7334974" y="4327022"/>
            <a:ext cx="4518290"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b="1" dirty="0"/>
              <a:t>Range from simple NDIR and Paramagnetic analyzers for CO</a:t>
            </a:r>
            <a:r>
              <a:rPr lang="en-US" b="1" baseline="-25000" dirty="0"/>
              <a:t>2</a:t>
            </a:r>
            <a:r>
              <a:rPr lang="en-US" b="1" dirty="0"/>
              <a:t>, CO and O</a:t>
            </a:r>
            <a:r>
              <a:rPr lang="en-US" b="1" baseline="-25000" dirty="0"/>
              <a:t>2</a:t>
            </a:r>
            <a:r>
              <a:rPr lang="en-US" b="1" dirty="0"/>
              <a:t> to more sophisticated GC-FID setups for complex multi-component hydrocarbon blends</a:t>
            </a:r>
          </a:p>
        </p:txBody>
      </p:sp>
      <p:sp>
        <p:nvSpPr>
          <p:cNvPr id="166" name="Oval 165">
            <a:extLst>
              <a:ext uri="{FF2B5EF4-FFF2-40B4-BE49-F238E27FC236}">
                <a16:creationId xmlns:a16="http://schemas.microsoft.com/office/drawing/2014/main" id="{B8F6814B-3BFD-4814-BD9E-FC3A4171C56C}"/>
              </a:ext>
            </a:extLst>
          </p:cNvPr>
          <p:cNvSpPr/>
          <p:nvPr/>
        </p:nvSpPr>
        <p:spPr bwMode="gray">
          <a:xfrm>
            <a:off x="4930992" y="2759292"/>
            <a:ext cx="2330016" cy="2330016"/>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67" name="Oval 166">
            <a:extLst>
              <a:ext uri="{FF2B5EF4-FFF2-40B4-BE49-F238E27FC236}">
                <a16:creationId xmlns:a16="http://schemas.microsoft.com/office/drawing/2014/main" id="{651474EC-2842-437D-8A0E-3C90BDBE6D91}"/>
              </a:ext>
            </a:extLst>
          </p:cNvPr>
          <p:cNvSpPr/>
          <p:nvPr/>
        </p:nvSpPr>
        <p:spPr bwMode="gray">
          <a:xfrm>
            <a:off x="5043169" y="4471538"/>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68" name="Oval 167">
            <a:extLst>
              <a:ext uri="{FF2B5EF4-FFF2-40B4-BE49-F238E27FC236}">
                <a16:creationId xmlns:a16="http://schemas.microsoft.com/office/drawing/2014/main" id="{BEF848FC-473B-47DB-9887-3D148AC2BAB7}"/>
              </a:ext>
            </a:extLst>
          </p:cNvPr>
          <p:cNvSpPr/>
          <p:nvPr/>
        </p:nvSpPr>
        <p:spPr bwMode="gray">
          <a:xfrm>
            <a:off x="7078374" y="3322686"/>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69" name="Oval 168">
            <a:extLst>
              <a:ext uri="{FF2B5EF4-FFF2-40B4-BE49-F238E27FC236}">
                <a16:creationId xmlns:a16="http://schemas.microsoft.com/office/drawing/2014/main" id="{0590DCC2-CAEA-4734-B312-682AE9D9850C}"/>
              </a:ext>
            </a:extLst>
          </p:cNvPr>
          <p:cNvSpPr/>
          <p:nvPr/>
        </p:nvSpPr>
        <p:spPr bwMode="gray">
          <a:xfrm>
            <a:off x="7078374" y="4471473"/>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70" name="Oval 169">
            <a:extLst>
              <a:ext uri="{FF2B5EF4-FFF2-40B4-BE49-F238E27FC236}">
                <a16:creationId xmlns:a16="http://schemas.microsoft.com/office/drawing/2014/main" id="{AFE65157-6F41-42FE-AA03-DDD1770A4EFB}"/>
              </a:ext>
            </a:extLst>
          </p:cNvPr>
          <p:cNvSpPr/>
          <p:nvPr/>
        </p:nvSpPr>
        <p:spPr bwMode="gray">
          <a:xfrm>
            <a:off x="5043169" y="3322621"/>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71" name="Oval 170">
            <a:extLst>
              <a:ext uri="{FF2B5EF4-FFF2-40B4-BE49-F238E27FC236}">
                <a16:creationId xmlns:a16="http://schemas.microsoft.com/office/drawing/2014/main" id="{4E9A8273-C7B8-4856-BE55-FDD555EDA6FF}"/>
              </a:ext>
            </a:extLst>
          </p:cNvPr>
          <p:cNvSpPr/>
          <p:nvPr/>
        </p:nvSpPr>
        <p:spPr bwMode="gray">
          <a:xfrm>
            <a:off x="6060864" y="5052196"/>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72" name="Oval 171">
            <a:extLst>
              <a:ext uri="{FF2B5EF4-FFF2-40B4-BE49-F238E27FC236}">
                <a16:creationId xmlns:a16="http://schemas.microsoft.com/office/drawing/2014/main" id="{7D1F2A4F-8E4D-48AD-8E1D-AD3CD90BE16C}"/>
              </a:ext>
            </a:extLst>
          </p:cNvPr>
          <p:cNvSpPr/>
          <p:nvPr/>
        </p:nvSpPr>
        <p:spPr bwMode="gray">
          <a:xfrm>
            <a:off x="6060864" y="2725947"/>
            <a:ext cx="70457" cy="70457"/>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173" name="Textfeld 25">
            <a:extLst>
              <a:ext uri="{FF2B5EF4-FFF2-40B4-BE49-F238E27FC236}">
                <a16:creationId xmlns:a16="http://schemas.microsoft.com/office/drawing/2014/main" id="{AAB60827-9583-4CF4-A863-7CB1333C2EA6}"/>
              </a:ext>
            </a:extLst>
          </p:cNvPr>
          <p:cNvSpPr txBox="1"/>
          <p:nvPr/>
        </p:nvSpPr>
        <p:spPr bwMode="gray">
          <a:xfrm>
            <a:off x="4369022" y="5306154"/>
            <a:ext cx="3453956"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ctr"/>
            <a:r>
              <a:rPr lang="en-US" dirty="0">
                <a:solidFill>
                  <a:schemeClr val="tx1"/>
                </a:solidFill>
              </a:rPr>
              <a:t>Most industrial gas companies produce some simple specialty gas mixtures locally in most countries</a:t>
            </a:r>
          </a:p>
        </p:txBody>
      </p:sp>
      <p:grpSp>
        <p:nvGrpSpPr>
          <p:cNvPr id="175" name="Group 174">
            <a:extLst>
              <a:ext uri="{FF2B5EF4-FFF2-40B4-BE49-F238E27FC236}">
                <a16:creationId xmlns:a16="http://schemas.microsoft.com/office/drawing/2014/main" id="{EBA25E29-56DA-4D15-9392-74AB5FC39782}"/>
              </a:ext>
            </a:extLst>
          </p:cNvPr>
          <p:cNvGrpSpPr/>
          <p:nvPr/>
        </p:nvGrpSpPr>
        <p:grpSpPr bwMode="gray">
          <a:xfrm>
            <a:off x="5559486" y="3390139"/>
            <a:ext cx="329895" cy="1068323"/>
            <a:chOff x="3909933" y="3544064"/>
            <a:chExt cx="107385" cy="347753"/>
          </a:xfrm>
        </p:grpSpPr>
        <p:sp>
          <p:nvSpPr>
            <p:cNvPr id="176" name="Rectangle: Rounded Corners 49">
              <a:extLst>
                <a:ext uri="{FF2B5EF4-FFF2-40B4-BE49-F238E27FC236}">
                  <a16:creationId xmlns:a16="http://schemas.microsoft.com/office/drawing/2014/main" id="{EFA791D6-BF25-4CBF-AE89-906163F65C88}"/>
                </a:ext>
              </a:extLst>
            </p:cNvPr>
            <p:cNvSpPr/>
            <p:nvPr/>
          </p:nvSpPr>
          <p:spPr bwMode="gray">
            <a:xfrm>
              <a:off x="3909933" y="3626335"/>
              <a:ext cx="101694" cy="232027"/>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177" name="Freeform: Shape 176">
              <a:extLst>
                <a:ext uri="{FF2B5EF4-FFF2-40B4-BE49-F238E27FC236}">
                  <a16:creationId xmlns:a16="http://schemas.microsoft.com/office/drawing/2014/main" id="{B0748621-6CAE-4F43-95E6-5D68CF4D7842}"/>
                </a:ext>
              </a:extLst>
            </p:cNvPr>
            <p:cNvSpPr/>
            <p:nvPr/>
          </p:nvSpPr>
          <p:spPr bwMode="gray">
            <a:xfrm>
              <a:off x="3941540" y="3570552"/>
              <a:ext cx="38480" cy="57600"/>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178" name="Straight Connector 177">
              <a:extLst>
                <a:ext uri="{FF2B5EF4-FFF2-40B4-BE49-F238E27FC236}">
                  <a16:creationId xmlns:a16="http://schemas.microsoft.com/office/drawing/2014/main" id="{4B01C83B-FE93-47B7-B078-92E484AD991D}"/>
                </a:ext>
              </a:extLst>
            </p:cNvPr>
            <p:cNvCxnSpPr>
              <a:cxnSpLocks/>
            </p:cNvCxnSpPr>
            <p:nvPr/>
          </p:nvCxnSpPr>
          <p:spPr bwMode="gray">
            <a:xfrm>
              <a:off x="3981318" y="3599824"/>
              <a:ext cx="36000" cy="0"/>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179" name="Rectangle: Rounded Corners 49">
              <a:extLst>
                <a:ext uri="{FF2B5EF4-FFF2-40B4-BE49-F238E27FC236}">
                  <a16:creationId xmlns:a16="http://schemas.microsoft.com/office/drawing/2014/main" id="{7EFB1733-DEFC-44AA-89F5-D662282861A6}"/>
                </a:ext>
              </a:extLst>
            </p:cNvPr>
            <p:cNvSpPr/>
            <p:nvPr/>
          </p:nvSpPr>
          <p:spPr bwMode="gray">
            <a:xfrm>
              <a:off x="3909933" y="3858362"/>
              <a:ext cx="101694" cy="33455"/>
            </a:xfrm>
            <a:prstGeom prst="rect">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180" name="Straight Connector 179">
              <a:extLst>
                <a:ext uri="{FF2B5EF4-FFF2-40B4-BE49-F238E27FC236}">
                  <a16:creationId xmlns:a16="http://schemas.microsoft.com/office/drawing/2014/main" id="{D25AFBE4-F094-4E64-910C-1C1F588B26DD}"/>
                </a:ext>
              </a:extLst>
            </p:cNvPr>
            <p:cNvCxnSpPr>
              <a:cxnSpLocks/>
            </p:cNvCxnSpPr>
            <p:nvPr/>
          </p:nvCxnSpPr>
          <p:spPr bwMode="gray">
            <a:xfrm>
              <a:off x="3941540" y="3548247"/>
              <a:ext cx="38480" cy="0"/>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181" name="Straight Connector 180">
              <a:extLst>
                <a:ext uri="{FF2B5EF4-FFF2-40B4-BE49-F238E27FC236}">
                  <a16:creationId xmlns:a16="http://schemas.microsoft.com/office/drawing/2014/main" id="{284DF2A2-0B57-4444-B0BF-07B789E40B0F}"/>
                </a:ext>
              </a:extLst>
            </p:cNvPr>
            <p:cNvCxnSpPr>
              <a:cxnSpLocks/>
            </p:cNvCxnSpPr>
            <p:nvPr/>
          </p:nvCxnSpPr>
          <p:spPr bwMode="gray">
            <a:xfrm>
              <a:off x="3960780" y="3544064"/>
              <a:ext cx="0" cy="26343"/>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grpSp>
        <p:nvGrpSpPr>
          <p:cNvPr id="182" name="Group 181">
            <a:extLst>
              <a:ext uri="{FF2B5EF4-FFF2-40B4-BE49-F238E27FC236}">
                <a16:creationId xmlns:a16="http://schemas.microsoft.com/office/drawing/2014/main" id="{F5A06D79-13B9-49A5-91F6-508301B89FFB}"/>
              </a:ext>
            </a:extLst>
          </p:cNvPr>
          <p:cNvGrpSpPr>
            <a:grpSpLocks noChangeAspect="1"/>
          </p:cNvGrpSpPr>
          <p:nvPr/>
        </p:nvGrpSpPr>
        <p:grpSpPr bwMode="gray">
          <a:xfrm>
            <a:off x="6156117" y="3700245"/>
            <a:ext cx="564636" cy="575285"/>
            <a:chOff x="-9703942" y="5293980"/>
            <a:chExt cx="799432" cy="805596"/>
          </a:xfrm>
          <a:solidFill>
            <a:schemeClr val="bg1"/>
          </a:solidFill>
        </p:grpSpPr>
        <p:sp>
          <p:nvSpPr>
            <p:cNvPr id="183" name="Trapezoid 182">
              <a:extLst>
                <a:ext uri="{FF2B5EF4-FFF2-40B4-BE49-F238E27FC236}">
                  <a16:creationId xmlns:a16="http://schemas.microsoft.com/office/drawing/2014/main" id="{87085DFB-A8C8-4711-B01B-BB29A60731A4}"/>
                </a:ext>
              </a:extLst>
            </p:cNvPr>
            <p:cNvSpPr/>
            <p:nvPr/>
          </p:nvSpPr>
          <p:spPr bwMode="gray">
            <a:xfrm>
              <a:off x="-9609608" y="5293980"/>
              <a:ext cx="365620" cy="805596"/>
            </a:xfrm>
            <a:prstGeom prst="trapezoid">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nvGrpSpPr>
            <p:cNvPr id="184" name="Group 183">
              <a:extLst>
                <a:ext uri="{FF2B5EF4-FFF2-40B4-BE49-F238E27FC236}">
                  <a16:creationId xmlns:a16="http://schemas.microsoft.com/office/drawing/2014/main" id="{FE0E45A4-4A73-4649-83AD-EA0D0F97F6FD}"/>
                </a:ext>
              </a:extLst>
            </p:cNvPr>
            <p:cNvGrpSpPr/>
            <p:nvPr/>
          </p:nvGrpSpPr>
          <p:grpSpPr bwMode="gray">
            <a:xfrm>
              <a:off x="-9703942" y="5556758"/>
              <a:ext cx="328524" cy="118104"/>
              <a:chOff x="5728960" y="3586976"/>
              <a:chExt cx="330817" cy="118928"/>
            </a:xfrm>
            <a:grpFill/>
          </p:grpSpPr>
          <p:sp>
            <p:nvSpPr>
              <p:cNvPr id="206" name="Snip Single Corner Rectangle 1">
                <a:extLst>
                  <a:ext uri="{FF2B5EF4-FFF2-40B4-BE49-F238E27FC236}">
                    <a16:creationId xmlns:a16="http://schemas.microsoft.com/office/drawing/2014/main" id="{83E23EF9-4D3C-4253-B934-4B0C7924BB2C}"/>
                  </a:ext>
                </a:extLst>
              </p:cNvPr>
              <p:cNvSpPr/>
              <p:nvPr/>
            </p:nvSpPr>
            <p:spPr bwMode="gray">
              <a:xfrm flipH="1" flipV="1">
                <a:off x="5728960" y="3586976"/>
                <a:ext cx="113030" cy="118928"/>
              </a:xfrm>
              <a:custGeom>
                <a:avLst/>
                <a:gdLst/>
                <a:ahLst/>
                <a:cxnLst/>
                <a:rect l="l" t="t" r="r" b="b"/>
                <a:pathLst>
                  <a:path w="83486" h="118928">
                    <a:moveTo>
                      <a:pt x="83486" y="118928"/>
                    </a:moveTo>
                    <a:lnTo>
                      <a:pt x="0" y="118928"/>
                    </a:lnTo>
                    <a:lnTo>
                      <a:pt x="0" y="0"/>
                    </a:lnTo>
                    <a:lnTo>
                      <a:pt x="58900" y="0"/>
                    </a:lnTo>
                    <a:lnTo>
                      <a:pt x="83486" y="42584"/>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nvGrpSpPr>
              <p:cNvPr id="207" name="Group 206">
                <a:extLst>
                  <a:ext uri="{FF2B5EF4-FFF2-40B4-BE49-F238E27FC236}">
                    <a16:creationId xmlns:a16="http://schemas.microsoft.com/office/drawing/2014/main" id="{E1FE0F5D-526E-48E4-A05E-A58B786A8BBA}"/>
                  </a:ext>
                </a:extLst>
              </p:cNvPr>
              <p:cNvGrpSpPr/>
              <p:nvPr/>
            </p:nvGrpSpPr>
            <p:grpSpPr bwMode="gray">
              <a:xfrm>
                <a:off x="5841990" y="3597076"/>
                <a:ext cx="217787" cy="72000"/>
                <a:chOff x="5841990" y="3597076"/>
                <a:chExt cx="217787" cy="72000"/>
              </a:xfrm>
              <a:grpFill/>
            </p:grpSpPr>
            <p:sp>
              <p:nvSpPr>
                <p:cNvPr id="208" name="Rectangle 207">
                  <a:extLst>
                    <a:ext uri="{FF2B5EF4-FFF2-40B4-BE49-F238E27FC236}">
                      <a16:creationId xmlns:a16="http://schemas.microsoft.com/office/drawing/2014/main" id="{F9B018FA-BD96-4E81-8EFD-DB1F8025BA7E}"/>
                    </a:ext>
                  </a:extLst>
                </p:cNvPr>
                <p:cNvSpPr/>
                <p:nvPr/>
              </p:nvSpPr>
              <p:spPr bwMode="gray">
                <a:xfrm>
                  <a:off x="5841990" y="3606076"/>
                  <a:ext cx="10800" cy="540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209" name="Rectangle 208">
                  <a:extLst>
                    <a:ext uri="{FF2B5EF4-FFF2-40B4-BE49-F238E27FC236}">
                      <a16:creationId xmlns:a16="http://schemas.microsoft.com/office/drawing/2014/main" id="{5E3277C6-D465-4EF0-BA2B-F705A62AE631}"/>
                    </a:ext>
                  </a:extLst>
                </p:cNvPr>
                <p:cNvSpPr/>
                <p:nvPr/>
              </p:nvSpPr>
              <p:spPr bwMode="gray">
                <a:xfrm>
                  <a:off x="5852790" y="3597076"/>
                  <a:ext cx="21600" cy="720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210" name="Rectangle 209">
                  <a:extLst>
                    <a:ext uri="{FF2B5EF4-FFF2-40B4-BE49-F238E27FC236}">
                      <a16:creationId xmlns:a16="http://schemas.microsoft.com/office/drawing/2014/main" id="{89D34635-2F0D-4FA0-B93E-D017360E1FA9}"/>
                    </a:ext>
                  </a:extLst>
                </p:cNvPr>
                <p:cNvSpPr/>
                <p:nvPr/>
              </p:nvSpPr>
              <p:spPr bwMode="gray">
                <a:xfrm>
                  <a:off x="5874452" y="3615076"/>
                  <a:ext cx="185325" cy="360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85" name="Group 184">
              <a:extLst>
                <a:ext uri="{FF2B5EF4-FFF2-40B4-BE49-F238E27FC236}">
                  <a16:creationId xmlns:a16="http://schemas.microsoft.com/office/drawing/2014/main" id="{764B945C-A26C-4F70-97EF-4577EACD7C9C}"/>
                </a:ext>
              </a:extLst>
            </p:cNvPr>
            <p:cNvGrpSpPr/>
            <p:nvPr/>
          </p:nvGrpSpPr>
          <p:grpSpPr bwMode="gray">
            <a:xfrm>
              <a:off x="-9486429" y="5691071"/>
              <a:ext cx="581919" cy="408505"/>
              <a:chOff x="6927340" y="4231102"/>
              <a:chExt cx="2136491" cy="1499809"/>
            </a:xfrm>
            <a:grpFill/>
          </p:grpSpPr>
          <p:grpSp>
            <p:nvGrpSpPr>
              <p:cNvPr id="196" name="Group 195">
                <a:extLst>
                  <a:ext uri="{FF2B5EF4-FFF2-40B4-BE49-F238E27FC236}">
                    <a16:creationId xmlns:a16="http://schemas.microsoft.com/office/drawing/2014/main" id="{4D5B9714-97A6-40A4-AC4D-757924DE0350}"/>
                  </a:ext>
                </a:extLst>
              </p:cNvPr>
              <p:cNvGrpSpPr/>
              <p:nvPr/>
            </p:nvGrpSpPr>
            <p:grpSpPr bwMode="gray">
              <a:xfrm>
                <a:off x="6927340" y="4231102"/>
                <a:ext cx="869444" cy="359343"/>
                <a:chOff x="6927340" y="4242623"/>
                <a:chExt cx="869444" cy="359343"/>
              </a:xfrm>
              <a:grpFill/>
            </p:grpSpPr>
            <p:sp>
              <p:nvSpPr>
                <p:cNvPr id="204" name="Rectangle 203">
                  <a:extLst>
                    <a:ext uri="{FF2B5EF4-FFF2-40B4-BE49-F238E27FC236}">
                      <a16:creationId xmlns:a16="http://schemas.microsoft.com/office/drawing/2014/main" id="{9B7AC546-650A-40D5-A022-1B4C644E9667}"/>
                    </a:ext>
                  </a:extLst>
                </p:cNvPr>
                <p:cNvSpPr/>
                <p:nvPr/>
              </p:nvSpPr>
              <p:spPr bwMode="gray">
                <a:xfrm>
                  <a:off x="6927340" y="4377294"/>
                  <a:ext cx="783688" cy="900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205" name="Rectangle 204">
                  <a:extLst>
                    <a:ext uri="{FF2B5EF4-FFF2-40B4-BE49-F238E27FC236}">
                      <a16:creationId xmlns:a16="http://schemas.microsoft.com/office/drawing/2014/main" id="{0594FBB4-0572-4A25-B499-9EC8331E0041}"/>
                    </a:ext>
                  </a:extLst>
                </p:cNvPr>
                <p:cNvSpPr/>
                <p:nvPr/>
              </p:nvSpPr>
              <p:spPr bwMode="gray">
                <a:xfrm>
                  <a:off x="7709163" y="4242623"/>
                  <a:ext cx="87621" cy="359343"/>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sp>
            <p:nvSpPr>
              <p:cNvPr id="197" name="Rectangle 196">
                <a:extLst>
                  <a:ext uri="{FF2B5EF4-FFF2-40B4-BE49-F238E27FC236}">
                    <a16:creationId xmlns:a16="http://schemas.microsoft.com/office/drawing/2014/main" id="{FAE38D2B-140B-4B8C-824C-683A6714A36C}"/>
                  </a:ext>
                </a:extLst>
              </p:cNvPr>
              <p:cNvSpPr/>
              <p:nvPr/>
            </p:nvSpPr>
            <p:spPr bwMode="gray">
              <a:xfrm>
                <a:off x="8309039" y="4231102"/>
                <a:ext cx="754792" cy="1499809"/>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98" name="Rectangle 788">
                <a:extLst>
                  <a:ext uri="{FF2B5EF4-FFF2-40B4-BE49-F238E27FC236}">
                    <a16:creationId xmlns:a16="http://schemas.microsoft.com/office/drawing/2014/main" id="{37F775D6-D4D1-48B5-8D88-FC5B15995351}"/>
                  </a:ext>
                </a:extLst>
              </p:cNvPr>
              <p:cNvSpPr/>
              <p:nvPr/>
            </p:nvSpPr>
            <p:spPr bwMode="gray">
              <a:xfrm>
                <a:off x="8423682" y="4401108"/>
                <a:ext cx="552638" cy="252028"/>
              </a:xfrm>
              <a:custGeom>
                <a:avLst/>
                <a:gdLst/>
                <a:ahLst/>
                <a:cxnLst/>
                <a:rect l="l" t="t" r="r" b="b"/>
                <a:pathLst>
                  <a:path w="552638" h="252028">
                    <a:moveTo>
                      <a:pt x="336614" y="58941"/>
                    </a:moveTo>
                    <a:lnTo>
                      <a:pt x="336614" y="175364"/>
                    </a:lnTo>
                    <a:lnTo>
                      <a:pt x="480630" y="175364"/>
                    </a:lnTo>
                    <a:lnTo>
                      <a:pt x="480630" y="58941"/>
                    </a:lnTo>
                    <a:close/>
                    <a:moveTo>
                      <a:pt x="48582" y="43701"/>
                    </a:moveTo>
                    <a:lnTo>
                      <a:pt x="48582" y="50901"/>
                    </a:lnTo>
                    <a:lnTo>
                      <a:pt x="95523" y="50901"/>
                    </a:lnTo>
                    <a:lnTo>
                      <a:pt x="95523" y="43701"/>
                    </a:lnTo>
                    <a:close/>
                    <a:moveTo>
                      <a:pt x="0" y="0"/>
                    </a:moveTo>
                    <a:lnTo>
                      <a:pt x="552638" y="0"/>
                    </a:lnTo>
                    <a:lnTo>
                      <a:pt x="552638" y="252028"/>
                    </a:lnTo>
                    <a:lnTo>
                      <a:pt x="0" y="252028"/>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99" name="Rectangle 788">
                <a:extLst>
                  <a:ext uri="{FF2B5EF4-FFF2-40B4-BE49-F238E27FC236}">
                    <a16:creationId xmlns:a16="http://schemas.microsoft.com/office/drawing/2014/main" id="{90AF90ED-884E-445E-9610-008ACDE05A47}"/>
                  </a:ext>
                </a:extLst>
              </p:cNvPr>
              <p:cNvSpPr/>
              <p:nvPr/>
            </p:nvSpPr>
            <p:spPr bwMode="gray">
              <a:xfrm>
                <a:off x="8423682" y="4647095"/>
                <a:ext cx="552638" cy="252028"/>
              </a:xfrm>
              <a:custGeom>
                <a:avLst/>
                <a:gdLst>
                  <a:gd name="connsiteX0" fmla="*/ 336614 w 552638"/>
                  <a:gd name="connsiteY0" fmla="*/ 58941 h 252028"/>
                  <a:gd name="connsiteX1" fmla="*/ 336614 w 552638"/>
                  <a:gd name="connsiteY1" fmla="*/ 175364 h 252028"/>
                  <a:gd name="connsiteX2" fmla="*/ 480630 w 552638"/>
                  <a:gd name="connsiteY2" fmla="*/ 175364 h 252028"/>
                  <a:gd name="connsiteX3" fmla="*/ 336614 w 552638"/>
                  <a:gd name="connsiteY3" fmla="*/ 58941 h 252028"/>
                  <a:gd name="connsiteX4" fmla="*/ 48582 w 552638"/>
                  <a:gd name="connsiteY4" fmla="*/ 43701 h 252028"/>
                  <a:gd name="connsiteX5" fmla="*/ 48582 w 552638"/>
                  <a:gd name="connsiteY5" fmla="*/ 50901 h 252028"/>
                  <a:gd name="connsiteX6" fmla="*/ 95523 w 552638"/>
                  <a:gd name="connsiteY6" fmla="*/ 50901 h 252028"/>
                  <a:gd name="connsiteX7" fmla="*/ 95523 w 552638"/>
                  <a:gd name="connsiteY7" fmla="*/ 43701 h 252028"/>
                  <a:gd name="connsiteX8" fmla="*/ 48582 w 552638"/>
                  <a:gd name="connsiteY8" fmla="*/ 43701 h 252028"/>
                  <a:gd name="connsiteX9" fmla="*/ 0 w 552638"/>
                  <a:gd name="connsiteY9" fmla="*/ 0 h 252028"/>
                  <a:gd name="connsiteX10" fmla="*/ 552638 w 552638"/>
                  <a:gd name="connsiteY10" fmla="*/ 0 h 252028"/>
                  <a:gd name="connsiteX11" fmla="*/ 552638 w 552638"/>
                  <a:gd name="connsiteY11" fmla="*/ 252028 h 252028"/>
                  <a:gd name="connsiteX12" fmla="*/ 0 w 552638"/>
                  <a:gd name="connsiteY12" fmla="*/ 252028 h 252028"/>
                  <a:gd name="connsiteX13" fmla="*/ 0 w 552638"/>
                  <a:gd name="connsiteY13" fmla="*/ 0 h 252028"/>
                  <a:gd name="connsiteX0" fmla="*/ 480630 w 552638"/>
                  <a:gd name="connsiteY0" fmla="*/ 175364 h 252028"/>
                  <a:gd name="connsiteX1" fmla="*/ 336614 w 552638"/>
                  <a:gd name="connsiteY1" fmla="*/ 175364 h 252028"/>
                  <a:gd name="connsiteX2" fmla="*/ 480630 w 552638"/>
                  <a:gd name="connsiteY2" fmla="*/ 175364 h 252028"/>
                  <a:gd name="connsiteX3" fmla="*/ 48582 w 552638"/>
                  <a:gd name="connsiteY3" fmla="*/ 43701 h 252028"/>
                  <a:gd name="connsiteX4" fmla="*/ 48582 w 552638"/>
                  <a:gd name="connsiteY4" fmla="*/ 50901 h 252028"/>
                  <a:gd name="connsiteX5" fmla="*/ 95523 w 552638"/>
                  <a:gd name="connsiteY5" fmla="*/ 50901 h 252028"/>
                  <a:gd name="connsiteX6" fmla="*/ 95523 w 552638"/>
                  <a:gd name="connsiteY6" fmla="*/ 43701 h 252028"/>
                  <a:gd name="connsiteX7" fmla="*/ 48582 w 552638"/>
                  <a:gd name="connsiteY7" fmla="*/ 43701 h 252028"/>
                  <a:gd name="connsiteX8" fmla="*/ 0 w 552638"/>
                  <a:gd name="connsiteY8" fmla="*/ 0 h 252028"/>
                  <a:gd name="connsiteX9" fmla="*/ 552638 w 552638"/>
                  <a:gd name="connsiteY9" fmla="*/ 0 h 252028"/>
                  <a:gd name="connsiteX10" fmla="*/ 552638 w 552638"/>
                  <a:gd name="connsiteY10" fmla="*/ 252028 h 252028"/>
                  <a:gd name="connsiteX11" fmla="*/ 0 w 552638"/>
                  <a:gd name="connsiteY11" fmla="*/ 252028 h 252028"/>
                  <a:gd name="connsiteX12" fmla="*/ 0 w 552638"/>
                  <a:gd name="connsiteY12" fmla="*/ 0 h 252028"/>
                  <a:gd name="connsiteX0" fmla="*/ 48582 w 552638"/>
                  <a:gd name="connsiteY0" fmla="*/ 43701 h 252028"/>
                  <a:gd name="connsiteX1" fmla="*/ 48582 w 552638"/>
                  <a:gd name="connsiteY1" fmla="*/ 50901 h 252028"/>
                  <a:gd name="connsiteX2" fmla="*/ 95523 w 552638"/>
                  <a:gd name="connsiteY2" fmla="*/ 50901 h 252028"/>
                  <a:gd name="connsiteX3" fmla="*/ 95523 w 552638"/>
                  <a:gd name="connsiteY3" fmla="*/ 43701 h 252028"/>
                  <a:gd name="connsiteX4" fmla="*/ 48582 w 552638"/>
                  <a:gd name="connsiteY4" fmla="*/ 43701 h 252028"/>
                  <a:gd name="connsiteX5" fmla="*/ 0 w 552638"/>
                  <a:gd name="connsiteY5" fmla="*/ 0 h 252028"/>
                  <a:gd name="connsiteX6" fmla="*/ 552638 w 552638"/>
                  <a:gd name="connsiteY6" fmla="*/ 0 h 252028"/>
                  <a:gd name="connsiteX7" fmla="*/ 552638 w 552638"/>
                  <a:gd name="connsiteY7" fmla="*/ 252028 h 252028"/>
                  <a:gd name="connsiteX8" fmla="*/ 0 w 552638"/>
                  <a:gd name="connsiteY8" fmla="*/ 252028 h 252028"/>
                  <a:gd name="connsiteX9" fmla="*/ 0 w 552638"/>
                  <a:gd name="connsiteY9" fmla="*/ 0 h 25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638" h="252028">
                    <a:moveTo>
                      <a:pt x="48582" y="43701"/>
                    </a:moveTo>
                    <a:lnTo>
                      <a:pt x="48582" y="50901"/>
                    </a:lnTo>
                    <a:lnTo>
                      <a:pt x="95523" y="50901"/>
                    </a:lnTo>
                    <a:lnTo>
                      <a:pt x="95523" y="43701"/>
                    </a:lnTo>
                    <a:lnTo>
                      <a:pt x="48582" y="43701"/>
                    </a:lnTo>
                    <a:close/>
                    <a:moveTo>
                      <a:pt x="0" y="0"/>
                    </a:moveTo>
                    <a:lnTo>
                      <a:pt x="552638" y="0"/>
                    </a:lnTo>
                    <a:lnTo>
                      <a:pt x="552638" y="252028"/>
                    </a:lnTo>
                    <a:lnTo>
                      <a:pt x="0" y="252028"/>
                    </a:lnTo>
                    <a:lnTo>
                      <a:pt x="0" y="0"/>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200" name="Rectangle 788">
                <a:extLst>
                  <a:ext uri="{FF2B5EF4-FFF2-40B4-BE49-F238E27FC236}">
                    <a16:creationId xmlns:a16="http://schemas.microsoft.com/office/drawing/2014/main" id="{9E10E343-A5C4-42EC-BA68-DE648604A4E2}"/>
                  </a:ext>
                </a:extLst>
              </p:cNvPr>
              <p:cNvSpPr/>
              <p:nvPr/>
            </p:nvSpPr>
            <p:spPr bwMode="gray">
              <a:xfrm>
                <a:off x="8423682" y="4899310"/>
                <a:ext cx="552638" cy="252028"/>
              </a:xfrm>
              <a:custGeom>
                <a:avLst/>
                <a:gdLst>
                  <a:gd name="connsiteX0" fmla="*/ 336614 w 552638"/>
                  <a:gd name="connsiteY0" fmla="*/ 58941 h 252028"/>
                  <a:gd name="connsiteX1" fmla="*/ 336614 w 552638"/>
                  <a:gd name="connsiteY1" fmla="*/ 175364 h 252028"/>
                  <a:gd name="connsiteX2" fmla="*/ 480630 w 552638"/>
                  <a:gd name="connsiteY2" fmla="*/ 175364 h 252028"/>
                  <a:gd name="connsiteX3" fmla="*/ 336614 w 552638"/>
                  <a:gd name="connsiteY3" fmla="*/ 58941 h 252028"/>
                  <a:gd name="connsiteX4" fmla="*/ 48582 w 552638"/>
                  <a:gd name="connsiteY4" fmla="*/ 43701 h 252028"/>
                  <a:gd name="connsiteX5" fmla="*/ 48582 w 552638"/>
                  <a:gd name="connsiteY5" fmla="*/ 50901 h 252028"/>
                  <a:gd name="connsiteX6" fmla="*/ 95523 w 552638"/>
                  <a:gd name="connsiteY6" fmla="*/ 50901 h 252028"/>
                  <a:gd name="connsiteX7" fmla="*/ 95523 w 552638"/>
                  <a:gd name="connsiteY7" fmla="*/ 43701 h 252028"/>
                  <a:gd name="connsiteX8" fmla="*/ 48582 w 552638"/>
                  <a:gd name="connsiteY8" fmla="*/ 43701 h 252028"/>
                  <a:gd name="connsiteX9" fmla="*/ 0 w 552638"/>
                  <a:gd name="connsiteY9" fmla="*/ 0 h 252028"/>
                  <a:gd name="connsiteX10" fmla="*/ 552638 w 552638"/>
                  <a:gd name="connsiteY10" fmla="*/ 0 h 252028"/>
                  <a:gd name="connsiteX11" fmla="*/ 552638 w 552638"/>
                  <a:gd name="connsiteY11" fmla="*/ 252028 h 252028"/>
                  <a:gd name="connsiteX12" fmla="*/ 0 w 552638"/>
                  <a:gd name="connsiteY12" fmla="*/ 252028 h 252028"/>
                  <a:gd name="connsiteX13" fmla="*/ 0 w 552638"/>
                  <a:gd name="connsiteY13" fmla="*/ 0 h 252028"/>
                  <a:gd name="connsiteX0" fmla="*/ 480630 w 552638"/>
                  <a:gd name="connsiteY0" fmla="*/ 175364 h 252028"/>
                  <a:gd name="connsiteX1" fmla="*/ 336614 w 552638"/>
                  <a:gd name="connsiteY1" fmla="*/ 175364 h 252028"/>
                  <a:gd name="connsiteX2" fmla="*/ 480630 w 552638"/>
                  <a:gd name="connsiteY2" fmla="*/ 175364 h 252028"/>
                  <a:gd name="connsiteX3" fmla="*/ 48582 w 552638"/>
                  <a:gd name="connsiteY3" fmla="*/ 43701 h 252028"/>
                  <a:gd name="connsiteX4" fmla="*/ 48582 w 552638"/>
                  <a:gd name="connsiteY4" fmla="*/ 50901 h 252028"/>
                  <a:gd name="connsiteX5" fmla="*/ 95523 w 552638"/>
                  <a:gd name="connsiteY5" fmla="*/ 50901 h 252028"/>
                  <a:gd name="connsiteX6" fmla="*/ 95523 w 552638"/>
                  <a:gd name="connsiteY6" fmla="*/ 43701 h 252028"/>
                  <a:gd name="connsiteX7" fmla="*/ 48582 w 552638"/>
                  <a:gd name="connsiteY7" fmla="*/ 43701 h 252028"/>
                  <a:gd name="connsiteX8" fmla="*/ 0 w 552638"/>
                  <a:gd name="connsiteY8" fmla="*/ 0 h 252028"/>
                  <a:gd name="connsiteX9" fmla="*/ 552638 w 552638"/>
                  <a:gd name="connsiteY9" fmla="*/ 0 h 252028"/>
                  <a:gd name="connsiteX10" fmla="*/ 552638 w 552638"/>
                  <a:gd name="connsiteY10" fmla="*/ 252028 h 252028"/>
                  <a:gd name="connsiteX11" fmla="*/ 0 w 552638"/>
                  <a:gd name="connsiteY11" fmla="*/ 252028 h 252028"/>
                  <a:gd name="connsiteX12" fmla="*/ 0 w 552638"/>
                  <a:gd name="connsiteY12" fmla="*/ 0 h 252028"/>
                  <a:gd name="connsiteX0" fmla="*/ 48582 w 552638"/>
                  <a:gd name="connsiteY0" fmla="*/ 43701 h 252028"/>
                  <a:gd name="connsiteX1" fmla="*/ 48582 w 552638"/>
                  <a:gd name="connsiteY1" fmla="*/ 50901 h 252028"/>
                  <a:gd name="connsiteX2" fmla="*/ 95523 w 552638"/>
                  <a:gd name="connsiteY2" fmla="*/ 50901 h 252028"/>
                  <a:gd name="connsiteX3" fmla="*/ 95523 w 552638"/>
                  <a:gd name="connsiteY3" fmla="*/ 43701 h 252028"/>
                  <a:gd name="connsiteX4" fmla="*/ 48582 w 552638"/>
                  <a:gd name="connsiteY4" fmla="*/ 43701 h 252028"/>
                  <a:gd name="connsiteX5" fmla="*/ 0 w 552638"/>
                  <a:gd name="connsiteY5" fmla="*/ 0 h 252028"/>
                  <a:gd name="connsiteX6" fmla="*/ 552638 w 552638"/>
                  <a:gd name="connsiteY6" fmla="*/ 0 h 252028"/>
                  <a:gd name="connsiteX7" fmla="*/ 552638 w 552638"/>
                  <a:gd name="connsiteY7" fmla="*/ 252028 h 252028"/>
                  <a:gd name="connsiteX8" fmla="*/ 0 w 552638"/>
                  <a:gd name="connsiteY8" fmla="*/ 252028 h 252028"/>
                  <a:gd name="connsiteX9" fmla="*/ 0 w 552638"/>
                  <a:gd name="connsiteY9" fmla="*/ 0 h 25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638" h="252028">
                    <a:moveTo>
                      <a:pt x="48582" y="43701"/>
                    </a:moveTo>
                    <a:lnTo>
                      <a:pt x="48582" y="50901"/>
                    </a:lnTo>
                    <a:lnTo>
                      <a:pt x="95523" y="50901"/>
                    </a:lnTo>
                    <a:lnTo>
                      <a:pt x="95523" y="43701"/>
                    </a:lnTo>
                    <a:lnTo>
                      <a:pt x="48582" y="43701"/>
                    </a:lnTo>
                    <a:close/>
                    <a:moveTo>
                      <a:pt x="0" y="0"/>
                    </a:moveTo>
                    <a:lnTo>
                      <a:pt x="552638" y="0"/>
                    </a:lnTo>
                    <a:lnTo>
                      <a:pt x="552638" y="252028"/>
                    </a:lnTo>
                    <a:lnTo>
                      <a:pt x="0" y="252028"/>
                    </a:lnTo>
                    <a:lnTo>
                      <a:pt x="0" y="0"/>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201" name="Rectangle 793">
                <a:extLst>
                  <a:ext uri="{FF2B5EF4-FFF2-40B4-BE49-F238E27FC236}">
                    <a16:creationId xmlns:a16="http://schemas.microsoft.com/office/drawing/2014/main" id="{7008264E-E235-458B-8B10-00344A5AD99F}"/>
                  </a:ext>
                </a:extLst>
              </p:cNvPr>
              <p:cNvSpPr/>
              <p:nvPr/>
            </p:nvSpPr>
            <p:spPr bwMode="gray">
              <a:xfrm>
                <a:off x="8423701" y="5326730"/>
                <a:ext cx="262753" cy="241031"/>
              </a:xfrm>
              <a:custGeom>
                <a:avLst/>
                <a:gdLst/>
                <a:ahLst/>
                <a:cxnLst/>
                <a:rect l="l" t="t" r="r" b="b"/>
                <a:pathLst>
                  <a:path w="262753" h="241031">
                    <a:moveTo>
                      <a:pt x="178828" y="192226"/>
                    </a:moveTo>
                    <a:lnTo>
                      <a:pt x="178828" y="199426"/>
                    </a:lnTo>
                    <a:lnTo>
                      <a:pt x="224547" y="199426"/>
                    </a:lnTo>
                    <a:lnTo>
                      <a:pt x="224547" y="192226"/>
                    </a:lnTo>
                    <a:close/>
                    <a:moveTo>
                      <a:pt x="131377" y="18570"/>
                    </a:moveTo>
                    <a:cubicBezTo>
                      <a:pt x="101658" y="18570"/>
                      <a:pt x="77566" y="42662"/>
                      <a:pt x="77566" y="72381"/>
                    </a:cubicBezTo>
                    <a:cubicBezTo>
                      <a:pt x="77566" y="102100"/>
                      <a:pt x="101658" y="126192"/>
                      <a:pt x="131377" y="126192"/>
                    </a:cubicBezTo>
                    <a:cubicBezTo>
                      <a:pt x="161096" y="126192"/>
                      <a:pt x="185188" y="102100"/>
                      <a:pt x="185188" y="72381"/>
                    </a:cubicBezTo>
                    <a:cubicBezTo>
                      <a:pt x="185188" y="42662"/>
                      <a:pt x="161096" y="18570"/>
                      <a:pt x="131377" y="18570"/>
                    </a:cubicBezTo>
                    <a:close/>
                    <a:moveTo>
                      <a:pt x="0" y="0"/>
                    </a:moveTo>
                    <a:lnTo>
                      <a:pt x="262753" y="0"/>
                    </a:lnTo>
                    <a:lnTo>
                      <a:pt x="262753" y="241031"/>
                    </a:lnTo>
                    <a:lnTo>
                      <a:pt x="0" y="241031"/>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202" name="Rectangle 794">
                <a:extLst>
                  <a:ext uri="{FF2B5EF4-FFF2-40B4-BE49-F238E27FC236}">
                    <a16:creationId xmlns:a16="http://schemas.microsoft.com/office/drawing/2014/main" id="{7A335C0F-92AA-44E2-9360-12FE2A6B95FA}"/>
                  </a:ext>
                </a:extLst>
              </p:cNvPr>
              <p:cNvSpPr/>
              <p:nvPr/>
            </p:nvSpPr>
            <p:spPr bwMode="gray">
              <a:xfrm>
                <a:off x="8686417" y="5326730"/>
                <a:ext cx="262753" cy="241031"/>
              </a:xfrm>
              <a:custGeom>
                <a:avLst/>
                <a:gdLst/>
                <a:ahLst/>
                <a:cxnLst/>
                <a:rect l="l" t="t" r="r" b="b"/>
                <a:pathLst>
                  <a:path w="262753" h="241031">
                    <a:moveTo>
                      <a:pt x="181891" y="192226"/>
                    </a:moveTo>
                    <a:lnTo>
                      <a:pt x="181891" y="199426"/>
                    </a:lnTo>
                    <a:lnTo>
                      <a:pt x="227610" y="199426"/>
                    </a:lnTo>
                    <a:lnTo>
                      <a:pt x="227610" y="192226"/>
                    </a:lnTo>
                    <a:close/>
                    <a:moveTo>
                      <a:pt x="76455" y="37947"/>
                    </a:moveTo>
                    <a:lnTo>
                      <a:pt x="76455" y="106373"/>
                    </a:lnTo>
                    <a:lnTo>
                      <a:pt x="184003" y="106373"/>
                    </a:lnTo>
                    <a:lnTo>
                      <a:pt x="184003" y="37947"/>
                    </a:lnTo>
                    <a:close/>
                    <a:moveTo>
                      <a:pt x="0" y="0"/>
                    </a:moveTo>
                    <a:lnTo>
                      <a:pt x="262753" y="0"/>
                    </a:lnTo>
                    <a:lnTo>
                      <a:pt x="262753" y="241031"/>
                    </a:lnTo>
                    <a:lnTo>
                      <a:pt x="0" y="241031"/>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cxnSp>
            <p:nvCxnSpPr>
              <p:cNvPr id="203" name="Elbow Connector 248">
                <a:extLst>
                  <a:ext uri="{FF2B5EF4-FFF2-40B4-BE49-F238E27FC236}">
                    <a16:creationId xmlns:a16="http://schemas.microsoft.com/office/drawing/2014/main" id="{349C0D05-915E-4556-B0F4-07BD43952869}"/>
                  </a:ext>
                </a:extLst>
              </p:cNvPr>
              <p:cNvCxnSpPr>
                <a:stCxn id="205" idx="3"/>
                <a:endCxn id="197" idx="1"/>
              </p:cNvCxnSpPr>
              <p:nvPr/>
            </p:nvCxnSpPr>
            <p:spPr bwMode="gray">
              <a:xfrm>
                <a:off x="7796784" y="4410774"/>
                <a:ext cx="512255" cy="570233"/>
              </a:xfrm>
              <a:prstGeom prst="bentConnector3">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86" name="Group 185">
              <a:extLst>
                <a:ext uri="{FF2B5EF4-FFF2-40B4-BE49-F238E27FC236}">
                  <a16:creationId xmlns:a16="http://schemas.microsoft.com/office/drawing/2014/main" id="{4B01D142-E2BC-493F-86C1-F45B2ADD8748}"/>
                </a:ext>
              </a:extLst>
            </p:cNvPr>
            <p:cNvGrpSpPr/>
            <p:nvPr/>
          </p:nvGrpSpPr>
          <p:grpSpPr bwMode="gray">
            <a:xfrm>
              <a:off x="-9661711" y="5362211"/>
              <a:ext cx="468399" cy="129132"/>
              <a:chOff x="5784837" y="3084430"/>
              <a:chExt cx="609161" cy="167939"/>
            </a:xfrm>
            <a:grpFill/>
          </p:grpSpPr>
          <p:grpSp>
            <p:nvGrpSpPr>
              <p:cNvPr id="187" name="Group 186">
                <a:extLst>
                  <a:ext uri="{FF2B5EF4-FFF2-40B4-BE49-F238E27FC236}">
                    <a16:creationId xmlns:a16="http://schemas.microsoft.com/office/drawing/2014/main" id="{F451D7C2-9184-4EF2-8249-654E029137F4}"/>
                  </a:ext>
                </a:extLst>
              </p:cNvPr>
              <p:cNvGrpSpPr/>
              <p:nvPr/>
            </p:nvGrpSpPr>
            <p:grpSpPr bwMode="gray">
              <a:xfrm>
                <a:off x="5784837" y="3084430"/>
                <a:ext cx="176762" cy="167939"/>
                <a:chOff x="5524000" y="3778366"/>
                <a:chExt cx="125176" cy="118928"/>
              </a:xfrm>
              <a:grpFill/>
            </p:grpSpPr>
            <p:sp>
              <p:nvSpPr>
                <p:cNvPr id="193" name="Snip Single Corner Rectangle 1">
                  <a:extLst>
                    <a:ext uri="{FF2B5EF4-FFF2-40B4-BE49-F238E27FC236}">
                      <a16:creationId xmlns:a16="http://schemas.microsoft.com/office/drawing/2014/main" id="{C1616904-0907-412F-9298-54C2504B43EA}"/>
                    </a:ext>
                  </a:extLst>
                </p:cNvPr>
                <p:cNvSpPr/>
                <p:nvPr/>
              </p:nvSpPr>
              <p:spPr bwMode="gray">
                <a:xfrm flipH="1" flipV="1">
                  <a:off x="5524000" y="3778366"/>
                  <a:ext cx="83486" cy="118928"/>
                </a:xfrm>
                <a:custGeom>
                  <a:avLst/>
                  <a:gdLst/>
                  <a:ahLst/>
                  <a:cxnLst/>
                  <a:rect l="l" t="t" r="r" b="b"/>
                  <a:pathLst>
                    <a:path w="83486" h="118928">
                      <a:moveTo>
                        <a:pt x="83486" y="118928"/>
                      </a:moveTo>
                      <a:lnTo>
                        <a:pt x="0" y="118928"/>
                      </a:lnTo>
                      <a:lnTo>
                        <a:pt x="0" y="0"/>
                      </a:lnTo>
                      <a:lnTo>
                        <a:pt x="58900" y="0"/>
                      </a:lnTo>
                      <a:lnTo>
                        <a:pt x="83486" y="42584"/>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94" name="Rectangle 193">
                  <a:extLst>
                    <a:ext uri="{FF2B5EF4-FFF2-40B4-BE49-F238E27FC236}">
                      <a16:creationId xmlns:a16="http://schemas.microsoft.com/office/drawing/2014/main" id="{7866EF73-7A48-4A9F-9E2E-6B78AB021816}"/>
                    </a:ext>
                  </a:extLst>
                </p:cNvPr>
                <p:cNvSpPr/>
                <p:nvPr/>
              </p:nvSpPr>
              <p:spPr bwMode="gray">
                <a:xfrm>
                  <a:off x="5607486" y="3797466"/>
                  <a:ext cx="15296" cy="540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95" name="Rectangle 194">
                  <a:extLst>
                    <a:ext uri="{FF2B5EF4-FFF2-40B4-BE49-F238E27FC236}">
                      <a16:creationId xmlns:a16="http://schemas.microsoft.com/office/drawing/2014/main" id="{350DE038-8BA9-4FF9-BC4E-CC27D7A0BDEB}"/>
                    </a:ext>
                  </a:extLst>
                </p:cNvPr>
                <p:cNvSpPr/>
                <p:nvPr/>
              </p:nvSpPr>
              <p:spPr bwMode="gray">
                <a:xfrm>
                  <a:off x="5623682" y="3788466"/>
                  <a:ext cx="25494" cy="720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cxnSp>
            <p:nvCxnSpPr>
              <p:cNvPr id="188" name="Straight Connector 187">
                <a:extLst>
                  <a:ext uri="{FF2B5EF4-FFF2-40B4-BE49-F238E27FC236}">
                    <a16:creationId xmlns:a16="http://schemas.microsoft.com/office/drawing/2014/main" id="{EAB26560-001B-4100-80C1-1078F4BB5C75}"/>
                  </a:ext>
                </a:extLst>
              </p:cNvPr>
              <p:cNvCxnSpPr>
                <a:stCxn id="195" idx="3"/>
                <a:endCxn id="192" idx="3"/>
              </p:cNvCxnSpPr>
              <p:nvPr/>
            </p:nvCxnSpPr>
            <p:spPr bwMode="gray">
              <a:xfrm>
                <a:off x="5961599" y="3149528"/>
                <a:ext cx="255637"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189" name="Group 188">
                <a:extLst>
                  <a:ext uri="{FF2B5EF4-FFF2-40B4-BE49-F238E27FC236}">
                    <a16:creationId xmlns:a16="http://schemas.microsoft.com/office/drawing/2014/main" id="{E44C2839-6CA4-485B-AF71-27B71AFB44FB}"/>
                  </a:ext>
                </a:extLst>
              </p:cNvPr>
              <p:cNvGrpSpPr/>
              <p:nvPr/>
            </p:nvGrpSpPr>
            <p:grpSpPr bwMode="gray">
              <a:xfrm flipH="1">
                <a:off x="6217236" y="3084430"/>
                <a:ext cx="176762" cy="167939"/>
                <a:chOff x="5524000" y="3778366"/>
                <a:chExt cx="125176" cy="118928"/>
              </a:xfrm>
              <a:grpFill/>
            </p:grpSpPr>
            <p:sp>
              <p:nvSpPr>
                <p:cNvPr id="190" name="Snip Single Corner Rectangle 1">
                  <a:extLst>
                    <a:ext uri="{FF2B5EF4-FFF2-40B4-BE49-F238E27FC236}">
                      <a16:creationId xmlns:a16="http://schemas.microsoft.com/office/drawing/2014/main" id="{A1EF1169-7DEC-419B-B48C-0A973DC79275}"/>
                    </a:ext>
                  </a:extLst>
                </p:cNvPr>
                <p:cNvSpPr/>
                <p:nvPr/>
              </p:nvSpPr>
              <p:spPr bwMode="gray">
                <a:xfrm flipH="1" flipV="1">
                  <a:off x="5524000" y="3778366"/>
                  <a:ext cx="83486" cy="118928"/>
                </a:xfrm>
                <a:custGeom>
                  <a:avLst/>
                  <a:gdLst/>
                  <a:ahLst/>
                  <a:cxnLst/>
                  <a:rect l="l" t="t" r="r" b="b"/>
                  <a:pathLst>
                    <a:path w="83486" h="118928">
                      <a:moveTo>
                        <a:pt x="83486" y="118928"/>
                      </a:moveTo>
                      <a:lnTo>
                        <a:pt x="0" y="118928"/>
                      </a:lnTo>
                      <a:lnTo>
                        <a:pt x="0" y="0"/>
                      </a:lnTo>
                      <a:lnTo>
                        <a:pt x="58900" y="0"/>
                      </a:lnTo>
                      <a:lnTo>
                        <a:pt x="83486" y="42584"/>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91" name="Rectangle 190">
                  <a:extLst>
                    <a:ext uri="{FF2B5EF4-FFF2-40B4-BE49-F238E27FC236}">
                      <a16:creationId xmlns:a16="http://schemas.microsoft.com/office/drawing/2014/main" id="{0AFCEBD9-7826-4AB4-B868-A6EF13A7F70E}"/>
                    </a:ext>
                  </a:extLst>
                </p:cNvPr>
                <p:cNvSpPr/>
                <p:nvPr/>
              </p:nvSpPr>
              <p:spPr bwMode="gray">
                <a:xfrm>
                  <a:off x="5607486" y="3797466"/>
                  <a:ext cx="15296" cy="540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sp>
              <p:nvSpPr>
                <p:cNvPr id="192" name="Rectangle 191">
                  <a:extLst>
                    <a:ext uri="{FF2B5EF4-FFF2-40B4-BE49-F238E27FC236}">
                      <a16:creationId xmlns:a16="http://schemas.microsoft.com/office/drawing/2014/main" id="{447ACE72-258F-4D75-9E32-5CD3436440E7}"/>
                    </a:ext>
                  </a:extLst>
                </p:cNvPr>
                <p:cNvSpPr/>
                <p:nvPr/>
              </p:nvSpPr>
              <p:spPr bwMode="gray">
                <a:xfrm>
                  <a:off x="5623682" y="3788466"/>
                  <a:ext cx="25494" cy="72000"/>
                </a:xfrm>
                <a:prstGeom prst="rect">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211" name="Group 210">
            <a:extLst>
              <a:ext uri="{FF2B5EF4-FFF2-40B4-BE49-F238E27FC236}">
                <a16:creationId xmlns:a16="http://schemas.microsoft.com/office/drawing/2014/main" id="{4FDEA781-4CC2-4070-860C-8449B29C4E2D}"/>
              </a:ext>
            </a:extLst>
          </p:cNvPr>
          <p:cNvGrpSpPr>
            <a:grpSpLocks noChangeAspect="1"/>
          </p:cNvGrpSpPr>
          <p:nvPr/>
        </p:nvGrpSpPr>
        <p:grpSpPr bwMode="gray">
          <a:xfrm>
            <a:off x="5963601" y="2991250"/>
            <a:ext cx="483485" cy="596789"/>
            <a:chOff x="6103541" y="3146977"/>
            <a:chExt cx="322323" cy="397859"/>
          </a:xfrm>
        </p:grpSpPr>
        <p:grpSp>
          <p:nvGrpSpPr>
            <p:cNvPr id="212" name="Group 211">
              <a:extLst>
                <a:ext uri="{FF2B5EF4-FFF2-40B4-BE49-F238E27FC236}">
                  <a16:creationId xmlns:a16="http://schemas.microsoft.com/office/drawing/2014/main" id="{3A91BCA8-916F-4D7D-AE11-15DA379EA8DA}"/>
                </a:ext>
              </a:extLst>
            </p:cNvPr>
            <p:cNvGrpSpPr>
              <a:grpSpLocks noChangeAspect="1"/>
            </p:cNvGrpSpPr>
            <p:nvPr/>
          </p:nvGrpSpPr>
          <p:grpSpPr bwMode="gray">
            <a:xfrm rot="18900000">
              <a:off x="6143385" y="3307228"/>
              <a:ext cx="236712" cy="84335"/>
              <a:chOff x="4744822" y="2006391"/>
              <a:chExt cx="238015" cy="84799"/>
            </a:xfrm>
          </p:grpSpPr>
          <p:sp>
            <p:nvSpPr>
              <p:cNvPr id="218" name="Rectangle 1516">
                <a:extLst>
                  <a:ext uri="{FF2B5EF4-FFF2-40B4-BE49-F238E27FC236}">
                    <a16:creationId xmlns:a16="http://schemas.microsoft.com/office/drawing/2014/main" id="{A2716DD3-104D-475F-BE3F-777EAFEA6484}"/>
                  </a:ext>
                </a:extLst>
              </p:cNvPr>
              <p:cNvSpPr/>
              <p:nvPr/>
            </p:nvSpPr>
            <p:spPr bwMode="gray">
              <a:xfrm>
                <a:off x="4773312" y="2006391"/>
                <a:ext cx="209525" cy="84799"/>
              </a:xfrm>
              <a:custGeom>
                <a:avLst/>
                <a:gdLst>
                  <a:gd name="connsiteX0" fmla="*/ 0 w 209525"/>
                  <a:gd name="connsiteY0" fmla="*/ 0 h 84799"/>
                  <a:gd name="connsiteX1" fmla="*/ 209525 w 209525"/>
                  <a:gd name="connsiteY1" fmla="*/ 0 h 84799"/>
                  <a:gd name="connsiteX2" fmla="*/ 209525 w 209525"/>
                  <a:gd name="connsiteY2" fmla="*/ 84799 h 84799"/>
                  <a:gd name="connsiteX3" fmla="*/ 0 w 209525"/>
                  <a:gd name="connsiteY3" fmla="*/ 84799 h 84799"/>
                  <a:gd name="connsiteX4" fmla="*/ 0 w 209525"/>
                  <a:gd name="connsiteY4" fmla="*/ 0 h 84799"/>
                  <a:gd name="connsiteX0" fmla="*/ 0 w 209525"/>
                  <a:gd name="connsiteY0" fmla="*/ 0 h 84799"/>
                  <a:gd name="connsiteX1" fmla="*/ 209525 w 209525"/>
                  <a:gd name="connsiteY1" fmla="*/ 0 h 84799"/>
                  <a:gd name="connsiteX2" fmla="*/ 209525 w 209525"/>
                  <a:gd name="connsiteY2" fmla="*/ 84799 h 84799"/>
                  <a:gd name="connsiteX3" fmla="*/ 116192 w 209525"/>
                  <a:gd name="connsiteY3" fmla="*/ 81489 h 84799"/>
                  <a:gd name="connsiteX4" fmla="*/ 0 w 209525"/>
                  <a:gd name="connsiteY4" fmla="*/ 84799 h 84799"/>
                  <a:gd name="connsiteX5" fmla="*/ 0 w 209525"/>
                  <a:gd name="connsiteY5" fmla="*/ 0 h 84799"/>
                  <a:gd name="connsiteX0" fmla="*/ 0 w 209525"/>
                  <a:gd name="connsiteY0" fmla="*/ 0 h 84799"/>
                  <a:gd name="connsiteX1" fmla="*/ 209525 w 209525"/>
                  <a:gd name="connsiteY1" fmla="*/ 0 h 84799"/>
                  <a:gd name="connsiteX2" fmla="*/ 209525 w 209525"/>
                  <a:gd name="connsiteY2" fmla="*/ 84799 h 84799"/>
                  <a:gd name="connsiteX3" fmla="*/ 0 w 209525"/>
                  <a:gd name="connsiteY3" fmla="*/ 84799 h 84799"/>
                  <a:gd name="connsiteX4" fmla="*/ 0 w 209525"/>
                  <a:gd name="connsiteY4" fmla="*/ 0 h 84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25" h="84799">
                    <a:moveTo>
                      <a:pt x="0" y="0"/>
                    </a:moveTo>
                    <a:lnTo>
                      <a:pt x="209525" y="0"/>
                    </a:lnTo>
                    <a:lnTo>
                      <a:pt x="209525" y="84799"/>
                    </a:lnTo>
                    <a:lnTo>
                      <a:pt x="0" y="84799"/>
                    </a:lnTo>
                    <a:lnTo>
                      <a:pt x="0" y="0"/>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219" name="Oval 218">
                <a:extLst>
                  <a:ext uri="{FF2B5EF4-FFF2-40B4-BE49-F238E27FC236}">
                    <a16:creationId xmlns:a16="http://schemas.microsoft.com/office/drawing/2014/main" id="{79349554-AE16-4906-9E32-727D2E7C32A6}"/>
                  </a:ext>
                </a:extLst>
              </p:cNvPr>
              <p:cNvSpPr/>
              <p:nvPr/>
            </p:nvSpPr>
            <p:spPr bwMode="gray">
              <a:xfrm>
                <a:off x="4804487" y="2019301"/>
                <a:ext cx="58984" cy="58982"/>
              </a:xfrm>
              <a:prstGeom prst="ellips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220" name="Oval 219">
                <a:extLst>
                  <a:ext uri="{FF2B5EF4-FFF2-40B4-BE49-F238E27FC236}">
                    <a16:creationId xmlns:a16="http://schemas.microsoft.com/office/drawing/2014/main" id="{E5F64955-00AE-43ED-9A77-23FEF30039DC}"/>
                  </a:ext>
                </a:extLst>
              </p:cNvPr>
              <p:cNvSpPr/>
              <p:nvPr/>
            </p:nvSpPr>
            <p:spPr bwMode="gray">
              <a:xfrm>
                <a:off x="4892679" y="2019301"/>
                <a:ext cx="58984" cy="58982"/>
              </a:xfrm>
              <a:prstGeom prst="ellips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cxnSp>
            <p:nvCxnSpPr>
              <p:cNvPr id="221" name="Straight Connector 220">
                <a:extLst>
                  <a:ext uri="{FF2B5EF4-FFF2-40B4-BE49-F238E27FC236}">
                    <a16:creationId xmlns:a16="http://schemas.microsoft.com/office/drawing/2014/main" id="{1713B8D7-FDF1-4312-B72B-2293E3B840CB}"/>
                  </a:ext>
                </a:extLst>
              </p:cNvPr>
              <p:cNvCxnSpPr>
                <a:cxnSpLocks/>
                <a:stCxn id="219" idx="2"/>
                <a:endCxn id="219" idx="6"/>
              </p:cNvCxnSpPr>
              <p:nvPr/>
            </p:nvCxnSpPr>
            <p:spPr bwMode="gray">
              <a:xfrm>
                <a:off x="4804487" y="2048792"/>
                <a:ext cx="58984" cy="0"/>
              </a:xfrm>
              <a:prstGeom prst="line">
                <a:avLst/>
              </a:pr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nvGrpSpPr>
              <p:cNvPr id="222" name="Group 221">
                <a:extLst>
                  <a:ext uri="{FF2B5EF4-FFF2-40B4-BE49-F238E27FC236}">
                    <a16:creationId xmlns:a16="http://schemas.microsoft.com/office/drawing/2014/main" id="{08FF2003-26B7-40B9-9F6C-F741A2E0B5FD}"/>
                  </a:ext>
                </a:extLst>
              </p:cNvPr>
              <p:cNvGrpSpPr/>
              <p:nvPr/>
            </p:nvGrpSpPr>
            <p:grpSpPr bwMode="gray">
              <a:xfrm>
                <a:off x="4744822" y="2020589"/>
                <a:ext cx="28490" cy="56402"/>
                <a:chOff x="4744822" y="2020848"/>
                <a:chExt cx="28490" cy="56402"/>
              </a:xfrm>
            </p:grpSpPr>
            <p:sp>
              <p:nvSpPr>
                <p:cNvPr id="223" name="Rectangle: Top Corners Snipped 24">
                  <a:extLst>
                    <a:ext uri="{FF2B5EF4-FFF2-40B4-BE49-F238E27FC236}">
                      <a16:creationId xmlns:a16="http://schemas.microsoft.com/office/drawing/2014/main" id="{0DCFB726-A1E3-4A4A-8FC8-70D92384C2AE}"/>
                    </a:ext>
                  </a:extLst>
                </p:cNvPr>
                <p:cNvSpPr/>
                <p:nvPr/>
              </p:nvSpPr>
              <p:spPr bwMode="gray">
                <a:xfrm rot="16200000" flipH="1">
                  <a:off x="4749746" y="2015924"/>
                  <a:ext cx="18641" cy="28490"/>
                </a:xfrm>
                <a:custGeom>
                  <a:avLst/>
                  <a:gdLst>
                    <a:gd name="connsiteX0" fmla="*/ 36938 w 221625"/>
                    <a:gd name="connsiteY0" fmla="*/ 0 h 338709"/>
                    <a:gd name="connsiteX1" fmla="*/ 184687 w 221625"/>
                    <a:gd name="connsiteY1" fmla="*/ 0 h 338709"/>
                    <a:gd name="connsiteX2" fmla="*/ 221625 w 221625"/>
                    <a:gd name="connsiteY2" fmla="*/ 36938 h 338709"/>
                    <a:gd name="connsiteX3" fmla="*/ 221625 w 221625"/>
                    <a:gd name="connsiteY3" fmla="*/ 338709 h 338709"/>
                    <a:gd name="connsiteX4" fmla="*/ 221625 w 221625"/>
                    <a:gd name="connsiteY4" fmla="*/ 338709 h 338709"/>
                    <a:gd name="connsiteX5" fmla="*/ 0 w 221625"/>
                    <a:gd name="connsiteY5" fmla="*/ 338709 h 338709"/>
                    <a:gd name="connsiteX6" fmla="*/ 0 w 221625"/>
                    <a:gd name="connsiteY6" fmla="*/ 338709 h 338709"/>
                    <a:gd name="connsiteX7" fmla="*/ 0 w 221625"/>
                    <a:gd name="connsiteY7" fmla="*/ 36938 h 338709"/>
                    <a:gd name="connsiteX8" fmla="*/ 36938 w 221625"/>
                    <a:gd name="connsiteY8" fmla="*/ 0 h 338709"/>
                    <a:gd name="connsiteX0" fmla="*/ 36938 w 221625"/>
                    <a:gd name="connsiteY0" fmla="*/ 0 h 339090"/>
                    <a:gd name="connsiteX1" fmla="*/ 184687 w 221625"/>
                    <a:gd name="connsiteY1" fmla="*/ 0 h 339090"/>
                    <a:gd name="connsiteX2" fmla="*/ 221625 w 221625"/>
                    <a:gd name="connsiteY2" fmla="*/ 36938 h 339090"/>
                    <a:gd name="connsiteX3" fmla="*/ 221625 w 221625"/>
                    <a:gd name="connsiteY3" fmla="*/ 338709 h 339090"/>
                    <a:gd name="connsiteX4" fmla="*/ 221625 w 221625"/>
                    <a:gd name="connsiteY4" fmla="*/ 338709 h 339090"/>
                    <a:gd name="connsiteX5" fmla="*/ 96652 w 221625"/>
                    <a:gd name="connsiteY5" fmla="*/ 339090 h 339090"/>
                    <a:gd name="connsiteX6" fmla="*/ 0 w 221625"/>
                    <a:gd name="connsiteY6" fmla="*/ 338709 h 339090"/>
                    <a:gd name="connsiteX7" fmla="*/ 0 w 221625"/>
                    <a:gd name="connsiteY7" fmla="*/ 338709 h 339090"/>
                    <a:gd name="connsiteX8" fmla="*/ 0 w 221625"/>
                    <a:gd name="connsiteY8" fmla="*/ 36938 h 339090"/>
                    <a:gd name="connsiteX9" fmla="*/ 36938 w 221625"/>
                    <a:gd name="connsiteY9" fmla="*/ 0 h 339090"/>
                    <a:gd name="connsiteX0" fmla="*/ 96652 w 221625"/>
                    <a:gd name="connsiteY0" fmla="*/ 339090 h 430530"/>
                    <a:gd name="connsiteX1" fmla="*/ 0 w 221625"/>
                    <a:gd name="connsiteY1" fmla="*/ 338709 h 430530"/>
                    <a:gd name="connsiteX2" fmla="*/ 0 w 221625"/>
                    <a:gd name="connsiteY2" fmla="*/ 338709 h 430530"/>
                    <a:gd name="connsiteX3" fmla="*/ 0 w 221625"/>
                    <a:gd name="connsiteY3" fmla="*/ 36938 h 430530"/>
                    <a:gd name="connsiteX4" fmla="*/ 36938 w 221625"/>
                    <a:gd name="connsiteY4" fmla="*/ 0 h 430530"/>
                    <a:gd name="connsiteX5" fmla="*/ 184687 w 221625"/>
                    <a:gd name="connsiteY5" fmla="*/ 0 h 430530"/>
                    <a:gd name="connsiteX6" fmla="*/ 221625 w 221625"/>
                    <a:gd name="connsiteY6" fmla="*/ 36938 h 430530"/>
                    <a:gd name="connsiteX7" fmla="*/ 221625 w 221625"/>
                    <a:gd name="connsiteY7" fmla="*/ 338709 h 430530"/>
                    <a:gd name="connsiteX8" fmla="*/ 221625 w 221625"/>
                    <a:gd name="connsiteY8" fmla="*/ 338709 h 430530"/>
                    <a:gd name="connsiteX9" fmla="*/ 188092 w 221625"/>
                    <a:gd name="connsiteY9" fmla="*/ 430530 h 430530"/>
                    <a:gd name="connsiteX0" fmla="*/ 0 w 221625"/>
                    <a:gd name="connsiteY0" fmla="*/ 338709 h 430530"/>
                    <a:gd name="connsiteX1" fmla="*/ 0 w 221625"/>
                    <a:gd name="connsiteY1" fmla="*/ 338709 h 430530"/>
                    <a:gd name="connsiteX2" fmla="*/ 0 w 221625"/>
                    <a:gd name="connsiteY2" fmla="*/ 36938 h 430530"/>
                    <a:gd name="connsiteX3" fmla="*/ 36938 w 221625"/>
                    <a:gd name="connsiteY3" fmla="*/ 0 h 430530"/>
                    <a:gd name="connsiteX4" fmla="*/ 184687 w 221625"/>
                    <a:gd name="connsiteY4" fmla="*/ 0 h 430530"/>
                    <a:gd name="connsiteX5" fmla="*/ 221625 w 221625"/>
                    <a:gd name="connsiteY5" fmla="*/ 36938 h 430530"/>
                    <a:gd name="connsiteX6" fmla="*/ 221625 w 221625"/>
                    <a:gd name="connsiteY6" fmla="*/ 338709 h 430530"/>
                    <a:gd name="connsiteX7" fmla="*/ 221625 w 221625"/>
                    <a:gd name="connsiteY7" fmla="*/ 338709 h 430530"/>
                    <a:gd name="connsiteX8" fmla="*/ 188092 w 221625"/>
                    <a:gd name="connsiteY8" fmla="*/ 430530 h 430530"/>
                    <a:gd name="connsiteX0" fmla="*/ 0 w 221625"/>
                    <a:gd name="connsiteY0" fmla="*/ 338709 h 338709"/>
                    <a:gd name="connsiteX1" fmla="*/ 0 w 221625"/>
                    <a:gd name="connsiteY1" fmla="*/ 338709 h 338709"/>
                    <a:gd name="connsiteX2" fmla="*/ 0 w 221625"/>
                    <a:gd name="connsiteY2" fmla="*/ 36938 h 338709"/>
                    <a:gd name="connsiteX3" fmla="*/ 36938 w 221625"/>
                    <a:gd name="connsiteY3" fmla="*/ 0 h 338709"/>
                    <a:gd name="connsiteX4" fmla="*/ 184687 w 221625"/>
                    <a:gd name="connsiteY4" fmla="*/ 0 h 338709"/>
                    <a:gd name="connsiteX5" fmla="*/ 221625 w 221625"/>
                    <a:gd name="connsiteY5" fmla="*/ 36938 h 338709"/>
                    <a:gd name="connsiteX6" fmla="*/ 221625 w 221625"/>
                    <a:gd name="connsiteY6" fmla="*/ 338709 h 338709"/>
                    <a:gd name="connsiteX7" fmla="*/ 221625 w 221625"/>
                    <a:gd name="connsiteY7" fmla="*/ 338709 h 338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625" h="338709">
                      <a:moveTo>
                        <a:pt x="0" y="338709"/>
                      </a:moveTo>
                      <a:lnTo>
                        <a:pt x="0" y="338709"/>
                      </a:lnTo>
                      <a:lnTo>
                        <a:pt x="0" y="36938"/>
                      </a:lnTo>
                      <a:lnTo>
                        <a:pt x="36938" y="0"/>
                      </a:lnTo>
                      <a:lnTo>
                        <a:pt x="184687" y="0"/>
                      </a:lnTo>
                      <a:lnTo>
                        <a:pt x="221625" y="36938"/>
                      </a:lnTo>
                      <a:lnTo>
                        <a:pt x="221625" y="338709"/>
                      </a:lnTo>
                      <a:lnTo>
                        <a:pt x="221625" y="338709"/>
                      </a:ln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224" name="Rectangle: Top Corners Snipped 24">
                  <a:extLst>
                    <a:ext uri="{FF2B5EF4-FFF2-40B4-BE49-F238E27FC236}">
                      <a16:creationId xmlns:a16="http://schemas.microsoft.com/office/drawing/2014/main" id="{E585E177-4663-4C4E-96E3-A3FC654D3350}"/>
                    </a:ext>
                  </a:extLst>
                </p:cNvPr>
                <p:cNvSpPr/>
                <p:nvPr/>
              </p:nvSpPr>
              <p:spPr bwMode="gray">
                <a:xfrm rot="16200000" flipH="1">
                  <a:off x="4753992" y="2057931"/>
                  <a:ext cx="18641" cy="19997"/>
                </a:xfrm>
                <a:custGeom>
                  <a:avLst/>
                  <a:gdLst>
                    <a:gd name="connsiteX0" fmla="*/ 36938 w 221625"/>
                    <a:gd name="connsiteY0" fmla="*/ 0 h 237744"/>
                    <a:gd name="connsiteX1" fmla="*/ 184687 w 221625"/>
                    <a:gd name="connsiteY1" fmla="*/ 0 h 237744"/>
                    <a:gd name="connsiteX2" fmla="*/ 221625 w 221625"/>
                    <a:gd name="connsiteY2" fmla="*/ 36938 h 237744"/>
                    <a:gd name="connsiteX3" fmla="*/ 221625 w 221625"/>
                    <a:gd name="connsiteY3" fmla="*/ 237744 h 237744"/>
                    <a:gd name="connsiteX4" fmla="*/ 221625 w 221625"/>
                    <a:gd name="connsiteY4" fmla="*/ 237744 h 237744"/>
                    <a:gd name="connsiteX5" fmla="*/ 0 w 221625"/>
                    <a:gd name="connsiteY5" fmla="*/ 237744 h 237744"/>
                    <a:gd name="connsiteX6" fmla="*/ 0 w 221625"/>
                    <a:gd name="connsiteY6" fmla="*/ 237744 h 237744"/>
                    <a:gd name="connsiteX7" fmla="*/ 0 w 221625"/>
                    <a:gd name="connsiteY7" fmla="*/ 36938 h 237744"/>
                    <a:gd name="connsiteX8" fmla="*/ 36938 w 221625"/>
                    <a:gd name="connsiteY8" fmla="*/ 0 h 237744"/>
                    <a:gd name="connsiteX0" fmla="*/ 36938 w 221625"/>
                    <a:gd name="connsiteY0" fmla="*/ 0 h 237744"/>
                    <a:gd name="connsiteX1" fmla="*/ 184687 w 221625"/>
                    <a:gd name="connsiteY1" fmla="*/ 0 h 237744"/>
                    <a:gd name="connsiteX2" fmla="*/ 221625 w 221625"/>
                    <a:gd name="connsiteY2" fmla="*/ 36938 h 237744"/>
                    <a:gd name="connsiteX3" fmla="*/ 221625 w 221625"/>
                    <a:gd name="connsiteY3" fmla="*/ 237744 h 237744"/>
                    <a:gd name="connsiteX4" fmla="*/ 221625 w 221625"/>
                    <a:gd name="connsiteY4" fmla="*/ 237744 h 237744"/>
                    <a:gd name="connsiteX5" fmla="*/ 89032 w 221625"/>
                    <a:gd name="connsiteY5" fmla="*/ 236221 h 237744"/>
                    <a:gd name="connsiteX6" fmla="*/ 0 w 221625"/>
                    <a:gd name="connsiteY6" fmla="*/ 237744 h 237744"/>
                    <a:gd name="connsiteX7" fmla="*/ 0 w 221625"/>
                    <a:gd name="connsiteY7" fmla="*/ 237744 h 237744"/>
                    <a:gd name="connsiteX8" fmla="*/ 0 w 221625"/>
                    <a:gd name="connsiteY8" fmla="*/ 36938 h 237744"/>
                    <a:gd name="connsiteX9" fmla="*/ 36938 w 221625"/>
                    <a:gd name="connsiteY9" fmla="*/ 0 h 237744"/>
                    <a:gd name="connsiteX0" fmla="*/ 89032 w 221625"/>
                    <a:gd name="connsiteY0" fmla="*/ 236221 h 327661"/>
                    <a:gd name="connsiteX1" fmla="*/ 0 w 221625"/>
                    <a:gd name="connsiteY1" fmla="*/ 237744 h 327661"/>
                    <a:gd name="connsiteX2" fmla="*/ 0 w 221625"/>
                    <a:gd name="connsiteY2" fmla="*/ 237744 h 327661"/>
                    <a:gd name="connsiteX3" fmla="*/ 0 w 221625"/>
                    <a:gd name="connsiteY3" fmla="*/ 36938 h 327661"/>
                    <a:gd name="connsiteX4" fmla="*/ 36938 w 221625"/>
                    <a:gd name="connsiteY4" fmla="*/ 0 h 327661"/>
                    <a:gd name="connsiteX5" fmla="*/ 184687 w 221625"/>
                    <a:gd name="connsiteY5" fmla="*/ 0 h 327661"/>
                    <a:gd name="connsiteX6" fmla="*/ 221625 w 221625"/>
                    <a:gd name="connsiteY6" fmla="*/ 36938 h 327661"/>
                    <a:gd name="connsiteX7" fmla="*/ 221625 w 221625"/>
                    <a:gd name="connsiteY7" fmla="*/ 237744 h 327661"/>
                    <a:gd name="connsiteX8" fmla="*/ 221625 w 221625"/>
                    <a:gd name="connsiteY8" fmla="*/ 237744 h 327661"/>
                    <a:gd name="connsiteX9" fmla="*/ 180472 w 221625"/>
                    <a:gd name="connsiteY9" fmla="*/ 327661 h 327661"/>
                    <a:gd name="connsiteX0" fmla="*/ 0 w 221625"/>
                    <a:gd name="connsiteY0" fmla="*/ 237744 h 327661"/>
                    <a:gd name="connsiteX1" fmla="*/ 0 w 221625"/>
                    <a:gd name="connsiteY1" fmla="*/ 237744 h 327661"/>
                    <a:gd name="connsiteX2" fmla="*/ 0 w 221625"/>
                    <a:gd name="connsiteY2" fmla="*/ 36938 h 327661"/>
                    <a:gd name="connsiteX3" fmla="*/ 36938 w 221625"/>
                    <a:gd name="connsiteY3" fmla="*/ 0 h 327661"/>
                    <a:gd name="connsiteX4" fmla="*/ 184687 w 221625"/>
                    <a:gd name="connsiteY4" fmla="*/ 0 h 327661"/>
                    <a:gd name="connsiteX5" fmla="*/ 221625 w 221625"/>
                    <a:gd name="connsiteY5" fmla="*/ 36938 h 327661"/>
                    <a:gd name="connsiteX6" fmla="*/ 221625 w 221625"/>
                    <a:gd name="connsiteY6" fmla="*/ 237744 h 327661"/>
                    <a:gd name="connsiteX7" fmla="*/ 221625 w 221625"/>
                    <a:gd name="connsiteY7" fmla="*/ 237744 h 327661"/>
                    <a:gd name="connsiteX8" fmla="*/ 180472 w 221625"/>
                    <a:gd name="connsiteY8" fmla="*/ 327661 h 327661"/>
                    <a:gd name="connsiteX0" fmla="*/ 0 w 221625"/>
                    <a:gd name="connsiteY0" fmla="*/ 237744 h 237744"/>
                    <a:gd name="connsiteX1" fmla="*/ 0 w 221625"/>
                    <a:gd name="connsiteY1" fmla="*/ 237744 h 237744"/>
                    <a:gd name="connsiteX2" fmla="*/ 0 w 221625"/>
                    <a:gd name="connsiteY2" fmla="*/ 36938 h 237744"/>
                    <a:gd name="connsiteX3" fmla="*/ 36938 w 221625"/>
                    <a:gd name="connsiteY3" fmla="*/ 0 h 237744"/>
                    <a:gd name="connsiteX4" fmla="*/ 184687 w 221625"/>
                    <a:gd name="connsiteY4" fmla="*/ 0 h 237744"/>
                    <a:gd name="connsiteX5" fmla="*/ 221625 w 221625"/>
                    <a:gd name="connsiteY5" fmla="*/ 36938 h 237744"/>
                    <a:gd name="connsiteX6" fmla="*/ 221625 w 221625"/>
                    <a:gd name="connsiteY6" fmla="*/ 237744 h 237744"/>
                    <a:gd name="connsiteX7" fmla="*/ 221625 w 221625"/>
                    <a:gd name="connsiteY7" fmla="*/ 237744 h 237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625" h="237744">
                      <a:moveTo>
                        <a:pt x="0" y="237744"/>
                      </a:moveTo>
                      <a:lnTo>
                        <a:pt x="0" y="237744"/>
                      </a:lnTo>
                      <a:lnTo>
                        <a:pt x="0" y="36938"/>
                      </a:lnTo>
                      <a:lnTo>
                        <a:pt x="36938" y="0"/>
                      </a:lnTo>
                      <a:lnTo>
                        <a:pt x="184687" y="0"/>
                      </a:lnTo>
                      <a:lnTo>
                        <a:pt x="221625" y="36938"/>
                      </a:lnTo>
                      <a:lnTo>
                        <a:pt x="221625" y="237744"/>
                      </a:lnTo>
                      <a:lnTo>
                        <a:pt x="221625" y="237744"/>
                      </a:ln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grpSp>
        </p:grpSp>
        <p:grpSp>
          <p:nvGrpSpPr>
            <p:cNvPr id="213" name="Group 212">
              <a:extLst>
                <a:ext uri="{FF2B5EF4-FFF2-40B4-BE49-F238E27FC236}">
                  <a16:creationId xmlns:a16="http://schemas.microsoft.com/office/drawing/2014/main" id="{398D6258-2D8F-419B-8038-43EB05FB5F3F}"/>
                </a:ext>
              </a:extLst>
            </p:cNvPr>
            <p:cNvGrpSpPr>
              <a:grpSpLocks noChangeAspect="1"/>
            </p:cNvGrpSpPr>
            <p:nvPr/>
          </p:nvGrpSpPr>
          <p:grpSpPr bwMode="gray">
            <a:xfrm>
              <a:off x="6103541" y="3146977"/>
              <a:ext cx="322323" cy="397859"/>
              <a:chOff x="5041982" y="4630340"/>
              <a:chExt cx="324097" cy="400050"/>
            </a:xfrm>
          </p:grpSpPr>
          <p:sp>
            <p:nvSpPr>
              <p:cNvPr id="214" name="Freeform 230">
                <a:extLst>
                  <a:ext uri="{FF2B5EF4-FFF2-40B4-BE49-F238E27FC236}">
                    <a16:creationId xmlns:a16="http://schemas.microsoft.com/office/drawing/2014/main" id="{7A441018-A3E1-411F-AB69-2FD70FA8A311}"/>
                  </a:ext>
                </a:extLst>
              </p:cNvPr>
              <p:cNvSpPr>
                <a:spLocks/>
              </p:cNvSpPr>
              <p:nvPr/>
            </p:nvSpPr>
            <p:spPr bwMode="gray">
              <a:xfrm rot="10800000" flipH="1">
                <a:off x="5041982" y="4667488"/>
                <a:ext cx="169862" cy="309563"/>
              </a:xfrm>
              <a:custGeom>
                <a:avLst/>
                <a:gdLst>
                  <a:gd name="connsiteX0" fmla="*/ 170607 w 325437"/>
                  <a:gd name="connsiteY0" fmla="*/ 325247 h 325438"/>
                  <a:gd name="connsiteX1" fmla="*/ 4847 w 325437"/>
                  <a:gd name="connsiteY1" fmla="*/ 202138 h 325438"/>
                  <a:gd name="connsiteX2" fmla="*/ 93283 w 325437"/>
                  <a:gd name="connsiteY2" fmla="*/ 15560 h 325438"/>
                  <a:gd name="connsiteX3" fmla="*/ 162719 w 325437"/>
                  <a:gd name="connsiteY3" fmla="*/ 162719 h 325438"/>
                  <a:gd name="connsiteX4" fmla="*/ 170607 w 325437"/>
                  <a:gd name="connsiteY4" fmla="*/ 325247 h 325438"/>
                  <a:gd name="connsiteX0" fmla="*/ 162737 w 254177"/>
                  <a:gd name="connsiteY0" fmla="*/ 147159 h 309880"/>
                  <a:gd name="connsiteX1" fmla="*/ 170625 w 254177"/>
                  <a:gd name="connsiteY1" fmla="*/ 309687 h 309880"/>
                  <a:gd name="connsiteX2" fmla="*/ 4865 w 254177"/>
                  <a:gd name="connsiteY2" fmla="*/ 186578 h 309880"/>
                  <a:gd name="connsiteX3" fmla="*/ 93301 w 254177"/>
                  <a:gd name="connsiteY3" fmla="*/ 0 h 309880"/>
                  <a:gd name="connsiteX4" fmla="*/ 254177 w 254177"/>
                  <a:gd name="connsiteY4" fmla="*/ 238599 h 309880"/>
                  <a:gd name="connsiteX0" fmla="*/ 170625 w 254177"/>
                  <a:gd name="connsiteY0" fmla="*/ 309687 h 309880"/>
                  <a:gd name="connsiteX1" fmla="*/ 4865 w 254177"/>
                  <a:gd name="connsiteY1" fmla="*/ 186578 h 309880"/>
                  <a:gd name="connsiteX2" fmla="*/ 93301 w 254177"/>
                  <a:gd name="connsiteY2" fmla="*/ 0 h 309880"/>
                  <a:gd name="connsiteX3" fmla="*/ 254177 w 254177"/>
                  <a:gd name="connsiteY3" fmla="*/ 238599 h 309880"/>
                  <a:gd name="connsiteX0" fmla="*/ 170625 w 170625"/>
                  <a:gd name="connsiteY0" fmla="*/ 309687 h 309880"/>
                  <a:gd name="connsiteX1" fmla="*/ 4865 w 170625"/>
                  <a:gd name="connsiteY1" fmla="*/ 186578 h 309880"/>
                  <a:gd name="connsiteX2" fmla="*/ 93301 w 170625"/>
                  <a:gd name="connsiteY2" fmla="*/ 0 h 309880"/>
                </a:gdLst>
                <a:ahLst/>
                <a:cxnLst>
                  <a:cxn ang="0">
                    <a:pos x="connsiteX0" y="connsiteY0"/>
                  </a:cxn>
                  <a:cxn ang="0">
                    <a:pos x="connsiteX1" y="connsiteY1"/>
                  </a:cxn>
                  <a:cxn ang="0">
                    <a:pos x="connsiteX2" y="connsiteY2"/>
                  </a:cxn>
                </a:cxnLst>
                <a:rect l="l" t="t" r="r" b="b"/>
                <a:pathLst>
                  <a:path w="170625" h="309880">
                    <a:moveTo>
                      <a:pt x="170625" y="309687"/>
                    </a:moveTo>
                    <a:cubicBezTo>
                      <a:pt x="93077" y="313451"/>
                      <a:pt x="23672" y="261904"/>
                      <a:pt x="4865" y="186578"/>
                    </a:cubicBezTo>
                    <a:cubicBezTo>
                      <a:pt x="-13943" y="111251"/>
                      <a:pt x="23086" y="33130"/>
                      <a:pt x="93301"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215" name="Freeform 231">
                <a:extLst>
                  <a:ext uri="{FF2B5EF4-FFF2-40B4-BE49-F238E27FC236}">
                    <a16:creationId xmlns:a16="http://schemas.microsoft.com/office/drawing/2014/main" id="{126A2106-EC5A-4953-973E-297E98A6A5CC}"/>
                  </a:ext>
                </a:extLst>
              </p:cNvPr>
              <p:cNvSpPr>
                <a:spLocks/>
              </p:cNvSpPr>
              <p:nvPr/>
            </p:nvSpPr>
            <p:spPr bwMode="gray">
              <a:xfrm>
                <a:off x="5177148" y="4630340"/>
                <a:ext cx="36512" cy="76200"/>
              </a:xfrm>
              <a:custGeom>
                <a:avLst/>
                <a:gdLst>
                  <a:gd name="T0" fmla="*/ 0 w 23"/>
                  <a:gd name="T1" fmla="*/ 0 h 48"/>
                  <a:gd name="T2" fmla="*/ 23 w 23"/>
                  <a:gd name="T3" fmla="*/ 24 h 48"/>
                  <a:gd name="T4" fmla="*/ 0 w 23"/>
                  <a:gd name="T5" fmla="*/ 48 h 48"/>
                </a:gdLst>
                <a:ahLst/>
                <a:cxnLst>
                  <a:cxn ang="0">
                    <a:pos x="T0" y="T1"/>
                  </a:cxn>
                  <a:cxn ang="0">
                    <a:pos x="T2" y="T3"/>
                  </a:cxn>
                  <a:cxn ang="0">
                    <a:pos x="T4" y="T5"/>
                  </a:cxn>
                </a:cxnLst>
                <a:rect l="0" t="0" r="r" b="b"/>
                <a:pathLst>
                  <a:path w="23" h="48">
                    <a:moveTo>
                      <a:pt x="0" y="0"/>
                    </a:moveTo>
                    <a:lnTo>
                      <a:pt x="23" y="24"/>
                    </a:lnTo>
                    <a:lnTo>
                      <a:pt x="0" y="48"/>
                    </a:ln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216" name="Freeform 232">
                <a:extLst>
                  <a:ext uri="{FF2B5EF4-FFF2-40B4-BE49-F238E27FC236}">
                    <a16:creationId xmlns:a16="http://schemas.microsoft.com/office/drawing/2014/main" id="{59231447-95FD-404D-A2DB-590A281D8B6A}"/>
                  </a:ext>
                </a:extLst>
              </p:cNvPr>
              <p:cNvSpPr>
                <a:spLocks/>
              </p:cNvSpPr>
              <p:nvPr/>
            </p:nvSpPr>
            <p:spPr bwMode="gray">
              <a:xfrm>
                <a:off x="5196198" y="4954190"/>
                <a:ext cx="36512" cy="76200"/>
              </a:xfrm>
              <a:custGeom>
                <a:avLst/>
                <a:gdLst>
                  <a:gd name="T0" fmla="*/ 23 w 23"/>
                  <a:gd name="T1" fmla="*/ 0 h 48"/>
                  <a:gd name="T2" fmla="*/ 0 w 23"/>
                  <a:gd name="T3" fmla="*/ 24 h 48"/>
                  <a:gd name="T4" fmla="*/ 23 w 23"/>
                  <a:gd name="T5" fmla="*/ 48 h 48"/>
                </a:gdLst>
                <a:ahLst/>
                <a:cxnLst>
                  <a:cxn ang="0">
                    <a:pos x="T0" y="T1"/>
                  </a:cxn>
                  <a:cxn ang="0">
                    <a:pos x="T2" y="T3"/>
                  </a:cxn>
                  <a:cxn ang="0">
                    <a:pos x="T4" y="T5"/>
                  </a:cxn>
                </a:cxnLst>
                <a:rect l="0" t="0" r="r" b="b"/>
                <a:pathLst>
                  <a:path w="23" h="48">
                    <a:moveTo>
                      <a:pt x="23" y="0"/>
                    </a:moveTo>
                    <a:lnTo>
                      <a:pt x="0" y="24"/>
                    </a:lnTo>
                    <a:lnTo>
                      <a:pt x="23" y="48"/>
                    </a:ln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217" name="Freeform 230">
                <a:extLst>
                  <a:ext uri="{FF2B5EF4-FFF2-40B4-BE49-F238E27FC236}">
                    <a16:creationId xmlns:a16="http://schemas.microsoft.com/office/drawing/2014/main" id="{D86B78A7-BF77-409D-8C2B-5E615F3FD3EF}"/>
                  </a:ext>
                </a:extLst>
              </p:cNvPr>
              <p:cNvSpPr>
                <a:spLocks/>
              </p:cNvSpPr>
              <p:nvPr/>
            </p:nvSpPr>
            <p:spPr bwMode="gray">
              <a:xfrm flipH="1">
                <a:off x="5196217" y="4682728"/>
                <a:ext cx="169862" cy="309563"/>
              </a:xfrm>
              <a:custGeom>
                <a:avLst/>
                <a:gdLst>
                  <a:gd name="connsiteX0" fmla="*/ 170607 w 325437"/>
                  <a:gd name="connsiteY0" fmla="*/ 325247 h 325438"/>
                  <a:gd name="connsiteX1" fmla="*/ 4847 w 325437"/>
                  <a:gd name="connsiteY1" fmla="*/ 202138 h 325438"/>
                  <a:gd name="connsiteX2" fmla="*/ 93283 w 325437"/>
                  <a:gd name="connsiteY2" fmla="*/ 15560 h 325438"/>
                  <a:gd name="connsiteX3" fmla="*/ 162719 w 325437"/>
                  <a:gd name="connsiteY3" fmla="*/ 162719 h 325438"/>
                  <a:gd name="connsiteX4" fmla="*/ 170607 w 325437"/>
                  <a:gd name="connsiteY4" fmla="*/ 325247 h 325438"/>
                  <a:gd name="connsiteX0" fmla="*/ 162737 w 254177"/>
                  <a:gd name="connsiteY0" fmla="*/ 147159 h 309880"/>
                  <a:gd name="connsiteX1" fmla="*/ 170625 w 254177"/>
                  <a:gd name="connsiteY1" fmla="*/ 309687 h 309880"/>
                  <a:gd name="connsiteX2" fmla="*/ 4865 w 254177"/>
                  <a:gd name="connsiteY2" fmla="*/ 186578 h 309880"/>
                  <a:gd name="connsiteX3" fmla="*/ 93301 w 254177"/>
                  <a:gd name="connsiteY3" fmla="*/ 0 h 309880"/>
                  <a:gd name="connsiteX4" fmla="*/ 254177 w 254177"/>
                  <a:gd name="connsiteY4" fmla="*/ 238599 h 309880"/>
                  <a:gd name="connsiteX0" fmla="*/ 170625 w 254177"/>
                  <a:gd name="connsiteY0" fmla="*/ 309687 h 309880"/>
                  <a:gd name="connsiteX1" fmla="*/ 4865 w 254177"/>
                  <a:gd name="connsiteY1" fmla="*/ 186578 h 309880"/>
                  <a:gd name="connsiteX2" fmla="*/ 93301 w 254177"/>
                  <a:gd name="connsiteY2" fmla="*/ 0 h 309880"/>
                  <a:gd name="connsiteX3" fmla="*/ 254177 w 254177"/>
                  <a:gd name="connsiteY3" fmla="*/ 238599 h 309880"/>
                  <a:gd name="connsiteX0" fmla="*/ 170625 w 170625"/>
                  <a:gd name="connsiteY0" fmla="*/ 309687 h 309880"/>
                  <a:gd name="connsiteX1" fmla="*/ 4865 w 170625"/>
                  <a:gd name="connsiteY1" fmla="*/ 186578 h 309880"/>
                  <a:gd name="connsiteX2" fmla="*/ 93301 w 170625"/>
                  <a:gd name="connsiteY2" fmla="*/ 0 h 309880"/>
                </a:gdLst>
                <a:ahLst/>
                <a:cxnLst>
                  <a:cxn ang="0">
                    <a:pos x="connsiteX0" y="connsiteY0"/>
                  </a:cxn>
                  <a:cxn ang="0">
                    <a:pos x="connsiteX1" y="connsiteY1"/>
                  </a:cxn>
                  <a:cxn ang="0">
                    <a:pos x="connsiteX2" y="connsiteY2"/>
                  </a:cxn>
                </a:cxnLst>
                <a:rect l="l" t="t" r="r" b="b"/>
                <a:pathLst>
                  <a:path w="170625" h="309880">
                    <a:moveTo>
                      <a:pt x="170625" y="309687"/>
                    </a:moveTo>
                    <a:cubicBezTo>
                      <a:pt x="93077" y="313451"/>
                      <a:pt x="23672" y="261904"/>
                      <a:pt x="4865" y="186578"/>
                    </a:cubicBezTo>
                    <a:cubicBezTo>
                      <a:pt x="-13943" y="111251"/>
                      <a:pt x="23086" y="33130"/>
                      <a:pt x="93301" y="0"/>
                    </a:cubicBezTo>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grpSp>
      </p:grpSp>
      <p:sp>
        <p:nvSpPr>
          <p:cNvPr id="225" name="Date Placeholder 224">
            <a:extLst>
              <a:ext uri="{FF2B5EF4-FFF2-40B4-BE49-F238E27FC236}">
                <a16:creationId xmlns:a16="http://schemas.microsoft.com/office/drawing/2014/main" id="{CEB04BCA-FD6C-4623-89B7-5529199B6D02}"/>
              </a:ext>
            </a:extLst>
          </p:cNvPr>
          <p:cNvSpPr>
            <a:spLocks noGrp="1"/>
          </p:cNvSpPr>
          <p:nvPr>
            <p:ph type="dt" sz="half" idx="14"/>
          </p:nvPr>
        </p:nvSpPr>
        <p:spPr bwMode="gray"/>
        <p:txBody>
          <a:bodyPr/>
          <a:lstStyle/>
          <a:p>
            <a:fld id="{CC4F04CD-98A8-453E-8B3C-86C79B55C6B8}" type="datetime4">
              <a:rPr lang="en-US" smtClean="0"/>
              <a:t>September 8, 2019</a:t>
            </a:fld>
            <a:endParaRPr lang="en-US" dirty="0"/>
          </a:p>
        </p:txBody>
      </p:sp>
      <p:sp>
        <p:nvSpPr>
          <p:cNvPr id="226" name="Footer Placeholder 225">
            <a:extLst>
              <a:ext uri="{FF2B5EF4-FFF2-40B4-BE49-F238E27FC236}">
                <a16:creationId xmlns:a16="http://schemas.microsoft.com/office/drawing/2014/main" id="{AD1BAE22-FCEE-4807-9C3F-E59AC76D7EC8}"/>
              </a:ext>
            </a:extLst>
          </p:cNvPr>
          <p:cNvSpPr>
            <a:spLocks noGrp="1"/>
          </p:cNvSpPr>
          <p:nvPr>
            <p:ph type="ftr" sz="quarter" idx="15"/>
          </p:nvPr>
        </p:nvSpPr>
        <p:spPr bwMode="gray"/>
        <p:txBody>
          <a:bodyPr/>
          <a:lstStyle/>
          <a:p>
            <a:pPr lvl="8"/>
            <a:endParaRPr lang="en-US" dirty="0"/>
          </a:p>
        </p:txBody>
      </p:sp>
      <p:sp>
        <p:nvSpPr>
          <p:cNvPr id="227" name="Slide Number Placeholder 226">
            <a:extLst>
              <a:ext uri="{FF2B5EF4-FFF2-40B4-BE49-F238E27FC236}">
                <a16:creationId xmlns:a16="http://schemas.microsoft.com/office/drawing/2014/main" id="{33C9F266-E0F1-4D8F-89D8-B3EC9B4F2CB9}"/>
              </a:ext>
            </a:extLst>
          </p:cNvPr>
          <p:cNvSpPr>
            <a:spLocks noGrp="1"/>
          </p:cNvSpPr>
          <p:nvPr>
            <p:ph type="sldNum" sz="quarter" idx="16"/>
          </p:nvPr>
        </p:nvSpPr>
        <p:spPr bwMode="gray"/>
        <p:txBody>
          <a:bodyPr/>
          <a:lstStyle/>
          <a:p>
            <a:r>
              <a:rPr lang="en-US"/>
              <a:t>Slide </a:t>
            </a:r>
            <a:fld id="{619F89D8-7AE3-494A-97F3-03D680869632}" type="slidenum">
              <a:rPr lang="en-US" smtClean="0"/>
              <a:pPr/>
              <a:t>82</a:t>
            </a:fld>
            <a:endParaRPr lang="en-US" dirty="0"/>
          </a:p>
        </p:txBody>
      </p:sp>
    </p:spTree>
    <p:custDataLst>
      <p:tags r:id="rId1"/>
    </p:custDataLst>
    <p:extLst>
      <p:ext uri="{BB962C8B-B14F-4D97-AF65-F5344CB8AC3E}">
        <p14:creationId xmlns:p14="http://schemas.microsoft.com/office/powerpoint/2010/main" val="2945508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66"/>
                                        </p:tgtEl>
                                        <p:attrNameLst>
                                          <p:attrName>style.visibility</p:attrName>
                                        </p:attrNameLst>
                                      </p:cBhvr>
                                      <p:to>
                                        <p:strVal val="visible"/>
                                      </p:to>
                                    </p:set>
                                    <p:animEffect transition="in" filter="wheel(1)">
                                      <p:cBhvr>
                                        <p:cTn id="7" dur="3750"/>
                                        <p:tgtEl>
                                          <p:spTgt spid="166"/>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172"/>
                                        </p:tgtEl>
                                        <p:attrNameLst>
                                          <p:attrName>style.visibility</p:attrName>
                                        </p:attrNameLst>
                                      </p:cBhvr>
                                      <p:to>
                                        <p:strVal val="visible"/>
                                      </p:to>
                                    </p:set>
                                    <p:anim calcmode="lin" valueType="num">
                                      <p:cBhvr>
                                        <p:cTn id="10" dur="500" fill="hold"/>
                                        <p:tgtEl>
                                          <p:spTgt spid="172"/>
                                        </p:tgtEl>
                                        <p:attrNameLst>
                                          <p:attrName>ppt_w</p:attrName>
                                        </p:attrNameLst>
                                      </p:cBhvr>
                                      <p:tavLst>
                                        <p:tav tm="0">
                                          <p:val>
                                            <p:fltVal val="0"/>
                                          </p:val>
                                        </p:tav>
                                        <p:tav tm="100000">
                                          <p:val>
                                            <p:strVal val="#ppt_w"/>
                                          </p:val>
                                        </p:tav>
                                      </p:tavLst>
                                    </p:anim>
                                    <p:anim calcmode="lin" valueType="num">
                                      <p:cBhvr>
                                        <p:cTn id="11" dur="500" fill="hold"/>
                                        <p:tgtEl>
                                          <p:spTgt spid="172"/>
                                        </p:tgtEl>
                                        <p:attrNameLst>
                                          <p:attrName>ppt_h</p:attrName>
                                        </p:attrNameLst>
                                      </p:cBhvr>
                                      <p:tavLst>
                                        <p:tav tm="0">
                                          <p:val>
                                            <p:fltVal val="0"/>
                                          </p:val>
                                        </p:tav>
                                        <p:tav tm="100000">
                                          <p:val>
                                            <p:strVal val="#ppt_h"/>
                                          </p:val>
                                        </p:tav>
                                      </p:tavLst>
                                    </p:anim>
                                    <p:animEffect transition="in" filter="fade">
                                      <p:cBhvr>
                                        <p:cTn id="12" dur="500"/>
                                        <p:tgtEl>
                                          <p:spTgt spid="17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63"/>
                                        </p:tgtEl>
                                        <p:attrNameLst>
                                          <p:attrName>style.visibility</p:attrName>
                                        </p:attrNameLst>
                                      </p:cBhvr>
                                      <p:to>
                                        <p:strVal val="visible"/>
                                      </p:to>
                                    </p:set>
                                    <p:animEffect transition="in" filter="fade">
                                      <p:cBhvr>
                                        <p:cTn id="15" dur="500"/>
                                        <p:tgtEl>
                                          <p:spTgt spid="163"/>
                                        </p:tgtEl>
                                      </p:cBhvr>
                                    </p:animEffect>
                                  </p:childTnLst>
                                </p:cTn>
                              </p:par>
                              <p:par>
                                <p:cTn id="16" presetID="53" presetClass="entr" presetSubtype="16" fill="hold" grpId="0" nodeType="withEffect">
                                  <p:stCondLst>
                                    <p:cond delay="500"/>
                                  </p:stCondLst>
                                  <p:childTnLst>
                                    <p:set>
                                      <p:cBhvr>
                                        <p:cTn id="17" dur="1" fill="hold">
                                          <p:stCondLst>
                                            <p:cond delay="0"/>
                                          </p:stCondLst>
                                        </p:cTn>
                                        <p:tgtEl>
                                          <p:spTgt spid="168"/>
                                        </p:tgtEl>
                                        <p:attrNameLst>
                                          <p:attrName>style.visibility</p:attrName>
                                        </p:attrNameLst>
                                      </p:cBhvr>
                                      <p:to>
                                        <p:strVal val="visible"/>
                                      </p:to>
                                    </p:set>
                                    <p:anim calcmode="lin" valueType="num">
                                      <p:cBhvr>
                                        <p:cTn id="18" dur="500" fill="hold"/>
                                        <p:tgtEl>
                                          <p:spTgt spid="168"/>
                                        </p:tgtEl>
                                        <p:attrNameLst>
                                          <p:attrName>ppt_w</p:attrName>
                                        </p:attrNameLst>
                                      </p:cBhvr>
                                      <p:tavLst>
                                        <p:tav tm="0">
                                          <p:val>
                                            <p:fltVal val="0"/>
                                          </p:val>
                                        </p:tav>
                                        <p:tav tm="100000">
                                          <p:val>
                                            <p:strVal val="#ppt_w"/>
                                          </p:val>
                                        </p:tav>
                                      </p:tavLst>
                                    </p:anim>
                                    <p:anim calcmode="lin" valueType="num">
                                      <p:cBhvr>
                                        <p:cTn id="19" dur="500" fill="hold"/>
                                        <p:tgtEl>
                                          <p:spTgt spid="168"/>
                                        </p:tgtEl>
                                        <p:attrNameLst>
                                          <p:attrName>ppt_h</p:attrName>
                                        </p:attrNameLst>
                                      </p:cBhvr>
                                      <p:tavLst>
                                        <p:tav tm="0">
                                          <p:val>
                                            <p:fltVal val="0"/>
                                          </p:val>
                                        </p:tav>
                                        <p:tav tm="100000">
                                          <p:val>
                                            <p:strVal val="#ppt_h"/>
                                          </p:val>
                                        </p:tav>
                                      </p:tavLst>
                                    </p:anim>
                                    <p:animEffect transition="in" filter="fade">
                                      <p:cBhvr>
                                        <p:cTn id="20" dur="500"/>
                                        <p:tgtEl>
                                          <p:spTgt spid="168"/>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164"/>
                                        </p:tgtEl>
                                        <p:attrNameLst>
                                          <p:attrName>style.visibility</p:attrName>
                                        </p:attrNameLst>
                                      </p:cBhvr>
                                      <p:to>
                                        <p:strVal val="visible"/>
                                      </p:to>
                                    </p:set>
                                    <p:animEffect transition="in" filter="fade">
                                      <p:cBhvr>
                                        <p:cTn id="23" dur="500"/>
                                        <p:tgtEl>
                                          <p:spTgt spid="164"/>
                                        </p:tgtEl>
                                      </p:cBhvr>
                                    </p:animEffect>
                                  </p:childTnLst>
                                </p:cTn>
                              </p:par>
                              <p:par>
                                <p:cTn id="24" presetID="53" presetClass="entr" presetSubtype="16" fill="hold" grpId="0" nodeType="withEffect">
                                  <p:stCondLst>
                                    <p:cond delay="1000"/>
                                  </p:stCondLst>
                                  <p:childTnLst>
                                    <p:set>
                                      <p:cBhvr>
                                        <p:cTn id="25" dur="1" fill="hold">
                                          <p:stCondLst>
                                            <p:cond delay="0"/>
                                          </p:stCondLst>
                                        </p:cTn>
                                        <p:tgtEl>
                                          <p:spTgt spid="169"/>
                                        </p:tgtEl>
                                        <p:attrNameLst>
                                          <p:attrName>style.visibility</p:attrName>
                                        </p:attrNameLst>
                                      </p:cBhvr>
                                      <p:to>
                                        <p:strVal val="visible"/>
                                      </p:to>
                                    </p:set>
                                    <p:anim calcmode="lin" valueType="num">
                                      <p:cBhvr>
                                        <p:cTn id="26" dur="500" fill="hold"/>
                                        <p:tgtEl>
                                          <p:spTgt spid="169"/>
                                        </p:tgtEl>
                                        <p:attrNameLst>
                                          <p:attrName>ppt_w</p:attrName>
                                        </p:attrNameLst>
                                      </p:cBhvr>
                                      <p:tavLst>
                                        <p:tav tm="0">
                                          <p:val>
                                            <p:fltVal val="0"/>
                                          </p:val>
                                        </p:tav>
                                        <p:tav tm="100000">
                                          <p:val>
                                            <p:strVal val="#ppt_w"/>
                                          </p:val>
                                        </p:tav>
                                      </p:tavLst>
                                    </p:anim>
                                    <p:anim calcmode="lin" valueType="num">
                                      <p:cBhvr>
                                        <p:cTn id="27" dur="500" fill="hold"/>
                                        <p:tgtEl>
                                          <p:spTgt spid="169"/>
                                        </p:tgtEl>
                                        <p:attrNameLst>
                                          <p:attrName>ppt_h</p:attrName>
                                        </p:attrNameLst>
                                      </p:cBhvr>
                                      <p:tavLst>
                                        <p:tav tm="0">
                                          <p:val>
                                            <p:fltVal val="0"/>
                                          </p:val>
                                        </p:tav>
                                        <p:tav tm="100000">
                                          <p:val>
                                            <p:strVal val="#ppt_h"/>
                                          </p:val>
                                        </p:tav>
                                      </p:tavLst>
                                    </p:anim>
                                    <p:animEffect transition="in" filter="fade">
                                      <p:cBhvr>
                                        <p:cTn id="28" dur="500"/>
                                        <p:tgtEl>
                                          <p:spTgt spid="169"/>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165"/>
                                        </p:tgtEl>
                                        <p:attrNameLst>
                                          <p:attrName>style.visibility</p:attrName>
                                        </p:attrNameLst>
                                      </p:cBhvr>
                                      <p:to>
                                        <p:strVal val="visible"/>
                                      </p:to>
                                    </p:set>
                                    <p:animEffect transition="in" filter="fade">
                                      <p:cBhvr>
                                        <p:cTn id="31" dur="500"/>
                                        <p:tgtEl>
                                          <p:spTgt spid="165"/>
                                        </p:tgtEl>
                                      </p:cBhvr>
                                    </p:animEffect>
                                  </p:childTnLst>
                                </p:cTn>
                              </p:par>
                              <p:par>
                                <p:cTn id="32" presetID="53" presetClass="entr" presetSubtype="16" fill="hold" grpId="0" nodeType="withEffect">
                                  <p:stCondLst>
                                    <p:cond delay="1500"/>
                                  </p:stCondLst>
                                  <p:childTnLst>
                                    <p:set>
                                      <p:cBhvr>
                                        <p:cTn id="33" dur="1" fill="hold">
                                          <p:stCondLst>
                                            <p:cond delay="0"/>
                                          </p:stCondLst>
                                        </p:cTn>
                                        <p:tgtEl>
                                          <p:spTgt spid="171"/>
                                        </p:tgtEl>
                                        <p:attrNameLst>
                                          <p:attrName>style.visibility</p:attrName>
                                        </p:attrNameLst>
                                      </p:cBhvr>
                                      <p:to>
                                        <p:strVal val="visible"/>
                                      </p:to>
                                    </p:set>
                                    <p:anim calcmode="lin" valueType="num">
                                      <p:cBhvr>
                                        <p:cTn id="34" dur="500" fill="hold"/>
                                        <p:tgtEl>
                                          <p:spTgt spid="171"/>
                                        </p:tgtEl>
                                        <p:attrNameLst>
                                          <p:attrName>ppt_w</p:attrName>
                                        </p:attrNameLst>
                                      </p:cBhvr>
                                      <p:tavLst>
                                        <p:tav tm="0">
                                          <p:val>
                                            <p:fltVal val="0"/>
                                          </p:val>
                                        </p:tav>
                                        <p:tav tm="100000">
                                          <p:val>
                                            <p:strVal val="#ppt_w"/>
                                          </p:val>
                                        </p:tav>
                                      </p:tavLst>
                                    </p:anim>
                                    <p:anim calcmode="lin" valueType="num">
                                      <p:cBhvr>
                                        <p:cTn id="35" dur="500" fill="hold"/>
                                        <p:tgtEl>
                                          <p:spTgt spid="171"/>
                                        </p:tgtEl>
                                        <p:attrNameLst>
                                          <p:attrName>ppt_h</p:attrName>
                                        </p:attrNameLst>
                                      </p:cBhvr>
                                      <p:tavLst>
                                        <p:tav tm="0">
                                          <p:val>
                                            <p:fltVal val="0"/>
                                          </p:val>
                                        </p:tav>
                                        <p:tav tm="100000">
                                          <p:val>
                                            <p:strVal val="#ppt_h"/>
                                          </p:val>
                                        </p:tav>
                                      </p:tavLst>
                                    </p:anim>
                                    <p:animEffect transition="in" filter="fade">
                                      <p:cBhvr>
                                        <p:cTn id="36" dur="500"/>
                                        <p:tgtEl>
                                          <p:spTgt spid="171"/>
                                        </p:tgtEl>
                                      </p:cBhvr>
                                    </p:animEffect>
                                  </p:childTnLst>
                                </p:cTn>
                              </p:par>
                              <p:par>
                                <p:cTn id="37" presetID="10" presetClass="entr" presetSubtype="0" fill="hold" grpId="0" nodeType="withEffect">
                                  <p:stCondLst>
                                    <p:cond delay="1500"/>
                                  </p:stCondLst>
                                  <p:childTnLst>
                                    <p:set>
                                      <p:cBhvr>
                                        <p:cTn id="38" dur="1" fill="hold">
                                          <p:stCondLst>
                                            <p:cond delay="0"/>
                                          </p:stCondLst>
                                        </p:cTn>
                                        <p:tgtEl>
                                          <p:spTgt spid="173"/>
                                        </p:tgtEl>
                                        <p:attrNameLst>
                                          <p:attrName>style.visibility</p:attrName>
                                        </p:attrNameLst>
                                      </p:cBhvr>
                                      <p:to>
                                        <p:strVal val="visible"/>
                                      </p:to>
                                    </p:set>
                                    <p:animEffect transition="in" filter="fade">
                                      <p:cBhvr>
                                        <p:cTn id="39" dur="500"/>
                                        <p:tgtEl>
                                          <p:spTgt spid="173"/>
                                        </p:tgtEl>
                                      </p:cBhvr>
                                    </p:animEffect>
                                  </p:childTnLst>
                                </p:cTn>
                              </p:par>
                              <p:par>
                                <p:cTn id="40" presetID="53" presetClass="entr" presetSubtype="16" fill="hold" grpId="0" nodeType="withEffect">
                                  <p:stCondLst>
                                    <p:cond delay="2000"/>
                                  </p:stCondLst>
                                  <p:childTnLst>
                                    <p:set>
                                      <p:cBhvr>
                                        <p:cTn id="41" dur="1" fill="hold">
                                          <p:stCondLst>
                                            <p:cond delay="0"/>
                                          </p:stCondLst>
                                        </p:cTn>
                                        <p:tgtEl>
                                          <p:spTgt spid="167"/>
                                        </p:tgtEl>
                                        <p:attrNameLst>
                                          <p:attrName>style.visibility</p:attrName>
                                        </p:attrNameLst>
                                      </p:cBhvr>
                                      <p:to>
                                        <p:strVal val="visible"/>
                                      </p:to>
                                    </p:set>
                                    <p:anim calcmode="lin" valueType="num">
                                      <p:cBhvr>
                                        <p:cTn id="42" dur="500" fill="hold"/>
                                        <p:tgtEl>
                                          <p:spTgt spid="167"/>
                                        </p:tgtEl>
                                        <p:attrNameLst>
                                          <p:attrName>ppt_w</p:attrName>
                                        </p:attrNameLst>
                                      </p:cBhvr>
                                      <p:tavLst>
                                        <p:tav tm="0">
                                          <p:val>
                                            <p:fltVal val="0"/>
                                          </p:val>
                                        </p:tav>
                                        <p:tav tm="100000">
                                          <p:val>
                                            <p:strVal val="#ppt_w"/>
                                          </p:val>
                                        </p:tav>
                                      </p:tavLst>
                                    </p:anim>
                                    <p:anim calcmode="lin" valueType="num">
                                      <p:cBhvr>
                                        <p:cTn id="43" dur="500" fill="hold"/>
                                        <p:tgtEl>
                                          <p:spTgt spid="167"/>
                                        </p:tgtEl>
                                        <p:attrNameLst>
                                          <p:attrName>ppt_h</p:attrName>
                                        </p:attrNameLst>
                                      </p:cBhvr>
                                      <p:tavLst>
                                        <p:tav tm="0">
                                          <p:val>
                                            <p:fltVal val="0"/>
                                          </p:val>
                                        </p:tav>
                                        <p:tav tm="100000">
                                          <p:val>
                                            <p:strVal val="#ppt_h"/>
                                          </p:val>
                                        </p:tav>
                                      </p:tavLst>
                                    </p:anim>
                                    <p:animEffect transition="in" filter="fade">
                                      <p:cBhvr>
                                        <p:cTn id="44" dur="500"/>
                                        <p:tgtEl>
                                          <p:spTgt spid="167"/>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62"/>
                                        </p:tgtEl>
                                        <p:attrNameLst>
                                          <p:attrName>style.visibility</p:attrName>
                                        </p:attrNameLst>
                                      </p:cBhvr>
                                      <p:to>
                                        <p:strVal val="visible"/>
                                      </p:to>
                                    </p:set>
                                    <p:animEffect transition="in" filter="fade">
                                      <p:cBhvr>
                                        <p:cTn id="47" dur="500"/>
                                        <p:tgtEl>
                                          <p:spTgt spid="162"/>
                                        </p:tgtEl>
                                      </p:cBhvr>
                                    </p:animEffect>
                                  </p:childTnLst>
                                </p:cTn>
                              </p:par>
                              <p:par>
                                <p:cTn id="48" presetID="53" presetClass="entr" presetSubtype="16" fill="hold" grpId="0" nodeType="withEffect">
                                  <p:stCondLst>
                                    <p:cond delay="2500"/>
                                  </p:stCondLst>
                                  <p:childTnLst>
                                    <p:set>
                                      <p:cBhvr>
                                        <p:cTn id="49" dur="1" fill="hold">
                                          <p:stCondLst>
                                            <p:cond delay="0"/>
                                          </p:stCondLst>
                                        </p:cTn>
                                        <p:tgtEl>
                                          <p:spTgt spid="170"/>
                                        </p:tgtEl>
                                        <p:attrNameLst>
                                          <p:attrName>style.visibility</p:attrName>
                                        </p:attrNameLst>
                                      </p:cBhvr>
                                      <p:to>
                                        <p:strVal val="visible"/>
                                      </p:to>
                                    </p:set>
                                    <p:anim calcmode="lin" valueType="num">
                                      <p:cBhvr>
                                        <p:cTn id="50" dur="500" fill="hold"/>
                                        <p:tgtEl>
                                          <p:spTgt spid="170"/>
                                        </p:tgtEl>
                                        <p:attrNameLst>
                                          <p:attrName>ppt_w</p:attrName>
                                        </p:attrNameLst>
                                      </p:cBhvr>
                                      <p:tavLst>
                                        <p:tav tm="0">
                                          <p:val>
                                            <p:fltVal val="0"/>
                                          </p:val>
                                        </p:tav>
                                        <p:tav tm="100000">
                                          <p:val>
                                            <p:strVal val="#ppt_w"/>
                                          </p:val>
                                        </p:tav>
                                      </p:tavLst>
                                    </p:anim>
                                    <p:anim calcmode="lin" valueType="num">
                                      <p:cBhvr>
                                        <p:cTn id="51" dur="500" fill="hold"/>
                                        <p:tgtEl>
                                          <p:spTgt spid="170"/>
                                        </p:tgtEl>
                                        <p:attrNameLst>
                                          <p:attrName>ppt_h</p:attrName>
                                        </p:attrNameLst>
                                      </p:cBhvr>
                                      <p:tavLst>
                                        <p:tav tm="0">
                                          <p:val>
                                            <p:fltVal val="0"/>
                                          </p:val>
                                        </p:tav>
                                        <p:tav tm="100000">
                                          <p:val>
                                            <p:strVal val="#ppt_h"/>
                                          </p:val>
                                        </p:tav>
                                      </p:tavLst>
                                    </p:anim>
                                    <p:animEffect transition="in" filter="fade">
                                      <p:cBhvr>
                                        <p:cTn id="52" dur="500"/>
                                        <p:tgtEl>
                                          <p:spTgt spid="170"/>
                                        </p:tgtEl>
                                      </p:cBhvr>
                                    </p:animEffect>
                                  </p:childTnLst>
                                </p:cTn>
                              </p:par>
                              <p:par>
                                <p:cTn id="53" presetID="10" presetClass="entr" presetSubtype="0" fill="hold" grpId="0" nodeType="withEffect">
                                  <p:stCondLst>
                                    <p:cond delay="2500"/>
                                  </p:stCondLst>
                                  <p:childTnLst>
                                    <p:set>
                                      <p:cBhvr>
                                        <p:cTn id="54" dur="1" fill="hold">
                                          <p:stCondLst>
                                            <p:cond delay="0"/>
                                          </p:stCondLst>
                                        </p:cTn>
                                        <p:tgtEl>
                                          <p:spTgt spid="161"/>
                                        </p:tgtEl>
                                        <p:attrNameLst>
                                          <p:attrName>style.visibility</p:attrName>
                                        </p:attrNameLst>
                                      </p:cBhvr>
                                      <p:to>
                                        <p:strVal val="visible"/>
                                      </p:to>
                                    </p:set>
                                    <p:animEffect transition="in" filter="fade">
                                      <p:cBhvr>
                                        <p:cTn id="55" dur="500"/>
                                        <p:tgtEl>
                                          <p:spTgt spid="1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p:bldP spid="162" grpId="0"/>
      <p:bldP spid="163" grpId="0"/>
      <p:bldP spid="164" grpId="0"/>
      <p:bldP spid="165" grpId="0"/>
      <p:bldP spid="166" grpId="0" animBg="1"/>
      <p:bldP spid="167" grpId="0" animBg="1"/>
      <p:bldP spid="168" grpId="0" animBg="1"/>
      <p:bldP spid="169" grpId="0" animBg="1"/>
      <p:bldP spid="170" grpId="0" animBg="1"/>
      <p:bldP spid="171" grpId="0" animBg="1"/>
      <p:bldP spid="172" grpId="0" animBg="1"/>
      <p:bldP spid="173" grpId="0"/>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4C78B00-1BC7-4B16-B5EE-EF02BD12DD5B}"/>
              </a:ext>
            </a:extLst>
          </p:cNvPr>
          <p:cNvSpPr>
            <a:spLocks noGrp="1"/>
          </p:cNvSpPr>
          <p:nvPr>
            <p:ph type="title"/>
          </p:nvPr>
        </p:nvSpPr>
        <p:spPr bwMode="gray"/>
        <p:txBody>
          <a:bodyPr/>
          <a:lstStyle/>
          <a:p>
            <a:r>
              <a:rPr lang="en-US" dirty="0"/>
              <a:t>Electronic specialty gases – bulk and cylinder</a:t>
            </a:r>
          </a:p>
        </p:txBody>
      </p:sp>
      <p:sp>
        <p:nvSpPr>
          <p:cNvPr id="7" name="Subtitle 6">
            <a:extLst>
              <a:ext uri="{FF2B5EF4-FFF2-40B4-BE49-F238E27FC236}">
                <a16:creationId xmlns:a16="http://schemas.microsoft.com/office/drawing/2014/main" id="{12BE739F-7DDE-422C-AD2D-83388DCBB3E9}"/>
              </a:ext>
            </a:extLst>
          </p:cNvPr>
          <p:cNvSpPr>
            <a:spLocks noGrp="1"/>
          </p:cNvSpPr>
          <p:nvPr>
            <p:ph type="subTitle" idx="13"/>
          </p:nvPr>
        </p:nvSpPr>
        <p:spPr bwMode="gray"/>
        <p:txBody>
          <a:bodyPr/>
          <a:lstStyle/>
          <a:p>
            <a:r>
              <a:rPr lang="en-US" dirty="0"/>
              <a:t>Ultra high purity gases require higher accuracy niche analytical instrumentation products</a:t>
            </a:r>
          </a:p>
        </p:txBody>
      </p:sp>
      <p:sp>
        <p:nvSpPr>
          <p:cNvPr id="63" name="Oval 62">
            <a:extLst>
              <a:ext uri="{FF2B5EF4-FFF2-40B4-BE49-F238E27FC236}">
                <a16:creationId xmlns:a16="http://schemas.microsoft.com/office/drawing/2014/main" id="{FCE85270-A7B8-4ABF-A8DF-77CB680FA71F}"/>
              </a:ext>
            </a:extLst>
          </p:cNvPr>
          <p:cNvSpPr/>
          <p:nvPr/>
        </p:nvSpPr>
        <p:spPr bwMode="gray">
          <a:xfrm>
            <a:off x="4931365" y="2758154"/>
            <a:ext cx="2329270" cy="2329270"/>
          </a:xfrm>
          <a:prstGeom prst="ellipse">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5" name="Oval 64">
            <a:extLst>
              <a:ext uri="{FF2B5EF4-FFF2-40B4-BE49-F238E27FC236}">
                <a16:creationId xmlns:a16="http://schemas.microsoft.com/office/drawing/2014/main" id="{F510B41F-96C4-4476-8D9F-F68C311778BD}"/>
              </a:ext>
            </a:extLst>
          </p:cNvPr>
          <p:cNvSpPr/>
          <p:nvPr/>
        </p:nvSpPr>
        <p:spPr bwMode="gray">
          <a:xfrm>
            <a:off x="5559486" y="4944702"/>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6" name="Oval 65">
            <a:extLst>
              <a:ext uri="{FF2B5EF4-FFF2-40B4-BE49-F238E27FC236}">
                <a16:creationId xmlns:a16="http://schemas.microsoft.com/office/drawing/2014/main" id="{A5F26B5C-98C3-42C1-9EAF-DA2A97303EDB}"/>
              </a:ext>
            </a:extLst>
          </p:cNvPr>
          <p:cNvSpPr/>
          <p:nvPr/>
        </p:nvSpPr>
        <p:spPr bwMode="gray">
          <a:xfrm>
            <a:off x="6968927" y="3157066"/>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7" name="Oval 66">
            <a:extLst>
              <a:ext uri="{FF2B5EF4-FFF2-40B4-BE49-F238E27FC236}">
                <a16:creationId xmlns:a16="http://schemas.microsoft.com/office/drawing/2014/main" id="{1DFB3421-66C8-40D4-84F2-60EE07F01163}"/>
              </a:ext>
            </a:extLst>
          </p:cNvPr>
          <p:cNvSpPr/>
          <p:nvPr/>
        </p:nvSpPr>
        <p:spPr bwMode="gray">
          <a:xfrm>
            <a:off x="6562144" y="4944637"/>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8" name="Oval 67">
            <a:extLst>
              <a:ext uri="{FF2B5EF4-FFF2-40B4-BE49-F238E27FC236}">
                <a16:creationId xmlns:a16="http://schemas.microsoft.com/office/drawing/2014/main" id="{0C9A8DBB-FDBF-43F0-BE34-C8C8255B01E2}"/>
              </a:ext>
            </a:extLst>
          </p:cNvPr>
          <p:cNvSpPr/>
          <p:nvPr/>
        </p:nvSpPr>
        <p:spPr bwMode="gray">
          <a:xfrm>
            <a:off x="5152704" y="3157001"/>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69" name="Oval 68">
            <a:extLst>
              <a:ext uri="{FF2B5EF4-FFF2-40B4-BE49-F238E27FC236}">
                <a16:creationId xmlns:a16="http://schemas.microsoft.com/office/drawing/2014/main" id="{335DB6FC-24C2-4CBF-A1EE-DF2F4E3749BC}"/>
              </a:ext>
            </a:extLst>
          </p:cNvPr>
          <p:cNvSpPr/>
          <p:nvPr/>
        </p:nvSpPr>
        <p:spPr bwMode="gray">
          <a:xfrm>
            <a:off x="4926682" y="4156735"/>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0" name="Oval 69">
            <a:extLst>
              <a:ext uri="{FF2B5EF4-FFF2-40B4-BE49-F238E27FC236}">
                <a16:creationId xmlns:a16="http://schemas.microsoft.com/office/drawing/2014/main" id="{BAA5C164-99CE-4D4E-ACBA-0E120A0BD165}"/>
              </a:ext>
            </a:extLst>
          </p:cNvPr>
          <p:cNvSpPr/>
          <p:nvPr/>
        </p:nvSpPr>
        <p:spPr bwMode="gray">
          <a:xfrm>
            <a:off x="7194884" y="4156735"/>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71" name="Oval 70">
            <a:extLst>
              <a:ext uri="{FF2B5EF4-FFF2-40B4-BE49-F238E27FC236}">
                <a16:creationId xmlns:a16="http://schemas.microsoft.com/office/drawing/2014/main" id="{58C60AA4-1C11-4AFD-A640-25CF81DB31DB}"/>
              </a:ext>
            </a:extLst>
          </p:cNvPr>
          <p:cNvSpPr/>
          <p:nvPr/>
        </p:nvSpPr>
        <p:spPr bwMode="gray">
          <a:xfrm>
            <a:off x="6060875" y="2724820"/>
            <a:ext cx="70434" cy="70434"/>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grpSp>
        <p:nvGrpSpPr>
          <p:cNvPr id="72" name="Group 71">
            <a:extLst>
              <a:ext uri="{FF2B5EF4-FFF2-40B4-BE49-F238E27FC236}">
                <a16:creationId xmlns:a16="http://schemas.microsoft.com/office/drawing/2014/main" id="{34D7E81D-4B61-464F-BCD1-B95FC6C9FF61}"/>
              </a:ext>
            </a:extLst>
          </p:cNvPr>
          <p:cNvGrpSpPr/>
          <p:nvPr/>
        </p:nvGrpSpPr>
        <p:grpSpPr bwMode="gray">
          <a:xfrm>
            <a:off x="5559486" y="3390139"/>
            <a:ext cx="329895" cy="1068323"/>
            <a:chOff x="3909933" y="3544064"/>
            <a:chExt cx="107385" cy="347753"/>
          </a:xfrm>
        </p:grpSpPr>
        <p:sp>
          <p:nvSpPr>
            <p:cNvPr id="73" name="Rectangle: Rounded Corners 49">
              <a:extLst>
                <a:ext uri="{FF2B5EF4-FFF2-40B4-BE49-F238E27FC236}">
                  <a16:creationId xmlns:a16="http://schemas.microsoft.com/office/drawing/2014/main" id="{F688CA62-B05B-4A6C-B692-04CF773D23AC}"/>
                </a:ext>
              </a:extLst>
            </p:cNvPr>
            <p:cNvSpPr/>
            <p:nvPr/>
          </p:nvSpPr>
          <p:spPr bwMode="gray">
            <a:xfrm>
              <a:off x="3909933" y="3626335"/>
              <a:ext cx="101694" cy="232027"/>
            </a:xfrm>
            <a:custGeom>
              <a:avLst/>
              <a:gdLst>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75342 w 150684"/>
                <a:gd name="connsiteY6" fmla="*/ 419144 h 419144"/>
                <a:gd name="connsiteX7" fmla="*/ 0 w 150684"/>
                <a:gd name="connsiteY7" fmla="*/ 343802 h 419144"/>
                <a:gd name="connsiteX8" fmla="*/ 0 w 150684"/>
                <a:gd name="connsiteY8" fmla="*/ 75342 h 419144"/>
                <a:gd name="connsiteX0" fmla="*/ 0 w 150684"/>
                <a:gd name="connsiteY0" fmla="*/ 75342 h 419144"/>
                <a:gd name="connsiteX1" fmla="*/ 75342 w 150684"/>
                <a:gd name="connsiteY1" fmla="*/ 0 h 419144"/>
                <a:gd name="connsiteX2" fmla="*/ 75342 w 150684"/>
                <a:gd name="connsiteY2" fmla="*/ 0 h 419144"/>
                <a:gd name="connsiteX3" fmla="*/ 150684 w 150684"/>
                <a:gd name="connsiteY3" fmla="*/ 75342 h 419144"/>
                <a:gd name="connsiteX4" fmla="*/ 150684 w 150684"/>
                <a:gd name="connsiteY4" fmla="*/ 343802 h 419144"/>
                <a:gd name="connsiteX5" fmla="*/ 75342 w 150684"/>
                <a:gd name="connsiteY5" fmla="*/ 419144 h 419144"/>
                <a:gd name="connsiteX6" fmla="*/ 0 w 150684"/>
                <a:gd name="connsiteY6" fmla="*/ 343802 h 419144"/>
                <a:gd name="connsiteX7" fmla="*/ 0 w 150684"/>
                <a:gd name="connsiteY7" fmla="*/ 75342 h 419144"/>
                <a:gd name="connsiteX0" fmla="*/ 0 w 150684"/>
                <a:gd name="connsiteY0" fmla="*/ 75342 h 377359"/>
                <a:gd name="connsiteX1" fmla="*/ 75342 w 150684"/>
                <a:gd name="connsiteY1" fmla="*/ 0 h 377359"/>
                <a:gd name="connsiteX2" fmla="*/ 75342 w 150684"/>
                <a:gd name="connsiteY2" fmla="*/ 0 h 377359"/>
                <a:gd name="connsiteX3" fmla="*/ 150684 w 150684"/>
                <a:gd name="connsiteY3" fmla="*/ 75342 h 377359"/>
                <a:gd name="connsiteX4" fmla="*/ 150684 w 150684"/>
                <a:gd name="connsiteY4" fmla="*/ 343802 h 377359"/>
                <a:gd name="connsiteX5" fmla="*/ 0 w 150684"/>
                <a:gd name="connsiteY5" fmla="*/ 343802 h 377359"/>
                <a:gd name="connsiteX6" fmla="*/ 0 w 150684"/>
                <a:gd name="connsiteY6" fmla="*/ 75342 h 377359"/>
                <a:gd name="connsiteX0" fmla="*/ 0 w 150684"/>
                <a:gd name="connsiteY0" fmla="*/ 75342 h 363687"/>
                <a:gd name="connsiteX1" fmla="*/ 75342 w 150684"/>
                <a:gd name="connsiteY1" fmla="*/ 0 h 363687"/>
                <a:gd name="connsiteX2" fmla="*/ 75342 w 150684"/>
                <a:gd name="connsiteY2" fmla="*/ 0 h 363687"/>
                <a:gd name="connsiteX3" fmla="*/ 150684 w 150684"/>
                <a:gd name="connsiteY3" fmla="*/ 75342 h 363687"/>
                <a:gd name="connsiteX4" fmla="*/ 150684 w 150684"/>
                <a:gd name="connsiteY4" fmla="*/ 343802 h 363687"/>
                <a:gd name="connsiteX5" fmla="*/ 0 w 150684"/>
                <a:gd name="connsiteY5" fmla="*/ 343802 h 363687"/>
                <a:gd name="connsiteX6" fmla="*/ 0 w 150684"/>
                <a:gd name="connsiteY6" fmla="*/ 75342 h 363687"/>
                <a:gd name="connsiteX0" fmla="*/ 0 w 150684"/>
                <a:gd name="connsiteY0" fmla="*/ 75342 h 343802"/>
                <a:gd name="connsiteX1" fmla="*/ 75342 w 150684"/>
                <a:gd name="connsiteY1" fmla="*/ 0 h 343802"/>
                <a:gd name="connsiteX2" fmla="*/ 75342 w 150684"/>
                <a:gd name="connsiteY2" fmla="*/ 0 h 343802"/>
                <a:gd name="connsiteX3" fmla="*/ 150684 w 150684"/>
                <a:gd name="connsiteY3" fmla="*/ 75342 h 343802"/>
                <a:gd name="connsiteX4" fmla="*/ 150684 w 150684"/>
                <a:gd name="connsiteY4" fmla="*/ 343802 h 343802"/>
                <a:gd name="connsiteX5" fmla="*/ 0 w 150684"/>
                <a:gd name="connsiteY5" fmla="*/ 343802 h 343802"/>
                <a:gd name="connsiteX6" fmla="*/ 0 w 150684"/>
                <a:gd name="connsiteY6" fmla="*/ 75342 h 3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84" h="343802">
                  <a:moveTo>
                    <a:pt x="0" y="75342"/>
                  </a:moveTo>
                  <a:cubicBezTo>
                    <a:pt x="0" y="33732"/>
                    <a:pt x="33732" y="0"/>
                    <a:pt x="75342" y="0"/>
                  </a:cubicBezTo>
                  <a:lnTo>
                    <a:pt x="75342" y="0"/>
                  </a:lnTo>
                  <a:cubicBezTo>
                    <a:pt x="116952" y="0"/>
                    <a:pt x="150684" y="33732"/>
                    <a:pt x="150684" y="75342"/>
                  </a:cubicBezTo>
                  <a:lnTo>
                    <a:pt x="150684" y="343802"/>
                  </a:lnTo>
                  <a:lnTo>
                    <a:pt x="0" y="343802"/>
                  </a:lnTo>
                  <a:lnTo>
                    <a:pt x="0" y="75342"/>
                  </a:lnTo>
                  <a:close/>
                </a:path>
              </a:pathLst>
            </a:cu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dirty="0"/>
            </a:p>
          </p:txBody>
        </p:sp>
        <p:sp>
          <p:nvSpPr>
            <p:cNvPr id="74" name="Freeform: Shape 73">
              <a:extLst>
                <a:ext uri="{FF2B5EF4-FFF2-40B4-BE49-F238E27FC236}">
                  <a16:creationId xmlns:a16="http://schemas.microsoft.com/office/drawing/2014/main" id="{617884C2-F9DD-405E-A0CC-4C8082E4858C}"/>
                </a:ext>
              </a:extLst>
            </p:cNvPr>
            <p:cNvSpPr/>
            <p:nvPr/>
          </p:nvSpPr>
          <p:spPr bwMode="gray">
            <a:xfrm>
              <a:off x="3941540" y="3570552"/>
              <a:ext cx="38480" cy="57600"/>
            </a:xfrm>
            <a:custGeom>
              <a:avLst/>
              <a:gdLst>
                <a:gd name="connsiteX0" fmla="*/ 8304 w 45719"/>
                <a:gd name="connsiteY0" fmla="*/ 0 h 76179"/>
                <a:gd name="connsiteX1" fmla="*/ 37415 w 45719"/>
                <a:gd name="connsiteY1" fmla="*/ 0 h 76179"/>
                <a:gd name="connsiteX2" fmla="*/ 45719 w 45719"/>
                <a:gd name="connsiteY2" fmla="*/ 8304 h 76179"/>
                <a:gd name="connsiteX3" fmla="*/ 45719 w 45719"/>
                <a:gd name="connsiteY3" fmla="*/ 76179 h 76179"/>
                <a:gd name="connsiteX4" fmla="*/ 22860 w 45719"/>
                <a:gd name="connsiteY4" fmla="*/ 66710 h 76179"/>
                <a:gd name="connsiteX5" fmla="*/ 0 w 45719"/>
                <a:gd name="connsiteY5" fmla="*/ 76179 h 76179"/>
                <a:gd name="connsiteX6" fmla="*/ 0 w 45719"/>
                <a:gd name="connsiteY6" fmla="*/ 8304 h 76179"/>
                <a:gd name="connsiteX7" fmla="*/ 8304 w 45719"/>
                <a:gd name="connsiteY7" fmla="*/ 0 h 76179"/>
                <a:gd name="connsiteX0" fmla="*/ 22860 w 45719"/>
                <a:gd name="connsiteY0" fmla="*/ 66710 h 78624"/>
                <a:gd name="connsiteX1" fmla="*/ 0 w 45719"/>
                <a:gd name="connsiteY1" fmla="*/ 76179 h 78624"/>
                <a:gd name="connsiteX2" fmla="*/ 0 w 45719"/>
                <a:gd name="connsiteY2" fmla="*/ 8304 h 78624"/>
                <a:gd name="connsiteX3" fmla="*/ 8304 w 45719"/>
                <a:gd name="connsiteY3" fmla="*/ 0 h 78624"/>
                <a:gd name="connsiteX4" fmla="*/ 37415 w 45719"/>
                <a:gd name="connsiteY4" fmla="*/ 0 h 78624"/>
                <a:gd name="connsiteX5" fmla="*/ 45719 w 45719"/>
                <a:gd name="connsiteY5" fmla="*/ 8304 h 78624"/>
                <a:gd name="connsiteX6" fmla="*/ 45719 w 45719"/>
                <a:gd name="connsiteY6" fmla="*/ 76179 h 78624"/>
                <a:gd name="connsiteX7" fmla="*/ 34774 w 45719"/>
                <a:gd name="connsiteY7" fmla="*/ 78624 h 78624"/>
                <a:gd name="connsiteX0" fmla="*/ 0 w 45719"/>
                <a:gd name="connsiteY0" fmla="*/ 76179 h 78624"/>
                <a:gd name="connsiteX1" fmla="*/ 0 w 45719"/>
                <a:gd name="connsiteY1" fmla="*/ 8304 h 78624"/>
                <a:gd name="connsiteX2" fmla="*/ 8304 w 45719"/>
                <a:gd name="connsiteY2" fmla="*/ 0 h 78624"/>
                <a:gd name="connsiteX3" fmla="*/ 37415 w 45719"/>
                <a:gd name="connsiteY3" fmla="*/ 0 h 78624"/>
                <a:gd name="connsiteX4" fmla="*/ 45719 w 45719"/>
                <a:gd name="connsiteY4" fmla="*/ 8304 h 78624"/>
                <a:gd name="connsiteX5" fmla="*/ 45719 w 45719"/>
                <a:gd name="connsiteY5" fmla="*/ 76179 h 78624"/>
                <a:gd name="connsiteX6" fmla="*/ 34774 w 45719"/>
                <a:gd name="connsiteY6" fmla="*/ 78624 h 78624"/>
                <a:gd name="connsiteX0" fmla="*/ 0 w 45719"/>
                <a:gd name="connsiteY0" fmla="*/ 76179 h 76179"/>
                <a:gd name="connsiteX1" fmla="*/ 0 w 45719"/>
                <a:gd name="connsiteY1" fmla="*/ 8304 h 76179"/>
                <a:gd name="connsiteX2" fmla="*/ 8304 w 45719"/>
                <a:gd name="connsiteY2" fmla="*/ 0 h 76179"/>
                <a:gd name="connsiteX3" fmla="*/ 37415 w 45719"/>
                <a:gd name="connsiteY3" fmla="*/ 0 h 76179"/>
                <a:gd name="connsiteX4" fmla="*/ 45719 w 45719"/>
                <a:gd name="connsiteY4" fmla="*/ 8304 h 76179"/>
                <a:gd name="connsiteX5" fmla="*/ 45719 w 45719"/>
                <a:gd name="connsiteY5" fmla="*/ 76179 h 7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19" h="76179">
                  <a:moveTo>
                    <a:pt x="0" y="76179"/>
                  </a:moveTo>
                  <a:lnTo>
                    <a:pt x="0" y="8304"/>
                  </a:lnTo>
                  <a:cubicBezTo>
                    <a:pt x="0" y="3718"/>
                    <a:pt x="3718" y="0"/>
                    <a:pt x="8304" y="0"/>
                  </a:cubicBezTo>
                  <a:lnTo>
                    <a:pt x="37415" y="0"/>
                  </a:lnTo>
                  <a:cubicBezTo>
                    <a:pt x="42001" y="0"/>
                    <a:pt x="45719" y="3718"/>
                    <a:pt x="45719" y="8304"/>
                  </a:cubicBezTo>
                  <a:lnTo>
                    <a:pt x="45719" y="76179"/>
                  </a:lnTo>
                </a:path>
              </a:pathLst>
            </a:cu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75" name="Straight Connector 74">
              <a:extLst>
                <a:ext uri="{FF2B5EF4-FFF2-40B4-BE49-F238E27FC236}">
                  <a16:creationId xmlns:a16="http://schemas.microsoft.com/office/drawing/2014/main" id="{9F67EB8E-3D56-491E-97B5-8179FFAF5F0D}"/>
                </a:ext>
              </a:extLst>
            </p:cNvPr>
            <p:cNvCxnSpPr>
              <a:cxnSpLocks/>
            </p:cNvCxnSpPr>
            <p:nvPr/>
          </p:nvCxnSpPr>
          <p:spPr bwMode="gray">
            <a:xfrm>
              <a:off x="3981318" y="3599824"/>
              <a:ext cx="36000" cy="0"/>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76" name="Rectangle: Rounded Corners 49">
              <a:extLst>
                <a:ext uri="{FF2B5EF4-FFF2-40B4-BE49-F238E27FC236}">
                  <a16:creationId xmlns:a16="http://schemas.microsoft.com/office/drawing/2014/main" id="{F5754DC3-3639-44E0-A754-62204500F098}"/>
                </a:ext>
              </a:extLst>
            </p:cNvPr>
            <p:cNvSpPr/>
            <p:nvPr/>
          </p:nvSpPr>
          <p:spPr bwMode="gray">
            <a:xfrm>
              <a:off x="3909933" y="3858362"/>
              <a:ext cx="101694" cy="33455"/>
            </a:xfrm>
            <a:prstGeom prst="rect">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77" name="Straight Connector 76">
              <a:extLst>
                <a:ext uri="{FF2B5EF4-FFF2-40B4-BE49-F238E27FC236}">
                  <a16:creationId xmlns:a16="http://schemas.microsoft.com/office/drawing/2014/main" id="{1F2449FC-E21F-4818-8187-722762553070}"/>
                </a:ext>
              </a:extLst>
            </p:cNvPr>
            <p:cNvCxnSpPr>
              <a:cxnSpLocks/>
            </p:cNvCxnSpPr>
            <p:nvPr/>
          </p:nvCxnSpPr>
          <p:spPr bwMode="gray">
            <a:xfrm>
              <a:off x="3941540" y="3548247"/>
              <a:ext cx="38480" cy="0"/>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78" name="Straight Connector 77">
              <a:extLst>
                <a:ext uri="{FF2B5EF4-FFF2-40B4-BE49-F238E27FC236}">
                  <a16:creationId xmlns:a16="http://schemas.microsoft.com/office/drawing/2014/main" id="{AC797221-B760-4DAA-89C9-6B722547A970}"/>
                </a:ext>
              </a:extLst>
            </p:cNvPr>
            <p:cNvCxnSpPr>
              <a:cxnSpLocks/>
            </p:cNvCxnSpPr>
            <p:nvPr/>
          </p:nvCxnSpPr>
          <p:spPr bwMode="gray">
            <a:xfrm>
              <a:off x="3960780" y="3544064"/>
              <a:ext cx="0" cy="26343"/>
            </a:xfrm>
            <a:prstGeom prst="line">
              <a:avLst/>
            </a:prstGeom>
            <a:noFill/>
            <a:ln w="38100" cap="flat">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grpSp>
        <p:nvGrpSpPr>
          <p:cNvPr id="79" name="Group 78">
            <a:extLst>
              <a:ext uri="{FF2B5EF4-FFF2-40B4-BE49-F238E27FC236}">
                <a16:creationId xmlns:a16="http://schemas.microsoft.com/office/drawing/2014/main" id="{D4FAA776-A11E-4BDF-8EBF-FF3013A4AFF4}"/>
              </a:ext>
            </a:extLst>
          </p:cNvPr>
          <p:cNvGrpSpPr/>
          <p:nvPr/>
        </p:nvGrpSpPr>
        <p:grpSpPr bwMode="gray">
          <a:xfrm>
            <a:off x="6092815" y="3506034"/>
            <a:ext cx="630478" cy="427297"/>
            <a:chOff x="9901332" y="3238877"/>
            <a:chExt cx="397105" cy="269132"/>
          </a:xfrm>
        </p:grpSpPr>
        <p:sp>
          <p:nvSpPr>
            <p:cNvPr id="80" name="Rectangle 2">
              <a:extLst>
                <a:ext uri="{FF2B5EF4-FFF2-40B4-BE49-F238E27FC236}">
                  <a16:creationId xmlns:a16="http://schemas.microsoft.com/office/drawing/2014/main" id="{23D0607A-C988-4FDB-96A8-1238D14A3A06}"/>
                </a:ext>
              </a:extLst>
            </p:cNvPr>
            <p:cNvSpPr/>
            <p:nvPr/>
          </p:nvSpPr>
          <p:spPr bwMode="gray">
            <a:xfrm rot="5400000">
              <a:off x="9965319" y="3174890"/>
              <a:ext cx="269132" cy="397105"/>
            </a:xfrm>
            <a:custGeom>
              <a:avLst/>
              <a:gdLst>
                <a:gd name="connsiteX0" fmla="*/ 0 w 344620"/>
                <a:gd name="connsiteY0" fmla="*/ 0 h 508487"/>
                <a:gd name="connsiteX1" fmla="*/ 344620 w 344620"/>
                <a:gd name="connsiteY1" fmla="*/ 0 h 508487"/>
                <a:gd name="connsiteX2" fmla="*/ 344620 w 344620"/>
                <a:gd name="connsiteY2" fmla="*/ 508487 h 508487"/>
                <a:gd name="connsiteX3" fmla="*/ 0 w 344620"/>
                <a:gd name="connsiteY3" fmla="*/ 508487 h 508487"/>
                <a:gd name="connsiteX4" fmla="*/ 0 w 344620"/>
                <a:gd name="connsiteY4" fmla="*/ 0 h 508487"/>
                <a:gd name="connsiteX0" fmla="*/ 3045 w 347665"/>
                <a:gd name="connsiteY0" fmla="*/ 0 h 508487"/>
                <a:gd name="connsiteX1" fmla="*/ 347665 w 347665"/>
                <a:gd name="connsiteY1" fmla="*/ 0 h 508487"/>
                <a:gd name="connsiteX2" fmla="*/ 347665 w 347665"/>
                <a:gd name="connsiteY2" fmla="*/ 508487 h 508487"/>
                <a:gd name="connsiteX3" fmla="*/ 3045 w 347665"/>
                <a:gd name="connsiteY3" fmla="*/ 508487 h 508487"/>
                <a:gd name="connsiteX4" fmla="*/ 0 w 347665"/>
                <a:gd name="connsiteY4" fmla="*/ 192352 h 508487"/>
                <a:gd name="connsiteX5" fmla="*/ 3045 w 347665"/>
                <a:gd name="connsiteY5" fmla="*/ 0 h 508487"/>
                <a:gd name="connsiteX0" fmla="*/ 0 w 344620"/>
                <a:gd name="connsiteY0" fmla="*/ 0 h 508487"/>
                <a:gd name="connsiteX1" fmla="*/ 344620 w 344620"/>
                <a:gd name="connsiteY1" fmla="*/ 0 h 508487"/>
                <a:gd name="connsiteX2" fmla="*/ 344620 w 344620"/>
                <a:gd name="connsiteY2" fmla="*/ 508487 h 508487"/>
                <a:gd name="connsiteX3" fmla="*/ 0 w 344620"/>
                <a:gd name="connsiteY3" fmla="*/ 508487 h 508487"/>
                <a:gd name="connsiteX4" fmla="*/ 0 w 344620"/>
                <a:gd name="connsiteY4" fmla="*/ 0 h 5084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620" h="508487">
                  <a:moveTo>
                    <a:pt x="0" y="0"/>
                  </a:moveTo>
                  <a:lnTo>
                    <a:pt x="344620" y="0"/>
                  </a:lnTo>
                  <a:lnTo>
                    <a:pt x="344620" y="508487"/>
                  </a:lnTo>
                  <a:lnTo>
                    <a:pt x="0" y="508487"/>
                  </a:lnTo>
                  <a:lnTo>
                    <a:pt x="0" y="0"/>
                  </a:ln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dirty="0" err="1"/>
            </a:p>
          </p:txBody>
        </p:sp>
        <p:sp>
          <p:nvSpPr>
            <p:cNvPr id="81" name="Oval 80">
              <a:extLst>
                <a:ext uri="{FF2B5EF4-FFF2-40B4-BE49-F238E27FC236}">
                  <a16:creationId xmlns:a16="http://schemas.microsoft.com/office/drawing/2014/main" id="{7776DA9A-5DEF-4CFA-BF80-FF38D4F0C67D}"/>
                </a:ext>
              </a:extLst>
            </p:cNvPr>
            <p:cNvSpPr/>
            <p:nvPr/>
          </p:nvSpPr>
          <p:spPr bwMode="gray">
            <a:xfrm rot="5400000">
              <a:off x="10219056" y="3271488"/>
              <a:ext cx="25150" cy="25150"/>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dirty="0" err="1"/>
            </a:p>
          </p:txBody>
        </p:sp>
        <p:sp>
          <p:nvSpPr>
            <p:cNvPr id="82" name="Oval 81">
              <a:extLst>
                <a:ext uri="{FF2B5EF4-FFF2-40B4-BE49-F238E27FC236}">
                  <a16:creationId xmlns:a16="http://schemas.microsoft.com/office/drawing/2014/main" id="{78307F6B-AE66-4B82-B8F9-70396700B89F}"/>
                </a:ext>
              </a:extLst>
            </p:cNvPr>
            <p:cNvSpPr/>
            <p:nvPr/>
          </p:nvSpPr>
          <p:spPr bwMode="gray">
            <a:xfrm rot="5400000">
              <a:off x="10146236" y="3271488"/>
              <a:ext cx="25150" cy="25150"/>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dirty="0" err="1"/>
            </a:p>
          </p:txBody>
        </p:sp>
        <p:sp>
          <p:nvSpPr>
            <p:cNvPr id="83" name="Oval 82">
              <a:extLst>
                <a:ext uri="{FF2B5EF4-FFF2-40B4-BE49-F238E27FC236}">
                  <a16:creationId xmlns:a16="http://schemas.microsoft.com/office/drawing/2014/main" id="{269A456F-78FA-43C4-8ABB-326989FAECCC}"/>
                </a:ext>
              </a:extLst>
            </p:cNvPr>
            <p:cNvSpPr/>
            <p:nvPr/>
          </p:nvSpPr>
          <p:spPr bwMode="gray">
            <a:xfrm rot="5400000">
              <a:off x="10071319" y="3271488"/>
              <a:ext cx="25150" cy="25150"/>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dirty="0" err="1"/>
            </a:p>
          </p:txBody>
        </p:sp>
        <p:sp>
          <p:nvSpPr>
            <p:cNvPr id="84" name="Rectangle: Rounded Corners 83">
              <a:extLst>
                <a:ext uri="{FF2B5EF4-FFF2-40B4-BE49-F238E27FC236}">
                  <a16:creationId xmlns:a16="http://schemas.microsoft.com/office/drawing/2014/main" id="{654F7BC0-D455-4794-8AF5-82CC7989C84C}"/>
                </a:ext>
              </a:extLst>
            </p:cNvPr>
            <p:cNvSpPr/>
            <p:nvPr/>
          </p:nvSpPr>
          <p:spPr bwMode="gray">
            <a:xfrm rot="5400000">
              <a:off x="10083636" y="3425712"/>
              <a:ext cx="39077" cy="63711"/>
            </a:xfrm>
            <a:prstGeom prst="roundRect">
              <a:avLst>
                <a:gd name="adj" fmla="val 50000"/>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dirty="0" err="1"/>
            </a:p>
          </p:txBody>
        </p:sp>
        <p:sp>
          <p:nvSpPr>
            <p:cNvPr id="85" name="Oval 84">
              <a:extLst>
                <a:ext uri="{FF2B5EF4-FFF2-40B4-BE49-F238E27FC236}">
                  <a16:creationId xmlns:a16="http://schemas.microsoft.com/office/drawing/2014/main" id="{F7F6F28B-6621-49D0-B5E8-FC94D6F5FF2E}"/>
                </a:ext>
              </a:extLst>
            </p:cNvPr>
            <p:cNvSpPr/>
            <p:nvPr/>
          </p:nvSpPr>
          <p:spPr bwMode="gray">
            <a:xfrm rot="5400000">
              <a:off x="10090599" y="3444993"/>
              <a:ext cx="25150" cy="25150"/>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dirty="0" err="1"/>
            </a:p>
          </p:txBody>
        </p:sp>
        <p:cxnSp>
          <p:nvCxnSpPr>
            <p:cNvPr id="86" name="Straight Connector 85">
              <a:extLst>
                <a:ext uri="{FF2B5EF4-FFF2-40B4-BE49-F238E27FC236}">
                  <a16:creationId xmlns:a16="http://schemas.microsoft.com/office/drawing/2014/main" id="{EF1047C1-FB2E-4ECB-9134-51CC836488A2}"/>
                </a:ext>
              </a:extLst>
            </p:cNvPr>
            <p:cNvCxnSpPr>
              <a:cxnSpLocks/>
              <a:stCxn id="81" idx="6"/>
            </p:cNvCxnSpPr>
            <p:nvPr/>
          </p:nvCxnSpPr>
          <p:spPr bwMode="gray">
            <a:xfrm rot="5400000">
              <a:off x="10216610" y="3311658"/>
              <a:ext cx="30041"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87" name="Straight Connector 86">
              <a:extLst>
                <a:ext uri="{FF2B5EF4-FFF2-40B4-BE49-F238E27FC236}">
                  <a16:creationId xmlns:a16="http://schemas.microsoft.com/office/drawing/2014/main" id="{7A4B46CC-A204-45FA-ADA3-492270A9BA97}"/>
                </a:ext>
              </a:extLst>
            </p:cNvPr>
            <p:cNvCxnSpPr>
              <a:cxnSpLocks/>
              <a:endCxn id="94" idx="0"/>
            </p:cNvCxnSpPr>
            <p:nvPr/>
          </p:nvCxnSpPr>
          <p:spPr bwMode="gray">
            <a:xfrm rot="5400000" flipH="1">
              <a:off x="10113518" y="3281144"/>
              <a:ext cx="0" cy="16676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88" name="Straight Connector 87">
              <a:extLst>
                <a:ext uri="{FF2B5EF4-FFF2-40B4-BE49-F238E27FC236}">
                  <a16:creationId xmlns:a16="http://schemas.microsoft.com/office/drawing/2014/main" id="{CCB9728B-0291-4A44-AB45-3FE4234C8693}"/>
                </a:ext>
              </a:extLst>
            </p:cNvPr>
            <p:cNvCxnSpPr/>
            <p:nvPr/>
          </p:nvCxnSpPr>
          <p:spPr bwMode="gray">
            <a:xfrm rot="5400000" flipV="1">
              <a:off x="10125284" y="3330580"/>
              <a:ext cx="67886" cy="1"/>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89" name="Straight Connector 88">
              <a:extLst>
                <a:ext uri="{FF2B5EF4-FFF2-40B4-BE49-F238E27FC236}">
                  <a16:creationId xmlns:a16="http://schemas.microsoft.com/office/drawing/2014/main" id="{EC7FB923-BEE2-4E40-9721-E71E8C72C946}"/>
                </a:ext>
              </a:extLst>
            </p:cNvPr>
            <p:cNvCxnSpPr/>
            <p:nvPr/>
          </p:nvCxnSpPr>
          <p:spPr bwMode="gray">
            <a:xfrm rot="5400000" flipV="1">
              <a:off x="10049950" y="3330580"/>
              <a:ext cx="67886" cy="1"/>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90" name="Straight Connector 89">
              <a:extLst>
                <a:ext uri="{FF2B5EF4-FFF2-40B4-BE49-F238E27FC236}">
                  <a16:creationId xmlns:a16="http://schemas.microsoft.com/office/drawing/2014/main" id="{24CCE33A-F6B8-4369-A8DE-17ED923BF33D}"/>
                </a:ext>
              </a:extLst>
            </p:cNvPr>
            <p:cNvCxnSpPr>
              <a:cxnSpLocks/>
            </p:cNvCxnSpPr>
            <p:nvPr/>
          </p:nvCxnSpPr>
          <p:spPr bwMode="gray">
            <a:xfrm rot="5400000">
              <a:off x="10195169" y="3328407"/>
              <a:ext cx="37845" cy="34388"/>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91" name="Oval 90">
              <a:extLst>
                <a:ext uri="{FF2B5EF4-FFF2-40B4-BE49-F238E27FC236}">
                  <a16:creationId xmlns:a16="http://schemas.microsoft.com/office/drawing/2014/main" id="{12C16626-6933-4AE8-A7FF-DAC439D8621A}"/>
                </a:ext>
              </a:extLst>
            </p:cNvPr>
            <p:cNvSpPr/>
            <p:nvPr/>
          </p:nvSpPr>
          <p:spPr bwMode="gray">
            <a:xfrm rot="5400000">
              <a:off x="10245940" y="3395607"/>
              <a:ext cx="25150" cy="25150"/>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dirty="0" err="1"/>
            </a:p>
          </p:txBody>
        </p:sp>
        <p:cxnSp>
          <p:nvCxnSpPr>
            <p:cNvPr id="92" name="Straight Connector 91">
              <a:extLst>
                <a:ext uri="{FF2B5EF4-FFF2-40B4-BE49-F238E27FC236}">
                  <a16:creationId xmlns:a16="http://schemas.microsoft.com/office/drawing/2014/main" id="{AE52E4A6-93B6-4595-BE8C-CC679F968E69}"/>
                </a:ext>
              </a:extLst>
            </p:cNvPr>
            <p:cNvCxnSpPr>
              <a:cxnSpLocks/>
            </p:cNvCxnSpPr>
            <p:nvPr/>
          </p:nvCxnSpPr>
          <p:spPr bwMode="gray">
            <a:xfrm rot="5400000">
              <a:off x="10171387" y="3421210"/>
              <a:ext cx="0" cy="72715"/>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93" name="Straight Connector 92">
              <a:extLst>
                <a:ext uri="{FF2B5EF4-FFF2-40B4-BE49-F238E27FC236}">
                  <a16:creationId xmlns:a16="http://schemas.microsoft.com/office/drawing/2014/main" id="{E43DD65D-A5D2-4578-BD19-79FB49A4CA8B}"/>
                </a:ext>
              </a:extLst>
            </p:cNvPr>
            <p:cNvCxnSpPr>
              <a:cxnSpLocks/>
              <a:stCxn id="91" idx="5"/>
            </p:cNvCxnSpPr>
            <p:nvPr/>
          </p:nvCxnSpPr>
          <p:spPr bwMode="gray">
            <a:xfrm rot="5400000">
              <a:off x="10208437" y="3416381"/>
              <a:ext cx="40494" cy="41878"/>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94" name="Oval 93">
              <a:extLst>
                <a:ext uri="{FF2B5EF4-FFF2-40B4-BE49-F238E27FC236}">
                  <a16:creationId xmlns:a16="http://schemas.microsoft.com/office/drawing/2014/main" id="{95F0DDED-A345-44A2-9D8C-EBF7327025EA}"/>
                </a:ext>
              </a:extLst>
            </p:cNvPr>
            <p:cNvSpPr/>
            <p:nvPr/>
          </p:nvSpPr>
          <p:spPr bwMode="gray">
            <a:xfrm rot="5400000">
              <a:off x="10004988" y="3351949"/>
              <a:ext cx="25150" cy="25150"/>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dirty="0" err="1"/>
            </a:p>
          </p:txBody>
        </p:sp>
        <p:sp>
          <p:nvSpPr>
            <p:cNvPr id="95" name="Oval 94">
              <a:extLst>
                <a:ext uri="{FF2B5EF4-FFF2-40B4-BE49-F238E27FC236}">
                  <a16:creationId xmlns:a16="http://schemas.microsoft.com/office/drawing/2014/main" id="{55F91175-93A1-441A-B069-C9EB6F128006}"/>
                </a:ext>
              </a:extLst>
            </p:cNvPr>
            <p:cNvSpPr/>
            <p:nvPr/>
          </p:nvSpPr>
          <p:spPr bwMode="gray">
            <a:xfrm rot="5400000">
              <a:off x="9994798" y="3444382"/>
              <a:ext cx="25150" cy="25150"/>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dirty="0" err="1"/>
            </a:p>
          </p:txBody>
        </p:sp>
        <p:cxnSp>
          <p:nvCxnSpPr>
            <p:cNvPr id="96" name="Straight Connector 95">
              <a:extLst>
                <a:ext uri="{FF2B5EF4-FFF2-40B4-BE49-F238E27FC236}">
                  <a16:creationId xmlns:a16="http://schemas.microsoft.com/office/drawing/2014/main" id="{50CAB111-B395-4AC2-866F-760217B5B657}"/>
                </a:ext>
              </a:extLst>
            </p:cNvPr>
            <p:cNvCxnSpPr>
              <a:cxnSpLocks/>
              <a:stCxn id="97" idx="5"/>
            </p:cNvCxnSpPr>
            <p:nvPr/>
          </p:nvCxnSpPr>
          <p:spPr bwMode="gray">
            <a:xfrm rot="5400000">
              <a:off x="9953135" y="3296656"/>
              <a:ext cx="41605" cy="47927"/>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97" name="Oval 96">
              <a:extLst>
                <a:ext uri="{FF2B5EF4-FFF2-40B4-BE49-F238E27FC236}">
                  <a16:creationId xmlns:a16="http://schemas.microsoft.com/office/drawing/2014/main" id="{8B99375D-049A-4F1C-A339-107196D49515}"/>
                </a:ext>
              </a:extLst>
            </p:cNvPr>
            <p:cNvSpPr/>
            <p:nvPr/>
          </p:nvSpPr>
          <p:spPr bwMode="gray">
            <a:xfrm rot="5400000">
              <a:off x="9994218" y="3278350"/>
              <a:ext cx="25150" cy="25150"/>
            </a:xfrm>
            <a:prstGeom prst="ellips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de-DE" sz="1000" dirty="0" err="1"/>
            </a:p>
          </p:txBody>
        </p:sp>
        <p:cxnSp>
          <p:nvCxnSpPr>
            <p:cNvPr id="98" name="Straight Connector 97">
              <a:extLst>
                <a:ext uri="{FF2B5EF4-FFF2-40B4-BE49-F238E27FC236}">
                  <a16:creationId xmlns:a16="http://schemas.microsoft.com/office/drawing/2014/main" id="{D635A2AB-A892-4006-81F8-A5887CBFB068}"/>
                </a:ext>
              </a:extLst>
            </p:cNvPr>
            <p:cNvCxnSpPr>
              <a:cxnSpLocks/>
            </p:cNvCxnSpPr>
            <p:nvPr/>
          </p:nvCxnSpPr>
          <p:spPr bwMode="gray">
            <a:xfrm rot="5400000" flipV="1">
              <a:off x="9920976" y="3370419"/>
              <a:ext cx="57995" cy="0"/>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cxnSp>
          <p:nvCxnSpPr>
            <p:cNvPr id="99" name="Straight Connector 98">
              <a:extLst>
                <a:ext uri="{FF2B5EF4-FFF2-40B4-BE49-F238E27FC236}">
                  <a16:creationId xmlns:a16="http://schemas.microsoft.com/office/drawing/2014/main" id="{90221384-1E12-4481-8286-FDF3DDCBF34A}"/>
                </a:ext>
              </a:extLst>
            </p:cNvPr>
            <p:cNvCxnSpPr>
              <a:cxnSpLocks/>
              <a:stCxn id="95" idx="3"/>
            </p:cNvCxnSpPr>
            <p:nvPr/>
          </p:nvCxnSpPr>
          <p:spPr bwMode="gray">
            <a:xfrm rot="5400000" flipH="1">
              <a:off x="9949903" y="3399487"/>
              <a:ext cx="48649" cy="48508"/>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sp>
        <p:nvSpPr>
          <p:cNvPr id="100" name="Date Placeholder 99">
            <a:extLst>
              <a:ext uri="{FF2B5EF4-FFF2-40B4-BE49-F238E27FC236}">
                <a16:creationId xmlns:a16="http://schemas.microsoft.com/office/drawing/2014/main" id="{81551608-EE66-49F2-A6B2-935206CCAA83}"/>
              </a:ext>
            </a:extLst>
          </p:cNvPr>
          <p:cNvSpPr>
            <a:spLocks noGrp="1"/>
          </p:cNvSpPr>
          <p:nvPr>
            <p:ph type="dt" sz="half" idx="14"/>
          </p:nvPr>
        </p:nvSpPr>
        <p:spPr bwMode="gray"/>
        <p:txBody>
          <a:bodyPr/>
          <a:lstStyle/>
          <a:p>
            <a:fld id="{AF8F17DC-2DEA-40AB-99E5-55EADB0A9376}" type="datetime4">
              <a:rPr lang="en-US" smtClean="0"/>
              <a:t>September 8, 2019</a:t>
            </a:fld>
            <a:endParaRPr lang="en-US" dirty="0"/>
          </a:p>
        </p:txBody>
      </p:sp>
      <p:sp>
        <p:nvSpPr>
          <p:cNvPr id="101" name="Footer Placeholder 100">
            <a:extLst>
              <a:ext uri="{FF2B5EF4-FFF2-40B4-BE49-F238E27FC236}">
                <a16:creationId xmlns:a16="http://schemas.microsoft.com/office/drawing/2014/main" id="{D35FAF97-5CC6-4B72-B97C-F7656AE7074A}"/>
              </a:ext>
            </a:extLst>
          </p:cNvPr>
          <p:cNvSpPr>
            <a:spLocks noGrp="1"/>
          </p:cNvSpPr>
          <p:nvPr>
            <p:ph type="ftr" sz="quarter" idx="15"/>
          </p:nvPr>
        </p:nvSpPr>
        <p:spPr bwMode="gray"/>
        <p:txBody>
          <a:bodyPr/>
          <a:lstStyle/>
          <a:p>
            <a:pPr lvl="8"/>
            <a:endParaRPr lang="en-US" dirty="0"/>
          </a:p>
        </p:txBody>
      </p:sp>
      <p:sp>
        <p:nvSpPr>
          <p:cNvPr id="102" name="Slide Number Placeholder 101">
            <a:extLst>
              <a:ext uri="{FF2B5EF4-FFF2-40B4-BE49-F238E27FC236}">
                <a16:creationId xmlns:a16="http://schemas.microsoft.com/office/drawing/2014/main" id="{5F8557CA-459F-4D9E-B55D-5D42FB70565E}"/>
              </a:ext>
            </a:extLst>
          </p:cNvPr>
          <p:cNvSpPr>
            <a:spLocks noGrp="1"/>
          </p:cNvSpPr>
          <p:nvPr>
            <p:ph type="sldNum" sz="quarter" idx="16"/>
          </p:nvPr>
        </p:nvSpPr>
        <p:spPr bwMode="gray"/>
        <p:txBody>
          <a:bodyPr/>
          <a:lstStyle/>
          <a:p>
            <a:r>
              <a:rPr lang="en-US"/>
              <a:t>Slide </a:t>
            </a:r>
            <a:fld id="{619F89D8-7AE3-494A-97F3-03D680869632}" type="slidenum">
              <a:rPr lang="en-US" smtClean="0"/>
              <a:pPr/>
              <a:t>83</a:t>
            </a:fld>
            <a:endParaRPr lang="en-US" dirty="0"/>
          </a:p>
        </p:txBody>
      </p:sp>
      <p:sp>
        <p:nvSpPr>
          <p:cNvPr id="103" name="Textfeld 25">
            <a:extLst>
              <a:ext uri="{FF2B5EF4-FFF2-40B4-BE49-F238E27FC236}">
                <a16:creationId xmlns:a16="http://schemas.microsoft.com/office/drawing/2014/main" id="{2A919D25-79B2-4C92-8CCD-D63F3D2F08A8}"/>
              </a:ext>
            </a:extLst>
          </p:cNvPr>
          <p:cNvSpPr txBox="1"/>
          <p:nvPr/>
        </p:nvSpPr>
        <p:spPr bwMode="gray">
          <a:xfrm>
            <a:off x="336549" y="2783471"/>
            <a:ext cx="4526613"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b="1" dirty="0"/>
              <a:t>Emissions must also </a:t>
            </a:r>
            <a:br>
              <a:rPr lang="en-US" b="1" dirty="0"/>
            </a:br>
            <a:r>
              <a:rPr lang="en-US" b="1" dirty="0"/>
              <a:t>be controlled and monitored</a:t>
            </a:r>
          </a:p>
        </p:txBody>
      </p:sp>
      <p:sp>
        <p:nvSpPr>
          <p:cNvPr id="104" name="Textfeld 25">
            <a:extLst>
              <a:ext uri="{FF2B5EF4-FFF2-40B4-BE49-F238E27FC236}">
                <a16:creationId xmlns:a16="http://schemas.microsoft.com/office/drawing/2014/main" id="{02E8020C-48A9-4895-B218-22228BB7EB01}"/>
              </a:ext>
            </a:extLst>
          </p:cNvPr>
          <p:cNvSpPr txBox="1"/>
          <p:nvPr/>
        </p:nvSpPr>
        <p:spPr bwMode="gray">
          <a:xfrm>
            <a:off x="338736" y="5234343"/>
            <a:ext cx="5059753"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b="1" dirty="0"/>
              <a:t>For example, </a:t>
            </a:r>
            <a:br>
              <a:rPr lang="en-US" b="1" dirty="0"/>
            </a:br>
            <a:r>
              <a:rPr lang="en-US" b="1" dirty="0"/>
              <a:t>cavity-ring-down-spectroscopy (CRDS) </a:t>
            </a:r>
            <a:br>
              <a:rPr lang="en-US" b="1" dirty="0"/>
            </a:br>
            <a:r>
              <a:rPr lang="en-US" b="1" dirty="0"/>
              <a:t>or LGR Off-Axis ICOS technology</a:t>
            </a:r>
          </a:p>
        </p:txBody>
      </p:sp>
      <p:sp>
        <p:nvSpPr>
          <p:cNvPr id="105" name="Textfeld 25">
            <a:extLst>
              <a:ext uri="{FF2B5EF4-FFF2-40B4-BE49-F238E27FC236}">
                <a16:creationId xmlns:a16="http://schemas.microsoft.com/office/drawing/2014/main" id="{C91BBF8E-44BE-41CF-951A-514E9E31B52B}"/>
              </a:ext>
            </a:extLst>
          </p:cNvPr>
          <p:cNvSpPr txBox="1"/>
          <p:nvPr/>
        </p:nvSpPr>
        <p:spPr bwMode="gray">
          <a:xfrm>
            <a:off x="477636" y="3976090"/>
            <a:ext cx="4165418"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r>
              <a:rPr lang="en-US" dirty="0">
                <a:solidFill>
                  <a:schemeClr val="tx1"/>
                </a:solidFill>
              </a:rPr>
              <a:t>Beyond high purity air gases, chemical gases such as </a:t>
            </a:r>
            <a:r>
              <a:rPr lang="en-US" dirty="0" err="1">
                <a:solidFill>
                  <a:schemeClr val="tx1"/>
                </a:solidFill>
              </a:rPr>
              <a:t>silane</a:t>
            </a:r>
            <a:r>
              <a:rPr lang="en-US" dirty="0">
                <a:solidFill>
                  <a:schemeClr val="tx1"/>
                </a:solidFill>
              </a:rPr>
              <a:t>, ammonia, hydrogen bromide, </a:t>
            </a:r>
            <a:r>
              <a:rPr lang="en-US" dirty="0" err="1">
                <a:solidFill>
                  <a:schemeClr val="tx1"/>
                </a:solidFill>
              </a:rPr>
              <a:t>trichlorosilane</a:t>
            </a:r>
            <a:r>
              <a:rPr lang="en-US" dirty="0">
                <a:solidFill>
                  <a:schemeClr val="tx1"/>
                </a:solidFill>
              </a:rPr>
              <a:t> are used – highly specialized for silicon chip manufacturing</a:t>
            </a:r>
          </a:p>
        </p:txBody>
      </p:sp>
      <p:sp>
        <p:nvSpPr>
          <p:cNvPr id="106" name="Textfeld 25">
            <a:extLst>
              <a:ext uri="{FF2B5EF4-FFF2-40B4-BE49-F238E27FC236}">
                <a16:creationId xmlns:a16="http://schemas.microsoft.com/office/drawing/2014/main" id="{AB795CD9-BED5-428A-943C-729D8FA8FEB7}"/>
              </a:ext>
            </a:extLst>
          </p:cNvPr>
          <p:cNvSpPr txBox="1"/>
          <p:nvPr/>
        </p:nvSpPr>
        <p:spPr bwMode="gray">
          <a:xfrm>
            <a:off x="4471686" y="2021510"/>
            <a:ext cx="3248628"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ctr"/>
            <a:r>
              <a:rPr lang="en-US" dirty="0">
                <a:solidFill>
                  <a:schemeClr val="tx1"/>
                </a:solidFill>
              </a:rPr>
              <a:t>Industrial grade N</a:t>
            </a:r>
            <a:r>
              <a:rPr lang="en-US" baseline="-25000" dirty="0">
                <a:solidFill>
                  <a:schemeClr val="tx1"/>
                </a:solidFill>
              </a:rPr>
              <a:t>2</a:t>
            </a:r>
            <a:r>
              <a:rPr lang="en-US" dirty="0">
                <a:solidFill>
                  <a:schemeClr val="tx1"/>
                </a:solidFill>
              </a:rPr>
              <a:t> might be 99.98% or N3.8 purity</a:t>
            </a:r>
          </a:p>
        </p:txBody>
      </p:sp>
      <p:sp>
        <p:nvSpPr>
          <p:cNvPr id="107" name="Textfeld 25">
            <a:extLst>
              <a:ext uri="{FF2B5EF4-FFF2-40B4-BE49-F238E27FC236}">
                <a16:creationId xmlns:a16="http://schemas.microsoft.com/office/drawing/2014/main" id="{F0E5A3A1-366B-487B-9546-78BD555D061B}"/>
              </a:ext>
            </a:extLst>
          </p:cNvPr>
          <p:cNvSpPr txBox="1"/>
          <p:nvPr/>
        </p:nvSpPr>
        <p:spPr bwMode="gray">
          <a:xfrm>
            <a:off x="7611566" y="3976090"/>
            <a:ext cx="4102798"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dirty="0">
                <a:solidFill>
                  <a:schemeClr val="tx1"/>
                </a:solidFill>
              </a:rPr>
              <a:t>Additional purification stages </a:t>
            </a:r>
            <a:br>
              <a:rPr lang="en-US" dirty="0">
                <a:solidFill>
                  <a:schemeClr val="tx1"/>
                </a:solidFill>
              </a:rPr>
            </a:br>
            <a:r>
              <a:rPr lang="en-US" dirty="0">
                <a:solidFill>
                  <a:schemeClr val="tx1"/>
                </a:solidFill>
              </a:rPr>
              <a:t>required or dedicated ASUs are built – </a:t>
            </a:r>
            <a:br>
              <a:rPr lang="en-US" dirty="0">
                <a:solidFill>
                  <a:schemeClr val="tx1"/>
                </a:solidFill>
              </a:rPr>
            </a:br>
            <a:r>
              <a:rPr lang="en-US" dirty="0">
                <a:solidFill>
                  <a:schemeClr val="tx1"/>
                </a:solidFill>
              </a:rPr>
              <a:t>more expensive to construct/operate</a:t>
            </a:r>
          </a:p>
        </p:txBody>
      </p:sp>
      <p:sp>
        <p:nvSpPr>
          <p:cNvPr id="108" name="Textfeld 25">
            <a:extLst>
              <a:ext uri="{FF2B5EF4-FFF2-40B4-BE49-F238E27FC236}">
                <a16:creationId xmlns:a16="http://schemas.microsoft.com/office/drawing/2014/main" id="{F183B365-6ED4-4C3D-8566-17C9929FFDDA}"/>
              </a:ext>
            </a:extLst>
          </p:cNvPr>
          <p:cNvSpPr txBox="1"/>
          <p:nvPr/>
        </p:nvSpPr>
        <p:spPr bwMode="gray">
          <a:xfrm>
            <a:off x="7334973" y="2783471"/>
            <a:ext cx="4522065"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dirty="0">
                <a:solidFill>
                  <a:schemeClr val="tx1"/>
                </a:solidFill>
              </a:rPr>
              <a:t>Electronics grade might </a:t>
            </a:r>
            <a:br>
              <a:rPr lang="en-US" dirty="0">
                <a:solidFill>
                  <a:schemeClr val="tx1"/>
                </a:solidFill>
              </a:rPr>
            </a:br>
            <a:r>
              <a:rPr lang="en-US" dirty="0">
                <a:solidFill>
                  <a:schemeClr val="tx1"/>
                </a:solidFill>
              </a:rPr>
              <a:t>be 99.9999% or N6.0 purity</a:t>
            </a:r>
          </a:p>
        </p:txBody>
      </p:sp>
      <p:sp>
        <p:nvSpPr>
          <p:cNvPr id="109" name="Textfeld 25">
            <a:extLst>
              <a:ext uri="{FF2B5EF4-FFF2-40B4-BE49-F238E27FC236}">
                <a16:creationId xmlns:a16="http://schemas.microsoft.com/office/drawing/2014/main" id="{B5ADAA1A-0461-4C03-8DB4-BD4A01717B4D}"/>
              </a:ext>
            </a:extLst>
          </p:cNvPr>
          <p:cNvSpPr txBox="1"/>
          <p:nvPr/>
        </p:nvSpPr>
        <p:spPr bwMode="gray">
          <a:xfrm>
            <a:off x="6791664" y="5234343"/>
            <a:ext cx="5061600" cy="521613"/>
          </a:xfrm>
          <a:prstGeom prst="rect">
            <a:avLst/>
          </a:prstGeom>
        </p:spPr>
        <p:txBody>
          <a:bodyPr wrap="square" lIns="0" tIns="0" rIns="0" bIns="0" anchor="ctr" anchorCtr="0"/>
          <a:lstStyle>
            <a:defPPr>
              <a:defRPr lang="en-US"/>
            </a:defPPr>
            <a:lvl1pPr indent="0" algn="r" defTabSz="914491">
              <a:spcBef>
                <a:spcPts val="600"/>
              </a:spcBef>
              <a:buFont typeface="Arial" panose="020B0604020202020204" pitchFamily="34" charset="0"/>
              <a:buNone/>
              <a:defRPr sz="1600">
                <a:solidFill>
                  <a:schemeClr val="bg2"/>
                </a:solidFill>
              </a:defRPr>
            </a:lvl1pPr>
            <a:lvl2pPr marL="180018" indent="-180018" defTabSz="914491">
              <a:spcBef>
                <a:spcPts val="600"/>
              </a:spcBef>
              <a:buFont typeface="ABBvoiceOffice" panose="020D0603020503020204" pitchFamily="34" charset="0"/>
              <a:buChar char="–"/>
              <a:defRPr sz="1400"/>
            </a:lvl2pPr>
            <a:lvl3pPr marL="360036" indent="-180018" defTabSz="914491">
              <a:spcBef>
                <a:spcPts val="600"/>
              </a:spcBef>
              <a:buFont typeface="Arial" panose="020B0604020202020204" pitchFamily="34" charset="0"/>
              <a:buChar char="•"/>
              <a:defRPr sz="1400"/>
            </a:lvl3pPr>
            <a:lvl4pPr marL="360036" indent="-180018" defTabSz="914491">
              <a:spcBef>
                <a:spcPts val="600"/>
              </a:spcBef>
              <a:buFont typeface="Arial" panose="020B0604020202020204" pitchFamily="34" charset="0"/>
              <a:buChar char="•"/>
              <a:defRPr sz="1400"/>
            </a:lvl4pPr>
            <a:lvl5pPr marL="360036" indent="-180018" defTabSz="914491">
              <a:spcBef>
                <a:spcPts val="600"/>
              </a:spcBef>
              <a:buFont typeface="Arial" panose="020B0604020202020204" pitchFamily="34" charset="0"/>
              <a:buChar char="•"/>
              <a:defRPr sz="1400"/>
            </a:lvl5pPr>
            <a:lvl6pPr marL="360036" indent="-180018" defTabSz="914491">
              <a:spcBef>
                <a:spcPts val="600"/>
              </a:spcBef>
              <a:buFont typeface="Arial" panose="020B0604020202020204" pitchFamily="34" charset="0"/>
              <a:buChar char="•"/>
              <a:defRPr sz="1400"/>
            </a:lvl6pPr>
            <a:lvl7pPr marL="360036" indent="-180018" defTabSz="914491">
              <a:spcBef>
                <a:spcPts val="600"/>
              </a:spcBef>
              <a:buFont typeface="Arial" panose="020B0604020202020204" pitchFamily="34" charset="0"/>
              <a:buChar char="•"/>
              <a:defRPr sz="1400"/>
            </a:lvl7pPr>
            <a:lvl8pPr marL="360036" indent="-180018" defTabSz="914491">
              <a:spcBef>
                <a:spcPts val="600"/>
              </a:spcBef>
              <a:buFont typeface="Arial" panose="020B0604020202020204" pitchFamily="34" charset="0"/>
              <a:buChar char="•"/>
              <a:defRPr sz="1400"/>
            </a:lvl8pPr>
            <a:lvl9pPr marL="360036" indent="-180018" defTabSz="914491">
              <a:spcBef>
                <a:spcPts val="600"/>
              </a:spcBef>
              <a:buFont typeface="Arial" panose="020B0604020202020204" pitchFamily="34" charset="0"/>
              <a:buChar char="•"/>
              <a:defRPr sz="1400"/>
            </a:lvl9pPr>
          </a:lstStyle>
          <a:p>
            <a:pPr algn="l"/>
            <a:r>
              <a:rPr lang="en-US" b="1" dirty="0"/>
              <a:t>Higher accuracy instrumentation </a:t>
            </a:r>
            <a:br>
              <a:rPr lang="en-US" b="1" dirty="0"/>
            </a:br>
            <a:r>
              <a:rPr lang="en-US" b="1" dirty="0"/>
              <a:t>with very low detection limits (ppb/ppt) </a:t>
            </a:r>
            <a:br>
              <a:rPr lang="en-US" b="1" dirty="0"/>
            </a:br>
            <a:r>
              <a:rPr lang="en-US" b="1" dirty="0"/>
              <a:t>are usually required</a:t>
            </a:r>
          </a:p>
        </p:txBody>
      </p:sp>
    </p:spTree>
    <p:custDataLst>
      <p:tags r:id="rId1"/>
    </p:custDataLst>
    <p:extLst>
      <p:ext uri="{BB962C8B-B14F-4D97-AF65-F5344CB8AC3E}">
        <p14:creationId xmlns:p14="http://schemas.microsoft.com/office/powerpoint/2010/main" val="56748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wheel(1)">
                                      <p:cBhvr>
                                        <p:cTn id="7" dur="4250"/>
                                        <p:tgtEl>
                                          <p:spTgt spid="63"/>
                                        </p:tgtEl>
                                      </p:cBhvr>
                                    </p:animEffect>
                                  </p:childTnLst>
                                </p:cTn>
                              </p:par>
                              <p:par>
                                <p:cTn id="8" presetID="53" presetClass="entr" presetSubtype="16" fill="hold" grpId="0" nodeType="withEffect">
                                  <p:stCondLst>
                                    <p:cond delay="0"/>
                                  </p:stCondLst>
                                  <p:childTnLst>
                                    <p:set>
                                      <p:cBhvr>
                                        <p:cTn id="9" dur="1" fill="hold">
                                          <p:stCondLst>
                                            <p:cond delay="0"/>
                                          </p:stCondLst>
                                        </p:cTn>
                                        <p:tgtEl>
                                          <p:spTgt spid="71"/>
                                        </p:tgtEl>
                                        <p:attrNameLst>
                                          <p:attrName>style.visibility</p:attrName>
                                        </p:attrNameLst>
                                      </p:cBhvr>
                                      <p:to>
                                        <p:strVal val="visible"/>
                                      </p:to>
                                    </p:set>
                                    <p:anim calcmode="lin" valueType="num">
                                      <p:cBhvr>
                                        <p:cTn id="10" dur="500" fill="hold"/>
                                        <p:tgtEl>
                                          <p:spTgt spid="71"/>
                                        </p:tgtEl>
                                        <p:attrNameLst>
                                          <p:attrName>ppt_w</p:attrName>
                                        </p:attrNameLst>
                                      </p:cBhvr>
                                      <p:tavLst>
                                        <p:tav tm="0">
                                          <p:val>
                                            <p:fltVal val="0"/>
                                          </p:val>
                                        </p:tav>
                                        <p:tav tm="100000">
                                          <p:val>
                                            <p:strVal val="#ppt_w"/>
                                          </p:val>
                                        </p:tav>
                                      </p:tavLst>
                                    </p:anim>
                                    <p:anim calcmode="lin" valueType="num">
                                      <p:cBhvr>
                                        <p:cTn id="11" dur="500" fill="hold"/>
                                        <p:tgtEl>
                                          <p:spTgt spid="71"/>
                                        </p:tgtEl>
                                        <p:attrNameLst>
                                          <p:attrName>ppt_h</p:attrName>
                                        </p:attrNameLst>
                                      </p:cBhvr>
                                      <p:tavLst>
                                        <p:tav tm="0">
                                          <p:val>
                                            <p:fltVal val="0"/>
                                          </p:val>
                                        </p:tav>
                                        <p:tav tm="100000">
                                          <p:val>
                                            <p:strVal val="#ppt_h"/>
                                          </p:val>
                                        </p:tav>
                                      </p:tavLst>
                                    </p:anim>
                                    <p:animEffect transition="in" filter="fade">
                                      <p:cBhvr>
                                        <p:cTn id="12" dur="500"/>
                                        <p:tgtEl>
                                          <p:spTgt spid="7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06"/>
                                        </p:tgtEl>
                                        <p:attrNameLst>
                                          <p:attrName>style.visibility</p:attrName>
                                        </p:attrNameLst>
                                      </p:cBhvr>
                                      <p:to>
                                        <p:strVal val="visible"/>
                                      </p:to>
                                    </p:set>
                                    <p:animEffect transition="in" filter="fade">
                                      <p:cBhvr>
                                        <p:cTn id="15" dur="500"/>
                                        <p:tgtEl>
                                          <p:spTgt spid="106"/>
                                        </p:tgtEl>
                                      </p:cBhvr>
                                    </p:animEffect>
                                  </p:childTnLst>
                                </p:cTn>
                              </p:par>
                              <p:par>
                                <p:cTn id="16" presetID="53" presetClass="entr" presetSubtype="16" fill="hold" grpId="0" nodeType="withEffect">
                                  <p:stCondLst>
                                    <p:cond delay="500"/>
                                  </p:stCondLst>
                                  <p:childTnLst>
                                    <p:set>
                                      <p:cBhvr>
                                        <p:cTn id="17" dur="1" fill="hold">
                                          <p:stCondLst>
                                            <p:cond delay="0"/>
                                          </p:stCondLst>
                                        </p:cTn>
                                        <p:tgtEl>
                                          <p:spTgt spid="66"/>
                                        </p:tgtEl>
                                        <p:attrNameLst>
                                          <p:attrName>style.visibility</p:attrName>
                                        </p:attrNameLst>
                                      </p:cBhvr>
                                      <p:to>
                                        <p:strVal val="visible"/>
                                      </p:to>
                                    </p:set>
                                    <p:anim calcmode="lin" valueType="num">
                                      <p:cBhvr>
                                        <p:cTn id="18" dur="500" fill="hold"/>
                                        <p:tgtEl>
                                          <p:spTgt spid="66"/>
                                        </p:tgtEl>
                                        <p:attrNameLst>
                                          <p:attrName>ppt_w</p:attrName>
                                        </p:attrNameLst>
                                      </p:cBhvr>
                                      <p:tavLst>
                                        <p:tav tm="0">
                                          <p:val>
                                            <p:fltVal val="0"/>
                                          </p:val>
                                        </p:tav>
                                        <p:tav tm="100000">
                                          <p:val>
                                            <p:strVal val="#ppt_w"/>
                                          </p:val>
                                        </p:tav>
                                      </p:tavLst>
                                    </p:anim>
                                    <p:anim calcmode="lin" valueType="num">
                                      <p:cBhvr>
                                        <p:cTn id="19" dur="500" fill="hold"/>
                                        <p:tgtEl>
                                          <p:spTgt spid="66"/>
                                        </p:tgtEl>
                                        <p:attrNameLst>
                                          <p:attrName>ppt_h</p:attrName>
                                        </p:attrNameLst>
                                      </p:cBhvr>
                                      <p:tavLst>
                                        <p:tav tm="0">
                                          <p:val>
                                            <p:fltVal val="0"/>
                                          </p:val>
                                        </p:tav>
                                        <p:tav tm="100000">
                                          <p:val>
                                            <p:strVal val="#ppt_h"/>
                                          </p:val>
                                        </p:tav>
                                      </p:tavLst>
                                    </p:anim>
                                    <p:animEffect transition="in" filter="fade">
                                      <p:cBhvr>
                                        <p:cTn id="20" dur="500"/>
                                        <p:tgtEl>
                                          <p:spTgt spid="66"/>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108"/>
                                        </p:tgtEl>
                                        <p:attrNameLst>
                                          <p:attrName>style.visibility</p:attrName>
                                        </p:attrNameLst>
                                      </p:cBhvr>
                                      <p:to>
                                        <p:strVal val="visible"/>
                                      </p:to>
                                    </p:set>
                                    <p:animEffect transition="in" filter="fade">
                                      <p:cBhvr>
                                        <p:cTn id="23" dur="500"/>
                                        <p:tgtEl>
                                          <p:spTgt spid="108"/>
                                        </p:tgtEl>
                                      </p:cBhvr>
                                    </p:animEffect>
                                  </p:childTnLst>
                                </p:cTn>
                              </p:par>
                              <p:par>
                                <p:cTn id="24" presetID="53" presetClass="entr" presetSubtype="16" fill="hold" grpId="0" nodeType="withEffect">
                                  <p:stCondLst>
                                    <p:cond delay="1000"/>
                                  </p:stCondLst>
                                  <p:childTnLst>
                                    <p:set>
                                      <p:cBhvr>
                                        <p:cTn id="25" dur="1" fill="hold">
                                          <p:stCondLst>
                                            <p:cond delay="0"/>
                                          </p:stCondLst>
                                        </p:cTn>
                                        <p:tgtEl>
                                          <p:spTgt spid="70"/>
                                        </p:tgtEl>
                                        <p:attrNameLst>
                                          <p:attrName>style.visibility</p:attrName>
                                        </p:attrNameLst>
                                      </p:cBhvr>
                                      <p:to>
                                        <p:strVal val="visible"/>
                                      </p:to>
                                    </p:set>
                                    <p:anim calcmode="lin" valueType="num">
                                      <p:cBhvr>
                                        <p:cTn id="26" dur="500" fill="hold"/>
                                        <p:tgtEl>
                                          <p:spTgt spid="70"/>
                                        </p:tgtEl>
                                        <p:attrNameLst>
                                          <p:attrName>ppt_w</p:attrName>
                                        </p:attrNameLst>
                                      </p:cBhvr>
                                      <p:tavLst>
                                        <p:tav tm="0">
                                          <p:val>
                                            <p:fltVal val="0"/>
                                          </p:val>
                                        </p:tav>
                                        <p:tav tm="100000">
                                          <p:val>
                                            <p:strVal val="#ppt_w"/>
                                          </p:val>
                                        </p:tav>
                                      </p:tavLst>
                                    </p:anim>
                                    <p:anim calcmode="lin" valueType="num">
                                      <p:cBhvr>
                                        <p:cTn id="27" dur="500" fill="hold"/>
                                        <p:tgtEl>
                                          <p:spTgt spid="70"/>
                                        </p:tgtEl>
                                        <p:attrNameLst>
                                          <p:attrName>ppt_h</p:attrName>
                                        </p:attrNameLst>
                                      </p:cBhvr>
                                      <p:tavLst>
                                        <p:tav tm="0">
                                          <p:val>
                                            <p:fltVal val="0"/>
                                          </p:val>
                                        </p:tav>
                                        <p:tav tm="100000">
                                          <p:val>
                                            <p:strVal val="#ppt_h"/>
                                          </p:val>
                                        </p:tav>
                                      </p:tavLst>
                                    </p:anim>
                                    <p:animEffect transition="in" filter="fade">
                                      <p:cBhvr>
                                        <p:cTn id="28" dur="500"/>
                                        <p:tgtEl>
                                          <p:spTgt spid="70"/>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107"/>
                                        </p:tgtEl>
                                        <p:attrNameLst>
                                          <p:attrName>style.visibility</p:attrName>
                                        </p:attrNameLst>
                                      </p:cBhvr>
                                      <p:to>
                                        <p:strVal val="visible"/>
                                      </p:to>
                                    </p:set>
                                    <p:animEffect transition="in" filter="fade">
                                      <p:cBhvr>
                                        <p:cTn id="31" dur="500"/>
                                        <p:tgtEl>
                                          <p:spTgt spid="107"/>
                                        </p:tgtEl>
                                      </p:cBhvr>
                                    </p:animEffect>
                                  </p:childTnLst>
                                </p:cTn>
                              </p:par>
                              <p:par>
                                <p:cTn id="32" presetID="53" presetClass="entr" presetSubtype="16" fill="hold" grpId="0" nodeType="withEffect">
                                  <p:stCondLst>
                                    <p:cond delay="1500"/>
                                  </p:stCondLst>
                                  <p:childTnLst>
                                    <p:set>
                                      <p:cBhvr>
                                        <p:cTn id="33" dur="1" fill="hold">
                                          <p:stCondLst>
                                            <p:cond delay="0"/>
                                          </p:stCondLst>
                                        </p:cTn>
                                        <p:tgtEl>
                                          <p:spTgt spid="67"/>
                                        </p:tgtEl>
                                        <p:attrNameLst>
                                          <p:attrName>style.visibility</p:attrName>
                                        </p:attrNameLst>
                                      </p:cBhvr>
                                      <p:to>
                                        <p:strVal val="visible"/>
                                      </p:to>
                                    </p:set>
                                    <p:anim calcmode="lin" valueType="num">
                                      <p:cBhvr>
                                        <p:cTn id="34" dur="500" fill="hold"/>
                                        <p:tgtEl>
                                          <p:spTgt spid="67"/>
                                        </p:tgtEl>
                                        <p:attrNameLst>
                                          <p:attrName>ppt_w</p:attrName>
                                        </p:attrNameLst>
                                      </p:cBhvr>
                                      <p:tavLst>
                                        <p:tav tm="0">
                                          <p:val>
                                            <p:fltVal val="0"/>
                                          </p:val>
                                        </p:tav>
                                        <p:tav tm="100000">
                                          <p:val>
                                            <p:strVal val="#ppt_w"/>
                                          </p:val>
                                        </p:tav>
                                      </p:tavLst>
                                    </p:anim>
                                    <p:anim calcmode="lin" valueType="num">
                                      <p:cBhvr>
                                        <p:cTn id="35" dur="500" fill="hold"/>
                                        <p:tgtEl>
                                          <p:spTgt spid="67"/>
                                        </p:tgtEl>
                                        <p:attrNameLst>
                                          <p:attrName>ppt_h</p:attrName>
                                        </p:attrNameLst>
                                      </p:cBhvr>
                                      <p:tavLst>
                                        <p:tav tm="0">
                                          <p:val>
                                            <p:fltVal val="0"/>
                                          </p:val>
                                        </p:tav>
                                        <p:tav tm="100000">
                                          <p:val>
                                            <p:strVal val="#ppt_h"/>
                                          </p:val>
                                        </p:tav>
                                      </p:tavLst>
                                    </p:anim>
                                    <p:animEffect transition="in" filter="fade">
                                      <p:cBhvr>
                                        <p:cTn id="36" dur="500"/>
                                        <p:tgtEl>
                                          <p:spTgt spid="67"/>
                                        </p:tgtEl>
                                      </p:cBhvr>
                                    </p:animEffect>
                                  </p:childTnLst>
                                </p:cTn>
                              </p:par>
                              <p:par>
                                <p:cTn id="37" presetID="10" presetClass="entr" presetSubtype="0" fill="hold" grpId="0" nodeType="withEffect">
                                  <p:stCondLst>
                                    <p:cond delay="1500"/>
                                  </p:stCondLst>
                                  <p:childTnLst>
                                    <p:set>
                                      <p:cBhvr>
                                        <p:cTn id="38" dur="1" fill="hold">
                                          <p:stCondLst>
                                            <p:cond delay="0"/>
                                          </p:stCondLst>
                                        </p:cTn>
                                        <p:tgtEl>
                                          <p:spTgt spid="109"/>
                                        </p:tgtEl>
                                        <p:attrNameLst>
                                          <p:attrName>style.visibility</p:attrName>
                                        </p:attrNameLst>
                                      </p:cBhvr>
                                      <p:to>
                                        <p:strVal val="visible"/>
                                      </p:to>
                                    </p:set>
                                    <p:animEffect transition="in" filter="fade">
                                      <p:cBhvr>
                                        <p:cTn id="39" dur="500"/>
                                        <p:tgtEl>
                                          <p:spTgt spid="109"/>
                                        </p:tgtEl>
                                      </p:cBhvr>
                                    </p:animEffect>
                                  </p:childTnLst>
                                </p:cTn>
                              </p:par>
                              <p:par>
                                <p:cTn id="40" presetID="53" presetClass="entr" presetSubtype="16" fill="hold" grpId="0" nodeType="withEffect">
                                  <p:stCondLst>
                                    <p:cond delay="2000"/>
                                  </p:stCondLst>
                                  <p:childTnLst>
                                    <p:set>
                                      <p:cBhvr>
                                        <p:cTn id="41" dur="1" fill="hold">
                                          <p:stCondLst>
                                            <p:cond delay="0"/>
                                          </p:stCondLst>
                                        </p:cTn>
                                        <p:tgtEl>
                                          <p:spTgt spid="65"/>
                                        </p:tgtEl>
                                        <p:attrNameLst>
                                          <p:attrName>style.visibility</p:attrName>
                                        </p:attrNameLst>
                                      </p:cBhvr>
                                      <p:to>
                                        <p:strVal val="visible"/>
                                      </p:to>
                                    </p:set>
                                    <p:anim calcmode="lin" valueType="num">
                                      <p:cBhvr>
                                        <p:cTn id="42" dur="500" fill="hold"/>
                                        <p:tgtEl>
                                          <p:spTgt spid="65"/>
                                        </p:tgtEl>
                                        <p:attrNameLst>
                                          <p:attrName>ppt_w</p:attrName>
                                        </p:attrNameLst>
                                      </p:cBhvr>
                                      <p:tavLst>
                                        <p:tav tm="0">
                                          <p:val>
                                            <p:fltVal val="0"/>
                                          </p:val>
                                        </p:tav>
                                        <p:tav tm="100000">
                                          <p:val>
                                            <p:strVal val="#ppt_w"/>
                                          </p:val>
                                        </p:tav>
                                      </p:tavLst>
                                    </p:anim>
                                    <p:anim calcmode="lin" valueType="num">
                                      <p:cBhvr>
                                        <p:cTn id="43" dur="500" fill="hold"/>
                                        <p:tgtEl>
                                          <p:spTgt spid="65"/>
                                        </p:tgtEl>
                                        <p:attrNameLst>
                                          <p:attrName>ppt_h</p:attrName>
                                        </p:attrNameLst>
                                      </p:cBhvr>
                                      <p:tavLst>
                                        <p:tav tm="0">
                                          <p:val>
                                            <p:fltVal val="0"/>
                                          </p:val>
                                        </p:tav>
                                        <p:tav tm="100000">
                                          <p:val>
                                            <p:strVal val="#ppt_h"/>
                                          </p:val>
                                        </p:tav>
                                      </p:tavLst>
                                    </p:anim>
                                    <p:animEffect transition="in" filter="fade">
                                      <p:cBhvr>
                                        <p:cTn id="44" dur="500"/>
                                        <p:tgtEl>
                                          <p:spTgt spid="65"/>
                                        </p:tgtEl>
                                      </p:cBhvr>
                                    </p:animEffect>
                                  </p:childTnLst>
                                </p:cTn>
                              </p:par>
                              <p:par>
                                <p:cTn id="45" presetID="10" presetClass="entr" presetSubtype="0" fill="hold" grpId="0" nodeType="withEffect">
                                  <p:stCondLst>
                                    <p:cond delay="2000"/>
                                  </p:stCondLst>
                                  <p:childTnLst>
                                    <p:set>
                                      <p:cBhvr>
                                        <p:cTn id="46" dur="1" fill="hold">
                                          <p:stCondLst>
                                            <p:cond delay="0"/>
                                          </p:stCondLst>
                                        </p:cTn>
                                        <p:tgtEl>
                                          <p:spTgt spid="104"/>
                                        </p:tgtEl>
                                        <p:attrNameLst>
                                          <p:attrName>style.visibility</p:attrName>
                                        </p:attrNameLst>
                                      </p:cBhvr>
                                      <p:to>
                                        <p:strVal val="visible"/>
                                      </p:to>
                                    </p:set>
                                    <p:animEffect transition="in" filter="fade">
                                      <p:cBhvr>
                                        <p:cTn id="47" dur="500"/>
                                        <p:tgtEl>
                                          <p:spTgt spid="104"/>
                                        </p:tgtEl>
                                      </p:cBhvr>
                                    </p:animEffect>
                                  </p:childTnLst>
                                </p:cTn>
                              </p:par>
                              <p:par>
                                <p:cTn id="48" presetID="53" presetClass="entr" presetSubtype="16" fill="hold" grpId="0" nodeType="withEffect">
                                  <p:stCondLst>
                                    <p:cond delay="2500"/>
                                  </p:stCondLst>
                                  <p:childTnLst>
                                    <p:set>
                                      <p:cBhvr>
                                        <p:cTn id="49" dur="1" fill="hold">
                                          <p:stCondLst>
                                            <p:cond delay="0"/>
                                          </p:stCondLst>
                                        </p:cTn>
                                        <p:tgtEl>
                                          <p:spTgt spid="69"/>
                                        </p:tgtEl>
                                        <p:attrNameLst>
                                          <p:attrName>style.visibility</p:attrName>
                                        </p:attrNameLst>
                                      </p:cBhvr>
                                      <p:to>
                                        <p:strVal val="visible"/>
                                      </p:to>
                                    </p:set>
                                    <p:anim calcmode="lin" valueType="num">
                                      <p:cBhvr>
                                        <p:cTn id="50" dur="500" fill="hold"/>
                                        <p:tgtEl>
                                          <p:spTgt spid="69"/>
                                        </p:tgtEl>
                                        <p:attrNameLst>
                                          <p:attrName>ppt_w</p:attrName>
                                        </p:attrNameLst>
                                      </p:cBhvr>
                                      <p:tavLst>
                                        <p:tav tm="0">
                                          <p:val>
                                            <p:fltVal val="0"/>
                                          </p:val>
                                        </p:tav>
                                        <p:tav tm="100000">
                                          <p:val>
                                            <p:strVal val="#ppt_w"/>
                                          </p:val>
                                        </p:tav>
                                      </p:tavLst>
                                    </p:anim>
                                    <p:anim calcmode="lin" valueType="num">
                                      <p:cBhvr>
                                        <p:cTn id="51" dur="500" fill="hold"/>
                                        <p:tgtEl>
                                          <p:spTgt spid="69"/>
                                        </p:tgtEl>
                                        <p:attrNameLst>
                                          <p:attrName>ppt_h</p:attrName>
                                        </p:attrNameLst>
                                      </p:cBhvr>
                                      <p:tavLst>
                                        <p:tav tm="0">
                                          <p:val>
                                            <p:fltVal val="0"/>
                                          </p:val>
                                        </p:tav>
                                        <p:tav tm="100000">
                                          <p:val>
                                            <p:strVal val="#ppt_h"/>
                                          </p:val>
                                        </p:tav>
                                      </p:tavLst>
                                    </p:anim>
                                    <p:animEffect transition="in" filter="fade">
                                      <p:cBhvr>
                                        <p:cTn id="52" dur="500"/>
                                        <p:tgtEl>
                                          <p:spTgt spid="69"/>
                                        </p:tgtEl>
                                      </p:cBhvr>
                                    </p:animEffect>
                                  </p:childTnLst>
                                </p:cTn>
                              </p:par>
                              <p:par>
                                <p:cTn id="53" presetID="10" presetClass="entr" presetSubtype="0" fill="hold" grpId="0" nodeType="withEffect">
                                  <p:stCondLst>
                                    <p:cond delay="2500"/>
                                  </p:stCondLst>
                                  <p:childTnLst>
                                    <p:set>
                                      <p:cBhvr>
                                        <p:cTn id="54" dur="1" fill="hold">
                                          <p:stCondLst>
                                            <p:cond delay="0"/>
                                          </p:stCondLst>
                                        </p:cTn>
                                        <p:tgtEl>
                                          <p:spTgt spid="105"/>
                                        </p:tgtEl>
                                        <p:attrNameLst>
                                          <p:attrName>style.visibility</p:attrName>
                                        </p:attrNameLst>
                                      </p:cBhvr>
                                      <p:to>
                                        <p:strVal val="visible"/>
                                      </p:to>
                                    </p:set>
                                    <p:animEffect transition="in" filter="fade">
                                      <p:cBhvr>
                                        <p:cTn id="55" dur="500"/>
                                        <p:tgtEl>
                                          <p:spTgt spid="105"/>
                                        </p:tgtEl>
                                      </p:cBhvr>
                                    </p:animEffect>
                                  </p:childTnLst>
                                </p:cTn>
                              </p:par>
                              <p:par>
                                <p:cTn id="56" presetID="53" presetClass="entr" presetSubtype="16" fill="hold" grpId="0" nodeType="withEffect">
                                  <p:stCondLst>
                                    <p:cond delay="3000"/>
                                  </p:stCondLst>
                                  <p:childTnLst>
                                    <p:set>
                                      <p:cBhvr>
                                        <p:cTn id="57" dur="1" fill="hold">
                                          <p:stCondLst>
                                            <p:cond delay="0"/>
                                          </p:stCondLst>
                                        </p:cTn>
                                        <p:tgtEl>
                                          <p:spTgt spid="68"/>
                                        </p:tgtEl>
                                        <p:attrNameLst>
                                          <p:attrName>style.visibility</p:attrName>
                                        </p:attrNameLst>
                                      </p:cBhvr>
                                      <p:to>
                                        <p:strVal val="visible"/>
                                      </p:to>
                                    </p:set>
                                    <p:anim calcmode="lin" valueType="num">
                                      <p:cBhvr>
                                        <p:cTn id="58" dur="500" fill="hold"/>
                                        <p:tgtEl>
                                          <p:spTgt spid="68"/>
                                        </p:tgtEl>
                                        <p:attrNameLst>
                                          <p:attrName>ppt_w</p:attrName>
                                        </p:attrNameLst>
                                      </p:cBhvr>
                                      <p:tavLst>
                                        <p:tav tm="0">
                                          <p:val>
                                            <p:fltVal val="0"/>
                                          </p:val>
                                        </p:tav>
                                        <p:tav tm="100000">
                                          <p:val>
                                            <p:strVal val="#ppt_w"/>
                                          </p:val>
                                        </p:tav>
                                      </p:tavLst>
                                    </p:anim>
                                    <p:anim calcmode="lin" valueType="num">
                                      <p:cBhvr>
                                        <p:cTn id="59" dur="500" fill="hold"/>
                                        <p:tgtEl>
                                          <p:spTgt spid="68"/>
                                        </p:tgtEl>
                                        <p:attrNameLst>
                                          <p:attrName>ppt_h</p:attrName>
                                        </p:attrNameLst>
                                      </p:cBhvr>
                                      <p:tavLst>
                                        <p:tav tm="0">
                                          <p:val>
                                            <p:fltVal val="0"/>
                                          </p:val>
                                        </p:tav>
                                        <p:tav tm="100000">
                                          <p:val>
                                            <p:strVal val="#ppt_h"/>
                                          </p:val>
                                        </p:tav>
                                      </p:tavLst>
                                    </p:anim>
                                    <p:animEffect transition="in" filter="fade">
                                      <p:cBhvr>
                                        <p:cTn id="60" dur="500"/>
                                        <p:tgtEl>
                                          <p:spTgt spid="68"/>
                                        </p:tgtEl>
                                      </p:cBhvr>
                                    </p:animEffect>
                                  </p:childTnLst>
                                </p:cTn>
                              </p:par>
                              <p:par>
                                <p:cTn id="61" presetID="10" presetClass="entr" presetSubtype="0" fill="hold" grpId="0" nodeType="withEffect">
                                  <p:stCondLst>
                                    <p:cond delay="3000"/>
                                  </p:stCondLst>
                                  <p:childTnLst>
                                    <p:set>
                                      <p:cBhvr>
                                        <p:cTn id="62" dur="1" fill="hold">
                                          <p:stCondLst>
                                            <p:cond delay="0"/>
                                          </p:stCondLst>
                                        </p:cTn>
                                        <p:tgtEl>
                                          <p:spTgt spid="103"/>
                                        </p:tgtEl>
                                        <p:attrNameLst>
                                          <p:attrName>style.visibility</p:attrName>
                                        </p:attrNameLst>
                                      </p:cBhvr>
                                      <p:to>
                                        <p:strVal val="visible"/>
                                      </p:to>
                                    </p:set>
                                    <p:animEffect transition="in" filter="fade">
                                      <p:cBhvr>
                                        <p:cTn id="63" dur="500"/>
                                        <p:tgtEl>
                                          <p:spTgt spid="10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5" grpId="0" animBg="1"/>
      <p:bldP spid="66" grpId="0" animBg="1"/>
      <p:bldP spid="67" grpId="0" animBg="1"/>
      <p:bldP spid="68" grpId="0" animBg="1"/>
      <p:bldP spid="69" grpId="0" animBg="1"/>
      <p:bldP spid="70" grpId="0" animBg="1"/>
      <p:bldP spid="71" grpId="0" animBg="1"/>
      <p:bldP spid="103" grpId="0"/>
      <p:bldP spid="104" grpId="0"/>
      <p:bldP spid="105" grpId="0"/>
      <p:bldP spid="106" grpId="0"/>
      <p:bldP spid="107" grpId="0"/>
      <p:bldP spid="108" grpId="0"/>
      <p:bldP spid="109" grpId="0"/>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50E161-4AA6-4221-A420-87F8E88B44AB}"/>
              </a:ext>
            </a:extLst>
          </p:cNvPr>
          <p:cNvSpPr>
            <a:spLocks noGrp="1"/>
          </p:cNvSpPr>
          <p:nvPr>
            <p:ph type="ctrTitle"/>
          </p:nvPr>
        </p:nvSpPr>
        <p:spPr/>
        <p:txBody>
          <a:bodyPr/>
          <a:lstStyle/>
          <a:p>
            <a:r>
              <a:rPr lang="de-DE" dirty="0"/>
              <a:t>Summary</a:t>
            </a:r>
            <a:endParaRPr lang="en-US" dirty="0"/>
          </a:p>
        </p:txBody>
      </p:sp>
      <p:sp>
        <p:nvSpPr>
          <p:cNvPr id="3" name="Subtitle 2">
            <a:extLst>
              <a:ext uri="{FF2B5EF4-FFF2-40B4-BE49-F238E27FC236}">
                <a16:creationId xmlns:a16="http://schemas.microsoft.com/office/drawing/2014/main" id="{F4AE32F1-B364-4158-8CC4-CAC4FB7EACE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3436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D0DBE6F-1A80-47AA-8F71-C1C03FB6CAF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bwMode="gray">
          <a:xfrm>
            <a:off x="332367" y="1931198"/>
            <a:ext cx="11520000" cy="3983828"/>
          </a:xfrm>
          <a:prstGeom prst="rect">
            <a:avLst/>
          </a:prstGeom>
        </p:spPr>
      </p:pic>
      <p:sp>
        <p:nvSpPr>
          <p:cNvPr id="50" name="Rectangle 49">
            <a:extLst>
              <a:ext uri="{FF2B5EF4-FFF2-40B4-BE49-F238E27FC236}">
                <a16:creationId xmlns:a16="http://schemas.microsoft.com/office/drawing/2014/main" id="{6299013E-224B-4A2D-B442-219736320A9A}"/>
              </a:ext>
            </a:extLst>
          </p:cNvPr>
          <p:cNvSpPr/>
          <p:nvPr/>
        </p:nvSpPr>
        <p:spPr bwMode="gray">
          <a:xfrm>
            <a:off x="0" y="1895708"/>
            <a:ext cx="12192000" cy="4057186"/>
          </a:xfrm>
          <a:prstGeom prst="rect">
            <a:avLst/>
          </a:prstGeom>
          <a:solidFill>
            <a:srgbClr val="FFFFFF">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p>
        </p:txBody>
      </p:sp>
      <p:sp>
        <p:nvSpPr>
          <p:cNvPr id="3" name="Title 2">
            <a:extLst>
              <a:ext uri="{FF2B5EF4-FFF2-40B4-BE49-F238E27FC236}">
                <a16:creationId xmlns:a16="http://schemas.microsoft.com/office/drawing/2014/main" id="{4FBD1379-2096-49F9-9855-0EE60FE9B75F}"/>
              </a:ext>
            </a:extLst>
          </p:cNvPr>
          <p:cNvSpPr>
            <a:spLocks noGrp="1"/>
          </p:cNvSpPr>
          <p:nvPr>
            <p:ph type="title"/>
          </p:nvPr>
        </p:nvSpPr>
        <p:spPr bwMode="gray"/>
        <p:txBody>
          <a:bodyPr/>
          <a:lstStyle/>
          <a:p>
            <a:r>
              <a:rPr lang="de-DE" dirty="0" err="1"/>
              <a:t>Conclusion</a:t>
            </a:r>
            <a:endParaRPr lang="en-US" dirty="0"/>
          </a:p>
        </p:txBody>
      </p:sp>
      <p:sp>
        <p:nvSpPr>
          <p:cNvPr id="7" name="Subtitle 6">
            <a:extLst>
              <a:ext uri="{FF2B5EF4-FFF2-40B4-BE49-F238E27FC236}">
                <a16:creationId xmlns:a16="http://schemas.microsoft.com/office/drawing/2014/main" id="{3EE72CAF-E1F1-4052-8F3F-4C669F133F44}"/>
              </a:ext>
            </a:extLst>
          </p:cNvPr>
          <p:cNvSpPr>
            <a:spLocks noGrp="1"/>
          </p:cNvSpPr>
          <p:nvPr>
            <p:ph type="subTitle" idx="13"/>
          </p:nvPr>
        </p:nvSpPr>
        <p:spPr bwMode="gray"/>
        <p:txBody>
          <a:bodyPr/>
          <a:lstStyle/>
          <a:p>
            <a:r>
              <a:rPr lang="de-DE" dirty="0"/>
              <a:t>Pure </a:t>
            </a:r>
            <a:r>
              <a:rPr lang="de-DE" dirty="0" err="1"/>
              <a:t>class</a:t>
            </a:r>
            <a:r>
              <a:rPr lang="de-DE" dirty="0"/>
              <a:t> </a:t>
            </a:r>
            <a:r>
              <a:rPr lang="de-DE" dirty="0" err="1"/>
              <a:t>for</a:t>
            </a:r>
            <a:r>
              <a:rPr lang="de-DE" dirty="0"/>
              <a:t> </a:t>
            </a:r>
            <a:r>
              <a:rPr lang="de-DE" dirty="0" err="1"/>
              <a:t>industrial</a:t>
            </a:r>
            <a:r>
              <a:rPr lang="de-DE" dirty="0"/>
              <a:t> gas</a:t>
            </a:r>
            <a:endParaRPr lang="en-US" dirty="0"/>
          </a:p>
        </p:txBody>
      </p:sp>
      <p:sp>
        <p:nvSpPr>
          <p:cNvPr id="52" name="Date Placeholder 51">
            <a:extLst>
              <a:ext uri="{FF2B5EF4-FFF2-40B4-BE49-F238E27FC236}">
                <a16:creationId xmlns:a16="http://schemas.microsoft.com/office/drawing/2014/main" id="{71715948-5C32-40AA-8AC2-71BA90E074CA}"/>
              </a:ext>
            </a:extLst>
          </p:cNvPr>
          <p:cNvSpPr>
            <a:spLocks noGrp="1"/>
          </p:cNvSpPr>
          <p:nvPr>
            <p:ph type="dt" sz="half" idx="14"/>
          </p:nvPr>
        </p:nvSpPr>
        <p:spPr bwMode="gray"/>
        <p:txBody>
          <a:bodyPr/>
          <a:lstStyle/>
          <a:p>
            <a:fld id="{7881CDCA-0DA2-4DDC-87EB-34EDF2D43142}" type="datetime4">
              <a:rPr lang="en-US" smtClean="0"/>
              <a:t>September 8, 2019</a:t>
            </a:fld>
            <a:endParaRPr lang="en-US" dirty="0"/>
          </a:p>
        </p:txBody>
      </p:sp>
      <p:sp>
        <p:nvSpPr>
          <p:cNvPr id="53" name="Footer Placeholder 52">
            <a:extLst>
              <a:ext uri="{FF2B5EF4-FFF2-40B4-BE49-F238E27FC236}">
                <a16:creationId xmlns:a16="http://schemas.microsoft.com/office/drawing/2014/main" id="{B52A1943-D873-4BEE-B944-368E366EB1BB}"/>
              </a:ext>
            </a:extLst>
          </p:cNvPr>
          <p:cNvSpPr>
            <a:spLocks noGrp="1"/>
          </p:cNvSpPr>
          <p:nvPr>
            <p:ph type="ftr" sz="quarter" idx="15"/>
          </p:nvPr>
        </p:nvSpPr>
        <p:spPr bwMode="gray"/>
        <p:txBody>
          <a:bodyPr/>
          <a:lstStyle/>
          <a:p>
            <a:pPr lvl="8"/>
            <a:endParaRPr lang="en-US" dirty="0"/>
          </a:p>
        </p:txBody>
      </p:sp>
      <p:sp>
        <p:nvSpPr>
          <p:cNvPr id="54" name="Slide Number Placeholder 53">
            <a:extLst>
              <a:ext uri="{FF2B5EF4-FFF2-40B4-BE49-F238E27FC236}">
                <a16:creationId xmlns:a16="http://schemas.microsoft.com/office/drawing/2014/main" id="{A1803BFC-1CA3-4484-A9CB-78BDC60D259F}"/>
              </a:ext>
            </a:extLst>
          </p:cNvPr>
          <p:cNvSpPr>
            <a:spLocks noGrp="1"/>
          </p:cNvSpPr>
          <p:nvPr>
            <p:ph type="sldNum" sz="quarter" idx="16"/>
          </p:nvPr>
        </p:nvSpPr>
        <p:spPr bwMode="gray"/>
        <p:txBody>
          <a:bodyPr/>
          <a:lstStyle/>
          <a:p>
            <a:r>
              <a:rPr lang="en-US" dirty="0"/>
              <a:t>Slide </a:t>
            </a:r>
            <a:fld id="{619F89D8-7AE3-494A-97F3-03D680869632}" type="slidenum">
              <a:rPr lang="en-US" smtClean="0"/>
              <a:pPr/>
              <a:t>85</a:t>
            </a:fld>
            <a:endParaRPr lang="en-US" dirty="0"/>
          </a:p>
        </p:txBody>
      </p:sp>
      <p:grpSp>
        <p:nvGrpSpPr>
          <p:cNvPr id="24" name="Group 23">
            <a:extLst>
              <a:ext uri="{FF2B5EF4-FFF2-40B4-BE49-F238E27FC236}">
                <a16:creationId xmlns:a16="http://schemas.microsoft.com/office/drawing/2014/main" id="{C17C0440-1702-484C-9FB8-F3603DA2438F}"/>
              </a:ext>
            </a:extLst>
          </p:cNvPr>
          <p:cNvGrpSpPr/>
          <p:nvPr/>
        </p:nvGrpSpPr>
        <p:grpSpPr bwMode="gray">
          <a:xfrm>
            <a:off x="1771175" y="3015192"/>
            <a:ext cx="705098" cy="528576"/>
            <a:chOff x="3371979" y="4332572"/>
            <a:chExt cx="474241" cy="355515"/>
          </a:xfrm>
        </p:grpSpPr>
        <p:sp>
          <p:nvSpPr>
            <p:cNvPr id="25" name="Freeform: Shape 24">
              <a:extLst>
                <a:ext uri="{FF2B5EF4-FFF2-40B4-BE49-F238E27FC236}">
                  <a16:creationId xmlns:a16="http://schemas.microsoft.com/office/drawing/2014/main" id="{273EA059-4E12-40C2-AA80-7A4D0B4EEE40}"/>
                </a:ext>
              </a:extLst>
            </p:cNvPr>
            <p:cNvSpPr/>
            <p:nvPr/>
          </p:nvSpPr>
          <p:spPr bwMode="gray">
            <a:xfrm>
              <a:off x="3423068" y="4409215"/>
              <a:ext cx="423152" cy="278872"/>
            </a:xfrm>
            <a:custGeom>
              <a:avLst/>
              <a:gdLst>
                <a:gd name="connsiteX0" fmla="*/ 53793 w 423152"/>
                <a:gd name="connsiteY0" fmla="*/ 0 h 278872"/>
                <a:gd name="connsiteX1" fmla="*/ 393265 w 423152"/>
                <a:gd name="connsiteY1" fmla="*/ 0 h 278872"/>
                <a:gd name="connsiteX2" fmla="*/ 423152 w 423152"/>
                <a:gd name="connsiteY2" fmla="*/ 29887 h 278872"/>
                <a:gd name="connsiteX3" fmla="*/ 423152 w 423152"/>
                <a:gd name="connsiteY3" fmla="*/ 248985 h 278872"/>
                <a:gd name="connsiteX4" fmla="*/ 393265 w 423152"/>
                <a:gd name="connsiteY4" fmla="*/ 278872 h 278872"/>
                <a:gd name="connsiteX5" fmla="*/ 29887 w 423152"/>
                <a:gd name="connsiteY5" fmla="*/ 278872 h 278872"/>
                <a:gd name="connsiteX6" fmla="*/ 0 w 423152"/>
                <a:gd name="connsiteY6" fmla="*/ 248985 h 278872"/>
                <a:gd name="connsiteX7" fmla="*/ 0 w 423152"/>
                <a:gd name="connsiteY7" fmla="*/ 76342 h 278872"/>
                <a:gd name="connsiteX8" fmla="*/ 4117 w 423152"/>
                <a:gd name="connsiteY8" fmla="*/ 77373 h 278872"/>
                <a:gd name="connsiteX9" fmla="*/ 56551 w 423152"/>
                <a:gd name="connsiteY9" fmla="*/ 9683 h 27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3152" h="278872">
                  <a:moveTo>
                    <a:pt x="53793" y="0"/>
                  </a:moveTo>
                  <a:lnTo>
                    <a:pt x="393265" y="0"/>
                  </a:lnTo>
                  <a:cubicBezTo>
                    <a:pt x="409771" y="0"/>
                    <a:pt x="423152" y="13381"/>
                    <a:pt x="423152" y="29887"/>
                  </a:cubicBezTo>
                  <a:lnTo>
                    <a:pt x="423152" y="248985"/>
                  </a:lnTo>
                  <a:cubicBezTo>
                    <a:pt x="423152" y="265491"/>
                    <a:pt x="409771" y="278872"/>
                    <a:pt x="393265" y="278872"/>
                  </a:cubicBezTo>
                  <a:lnTo>
                    <a:pt x="29887" y="278872"/>
                  </a:lnTo>
                  <a:cubicBezTo>
                    <a:pt x="13381" y="278872"/>
                    <a:pt x="0" y="265491"/>
                    <a:pt x="0" y="248985"/>
                  </a:cubicBezTo>
                  <a:lnTo>
                    <a:pt x="0" y="76342"/>
                  </a:lnTo>
                  <a:lnTo>
                    <a:pt x="4117" y="77373"/>
                  </a:lnTo>
                  <a:cubicBezTo>
                    <a:pt x="28137" y="76742"/>
                    <a:pt x="62739" y="57305"/>
                    <a:pt x="56551" y="9683"/>
                  </a:cubicBezTo>
                  <a:close/>
                </a:path>
              </a:pathLst>
            </a:custGeom>
            <a:noFill/>
            <a:ln w="19050">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endParaRPr lang="en-US"/>
            </a:p>
          </p:txBody>
        </p:sp>
        <p:grpSp>
          <p:nvGrpSpPr>
            <p:cNvPr id="26" name="Group 25">
              <a:extLst>
                <a:ext uri="{FF2B5EF4-FFF2-40B4-BE49-F238E27FC236}">
                  <a16:creationId xmlns:a16="http://schemas.microsoft.com/office/drawing/2014/main" id="{FDF14550-59CD-48CF-8D4E-DE2BF6E6B960}"/>
                </a:ext>
              </a:extLst>
            </p:cNvPr>
            <p:cNvGrpSpPr/>
            <p:nvPr/>
          </p:nvGrpSpPr>
          <p:grpSpPr bwMode="gray">
            <a:xfrm>
              <a:off x="3371979" y="4332572"/>
              <a:ext cx="106455" cy="154067"/>
              <a:chOff x="8341200" y="5410598"/>
              <a:chExt cx="47828" cy="69219"/>
            </a:xfrm>
          </p:grpSpPr>
          <p:sp>
            <p:nvSpPr>
              <p:cNvPr id="37" name="Freeform 514">
                <a:extLst>
                  <a:ext uri="{FF2B5EF4-FFF2-40B4-BE49-F238E27FC236}">
                    <a16:creationId xmlns:a16="http://schemas.microsoft.com/office/drawing/2014/main" id="{5F9EA4EC-5A3C-4B0E-9BF0-521E05F189F4}"/>
                  </a:ext>
                </a:extLst>
              </p:cNvPr>
              <p:cNvSpPr>
                <a:spLocks/>
              </p:cNvSpPr>
              <p:nvPr/>
            </p:nvSpPr>
            <p:spPr bwMode="gray">
              <a:xfrm>
                <a:off x="8341200" y="5410598"/>
                <a:ext cx="47828" cy="69196"/>
              </a:xfrm>
              <a:custGeom>
                <a:avLst/>
                <a:gdLst>
                  <a:gd name="T0" fmla="*/ 57 w 139"/>
                  <a:gd name="T1" fmla="*/ 202 h 202"/>
                  <a:gd name="T2" fmla="*/ 57 w 139"/>
                  <a:gd name="T3" fmla="*/ 202 h 202"/>
                  <a:gd name="T4" fmla="*/ 51 w 139"/>
                  <a:gd name="T5" fmla="*/ 199 h 202"/>
                  <a:gd name="T6" fmla="*/ 40 w 139"/>
                  <a:gd name="T7" fmla="*/ 193 h 202"/>
                  <a:gd name="T8" fmla="*/ 27 w 139"/>
                  <a:gd name="T9" fmla="*/ 183 h 202"/>
                  <a:gd name="T10" fmla="*/ 21 w 139"/>
                  <a:gd name="T11" fmla="*/ 177 h 202"/>
                  <a:gd name="T12" fmla="*/ 15 w 139"/>
                  <a:gd name="T13" fmla="*/ 169 h 202"/>
                  <a:gd name="T14" fmla="*/ 9 w 139"/>
                  <a:gd name="T15" fmla="*/ 160 h 202"/>
                  <a:gd name="T16" fmla="*/ 4 w 139"/>
                  <a:gd name="T17" fmla="*/ 151 h 202"/>
                  <a:gd name="T18" fmla="*/ 1 w 139"/>
                  <a:gd name="T19" fmla="*/ 141 h 202"/>
                  <a:gd name="T20" fmla="*/ 0 w 139"/>
                  <a:gd name="T21" fmla="*/ 130 h 202"/>
                  <a:gd name="T22" fmla="*/ 1 w 139"/>
                  <a:gd name="T23" fmla="*/ 118 h 202"/>
                  <a:gd name="T24" fmla="*/ 4 w 139"/>
                  <a:gd name="T25" fmla="*/ 105 h 202"/>
                  <a:gd name="T26" fmla="*/ 12 w 139"/>
                  <a:gd name="T27" fmla="*/ 91 h 202"/>
                  <a:gd name="T28" fmla="*/ 22 w 139"/>
                  <a:gd name="T29" fmla="*/ 76 h 202"/>
                  <a:gd name="T30" fmla="*/ 22 w 139"/>
                  <a:gd name="T31" fmla="*/ 76 h 202"/>
                  <a:gd name="T32" fmla="*/ 27 w 139"/>
                  <a:gd name="T33" fmla="*/ 70 h 202"/>
                  <a:gd name="T34" fmla="*/ 36 w 139"/>
                  <a:gd name="T35" fmla="*/ 55 h 202"/>
                  <a:gd name="T36" fmla="*/ 42 w 139"/>
                  <a:gd name="T37" fmla="*/ 43 h 202"/>
                  <a:gd name="T38" fmla="*/ 46 w 139"/>
                  <a:gd name="T39" fmla="*/ 31 h 202"/>
                  <a:gd name="T40" fmla="*/ 49 w 139"/>
                  <a:gd name="T41" fmla="*/ 16 h 202"/>
                  <a:gd name="T42" fmla="*/ 51 w 139"/>
                  <a:gd name="T43" fmla="*/ 0 h 202"/>
                  <a:gd name="T44" fmla="*/ 51 w 139"/>
                  <a:gd name="T45" fmla="*/ 0 h 202"/>
                  <a:gd name="T46" fmla="*/ 60 w 139"/>
                  <a:gd name="T47" fmla="*/ 6 h 202"/>
                  <a:gd name="T48" fmla="*/ 81 w 139"/>
                  <a:gd name="T49" fmla="*/ 22 h 202"/>
                  <a:gd name="T50" fmla="*/ 93 w 139"/>
                  <a:gd name="T51" fmla="*/ 34 h 202"/>
                  <a:gd name="T52" fmla="*/ 106 w 139"/>
                  <a:gd name="T53" fmla="*/ 46 h 202"/>
                  <a:gd name="T54" fmla="*/ 117 w 139"/>
                  <a:gd name="T55" fmla="*/ 61 h 202"/>
                  <a:gd name="T56" fmla="*/ 127 w 139"/>
                  <a:gd name="T57" fmla="*/ 76 h 202"/>
                  <a:gd name="T58" fmla="*/ 127 w 139"/>
                  <a:gd name="T59" fmla="*/ 76 h 202"/>
                  <a:gd name="T60" fmla="*/ 135 w 139"/>
                  <a:gd name="T61" fmla="*/ 93 h 202"/>
                  <a:gd name="T62" fmla="*/ 138 w 139"/>
                  <a:gd name="T63" fmla="*/ 111 h 202"/>
                  <a:gd name="T64" fmla="*/ 139 w 139"/>
                  <a:gd name="T65" fmla="*/ 127 h 202"/>
                  <a:gd name="T66" fmla="*/ 136 w 139"/>
                  <a:gd name="T67" fmla="*/ 144 h 202"/>
                  <a:gd name="T68" fmla="*/ 133 w 139"/>
                  <a:gd name="T69" fmla="*/ 153 h 202"/>
                  <a:gd name="T70" fmla="*/ 129 w 139"/>
                  <a:gd name="T71" fmla="*/ 160 h 202"/>
                  <a:gd name="T72" fmla="*/ 124 w 139"/>
                  <a:gd name="T73" fmla="*/ 168 h 202"/>
                  <a:gd name="T74" fmla="*/ 118 w 139"/>
                  <a:gd name="T75" fmla="*/ 175 h 202"/>
                  <a:gd name="T76" fmla="*/ 112 w 139"/>
                  <a:gd name="T77" fmla="*/ 183 h 202"/>
                  <a:gd name="T78" fmla="*/ 105 w 139"/>
                  <a:gd name="T79" fmla="*/ 190 h 202"/>
                  <a:gd name="T80" fmla="*/ 96 w 139"/>
                  <a:gd name="T81" fmla="*/ 196 h 202"/>
                  <a:gd name="T82" fmla="*/ 87 w 139"/>
                  <a:gd name="T83" fmla="*/ 202 h 202"/>
                  <a:gd name="T84" fmla="*/ 57 w 139"/>
                  <a:gd name="T85" fmla="*/ 202 h 202"/>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8417 w 10000"/>
                  <a:gd name="connsiteY27" fmla="*/ 3020 h 10000"/>
                  <a:gd name="connsiteX28" fmla="*/ 9137 w 10000"/>
                  <a:gd name="connsiteY28" fmla="*/ 3762 h 10000"/>
                  <a:gd name="connsiteX29" fmla="*/ 9712 w 10000"/>
                  <a:gd name="connsiteY29" fmla="*/ 4604 h 10000"/>
                  <a:gd name="connsiteX30" fmla="*/ 9928 w 10000"/>
                  <a:gd name="connsiteY30" fmla="*/ 5495 h 10000"/>
                  <a:gd name="connsiteX31" fmla="*/ 10000 w 10000"/>
                  <a:gd name="connsiteY31" fmla="*/ 6287 h 10000"/>
                  <a:gd name="connsiteX32" fmla="*/ 9784 w 10000"/>
                  <a:gd name="connsiteY32" fmla="*/ 7129 h 10000"/>
                  <a:gd name="connsiteX33" fmla="*/ 9568 w 10000"/>
                  <a:gd name="connsiteY33" fmla="*/ 7574 h 10000"/>
                  <a:gd name="connsiteX34" fmla="*/ 9281 w 10000"/>
                  <a:gd name="connsiteY34" fmla="*/ 7921 h 10000"/>
                  <a:gd name="connsiteX35" fmla="*/ 8921 w 10000"/>
                  <a:gd name="connsiteY35" fmla="*/ 8317 h 10000"/>
                  <a:gd name="connsiteX36" fmla="*/ 8489 w 10000"/>
                  <a:gd name="connsiteY36" fmla="*/ 8663 h 10000"/>
                  <a:gd name="connsiteX37" fmla="*/ 8058 w 10000"/>
                  <a:gd name="connsiteY37" fmla="*/ 9059 h 10000"/>
                  <a:gd name="connsiteX38" fmla="*/ 7554 w 10000"/>
                  <a:gd name="connsiteY38" fmla="*/ 9406 h 10000"/>
                  <a:gd name="connsiteX39" fmla="*/ 6906 w 10000"/>
                  <a:gd name="connsiteY39" fmla="*/ 9703 h 10000"/>
                  <a:gd name="connsiteX40" fmla="*/ 6259 w 10000"/>
                  <a:gd name="connsiteY40" fmla="*/ 10000 h 10000"/>
                  <a:gd name="connsiteX41" fmla="*/ 4101 w 10000"/>
                  <a:gd name="connsiteY41"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9137 w 10000"/>
                  <a:gd name="connsiteY27" fmla="*/ 3762 h 10000"/>
                  <a:gd name="connsiteX28" fmla="*/ 9712 w 10000"/>
                  <a:gd name="connsiteY28" fmla="*/ 4604 h 10000"/>
                  <a:gd name="connsiteX29" fmla="*/ 9928 w 10000"/>
                  <a:gd name="connsiteY29" fmla="*/ 5495 h 10000"/>
                  <a:gd name="connsiteX30" fmla="*/ 10000 w 10000"/>
                  <a:gd name="connsiteY30" fmla="*/ 6287 h 10000"/>
                  <a:gd name="connsiteX31" fmla="*/ 9784 w 10000"/>
                  <a:gd name="connsiteY31" fmla="*/ 7129 h 10000"/>
                  <a:gd name="connsiteX32" fmla="*/ 9568 w 10000"/>
                  <a:gd name="connsiteY32" fmla="*/ 7574 h 10000"/>
                  <a:gd name="connsiteX33" fmla="*/ 9281 w 10000"/>
                  <a:gd name="connsiteY33" fmla="*/ 7921 h 10000"/>
                  <a:gd name="connsiteX34" fmla="*/ 8921 w 10000"/>
                  <a:gd name="connsiteY34" fmla="*/ 8317 h 10000"/>
                  <a:gd name="connsiteX35" fmla="*/ 8489 w 10000"/>
                  <a:gd name="connsiteY35" fmla="*/ 8663 h 10000"/>
                  <a:gd name="connsiteX36" fmla="*/ 8058 w 10000"/>
                  <a:gd name="connsiteY36" fmla="*/ 9059 h 10000"/>
                  <a:gd name="connsiteX37" fmla="*/ 7554 w 10000"/>
                  <a:gd name="connsiteY37" fmla="*/ 9406 h 10000"/>
                  <a:gd name="connsiteX38" fmla="*/ 6906 w 10000"/>
                  <a:gd name="connsiteY38" fmla="*/ 9703 h 10000"/>
                  <a:gd name="connsiteX39" fmla="*/ 6259 w 10000"/>
                  <a:gd name="connsiteY39" fmla="*/ 10000 h 10000"/>
                  <a:gd name="connsiteX40" fmla="*/ 4101 w 10000"/>
                  <a:gd name="connsiteY40"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9137 w 10000"/>
                  <a:gd name="connsiteY26" fmla="*/ 3762 h 10000"/>
                  <a:gd name="connsiteX27" fmla="*/ 9712 w 10000"/>
                  <a:gd name="connsiteY27" fmla="*/ 4604 h 10000"/>
                  <a:gd name="connsiteX28" fmla="*/ 9928 w 10000"/>
                  <a:gd name="connsiteY28" fmla="*/ 5495 h 10000"/>
                  <a:gd name="connsiteX29" fmla="*/ 10000 w 10000"/>
                  <a:gd name="connsiteY29" fmla="*/ 6287 h 10000"/>
                  <a:gd name="connsiteX30" fmla="*/ 9784 w 10000"/>
                  <a:gd name="connsiteY30" fmla="*/ 7129 h 10000"/>
                  <a:gd name="connsiteX31" fmla="*/ 9568 w 10000"/>
                  <a:gd name="connsiteY31" fmla="*/ 7574 h 10000"/>
                  <a:gd name="connsiteX32" fmla="*/ 9281 w 10000"/>
                  <a:gd name="connsiteY32" fmla="*/ 7921 h 10000"/>
                  <a:gd name="connsiteX33" fmla="*/ 8921 w 10000"/>
                  <a:gd name="connsiteY33" fmla="*/ 8317 h 10000"/>
                  <a:gd name="connsiteX34" fmla="*/ 8489 w 10000"/>
                  <a:gd name="connsiteY34" fmla="*/ 8663 h 10000"/>
                  <a:gd name="connsiteX35" fmla="*/ 8058 w 10000"/>
                  <a:gd name="connsiteY35" fmla="*/ 9059 h 10000"/>
                  <a:gd name="connsiteX36" fmla="*/ 7554 w 10000"/>
                  <a:gd name="connsiteY36" fmla="*/ 9406 h 10000"/>
                  <a:gd name="connsiteX37" fmla="*/ 6906 w 10000"/>
                  <a:gd name="connsiteY37" fmla="*/ 9703 h 10000"/>
                  <a:gd name="connsiteX38" fmla="*/ 6259 w 10000"/>
                  <a:gd name="connsiteY38" fmla="*/ 10000 h 10000"/>
                  <a:gd name="connsiteX39" fmla="*/ 4101 w 10000"/>
                  <a:gd name="connsiteY39"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9137 w 10000"/>
                  <a:gd name="connsiteY25" fmla="*/ 3762 h 10000"/>
                  <a:gd name="connsiteX26" fmla="*/ 9712 w 10000"/>
                  <a:gd name="connsiteY26" fmla="*/ 4604 h 10000"/>
                  <a:gd name="connsiteX27" fmla="*/ 9928 w 10000"/>
                  <a:gd name="connsiteY27" fmla="*/ 5495 h 10000"/>
                  <a:gd name="connsiteX28" fmla="*/ 10000 w 10000"/>
                  <a:gd name="connsiteY28" fmla="*/ 6287 h 10000"/>
                  <a:gd name="connsiteX29" fmla="*/ 9784 w 10000"/>
                  <a:gd name="connsiteY29" fmla="*/ 7129 h 10000"/>
                  <a:gd name="connsiteX30" fmla="*/ 9568 w 10000"/>
                  <a:gd name="connsiteY30" fmla="*/ 7574 h 10000"/>
                  <a:gd name="connsiteX31" fmla="*/ 9281 w 10000"/>
                  <a:gd name="connsiteY31" fmla="*/ 7921 h 10000"/>
                  <a:gd name="connsiteX32" fmla="*/ 8921 w 10000"/>
                  <a:gd name="connsiteY32" fmla="*/ 8317 h 10000"/>
                  <a:gd name="connsiteX33" fmla="*/ 8489 w 10000"/>
                  <a:gd name="connsiteY33" fmla="*/ 8663 h 10000"/>
                  <a:gd name="connsiteX34" fmla="*/ 8058 w 10000"/>
                  <a:gd name="connsiteY34" fmla="*/ 9059 h 10000"/>
                  <a:gd name="connsiteX35" fmla="*/ 7554 w 10000"/>
                  <a:gd name="connsiteY35" fmla="*/ 9406 h 10000"/>
                  <a:gd name="connsiteX36" fmla="*/ 6906 w 10000"/>
                  <a:gd name="connsiteY36" fmla="*/ 9703 h 10000"/>
                  <a:gd name="connsiteX37" fmla="*/ 6259 w 10000"/>
                  <a:gd name="connsiteY37" fmla="*/ 10000 h 10000"/>
                  <a:gd name="connsiteX38" fmla="*/ 4101 w 10000"/>
                  <a:gd name="connsiteY38"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712 w 10000"/>
                  <a:gd name="connsiteY25" fmla="*/ 4604 h 10000"/>
                  <a:gd name="connsiteX26" fmla="*/ 9928 w 10000"/>
                  <a:gd name="connsiteY26" fmla="*/ 5495 h 10000"/>
                  <a:gd name="connsiteX27" fmla="*/ 10000 w 10000"/>
                  <a:gd name="connsiteY27" fmla="*/ 6287 h 10000"/>
                  <a:gd name="connsiteX28" fmla="*/ 9784 w 10000"/>
                  <a:gd name="connsiteY28" fmla="*/ 7129 h 10000"/>
                  <a:gd name="connsiteX29" fmla="*/ 9568 w 10000"/>
                  <a:gd name="connsiteY29" fmla="*/ 7574 h 10000"/>
                  <a:gd name="connsiteX30" fmla="*/ 9281 w 10000"/>
                  <a:gd name="connsiteY30" fmla="*/ 7921 h 10000"/>
                  <a:gd name="connsiteX31" fmla="*/ 8921 w 10000"/>
                  <a:gd name="connsiteY31" fmla="*/ 8317 h 10000"/>
                  <a:gd name="connsiteX32" fmla="*/ 8489 w 10000"/>
                  <a:gd name="connsiteY32" fmla="*/ 8663 h 10000"/>
                  <a:gd name="connsiteX33" fmla="*/ 8058 w 10000"/>
                  <a:gd name="connsiteY33" fmla="*/ 9059 h 10000"/>
                  <a:gd name="connsiteX34" fmla="*/ 7554 w 10000"/>
                  <a:gd name="connsiteY34" fmla="*/ 9406 h 10000"/>
                  <a:gd name="connsiteX35" fmla="*/ 6906 w 10000"/>
                  <a:gd name="connsiteY35" fmla="*/ 9703 h 10000"/>
                  <a:gd name="connsiteX36" fmla="*/ 6259 w 10000"/>
                  <a:gd name="connsiteY36" fmla="*/ 10000 h 10000"/>
                  <a:gd name="connsiteX37" fmla="*/ 4101 w 10000"/>
                  <a:gd name="connsiteY37"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928 w 10000"/>
                  <a:gd name="connsiteY25" fmla="*/ 5495 h 10000"/>
                  <a:gd name="connsiteX26" fmla="*/ 10000 w 10000"/>
                  <a:gd name="connsiteY26" fmla="*/ 6287 h 10000"/>
                  <a:gd name="connsiteX27" fmla="*/ 9784 w 10000"/>
                  <a:gd name="connsiteY27" fmla="*/ 7129 h 10000"/>
                  <a:gd name="connsiteX28" fmla="*/ 9568 w 10000"/>
                  <a:gd name="connsiteY28" fmla="*/ 7574 h 10000"/>
                  <a:gd name="connsiteX29" fmla="*/ 9281 w 10000"/>
                  <a:gd name="connsiteY29" fmla="*/ 7921 h 10000"/>
                  <a:gd name="connsiteX30" fmla="*/ 8921 w 10000"/>
                  <a:gd name="connsiteY30" fmla="*/ 8317 h 10000"/>
                  <a:gd name="connsiteX31" fmla="*/ 8489 w 10000"/>
                  <a:gd name="connsiteY31" fmla="*/ 8663 h 10000"/>
                  <a:gd name="connsiteX32" fmla="*/ 8058 w 10000"/>
                  <a:gd name="connsiteY32" fmla="*/ 9059 h 10000"/>
                  <a:gd name="connsiteX33" fmla="*/ 7554 w 10000"/>
                  <a:gd name="connsiteY33" fmla="*/ 9406 h 10000"/>
                  <a:gd name="connsiteX34" fmla="*/ 6906 w 10000"/>
                  <a:gd name="connsiteY34" fmla="*/ 9703 h 10000"/>
                  <a:gd name="connsiteX35" fmla="*/ 6259 w 10000"/>
                  <a:gd name="connsiteY35" fmla="*/ 10000 h 10000"/>
                  <a:gd name="connsiteX36" fmla="*/ 4101 w 10000"/>
                  <a:gd name="connsiteY36"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928 w 10000"/>
                  <a:gd name="connsiteY24" fmla="*/ 5495 h 10000"/>
                  <a:gd name="connsiteX25" fmla="*/ 10000 w 10000"/>
                  <a:gd name="connsiteY25" fmla="*/ 6287 h 10000"/>
                  <a:gd name="connsiteX26" fmla="*/ 9784 w 10000"/>
                  <a:gd name="connsiteY26" fmla="*/ 7129 h 10000"/>
                  <a:gd name="connsiteX27" fmla="*/ 9568 w 10000"/>
                  <a:gd name="connsiteY27" fmla="*/ 7574 h 10000"/>
                  <a:gd name="connsiteX28" fmla="*/ 9281 w 10000"/>
                  <a:gd name="connsiteY28" fmla="*/ 7921 h 10000"/>
                  <a:gd name="connsiteX29" fmla="*/ 8921 w 10000"/>
                  <a:gd name="connsiteY29" fmla="*/ 8317 h 10000"/>
                  <a:gd name="connsiteX30" fmla="*/ 8489 w 10000"/>
                  <a:gd name="connsiteY30" fmla="*/ 8663 h 10000"/>
                  <a:gd name="connsiteX31" fmla="*/ 8058 w 10000"/>
                  <a:gd name="connsiteY31" fmla="*/ 9059 h 10000"/>
                  <a:gd name="connsiteX32" fmla="*/ 7554 w 10000"/>
                  <a:gd name="connsiteY32" fmla="*/ 9406 h 10000"/>
                  <a:gd name="connsiteX33" fmla="*/ 6906 w 10000"/>
                  <a:gd name="connsiteY33" fmla="*/ 9703 h 10000"/>
                  <a:gd name="connsiteX34" fmla="*/ 6259 w 10000"/>
                  <a:gd name="connsiteY34" fmla="*/ 10000 h 10000"/>
                  <a:gd name="connsiteX35" fmla="*/ 4101 w 10000"/>
                  <a:gd name="connsiteY35" fmla="*/ 10000 h 10000"/>
                  <a:gd name="connsiteX0" fmla="*/ 4101 w 9928"/>
                  <a:gd name="connsiteY0" fmla="*/ 10000 h 10000"/>
                  <a:gd name="connsiteX1" fmla="*/ 4101 w 9928"/>
                  <a:gd name="connsiteY1" fmla="*/ 10000 h 10000"/>
                  <a:gd name="connsiteX2" fmla="*/ 3669 w 9928"/>
                  <a:gd name="connsiteY2" fmla="*/ 9851 h 10000"/>
                  <a:gd name="connsiteX3" fmla="*/ 2878 w 9928"/>
                  <a:gd name="connsiteY3" fmla="*/ 9554 h 10000"/>
                  <a:gd name="connsiteX4" fmla="*/ 1942 w 9928"/>
                  <a:gd name="connsiteY4" fmla="*/ 9059 h 10000"/>
                  <a:gd name="connsiteX5" fmla="*/ 1511 w 9928"/>
                  <a:gd name="connsiteY5" fmla="*/ 8762 h 10000"/>
                  <a:gd name="connsiteX6" fmla="*/ 1079 w 9928"/>
                  <a:gd name="connsiteY6" fmla="*/ 8366 h 10000"/>
                  <a:gd name="connsiteX7" fmla="*/ 647 w 9928"/>
                  <a:gd name="connsiteY7" fmla="*/ 7921 h 10000"/>
                  <a:gd name="connsiteX8" fmla="*/ 288 w 9928"/>
                  <a:gd name="connsiteY8" fmla="*/ 7475 h 10000"/>
                  <a:gd name="connsiteX9" fmla="*/ 72 w 9928"/>
                  <a:gd name="connsiteY9" fmla="*/ 6980 h 10000"/>
                  <a:gd name="connsiteX10" fmla="*/ 0 w 9928"/>
                  <a:gd name="connsiteY10" fmla="*/ 6436 h 10000"/>
                  <a:gd name="connsiteX11" fmla="*/ 72 w 9928"/>
                  <a:gd name="connsiteY11" fmla="*/ 5842 h 10000"/>
                  <a:gd name="connsiteX12" fmla="*/ 288 w 9928"/>
                  <a:gd name="connsiteY12" fmla="*/ 5198 h 10000"/>
                  <a:gd name="connsiteX13" fmla="*/ 863 w 9928"/>
                  <a:gd name="connsiteY13" fmla="*/ 4505 h 10000"/>
                  <a:gd name="connsiteX14" fmla="*/ 1583 w 9928"/>
                  <a:gd name="connsiteY14" fmla="*/ 3762 h 10000"/>
                  <a:gd name="connsiteX15" fmla="*/ 1583 w 9928"/>
                  <a:gd name="connsiteY15" fmla="*/ 3762 h 10000"/>
                  <a:gd name="connsiteX16" fmla="*/ 1942 w 9928"/>
                  <a:gd name="connsiteY16" fmla="*/ 3465 h 10000"/>
                  <a:gd name="connsiteX17" fmla="*/ 2590 w 9928"/>
                  <a:gd name="connsiteY17" fmla="*/ 2723 h 10000"/>
                  <a:gd name="connsiteX18" fmla="*/ 3022 w 9928"/>
                  <a:gd name="connsiteY18" fmla="*/ 2129 h 10000"/>
                  <a:gd name="connsiteX19" fmla="*/ 3309 w 9928"/>
                  <a:gd name="connsiteY19" fmla="*/ 1535 h 10000"/>
                  <a:gd name="connsiteX20" fmla="*/ 3525 w 9928"/>
                  <a:gd name="connsiteY20" fmla="*/ 792 h 10000"/>
                  <a:gd name="connsiteX21" fmla="*/ 3669 w 9928"/>
                  <a:gd name="connsiteY21" fmla="*/ 0 h 10000"/>
                  <a:gd name="connsiteX22" fmla="*/ 3669 w 9928"/>
                  <a:gd name="connsiteY22" fmla="*/ 0 h 10000"/>
                  <a:gd name="connsiteX23" fmla="*/ 4317 w 9928"/>
                  <a:gd name="connsiteY23" fmla="*/ 297 h 10000"/>
                  <a:gd name="connsiteX24" fmla="*/ 9928 w 9928"/>
                  <a:gd name="connsiteY24" fmla="*/ 5495 h 10000"/>
                  <a:gd name="connsiteX25" fmla="*/ 9784 w 9928"/>
                  <a:gd name="connsiteY25" fmla="*/ 7129 h 10000"/>
                  <a:gd name="connsiteX26" fmla="*/ 9568 w 9928"/>
                  <a:gd name="connsiteY26" fmla="*/ 7574 h 10000"/>
                  <a:gd name="connsiteX27" fmla="*/ 9281 w 9928"/>
                  <a:gd name="connsiteY27" fmla="*/ 7921 h 10000"/>
                  <a:gd name="connsiteX28" fmla="*/ 8921 w 9928"/>
                  <a:gd name="connsiteY28" fmla="*/ 8317 h 10000"/>
                  <a:gd name="connsiteX29" fmla="*/ 8489 w 9928"/>
                  <a:gd name="connsiteY29" fmla="*/ 8663 h 10000"/>
                  <a:gd name="connsiteX30" fmla="*/ 8058 w 9928"/>
                  <a:gd name="connsiteY30" fmla="*/ 9059 h 10000"/>
                  <a:gd name="connsiteX31" fmla="*/ 7554 w 9928"/>
                  <a:gd name="connsiteY31" fmla="*/ 9406 h 10000"/>
                  <a:gd name="connsiteX32" fmla="*/ 6906 w 9928"/>
                  <a:gd name="connsiteY32" fmla="*/ 9703 h 10000"/>
                  <a:gd name="connsiteX33" fmla="*/ 6259 w 9928"/>
                  <a:gd name="connsiteY33" fmla="*/ 10000 h 10000"/>
                  <a:gd name="connsiteX34" fmla="*/ 4101 w 9928"/>
                  <a:gd name="connsiteY34"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48 w 10000"/>
                  <a:gd name="connsiteY26" fmla="*/ 7921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33 w 10000"/>
                  <a:gd name="connsiteY26" fmla="*/ 7808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214"/>
                  <a:gd name="connsiteY0" fmla="*/ 10000 h 10000"/>
                  <a:gd name="connsiteX1" fmla="*/ 4131 w 10214"/>
                  <a:gd name="connsiteY1" fmla="*/ 10000 h 10000"/>
                  <a:gd name="connsiteX2" fmla="*/ 3696 w 10214"/>
                  <a:gd name="connsiteY2" fmla="*/ 9851 h 10000"/>
                  <a:gd name="connsiteX3" fmla="*/ 2899 w 10214"/>
                  <a:gd name="connsiteY3" fmla="*/ 9554 h 10000"/>
                  <a:gd name="connsiteX4" fmla="*/ 1956 w 10214"/>
                  <a:gd name="connsiteY4" fmla="*/ 9059 h 10000"/>
                  <a:gd name="connsiteX5" fmla="*/ 1522 w 10214"/>
                  <a:gd name="connsiteY5" fmla="*/ 8762 h 10000"/>
                  <a:gd name="connsiteX6" fmla="*/ 1087 w 10214"/>
                  <a:gd name="connsiteY6" fmla="*/ 8366 h 10000"/>
                  <a:gd name="connsiteX7" fmla="*/ 652 w 10214"/>
                  <a:gd name="connsiteY7" fmla="*/ 7921 h 10000"/>
                  <a:gd name="connsiteX8" fmla="*/ 290 w 10214"/>
                  <a:gd name="connsiteY8" fmla="*/ 7475 h 10000"/>
                  <a:gd name="connsiteX9" fmla="*/ 73 w 10214"/>
                  <a:gd name="connsiteY9" fmla="*/ 6980 h 10000"/>
                  <a:gd name="connsiteX10" fmla="*/ 0 w 10214"/>
                  <a:gd name="connsiteY10" fmla="*/ 6436 h 10000"/>
                  <a:gd name="connsiteX11" fmla="*/ 73 w 10214"/>
                  <a:gd name="connsiteY11" fmla="*/ 5842 h 10000"/>
                  <a:gd name="connsiteX12" fmla="*/ 290 w 10214"/>
                  <a:gd name="connsiteY12" fmla="*/ 5198 h 10000"/>
                  <a:gd name="connsiteX13" fmla="*/ 869 w 10214"/>
                  <a:gd name="connsiteY13" fmla="*/ 4505 h 10000"/>
                  <a:gd name="connsiteX14" fmla="*/ 1594 w 10214"/>
                  <a:gd name="connsiteY14" fmla="*/ 3762 h 10000"/>
                  <a:gd name="connsiteX15" fmla="*/ 1594 w 10214"/>
                  <a:gd name="connsiteY15" fmla="*/ 3762 h 10000"/>
                  <a:gd name="connsiteX16" fmla="*/ 1956 w 10214"/>
                  <a:gd name="connsiteY16" fmla="*/ 3465 h 10000"/>
                  <a:gd name="connsiteX17" fmla="*/ 2609 w 10214"/>
                  <a:gd name="connsiteY17" fmla="*/ 2723 h 10000"/>
                  <a:gd name="connsiteX18" fmla="*/ 3044 w 10214"/>
                  <a:gd name="connsiteY18" fmla="*/ 2129 h 10000"/>
                  <a:gd name="connsiteX19" fmla="*/ 3333 w 10214"/>
                  <a:gd name="connsiteY19" fmla="*/ 1535 h 10000"/>
                  <a:gd name="connsiteX20" fmla="*/ 3551 w 10214"/>
                  <a:gd name="connsiteY20" fmla="*/ 792 h 10000"/>
                  <a:gd name="connsiteX21" fmla="*/ 3696 w 10214"/>
                  <a:gd name="connsiteY21" fmla="*/ 0 h 10000"/>
                  <a:gd name="connsiteX22" fmla="*/ 3696 w 10214"/>
                  <a:gd name="connsiteY22" fmla="*/ 0 h 10000"/>
                  <a:gd name="connsiteX23" fmla="*/ 4348 w 10214"/>
                  <a:gd name="connsiteY23" fmla="*/ 297 h 10000"/>
                  <a:gd name="connsiteX24" fmla="*/ 10000 w 10214"/>
                  <a:gd name="connsiteY24" fmla="*/ 5495 h 10000"/>
                  <a:gd name="connsiteX25" fmla="*/ 8986 w 10214"/>
                  <a:gd name="connsiteY25" fmla="*/ 8317 h 10000"/>
                  <a:gd name="connsiteX26" fmla="*/ 8551 w 10214"/>
                  <a:gd name="connsiteY26" fmla="*/ 8663 h 10000"/>
                  <a:gd name="connsiteX27" fmla="*/ 8116 w 10214"/>
                  <a:gd name="connsiteY27" fmla="*/ 9059 h 10000"/>
                  <a:gd name="connsiteX28" fmla="*/ 7609 w 10214"/>
                  <a:gd name="connsiteY28" fmla="*/ 9406 h 10000"/>
                  <a:gd name="connsiteX29" fmla="*/ 6956 w 10214"/>
                  <a:gd name="connsiteY29" fmla="*/ 9703 h 10000"/>
                  <a:gd name="connsiteX30" fmla="*/ 6304 w 10214"/>
                  <a:gd name="connsiteY30" fmla="*/ 10000 h 10000"/>
                  <a:gd name="connsiteX31" fmla="*/ 4131 w 10214"/>
                  <a:gd name="connsiteY31" fmla="*/ 10000 h 10000"/>
                  <a:gd name="connsiteX0" fmla="*/ 4131 w 10158"/>
                  <a:gd name="connsiteY0" fmla="*/ 10000 h 10000"/>
                  <a:gd name="connsiteX1" fmla="*/ 4131 w 10158"/>
                  <a:gd name="connsiteY1" fmla="*/ 10000 h 10000"/>
                  <a:gd name="connsiteX2" fmla="*/ 3696 w 10158"/>
                  <a:gd name="connsiteY2" fmla="*/ 9851 h 10000"/>
                  <a:gd name="connsiteX3" fmla="*/ 2899 w 10158"/>
                  <a:gd name="connsiteY3" fmla="*/ 9554 h 10000"/>
                  <a:gd name="connsiteX4" fmla="*/ 1956 w 10158"/>
                  <a:gd name="connsiteY4" fmla="*/ 9059 h 10000"/>
                  <a:gd name="connsiteX5" fmla="*/ 1522 w 10158"/>
                  <a:gd name="connsiteY5" fmla="*/ 8762 h 10000"/>
                  <a:gd name="connsiteX6" fmla="*/ 1087 w 10158"/>
                  <a:gd name="connsiteY6" fmla="*/ 8366 h 10000"/>
                  <a:gd name="connsiteX7" fmla="*/ 652 w 10158"/>
                  <a:gd name="connsiteY7" fmla="*/ 7921 h 10000"/>
                  <a:gd name="connsiteX8" fmla="*/ 290 w 10158"/>
                  <a:gd name="connsiteY8" fmla="*/ 7475 h 10000"/>
                  <a:gd name="connsiteX9" fmla="*/ 73 w 10158"/>
                  <a:gd name="connsiteY9" fmla="*/ 6980 h 10000"/>
                  <a:gd name="connsiteX10" fmla="*/ 0 w 10158"/>
                  <a:gd name="connsiteY10" fmla="*/ 6436 h 10000"/>
                  <a:gd name="connsiteX11" fmla="*/ 73 w 10158"/>
                  <a:gd name="connsiteY11" fmla="*/ 5842 h 10000"/>
                  <a:gd name="connsiteX12" fmla="*/ 290 w 10158"/>
                  <a:gd name="connsiteY12" fmla="*/ 5198 h 10000"/>
                  <a:gd name="connsiteX13" fmla="*/ 869 w 10158"/>
                  <a:gd name="connsiteY13" fmla="*/ 4505 h 10000"/>
                  <a:gd name="connsiteX14" fmla="*/ 1594 w 10158"/>
                  <a:gd name="connsiteY14" fmla="*/ 3762 h 10000"/>
                  <a:gd name="connsiteX15" fmla="*/ 1594 w 10158"/>
                  <a:gd name="connsiteY15" fmla="*/ 3762 h 10000"/>
                  <a:gd name="connsiteX16" fmla="*/ 1956 w 10158"/>
                  <a:gd name="connsiteY16" fmla="*/ 3465 h 10000"/>
                  <a:gd name="connsiteX17" fmla="*/ 2609 w 10158"/>
                  <a:gd name="connsiteY17" fmla="*/ 2723 h 10000"/>
                  <a:gd name="connsiteX18" fmla="*/ 3044 w 10158"/>
                  <a:gd name="connsiteY18" fmla="*/ 2129 h 10000"/>
                  <a:gd name="connsiteX19" fmla="*/ 3333 w 10158"/>
                  <a:gd name="connsiteY19" fmla="*/ 1535 h 10000"/>
                  <a:gd name="connsiteX20" fmla="*/ 3551 w 10158"/>
                  <a:gd name="connsiteY20" fmla="*/ 792 h 10000"/>
                  <a:gd name="connsiteX21" fmla="*/ 3696 w 10158"/>
                  <a:gd name="connsiteY21" fmla="*/ 0 h 10000"/>
                  <a:gd name="connsiteX22" fmla="*/ 3696 w 10158"/>
                  <a:gd name="connsiteY22" fmla="*/ 0 h 10000"/>
                  <a:gd name="connsiteX23" fmla="*/ 4348 w 10158"/>
                  <a:gd name="connsiteY23" fmla="*/ 297 h 10000"/>
                  <a:gd name="connsiteX24" fmla="*/ 10000 w 10158"/>
                  <a:gd name="connsiteY24" fmla="*/ 5495 h 10000"/>
                  <a:gd name="connsiteX25" fmla="*/ 8551 w 10158"/>
                  <a:gd name="connsiteY25" fmla="*/ 8663 h 10000"/>
                  <a:gd name="connsiteX26" fmla="*/ 8116 w 10158"/>
                  <a:gd name="connsiteY26" fmla="*/ 9059 h 10000"/>
                  <a:gd name="connsiteX27" fmla="*/ 7609 w 10158"/>
                  <a:gd name="connsiteY27" fmla="*/ 9406 h 10000"/>
                  <a:gd name="connsiteX28" fmla="*/ 6956 w 10158"/>
                  <a:gd name="connsiteY28" fmla="*/ 9703 h 10000"/>
                  <a:gd name="connsiteX29" fmla="*/ 6304 w 10158"/>
                  <a:gd name="connsiteY29" fmla="*/ 10000 h 10000"/>
                  <a:gd name="connsiteX30" fmla="*/ 4131 w 10158"/>
                  <a:gd name="connsiteY30" fmla="*/ 10000 h 10000"/>
                  <a:gd name="connsiteX0" fmla="*/ 4131 w 10115"/>
                  <a:gd name="connsiteY0" fmla="*/ 10000 h 10000"/>
                  <a:gd name="connsiteX1" fmla="*/ 4131 w 10115"/>
                  <a:gd name="connsiteY1" fmla="*/ 10000 h 10000"/>
                  <a:gd name="connsiteX2" fmla="*/ 3696 w 10115"/>
                  <a:gd name="connsiteY2" fmla="*/ 9851 h 10000"/>
                  <a:gd name="connsiteX3" fmla="*/ 2899 w 10115"/>
                  <a:gd name="connsiteY3" fmla="*/ 9554 h 10000"/>
                  <a:gd name="connsiteX4" fmla="*/ 1956 w 10115"/>
                  <a:gd name="connsiteY4" fmla="*/ 9059 h 10000"/>
                  <a:gd name="connsiteX5" fmla="*/ 1522 w 10115"/>
                  <a:gd name="connsiteY5" fmla="*/ 8762 h 10000"/>
                  <a:gd name="connsiteX6" fmla="*/ 1087 w 10115"/>
                  <a:gd name="connsiteY6" fmla="*/ 8366 h 10000"/>
                  <a:gd name="connsiteX7" fmla="*/ 652 w 10115"/>
                  <a:gd name="connsiteY7" fmla="*/ 7921 h 10000"/>
                  <a:gd name="connsiteX8" fmla="*/ 290 w 10115"/>
                  <a:gd name="connsiteY8" fmla="*/ 7475 h 10000"/>
                  <a:gd name="connsiteX9" fmla="*/ 73 w 10115"/>
                  <a:gd name="connsiteY9" fmla="*/ 6980 h 10000"/>
                  <a:gd name="connsiteX10" fmla="*/ 0 w 10115"/>
                  <a:gd name="connsiteY10" fmla="*/ 6436 h 10000"/>
                  <a:gd name="connsiteX11" fmla="*/ 73 w 10115"/>
                  <a:gd name="connsiteY11" fmla="*/ 5842 h 10000"/>
                  <a:gd name="connsiteX12" fmla="*/ 290 w 10115"/>
                  <a:gd name="connsiteY12" fmla="*/ 5198 h 10000"/>
                  <a:gd name="connsiteX13" fmla="*/ 869 w 10115"/>
                  <a:gd name="connsiteY13" fmla="*/ 4505 h 10000"/>
                  <a:gd name="connsiteX14" fmla="*/ 1594 w 10115"/>
                  <a:gd name="connsiteY14" fmla="*/ 3762 h 10000"/>
                  <a:gd name="connsiteX15" fmla="*/ 1594 w 10115"/>
                  <a:gd name="connsiteY15" fmla="*/ 3762 h 10000"/>
                  <a:gd name="connsiteX16" fmla="*/ 1956 w 10115"/>
                  <a:gd name="connsiteY16" fmla="*/ 3465 h 10000"/>
                  <a:gd name="connsiteX17" fmla="*/ 2609 w 10115"/>
                  <a:gd name="connsiteY17" fmla="*/ 2723 h 10000"/>
                  <a:gd name="connsiteX18" fmla="*/ 3044 w 10115"/>
                  <a:gd name="connsiteY18" fmla="*/ 2129 h 10000"/>
                  <a:gd name="connsiteX19" fmla="*/ 3333 w 10115"/>
                  <a:gd name="connsiteY19" fmla="*/ 1535 h 10000"/>
                  <a:gd name="connsiteX20" fmla="*/ 3551 w 10115"/>
                  <a:gd name="connsiteY20" fmla="*/ 792 h 10000"/>
                  <a:gd name="connsiteX21" fmla="*/ 3696 w 10115"/>
                  <a:gd name="connsiteY21" fmla="*/ 0 h 10000"/>
                  <a:gd name="connsiteX22" fmla="*/ 3696 w 10115"/>
                  <a:gd name="connsiteY22" fmla="*/ 0 h 10000"/>
                  <a:gd name="connsiteX23" fmla="*/ 4348 w 10115"/>
                  <a:gd name="connsiteY23" fmla="*/ 297 h 10000"/>
                  <a:gd name="connsiteX24" fmla="*/ 10000 w 10115"/>
                  <a:gd name="connsiteY24" fmla="*/ 5495 h 10000"/>
                  <a:gd name="connsiteX25" fmla="*/ 8116 w 10115"/>
                  <a:gd name="connsiteY25" fmla="*/ 9059 h 10000"/>
                  <a:gd name="connsiteX26" fmla="*/ 7609 w 10115"/>
                  <a:gd name="connsiteY26" fmla="*/ 9406 h 10000"/>
                  <a:gd name="connsiteX27" fmla="*/ 6956 w 10115"/>
                  <a:gd name="connsiteY27" fmla="*/ 9703 h 10000"/>
                  <a:gd name="connsiteX28" fmla="*/ 6304 w 10115"/>
                  <a:gd name="connsiteY28" fmla="*/ 10000 h 10000"/>
                  <a:gd name="connsiteX29" fmla="*/ 4131 w 10115"/>
                  <a:gd name="connsiteY29" fmla="*/ 10000 h 10000"/>
                  <a:gd name="connsiteX0" fmla="*/ 4131 w 10078"/>
                  <a:gd name="connsiteY0" fmla="*/ 10000 h 10000"/>
                  <a:gd name="connsiteX1" fmla="*/ 4131 w 10078"/>
                  <a:gd name="connsiteY1" fmla="*/ 10000 h 10000"/>
                  <a:gd name="connsiteX2" fmla="*/ 3696 w 10078"/>
                  <a:gd name="connsiteY2" fmla="*/ 9851 h 10000"/>
                  <a:gd name="connsiteX3" fmla="*/ 2899 w 10078"/>
                  <a:gd name="connsiteY3" fmla="*/ 9554 h 10000"/>
                  <a:gd name="connsiteX4" fmla="*/ 1956 w 10078"/>
                  <a:gd name="connsiteY4" fmla="*/ 9059 h 10000"/>
                  <a:gd name="connsiteX5" fmla="*/ 1522 w 10078"/>
                  <a:gd name="connsiteY5" fmla="*/ 8762 h 10000"/>
                  <a:gd name="connsiteX6" fmla="*/ 1087 w 10078"/>
                  <a:gd name="connsiteY6" fmla="*/ 8366 h 10000"/>
                  <a:gd name="connsiteX7" fmla="*/ 652 w 10078"/>
                  <a:gd name="connsiteY7" fmla="*/ 7921 h 10000"/>
                  <a:gd name="connsiteX8" fmla="*/ 290 w 10078"/>
                  <a:gd name="connsiteY8" fmla="*/ 7475 h 10000"/>
                  <a:gd name="connsiteX9" fmla="*/ 73 w 10078"/>
                  <a:gd name="connsiteY9" fmla="*/ 6980 h 10000"/>
                  <a:gd name="connsiteX10" fmla="*/ 0 w 10078"/>
                  <a:gd name="connsiteY10" fmla="*/ 6436 h 10000"/>
                  <a:gd name="connsiteX11" fmla="*/ 73 w 10078"/>
                  <a:gd name="connsiteY11" fmla="*/ 5842 h 10000"/>
                  <a:gd name="connsiteX12" fmla="*/ 290 w 10078"/>
                  <a:gd name="connsiteY12" fmla="*/ 5198 h 10000"/>
                  <a:gd name="connsiteX13" fmla="*/ 869 w 10078"/>
                  <a:gd name="connsiteY13" fmla="*/ 4505 h 10000"/>
                  <a:gd name="connsiteX14" fmla="*/ 1594 w 10078"/>
                  <a:gd name="connsiteY14" fmla="*/ 3762 h 10000"/>
                  <a:gd name="connsiteX15" fmla="*/ 1594 w 10078"/>
                  <a:gd name="connsiteY15" fmla="*/ 3762 h 10000"/>
                  <a:gd name="connsiteX16" fmla="*/ 1956 w 10078"/>
                  <a:gd name="connsiteY16" fmla="*/ 3465 h 10000"/>
                  <a:gd name="connsiteX17" fmla="*/ 2609 w 10078"/>
                  <a:gd name="connsiteY17" fmla="*/ 2723 h 10000"/>
                  <a:gd name="connsiteX18" fmla="*/ 3044 w 10078"/>
                  <a:gd name="connsiteY18" fmla="*/ 2129 h 10000"/>
                  <a:gd name="connsiteX19" fmla="*/ 3333 w 10078"/>
                  <a:gd name="connsiteY19" fmla="*/ 1535 h 10000"/>
                  <a:gd name="connsiteX20" fmla="*/ 3551 w 10078"/>
                  <a:gd name="connsiteY20" fmla="*/ 792 h 10000"/>
                  <a:gd name="connsiteX21" fmla="*/ 3696 w 10078"/>
                  <a:gd name="connsiteY21" fmla="*/ 0 h 10000"/>
                  <a:gd name="connsiteX22" fmla="*/ 3696 w 10078"/>
                  <a:gd name="connsiteY22" fmla="*/ 0 h 10000"/>
                  <a:gd name="connsiteX23" fmla="*/ 4348 w 10078"/>
                  <a:gd name="connsiteY23" fmla="*/ 297 h 10000"/>
                  <a:gd name="connsiteX24" fmla="*/ 10000 w 10078"/>
                  <a:gd name="connsiteY24" fmla="*/ 5495 h 10000"/>
                  <a:gd name="connsiteX25" fmla="*/ 7609 w 10078"/>
                  <a:gd name="connsiteY25" fmla="*/ 9406 h 10000"/>
                  <a:gd name="connsiteX26" fmla="*/ 6956 w 10078"/>
                  <a:gd name="connsiteY26" fmla="*/ 9703 h 10000"/>
                  <a:gd name="connsiteX27" fmla="*/ 6304 w 10078"/>
                  <a:gd name="connsiteY27" fmla="*/ 10000 h 10000"/>
                  <a:gd name="connsiteX28" fmla="*/ 4131 w 10078"/>
                  <a:gd name="connsiteY28" fmla="*/ 10000 h 10000"/>
                  <a:gd name="connsiteX0" fmla="*/ 4131 w 10044"/>
                  <a:gd name="connsiteY0" fmla="*/ 10000 h 10000"/>
                  <a:gd name="connsiteX1" fmla="*/ 4131 w 10044"/>
                  <a:gd name="connsiteY1" fmla="*/ 10000 h 10000"/>
                  <a:gd name="connsiteX2" fmla="*/ 3696 w 10044"/>
                  <a:gd name="connsiteY2" fmla="*/ 9851 h 10000"/>
                  <a:gd name="connsiteX3" fmla="*/ 2899 w 10044"/>
                  <a:gd name="connsiteY3" fmla="*/ 9554 h 10000"/>
                  <a:gd name="connsiteX4" fmla="*/ 1956 w 10044"/>
                  <a:gd name="connsiteY4" fmla="*/ 9059 h 10000"/>
                  <a:gd name="connsiteX5" fmla="*/ 1522 w 10044"/>
                  <a:gd name="connsiteY5" fmla="*/ 8762 h 10000"/>
                  <a:gd name="connsiteX6" fmla="*/ 1087 w 10044"/>
                  <a:gd name="connsiteY6" fmla="*/ 8366 h 10000"/>
                  <a:gd name="connsiteX7" fmla="*/ 652 w 10044"/>
                  <a:gd name="connsiteY7" fmla="*/ 7921 h 10000"/>
                  <a:gd name="connsiteX8" fmla="*/ 290 w 10044"/>
                  <a:gd name="connsiteY8" fmla="*/ 7475 h 10000"/>
                  <a:gd name="connsiteX9" fmla="*/ 73 w 10044"/>
                  <a:gd name="connsiteY9" fmla="*/ 6980 h 10000"/>
                  <a:gd name="connsiteX10" fmla="*/ 0 w 10044"/>
                  <a:gd name="connsiteY10" fmla="*/ 6436 h 10000"/>
                  <a:gd name="connsiteX11" fmla="*/ 73 w 10044"/>
                  <a:gd name="connsiteY11" fmla="*/ 5842 h 10000"/>
                  <a:gd name="connsiteX12" fmla="*/ 290 w 10044"/>
                  <a:gd name="connsiteY12" fmla="*/ 5198 h 10000"/>
                  <a:gd name="connsiteX13" fmla="*/ 869 w 10044"/>
                  <a:gd name="connsiteY13" fmla="*/ 4505 h 10000"/>
                  <a:gd name="connsiteX14" fmla="*/ 1594 w 10044"/>
                  <a:gd name="connsiteY14" fmla="*/ 3762 h 10000"/>
                  <a:gd name="connsiteX15" fmla="*/ 1594 w 10044"/>
                  <a:gd name="connsiteY15" fmla="*/ 3762 h 10000"/>
                  <a:gd name="connsiteX16" fmla="*/ 1956 w 10044"/>
                  <a:gd name="connsiteY16" fmla="*/ 3465 h 10000"/>
                  <a:gd name="connsiteX17" fmla="*/ 2609 w 10044"/>
                  <a:gd name="connsiteY17" fmla="*/ 2723 h 10000"/>
                  <a:gd name="connsiteX18" fmla="*/ 3044 w 10044"/>
                  <a:gd name="connsiteY18" fmla="*/ 2129 h 10000"/>
                  <a:gd name="connsiteX19" fmla="*/ 3333 w 10044"/>
                  <a:gd name="connsiteY19" fmla="*/ 1535 h 10000"/>
                  <a:gd name="connsiteX20" fmla="*/ 3551 w 10044"/>
                  <a:gd name="connsiteY20" fmla="*/ 792 h 10000"/>
                  <a:gd name="connsiteX21" fmla="*/ 3696 w 10044"/>
                  <a:gd name="connsiteY21" fmla="*/ 0 h 10000"/>
                  <a:gd name="connsiteX22" fmla="*/ 3696 w 10044"/>
                  <a:gd name="connsiteY22" fmla="*/ 0 h 10000"/>
                  <a:gd name="connsiteX23" fmla="*/ 4348 w 10044"/>
                  <a:gd name="connsiteY23" fmla="*/ 297 h 10000"/>
                  <a:gd name="connsiteX24" fmla="*/ 10000 w 10044"/>
                  <a:gd name="connsiteY24" fmla="*/ 5495 h 10000"/>
                  <a:gd name="connsiteX25" fmla="*/ 6956 w 10044"/>
                  <a:gd name="connsiteY25" fmla="*/ 9703 h 10000"/>
                  <a:gd name="connsiteX26" fmla="*/ 6304 w 10044"/>
                  <a:gd name="connsiteY26" fmla="*/ 10000 h 10000"/>
                  <a:gd name="connsiteX27" fmla="*/ 4131 w 10044"/>
                  <a:gd name="connsiteY27"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4131 w 10024"/>
                  <a:gd name="connsiteY26"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5029 w 10024"/>
                  <a:gd name="connsiteY26" fmla="*/ 9977 h 10000"/>
                  <a:gd name="connsiteX27" fmla="*/ 4131 w 10024"/>
                  <a:gd name="connsiteY27" fmla="*/ 10000 h 10000"/>
                  <a:gd name="connsiteX0" fmla="*/ 4131 w 10002"/>
                  <a:gd name="connsiteY0" fmla="*/ 10000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26" fmla="*/ 4131 w 10002"/>
                  <a:gd name="connsiteY26" fmla="*/ 10000 h 10000"/>
                  <a:gd name="connsiteX0" fmla="*/ 5029 w 10002"/>
                  <a:gd name="connsiteY0" fmla="*/ 9977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3696 w 10002"/>
                  <a:gd name="connsiteY2" fmla="*/ 9851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10000"/>
                  <a:gd name="connsiteX1" fmla="*/ 4131 w 10002"/>
                  <a:gd name="connsiteY1" fmla="*/ 10000 h 10000"/>
                  <a:gd name="connsiteX2" fmla="*/ 3696 w 10002"/>
                  <a:gd name="connsiteY2" fmla="*/ 9851 h 10000"/>
                  <a:gd name="connsiteX3" fmla="*/ 2984 w 10002"/>
                  <a:gd name="connsiteY3" fmla="*/ 9495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2984 w 10002"/>
                  <a:gd name="connsiteY2" fmla="*/ 9495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9977"/>
                  <a:gd name="connsiteX1" fmla="*/ 2984 w 10002"/>
                  <a:gd name="connsiteY1" fmla="*/ 9495 h 9977"/>
                  <a:gd name="connsiteX2" fmla="*/ 1956 w 10002"/>
                  <a:gd name="connsiteY2" fmla="*/ 9059 h 9977"/>
                  <a:gd name="connsiteX3" fmla="*/ 1522 w 10002"/>
                  <a:gd name="connsiteY3" fmla="*/ 8762 h 9977"/>
                  <a:gd name="connsiteX4" fmla="*/ 1087 w 10002"/>
                  <a:gd name="connsiteY4" fmla="*/ 8366 h 9977"/>
                  <a:gd name="connsiteX5" fmla="*/ 652 w 10002"/>
                  <a:gd name="connsiteY5" fmla="*/ 7921 h 9977"/>
                  <a:gd name="connsiteX6" fmla="*/ 290 w 10002"/>
                  <a:gd name="connsiteY6" fmla="*/ 7475 h 9977"/>
                  <a:gd name="connsiteX7" fmla="*/ 73 w 10002"/>
                  <a:gd name="connsiteY7" fmla="*/ 6980 h 9977"/>
                  <a:gd name="connsiteX8" fmla="*/ 0 w 10002"/>
                  <a:gd name="connsiteY8" fmla="*/ 6436 h 9977"/>
                  <a:gd name="connsiteX9" fmla="*/ 73 w 10002"/>
                  <a:gd name="connsiteY9" fmla="*/ 5842 h 9977"/>
                  <a:gd name="connsiteX10" fmla="*/ 290 w 10002"/>
                  <a:gd name="connsiteY10" fmla="*/ 5198 h 9977"/>
                  <a:gd name="connsiteX11" fmla="*/ 869 w 10002"/>
                  <a:gd name="connsiteY11" fmla="*/ 4505 h 9977"/>
                  <a:gd name="connsiteX12" fmla="*/ 1594 w 10002"/>
                  <a:gd name="connsiteY12" fmla="*/ 3762 h 9977"/>
                  <a:gd name="connsiteX13" fmla="*/ 1594 w 10002"/>
                  <a:gd name="connsiteY13" fmla="*/ 3762 h 9977"/>
                  <a:gd name="connsiteX14" fmla="*/ 1956 w 10002"/>
                  <a:gd name="connsiteY14" fmla="*/ 3465 h 9977"/>
                  <a:gd name="connsiteX15" fmla="*/ 2609 w 10002"/>
                  <a:gd name="connsiteY15" fmla="*/ 2723 h 9977"/>
                  <a:gd name="connsiteX16" fmla="*/ 3044 w 10002"/>
                  <a:gd name="connsiteY16" fmla="*/ 2129 h 9977"/>
                  <a:gd name="connsiteX17" fmla="*/ 3333 w 10002"/>
                  <a:gd name="connsiteY17" fmla="*/ 1535 h 9977"/>
                  <a:gd name="connsiteX18" fmla="*/ 3551 w 10002"/>
                  <a:gd name="connsiteY18" fmla="*/ 792 h 9977"/>
                  <a:gd name="connsiteX19" fmla="*/ 3696 w 10002"/>
                  <a:gd name="connsiteY19" fmla="*/ 0 h 9977"/>
                  <a:gd name="connsiteX20" fmla="*/ 3696 w 10002"/>
                  <a:gd name="connsiteY20" fmla="*/ 0 h 9977"/>
                  <a:gd name="connsiteX21" fmla="*/ 4348 w 10002"/>
                  <a:gd name="connsiteY21" fmla="*/ 297 h 9977"/>
                  <a:gd name="connsiteX22" fmla="*/ 10000 w 10002"/>
                  <a:gd name="connsiteY22" fmla="*/ 5495 h 9977"/>
                  <a:gd name="connsiteX23" fmla="*/ 5029 w 10002"/>
                  <a:gd name="connsiteY23" fmla="*/ 9977 h 9977"/>
                  <a:gd name="connsiteX0" fmla="*/ 5028 w 10000"/>
                  <a:gd name="connsiteY0" fmla="*/ 10000 h 10000"/>
                  <a:gd name="connsiteX1" fmla="*/ 1956 w 10000"/>
                  <a:gd name="connsiteY1" fmla="*/ 9080 h 10000"/>
                  <a:gd name="connsiteX2" fmla="*/ 1522 w 10000"/>
                  <a:gd name="connsiteY2" fmla="*/ 8782 h 10000"/>
                  <a:gd name="connsiteX3" fmla="*/ 1087 w 10000"/>
                  <a:gd name="connsiteY3" fmla="*/ 8385 h 10000"/>
                  <a:gd name="connsiteX4" fmla="*/ 652 w 10000"/>
                  <a:gd name="connsiteY4" fmla="*/ 7939 h 10000"/>
                  <a:gd name="connsiteX5" fmla="*/ 290 w 10000"/>
                  <a:gd name="connsiteY5" fmla="*/ 7492 h 10000"/>
                  <a:gd name="connsiteX6" fmla="*/ 73 w 10000"/>
                  <a:gd name="connsiteY6" fmla="*/ 6996 h 10000"/>
                  <a:gd name="connsiteX7" fmla="*/ 0 w 10000"/>
                  <a:gd name="connsiteY7" fmla="*/ 6451 h 10000"/>
                  <a:gd name="connsiteX8" fmla="*/ 73 w 10000"/>
                  <a:gd name="connsiteY8" fmla="*/ 5855 h 10000"/>
                  <a:gd name="connsiteX9" fmla="*/ 290 w 10000"/>
                  <a:gd name="connsiteY9" fmla="*/ 5210 h 10000"/>
                  <a:gd name="connsiteX10" fmla="*/ 869 w 10000"/>
                  <a:gd name="connsiteY10" fmla="*/ 4515 h 10000"/>
                  <a:gd name="connsiteX11" fmla="*/ 1594 w 10000"/>
                  <a:gd name="connsiteY11" fmla="*/ 3771 h 10000"/>
                  <a:gd name="connsiteX12" fmla="*/ 1594 w 10000"/>
                  <a:gd name="connsiteY12" fmla="*/ 3771 h 10000"/>
                  <a:gd name="connsiteX13" fmla="*/ 1956 w 10000"/>
                  <a:gd name="connsiteY13" fmla="*/ 3473 h 10000"/>
                  <a:gd name="connsiteX14" fmla="*/ 2608 w 10000"/>
                  <a:gd name="connsiteY14" fmla="*/ 2729 h 10000"/>
                  <a:gd name="connsiteX15" fmla="*/ 3043 w 10000"/>
                  <a:gd name="connsiteY15" fmla="*/ 2134 h 10000"/>
                  <a:gd name="connsiteX16" fmla="*/ 3332 w 10000"/>
                  <a:gd name="connsiteY16" fmla="*/ 1539 h 10000"/>
                  <a:gd name="connsiteX17" fmla="*/ 3550 w 10000"/>
                  <a:gd name="connsiteY17" fmla="*/ 794 h 10000"/>
                  <a:gd name="connsiteX18" fmla="*/ 3695 w 10000"/>
                  <a:gd name="connsiteY18" fmla="*/ 0 h 10000"/>
                  <a:gd name="connsiteX19" fmla="*/ 3695 w 10000"/>
                  <a:gd name="connsiteY19" fmla="*/ 0 h 10000"/>
                  <a:gd name="connsiteX20" fmla="*/ 4347 w 10000"/>
                  <a:gd name="connsiteY20" fmla="*/ 298 h 10000"/>
                  <a:gd name="connsiteX21" fmla="*/ 9998 w 10000"/>
                  <a:gd name="connsiteY21" fmla="*/ 5508 h 10000"/>
                  <a:gd name="connsiteX22" fmla="*/ 5028 w 10000"/>
                  <a:gd name="connsiteY22" fmla="*/ 10000 h 10000"/>
                  <a:gd name="connsiteX0" fmla="*/ 5028 w 10000"/>
                  <a:gd name="connsiteY0" fmla="*/ 10000 h 10000"/>
                  <a:gd name="connsiteX1" fmla="*/ 1956 w 10000"/>
                  <a:gd name="connsiteY1" fmla="*/ 9080 h 10000"/>
                  <a:gd name="connsiteX2" fmla="*/ 1087 w 10000"/>
                  <a:gd name="connsiteY2" fmla="*/ 8385 h 10000"/>
                  <a:gd name="connsiteX3" fmla="*/ 652 w 10000"/>
                  <a:gd name="connsiteY3" fmla="*/ 7939 h 10000"/>
                  <a:gd name="connsiteX4" fmla="*/ 290 w 10000"/>
                  <a:gd name="connsiteY4" fmla="*/ 7492 h 10000"/>
                  <a:gd name="connsiteX5" fmla="*/ 73 w 10000"/>
                  <a:gd name="connsiteY5" fmla="*/ 6996 h 10000"/>
                  <a:gd name="connsiteX6" fmla="*/ 0 w 10000"/>
                  <a:gd name="connsiteY6" fmla="*/ 6451 h 10000"/>
                  <a:gd name="connsiteX7" fmla="*/ 73 w 10000"/>
                  <a:gd name="connsiteY7" fmla="*/ 5855 h 10000"/>
                  <a:gd name="connsiteX8" fmla="*/ 290 w 10000"/>
                  <a:gd name="connsiteY8" fmla="*/ 5210 h 10000"/>
                  <a:gd name="connsiteX9" fmla="*/ 869 w 10000"/>
                  <a:gd name="connsiteY9" fmla="*/ 4515 h 10000"/>
                  <a:gd name="connsiteX10" fmla="*/ 1594 w 10000"/>
                  <a:gd name="connsiteY10" fmla="*/ 3771 h 10000"/>
                  <a:gd name="connsiteX11" fmla="*/ 1594 w 10000"/>
                  <a:gd name="connsiteY11" fmla="*/ 3771 h 10000"/>
                  <a:gd name="connsiteX12" fmla="*/ 1956 w 10000"/>
                  <a:gd name="connsiteY12" fmla="*/ 3473 h 10000"/>
                  <a:gd name="connsiteX13" fmla="*/ 2608 w 10000"/>
                  <a:gd name="connsiteY13" fmla="*/ 2729 h 10000"/>
                  <a:gd name="connsiteX14" fmla="*/ 3043 w 10000"/>
                  <a:gd name="connsiteY14" fmla="*/ 2134 h 10000"/>
                  <a:gd name="connsiteX15" fmla="*/ 3332 w 10000"/>
                  <a:gd name="connsiteY15" fmla="*/ 1539 h 10000"/>
                  <a:gd name="connsiteX16" fmla="*/ 3550 w 10000"/>
                  <a:gd name="connsiteY16" fmla="*/ 794 h 10000"/>
                  <a:gd name="connsiteX17" fmla="*/ 3695 w 10000"/>
                  <a:gd name="connsiteY17" fmla="*/ 0 h 10000"/>
                  <a:gd name="connsiteX18" fmla="*/ 3695 w 10000"/>
                  <a:gd name="connsiteY18" fmla="*/ 0 h 10000"/>
                  <a:gd name="connsiteX19" fmla="*/ 4347 w 10000"/>
                  <a:gd name="connsiteY19" fmla="*/ 298 h 10000"/>
                  <a:gd name="connsiteX20" fmla="*/ 9998 w 10000"/>
                  <a:gd name="connsiteY20" fmla="*/ 5508 h 10000"/>
                  <a:gd name="connsiteX21" fmla="*/ 5028 w 10000"/>
                  <a:gd name="connsiteY21" fmla="*/ 10000 h 10000"/>
                  <a:gd name="connsiteX0" fmla="*/ 5028 w 10000"/>
                  <a:gd name="connsiteY0" fmla="*/ 10000 h 10000"/>
                  <a:gd name="connsiteX1" fmla="*/ 1087 w 10000"/>
                  <a:gd name="connsiteY1" fmla="*/ 8385 h 10000"/>
                  <a:gd name="connsiteX2" fmla="*/ 652 w 10000"/>
                  <a:gd name="connsiteY2" fmla="*/ 7939 h 10000"/>
                  <a:gd name="connsiteX3" fmla="*/ 290 w 10000"/>
                  <a:gd name="connsiteY3" fmla="*/ 7492 h 10000"/>
                  <a:gd name="connsiteX4" fmla="*/ 73 w 10000"/>
                  <a:gd name="connsiteY4" fmla="*/ 6996 h 10000"/>
                  <a:gd name="connsiteX5" fmla="*/ 0 w 10000"/>
                  <a:gd name="connsiteY5" fmla="*/ 6451 h 10000"/>
                  <a:gd name="connsiteX6" fmla="*/ 73 w 10000"/>
                  <a:gd name="connsiteY6" fmla="*/ 5855 h 10000"/>
                  <a:gd name="connsiteX7" fmla="*/ 290 w 10000"/>
                  <a:gd name="connsiteY7" fmla="*/ 5210 h 10000"/>
                  <a:gd name="connsiteX8" fmla="*/ 869 w 10000"/>
                  <a:gd name="connsiteY8" fmla="*/ 4515 h 10000"/>
                  <a:gd name="connsiteX9" fmla="*/ 1594 w 10000"/>
                  <a:gd name="connsiteY9" fmla="*/ 3771 h 10000"/>
                  <a:gd name="connsiteX10" fmla="*/ 1594 w 10000"/>
                  <a:gd name="connsiteY10" fmla="*/ 3771 h 10000"/>
                  <a:gd name="connsiteX11" fmla="*/ 1956 w 10000"/>
                  <a:gd name="connsiteY11" fmla="*/ 3473 h 10000"/>
                  <a:gd name="connsiteX12" fmla="*/ 2608 w 10000"/>
                  <a:gd name="connsiteY12" fmla="*/ 2729 h 10000"/>
                  <a:gd name="connsiteX13" fmla="*/ 3043 w 10000"/>
                  <a:gd name="connsiteY13" fmla="*/ 2134 h 10000"/>
                  <a:gd name="connsiteX14" fmla="*/ 3332 w 10000"/>
                  <a:gd name="connsiteY14" fmla="*/ 1539 h 10000"/>
                  <a:gd name="connsiteX15" fmla="*/ 3550 w 10000"/>
                  <a:gd name="connsiteY15" fmla="*/ 794 h 10000"/>
                  <a:gd name="connsiteX16" fmla="*/ 3695 w 10000"/>
                  <a:gd name="connsiteY16" fmla="*/ 0 h 10000"/>
                  <a:gd name="connsiteX17" fmla="*/ 3695 w 10000"/>
                  <a:gd name="connsiteY17" fmla="*/ 0 h 10000"/>
                  <a:gd name="connsiteX18" fmla="*/ 4347 w 10000"/>
                  <a:gd name="connsiteY18" fmla="*/ 298 h 10000"/>
                  <a:gd name="connsiteX19" fmla="*/ 9998 w 10000"/>
                  <a:gd name="connsiteY19" fmla="*/ 5508 h 10000"/>
                  <a:gd name="connsiteX20" fmla="*/ 5028 w 10000"/>
                  <a:gd name="connsiteY20" fmla="*/ 10000 h 10000"/>
                  <a:gd name="connsiteX0" fmla="*/ 5028 w 10000"/>
                  <a:gd name="connsiteY0" fmla="*/ 10000 h 10000"/>
                  <a:gd name="connsiteX1" fmla="*/ 652 w 10000"/>
                  <a:gd name="connsiteY1" fmla="*/ 7939 h 10000"/>
                  <a:gd name="connsiteX2" fmla="*/ 290 w 10000"/>
                  <a:gd name="connsiteY2" fmla="*/ 7492 h 10000"/>
                  <a:gd name="connsiteX3" fmla="*/ 73 w 10000"/>
                  <a:gd name="connsiteY3" fmla="*/ 6996 h 10000"/>
                  <a:gd name="connsiteX4" fmla="*/ 0 w 10000"/>
                  <a:gd name="connsiteY4" fmla="*/ 6451 h 10000"/>
                  <a:gd name="connsiteX5" fmla="*/ 73 w 10000"/>
                  <a:gd name="connsiteY5" fmla="*/ 5855 h 10000"/>
                  <a:gd name="connsiteX6" fmla="*/ 290 w 10000"/>
                  <a:gd name="connsiteY6" fmla="*/ 5210 h 10000"/>
                  <a:gd name="connsiteX7" fmla="*/ 869 w 10000"/>
                  <a:gd name="connsiteY7" fmla="*/ 4515 h 10000"/>
                  <a:gd name="connsiteX8" fmla="*/ 1594 w 10000"/>
                  <a:gd name="connsiteY8" fmla="*/ 3771 h 10000"/>
                  <a:gd name="connsiteX9" fmla="*/ 1594 w 10000"/>
                  <a:gd name="connsiteY9" fmla="*/ 3771 h 10000"/>
                  <a:gd name="connsiteX10" fmla="*/ 1956 w 10000"/>
                  <a:gd name="connsiteY10" fmla="*/ 3473 h 10000"/>
                  <a:gd name="connsiteX11" fmla="*/ 2608 w 10000"/>
                  <a:gd name="connsiteY11" fmla="*/ 2729 h 10000"/>
                  <a:gd name="connsiteX12" fmla="*/ 3043 w 10000"/>
                  <a:gd name="connsiteY12" fmla="*/ 2134 h 10000"/>
                  <a:gd name="connsiteX13" fmla="*/ 3332 w 10000"/>
                  <a:gd name="connsiteY13" fmla="*/ 1539 h 10000"/>
                  <a:gd name="connsiteX14" fmla="*/ 3550 w 10000"/>
                  <a:gd name="connsiteY14" fmla="*/ 794 h 10000"/>
                  <a:gd name="connsiteX15" fmla="*/ 3695 w 10000"/>
                  <a:gd name="connsiteY15" fmla="*/ 0 h 10000"/>
                  <a:gd name="connsiteX16" fmla="*/ 3695 w 10000"/>
                  <a:gd name="connsiteY16" fmla="*/ 0 h 10000"/>
                  <a:gd name="connsiteX17" fmla="*/ 4347 w 10000"/>
                  <a:gd name="connsiteY17" fmla="*/ 298 h 10000"/>
                  <a:gd name="connsiteX18" fmla="*/ 9998 w 10000"/>
                  <a:gd name="connsiteY18" fmla="*/ 5508 h 10000"/>
                  <a:gd name="connsiteX19" fmla="*/ 5028 w 10000"/>
                  <a:gd name="connsiteY19" fmla="*/ 10000 h 10000"/>
                  <a:gd name="connsiteX0" fmla="*/ 5028 w 10000"/>
                  <a:gd name="connsiteY0" fmla="*/ 10000 h 10000"/>
                  <a:gd name="connsiteX1" fmla="*/ 290 w 10000"/>
                  <a:gd name="connsiteY1" fmla="*/ 7492 h 10000"/>
                  <a:gd name="connsiteX2" fmla="*/ 73 w 10000"/>
                  <a:gd name="connsiteY2" fmla="*/ 6996 h 10000"/>
                  <a:gd name="connsiteX3" fmla="*/ 0 w 10000"/>
                  <a:gd name="connsiteY3" fmla="*/ 6451 h 10000"/>
                  <a:gd name="connsiteX4" fmla="*/ 73 w 10000"/>
                  <a:gd name="connsiteY4" fmla="*/ 5855 h 10000"/>
                  <a:gd name="connsiteX5" fmla="*/ 290 w 10000"/>
                  <a:gd name="connsiteY5" fmla="*/ 5210 h 10000"/>
                  <a:gd name="connsiteX6" fmla="*/ 869 w 10000"/>
                  <a:gd name="connsiteY6" fmla="*/ 4515 h 10000"/>
                  <a:gd name="connsiteX7" fmla="*/ 1594 w 10000"/>
                  <a:gd name="connsiteY7" fmla="*/ 3771 h 10000"/>
                  <a:gd name="connsiteX8" fmla="*/ 1594 w 10000"/>
                  <a:gd name="connsiteY8" fmla="*/ 3771 h 10000"/>
                  <a:gd name="connsiteX9" fmla="*/ 1956 w 10000"/>
                  <a:gd name="connsiteY9" fmla="*/ 3473 h 10000"/>
                  <a:gd name="connsiteX10" fmla="*/ 2608 w 10000"/>
                  <a:gd name="connsiteY10" fmla="*/ 2729 h 10000"/>
                  <a:gd name="connsiteX11" fmla="*/ 3043 w 10000"/>
                  <a:gd name="connsiteY11" fmla="*/ 2134 h 10000"/>
                  <a:gd name="connsiteX12" fmla="*/ 3332 w 10000"/>
                  <a:gd name="connsiteY12" fmla="*/ 1539 h 10000"/>
                  <a:gd name="connsiteX13" fmla="*/ 3550 w 10000"/>
                  <a:gd name="connsiteY13" fmla="*/ 794 h 10000"/>
                  <a:gd name="connsiteX14" fmla="*/ 3695 w 10000"/>
                  <a:gd name="connsiteY14" fmla="*/ 0 h 10000"/>
                  <a:gd name="connsiteX15" fmla="*/ 3695 w 10000"/>
                  <a:gd name="connsiteY15" fmla="*/ 0 h 10000"/>
                  <a:gd name="connsiteX16" fmla="*/ 4347 w 10000"/>
                  <a:gd name="connsiteY16" fmla="*/ 298 h 10000"/>
                  <a:gd name="connsiteX17" fmla="*/ 9998 w 10000"/>
                  <a:gd name="connsiteY17" fmla="*/ 5508 h 10000"/>
                  <a:gd name="connsiteX18" fmla="*/ 5028 w 10000"/>
                  <a:gd name="connsiteY18" fmla="*/ 10000 h 10000"/>
                  <a:gd name="connsiteX0" fmla="*/ 5028 w 10000"/>
                  <a:gd name="connsiteY0" fmla="*/ 10000 h 10000"/>
                  <a:gd name="connsiteX1" fmla="*/ 73 w 10000"/>
                  <a:gd name="connsiteY1" fmla="*/ 6996 h 10000"/>
                  <a:gd name="connsiteX2" fmla="*/ 0 w 10000"/>
                  <a:gd name="connsiteY2" fmla="*/ 6451 h 10000"/>
                  <a:gd name="connsiteX3" fmla="*/ 73 w 10000"/>
                  <a:gd name="connsiteY3" fmla="*/ 5855 h 10000"/>
                  <a:gd name="connsiteX4" fmla="*/ 290 w 10000"/>
                  <a:gd name="connsiteY4" fmla="*/ 5210 h 10000"/>
                  <a:gd name="connsiteX5" fmla="*/ 869 w 10000"/>
                  <a:gd name="connsiteY5" fmla="*/ 4515 h 10000"/>
                  <a:gd name="connsiteX6" fmla="*/ 1594 w 10000"/>
                  <a:gd name="connsiteY6" fmla="*/ 3771 h 10000"/>
                  <a:gd name="connsiteX7" fmla="*/ 1594 w 10000"/>
                  <a:gd name="connsiteY7" fmla="*/ 3771 h 10000"/>
                  <a:gd name="connsiteX8" fmla="*/ 1956 w 10000"/>
                  <a:gd name="connsiteY8" fmla="*/ 3473 h 10000"/>
                  <a:gd name="connsiteX9" fmla="*/ 2608 w 10000"/>
                  <a:gd name="connsiteY9" fmla="*/ 2729 h 10000"/>
                  <a:gd name="connsiteX10" fmla="*/ 3043 w 10000"/>
                  <a:gd name="connsiteY10" fmla="*/ 2134 h 10000"/>
                  <a:gd name="connsiteX11" fmla="*/ 3332 w 10000"/>
                  <a:gd name="connsiteY11" fmla="*/ 1539 h 10000"/>
                  <a:gd name="connsiteX12" fmla="*/ 3550 w 10000"/>
                  <a:gd name="connsiteY12" fmla="*/ 794 h 10000"/>
                  <a:gd name="connsiteX13" fmla="*/ 3695 w 10000"/>
                  <a:gd name="connsiteY13" fmla="*/ 0 h 10000"/>
                  <a:gd name="connsiteX14" fmla="*/ 3695 w 10000"/>
                  <a:gd name="connsiteY14" fmla="*/ 0 h 10000"/>
                  <a:gd name="connsiteX15" fmla="*/ 4347 w 10000"/>
                  <a:gd name="connsiteY15" fmla="*/ 298 h 10000"/>
                  <a:gd name="connsiteX16" fmla="*/ 9998 w 10000"/>
                  <a:gd name="connsiteY16" fmla="*/ 5508 h 10000"/>
                  <a:gd name="connsiteX17" fmla="*/ 5028 w 10000"/>
                  <a:gd name="connsiteY17" fmla="*/ 10000 h 10000"/>
                  <a:gd name="connsiteX0" fmla="*/ 5028 w 10000"/>
                  <a:gd name="connsiteY0" fmla="*/ 10000 h 10000"/>
                  <a:gd name="connsiteX1" fmla="*/ 0 w 10000"/>
                  <a:gd name="connsiteY1" fmla="*/ 6451 h 10000"/>
                  <a:gd name="connsiteX2" fmla="*/ 73 w 10000"/>
                  <a:gd name="connsiteY2" fmla="*/ 5855 h 10000"/>
                  <a:gd name="connsiteX3" fmla="*/ 290 w 10000"/>
                  <a:gd name="connsiteY3" fmla="*/ 5210 h 10000"/>
                  <a:gd name="connsiteX4" fmla="*/ 869 w 10000"/>
                  <a:gd name="connsiteY4" fmla="*/ 4515 h 10000"/>
                  <a:gd name="connsiteX5" fmla="*/ 1594 w 10000"/>
                  <a:gd name="connsiteY5" fmla="*/ 3771 h 10000"/>
                  <a:gd name="connsiteX6" fmla="*/ 1594 w 10000"/>
                  <a:gd name="connsiteY6" fmla="*/ 3771 h 10000"/>
                  <a:gd name="connsiteX7" fmla="*/ 1956 w 10000"/>
                  <a:gd name="connsiteY7" fmla="*/ 3473 h 10000"/>
                  <a:gd name="connsiteX8" fmla="*/ 2608 w 10000"/>
                  <a:gd name="connsiteY8" fmla="*/ 2729 h 10000"/>
                  <a:gd name="connsiteX9" fmla="*/ 3043 w 10000"/>
                  <a:gd name="connsiteY9" fmla="*/ 2134 h 10000"/>
                  <a:gd name="connsiteX10" fmla="*/ 3332 w 10000"/>
                  <a:gd name="connsiteY10" fmla="*/ 1539 h 10000"/>
                  <a:gd name="connsiteX11" fmla="*/ 3550 w 10000"/>
                  <a:gd name="connsiteY11" fmla="*/ 794 h 10000"/>
                  <a:gd name="connsiteX12" fmla="*/ 3695 w 10000"/>
                  <a:gd name="connsiteY12" fmla="*/ 0 h 10000"/>
                  <a:gd name="connsiteX13" fmla="*/ 3695 w 10000"/>
                  <a:gd name="connsiteY13" fmla="*/ 0 h 10000"/>
                  <a:gd name="connsiteX14" fmla="*/ 4347 w 10000"/>
                  <a:gd name="connsiteY14" fmla="*/ 298 h 10000"/>
                  <a:gd name="connsiteX15" fmla="*/ 9998 w 10000"/>
                  <a:gd name="connsiteY15" fmla="*/ 5508 h 10000"/>
                  <a:gd name="connsiteX16" fmla="*/ 5028 w 10000"/>
                  <a:gd name="connsiteY16" fmla="*/ 10000 h 10000"/>
                  <a:gd name="connsiteX0" fmla="*/ 4955 w 9927"/>
                  <a:gd name="connsiteY0" fmla="*/ 10000 h 10000"/>
                  <a:gd name="connsiteX1" fmla="*/ 0 w 9927"/>
                  <a:gd name="connsiteY1" fmla="*/ 5855 h 10000"/>
                  <a:gd name="connsiteX2" fmla="*/ 217 w 9927"/>
                  <a:gd name="connsiteY2" fmla="*/ 5210 h 10000"/>
                  <a:gd name="connsiteX3" fmla="*/ 796 w 9927"/>
                  <a:gd name="connsiteY3" fmla="*/ 4515 h 10000"/>
                  <a:gd name="connsiteX4" fmla="*/ 1521 w 9927"/>
                  <a:gd name="connsiteY4" fmla="*/ 3771 h 10000"/>
                  <a:gd name="connsiteX5" fmla="*/ 1521 w 9927"/>
                  <a:gd name="connsiteY5" fmla="*/ 3771 h 10000"/>
                  <a:gd name="connsiteX6" fmla="*/ 1883 w 9927"/>
                  <a:gd name="connsiteY6" fmla="*/ 3473 h 10000"/>
                  <a:gd name="connsiteX7" fmla="*/ 2535 w 9927"/>
                  <a:gd name="connsiteY7" fmla="*/ 2729 h 10000"/>
                  <a:gd name="connsiteX8" fmla="*/ 2970 w 9927"/>
                  <a:gd name="connsiteY8" fmla="*/ 2134 h 10000"/>
                  <a:gd name="connsiteX9" fmla="*/ 3259 w 9927"/>
                  <a:gd name="connsiteY9" fmla="*/ 1539 h 10000"/>
                  <a:gd name="connsiteX10" fmla="*/ 3477 w 9927"/>
                  <a:gd name="connsiteY10" fmla="*/ 794 h 10000"/>
                  <a:gd name="connsiteX11" fmla="*/ 3622 w 9927"/>
                  <a:gd name="connsiteY11" fmla="*/ 0 h 10000"/>
                  <a:gd name="connsiteX12" fmla="*/ 3622 w 9927"/>
                  <a:gd name="connsiteY12" fmla="*/ 0 h 10000"/>
                  <a:gd name="connsiteX13" fmla="*/ 4274 w 9927"/>
                  <a:gd name="connsiteY13" fmla="*/ 298 h 10000"/>
                  <a:gd name="connsiteX14" fmla="*/ 9925 w 9927"/>
                  <a:gd name="connsiteY14" fmla="*/ 5508 h 10000"/>
                  <a:gd name="connsiteX15" fmla="*/ 4955 w 9927"/>
                  <a:gd name="connsiteY15" fmla="*/ 10000 h 10000"/>
                  <a:gd name="connsiteX0" fmla="*/ 4991 w 10000"/>
                  <a:gd name="connsiteY0" fmla="*/ 10000 h 10000"/>
                  <a:gd name="connsiteX1" fmla="*/ 0 w 10000"/>
                  <a:gd name="connsiteY1" fmla="*/ 5855 h 10000"/>
                  <a:gd name="connsiteX2" fmla="*/ 802 w 10000"/>
                  <a:gd name="connsiteY2" fmla="*/ 4515 h 10000"/>
                  <a:gd name="connsiteX3" fmla="*/ 1532 w 10000"/>
                  <a:gd name="connsiteY3" fmla="*/ 3771 h 10000"/>
                  <a:gd name="connsiteX4" fmla="*/ 1532 w 10000"/>
                  <a:gd name="connsiteY4" fmla="*/ 3771 h 10000"/>
                  <a:gd name="connsiteX5" fmla="*/ 1897 w 10000"/>
                  <a:gd name="connsiteY5" fmla="*/ 3473 h 10000"/>
                  <a:gd name="connsiteX6" fmla="*/ 2554 w 10000"/>
                  <a:gd name="connsiteY6" fmla="*/ 2729 h 10000"/>
                  <a:gd name="connsiteX7" fmla="*/ 2992 w 10000"/>
                  <a:gd name="connsiteY7" fmla="*/ 2134 h 10000"/>
                  <a:gd name="connsiteX8" fmla="*/ 3283 w 10000"/>
                  <a:gd name="connsiteY8" fmla="*/ 1539 h 10000"/>
                  <a:gd name="connsiteX9" fmla="*/ 3503 w 10000"/>
                  <a:gd name="connsiteY9" fmla="*/ 794 h 10000"/>
                  <a:gd name="connsiteX10" fmla="*/ 3649 w 10000"/>
                  <a:gd name="connsiteY10" fmla="*/ 0 h 10000"/>
                  <a:gd name="connsiteX11" fmla="*/ 3649 w 10000"/>
                  <a:gd name="connsiteY11" fmla="*/ 0 h 10000"/>
                  <a:gd name="connsiteX12" fmla="*/ 4305 w 10000"/>
                  <a:gd name="connsiteY12" fmla="*/ 298 h 10000"/>
                  <a:gd name="connsiteX13" fmla="*/ 9998 w 10000"/>
                  <a:gd name="connsiteY13" fmla="*/ 5508 h 10000"/>
                  <a:gd name="connsiteX14" fmla="*/ 4991 w 10000"/>
                  <a:gd name="connsiteY14" fmla="*/ 10000 h 10000"/>
                  <a:gd name="connsiteX0" fmla="*/ 4991 w 10000"/>
                  <a:gd name="connsiteY0" fmla="*/ 10000 h 10000"/>
                  <a:gd name="connsiteX1" fmla="*/ 0 w 10000"/>
                  <a:gd name="connsiteY1" fmla="*/ 5855 h 10000"/>
                  <a:gd name="connsiteX2" fmla="*/ 1532 w 10000"/>
                  <a:gd name="connsiteY2" fmla="*/ 3771 h 10000"/>
                  <a:gd name="connsiteX3" fmla="*/ 1532 w 10000"/>
                  <a:gd name="connsiteY3" fmla="*/ 3771 h 10000"/>
                  <a:gd name="connsiteX4" fmla="*/ 1897 w 10000"/>
                  <a:gd name="connsiteY4" fmla="*/ 3473 h 10000"/>
                  <a:gd name="connsiteX5" fmla="*/ 2554 w 10000"/>
                  <a:gd name="connsiteY5" fmla="*/ 2729 h 10000"/>
                  <a:gd name="connsiteX6" fmla="*/ 2992 w 10000"/>
                  <a:gd name="connsiteY6" fmla="*/ 2134 h 10000"/>
                  <a:gd name="connsiteX7" fmla="*/ 3283 w 10000"/>
                  <a:gd name="connsiteY7" fmla="*/ 1539 h 10000"/>
                  <a:gd name="connsiteX8" fmla="*/ 3503 w 10000"/>
                  <a:gd name="connsiteY8" fmla="*/ 794 h 10000"/>
                  <a:gd name="connsiteX9" fmla="*/ 3649 w 10000"/>
                  <a:gd name="connsiteY9" fmla="*/ 0 h 10000"/>
                  <a:gd name="connsiteX10" fmla="*/ 3649 w 10000"/>
                  <a:gd name="connsiteY10" fmla="*/ 0 h 10000"/>
                  <a:gd name="connsiteX11" fmla="*/ 4305 w 10000"/>
                  <a:gd name="connsiteY11" fmla="*/ 298 h 10000"/>
                  <a:gd name="connsiteX12" fmla="*/ 9998 w 10000"/>
                  <a:gd name="connsiteY12" fmla="*/ 5508 h 10000"/>
                  <a:gd name="connsiteX13" fmla="*/ 4991 w 10000"/>
                  <a:gd name="connsiteY13" fmla="*/ 10000 h 10000"/>
                  <a:gd name="connsiteX0" fmla="*/ 4991 w 10000"/>
                  <a:gd name="connsiteY0" fmla="*/ 10000 h 10000"/>
                  <a:gd name="connsiteX1" fmla="*/ 0 w 10000"/>
                  <a:gd name="connsiteY1" fmla="*/ 5855 h 10000"/>
                  <a:gd name="connsiteX2" fmla="*/ 1532 w 10000"/>
                  <a:gd name="connsiteY2" fmla="*/ 3771 h 10000"/>
                  <a:gd name="connsiteX3" fmla="*/ 1897 w 10000"/>
                  <a:gd name="connsiteY3" fmla="*/ 3473 h 10000"/>
                  <a:gd name="connsiteX4" fmla="*/ 2554 w 10000"/>
                  <a:gd name="connsiteY4" fmla="*/ 2729 h 10000"/>
                  <a:gd name="connsiteX5" fmla="*/ 2992 w 10000"/>
                  <a:gd name="connsiteY5" fmla="*/ 2134 h 10000"/>
                  <a:gd name="connsiteX6" fmla="*/ 3283 w 10000"/>
                  <a:gd name="connsiteY6" fmla="*/ 1539 h 10000"/>
                  <a:gd name="connsiteX7" fmla="*/ 3503 w 10000"/>
                  <a:gd name="connsiteY7" fmla="*/ 794 h 10000"/>
                  <a:gd name="connsiteX8" fmla="*/ 3649 w 10000"/>
                  <a:gd name="connsiteY8" fmla="*/ 0 h 10000"/>
                  <a:gd name="connsiteX9" fmla="*/ 3649 w 10000"/>
                  <a:gd name="connsiteY9" fmla="*/ 0 h 10000"/>
                  <a:gd name="connsiteX10" fmla="*/ 4305 w 10000"/>
                  <a:gd name="connsiteY10" fmla="*/ 298 h 10000"/>
                  <a:gd name="connsiteX11" fmla="*/ 9998 w 10000"/>
                  <a:gd name="connsiteY11" fmla="*/ 5508 h 10000"/>
                  <a:gd name="connsiteX12" fmla="*/ 4991 w 10000"/>
                  <a:gd name="connsiteY12" fmla="*/ 10000 h 10000"/>
                  <a:gd name="connsiteX0" fmla="*/ 4991 w 10000"/>
                  <a:gd name="connsiteY0" fmla="*/ 10000 h 10000"/>
                  <a:gd name="connsiteX1" fmla="*/ 0 w 10000"/>
                  <a:gd name="connsiteY1" fmla="*/ 5855 h 10000"/>
                  <a:gd name="connsiteX2" fmla="*/ 1532 w 10000"/>
                  <a:gd name="connsiteY2" fmla="*/ 3771 h 10000"/>
                  <a:gd name="connsiteX3" fmla="*/ 2554 w 10000"/>
                  <a:gd name="connsiteY3" fmla="*/ 2729 h 10000"/>
                  <a:gd name="connsiteX4" fmla="*/ 2992 w 10000"/>
                  <a:gd name="connsiteY4" fmla="*/ 2134 h 10000"/>
                  <a:gd name="connsiteX5" fmla="*/ 3283 w 10000"/>
                  <a:gd name="connsiteY5" fmla="*/ 1539 h 10000"/>
                  <a:gd name="connsiteX6" fmla="*/ 3503 w 10000"/>
                  <a:gd name="connsiteY6" fmla="*/ 794 h 10000"/>
                  <a:gd name="connsiteX7" fmla="*/ 3649 w 10000"/>
                  <a:gd name="connsiteY7" fmla="*/ 0 h 10000"/>
                  <a:gd name="connsiteX8" fmla="*/ 3649 w 10000"/>
                  <a:gd name="connsiteY8" fmla="*/ 0 h 10000"/>
                  <a:gd name="connsiteX9" fmla="*/ 4305 w 10000"/>
                  <a:gd name="connsiteY9" fmla="*/ 298 h 10000"/>
                  <a:gd name="connsiteX10" fmla="*/ 9998 w 10000"/>
                  <a:gd name="connsiteY10" fmla="*/ 5508 h 10000"/>
                  <a:gd name="connsiteX11" fmla="*/ 4991 w 10000"/>
                  <a:gd name="connsiteY11" fmla="*/ 10000 h 10000"/>
                  <a:gd name="connsiteX0" fmla="*/ 4991 w 10000"/>
                  <a:gd name="connsiteY0" fmla="*/ 10000 h 10000"/>
                  <a:gd name="connsiteX1" fmla="*/ 0 w 10000"/>
                  <a:gd name="connsiteY1" fmla="*/ 5855 h 10000"/>
                  <a:gd name="connsiteX2" fmla="*/ 2554 w 10000"/>
                  <a:gd name="connsiteY2" fmla="*/ 2729 h 10000"/>
                  <a:gd name="connsiteX3" fmla="*/ 2992 w 10000"/>
                  <a:gd name="connsiteY3" fmla="*/ 2134 h 10000"/>
                  <a:gd name="connsiteX4" fmla="*/ 3283 w 10000"/>
                  <a:gd name="connsiteY4" fmla="*/ 1539 h 10000"/>
                  <a:gd name="connsiteX5" fmla="*/ 3503 w 10000"/>
                  <a:gd name="connsiteY5" fmla="*/ 794 h 10000"/>
                  <a:gd name="connsiteX6" fmla="*/ 3649 w 10000"/>
                  <a:gd name="connsiteY6" fmla="*/ 0 h 10000"/>
                  <a:gd name="connsiteX7" fmla="*/ 3649 w 10000"/>
                  <a:gd name="connsiteY7" fmla="*/ 0 h 10000"/>
                  <a:gd name="connsiteX8" fmla="*/ 4305 w 10000"/>
                  <a:gd name="connsiteY8" fmla="*/ 298 h 10000"/>
                  <a:gd name="connsiteX9" fmla="*/ 9998 w 10000"/>
                  <a:gd name="connsiteY9" fmla="*/ 5508 h 10000"/>
                  <a:gd name="connsiteX10" fmla="*/ 4991 w 10000"/>
                  <a:gd name="connsiteY10" fmla="*/ 10000 h 10000"/>
                  <a:gd name="connsiteX0" fmla="*/ 4991 w 10000"/>
                  <a:gd name="connsiteY0" fmla="*/ 10000 h 10000"/>
                  <a:gd name="connsiteX1" fmla="*/ 0 w 10000"/>
                  <a:gd name="connsiteY1" fmla="*/ 5855 h 10000"/>
                  <a:gd name="connsiteX2" fmla="*/ 2992 w 10000"/>
                  <a:gd name="connsiteY2" fmla="*/ 2134 h 10000"/>
                  <a:gd name="connsiteX3" fmla="*/ 3283 w 10000"/>
                  <a:gd name="connsiteY3" fmla="*/ 1539 h 10000"/>
                  <a:gd name="connsiteX4" fmla="*/ 3503 w 10000"/>
                  <a:gd name="connsiteY4" fmla="*/ 794 h 10000"/>
                  <a:gd name="connsiteX5" fmla="*/ 3649 w 10000"/>
                  <a:gd name="connsiteY5" fmla="*/ 0 h 10000"/>
                  <a:gd name="connsiteX6" fmla="*/ 3649 w 10000"/>
                  <a:gd name="connsiteY6" fmla="*/ 0 h 10000"/>
                  <a:gd name="connsiteX7" fmla="*/ 4305 w 10000"/>
                  <a:gd name="connsiteY7" fmla="*/ 298 h 10000"/>
                  <a:gd name="connsiteX8" fmla="*/ 9998 w 10000"/>
                  <a:gd name="connsiteY8" fmla="*/ 5508 h 10000"/>
                  <a:gd name="connsiteX9" fmla="*/ 4991 w 10000"/>
                  <a:gd name="connsiteY9" fmla="*/ 10000 h 10000"/>
                  <a:gd name="connsiteX0" fmla="*/ 4991 w 10000"/>
                  <a:gd name="connsiteY0" fmla="*/ 10000 h 10000"/>
                  <a:gd name="connsiteX1" fmla="*/ 0 w 10000"/>
                  <a:gd name="connsiteY1" fmla="*/ 5855 h 10000"/>
                  <a:gd name="connsiteX2" fmla="*/ 3283 w 10000"/>
                  <a:gd name="connsiteY2" fmla="*/ 1539 h 10000"/>
                  <a:gd name="connsiteX3" fmla="*/ 3503 w 10000"/>
                  <a:gd name="connsiteY3" fmla="*/ 794 h 10000"/>
                  <a:gd name="connsiteX4" fmla="*/ 3649 w 10000"/>
                  <a:gd name="connsiteY4" fmla="*/ 0 h 10000"/>
                  <a:gd name="connsiteX5" fmla="*/ 3649 w 10000"/>
                  <a:gd name="connsiteY5" fmla="*/ 0 h 10000"/>
                  <a:gd name="connsiteX6" fmla="*/ 4305 w 10000"/>
                  <a:gd name="connsiteY6" fmla="*/ 298 h 10000"/>
                  <a:gd name="connsiteX7" fmla="*/ 9998 w 10000"/>
                  <a:gd name="connsiteY7" fmla="*/ 5508 h 10000"/>
                  <a:gd name="connsiteX8" fmla="*/ 4991 w 10000"/>
                  <a:gd name="connsiteY8" fmla="*/ 10000 h 10000"/>
                  <a:gd name="connsiteX0" fmla="*/ 4991 w 10000"/>
                  <a:gd name="connsiteY0" fmla="*/ 10000 h 10000"/>
                  <a:gd name="connsiteX1" fmla="*/ 0 w 10000"/>
                  <a:gd name="connsiteY1" fmla="*/ 5855 h 10000"/>
                  <a:gd name="connsiteX2" fmla="*/ 3503 w 10000"/>
                  <a:gd name="connsiteY2" fmla="*/ 794 h 10000"/>
                  <a:gd name="connsiteX3" fmla="*/ 3649 w 10000"/>
                  <a:gd name="connsiteY3" fmla="*/ 0 h 10000"/>
                  <a:gd name="connsiteX4" fmla="*/ 3649 w 10000"/>
                  <a:gd name="connsiteY4" fmla="*/ 0 h 10000"/>
                  <a:gd name="connsiteX5" fmla="*/ 4305 w 10000"/>
                  <a:gd name="connsiteY5" fmla="*/ 298 h 10000"/>
                  <a:gd name="connsiteX6" fmla="*/ 9998 w 10000"/>
                  <a:gd name="connsiteY6" fmla="*/ 5508 h 10000"/>
                  <a:gd name="connsiteX7" fmla="*/ 4991 w 10000"/>
                  <a:gd name="connsiteY7"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4305 w 10000"/>
                  <a:gd name="connsiteY4" fmla="*/ 298 h 10000"/>
                  <a:gd name="connsiteX5" fmla="*/ 9998 w 10000"/>
                  <a:gd name="connsiteY5" fmla="*/ 5508 h 10000"/>
                  <a:gd name="connsiteX6" fmla="*/ 4991 w 10000"/>
                  <a:gd name="connsiteY6"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9998 w 10000"/>
                  <a:gd name="connsiteY4" fmla="*/ 5508 h 10000"/>
                  <a:gd name="connsiteX5" fmla="*/ 4991 w 10000"/>
                  <a:gd name="connsiteY5" fmla="*/ 10000 h 10000"/>
                  <a:gd name="connsiteX0" fmla="*/ 4991 w 10004"/>
                  <a:gd name="connsiteY0" fmla="*/ 10000 h 10000"/>
                  <a:gd name="connsiteX1" fmla="*/ 0 w 10004"/>
                  <a:gd name="connsiteY1" fmla="*/ 5855 h 10000"/>
                  <a:gd name="connsiteX2" fmla="*/ 3649 w 10004"/>
                  <a:gd name="connsiteY2" fmla="*/ 0 h 10000"/>
                  <a:gd name="connsiteX3" fmla="*/ 3649 w 10004"/>
                  <a:gd name="connsiteY3" fmla="*/ 0 h 10000"/>
                  <a:gd name="connsiteX4" fmla="*/ 9998 w 10004"/>
                  <a:gd name="connsiteY4" fmla="*/ 5508 h 10000"/>
                  <a:gd name="connsiteX5" fmla="*/ 4991 w 10004"/>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77 w 10090"/>
                  <a:gd name="connsiteY0" fmla="*/ 10000 h 10000"/>
                  <a:gd name="connsiteX1" fmla="*/ 86 w 10090"/>
                  <a:gd name="connsiteY1" fmla="*/ 5855 h 10000"/>
                  <a:gd name="connsiteX2" fmla="*/ 3735 w 10090"/>
                  <a:gd name="connsiteY2" fmla="*/ 0 h 10000"/>
                  <a:gd name="connsiteX3" fmla="*/ 3735 w 10090"/>
                  <a:gd name="connsiteY3" fmla="*/ 0 h 10000"/>
                  <a:gd name="connsiteX4" fmla="*/ 10084 w 10090"/>
                  <a:gd name="connsiteY4" fmla="*/ 5508 h 10000"/>
                  <a:gd name="connsiteX5" fmla="*/ 5077 w 10090"/>
                  <a:gd name="connsiteY5" fmla="*/ 10000 h 10000"/>
                  <a:gd name="connsiteX0" fmla="*/ 5060 w 10073"/>
                  <a:gd name="connsiteY0" fmla="*/ 10000 h 10000"/>
                  <a:gd name="connsiteX1" fmla="*/ 69 w 10073"/>
                  <a:gd name="connsiteY1" fmla="*/ 5855 h 10000"/>
                  <a:gd name="connsiteX2" fmla="*/ 3718 w 10073"/>
                  <a:gd name="connsiteY2" fmla="*/ 0 h 10000"/>
                  <a:gd name="connsiteX3" fmla="*/ 3718 w 10073"/>
                  <a:gd name="connsiteY3" fmla="*/ 0 h 10000"/>
                  <a:gd name="connsiteX4" fmla="*/ 10067 w 10073"/>
                  <a:gd name="connsiteY4" fmla="*/ 5508 h 10000"/>
                  <a:gd name="connsiteX5" fmla="*/ 5060 w 10073"/>
                  <a:gd name="connsiteY5" fmla="*/ 10000 h 10000"/>
                  <a:gd name="connsiteX0" fmla="*/ 4956 w 9965"/>
                  <a:gd name="connsiteY0" fmla="*/ 10000 h 10000"/>
                  <a:gd name="connsiteX1" fmla="*/ 36 w 9965"/>
                  <a:gd name="connsiteY1" fmla="*/ 5565 h 10000"/>
                  <a:gd name="connsiteX2" fmla="*/ 3614 w 9965"/>
                  <a:gd name="connsiteY2" fmla="*/ 0 h 10000"/>
                  <a:gd name="connsiteX3" fmla="*/ 3614 w 9965"/>
                  <a:gd name="connsiteY3" fmla="*/ 0 h 10000"/>
                  <a:gd name="connsiteX4" fmla="*/ 9963 w 9965"/>
                  <a:gd name="connsiteY4" fmla="*/ 5508 h 10000"/>
                  <a:gd name="connsiteX5" fmla="*/ 4956 w 9965"/>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37"/>
                  <a:gd name="connsiteY0" fmla="*/ 10000 h 10001"/>
                  <a:gd name="connsiteX1" fmla="*/ 171 w 10137"/>
                  <a:gd name="connsiteY1" fmla="*/ 5565 h 10001"/>
                  <a:gd name="connsiteX2" fmla="*/ 3762 w 10137"/>
                  <a:gd name="connsiteY2" fmla="*/ 0 h 10001"/>
                  <a:gd name="connsiteX3" fmla="*/ 4332 w 10137"/>
                  <a:gd name="connsiteY3" fmla="*/ 580 h 10001"/>
                  <a:gd name="connsiteX4" fmla="*/ 10133 w 10137"/>
                  <a:gd name="connsiteY4" fmla="*/ 5508 h 10001"/>
                  <a:gd name="connsiteX5" fmla="*/ 5108 w 10137"/>
                  <a:gd name="connsiteY5" fmla="*/ 10000 h 10001"/>
                  <a:gd name="connsiteX0" fmla="*/ 5108 w 10151"/>
                  <a:gd name="connsiteY0" fmla="*/ 10145 h 10146"/>
                  <a:gd name="connsiteX1" fmla="*/ 171 w 10151"/>
                  <a:gd name="connsiteY1" fmla="*/ 5710 h 10146"/>
                  <a:gd name="connsiteX2" fmla="*/ 3762 w 10151"/>
                  <a:gd name="connsiteY2" fmla="*/ 145 h 10146"/>
                  <a:gd name="connsiteX3" fmla="*/ 6685 w 10151"/>
                  <a:gd name="connsiteY3" fmla="*/ 0 h 10146"/>
                  <a:gd name="connsiteX4" fmla="*/ 10133 w 10151"/>
                  <a:gd name="connsiteY4" fmla="*/ 5653 h 10146"/>
                  <a:gd name="connsiteX5" fmla="*/ 5108 w 10151"/>
                  <a:gd name="connsiteY5" fmla="*/ 10145 h 10146"/>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46"/>
                  <a:gd name="connsiteY0" fmla="*/ 10000 h 10001"/>
                  <a:gd name="connsiteX1" fmla="*/ 171 w 10146"/>
                  <a:gd name="connsiteY1" fmla="*/ 5565 h 10001"/>
                  <a:gd name="connsiteX2" fmla="*/ 3762 w 10146"/>
                  <a:gd name="connsiteY2" fmla="*/ 0 h 10001"/>
                  <a:gd name="connsiteX3" fmla="*/ 10133 w 10146"/>
                  <a:gd name="connsiteY3" fmla="*/ 5508 h 10001"/>
                  <a:gd name="connsiteX4" fmla="*/ 5108 w 10146"/>
                  <a:gd name="connsiteY4" fmla="*/ 10000 h 10001"/>
                  <a:gd name="connsiteX0" fmla="*/ 5108 w 10135"/>
                  <a:gd name="connsiteY0" fmla="*/ 10000 h 10001"/>
                  <a:gd name="connsiteX1" fmla="*/ 171 w 10135"/>
                  <a:gd name="connsiteY1" fmla="*/ 5565 h 10001"/>
                  <a:gd name="connsiteX2" fmla="*/ 3762 w 10135"/>
                  <a:gd name="connsiteY2" fmla="*/ 0 h 10001"/>
                  <a:gd name="connsiteX3" fmla="*/ 10133 w 10135"/>
                  <a:gd name="connsiteY3" fmla="*/ 5508 h 10001"/>
                  <a:gd name="connsiteX4" fmla="*/ 5108 w 10135"/>
                  <a:gd name="connsiteY4" fmla="*/ 10000 h 10001"/>
                  <a:gd name="connsiteX0" fmla="*/ 5108 w 10139"/>
                  <a:gd name="connsiteY0" fmla="*/ 10000 h 10001"/>
                  <a:gd name="connsiteX1" fmla="*/ 171 w 10139"/>
                  <a:gd name="connsiteY1" fmla="*/ 5565 h 10001"/>
                  <a:gd name="connsiteX2" fmla="*/ 3762 w 10139"/>
                  <a:gd name="connsiteY2" fmla="*/ 0 h 10001"/>
                  <a:gd name="connsiteX3" fmla="*/ 10133 w 10139"/>
                  <a:gd name="connsiteY3" fmla="*/ 5508 h 10001"/>
                  <a:gd name="connsiteX4" fmla="*/ 5108 w 10139"/>
                  <a:gd name="connsiteY4" fmla="*/ 10000 h 10001"/>
                  <a:gd name="connsiteX0" fmla="*/ 5108 w 10164"/>
                  <a:gd name="connsiteY0" fmla="*/ 10000 h 10001"/>
                  <a:gd name="connsiteX1" fmla="*/ 171 w 10164"/>
                  <a:gd name="connsiteY1" fmla="*/ 5565 h 10001"/>
                  <a:gd name="connsiteX2" fmla="*/ 3762 w 10164"/>
                  <a:gd name="connsiteY2" fmla="*/ 0 h 10001"/>
                  <a:gd name="connsiteX3" fmla="*/ 10133 w 10164"/>
                  <a:gd name="connsiteY3" fmla="*/ 5508 h 10001"/>
                  <a:gd name="connsiteX4" fmla="*/ 5108 w 10164"/>
                  <a:gd name="connsiteY4" fmla="*/ 10000 h 10001"/>
                  <a:gd name="connsiteX0" fmla="*/ 5088 w 10139"/>
                  <a:gd name="connsiteY0" fmla="*/ 10000 h 10000"/>
                  <a:gd name="connsiteX1" fmla="*/ 151 w 10139"/>
                  <a:gd name="connsiteY1" fmla="*/ 5565 h 10000"/>
                  <a:gd name="connsiteX2" fmla="*/ 3742 w 10139"/>
                  <a:gd name="connsiteY2" fmla="*/ 0 h 10000"/>
                  <a:gd name="connsiteX3" fmla="*/ 10113 w 10139"/>
                  <a:gd name="connsiteY3" fmla="*/ 5605 h 10000"/>
                  <a:gd name="connsiteX4" fmla="*/ 5088 w 10139"/>
                  <a:gd name="connsiteY4" fmla="*/ 10000 h 10000"/>
                  <a:gd name="connsiteX0" fmla="*/ 5088 w 10173"/>
                  <a:gd name="connsiteY0" fmla="*/ 10000 h 10000"/>
                  <a:gd name="connsiteX1" fmla="*/ 151 w 10173"/>
                  <a:gd name="connsiteY1" fmla="*/ 5565 h 10000"/>
                  <a:gd name="connsiteX2" fmla="*/ 3742 w 10173"/>
                  <a:gd name="connsiteY2" fmla="*/ 0 h 10000"/>
                  <a:gd name="connsiteX3" fmla="*/ 10113 w 10173"/>
                  <a:gd name="connsiteY3" fmla="*/ 5605 h 10000"/>
                  <a:gd name="connsiteX4" fmla="*/ 5088 w 10173"/>
                  <a:gd name="connsiteY4" fmla="*/ 10000 h 10000"/>
                  <a:gd name="connsiteX0" fmla="*/ 5108 w 10202"/>
                  <a:gd name="connsiteY0" fmla="*/ 10000 h 10000"/>
                  <a:gd name="connsiteX1" fmla="*/ 171 w 10202"/>
                  <a:gd name="connsiteY1" fmla="*/ 5565 h 10000"/>
                  <a:gd name="connsiteX2" fmla="*/ 3762 w 10202"/>
                  <a:gd name="connsiteY2" fmla="*/ 0 h 10000"/>
                  <a:gd name="connsiteX3" fmla="*/ 10133 w 10202"/>
                  <a:gd name="connsiteY3" fmla="*/ 5605 h 10000"/>
                  <a:gd name="connsiteX4" fmla="*/ 5108 w 10202"/>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2" h="10000">
                    <a:moveTo>
                      <a:pt x="5108" y="10000"/>
                    </a:moveTo>
                    <a:cubicBezTo>
                      <a:pt x="2806" y="10041"/>
                      <a:pt x="-834" y="8097"/>
                      <a:pt x="171" y="5565"/>
                    </a:cubicBezTo>
                    <a:cubicBezTo>
                      <a:pt x="1176" y="3033"/>
                      <a:pt x="4038" y="3160"/>
                      <a:pt x="3762" y="0"/>
                    </a:cubicBezTo>
                    <a:cubicBezTo>
                      <a:pt x="6670" y="1353"/>
                      <a:pt x="9540" y="2513"/>
                      <a:pt x="10133" y="5605"/>
                    </a:cubicBezTo>
                    <a:cubicBezTo>
                      <a:pt x="10726" y="8697"/>
                      <a:pt x="7410" y="9959"/>
                      <a:pt x="5108" y="10000"/>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a:p>
            </p:txBody>
          </p:sp>
          <p:sp>
            <p:nvSpPr>
              <p:cNvPr id="38" name="Freeform 514">
                <a:extLst>
                  <a:ext uri="{FF2B5EF4-FFF2-40B4-BE49-F238E27FC236}">
                    <a16:creationId xmlns:a16="http://schemas.microsoft.com/office/drawing/2014/main" id="{3E37F146-C33F-4CD4-97D9-3A8DC825E466}"/>
                  </a:ext>
                </a:extLst>
              </p:cNvPr>
              <p:cNvSpPr>
                <a:spLocks/>
              </p:cNvSpPr>
              <p:nvPr/>
            </p:nvSpPr>
            <p:spPr bwMode="gray">
              <a:xfrm>
                <a:off x="8353646" y="5444755"/>
                <a:ext cx="24235" cy="35062"/>
              </a:xfrm>
              <a:custGeom>
                <a:avLst/>
                <a:gdLst>
                  <a:gd name="T0" fmla="*/ 57 w 139"/>
                  <a:gd name="T1" fmla="*/ 202 h 202"/>
                  <a:gd name="T2" fmla="*/ 57 w 139"/>
                  <a:gd name="T3" fmla="*/ 202 h 202"/>
                  <a:gd name="T4" fmla="*/ 51 w 139"/>
                  <a:gd name="T5" fmla="*/ 199 h 202"/>
                  <a:gd name="T6" fmla="*/ 40 w 139"/>
                  <a:gd name="T7" fmla="*/ 193 h 202"/>
                  <a:gd name="T8" fmla="*/ 27 w 139"/>
                  <a:gd name="T9" fmla="*/ 183 h 202"/>
                  <a:gd name="T10" fmla="*/ 21 w 139"/>
                  <a:gd name="T11" fmla="*/ 177 h 202"/>
                  <a:gd name="T12" fmla="*/ 15 w 139"/>
                  <a:gd name="T13" fmla="*/ 169 h 202"/>
                  <a:gd name="T14" fmla="*/ 9 w 139"/>
                  <a:gd name="T15" fmla="*/ 160 h 202"/>
                  <a:gd name="T16" fmla="*/ 4 w 139"/>
                  <a:gd name="T17" fmla="*/ 151 h 202"/>
                  <a:gd name="T18" fmla="*/ 1 w 139"/>
                  <a:gd name="T19" fmla="*/ 141 h 202"/>
                  <a:gd name="T20" fmla="*/ 0 w 139"/>
                  <a:gd name="T21" fmla="*/ 130 h 202"/>
                  <a:gd name="T22" fmla="*/ 1 w 139"/>
                  <a:gd name="T23" fmla="*/ 118 h 202"/>
                  <a:gd name="T24" fmla="*/ 4 w 139"/>
                  <a:gd name="T25" fmla="*/ 105 h 202"/>
                  <a:gd name="T26" fmla="*/ 12 w 139"/>
                  <a:gd name="T27" fmla="*/ 91 h 202"/>
                  <a:gd name="T28" fmla="*/ 22 w 139"/>
                  <a:gd name="T29" fmla="*/ 76 h 202"/>
                  <a:gd name="T30" fmla="*/ 22 w 139"/>
                  <a:gd name="T31" fmla="*/ 76 h 202"/>
                  <a:gd name="T32" fmla="*/ 27 w 139"/>
                  <a:gd name="T33" fmla="*/ 70 h 202"/>
                  <a:gd name="T34" fmla="*/ 36 w 139"/>
                  <a:gd name="T35" fmla="*/ 55 h 202"/>
                  <a:gd name="T36" fmla="*/ 42 w 139"/>
                  <a:gd name="T37" fmla="*/ 43 h 202"/>
                  <a:gd name="T38" fmla="*/ 46 w 139"/>
                  <a:gd name="T39" fmla="*/ 31 h 202"/>
                  <a:gd name="T40" fmla="*/ 49 w 139"/>
                  <a:gd name="T41" fmla="*/ 16 h 202"/>
                  <a:gd name="T42" fmla="*/ 51 w 139"/>
                  <a:gd name="T43" fmla="*/ 0 h 202"/>
                  <a:gd name="T44" fmla="*/ 51 w 139"/>
                  <a:gd name="T45" fmla="*/ 0 h 202"/>
                  <a:gd name="T46" fmla="*/ 60 w 139"/>
                  <a:gd name="T47" fmla="*/ 6 h 202"/>
                  <a:gd name="T48" fmla="*/ 81 w 139"/>
                  <a:gd name="T49" fmla="*/ 22 h 202"/>
                  <a:gd name="T50" fmla="*/ 93 w 139"/>
                  <a:gd name="T51" fmla="*/ 34 h 202"/>
                  <a:gd name="T52" fmla="*/ 106 w 139"/>
                  <a:gd name="T53" fmla="*/ 46 h 202"/>
                  <a:gd name="T54" fmla="*/ 117 w 139"/>
                  <a:gd name="T55" fmla="*/ 61 h 202"/>
                  <a:gd name="T56" fmla="*/ 127 w 139"/>
                  <a:gd name="T57" fmla="*/ 76 h 202"/>
                  <a:gd name="T58" fmla="*/ 127 w 139"/>
                  <a:gd name="T59" fmla="*/ 76 h 202"/>
                  <a:gd name="T60" fmla="*/ 135 w 139"/>
                  <a:gd name="T61" fmla="*/ 93 h 202"/>
                  <a:gd name="T62" fmla="*/ 138 w 139"/>
                  <a:gd name="T63" fmla="*/ 111 h 202"/>
                  <a:gd name="T64" fmla="*/ 139 w 139"/>
                  <a:gd name="T65" fmla="*/ 127 h 202"/>
                  <a:gd name="T66" fmla="*/ 136 w 139"/>
                  <a:gd name="T67" fmla="*/ 144 h 202"/>
                  <a:gd name="T68" fmla="*/ 133 w 139"/>
                  <a:gd name="T69" fmla="*/ 153 h 202"/>
                  <a:gd name="T70" fmla="*/ 129 w 139"/>
                  <a:gd name="T71" fmla="*/ 160 h 202"/>
                  <a:gd name="T72" fmla="*/ 124 w 139"/>
                  <a:gd name="T73" fmla="*/ 168 h 202"/>
                  <a:gd name="T74" fmla="*/ 118 w 139"/>
                  <a:gd name="T75" fmla="*/ 175 h 202"/>
                  <a:gd name="T76" fmla="*/ 112 w 139"/>
                  <a:gd name="T77" fmla="*/ 183 h 202"/>
                  <a:gd name="T78" fmla="*/ 105 w 139"/>
                  <a:gd name="T79" fmla="*/ 190 h 202"/>
                  <a:gd name="T80" fmla="*/ 96 w 139"/>
                  <a:gd name="T81" fmla="*/ 196 h 202"/>
                  <a:gd name="T82" fmla="*/ 87 w 139"/>
                  <a:gd name="T83" fmla="*/ 202 h 202"/>
                  <a:gd name="T84" fmla="*/ 57 w 139"/>
                  <a:gd name="T85" fmla="*/ 202 h 202"/>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8417 w 10000"/>
                  <a:gd name="connsiteY27" fmla="*/ 3020 h 10000"/>
                  <a:gd name="connsiteX28" fmla="*/ 9137 w 10000"/>
                  <a:gd name="connsiteY28" fmla="*/ 3762 h 10000"/>
                  <a:gd name="connsiteX29" fmla="*/ 9712 w 10000"/>
                  <a:gd name="connsiteY29" fmla="*/ 4604 h 10000"/>
                  <a:gd name="connsiteX30" fmla="*/ 9928 w 10000"/>
                  <a:gd name="connsiteY30" fmla="*/ 5495 h 10000"/>
                  <a:gd name="connsiteX31" fmla="*/ 10000 w 10000"/>
                  <a:gd name="connsiteY31" fmla="*/ 6287 h 10000"/>
                  <a:gd name="connsiteX32" fmla="*/ 9784 w 10000"/>
                  <a:gd name="connsiteY32" fmla="*/ 7129 h 10000"/>
                  <a:gd name="connsiteX33" fmla="*/ 9568 w 10000"/>
                  <a:gd name="connsiteY33" fmla="*/ 7574 h 10000"/>
                  <a:gd name="connsiteX34" fmla="*/ 9281 w 10000"/>
                  <a:gd name="connsiteY34" fmla="*/ 7921 h 10000"/>
                  <a:gd name="connsiteX35" fmla="*/ 8921 w 10000"/>
                  <a:gd name="connsiteY35" fmla="*/ 8317 h 10000"/>
                  <a:gd name="connsiteX36" fmla="*/ 8489 w 10000"/>
                  <a:gd name="connsiteY36" fmla="*/ 8663 h 10000"/>
                  <a:gd name="connsiteX37" fmla="*/ 8058 w 10000"/>
                  <a:gd name="connsiteY37" fmla="*/ 9059 h 10000"/>
                  <a:gd name="connsiteX38" fmla="*/ 7554 w 10000"/>
                  <a:gd name="connsiteY38" fmla="*/ 9406 h 10000"/>
                  <a:gd name="connsiteX39" fmla="*/ 6906 w 10000"/>
                  <a:gd name="connsiteY39" fmla="*/ 9703 h 10000"/>
                  <a:gd name="connsiteX40" fmla="*/ 6259 w 10000"/>
                  <a:gd name="connsiteY40" fmla="*/ 10000 h 10000"/>
                  <a:gd name="connsiteX41" fmla="*/ 4101 w 10000"/>
                  <a:gd name="connsiteY41"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7626 w 10000"/>
                  <a:gd name="connsiteY26" fmla="*/ 2277 h 10000"/>
                  <a:gd name="connsiteX27" fmla="*/ 9137 w 10000"/>
                  <a:gd name="connsiteY27" fmla="*/ 3762 h 10000"/>
                  <a:gd name="connsiteX28" fmla="*/ 9712 w 10000"/>
                  <a:gd name="connsiteY28" fmla="*/ 4604 h 10000"/>
                  <a:gd name="connsiteX29" fmla="*/ 9928 w 10000"/>
                  <a:gd name="connsiteY29" fmla="*/ 5495 h 10000"/>
                  <a:gd name="connsiteX30" fmla="*/ 10000 w 10000"/>
                  <a:gd name="connsiteY30" fmla="*/ 6287 h 10000"/>
                  <a:gd name="connsiteX31" fmla="*/ 9784 w 10000"/>
                  <a:gd name="connsiteY31" fmla="*/ 7129 h 10000"/>
                  <a:gd name="connsiteX32" fmla="*/ 9568 w 10000"/>
                  <a:gd name="connsiteY32" fmla="*/ 7574 h 10000"/>
                  <a:gd name="connsiteX33" fmla="*/ 9281 w 10000"/>
                  <a:gd name="connsiteY33" fmla="*/ 7921 h 10000"/>
                  <a:gd name="connsiteX34" fmla="*/ 8921 w 10000"/>
                  <a:gd name="connsiteY34" fmla="*/ 8317 h 10000"/>
                  <a:gd name="connsiteX35" fmla="*/ 8489 w 10000"/>
                  <a:gd name="connsiteY35" fmla="*/ 8663 h 10000"/>
                  <a:gd name="connsiteX36" fmla="*/ 8058 w 10000"/>
                  <a:gd name="connsiteY36" fmla="*/ 9059 h 10000"/>
                  <a:gd name="connsiteX37" fmla="*/ 7554 w 10000"/>
                  <a:gd name="connsiteY37" fmla="*/ 9406 h 10000"/>
                  <a:gd name="connsiteX38" fmla="*/ 6906 w 10000"/>
                  <a:gd name="connsiteY38" fmla="*/ 9703 h 10000"/>
                  <a:gd name="connsiteX39" fmla="*/ 6259 w 10000"/>
                  <a:gd name="connsiteY39" fmla="*/ 10000 h 10000"/>
                  <a:gd name="connsiteX40" fmla="*/ 4101 w 10000"/>
                  <a:gd name="connsiteY40"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6691 w 10000"/>
                  <a:gd name="connsiteY25" fmla="*/ 1683 h 10000"/>
                  <a:gd name="connsiteX26" fmla="*/ 9137 w 10000"/>
                  <a:gd name="connsiteY26" fmla="*/ 3762 h 10000"/>
                  <a:gd name="connsiteX27" fmla="*/ 9712 w 10000"/>
                  <a:gd name="connsiteY27" fmla="*/ 4604 h 10000"/>
                  <a:gd name="connsiteX28" fmla="*/ 9928 w 10000"/>
                  <a:gd name="connsiteY28" fmla="*/ 5495 h 10000"/>
                  <a:gd name="connsiteX29" fmla="*/ 10000 w 10000"/>
                  <a:gd name="connsiteY29" fmla="*/ 6287 h 10000"/>
                  <a:gd name="connsiteX30" fmla="*/ 9784 w 10000"/>
                  <a:gd name="connsiteY30" fmla="*/ 7129 h 10000"/>
                  <a:gd name="connsiteX31" fmla="*/ 9568 w 10000"/>
                  <a:gd name="connsiteY31" fmla="*/ 7574 h 10000"/>
                  <a:gd name="connsiteX32" fmla="*/ 9281 w 10000"/>
                  <a:gd name="connsiteY32" fmla="*/ 7921 h 10000"/>
                  <a:gd name="connsiteX33" fmla="*/ 8921 w 10000"/>
                  <a:gd name="connsiteY33" fmla="*/ 8317 h 10000"/>
                  <a:gd name="connsiteX34" fmla="*/ 8489 w 10000"/>
                  <a:gd name="connsiteY34" fmla="*/ 8663 h 10000"/>
                  <a:gd name="connsiteX35" fmla="*/ 8058 w 10000"/>
                  <a:gd name="connsiteY35" fmla="*/ 9059 h 10000"/>
                  <a:gd name="connsiteX36" fmla="*/ 7554 w 10000"/>
                  <a:gd name="connsiteY36" fmla="*/ 9406 h 10000"/>
                  <a:gd name="connsiteX37" fmla="*/ 6906 w 10000"/>
                  <a:gd name="connsiteY37" fmla="*/ 9703 h 10000"/>
                  <a:gd name="connsiteX38" fmla="*/ 6259 w 10000"/>
                  <a:gd name="connsiteY38" fmla="*/ 10000 h 10000"/>
                  <a:gd name="connsiteX39" fmla="*/ 4101 w 10000"/>
                  <a:gd name="connsiteY39"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5827 w 10000"/>
                  <a:gd name="connsiteY24" fmla="*/ 1089 h 10000"/>
                  <a:gd name="connsiteX25" fmla="*/ 9137 w 10000"/>
                  <a:gd name="connsiteY25" fmla="*/ 3762 h 10000"/>
                  <a:gd name="connsiteX26" fmla="*/ 9712 w 10000"/>
                  <a:gd name="connsiteY26" fmla="*/ 4604 h 10000"/>
                  <a:gd name="connsiteX27" fmla="*/ 9928 w 10000"/>
                  <a:gd name="connsiteY27" fmla="*/ 5495 h 10000"/>
                  <a:gd name="connsiteX28" fmla="*/ 10000 w 10000"/>
                  <a:gd name="connsiteY28" fmla="*/ 6287 h 10000"/>
                  <a:gd name="connsiteX29" fmla="*/ 9784 w 10000"/>
                  <a:gd name="connsiteY29" fmla="*/ 7129 h 10000"/>
                  <a:gd name="connsiteX30" fmla="*/ 9568 w 10000"/>
                  <a:gd name="connsiteY30" fmla="*/ 7574 h 10000"/>
                  <a:gd name="connsiteX31" fmla="*/ 9281 w 10000"/>
                  <a:gd name="connsiteY31" fmla="*/ 7921 h 10000"/>
                  <a:gd name="connsiteX32" fmla="*/ 8921 w 10000"/>
                  <a:gd name="connsiteY32" fmla="*/ 8317 h 10000"/>
                  <a:gd name="connsiteX33" fmla="*/ 8489 w 10000"/>
                  <a:gd name="connsiteY33" fmla="*/ 8663 h 10000"/>
                  <a:gd name="connsiteX34" fmla="*/ 8058 w 10000"/>
                  <a:gd name="connsiteY34" fmla="*/ 9059 h 10000"/>
                  <a:gd name="connsiteX35" fmla="*/ 7554 w 10000"/>
                  <a:gd name="connsiteY35" fmla="*/ 9406 h 10000"/>
                  <a:gd name="connsiteX36" fmla="*/ 6906 w 10000"/>
                  <a:gd name="connsiteY36" fmla="*/ 9703 h 10000"/>
                  <a:gd name="connsiteX37" fmla="*/ 6259 w 10000"/>
                  <a:gd name="connsiteY37" fmla="*/ 10000 h 10000"/>
                  <a:gd name="connsiteX38" fmla="*/ 4101 w 10000"/>
                  <a:gd name="connsiteY38"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712 w 10000"/>
                  <a:gd name="connsiteY25" fmla="*/ 4604 h 10000"/>
                  <a:gd name="connsiteX26" fmla="*/ 9928 w 10000"/>
                  <a:gd name="connsiteY26" fmla="*/ 5495 h 10000"/>
                  <a:gd name="connsiteX27" fmla="*/ 10000 w 10000"/>
                  <a:gd name="connsiteY27" fmla="*/ 6287 h 10000"/>
                  <a:gd name="connsiteX28" fmla="*/ 9784 w 10000"/>
                  <a:gd name="connsiteY28" fmla="*/ 7129 h 10000"/>
                  <a:gd name="connsiteX29" fmla="*/ 9568 w 10000"/>
                  <a:gd name="connsiteY29" fmla="*/ 7574 h 10000"/>
                  <a:gd name="connsiteX30" fmla="*/ 9281 w 10000"/>
                  <a:gd name="connsiteY30" fmla="*/ 7921 h 10000"/>
                  <a:gd name="connsiteX31" fmla="*/ 8921 w 10000"/>
                  <a:gd name="connsiteY31" fmla="*/ 8317 h 10000"/>
                  <a:gd name="connsiteX32" fmla="*/ 8489 w 10000"/>
                  <a:gd name="connsiteY32" fmla="*/ 8663 h 10000"/>
                  <a:gd name="connsiteX33" fmla="*/ 8058 w 10000"/>
                  <a:gd name="connsiteY33" fmla="*/ 9059 h 10000"/>
                  <a:gd name="connsiteX34" fmla="*/ 7554 w 10000"/>
                  <a:gd name="connsiteY34" fmla="*/ 9406 h 10000"/>
                  <a:gd name="connsiteX35" fmla="*/ 6906 w 10000"/>
                  <a:gd name="connsiteY35" fmla="*/ 9703 h 10000"/>
                  <a:gd name="connsiteX36" fmla="*/ 6259 w 10000"/>
                  <a:gd name="connsiteY36" fmla="*/ 10000 h 10000"/>
                  <a:gd name="connsiteX37" fmla="*/ 4101 w 10000"/>
                  <a:gd name="connsiteY37"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137 w 10000"/>
                  <a:gd name="connsiteY24" fmla="*/ 3762 h 10000"/>
                  <a:gd name="connsiteX25" fmla="*/ 9928 w 10000"/>
                  <a:gd name="connsiteY25" fmla="*/ 5495 h 10000"/>
                  <a:gd name="connsiteX26" fmla="*/ 10000 w 10000"/>
                  <a:gd name="connsiteY26" fmla="*/ 6287 h 10000"/>
                  <a:gd name="connsiteX27" fmla="*/ 9784 w 10000"/>
                  <a:gd name="connsiteY27" fmla="*/ 7129 h 10000"/>
                  <a:gd name="connsiteX28" fmla="*/ 9568 w 10000"/>
                  <a:gd name="connsiteY28" fmla="*/ 7574 h 10000"/>
                  <a:gd name="connsiteX29" fmla="*/ 9281 w 10000"/>
                  <a:gd name="connsiteY29" fmla="*/ 7921 h 10000"/>
                  <a:gd name="connsiteX30" fmla="*/ 8921 w 10000"/>
                  <a:gd name="connsiteY30" fmla="*/ 8317 h 10000"/>
                  <a:gd name="connsiteX31" fmla="*/ 8489 w 10000"/>
                  <a:gd name="connsiteY31" fmla="*/ 8663 h 10000"/>
                  <a:gd name="connsiteX32" fmla="*/ 8058 w 10000"/>
                  <a:gd name="connsiteY32" fmla="*/ 9059 h 10000"/>
                  <a:gd name="connsiteX33" fmla="*/ 7554 w 10000"/>
                  <a:gd name="connsiteY33" fmla="*/ 9406 h 10000"/>
                  <a:gd name="connsiteX34" fmla="*/ 6906 w 10000"/>
                  <a:gd name="connsiteY34" fmla="*/ 9703 h 10000"/>
                  <a:gd name="connsiteX35" fmla="*/ 6259 w 10000"/>
                  <a:gd name="connsiteY35" fmla="*/ 10000 h 10000"/>
                  <a:gd name="connsiteX36" fmla="*/ 4101 w 10000"/>
                  <a:gd name="connsiteY36" fmla="*/ 10000 h 10000"/>
                  <a:gd name="connsiteX0" fmla="*/ 4101 w 10000"/>
                  <a:gd name="connsiteY0" fmla="*/ 10000 h 10000"/>
                  <a:gd name="connsiteX1" fmla="*/ 4101 w 10000"/>
                  <a:gd name="connsiteY1" fmla="*/ 10000 h 10000"/>
                  <a:gd name="connsiteX2" fmla="*/ 3669 w 10000"/>
                  <a:gd name="connsiteY2" fmla="*/ 9851 h 10000"/>
                  <a:gd name="connsiteX3" fmla="*/ 2878 w 10000"/>
                  <a:gd name="connsiteY3" fmla="*/ 9554 h 10000"/>
                  <a:gd name="connsiteX4" fmla="*/ 1942 w 10000"/>
                  <a:gd name="connsiteY4" fmla="*/ 9059 h 10000"/>
                  <a:gd name="connsiteX5" fmla="*/ 1511 w 10000"/>
                  <a:gd name="connsiteY5" fmla="*/ 8762 h 10000"/>
                  <a:gd name="connsiteX6" fmla="*/ 1079 w 10000"/>
                  <a:gd name="connsiteY6" fmla="*/ 8366 h 10000"/>
                  <a:gd name="connsiteX7" fmla="*/ 647 w 10000"/>
                  <a:gd name="connsiteY7" fmla="*/ 7921 h 10000"/>
                  <a:gd name="connsiteX8" fmla="*/ 288 w 10000"/>
                  <a:gd name="connsiteY8" fmla="*/ 7475 h 10000"/>
                  <a:gd name="connsiteX9" fmla="*/ 72 w 10000"/>
                  <a:gd name="connsiteY9" fmla="*/ 6980 h 10000"/>
                  <a:gd name="connsiteX10" fmla="*/ 0 w 10000"/>
                  <a:gd name="connsiteY10" fmla="*/ 6436 h 10000"/>
                  <a:gd name="connsiteX11" fmla="*/ 72 w 10000"/>
                  <a:gd name="connsiteY11" fmla="*/ 5842 h 10000"/>
                  <a:gd name="connsiteX12" fmla="*/ 288 w 10000"/>
                  <a:gd name="connsiteY12" fmla="*/ 5198 h 10000"/>
                  <a:gd name="connsiteX13" fmla="*/ 863 w 10000"/>
                  <a:gd name="connsiteY13" fmla="*/ 4505 h 10000"/>
                  <a:gd name="connsiteX14" fmla="*/ 1583 w 10000"/>
                  <a:gd name="connsiteY14" fmla="*/ 3762 h 10000"/>
                  <a:gd name="connsiteX15" fmla="*/ 1583 w 10000"/>
                  <a:gd name="connsiteY15" fmla="*/ 3762 h 10000"/>
                  <a:gd name="connsiteX16" fmla="*/ 1942 w 10000"/>
                  <a:gd name="connsiteY16" fmla="*/ 3465 h 10000"/>
                  <a:gd name="connsiteX17" fmla="*/ 2590 w 10000"/>
                  <a:gd name="connsiteY17" fmla="*/ 2723 h 10000"/>
                  <a:gd name="connsiteX18" fmla="*/ 3022 w 10000"/>
                  <a:gd name="connsiteY18" fmla="*/ 2129 h 10000"/>
                  <a:gd name="connsiteX19" fmla="*/ 3309 w 10000"/>
                  <a:gd name="connsiteY19" fmla="*/ 1535 h 10000"/>
                  <a:gd name="connsiteX20" fmla="*/ 3525 w 10000"/>
                  <a:gd name="connsiteY20" fmla="*/ 792 h 10000"/>
                  <a:gd name="connsiteX21" fmla="*/ 3669 w 10000"/>
                  <a:gd name="connsiteY21" fmla="*/ 0 h 10000"/>
                  <a:gd name="connsiteX22" fmla="*/ 3669 w 10000"/>
                  <a:gd name="connsiteY22" fmla="*/ 0 h 10000"/>
                  <a:gd name="connsiteX23" fmla="*/ 4317 w 10000"/>
                  <a:gd name="connsiteY23" fmla="*/ 297 h 10000"/>
                  <a:gd name="connsiteX24" fmla="*/ 9928 w 10000"/>
                  <a:gd name="connsiteY24" fmla="*/ 5495 h 10000"/>
                  <a:gd name="connsiteX25" fmla="*/ 10000 w 10000"/>
                  <a:gd name="connsiteY25" fmla="*/ 6287 h 10000"/>
                  <a:gd name="connsiteX26" fmla="*/ 9784 w 10000"/>
                  <a:gd name="connsiteY26" fmla="*/ 7129 h 10000"/>
                  <a:gd name="connsiteX27" fmla="*/ 9568 w 10000"/>
                  <a:gd name="connsiteY27" fmla="*/ 7574 h 10000"/>
                  <a:gd name="connsiteX28" fmla="*/ 9281 w 10000"/>
                  <a:gd name="connsiteY28" fmla="*/ 7921 h 10000"/>
                  <a:gd name="connsiteX29" fmla="*/ 8921 w 10000"/>
                  <a:gd name="connsiteY29" fmla="*/ 8317 h 10000"/>
                  <a:gd name="connsiteX30" fmla="*/ 8489 w 10000"/>
                  <a:gd name="connsiteY30" fmla="*/ 8663 h 10000"/>
                  <a:gd name="connsiteX31" fmla="*/ 8058 w 10000"/>
                  <a:gd name="connsiteY31" fmla="*/ 9059 h 10000"/>
                  <a:gd name="connsiteX32" fmla="*/ 7554 w 10000"/>
                  <a:gd name="connsiteY32" fmla="*/ 9406 h 10000"/>
                  <a:gd name="connsiteX33" fmla="*/ 6906 w 10000"/>
                  <a:gd name="connsiteY33" fmla="*/ 9703 h 10000"/>
                  <a:gd name="connsiteX34" fmla="*/ 6259 w 10000"/>
                  <a:gd name="connsiteY34" fmla="*/ 10000 h 10000"/>
                  <a:gd name="connsiteX35" fmla="*/ 4101 w 10000"/>
                  <a:gd name="connsiteY35" fmla="*/ 10000 h 10000"/>
                  <a:gd name="connsiteX0" fmla="*/ 4101 w 9928"/>
                  <a:gd name="connsiteY0" fmla="*/ 10000 h 10000"/>
                  <a:gd name="connsiteX1" fmla="*/ 4101 w 9928"/>
                  <a:gd name="connsiteY1" fmla="*/ 10000 h 10000"/>
                  <a:gd name="connsiteX2" fmla="*/ 3669 w 9928"/>
                  <a:gd name="connsiteY2" fmla="*/ 9851 h 10000"/>
                  <a:gd name="connsiteX3" fmla="*/ 2878 w 9928"/>
                  <a:gd name="connsiteY3" fmla="*/ 9554 h 10000"/>
                  <a:gd name="connsiteX4" fmla="*/ 1942 w 9928"/>
                  <a:gd name="connsiteY4" fmla="*/ 9059 h 10000"/>
                  <a:gd name="connsiteX5" fmla="*/ 1511 w 9928"/>
                  <a:gd name="connsiteY5" fmla="*/ 8762 h 10000"/>
                  <a:gd name="connsiteX6" fmla="*/ 1079 w 9928"/>
                  <a:gd name="connsiteY6" fmla="*/ 8366 h 10000"/>
                  <a:gd name="connsiteX7" fmla="*/ 647 w 9928"/>
                  <a:gd name="connsiteY7" fmla="*/ 7921 h 10000"/>
                  <a:gd name="connsiteX8" fmla="*/ 288 w 9928"/>
                  <a:gd name="connsiteY8" fmla="*/ 7475 h 10000"/>
                  <a:gd name="connsiteX9" fmla="*/ 72 w 9928"/>
                  <a:gd name="connsiteY9" fmla="*/ 6980 h 10000"/>
                  <a:gd name="connsiteX10" fmla="*/ 0 w 9928"/>
                  <a:gd name="connsiteY10" fmla="*/ 6436 h 10000"/>
                  <a:gd name="connsiteX11" fmla="*/ 72 w 9928"/>
                  <a:gd name="connsiteY11" fmla="*/ 5842 h 10000"/>
                  <a:gd name="connsiteX12" fmla="*/ 288 w 9928"/>
                  <a:gd name="connsiteY12" fmla="*/ 5198 h 10000"/>
                  <a:gd name="connsiteX13" fmla="*/ 863 w 9928"/>
                  <a:gd name="connsiteY13" fmla="*/ 4505 h 10000"/>
                  <a:gd name="connsiteX14" fmla="*/ 1583 w 9928"/>
                  <a:gd name="connsiteY14" fmla="*/ 3762 h 10000"/>
                  <a:gd name="connsiteX15" fmla="*/ 1583 w 9928"/>
                  <a:gd name="connsiteY15" fmla="*/ 3762 h 10000"/>
                  <a:gd name="connsiteX16" fmla="*/ 1942 w 9928"/>
                  <a:gd name="connsiteY16" fmla="*/ 3465 h 10000"/>
                  <a:gd name="connsiteX17" fmla="*/ 2590 w 9928"/>
                  <a:gd name="connsiteY17" fmla="*/ 2723 h 10000"/>
                  <a:gd name="connsiteX18" fmla="*/ 3022 w 9928"/>
                  <a:gd name="connsiteY18" fmla="*/ 2129 h 10000"/>
                  <a:gd name="connsiteX19" fmla="*/ 3309 w 9928"/>
                  <a:gd name="connsiteY19" fmla="*/ 1535 h 10000"/>
                  <a:gd name="connsiteX20" fmla="*/ 3525 w 9928"/>
                  <a:gd name="connsiteY20" fmla="*/ 792 h 10000"/>
                  <a:gd name="connsiteX21" fmla="*/ 3669 w 9928"/>
                  <a:gd name="connsiteY21" fmla="*/ 0 h 10000"/>
                  <a:gd name="connsiteX22" fmla="*/ 3669 w 9928"/>
                  <a:gd name="connsiteY22" fmla="*/ 0 h 10000"/>
                  <a:gd name="connsiteX23" fmla="*/ 4317 w 9928"/>
                  <a:gd name="connsiteY23" fmla="*/ 297 h 10000"/>
                  <a:gd name="connsiteX24" fmla="*/ 9928 w 9928"/>
                  <a:gd name="connsiteY24" fmla="*/ 5495 h 10000"/>
                  <a:gd name="connsiteX25" fmla="*/ 9784 w 9928"/>
                  <a:gd name="connsiteY25" fmla="*/ 7129 h 10000"/>
                  <a:gd name="connsiteX26" fmla="*/ 9568 w 9928"/>
                  <a:gd name="connsiteY26" fmla="*/ 7574 h 10000"/>
                  <a:gd name="connsiteX27" fmla="*/ 9281 w 9928"/>
                  <a:gd name="connsiteY27" fmla="*/ 7921 h 10000"/>
                  <a:gd name="connsiteX28" fmla="*/ 8921 w 9928"/>
                  <a:gd name="connsiteY28" fmla="*/ 8317 h 10000"/>
                  <a:gd name="connsiteX29" fmla="*/ 8489 w 9928"/>
                  <a:gd name="connsiteY29" fmla="*/ 8663 h 10000"/>
                  <a:gd name="connsiteX30" fmla="*/ 8058 w 9928"/>
                  <a:gd name="connsiteY30" fmla="*/ 9059 h 10000"/>
                  <a:gd name="connsiteX31" fmla="*/ 7554 w 9928"/>
                  <a:gd name="connsiteY31" fmla="*/ 9406 h 10000"/>
                  <a:gd name="connsiteX32" fmla="*/ 6906 w 9928"/>
                  <a:gd name="connsiteY32" fmla="*/ 9703 h 10000"/>
                  <a:gd name="connsiteX33" fmla="*/ 6259 w 9928"/>
                  <a:gd name="connsiteY33" fmla="*/ 10000 h 10000"/>
                  <a:gd name="connsiteX34" fmla="*/ 4101 w 9928"/>
                  <a:gd name="connsiteY34"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48 w 10000"/>
                  <a:gd name="connsiteY26" fmla="*/ 7921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9333 w 10000"/>
                  <a:gd name="connsiteY26" fmla="*/ 7808 h 10000"/>
                  <a:gd name="connsiteX27" fmla="*/ 8986 w 10000"/>
                  <a:gd name="connsiteY27" fmla="*/ 8317 h 10000"/>
                  <a:gd name="connsiteX28" fmla="*/ 8551 w 10000"/>
                  <a:gd name="connsiteY28" fmla="*/ 8663 h 10000"/>
                  <a:gd name="connsiteX29" fmla="*/ 8116 w 10000"/>
                  <a:gd name="connsiteY29" fmla="*/ 9059 h 10000"/>
                  <a:gd name="connsiteX30" fmla="*/ 7609 w 10000"/>
                  <a:gd name="connsiteY30" fmla="*/ 9406 h 10000"/>
                  <a:gd name="connsiteX31" fmla="*/ 6956 w 10000"/>
                  <a:gd name="connsiteY31" fmla="*/ 9703 h 10000"/>
                  <a:gd name="connsiteX32" fmla="*/ 6304 w 10000"/>
                  <a:gd name="connsiteY32" fmla="*/ 10000 h 10000"/>
                  <a:gd name="connsiteX33" fmla="*/ 4131 w 10000"/>
                  <a:gd name="connsiteY33" fmla="*/ 10000 h 10000"/>
                  <a:gd name="connsiteX0" fmla="*/ 4131 w 10000"/>
                  <a:gd name="connsiteY0" fmla="*/ 10000 h 10000"/>
                  <a:gd name="connsiteX1" fmla="*/ 4131 w 10000"/>
                  <a:gd name="connsiteY1" fmla="*/ 10000 h 10000"/>
                  <a:gd name="connsiteX2" fmla="*/ 3696 w 10000"/>
                  <a:gd name="connsiteY2" fmla="*/ 9851 h 10000"/>
                  <a:gd name="connsiteX3" fmla="*/ 2899 w 10000"/>
                  <a:gd name="connsiteY3" fmla="*/ 9554 h 10000"/>
                  <a:gd name="connsiteX4" fmla="*/ 1956 w 10000"/>
                  <a:gd name="connsiteY4" fmla="*/ 9059 h 10000"/>
                  <a:gd name="connsiteX5" fmla="*/ 1522 w 10000"/>
                  <a:gd name="connsiteY5" fmla="*/ 8762 h 10000"/>
                  <a:gd name="connsiteX6" fmla="*/ 1087 w 10000"/>
                  <a:gd name="connsiteY6" fmla="*/ 8366 h 10000"/>
                  <a:gd name="connsiteX7" fmla="*/ 652 w 10000"/>
                  <a:gd name="connsiteY7" fmla="*/ 7921 h 10000"/>
                  <a:gd name="connsiteX8" fmla="*/ 290 w 10000"/>
                  <a:gd name="connsiteY8" fmla="*/ 7475 h 10000"/>
                  <a:gd name="connsiteX9" fmla="*/ 73 w 10000"/>
                  <a:gd name="connsiteY9" fmla="*/ 6980 h 10000"/>
                  <a:gd name="connsiteX10" fmla="*/ 0 w 10000"/>
                  <a:gd name="connsiteY10" fmla="*/ 6436 h 10000"/>
                  <a:gd name="connsiteX11" fmla="*/ 73 w 10000"/>
                  <a:gd name="connsiteY11" fmla="*/ 5842 h 10000"/>
                  <a:gd name="connsiteX12" fmla="*/ 290 w 10000"/>
                  <a:gd name="connsiteY12" fmla="*/ 5198 h 10000"/>
                  <a:gd name="connsiteX13" fmla="*/ 869 w 10000"/>
                  <a:gd name="connsiteY13" fmla="*/ 4505 h 10000"/>
                  <a:gd name="connsiteX14" fmla="*/ 1594 w 10000"/>
                  <a:gd name="connsiteY14" fmla="*/ 3762 h 10000"/>
                  <a:gd name="connsiteX15" fmla="*/ 1594 w 10000"/>
                  <a:gd name="connsiteY15" fmla="*/ 3762 h 10000"/>
                  <a:gd name="connsiteX16" fmla="*/ 1956 w 10000"/>
                  <a:gd name="connsiteY16" fmla="*/ 3465 h 10000"/>
                  <a:gd name="connsiteX17" fmla="*/ 2609 w 10000"/>
                  <a:gd name="connsiteY17" fmla="*/ 2723 h 10000"/>
                  <a:gd name="connsiteX18" fmla="*/ 3044 w 10000"/>
                  <a:gd name="connsiteY18" fmla="*/ 2129 h 10000"/>
                  <a:gd name="connsiteX19" fmla="*/ 3333 w 10000"/>
                  <a:gd name="connsiteY19" fmla="*/ 1535 h 10000"/>
                  <a:gd name="connsiteX20" fmla="*/ 3551 w 10000"/>
                  <a:gd name="connsiteY20" fmla="*/ 792 h 10000"/>
                  <a:gd name="connsiteX21" fmla="*/ 3696 w 10000"/>
                  <a:gd name="connsiteY21" fmla="*/ 0 h 10000"/>
                  <a:gd name="connsiteX22" fmla="*/ 3696 w 10000"/>
                  <a:gd name="connsiteY22" fmla="*/ 0 h 10000"/>
                  <a:gd name="connsiteX23" fmla="*/ 4348 w 10000"/>
                  <a:gd name="connsiteY23" fmla="*/ 297 h 10000"/>
                  <a:gd name="connsiteX24" fmla="*/ 10000 w 10000"/>
                  <a:gd name="connsiteY24" fmla="*/ 5495 h 10000"/>
                  <a:gd name="connsiteX25" fmla="*/ 9855 w 10000"/>
                  <a:gd name="connsiteY25" fmla="*/ 7129 h 10000"/>
                  <a:gd name="connsiteX26" fmla="*/ 8986 w 10000"/>
                  <a:gd name="connsiteY26" fmla="*/ 8317 h 10000"/>
                  <a:gd name="connsiteX27" fmla="*/ 8551 w 10000"/>
                  <a:gd name="connsiteY27" fmla="*/ 8663 h 10000"/>
                  <a:gd name="connsiteX28" fmla="*/ 8116 w 10000"/>
                  <a:gd name="connsiteY28" fmla="*/ 9059 h 10000"/>
                  <a:gd name="connsiteX29" fmla="*/ 7609 w 10000"/>
                  <a:gd name="connsiteY29" fmla="*/ 9406 h 10000"/>
                  <a:gd name="connsiteX30" fmla="*/ 6956 w 10000"/>
                  <a:gd name="connsiteY30" fmla="*/ 9703 h 10000"/>
                  <a:gd name="connsiteX31" fmla="*/ 6304 w 10000"/>
                  <a:gd name="connsiteY31" fmla="*/ 10000 h 10000"/>
                  <a:gd name="connsiteX32" fmla="*/ 4131 w 10000"/>
                  <a:gd name="connsiteY32" fmla="*/ 10000 h 10000"/>
                  <a:gd name="connsiteX0" fmla="*/ 4131 w 10214"/>
                  <a:gd name="connsiteY0" fmla="*/ 10000 h 10000"/>
                  <a:gd name="connsiteX1" fmla="*/ 4131 w 10214"/>
                  <a:gd name="connsiteY1" fmla="*/ 10000 h 10000"/>
                  <a:gd name="connsiteX2" fmla="*/ 3696 w 10214"/>
                  <a:gd name="connsiteY2" fmla="*/ 9851 h 10000"/>
                  <a:gd name="connsiteX3" fmla="*/ 2899 w 10214"/>
                  <a:gd name="connsiteY3" fmla="*/ 9554 h 10000"/>
                  <a:gd name="connsiteX4" fmla="*/ 1956 w 10214"/>
                  <a:gd name="connsiteY4" fmla="*/ 9059 h 10000"/>
                  <a:gd name="connsiteX5" fmla="*/ 1522 w 10214"/>
                  <a:gd name="connsiteY5" fmla="*/ 8762 h 10000"/>
                  <a:gd name="connsiteX6" fmla="*/ 1087 w 10214"/>
                  <a:gd name="connsiteY6" fmla="*/ 8366 h 10000"/>
                  <a:gd name="connsiteX7" fmla="*/ 652 w 10214"/>
                  <a:gd name="connsiteY7" fmla="*/ 7921 h 10000"/>
                  <a:gd name="connsiteX8" fmla="*/ 290 w 10214"/>
                  <a:gd name="connsiteY8" fmla="*/ 7475 h 10000"/>
                  <a:gd name="connsiteX9" fmla="*/ 73 w 10214"/>
                  <a:gd name="connsiteY9" fmla="*/ 6980 h 10000"/>
                  <a:gd name="connsiteX10" fmla="*/ 0 w 10214"/>
                  <a:gd name="connsiteY10" fmla="*/ 6436 h 10000"/>
                  <a:gd name="connsiteX11" fmla="*/ 73 w 10214"/>
                  <a:gd name="connsiteY11" fmla="*/ 5842 h 10000"/>
                  <a:gd name="connsiteX12" fmla="*/ 290 w 10214"/>
                  <a:gd name="connsiteY12" fmla="*/ 5198 h 10000"/>
                  <a:gd name="connsiteX13" fmla="*/ 869 w 10214"/>
                  <a:gd name="connsiteY13" fmla="*/ 4505 h 10000"/>
                  <a:gd name="connsiteX14" fmla="*/ 1594 w 10214"/>
                  <a:gd name="connsiteY14" fmla="*/ 3762 h 10000"/>
                  <a:gd name="connsiteX15" fmla="*/ 1594 w 10214"/>
                  <a:gd name="connsiteY15" fmla="*/ 3762 h 10000"/>
                  <a:gd name="connsiteX16" fmla="*/ 1956 w 10214"/>
                  <a:gd name="connsiteY16" fmla="*/ 3465 h 10000"/>
                  <a:gd name="connsiteX17" fmla="*/ 2609 w 10214"/>
                  <a:gd name="connsiteY17" fmla="*/ 2723 h 10000"/>
                  <a:gd name="connsiteX18" fmla="*/ 3044 w 10214"/>
                  <a:gd name="connsiteY18" fmla="*/ 2129 h 10000"/>
                  <a:gd name="connsiteX19" fmla="*/ 3333 w 10214"/>
                  <a:gd name="connsiteY19" fmla="*/ 1535 h 10000"/>
                  <a:gd name="connsiteX20" fmla="*/ 3551 w 10214"/>
                  <a:gd name="connsiteY20" fmla="*/ 792 h 10000"/>
                  <a:gd name="connsiteX21" fmla="*/ 3696 w 10214"/>
                  <a:gd name="connsiteY21" fmla="*/ 0 h 10000"/>
                  <a:gd name="connsiteX22" fmla="*/ 3696 w 10214"/>
                  <a:gd name="connsiteY22" fmla="*/ 0 h 10000"/>
                  <a:gd name="connsiteX23" fmla="*/ 4348 w 10214"/>
                  <a:gd name="connsiteY23" fmla="*/ 297 h 10000"/>
                  <a:gd name="connsiteX24" fmla="*/ 10000 w 10214"/>
                  <a:gd name="connsiteY24" fmla="*/ 5495 h 10000"/>
                  <a:gd name="connsiteX25" fmla="*/ 8986 w 10214"/>
                  <a:gd name="connsiteY25" fmla="*/ 8317 h 10000"/>
                  <a:gd name="connsiteX26" fmla="*/ 8551 w 10214"/>
                  <a:gd name="connsiteY26" fmla="*/ 8663 h 10000"/>
                  <a:gd name="connsiteX27" fmla="*/ 8116 w 10214"/>
                  <a:gd name="connsiteY27" fmla="*/ 9059 h 10000"/>
                  <a:gd name="connsiteX28" fmla="*/ 7609 w 10214"/>
                  <a:gd name="connsiteY28" fmla="*/ 9406 h 10000"/>
                  <a:gd name="connsiteX29" fmla="*/ 6956 w 10214"/>
                  <a:gd name="connsiteY29" fmla="*/ 9703 h 10000"/>
                  <a:gd name="connsiteX30" fmla="*/ 6304 w 10214"/>
                  <a:gd name="connsiteY30" fmla="*/ 10000 h 10000"/>
                  <a:gd name="connsiteX31" fmla="*/ 4131 w 10214"/>
                  <a:gd name="connsiteY31" fmla="*/ 10000 h 10000"/>
                  <a:gd name="connsiteX0" fmla="*/ 4131 w 10158"/>
                  <a:gd name="connsiteY0" fmla="*/ 10000 h 10000"/>
                  <a:gd name="connsiteX1" fmla="*/ 4131 w 10158"/>
                  <a:gd name="connsiteY1" fmla="*/ 10000 h 10000"/>
                  <a:gd name="connsiteX2" fmla="*/ 3696 w 10158"/>
                  <a:gd name="connsiteY2" fmla="*/ 9851 h 10000"/>
                  <a:gd name="connsiteX3" fmla="*/ 2899 w 10158"/>
                  <a:gd name="connsiteY3" fmla="*/ 9554 h 10000"/>
                  <a:gd name="connsiteX4" fmla="*/ 1956 w 10158"/>
                  <a:gd name="connsiteY4" fmla="*/ 9059 h 10000"/>
                  <a:gd name="connsiteX5" fmla="*/ 1522 w 10158"/>
                  <a:gd name="connsiteY5" fmla="*/ 8762 h 10000"/>
                  <a:gd name="connsiteX6" fmla="*/ 1087 w 10158"/>
                  <a:gd name="connsiteY6" fmla="*/ 8366 h 10000"/>
                  <a:gd name="connsiteX7" fmla="*/ 652 w 10158"/>
                  <a:gd name="connsiteY7" fmla="*/ 7921 h 10000"/>
                  <a:gd name="connsiteX8" fmla="*/ 290 w 10158"/>
                  <a:gd name="connsiteY8" fmla="*/ 7475 h 10000"/>
                  <a:gd name="connsiteX9" fmla="*/ 73 w 10158"/>
                  <a:gd name="connsiteY9" fmla="*/ 6980 h 10000"/>
                  <a:gd name="connsiteX10" fmla="*/ 0 w 10158"/>
                  <a:gd name="connsiteY10" fmla="*/ 6436 h 10000"/>
                  <a:gd name="connsiteX11" fmla="*/ 73 w 10158"/>
                  <a:gd name="connsiteY11" fmla="*/ 5842 h 10000"/>
                  <a:gd name="connsiteX12" fmla="*/ 290 w 10158"/>
                  <a:gd name="connsiteY12" fmla="*/ 5198 h 10000"/>
                  <a:gd name="connsiteX13" fmla="*/ 869 w 10158"/>
                  <a:gd name="connsiteY13" fmla="*/ 4505 h 10000"/>
                  <a:gd name="connsiteX14" fmla="*/ 1594 w 10158"/>
                  <a:gd name="connsiteY14" fmla="*/ 3762 h 10000"/>
                  <a:gd name="connsiteX15" fmla="*/ 1594 w 10158"/>
                  <a:gd name="connsiteY15" fmla="*/ 3762 h 10000"/>
                  <a:gd name="connsiteX16" fmla="*/ 1956 w 10158"/>
                  <a:gd name="connsiteY16" fmla="*/ 3465 h 10000"/>
                  <a:gd name="connsiteX17" fmla="*/ 2609 w 10158"/>
                  <a:gd name="connsiteY17" fmla="*/ 2723 h 10000"/>
                  <a:gd name="connsiteX18" fmla="*/ 3044 w 10158"/>
                  <a:gd name="connsiteY18" fmla="*/ 2129 h 10000"/>
                  <a:gd name="connsiteX19" fmla="*/ 3333 w 10158"/>
                  <a:gd name="connsiteY19" fmla="*/ 1535 h 10000"/>
                  <a:gd name="connsiteX20" fmla="*/ 3551 w 10158"/>
                  <a:gd name="connsiteY20" fmla="*/ 792 h 10000"/>
                  <a:gd name="connsiteX21" fmla="*/ 3696 w 10158"/>
                  <a:gd name="connsiteY21" fmla="*/ 0 h 10000"/>
                  <a:gd name="connsiteX22" fmla="*/ 3696 w 10158"/>
                  <a:gd name="connsiteY22" fmla="*/ 0 h 10000"/>
                  <a:gd name="connsiteX23" fmla="*/ 4348 w 10158"/>
                  <a:gd name="connsiteY23" fmla="*/ 297 h 10000"/>
                  <a:gd name="connsiteX24" fmla="*/ 10000 w 10158"/>
                  <a:gd name="connsiteY24" fmla="*/ 5495 h 10000"/>
                  <a:gd name="connsiteX25" fmla="*/ 8551 w 10158"/>
                  <a:gd name="connsiteY25" fmla="*/ 8663 h 10000"/>
                  <a:gd name="connsiteX26" fmla="*/ 8116 w 10158"/>
                  <a:gd name="connsiteY26" fmla="*/ 9059 h 10000"/>
                  <a:gd name="connsiteX27" fmla="*/ 7609 w 10158"/>
                  <a:gd name="connsiteY27" fmla="*/ 9406 h 10000"/>
                  <a:gd name="connsiteX28" fmla="*/ 6956 w 10158"/>
                  <a:gd name="connsiteY28" fmla="*/ 9703 h 10000"/>
                  <a:gd name="connsiteX29" fmla="*/ 6304 w 10158"/>
                  <a:gd name="connsiteY29" fmla="*/ 10000 h 10000"/>
                  <a:gd name="connsiteX30" fmla="*/ 4131 w 10158"/>
                  <a:gd name="connsiteY30" fmla="*/ 10000 h 10000"/>
                  <a:gd name="connsiteX0" fmla="*/ 4131 w 10115"/>
                  <a:gd name="connsiteY0" fmla="*/ 10000 h 10000"/>
                  <a:gd name="connsiteX1" fmla="*/ 4131 w 10115"/>
                  <a:gd name="connsiteY1" fmla="*/ 10000 h 10000"/>
                  <a:gd name="connsiteX2" fmla="*/ 3696 w 10115"/>
                  <a:gd name="connsiteY2" fmla="*/ 9851 h 10000"/>
                  <a:gd name="connsiteX3" fmla="*/ 2899 w 10115"/>
                  <a:gd name="connsiteY3" fmla="*/ 9554 h 10000"/>
                  <a:gd name="connsiteX4" fmla="*/ 1956 w 10115"/>
                  <a:gd name="connsiteY4" fmla="*/ 9059 h 10000"/>
                  <a:gd name="connsiteX5" fmla="*/ 1522 w 10115"/>
                  <a:gd name="connsiteY5" fmla="*/ 8762 h 10000"/>
                  <a:gd name="connsiteX6" fmla="*/ 1087 w 10115"/>
                  <a:gd name="connsiteY6" fmla="*/ 8366 h 10000"/>
                  <a:gd name="connsiteX7" fmla="*/ 652 w 10115"/>
                  <a:gd name="connsiteY7" fmla="*/ 7921 h 10000"/>
                  <a:gd name="connsiteX8" fmla="*/ 290 w 10115"/>
                  <a:gd name="connsiteY8" fmla="*/ 7475 h 10000"/>
                  <a:gd name="connsiteX9" fmla="*/ 73 w 10115"/>
                  <a:gd name="connsiteY9" fmla="*/ 6980 h 10000"/>
                  <a:gd name="connsiteX10" fmla="*/ 0 w 10115"/>
                  <a:gd name="connsiteY10" fmla="*/ 6436 h 10000"/>
                  <a:gd name="connsiteX11" fmla="*/ 73 w 10115"/>
                  <a:gd name="connsiteY11" fmla="*/ 5842 h 10000"/>
                  <a:gd name="connsiteX12" fmla="*/ 290 w 10115"/>
                  <a:gd name="connsiteY12" fmla="*/ 5198 h 10000"/>
                  <a:gd name="connsiteX13" fmla="*/ 869 w 10115"/>
                  <a:gd name="connsiteY13" fmla="*/ 4505 h 10000"/>
                  <a:gd name="connsiteX14" fmla="*/ 1594 w 10115"/>
                  <a:gd name="connsiteY14" fmla="*/ 3762 h 10000"/>
                  <a:gd name="connsiteX15" fmla="*/ 1594 w 10115"/>
                  <a:gd name="connsiteY15" fmla="*/ 3762 h 10000"/>
                  <a:gd name="connsiteX16" fmla="*/ 1956 w 10115"/>
                  <a:gd name="connsiteY16" fmla="*/ 3465 h 10000"/>
                  <a:gd name="connsiteX17" fmla="*/ 2609 w 10115"/>
                  <a:gd name="connsiteY17" fmla="*/ 2723 h 10000"/>
                  <a:gd name="connsiteX18" fmla="*/ 3044 w 10115"/>
                  <a:gd name="connsiteY18" fmla="*/ 2129 h 10000"/>
                  <a:gd name="connsiteX19" fmla="*/ 3333 w 10115"/>
                  <a:gd name="connsiteY19" fmla="*/ 1535 h 10000"/>
                  <a:gd name="connsiteX20" fmla="*/ 3551 w 10115"/>
                  <a:gd name="connsiteY20" fmla="*/ 792 h 10000"/>
                  <a:gd name="connsiteX21" fmla="*/ 3696 w 10115"/>
                  <a:gd name="connsiteY21" fmla="*/ 0 h 10000"/>
                  <a:gd name="connsiteX22" fmla="*/ 3696 w 10115"/>
                  <a:gd name="connsiteY22" fmla="*/ 0 h 10000"/>
                  <a:gd name="connsiteX23" fmla="*/ 4348 w 10115"/>
                  <a:gd name="connsiteY23" fmla="*/ 297 h 10000"/>
                  <a:gd name="connsiteX24" fmla="*/ 10000 w 10115"/>
                  <a:gd name="connsiteY24" fmla="*/ 5495 h 10000"/>
                  <a:gd name="connsiteX25" fmla="*/ 8116 w 10115"/>
                  <a:gd name="connsiteY25" fmla="*/ 9059 h 10000"/>
                  <a:gd name="connsiteX26" fmla="*/ 7609 w 10115"/>
                  <a:gd name="connsiteY26" fmla="*/ 9406 h 10000"/>
                  <a:gd name="connsiteX27" fmla="*/ 6956 w 10115"/>
                  <a:gd name="connsiteY27" fmla="*/ 9703 h 10000"/>
                  <a:gd name="connsiteX28" fmla="*/ 6304 w 10115"/>
                  <a:gd name="connsiteY28" fmla="*/ 10000 h 10000"/>
                  <a:gd name="connsiteX29" fmla="*/ 4131 w 10115"/>
                  <a:gd name="connsiteY29" fmla="*/ 10000 h 10000"/>
                  <a:gd name="connsiteX0" fmla="*/ 4131 w 10078"/>
                  <a:gd name="connsiteY0" fmla="*/ 10000 h 10000"/>
                  <a:gd name="connsiteX1" fmla="*/ 4131 w 10078"/>
                  <a:gd name="connsiteY1" fmla="*/ 10000 h 10000"/>
                  <a:gd name="connsiteX2" fmla="*/ 3696 w 10078"/>
                  <a:gd name="connsiteY2" fmla="*/ 9851 h 10000"/>
                  <a:gd name="connsiteX3" fmla="*/ 2899 w 10078"/>
                  <a:gd name="connsiteY3" fmla="*/ 9554 h 10000"/>
                  <a:gd name="connsiteX4" fmla="*/ 1956 w 10078"/>
                  <a:gd name="connsiteY4" fmla="*/ 9059 h 10000"/>
                  <a:gd name="connsiteX5" fmla="*/ 1522 w 10078"/>
                  <a:gd name="connsiteY5" fmla="*/ 8762 h 10000"/>
                  <a:gd name="connsiteX6" fmla="*/ 1087 w 10078"/>
                  <a:gd name="connsiteY6" fmla="*/ 8366 h 10000"/>
                  <a:gd name="connsiteX7" fmla="*/ 652 w 10078"/>
                  <a:gd name="connsiteY7" fmla="*/ 7921 h 10000"/>
                  <a:gd name="connsiteX8" fmla="*/ 290 w 10078"/>
                  <a:gd name="connsiteY8" fmla="*/ 7475 h 10000"/>
                  <a:gd name="connsiteX9" fmla="*/ 73 w 10078"/>
                  <a:gd name="connsiteY9" fmla="*/ 6980 h 10000"/>
                  <a:gd name="connsiteX10" fmla="*/ 0 w 10078"/>
                  <a:gd name="connsiteY10" fmla="*/ 6436 h 10000"/>
                  <a:gd name="connsiteX11" fmla="*/ 73 w 10078"/>
                  <a:gd name="connsiteY11" fmla="*/ 5842 h 10000"/>
                  <a:gd name="connsiteX12" fmla="*/ 290 w 10078"/>
                  <a:gd name="connsiteY12" fmla="*/ 5198 h 10000"/>
                  <a:gd name="connsiteX13" fmla="*/ 869 w 10078"/>
                  <a:gd name="connsiteY13" fmla="*/ 4505 h 10000"/>
                  <a:gd name="connsiteX14" fmla="*/ 1594 w 10078"/>
                  <a:gd name="connsiteY14" fmla="*/ 3762 h 10000"/>
                  <a:gd name="connsiteX15" fmla="*/ 1594 w 10078"/>
                  <a:gd name="connsiteY15" fmla="*/ 3762 h 10000"/>
                  <a:gd name="connsiteX16" fmla="*/ 1956 w 10078"/>
                  <a:gd name="connsiteY16" fmla="*/ 3465 h 10000"/>
                  <a:gd name="connsiteX17" fmla="*/ 2609 w 10078"/>
                  <a:gd name="connsiteY17" fmla="*/ 2723 h 10000"/>
                  <a:gd name="connsiteX18" fmla="*/ 3044 w 10078"/>
                  <a:gd name="connsiteY18" fmla="*/ 2129 h 10000"/>
                  <a:gd name="connsiteX19" fmla="*/ 3333 w 10078"/>
                  <a:gd name="connsiteY19" fmla="*/ 1535 h 10000"/>
                  <a:gd name="connsiteX20" fmla="*/ 3551 w 10078"/>
                  <a:gd name="connsiteY20" fmla="*/ 792 h 10000"/>
                  <a:gd name="connsiteX21" fmla="*/ 3696 w 10078"/>
                  <a:gd name="connsiteY21" fmla="*/ 0 h 10000"/>
                  <a:gd name="connsiteX22" fmla="*/ 3696 w 10078"/>
                  <a:gd name="connsiteY22" fmla="*/ 0 h 10000"/>
                  <a:gd name="connsiteX23" fmla="*/ 4348 w 10078"/>
                  <a:gd name="connsiteY23" fmla="*/ 297 h 10000"/>
                  <a:gd name="connsiteX24" fmla="*/ 10000 w 10078"/>
                  <a:gd name="connsiteY24" fmla="*/ 5495 h 10000"/>
                  <a:gd name="connsiteX25" fmla="*/ 7609 w 10078"/>
                  <a:gd name="connsiteY25" fmla="*/ 9406 h 10000"/>
                  <a:gd name="connsiteX26" fmla="*/ 6956 w 10078"/>
                  <a:gd name="connsiteY26" fmla="*/ 9703 h 10000"/>
                  <a:gd name="connsiteX27" fmla="*/ 6304 w 10078"/>
                  <a:gd name="connsiteY27" fmla="*/ 10000 h 10000"/>
                  <a:gd name="connsiteX28" fmla="*/ 4131 w 10078"/>
                  <a:gd name="connsiteY28" fmla="*/ 10000 h 10000"/>
                  <a:gd name="connsiteX0" fmla="*/ 4131 w 10044"/>
                  <a:gd name="connsiteY0" fmla="*/ 10000 h 10000"/>
                  <a:gd name="connsiteX1" fmla="*/ 4131 w 10044"/>
                  <a:gd name="connsiteY1" fmla="*/ 10000 h 10000"/>
                  <a:gd name="connsiteX2" fmla="*/ 3696 w 10044"/>
                  <a:gd name="connsiteY2" fmla="*/ 9851 h 10000"/>
                  <a:gd name="connsiteX3" fmla="*/ 2899 w 10044"/>
                  <a:gd name="connsiteY3" fmla="*/ 9554 h 10000"/>
                  <a:gd name="connsiteX4" fmla="*/ 1956 w 10044"/>
                  <a:gd name="connsiteY4" fmla="*/ 9059 h 10000"/>
                  <a:gd name="connsiteX5" fmla="*/ 1522 w 10044"/>
                  <a:gd name="connsiteY5" fmla="*/ 8762 h 10000"/>
                  <a:gd name="connsiteX6" fmla="*/ 1087 w 10044"/>
                  <a:gd name="connsiteY6" fmla="*/ 8366 h 10000"/>
                  <a:gd name="connsiteX7" fmla="*/ 652 w 10044"/>
                  <a:gd name="connsiteY7" fmla="*/ 7921 h 10000"/>
                  <a:gd name="connsiteX8" fmla="*/ 290 w 10044"/>
                  <a:gd name="connsiteY8" fmla="*/ 7475 h 10000"/>
                  <a:gd name="connsiteX9" fmla="*/ 73 w 10044"/>
                  <a:gd name="connsiteY9" fmla="*/ 6980 h 10000"/>
                  <a:gd name="connsiteX10" fmla="*/ 0 w 10044"/>
                  <a:gd name="connsiteY10" fmla="*/ 6436 h 10000"/>
                  <a:gd name="connsiteX11" fmla="*/ 73 w 10044"/>
                  <a:gd name="connsiteY11" fmla="*/ 5842 h 10000"/>
                  <a:gd name="connsiteX12" fmla="*/ 290 w 10044"/>
                  <a:gd name="connsiteY12" fmla="*/ 5198 h 10000"/>
                  <a:gd name="connsiteX13" fmla="*/ 869 w 10044"/>
                  <a:gd name="connsiteY13" fmla="*/ 4505 h 10000"/>
                  <a:gd name="connsiteX14" fmla="*/ 1594 w 10044"/>
                  <a:gd name="connsiteY14" fmla="*/ 3762 h 10000"/>
                  <a:gd name="connsiteX15" fmla="*/ 1594 w 10044"/>
                  <a:gd name="connsiteY15" fmla="*/ 3762 h 10000"/>
                  <a:gd name="connsiteX16" fmla="*/ 1956 w 10044"/>
                  <a:gd name="connsiteY16" fmla="*/ 3465 h 10000"/>
                  <a:gd name="connsiteX17" fmla="*/ 2609 w 10044"/>
                  <a:gd name="connsiteY17" fmla="*/ 2723 h 10000"/>
                  <a:gd name="connsiteX18" fmla="*/ 3044 w 10044"/>
                  <a:gd name="connsiteY18" fmla="*/ 2129 h 10000"/>
                  <a:gd name="connsiteX19" fmla="*/ 3333 w 10044"/>
                  <a:gd name="connsiteY19" fmla="*/ 1535 h 10000"/>
                  <a:gd name="connsiteX20" fmla="*/ 3551 w 10044"/>
                  <a:gd name="connsiteY20" fmla="*/ 792 h 10000"/>
                  <a:gd name="connsiteX21" fmla="*/ 3696 w 10044"/>
                  <a:gd name="connsiteY21" fmla="*/ 0 h 10000"/>
                  <a:gd name="connsiteX22" fmla="*/ 3696 w 10044"/>
                  <a:gd name="connsiteY22" fmla="*/ 0 h 10000"/>
                  <a:gd name="connsiteX23" fmla="*/ 4348 w 10044"/>
                  <a:gd name="connsiteY23" fmla="*/ 297 h 10000"/>
                  <a:gd name="connsiteX24" fmla="*/ 10000 w 10044"/>
                  <a:gd name="connsiteY24" fmla="*/ 5495 h 10000"/>
                  <a:gd name="connsiteX25" fmla="*/ 6956 w 10044"/>
                  <a:gd name="connsiteY25" fmla="*/ 9703 h 10000"/>
                  <a:gd name="connsiteX26" fmla="*/ 6304 w 10044"/>
                  <a:gd name="connsiteY26" fmla="*/ 10000 h 10000"/>
                  <a:gd name="connsiteX27" fmla="*/ 4131 w 10044"/>
                  <a:gd name="connsiteY27"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4131 w 10024"/>
                  <a:gd name="connsiteY26" fmla="*/ 10000 h 10000"/>
                  <a:gd name="connsiteX0" fmla="*/ 4131 w 10024"/>
                  <a:gd name="connsiteY0" fmla="*/ 10000 h 10000"/>
                  <a:gd name="connsiteX1" fmla="*/ 4131 w 10024"/>
                  <a:gd name="connsiteY1" fmla="*/ 10000 h 10000"/>
                  <a:gd name="connsiteX2" fmla="*/ 3696 w 10024"/>
                  <a:gd name="connsiteY2" fmla="*/ 9851 h 10000"/>
                  <a:gd name="connsiteX3" fmla="*/ 2899 w 10024"/>
                  <a:gd name="connsiteY3" fmla="*/ 9554 h 10000"/>
                  <a:gd name="connsiteX4" fmla="*/ 1956 w 10024"/>
                  <a:gd name="connsiteY4" fmla="*/ 9059 h 10000"/>
                  <a:gd name="connsiteX5" fmla="*/ 1522 w 10024"/>
                  <a:gd name="connsiteY5" fmla="*/ 8762 h 10000"/>
                  <a:gd name="connsiteX6" fmla="*/ 1087 w 10024"/>
                  <a:gd name="connsiteY6" fmla="*/ 8366 h 10000"/>
                  <a:gd name="connsiteX7" fmla="*/ 652 w 10024"/>
                  <a:gd name="connsiteY7" fmla="*/ 7921 h 10000"/>
                  <a:gd name="connsiteX8" fmla="*/ 290 w 10024"/>
                  <a:gd name="connsiteY8" fmla="*/ 7475 h 10000"/>
                  <a:gd name="connsiteX9" fmla="*/ 73 w 10024"/>
                  <a:gd name="connsiteY9" fmla="*/ 6980 h 10000"/>
                  <a:gd name="connsiteX10" fmla="*/ 0 w 10024"/>
                  <a:gd name="connsiteY10" fmla="*/ 6436 h 10000"/>
                  <a:gd name="connsiteX11" fmla="*/ 73 w 10024"/>
                  <a:gd name="connsiteY11" fmla="*/ 5842 h 10000"/>
                  <a:gd name="connsiteX12" fmla="*/ 290 w 10024"/>
                  <a:gd name="connsiteY12" fmla="*/ 5198 h 10000"/>
                  <a:gd name="connsiteX13" fmla="*/ 869 w 10024"/>
                  <a:gd name="connsiteY13" fmla="*/ 4505 h 10000"/>
                  <a:gd name="connsiteX14" fmla="*/ 1594 w 10024"/>
                  <a:gd name="connsiteY14" fmla="*/ 3762 h 10000"/>
                  <a:gd name="connsiteX15" fmla="*/ 1594 w 10024"/>
                  <a:gd name="connsiteY15" fmla="*/ 3762 h 10000"/>
                  <a:gd name="connsiteX16" fmla="*/ 1956 w 10024"/>
                  <a:gd name="connsiteY16" fmla="*/ 3465 h 10000"/>
                  <a:gd name="connsiteX17" fmla="*/ 2609 w 10024"/>
                  <a:gd name="connsiteY17" fmla="*/ 2723 h 10000"/>
                  <a:gd name="connsiteX18" fmla="*/ 3044 w 10024"/>
                  <a:gd name="connsiteY18" fmla="*/ 2129 h 10000"/>
                  <a:gd name="connsiteX19" fmla="*/ 3333 w 10024"/>
                  <a:gd name="connsiteY19" fmla="*/ 1535 h 10000"/>
                  <a:gd name="connsiteX20" fmla="*/ 3551 w 10024"/>
                  <a:gd name="connsiteY20" fmla="*/ 792 h 10000"/>
                  <a:gd name="connsiteX21" fmla="*/ 3696 w 10024"/>
                  <a:gd name="connsiteY21" fmla="*/ 0 h 10000"/>
                  <a:gd name="connsiteX22" fmla="*/ 3696 w 10024"/>
                  <a:gd name="connsiteY22" fmla="*/ 0 h 10000"/>
                  <a:gd name="connsiteX23" fmla="*/ 4348 w 10024"/>
                  <a:gd name="connsiteY23" fmla="*/ 297 h 10000"/>
                  <a:gd name="connsiteX24" fmla="*/ 10000 w 10024"/>
                  <a:gd name="connsiteY24" fmla="*/ 5495 h 10000"/>
                  <a:gd name="connsiteX25" fmla="*/ 6304 w 10024"/>
                  <a:gd name="connsiteY25" fmla="*/ 10000 h 10000"/>
                  <a:gd name="connsiteX26" fmla="*/ 5029 w 10024"/>
                  <a:gd name="connsiteY26" fmla="*/ 9977 h 10000"/>
                  <a:gd name="connsiteX27" fmla="*/ 4131 w 10024"/>
                  <a:gd name="connsiteY27" fmla="*/ 10000 h 10000"/>
                  <a:gd name="connsiteX0" fmla="*/ 4131 w 10002"/>
                  <a:gd name="connsiteY0" fmla="*/ 10000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26" fmla="*/ 4131 w 10002"/>
                  <a:gd name="connsiteY26" fmla="*/ 10000 h 10000"/>
                  <a:gd name="connsiteX0" fmla="*/ 5029 w 10002"/>
                  <a:gd name="connsiteY0" fmla="*/ 9977 h 10000"/>
                  <a:gd name="connsiteX1" fmla="*/ 4131 w 10002"/>
                  <a:gd name="connsiteY1" fmla="*/ 10000 h 10000"/>
                  <a:gd name="connsiteX2" fmla="*/ 3696 w 10002"/>
                  <a:gd name="connsiteY2" fmla="*/ 9851 h 10000"/>
                  <a:gd name="connsiteX3" fmla="*/ 2899 w 10002"/>
                  <a:gd name="connsiteY3" fmla="*/ 9554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3696 w 10002"/>
                  <a:gd name="connsiteY2" fmla="*/ 9851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10000"/>
                  <a:gd name="connsiteX1" fmla="*/ 4131 w 10002"/>
                  <a:gd name="connsiteY1" fmla="*/ 10000 h 10000"/>
                  <a:gd name="connsiteX2" fmla="*/ 3696 w 10002"/>
                  <a:gd name="connsiteY2" fmla="*/ 9851 h 10000"/>
                  <a:gd name="connsiteX3" fmla="*/ 2984 w 10002"/>
                  <a:gd name="connsiteY3" fmla="*/ 9495 h 10000"/>
                  <a:gd name="connsiteX4" fmla="*/ 1956 w 10002"/>
                  <a:gd name="connsiteY4" fmla="*/ 9059 h 10000"/>
                  <a:gd name="connsiteX5" fmla="*/ 1522 w 10002"/>
                  <a:gd name="connsiteY5" fmla="*/ 8762 h 10000"/>
                  <a:gd name="connsiteX6" fmla="*/ 1087 w 10002"/>
                  <a:gd name="connsiteY6" fmla="*/ 8366 h 10000"/>
                  <a:gd name="connsiteX7" fmla="*/ 652 w 10002"/>
                  <a:gd name="connsiteY7" fmla="*/ 7921 h 10000"/>
                  <a:gd name="connsiteX8" fmla="*/ 290 w 10002"/>
                  <a:gd name="connsiteY8" fmla="*/ 7475 h 10000"/>
                  <a:gd name="connsiteX9" fmla="*/ 73 w 10002"/>
                  <a:gd name="connsiteY9" fmla="*/ 6980 h 10000"/>
                  <a:gd name="connsiteX10" fmla="*/ 0 w 10002"/>
                  <a:gd name="connsiteY10" fmla="*/ 6436 h 10000"/>
                  <a:gd name="connsiteX11" fmla="*/ 73 w 10002"/>
                  <a:gd name="connsiteY11" fmla="*/ 5842 h 10000"/>
                  <a:gd name="connsiteX12" fmla="*/ 290 w 10002"/>
                  <a:gd name="connsiteY12" fmla="*/ 5198 h 10000"/>
                  <a:gd name="connsiteX13" fmla="*/ 869 w 10002"/>
                  <a:gd name="connsiteY13" fmla="*/ 4505 h 10000"/>
                  <a:gd name="connsiteX14" fmla="*/ 1594 w 10002"/>
                  <a:gd name="connsiteY14" fmla="*/ 3762 h 10000"/>
                  <a:gd name="connsiteX15" fmla="*/ 1594 w 10002"/>
                  <a:gd name="connsiteY15" fmla="*/ 3762 h 10000"/>
                  <a:gd name="connsiteX16" fmla="*/ 1956 w 10002"/>
                  <a:gd name="connsiteY16" fmla="*/ 3465 h 10000"/>
                  <a:gd name="connsiteX17" fmla="*/ 2609 w 10002"/>
                  <a:gd name="connsiteY17" fmla="*/ 2723 h 10000"/>
                  <a:gd name="connsiteX18" fmla="*/ 3044 w 10002"/>
                  <a:gd name="connsiteY18" fmla="*/ 2129 h 10000"/>
                  <a:gd name="connsiteX19" fmla="*/ 3333 w 10002"/>
                  <a:gd name="connsiteY19" fmla="*/ 1535 h 10000"/>
                  <a:gd name="connsiteX20" fmla="*/ 3551 w 10002"/>
                  <a:gd name="connsiteY20" fmla="*/ 792 h 10000"/>
                  <a:gd name="connsiteX21" fmla="*/ 3696 w 10002"/>
                  <a:gd name="connsiteY21" fmla="*/ 0 h 10000"/>
                  <a:gd name="connsiteX22" fmla="*/ 3696 w 10002"/>
                  <a:gd name="connsiteY22" fmla="*/ 0 h 10000"/>
                  <a:gd name="connsiteX23" fmla="*/ 4348 w 10002"/>
                  <a:gd name="connsiteY23" fmla="*/ 297 h 10000"/>
                  <a:gd name="connsiteX24" fmla="*/ 10000 w 10002"/>
                  <a:gd name="connsiteY24" fmla="*/ 5495 h 10000"/>
                  <a:gd name="connsiteX25" fmla="*/ 5029 w 10002"/>
                  <a:gd name="connsiteY25" fmla="*/ 9977 h 10000"/>
                  <a:gd name="connsiteX0" fmla="*/ 5029 w 10002"/>
                  <a:gd name="connsiteY0" fmla="*/ 9977 h 10000"/>
                  <a:gd name="connsiteX1" fmla="*/ 4131 w 10002"/>
                  <a:gd name="connsiteY1" fmla="*/ 10000 h 10000"/>
                  <a:gd name="connsiteX2" fmla="*/ 2984 w 10002"/>
                  <a:gd name="connsiteY2" fmla="*/ 9495 h 10000"/>
                  <a:gd name="connsiteX3" fmla="*/ 1956 w 10002"/>
                  <a:gd name="connsiteY3" fmla="*/ 9059 h 10000"/>
                  <a:gd name="connsiteX4" fmla="*/ 1522 w 10002"/>
                  <a:gd name="connsiteY4" fmla="*/ 8762 h 10000"/>
                  <a:gd name="connsiteX5" fmla="*/ 1087 w 10002"/>
                  <a:gd name="connsiteY5" fmla="*/ 8366 h 10000"/>
                  <a:gd name="connsiteX6" fmla="*/ 652 w 10002"/>
                  <a:gd name="connsiteY6" fmla="*/ 7921 h 10000"/>
                  <a:gd name="connsiteX7" fmla="*/ 290 w 10002"/>
                  <a:gd name="connsiteY7" fmla="*/ 7475 h 10000"/>
                  <a:gd name="connsiteX8" fmla="*/ 73 w 10002"/>
                  <a:gd name="connsiteY8" fmla="*/ 6980 h 10000"/>
                  <a:gd name="connsiteX9" fmla="*/ 0 w 10002"/>
                  <a:gd name="connsiteY9" fmla="*/ 6436 h 10000"/>
                  <a:gd name="connsiteX10" fmla="*/ 73 w 10002"/>
                  <a:gd name="connsiteY10" fmla="*/ 5842 h 10000"/>
                  <a:gd name="connsiteX11" fmla="*/ 290 w 10002"/>
                  <a:gd name="connsiteY11" fmla="*/ 5198 h 10000"/>
                  <a:gd name="connsiteX12" fmla="*/ 869 w 10002"/>
                  <a:gd name="connsiteY12" fmla="*/ 4505 h 10000"/>
                  <a:gd name="connsiteX13" fmla="*/ 1594 w 10002"/>
                  <a:gd name="connsiteY13" fmla="*/ 3762 h 10000"/>
                  <a:gd name="connsiteX14" fmla="*/ 1594 w 10002"/>
                  <a:gd name="connsiteY14" fmla="*/ 3762 h 10000"/>
                  <a:gd name="connsiteX15" fmla="*/ 1956 w 10002"/>
                  <a:gd name="connsiteY15" fmla="*/ 3465 h 10000"/>
                  <a:gd name="connsiteX16" fmla="*/ 2609 w 10002"/>
                  <a:gd name="connsiteY16" fmla="*/ 2723 h 10000"/>
                  <a:gd name="connsiteX17" fmla="*/ 3044 w 10002"/>
                  <a:gd name="connsiteY17" fmla="*/ 2129 h 10000"/>
                  <a:gd name="connsiteX18" fmla="*/ 3333 w 10002"/>
                  <a:gd name="connsiteY18" fmla="*/ 1535 h 10000"/>
                  <a:gd name="connsiteX19" fmla="*/ 3551 w 10002"/>
                  <a:gd name="connsiteY19" fmla="*/ 792 h 10000"/>
                  <a:gd name="connsiteX20" fmla="*/ 3696 w 10002"/>
                  <a:gd name="connsiteY20" fmla="*/ 0 h 10000"/>
                  <a:gd name="connsiteX21" fmla="*/ 3696 w 10002"/>
                  <a:gd name="connsiteY21" fmla="*/ 0 h 10000"/>
                  <a:gd name="connsiteX22" fmla="*/ 4348 w 10002"/>
                  <a:gd name="connsiteY22" fmla="*/ 297 h 10000"/>
                  <a:gd name="connsiteX23" fmla="*/ 10000 w 10002"/>
                  <a:gd name="connsiteY23" fmla="*/ 5495 h 10000"/>
                  <a:gd name="connsiteX24" fmla="*/ 5029 w 10002"/>
                  <a:gd name="connsiteY24" fmla="*/ 9977 h 10000"/>
                  <a:gd name="connsiteX0" fmla="*/ 5029 w 10002"/>
                  <a:gd name="connsiteY0" fmla="*/ 9977 h 9977"/>
                  <a:gd name="connsiteX1" fmla="*/ 2984 w 10002"/>
                  <a:gd name="connsiteY1" fmla="*/ 9495 h 9977"/>
                  <a:gd name="connsiteX2" fmla="*/ 1956 w 10002"/>
                  <a:gd name="connsiteY2" fmla="*/ 9059 h 9977"/>
                  <a:gd name="connsiteX3" fmla="*/ 1522 w 10002"/>
                  <a:gd name="connsiteY3" fmla="*/ 8762 h 9977"/>
                  <a:gd name="connsiteX4" fmla="*/ 1087 w 10002"/>
                  <a:gd name="connsiteY4" fmla="*/ 8366 h 9977"/>
                  <a:gd name="connsiteX5" fmla="*/ 652 w 10002"/>
                  <a:gd name="connsiteY5" fmla="*/ 7921 h 9977"/>
                  <a:gd name="connsiteX6" fmla="*/ 290 w 10002"/>
                  <a:gd name="connsiteY6" fmla="*/ 7475 h 9977"/>
                  <a:gd name="connsiteX7" fmla="*/ 73 w 10002"/>
                  <a:gd name="connsiteY7" fmla="*/ 6980 h 9977"/>
                  <a:gd name="connsiteX8" fmla="*/ 0 w 10002"/>
                  <a:gd name="connsiteY8" fmla="*/ 6436 h 9977"/>
                  <a:gd name="connsiteX9" fmla="*/ 73 w 10002"/>
                  <a:gd name="connsiteY9" fmla="*/ 5842 h 9977"/>
                  <a:gd name="connsiteX10" fmla="*/ 290 w 10002"/>
                  <a:gd name="connsiteY10" fmla="*/ 5198 h 9977"/>
                  <a:gd name="connsiteX11" fmla="*/ 869 w 10002"/>
                  <a:gd name="connsiteY11" fmla="*/ 4505 h 9977"/>
                  <a:gd name="connsiteX12" fmla="*/ 1594 w 10002"/>
                  <a:gd name="connsiteY12" fmla="*/ 3762 h 9977"/>
                  <a:gd name="connsiteX13" fmla="*/ 1594 w 10002"/>
                  <a:gd name="connsiteY13" fmla="*/ 3762 h 9977"/>
                  <a:gd name="connsiteX14" fmla="*/ 1956 w 10002"/>
                  <a:gd name="connsiteY14" fmla="*/ 3465 h 9977"/>
                  <a:gd name="connsiteX15" fmla="*/ 2609 w 10002"/>
                  <a:gd name="connsiteY15" fmla="*/ 2723 h 9977"/>
                  <a:gd name="connsiteX16" fmla="*/ 3044 w 10002"/>
                  <a:gd name="connsiteY16" fmla="*/ 2129 h 9977"/>
                  <a:gd name="connsiteX17" fmla="*/ 3333 w 10002"/>
                  <a:gd name="connsiteY17" fmla="*/ 1535 h 9977"/>
                  <a:gd name="connsiteX18" fmla="*/ 3551 w 10002"/>
                  <a:gd name="connsiteY18" fmla="*/ 792 h 9977"/>
                  <a:gd name="connsiteX19" fmla="*/ 3696 w 10002"/>
                  <a:gd name="connsiteY19" fmla="*/ 0 h 9977"/>
                  <a:gd name="connsiteX20" fmla="*/ 3696 w 10002"/>
                  <a:gd name="connsiteY20" fmla="*/ 0 h 9977"/>
                  <a:gd name="connsiteX21" fmla="*/ 4348 w 10002"/>
                  <a:gd name="connsiteY21" fmla="*/ 297 h 9977"/>
                  <a:gd name="connsiteX22" fmla="*/ 10000 w 10002"/>
                  <a:gd name="connsiteY22" fmla="*/ 5495 h 9977"/>
                  <a:gd name="connsiteX23" fmla="*/ 5029 w 10002"/>
                  <a:gd name="connsiteY23" fmla="*/ 9977 h 9977"/>
                  <a:gd name="connsiteX0" fmla="*/ 5028 w 10000"/>
                  <a:gd name="connsiteY0" fmla="*/ 10000 h 10000"/>
                  <a:gd name="connsiteX1" fmla="*/ 1956 w 10000"/>
                  <a:gd name="connsiteY1" fmla="*/ 9080 h 10000"/>
                  <a:gd name="connsiteX2" fmla="*/ 1522 w 10000"/>
                  <a:gd name="connsiteY2" fmla="*/ 8782 h 10000"/>
                  <a:gd name="connsiteX3" fmla="*/ 1087 w 10000"/>
                  <a:gd name="connsiteY3" fmla="*/ 8385 h 10000"/>
                  <a:gd name="connsiteX4" fmla="*/ 652 w 10000"/>
                  <a:gd name="connsiteY4" fmla="*/ 7939 h 10000"/>
                  <a:gd name="connsiteX5" fmla="*/ 290 w 10000"/>
                  <a:gd name="connsiteY5" fmla="*/ 7492 h 10000"/>
                  <a:gd name="connsiteX6" fmla="*/ 73 w 10000"/>
                  <a:gd name="connsiteY6" fmla="*/ 6996 h 10000"/>
                  <a:gd name="connsiteX7" fmla="*/ 0 w 10000"/>
                  <a:gd name="connsiteY7" fmla="*/ 6451 h 10000"/>
                  <a:gd name="connsiteX8" fmla="*/ 73 w 10000"/>
                  <a:gd name="connsiteY8" fmla="*/ 5855 h 10000"/>
                  <a:gd name="connsiteX9" fmla="*/ 290 w 10000"/>
                  <a:gd name="connsiteY9" fmla="*/ 5210 h 10000"/>
                  <a:gd name="connsiteX10" fmla="*/ 869 w 10000"/>
                  <a:gd name="connsiteY10" fmla="*/ 4515 h 10000"/>
                  <a:gd name="connsiteX11" fmla="*/ 1594 w 10000"/>
                  <a:gd name="connsiteY11" fmla="*/ 3771 h 10000"/>
                  <a:gd name="connsiteX12" fmla="*/ 1594 w 10000"/>
                  <a:gd name="connsiteY12" fmla="*/ 3771 h 10000"/>
                  <a:gd name="connsiteX13" fmla="*/ 1956 w 10000"/>
                  <a:gd name="connsiteY13" fmla="*/ 3473 h 10000"/>
                  <a:gd name="connsiteX14" fmla="*/ 2608 w 10000"/>
                  <a:gd name="connsiteY14" fmla="*/ 2729 h 10000"/>
                  <a:gd name="connsiteX15" fmla="*/ 3043 w 10000"/>
                  <a:gd name="connsiteY15" fmla="*/ 2134 h 10000"/>
                  <a:gd name="connsiteX16" fmla="*/ 3332 w 10000"/>
                  <a:gd name="connsiteY16" fmla="*/ 1539 h 10000"/>
                  <a:gd name="connsiteX17" fmla="*/ 3550 w 10000"/>
                  <a:gd name="connsiteY17" fmla="*/ 794 h 10000"/>
                  <a:gd name="connsiteX18" fmla="*/ 3695 w 10000"/>
                  <a:gd name="connsiteY18" fmla="*/ 0 h 10000"/>
                  <a:gd name="connsiteX19" fmla="*/ 3695 w 10000"/>
                  <a:gd name="connsiteY19" fmla="*/ 0 h 10000"/>
                  <a:gd name="connsiteX20" fmla="*/ 4347 w 10000"/>
                  <a:gd name="connsiteY20" fmla="*/ 298 h 10000"/>
                  <a:gd name="connsiteX21" fmla="*/ 9998 w 10000"/>
                  <a:gd name="connsiteY21" fmla="*/ 5508 h 10000"/>
                  <a:gd name="connsiteX22" fmla="*/ 5028 w 10000"/>
                  <a:gd name="connsiteY22" fmla="*/ 10000 h 10000"/>
                  <a:gd name="connsiteX0" fmla="*/ 5028 w 10000"/>
                  <a:gd name="connsiteY0" fmla="*/ 10000 h 10000"/>
                  <a:gd name="connsiteX1" fmla="*/ 1956 w 10000"/>
                  <a:gd name="connsiteY1" fmla="*/ 9080 h 10000"/>
                  <a:gd name="connsiteX2" fmla="*/ 1087 w 10000"/>
                  <a:gd name="connsiteY2" fmla="*/ 8385 h 10000"/>
                  <a:gd name="connsiteX3" fmla="*/ 652 w 10000"/>
                  <a:gd name="connsiteY3" fmla="*/ 7939 h 10000"/>
                  <a:gd name="connsiteX4" fmla="*/ 290 w 10000"/>
                  <a:gd name="connsiteY4" fmla="*/ 7492 h 10000"/>
                  <a:gd name="connsiteX5" fmla="*/ 73 w 10000"/>
                  <a:gd name="connsiteY5" fmla="*/ 6996 h 10000"/>
                  <a:gd name="connsiteX6" fmla="*/ 0 w 10000"/>
                  <a:gd name="connsiteY6" fmla="*/ 6451 h 10000"/>
                  <a:gd name="connsiteX7" fmla="*/ 73 w 10000"/>
                  <a:gd name="connsiteY7" fmla="*/ 5855 h 10000"/>
                  <a:gd name="connsiteX8" fmla="*/ 290 w 10000"/>
                  <a:gd name="connsiteY8" fmla="*/ 5210 h 10000"/>
                  <a:gd name="connsiteX9" fmla="*/ 869 w 10000"/>
                  <a:gd name="connsiteY9" fmla="*/ 4515 h 10000"/>
                  <a:gd name="connsiteX10" fmla="*/ 1594 w 10000"/>
                  <a:gd name="connsiteY10" fmla="*/ 3771 h 10000"/>
                  <a:gd name="connsiteX11" fmla="*/ 1594 w 10000"/>
                  <a:gd name="connsiteY11" fmla="*/ 3771 h 10000"/>
                  <a:gd name="connsiteX12" fmla="*/ 1956 w 10000"/>
                  <a:gd name="connsiteY12" fmla="*/ 3473 h 10000"/>
                  <a:gd name="connsiteX13" fmla="*/ 2608 w 10000"/>
                  <a:gd name="connsiteY13" fmla="*/ 2729 h 10000"/>
                  <a:gd name="connsiteX14" fmla="*/ 3043 w 10000"/>
                  <a:gd name="connsiteY14" fmla="*/ 2134 h 10000"/>
                  <a:gd name="connsiteX15" fmla="*/ 3332 w 10000"/>
                  <a:gd name="connsiteY15" fmla="*/ 1539 h 10000"/>
                  <a:gd name="connsiteX16" fmla="*/ 3550 w 10000"/>
                  <a:gd name="connsiteY16" fmla="*/ 794 h 10000"/>
                  <a:gd name="connsiteX17" fmla="*/ 3695 w 10000"/>
                  <a:gd name="connsiteY17" fmla="*/ 0 h 10000"/>
                  <a:gd name="connsiteX18" fmla="*/ 3695 w 10000"/>
                  <a:gd name="connsiteY18" fmla="*/ 0 h 10000"/>
                  <a:gd name="connsiteX19" fmla="*/ 4347 w 10000"/>
                  <a:gd name="connsiteY19" fmla="*/ 298 h 10000"/>
                  <a:gd name="connsiteX20" fmla="*/ 9998 w 10000"/>
                  <a:gd name="connsiteY20" fmla="*/ 5508 h 10000"/>
                  <a:gd name="connsiteX21" fmla="*/ 5028 w 10000"/>
                  <a:gd name="connsiteY21" fmla="*/ 10000 h 10000"/>
                  <a:gd name="connsiteX0" fmla="*/ 5028 w 10000"/>
                  <a:gd name="connsiteY0" fmla="*/ 10000 h 10000"/>
                  <a:gd name="connsiteX1" fmla="*/ 1087 w 10000"/>
                  <a:gd name="connsiteY1" fmla="*/ 8385 h 10000"/>
                  <a:gd name="connsiteX2" fmla="*/ 652 w 10000"/>
                  <a:gd name="connsiteY2" fmla="*/ 7939 h 10000"/>
                  <a:gd name="connsiteX3" fmla="*/ 290 w 10000"/>
                  <a:gd name="connsiteY3" fmla="*/ 7492 h 10000"/>
                  <a:gd name="connsiteX4" fmla="*/ 73 w 10000"/>
                  <a:gd name="connsiteY4" fmla="*/ 6996 h 10000"/>
                  <a:gd name="connsiteX5" fmla="*/ 0 w 10000"/>
                  <a:gd name="connsiteY5" fmla="*/ 6451 h 10000"/>
                  <a:gd name="connsiteX6" fmla="*/ 73 w 10000"/>
                  <a:gd name="connsiteY6" fmla="*/ 5855 h 10000"/>
                  <a:gd name="connsiteX7" fmla="*/ 290 w 10000"/>
                  <a:gd name="connsiteY7" fmla="*/ 5210 h 10000"/>
                  <a:gd name="connsiteX8" fmla="*/ 869 w 10000"/>
                  <a:gd name="connsiteY8" fmla="*/ 4515 h 10000"/>
                  <a:gd name="connsiteX9" fmla="*/ 1594 w 10000"/>
                  <a:gd name="connsiteY9" fmla="*/ 3771 h 10000"/>
                  <a:gd name="connsiteX10" fmla="*/ 1594 w 10000"/>
                  <a:gd name="connsiteY10" fmla="*/ 3771 h 10000"/>
                  <a:gd name="connsiteX11" fmla="*/ 1956 w 10000"/>
                  <a:gd name="connsiteY11" fmla="*/ 3473 h 10000"/>
                  <a:gd name="connsiteX12" fmla="*/ 2608 w 10000"/>
                  <a:gd name="connsiteY12" fmla="*/ 2729 h 10000"/>
                  <a:gd name="connsiteX13" fmla="*/ 3043 w 10000"/>
                  <a:gd name="connsiteY13" fmla="*/ 2134 h 10000"/>
                  <a:gd name="connsiteX14" fmla="*/ 3332 w 10000"/>
                  <a:gd name="connsiteY14" fmla="*/ 1539 h 10000"/>
                  <a:gd name="connsiteX15" fmla="*/ 3550 w 10000"/>
                  <a:gd name="connsiteY15" fmla="*/ 794 h 10000"/>
                  <a:gd name="connsiteX16" fmla="*/ 3695 w 10000"/>
                  <a:gd name="connsiteY16" fmla="*/ 0 h 10000"/>
                  <a:gd name="connsiteX17" fmla="*/ 3695 w 10000"/>
                  <a:gd name="connsiteY17" fmla="*/ 0 h 10000"/>
                  <a:gd name="connsiteX18" fmla="*/ 4347 w 10000"/>
                  <a:gd name="connsiteY18" fmla="*/ 298 h 10000"/>
                  <a:gd name="connsiteX19" fmla="*/ 9998 w 10000"/>
                  <a:gd name="connsiteY19" fmla="*/ 5508 h 10000"/>
                  <a:gd name="connsiteX20" fmla="*/ 5028 w 10000"/>
                  <a:gd name="connsiteY20" fmla="*/ 10000 h 10000"/>
                  <a:gd name="connsiteX0" fmla="*/ 5028 w 10000"/>
                  <a:gd name="connsiteY0" fmla="*/ 10000 h 10000"/>
                  <a:gd name="connsiteX1" fmla="*/ 652 w 10000"/>
                  <a:gd name="connsiteY1" fmla="*/ 7939 h 10000"/>
                  <a:gd name="connsiteX2" fmla="*/ 290 w 10000"/>
                  <a:gd name="connsiteY2" fmla="*/ 7492 h 10000"/>
                  <a:gd name="connsiteX3" fmla="*/ 73 w 10000"/>
                  <a:gd name="connsiteY3" fmla="*/ 6996 h 10000"/>
                  <a:gd name="connsiteX4" fmla="*/ 0 w 10000"/>
                  <a:gd name="connsiteY4" fmla="*/ 6451 h 10000"/>
                  <a:gd name="connsiteX5" fmla="*/ 73 w 10000"/>
                  <a:gd name="connsiteY5" fmla="*/ 5855 h 10000"/>
                  <a:gd name="connsiteX6" fmla="*/ 290 w 10000"/>
                  <a:gd name="connsiteY6" fmla="*/ 5210 h 10000"/>
                  <a:gd name="connsiteX7" fmla="*/ 869 w 10000"/>
                  <a:gd name="connsiteY7" fmla="*/ 4515 h 10000"/>
                  <a:gd name="connsiteX8" fmla="*/ 1594 w 10000"/>
                  <a:gd name="connsiteY8" fmla="*/ 3771 h 10000"/>
                  <a:gd name="connsiteX9" fmla="*/ 1594 w 10000"/>
                  <a:gd name="connsiteY9" fmla="*/ 3771 h 10000"/>
                  <a:gd name="connsiteX10" fmla="*/ 1956 w 10000"/>
                  <a:gd name="connsiteY10" fmla="*/ 3473 h 10000"/>
                  <a:gd name="connsiteX11" fmla="*/ 2608 w 10000"/>
                  <a:gd name="connsiteY11" fmla="*/ 2729 h 10000"/>
                  <a:gd name="connsiteX12" fmla="*/ 3043 w 10000"/>
                  <a:gd name="connsiteY12" fmla="*/ 2134 h 10000"/>
                  <a:gd name="connsiteX13" fmla="*/ 3332 w 10000"/>
                  <a:gd name="connsiteY13" fmla="*/ 1539 h 10000"/>
                  <a:gd name="connsiteX14" fmla="*/ 3550 w 10000"/>
                  <a:gd name="connsiteY14" fmla="*/ 794 h 10000"/>
                  <a:gd name="connsiteX15" fmla="*/ 3695 w 10000"/>
                  <a:gd name="connsiteY15" fmla="*/ 0 h 10000"/>
                  <a:gd name="connsiteX16" fmla="*/ 3695 w 10000"/>
                  <a:gd name="connsiteY16" fmla="*/ 0 h 10000"/>
                  <a:gd name="connsiteX17" fmla="*/ 4347 w 10000"/>
                  <a:gd name="connsiteY17" fmla="*/ 298 h 10000"/>
                  <a:gd name="connsiteX18" fmla="*/ 9998 w 10000"/>
                  <a:gd name="connsiteY18" fmla="*/ 5508 h 10000"/>
                  <a:gd name="connsiteX19" fmla="*/ 5028 w 10000"/>
                  <a:gd name="connsiteY19" fmla="*/ 10000 h 10000"/>
                  <a:gd name="connsiteX0" fmla="*/ 5028 w 10000"/>
                  <a:gd name="connsiteY0" fmla="*/ 10000 h 10000"/>
                  <a:gd name="connsiteX1" fmla="*/ 290 w 10000"/>
                  <a:gd name="connsiteY1" fmla="*/ 7492 h 10000"/>
                  <a:gd name="connsiteX2" fmla="*/ 73 w 10000"/>
                  <a:gd name="connsiteY2" fmla="*/ 6996 h 10000"/>
                  <a:gd name="connsiteX3" fmla="*/ 0 w 10000"/>
                  <a:gd name="connsiteY3" fmla="*/ 6451 h 10000"/>
                  <a:gd name="connsiteX4" fmla="*/ 73 w 10000"/>
                  <a:gd name="connsiteY4" fmla="*/ 5855 h 10000"/>
                  <a:gd name="connsiteX5" fmla="*/ 290 w 10000"/>
                  <a:gd name="connsiteY5" fmla="*/ 5210 h 10000"/>
                  <a:gd name="connsiteX6" fmla="*/ 869 w 10000"/>
                  <a:gd name="connsiteY6" fmla="*/ 4515 h 10000"/>
                  <a:gd name="connsiteX7" fmla="*/ 1594 w 10000"/>
                  <a:gd name="connsiteY7" fmla="*/ 3771 h 10000"/>
                  <a:gd name="connsiteX8" fmla="*/ 1594 w 10000"/>
                  <a:gd name="connsiteY8" fmla="*/ 3771 h 10000"/>
                  <a:gd name="connsiteX9" fmla="*/ 1956 w 10000"/>
                  <a:gd name="connsiteY9" fmla="*/ 3473 h 10000"/>
                  <a:gd name="connsiteX10" fmla="*/ 2608 w 10000"/>
                  <a:gd name="connsiteY10" fmla="*/ 2729 h 10000"/>
                  <a:gd name="connsiteX11" fmla="*/ 3043 w 10000"/>
                  <a:gd name="connsiteY11" fmla="*/ 2134 h 10000"/>
                  <a:gd name="connsiteX12" fmla="*/ 3332 w 10000"/>
                  <a:gd name="connsiteY12" fmla="*/ 1539 h 10000"/>
                  <a:gd name="connsiteX13" fmla="*/ 3550 w 10000"/>
                  <a:gd name="connsiteY13" fmla="*/ 794 h 10000"/>
                  <a:gd name="connsiteX14" fmla="*/ 3695 w 10000"/>
                  <a:gd name="connsiteY14" fmla="*/ 0 h 10000"/>
                  <a:gd name="connsiteX15" fmla="*/ 3695 w 10000"/>
                  <a:gd name="connsiteY15" fmla="*/ 0 h 10000"/>
                  <a:gd name="connsiteX16" fmla="*/ 4347 w 10000"/>
                  <a:gd name="connsiteY16" fmla="*/ 298 h 10000"/>
                  <a:gd name="connsiteX17" fmla="*/ 9998 w 10000"/>
                  <a:gd name="connsiteY17" fmla="*/ 5508 h 10000"/>
                  <a:gd name="connsiteX18" fmla="*/ 5028 w 10000"/>
                  <a:gd name="connsiteY18" fmla="*/ 10000 h 10000"/>
                  <a:gd name="connsiteX0" fmla="*/ 5028 w 10000"/>
                  <a:gd name="connsiteY0" fmla="*/ 10000 h 10000"/>
                  <a:gd name="connsiteX1" fmla="*/ 73 w 10000"/>
                  <a:gd name="connsiteY1" fmla="*/ 6996 h 10000"/>
                  <a:gd name="connsiteX2" fmla="*/ 0 w 10000"/>
                  <a:gd name="connsiteY2" fmla="*/ 6451 h 10000"/>
                  <a:gd name="connsiteX3" fmla="*/ 73 w 10000"/>
                  <a:gd name="connsiteY3" fmla="*/ 5855 h 10000"/>
                  <a:gd name="connsiteX4" fmla="*/ 290 w 10000"/>
                  <a:gd name="connsiteY4" fmla="*/ 5210 h 10000"/>
                  <a:gd name="connsiteX5" fmla="*/ 869 w 10000"/>
                  <a:gd name="connsiteY5" fmla="*/ 4515 h 10000"/>
                  <a:gd name="connsiteX6" fmla="*/ 1594 w 10000"/>
                  <a:gd name="connsiteY6" fmla="*/ 3771 h 10000"/>
                  <a:gd name="connsiteX7" fmla="*/ 1594 w 10000"/>
                  <a:gd name="connsiteY7" fmla="*/ 3771 h 10000"/>
                  <a:gd name="connsiteX8" fmla="*/ 1956 w 10000"/>
                  <a:gd name="connsiteY8" fmla="*/ 3473 h 10000"/>
                  <a:gd name="connsiteX9" fmla="*/ 2608 w 10000"/>
                  <a:gd name="connsiteY9" fmla="*/ 2729 h 10000"/>
                  <a:gd name="connsiteX10" fmla="*/ 3043 w 10000"/>
                  <a:gd name="connsiteY10" fmla="*/ 2134 h 10000"/>
                  <a:gd name="connsiteX11" fmla="*/ 3332 w 10000"/>
                  <a:gd name="connsiteY11" fmla="*/ 1539 h 10000"/>
                  <a:gd name="connsiteX12" fmla="*/ 3550 w 10000"/>
                  <a:gd name="connsiteY12" fmla="*/ 794 h 10000"/>
                  <a:gd name="connsiteX13" fmla="*/ 3695 w 10000"/>
                  <a:gd name="connsiteY13" fmla="*/ 0 h 10000"/>
                  <a:gd name="connsiteX14" fmla="*/ 3695 w 10000"/>
                  <a:gd name="connsiteY14" fmla="*/ 0 h 10000"/>
                  <a:gd name="connsiteX15" fmla="*/ 4347 w 10000"/>
                  <a:gd name="connsiteY15" fmla="*/ 298 h 10000"/>
                  <a:gd name="connsiteX16" fmla="*/ 9998 w 10000"/>
                  <a:gd name="connsiteY16" fmla="*/ 5508 h 10000"/>
                  <a:gd name="connsiteX17" fmla="*/ 5028 w 10000"/>
                  <a:gd name="connsiteY17" fmla="*/ 10000 h 10000"/>
                  <a:gd name="connsiteX0" fmla="*/ 5028 w 10000"/>
                  <a:gd name="connsiteY0" fmla="*/ 10000 h 10000"/>
                  <a:gd name="connsiteX1" fmla="*/ 0 w 10000"/>
                  <a:gd name="connsiteY1" fmla="*/ 6451 h 10000"/>
                  <a:gd name="connsiteX2" fmla="*/ 73 w 10000"/>
                  <a:gd name="connsiteY2" fmla="*/ 5855 h 10000"/>
                  <a:gd name="connsiteX3" fmla="*/ 290 w 10000"/>
                  <a:gd name="connsiteY3" fmla="*/ 5210 h 10000"/>
                  <a:gd name="connsiteX4" fmla="*/ 869 w 10000"/>
                  <a:gd name="connsiteY4" fmla="*/ 4515 h 10000"/>
                  <a:gd name="connsiteX5" fmla="*/ 1594 w 10000"/>
                  <a:gd name="connsiteY5" fmla="*/ 3771 h 10000"/>
                  <a:gd name="connsiteX6" fmla="*/ 1594 w 10000"/>
                  <a:gd name="connsiteY6" fmla="*/ 3771 h 10000"/>
                  <a:gd name="connsiteX7" fmla="*/ 1956 w 10000"/>
                  <a:gd name="connsiteY7" fmla="*/ 3473 h 10000"/>
                  <a:gd name="connsiteX8" fmla="*/ 2608 w 10000"/>
                  <a:gd name="connsiteY8" fmla="*/ 2729 h 10000"/>
                  <a:gd name="connsiteX9" fmla="*/ 3043 w 10000"/>
                  <a:gd name="connsiteY9" fmla="*/ 2134 h 10000"/>
                  <a:gd name="connsiteX10" fmla="*/ 3332 w 10000"/>
                  <a:gd name="connsiteY10" fmla="*/ 1539 h 10000"/>
                  <a:gd name="connsiteX11" fmla="*/ 3550 w 10000"/>
                  <a:gd name="connsiteY11" fmla="*/ 794 h 10000"/>
                  <a:gd name="connsiteX12" fmla="*/ 3695 w 10000"/>
                  <a:gd name="connsiteY12" fmla="*/ 0 h 10000"/>
                  <a:gd name="connsiteX13" fmla="*/ 3695 w 10000"/>
                  <a:gd name="connsiteY13" fmla="*/ 0 h 10000"/>
                  <a:gd name="connsiteX14" fmla="*/ 4347 w 10000"/>
                  <a:gd name="connsiteY14" fmla="*/ 298 h 10000"/>
                  <a:gd name="connsiteX15" fmla="*/ 9998 w 10000"/>
                  <a:gd name="connsiteY15" fmla="*/ 5508 h 10000"/>
                  <a:gd name="connsiteX16" fmla="*/ 5028 w 10000"/>
                  <a:gd name="connsiteY16" fmla="*/ 10000 h 10000"/>
                  <a:gd name="connsiteX0" fmla="*/ 4955 w 9927"/>
                  <a:gd name="connsiteY0" fmla="*/ 10000 h 10000"/>
                  <a:gd name="connsiteX1" fmla="*/ 0 w 9927"/>
                  <a:gd name="connsiteY1" fmla="*/ 5855 h 10000"/>
                  <a:gd name="connsiteX2" fmla="*/ 217 w 9927"/>
                  <a:gd name="connsiteY2" fmla="*/ 5210 h 10000"/>
                  <a:gd name="connsiteX3" fmla="*/ 796 w 9927"/>
                  <a:gd name="connsiteY3" fmla="*/ 4515 h 10000"/>
                  <a:gd name="connsiteX4" fmla="*/ 1521 w 9927"/>
                  <a:gd name="connsiteY4" fmla="*/ 3771 h 10000"/>
                  <a:gd name="connsiteX5" fmla="*/ 1521 w 9927"/>
                  <a:gd name="connsiteY5" fmla="*/ 3771 h 10000"/>
                  <a:gd name="connsiteX6" fmla="*/ 1883 w 9927"/>
                  <a:gd name="connsiteY6" fmla="*/ 3473 h 10000"/>
                  <a:gd name="connsiteX7" fmla="*/ 2535 w 9927"/>
                  <a:gd name="connsiteY7" fmla="*/ 2729 h 10000"/>
                  <a:gd name="connsiteX8" fmla="*/ 2970 w 9927"/>
                  <a:gd name="connsiteY8" fmla="*/ 2134 h 10000"/>
                  <a:gd name="connsiteX9" fmla="*/ 3259 w 9927"/>
                  <a:gd name="connsiteY9" fmla="*/ 1539 h 10000"/>
                  <a:gd name="connsiteX10" fmla="*/ 3477 w 9927"/>
                  <a:gd name="connsiteY10" fmla="*/ 794 h 10000"/>
                  <a:gd name="connsiteX11" fmla="*/ 3622 w 9927"/>
                  <a:gd name="connsiteY11" fmla="*/ 0 h 10000"/>
                  <a:gd name="connsiteX12" fmla="*/ 3622 w 9927"/>
                  <a:gd name="connsiteY12" fmla="*/ 0 h 10000"/>
                  <a:gd name="connsiteX13" fmla="*/ 4274 w 9927"/>
                  <a:gd name="connsiteY13" fmla="*/ 298 h 10000"/>
                  <a:gd name="connsiteX14" fmla="*/ 9925 w 9927"/>
                  <a:gd name="connsiteY14" fmla="*/ 5508 h 10000"/>
                  <a:gd name="connsiteX15" fmla="*/ 4955 w 9927"/>
                  <a:gd name="connsiteY15" fmla="*/ 10000 h 10000"/>
                  <a:gd name="connsiteX0" fmla="*/ 4991 w 10000"/>
                  <a:gd name="connsiteY0" fmla="*/ 10000 h 10000"/>
                  <a:gd name="connsiteX1" fmla="*/ 0 w 10000"/>
                  <a:gd name="connsiteY1" fmla="*/ 5855 h 10000"/>
                  <a:gd name="connsiteX2" fmla="*/ 802 w 10000"/>
                  <a:gd name="connsiteY2" fmla="*/ 4515 h 10000"/>
                  <a:gd name="connsiteX3" fmla="*/ 1532 w 10000"/>
                  <a:gd name="connsiteY3" fmla="*/ 3771 h 10000"/>
                  <a:gd name="connsiteX4" fmla="*/ 1532 w 10000"/>
                  <a:gd name="connsiteY4" fmla="*/ 3771 h 10000"/>
                  <a:gd name="connsiteX5" fmla="*/ 1897 w 10000"/>
                  <a:gd name="connsiteY5" fmla="*/ 3473 h 10000"/>
                  <a:gd name="connsiteX6" fmla="*/ 2554 w 10000"/>
                  <a:gd name="connsiteY6" fmla="*/ 2729 h 10000"/>
                  <a:gd name="connsiteX7" fmla="*/ 2992 w 10000"/>
                  <a:gd name="connsiteY7" fmla="*/ 2134 h 10000"/>
                  <a:gd name="connsiteX8" fmla="*/ 3283 w 10000"/>
                  <a:gd name="connsiteY8" fmla="*/ 1539 h 10000"/>
                  <a:gd name="connsiteX9" fmla="*/ 3503 w 10000"/>
                  <a:gd name="connsiteY9" fmla="*/ 794 h 10000"/>
                  <a:gd name="connsiteX10" fmla="*/ 3649 w 10000"/>
                  <a:gd name="connsiteY10" fmla="*/ 0 h 10000"/>
                  <a:gd name="connsiteX11" fmla="*/ 3649 w 10000"/>
                  <a:gd name="connsiteY11" fmla="*/ 0 h 10000"/>
                  <a:gd name="connsiteX12" fmla="*/ 4305 w 10000"/>
                  <a:gd name="connsiteY12" fmla="*/ 298 h 10000"/>
                  <a:gd name="connsiteX13" fmla="*/ 9998 w 10000"/>
                  <a:gd name="connsiteY13" fmla="*/ 5508 h 10000"/>
                  <a:gd name="connsiteX14" fmla="*/ 4991 w 10000"/>
                  <a:gd name="connsiteY14" fmla="*/ 10000 h 10000"/>
                  <a:gd name="connsiteX0" fmla="*/ 4991 w 10000"/>
                  <a:gd name="connsiteY0" fmla="*/ 10000 h 10000"/>
                  <a:gd name="connsiteX1" fmla="*/ 0 w 10000"/>
                  <a:gd name="connsiteY1" fmla="*/ 5855 h 10000"/>
                  <a:gd name="connsiteX2" fmla="*/ 1532 w 10000"/>
                  <a:gd name="connsiteY2" fmla="*/ 3771 h 10000"/>
                  <a:gd name="connsiteX3" fmla="*/ 1532 w 10000"/>
                  <a:gd name="connsiteY3" fmla="*/ 3771 h 10000"/>
                  <a:gd name="connsiteX4" fmla="*/ 1897 w 10000"/>
                  <a:gd name="connsiteY4" fmla="*/ 3473 h 10000"/>
                  <a:gd name="connsiteX5" fmla="*/ 2554 w 10000"/>
                  <a:gd name="connsiteY5" fmla="*/ 2729 h 10000"/>
                  <a:gd name="connsiteX6" fmla="*/ 2992 w 10000"/>
                  <a:gd name="connsiteY6" fmla="*/ 2134 h 10000"/>
                  <a:gd name="connsiteX7" fmla="*/ 3283 w 10000"/>
                  <a:gd name="connsiteY7" fmla="*/ 1539 h 10000"/>
                  <a:gd name="connsiteX8" fmla="*/ 3503 w 10000"/>
                  <a:gd name="connsiteY8" fmla="*/ 794 h 10000"/>
                  <a:gd name="connsiteX9" fmla="*/ 3649 w 10000"/>
                  <a:gd name="connsiteY9" fmla="*/ 0 h 10000"/>
                  <a:gd name="connsiteX10" fmla="*/ 3649 w 10000"/>
                  <a:gd name="connsiteY10" fmla="*/ 0 h 10000"/>
                  <a:gd name="connsiteX11" fmla="*/ 4305 w 10000"/>
                  <a:gd name="connsiteY11" fmla="*/ 298 h 10000"/>
                  <a:gd name="connsiteX12" fmla="*/ 9998 w 10000"/>
                  <a:gd name="connsiteY12" fmla="*/ 5508 h 10000"/>
                  <a:gd name="connsiteX13" fmla="*/ 4991 w 10000"/>
                  <a:gd name="connsiteY13" fmla="*/ 10000 h 10000"/>
                  <a:gd name="connsiteX0" fmla="*/ 4991 w 10000"/>
                  <a:gd name="connsiteY0" fmla="*/ 10000 h 10000"/>
                  <a:gd name="connsiteX1" fmla="*/ 0 w 10000"/>
                  <a:gd name="connsiteY1" fmla="*/ 5855 h 10000"/>
                  <a:gd name="connsiteX2" fmla="*/ 1532 w 10000"/>
                  <a:gd name="connsiteY2" fmla="*/ 3771 h 10000"/>
                  <a:gd name="connsiteX3" fmla="*/ 1897 w 10000"/>
                  <a:gd name="connsiteY3" fmla="*/ 3473 h 10000"/>
                  <a:gd name="connsiteX4" fmla="*/ 2554 w 10000"/>
                  <a:gd name="connsiteY4" fmla="*/ 2729 h 10000"/>
                  <a:gd name="connsiteX5" fmla="*/ 2992 w 10000"/>
                  <a:gd name="connsiteY5" fmla="*/ 2134 h 10000"/>
                  <a:gd name="connsiteX6" fmla="*/ 3283 w 10000"/>
                  <a:gd name="connsiteY6" fmla="*/ 1539 h 10000"/>
                  <a:gd name="connsiteX7" fmla="*/ 3503 w 10000"/>
                  <a:gd name="connsiteY7" fmla="*/ 794 h 10000"/>
                  <a:gd name="connsiteX8" fmla="*/ 3649 w 10000"/>
                  <a:gd name="connsiteY8" fmla="*/ 0 h 10000"/>
                  <a:gd name="connsiteX9" fmla="*/ 3649 w 10000"/>
                  <a:gd name="connsiteY9" fmla="*/ 0 h 10000"/>
                  <a:gd name="connsiteX10" fmla="*/ 4305 w 10000"/>
                  <a:gd name="connsiteY10" fmla="*/ 298 h 10000"/>
                  <a:gd name="connsiteX11" fmla="*/ 9998 w 10000"/>
                  <a:gd name="connsiteY11" fmla="*/ 5508 h 10000"/>
                  <a:gd name="connsiteX12" fmla="*/ 4991 w 10000"/>
                  <a:gd name="connsiteY12" fmla="*/ 10000 h 10000"/>
                  <a:gd name="connsiteX0" fmla="*/ 4991 w 10000"/>
                  <a:gd name="connsiteY0" fmla="*/ 10000 h 10000"/>
                  <a:gd name="connsiteX1" fmla="*/ 0 w 10000"/>
                  <a:gd name="connsiteY1" fmla="*/ 5855 h 10000"/>
                  <a:gd name="connsiteX2" fmla="*/ 1532 w 10000"/>
                  <a:gd name="connsiteY2" fmla="*/ 3771 h 10000"/>
                  <a:gd name="connsiteX3" fmla="*/ 2554 w 10000"/>
                  <a:gd name="connsiteY3" fmla="*/ 2729 h 10000"/>
                  <a:gd name="connsiteX4" fmla="*/ 2992 w 10000"/>
                  <a:gd name="connsiteY4" fmla="*/ 2134 h 10000"/>
                  <a:gd name="connsiteX5" fmla="*/ 3283 w 10000"/>
                  <a:gd name="connsiteY5" fmla="*/ 1539 h 10000"/>
                  <a:gd name="connsiteX6" fmla="*/ 3503 w 10000"/>
                  <a:gd name="connsiteY6" fmla="*/ 794 h 10000"/>
                  <a:gd name="connsiteX7" fmla="*/ 3649 w 10000"/>
                  <a:gd name="connsiteY7" fmla="*/ 0 h 10000"/>
                  <a:gd name="connsiteX8" fmla="*/ 3649 w 10000"/>
                  <a:gd name="connsiteY8" fmla="*/ 0 h 10000"/>
                  <a:gd name="connsiteX9" fmla="*/ 4305 w 10000"/>
                  <a:gd name="connsiteY9" fmla="*/ 298 h 10000"/>
                  <a:gd name="connsiteX10" fmla="*/ 9998 w 10000"/>
                  <a:gd name="connsiteY10" fmla="*/ 5508 h 10000"/>
                  <a:gd name="connsiteX11" fmla="*/ 4991 w 10000"/>
                  <a:gd name="connsiteY11" fmla="*/ 10000 h 10000"/>
                  <a:gd name="connsiteX0" fmla="*/ 4991 w 10000"/>
                  <a:gd name="connsiteY0" fmla="*/ 10000 h 10000"/>
                  <a:gd name="connsiteX1" fmla="*/ 0 w 10000"/>
                  <a:gd name="connsiteY1" fmla="*/ 5855 h 10000"/>
                  <a:gd name="connsiteX2" fmla="*/ 2554 w 10000"/>
                  <a:gd name="connsiteY2" fmla="*/ 2729 h 10000"/>
                  <a:gd name="connsiteX3" fmla="*/ 2992 w 10000"/>
                  <a:gd name="connsiteY3" fmla="*/ 2134 h 10000"/>
                  <a:gd name="connsiteX4" fmla="*/ 3283 w 10000"/>
                  <a:gd name="connsiteY4" fmla="*/ 1539 h 10000"/>
                  <a:gd name="connsiteX5" fmla="*/ 3503 w 10000"/>
                  <a:gd name="connsiteY5" fmla="*/ 794 h 10000"/>
                  <a:gd name="connsiteX6" fmla="*/ 3649 w 10000"/>
                  <a:gd name="connsiteY6" fmla="*/ 0 h 10000"/>
                  <a:gd name="connsiteX7" fmla="*/ 3649 w 10000"/>
                  <a:gd name="connsiteY7" fmla="*/ 0 h 10000"/>
                  <a:gd name="connsiteX8" fmla="*/ 4305 w 10000"/>
                  <a:gd name="connsiteY8" fmla="*/ 298 h 10000"/>
                  <a:gd name="connsiteX9" fmla="*/ 9998 w 10000"/>
                  <a:gd name="connsiteY9" fmla="*/ 5508 h 10000"/>
                  <a:gd name="connsiteX10" fmla="*/ 4991 w 10000"/>
                  <a:gd name="connsiteY10" fmla="*/ 10000 h 10000"/>
                  <a:gd name="connsiteX0" fmla="*/ 4991 w 10000"/>
                  <a:gd name="connsiteY0" fmla="*/ 10000 h 10000"/>
                  <a:gd name="connsiteX1" fmla="*/ 0 w 10000"/>
                  <a:gd name="connsiteY1" fmla="*/ 5855 h 10000"/>
                  <a:gd name="connsiteX2" fmla="*/ 2992 w 10000"/>
                  <a:gd name="connsiteY2" fmla="*/ 2134 h 10000"/>
                  <a:gd name="connsiteX3" fmla="*/ 3283 w 10000"/>
                  <a:gd name="connsiteY3" fmla="*/ 1539 h 10000"/>
                  <a:gd name="connsiteX4" fmla="*/ 3503 w 10000"/>
                  <a:gd name="connsiteY4" fmla="*/ 794 h 10000"/>
                  <a:gd name="connsiteX5" fmla="*/ 3649 w 10000"/>
                  <a:gd name="connsiteY5" fmla="*/ 0 h 10000"/>
                  <a:gd name="connsiteX6" fmla="*/ 3649 w 10000"/>
                  <a:gd name="connsiteY6" fmla="*/ 0 h 10000"/>
                  <a:gd name="connsiteX7" fmla="*/ 4305 w 10000"/>
                  <a:gd name="connsiteY7" fmla="*/ 298 h 10000"/>
                  <a:gd name="connsiteX8" fmla="*/ 9998 w 10000"/>
                  <a:gd name="connsiteY8" fmla="*/ 5508 h 10000"/>
                  <a:gd name="connsiteX9" fmla="*/ 4991 w 10000"/>
                  <a:gd name="connsiteY9" fmla="*/ 10000 h 10000"/>
                  <a:gd name="connsiteX0" fmla="*/ 4991 w 10000"/>
                  <a:gd name="connsiteY0" fmla="*/ 10000 h 10000"/>
                  <a:gd name="connsiteX1" fmla="*/ 0 w 10000"/>
                  <a:gd name="connsiteY1" fmla="*/ 5855 h 10000"/>
                  <a:gd name="connsiteX2" fmla="*/ 3283 w 10000"/>
                  <a:gd name="connsiteY2" fmla="*/ 1539 h 10000"/>
                  <a:gd name="connsiteX3" fmla="*/ 3503 w 10000"/>
                  <a:gd name="connsiteY3" fmla="*/ 794 h 10000"/>
                  <a:gd name="connsiteX4" fmla="*/ 3649 w 10000"/>
                  <a:gd name="connsiteY4" fmla="*/ 0 h 10000"/>
                  <a:gd name="connsiteX5" fmla="*/ 3649 w 10000"/>
                  <a:gd name="connsiteY5" fmla="*/ 0 h 10000"/>
                  <a:gd name="connsiteX6" fmla="*/ 4305 w 10000"/>
                  <a:gd name="connsiteY6" fmla="*/ 298 h 10000"/>
                  <a:gd name="connsiteX7" fmla="*/ 9998 w 10000"/>
                  <a:gd name="connsiteY7" fmla="*/ 5508 h 10000"/>
                  <a:gd name="connsiteX8" fmla="*/ 4991 w 10000"/>
                  <a:gd name="connsiteY8" fmla="*/ 10000 h 10000"/>
                  <a:gd name="connsiteX0" fmla="*/ 4991 w 10000"/>
                  <a:gd name="connsiteY0" fmla="*/ 10000 h 10000"/>
                  <a:gd name="connsiteX1" fmla="*/ 0 w 10000"/>
                  <a:gd name="connsiteY1" fmla="*/ 5855 h 10000"/>
                  <a:gd name="connsiteX2" fmla="*/ 3503 w 10000"/>
                  <a:gd name="connsiteY2" fmla="*/ 794 h 10000"/>
                  <a:gd name="connsiteX3" fmla="*/ 3649 w 10000"/>
                  <a:gd name="connsiteY3" fmla="*/ 0 h 10000"/>
                  <a:gd name="connsiteX4" fmla="*/ 3649 w 10000"/>
                  <a:gd name="connsiteY4" fmla="*/ 0 h 10000"/>
                  <a:gd name="connsiteX5" fmla="*/ 4305 w 10000"/>
                  <a:gd name="connsiteY5" fmla="*/ 298 h 10000"/>
                  <a:gd name="connsiteX6" fmla="*/ 9998 w 10000"/>
                  <a:gd name="connsiteY6" fmla="*/ 5508 h 10000"/>
                  <a:gd name="connsiteX7" fmla="*/ 4991 w 10000"/>
                  <a:gd name="connsiteY7"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4305 w 10000"/>
                  <a:gd name="connsiteY4" fmla="*/ 298 h 10000"/>
                  <a:gd name="connsiteX5" fmla="*/ 9998 w 10000"/>
                  <a:gd name="connsiteY5" fmla="*/ 5508 h 10000"/>
                  <a:gd name="connsiteX6" fmla="*/ 4991 w 10000"/>
                  <a:gd name="connsiteY6" fmla="*/ 10000 h 10000"/>
                  <a:gd name="connsiteX0" fmla="*/ 4991 w 10000"/>
                  <a:gd name="connsiteY0" fmla="*/ 10000 h 10000"/>
                  <a:gd name="connsiteX1" fmla="*/ 0 w 10000"/>
                  <a:gd name="connsiteY1" fmla="*/ 5855 h 10000"/>
                  <a:gd name="connsiteX2" fmla="*/ 3649 w 10000"/>
                  <a:gd name="connsiteY2" fmla="*/ 0 h 10000"/>
                  <a:gd name="connsiteX3" fmla="*/ 3649 w 10000"/>
                  <a:gd name="connsiteY3" fmla="*/ 0 h 10000"/>
                  <a:gd name="connsiteX4" fmla="*/ 9998 w 10000"/>
                  <a:gd name="connsiteY4" fmla="*/ 5508 h 10000"/>
                  <a:gd name="connsiteX5" fmla="*/ 4991 w 10000"/>
                  <a:gd name="connsiteY5" fmla="*/ 10000 h 10000"/>
                  <a:gd name="connsiteX0" fmla="*/ 4991 w 10004"/>
                  <a:gd name="connsiteY0" fmla="*/ 10000 h 10000"/>
                  <a:gd name="connsiteX1" fmla="*/ 0 w 10004"/>
                  <a:gd name="connsiteY1" fmla="*/ 5855 h 10000"/>
                  <a:gd name="connsiteX2" fmla="*/ 3649 w 10004"/>
                  <a:gd name="connsiteY2" fmla="*/ 0 h 10000"/>
                  <a:gd name="connsiteX3" fmla="*/ 3649 w 10004"/>
                  <a:gd name="connsiteY3" fmla="*/ 0 h 10000"/>
                  <a:gd name="connsiteX4" fmla="*/ 9998 w 10004"/>
                  <a:gd name="connsiteY4" fmla="*/ 5508 h 10000"/>
                  <a:gd name="connsiteX5" fmla="*/ 4991 w 10004"/>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06 w 10019"/>
                  <a:gd name="connsiteY0" fmla="*/ 10000 h 10000"/>
                  <a:gd name="connsiteX1" fmla="*/ 15 w 10019"/>
                  <a:gd name="connsiteY1" fmla="*/ 5855 h 10000"/>
                  <a:gd name="connsiteX2" fmla="*/ 3664 w 10019"/>
                  <a:gd name="connsiteY2" fmla="*/ 0 h 10000"/>
                  <a:gd name="connsiteX3" fmla="*/ 3664 w 10019"/>
                  <a:gd name="connsiteY3" fmla="*/ 0 h 10000"/>
                  <a:gd name="connsiteX4" fmla="*/ 10013 w 10019"/>
                  <a:gd name="connsiteY4" fmla="*/ 5508 h 10000"/>
                  <a:gd name="connsiteX5" fmla="*/ 5006 w 10019"/>
                  <a:gd name="connsiteY5" fmla="*/ 10000 h 10000"/>
                  <a:gd name="connsiteX0" fmla="*/ 5077 w 10090"/>
                  <a:gd name="connsiteY0" fmla="*/ 10000 h 10000"/>
                  <a:gd name="connsiteX1" fmla="*/ 86 w 10090"/>
                  <a:gd name="connsiteY1" fmla="*/ 5855 h 10000"/>
                  <a:gd name="connsiteX2" fmla="*/ 3735 w 10090"/>
                  <a:gd name="connsiteY2" fmla="*/ 0 h 10000"/>
                  <a:gd name="connsiteX3" fmla="*/ 3735 w 10090"/>
                  <a:gd name="connsiteY3" fmla="*/ 0 h 10000"/>
                  <a:gd name="connsiteX4" fmla="*/ 10084 w 10090"/>
                  <a:gd name="connsiteY4" fmla="*/ 5508 h 10000"/>
                  <a:gd name="connsiteX5" fmla="*/ 5077 w 10090"/>
                  <a:gd name="connsiteY5" fmla="*/ 10000 h 10000"/>
                  <a:gd name="connsiteX0" fmla="*/ 5060 w 10073"/>
                  <a:gd name="connsiteY0" fmla="*/ 10000 h 10000"/>
                  <a:gd name="connsiteX1" fmla="*/ 69 w 10073"/>
                  <a:gd name="connsiteY1" fmla="*/ 5855 h 10000"/>
                  <a:gd name="connsiteX2" fmla="*/ 3718 w 10073"/>
                  <a:gd name="connsiteY2" fmla="*/ 0 h 10000"/>
                  <a:gd name="connsiteX3" fmla="*/ 3718 w 10073"/>
                  <a:gd name="connsiteY3" fmla="*/ 0 h 10000"/>
                  <a:gd name="connsiteX4" fmla="*/ 10067 w 10073"/>
                  <a:gd name="connsiteY4" fmla="*/ 5508 h 10000"/>
                  <a:gd name="connsiteX5" fmla="*/ 5060 w 10073"/>
                  <a:gd name="connsiteY5" fmla="*/ 10000 h 10000"/>
                  <a:gd name="connsiteX0" fmla="*/ 4956 w 9965"/>
                  <a:gd name="connsiteY0" fmla="*/ 10000 h 10000"/>
                  <a:gd name="connsiteX1" fmla="*/ 36 w 9965"/>
                  <a:gd name="connsiteY1" fmla="*/ 5565 h 10000"/>
                  <a:gd name="connsiteX2" fmla="*/ 3614 w 9965"/>
                  <a:gd name="connsiteY2" fmla="*/ 0 h 10000"/>
                  <a:gd name="connsiteX3" fmla="*/ 3614 w 9965"/>
                  <a:gd name="connsiteY3" fmla="*/ 0 h 10000"/>
                  <a:gd name="connsiteX4" fmla="*/ 9963 w 9965"/>
                  <a:gd name="connsiteY4" fmla="*/ 5508 h 10000"/>
                  <a:gd name="connsiteX5" fmla="*/ 4956 w 9965"/>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087 w 10114"/>
                  <a:gd name="connsiteY0" fmla="*/ 10000 h 10000"/>
                  <a:gd name="connsiteX1" fmla="*/ 150 w 10114"/>
                  <a:gd name="connsiteY1" fmla="*/ 5565 h 10000"/>
                  <a:gd name="connsiteX2" fmla="*/ 3741 w 10114"/>
                  <a:gd name="connsiteY2" fmla="*/ 0 h 10000"/>
                  <a:gd name="connsiteX3" fmla="*/ 3741 w 10114"/>
                  <a:gd name="connsiteY3" fmla="*/ 0 h 10000"/>
                  <a:gd name="connsiteX4" fmla="*/ 10112 w 10114"/>
                  <a:gd name="connsiteY4" fmla="*/ 5508 h 10000"/>
                  <a:gd name="connsiteX5" fmla="*/ 5087 w 10114"/>
                  <a:gd name="connsiteY5" fmla="*/ 10000 h 10000"/>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36"/>
                  <a:gd name="connsiteY0" fmla="*/ 10000 h 10001"/>
                  <a:gd name="connsiteX1" fmla="*/ 171 w 10136"/>
                  <a:gd name="connsiteY1" fmla="*/ 5565 h 10001"/>
                  <a:gd name="connsiteX2" fmla="*/ 3762 w 10136"/>
                  <a:gd name="connsiteY2" fmla="*/ 0 h 10001"/>
                  <a:gd name="connsiteX3" fmla="*/ 3762 w 10136"/>
                  <a:gd name="connsiteY3" fmla="*/ 0 h 10001"/>
                  <a:gd name="connsiteX4" fmla="*/ 10133 w 10136"/>
                  <a:gd name="connsiteY4" fmla="*/ 5508 h 10001"/>
                  <a:gd name="connsiteX5" fmla="*/ 5108 w 10136"/>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41"/>
                  <a:gd name="connsiteY0" fmla="*/ 10000 h 10001"/>
                  <a:gd name="connsiteX1" fmla="*/ 171 w 10141"/>
                  <a:gd name="connsiteY1" fmla="*/ 5565 h 10001"/>
                  <a:gd name="connsiteX2" fmla="*/ 3762 w 10141"/>
                  <a:gd name="connsiteY2" fmla="*/ 0 h 10001"/>
                  <a:gd name="connsiteX3" fmla="*/ 3762 w 10141"/>
                  <a:gd name="connsiteY3" fmla="*/ 0 h 10001"/>
                  <a:gd name="connsiteX4" fmla="*/ 10133 w 10141"/>
                  <a:gd name="connsiteY4" fmla="*/ 5508 h 10001"/>
                  <a:gd name="connsiteX5" fmla="*/ 5108 w 10141"/>
                  <a:gd name="connsiteY5" fmla="*/ 10000 h 10001"/>
                  <a:gd name="connsiteX0" fmla="*/ 5108 w 10137"/>
                  <a:gd name="connsiteY0" fmla="*/ 10000 h 10001"/>
                  <a:gd name="connsiteX1" fmla="*/ 171 w 10137"/>
                  <a:gd name="connsiteY1" fmla="*/ 5565 h 10001"/>
                  <a:gd name="connsiteX2" fmla="*/ 3762 w 10137"/>
                  <a:gd name="connsiteY2" fmla="*/ 0 h 10001"/>
                  <a:gd name="connsiteX3" fmla="*/ 4332 w 10137"/>
                  <a:gd name="connsiteY3" fmla="*/ 580 h 10001"/>
                  <a:gd name="connsiteX4" fmla="*/ 10133 w 10137"/>
                  <a:gd name="connsiteY4" fmla="*/ 5508 h 10001"/>
                  <a:gd name="connsiteX5" fmla="*/ 5108 w 10137"/>
                  <a:gd name="connsiteY5" fmla="*/ 10000 h 10001"/>
                  <a:gd name="connsiteX0" fmla="*/ 5108 w 10151"/>
                  <a:gd name="connsiteY0" fmla="*/ 10145 h 10146"/>
                  <a:gd name="connsiteX1" fmla="*/ 171 w 10151"/>
                  <a:gd name="connsiteY1" fmla="*/ 5710 h 10146"/>
                  <a:gd name="connsiteX2" fmla="*/ 3762 w 10151"/>
                  <a:gd name="connsiteY2" fmla="*/ 145 h 10146"/>
                  <a:gd name="connsiteX3" fmla="*/ 6685 w 10151"/>
                  <a:gd name="connsiteY3" fmla="*/ 0 h 10146"/>
                  <a:gd name="connsiteX4" fmla="*/ 10133 w 10151"/>
                  <a:gd name="connsiteY4" fmla="*/ 5653 h 10146"/>
                  <a:gd name="connsiteX5" fmla="*/ 5108 w 10151"/>
                  <a:gd name="connsiteY5" fmla="*/ 10145 h 10146"/>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33"/>
                  <a:gd name="connsiteY0" fmla="*/ 10000 h 10001"/>
                  <a:gd name="connsiteX1" fmla="*/ 171 w 10133"/>
                  <a:gd name="connsiteY1" fmla="*/ 5565 h 10001"/>
                  <a:gd name="connsiteX2" fmla="*/ 3762 w 10133"/>
                  <a:gd name="connsiteY2" fmla="*/ 0 h 10001"/>
                  <a:gd name="connsiteX3" fmla="*/ 10133 w 10133"/>
                  <a:gd name="connsiteY3" fmla="*/ 5508 h 10001"/>
                  <a:gd name="connsiteX4" fmla="*/ 5108 w 10133"/>
                  <a:gd name="connsiteY4" fmla="*/ 10000 h 10001"/>
                  <a:gd name="connsiteX0" fmla="*/ 5108 w 10146"/>
                  <a:gd name="connsiteY0" fmla="*/ 10000 h 10001"/>
                  <a:gd name="connsiteX1" fmla="*/ 171 w 10146"/>
                  <a:gd name="connsiteY1" fmla="*/ 5565 h 10001"/>
                  <a:gd name="connsiteX2" fmla="*/ 3762 w 10146"/>
                  <a:gd name="connsiteY2" fmla="*/ 0 h 10001"/>
                  <a:gd name="connsiteX3" fmla="*/ 10133 w 10146"/>
                  <a:gd name="connsiteY3" fmla="*/ 5508 h 10001"/>
                  <a:gd name="connsiteX4" fmla="*/ 5108 w 10146"/>
                  <a:gd name="connsiteY4" fmla="*/ 10000 h 10001"/>
                  <a:gd name="connsiteX0" fmla="*/ 5108 w 10135"/>
                  <a:gd name="connsiteY0" fmla="*/ 10000 h 10001"/>
                  <a:gd name="connsiteX1" fmla="*/ 171 w 10135"/>
                  <a:gd name="connsiteY1" fmla="*/ 5565 h 10001"/>
                  <a:gd name="connsiteX2" fmla="*/ 3762 w 10135"/>
                  <a:gd name="connsiteY2" fmla="*/ 0 h 10001"/>
                  <a:gd name="connsiteX3" fmla="*/ 10133 w 10135"/>
                  <a:gd name="connsiteY3" fmla="*/ 5508 h 10001"/>
                  <a:gd name="connsiteX4" fmla="*/ 5108 w 10135"/>
                  <a:gd name="connsiteY4" fmla="*/ 10000 h 10001"/>
                  <a:gd name="connsiteX0" fmla="*/ 5108 w 10139"/>
                  <a:gd name="connsiteY0" fmla="*/ 10000 h 10001"/>
                  <a:gd name="connsiteX1" fmla="*/ 171 w 10139"/>
                  <a:gd name="connsiteY1" fmla="*/ 5565 h 10001"/>
                  <a:gd name="connsiteX2" fmla="*/ 3762 w 10139"/>
                  <a:gd name="connsiteY2" fmla="*/ 0 h 10001"/>
                  <a:gd name="connsiteX3" fmla="*/ 10133 w 10139"/>
                  <a:gd name="connsiteY3" fmla="*/ 5508 h 10001"/>
                  <a:gd name="connsiteX4" fmla="*/ 5108 w 10139"/>
                  <a:gd name="connsiteY4" fmla="*/ 10000 h 10001"/>
                  <a:gd name="connsiteX0" fmla="*/ 5108 w 10164"/>
                  <a:gd name="connsiteY0" fmla="*/ 10000 h 10001"/>
                  <a:gd name="connsiteX1" fmla="*/ 171 w 10164"/>
                  <a:gd name="connsiteY1" fmla="*/ 5565 h 10001"/>
                  <a:gd name="connsiteX2" fmla="*/ 3762 w 10164"/>
                  <a:gd name="connsiteY2" fmla="*/ 0 h 10001"/>
                  <a:gd name="connsiteX3" fmla="*/ 10133 w 10164"/>
                  <a:gd name="connsiteY3" fmla="*/ 5508 h 10001"/>
                  <a:gd name="connsiteX4" fmla="*/ 5108 w 10164"/>
                  <a:gd name="connsiteY4" fmla="*/ 10000 h 10001"/>
                  <a:gd name="connsiteX0" fmla="*/ 5088 w 10139"/>
                  <a:gd name="connsiteY0" fmla="*/ 10000 h 10000"/>
                  <a:gd name="connsiteX1" fmla="*/ 151 w 10139"/>
                  <a:gd name="connsiteY1" fmla="*/ 5565 h 10000"/>
                  <a:gd name="connsiteX2" fmla="*/ 3742 w 10139"/>
                  <a:gd name="connsiteY2" fmla="*/ 0 h 10000"/>
                  <a:gd name="connsiteX3" fmla="*/ 10113 w 10139"/>
                  <a:gd name="connsiteY3" fmla="*/ 5605 h 10000"/>
                  <a:gd name="connsiteX4" fmla="*/ 5088 w 10139"/>
                  <a:gd name="connsiteY4" fmla="*/ 10000 h 10000"/>
                  <a:gd name="connsiteX0" fmla="*/ 5088 w 10173"/>
                  <a:gd name="connsiteY0" fmla="*/ 10000 h 10000"/>
                  <a:gd name="connsiteX1" fmla="*/ 151 w 10173"/>
                  <a:gd name="connsiteY1" fmla="*/ 5565 h 10000"/>
                  <a:gd name="connsiteX2" fmla="*/ 3742 w 10173"/>
                  <a:gd name="connsiteY2" fmla="*/ 0 h 10000"/>
                  <a:gd name="connsiteX3" fmla="*/ 10113 w 10173"/>
                  <a:gd name="connsiteY3" fmla="*/ 5605 h 10000"/>
                  <a:gd name="connsiteX4" fmla="*/ 5088 w 10173"/>
                  <a:gd name="connsiteY4" fmla="*/ 10000 h 10000"/>
                  <a:gd name="connsiteX0" fmla="*/ 5108 w 10202"/>
                  <a:gd name="connsiteY0" fmla="*/ 10000 h 10000"/>
                  <a:gd name="connsiteX1" fmla="*/ 171 w 10202"/>
                  <a:gd name="connsiteY1" fmla="*/ 5565 h 10000"/>
                  <a:gd name="connsiteX2" fmla="*/ 3762 w 10202"/>
                  <a:gd name="connsiteY2" fmla="*/ 0 h 10000"/>
                  <a:gd name="connsiteX3" fmla="*/ 10133 w 10202"/>
                  <a:gd name="connsiteY3" fmla="*/ 5605 h 10000"/>
                  <a:gd name="connsiteX4" fmla="*/ 5108 w 10202"/>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02" h="10000">
                    <a:moveTo>
                      <a:pt x="5108" y="10000"/>
                    </a:moveTo>
                    <a:cubicBezTo>
                      <a:pt x="2806" y="10041"/>
                      <a:pt x="-834" y="8097"/>
                      <a:pt x="171" y="5565"/>
                    </a:cubicBezTo>
                    <a:cubicBezTo>
                      <a:pt x="1176" y="3033"/>
                      <a:pt x="4038" y="3160"/>
                      <a:pt x="3762" y="0"/>
                    </a:cubicBezTo>
                    <a:cubicBezTo>
                      <a:pt x="6670" y="1353"/>
                      <a:pt x="9540" y="2513"/>
                      <a:pt x="10133" y="5605"/>
                    </a:cubicBezTo>
                    <a:cubicBezTo>
                      <a:pt x="10726" y="8697"/>
                      <a:pt x="7410" y="9959"/>
                      <a:pt x="5108" y="10000"/>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a:p>
            </p:txBody>
          </p:sp>
        </p:grpSp>
        <p:grpSp>
          <p:nvGrpSpPr>
            <p:cNvPr id="27" name="Group 26">
              <a:extLst>
                <a:ext uri="{FF2B5EF4-FFF2-40B4-BE49-F238E27FC236}">
                  <a16:creationId xmlns:a16="http://schemas.microsoft.com/office/drawing/2014/main" id="{041C4550-5EC9-4B7E-AB70-E76F92644951}"/>
                </a:ext>
              </a:extLst>
            </p:cNvPr>
            <p:cNvGrpSpPr/>
            <p:nvPr/>
          </p:nvGrpSpPr>
          <p:grpSpPr bwMode="gray">
            <a:xfrm>
              <a:off x="3470924" y="4459668"/>
              <a:ext cx="327440" cy="163768"/>
              <a:chOff x="2511011" y="4459668"/>
              <a:chExt cx="327440" cy="163768"/>
            </a:xfrm>
          </p:grpSpPr>
          <p:sp>
            <p:nvSpPr>
              <p:cNvPr id="28" name="Freeform: Shape 27">
                <a:extLst>
                  <a:ext uri="{FF2B5EF4-FFF2-40B4-BE49-F238E27FC236}">
                    <a16:creationId xmlns:a16="http://schemas.microsoft.com/office/drawing/2014/main" id="{59E79580-80FC-4085-B602-40EFEEB0840E}"/>
                  </a:ext>
                </a:extLst>
              </p:cNvPr>
              <p:cNvSpPr/>
              <p:nvPr/>
            </p:nvSpPr>
            <p:spPr bwMode="gray">
              <a:xfrm>
                <a:off x="2511011" y="4531120"/>
                <a:ext cx="327440" cy="92316"/>
              </a:xfrm>
              <a:custGeom>
                <a:avLst/>
                <a:gdLst>
                  <a:gd name="connsiteX0" fmla="*/ 429245 w 1007606"/>
                  <a:gd name="connsiteY0" fmla="*/ 0 h 891789"/>
                  <a:gd name="connsiteX1" fmla="*/ 539006 w 1007606"/>
                  <a:gd name="connsiteY1" fmla="*/ 299527 h 891789"/>
                  <a:gd name="connsiteX2" fmla="*/ 612683 w 1007606"/>
                  <a:gd name="connsiteY2" fmla="*/ 193681 h 891789"/>
                  <a:gd name="connsiteX3" fmla="*/ 688098 w 1007606"/>
                  <a:gd name="connsiteY3" fmla="*/ 301864 h 891789"/>
                  <a:gd name="connsiteX4" fmla="*/ 1007606 w 1007606"/>
                  <a:gd name="connsiteY4" fmla="*/ 299318 h 891789"/>
                  <a:gd name="connsiteX5" fmla="*/ 1001900 w 1007606"/>
                  <a:gd name="connsiteY5" fmla="*/ 302268 h 891789"/>
                  <a:gd name="connsiteX6" fmla="*/ 1007606 w 1007606"/>
                  <a:gd name="connsiteY6" fmla="*/ 302268 h 891789"/>
                  <a:gd name="connsiteX7" fmla="*/ 1007606 w 1007606"/>
                  <a:gd name="connsiteY7" fmla="*/ 891789 h 891789"/>
                  <a:gd name="connsiteX8" fmla="*/ 0 w 1007606"/>
                  <a:gd name="connsiteY8" fmla="*/ 891789 h 891789"/>
                  <a:gd name="connsiteX9" fmla="*/ 0 w 1007606"/>
                  <a:gd name="connsiteY9" fmla="*/ 304151 h 891789"/>
                  <a:gd name="connsiteX10" fmla="*/ 0 w 1007606"/>
                  <a:gd name="connsiteY10" fmla="*/ 302268 h 891789"/>
                  <a:gd name="connsiteX11" fmla="*/ 179971 w 1007606"/>
                  <a:gd name="connsiteY11" fmla="*/ 302268 h 891789"/>
                  <a:gd name="connsiteX12" fmla="*/ 189609 w 1007606"/>
                  <a:gd name="connsiteY12" fmla="*/ 297341 h 891789"/>
                  <a:gd name="connsiteX13" fmla="*/ 261298 w 1007606"/>
                  <a:gd name="connsiteY13" fmla="*/ 173482 h 891789"/>
                  <a:gd name="connsiteX14" fmla="*/ 329033 w 1007606"/>
                  <a:gd name="connsiteY14" fmla="*/ 298571 h 891789"/>
                  <a:gd name="connsiteX15" fmla="*/ 429245 w 1007606"/>
                  <a:gd name="connsiteY15" fmla="*/ 0 h 891789"/>
                  <a:gd name="connsiteX0" fmla="*/ 429245 w 1007606"/>
                  <a:gd name="connsiteY0" fmla="*/ 0 h 891789"/>
                  <a:gd name="connsiteX1" fmla="*/ 539006 w 1007606"/>
                  <a:gd name="connsiteY1" fmla="*/ 299527 h 891789"/>
                  <a:gd name="connsiteX2" fmla="*/ 612683 w 1007606"/>
                  <a:gd name="connsiteY2" fmla="*/ 193681 h 891789"/>
                  <a:gd name="connsiteX3" fmla="*/ 688098 w 1007606"/>
                  <a:gd name="connsiteY3" fmla="*/ 301864 h 891789"/>
                  <a:gd name="connsiteX4" fmla="*/ 1007606 w 1007606"/>
                  <a:gd name="connsiteY4" fmla="*/ 299318 h 891789"/>
                  <a:gd name="connsiteX5" fmla="*/ 1001900 w 1007606"/>
                  <a:gd name="connsiteY5" fmla="*/ 302268 h 891789"/>
                  <a:gd name="connsiteX6" fmla="*/ 1007606 w 1007606"/>
                  <a:gd name="connsiteY6" fmla="*/ 891789 h 891789"/>
                  <a:gd name="connsiteX7" fmla="*/ 0 w 1007606"/>
                  <a:gd name="connsiteY7" fmla="*/ 891789 h 891789"/>
                  <a:gd name="connsiteX8" fmla="*/ 0 w 1007606"/>
                  <a:gd name="connsiteY8" fmla="*/ 304151 h 891789"/>
                  <a:gd name="connsiteX9" fmla="*/ 0 w 1007606"/>
                  <a:gd name="connsiteY9" fmla="*/ 302268 h 891789"/>
                  <a:gd name="connsiteX10" fmla="*/ 179971 w 1007606"/>
                  <a:gd name="connsiteY10" fmla="*/ 302268 h 891789"/>
                  <a:gd name="connsiteX11" fmla="*/ 189609 w 1007606"/>
                  <a:gd name="connsiteY11" fmla="*/ 297341 h 891789"/>
                  <a:gd name="connsiteX12" fmla="*/ 261298 w 1007606"/>
                  <a:gd name="connsiteY12" fmla="*/ 173482 h 891789"/>
                  <a:gd name="connsiteX13" fmla="*/ 329033 w 1007606"/>
                  <a:gd name="connsiteY13" fmla="*/ 298571 h 891789"/>
                  <a:gd name="connsiteX14" fmla="*/ 429245 w 1007606"/>
                  <a:gd name="connsiteY14" fmla="*/ 0 h 891789"/>
                  <a:gd name="connsiteX0" fmla="*/ 1007606 w 1099046"/>
                  <a:gd name="connsiteY0" fmla="*/ 891789 h 983229"/>
                  <a:gd name="connsiteX1" fmla="*/ 0 w 1099046"/>
                  <a:gd name="connsiteY1" fmla="*/ 891789 h 983229"/>
                  <a:gd name="connsiteX2" fmla="*/ 0 w 1099046"/>
                  <a:gd name="connsiteY2" fmla="*/ 304151 h 983229"/>
                  <a:gd name="connsiteX3" fmla="*/ 0 w 1099046"/>
                  <a:gd name="connsiteY3" fmla="*/ 302268 h 983229"/>
                  <a:gd name="connsiteX4" fmla="*/ 179971 w 1099046"/>
                  <a:gd name="connsiteY4" fmla="*/ 302268 h 983229"/>
                  <a:gd name="connsiteX5" fmla="*/ 189609 w 1099046"/>
                  <a:gd name="connsiteY5" fmla="*/ 297341 h 983229"/>
                  <a:gd name="connsiteX6" fmla="*/ 261298 w 1099046"/>
                  <a:gd name="connsiteY6" fmla="*/ 173482 h 983229"/>
                  <a:gd name="connsiteX7" fmla="*/ 329033 w 1099046"/>
                  <a:gd name="connsiteY7" fmla="*/ 298571 h 983229"/>
                  <a:gd name="connsiteX8" fmla="*/ 429245 w 1099046"/>
                  <a:gd name="connsiteY8" fmla="*/ 0 h 983229"/>
                  <a:gd name="connsiteX9" fmla="*/ 539006 w 1099046"/>
                  <a:gd name="connsiteY9" fmla="*/ 299527 h 983229"/>
                  <a:gd name="connsiteX10" fmla="*/ 612683 w 1099046"/>
                  <a:gd name="connsiteY10" fmla="*/ 193681 h 983229"/>
                  <a:gd name="connsiteX11" fmla="*/ 688098 w 1099046"/>
                  <a:gd name="connsiteY11" fmla="*/ 301864 h 983229"/>
                  <a:gd name="connsiteX12" fmla="*/ 1007606 w 1099046"/>
                  <a:gd name="connsiteY12" fmla="*/ 299318 h 983229"/>
                  <a:gd name="connsiteX13" fmla="*/ 1001900 w 1099046"/>
                  <a:gd name="connsiteY13" fmla="*/ 302268 h 983229"/>
                  <a:gd name="connsiteX14" fmla="*/ 1099046 w 1099046"/>
                  <a:gd name="connsiteY14" fmla="*/ 983229 h 983229"/>
                  <a:gd name="connsiteX0" fmla="*/ 1007606 w 1007606"/>
                  <a:gd name="connsiteY0" fmla="*/ 891789 h 891789"/>
                  <a:gd name="connsiteX1" fmla="*/ 0 w 1007606"/>
                  <a:gd name="connsiteY1" fmla="*/ 891789 h 891789"/>
                  <a:gd name="connsiteX2" fmla="*/ 0 w 1007606"/>
                  <a:gd name="connsiteY2" fmla="*/ 304151 h 891789"/>
                  <a:gd name="connsiteX3" fmla="*/ 0 w 1007606"/>
                  <a:gd name="connsiteY3" fmla="*/ 302268 h 891789"/>
                  <a:gd name="connsiteX4" fmla="*/ 179971 w 1007606"/>
                  <a:gd name="connsiteY4" fmla="*/ 302268 h 891789"/>
                  <a:gd name="connsiteX5" fmla="*/ 189609 w 1007606"/>
                  <a:gd name="connsiteY5" fmla="*/ 297341 h 891789"/>
                  <a:gd name="connsiteX6" fmla="*/ 261298 w 1007606"/>
                  <a:gd name="connsiteY6" fmla="*/ 173482 h 891789"/>
                  <a:gd name="connsiteX7" fmla="*/ 329033 w 1007606"/>
                  <a:gd name="connsiteY7" fmla="*/ 298571 h 891789"/>
                  <a:gd name="connsiteX8" fmla="*/ 429245 w 1007606"/>
                  <a:gd name="connsiteY8" fmla="*/ 0 h 891789"/>
                  <a:gd name="connsiteX9" fmla="*/ 539006 w 1007606"/>
                  <a:gd name="connsiteY9" fmla="*/ 299527 h 891789"/>
                  <a:gd name="connsiteX10" fmla="*/ 612683 w 1007606"/>
                  <a:gd name="connsiteY10" fmla="*/ 193681 h 891789"/>
                  <a:gd name="connsiteX11" fmla="*/ 688098 w 1007606"/>
                  <a:gd name="connsiteY11" fmla="*/ 301864 h 891789"/>
                  <a:gd name="connsiteX12" fmla="*/ 1007606 w 1007606"/>
                  <a:gd name="connsiteY12" fmla="*/ 299318 h 891789"/>
                  <a:gd name="connsiteX13" fmla="*/ 1001900 w 1007606"/>
                  <a:gd name="connsiteY13" fmla="*/ 302268 h 891789"/>
                  <a:gd name="connsiteX0" fmla="*/ 0 w 1007606"/>
                  <a:gd name="connsiteY0" fmla="*/ 891789 h 891789"/>
                  <a:gd name="connsiteX1" fmla="*/ 0 w 1007606"/>
                  <a:gd name="connsiteY1" fmla="*/ 304151 h 891789"/>
                  <a:gd name="connsiteX2" fmla="*/ 0 w 1007606"/>
                  <a:gd name="connsiteY2" fmla="*/ 302268 h 891789"/>
                  <a:gd name="connsiteX3" fmla="*/ 179971 w 1007606"/>
                  <a:gd name="connsiteY3" fmla="*/ 302268 h 891789"/>
                  <a:gd name="connsiteX4" fmla="*/ 189609 w 1007606"/>
                  <a:gd name="connsiteY4" fmla="*/ 297341 h 891789"/>
                  <a:gd name="connsiteX5" fmla="*/ 261298 w 1007606"/>
                  <a:gd name="connsiteY5" fmla="*/ 173482 h 891789"/>
                  <a:gd name="connsiteX6" fmla="*/ 329033 w 1007606"/>
                  <a:gd name="connsiteY6" fmla="*/ 298571 h 891789"/>
                  <a:gd name="connsiteX7" fmla="*/ 429245 w 1007606"/>
                  <a:gd name="connsiteY7" fmla="*/ 0 h 891789"/>
                  <a:gd name="connsiteX8" fmla="*/ 539006 w 1007606"/>
                  <a:gd name="connsiteY8" fmla="*/ 299527 h 891789"/>
                  <a:gd name="connsiteX9" fmla="*/ 612683 w 1007606"/>
                  <a:gd name="connsiteY9" fmla="*/ 193681 h 891789"/>
                  <a:gd name="connsiteX10" fmla="*/ 688098 w 1007606"/>
                  <a:gd name="connsiteY10" fmla="*/ 301864 h 891789"/>
                  <a:gd name="connsiteX11" fmla="*/ 1007606 w 1007606"/>
                  <a:gd name="connsiteY11" fmla="*/ 299318 h 891789"/>
                  <a:gd name="connsiteX12" fmla="*/ 1001900 w 1007606"/>
                  <a:gd name="connsiteY12" fmla="*/ 302268 h 891789"/>
                  <a:gd name="connsiteX0" fmla="*/ 0 w 1007606"/>
                  <a:gd name="connsiteY0" fmla="*/ 304151 h 304151"/>
                  <a:gd name="connsiteX1" fmla="*/ 0 w 1007606"/>
                  <a:gd name="connsiteY1" fmla="*/ 302268 h 304151"/>
                  <a:gd name="connsiteX2" fmla="*/ 179971 w 1007606"/>
                  <a:gd name="connsiteY2" fmla="*/ 302268 h 304151"/>
                  <a:gd name="connsiteX3" fmla="*/ 189609 w 1007606"/>
                  <a:gd name="connsiteY3" fmla="*/ 297341 h 304151"/>
                  <a:gd name="connsiteX4" fmla="*/ 261298 w 1007606"/>
                  <a:gd name="connsiteY4" fmla="*/ 173482 h 304151"/>
                  <a:gd name="connsiteX5" fmla="*/ 329033 w 1007606"/>
                  <a:gd name="connsiteY5" fmla="*/ 298571 h 304151"/>
                  <a:gd name="connsiteX6" fmla="*/ 429245 w 1007606"/>
                  <a:gd name="connsiteY6" fmla="*/ 0 h 304151"/>
                  <a:gd name="connsiteX7" fmla="*/ 539006 w 1007606"/>
                  <a:gd name="connsiteY7" fmla="*/ 299527 h 304151"/>
                  <a:gd name="connsiteX8" fmla="*/ 612683 w 1007606"/>
                  <a:gd name="connsiteY8" fmla="*/ 193681 h 304151"/>
                  <a:gd name="connsiteX9" fmla="*/ 688098 w 1007606"/>
                  <a:gd name="connsiteY9" fmla="*/ 301864 h 304151"/>
                  <a:gd name="connsiteX10" fmla="*/ 1007606 w 1007606"/>
                  <a:gd name="connsiteY10" fmla="*/ 299318 h 304151"/>
                  <a:gd name="connsiteX11" fmla="*/ 1001900 w 1007606"/>
                  <a:gd name="connsiteY11" fmla="*/ 302268 h 304151"/>
                  <a:gd name="connsiteX0" fmla="*/ 0 w 1007606"/>
                  <a:gd name="connsiteY0" fmla="*/ 304151 h 304151"/>
                  <a:gd name="connsiteX1" fmla="*/ 179971 w 1007606"/>
                  <a:gd name="connsiteY1" fmla="*/ 302268 h 304151"/>
                  <a:gd name="connsiteX2" fmla="*/ 189609 w 1007606"/>
                  <a:gd name="connsiteY2" fmla="*/ 297341 h 304151"/>
                  <a:gd name="connsiteX3" fmla="*/ 261298 w 1007606"/>
                  <a:gd name="connsiteY3" fmla="*/ 173482 h 304151"/>
                  <a:gd name="connsiteX4" fmla="*/ 329033 w 1007606"/>
                  <a:gd name="connsiteY4" fmla="*/ 298571 h 304151"/>
                  <a:gd name="connsiteX5" fmla="*/ 429245 w 1007606"/>
                  <a:gd name="connsiteY5" fmla="*/ 0 h 304151"/>
                  <a:gd name="connsiteX6" fmla="*/ 539006 w 1007606"/>
                  <a:gd name="connsiteY6" fmla="*/ 299527 h 304151"/>
                  <a:gd name="connsiteX7" fmla="*/ 612683 w 1007606"/>
                  <a:gd name="connsiteY7" fmla="*/ 193681 h 304151"/>
                  <a:gd name="connsiteX8" fmla="*/ 688098 w 1007606"/>
                  <a:gd name="connsiteY8" fmla="*/ 301864 h 304151"/>
                  <a:gd name="connsiteX9" fmla="*/ 1007606 w 1007606"/>
                  <a:gd name="connsiteY9" fmla="*/ 299318 h 304151"/>
                  <a:gd name="connsiteX10" fmla="*/ 1001900 w 1007606"/>
                  <a:gd name="connsiteY10" fmla="*/ 302268 h 304151"/>
                  <a:gd name="connsiteX0" fmla="*/ 0 w 1007606"/>
                  <a:gd name="connsiteY0" fmla="*/ 304151 h 304151"/>
                  <a:gd name="connsiteX1" fmla="*/ 179971 w 1007606"/>
                  <a:gd name="connsiteY1" fmla="*/ 302268 h 304151"/>
                  <a:gd name="connsiteX2" fmla="*/ 189609 w 1007606"/>
                  <a:gd name="connsiteY2" fmla="*/ 297341 h 304151"/>
                  <a:gd name="connsiteX3" fmla="*/ 261298 w 1007606"/>
                  <a:gd name="connsiteY3" fmla="*/ 173482 h 304151"/>
                  <a:gd name="connsiteX4" fmla="*/ 329033 w 1007606"/>
                  <a:gd name="connsiteY4" fmla="*/ 298571 h 304151"/>
                  <a:gd name="connsiteX5" fmla="*/ 429245 w 1007606"/>
                  <a:gd name="connsiteY5" fmla="*/ 0 h 304151"/>
                  <a:gd name="connsiteX6" fmla="*/ 539006 w 1007606"/>
                  <a:gd name="connsiteY6" fmla="*/ 299527 h 304151"/>
                  <a:gd name="connsiteX7" fmla="*/ 612683 w 1007606"/>
                  <a:gd name="connsiteY7" fmla="*/ 193681 h 304151"/>
                  <a:gd name="connsiteX8" fmla="*/ 688098 w 1007606"/>
                  <a:gd name="connsiteY8" fmla="*/ 301864 h 304151"/>
                  <a:gd name="connsiteX9" fmla="*/ 1007606 w 1007606"/>
                  <a:gd name="connsiteY9" fmla="*/ 299318 h 304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7606" h="304151">
                    <a:moveTo>
                      <a:pt x="0" y="304151"/>
                    </a:moveTo>
                    <a:lnTo>
                      <a:pt x="179971" y="302268"/>
                    </a:lnTo>
                    <a:lnTo>
                      <a:pt x="189609" y="297341"/>
                    </a:lnTo>
                    <a:cubicBezTo>
                      <a:pt x="215929" y="271585"/>
                      <a:pt x="230874" y="174201"/>
                      <a:pt x="261298" y="173482"/>
                    </a:cubicBezTo>
                    <a:cubicBezTo>
                      <a:pt x="296069" y="172660"/>
                      <a:pt x="300663" y="301095"/>
                      <a:pt x="329033" y="298571"/>
                    </a:cubicBezTo>
                    <a:cubicBezTo>
                      <a:pt x="360834" y="296326"/>
                      <a:pt x="394250" y="-159"/>
                      <a:pt x="429245" y="0"/>
                    </a:cubicBezTo>
                    <a:cubicBezTo>
                      <a:pt x="464241" y="159"/>
                      <a:pt x="510973" y="301537"/>
                      <a:pt x="539006" y="299527"/>
                    </a:cubicBezTo>
                    <a:cubicBezTo>
                      <a:pt x="568329" y="300193"/>
                      <a:pt x="574499" y="193292"/>
                      <a:pt x="612683" y="193681"/>
                    </a:cubicBezTo>
                    <a:cubicBezTo>
                      <a:pt x="645152" y="194070"/>
                      <a:pt x="659150" y="301364"/>
                      <a:pt x="688098" y="301864"/>
                    </a:cubicBezTo>
                    <a:lnTo>
                      <a:pt x="1007606" y="299318"/>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noAutofit/>
              </a:bodyPr>
              <a:lstStyle/>
              <a:p>
                <a:endParaRPr lang="en-US"/>
              </a:p>
            </p:txBody>
          </p:sp>
          <p:grpSp>
            <p:nvGrpSpPr>
              <p:cNvPr id="29" name="Group 28">
                <a:extLst>
                  <a:ext uri="{FF2B5EF4-FFF2-40B4-BE49-F238E27FC236}">
                    <a16:creationId xmlns:a16="http://schemas.microsoft.com/office/drawing/2014/main" id="{5E49AD6D-5AF7-4904-B4D0-DE07D2E37B25}"/>
                  </a:ext>
                </a:extLst>
              </p:cNvPr>
              <p:cNvGrpSpPr/>
              <p:nvPr/>
            </p:nvGrpSpPr>
            <p:grpSpPr bwMode="gray">
              <a:xfrm>
                <a:off x="2688375" y="4459668"/>
                <a:ext cx="150076" cy="49900"/>
                <a:chOff x="2862673" y="4909173"/>
                <a:chExt cx="203418" cy="67636"/>
              </a:xfrm>
            </p:grpSpPr>
            <p:cxnSp>
              <p:nvCxnSpPr>
                <p:cNvPr id="30" name="Straight Connector 29">
                  <a:extLst>
                    <a:ext uri="{FF2B5EF4-FFF2-40B4-BE49-F238E27FC236}">
                      <a16:creationId xmlns:a16="http://schemas.microsoft.com/office/drawing/2014/main" id="{5CC6C7D5-7FC4-45CB-B079-343F6D9A8CD3}"/>
                    </a:ext>
                  </a:extLst>
                </p:cNvPr>
                <p:cNvCxnSpPr/>
                <p:nvPr/>
              </p:nvCxnSpPr>
              <p:spPr bwMode="gray">
                <a:xfrm>
                  <a:off x="2862673" y="4910048"/>
                  <a:ext cx="0" cy="66761"/>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31" name="Freeform: Shape 30">
                  <a:extLst>
                    <a:ext uri="{FF2B5EF4-FFF2-40B4-BE49-F238E27FC236}">
                      <a16:creationId xmlns:a16="http://schemas.microsoft.com/office/drawing/2014/main" id="{1EECF972-9177-4BD4-B39C-648577E91CB0}"/>
                    </a:ext>
                  </a:extLst>
                </p:cNvPr>
                <p:cNvSpPr/>
                <p:nvPr/>
              </p:nvSpPr>
              <p:spPr bwMode="gray">
                <a:xfrm>
                  <a:off x="2862673" y="4909173"/>
                  <a:ext cx="44660" cy="49062"/>
                </a:xfrm>
                <a:custGeom>
                  <a:avLst/>
                  <a:gdLst>
                    <a:gd name="connsiteX0" fmla="*/ 72553 w 160972"/>
                    <a:gd name="connsiteY0" fmla="*/ 0 h 176838"/>
                    <a:gd name="connsiteX1" fmla="*/ 160972 w 160972"/>
                    <a:gd name="connsiteY1" fmla="*/ 88419 h 176838"/>
                    <a:gd name="connsiteX2" fmla="*/ 72553 w 160972"/>
                    <a:gd name="connsiteY2" fmla="*/ 176838 h 176838"/>
                    <a:gd name="connsiteX3" fmla="*/ 10032 w 160972"/>
                    <a:gd name="connsiteY3" fmla="*/ 150941 h 176838"/>
                    <a:gd name="connsiteX4" fmla="*/ 0 w 160972"/>
                    <a:gd name="connsiteY4" fmla="*/ 136062 h 176838"/>
                    <a:gd name="connsiteX5" fmla="*/ 0 w 160972"/>
                    <a:gd name="connsiteY5" fmla="*/ 40776 h 176838"/>
                    <a:gd name="connsiteX6" fmla="*/ 10032 w 160972"/>
                    <a:gd name="connsiteY6" fmla="*/ 25898 h 176838"/>
                    <a:gd name="connsiteX7" fmla="*/ 72553 w 160972"/>
                    <a:gd name="connsiteY7" fmla="*/ 0 h 17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972" h="176838">
                      <a:moveTo>
                        <a:pt x="72553" y="0"/>
                      </a:moveTo>
                      <a:cubicBezTo>
                        <a:pt x="121385" y="0"/>
                        <a:pt x="160972" y="39587"/>
                        <a:pt x="160972" y="88419"/>
                      </a:cubicBezTo>
                      <a:cubicBezTo>
                        <a:pt x="160972" y="137251"/>
                        <a:pt x="121385" y="176838"/>
                        <a:pt x="72553" y="176838"/>
                      </a:cubicBezTo>
                      <a:cubicBezTo>
                        <a:pt x="48137" y="176838"/>
                        <a:pt x="26032" y="166941"/>
                        <a:pt x="10032" y="150941"/>
                      </a:cubicBezTo>
                      <a:lnTo>
                        <a:pt x="0" y="136062"/>
                      </a:lnTo>
                      <a:lnTo>
                        <a:pt x="0" y="40776"/>
                      </a:lnTo>
                      <a:lnTo>
                        <a:pt x="10032" y="25898"/>
                      </a:lnTo>
                      <a:cubicBezTo>
                        <a:pt x="26032" y="9897"/>
                        <a:pt x="48137" y="0"/>
                        <a:pt x="72553" y="0"/>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32" name="Straight Connector 31">
                  <a:extLst>
                    <a:ext uri="{FF2B5EF4-FFF2-40B4-BE49-F238E27FC236}">
                      <a16:creationId xmlns:a16="http://schemas.microsoft.com/office/drawing/2014/main" id="{3B17BCDD-4843-45BA-B81C-F5473FB136C6}"/>
                    </a:ext>
                  </a:extLst>
                </p:cNvPr>
                <p:cNvCxnSpPr/>
                <p:nvPr/>
              </p:nvCxnSpPr>
              <p:spPr bwMode="gray">
                <a:xfrm>
                  <a:off x="2930225" y="4910048"/>
                  <a:ext cx="0" cy="66761"/>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33" name="Freeform: Shape 32">
                  <a:extLst>
                    <a:ext uri="{FF2B5EF4-FFF2-40B4-BE49-F238E27FC236}">
                      <a16:creationId xmlns:a16="http://schemas.microsoft.com/office/drawing/2014/main" id="{4A2B0422-2831-4EA6-A91B-93FDD776A4A9}"/>
                    </a:ext>
                  </a:extLst>
                </p:cNvPr>
                <p:cNvSpPr/>
                <p:nvPr/>
              </p:nvSpPr>
              <p:spPr bwMode="gray">
                <a:xfrm>
                  <a:off x="2930225" y="4909173"/>
                  <a:ext cx="44660" cy="49062"/>
                </a:xfrm>
                <a:custGeom>
                  <a:avLst/>
                  <a:gdLst>
                    <a:gd name="connsiteX0" fmla="*/ 72553 w 160972"/>
                    <a:gd name="connsiteY0" fmla="*/ 0 h 176838"/>
                    <a:gd name="connsiteX1" fmla="*/ 160972 w 160972"/>
                    <a:gd name="connsiteY1" fmla="*/ 88419 h 176838"/>
                    <a:gd name="connsiteX2" fmla="*/ 72553 w 160972"/>
                    <a:gd name="connsiteY2" fmla="*/ 176838 h 176838"/>
                    <a:gd name="connsiteX3" fmla="*/ 10032 w 160972"/>
                    <a:gd name="connsiteY3" fmla="*/ 150941 h 176838"/>
                    <a:gd name="connsiteX4" fmla="*/ 0 w 160972"/>
                    <a:gd name="connsiteY4" fmla="*/ 136062 h 176838"/>
                    <a:gd name="connsiteX5" fmla="*/ 0 w 160972"/>
                    <a:gd name="connsiteY5" fmla="*/ 40776 h 176838"/>
                    <a:gd name="connsiteX6" fmla="*/ 10032 w 160972"/>
                    <a:gd name="connsiteY6" fmla="*/ 25898 h 176838"/>
                    <a:gd name="connsiteX7" fmla="*/ 72553 w 160972"/>
                    <a:gd name="connsiteY7" fmla="*/ 0 h 17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972" h="176838">
                      <a:moveTo>
                        <a:pt x="72553" y="0"/>
                      </a:moveTo>
                      <a:cubicBezTo>
                        <a:pt x="121385" y="0"/>
                        <a:pt x="160972" y="39587"/>
                        <a:pt x="160972" y="88419"/>
                      </a:cubicBezTo>
                      <a:cubicBezTo>
                        <a:pt x="160972" y="137251"/>
                        <a:pt x="121385" y="176838"/>
                        <a:pt x="72553" y="176838"/>
                      </a:cubicBezTo>
                      <a:cubicBezTo>
                        <a:pt x="48137" y="176838"/>
                        <a:pt x="26032" y="166941"/>
                        <a:pt x="10032" y="150941"/>
                      </a:cubicBezTo>
                      <a:lnTo>
                        <a:pt x="0" y="136062"/>
                      </a:lnTo>
                      <a:lnTo>
                        <a:pt x="0" y="40776"/>
                      </a:lnTo>
                      <a:lnTo>
                        <a:pt x="10032" y="25898"/>
                      </a:lnTo>
                      <a:cubicBezTo>
                        <a:pt x="26032" y="9897"/>
                        <a:pt x="48137" y="0"/>
                        <a:pt x="72553" y="0"/>
                      </a:cubicBezTo>
                      <a:close/>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cxnSp>
              <p:nvCxnSpPr>
                <p:cNvPr id="34" name="Straight Connector 33">
                  <a:extLst>
                    <a:ext uri="{FF2B5EF4-FFF2-40B4-BE49-F238E27FC236}">
                      <a16:creationId xmlns:a16="http://schemas.microsoft.com/office/drawing/2014/main" id="{F9650366-917D-4B76-A8D2-7DCB69E410FE}"/>
                    </a:ext>
                  </a:extLst>
                </p:cNvPr>
                <p:cNvCxnSpPr>
                  <a:cxnSpLocks/>
                </p:cNvCxnSpPr>
                <p:nvPr/>
              </p:nvCxnSpPr>
              <p:spPr bwMode="gray">
                <a:xfrm>
                  <a:off x="2997777" y="4910048"/>
                  <a:ext cx="0" cy="46215"/>
                </a:xfrm>
                <a:prstGeom prst="line">
                  <a:avLst/>
                </a:pr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sp>
              <p:nvSpPr>
                <p:cNvPr id="35" name="Freeform: Shape 34">
                  <a:extLst>
                    <a:ext uri="{FF2B5EF4-FFF2-40B4-BE49-F238E27FC236}">
                      <a16:creationId xmlns:a16="http://schemas.microsoft.com/office/drawing/2014/main" id="{8C91EB44-9A4F-4FC5-A18E-CE5703935F3D}"/>
                    </a:ext>
                  </a:extLst>
                </p:cNvPr>
                <p:cNvSpPr/>
                <p:nvPr/>
              </p:nvSpPr>
              <p:spPr bwMode="gray">
                <a:xfrm>
                  <a:off x="2998520" y="4910047"/>
                  <a:ext cx="33746" cy="46914"/>
                </a:xfrm>
                <a:custGeom>
                  <a:avLst/>
                  <a:gdLst>
                    <a:gd name="connsiteX0" fmla="*/ 60816 w 121632"/>
                    <a:gd name="connsiteY0" fmla="*/ 0 h 169097"/>
                    <a:gd name="connsiteX1" fmla="*/ 121632 w 121632"/>
                    <a:gd name="connsiteY1" fmla="*/ 60816 h 169097"/>
                    <a:gd name="connsiteX2" fmla="*/ 121632 w 121632"/>
                    <a:gd name="connsiteY2" fmla="*/ 169097 h 169097"/>
                    <a:gd name="connsiteX3" fmla="*/ 0 w 121632"/>
                    <a:gd name="connsiteY3" fmla="*/ 169097 h 169097"/>
                    <a:gd name="connsiteX4" fmla="*/ 0 w 121632"/>
                    <a:gd name="connsiteY4" fmla="*/ 60816 h 169097"/>
                    <a:gd name="connsiteX5" fmla="*/ 60816 w 121632"/>
                    <a:gd name="connsiteY5" fmla="*/ 0 h 169097"/>
                    <a:gd name="connsiteX0" fmla="*/ 60816 w 121632"/>
                    <a:gd name="connsiteY0" fmla="*/ 0 h 169097"/>
                    <a:gd name="connsiteX1" fmla="*/ 121632 w 121632"/>
                    <a:gd name="connsiteY1" fmla="*/ 60816 h 169097"/>
                    <a:gd name="connsiteX2" fmla="*/ 121632 w 121632"/>
                    <a:gd name="connsiteY2" fmla="*/ 169097 h 169097"/>
                    <a:gd name="connsiteX3" fmla="*/ 64482 w 121632"/>
                    <a:gd name="connsiteY3" fmla="*/ 166511 h 169097"/>
                    <a:gd name="connsiteX4" fmla="*/ 0 w 121632"/>
                    <a:gd name="connsiteY4" fmla="*/ 169097 h 169097"/>
                    <a:gd name="connsiteX5" fmla="*/ 0 w 121632"/>
                    <a:gd name="connsiteY5" fmla="*/ 60816 h 169097"/>
                    <a:gd name="connsiteX6" fmla="*/ 60816 w 121632"/>
                    <a:gd name="connsiteY6" fmla="*/ 0 h 169097"/>
                    <a:gd name="connsiteX0" fmla="*/ 64482 w 155922"/>
                    <a:gd name="connsiteY0" fmla="*/ 166511 h 257951"/>
                    <a:gd name="connsiteX1" fmla="*/ 0 w 155922"/>
                    <a:gd name="connsiteY1" fmla="*/ 169097 h 257951"/>
                    <a:gd name="connsiteX2" fmla="*/ 0 w 155922"/>
                    <a:gd name="connsiteY2" fmla="*/ 60816 h 257951"/>
                    <a:gd name="connsiteX3" fmla="*/ 60816 w 155922"/>
                    <a:gd name="connsiteY3" fmla="*/ 0 h 257951"/>
                    <a:gd name="connsiteX4" fmla="*/ 121632 w 155922"/>
                    <a:gd name="connsiteY4" fmla="*/ 60816 h 257951"/>
                    <a:gd name="connsiteX5" fmla="*/ 121632 w 155922"/>
                    <a:gd name="connsiteY5" fmla="*/ 169097 h 257951"/>
                    <a:gd name="connsiteX6" fmla="*/ 155922 w 155922"/>
                    <a:gd name="connsiteY6" fmla="*/ 257951 h 257951"/>
                    <a:gd name="connsiteX0" fmla="*/ 64482 w 121632"/>
                    <a:gd name="connsiteY0" fmla="*/ 166511 h 169097"/>
                    <a:gd name="connsiteX1" fmla="*/ 0 w 121632"/>
                    <a:gd name="connsiteY1" fmla="*/ 169097 h 169097"/>
                    <a:gd name="connsiteX2" fmla="*/ 0 w 121632"/>
                    <a:gd name="connsiteY2" fmla="*/ 60816 h 169097"/>
                    <a:gd name="connsiteX3" fmla="*/ 60816 w 121632"/>
                    <a:gd name="connsiteY3" fmla="*/ 0 h 169097"/>
                    <a:gd name="connsiteX4" fmla="*/ 121632 w 121632"/>
                    <a:gd name="connsiteY4" fmla="*/ 60816 h 169097"/>
                    <a:gd name="connsiteX5" fmla="*/ 121632 w 121632"/>
                    <a:gd name="connsiteY5" fmla="*/ 169097 h 169097"/>
                    <a:gd name="connsiteX0" fmla="*/ 0 w 121632"/>
                    <a:gd name="connsiteY0" fmla="*/ 169097 h 169097"/>
                    <a:gd name="connsiteX1" fmla="*/ 0 w 121632"/>
                    <a:gd name="connsiteY1" fmla="*/ 60816 h 169097"/>
                    <a:gd name="connsiteX2" fmla="*/ 60816 w 121632"/>
                    <a:gd name="connsiteY2" fmla="*/ 0 h 169097"/>
                    <a:gd name="connsiteX3" fmla="*/ 121632 w 121632"/>
                    <a:gd name="connsiteY3" fmla="*/ 60816 h 169097"/>
                    <a:gd name="connsiteX4" fmla="*/ 121632 w 121632"/>
                    <a:gd name="connsiteY4" fmla="*/ 169097 h 169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32" h="169097">
                      <a:moveTo>
                        <a:pt x="0" y="169097"/>
                      </a:moveTo>
                      <a:lnTo>
                        <a:pt x="0" y="60816"/>
                      </a:lnTo>
                      <a:cubicBezTo>
                        <a:pt x="0" y="27228"/>
                        <a:pt x="27228" y="0"/>
                        <a:pt x="60816" y="0"/>
                      </a:cubicBezTo>
                      <a:cubicBezTo>
                        <a:pt x="94404" y="0"/>
                        <a:pt x="121632" y="27228"/>
                        <a:pt x="121632" y="60816"/>
                      </a:cubicBezTo>
                      <a:lnTo>
                        <a:pt x="121632" y="169097"/>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sp>
              <p:nvSpPr>
                <p:cNvPr id="36" name="Freeform: Shape 35">
                  <a:extLst>
                    <a:ext uri="{FF2B5EF4-FFF2-40B4-BE49-F238E27FC236}">
                      <a16:creationId xmlns:a16="http://schemas.microsoft.com/office/drawing/2014/main" id="{2830EA1C-5F3D-49E8-8080-DFE92D8CAFA0}"/>
                    </a:ext>
                  </a:extLst>
                </p:cNvPr>
                <p:cNvSpPr/>
                <p:nvPr/>
              </p:nvSpPr>
              <p:spPr bwMode="gray">
                <a:xfrm>
                  <a:off x="3032345" y="4910047"/>
                  <a:ext cx="33746" cy="46914"/>
                </a:xfrm>
                <a:custGeom>
                  <a:avLst/>
                  <a:gdLst>
                    <a:gd name="connsiteX0" fmla="*/ 60816 w 121632"/>
                    <a:gd name="connsiteY0" fmla="*/ 0 h 169097"/>
                    <a:gd name="connsiteX1" fmla="*/ 121632 w 121632"/>
                    <a:gd name="connsiteY1" fmla="*/ 60816 h 169097"/>
                    <a:gd name="connsiteX2" fmla="*/ 121632 w 121632"/>
                    <a:gd name="connsiteY2" fmla="*/ 169097 h 169097"/>
                    <a:gd name="connsiteX3" fmla="*/ 0 w 121632"/>
                    <a:gd name="connsiteY3" fmla="*/ 169097 h 169097"/>
                    <a:gd name="connsiteX4" fmla="*/ 0 w 121632"/>
                    <a:gd name="connsiteY4" fmla="*/ 60816 h 169097"/>
                    <a:gd name="connsiteX5" fmla="*/ 60816 w 121632"/>
                    <a:gd name="connsiteY5" fmla="*/ 0 h 169097"/>
                    <a:gd name="connsiteX0" fmla="*/ 60816 w 121632"/>
                    <a:gd name="connsiteY0" fmla="*/ 0 h 169097"/>
                    <a:gd name="connsiteX1" fmla="*/ 121632 w 121632"/>
                    <a:gd name="connsiteY1" fmla="*/ 60816 h 169097"/>
                    <a:gd name="connsiteX2" fmla="*/ 121632 w 121632"/>
                    <a:gd name="connsiteY2" fmla="*/ 169097 h 169097"/>
                    <a:gd name="connsiteX3" fmla="*/ 64482 w 121632"/>
                    <a:gd name="connsiteY3" fmla="*/ 166511 h 169097"/>
                    <a:gd name="connsiteX4" fmla="*/ 0 w 121632"/>
                    <a:gd name="connsiteY4" fmla="*/ 169097 h 169097"/>
                    <a:gd name="connsiteX5" fmla="*/ 0 w 121632"/>
                    <a:gd name="connsiteY5" fmla="*/ 60816 h 169097"/>
                    <a:gd name="connsiteX6" fmla="*/ 60816 w 121632"/>
                    <a:gd name="connsiteY6" fmla="*/ 0 h 169097"/>
                    <a:gd name="connsiteX0" fmla="*/ 64482 w 155922"/>
                    <a:gd name="connsiteY0" fmla="*/ 166511 h 257951"/>
                    <a:gd name="connsiteX1" fmla="*/ 0 w 155922"/>
                    <a:gd name="connsiteY1" fmla="*/ 169097 h 257951"/>
                    <a:gd name="connsiteX2" fmla="*/ 0 w 155922"/>
                    <a:gd name="connsiteY2" fmla="*/ 60816 h 257951"/>
                    <a:gd name="connsiteX3" fmla="*/ 60816 w 155922"/>
                    <a:gd name="connsiteY3" fmla="*/ 0 h 257951"/>
                    <a:gd name="connsiteX4" fmla="*/ 121632 w 155922"/>
                    <a:gd name="connsiteY4" fmla="*/ 60816 h 257951"/>
                    <a:gd name="connsiteX5" fmla="*/ 121632 w 155922"/>
                    <a:gd name="connsiteY5" fmla="*/ 169097 h 257951"/>
                    <a:gd name="connsiteX6" fmla="*/ 155922 w 155922"/>
                    <a:gd name="connsiteY6" fmla="*/ 257951 h 257951"/>
                    <a:gd name="connsiteX0" fmla="*/ 64482 w 121632"/>
                    <a:gd name="connsiteY0" fmla="*/ 166511 h 169097"/>
                    <a:gd name="connsiteX1" fmla="*/ 0 w 121632"/>
                    <a:gd name="connsiteY1" fmla="*/ 169097 h 169097"/>
                    <a:gd name="connsiteX2" fmla="*/ 0 w 121632"/>
                    <a:gd name="connsiteY2" fmla="*/ 60816 h 169097"/>
                    <a:gd name="connsiteX3" fmla="*/ 60816 w 121632"/>
                    <a:gd name="connsiteY3" fmla="*/ 0 h 169097"/>
                    <a:gd name="connsiteX4" fmla="*/ 121632 w 121632"/>
                    <a:gd name="connsiteY4" fmla="*/ 60816 h 169097"/>
                    <a:gd name="connsiteX5" fmla="*/ 121632 w 121632"/>
                    <a:gd name="connsiteY5" fmla="*/ 169097 h 169097"/>
                    <a:gd name="connsiteX0" fmla="*/ 0 w 121632"/>
                    <a:gd name="connsiteY0" fmla="*/ 169097 h 169097"/>
                    <a:gd name="connsiteX1" fmla="*/ 0 w 121632"/>
                    <a:gd name="connsiteY1" fmla="*/ 60816 h 169097"/>
                    <a:gd name="connsiteX2" fmla="*/ 60816 w 121632"/>
                    <a:gd name="connsiteY2" fmla="*/ 0 h 169097"/>
                    <a:gd name="connsiteX3" fmla="*/ 121632 w 121632"/>
                    <a:gd name="connsiteY3" fmla="*/ 60816 h 169097"/>
                    <a:gd name="connsiteX4" fmla="*/ 121632 w 121632"/>
                    <a:gd name="connsiteY4" fmla="*/ 169097 h 1690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32" h="169097">
                      <a:moveTo>
                        <a:pt x="0" y="169097"/>
                      </a:moveTo>
                      <a:lnTo>
                        <a:pt x="0" y="60816"/>
                      </a:lnTo>
                      <a:cubicBezTo>
                        <a:pt x="0" y="27228"/>
                        <a:pt x="27228" y="0"/>
                        <a:pt x="60816" y="0"/>
                      </a:cubicBezTo>
                      <a:cubicBezTo>
                        <a:pt x="94404" y="0"/>
                        <a:pt x="121632" y="27228"/>
                        <a:pt x="121632" y="60816"/>
                      </a:cubicBezTo>
                      <a:lnTo>
                        <a:pt x="121632" y="169097"/>
                      </a:lnTo>
                    </a:path>
                  </a:pathLst>
                </a:custGeom>
                <a:noFill/>
                <a:ln w="19050" cap="rnd">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rtlCol="0" anchor="ctr"/>
                <a:lstStyle/>
                <a:p>
                  <a:pPr algn="ctr"/>
                  <a:endParaRPr lang="en-US" sz="1400"/>
                </a:p>
              </p:txBody>
            </p:sp>
          </p:grpSp>
        </p:grpSp>
      </p:grpSp>
      <p:sp>
        <p:nvSpPr>
          <p:cNvPr id="49" name="Content Placeholder 1">
            <a:extLst>
              <a:ext uri="{FF2B5EF4-FFF2-40B4-BE49-F238E27FC236}">
                <a16:creationId xmlns:a16="http://schemas.microsoft.com/office/drawing/2014/main" id="{1CC7EBFE-E2B9-4330-90F5-2B5AA73FE66A}"/>
              </a:ext>
            </a:extLst>
          </p:cNvPr>
          <p:cNvSpPr txBox="1">
            <a:spLocks/>
          </p:cNvSpPr>
          <p:nvPr/>
        </p:nvSpPr>
        <p:spPr bwMode="gray">
          <a:xfrm>
            <a:off x="2748543" y="2877256"/>
            <a:ext cx="7820844" cy="889138"/>
          </a:xfrm>
          <a:prstGeom prst="rect">
            <a:avLst/>
          </a:prstGeom>
          <a:noFill/>
        </p:spPr>
        <p:txBody>
          <a:bodyPr vert="horz" lIns="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800" b="1" kern="120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6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de-DE" sz="2400" b="0" dirty="0"/>
              <a:t>ABB </a:t>
            </a:r>
            <a:r>
              <a:rPr lang="de-DE" sz="2400" b="0" dirty="0" err="1"/>
              <a:t>offers</a:t>
            </a:r>
            <a:r>
              <a:rPr lang="de-DE" sz="2400" b="0" dirty="0"/>
              <a:t> </a:t>
            </a:r>
            <a:r>
              <a:rPr lang="de-DE" sz="2400" b="0" dirty="0" err="1"/>
              <a:t>comprehensive</a:t>
            </a:r>
            <a:r>
              <a:rPr lang="de-DE" sz="2400" b="0" dirty="0"/>
              <a:t> gas </a:t>
            </a:r>
            <a:r>
              <a:rPr lang="de-DE" sz="2400" b="0" dirty="0" err="1"/>
              <a:t>analyzer</a:t>
            </a:r>
            <a:r>
              <a:rPr lang="de-DE" sz="2400" b="0" dirty="0"/>
              <a:t> </a:t>
            </a:r>
            <a:r>
              <a:rPr lang="de-DE" sz="2400" b="0" dirty="0" err="1"/>
              <a:t>solutions</a:t>
            </a:r>
            <a:r>
              <a:rPr lang="de-DE" sz="2400" b="0" dirty="0"/>
              <a:t>     </a:t>
            </a:r>
            <a:r>
              <a:rPr lang="de-DE" sz="2400" b="0" dirty="0" err="1"/>
              <a:t>for</a:t>
            </a:r>
            <a:r>
              <a:rPr lang="de-DE" sz="2400" b="0" dirty="0"/>
              <a:t> </a:t>
            </a:r>
            <a:r>
              <a:rPr lang="de-DE" sz="2400" b="0" dirty="0" err="1"/>
              <a:t>wide</a:t>
            </a:r>
            <a:r>
              <a:rPr lang="de-DE" sz="2400" b="0" dirty="0"/>
              <a:t> </a:t>
            </a:r>
            <a:r>
              <a:rPr lang="de-DE" sz="2400" b="0" dirty="0" err="1"/>
              <a:t>range</a:t>
            </a:r>
            <a:r>
              <a:rPr lang="de-DE" sz="2400" b="0" dirty="0"/>
              <a:t> </a:t>
            </a:r>
            <a:r>
              <a:rPr lang="de-DE" sz="2400" b="0" dirty="0" err="1"/>
              <a:t>of</a:t>
            </a:r>
            <a:r>
              <a:rPr lang="de-DE" sz="2400" b="0" dirty="0"/>
              <a:t> </a:t>
            </a:r>
            <a:r>
              <a:rPr lang="de-DE" sz="2400" b="0" dirty="0" err="1"/>
              <a:t>industrial</a:t>
            </a:r>
            <a:r>
              <a:rPr lang="de-DE" sz="2400" b="0" dirty="0"/>
              <a:t> gas </a:t>
            </a:r>
            <a:r>
              <a:rPr lang="de-DE" sz="2400" b="0" dirty="0" err="1"/>
              <a:t>applications</a:t>
            </a:r>
            <a:endParaRPr lang="de-DE" sz="2400" b="0" dirty="0"/>
          </a:p>
        </p:txBody>
      </p:sp>
      <p:grpSp>
        <p:nvGrpSpPr>
          <p:cNvPr id="10" name="Group 9">
            <a:extLst>
              <a:ext uri="{FF2B5EF4-FFF2-40B4-BE49-F238E27FC236}">
                <a16:creationId xmlns:a16="http://schemas.microsoft.com/office/drawing/2014/main" id="{DE3B7F91-16C4-4290-BF1B-1C53AB72C9AA}"/>
              </a:ext>
            </a:extLst>
          </p:cNvPr>
          <p:cNvGrpSpPr/>
          <p:nvPr/>
        </p:nvGrpSpPr>
        <p:grpSpPr bwMode="gray">
          <a:xfrm>
            <a:off x="1771175" y="4214556"/>
            <a:ext cx="629173" cy="624444"/>
            <a:chOff x="7276543" y="-1883431"/>
            <a:chExt cx="837804" cy="831511"/>
          </a:xfrm>
        </p:grpSpPr>
        <p:sp>
          <p:nvSpPr>
            <p:cNvPr id="11" name="Right Triangle 73">
              <a:extLst>
                <a:ext uri="{FF2B5EF4-FFF2-40B4-BE49-F238E27FC236}">
                  <a16:creationId xmlns:a16="http://schemas.microsoft.com/office/drawing/2014/main" id="{19AEE9B0-6600-4C4E-A04C-B3FB98F22712}"/>
                </a:ext>
              </a:extLst>
            </p:cNvPr>
            <p:cNvSpPr/>
            <p:nvPr/>
          </p:nvSpPr>
          <p:spPr bwMode="gray">
            <a:xfrm flipH="1">
              <a:off x="7276543" y="-1551746"/>
              <a:ext cx="837804" cy="499826"/>
            </a:xfrm>
            <a:custGeom>
              <a:avLst/>
              <a:gdLst>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70564 h 245375"/>
                <a:gd name="connsiteX12" fmla="*/ 0 w 411296"/>
                <a:gd name="connsiteY12" fmla="*/ 80556 h 245375"/>
                <a:gd name="connsiteX13" fmla="*/ 0 w 411296"/>
                <a:gd name="connsiteY13" fmla="*/ 84950 h 245375"/>
                <a:gd name="connsiteX14" fmla="*/ 0 w 411296"/>
                <a:gd name="connsiteY14" fmla="*/ 89787 h 245375"/>
                <a:gd name="connsiteX15" fmla="*/ 0 w 411296"/>
                <a:gd name="connsiteY15" fmla="*/ 224008 h 245375"/>
                <a:gd name="connsiteX16" fmla="*/ 21367 w 411296"/>
                <a:gd name="connsiteY16" fmla="*/ 245375 h 245375"/>
                <a:gd name="connsiteX17" fmla="*/ 389209 w 411296"/>
                <a:gd name="connsiteY17" fmla="*/ 245375 h 245375"/>
                <a:gd name="connsiteX18" fmla="*/ 410576 w 411296"/>
                <a:gd name="connsiteY18" fmla="*/ 224008 h 245375"/>
                <a:gd name="connsiteX19" fmla="*/ 410576 w 411296"/>
                <a:gd name="connsiteY19" fmla="*/ 89787 h 245375"/>
                <a:gd name="connsiteX20" fmla="*/ 410576 w 411296"/>
                <a:gd name="connsiteY20" fmla="*/ 84950 h 245375"/>
                <a:gd name="connsiteX21" fmla="*/ 410576 w 411296"/>
                <a:gd name="connsiteY21" fmla="*/ 81914 h 245375"/>
                <a:gd name="connsiteX22" fmla="*/ 411296 w 411296"/>
                <a:gd name="connsiteY22" fmla="*/ 81980 h 245375"/>
                <a:gd name="connsiteX23" fmla="*/ 410576 w 411296"/>
                <a:gd name="connsiteY23" fmla="*/ 80883 h 245375"/>
                <a:gd name="connsiteX24" fmla="*/ 410576 w 411296"/>
                <a:gd name="connsiteY24" fmla="*/ 80556 h 245375"/>
                <a:gd name="connsiteX25" fmla="*/ 409951 w 411296"/>
                <a:gd name="connsiteY25" fmla="*/ 79931 h 245375"/>
                <a:gd name="connsiteX26" fmla="*/ 398790 w 411296"/>
                <a:gd name="connsiteY26" fmla="*/ 62929 h 245375"/>
                <a:gd name="connsiteX27" fmla="*/ 303382 w 411296"/>
                <a:gd name="connsiteY27"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84950 h 245375"/>
                <a:gd name="connsiteX13" fmla="*/ 0 w 411296"/>
                <a:gd name="connsiteY13" fmla="*/ 89787 h 245375"/>
                <a:gd name="connsiteX14" fmla="*/ 0 w 411296"/>
                <a:gd name="connsiteY14" fmla="*/ 224008 h 245375"/>
                <a:gd name="connsiteX15" fmla="*/ 21367 w 411296"/>
                <a:gd name="connsiteY15" fmla="*/ 245375 h 245375"/>
                <a:gd name="connsiteX16" fmla="*/ 389209 w 411296"/>
                <a:gd name="connsiteY16" fmla="*/ 245375 h 245375"/>
                <a:gd name="connsiteX17" fmla="*/ 410576 w 411296"/>
                <a:gd name="connsiteY17" fmla="*/ 224008 h 245375"/>
                <a:gd name="connsiteX18" fmla="*/ 410576 w 411296"/>
                <a:gd name="connsiteY18" fmla="*/ 89787 h 245375"/>
                <a:gd name="connsiteX19" fmla="*/ 410576 w 411296"/>
                <a:gd name="connsiteY19" fmla="*/ 84950 h 245375"/>
                <a:gd name="connsiteX20" fmla="*/ 410576 w 411296"/>
                <a:gd name="connsiteY20" fmla="*/ 81914 h 245375"/>
                <a:gd name="connsiteX21" fmla="*/ 411296 w 411296"/>
                <a:gd name="connsiteY21" fmla="*/ 81980 h 245375"/>
                <a:gd name="connsiteX22" fmla="*/ 410576 w 411296"/>
                <a:gd name="connsiteY22" fmla="*/ 80883 h 245375"/>
                <a:gd name="connsiteX23" fmla="*/ 410576 w 411296"/>
                <a:gd name="connsiteY23" fmla="*/ 80556 h 245375"/>
                <a:gd name="connsiteX24" fmla="*/ 409951 w 411296"/>
                <a:gd name="connsiteY24" fmla="*/ 79931 h 245375"/>
                <a:gd name="connsiteX25" fmla="*/ 398790 w 411296"/>
                <a:gd name="connsiteY25" fmla="*/ 62929 h 245375"/>
                <a:gd name="connsiteX26" fmla="*/ 303382 w 411296"/>
                <a:gd name="connsiteY26"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84950 h 245375"/>
                <a:gd name="connsiteX13" fmla="*/ 0 w 411296"/>
                <a:gd name="connsiteY13" fmla="*/ 224008 h 245375"/>
                <a:gd name="connsiteX14" fmla="*/ 21367 w 411296"/>
                <a:gd name="connsiteY14" fmla="*/ 245375 h 245375"/>
                <a:gd name="connsiteX15" fmla="*/ 389209 w 411296"/>
                <a:gd name="connsiteY15" fmla="*/ 245375 h 245375"/>
                <a:gd name="connsiteX16" fmla="*/ 410576 w 411296"/>
                <a:gd name="connsiteY16" fmla="*/ 224008 h 245375"/>
                <a:gd name="connsiteX17" fmla="*/ 410576 w 411296"/>
                <a:gd name="connsiteY17" fmla="*/ 89787 h 245375"/>
                <a:gd name="connsiteX18" fmla="*/ 410576 w 411296"/>
                <a:gd name="connsiteY18" fmla="*/ 84950 h 245375"/>
                <a:gd name="connsiteX19" fmla="*/ 410576 w 411296"/>
                <a:gd name="connsiteY19" fmla="*/ 81914 h 245375"/>
                <a:gd name="connsiteX20" fmla="*/ 411296 w 411296"/>
                <a:gd name="connsiteY20" fmla="*/ 81980 h 245375"/>
                <a:gd name="connsiteX21" fmla="*/ 410576 w 411296"/>
                <a:gd name="connsiteY21" fmla="*/ 80883 h 245375"/>
                <a:gd name="connsiteX22" fmla="*/ 410576 w 411296"/>
                <a:gd name="connsiteY22" fmla="*/ 80556 h 245375"/>
                <a:gd name="connsiteX23" fmla="*/ 409951 w 411296"/>
                <a:gd name="connsiteY23" fmla="*/ 79931 h 245375"/>
                <a:gd name="connsiteX24" fmla="*/ 398790 w 411296"/>
                <a:gd name="connsiteY24" fmla="*/ 62929 h 245375"/>
                <a:gd name="connsiteX25" fmla="*/ 303382 w 411296"/>
                <a:gd name="connsiteY25"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9787 h 245375"/>
                <a:gd name="connsiteX17" fmla="*/ 410576 w 411296"/>
                <a:gd name="connsiteY17" fmla="*/ 84950 h 245375"/>
                <a:gd name="connsiteX18" fmla="*/ 410576 w 411296"/>
                <a:gd name="connsiteY18" fmla="*/ 81914 h 245375"/>
                <a:gd name="connsiteX19" fmla="*/ 411296 w 411296"/>
                <a:gd name="connsiteY19" fmla="*/ 81980 h 245375"/>
                <a:gd name="connsiteX20" fmla="*/ 410576 w 411296"/>
                <a:gd name="connsiteY20" fmla="*/ 80883 h 245375"/>
                <a:gd name="connsiteX21" fmla="*/ 410576 w 411296"/>
                <a:gd name="connsiteY21" fmla="*/ 80556 h 245375"/>
                <a:gd name="connsiteX22" fmla="*/ 409951 w 411296"/>
                <a:gd name="connsiteY22" fmla="*/ 79931 h 245375"/>
                <a:gd name="connsiteX23" fmla="*/ 398790 w 411296"/>
                <a:gd name="connsiteY23" fmla="*/ 62929 h 245375"/>
                <a:gd name="connsiteX24" fmla="*/ 303382 w 411296"/>
                <a:gd name="connsiteY24"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9787 h 245375"/>
                <a:gd name="connsiteX17" fmla="*/ 410576 w 411296"/>
                <a:gd name="connsiteY17" fmla="*/ 81914 h 245375"/>
                <a:gd name="connsiteX18" fmla="*/ 411296 w 411296"/>
                <a:gd name="connsiteY18" fmla="*/ 81980 h 245375"/>
                <a:gd name="connsiteX19" fmla="*/ 410576 w 411296"/>
                <a:gd name="connsiteY19" fmla="*/ 80883 h 245375"/>
                <a:gd name="connsiteX20" fmla="*/ 410576 w 411296"/>
                <a:gd name="connsiteY20" fmla="*/ 80556 h 245375"/>
                <a:gd name="connsiteX21" fmla="*/ 409951 w 411296"/>
                <a:gd name="connsiteY21" fmla="*/ 79931 h 245375"/>
                <a:gd name="connsiteX22" fmla="*/ 398790 w 411296"/>
                <a:gd name="connsiteY22" fmla="*/ 62929 h 245375"/>
                <a:gd name="connsiteX23" fmla="*/ 303382 w 411296"/>
                <a:gd name="connsiteY23"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1914 h 245375"/>
                <a:gd name="connsiteX17" fmla="*/ 411296 w 411296"/>
                <a:gd name="connsiteY17" fmla="*/ 81980 h 245375"/>
                <a:gd name="connsiteX18" fmla="*/ 410576 w 411296"/>
                <a:gd name="connsiteY18" fmla="*/ 80883 h 245375"/>
                <a:gd name="connsiteX19" fmla="*/ 410576 w 411296"/>
                <a:gd name="connsiteY19" fmla="*/ 80556 h 245375"/>
                <a:gd name="connsiteX20" fmla="*/ 409951 w 411296"/>
                <a:gd name="connsiteY20" fmla="*/ 79931 h 245375"/>
                <a:gd name="connsiteX21" fmla="*/ 398790 w 411296"/>
                <a:gd name="connsiteY21" fmla="*/ 62929 h 245375"/>
                <a:gd name="connsiteX22" fmla="*/ 303382 w 411296"/>
                <a:gd name="connsiteY22"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1914 h 245375"/>
                <a:gd name="connsiteX17" fmla="*/ 411296 w 411296"/>
                <a:gd name="connsiteY17" fmla="*/ 81980 h 245375"/>
                <a:gd name="connsiteX18" fmla="*/ 410576 w 411296"/>
                <a:gd name="connsiteY18" fmla="*/ 80883 h 245375"/>
                <a:gd name="connsiteX19" fmla="*/ 409951 w 411296"/>
                <a:gd name="connsiteY19" fmla="*/ 79931 h 245375"/>
                <a:gd name="connsiteX20" fmla="*/ 398790 w 411296"/>
                <a:gd name="connsiteY20" fmla="*/ 62929 h 245375"/>
                <a:gd name="connsiteX21" fmla="*/ 303382 w 411296"/>
                <a:gd name="connsiteY21"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1914 h 245375"/>
                <a:gd name="connsiteX17" fmla="*/ 411296 w 411296"/>
                <a:gd name="connsiteY17" fmla="*/ 81980 h 245375"/>
                <a:gd name="connsiteX18" fmla="*/ 410576 w 411296"/>
                <a:gd name="connsiteY18" fmla="*/ 80883 h 245375"/>
                <a:gd name="connsiteX19" fmla="*/ 398790 w 411296"/>
                <a:gd name="connsiteY19" fmla="*/ 62929 h 245375"/>
                <a:gd name="connsiteX20" fmla="*/ 303382 w 411296"/>
                <a:gd name="connsiteY20" fmla="*/ 0 h 245375"/>
                <a:gd name="connsiteX0" fmla="*/ 303382 w 411296"/>
                <a:gd name="connsiteY0" fmla="*/ 0 h 245375"/>
                <a:gd name="connsiteX1" fmla="*/ 286107 w 411296"/>
                <a:gd name="connsiteY1" fmla="*/ 13334 h 245375"/>
                <a:gd name="connsiteX2" fmla="*/ 286107 w 411296"/>
                <a:gd name="connsiteY2" fmla="*/ 51509 h 245375"/>
                <a:gd name="connsiteX3" fmla="*/ 208013 w 411296"/>
                <a:gd name="connsiteY3" fmla="*/ 0 h 245375"/>
                <a:gd name="connsiteX4" fmla="*/ 190738 w 411296"/>
                <a:gd name="connsiteY4" fmla="*/ 13334 h 245375"/>
                <a:gd name="connsiteX5" fmla="*/ 190738 w 411296"/>
                <a:gd name="connsiteY5" fmla="*/ 51509 h 245375"/>
                <a:gd name="connsiteX6" fmla="*/ 112644 w 411296"/>
                <a:gd name="connsiteY6" fmla="*/ 0 h 245375"/>
                <a:gd name="connsiteX7" fmla="*/ 95369 w 411296"/>
                <a:gd name="connsiteY7" fmla="*/ 13334 h 245375"/>
                <a:gd name="connsiteX8" fmla="*/ 95369 w 411296"/>
                <a:gd name="connsiteY8" fmla="*/ 51509 h 245375"/>
                <a:gd name="connsiteX9" fmla="*/ 17275 w 411296"/>
                <a:gd name="connsiteY9" fmla="*/ 0 h 245375"/>
                <a:gd name="connsiteX10" fmla="*/ 0 w 411296"/>
                <a:gd name="connsiteY10" fmla="*/ 13334 h 245375"/>
                <a:gd name="connsiteX11" fmla="*/ 0 w 411296"/>
                <a:gd name="connsiteY11" fmla="*/ 80556 h 245375"/>
                <a:gd name="connsiteX12" fmla="*/ 0 w 411296"/>
                <a:gd name="connsiteY12" fmla="*/ 224008 h 245375"/>
                <a:gd name="connsiteX13" fmla="*/ 21367 w 411296"/>
                <a:gd name="connsiteY13" fmla="*/ 245375 h 245375"/>
                <a:gd name="connsiteX14" fmla="*/ 389209 w 411296"/>
                <a:gd name="connsiteY14" fmla="*/ 245375 h 245375"/>
                <a:gd name="connsiteX15" fmla="*/ 410576 w 411296"/>
                <a:gd name="connsiteY15" fmla="*/ 224008 h 245375"/>
                <a:gd name="connsiteX16" fmla="*/ 410576 w 411296"/>
                <a:gd name="connsiteY16" fmla="*/ 81914 h 245375"/>
                <a:gd name="connsiteX17" fmla="*/ 411296 w 411296"/>
                <a:gd name="connsiteY17" fmla="*/ 81980 h 245375"/>
                <a:gd name="connsiteX18" fmla="*/ 398790 w 411296"/>
                <a:gd name="connsiteY18" fmla="*/ 62929 h 245375"/>
                <a:gd name="connsiteX19" fmla="*/ 303382 w 411296"/>
                <a:gd name="connsiteY19" fmla="*/ 0 h 24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1296" h="245375">
                  <a:moveTo>
                    <a:pt x="303382" y="0"/>
                  </a:moveTo>
                  <a:lnTo>
                    <a:pt x="286107" y="13334"/>
                  </a:lnTo>
                  <a:lnTo>
                    <a:pt x="286107" y="51509"/>
                  </a:lnTo>
                  <a:lnTo>
                    <a:pt x="208013" y="0"/>
                  </a:lnTo>
                  <a:lnTo>
                    <a:pt x="190738" y="13334"/>
                  </a:lnTo>
                  <a:lnTo>
                    <a:pt x="190738" y="51509"/>
                  </a:lnTo>
                  <a:lnTo>
                    <a:pt x="112644" y="0"/>
                  </a:lnTo>
                  <a:lnTo>
                    <a:pt x="95369" y="13334"/>
                  </a:lnTo>
                  <a:lnTo>
                    <a:pt x="95369" y="51509"/>
                  </a:lnTo>
                  <a:lnTo>
                    <a:pt x="17275" y="0"/>
                  </a:lnTo>
                  <a:lnTo>
                    <a:pt x="0" y="13334"/>
                  </a:lnTo>
                  <a:lnTo>
                    <a:pt x="0" y="80556"/>
                  </a:lnTo>
                  <a:lnTo>
                    <a:pt x="0" y="224008"/>
                  </a:lnTo>
                  <a:lnTo>
                    <a:pt x="21367" y="245375"/>
                  </a:lnTo>
                  <a:lnTo>
                    <a:pt x="389209" y="245375"/>
                  </a:lnTo>
                  <a:lnTo>
                    <a:pt x="410576" y="224008"/>
                  </a:lnTo>
                  <a:lnTo>
                    <a:pt x="410576" y="81914"/>
                  </a:lnTo>
                  <a:lnTo>
                    <a:pt x="411296" y="81980"/>
                  </a:lnTo>
                  <a:lnTo>
                    <a:pt x="398790" y="62929"/>
                  </a:lnTo>
                  <a:lnTo>
                    <a:pt x="303382" y="0"/>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2" name="Right Triangle 73">
              <a:extLst>
                <a:ext uri="{FF2B5EF4-FFF2-40B4-BE49-F238E27FC236}">
                  <a16:creationId xmlns:a16="http://schemas.microsoft.com/office/drawing/2014/main" id="{9009A1A4-33C8-4B4A-8FA6-70890AF855D7}"/>
                </a:ext>
              </a:extLst>
            </p:cNvPr>
            <p:cNvSpPr/>
            <p:nvPr/>
          </p:nvSpPr>
          <p:spPr bwMode="gray">
            <a:xfrm flipH="1" flipV="1">
              <a:off x="7283929" y="-1369440"/>
              <a:ext cx="700041" cy="264511"/>
            </a:xfrm>
            <a:custGeom>
              <a:avLst/>
              <a:gdLst>
                <a:gd name="connsiteX0" fmla="*/ 738736 w 741694"/>
                <a:gd name="connsiteY0" fmla="*/ 0 h 268053"/>
                <a:gd name="connsiteX1" fmla="*/ 472098 w 741694"/>
                <a:gd name="connsiteY1" fmla="*/ 153943 h 268053"/>
                <a:gd name="connsiteX2" fmla="*/ 320171 w 741694"/>
                <a:gd name="connsiteY2" fmla="*/ 66998 h 268053"/>
                <a:gd name="connsiteX3" fmla="*/ 319792 w 741694"/>
                <a:gd name="connsiteY3" fmla="*/ 67649 h 268053"/>
                <a:gd name="connsiteX4" fmla="*/ 319312 w 741694"/>
                <a:gd name="connsiteY4" fmla="*/ 66818 h 268053"/>
                <a:gd name="connsiteX5" fmla="*/ 37302 w 741694"/>
                <a:gd name="connsiteY5" fmla="*/ 229636 h 268053"/>
                <a:gd name="connsiteX6" fmla="*/ 17815 w 741694"/>
                <a:gd name="connsiteY6" fmla="*/ 183034 h 268053"/>
                <a:gd name="connsiteX7" fmla="*/ 0 w 741694"/>
                <a:gd name="connsiteY7" fmla="*/ 268053 h 268053"/>
                <a:gd name="connsiteX8" fmla="*/ 59232 w 741694"/>
                <a:gd name="connsiteY8" fmla="*/ 267619 h 268053"/>
                <a:gd name="connsiteX9" fmla="*/ 51922 w 741694"/>
                <a:gd name="connsiteY9" fmla="*/ 254957 h 268053"/>
                <a:gd name="connsiteX10" fmla="*/ 319453 w 741694"/>
                <a:gd name="connsiteY10" fmla="*/ 100498 h 268053"/>
                <a:gd name="connsiteX11" fmla="*/ 468617 w 741694"/>
                <a:gd name="connsiteY11" fmla="*/ 185862 h 268053"/>
                <a:gd name="connsiteX12" fmla="*/ 470285 w 741694"/>
                <a:gd name="connsiteY12" fmla="*/ 188752 h 268053"/>
                <a:gd name="connsiteX13" fmla="*/ 741694 w 741694"/>
                <a:gd name="connsiteY13" fmla="*/ 32054 h 268053"/>
                <a:gd name="connsiteX14" fmla="*/ 741694 w 741694"/>
                <a:gd name="connsiteY14" fmla="*/ 5123 h 268053"/>
                <a:gd name="connsiteX15" fmla="*/ 738736 w 741694"/>
                <a:gd name="connsiteY15" fmla="*/ 0 h 268053"/>
                <a:gd name="connsiteX0" fmla="*/ 772224 w 775182"/>
                <a:gd name="connsiteY0" fmla="*/ 0 h 308781"/>
                <a:gd name="connsiteX1" fmla="*/ 505586 w 775182"/>
                <a:gd name="connsiteY1" fmla="*/ 153943 h 308781"/>
                <a:gd name="connsiteX2" fmla="*/ 353659 w 775182"/>
                <a:gd name="connsiteY2" fmla="*/ 66998 h 308781"/>
                <a:gd name="connsiteX3" fmla="*/ 353280 w 775182"/>
                <a:gd name="connsiteY3" fmla="*/ 67649 h 308781"/>
                <a:gd name="connsiteX4" fmla="*/ 352800 w 775182"/>
                <a:gd name="connsiteY4" fmla="*/ 66818 h 308781"/>
                <a:gd name="connsiteX5" fmla="*/ 70790 w 775182"/>
                <a:gd name="connsiteY5" fmla="*/ 229636 h 308781"/>
                <a:gd name="connsiteX6" fmla="*/ 51303 w 775182"/>
                <a:gd name="connsiteY6" fmla="*/ 183034 h 308781"/>
                <a:gd name="connsiteX7" fmla="*/ 0 w 775182"/>
                <a:gd name="connsiteY7" fmla="*/ 308781 h 308781"/>
                <a:gd name="connsiteX8" fmla="*/ 92720 w 775182"/>
                <a:gd name="connsiteY8" fmla="*/ 267619 h 308781"/>
                <a:gd name="connsiteX9" fmla="*/ 85410 w 775182"/>
                <a:gd name="connsiteY9" fmla="*/ 254957 h 308781"/>
                <a:gd name="connsiteX10" fmla="*/ 352941 w 775182"/>
                <a:gd name="connsiteY10" fmla="*/ 100498 h 308781"/>
                <a:gd name="connsiteX11" fmla="*/ 502105 w 775182"/>
                <a:gd name="connsiteY11" fmla="*/ 185862 h 308781"/>
                <a:gd name="connsiteX12" fmla="*/ 503773 w 775182"/>
                <a:gd name="connsiteY12" fmla="*/ 188752 h 308781"/>
                <a:gd name="connsiteX13" fmla="*/ 775182 w 775182"/>
                <a:gd name="connsiteY13" fmla="*/ 32054 h 308781"/>
                <a:gd name="connsiteX14" fmla="*/ 775182 w 775182"/>
                <a:gd name="connsiteY14" fmla="*/ 5123 h 308781"/>
                <a:gd name="connsiteX15" fmla="*/ 772224 w 775182"/>
                <a:gd name="connsiteY15" fmla="*/ 0 h 308781"/>
                <a:gd name="connsiteX0" fmla="*/ 772224 w 775182"/>
                <a:gd name="connsiteY0" fmla="*/ 0 h 308781"/>
                <a:gd name="connsiteX1" fmla="*/ 505586 w 775182"/>
                <a:gd name="connsiteY1" fmla="*/ 153943 h 308781"/>
                <a:gd name="connsiteX2" fmla="*/ 353659 w 775182"/>
                <a:gd name="connsiteY2" fmla="*/ 66998 h 308781"/>
                <a:gd name="connsiteX3" fmla="*/ 353280 w 775182"/>
                <a:gd name="connsiteY3" fmla="*/ 67649 h 308781"/>
                <a:gd name="connsiteX4" fmla="*/ 352800 w 775182"/>
                <a:gd name="connsiteY4" fmla="*/ 66818 h 308781"/>
                <a:gd name="connsiteX5" fmla="*/ 70790 w 775182"/>
                <a:gd name="connsiteY5" fmla="*/ 229636 h 308781"/>
                <a:gd name="connsiteX6" fmla="*/ 51303 w 775182"/>
                <a:gd name="connsiteY6" fmla="*/ 183034 h 308781"/>
                <a:gd name="connsiteX7" fmla="*/ 0 w 775182"/>
                <a:gd name="connsiteY7" fmla="*/ 308781 h 308781"/>
                <a:gd name="connsiteX8" fmla="*/ 92720 w 775182"/>
                <a:gd name="connsiteY8" fmla="*/ 267619 h 308781"/>
                <a:gd name="connsiteX9" fmla="*/ 88454 w 775182"/>
                <a:gd name="connsiteY9" fmla="*/ 261744 h 308781"/>
                <a:gd name="connsiteX10" fmla="*/ 352941 w 775182"/>
                <a:gd name="connsiteY10" fmla="*/ 100498 h 308781"/>
                <a:gd name="connsiteX11" fmla="*/ 502105 w 775182"/>
                <a:gd name="connsiteY11" fmla="*/ 185862 h 308781"/>
                <a:gd name="connsiteX12" fmla="*/ 503773 w 775182"/>
                <a:gd name="connsiteY12" fmla="*/ 188752 h 308781"/>
                <a:gd name="connsiteX13" fmla="*/ 775182 w 775182"/>
                <a:gd name="connsiteY13" fmla="*/ 32054 h 308781"/>
                <a:gd name="connsiteX14" fmla="*/ 775182 w 775182"/>
                <a:gd name="connsiteY14" fmla="*/ 5123 h 308781"/>
                <a:gd name="connsiteX15" fmla="*/ 772224 w 775182"/>
                <a:gd name="connsiteY15" fmla="*/ 0 h 308781"/>
                <a:gd name="connsiteX0" fmla="*/ 772224 w 775182"/>
                <a:gd name="connsiteY0" fmla="*/ 0 h 308781"/>
                <a:gd name="connsiteX1" fmla="*/ 505586 w 775182"/>
                <a:gd name="connsiteY1" fmla="*/ 153943 h 308781"/>
                <a:gd name="connsiteX2" fmla="*/ 353659 w 775182"/>
                <a:gd name="connsiteY2" fmla="*/ 66998 h 308781"/>
                <a:gd name="connsiteX3" fmla="*/ 353280 w 775182"/>
                <a:gd name="connsiteY3" fmla="*/ 67649 h 308781"/>
                <a:gd name="connsiteX4" fmla="*/ 352800 w 775182"/>
                <a:gd name="connsiteY4" fmla="*/ 66818 h 308781"/>
                <a:gd name="connsiteX5" fmla="*/ 70790 w 775182"/>
                <a:gd name="connsiteY5" fmla="*/ 229636 h 308781"/>
                <a:gd name="connsiteX6" fmla="*/ 51303 w 775182"/>
                <a:gd name="connsiteY6" fmla="*/ 183034 h 308781"/>
                <a:gd name="connsiteX7" fmla="*/ 0 w 775182"/>
                <a:gd name="connsiteY7" fmla="*/ 308781 h 308781"/>
                <a:gd name="connsiteX8" fmla="*/ 92720 w 775182"/>
                <a:gd name="connsiteY8" fmla="*/ 267619 h 308781"/>
                <a:gd name="connsiteX9" fmla="*/ 121941 w 775182"/>
                <a:gd name="connsiteY9" fmla="*/ 299078 h 308781"/>
                <a:gd name="connsiteX10" fmla="*/ 352941 w 775182"/>
                <a:gd name="connsiteY10" fmla="*/ 100498 h 308781"/>
                <a:gd name="connsiteX11" fmla="*/ 502105 w 775182"/>
                <a:gd name="connsiteY11" fmla="*/ 185862 h 308781"/>
                <a:gd name="connsiteX12" fmla="*/ 503773 w 775182"/>
                <a:gd name="connsiteY12" fmla="*/ 188752 h 308781"/>
                <a:gd name="connsiteX13" fmla="*/ 775182 w 775182"/>
                <a:gd name="connsiteY13" fmla="*/ 32054 h 308781"/>
                <a:gd name="connsiteX14" fmla="*/ 775182 w 775182"/>
                <a:gd name="connsiteY14" fmla="*/ 5123 h 308781"/>
                <a:gd name="connsiteX15" fmla="*/ 772224 w 775182"/>
                <a:gd name="connsiteY15" fmla="*/ 0 h 308781"/>
                <a:gd name="connsiteX0" fmla="*/ 772224 w 775182"/>
                <a:gd name="connsiteY0" fmla="*/ 0 h 315134"/>
                <a:gd name="connsiteX1" fmla="*/ 505586 w 775182"/>
                <a:gd name="connsiteY1" fmla="*/ 153943 h 315134"/>
                <a:gd name="connsiteX2" fmla="*/ 353659 w 775182"/>
                <a:gd name="connsiteY2" fmla="*/ 66998 h 315134"/>
                <a:gd name="connsiteX3" fmla="*/ 353280 w 775182"/>
                <a:gd name="connsiteY3" fmla="*/ 67649 h 315134"/>
                <a:gd name="connsiteX4" fmla="*/ 352800 w 775182"/>
                <a:gd name="connsiteY4" fmla="*/ 66818 h 315134"/>
                <a:gd name="connsiteX5" fmla="*/ 70790 w 775182"/>
                <a:gd name="connsiteY5" fmla="*/ 229636 h 315134"/>
                <a:gd name="connsiteX6" fmla="*/ 51303 w 775182"/>
                <a:gd name="connsiteY6" fmla="*/ 183034 h 315134"/>
                <a:gd name="connsiteX7" fmla="*/ 0 w 775182"/>
                <a:gd name="connsiteY7" fmla="*/ 308781 h 315134"/>
                <a:gd name="connsiteX8" fmla="*/ 114031 w 775182"/>
                <a:gd name="connsiteY8" fmla="*/ 315134 h 315134"/>
                <a:gd name="connsiteX9" fmla="*/ 121941 w 775182"/>
                <a:gd name="connsiteY9" fmla="*/ 299078 h 315134"/>
                <a:gd name="connsiteX10" fmla="*/ 352941 w 775182"/>
                <a:gd name="connsiteY10" fmla="*/ 100498 h 315134"/>
                <a:gd name="connsiteX11" fmla="*/ 502105 w 775182"/>
                <a:gd name="connsiteY11" fmla="*/ 185862 h 315134"/>
                <a:gd name="connsiteX12" fmla="*/ 503773 w 775182"/>
                <a:gd name="connsiteY12" fmla="*/ 188752 h 315134"/>
                <a:gd name="connsiteX13" fmla="*/ 775182 w 775182"/>
                <a:gd name="connsiteY13" fmla="*/ 32054 h 315134"/>
                <a:gd name="connsiteX14" fmla="*/ 775182 w 775182"/>
                <a:gd name="connsiteY14" fmla="*/ 5123 h 315134"/>
                <a:gd name="connsiteX15" fmla="*/ 772224 w 775182"/>
                <a:gd name="connsiteY15" fmla="*/ 0 h 315134"/>
                <a:gd name="connsiteX0" fmla="*/ 772224 w 775182"/>
                <a:gd name="connsiteY0" fmla="*/ 0 h 315134"/>
                <a:gd name="connsiteX1" fmla="*/ 505586 w 775182"/>
                <a:gd name="connsiteY1" fmla="*/ 153943 h 315134"/>
                <a:gd name="connsiteX2" fmla="*/ 353659 w 775182"/>
                <a:gd name="connsiteY2" fmla="*/ 66998 h 315134"/>
                <a:gd name="connsiteX3" fmla="*/ 353280 w 775182"/>
                <a:gd name="connsiteY3" fmla="*/ 67649 h 315134"/>
                <a:gd name="connsiteX4" fmla="*/ 352800 w 775182"/>
                <a:gd name="connsiteY4" fmla="*/ 66818 h 315134"/>
                <a:gd name="connsiteX5" fmla="*/ 70790 w 775182"/>
                <a:gd name="connsiteY5" fmla="*/ 229636 h 315134"/>
                <a:gd name="connsiteX6" fmla="*/ 51303 w 775182"/>
                <a:gd name="connsiteY6" fmla="*/ 183034 h 315134"/>
                <a:gd name="connsiteX7" fmla="*/ 0 w 775182"/>
                <a:gd name="connsiteY7" fmla="*/ 308781 h 315134"/>
                <a:gd name="connsiteX8" fmla="*/ 114031 w 775182"/>
                <a:gd name="connsiteY8" fmla="*/ 315134 h 315134"/>
                <a:gd name="connsiteX9" fmla="*/ 82365 w 775182"/>
                <a:gd name="connsiteY9" fmla="*/ 265138 h 315134"/>
                <a:gd name="connsiteX10" fmla="*/ 352941 w 775182"/>
                <a:gd name="connsiteY10" fmla="*/ 100498 h 315134"/>
                <a:gd name="connsiteX11" fmla="*/ 502105 w 775182"/>
                <a:gd name="connsiteY11" fmla="*/ 185862 h 315134"/>
                <a:gd name="connsiteX12" fmla="*/ 503773 w 775182"/>
                <a:gd name="connsiteY12" fmla="*/ 188752 h 315134"/>
                <a:gd name="connsiteX13" fmla="*/ 775182 w 775182"/>
                <a:gd name="connsiteY13" fmla="*/ 32054 h 315134"/>
                <a:gd name="connsiteX14" fmla="*/ 775182 w 775182"/>
                <a:gd name="connsiteY14" fmla="*/ 5123 h 315134"/>
                <a:gd name="connsiteX15" fmla="*/ 772224 w 775182"/>
                <a:gd name="connsiteY15" fmla="*/ 0 h 315134"/>
                <a:gd name="connsiteX0" fmla="*/ 772224 w 775182"/>
                <a:gd name="connsiteY0" fmla="*/ 0 h 315134"/>
                <a:gd name="connsiteX1" fmla="*/ 505586 w 775182"/>
                <a:gd name="connsiteY1" fmla="*/ 153943 h 315134"/>
                <a:gd name="connsiteX2" fmla="*/ 353659 w 775182"/>
                <a:gd name="connsiteY2" fmla="*/ 66998 h 315134"/>
                <a:gd name="connsiteX3" fmla="*/ 353280 w 775182"/>
                <a:gd name="connsiteY3" fmla="*/ 67649 h 315134"/>
                <a:gd name="connsiteX4" fmla="*/ 352800 w 775182"/>
                <a:gd name="connsiteY4" fmla="*/ 66818 h 315134"/>
                <a:gd name="connsiteX5" fmla="*/ 70790 w 775182"/>
                <a:gd name="connsiteY5" fmla="*/ 229636 h 315134"/>
                <a:gd name="connsiteX6" fmla="*/ 51303 w 775182"/>
                <a:gd name="connsiteY6" fmla="*/ 183034 h 315134"/>
                <a:gd name="connsiteX7" fmla="*/ 0 w 775182"/>
                <a:gd name="connsiteY7" fmla="*/ 308781 h 315134"/>
                <a:gd name="connsiteX8" fmla="*/ 114031 w 775182"/>
                <a:gd name="connsiteY8" fmla="*/ 315134 h 315134"/>
                <a:gd name="connsiteX9" fmla="*/ 79321 w 775182"/>
                <a:gd name="connsiteY9" fmla="*/ 251562 h 315134"/>
                <a:gd name="connsiteX10" fmla="*/ 352941 w 775182"/>
                <a:gd name="connsiteY10" fmla="*/ 100498 h 315134"/>
                <a:gd name="connsiteX11" fmla="*/ 502105 w 775182"/>
                <a:gd name="connsiteY11" fmla="*/ 185862 h 315134"/>
                <a:gd name="connsiteX12" fmla="*/ 503773 w 775182"/>
                <a:gd name="connsiteY12" fmla="*/ 188752 h 315134"/>
                <a:gd name="connsiteX13" fmla="*/ 775182 w 775182"/>
                <a:gd name="connsiteY13" fmla="*/ 32054 h 315134"/>
                <a:gd name="connsiteX14" fmla="*/ 775182 w 775182"/>
                <a:gd name="connsiteY14" fmla="*/ 5123 h 315134"/>
                <a:gd name="connsiteX15" fmla="*/ 772224 w 775182"/>
                <a:gd name="connsiteY15" fmla="*/ 0 h 315134"/>
                <a:gd name="connsiteX0" fmla="*/ 772224 w 775182"/>
                <a:gd name="connsiteY0" fmla="*/ 0 h 315134"/>
                <a:gd name="connsiteX1" fmla="*/ 505586 w 775182"/>
                <a:gd name="connsiteY1" fmla="*/ 153943 h 315134"/>
                <a:gd name="connsiteX2" fmla="*/ 353659 w 775182"/>
                <a:gd name="connsiteY2" fmla="*/ 66998 h 315134"/>
                <a:gd name="connsiteX3" fmla="*/ 353280 w 775182"/>
                <a:gd name="connsiteY3" fmla="*/ 67649 h 315134"/>
                <a:gd name="connsiteX4" fmla="*/ 352800 w 775182"/>
                <a:gd name="connsiteY4" fmla="*/ 66818 h 315134"/>
                <a:gd name="connsiteX5" fmla="*/ 70790 w 775182"/>
                <a:gd name="connsiteY5" fmla="*/ 229636 h 315134"/>
                <a:gd name="connsiteX6" fmla="*/ 51303 w 775182"/>
                <a:gd name="connsiteY6" fmla="*/ 183034 h 315134"/>
                <a:gd name="connsiteX7" fmla="*/ 0 w 775182"/>
                <a:gd name="connsiteY7" fmla="*/ 308781 h 315134"/>
                <a:gd name="connsiteX8" fmla="*/ 114031 w 775182"/>
                <a:gd name="connsiteY8" fmla="*/ 315134 h 315134"/>
                <a:gd name="connsiteX9" fmla="*/ 82365 w 775182"/>
                <a:gd name="connsiteY9" fmla="*/ 261744 h 315134"/>
                <a:gd name="connsiteX10" fmla="*/ 352941 w 775182"/>
                <a:gd name="connsiteY10" fmla="*/ 100498 h 315134"/>
                <a:gd name="connsiteX11" fmla="*/ 502105 w 775182"/>
                <a:gd name="connsiteY11" fmla="*/ 185862 h 315134"/>
                <a:gd name="connsiteX12" fmla="*/ 503773 w 775182"/>
                <a:gd name="connsiteY12" fmla="*/ 188752 h 315134"/>
                <a:gd name="connsiteX13" fmla="*/ 775182 w 775182"/>
                <a:gd name="connsiteY13" fmla="*/ 32054 h 315134"/>
                <a:gd name="connsiteX14" fmla="*/ 775182 w 775182"/>
                <a:gd name="connsiteY14" fmla="*/ 5123 h 315134"/>
                <a:gd name="connsiteX15" fmla="*/ 772224 w 775182"/>
                <a:gd name="connsiteY15" fmla="*/ 0 h 315134"/>
                <a:gd name="connsiteX0" fmla="*/ 772224 w 775182"/>
                <a:gd name="connsiteY0" fmla="*/ 0 h 315134"/>
                <a:gd name="connsiteX1" fmla="*/ 505586 w 775182"/>
                <a:gd name="connsiteY1" fmla="*/ 153943 h 315134"/>
                <a:gd name="connsiteX2" fmla="*/ 353659 w 775182"/>
                <a:gd name="connsiteY2" fmla="*/ 66998 h 315134"/>
                <a:gd name="connsiteX3" fmla="*/ 353280 w 775182"/>
                <a:gd name="connsiteY3" fmla="*/ 67649 h 315134"/>
                <a:gd name="connsiteX4" fmla="*/ 352800 w 775182"/>
                <a:gd name="connsiteY4" fmla="*/ 66818 h 315134"/>
                <a:gd name="connsiteX5" fmla="*/ 70790 w 775182"/>
                <a:gd name="connsiteY5" fmla="*/ 229636 h 315134"/>
                <a:gd name="connsiteX6" fmla="*/ 39126 w 775182"/>
                <a:gd name="connsiteY6" fmla="*/ 186428 h 315134"/>
                <a:gd name="connsiteX7" fmla="*/ 0 w 775182"/>
                <a:gd name="connsiteY7" fmla="*/ 308781 h 315134"/>
                <a:gd name="connsiteX8" fmla="*/ 114031 w 775182"/>
                <a:gd name="connsiteY8" fmla="*/ 315134 h 315134"/>
                <a:gd name="connsiteX9" fmla="*/ 82365 w 775182"/>
                <a:gd name="connsiteY9" fmla="*/ 261744 h 315134"/>
                <a:gd name="connsiteX10" fmla="*/ 352941 w 775182"/>
                <a:gd name="connsiteY10" fmla="*/ 100498 h 315134"/>
                <a:gd name="connsiteX11" fmla="*/ 502105 w 775182"/>
                <a:gd name="connsiteY11" fmla="*/ 185862 h 315134"/>
                <a:gd name="connsiteX12" fmla="*/ 503773 w 775182"/>
                <a:gd name="connsiteY12" fmla="*/ 188752 h 315134"/>
                <a:gd name="connsiteX13" fmla="*/ 775182 w 775182"/>
                <a:gd name="connsiteY13" fmla="*/ 32054 h 315134"/>
                <a:gd name="connsiteX14" fmla="*/ 775182 w 775182"/>
                <a:gd name="connsiteY14" fmla="*/ 5123 h 315134"/>
                <a:gd name="connsiteX15" fmla="*/ 772224 w 775182"/>
                <a:gd name="connsiteY15" fmla="*/ 0 h 315134"/>
                <a:gd name="connsiteX0" fmla="*/ 781357 w 784315"/>
                <a:gd name="connsiteY0" fmla="*/ 0 h 322357"/>
                <a:gd name="connsiteX1" fmla="*/ 514719 w 784315"/>
                <a:gd name="connsiteY1" fmla="*/ 153943 h 322357"/>
                <a:gd name="connsiteX2" fmla="*/ 362792 w 784315"/>
                <a:gd name="connsiteY2" fmla="*/ 66998 h 322357"/>
                <a:gd name="connsiteX3" fmla="*/ 362413 w 784315"/>
                <a:gd name="connsiteY3" fmla="*/ 67649 h 322357"/>
                <a:gd name="connsiteX4" fmla="*/ 361933 w 784315"/>
                <a:gd name="connsiteY4" fmla="*/ 66818 h 322357"/>
                <a:gd name="connsiteX5" fmla="*/ 79923 w 784315"/>
                <a:gd name="connsiteY5" fmla="*/ 229636 h 322357"/>
                <a:gd name="connsiteX6" fmla="*/ 48259 w 784315"/>
                <a:gd name="connsiteY6" fmla="*/ 186428 h 322357"/>
                <a:gd name="connsiteX7" fmla="*/ 0 w 784315"/>
                <a:gd name="connsiteY7" fmla="*/ 322357 h 322357"/>
                <a:gd name="connsiteX8" fmla="*/ 123164 w 784315"/>
                <a:gd name="connsiteY8" fmla="*/ 315134 h 322357"/>
                <a:gd name="connsiteX9" fmla="*/ 91498 w 784315"/>
                <a:gd name="connsiteY9" fmla="*/ 261744 h 322357"/>
                <a:gd name="connsiteX10" fmla="*/ 362074 w 784315"/>
                <a:gd name="connsiteY10" fmla="*/ 100498 h 322357"/>
                <a:gd name="connsiteX11" fmla="*/ 511238 w 784315"/>
                <a:gd name="connsiteY11" fmla="*/ 185862 h 322357"/>
                <a:gd name="connsiteX12" fmla="*/ 512906 w 784315"/>
                <a:gd name="connsiteY12" fmla="*/ 188752 h 322357"/>
                <a:gd name="connsiteX13" fmla="*/ 784315 w 784315"/>
                <a:gd name="connsiteY13" fmla="*/ 32054 h 322357"/>
                <a:gd name="connsiteX14" fmla="*/ 784315 w 784315"/>
                <a:gd name="connsiteY14" fmla="*/ 5123 h 322357"/>
                <a:gd name="connsiteX15" fmla="*/ 781357 w 784315"/>
                <a:gd name="connsiteY15" fmla="*/ 0 h 322357"/>
                <a:gd name="connsiteX0" fmla="*/ 781357 w 784315"/>
                <a:gd name="connsiteY0" fmla="*/ 0 h 322357"/>
                <a:gd name="connsiteX1" fmla="*/ 514719 w 784315"/>
                <a:gd name="connsiteY1" fmla="*/ 153943 h 322357"/>
                <a:gd name="connsiteX2" fmla="*/ 362792 w 784315"/>
                <a:gd name="connsiteY2" fmla="*/ 66998 h 322357"/>
                <a:gd name="connsiteX3" fmla="*/ 362413 w 784315"/>
                <a:gd name="connsiteY3" fmla="*/ 67649 h 322357"/>
                <a:gd name="connsiteX4" fmla="*/ 361933 w 784315"/>
                <a:gd name="connsiteY4" fmla="*/ 66818 h 322357"/>
                <a:gd name="connsiteX5" fmla="*/ 79923 w 784315"/>
                <a:gd name="connsiteY5" fmla="*/ 229636 h 322357"/>
                <a:gd name="connsiteX6" fmla="*/ 48259 w 784315"/>
                <a:gd name="connsiteY6" fmla="*/ 186428 h 322357"/>
                <a:gd name="connsiteX7" fmla="*/ 0 w 784315"/>
                <a:gd name="connsiteY7" fmla="*/ 322357 h 322357"/>
                <a:gd name="connsiteX8" fmla="*/ 123164 w 784315"/>
                <a:gd name="connsiteY8" fmla="*/ 315134 h 322357"/>
                <a:gd name="connsiteX9" fmla="*/ 103675 w 784315"/>
                <a:gd name="connsiteY9" fmla="*/ 268532 h 322357"/>
                <a:gd name="connsiteX10" fmla="*/ 362074 w 784315"/>
                <a:gd name="connsiteY10" fmla="*/ 100498 h 322357"/>
                <a:gd name="connsiteX11" fmla="*/ 511238 w 784315"/>
                <a:gd name="connsiteY11" fmla="*/ 185862 h 322357"/>
                <a:gd name="connsiteX12" fmla="*/ 512906 w 784315"/>
                <a:gd name="connsiteY12" fmla="*/ 188752 h 322357"/>
                <a:gd name="connsiteX13" fmla="*/ 784315 w 784315"/>
                <a:gd name="connsiteY13" fmla="*/ 32054 h 322357"/>
                <a:gd name="connsiteX14" fmla="*/ 784315 w 784315"/>
                <a:gd name="connsiteY14" fmla="*/ 5123 h 322357"/>
                <a:gd name="connsiteX15" fmla="*/ 781357 w 784315"/>
                <a:gd name="connsiteY15" fmla="*/ 0 h 322357"/>
                <a:gd name="connsiteX0" fmla="*/ 781357 w 784315"/>
                <a:gd name="connsiteY0" fmla="*/ 0 h 322357"/>
                <a:gd name="connsiteX1" fmla="*/ 514719 w 784315"/>
                <a:gd name="connsiteY1" fmla="*/ 153943 h 322357"/>
                <a:gd name="connsiteX2" fmla="*/ 362792 w 784315"/>
                <a:gd name="connsiteY2" fmla="*/ 66998 h 322357"/>
                <a:gd name="connsiteX3" fmla="*/ 362413 w 784315"/>
                <a:gd name="connsiteY3" fmla="*/ 67649 h 322357"/>
                <a:gd name="connsiteX4" fmla="*/ 361933 w 784315"/>
                <a:gd name="connsiteY4" fmla="*/ 66818 h 322357"/>
                <a:gd name="connsiteX5" fmla="*/ 73834 w 784315"/>
                <a:gd name="connsiteY5" fmla="*/ 226242 h 322357"/>
                <a:gd name="connsiteX6" fmla="*/ 48259 w 784315"/>
                <a:gd name="connsiteY6" fmla="*/ 186428 h 322357"/>
                <a:gd name="connsiteX7" fmla="*/ 0 w 784315"/>
                <a:gd name="connsiteY7" fmla="*/ 322357 h 322357"/>
                <a:gd name="connsiteX8" fmla="*/ 123164 w 784315"/>
                <a:gd name="connsiteY8" fmla="*/ 315134 h 322357"/>
                <a:gd name="connsiteX9" fmla="*/ 103675 w 784315"/>
                <a:gd name="connsiteY9" fmla="*/ 268532 h 322357"/>
                <a:gd name="connsiteX10" fmla="*/ 362074 w 784315"/>
                <a:gd name="connsiteY10" fmla="*/ 100498 h 322357"/>
                <a:gd name="connsiteX11" fmla="*/ 511238 w 784315"/>
                <a:gd name="connsiteY11" fmla="*/ 185862 h 322357"/>
                <a:gd name="connsiteX12" fmla="*/ 512906 w 784315"/>
                <a:gd name="connsiteY12" fmla="*/ 188752 h 322357"/>
                <a:gd name="connsiteX13" fmla="*/ 784315 w 784315"/>
                <a:gd name="connsiteY13" fmla="*/ 32054 h 322357"/>
                <a:gd name="connsiteX14" fmla="*/ 784315 w 784315"/>
                <a:gd name="connsiteY14" fmla="*/ 5123 h 322357"/>
                <a:gd name="connsiteX15" fmla="*/ 781357 w 784315"/>
                <a:gd name="connsiteY15" fmla="*/ 0 h 322357"/>
                <a:gd name="connsiteX0" fmla="*/ 781357 w 784315"/>
                <a:gd name="connsiteY0" fmla="*/ 0 h 322357"/>
                <a:gd name="connsiteX1" fmla="*/ 514719 w 784315"/>
                <a:gd name="connsiteY1" fmla="*/ 153943 h 322357"/>
                <a:gd name="connsiteX2" fmla="*/ 362792 w 784315"/>
                <a:gd name="connsiteY2" fmla="*/ 66998 h 322357"/>
                <a:gd name="connsiteX3" fmla="*/ 362413 w 784315"/>
                <a:gd name="connsiteY3" fmla="*/ 67649 h 322357"/>
                <a:gd name="connsiteX4" fmla="*/ 352800 w 784315"/>
                <a:gd name="connsiteY4" fmla="*/ 46454 h 322357"/>
                <a:gd name="connsiteX5" fmla="*/ 73834 w 784315"/>
                <a:gd name="connsiteY5" fmla="*/ 226242 h 322357"/>
                <a:gd name="connsiteX6" fmla="*/ 48259 w 784315"/>
                <a:gd name="connsiteY6" fmla="*/ 186428 h 322357"/>
                <a:gd name="connsiteX7" fmla="*/ 0 w 784315"/>
                <a:gd name="connsiteY7" fmla="*/ 322357 h 322357"/>
                <a:gd name="connsiteX8" fmla="*/ 123164 w 784315"/>
                <a:gd name="connsiteY8" fmla="*/ 315134 h 322357"/>
                <a:gd name="connsiteX9" fmla="*/ 103675 w 784315"/>
                <a:gd name="connsiteY9" fmla="*/ 268532 h 322357"/>
                <a:gd name="connsiteX10" fmla="*/ 362074 w 784315"/>
                <a:gd name="connsiteY10" fmla="*/ 100498 h 322357"/>
                <a:gd name="connsiteX11" fmla="*/ 511238 w 784315"/>
                <a:gd name="connsiteY11" fmla="*/ 185862 h 322357"/>
                <a:gd name="connsiteX12" fmla="*/ 512906 w 784315"/>
                <a:gd name="connsiteY12" fmla="*/ 188752 h 322357"/>
                <a:gd name="connsiteX13" fmla="*/ 784315 w 784315"/>
                <a:gd name="connsiteY13" fmla="*/ 32054 h 322357"/>
                <a:gd name="connsiteX14" fmla="*/ 784315 w 784315"/>
                <a:gd name="connsiteY14" fmla="*/ 5123 h 322357"/>
                <a:gd name="connsiteX15" fmla="*/ 781357 w 784315"/>
                <a:gd name="connsiteY15" fmla="*/ 0 h 322357"/>
                <a:gd name="connsiteX0" fmla="*/ 781357 w 784315"/>
                <a:gd name="connsiteY0" fmla="*/ 0 h 322357"/>
                <a:gd name="connsiteX1" fmla="*/ 514719 w 784315"/>
                <a:gd name="connsiteY1" fmla="*/ 153943 h 322357"/>
                <a:gd name="connsiteX2" fmla="*/ 362792 w 784315"/>
                <a:gd name="connsiteY2" fmla="*/ 66998 h 322357"/>
                <a:gd name="connsiteX3" fmla="*/ 352800 w 784315"/>
                <a:gd name="connsiteY3" fmla="*/ 46454 h 322357"/>
                <a:gd name="connsiteX4" fmla="*/ 73834 w 784315"/>
                <a:gd name="connsiteY4" fmla="*/ 226242 h 322357"/>
                <a:gd name="connsiteX5" fmla="*/ 48259 w 784315"/>
                <a:gd name="connsiteY5" fmla="*/ 186428 h 322357"/>
                <a:gd name="connsiteX6" fmla="*/ 0 w 784315"/>
                <a:gd name="connsiteY6" fmla="*/ 322357 h 322357"/>
                <a:gd name="connsiteX7" fmla="*/ 123164 w 784315"/>
                <a:gd name="connsiteY7" fmla="*/ 315134 h 322357"/>
                <a:gd name="connsiteX8" fmla="*/ 103675 w 784315"/>
                <a:gd name="connsiteY8" fmla="*/ 268532 h 322357"/>
                <a:gd name="connsiteX9" fmla="*/ 362074 w 784315"/>
                <a:gd name="connsiteY9" fmla="*/ 100498 h 322357"/>
                <a:gd name="connsiteX10" fmla="*/ 511238 w 784315"/>
                <a:gd name="connsiteY10" fmla="*/ 185862 h 322357"/>
                <a:gd name="connsiteX11" fmla="*/ 512906 w 784315"/>
                <a:gd name="connsiteY11" fmla="*/ 188752 h 322357"/>
                <a:gd name="connsiteX12" fmla="*/ 784315 w 784315"/>
                <a:gd name="connsiteY12" fmla="*/ 32054 h 322357"/>
                <a:gd name="connsiteX13" fmla="*/ 784315 w 784315"/>
                <a:gd name="connsiteY13" fmla="*/ 5123 h 322357"/>
                <a:gd name="connsiteX14" fmla="*/ 781357 w 784315"/>
                <a:gd name="connsiteY14" fmla="*/ 0 h 322357"/>
                <a:gd name="connsiteX0" fmla="*/ 781357 w 784315"/>
                <a:gd name="connsiteY0" fmla="*/ 0 h 322357"/>
                <a:gd name="connsiteX1" fmla="*/ 514719 w 784315"/>
                <a:gd name="connsiteY1" fmla="*/ 153943 h 322357"/>
                <a:gd name="connsiteX2" fmla="*/ 352800 w 784315"/>
                <a:gd name="connsiteY2" fmla="*/ 46454 h 322357"/>
                <a:gd name="connsiteX3" fmla="*/ 73834 w 784315"/>
                <a:gd name="connsiteY3" fmla="*/ 226242 h 322357"/>
                <a:gd name="connsiteX4" fmla="*/ 48259 w 784315"/>
                <a:gd name="connsiteY4" fmla="*/ 186428 h 322357"/>
                <a:gd name="connsiteX5" fmla="*/ 0 w 784315"/>
                <a:gd name="connsiteY5" fmla="*/ 322357 h 322357"/>
                <a:gd name="connsiteX6" fmla="*/ 123164 w 784315"/>
                <a:gd name="connsiteY6" fmla="*/ 315134 h 322357"/>
                <a:gd name="connsiteX7" fmla="*/ 103675 w 784315"/>
                <a:gd name="connsiteY7" fmla="*/ 268532 h 322357"/>
                <a:gd name="connsiteX8" fmla="*/ 362074 w 784315"/>
                <a:gd name="connsiteY8" fmla="*/ 100498 h 322357"/>
                <a:gd name="connsiteX9" fmla="*/ 511238 w 784315"/>
                <a:gd name="connsiteY9" fmla="*/ 185862 h 322357"/>
                <a:gd name="connsiteX10" fmla="*/ 512906 w 784315"/>
                <a:gd name="connsiteY10" fmla="*/ 188752 h 322357"/>
                <a:gd name="connsiteX11" fmla="*/ 784315 w 784315"/>
                <a:gd name="connsiteY11" fmla="*/ 32054 h 322357"/>
                <a:gd name="connsiteX12" fmla="*/ 784315 w 784315"/>
                <a:gd name="connsiteY12" fmla="*/ 5123 h 322357"/>
                <a:gd name="connsiteX13" fmla="*/ 781357 w 784315"/>
                <a:gd name="connsiteY13" fmla="*/ 0 h 322357"/>
                <a:gd name="connsiteX0" fmla="*/ 781357 w 784315"/>
                <a:gd name="connsiteY0" fmla="*/ 0 h 322357"/>
                <a:gd name="connsiteX1" fmla="*/ 514719 w 784315"/>
                <a:gd name="connsiteY1" fmla="*/ 153943 h 322357"/>
                <a:gd name="connsiteX2" fmla="*/ 352800 w 784315"/>
                <a:gd name="connsiteY2" fmla="*/ 46454 h 322357"/>
                <a:gd name="connsiteX3" fmla="*/ 73834 w 784315"/>
                <a:gd name="connsiteY3" fmla="*/ 226242 h 322357"/>
                <a:gd name="connsiteX4" fmla="*/ 48259 w 784315"/>
                <a:gd name="connsiteY4" fmla="*/ 186428 h 322357"/>
                <a:gd name="connsiteX5" fmla="*/ 0 w 784315"/>
                <a:gd name="connsiteY5" fmla="*/ 322357 h 322357"/>
                <a:gd name="connsiteX6" fmla="*/ 123164 w 784315"/>
                <a:gd name="connsiteY6" fmla="*/ 315134 h 322357"/>
                <a:gd name="connsiteX7" fmla="*/ 103675 w 784315"/>
                <a:gd name="connsiteY7" fmla="*/ 268532 h 322357"/>
                <a:gd name="connsiteX8" fmla="*/ 362074 w 784315"/>
                <a:gd name="connsiteY8" fmla="*/ 100498 h 322357"/>
                <a:gd name="connsiteX9" fmla="*/ 511238 w 784315"/>
                <a:gd name="connsiteY9" fmla="*/ 185862 h 322357"/>
                <a:gd name="connsiteX10" fmla="*/ 500729 w 784315"/>
                <a:gd name="connsiteY10" fmla="*/ 212511 h 322357"/>
                <a:gd name="connsiteX11" fmla="*/ 784315 w 784315"/>
                <a:gd name="connsiteY11" fmla="*/ 32054 h 322357"/>
                <a:gd name="connsiteX12" fmla="*/ 784315 w 784315"/>
                <a:gd name="connsiteY12" fmla="*/ 5123 h 322357"/>
                <a:gd name="connsiteX13" fmla="*/ 781357 w 784315"/>
                <a:gd name="connsiteY13" fmla="*/ 0 h 322357"/>
                <a:gd name="connsiteX0" fmla="*/ 781357 w 784315"/>
                <a:gd name="connsiteY0" fmla="*/ 0 h 322357"/>
                <a:gd name="connsiteX1" fmla="*/ 514719 w 784315"/>
                <a:gd name="connsiteY1" fmla="*/ 153943 h 322357"/>
                <a:gd name="connsiteX2" fmla="*/ 352800 w 784315"/>
                <a:gd name="connsiteY2" fmla="*/ 46454 h 322357"/>
                <a:gd name="connsiteX3" fmla="*/ 73834 w 784315"/>
                <a:gd name="connsiteY3" fmla="*/ 226242 h 322357"/>
                <a:gd name="connsiteX4" fmla="*/ 48259 w 784315"/>
                <a:gd name="connsiteY4" fmla="*/ 186428 h 322357"/>
                <a:gd name="connsiteX5" fmla="*/ 0 w 784315"/>
                <a:gd name="connsiteY5" fmla="*/ 322357 h 322357"/>
                <a:gd name="connsiteX6" fmla="*/ 123164 w 784315"/>
                <a:gd name="connsiteY6" fmla="*/ 315134 h 322357"/>
                <a:gd name="connsiteX7" fmla="*/ 103675 w 784315"/>
                <a:gd name="connsiteY7" fmla="*/ 268532 h 322357"/>
                <a:gd name="connsiteX8" fmla="*/ 362074 w 784315"/>
                <a:gd name="connsiteY8" fmla="*/ 100498 h 322357"/>
                <a:gd name="connsiteX9" fmla="*/ 500729 w 784315"/>
                <a:gd name="connsiteY9" fmla="*/ 212511 h 322357"/>
                <a:gd name="connsiteX10" fmla="*/ 784315 w 784315"/>
                <a:gd name="connsiteY10" fmla="*/ 32054 h 322357"/>
                <a:gd name="connsiteX11" fmla="*/ 784315 w 784315"/>
                <a:gd name="connsiteY11" fmla="*/ 5123 h 322357"/>
                <a:gd name="connsiteX12" fmla="*/ 781357 w 784315"/>
                <a:gd name="connsiteY12" fmla="*/ 0 h 322357"/>
                <a:gd name="connsiteX0" fmla="*/ 781357 w 784315"/>
                <a:gd name="connsiteY0" fmla="*/ 0 h 322357"/>
                <a:gd name="connsiteX1" fmla="*/ 502542 w 784315"/>
                <a:gd name="connsiteY1" fmla="*/ 167519 h 322357"/>
                <a:gd name="connsiteX2" fmla="*/ 352800 w 784315"/>
                <a:gd name="connsiteY2" fmla="*/ 46454 h 322357"/>
                <a:gd name="connsiteX3" fmla="*/ 73834 w 784315"/>
                <a:gd name="connsiteY3" fmla="*/ 226242 h 322357"/>
                <a:gd name="connsiteX4" fmla="*/ 48259 w 784315"/>
                <a:gd name="connsiteY4" fmla="*/ 186428 h 322357"/>
                <a:gd name="connsiteX5" fmla="*/ 0 w 784315"/>
                <a:gd name="connsiteY5" fmla="*/ 322357 h 322357"/>
                <a:gd name="connsiteX6" fmla="*/ 123164 w 784315"/>
                <a:gd name="connsiteY6" fmla="*/ 315134 h 322357"/>
                <a:gd name="connsiteX7" fmla="*/ 103675 w 784315"/>
                <a:gd name="connsiteY7" fmla="*/ 268532 h 322357"/>
                <a:gd name="connsiteX8" fmla="*/ 362074 w 784315"/>
                <a:gd name="connsiteY8" fmla="*/ 100498 h 322357"/>
                <a:gd name="connsiteX9" fmla="*/ 500729 w 784315"/>
                <a:gd name="connsiteY9" fmla="*/ 212511 h 322357"/>
                <a:gd name="connsiteX10" fmla="*/ 784315 w 784315"/>
                <a:gd name="connsiteY10" fmla="*/ 32054 h 322357"/>
                <a:gd name="connsiteX11" fmla="*/ 784315 w 784315"/>
                <a:gd name="connsiteY11" fmla="*/ 5123 h 322357"/>
                <a:gd name="connsiteX12" fmla="*/ 781357 w 784315"/>
                <a:gd name="connsiteY12" fmla="*/ 0 h 322357"/>
                <a:gd name="connsiteX0" fmla="*/ 781357 w 784315"/>
                <a:gd name="connsiteY0" fmla="*/ 0 h 322357"/>
                <a:gd name="connsiteX1" fmla="*/ 502542 w 784315"/>
                <a:gd name="connsiteY1" fmla="*/ 167519 h 322357"/>
                <a:gd name="connsiteX2" fmla="*/ 352800 w 784315"/>
                <a:gd name="connsiteY2" fmla="*/ 46454 h 322357"/>
                <a:gd name="connsiteX3" fmla="*/ 73834 w 784315"/>
                <a:gd name="connsiteY3" fmla="*/ 226242 h 322357"/>
                <a:gd name="connsiteX4" fmla="*/ 48259 w 784315"/>
                <a:gd name="connsiteY4" fmla="*/ 186428 h 322357"/>
                <a:gd name="connsiteX5" fmla="*/ 0 w 784315"/>
                <a:gd name="connsiteY5" fmla="*/ 322357 h 322357"/>
                <a:gd name="connsiteX6" fmla="*/ 123164 w 784315"/>
                <a:gd name="connsiteY6" fmla="*/ 315134 h 322357"/>
                <a:gd name="connsiteX7" fmla="*/ 103675 w 784315"/>
                <a:gd name="connsiteY7" fmla="*/ 268532 h 322357"/>
                <a:gd name="connsiteX8" fmla="*/ 362074 w 784315"/>
                <a:gd name="connsiteY8" fmla="*/ 100498 h 322357"/>
                <a:gd name="connsiteX9" fmla="*/ 500729 w 784315"/>
                <a:gd name="connsiteY9" fmla="*/ 212511 h 322357"/>
                <a:gd name="connsiteX10" fmla="*/ 778226 w 784315"/>
                <a:gd name="connsiteY10" fmla="*/ 59205 h 322357"/>
                <a:gd name="connsiteX11" fmla="*/ 784315 w 784315"/>
                <a:gd name="connsiteY11" fmla="*/ 5123 h 322357"/>
                <a:gd name="connsiteX12" fmla="*/ 781357 w 784315"/>
                <a:gd name="connsiteY12" fmla="*/ 0 h 322357"/>
                <a:gd name="connsiteX0" fmla="*/ 781357 w 781357"/>
                <a:gd name="connsiteY0" fmla="*/ 0 h 322357"/>
                <a:gd name="connsiteX1" fmla="*/ 502542 w 781357"/>
                <a:gd name="connsiteY1" fmla="*/ 167519 h 322357"/>
                <a:gd name="connsiteX2" fmla="*/ 352800 w 781357"/>
                <a:gd name="connsiteY2" fmla="*/ 46454 h 322357"/>
                <a:gd name="connsiteX3" fmla="*/ 73834 w 781357"/>
                <a:gd name="connsiteY3" fmla="*/ 226242 h 322357"/>
                <a:gd name="connsiteX4" fmla="*/ 48259 w 781357"/>
                <a:gd name="connsiteY4" fmla="*/ 186428 h 322357"/>
                <a:gd name="connsiteX5" fmla="*/ 0 w 781357"/>
                <a:gd name="connsiteY5" fmla="*/ 322357 h 322357"/>
                <a:gd name="connsiteX6" fmla="*/ 123164 w 781357"/>
                <a:gd name="connsiteY6" fmla="*/ 315134 h 322357"/>
                <a:gd name="connsiteX7" fmla="*/ 103675 w 781357"/>
                <a:gd name="connsiteY7" fmla="*/ 268532 h 322357"/>
                <a:gd name="connsiteX8" fmla="*/ 362074 w 781357"/>
                <a:gd name="connsiteY8" fmla="*/ 100498 h 322357"/>
                <a:gd name="connsiteX9" fmla="*/ 500729 w 781357"/>
                <a:gd name="connsiteY9" fmla="*/ 212511 h 322357"/>
                <a:gd name="connsiteX10" fmla="*/ 778226 w 781357"/>
                <a:gd name="connsiteY10" fmla="*/ 59205 h 322357"/>
                <a:gd name="connsiteX11" fmla="*/ 781357 w 781357"/>
                <a:gd name="connsiteY11" fmla="*/ 0 h 322357"/>
                <a:gd name="connsiteX0" fmla="*/ 781357 w 781357"/>
                <a:gd name="connsiteY0" fmla="*/ 0 h 322357"/>
                <a:gd name="connsiteX1" fmla="*/ 496453 w 781357"/>
                <a:gd name="connsiteY1" fmla="*/ 164125 h 322357"/>
                <a:gd name="connsiteX2" fmla="*/ 352800 w 781357"/>
                <a:gd name="connsiteY2" fmla="*/ 46454 h 322357"/>
                <a:gd name="connsiteX3" fmla="*/ 73834 w 781357"/>
                <a:gd name="connsiteY3" fmla="*/ 226242 h 322357"/>
                <a:gd name="connsiteX4" fmla="*/ 48259 w 781357"/>
                <a:gd name="connsiteY4" fmla="*/ 186428 h 322357"/>
                <a:gd name="connsiteX5" fmla="*/ 0 w 781357"/>
                <a:gd name="connsiteY5" fmla="*/ 322357 h 322357"/>
                <a:gd name="connsiteX6" fmla="*/ 123164 w 781357"/>
                <a:gd name="connsiteY6" fmla="*/ 315134 h 322357"/>
                <a:gd name="connsiteX7" fmla="*/ 103675 w 781357"/>
                <a:gd name="connsiteY7" fmla="*/ 268532 h 322357"/>
                <a:gd name="connsiteX8" fmla="*/ 362074 w 781357"/>
                <a:gd name="connsiteY8" fmla="*/ 100498 h 322357"/>
                <a:gd name="connsiteX9" fmla="*/ 500729 w 781357"/>
                <a:gd name="connsiteY9" fmla="*/ 212511 h 322357"/>
                <a:gd name="connsiteX10" fmla="*/ 778226 w 781357"/>
                <a:gd name="connsiteY10" fmla="*/ 59205 h 322357"/>
                <a:gd name="connsiteX11" fmla="*/ 781357 w 781357"/>
                <a:gd name="connsiteY11" fmla="*/ 0 h 322357"/>
                <a:gd name="connsiteX0" fmla="*/ 781357 w 781357"/>
                <a:gd name="connsiteY0" fmla="*/ 0 h 322357"/>
                <a:gd name="connsiteX1" fmla="*/ 496453 w 781357"/>
                <a:gd name="connsiteY1" fmla="*/ 164125 h 322357"/>
                <a:gd name="connsiteX2" fmla="*/ 352800 w 781357"/>
                <a:gd name="connsiteY2" fmla="*/ 46454 h 322357"/>
                <a:gd name="connsiteX3" fmla="*/ 73834 w 781357"/>
                <a:gd name="connsiteY3" fmla="*/ 226242 h 322357"/>
                <a:gd name="connsiteX4" fmla="*/ 48259 w 781357"/>
                <a:gd name="connsiteY4" fmla="*/ 186428 h 322357"/>
                <a:gd name="connsiteX5" fmla="*/ 0 w 781357"/>
                <a:gd name="connsiteY5" fmla="*/ 322357 h 322357"/>
                <a:gd name="connsiteX6" fmla="*/ 123164 w 781357"/>
                <a:gd name="connsiteY6" fmla="*/ 315134 h 322357"/>
                <a:gd name="connsiteX7" fmla="*/ 103675 w 781357"/>
                <a:gd name="connsiteY7" fmla="*/ 268532 h 322357"/>
                <a:gd name="connsiteX8" fmla="*/ 352941 w 781357"/>
                <a:gd name="connsiteY8" fmla="*/ 107286 h 322357"/>
                <a:gd name="connsiteX9" fmla="*/ 500729 w 781357"/>
                <a:gd name="connsiteY9" fmla="*/ 212511 h 322357"/>
                <a:gd name="connsiteX10" fmla="*/ 778226 w 781357"/>
                <a:gd name="connsiteY10" fmla="*/ 59205 h 322357"/>
                <a:gd name="connsiteX11" fmla="*/ 781357 w 781357"/>
                <a:gd name="connsiteY11" fmla="*/ 0 h 322357"/>
                <a:gd name="connsiteX0" fmla="*/ 781357 w 781357"/>
                <a:gd name="connsiteY0" fmla="*/ 0 h 322357"/>
                <a:gd name="connsiteX1" fmla="*/ 496453 w 781357"/>
                <a:gd name="connsiteY1" fmla="*/ 164125 h 322357"/>
                <a:gd name="connsiteX2" fmla="*/ 352800 w 781357"/>
                <a:gd name="connsiteY2" fmla="*/ 46454 h 322357"/>
                <a:gd name="connsiteX3" fmla="*/ 73834 w 781357"/>
                <a:gd name="connsiteY3" fmla="*/ 226242 h 322357"/>
                <a:gd name="connsiteX4" fmla="*/ 48259 w 781357"/>
                <a:gd name="connsiteY4" fmla="*/ 186428 h 322357"/>
                <a:gd name="connsiteX5" fmla="*/ 0 w 781357"/>
                <a:gd name="connsiteY5" fmla="*/ 322357 h 322357"/>
                <a:gd name="connsiteX6" fmla="*/ 123164 w 781357"/>
                <a:gd name="connsiteY6" fmla="*/ 315134 h 322357"/>
                <a:gd name="connsiteX7" fmla="*/ 103675 w 781357"/>
                <a:gd name="connsiteY7" fmla="*/ 268532 h 322357"/>
                <a:gd name="connsiteX8" fmla="*/ 352941 w 781357"/>
                <a:gd name="connsiteY8" fmla="*/ 107286 h 322357"/>
                <a:gd name="connsiteX9" fmla="*/ 488552 w 781357"/>
                <a:gd name="connsiteY9" fmla="*/ 219299 h 322357"/>
                <a:gd name="connsiteX10" fmla="*/ 778226 w 781357"/>
                <a:gd name="connsiteY10" fmla="*/ 59205 h 322357"/>
                <a:gd name="connsiteX11" fmla="*/ 781357 w 781357"/>
                <a:gd name="connsiteY11" fmla="*/ 0 h 322357"/>
                <a:gd name="connsiteX0" fmla="*/ 781357 w 781357"/>
                <a:gd name="connsiteY0" fmla="*/ 0 h 322357"/>
                <a:gd name="connsiteX1" fmla="*/ 487320 w 781357"/>
                <a:gd name="connsiteY1" fmla="*/ 164125 h 322357"/>
                <a:gd name="connsiteX2" fmla="*/ 352800 w 781357"/>
                <a:gd name="connsiteY2" fmla="*/ 46454 h 322357"/>
                <a:gd name="connsiteX3" fmla="*/ 73834 w 781357"/>
                <a:gd name="connsiteY3" fmla="*/ 226242 h 322357"/>
                <a:gd name="connsiteX4" fmla="*/ 48259 w 781357"/>
                <a:gd name="connsiteY4" fmla="*/ 186428 h 322357"/>
                <a:gd name="connsiteX5" fmla="*/ 0 w 781357"/>
                <a:gd name="connsiteY5" fmla="*/ 322357 h 322357"/>
                <a:gd name="connsiteX6" fmla="*/ 123164 w 781357"/>
                <a:gd name="connsiteY6" fmla="*/ 315134 h 322357"/>
                <a:gd name="connsiteX7" fmla="*/ 103675 w 781357"/>
                <a:gd name="connsiteY7" fmla="*/ 268532 h 322357"/>
                <a:gd name="connsiteX8" fmla="*/ 352941 w 781357"/>
                <a:gd name="connsiteY8" fmla="*/ 107286 h 322357"/>
                <a:gd name="connsiteX9" fmla="*/ 488552 w 781357"/>
                <a:gd name="connsiteY9" fmla="*/ 219299 h 322357"/>
                <a:gd name="connsiteX10" fmla="*/ 778226 w 781357"/>
                <a:gd name="connsiteY10" fmla="*/ 59205 h 322357"/>
                <a:gd name="connsiteX11" fmla="*/ 781357 w 781357"/>
                <a:gd name="connsiteY11" fmla="*/ 0 h 322357"/>
                <a:gd name="connsiteX0" fmla="*/ 781357 w 781357"/>
                <a:gd name="connsiteY0" fmla="*/ 0 h 329145"/>
                <a:gd name="connsiteX1" fmla="*/ 487320 w 781357"/>
                <a:gd name="connsiteY1" fmla="*/ 170913 h 329145"/>
                <a:gd name="connsiteX2" fmla="*/ 352800 w 781357"/>
                <a:gd name="connsiteY2" fmla="*/ 53242 h 329145"/>
                <a:gd name="connsiteX3" fmla="*/ 73834 w 781357"/>
                <a:gd name="connsiteY3" fmla="*/ 233030 h 329145"/>
                <a:gd name="connsiteX4" fmla="*/ 48259 w 781357"/>
                <a:gd name="connsiteY4" fmla="*/ 193216 h 329145"/>
                <a:gd name="connsiteX5" fmla="*/ 0 w 781357"/>
                <a:gd name="connsiteY5" fmla="*/ 329145 h 329145"/>
                <a:gd name="connsiteX6" fmla="*/ 123164 w 781357"/>
                <a:gd name="connsiteY6" fmla="*/ 321922 h 329145"/>
                <a:gd name="connsiteX7" fmla="*/ 103675 w 781357"/>
                <a:gd name="connsiteY7" fmla="*/ 275320 h 329145"/>
                <a:gd name="connsiteX8" fmla="*/ 352941 w 781357"/>
                <a:gd name="connsiteY8" fmla="*/ 114074 h 329145"/>
                <a:gd name="connsiteX9" fmla="*/ 488552 w 781357"/>
                <a:gd name="connsiteY9" fmla="*/ 226087 h 329145"/>
                <a:gd name="connsiteX10" fmla="*/ 778226 w 781357"/>
                <a:gd name="connsiteY10" fmla="*/ 65993 h 329145"/>
                <a:gd name="connsiteX11" fmla="*/ 781357 w 781357"/>
                <a:gd name="connsiteY11" fmla="*/ 0 h 329145"/>
                <a:gd name="connsiteX0" fmla="*/ 781357 w 781357"/>
                <a:gd name="connsiteY0" fmla="*/ 0 h 329145"/>
                <a:gd name="connsiteX1" fmla="*/ 487320 w 781357"/>
                <a:gd name="connsiteY1" fmla="*/ 170913 h 329145"/>
                <a:gd name="connsiteX2" fmla="*/ 352800 w 781357"/>
                <a:gd name="connsiteY2" fmla="*/ 53242 h 329145"/>
                <a:gd name="connsiteX3" fmla="*/ 76879 w 781357"/>
                <a:gd name="connsiteY3" fmla="*/ 243212 h 329145"/>
                <a:gd name="connsiteX4" fmla="*/ 48259 w 781357"/>
                <a:gd name="connsiteY4" fmla="*/ 193216 h 329145"/>
                <a:gd name="connsiteX5" fmla="*/ 0 w 781357"/>
                <a:gd name="connsiteY5" fmla="*/ 329145 h 329145"/>
                <a:gd name="connsiteX6" fmla="*/ 123164 w 781357"/>
                <a:gd name="connsiteY6" fmla="*/ 321922 h 329145"/>
                <a:gd name="connsiteX7" fmla="*/ 103675 w 781357"/>
                <a:gd name="connsiteY7" fmla="*/ 275320 h 329145"/>
                <a:gd name="connsiteX8" fmla="*/ 352941 w 781357"/>
                <a:gd name="connsiteY8" fmla="*/ 114074 h 329145"/>
                <a:gd name="connsiteX9" fmla="*/ 488552 w 781357"/>
                <a:gd name="connsiteY9" fmla="*/ 226087 h 329145"/>
                <a:gd name="connsiteX10" fmla="*/ 778226 w 781357"/>
                <a:gd name="connsiteY10" fmla="*/ 65993 h 329145"/>
                <a:gd name="connsiteX11" fmla="*/ 781357 w 781357"/>
                <a:gd name="connsiteY11" fmla="*/ 0 h 329145"/>
                <a:gd name="connsiteX0" fmla="*/ 781357 w 781357"/>
                <a:gd name="connsiteY0" fmla="*/ 0 h 329145"/>
                <a:gd name="connsiteX1" fmla="*/ 487320 w 781357"/>
                <a:gd name="connsiteY1" fmla="*/ 170913 h 329145"/>
                <a:gd name="connsiteX2" fmla="*/ 352800 w 781357"/>
                <a:gd name="connsiteY2" fmla="*/ 53242 h 329145"/>
                <a:gd name="connsiteX3" fmla="*/ 76879 w 781357"/>
                <a:gd name="connsiteY3" fmla="*/ 243212 h 329145"/>
                <a:gd name="connsiteX4" fmla="*/ 48259 w 781357"/>
                <a:gd name="connsiteY4" fmla="*/ 193216 h 329145"/>
                <a:gd name="connsiteX5" fmla="*/ 0 w 781357"/>
                <a:gd name="connsiteY5" fmla="*/ 329145 h 329145"/>
                <a:gd name="connsiteX6" fmla="*/ 123164 w 781357"/>
                <a:gd name="connsiteY6" fmla="*/ 321922 h 329145"/>
                <a:gd name="connsiteX7" fmla="*/ 103675 w 781357"/>
                <a:gd name="connsiteY7" fmla="*/ 275320 h 329145"/>
                <a:gd name="connsiteX8" fmla="*/ 352941 w 781357"/>
                <a:gd name="connsiteY8" fmla="*/ 103892 h 329145"/>
                <a:gd name="connsiteX9" fmla="*/ 488552 w 781357"/>
                <a:gd name="connsiteY9" fmla="*/ 226087 h 329145"/>
                <a:gd name="connsiteX10" fmla="*/ 778226 w 781357"/>
                <a:gd name="connsiteY10" fmla="*/ 65993 h 329145"/>
                <a:gd name="connsiteX11" fmla="*/ 781357 w 781357"/>
                <a:gd name="connsiteY11" fmla="*/ 0 h 329145"/>
                <a:gd name="connsiteX0" fmla="*/ 781357 w 781357"/>
                <a:gd name="connsiteY0" fmla="*/ 0 h 329145"/>
                <a:gd name="connsiteX1" fmla="*/ 487320 w 781357"/>
                <a:gd name="connsiteY1" fmla="*/ 170913 h 329145"/>
                <a:gd name="connsiteX2" fmla="*/ 352800 w 781357"/>
                <a:gd name="connsiteY2" fmla="*/ 53242 h 329145"/>
                <a:gd name="connsiteX3" fmla="*/ 76879 w 781357"/>
                <a:gd name="connsiteY3" fmla="*/ 243212 h 329145"/>
                <a:gd name="connsiteX4" fmla="*/ 48259 w 781357"/>
                <a:gd name="connsiteY4" fmla="*/ 193216 h 329145"/>
                <a:gd name="connsiteX5" fmla="*/ 0 w 781357"/>
                <a:gd name="connsiteY5" fmla="*/ 329145 h 329145"/>
                <a:gd name="connsiteX6" fmla="*/ 132297 w 781357"/>
                <a:gd name="connsiteY6" fmla="*/ 325316 h 329145"/>
                <a:gd name="connsiteX7" fmla="*/ 103675 w 781357"/>
                <a:gd name="connsiteY7" fmla="*/ 275320 h 329145"/>
                <a:gd name="connsiteX8" fmla="*/ 352941 w 781357"/>
                <a:gd name="connsiteY8" fmla="*/ 103892 h 329145"/>
                <a:gd name="connsiteX9" fmla="*/ 488552 w 781357"/>
                <a:gd name="connsiteY9" fmla="*/ 226087 h 329145"/>
                <a:gd name="connsiteX10" fmla="*/ 778226 w 781357"/>
                <a:gd name="connsiteY10" fmla="*/ 65993 h 329145"/>
                <a:gd name="connsiteX11" fmla="*/ 781357 w 781357"/>
                <a:gd name="connsiteY11" fmla="*/ 0 h 32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1357" h="329145">
                  <a:moveTo>
                    <a:pt x="781357" y="0"/>
                  </a:moveTo>
                  <a:lnTo>
                    <a:pt x="487320" y="170913"/>
                  </a:lnTo>
                  <a:lnTo>
                    <a:pt x="352800" y="53242"/>
                  </a:lnTo>
                  <a:lnTo>
                    <a:pt x="76879" y="243212"/>
                  </a:lnTo>
                  <a:lnTo>
                    <a:pt x="48259" y="193216"/>
                  </a:lnTo>
                  <a:lnTo>
                    <a:pt x="0" y="329145"/>
                  </a:lnTo>
                  <a:lnTo>
                    <a:pt x="132297" y="325316"/>
                  </a:lnTo>
                  <a:lnTo>
                    <a:pt x="103675" y="275320"/>
                  </a:lnTo>
                  <a:lnTo>
                    <a:pt x="352941" y="103892"/>
                  </a:lnTo>
                  <a:lnTo>
                    <a:pt x="488552" y="226087"/>
                  </a:lnTo>
                  <a:lnTo>
                    <a:pt x="778226" y="65993"/>
                  </a:lnTo>
                  <a:lnTo>
                    <a:pt x="781357" y="0"/>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3" name="Snip Same Side Corner Rectangle 85">
              <a:extLst>
                <a:ext uri="{FF2B5EF4-FFF2-40B4-BE49-F238E27FC236}">
                  <a16:creationId xmlns:a16="http://schemas.microsoft.com/office/drawing/2014/main" id="{A2ECB765-C3A8-4523-917B-7D7D681FCB6C}"/>
                </a:ext>
              </a:extLst>
            </p:cNvPr>
            <p:cNvSpPr/>
            <p:nvPr/>
          </p:nvSpPr>
          <p:spPr bwMode="gray">
            <a:xfrm flipH="1">
              <a:off x="7782400" y="-1883431"/>
              <a:ext cx="232230" cy="436608"/>
            </a:xfrm>
            <a:custGeom>
              <a:avLst/>
              <a:gdLst/>
              <a:ahLst/>
              <a:cxnLst/>
              <a:rect l="l" t="t" r="r" b="b"/>
              <a:pathLst>
                <a:path w="114006" h="214340">
                  <a:moveTo>
                    <a:pt x="74746" y="0"/>
                  </a:moveTo>
                  <a:lnTo>
                    <a:pt x="37660" y="0"/>
                  </a:lnTo>
                  <a:lnTo>
                    <a:pt x="21848" y="15812"/>
                  </a:lnTo>
                  <a:lnTo>
                    <a:pt x="0" y="183592"/>
                  </a:lnTo>
                  <a:lnTo>
                    <a:pt x="46618" y="214340"/>
                  </a:lnTo>
                  <a:lnTo>
                    <a:pt x="46618" y="176165"/>
                  </a:lnTo>
                  <a:lnTo>
                    <a:pt x="63893" y="162831"/>
                  </a:lnTo>
                  <a:lnTo>
                    <a:pt x="114006" y="195885"/>
                  </a:lnTo>
                  <a:lnTo>
                    <a:pt x="90558" y="15812"/>
                  </a:lnTo>
                  <a:close/>
                </a:path>
              </a:pathLst>
            </a:custGeom>
            <a:noFill/>
            <a:ln w="19050">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sp>
        <p:nvSpPr>
          <p:cNvPr id="55" name="Content Placeholder 1">
            <a:extLst>
              <a:ext uri="{FF2B5EF4-FFF2-40B4-BE49-F238E27FC236}">
                <a16:creationId xmlns:a16="http://schemas.microsoft.com/office/drawing/2014/main" id="{F8096E0D-E894-4895-91A0-B2BBC7D4816F}"/>
              </a:ext>
            </a:extLst>
          </p:cNvPr>
          <p:cNvSpPr txBox="1">
            <a:spLocks/>
          </p:cNvSpPr>
          <p:nvPr/>
        </p:nvSpPr>
        <p:spPr bwMode="gray">
          <a:xfrm>
            <a:off x="2748542" y="4082209"/>
            <a:ext cx="7820845" cy="889138"/>
          </a:xfrm>
          <a:prstGeom prst="rect">
            <a:avLst/>
          </a:prstGeom>
          <a:noFill/>
        </p:spPr>
        <p:txBody>
          <a:bodyPr vert="horz" lIns="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800" b="1" kern="1200">
                <a:solidFill>
                  <a:schemeClr val="tx2"/>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6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de-DE" sz="2400" b="0" dirty="0" err="1"/>
              <a:t>Partnering</a:t>
            </a:r>
            <a:r>
              <a:rPr lang="de-DE" sz="2400" b="0" dirty="0"/>
              <a:t> </a:t>
            </a:r>
            <a:r>
              <a:rPr lang="de-DE" sz="2400" b="0" dirty="0" err="1"/>
              <a:t>together</a:t>
            </a:r>
            <a:r>
              <a:rPr lang="de-DE" sz="2400" b="0" dirty="0"/>
              <a:t> </a:t>
            </a:r>
            <a:r>
              <a:rPr lang="de-DE" sz="2400" b="0" dirty="0" err="1"/>
              <a:t>brings</a:t>
            </a:r>
            <a:r>
              <a:rPr lang="de-DE" sz="2400" b="0" dirty="0"/>
              <a:t> </a:t>
            </a:r>
            <a:r>
              <a:rPr lang="de-DE" sz="2400" b="0" dirty="0" err="1"/>
              <a:t>opportunities</a:t>
            </a:r>
            <a:r>
              <a:rPr lang="de-DE" sz="2400" b="0" dirty="0"/>
              <a:t> </a:t>
            </a:r>
            <a:r>
              <a:rPr lang="de-DE" sz="2400" b="0" dirty="0" err="1"/>
              <a:t>to</a:t>
            </a:r>
            <a:r>
              <a:rPr lang="de-DE" sz="2400" b="0" dirty="0"/>
              <a:t> </a:t>
            </a:r>
            <a:r>
              <a:rPr lang="de-DE" sz="2400" b="0" dirty="0" err="1"/>
              <a:t>improve</a:t>
            </a:r>
            <a:r>
              <a:rPr lang="de-DE" sz="2400" b="0" dirty="0"/>
              <a:t> </a:t>
            </a:r>
            <a:r>
              <a:rPr lang="de-DE" sz="2400" b="0" dirty="0" err="1"/>
              <a:t>profitability</a:t>
            </a:r>
            <a:r>
              <a:rPr lang="de-DE" sz="2400" b="0" dirty="0"/>
              <a:t> and </a:t>
            </a:r>
            <a:r>
              <a:rPr lang="de-DE" sz="2400" b="0" dirty="0" err="1"/>
              <a:t>lower</a:t>
            </a:r>
            <a:r>
              <a:rPr lang="de-DE" sz="2400" b="0" dirty="0"/>
              <a:t> environmental </a:t>
            </a:r>
            <a:r>
              <a:rPr lang="de-DE" sz="2400" b="0" dirty="0" err="1"/>
              <a:t>impact</a:t>
            </a:r>
            <a:endParaRPr lang="en-US" sz="2400" b="0" dirty="0"/>
          </a:p>
        </p:txBody>
      </p:sp>
    </p:spTree>
    <p:custDataLst>
      <p:tags r:id="rId1"/>
    </p:custDataLst>
    <p:extLst>
      <p:ext uri="{BB962C8B-B14F-4D97-AF65-F5344CB8AC3E}">
        <p14:creationId xmlns:p14="http://schemas.microsoft.com/office/powerpoint/2010/main" val="2909886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44693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A4FEB-DD82-431E-96DB-974DEA3B5F7F}"/>
              </a:ext>
            </a:extLst>
          </p:cNvPr>
          <p:cNvSpPr>
            <a:spLocks noGrp="1"/>
          </p:cNvSpPr>
          <p:nvPr>
            <p:ph type="title"/>
          </p:nvPr>
        </p:nvSpPr>
        <p:spPr bwMode="gray"/>
        <p:txBody>
          <a:bodyPr/>
          <a:lstStyle/>
          <a:p>
            <a:r>
              <a:rPr lang="de-DE" dirty="0"/>
              <a:t>Uras26</a:t>
            </a:r>
            <a:endParaRPr lang="en-US" dirty="0"/>
          </a:p>
        </p:txBody>
      </p:sp>
      <p:sp>
        <p:nvSpPr>
          <p:cNvPr id="3" name="Footer Placeholder 2">
            <a:extLst>
              <a:ext uri="{FF2B5EF4-FFF2-40B4-BE49-F238E27FC236}">
                <a16:creationId xmlns:a16="http://schemas.microsoft.com/office/drawing/2014/main" id="{99C8EF8F-4C6B-402A-8717-330021361776}"/>
              </a:ext>
            </a:extLst>
          </p:cNvPr>
          <p:cNvSpPr>
            <a:spLocks noGrp="1"/>
          </p:cNvSpPr>
          <p:nvPr>
            <p:ph type="ftr" sz="quarter" idx="10"/>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Indication</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only</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depends</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on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measuring</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component</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nd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application</a:t>
            </a: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4" name="Date Placeholder 3">
            <a:extLst>
              <a:ext uri="{FF2B5EF4-FFF2-40B4-BE49-F238E27FC236}">
                <a16:creationId xmlns:a16="http://schemas.microsoft.com/office/drawing/2014/main" id="{0BF74DBF-3620-4999-A3DB-6353C7BE791B}"/>
              </a:ext>
            </a:extLst>
          </p:cNvPr>
          <p:cNvSpPr>
            <a:spLocks noGrp="1"/>
          </p:cNvSpPr>
          <p:nvPr>
            <p:ph type="dt" sz="half"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8FF341-9601-47A6-A4C1-F2885A66BAA5}"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4D10351D-1F9B-4C35-B046-3DF31CCC3E52}"/>
              </a:ext>
            </a:extLst>
          </p:cNvPr>
          <p:cNvSpPr>
            <a:spLocks noGrp="1"/>
          </p:cNvSpPr>
          <p:nvPr>
            <p:ph type="sldNum" sz="quarter" idx="12"/>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pic>
        <p:nvPicPr>
          <p:cNvPr id="23" name="Content Placeholder 22">
            <a:extLst>
              <a:ext uri="{FF2B5EF4-FFF2-40B4-BE49-F238E27FC236}">
                <a16:creationId xmlns:a16="http://schemas.microsoft.com/office/drawing/2014/main" id="{2B8EED83-D124-411B-90E9-ABC1E525F8E2}"/>
              </a:ext>
            </a:extLst>
          </p:cNvPr>
          <p:cNvPicPr>
            <a:picLocks noGrp="1" noChangeAspect="1"/>
          </p:cNvPicPr>
          <p:nvPr>
            <p:ph sz="quarter" idx="20"/>
          </p:nvPr>
        </p:nvPicPr>
        <p:blipFill>
          <a:blip r:embed="rId3"/>
          <a:stretch>
            <a:fillRect/>
          </a:stretch>
        </p:blipFill>
        <p:spPr bwMode="gray">
          <a:xfrm>
            <a:off x="6967959" y="1931989"/>
            <a:ext cx="4430147" cy="3322610"/>
          </a:xfrm>
        </p:spPr>
      </p:pic>
      <p:sp>
        <p:nvSpPr>
          <p:cNvPr id="7" name="Content Placeholder 6">
            <a:extLst>
              <a:ext uri="{FF2B5EF4-FFF2-40B4-BE49-F238E27FC236}">
                <a16:creationId xmlns:a16="http://schemas.microsoft.com/office/drawing/2014/main" id="{8DF7FF26-40E6-4E2D-B5E3-EC07744075A3}"/>
              </a:ext>
            </a:extLst>
          </p:cNvPr>
          <p:cNvSpPr>
            <a:spLocks noGrp="1"/>
          </p:cNvSpPr>
          <p:nvPr>
            <p:ph sz="quarter" idx="19"/>
          </p:nvPr>
        </p:nvSpPr>
        <p:spPr bwMode="gray">
          <a:xfrm>
            <a:off x="332367" y="2081882"/>
            <a:ext cx="5603434" cy="3830230"/>
          </a:xfrm>
        </p:spPr>
        <p:txBody>
          <a:bodyPr/>
          <a:lstStyle/>
          <a:p>
            <a:pPr>
              <a:spcBef>
                <a:spcPts val="1800"/>
              </a:spcBef>
            </a:pPr>
            <a:r>
              <a:rPr lang="de-DE" dirty="0">
                <a:solidFill>
                  <a:schemeClr val="tx1"/>
                </a:solidFill>
              </a:rPr>
              <a:t>	Dual-beam, Luft-type NDIR (</a:t>
            </a:r>
            <a:r>
              <a:rPr lang="en-US" dirty="0">
                <a:solidFill>
                  <a:schemeClr val="tx1"/>
                </a:solidFill>
              </a:rPr>
              <a:t>2.5 – 8 </a:t>
            </a:r>
            <a:r>
              <a:rPr lang="el-GR" dirty="0">
                <a:solidFill>
                  <a:schemeClr val="tx1"/>
                </a:solidFill>
              </a:rPr>
              <a:t>μ</a:t>
            </a:r>
            <a:r>
              <a:rPr lang="en-US" dirty="0">
                <a:solidFill>
                  <a:schemeClr val="tx1"/>
                </a:solidFill>
              </a:rPr>
              <a:t>m)</a:t>
            </a:r>
            <a:endParaRPr lang="de-DE" dirty="0">
              <a:solidFill>
                <a:schemeClr val="tx1"/>
              </a:solidFill>
            </a:endParaRPr>
          </a:p>
          <a:p>
            <a:endParaRPr lang="de-DE" sz="1600" dirty="0"/>
          </a:p>
          <a:p>
            <a:r>
              <a:rPr lang="de-DE" dirty="0" err="1"/>
              <a:t>Capabilities</a:t>
            </a:r>
            <a:endParaRPr lang="de-DE" dirty="0"/>
          </a:p>
          <a:p>
            <a:pPr lvl="1">
              <a:spcBef>
                <a:spcPts val="300"/>
              </a:spcBef>
            </a:pPr>
            <a:r>
              <a:rPr lang="de-DE" dirty="0"/>
              <a:t>Components:	CO, NO, N</a:t>
            </a:r>
            <a:r>
              <a:rPr lang="de-DE" baseline="-25000" dirty="0"/>
              <a:t>2</a:t>
            </a:r>
            <a:r>
              <a:rPr lang="de-DE" dirty="0"/>
              <a:t>O, SO</a:t>
            </a:r>
            <a:r>
              <a:rPr lang="de-DE" baseline="-25000" dirty="0"/>
              <a:t>2</a:t>
            </a:r>
            <a:r>
              <a:rPr lang="de-DE" dirty="0"/>
              <a:t>, CO</a:t>
            </a:r>
            <a:r>
              <a:rPr lang="de-DE" baseline="-25000" dirty="0"/>
              <a:t>2</a:t>
            </a:r>
            <a:r>
              <a:rPr lang="de-DE" dirty="0"/>
              <a:t>, CH</a:t>
            </a:r>
            <a:r>
              <a:rPr lang="de-DE" baseline="-25000" dirty="0"/>
              <a:t>4</a:t>
            </a:r>
            <a:r>
              <a:rPr lang="de-DE" dirty="0"/>
              <a:t>, …</a:t>
            </a:r>
          </a:p>
          <a:p>
            <a:pPr lvl="1">
              <a:spcBef>
                <a:spcPts val="300"/>
              </a:spcBef>
            </a:pPr>
            <a:r>
              <a:rPr lang="de-DE" dirty="0"/>
              <a:t>Ranges*: 	0 – 100 ppm </a:t>
            </a:r>
            <a:r>
              <a:rPr lang="de-DE" dirty="0" err="1"/>
              <a:t>up</a:t>
            </a:r>
            <a:r>
              <a:rPr lang="de-DE" dirty="0"/>
              <a:t> </a:t>
            </a:r>
            <a:r>
              <a:rPr lang="de-DE" dirty="0" err="1"/>
              <a:t>to</a:t>
            </a:r>
            <a:r>
              <a:rPr lang="de-DE" dirty="0"/>
              <a:t> 100 vol%</a:t>
            </a:r>
          </a:p>
          <a:p>
            <a:pPr>
              <a:spcBef>
                <a:spcPts val="1800"/>
              </a:spcBef>
            </a:pPr>
            <a:r>
              <a:rPr lang="de-DE" dirty="0"/>
              <a:t>Advantages</a:t>
            </a:r>
          </a:p>
          <a:p>
            <a:pPr lvl="1">
              <a:spcBef>
                <a:spcPts val="300"/>
              </a:spcBef>
            </a:pPr>
            <a:r>
              <a:rPr lang="de-DE" dirty="0" err="1"/>
              <a:t>Measure</a:t>
            </a:r>
            <a:r>
              <a:rPr lang="de-DE" dirty="0"/>
              <a:t> </a:t>
            </a:r>
            <a:r>
              <a:rPr lang="de-DE" dirty="0" err="1"/>
              <a:t>up</a:t>
            </a:r>
            <a:r>
              <a:rPr lang="de-DE" dirty="0"/>
              <a:t> </a:t>
            </a:r>
            <a:r>
              <a:rPr lang="de-DE" dirty="0" err="1"/>
              <a:t>to</a:t>
            </a:r>
            <a:r>
              <a:rPr lang="de-DE" dirty="0"/>
              <a:t> 4 </a:t>
            </a:r>
            <a:r>
              <a:rPr lang="de-DE" dirty="0" err="1"/>
              <a:t>components</a:t>
            </a:r>
            <a:r>
              <a:rPr lang="de-DE" dirty="0"/>
              <a:t> </a:t>
            </a:r>
            <a:r>
              <a:rPr lang="de-DE" dirty="0" err="1"/>
              <a:t>simultaneously</a:t>
            </a:r>
            <a:endParaRPr lang="de-DE" dirty="0"/>
          </a:p>
          <a:p>
            <a:pPr lvl="1">
              <a:spcBef>
                <a:spcPts val="300"/>
              </a:spcBef>
            </a:pPr>
            <a:r>
              <a:rPr lang="de-DE" dirty="0" err="1"/>
              <a:t>Measure</a:t>
            </a:r>
            <a:r>
              <a:rPr lang="de-DE" dirty="0"/>
              <a:t> </a:t>
            </a:r>
            <a:r>
              <a:rPr lang="de-DE" dirty="0" err="1"/>
              <a:t>up</a:t>
            </a:r>
            <a:r>
              <a:rPr lang="de-DE" dirty="0"/>
              <a:t> </a:t>
            </a:r>
            <a:r>
              <a:rPr lang="de-DE" dirty="0" err="1"/>
              <a:t>to</a:t>
            </a:r>
            <a:r>
              <a:rPr lang="de-DE" dirty="0"/>
              <a:t> 2 </a:t>
            </a:r>
            <a:r>
              <a:rPr lang="de-DE" dirty="0" err="1"/>
              <a:t>streams</a:t>
            </a:r>
            <a:r>
              <a:rPr lang="de-DE" dirty="0"/>
              <a:t> </a:t>
            </a:r>
            <a:r>
              <a:rPr lang="de-DE" dirty="0" err="1"/>
              <a:t>continuously</a:t>
            </a:r>
            <a:endParaRPr lang="de-DE" dirty="0"/>
          </a:p>
          <a:p>
            <a:pPr lvl="1">
              <a:spcBef>
                <a:spcPts val="300"/>
              </a:spcBef>
            </a:pPr>
            <a:r>
              <a:rPr lang="de-DE" dirty="0"/>
              <a:t>Gas-</a:t>
            </a:r>
            <a:r>
              <a:rPr lang="de-DE" dirty="0" err="1"/>
              <a:t>filled</a:t>
            </a:r>
            <a:r>
              <a:rPr lang="de-DE" dirty="0"/>
              <a:t> </a:t>
            </a:r>
            <a:r>
              <a:rPr lang="de-DE" dirty="0" err="1"/>
              <a:t>detectors</a:t>
            </a:r>
            <a:r>
              <a:rPr lang="de-DE" dirty="0"/>
              <a:t> </a:t>
            </a:r>
            <a:r>
              <a:rPr lang="de-DE" dirty="0" err="1"/>
              <a:t>for</a:t>
            </a:r>
            <a:r>
              <a:rPr lang="de-DE" dirty="0"/>
              <a:t> </a:t>
            </a:r>
            <a:r>
              <a:rPr lang="de-DE" dirty="0" err="1"/>
              <a:t>highly</a:t>
            </a:r>
            <a:r>
              <a:rPr lang="de-DE" dirty="0"/>
              <a:t> </a:t>
            </a:r>
            <a:r>
              <a:rPr lang="de-DE" dirty="0" err="1"/>
              <a:t>selective</a:t>
            </a:r>
            <a:r>
              <a:rPr lang="de-DE" dirty="0"/>
              <a:t> </a:t>
            </a:r>
            <a:r>
              <a:rPr lang="de-DE" dirty="0" err="1"/>
              <a:t>measurement</a:t>
            </a:r>
            <a:endParaRPr lang="de-DE" dirty="0"/>
          </a:p>
          <a:p>
            <a:pPr lvl="1">
              <a:spcBef>
                <a:spcPts val="300"/>
              </a:spcBef>
            </a:pPr>
            <a:r>
              <a:rPr lang="de-DE" dirty="0"/>
              <a:t>Easy </a:t>
            </a:r>
            <a:r>
              <a:rPr lang="de-DE" dirty="0" err="1"/>
              <a:t>to</a:t>
            </a:r>
            <a:r>
              <a:rPr lang="de-DE" dirty="0"/>
              <a:t> </a:t>
            </a:r>
            <a:r>
              <a:rPr lang="de-DE" dirty="0" err="1"/>
              <a:t>add</a:t>
            </a:r>
            <a:r>
              <a:rPr lang="de-DE" dirty="0"/>
              <a:t> and </a:t>
            </a:r>
            <a:r>
              <a:rPr lang="de-DE" dirty="0" err="1"/>
              <a:t>change</a:t>
            </a:r>
            <a:r>
              <a:rPr lang="de-DE" dirty="0"/>
              <a:t> </a:t>
            </a:r>
            <a:r>
              <a:rPr lang="de-DE" dirty="0" err="1"/>
              <a:t>measuring</a:t>
            </a:r>
            <a:r>
              <a:rPr lang="de-DE" dirty="0"/>
              <a:t> </a:t>
            </a:r>
            <a:r>
              <a:rPr lang="de-DE" dirty="0" err="1"/>
              <a:t>components</a:t>
            </a:r>
            <a:r>
              <a:rPr lang="de-DE" dirty="0"/>
              <a:t> in </a:t>
            </a:r>
            <a:r>
              <a:rPr lang="de-DE" dirty="0" err="1"/>
              <a:t>field</a:t>
            </a:r>
            <a:endParaRPr lang="de-DE" dirty="0"/>
          </a:p>
          <a:p>
            <a:pPr lvl="1">
              <a:spcBef>
                <a:spcPts val="300"/>
              </a:spcBef>
            </a:pPr>
            <a:r>
              <a:rPr lang="de-DE" dirty="0"/>
              <a:t>Internal </a:t>
            </a:r>
            <a:r>
              <a:rPr lang="de-DE" dirty="0" err="1"/>
              <a:t>calibration</a:t>
            </a:r>
            <a:r>
              <a:rPr lang="de-DE" dirty="0"/>
              <a:t> </a:t>
            </a:r>
            <a:r>
              <a:rPr lang="de-DE" dirty="0" err="1"/>
              <a:t>cells</a:t>
            </a:r>
            <a:r>
              <a:rPr lang="de-DE" dirty="0"/>
              <a:t> </a:t>
            </a:r>
            <a:r>
              <a:rPr lang="de-DE" dirty="0" err="1"/>
              <a:t>minimize</a:t>
            </a:r>
            <a:r>
              <a:rPr lang="de-DE" dirty="0"/>
              <a:t> </a:t>
            </a:r>
            <a:r>
              <a:rPr lang="de-DE" dirty="0" err="1"/>
              <a:t>cost</a:t>
            </a:r>
            <a:r>
              <a:rPr lang="de-DE" dirty="0"/>
              <a:t> </a:t>
            </a:r>
            <a:r>
              <a:rPr lang="de-DE" dirty="0" err="1"/>
              <a:t>of</a:t>
            </a:r>
            <a:r>
              <a:rPr lang="de-DE" dirty="0"/>
              <a:t> </a:t>
            </a:r>
            <a:r>
              <a:rPr lang="de-DE" dirty="0" err="1"/>
              <a:t>ownership</a:t>
            </a:r>
            <a:endParaRPr lang="de-DE" dirty="0"/>
          </a:p>
          <a:p>
            <a:pPr lvl="1"/>
            <a:endParaRPr lang="en-US" dirty="0"/>
          </a:p>
        </p:txBody>
      </p:sp>
      <p:sp>
        <p:nvSpPr>
          <p:cNvPr id="8" name="Subtitle 7">
            <a:extLst>
              <a:ext uri="{FF2B5EF4-FFF2-40B4-BE49-F238E27FC236}">
                <a16:creationId xmlns:a16="http://schemas.microsoft.com/office/drawing/2014/main" id="{0A22AA71-A8DB-47E5-B616-A5CB321F6A04}"/>
              </a:ext>
            </a:extLst>
          </p:cNvPr>
          <p:cNvSpPr>
            <a:spLocks noGrp="1"/>
          </p:cNvSpPr>
          <p:nvPr>
            <p:ph type="subTitle" idx="13"/>
          </p:nvPr>
        </p:nvSpPr>
        <p:spPr bwMode="gray"/>
        <p:txBody>
          <a:bodyPr/>
          <a:lstStyle/>
          <a:p>
            <a:r>
              <a:rPr lang="de-DE" dirty="0"/>
              <a:t>Non-</a:t>
            </a:r>
            <a:r>
              <a:rPr lang="de-DE" dirty="0" err="1"/>
              <a:t>dispersive</a:t>
            </a:r>
            <a:r>
              <a:rPr lang="de-DE" dirty="0"/>
              <a:t> </a:t>
            </a:r>
            <a:r>
              <a:rPr lang="de-DE" dirty="0" err="1"/>
              <a:t>infrared</a:t>
            </a:r>
            <a:r>
              <a:rPr lang="de-DE" dirty="0"/>
              <a:t> (NDIR) </a:t>
            </a:r>
            <a:r>
              <a:rPr lang="de-DE" dirty="0" err="1"/>
              <a:t>photometer</a:t>
            </a:r>
            <a:endParaRPr lang="en-US" dirty="0"/>
          </a:p>
        </p:txBody>
      </p:sp>
      <p:grpSp>
        <p:nvGrpSpPr>
          <p:cNvPr id="9" name="Group 8">
            <a:extLst>
              <a:ext uri="{FF2B5EF4-FFF2-40B4-BE49-F238E27FC236}">
                <a16:creationId xmlns:a16="http://schemas.microsoft.com/office/drawing/2014/main" id="{41D97981-6F06-4E2F-89A3-1BA0F4A378EB}"/>
              </a:ext>
            </a:extLst>
          </p:cNvPr>
          <p:cNvGrpSpPr/>
          <p:nvPr/>
        </p:nvGrpSpPr>
        <p:grpSpPr bwMode="gray">
          <a:xfrm>
            <a:off x="332366" y="1933575"/>
            <a:ext cx="597600" cy="597600"/>
            <a:chOff x="2918476" y="-2479741"/>
            <a:chExt cx="597600" cy="597600"/>
          </a:xfrm>
        </p:grpSpPr>
        <p:sp>
          <p:nvSpPr>
            <p:cNvPr id="10" name="Text Box 240">
              <a:extLst>
                <a:ext uri="{FF2B5EF4-FFF2-40B4-BE49-F238E27FC236}">
                  <a16:creationId xmlns:a16="http://schemas.microsoft.com/office/drawing/2014/main" id="{976F7457-E857-4052-87A9-079D41EECB00}"/>
                </a:ext>
              </a:extLst>
            </p:cNvPr>
            <p:cNvSpPr txBox="1">
              <a:spLocks noChangeArrowheads="1"/>
            </p:cNvSpPr>
            <p:nvPr/>
          </p:nvSpPr>
          <p:spPr bwMode="gray">
            <a:xfrm>
              <a:off x="2918476" y="-2479741"/>
              <a:ext cx="597600" cy="597600"/>
            </a:xfrm>
            <a:prstGeom prst="ellipse">
              <a:avLst/>
            </a:prstGeom>
            <a:solidFill>
              <a:schemeClr val="bg1"/>
            </a:solidFill>
            <a:ln w="28575">
              <a:solidFill>
                <a:schemeClr val="tx2"/>
              </a:solid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11" name="Group 10">
              <a:extLst>
                <a:ext uri="{FF2B5EF4-FFF2-40B4-BE49-F238E27FC236}">
                  <a16:creationId xmlns:a16="http://schemas.microsoft.com/office/drawing/2014/main" id="{F79AD83A-9FFC-4E62-BD7F-9D750FA640EA}"/>
                </a:ext>
              </a:extLst>
            </p:cNvPr>
            <p:cNvGrpSpPr/>
            <p:nvPr/>
          </p:nvGrpSpPr>
          <p:grpSpPr bwMode="gray">
            <a:xfrm>
              <a:off x="2995327" y="-2390656"/>
              <a:ext cx="443898" cy="419429"/>
              <a:chOff x="-640260" y="1957916"/>
              <a:chExt cx="355290" cy="335706"/>
            </a:xfrm>
            <a:solidFill>
              <a:schemeClr val="bg1"/>
            </a:solidFill>
          </p:grpSpPr>
          <p:sp>
            <p:nvSpPr>
              <p:cNvPr id="12" name="Rectangle 17">
                <a:extLst>
                  <a:ext uri="{FF2B5EF4-FFF2-40B4-BE49-F238E27FC236}">
                    <a16:creationId xmlns:a16="http://schemas.microsoft.com/office/drawing/2014/main" id="{0431AEF2-C280-4FEC-86A5-44BDC52E6D07}"/>
                  </a:ext>
                </a:extLst>
              </p:cNvPr>
              <p:cNvSpPr/>
              <p:nvPr/>
            </p:nvSpPr>
            <p:spPr bwMode="gray">
              <a:xfrm rot="5400000">
                <a:off x="-667063" y="2092093"/>
                <a:ext cx="114999" cy="61394"/>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13" name="Rectangle 16">
                <a:extLst>
                  <a:ext uri="{FF2B5EF4-FFF2-40B4-BE49-F238E27FC236}">
                    <a16:creationId xmlns:a16="http://schemas.microsoft.com/office/drawing/2014/main" id="{9506EE05-950A-40DD-9CFB-DBF8238BD888}"/>
                  </a:ext>
                </a:extLst>
              </p:cNvPr>
              <p:cNvSpPr/>
              <p:nvPr/>
            </p:nvSpPr>
            <p:spPr bwMode="gray">
              <a:xfrm rot="5400000">
                <a:off x="-562908" y="2016749"/>
                <a:ext cx="180165" cy="212081"/>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cxnSp>
            <p:nvCxnSpPr>
              <p:cNvPr id="14" name="Straight Connector 13">
                <a:extLst>
                  <a:ext uri="{FF2B5EF4-FFF2-40B4-BE49-F238E27FC236}">
                    <a16:creationId xmlns:a16="http://schemas.microsoft.com/office/drawing/2014/main" id="{ABEE778F-C5A8-47F2-8856-3888CC0903A1}"/>
                  </a:ext>
                </a:extLst>
              </p:cNvPr>
              <p:cNvCxnSpPr/>
              <p:nvPr/>
            </p:nvCxnSpPr>
            <p:spPr bwMode="gray">
              <a:xfrm rot="5400000" flipH="1">
                <a:off x="-481603" y="1981616"/>
                <a:ext cx="47400" cy="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15" name="Straight Connector 14">
                <a:extLst>
                  <a:ext uri="{FF2B5EF4-FFF2-40B4-BE49-F238E27FC236}">
                    <a16:creationId xmlns:a16="http://schemas.microsoft.com/office/drawing/2014/main" id="{69644CB2-A575-4FCC-A4C4-E3A58AC5CDDF}"/>
                  </a:ext>
                </a:extLst>
              </p:cNvPr>
              <p:cNvCxnSpPr/>
              <p:nvPr/>
            </p:nvCxnSpPr>
            <p:spPr bwMode="gray">
              <a:xfrm rot="5400000" flipH="1">
                <a:off x="-481603" y="2269922"/>
                <a:ext cx="47400" cy="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16" name="Straight Connector 15">
                <a:extLst>
                  <a:ext uri="{FF2B5EF4-FFF2-40B4-BE49-F238E27FC236}">
                    <a16:creationId xmlns:a16="http://schemas.microsoft.com/office/drawing/2014/main" id="{2DEC5102-8F26-4BCE-8037-700962E5A7CE}"/>
                  </a:ext>
                </a:extLst>
              </p:cNvPr>
              <p:cNvCxnSpPr/>
              <p:nvPr/>
            </p:nvCxnSpPr>
            <p:spPr bwMode="gray">
              <a:xfrm rot="2503489" flipH="1">
                <a:off x="-370223" y="2225091"/>
                <a:ext cx="47400" cy="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6">
                <a:extLst>
                  <a:ext uri="{FF2B5EF4-FFF2-40B4-BE49-F238E27FC236}">
                    <a16:creationId xmlns:a16="http://schemas.microsoft.com/office/drawing/2014/main" id="{6018A309-A717-46AF-BF26-5C8C9DF9964F}"/>
                  </a:ext>
                </a:extLst>
              </p:cNvPr>
              <p:cNvCxnSpPr/>
              <p:nvPr/>
            </p:nvCxnSpPr>
            <p:spPr bwMode="gray">
              <a:xfrm rot="8296511">
                <a:off x="-370223" y="2026447"/>
                <a:ext cx="47400" cy="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18" name="Straight Connector 17">
                <a:extLst>
                  <a:ext uri="{FF2B5EF4-FFF2-40B4-BE49-F238E27FC236}">
                    <a16:creationId xmlns:a16="http://schemas.microsoft.com/office/drawing/2014/main" id="{3FE49DF9-5786-457A-B238-92914A4ED5A9}"/>
                  </a:ext>
                </a:extLst>
              </p:cNvPr>
              <p:cNvCxnSpPr/>
              <p:nvPr/>
            </p:nvCxnSpPr>
            <p:spPr bwMode="gray">
              <a:xfrm rot="10800000">
                <a:off x="-332370" y="2125769"/>
                <a:ext cx="47400" cy="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nvGrpSpPr>
              <p:cNvPr id="19" name="Group 18">
                <a:extLst>
                  <a:ext uri="{FF2B5EF4-FFF2-40B4-BE49-F238E27FC236}">
                    <a16:creationId xmlns:a16="http://schemas.microsoft.com/office/drawing/2014/main" id="{A4EB23AF-E191-461F-A232-899731C4F346}"/>
                  </a:ext>
                </a:extLst>
              </p:cNvPr>
              <p:cNvGrpSpPr/>
              <p:nvPr/>
            </p:nvGrpSpPr>
            <p:grpSpPr bwMode="gray">
              <a:xfrm>
                <a:off x="-507951" y="2088033"/>
                <a:ext cx="84957" cy="65573"/>
                <a:chOff x="-2412348" y="2111699"/>
                <a:chExt cx="717156" cy="553527"/>
              </a:xfrm>
              <a:grpFill/>
            </p:grpSpPr>
            <p:sp>
              <p:nvSpPr>
                <p:cNvPr id="20" name="Parallelogram 1029">
                  <a:extLst>
                    <a:ext uri="{FF2B5EF4-FFF2-40B4-BE49-F238E27FC236}">
                      <a16:creationId xmlns:a16="http://schemas.microsoft.com/office/drawing/2014/main" id="{BACEEEDB-8F54-4A0D-A7E0-12C228E4F5DA}"/>
                    </a:ext>
                  </a:extLst>
                </p:cNvPr>
                <p:cNvSpPr/>
                <p:nvPr/>
              </p:nvSpPr>
              <p:spPr bwMode="gray">
                <a:xfrm flipH="1">
                  <a:off x="-2128069" y="2111699"/>
                  <a:ext cx="432877" cy="553526"/>
                </a:xfrm>
                <a:custGeom>
                  <a:avLst/>
                  <a:gdLst/>
                  <a:ahLst/>
                  <a:cxnLst/>
                  <a:rect l="l" t="t" r="r" b="b"/>
                  <a:pathLst>
                    <a:path w="432876" h="553526">
                      <a:moveTo>
                        <a:pt x="352950" y="71909"/>
                      </a:moveTo>
                      <a:lnTo>
                        <a:pt x="352950" y="265500"/>
                      </a:lnTo>
                      <a:lnTo>
                        <a:pt x="236556" y="265501"/>
                      </a:lnTo>
                      <a:cubicBezTo>
                        <a:pt x="172273" y="265501"/>
                        <a:pt x="120162" y="222164"/>
                        <a:pt x="120162" y="168705"/>
                      </a:cubicBezTo>
                      <a:cubicBezTo>
                        <a:pt x="120162" y="115246"/>
                        <a:pt x="172273" y="71909"/>
                        <a:pt x="236556" y="71909"/>
                      </a:cubicBezTo>
                      <a:close/>
                      <a:moveTo>
                        <a:pt x="390966" y="0"/>
                      </a:moveTo>
                      <a:lnTo>
                        <a:pt x="212715" y="0"/>
                      </a:lnTo>
                      <a:cubicBezTo>
                        <a:pt x="114270" y="0"/>
                        <a:pt x="34464" y="75389"/>
                        <a:pt x="34464" y="168387"/>
                      </a:cubicBezTo>
                      <a:cubicBezTo>
                        <a:pt x="34464" y="240520"/>
                        <a:pt x="82477" y="302059"/>
                        <a:pt x="150370" y="324884"/>
                      </a:cubicBezTo>
                      <a:lnTo>
                        <a:pt x="0" y="553526"/>
                      </a:lnTo>
                      <a:lnTo>
                        <a:pt x="29640" y="553526"/>
                      </a:lnTo>
                      <a:lnTo>
                        <a:pt x="59054" y="553526"/>
                      </a:lnTo>
                      <a:lnTo>
                        <a:pt x="96315" y="553526"/>
                      </a:lnTo>
                      <a:lnTo>
                        <a:pt x="234433" y="336774"/>
                      </a:lnTo>
                      <a:lnTo>
                        <a:pt x="349056" y="336773"/>
                      </a:lnTo>
                      <a:lnTo>
                        <a:pt x="349056" y="553526"/>
                      </a:lnTo>
                      <a:lnTo>
                        <a:pt x="432876" y="553526"/>
                      </a:lnTo>
                      <a:lnTo>
                        <a:pt x="432876" y="1"/>
                      </a:lnTo>
                      <a:lnTo>
                        <a:pt x="390966" y="1"/>
                      </a:lnTo>
                      <a:close/>
                    </a:path>
                  </a:pathLst>
                </a:custGeom>
                <a:grp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21" name="Rectangle 20">
                  <a:extLst>
                    <a:ext uri="{FF2B5EF4-FFF2-40B4-BE49-F238E27FC236}">
                      <a16:creationId xmlns:a16="http://schemas.microsoft.com/office/drawing/2014/main" id="{3185E51B-3437-4087-8F5E-63F14ACDA377}"/>
                    </a:ext>
                  </a:extLst>
                </p:cNvPr>
                <p:cNvSpPr/>
                <p:nvPr/>
              </p:nvSpPr>
              <p:spPr bwMode="gray">
                <a:xfrm>
                  <a:off x="-2412348" y="2111699"/>
                  <a:ext cx="83823" cy="553527"/>
                </a:xfrm>
                <a:prstGeom prst="rect">
                  <a:avLst/>
                </a:prstGeom>
                <a:grp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grpSp>
        </p:grpSp>
      </p:grpSp>
      <p:pic>
        <p:nvPicPr>
          <p:cNvPr id="25" name="Content Placeholder 10">
            <a:extLst>
              <a:ext uri="{FF2B5EF4-FFF2-40B4-BE49-F238E27FC236}">
                <a16:creationId xmlns:a16="http://schemas.microsoft.com/office/drawing/2014/main" id="{A74F3A54-755E-4CBA-91E7-D9CDD52B4620}"/>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0262108" y="5448787"/>
            <a:ext cx="407558" cy="324000"/>
          </a:xfrm>
          <a:prstGeom prst="rect">
            <a:avLst/>
          </a:prstGeom>
          <a:noFill/>
          <a:ln w="9525">
            <a:noFill/>
            <a:miter lim="800000"/>
            <a:headEnd/>
            <a:tailEnd/>
          </a:ln>
        </p:spPr>
      </p:pic>
      <p:pic>
        <p:nvPicPr>
          <p:cNvPr id="26" name="Picture 11">
            <a:extLst>
              <a:ext uri="{FF2B5EF4-FFF2-40B4-BE49-F238E27FC236}">
                <a16:creationId xmlns:a16="http://schemas.microsoft.com/office/drawing/2014/main" id="{B3740B07-D27A-46F1-8DAB-9729D1D38858}"/>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8542033" y="5351629"/>
            <a:ext cx="503823" cy="504000"/>
          </a:xfrm>
          <a:prstGeom prst="rect">
            <a:avLst/>
          </a:prstGeom>
          <a:noFill/>
          <a:ln w="9525">
            <a:noFill/>
            <a:miter lim="800000"/>
            <a:headEnd/>
            <a:tailEnd/>
          </a:ln>
        </p:spPr>
      </p:pic>
      <p:pic>
        <p:nvPicPr>
          <p:cNvPr id="27" name="Picture 26" descr="TÜV">
            <a:extLst>
              <a:ext uri="{FF2B5EF4-FFF2-40B4-BE49-F238E27FC236}">
                <a16:creationId xmlns:a16="http://schemas.microsoft.com/office/drawing/2014/main" id="{FEEB8A3E-A2F4-4624-8775-BF8355C417B9}"/>
              </a:ext>
            </a:extLst>
          </p:cNvPr>
          <p:cNvPicPr>
            <a:picLocks noChangeAspect="1" noChangeArrowheads="1"/>
          </p:cNvPicPr>
          <p:nvPr/>
        </p:nvPicPr>
        <p:blipFill rotWithShape="1">
          <a:blip r:embed="rId6"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bwMode="gray">
          <a:xfrm>
            <a:off x="6160526" y="5357114"/>
            <a:ext cx="667408" cy="50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5" descr="mcerts_logo1">
            <a:extLst>
              <a:ext uri="{FF2B5EF4-FFF2-40B4-BE49-F238E27FC236}">
                <a16:creationId xmlns:a16="http://schemas.microsoft.com/office/drawing/2014/main" id="{DB0F290F-EB80-473A-A546-C8DBAA601774}"/>
              </a:ext>
            </a:extLst>
          </p:cNvPr>
          <p:cNvPicPr>
            <a:picLocks noChangeAspect="1" noChangeArrowheads="1"/>
          </p:cNvPicPr>
          <p:nvPr/>
        </p:nvPicPr>
        <p:blipFill rotWithShape="1">
          <a:blip r:embed="rId7" cstate="email">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rcRect r="5842"/>
          <a:stretch/>
        </p:blipFill>
        <p:spPr bwMode="gray">
          <a:xfrm>
            <a:off x="7432093" y="5377243"/>
            <a:ext cx="408788" cy="50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a:extLst>
              <a:ext uri="{FF2B5EF4-FFF2-40B4-BE49-F238E27FC236}">
                <a16:creationId xmlns:a16="http://schemas.microsoft.com/office/drawing/2014/main" id="{D390A580-DD23-4CFE-A86C-DF8669DAB916}"/>
              </a:ext>
            </a:extLst>
          </p:cNvPr>
          <p:cNvPicPr>
            <a:picLocks noChangeAspect="1"/>
          </p:cNvPicPr>
          <p:nvPr/>
        </p:nvPicPr>
        <p:blipFill>
          <a:blip r:embed="rId8">
            <a:duotone>
              <a:schemeClr val="accent3">
                <a:shade val="45000"/>
                <a:satMod val="135000"/>
              </a:schemeClr>
              <a:prstClr val="white"/>
            </a:duotone>
          </a:blip>
          <a:stretch>
            <a:fillRect/>
          </a:stretch>
        </p:blipFill>
        <p:spPr bwMode="gray">
          <a:xfrm>
            <a:off x="6765830" y="5463567"/>
            <a:ext cx="644693" cy="360000"/>
          </a:xfrm>
          <a:prstGeom prst="rect">
            <a:avLst/>
          </a:prstGeom>
        </p:spPr>
      </p:pic>
      <p:pic>
        <p:nvPicPr>
          <p:cNvPr id="30" name="Picture 10">
            <a:extLst>
              <a:ext uri="{FF2B5EF4-FFF2-40B4-BE49-F238E27FC236}">
                <a16:creationId xmlns:a16="http://schemas.microsoft.com/office/drawing/2014/main" id="{56D426F6-D3C0-4A31-8C87-0D167863BD32}"/>
              </a:ext>
            </a:extLst>
          </p:cNvPr>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1307006" y="5399375"/>
            <a:ext cx="395864" cy="396000"/>
          </a:xfrm>
          <a:prstGeom prst="rect">
            <a:avLst/>
          </a:prstGeom>
          <a:noFill/>
          <a:ln w="9525">
            <a:noFill/>
            <a:miter lim="800000"/>
            <a:headEnd/>
            <a:tailEnd/>
          </a:ln>
        </p:spPr>
      </p:pic>
      <p:pic>
        <p:nvPicPr>
          <p:cNvPr id="31" name="Grafik 20">
            <a:extLst>
              <a:ext uri="{FF2B5EF4-FFF2-40B4-BE49-F238E27FC236}">
                <a16:creationId xmlns:a16="http://schemas.microsoft.com/office/drawing/2014/main" id="{F31F099E-735F-416F-9D87-633E86EA3A00}"/>
              </a:ext>
            </a:extLst>
          </p:cNvPr>
          <p:cNvPicPr>
            <a:picLocks noChangeAspect="1"/>
          </p:cNvPicPr>
          <p:nvPr/>
        </p:nvPicPr>
        <p:blipFill>
          <a:blip r:embed="rId10"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9149807" y="5410473"/>
            <a:ext cx="396000" cy="396000"/>
          </a:xfrm>
          <a:prstGeom prst="rect">
            <a:avLst/>
          </a:prstGeom>
        </p:spPr>
      </p:pic>
      <p:sp>
        <p:nvSpPr>
          <p:cNvPr id="33" name="AutoShape 6">
            <a:hlinkClick r:id="rId11" action="ppaction://hlinksldjump" highlightClick="1"/>
            <a:extLst>
              <a:ext uri="{FF2B5EF4-FFF2-40B4-BE49-F238E27FC236}">
                <a16:creationId xmlns:a16="http://schemas.microsoft.com/office/drawing/2014/main" id="{1A49491E-AFE6-4CFD-A532-D178598A333E}"/>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
        <p:nvSpPr>
          <p:cNvPr id="6" name="Flowchart: Terminator 5">
            <a:extLst>
              <a:ext uri="{FF2B5EF4-FFF2-40B4-BE49-F238E27FC236}">
                <a16:creationId xmlns:a16="http://schemas.microsoft.com/office/drawing/2014/main" id="{E1D3B444-A013-4CA9-B1FC-04F3ED2E4B28}"/>
              </a:ext>
            </a:extLst>
          </p:cNvPr>
          <p:cNvSpPr/>
          <p:nvPr/>
        </p:nvSpPr>
        <p:spPr bwMode="gray">
          <a:xfrm>
            <a:off x="6115965" y="5289992"/>
            <a:ext cx="1944425"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sp>
        <p:nvSpPr>
          <p:cNvPr id="35" name="Flowchart: Terminator 34">
            <a:extLst>
              <a:ext uri="{FF2B5EF4-FFF2-40B4-BE49-F238E27FC236}">
                <a16:creationId xmlns:a16="http://schemas.microsoft.com/office/drawing/2014/main" id="{7DA8DE97-D1D8-4B3F-A292-21987C56911D}"/>
              </a:ext>
            </a:extLst>
          </p:cNvPr>
          <p:cNvSpPr/>
          <p:nvPr/>
        </p:nvSpPr>
        <p:spPr bwMode="gray">
          <a:xfrm>
            <a:off x="10120342" y="5292283"/>
            <a:ext cx="1739381"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pic>
        <p:nvPicPr>
          <p:cNvPr id="37" name="Picture 36">
            <a:extLst>
              <a:ext uri="{FF2B5EF4-FFF2-40B4-BE49-F238E27FC236}">
                <a16:creationId xmlns:a16="http://schemas.microsoft.com/office/drawing/2014/main" id="{A34B2503-DEF9-4995-9C81-4A77765F8F7A}"/>
              </a:ext>
            </a:extLst>
          </p:cNvPr>
          <p:cNvPicPr>
            <a:picLocks noChangeAspect="1"/>
          </p:cNvPicPr>
          <p:nvPr/>
        </p:nvPicPr>
        <p:blipFill>
          <a:blip r:embed="rId12">
            <a:duotone>
              <a:schemeClr val="accent3">
                <a:shade val="45000"/>
                <a:satMod val="135000"/>
              </a:schemeClr>
              <a:prstClr val="white"/>
            </a:duotone>
          </a:blip>
          <a:stretch>
            <a:fillRect/>
          </a:stretch>
        </p:blipFill>
        <p:spPr>
          <a:xfrm>
            <a:off x="10760567" y="5448787"/>
            <a:ext cx="466725" cy="333375"/>
          </a:xfrm>
          <a:prstGeom prst="rect">
            <a:avLst/>
          </a:prstGeom>
        </p:spPr>
      </p:pic>
      <p:sp>
        <p:nvSpPr>
          <p:cNvPr id="38" name="Flowchart: Terminator 37">
            <a:extLst>
              <a:ext uri="{FF2B5EF4-FFF2-40B4-BE49-F238E27FC236}">
                <a16:creationId xmlns:a16="http://schemas.microsoft.com/office/drawing/2014/main" id="{4D0556C3-808C-426A-A1FE-6EBD7809FF97}"/>
              </a:ext>
            </a:extLst>
          </p:cNvPr>
          <p:cNvSpPr/>
          <p:nvPr/>
        </p:nvSpPr>
        <p:spPr bwMode="gray">
          <a:xfrm>
            <a:off x="8220675" y="5285144"/>
            <a:ext cx="1739381"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sp>
        <p:nvSpPr>
          <p:cNvPr id="39" name="TextBox 38">
            <a:extLst>
              <a:ext uri="{FF2B5EF4-FFF2-40B4-BE49-F238E27FC236}">
                <a16:creationId xmlns:a16="http://schemas.microsoft.com/office/drawing/2014/main" id="{AFF73E79-DAA4-46FC-B1B7-5EA41664BB73}"/>
              </a:ext>
            </a:extLst>
          </p:cNvPr>
          <p:cNvSpPr txBox="1"/>
          <p:nvPr/>
        </p:nvSpPr>
        <p:spPr bwMode="gray">
          <a:xfrm>
            <a:off x="6438716" y="5018249"/>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Emissions</a:t>
            </a:r>
            <a:endParaRPr lang="en-US" sz="1200" dirty="0" err="1">
              <a:solidFill>
                <a:schemeClr val="accent2"/>
              </a:solidFill>
            </a:endParaRPr>
          </a:p>
        </p:txBody>
      </p:sp>
      <p:sp>
        <p:nvSpPr>
          <p:cNvPr id="40" name="TextBox 39">
            <a:extLst>
              <a:ext uri="{FF2B5EF4-FFF2-40B4-BE49-F238E27FC236}">
                <a16:creationId xmlns:a16="http://schemas.microsoft.com/office/drawing/2014/main" id="{EF7AC6BD-E378-4A54-8783-05F2B75BE97E}"/>
              </a:ext>
            </a:extLst>
          </p:cNvPr>
          <p:cNvSpPr txBox="1"/>
          <p:nvPr/>
        </p:nvSpPr>
        <p:spPr bwMode="gray">
          <a:xfrm>
            <a:off x="10347637" y="5008080"/>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Safety</a:t>
            </a:r>
            <a:endParaRPr lang="en-US" sz="1200" dirty="0" err="1">
              <a:solidFill>
                <a:schemeClr val="accent2"/>
              </a:solidFill>
            </a:endParaRPr>
          </a:p>
        </p:txBody>
      </p:sp>
      <p:sp>
        <p:nvSpPr>
          <p:cNvPr id="41" name="TextBox 40">
            <a:extLst>
              <a:ext uri="{FF2B5EF4-FFF2-40B4-BE49-F238E27FC236}">
                <a16:creationId xmlns:a16="http://schemas.microsoft.com/office/drawing/2014/main" id="{CE346CDA-1AE2-4A0F-9AFC-AE7B435CE31C}"/>
              </a:ext>
            </a:extLst>
          </p:cNvPr>
          <p:cNvSpPr txBox="1"/>
          <p:nvPr/>
        </p:nvSpPr>
        <p:spPr bwMode="gray">
          <a:xfrm>
            <a:off x="8447970" y="5001466"/>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HazLoc</a:t>
            </a:r>
            <a:endParaRPr lang="en-US" sz="1200" dirty="0" err="1">
              <a:solidFill>
                <a:schemeClr val="accent2"/>
              </a:solidFill>
            </a:endParaRPr>
          </a:p>
        </p:txBody>
      </p:sp>
    </p:spTree>
    <p:custDataLst>
      <p:tags r:id="rId1"/>
    </p:custDataLst>
    <p:extLst>
      <p:ext uri="{BB962C8B-B14F-4D97-AF65-F5344CB8AC3E}">
        <p14:creationId xmlns:p14="http://schemas.microsoft.com/office/powerpoint/2010/main" val="174855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par>
              <p:cTn id="2"/>
            </p:par>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A4FEB-DD82-431E-96DB-974DEA3B5F7F}"/>
              </a:ext>
            </a:extLst>
          </p:cNvPr>
          <p:cNvSpPr>
            <a:spLocks noGrp="1"/>
          </p:cNvSpPr>
          <p:nvPr>
            <p:ph type="title"/>
          </p:nvPr>
        </p:nvSpPr>
        <p:spPr bwMode="gray"/>
        <p:txBody>
          <a:bodyPr/>
          <a:lstStyle/>
          <a:p>
            <a:r>
              <a:rPr lang="de-DE" dirty="0"/>
              <a:t>Limas23</a:t>
            </a:r>
            <a:endParaRPr lang="en-US" dirty="0"/>
          </a:p>
        </p:txBody>
      </p:sp>
      <p:sp>
        <p:nvSpPr>
          <p:cNvPr id="3" name="Footer Placeholder 2">
            <a:extLst>
              <a:ext uri="{FF2B5EF4-FFF2-40B4-BE49-F238E27FC236}">
                <a16:creationId xmlns:a16="http://schemas.microsoft.com/office/drawing/2014/main" id="{99C8EF8F-4C6B-402A-8717-330021361776}"/>
              </a:ext>
            </a:extLst>
          </p:cNvPr>
          <p:cNvSpPr>
            <a:spLocks noGrp="1"/>
          </p:cNvSpPr>
          <p:nvPr>
            <p:ph type="ftr" sz="quarter" idx="10"/>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Indication</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only</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depends</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on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measuring</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component</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nd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application</a:t>
            </a: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4" name="Date Placeholder 3">
            <a:extLst>
              <a:ext uri="{FF2B5EF4-FFF2-40B4-BE49-F238E27FC236}">
                <a16:creationId xmlns:a16="http://schemas.microsoft.com/office/drawing/2014/main" id="{0BF74DBF-3620-4999-A3DB-6353C7BE791B}"/>
              </a:ext>
            </a:extLst>
          </p:cNvPr>
          <p:cNvSpPr>
            <a:spLocks noGrp="1"/>
          </p:cNvSpPr>
          <p:nvPr>
            <p:ph type="dt" sz="half"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8FF341-9601-47A6-A4C1-F2885A66BAA5}"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4D10351D-1F9B-4C35-B046-3DF31CCC3E52}"/>
              </a:ext>
            </a:extLst>
          </p:cNvPr>
          <p:cNvSpPr>
            <a:spLocks noGrp="1"/>
          </p:cNvSpPr>
          <p:nvPr>
            <p:ph type="sldNum" sz="quarter" idx="12"/>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7" name="Content Placeholder 6">
            <a:extLst>
              <a:ext uri="{FF2B5EF4-FFF2-40B4-BE49-F238E27FC236}">
                <a16:creationId xmlns:a16="http://schemas.microsoft.com/office/drawing/2014/main" id="{8DF7FF26-40E6-4E2D-B5E3-EC07744075A3}"/>
              </a:ext>
            </a:extLst>
          </p:cNvPr>
          <p:cNvSpPr>
            <a:spLocks noGrp="1"/>
          </p:cNvSpPr>
          <p:nvPr>
            <p:ph sz="quarter" idx="19"/>
          </p:nvPr>
        </p:nvSpPr>
        <p:spPr bwMode="gray">
          <a:xfrm>
            <a:off x="332367" y="2081882"/>
            <a:ext cx="5603434" cy="3830230"/>
          </a:xfrm>
        </p:spPr>
        <p:txBody>
          <a:bodyPr/>
          <a:lstStyle/>
          <a:p>
            <a:pPr>
              <a:spcBef>
                <a:spcPts val="1800"/>
              </a:spcBef>
            </a:pPr>
            <a:r>
              <a:rPr lang="de-DE" dirty="0">
                <a:solidFill>
                  <a:schemeClr val="tx1"/>
                </a:solidFill>
              </a:rPr>
              <a:t>	Gas </a:t>
            </a:r>
            <a:r>
              <a:rPr lang="de-DE" dirty="0" err="1">
                <a:solidFill>
                  <a:schemeClr val="tx1"/>
                </a:solidFill>
              </a:rPr>
              <a:t>filter</a:t>
            </a:r>
            <a:r>
              <a:rPr lang="de-DE" dirty="0">
                <a:solidFill>
                  <a:schemeClr val="tx1"/>
                </a:solidFill>
              </a:rPr>
              <a:t> </a:t>
            </a:r>
            <a:r>
              <a:rPr lang="de-DE" dirty="0" err="1">
                <a:solidFill>
                  <a:schemeClr val="tx1"/>
                </a:solidFill>
              </a:rPr>
              <a:t>correlation</a:t>
            </a:r>
            <a:r>
              <a:rPr lang="de-DE" dirty="0">
                <a:solidFill>
                  <a:schemeClr val="tx1"/>
                </a:solidFill>
              </a:rPr>
              <a:t> UV (200 – 600 </a:t>
            </a:r>
            <a:r>
              <a:rPr lang="de-DE" dirty="0" err="1">
                <a:solidFill>
                  <a:schemeClr val="tx1"/>
                </a:solidFill>
              </a:rPr>
              <a:t>nm</a:t>
            </a:r>
            <a:r>
              <a:rPr lang="de-DE" dirty="0">
                <a:solidFill>
                  <a:schemeClr val="tx1"/>
                </a:solidFill>
              </a:rPr>
              <a:t>)</a:t>
            </a:r>
          </a:p>
          <a:p>
            <a:endParaRPr lang="de-DE" sz="1600" dirty="0"/>
          </a:p>
          <a:p>
            <a:r>
              <a:rPr lang="de-DE" dirty="0" err="1"/>
              <a:t>Capabilities</a:t>
            </a:r>
            <a:endParaRPr lang="de-DE" dirty="0"/>
          </a:p>
          <a:p>
            <a:pPr lvl="1">
              <a:spcBef>
                <a:spcPts val="300"/>
              </a:spcBef>
            </a:pPr>
            <a:r>
              <a:rPr lang="de-DE" dirty="0"/>
              <a:t>Components:	NO, NO</a:t>
            </a:r>
            <a:r>
              <a:rPr lang="de-DE" baseline="-25000" dirty="0"/>
              <a:t>2</a:t>
            </a:r>
            <a:r>
              <a:rPr lang="de-DE" dirty="0"/>
              <a:t>, SO</a:t>
            </a:r>
            <a:r>
              <a:rPr lang="de-DE" baseline="-25000" dirty="0"/>
              <a:t>2</a:t>
            </a:r>
            <a:endParaRPr lang="de-DE" dirty="0"/>
          </a:p>
          <a:p>
            <a:pPr lvl="1">
              <a:spcBef>
                <a:spcPts val="300"/>
              </a:spcBef>
            </a:pPr>
            <a:r>
              <a:rPr lang="de-DE" dirty="0"/>
              <a:t>Ranges*: 	0 – 50 ppm </a:t>
            </a:r>
            <a:r>
              <a:rPr lang="de-DE" dirty="0" err="1"/>
              <a:t>up</a:t>
            </a:r>
            <a:r>
              <a:rPr lang="de-DE" dirty="0"/>
              <a:t> </a:t>
            </a:r>
            <a:r>
              <a:rPr lang="de-DE" dirty="0" err="1"/>
              <a:t>to</a:t>
            </a:r>
            <a:r>
              <a:rPr lang="de-DE" dirty="0"/>
              <a:t> 100 vol%</a:t>
            </a:r>
          </a:p>
          <a:p>
            <a:pPr>
              <a:spcBef>
                <a:spcPts val="1800"/>
              </a:spcBef>
            </a:pPr>
            <a:r>
              <a:rPr lang="de-DE" dirty="0"/>
              <a:t>Advantages</a:t>
            </a:r>
          </a:p>
          <a:p>
            <a:pPr lvl="1">
              <a:spcBef>
                <a:spcPts val="300"/>
              </a:spcBef>
            </a:pPr>
            <a:r>
              <a:rPr lang="de-DE" dirty="0" err="1"/>
              <a:t>Measure</a:t>
            </a:r>
            <a:r>
              <a:rPr lang="de-DE" dirty="0"/>
              <a:t> </a:t>
            </a:r>
            <a:r>
              <a:rPr lang="de-DE" dirty="0" err="1"/>
              <a:t>up</a:t>
            </a:r>
            <a:r>
              <a:rPr lang="de-DE" dirty="0"/>
              <a:t> </a:t>
            </a:r>
            <a:r>
              <a:rPr lang="de-DE" dirty="0" err="1"/>
              <a:t>to</a:t>
            </a:r>
            <a:r>
              <a:rPr lang="de-DE" dirty="0"/>
              <a:t> 3 </a:t>
            </a:r>
            <a:r>
              <a:rPr lang="de-DE" dirty="0" err="1"/>
              <a:t>components</a:t>
            </a:r>
            <a:r>
              <a:rPr lang="de-DE" dirty="0"/>
              <a:t> </a:t>
            </a:r>
            <a:r>
              <a:rPr lang="de-DE" dirty="0" err="1"/>
              <a:t>simultaneously</a:t>
            </a:r>
            <a:endParaRPr lang="de-DE" dirty="0"/>
          </a:p>
          <a:p>
            <a:pPr lvl="1">
              <a:spcBef>
                <a:spcPts val="300"/>
              </a:spcBef>
            </a:pPr>
            <a:r>
              <a:rPr lang="de-DE" dirty="0" err="1"/>
              <a:t>Insensitive</a:t>
            </a:r>
            <a:r>
              <a:rPr lang="de-DE" dirty="0"/>
              <a:t> </a:t>
            </a:r>
            <a:r>
              <a:rPr lang="de-DE" dirty="0" err="1"/>
              <a:t>to</a:t>
            </a:r>
            <a:r>
              <a:rPr lang="de-DE" dirty="0"/>
              <a:t> H</a:t>
            </a:r>
            <a:r>
              <a:rPr lang="de-DE" baseline="-25000" dirty="0"/>
              <a:t>2</a:t>
            </a:r>
            <a:r>
              <a:rPr lang="de-DE" dirty="0"/>
              <a:t>O and CO</a:t>
            </a:r>
            <a:r>
              <a:rPr lang="de-DE" baseline="-25000" dirty="0"/>
              <a:t>2</a:t>
            </a:r>
            <a:r>
              <a:rPr lang="de-DE" dirty="0"/>
              <a:t> </a:t>
            </a:r>
            <a:r>
              <a:rPr lang="de-DE" dirty="0" err="1"/>
              <a:t>interference</a:t>
            </a:r>
            <a:endParaRPr lang="de-DE" dirty="0"/>
          </a:p>
          <a:p>
            <a:pPr lvl="1">
              <a:spcBef>
                <a:spcPts val="300"/>
              </a:spcBef>
            </a:pPr>
            <a:r>
              <a:rPr lang="de-DE" dirty="0" err="1"/>
              <a:t>Simultaneous</a:t>
            </a:r>
            <a:r>
              <a:rPr lang="de-DE" dirty="0"/>
              <a:t> NO and NO</a:t>
            </a:r>
            <a:r>
              <a:rPr lang="de-DE" baseline="-25000" dirty="0"/>
              <a:t>2</a:t>
            </a:r>
            <a:r>
              <a:rPr lang="de-DE" dirty="0"/>
              <a:t> </a:t>
            </a:r>
            <a:r>
              <a:rPr lang="de-DE" dirty="0" err="1"/>
              <a:t>measurement</a:t>
            </a:r>
            <a:r>
              <a:rPr lang="de-DE" dirty="0"/>
              <a:t> w/o </a:t>
            </a:r>
            <a:r>
              <a:rPr lang="de-DE" dirty="0" err="1"/>
              <a:t>converter</a:t>
            </a:r>
            <a:endParaRPr lang="de-DE" dirty="0"/>
          </a:p>
          <a:p>
            <a:pPr lvl="1">
              <a:spcBef>
                <a:spcPts val="300"/>
              </a:spcBef>
            </a:pPr>
            <a:r>
              <a:rPr lang="de-DE" dirty="0"/>
              <a:t>Internal </a:t>
            </a:r>
            <a:r>
              <a:rPr lang="de-DE" dirty="0" err="1"/>
              <a:t>calibration</a:t>
            </a:r>
            <a:r>
              <a:rPr lang="de-DE" dirty="0"/>
              <a:t> </a:t>
            </a:r>
            <a:r>
              <a:rPr lang="de-DE" dirty="0" err="1"/>
              <a:t>cells</a:t>
            </a:r>
            <a:r>
              <a:rPr lang="de-DE" dirty="0"/>
              <a:t> </a:t>
            </a:r>
            <a:r>
              <a:rPr lang="de-DE" dirty="0" err="1"/>
              <a:t>minimize</a:t>
            </a:r>
            <a:r>
              <a:rPr lang="de-DE" dirty="0"/>
              <a:t> </a:t>
            </a:r>
            <a:r>
              <a:rPr lang="de-DE" dirty="0" err="1"/>
              <a:t>cost</a:t>
            </a:r>
            <a:r>
              <a:rPr lang="de-DE" dirty="0"/>
              <a:t> </a:t>
            </a:r>
            <a:r>
              <a:rPr lang="de-DE" dirty="0" err="1"/>
              <a:t>of</a:t>
            </a:r>
            <a:r>
              <a:rPr lang="de-DE" dirty="0"/>
              <a:t> </a:t>
            </a:r>
            <a:r>
              <a:rPr lang="de-DE" dirty="0" err="1"/>
              <a:t>ownership</a:t>
            </a:r>
            <a:endParaRPr lang="de-DE" dirty="0"/>
          </a:p>
          <a:p>
            <a:pPr lvl="1">
              <a:spcBef>
                <a:spcPts val="300"/>
              </a:spcBef>
            </a:pPr>
            <a:r>
              <a:rPr lang="de-DE" dirty="0" err="1"/>
              <a:t>Four</a:t>
            </a:r>
            <a:r>
              <a:rPr lang="de-DE" dirty="0"/>
              <a:t> beam </a:t>
            </a:r>
            <a:r>
              <a:rPr lang="de-DE" dirty="0" err="1"/>
              <a:t>detection</a:t>
            </a:r>
            <a:r>
              <a:rPr lang="de-DE" dirty="0"/>
              <a:t> </a:t>
            </a:r>
            <a:r>
              <a:rPr lang="de-DE" dirty="0" err="1"/>
              <a:t>simplifies</a:t>
            </a:r>
            <a:r>
              <a:rPr lang="de-DE" dirty="0"/>
              <a:t> </a:t>
            </a:r>
            <a:r>
              <a:rPr lang="de-DE" dirty="0" err="1"/>
              <a:t>failure</a:t>
            </a:r>
            <a:r>
              <a:rPr lang="de-DE" dirty="0"/>
              <a:t> </a:t>
            </a:r>
            <a:r>
              <a:rPr lang="de-DE" dirty="0" err="1"/>
              <a:t>diagnosis</a:t>
            </a:r>
            <a:endParaRPr lang="de-DE" dirty="0"/>
          </a:p>
          <a:p>
            <a:pPr lvl="1"/>
            <a:endParaRPr lang="en-US" dirty="0"/>
          </a:p>
        </p:txBody>
      </p:sp>
      <p:sp>
        <p:nvSpPr>
          <p:cNvPr id="8" name="Subtitle 7">
            <a:extLst>
              <a:ext uri="{FF2B5EF4-FFF2-40B4-BE49-F238E27FC236}">
                <a16:creationId xmlns:a16="http://schemas.microsoft.com/office/drawing/2014/main" id="{0A22AA71-A8DB-47E5-B616-A5CB321F6A04}"/>
              </a:ext>
            </a:extLst>
          </p:cNvPr>
          <p:cNvSpPr>
            <a:spLocks noGrp="1"/>
          </p:cNvSpPr>
          <p:nvPr>
            <p:ph type="subTitle" idx="13"/>
          </p:nvPr>
        </p:nvSpPr>
        <p:spPr bwMode="gray"/>
        <p:txBody>
          <a:bodyPr/>
          <a:lstStyle/>
          <a:p>
            <a:r>
              <a:rPr lang="de-DE" dirty="0"/>
              <a:t>Non-</a:t>
            </a:r>
            <a:r>
              <a:rPr lang="de-DE" dirty="0" err="1"/>
              <a:t>dispersive</a:t>
            </a:r>
            <a:r>
              <a:rPr lang="de-DE" dirty="0"/>
              <a:t> </a:t>
            </a:r>
            <a:r>
              <a:rPr lang="de-DE" dirty="0" err="1"/>
              <a:t>ultra</a:t>
            </a:r>
            <a:r>
              <a:rPr lang="de-DE" dirty="0"/>
              <a:t> </a:t>
            </a:r>
            <a:r>
              <a:rPr lang="de-DE" dirty="0" err="1"/>
              <a:t>violet</a:t>
            </a:r>
            <a:r>
              <a:rPr lang="de-DE" dirty="0"/>
              <a:t> (NDUV) </a:t>
            </a:r>
            <a:r>
              <a:rPr lang="de-DE" dirty="0" err="1"/>
              <a:t>photometer</a:t>
            </a:r>
            <a:endParaRPr lang="en-US" dirty="0"/>
          </a:p>
        </p:txBody>
      </p:sp>
      <p:grpSp>
        <p:nvGrpSpPr>
          <p:cNvPr id="22" name="Group 21">
            <a:extLst>
              <a:ext uri="{FF2B5EF4-FFF2-40B4-BE49-F238E27FC236}">
                <a16:creationId xmlns:a16="http://schemas.microsoft.com/office/drawing/2014/main" id="{FD6BD3DD-4A38-4DB4-9C02-1D0B9AFA6702}"/>
              </a:ext>
            </a:extLst>
          </p:cNvPr>
          <p:cNvGrpSpPr/>
          <p:nvPr/>
        </p:nvGrpSpPr>
        <p:grpSpPr bwMode="gray">
          <a:xfrm>
            <a:off x="338254" y="1933575"/>
            <a:ext cx="597600" cy="597600"/>
            <a:chOff x="3292882" y="-3416029"/>
            <a:chExt cx="597600" cy="597600"/>
          </a:xfrm>
        </p:grpSpPr>
        <p:sp>
          <p:nvSpPr>
            <p:cNvPr id="24" name="Text Box 240">
              <a:extLst>
                <a:ext uri="{FF2B5EF4-FFF2-40B4-BE49-F238E27FC236}">
                  <a16:creationId xmlns:a16="http://schemas.microsoft.com/office/drawing/2014/main" id="{759712D9-EFBD-43ED-8B30-FA74A6F3A601}"/>
                </a:ext>
              </a:extLst>
            </p:cNvPr>
            <p:cNvSpPr txBox="1">
              <a:spLocks noChangeArrowheads="1"/>
            </p:cNvSpPr>
            <p:nvPr/>
          </p:nvSpPr>
          <p:spPr bwMode="gray">
            <a:xfrm>
              <a:off x="3292882" y="-3416029"/>
              <a:ext cx="597600" cy="597600"/>
            </a:xfrm>
            <a:prstGeom prst="ellipse">
              <a:avLst/>
            </a:prstGeom>
            <a:solidFill>
              <a:schemeClr val="bg1"/>
            </a:solidFill>
            <a:ln w="28575">
              <a:solidFill>
                <a:schemeClr val="tx2"/>
              </a:solid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25" name="Group 24">
              <a:extLst>
                <a:ext uri="{FF2B5EF4-FFF2-40B4-BE49-F238E27FC236}">
                  <a16:creationId xmlns:a16="http://schemas.microsoft.com/office/drawing/2014/main" id="{0708C5ED-85DC-44F8-8058-BF0A0826077F}"/>
                </a:ext>
              </a:extLst>
            </p:cNvPr>
            <p:cNvGrpSpPr/>
            <p:nvPr/>
          </p:nvGrpSpPr>
          <p:grpSpPr bwMode="gray">
            <a:xfrm>
              <a:off x="3369733" y="-3326943"/>
              <a:ext cx="443898" cy="419429"/>
              <a:chOff x="-1383434" y="2706826"/>
              <a:chExt cx="355290" cy="335706"/>
            </a:xfrm>
            <a:solidFill>
              <a:schemeClr val="bg1"/>
            </a:solidFill>
          </p:grpSpPr>
          <p:grpSp>
            <p:nvGrpSpPr>
              <p:cNvPr id="26" name="Group 25">
                <a:extLst>
                  <a:ext uri="{FF2B5EF4-FFF2-40B4-BE49-F238E27FC236}">
                    <a16:creationId xmlns:a16="http://schemas.microsoft.com/office/drawing/2014/main" id="{222F5E1A-76A0-4D8E-B910-F6C335A1A9AB}"/>
                  </a:ext>
                </a:extLst>
              </p:cNvPr>
              <p:cNvGrpSpPr/>
              <p:nvPr/>
            </p:nvGrpSpPr>
            <p:grpSpPr bwMode="gray">
              <a:xfrm rot="5400000">
                <a:off x="-1373642" y="2697034"/>
                <a:ext cx="335706" cy="355290"/>
                <a:chOff x="7048367" y="2836970"/>
                <a:chExt cx="571234" cy="604559"/>
              </a:xfrm>
              <a:grpFill/>
            </p:grpSpPr>
            <p:sp>
              <p:nvSpPr>
                <p:cNvPr id="30" name="Rectangle 17">
                  <a:extLst>
                    <a:ext uri="{FF2B5EF4-FFF2-40B4-BE49-F238E27FC236}">
                      <a16:creationId xmlns:a16="http://schemas.microsoft.com/office/drawing/2014/main" id="{E8874AB2-47AE-45F2-B684-79DF0EDDDBF6}"/>
                    </a:ext>
                  </a:extLst>
                </p:cNvPr>
                <p:cNvSpPr/>
                <p:nvPr/>
              </p:nvSpPr>
              <p:spPr bwMode="gray">
                <a:xfrm>
                  <a:off x="7231075" y="3337062"/>
                  <a:ext cx="195681" cy="104467"/>
                </a:xfrm>
                <a:custGeom>
                  <a:avLst/>
                  <a:gdLst>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49425 w 195681"/>
                    <a:gd name="connsiteY8" fmla="*/ 92128 h 104467"/>
                    <a:gd name="connsiteX9" fmla="*/ 38204 w 195681"/>
                    <a:gd name="connsiteY9" fmla="*/ 92128 h 104467"/>
                    <a:gd name="connsiteX10" fmla="*/ 38204 w 195681"/>
                    <a:gd name="connsiteY10" fmla="*/ 73078 h 104467"/>
                    <a:gd name="connsiteX11" fmla="*/ 38204 w 195681"/>
                    <a:gd name="connsiteY11" fmla="*/ 53740 h 104467"/>
                    <a:gd name="connsiteX12" fmla="*/ 0 w 195681"/>
                    <a:gd name="connsiteY12" fmla="*/ 53740 h 104467"/>
                    <a:gd name="connsiteX13" fmla="*/ 0 w 195681"/>
                    <a:gd name="connsiteY13"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38204 w 195681"/>
                    <a:gd name="connsiteY10" fmla="*/ 53740 h 104467"/>
                    <a:gd name="connsiteX11" fmla="*/ 0 w 195681"/>
                    <a:gd name="connsiteY11" fmla="*/ 53740 h 104467"/>
                    <a:gd name="connsiteX12" fmla="*/ 0 w 195681"/>
                    <a:gd name="connsiteY12"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53740 h 104467"/>
                    <a:gd name="connsiteX4" fmla="*/ 157476 w 195681"/>
                    <a:gd name="connsiteY4" fmla="*/ 73078 h 104467"/>
                    <a:gd name="connsiteX5" fmla="*/ 157476 w 195681"/>
                    <a:gd name="connsiteY5" fmla="*/ 92128 h 104467"/>
                    <a:gd name="connsiteX6" fmla="*/ 146256 w 195681"/>
                    <a:gd name="connsiteY6" fmla="*/ 104467 h 104467"/>
                    <a:gd name="connsiteX7" fmla="*/ 49425 w 195681"/>
                    <a:gd name="connsiteY7" fmla="*/ 104467 h 104467"/>
                    <a:gd name="connsiteX8" fmla="*/ 38204 w 195681"/>
                    <a:gd name="connsiteY8" fmla="*/ 92128 h 104467"/>
                    <a:gd name="connsiteX9" fmla="*/ 38204 w 195681"/>
                    <a:gd name="connsiteY9" fmla="*/ 73078 h 104467"/>
                    <a:gd name="connsiteX10" fmla="*/ 0 w 195681"/>
                    <a:gd name="connsiteY10" fmla="*/ 53740 h 104467"/>
                    <a:gd name="connsiteX11" fmla="*/ 0 w 195681"/>
                    <a:gd name="connsiteY11" fmla="*/ 0 h 104467"/>
                    <a:gd name="connsiteX0" fmla="*/ 0 w 195681"/>
                    <a:gd name="connsiteY0" fmla="*/ 0 h 104467"/>
                    <a:gd name="connsiteX1" fmla="*/ 195681 w 195681"/>
                    <a:gd name="connsiteY1" fmla="*/ 0 h 104467"/>
                    <a:gd name="connsiteX2" fmla="*/ 195681 w 195681"/>
                    <a:gd name="connsiteY2" fmla="*/ 53740 h 104467"/>
                    <a:gd name="connsiteX3" fmla="*/ 157476 w 195681"/>
                    <a:gd name="connsiteY3" fmla="*/ 73078 h 104467"/>
                    <a:gd name="connsiteX4" fmla="*/ 157476 w 195681"/>
                    <a:gd name="connsiteY4" fmla="*/ 92128 h 104467"/>
                    <a:gd name="connsiteX5" fmla="*/ 146256 w 195681"/>
                    <a:gd name="connsiteY5" fmla="*/ 104467 h 104467"/>
                    <a:gd name="connsiteX6" fmla="*/ 49425 w 195681"/>
                    <a:gd name="connsiteY6" fmla="*/ 104467 h 104467"/>
                    <a:gd name="connsiteX7" fmla="*/ 38204 w 195681"/>
                    <a:gd name="connsiteY7" fmla="*/ 92128 h 104467"/>
                    <a:gd name="connsiteX8" fmla="*/ 38204 w 195681"/>
                    <a:gd name="connsiteY8" fmla="*/ 73078 h 104467"/>
                    <a:gd name="connsiteX9" fmla="*/ 0 w 195681"/>
                    <a:gd name="connsiteY9" fmla="*/ 53740 h 104467"/>
                    <a:gd name="connsiteX10" fmla="*/ 0 w 195681"/>
                    <a:gd name="connsiteY10" fmla="*/ 0 h 104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681" h="104467">
                      <a:moveTo>
                        <a:pt x="0" y="0"/>
                      </a:moveTo>
                      <a:lnTo>
                        <a:pt x="195681" y="0"/>
                      </a:lnTo>
                      <a:lnTo>
                        <a:pt x="195681" y="53740"/>
                      </a:lnTo>
                      <a:lnTo>
                        <a:pt x="157476" y="73078"/>
                      </a:lnTo>
                      <a:lnTo>
                        <a:pt x="157476" y="92128"/>
                      </a:lnTo>
                      <a:lnTo>
                        <a:pt x="146256" y="104467"/>
                      </a:lnTo>
                      <a:lnTo>
                        <a:pt x="49425" y="104467"/>
                      </a:lnTo>
                      <a:lnTo>
                        <a:pt x="38204" y="92128"/>
                      </a:lnTo>
                      <a:lnTo>
                        <a:pt x="38204" y="73078"/>
                      </a:lnTo>
                      <a:lnTo>
                        <a:pt x="0" y="53740"/>
                      </a:lnTo>
                      <a:lnTo>
                        <a:pt x="0" y="0"/>
                      </a:ln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31" name="Rectangle 16">
                  <a:extLst>
                    <a:ext uri="{FF2B5EF4-FFF2-40B4-BE49-F238E27FC236}">
                      <a16:creationId xmlns:a16="http://schemas.microsoft.com/office/drawing/2014/main" id="{EDFDEB9E-3D20-4225-937C-7F6BD744C1C6}"/>
                    </a:ext>
                  </a:extLst>
                </p:cNvPr>
                <p:cNvSpPr/>
                <p:nvPr/>
              </p:nvSpPr>
              <p:spPr bwMode="gray">
                <a:xfrm>
                  <a:off x="7175632" y="2976185"/>
                  <a:ext cx="306567" cy="360876"/>
                </a:xfrm>
                <a:custGeom>
                  <a:avLst/>
                  <a:gdLst>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0 w 306567"/>
                    <a:gd name="connsiteY11" fmla="*/ 171862 h 360876"/>
                    <a:gd name="connsiteX12" fmla="*/ 3751 w 306567"/>
                    <a:gd name="connsiteY12" fmla="*/ 171862 h 360876"/>
                    <a:gd name="connsiteX13" fmla="*/ 0 w 306567"/>
                    <a:gd name="connsiteY13" fmla="*/ 153283 h 360876"/>
                    <a:gd name="connsiteX14" fmla="*/ 153284 w 306567"/>
                    <a:gd name="connsiteY14" fmla="*/ 0 h 360876"/>
                    <a:gd name="connsiteX0" fmla="*/ 153284 w 306567"/>
                    <a:gd name="connsiteY0" fmla="*/ 0 h 360876"/>
                    <a:gd name="connsiteX1" fmla="*/ 306567 w 306567"/>
                    <a:gd name="connsiteY1" fmla="*/ 153283 h 360876"/>
                    <a:gd name="connsiteX2" fmla="*/ 302817 w 306567"/>
                    <a:gd name="connsiteY2" fmla="*/ 171862 h 360876"/>
                    <a:gd name="connsiteX3" fmla="*/ 240959 w 306567"/>
                    <a:gd name="connsiteY3" fmla="*/ 260043 h 360876"/>
                    <a:gd name="connsiteX4" fmla="*/ 240959 w 306567"/>
                    <a:gd name="connsiteY4" fmla="*/ 311651 h 360876"/>
                    <a:gd name="connsiteX5" fmla="*/ 240959 w 306567"/>
                    <a:gd name="connsiteY5" fmla="*/ 341826 h 360876"/>
                    <a:gd name="connsiteX6" fmla="*/ 240959 w 306567"/>
                    <a:gd name="connsiteY6" fmla="*/ 360876 h 360876"/>
                    <a:gd name="connsiteX7" fmla="*/ 65152 w 306567"/>
                    <a:gd name="connsiteY7" fmla="*/ 360876 h 360876"/>
                    <a:gd name="connsiteX8" fmla="*/ 65152 w 306567"/>
                    <a:gd name="connsiteY8" fmla="*/ 341826 h 360876"/>
                    <a:gd name="connsiteX9" fmla="*/ 65151 w 306567"/>
                    <a:gd name="connsiteY9" fmla="*/ 341826 h 360876"/>
                    <a:gd name="connsiteX10" fmla="*/ 65151 w 306567"/>
                    <a:gd name="connsiteY10" fmla="*/ 259429 h 360876"/>
                    <a:gd name="connsiteX11" fmla="*/ 3751 w 306567"/>
                    <a:gd name="connsiteY11" fmla="*/ 171862 h 360876"/>
                    <a:gd name="connsiteX12" fmla="*/ 0 w 306567"/>
                    <a:gd name="connsiteY12" fmla="*/ 153283 h 360876"/>
                    <a:gd name="connsiteX13" fmla="*/ 153284 w 306567"/>
                    <a:gd name="connsiteY13" fmla="*/ 0 h 360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6567" h="360876">
                      <a:moveTo>
                        <a:pt x="153284" y="0"/>
                      </a:moveTo>
                      <a:cubicBezTo>
                        <a:pt x="237941" y="0"/>
                        <a:pt x="306567" y="68627"/>
                        <a:pt x="306567" y="153283"/>
                      </a:cubicBezTo>
                      <a:lnTo>
                        <a:pt x="302817" y="171862"/>
                      </a:lnTo>
                      <a:lnTo>
                        <a:pt x="240959" y="260043"/>
                      </a:lnTo>
                      <a:lnTo>
                        <a:pt x="240959" y="311651"/>
                      </a:lnTo>
                      <a:lnTo>
                        <a:pt x="240959" y="341826"/>
                      </a:lnTo>
                      <a:lnTo>
                        <a:pt x="240959" y="360876"/>
                      </a:lnTo>
                      <a:lnTo>
                        <a:pt x="65152" y="360876"/>
                      </a:lnTo>
                      <a:lnTo>
                        <a:pt x="65152" y="341826"/>
                      </a:lnTo>
                      <a:lnTo>
                        <a:pt x="65151" y="341826"/>
                      </a:lnTo>
                      <a:lnTo>
                        <a:pt x="65151" y="259429"/>
                      </a:lnTo>
                      <a:lnTo>
                        <a:pt x="3751" y="171862"/>
                      </a:lnTo>
                      <a:cubicBezTo>
                        <a:pt x="392" y="165989"/>
                        <a:pt x="0" y="159681"/>
                        <a:pt x="0" y="153283"/>
                      </a:cubicBezTo>
                      <a:cubicBezTo>
                        <a:pt x="0" y="68627"/>
                        <a:pt x="68627" y="0"/>
                        <a:pt x="153284" y="0"/>
                      </a:cubicBezTo>
                      <a:close/>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cxnSp>
              <p:nvCxnSpPr>
                <p:cNvPr id="32" name="Straight Connector 31">
                  <a:extLst>
                    <a:ext uri="{FF2B5EF4-FFF2-40B4-BE49-F238E27FC236}">
                      <a16:creationId xmlns:a16="http://schemas.microsoft.com/office/drawing/2014/main" id="{4A39E64D-D12C-4566-95F9-A69928E5281C}"/>
                    </a:ext>
                  </a:extLst>
                </p:cNvPr>
                <p:cNvCxnSpPr/>
                <p:nvPr/>
              </p:nvCxnSpPr>
              <p:spPr bwMode="gray">
                <a:xfrm flipH="1">
                  <a:off x="7048367" y="3131232"/>
                  <a:ext cx="80655" cy="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a:extLst>
                    <a:ext uri="{FF2B5EF4-FFF2-40B4-BE49-F238E27FC236}">
                      <a16:creationId xmlns:a16="http://schemas.microsoft.com/office/drawing/2014/main" id="{D956ACA6-9809-42F7-9F6F-84F7BE662193}"/>
                    </a:ext>
                  </a:extLst>
                </p:cNvPr>
                <p:cNvCxnSpPr/>
                <p:nvPr/>
              </p:nvCxnSpPr>
              <p:spPr bwMode="gray">
                <a:xfrm flipH="1">
                  <a:off x="7538946" y="3131232"/>
                  <a:ext cx="80655" cy="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a:extLst>
                    <a:ext uri="{FF2B5EF4-FFF2-40B4-BE49-F238E27FC236}">
                      <a16:creationId xmlns:a16="http://schemas.microsoft.com/office/drawing/2014/main" id="{E501924F-02FE-404F-A241-6C000C467842}"/>
                    </a:ext>
                  </a:extLst>
                </p:cNvPr>
                <p:cNvCxnSpPr/>
                <p:nvPr/>
              </p:nvCxnSpPr>
              <p:spPr bwMode="gray">
                <a:xfrm rot="18703489" flipH="1">
                  <a:off x="7462663" y="2941708"/>
                  <a:ext cx="80655" cy="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35" name="Straight Connector 34">
                  <a:extLst>
                    <a:ext uri="{FF2B5EF4-FFF2-40B4-BE49-F238E27FC236}">
                      <a16:creationId xmlns:a16="http://schemas.microsoft.com/office/drawing/2014/main" id="{5D8EE4E9-8BA5-4782-8A86-D1750F026DF6}"/>
                    </a:ext>
                  </a:extLst>
                </p:cNvPr>
                <p:cNvCxnSpPr/>
                <p:nvPr/>
              </p:nvCxnSpPr>
              <p:spPr bwMode="gray">
                <a:xfrm rot="2896511">
                  <a:off x="7124651" y="2941708"/>
                  <a:ext cx="80655" cy="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36" name="Straight Connector 35">
                  <a:extLst>
                    <a:ext uri="{FF2B5EF4-FFF2-40B4-BE49-F238E27FC236}">
                      <a16:creationId xmlns:a16="http://schemas.microsoft.com/office/drawing/2014/main" id="{CF989FE4-CDEB-4BF3-A237-998DA16EB545}"/>
                    </a:ext>
                  </a:extLst>
                </p:cNvPr>
                <p:cNvCxnSpPr/>
                <p:nvPr/>
              </p:nvCxnSpPr>
              <p:spPr bwMode="gray">
                <a:xfrm rot="5400000">
                  <a:off x="7293657" y="2877298"/>
                  <a:ext cx="80655" cy="0"/>
                </a:xfrm>
                <a:prstGeom prst="lin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27" name="Group 26">
                <a:extLst>
                  <a:ext uri="{FF2B5EF4-FFF2-40B4-BE49-F238E27FC236}">
                    <a16:creationId xmlns:a16="http://schemas.microsoft.com/office/drawing/2014/main" id="{C33DFCE3-4CC1-4C32-B28D-A7C13FBC37B2}"/>
                  </a:ext>
                </a:extLst>
              </p:cNvPr>
              <p:cNvGrpSpPr/>
              <p:nvPr/>
            </p:nvGrpSpPr>
            <p:grpSpPr bwMode="gray">
              <a:xfrm>
                <a:off x="-1260274" y="2839530"/>
                <a:ext cx="111063" cy="64198"/>
                <a:chOff x="-2190753" y="2557735"/>
                <a:chExt cx="719458" cy="415868"/>
              </a:xfrm>
              <a:grpFill/>
            </p:grpSpPr>
            <p:sp>
              <p:nvSpPr>
                <p:cNvPr id="28" name="Freeform 448">
                  <a:extLst>
                    <a:ext uri="{FF2B5EF4-FFF2-40B4-BE49-F238E27FC236}">
                      <a16:creationId xmlns:a16="http://schemas.microsoft.com/office/drawing/2014/main" id="{2B3A6382-E039-4F44-B134-86D77ABCE55A}"/>
                    </a:ext>
                  </a:extLst>
                </p:cNvPr>
                <p:cNvSpPr/>
                <p:nvPr/>
              </p:nvSpPr>
              <p:spPr bwMode="gray">
                <a:xfrm>
                  <a:off x="-1837055" y="2557735"/>
                  <a:ext cx="365760" cy="409575"/>
                </a:xfrm>
                <a:custGeom>
                  <a:avLst/>
                  <a:gdLst>
                    <a:gd name="connsiteX0" fmla="*/ 0 w 365760"/>
                    <a:gd name="connsiteY0" fmla="*/ 0 h 409575"/>
                    <a:gd name="connsiteX1" fmla="*/ 70485 w 365760"/>
                    <a:gd name="connsiteY1" fmla="*/ 0 h 409575"/>
                    <a:gd name="connsiteX2" fmla="*/ 184785 w 365760"/>
                    <a:gd name="connsiteY2" fmla="*/ 340995 h 409575"/>
                    <a:gd name="connsiteX3" fmla="*/ 300990 w 365760"/>
                    <a:gd name="connsiteY3" fmla="*/ 0 h 409575"/>
                    <a:gd name="connsiteX4" fmla="*/ 365760 w 365760"/>
                    <a:gd name="connsiteY4" fmla="*/ 0 h 409575"/>
                    <a:gd name="connsiteX5" fmla="*/ 217170 w 365760"/>
                    <a:gd name="connsiteY5" fmla="*/ 409575 h 409575"/>
                    <a:gd name="connsiteX6" fmla="*/ 150495 w 365760"/>
                    <a:gd name="connsiteY6" fmla="*/ 409575 h 409575"/>
                    <a:gd name="connsiteX7" fmla="*/ 0 w 365760"/>
                    <a:gd name="connsiteY7" fmla="*/ 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60" h="409575">
                      <a:moveTo>
                        <a:pt x="0" y="0"/>
                      </a:moveTo>
                      <a:lnTo>
                        <a:pt x="70485" y="0"/>
                      </a:lnTo>
                      <a:lnTo>
                        <a:pt x="184785" y="340995"/>
                      </a:lnTo>
                      <a:lnTo>
                        <a:pt x="300990" y="0"/>
                      </a:lnTo>
                      <a:lnTo>
                        <a:pt x="365760" y="0"/>
                      </a:lnTo>
                      <a:lnTo>
                        <a:pt x="217170" y="409575"/>
                      </a:lnTo>
                      <a:lnTo>
                        <a:pt x="150495" y="409575"/>
                      </a:lnTo>
                      <a:lnTo>
                        <a:pt x="0" y="0"/>
                      </a:lnTo>
                      <a:close/>
                    </a:path>
                  </a:pathLst>
                </a:custGeom>
                <a:grp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29" name="Flowchart: Delay 121">
                  <a:extLst>
                    <a:ext uri="{FF2B5EF4-FFF2-40B4-BE49-F238E27FC236}">
                      <a16:creationId xmlns:a16="http://schemas.microsoft.com/office/drawing/2014/main" id="{88A31DDB-A3BE-4EDE-8F8F-40D95F2973B0}"/>
                    </a:ext>
                  </a:extLst>
                </p:cNvPr>
                <p:cNvSpPr/>
                <p:nvPr/>
              </p:nvSpPr>
              <p:spPr bwMode="gray">
                <a:xfrm rot="16200000" flipH="1">
                  <a:off x="-2233462" y="2601027"/>
                  <a:ext cx="415285" cy="329867"/>
                </a:xfrm>
                <a:custGeom>
                  <a:avLst/>
                  <a:gdLst/>
                  <a:ahLst/>
                  <a:cxnLst/>
                  <a:rect l="l" t="t" r="r" b="b"/>
                  <a:pathLst>
                    <a:path w="415286" h="329868">
                      <a:moveTo>
                        <a:pt x="0" y="0"/>
                      </a:moveTo>
                      <a:lnTo>
                        <a:pt x="0" y="58254"/>
                      </a:lnTo>
                      <a:lnTo>
                        <a:pt x="35612" y="58254"/>
                      </a:lnTo>
                      <a:lnTo>
                        <a:pt x="35612" y="58253"/>
                      </a:lnTo>
                      <a:lnTo>
                        <a:pt x="242796" y="58253"/>
                      </a:lnTo>
                      <a:cubicBezTo>
                        <a:pt x="307575" y="58253"/>
                        <a:pt x="360154" y="105927"/>
                        <a:pt x="360510" y="164934"/>
                      </a:cubicBezTo>
                      <a:cubicBezTo>
                        <a:pt x="360154" y="223941"/>
                        <a:pt x="307575" y="271615"/>
                        <a:pt x="242796" y="271615"/>
                      </a:cubicBezTo>
                      <a:lnTo>
                        <a:pt x="35612" y="271615"/>
                      </a:lnTo>
                      <a:lnTo>
                        <a:pt x="35612" y="271614"/>
                      </a:lnTo>
                      <a:lnTo>
                        <a:pt x="0" y="271614"/>
                      </a:lnTo>
                      <a:lnTo>
                        <a:pt x="0" y="329868"/>
                      </a:lnTo>
                      <a:lnTo>
                        <a:pt x="264652" y="329868"/>
                      </a:lnTo>
                      <a:cubicBezTo>
                        <a:pt x="347267" y="329868"/>
                        <a:pt x="414348" y="256627"/>
                        <a:pt x="414937" y="165886"/>
                      </a:cubicBezTo>
                      <a:lnTo>
                        <a:pt x="415286" y="165886"/>
                      </a:lnTo>
                      <a:cubicBezTo>
                        <a:pt x="415286" y="165568"/>
                        <a:pt x="415285" y="165251"/>
                        <a:pt x="415112" y="164934"/>
                      </a:cubicBezTo>
                      <a:cubicBezTo>
                        <a:pt x="415285" y="164618"/>
                        <a:pt x="415286" y="164300"/>
                        <a:pt x="415286" y="163982"/>
                      </a:cubicBezTo>
                      <a:lnTo>
                        <a:pt x="414937" y="163982"/>
                      </a:lnTo>
                      <a:cubicBezTo>
                        <a:pt x="414348" y="73241"/>
                        <a:pt x="347267" y="0"/>
                        <a:pt x="264652" y="0"/>
                      </a:cubicBezTo>
                      <a:close/>
                    </a:path>
                  </a:pathLst>
                </a:custGeom>
                <a:grp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grpSp>
        </p:grpSp>
      </p:grpSp>
      <p:sp>
        <p:nvSpPr>
          <p:cNvPr id="59" name="AutoShape 6">
            <a:hlinkClick r:id="rId3" action="ppaction://hlinksldjump" highlightClick="1"/>
            <a:extLst>
              <a:ext uri="{FF2B5EF4-FFF2-40B4-BE49-F238E27FC236}">
                <a16:creationId xmlns:a16="http://schemas.microsoft.com/office/drawing/2014/main" id="{E40CA1CD-979A-4F6C-9326-A07552633574}"/>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pic>
        <p:nvPicPr>
          <p:cNvPr id="60" name="Content Placeholder 10">
            <a:extLst>
              <a:ext uri="{FF2B5EF4-FFF2-40B4-BE49-F238E27FC236}">
                <a16:creationId xmlns:a16="http://schemas.microsoft.com/office/drawing/2014/main" id="{65BF9401-734E-4043-A044-F35852FADD86}"/>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0262108" y="5448787"/>
            <a:ext cx="407558" cy="324000"/>
          </a:xfrm>
          <a:prstGeom prst="rect">
            <a:avLst/>
          </a:prstGeom>
          <a:noFill/>
          <a:ln w="9525">
            <a:noFill/>
            <a:miter lim="800000"/>
            <a:headEnd/>
            <a:tailEnd/>
          </a:ln>
        </p:spPr>
      </p:pic>
      <p:pic>
        <p:nvPicPr>
          <p:cNvPr id="62" name="Picture 61" descr="TÜV">
            <a:extLst>
              <a:ext uri="{FF2B5EF4-FFF2-40B4-BE49-F238E27FC236}">
                <a16:creationId xmlns:a16="http://schemas.microsoft.com/office/drawing/2014/main" id="{2701818F-5534-4D01-81DC-9598F4FAFD57}"/>
              </a:ext>
            </a:extLst>
          </p:cNvPr>
          <p:cNvPicPr>
            <a:picLocks noChangeAspect="1" noChangeArrowheads="1"/>
          </p:cNvPicPr>
          <p:nvPr/>
        </p:nvPicPr>
        <p:blipFill rotWithShape="1">
          <a:blip r:embed="rId5"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bwMode="gray">
          <a:xfrm>
            <a:off x="6160526" y="5357114"/>
            <a:ext cx="667408" cy="50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5" descr="mcerts_logo1">
            <a:extLst>
              <a:ext uri="{FF2B5EF4-FFF2-40B4-BE49-F238E27FC236}">
                <a16:creationId xmlns:a16="http://schemas.microsoft.com/office/drawing/2014/main" id="{5D50138A-CC8B-443D-910B-CB388D03674E}"/>
              </a:ext>
            </a:extLst>
          </p:cNvPr>
          <p:cNvPicPr>
            <a:picLocks noChangeAspect="1" noChangeArrowheads="1"/>
          </p:cNvPicPr>
          <p:nvPr/>
        </p:nvPicPr>
        <p:blipFill rotWithShape="1">
          <a:blip r:embed="rId6" cstate="email">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rcRect r="5842"/>
          <a:stretch/>
        </p:blipFill>
        <p:spPr bwMode="gray">
          <a:xfrm>
            <a:off x="7432093" y="5377243"/>
            <a:ext cx="408788" cy="50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63">
            <a:extLst>
              <a:ext uri="{FF2B5EF4-FFF2-40B4-BE49-F238E27FC236}">
                <a16:creationId xmlns:a16="http://schemas.microsoft.com/office/drawing/2014/main" id="{AA173414-5874-464E-9EB3-E7FEC665987C}"/>
              </a:ext>
            </a:extLst>
          </p:cNvPr>
          <p:cNvPicPr>
            <a:picLocks noChangeAspect="1"/>
          </p:cNvPicPr>
          <p:nvPr/>
        </p:nvPicPr>
        <p:blipFill>
          <a:blip r:embed="rId7">
            <a:duotone>
              <a:schemeClr val="accent3">
                <a:shade val="45000"/>
                <a:satMod val="135000"/>
              </a:schemeClr>
              <a:prstClr val="white"/>
            </a:duotone>
          </a:blip>
          <a:stretch>
            <a:fillRect/>
          </a:stretch>
        </p:blipFill>
        <p:spPr bwMode="gray">
          <a:xfrm>
            <a:off x="6765830" y="5463567"/>
            <a:ext cx="644693" cy="360000"/>
          </a:xfrm>
          <a:prstGeom prst="rect">
            <a:avLst/>
          </a:prstGeom>
        </p:spPr>
      </p:pic>
      <p:pic>
        <p:nvPicPr>
          <p:cNvPr id="65" name="Picture 10">
            <a:extLst>
              <a:ext uri="{FF2B5EF4-FFF2-40B4-BE49-F238E27FC236}">
                <a16:creationId xmlns:a16="http://schemas.microsoft.com/office/drawing/2014/main" id="{CB474482-8755-4881-820E-946EE2F6F57B}"/>
              </a:ext>
            </a:extLst>
          </p:cNvPr>
          <p:cNvPicPr>
            <a:picLocks noChangeAspect="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1307006" y="5399375"/>
            <a:ext cx="395864" cy="396000"/>
          </a:xfrm>
          <a:prstGeom prst="rect">
            <a:avLst/>
          </a:prstGeom>
          <a:noFill/>
          <a:ln w="9525">
            <a:noFill/>
            <a:miter lim="800000"/>
            <a:headEnd/>
            <a:tailEnd/>
          </a:ln>
        </p:spPr>
      </p:pic>
      <p:sp>
        <p:nvSpPr>
          <p:cNvPr id="67" name="Flowchart: Terminator 66">
            <a:extLst>
              <a:ext uri="{FF2B5EF4-FFF2-40B4-BE49-F238E27FC236}">
                <a16:creationId xmlns:a16="http://schemas.microsoft.com/office/drawing/2014/main" id="{C6E3D9B3-7BF8-495A-9ABE-D63FED66A49B}"/>
              </a:ext>
            </a:extLst>
          </p:cNvPr>
          <p:cNvSpPr/>
          <p:nvPr/>
        </p:nvSpPr>
        <p:spPr bwMode="gray">
          <a:xfrm>
            <a:off x="6115965" y="5289992"/>
            <a:ext cx="1944425"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sp>
        <p:nvSpPr>
          <p:cNvPr id="68" name="Flowchart: Terminator 67">
            <a:extLst>
              <a:ext uri="{FF2B5EF4-FFF2-40B4-BE49-F238E27FC236}">
                <a16:creationId xmlns:a16="http://schemas.microsoft.com/office/drawing/2014/main" id="{85159293-39F7-4BB3-9AF7-6CC86E133900}"/>
              </a:ext>
            </a:extLst>
          </p:cNvPr>
          <p:cNvSpPr/>
          <p:nvPr/>
        </p:nvSpPr>
        <p:spPr bwMode="gray">
          <a:xfrm>
            <a:off x="10120342" y="5292283"/>
            <a:ext cx="1739381"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pic>
        <p:nvPicPr>
          <p:cNvPr id="69" name="Picture 68">
            <a:extLst>
              <a:ext uri="{FF2B5EF4-FFF2-40B4-BE49-F238E27FC236}">
                <a16:creationId xmlns:a16="http://schemas.microsoft.com/office/drawing/2014/main" id="{7B1EF4B5-AEC0-403E-B489-BD6C8BF00C44}"/>
              </a:ext>
            </a:extLst>
          </p:cNvPr>
          <p:cNvPicPr>
            <a:picLocks noChangeAspect="1"/>
          </p:cNvPicPr>
          <p:nvPr/>
        </p:nvPicPr>
        <p:blipFill>
          <a:blip r:embed="rId9">
            <a:duotone>
              <a:schemeClr val="accent3">
                <a:shade val="45000"/>
                <a:satMod val="135000"/>
              </a:schemeClr>
              <a:prstClr val="white"/>
            </a:duotone>
          </a:blip>
          <a:stretch>
            <a:fillRect/>
          </a:stretch>
        </p:blipFill>
        <p:spPr>
          <a:xfrm>
            <a:off x="10760567" y="5448787"/>
            <a:ext cx="466725" cy="333375"/>
          </a:xfrm>
          <a:prstGeom prst="rect">
            <a:avLst/>
          </a:prstGeom>
        </p:spPr>
      </p:pic>
      <p:sp>
        <p:nvSpPr>
          <p:cNvPr id="71" name="TextBox 70">
            <a:extLst>
              <a:ext uri="{FF2B5EF4-FFF2-40B4-BE49-F238E27FC236}">
                <a16:creationId xmlns:a16="http://schemas.microsoft.com/office/drawing/2014/main" id="{2C01C760-467D-4FDC-BCFE-590A920F5D78}"/>
              </a:ext>
            </a:extLst>
          </p:cNvPr>
          <p:cNvSpPr txBox="1"/>
          <p:nvPr/>
        </p:nvSpPr>
        <p:spPr bwMode="gray">
          <a:xfrm>
            <a:off x="6438716" y="5018249"/>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Emissions</a:t>
            </a:r>
            <a:endParaRPr lang="en-US" sz="1200" dirty="0" err="1">
              <a:solidFill>
                <a:schemeClr val="accent2"/>
              </a:solidFill>
            </a:endParaRPr>
          </a:p>
        </p:txBody>
      </p:sp>
      <p:sp>
        <p:nvSpPr>
          <p:cNvPr id="72" name="TextBox 71">
            <a:extLst>
              <a:ext uri="{FF2B5EF4-FFF2-40B4-BE49-F238E27FC236}">
                <a16:creationId xmlns:a16="http://schemas.microsoft.com/office/drawing/2014/main" id="{97BE7F4C-1410-4B7B-83E9-F7D771B0BE40}"/>
              </a:ext>
            </a:extLst>
          </p:cNvPr>
          <p:cNvSpPr txBox="1"/>
          <p:nvPr/>
        </p:nvSpPr>
        <p:spPr bwMode="gray">
          <a:xfrm>
            <a:off x="10347637" y="5008080"/>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Safety</a:t>
            </a:r>
            <a:endParaRPr lang="en-US" sz="1200" dirty="0" err="1">
              <a:solidFill>
                <a:schemeClr val="accent2"/>
              </a:solidFill>
            </a:endParaRPr>
          </a:p>
        </p:txBody>
      </p:sp>
      <p:pic>
        <p:nvPicPr>
          <p:cNvPr id="40" name="Content Placeholder 39">
            <a:extLst>
              <a:ext uri="{FF2B5EF4-FFF2-40B4-BE49-F238E27FC236}">
                <a16:creationId xmlns:a16="http://schemas.microsoft.com/office/drawing/2014/main" id="{ECBFED45-4C5B-4DCA-8E48-00A726068DDB}"/>
              </a:ext>
            </a:extLst>
          </p:cNvPr>
          <p:cNvPicPr>
            <a:picLocks noGrp="1" noChangeAspect="1"/>
          </p:cNvPicPr>
          <p:nvPr>
            <p:ph sz="quarter" idx="20"/>
          </p:nvPr>
        </p:nvPicPr>
        <p:blipFill>
          <a:blip r:embed="rId10"/>
          <a:stretch>
            <a:fillRect/>
          </a:stretch>
        </p:blipFill>
        <p:spPr>
          <a:xfrm>
            <a:off x="6744907" y="2541190"/>
            <a:ext cx="4562099" cy="2262718"/>
          </a:xfrm>
          <a:prstGeom prst="rect">
            <a:avLst/>
          </a:prstGeom>
        </p:spPr>
      </p:pic>
    </p:spTree>
    <p:custDataLst>
      <p:tags r:id="rId1"/>
    </p:custDataLst>
    <p:extLst>
      <p:ext uri="{BB962C8B-B14F-4D97-AF65-F5344CB8AC3E}">
        <p14:creationId xmlns:p14="http://schemas.microsoft.com/office/powerpoint/2010/main" val="605701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A4FEB-DD82-431E-96DB-974DEA3B5F7F}"/>
              </a:ext>
            </a:extLst>
          </p:cNvPr>
          <p:cNvSpPr>
            <a:spLocks noGrp="1"/>
          </p:cNvSpPr>
          <p:nvPr>
            <p:ph type="title"/>
          </p:nvPr>
        </p:nvSpPr>
        <p:spPr bwMode="gray"/>
        <p:txBody>
          <a:bodyPr/>
          <a:lstStyle/>
          <a:p>
            <a:r>
              <a:rPr lang="de-DE" dirty="0"/>
              <a:t>Magnos28</a:t>
            </a:r>
            <a:endParaRPr lang="en-US" dirty="0"/>
          </a:p>
        </p:txBody>
      </p:sp>
      <p:sp>
        <p:nvSpPr>
          <p:cNvPr id="3" name="Footer Placeholder 2">
            <a:extLst>
              <a:ext uri="{FF2B5EF4-FFF2-40B4-BE49-F238E27FC236}">
                <a16:creationId xmlns:a16="http://schemas.microsoft.com/office/drawing/2014/main" id="{99C8EF8F-4C6B-402A-8717-330021361776}"/>
              </a:ext>
            </a:extLst>
          </p:cNvPr>
          <p:cNvSpPr>
            <a:spLocks noGrp="1"/>
          </p:cNvSpPr>
          <p:nvPr>
            <p:ph type="ftr" sz="quarter" idx="10"/>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Indication</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only</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depends</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on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measuring</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component</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nd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application</a:t>
            </a: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4" name="Date Placeholder 3">
            <a:extLst>
              <a:ext uri="{FF2B5EF4-FFF2-40B4-BE49-F238E27FC236}">
                <a16:creationId xmlns:a16="http://schemas.microsoft.com/office/drawing/2014/main" id="{0BF74DBF-3620-4999-A3DB-6353C7BE791B}"/>
              </a:ext>
            </a:extLst>
          </p:cNvPr>
          <p:cNvSpPr>
            <a:spLocks noGrp="1"/>
          </p:cNvSpPr>
          <p:nvPr>
            <p:ph type="dt" sz="half"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8FF341-9601-47A6-A4C1-F2885A66BAA5}"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4D10351D-1F9B-4C35-B046-3DF31CCC3E52}"/>
              </a:ext>
            </a:extLst>
          </p:cNvPr>
          <p:cNvSpPr>
            <a:spLocks noGrp="1"/>
          </p:cNvSpPr>
          <p:nvPr>
            <p:ph type="sldNum" sz="quarter" idx="12"/>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7" name="Content Placeholder 6">
            <a:extLst>
              <a:ext uri="{FF2B5EF4-FFF2-40B4-BE49-F238E27FC236}">
                <a16:creationId xmlns:a16="http://schemas.microsoft.com/office/drawing/2014/main" id="{8DF7FF26-40E6-4E2D-B5E3-EC07744075A3}"/>
              </a:ext>
            </a:extLst>
          </p:cNvPr>
          <p:cNvSpPr>
            <a:spLocks noGrp="1"/>
          </p:cNvSpPr>
          <p:nvPr>
            <p:ph sz="quarter" idx="19"/>
          </p:nvPr>
        </p:nvSpPr>
        <p:spPr bwMode="gray">
          <a:xfrm>
            <a:off x="332366" y="2081882"/>
            <a:ext cx="5765221" cy="3830230"/>
          </a:xfrm>
        </p:spPr>
        <p:txBody>
          <a:bodyPr/>
          <a:lstStyle/>
          <a:p>
            <a:pPr>
              <a:spcBef>
                <a:spcPts val="1800"/>
              </a:spcBef>
            </a:pPr>
            <a:r>
              <a:rPr lang="de-DE" dirty="0">
                <a:solidFill>
                  <a:schemeClr val="tx1"/>
                </a:solidFill>
              </a:rPr>
              <a:t>	</a:t>
            </a:r>
            <a:r>
              <a:rPr lang="de-DE" dirty="0" err="1">
                <a:solidFill>
                  <a:schemeClr val="tx1"/>
                </a:solidFill>
              </a:rPr>
              <a:t>Paramagnetic</a:t>
            </a:r>
            <a:r>
              <a:rPr lang="de-DE" dirty="0">
                <a:solidFill>
                  <a:schemeClr val="tx1"/>
                </a:solidFill>
              </a:rPr>
              <a:t> </a:t>
            </a:r>
            <a:r>
              <a:rPr lang="de-DE" dirty="0" err="1">
                <a:solidFill>
                  <a:schemeClr val="tx1"/>
                </a:solidFill>
              </a:rPr>
              <a:t>detector</a:t>
            </a:r>
            <a:r>
              <a:rPr lang="de-DE" dirty="0">
                <a:solidFill>
                  <a:schemeClr val="tx1"/>
                </a:solidFill>
              </a:rPr>
              <a:t> </a:t>
            </a:r>
            <a:r>
              <a:rPr lang="de-DE" dirty="0" err="1">
                <a:solidFill>
                  <a:schemeClr val="tx1"/>
                </a:solidFill>
              </a:rPr>
              <a:t>with</a:t>
            </a:r>
            <a:r>
              <a:rPr lang="de-DE" dirty="0">
                <a:solidFill>
                  <a:schemeClr val="tx1"/>
                </a:solidFill>
              </a:rPr>
              <a:t> microwing®</a:t>
            </a:r>
          </a:p>
          <a:p>
            <a:endParaRPr lang="de-DE" sz="1600" dirty="0"/>
          </a:p>
          <a:p>
            <a:r>
              <a:rPr lang="de-DE" dirty="0" err="1"/>
              <a:t>Capabilities</a:t>
            </a:r>
            <a:endParaRPr lang="de-DE" dirty="0"/>
          </a:p>
          <a:p>
            <a:pPr lvl="1">
              <a:spcBef>
                <a:spcPts val="300"/>
              </a:spcBef>
            </a:pPr>
            <a:r>
              <a:rPr lang="de-DE" dirty="0"/>
              <a:t>Components:	O</a:t>
            </a:r>
            <a:r>
              <a:rPr lang="de-DE" baseline="-25000" dirty="0"/>
              <a:t>2</a:t>
            </a:r>
            <a:endParaRPr lang="de-DE" dirty="0"/>
          </a:p>
          <a:p>
            <a:pPr lvl="1">
              <a:spcBef>
                <a:spcPts val="300"/>
              </a:spcBef>
            </a:pPr>
            <a:r>
              <a:rPr lang="de-DE" dirty="0"/>
              <a:t>Ranges*: 	0 – 0.5 vol% </a:t>
            </a:r>
            <a:r>
              <a:rPr lang="de-DE" dirty="0" err="1"/>
              <a:t>up</a:t>
            </a:r>
            <a:r>
              <a:rPr lang="de-DE" dirty="0"/>
              <a:t> </a:t>
            </a:r>
            <a:r>
              <a:rPr lang="de-DE" dirty="0" err="1"/>
              <a:t>to</a:t>
            </a:r>
            <a:r>
              <a:rPr lang="de-DE" dirty="0"/>
              <a:t> 100 vol%</a:t>
            </a:r>
          </a:p>
          <a:p>
            <a:pPr>
              <a:spcBef>
                <a:spcPts val="1800"/>
              </a:spcBef>
            </a:pPr>
            <a:r>
              <a:rPr lang="de-DE" dirty="0"/>
              <a:t>Advantages</a:t>
            </a:r>
          </a:p>
          <a:p>
            <a:pPr lvl="1">
              <a:spcBef>
                <a:spcPts val="300"/>
              </a:spcBef>
            </a:pPr>
            <a:r>
              <a:rPr lang="de-DE" dirty="0"/>
              <a:t>Patented microwing® </a:t>
            </a:r>
            <a:r>
              <a:rPr lang="de-DE" dirty="0" err="1"/>
              <a:t>offers</a:t>
            </a:r>
            <a:r>
              <a:rPr lang="de-DE" dirty="0"/>
              <a:t> </a:t>
            </a:r>
            <a:r>
              <a:rPr lang="de-DE" dirty="0" err="1"/>
              <a:t>improved</a:t>
            </a:r>
            <a:r>
              <a:rPr lang="de-DE" dirty="0"/>
              <a:t> </a:t>
            </a:r>
            <a:r>
              <a:rPr lang="de-DE" dirty="0" err="1"/>
              <a:t>repeatability</a:t>
            </a:r>
            <a:r>
              <a:rPr lang="de-DE" dirty="0"/>
              <a:t> </a:t>
            </a:r>
          </a:p>
          <a:p>
            <a:pPr lvl="1">
              <a:spcBef>
                <a:spcPts val="300"/>
              </a:spcBef>
            </a:pPr>
            <a:r>
              <a:rPr lang="de-DE" dirty="0"/>
              <a:t>Semi-</a:t>
            </a:r>
            <a:r>
              <a:rPr lang="de-DE" dirty="0" err="1"/>
              <a:t>automatic</a:t>
            </a:r>
            <a:r>
              <a:rPr lang="de-DE" dirty="0"/>
              <a:t> </a:t>
            </a:r>
            <a:r>
              <a:rPr lang="de-DE" dirty="0" err="1"/>
              <a:t>manufacturing</a:t>
            </a:r>
            <a:r>
              <a:rPr lang="de-DE" dirty="0"/>
              <a:t> </a:t>
            </a:r>
            <a:r>
              <a:rPr lang="de-DE" dirty="0" err="1"/>
              <a:t>for</a:t>
            </a:r>
            <a:r>
              <a:rPr lang="de-DE" dirty="0"/>
              <a:t> </a:t>
            </a:r>
            <a:r>
              <a:rPr lang="de-DE" dirty="0" err="1"/>
              <a:t>consistent</a:t>
            </a:r>
            <a:r>
              <a:rPr lang="de-DE" dirty="0"/>
              <a:t> </a:t>
            </a:r>
            <a:r>
              <a:rPr lang="de-DE" dirty="0" err="1"/>
              <a:t>quality</a:t>
            </a:r>
            <a:r>
              <a:rPr lang="de-DE" dirty="0"/>
              <a:t> </a:t>
            </a:r>
          </a:p>
          <a:p>
            <a:pPr lvl="1">
              <a:spcBef>
                <a:spcPts val="300"/>
              </a:spcBef>
            </a:pPr>
            <a:r>
              <a:rPr lang="de-DE" dirty="0"/>
              <a:t>Inert </a:t>
            </a:r>
            <a:r>
              <a:rPr lang="de-DE" dirty="0" err="1"/>
              <a:t>materials</a:t>
            </a:r>
            <a:r>
              <a:rPr lang="de-DE" dirty="0"/>
              <a:t> </a:t>
            </a:r>
            <a:r>
              <a:rPr lang="de-DE" dirty="0" err="1"/>
              <a:t>suitable</a:t>
            </a:r>
            <a:r>
              <a:rPr lang="de-DE" dirty="0"/>
              <a:t> </a:t>
            </a:r>
            <a:r>
              <a:rPr lang="de-DE" dirty="0" err="1"/>
              <a:t>for</a:t>
            </a:r>
            <a:r>
              <a:rPr lang="de-DE" dirty="0"/>
              <a:t> </a:t>
            </a:r>
            <a:r>
              <a:rPr lang="de-DE" dirty="0" err="1"/>
              <a:t>corrosive</a:t>
            </a:r>
            <a:r>
              <a:rPr lang="de-DE" dirty="0"/>
              <a:t> </a:t>
            </a:r>
            <a:r>
              <a:rPr lang="de-DE" dirty="0" err="1"/>
              <a:t>applications</a:t>
            </a:r>
            <a:endParaRPr lang="de-DE" dirty="0"/>
          </a:p>
          <a:p>
            <a:pPr lvl="1">
              <a:spcBef>
                <a:spcPts val="300"/>
              </a:spcBef>
            </a:pPr>
            <a:r>
              <a:rPr lang="de-DE" dirty="0"/>
              <a:t>Fast </a:t>
            </a:r>
            <a:r>
              <a:rPr lang="de-DE" dirty="0" err="1"/>
              <a:t>response</a:t>
            </a:r>
            <a:r>
              <a:rPr lang="de-DE" dirty="0"/>
              <a:t> (1.3s) </a:t>
            </a:r>
            <a:r>
              <a:rPr lang="de-DE" dirty="0" err="1"/>
              <a:t>for</a:t>
            </a:r>
            <a:r>
              <a:rPr lang="de-DE" dirty="0"/>
              <a:t> </a:t>
            </a:r>
            <a:r>
              <a:rPr lang="de-DE" dirty="0" err="1"/>
              <a:t>improved</a:t>
            </a:r>
            <a:r>
              <a:rPr lang="de-DE" dirty="0"/>
              <a:t> </a:t>
            </a:r>
            <a:r>
              <a:rPr lang="de-DE" dirty="0" err="1"/>
              <a:t>process</a:t>
            </a:r>
            <a:r>
              <a:rPr lang="de-DE" dirty="0"/>
              <a:t> </a:t>
            </a:r>
            <a:r>
              <a:rPr lang="de-DE" dirty="0" err="1"/>
              <a:t>control</a:t>
            </a:r>
            <a:endParaRPr lang="de-DE" dirty="0"/>
          </a:p>
          <a:p>
            <a:pPr lvl="1">
              <a:spcBef>
                <a:spcPts val="300"/>
              </a:spcBef>
            </a:pPr>
            <a:r>
              <a:rPr lang="de-DE" dirty="0" err="1"/>
              <a:t>Suppressed</a:t>
            </a:r>
            <a:r>
              <a:rPr lang="de-DE" dirty="0"/>
              <a:t> </a:t>
            </a:r>
            <a:r>
              <a:rPr lang="de-DE" dirty="0" err="1"/>
              <a:t>ranges</a:t>
            </a:r>
            <a:r>
              <a:rPr lang="de-DE" dirty="0"/>
              <a:t> (99.5-100 vol%) </a:t>
            </a:r>
            <a:r>
              <a:rPr lang="de-DE" dirty="0" err="1"/>
              <a:t>for</a:t>
            </a:r>
            <a:r>
              <a:rPr lang="de-DE" dirty="0"/>
              <a:t> </a:t>
            </a:r>
            <a:r>
              <a:rPr lang="de-DE" dirty="0" err="1"/>
              <a:t>purity</a:t>
            </a:r>
            <a:r>
              <a:rPr lang="de-DE" dirty="0"/>
              <a:t> </a:t>
            </a:r>
            <a:r>
              <a:rPr lang="de-DE" dirty="0" err="1"/>
              <a:t>applications</a:t>
            </a:r>
            <a:endParaRPr lang="de-DE" dirty="0"/>
          </a:p>
          <a:p>
            <a:pPr lvl="1"/>
            <a:r>
              <a:rPr lang="de-DE" b="1" dirty="0">
                <a:solidFill>
                  <a:schemeClr val="tx2"/>
                </a:solidFill>
              </a:rPr>
              <a:t>SIL </a:t>
            </a:r>
            <a:r>
              <a:rPr lang="de-DE" b="1" dirty="0" err="1">
                <a:solidFill>
                  <a:schemeClr val="tx2"/>
                </a:solidFill>
              </a:rPr>
              <a:t>declaration</a:t>
            </a:r>
            <a:r>
              <a:rPr lang="de-DE" b="1" dirty="0">
                <a:solidFill>
                  <a:schemeClr val="tx2"/>
                </a:solidFill>
              </a:rPr>
              <a:t> - </a:t>
            </a:r>
            <a:r>
              <a:rPr lang="fr-FR" b="1" dirty="0">
                <a:solidFill>
                  <a:schemeClr val="tx2"/>
                </a:solidFill>
              </a:rPr>
              <a:t>EN 61508 (2010) part 2 - click for more…</a:t>
            </a:r>
          </a:p>
          <a:p>
            <a:pPr lvl="1"/>
            <a:endParaRPr lang="de-DE" dirty="0"/>
          </a:p>
          <a:p>
            <a:pPr lvl="1"/>
            <a:endParaRPr lang="en-US" dirty="0"/>
          </a:p>
        </p:txBody>
      </p:sp>
      <p:sp>
        <p:nvSpPr>
          <p:cNvPr id="8" name="Subtitle 7">
            <a:extLst>
              <a:ext uri="{FF2B5EF4-FFF2-40B4-BE49-F238E27FC236}">
                <a16:creationId xmlns:a16="http://schemas.microsoft.com/office/drawing/2014/main" id="{0A22AA71-A8DB-47E5-B616-A5CB321F6A04}"/>
              </a:ext>
            </a:extLst>
          </p:cNvPr>
          <p:cNvSpPr>
            <a:spLocks noGrp="1"/>
          </p:cNvSpPr>
          <p:nvPr>
            <p:ph type="subTitle" idx="13"/>
          </p:nvPr>
        </p:nvSpPr>
        <p:spPr bwMode="gray"/>
        <p:txBody>
          <a:bodyPr/>
          <a:lstStyle/>
          <a:p>
            <a:r>
              <a:rPr lang="de-DE" dirty="0" err="1"/>
              <a:t>Paramagnetic</a:t>
            </a:r>
            <a:r>
              <a:rPr lang="de-DE" dirty="0"/>
              <a:t> </a:t>
            </a:r>
            <a:r>
              <a:rPr lang="de-DE" dirty="0" err="1"/>
              <a:t>detector</a:t>
            </a:r>
            <a:r>
              <a:rPr lang="de-DE" dirty="0"/>
              <a:t> (PMD)</a:t>
            </a:r>
            <a:endParaRPr lang="en-US" dirty="0"/>
          </a:p>
        </p:txBody>
      </p:sp>
      <p:grpSp>
        <p:nvGrpSpPr>
          <p:cNvPr id="22" name="Group 21">
            <a:extLst>
              <a:ext uri="{FF2B5EF4-FFF2-40B4-BE49-F238E27FC236}">
                <a16:creationId xmlns:a16="http://schemas.microsoft.com/office/drawing/2014/main" id="{A4BC9035-C8AD-4FB6-A6BA-330B51880D4E}"/>
              </a:ext>
            </a:extLst>
          </p:cNvPr>
          <p:cNvGrpSpPr/>
          <p:nvPr/>
        </p:nvGrpSpPr>
        <p:grpSpPr bwMode="gray">
          <a:xfrm>
            <a:off x="336550" y="1933574"/>
            <a:ext cx="597600" cy="597600"/>
            <a:chOff x="3926446" y="-4145799"/>
            <a:chExt cx="597600" cy="597600"/>
          </a:xfrm>
        </p:grpSpPr>
        <p:sp>
          <p:nvSpPr>
            <p:cNvPr id="24" name="Text Box 240">
              <a:extLst>
                <a:ext uri="{FF2B5EF4-FFF2-40B4-BE49-F238E27FC236}">
                  <a16:creationId xmlns:a16="http://schemas.microsoft.com/office/drawing/2014/main" id="{010ABBBB-055C-40D6-8E73-7BC097BA351F}"/>
                </a:ext>
              </a:extLst>
            </p:cNvPr>
            <p:cNvSpPr txBox="1">
              <a:spLocks noChangeArrowheads="1"/>
            </p:cNvSpPr>
            <p:nvPr/>
          </p:nvSpPr>
          <p:spPr bwMode="gray">
            <a:xfrm>
              <a:off x="3926446" y="-4145799"/>
              <a:ext cx="597600" cy="597600"/>
            </a:xfrm>
            <a:prstGeom prst="ellipse">
              <a:avLst/>
            </a:prstGeom>
            <a:solidFill>
              <a:schemeClr val="bg1"/>
            </a:solidFill>
            <a:ln w="28575">
              <a:solidFill>
                <a:schemeClr val="tx2"/>
              </a:solid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25" name="Group 24">
              <a:extLst>
                <a:ext uri="{FF2B5EF4-FFF2-40B4-BE49-F238E27FC236}">
                  <a16:creationId xmlns:a16="http://schemas.microsoft.com/office/drawing/2014/main" id="{034D1458-A0CC-4F8C-9A06-AAA44FB90A6F}"/>
                </a:ext>
              </a:extLst>
            </p:cNvPr>
            <p:cNvGrpSpPr/>
            <p:nvPr/>
          </p:nvGrpSpPr>
          <p:grpSpPr bwMode="gray">
            <a:xfrm>
              <a:off x="3960774" y="-3928443"/>
              <a:ext cx="528943" cy="162889"/>
              <a:chOff x="5561561" y="3580012"/>
              <a:chExt cx="1068879" cy="329166"/>
            </a:xfrm>
            <a:solidFill>
              <a:schemeClr val="bg1"/>
            </a:solidFill>
          </p:grpSpPr>
          <p:sp>
            <p:nvSpPr>
              <p:cNvPr id="26" name="Oval 25">
                <a:extLst>
                  <a:ext uri="{FF2B5EF4-FFF2-40B4-BE49-F238E27FC236}">
                    <a16:creationId xmlns:a16="http://schemas.microsoft.com/office/drawing/2014/main" id="{B6A8C829-D003-425A-B96A-641A2D6A7793}"/>
                  </a:ext>
                </a:extLst>
              </p:cNvPr>
              <p:cNvSpPr/>
              <p:nvPr/>
            </p:nvSpPr>
            <p:spPr bwMode="gray">
              <a:xfrm>
                <a:off x="5561561" y="3580012"/>
                <a:ext cx="329166" cy="329166"/>
              </a:xfrm>
              <a:prstGeom prst="ellips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27" name="Oval 26">
                <a:extLst>
                  <a:ext uri="{FF2B5EF4-FFF2-40B4-BE49-F238E27FC236}">
                    <a16:creationId xmlns:a16="http://schemas.microsoft.com/office/drawing/2014/main" id="{539DAC44-7F76-4660-BB6C-BBC8AC97EEAA}"/>
                  </a:ext>
                </a:extLst>
              </p:cNvPr>
              <p:cNvSpPr/>
              <p:nvPr/>
            </p:nvSpPr>
            <p:spPr bwMode="gray">
              <a:xfrm>
                <a:off x="6301274" y="3580012"/>
                <a:ext cx="329166" cy="329166"/>
              </a:xfrm>
              <a:prstGeom prst="ellips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cxnSp>
            <p:nvCxnSpPr>
              <p:cNvPr id="28" name="Straight Connector 27">
                <a:extLst>
                  <a:ext uri="{FF2B5EF4-FFF2-40B4-BE49-F238E27FC236}">
                    <a16:creationId xmlns:a16="http://schemas.microsoft.com/office/drawing/2014/main" id="{C6C01666-7593-48FB-B82C-B9D052C9B3A0}"/>
                  </a:ext>
                </a:extLst>
              </p:cNvPr>
              <p:cNvCxnSpPr>
                <a:stCxn id="26" idx="6"/>
                <a:endCxn id="27" idx="2"/>
              </p:cNvCxnSpPr>
              <p:nvPr/>
            </p:nvCxnSpPr>
            <p:spPr bwMode="gray">
              <a:xfrm>
                <a:off x="5890727" y="3744595"/>
                <a:ext cx="410547" cy="0"/>
              </a:xfrm>
              <a:prstGeom prst="line">
                <a:avLst/>
              </a:prstGeom>
              <a:grpFill/>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88CA25-8DA7-4170-80A0-F3084A0BA987}"/>
                  </a:ext>
                </a:extLst>
              </p:cNvPr>
              <p:cNvCxnSpPr/>
              <p:nvPr/>
            </p:nvCxnSpPr>
            <p:spPr bwMode="gray">
              <a:xfrm>
                <a:off x="6062617" y="3669857"/>
                <a:ext cx="66766" cy="149477"/>
              </a:xfrm>
              <a:prstGeom prst="line">
                <a:avLst/>
              </a:prstGeom>
              <a:grpFill/>
              <a:ln w="19050">
                <a:solidFill>
                  <a:schemeClr val="tx2"/>
                </a:solidFill>
              </a:ln>
            </p:spPr>
            <p:style>
              <a:lnRef idx="1">
                <a:schemeClr val="accent1"/>
              </a:lnRef>
              <a:fillRef idx="0">
                <a:schemeClr val="accent1"/>
              </a:fillRef>
              <a:effectRef idx="0">
                <a:schemeClr val="accent1"/>
              </a:effectRef>
              <a:fontRef idx="minor">
                <a:schemeClr val="tx1"/>
              </a:fontRef>
            </p:style>
          </p:cxnSp>
        </p:grpSp>
      </p:grpSp>
      <p:pic>
        <p:nvPicPr>
          <p:cNvPr id="9" name="Picture 8">
            <a:extLst>
              <a:ext uri="{FF2B5EF4-FFF2-40B4-BE49-F238E27FC236}">
                <a16:creationId xmlns:a16="http://schemas.microsoft.com/office/drawing/2014/main" id="{DDDF63F6-2F26-40BB-B726-975225F481A8}"/>
              </a:ext>
            </a:extLst>
          </p:cNvPr>
          <p:cNvPicPr>
            <a:picLocks noChangeAspect="1"/>
          </p:cNvPicPr>
          <p:nvPr/>
        </p:nvPicPr>
        <p:blipFill>
          <a:blip r:embed="rId3"/>
          <a:stretch>
            <a:fillRect/>
          </a:stretch>
        </p:blipFill>
        <p:spPr>
          <a:xfrm>
            <a:off x="8378436" y="1601674"/>
            <a:ext cx="3458135" cy="3830230"/>
          </a:xfrm>
          <a:prstGeom prst="rect">
            <a:avLst/>
          </a:prstGeom>
        </p:spPr>
      </p:pic>
      <p:pic>
        <p:nvPicPr>
          <p:cNvPr id="13" name="Content Placeholder 12">
            <a:extLst>
              <a:ext uri="{FF2B5EF4-FFF2-40B4-BE49-F238E27FC236}">
                <a16:creationId xmlns:a16="http://schemas.microsoft.com/office/drawing/2014/main" id="{5CB0BADF-D831-445D-B725-BDA43D61EFCC}"/>
              </a:ext>
            </a:extLst>
          </p:cNvPr>
          <p:cNvPicPr>
            <a:picLocks noGrp="1" noChangeAspect="1"/>
          </p:cNvPicPr>
          <p:nvPr>
            <p:ph sz="quarter" idx="20"/>
          </p:nvPr>
        </p:nvPicPr>
        <p:blipFill>
          <a:blip r:embed="rId4"/>
          <a:stretch>
            <a:fillRect/>
          </a:stretch>
        </p:blipFill>
        <p:spPr>
          <a:xfrm>
            <a:off x="6613526" y="2653094"/>
            <a:ext cx="1839912" cy="1839912"/>
          </a:xfrm>
        </p:spPr>
      </p:pic>
      <p:sp>
        <p:nvSpPr>
          <p:cNvPr id="38" name="AutoShape 6">
            <a:hlinkClick r:id="rId5" action="ppaction://hlinksldjump" highlightClick="1"/>
            <a:extLst>
              <a:ext uri="{FF2B5EF4-FFF2-40B4-BE49-F238E27FC236}">
                <a16:creationId xmlns:a16="http://schemas.microsoft.com/office/drawing/2014/main" id="{C6FAFCAE-AD4A-4771-BEAE-47C8DA4CB7B9}"/>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pic>
        <p:nvPicPr>
          <p:cNvPr id="39" name="Content Placeholder 10">
            <a:extLst>
              <a:ext uri="{FF2B5EF4-FFF2-40B4-BE49-F238E27FC236}">
                <a16:creationId xmlns:a16="http://schemas.microsoft.com/office/drawing/2014/main" id="{5E574090-5BA5-4DE4-91F8-0ED5224A0E94}"/>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0262108" y="5448787"/>
            <a:ext cx="407558" cy="324000"/>
          </a:xfrm>
          <a:prstGeom prst="rect">
            <a:avLst/>
          </a:prstGeom>
          <a:noFill/>
          <a:ln w="9525">
            <a:noFill/>
            <a:miter lim="800000"/>
            <a:headEnd/>
            <a:tailEnd/>
          </a:ln>
        </p:spPr>
      </p:pic>
      <p:pic>
        <p:nvPicPr>
          <p:cNvPr id="40" name="Picture 11">
            <a:extLst>
              <a:ext uri="{FF2B5EF4-FFF2-40B4-BE49-F238E27FC236}">
                <a16:creationId xmlns:a16="http://schemas.microsoft.com/office/drawing/2014/main" id="{E62F684B-35BF-48CE-BA97-EED3122C7095}"/>
              </a:ext>
            </a:extLst>
          </p:cNvPr>
          <p:cNvPicPr>
            <a:picLocks noChangeAspect="1"/>
          </p:cNvPicPr>
          <p:nvPr/>
        </p:nvPicPr>
        <p:blipFill>
          <a:blip r:embed="rId7"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8542033" y="5351629"/>
            <a:ext cx="503823" cy="504000"/>
          </a:xfrm>
          <a:prstGeom prst="rect">
            <a:avLst/>
          </a:prstGeom>
          <a:noFill/>
          <a:ln w="9525">
            <a:noFill/>
            <a:miter lim="800000"/>
            <a:headEnd/>
            <a:tailEnd/>
          </a:ln>
        </p:spPr>
      </p:pic>
      <p:pic>
        <p:nvPicPr>
          <p:cNvPr id="41" name="Picture 40" descr="TÜV">
            <a:extLst>
              <a:ext uri="{FF2B5EF4-FFF2-40B4-BE49-F238E27FC236}">
                <a16:creationId xmlns:a16="http://schemas.microsoft.com/office/drawing/2014/main" id="{9DED9326-A734-48CA-B4AA-282C2C9EE3B2}"/>
              </a:ext>
            </a:extLst>
          </p:cNvPr>
          <p:cNvPicPr>
            <a:picLocks noChangeAspect="1" noChangeArrowheads="1"/>
          </p:cNvPicPr>
          <p:nvPr/>
        </p:nvPicPr>
        <p:blipFill rotWithShape="1">
          <a:blip r:embed="rId8"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bwMode="gray">
          <a:xfrm>
            <a:off x="6160526" y="5357114"/>
            <a:ext cx="667408" cy="50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5" descr="mcerts_logo1">
            <a:extLst>
              <a:ext uri="{FF2B5EF4-FFF2-40B4-BE49-F238E27FC236}">
                <a16:creationId xmlns:a16="http://schemas.microsoft.com/office/drawing/2014/main" id="{FBE8ABA6-C945-4B0A-8460-7691941AAFF7}"/>
              </a:ext>
            </a:extLst>
          </p:cNvPr>
          <p:cNvPicPr>
            <a:picLocks noChangeAspect="1" noChangeArrowheads="1"/>
          </p:cNvPicPr>
          <p:nvPr/>
        </p:nvPicPr>
        <p:blipFill rotWithShape="1">
          <a:blip r:embed="rId9" cstate="email">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rcRect r="5842"/>
          <a:stretch/>
        </p:blipFill>
        <p:spPr bwMode="gray">
          <a:xfrm>
            <a:off x="7432093" y="5377243"/>
            <a:ext cx="408788" cy="50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2">
            <a:extLst>
              <a:ext uri="{FF2B5EF4-FFF2-40B4-BE49-F238E27FC236}">
                <a16:creationId xmlns:a16="http://schemas.microsoft.com/office/drawing/2014/main" id="{27E132FC-E456-42DE-8912-E301723E2EE1}"/>
              </a:ext>
            </a:extLst>
          </p:cNvPr>
          <p:cNvPicPr>
            <a:picLocks noChangeAspect="1"/>
          </p:cNvPicPr>
          <p:nvPr/>
        </p:nvPicPr>
        <p:blipFill>
          <a:blip r:embed="rId10">
            <a:duotone>
              <a:schemeClr val="accent3">
                <a:shade val="45000"/>
                <a:satMod val="135000"/>
              </a:schemeClr>
              <a:prstClr val="white"/>
            </a:duotone>
          </a:blip>
          <a:stretch>
            <a:fillRect/>
          </a:stretch>
        </p:blipFill>
        <p:spPr bwMode="gray">
          <a:xfrm>
            <a:off x="6765830" y="5463567"/>
            <a:ext cx="644693" cy="360000"/>
          </a:xfrm>
          <a:prstGeom prst="rect">
            <a:avLst/>
          </a:prstGeom>
        </p:spPr>
      </p:pic>
      <p:pic>
        <p:nvPicPr>
          <p:cNvPr id="44" name="Picture 10">
            <a:extLst>
              <a:ext uri="{FF2B5EF4-FFF2-40B4-BE49-F238E27FC236}">
                <a16:creationId xmlns:a16="http://schemas.microsoft.com/office/drawing/2014/main" id="{AA13C109-7F74-4EB2-B5BB-3C1AB57C8627}"/>
              </a:ext>
            </a:extLst>
          </p:cNvPr>
          <p:cNvPicPr>
            <a:picLocks noChangeAspect="1"/>
          </p:cNvPicPr>
          <p:nvPr/>
        </p:nvPicPr>
        <p:blipFill>
          <a:blip r:embed="rId11"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1307006" y="5399375"/>
            <a:ext cx="395864" cy="396000"/>
          </a:xfrm>
          <a:prstGeom prst="rect">
            <a:avLst/>
          </a:prstGeom>
          <a:noFill/>
          <a:ln w="9525">
            <a:noFill/>
            <a:miter lim="800000"/>
            <a:headEnd/>
            <a:tailEnd/>
          </a:ln>
        </p:spPr>
      </p:pic>
      <p:pic>
        <p:nvPicPr>
          <p:cNvPr id="45" name="Grafik 20">
            <a:extLst>
              <a:ext uri="{FF2B5EF4-FFF2-40B4-BE49-F238E27FC236}">
                <a16:creationId xmlns:a16="http://schemas.microsoft.com/office/drawing/2014/main" id="{31D4BF1D-07B9-4957-8529-55F945878BB7}"/>
              </a:ext>
            </a:extLst>
          </p:cNvPr>
          <p:cNvPicPr>
            <a:picLocks noChangeAspect="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9149807" y="5410473"/>
            <a:ext cx="396000" cy="396000"/>
          </a:xfrm>
          <a:prstGeom prst="rect">
            <a:avLst/>
          </a:prstGeom>
        </p:spPr>
      </p:pic>
      <p:sp>
        <p:nvSpPr>
          <p:cNvPr id="46" name="Flowchart: Terminator 45">
            <a:extLst>
              <a:ext uri="{FF2B5EF4-FFF2-40B4-BE49-F238E27FC236}">
                <a16:creationId xmlns:a16="http://schemas.microsoft.com/office/drawing/2014/main" id="{334B3378-F518-45A3-B2D6-8D9143D676BB}"/>
              </a:ext>
            </a:extLst>
          </p:cNvPr>
          <p:cNvSpPr/>
          <p:nvPr/>
        </p:nvSpPr>
        <p:spPr bwMode="gray">
          <a:xfrm>
            <a:off x="6115965" y="5289992"/>
            <a:ext cx="1944425"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sp>
        <p:nvSpPr>
          <p:cNvPr id="47" name="Flowchart: Terminator 46">
            <a:extLst>
              <a:ext uri="{FF2B5EF4-FFF2-40B4-BE49-F238E27FC236}">
                <a16:creationId xmlns:a16="http://schemas.microsoft.com/office/drawing/2014/main" id="{C394BCD1-09A6-44AF-8CDB-DC153FFF44A7}"/>
              </a:ext>
            </a:extLst>
          </p:cNvPr>
          <p:cNvSpPr/>
          <p:nvPr/>
        </p:nvSpPr>
        <p:spPr bwMode="gray">
          <a:xfrm>
            <a:off x="10120342" y="5292283"/>
            <a:ext cx="1739381"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pic>
        <p:nvPicPr>
          <p:cNvPr id="48" name="Picture 47">
            <a:extLst>
              <a:ext uri="{FF2B5EF4-FFF2-40B4-BE49-F238E27FC236}">
                <a16:creationId xmlns:a16="http://schemas.microsoft.com/office/drawing/2014/main" id="{1BE8EEAA-DE1B-4913-895C-EAED544DF0A7}"/>
              </a:ext>
            </a:extLst>
          </p:cNvPr>
          <p:cNvPicPr>
            <a:picLocks noChangeAspect="1"/>
          </p:cNvPicPr>
          <p:nvPr/>
        </p:nvPicPr>
        <p:blipFill>
          <a:blip r:embed="rId13">
            <a:duotone>
              <a:schemeClr val="accent3">
                <a:shade val="45000"/>
                <a:satMod val="135000"/>
              </a:schemeClr>
              <a:prstClr val="white"/>
            </a:duotone>
          </a:blip>
          <a:stretch>
            <a:fillRect/>
          </a:stretch>
        </p:blipFill>
        <p:spPr>
          <a:xfrm>
            <a:off x="10760567" y="5448787"/>
            <a:ext cx="466725" cy="333375"/>
          </a:xfrm>
          <a:prstGeom prst="rect">
            <a:avLst/>
          </a:prstGeom>
        </p:spPr>
      </p:pic>
      <p:sp>
        <p:nvSpPr>
          <p:cNvPr id="49" name="Flowchart: Terminator 48">
            <a:extLst>
              <a:ext uri="{FF2B5EF4-FFF2-40B4-BE49-F238E27FC236}">
                <a16:creationId xmlns:a16="http://schemas.microsoft.com/office/drawing/2014/main" id="{DEE247BA-F5D4-4E1D-8D4D-E62BB439580F}"/>
              </a:ext>
            </a:extLst>
          </p:cNvPr>
          <p:cNvSpPr/>
          <p:nvPr/>
        </p:nvSpPr>
        <p:spPr bwMode="gray">
          <a:xfrm>
            <a:off x="8220675" y="5285144"/>
            <a:ext cx="1739381"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sp>
        <p:nvSpPr>
          <p:cNvPr id="50" name="TextBox 49">
            <a:extLst>
              <a:ext uri="{FF2B5EF4-FFF2-40B4-BE49-F238E27FC236}">
                <a16:creationId xmlns:a16="http://schemas.microsoft.com/office/drawing/2014/main" id="{2EEE1569-EE5B-4819-AAF3-F3F3C49628F1}"/>
              </a:ext>
            </a:extLst>
          </p:cNvPr>
          <p:cNvSpPr txBox="1"/>
          <p:nvPr/>
        </p:nvSpPr>
        <p:spPr bwMode="gray">
          <a:xfrm>
            <a:off x="6438716" y="5018249"/>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Emissions</a:t>
            </a:r>
            <a:endParaRPr lang="en-US" sz="1200" dirty="0" err="1">
              <a:solidFill>
                <a:schemeClr val="accent2"/>
              </a:solidFill>
            </a:endParaRPr>
          </a:p>
        </p:txBody>
      </p:sp>
      <p:sp>
        <p:nvSpPr>
          <p:cNvPr id="51" name="TextBox 50">
            <a:extLst>
              <a:ext uri="{FF2B5EF4-FFF2-40B4-BE49-F238E27FC236}">
                <a16:creationId xmlns:a16="http://schemas.microsoft.com/office/drawing/2014/main" id="{AA8116F2-B4B7-43EE-89AA-DC768BC8B33B}"/>
              </a:ext>
            </a:extLst>
          </p:cNvPr>
          <p:cNvSpPr txBox="1"/>
          <p:nvPr/>
        </p:nvSpPr>
        <p:spPr bwMode="gray">
          <a:xfrm>
            <a:off x="10347637" y="5008080"/>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Safety</a:t>
            </a:r>
            <a:endParaRPr lang="en-US" sz="1200" dirty="0" err="1">
              <a:solidFill>
                <a:schemeClr val="accent2"/>
              </a:solidFill>
            </a:endParaRPr>
          </a:p>
        </p:txBody>
      </p:sp>
      <p:sp>
        <p:nvSpPr>
          <p:cNvPr id="52" name="TextBox 51">
            <a:extLst>
              <a:ext uri="{FF2B5EF4-FFF2-40B4-BE49-F238E27FC236}">
                <a16:creationId xmlns:a16="http://schemas.microsoft.com/office/drawing/2014/main" id="{7BF21868-A8AB-42FE-A48C-6EC59EA9E1A9}"/>
              </a:ext>
            </a:extLst>
          </p:cNvPr>
          <p:cNvSpPr txBox="1"/>
          <p:nvPr/>
        </p:nvSpPr>
        <p:spPr bwMode="gray">
          <a:xfrm>
            <a:off x="8447970" y="5001466"/>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HazLoc</a:t>
            </a:r>
            <a:endParaRPr lang="en-US" sz="1200" dirty="0" err="1">
              <a:solidFill>
                <a:schemeClr val="accent2"/>
              </a:solidFill>
            </a:endParaRPr>
          </a:p>
        </p:txBody>
      </p:sp>
      <p:sp>
        <p:nvSpPr>
          <p:cNvPr id="32" name="Rectangle 31">
            <a:hlinkClick r:id="rId14" action="ppaction://hlinksldjump"/>
            <a:extLst>
              <a:ext uri="{FF2B5EF4-FFF2-40B4-BE49-F238E27FC236}">
                <a16:creationId xmlns:a16="http://schemas.microsoft.com/office/drawing/2014/main" id="{842DEE62-1FE0-45E0-BBB1-4E3A4E1623D1}"/>
              </a:ext>
            </a:extLst>
          </p:cNvPr>
          <p:cNvSpPr/>
          <p:nvPr/>
        </p:nvSpPr>
        <p:spPr bwMode="gray">
          <a:xfrm>
            <a:off x="336551" y="5542844"/>
            <a:ext cx="5759449" cy="3692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Tree>
    <p:custDataLst>
      <p:tags r:id="rId1"/>
    </p:custDataLst>
    <p:extLst>
      <p:ext uri="{BB962C8B-B14F-4D97-AF65-F5344CB8AC3E}">
        <p14:creationId xmlns:p14="http://schemas.microsoft.com/office/powerpoint/2010/main" val="117124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D467C53-A43B-4D1C-85FF-CDACD4C498D5}"/>
              </a:ext>
            </a:extLst>
          </p:cNvPr>
          <p:cNvSpPr>
            <a:spLocks noGrp="1"/>
          </p:cNvSpPr>
          <p:nvPr>
            <p:ph type="title"/>
          </p:nvPr>
        </p:nvSpPr>
        <p:spPr bwMode="gray"/>
        <p:txBody>
          <a:bodyPr/>
          <a:lstStyle/>
          <a:p>
            <a:r>
              <a:rPr lang="en-US" dirty="0" err="1"/>
              <a:t>EasyLine</a:t>
            </a:r>
            <a:r>
              <a:rPr lang="en-US" dirty="0"/>
              <a:t> Continuous Gas Analyzers</a:t>
            </a:r>
          </a:p>
        </p:txBody>
      </p:sp>
      <p:sp>
        <p:nvSpPr>
          <p:cNvPr id="4" name="Date Placeholder 3">
            <a:extLst>
              <a:ext uri="{FF2B5EF4-FFF2-40B4-BE49-F238E27FC236}">
                <a16:creationId xmlns:a16="http://schemas.microsoft.com/office/drawing/2014/main" id="{98844BF6-66EB-4F04-9122-61BFCF2C8B46}"/>
              </a:ext>
            </a:extLst>
          </p:cNvPr>
          <p:cNvSpPr>
            <a:spLocks noGrp="1"/>
          </p:cNvSpPr>
          <p:nvPr>
            <p:ph type="dt" sz="half" idx="14"/>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AB2352-921F-4DD8-A99A-A1474F6943FF}"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5" name="Footer Placeholder 4">
            <a:extLst>
              <a:ext uri="{FF2B5EF4-FFF2-40B4-BE49-F238E27FC236}">
                <a16:creationId xmlns:a16="http://schemas.microsoft.com/office/drawing/2014/main" id="{64AF5C42-3451-4ADA-B792-3353785F5048}"/>
              </a:ext>
            </a:extLst>
          </p:cNvPr>
          <p:cNvSpPr>
            <a:spLocks noGrp="1"/>
          </p:cNvSpPr>
          <p:nvPr>
            <p:ph type="ftr" sz="quarter" idx="15"/>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6" name="Slide Number Placeholder 5">
            <a:extLst>
              <a:ext uri="{FF2B5EF4-FFF2-40B4-BE49-F238E27FC236}">
                <a16:creationId xmlns:a16="http://schemas.microsoft.com/office/drawing/2014/main" id="{1A25F9FB-736A-4DED-98FB-79F4F03575E1}"/>
              </a:ext>
            </a:extLst>
          </p:cNvPr>
          <p:cNvSpPr>
            <a:spLocks noGrp="1"/>
          </p:cNvSpPr>
          <p:nvPr>
            <p:ph type="sldNum" sz="quarter" idx="16"/>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A9A9A9"/>
              </a:solidFill>
              <a:effectLst/>
              <a:uLnTx/>
              <a:uFillTx/>
              <a:latin typeface="ABBvoice"/>
              <a:ea typeface="ABBvoice"/>
              <a:cs typeface="ABBvoice"/>
            </a:endParaRPr>
          </a:p>
        </p:txBody>
      </p:sp>
      <p:sp>
        <p:nvSpPr>
          <p:cNvPr id="9" name="Subtitle 8">
            <a:extLst>
              <a:ext uri="{FF2B5EF4-FFF2-40B4-BE49-F238E27FC236}">
                <a16:creationId xmlns:a16="http://schemas.microsoft.com/office/drawing/2014/main" id="{5993D2F4-092F-41E4-97CA-AA9576F53CA1}"/>
              </a:ext>
            </a:extLst>
          </p:cNvPr>
          <p:cNvSpPr>
            <a:spLocks noGrp="1"/>
          </p:cNvSpPr>
          <p:nvPr>
            <p:ph type="subTitle" idx="13"/>
          </p:nvPr>
        </p:nvSpPr>
        <p:spPr bwMode="gray"/>
        <p:txBody>
          <a:bodyPr/>
          <a:lstStyle/>
          <a:p>
            <a:r>
              <a:rPr lang="en-US" dirty="0"/>
              <a:t>So smart, they’re simple</a:t>
            </a:r>
          </a:p>
        </p:txBody>
      </p:sp>
      <p:sp>
        <p:nvSpPr>
          <p:cNvPr id="10" name="Content Placeholder 3">
            <a:extLst>
              <a:ext uri="{FF2B5EF4-FFF2-40B4-BE49-F238E27FC236}">
                <a16:creationId xmlns:a16="http://schemas.microsoft.com/office/drawing/2014/main" id="{153215CD-3498-4F90-BA52-9312BEC75452}"/>
              </a:ext>
            </a:extLst>
          </p:cNvPr>
          <p:cNvSpPr txBox="1">
            <a:spLocks/>
          </p:cNvSpPr>
          <p:nvPr/>
        </p:nvSpPr>
        <p:spPr bwMode="gray">
          <a:xfrm>
            <a:off x="342316" y="1946274"/>
            <a:ext cx="5696534" cy="1920875"/>
          </a:xfrm>
          <a:prstGeom prst="rect">
            <a:avLst/>
          </a:prstGeom>
          <a:solidFill>
            <a:schemeClr val="accent5"/>
          </a:solidFill>
        </p:spPr>
        <p:txBody>
          <a:bodyPr lIns="91440" tIns="91440" rIns="1005840" bIns="9144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D90000"/>
                </a:solidFill>
                <a:effectLst/>
                <a:uLnTx/>
                <a:uFillTx/>
                <a:latin typeface="ABBvoice"/>
                <a:ea typeface="ABBvoice"/>
                <a:cs typeface="ABBvoice"/>
              </a:rPr>
              <a:t>     	   Easy configuration</a:t>
            </a:r>
          </a:p>
        </p:txBody>
      </p:sp>
      <p:sp>
        <p:nvSpPr>
          <p:cNvPr id="11" name="Content Placeholder 3">
            <a:extLst>
              <a:ext uri="{FF2B5EF4-FFF2-40B4-BE49-F238E27FC236}">
                <a16:creationId xmlns:a16="http://schemas.microsoft.com/office/drawing/2014/main" id="{84053288-BB2C-45A9-9493-E7AD84D61682}"/>
              </a:ext>
            </a:extLst>
          </p:cNvPr>
          <p:cNvSpPr txBox="1">
            <a:spLocks/>
          </p:cNvSpPr>
          <p:nvPr/>
        </p:nvSpPr>
        <p:spPr bwMode="gray">
          <a:xfrm>
            <a:off x="6160504" y="1946274"/>
            <a:ext cx="5696534" cy="1920875"/>
          </a:xfrm>
          <a:prstGeom prst="rect">
            <a:avLst/>
          </a:prstGeom>
          <a:solidFill>
            <a:schemeClr val="accent5"/>
          </a:solidFill>
        </p:spPr>
        <p:txBody>
          <a:bodyPr lIns="1280160" tIns="91440" rIns="45720" bIns="4572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D90000"/>
                </a:solidFill>
                <a:effectLst/>
                <a:uLnTx/>
                <a:uFillTx/>
                <a:latin typeface="ABBvoice"/>
                <a:ea typeface="ABBvoice"/>
                <a:cs typeface="ABBvoice"/>
              </a:rPr>
              <a:t>          Easy integration </a:t>
            </a:r>
          </a:p>
        </p:txBody>
      </p:sp>
      <p:sp>
        <p:nvSpPr>
          <p:cNvPr id="12" name="Content Placeholder 3">
            <a:extLst>
              <a:ext uri="{FF2B5EF4-FFF2-40B4-BE49-F238E27FC236}">
                <a16:creationId xmlns:a16="http://schemas.microsoft.com/office/drawing/2014/main" id="{CDEB1565-72D4-4F6D-BEDA-41D99A31F656}"/>
              </a:ext>
            </a:extLst>
          </p:cNvPr>
          <p:cNvSpPr txBox="1">
            <a:spLocks/>
          </p:cNvSpPr>
          <p:nvPr/>
        </p:nvSpPr>
        <p:spPr bwMode="gray">
          <a:xfrm>
            <a:off x="342316" y="3987427"/>
            <a:ext cx="5696534" cy="1920875"/>
          </a:xfrm>
          <a:prstGeom prst="rect">
            <a:avLst/>
          </a:prstGeom>
          <a:solidFill>
            <a:schemeClr val="accent5"/>
          </a:solidFill>
        </p:spPr>
        <p:txBody>
          <a:bodyPr lIns="91440" tIns="91440" rIns="1005840" bIns="9144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D90000"/>
                </a:solidFill>
                <a:effectLst/>
                <a:uLnTx/>
                <a:uFillTx/>
                <a:latin typeface="ABBvoice"/>
                <a:ea typeface="ABBvoice"/>
                <a:cs typeface="ABBvoice"/>
              </a:rPr>
              <a:t>	   Easy operation</a:t>
            </a:r>
          </a:p>
        </p:txBody>
      </p:sp>
      <p:sp>
        <p:nvSpPr>
          <p:cNvPr id="13" name="Content Placeholder 3">
            <a:extLst>
              <a:ext uri="{FF2B5EF4-FFF2-40B4-BE49-F238E27FC236}">
                <a16:creationId xmlns:a16="http://schemas.microsoft.com/office/drawing/2014/main" id="{CE2E9EC6-AD28-46BE-91B1-EFFB0A10D8EA}"/>
              </a:ext>
            </a:extLst>
          </p:cNvPr>
          <p:cNvSpPr txBox="1">
            <a:spLocks/>
          </p:cNvSpPr>
          <p:nvPr/>
        </p:nvSpPr>
        <p:spPr bwMode="gray">
          <a:xfrm>
            <a:off x="6160504" y="3987427"/>
            <a:ext cx="5696534" cy="1920875"/>
          </a:xfrm>
          <a:prstGeom prst="rect">
            <a:avLst/>
          </a:prstGeom>
          <a:solidFill>
            <a:schemeClr val="accent5"/>
          </a:solidFill>
        </p:spPr>
        <p:txBody>
          <a:bodyPr lIns="1280160" tIns="91440" rIns="45720" bIns="45720" anchor="ctr"/>
          <a:lstStyle>
            <a:lvl1pPr marL="0" indent="0" algn="ctr"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ctr"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ctr"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D90000"/>
                </a:solidFill>
                <a:effectLst/>
                <a:uLnTx/>
                <a:uFillTx/>
                <a:latin typeface="ABBvoice"/>
                <a:ea typeface="ABBvoice"/>
                <a:cs typeface="ABBvoice"/>
              </a:rPr>
              <a:t>       Easy maintenance</a:t>
            </a:r>
          </a:p>
        </p:txBody>
      </p:sp>
      <p:sp>
        <p:nvSpPr>
          <p:cNvPr id="2" name="Oval 1">
            <a:extLst>
              <a:ext uri="{FF2B5EF4-FFF2-40B4-BE49-F238E27FC236}">
                <a16:creationId xmlns:a16="http://schemas.microsoft.com/office/drawing/2014/main" id="{58D49552-7742-4F46-BE45-CFB297C06DE7}"/>
              </a:ext>
            </a:extLst>
          </p:cNvPr>
          <p:cNvSpPr/>
          <p:nvPr/>
        </p:nvSpPr>
        <p:spPr bwMode="gray">
          <a:xfrm>
            <a:off x="4683819" y="2527810"/>
            <a:ext cx="2817994" cy="281799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BBvoice"/>
              <a:ea typeface="ABBvoice"/>
              <a:cs typeface="ABBvoice"/>
            </a:endParaRPr>
          </a:p>
        </p:txBody>
      </p:sp>
      <p:pic>
        <p:nvPicPr>
          <p:cNvPr id="7" name="Picture 6">
            <a:extLst>
              <a:ext uri="{FF2B5EF4-FFF2-40B4-BE49-F238E27FC236}">
                <a16:creationId xmlns:a16="http://schemas.microsoft.com/office/drawing/2014/main" id="{3307D6B7-16BD-4A23-B724-0AF310B27737}"/>
              </a:ext>
            </a:extLst>
          </p:cNvPr>
          <p:cNvPicPr>
            <a:picLocks noChangeAspect="1"/>
          </p:cNvPicPr>
          <p:nvPr/>
        </p:nvPicPr>
        <p:blipFill rotWithShape="1">
          <a:blip r:embed="rId3"/>
          <a:srcRect l="5613" t="13912" r="5828" b="13529"/>
          <a:stretch/>
        </p:blipFill>
        <p:spPr bwMode="gray">
          <a:xfrm>
            <a:off x="5019039" y="3039442"/>
            <a:ext cx="2148055" cy="1759981"/>
          </a:xfrm>
          <a:prstGeom prst="rect">
            <a:avLst/>
          </a:prstGeom>
        </p:spPr>
      </p:pic>
      <p:grpSp>
        <p:nvGrpSpPr>
          <p:cNvPr id="15" name="Group 14">
            <a:extLst>
              <a:ext uri="{FF2B5EF4-FFF2-40B4-BE49-F238E27FC236}">
                <a16:creationId xmlns:a16="http://schemas.microsoft.com/office/drawing/2014/main" id="{48C1AA6A-CB40-4B9D-AEE9-7AA587FA39B6}"/>
              </a:ext>
            </a:extLst>
          </p:cNvPr>
          <p:cNvGrpSpPr>
            <a:grpSpLocks noChangeAspect="1"/>
          </p:cNvGrpSpPr>
          <p:nvPr/>
        </p:nvGrpSpPr>
        <p:grpSpPr bwMode="gray">
          <a:xfrm>
            <a:off x="531976" y="2497488"/>
            <a:ext cx="818449" cy="818446"/>
            <a:chOff x="8124850" y="1953405"/>
            <a:chExt cx="1993693" cy="1993686"/>
          </a:xfrm>
        </p:grpSpPr>
        <p:sp>
          <p:nvSpPr>
            <p:cNvPr id="16" name="Oval 15">
              <a:extLst>
                <a:ext uri="{FF2B5EF4-FFF2-40B4-BE49-F238E27FC236}">
                  <a16:creationId xmlns:a16="http://schemas.microsoft.com/office/drawing/2014/main" id="{CAEDC9F2-AD63-4DCC-8112-50425851BA75}"/>
                </a:ext>
              </a:extLst>
            </p:cNvPr>
            <p:cNvSpPr/>
            <p:nvPr/>
          </p:nvSpPr>
          <p:spPr bwMode="gray">
            <a:xfrm>
              <a:off x="8124850" y="1953405"/>
              <a:ext cx="1993693" cy="1993686"/>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17" name="Group 16">
              <a:extLst>
                <a:ext uri="{FF2B5EF4-FFF2-40B4-BE49-F238E27FC236}">
                  <a16:creationId xmlns:a16="http://schemas.microsoft.com/office/drawing/2014/main" id="{FA32F772-3D56-486F-808F-40EB5D2C2531}"/>
                </a:ext>
              </a:extLst>
            </p:cNvPr>
            <p:cNvGrpSpPr>
              <a:grpSpLocks noChangeAspect="1"/>
            </p:cNvGrpSpPr>
            <p:nvPr/>
          </p:nvGrpSpPr>
          <p:grpSpPr bwMode="gray">
            <a:xfrm>
              <a:off x="8400481" y="2463255"/>
              <a:ext cx="1442429" cy="1065121"/>
              <a:chOff x="8677106" y="2275997"/>
              <a:chExt cx="1037309" cy="765972"/>
            </a:xfrm>
          </p:grpSpPr>
          <p:sp>
            <p:nvSpPr>
              <p:cNvPr id="19" name="Snip Same Side Corner Rectangle 160">
                <a:extLst>
                  <a:ext uri="{FF2B5EF4-FFF2-40B4-BE49-F238E27FC236}">
                    <a16:creationId xmlns:a16="http://schemas.microsoft.com/office/drawing/2014/main" id="{20AD76B5-9FBD-40F5-8D5C-28CA52B59482}"/>
                  </a:ext>
                </a:extLst>
              </p:cNvPr>
              <p:cNvSpPr/>
              <p:nvPr/>
            </p:nvSpPr>
            <p:spPr bwMode="gray">
              <a:xfrm rot="10800000">
                <a:off x="8677106" y="2339858"/>
                <a:ext cx="702111" cy="702111"/>
              </a:xfrm>
              <a:custGeom>
                <a:avLst/>
                <a:gdLst/>
                <a:ahLst/>
                <a:cxnLst/>
                <a:rect l="l" t="t" r="r" b="b"/>
                <a:pathLst>
                  <a:path w="702111" h="702111">
                    <a:moveTo>
                      <a:pt x="351056" y="467261"/>
                    </a:moveTo>
                    <a:cubicBezTo>
                      <a:pt x="415234" y="467261"/>
                      <a:pt x="467261" y="415234"/>
                      <a:pt x="467261" y="351056"/>
                    </a:cubicBezTo>
                    <a:cubicBezTo>
                      <a:pt x="467261" y="286878"/>
                      <a:pt x="415234" y="234851"/>
                      <a:pt x="351056" y="234851"/>
                    </a:cubicBezTo>
                    <a:cubicBezTo>
                      <a:pt x="286878" y="234851"/>
                      <a:pt x="234851" y="286878"/>
                      <a:pt x="234851" y="351056"/>
                    </a:cubicBezTo>
                    <a:cubicBezTo>
                      <a:pt x="234851" y="415234"/>
                      <a:pt x="286878" y="467261"/>
                      <a:pt x="351056" y="467261"/>
                    </a:cubicBezTo>
                    <a:close/>
                    <a:moveTo>
                      <a:pt x="402490" y="702111"/>
                    </a:moveTo>
                    <a:lnTo>
                      <a:pt x="299620" y="702111"/>
                    </a:lnTo>
                    <a:lnTo>
                      <a:pt x="279618" y="682108"/>
                    </a:lnTo>
                    <a:lnTo>
                      <a:pt x="279618" y="599898"/>
                    </a:lnTo>
                    <a:cubicBezTo>
                      <a:pt x="260216" y="595594"/>
                      <a:pt x="242044" y="588007"/>
                      <a:pt x="225627" y="577512"/>
                    </a:cubicBezTo>
                    <a:lnTo>
                      <a:pt x="167480" y="635659"/>
                    </a:lnTo>
                    <a:lnTo>
                      <a:pt x="139191" y="635659"/>
                    </a:lnTo>
                    <a:lnTo>
                      <a:pt x="66451" y="562919"/>
                    </a:lnTo>
                    <a:lnTo>
                      <a:pt x="66452" y="534631"/>
                    </a:lnTo>
                    <a:lnTo>
                      <a:pt x="124599" y="476484"/>
                    </a:lnTo>
                    <a:cubicBezTo>
                      <a:pt x="114105" y="460067"/>
                      <a:pt x="106518" y="441895"/>
                      <a:pt x="102214" y="422493"/>
                    </a:cubicBezTo>
                    <a:lnTo>
                      <a:pt x="20003" y="422493"/>
                    </a:lnTo>
                    <a:lnTo>
                      <a:pt x="0" y="402490"/>
                    </a:lnTo>
                    <a:lnTo>
                      <a:pt x="0" y="299620"/>
                    </a:lnTo>
                    <a:lnTo>
                      <a:pt x="20003" y="279618"/>
                    </a:lnTo>
                    <a:lnTo>
                      <a:pt x="102214" y="279618"/>
                    </a:lnTo>
                    <a:cubicBezTo>
                      <a:pt x="106518" y="260217"/>
                      <a:pt x="114105" y="242044"/>
                      <a:pt x="124600" y="225628"/>
                    </a:cubicBezTo>
                    <a:lnTo>
                      <a:pt x="66452" y="167480"/>
                    </a:lnTo>
                    <a:lnTo>
                      <a:pt x="66452" y="139192"/>
                    </a:lnTo>
                    <a:lnTo>
                      <a:pt x="139192" y="66451"/>
                    </a:lnTo>
                    <a:lnTo>
                      <a:pt x="167480" y="66452"/>
                    </a:lnTo>
                    <a:lnTo>
                      <a:pt x="225627" y="124600"/>
                    </a:lnTo>
                    <a:cubicBezTo>
                      <a:pt x="242044" y="114105"/>
                      <a:pt x="260216" y="106518"/>
                      <a:pt x="279618" y="102214"/>
                    </a:cubicBezTo>
                    <a:lnTo>
                      <a:pt x="279618" y="20003"/>
                    </a:lnTo>
                    <a:lnTo>
                      <a:pt x="299621" y="0"/>
                    </a:lnTo>
                    <a:lnTo>
                      <a:pt x="402491" y="0"/>
                    </a:lnTo>
                    <a:lnTo>
                      <a:pt x="422493" y="20003"/>
                    </a:lnTo>
                    <a:lnTo>
                      <a:pt x="422493" y="102214"/>
                    </a:lnTo>
                    <a:cubicBezTo>
                      <a:pt x="441895" y="106518"/>
                      <a:pt x="460067" y="114105"/>
                      <a:pt x="476484" y="124599"/>
                    </a:cubicBezTo>
                    <a:lnTo>
                      <a:pt x="534631" y="66452"/>
                    </a:lnTo>
                    <a:lnTo>
                      <a:pt x="562919" y="66452"/>
                    </a:lnTo>
                    <a:lnTo>
                      <a:pt x="635659" y="139192"/>
                    </a:lnTo>
                    <a:lnTo>
                      <a:pt x="635659" y="167480"/>
                    </a:lnTo>
                    <a:lnTo>
                      <a:pt x="577512" y="225627"/>
                    </a:lnTo>
                    <a:cubicBezTo>
                      <a:pt x="588006" y="242044"/>
                      <a:pt x="595594" y="260216"/>
                      <a:pt x="599898" y="279618"/>
                    </a:cubicBezTo>
                    <a:lnTo>
                      <a:pt x="682108" y="279618"/>
                    </a:lnTo>
                    <a:lnTo>
                      <a:pt x="702111" y="299621"/>
                    </a:lnTo>
                    <a:lnTo>
                      <a:pt x="702111" y="402491"/>
                    </a:lnTo>
                    <a:lnTo>
                      <a:pt x="682108" y="422493"/>
                    </a:lnTo>
                    <a:lnTo>
                      <a:pt x="599898" y="422493"/>
                    </a:lnTo>
                    <a:cubicBezTo>
                      <a:pt x="595594" y="441895"/>
                      <a:pt x="588007" y="460068"/>
                      <a:pt x="577512" y="476485"/>
                    </a:cubicBezTo>
                    <a:lnTo>
                      <a:pt x="635659" y="534631"/>
                    </a:lnTo>
                    <a:lnTo>
                      <a:pt x="635659" y="562920"/>
                    </a:lnTo>
                    <a:lnTo>
                      <a:pt x="562919" y="635660"/>
                    </a:lnTo>
                    <a:lnTo>
                      <a:pt x="534631" y="635659"/>
                    </a:lnTo>
                    <a:lnTo>
                      <a:pt x="476485" y="577512"/>
                    </a:lnTo>
                    <a:cubicBezTo>
                      <a:pt x="460068" y="588007"/>
                      <a:pt x="441895" y="595594"/>
                      <a:pt x="422493" y="599898"/>
                    </a:cubicBezTo>
                    <a:lnTo>
                      <a:pt x="422493" y="682108"/>
                    </a:lnTo>
                    <a:close/>
                  </a:path>
                </a:pathLst>
              </a:cu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20" name="Snip Same Side Corner Rectangle 160">
                <a:extLst>
                  <a:ext uri="{FF2B5EF4-FFF2-40B4-BE49-F238E27FC236}">
                    <a16:creationId xmlns:a16="http://schemas.microsoft.com/office/drawing/2014/main" id="{BB208503-8B77-48C4-868D-658D46D838C0}"/>
                  </a:ext>
                </a:extLst>
              </p:cNvPr>
              <p:cNvSpPr/>
              <p:nvPr/>
            </p:nvSpPr>
            <p:spPr bwMode="gray">
              <a:xfrm rot="11962283">
                <a:off x="9300603" y="2275997"/>
                <a:ext cx="413812" cy="413812"/>
              </a:xfrm>
              <a:custGeom>
                <a:avLst/>
                <a:gdLst/>
                <a:ahLst/>
                <a:cxnLst/>
                <a:rect l="l" t="t" r="r" b="b"/>
                <a:pathLst>
                  <a:path w="702111" h="702111">
                    <a:moveTo>
                      <a:pt x="351056" y="467261"/>
                    </a:moveTo>
                    <a:cubicBezTo>
                      <a:pt x="415234" y="467261"/>
                      <a:pt x="467261" y="415234"/>
                      <a:pt x="467261" y="351056"/>
                    </a:cubicBezTo>
                    <a:cubicBezTo>
                      <a:pt x="467261" y="286878"/>
                      <a:pt x="415234" y="234851"/>
                      <a:pt x="351056" y="234851"/>
                    </a:cubicBezTo>
                    <a:cubicBezTo>
                      <a:pt x="286878" y="234851"/>
                      <a:pt x="234851" y="286878"/>
                      <a:pt x="234851" y="351056"/>
                    </a:cubicBezTo>
                    <a:cubicBezTo>
                      <a:pt x="234851" y="415234"/>
                      <a:pt x="286878" y="467261"/>
                      <a:pt x="351056" y="467261"/>
                    </a:cubicBezTo>
                    <a:close/>
                    <a:moveTo>
                      <a:pt x="402490" y="702111"/>
                    </a:moveTo>
                    <a:lnTo>
                      <a:pt x="299620" y="702111"/>
                    </a:lnTo>
                    <a:lnTo>
                      <a:pt x="279618" y="682108"/>
                    </a:lnTo>
                    <a:lnTo>
                      <a:pt x="279618" y="599898"/>
                    </a:lnTo>
                    <a:cubicBezTo>
                      <a:pt x="260216" y="595594"/>
                      <a:pt x="242044" y="588007"/>
                      <a:pt x="225627" y="577512"/>
                    </a:cubicBezTo>
                    <a:lnTo>
                      <a:pt x="167480" y="635659"/>
                    </a:lnTo>
                    <a:lnTo>
                      <a:pt x="139191" y="635659"/>
                    </a:lnTo>
                    <a:lnTo>
                      <a:pt x="66451" y="562919"/>
                    </a:lnTo>
                    <a:lnTo>
                      <a:pt x="66452" y="534631"/>
                    </a:lnTo>
                    <a:lnTo>
                      <a:pt x="124599" y="476484"/>
                    </a:lnTo>
                    <a:cubicBezTo>
                      <a:pt x="114105" y="460067"/>
                      <a:pt x="106518" y="441895"/>
                      <a:pt x="102214" y="422493"/>
                    </a:cubicBezTo>
                    <a:lnTo>
                      <a:pt x="20003" y="422493"/>
                    </a:lnTo>
                    <a:lnTo>
                      <a:pt x="0" y="402490"/>
                    </a:lnTo>
                    <a:lnTo>
                      <a:pt x="0" y="299620"/>
                    </a:lnTo>
                    <a:lnTo>
                      <a:pt x="20003" y="279618"/>
                    </a:lnTo>
                    <a:lnTo>
                      <a:pt x="102214" y="279618"/>
                    </a:lnTo>
                    <a:cubicBezTo>
                      <a:pt x="106518" y="260217"/>
                      <a:pt x="114105" y="242044"/>
                      <a:pt x="124600" y="225628"/>
                    </a:cubicBezTo>
                    <a:lnTo>
                      <a:pt x="66452" y="167480"/>
                    </a:lnTo>
                    <a:lnTo>
                      <a:pt x="66452" y="139192"/>
                    </a:lnTo>
                    <a:lnTo>
                      <a:pt x="139192" y="66451"/>
                    </a:lnTo>
                    <a:lnTo>
                      <a:pt x="167480" y="66452"/>
                    </a:lnTo>
                    <a:lnTo>
                      <a:pt x="225627" y="124600"/>
                    </a:lnTo>
                    <a:cubicBezTo>
                      <a:pt x="242044" y="114105"/>
                      <a:pt x="260216" y="106518"/>
                      <a:pt x="279618" y="102214"/>
                    </a:cubicBezTo>
                    <a:lnTo>
                      <a:pt x="279618" y="20003"/>
                    </a:lnTo>
                    <a:lnTo>
                      <a:pt x="299621" y="0"/>
                    </a:lnTo>
                    <a:lnTo>
                      <a:pt x="402491" y="0"/>
                    </a:lnTo>
                    <a:lnTo>
                      <a:pt x="422493" y="20003"/>
                    </a:lnTo>
                    <a:lnTo>
                      <a:pt x="422493" y="102214"/>
                    </a:lnTo>
                    <a:cubicBezTo>
                      <a:pt x="441895" y="106518"/>
                      <a:pt x="460067" y="114105"/>
                      <a:pt x="476484" y="124599"/>
                    </a:cubicBezTo>
                    <a:lnTo>
                      <a:pt x="534631" y="66452"/>
                    </a:lnTo>
                    <a:lnTo>
                      <a:pt x="562919" y="66452"/>
                    </a:lnTo>
                    <a:lnTo>
                      <a:pt x="635659" y="139192"/>
                    </a:lnTo>
                    <a:lnTo>
                      <a:pt x="635659" y="167480"/>
                    </a:lnTo>
                    <a:lnTo>
                      <a:pt x="577512" y="225627"/>
                    </a:lnTo>
                    <a:cubicBezTo>
                      <a:pt x="588006" y="242044"/>
                      <a:pt x="595594" y="260216"/>
                      <a:pt x="599898" y="279618"/>
                    </a:cubicBezTo>
                    <a:lnTo>
                      <a:pt x="682108" y="279618"/>
                    </a:lnTo>
                    <a:lnTo>
                      <a:pt x="702111" y="299621"/>
                    </a:lnTo>
                    <a:lnTo>
                      <a:pt x="702111" y="402491"/>
                    </a:lnTo>
                    <a:lnTo>
                      <a:pt x="682108" y="422493"/>
                    </a:lnTo>
                    <a:lnTo>
                      <a:pt x="599898" y="422493"/>
                    </a:lnTo>
                    <a:cubicBezTo>
                      <a:pt x="595594" y="441895"/>
                      <a:pt x="588007" y="460068"/>
                      <a:pt x="577512" y="476485"/>
                    </a:cubicBezTo>
                    <a:lnTo>
                      <a:pt x="635659" y="534631"/>
                    </a:lnTo>
                    <a:lnTo>
                      <a:pt x="635659" y="562920"/>
                    </a:lnTo>
                    <a:lnTo>
                      <a:pt x="562919" y="635660"/>
                    </a:lnTo>
                    <a:lnTo>
                      <a:pt x="534631" y="635659"/>
                    </a:lnTo>
                    <a:lnTo>
                      <a:pt x="476485" y="577512"/>
                    </a:lnTo>
                    <a:cubicBezTo>
                      <a:pt x="460068" y="588007"/>
                      <a:pt x="441895" y="595594"/>
                      <a:pt x="422493" y="599898"/>
                    </a:cubicBezTo>
                    <a:lnTo>
                      <a:pt x="422493" y="682108"/>
                    </a:lnTo>
                    <a:close/>
                  </a:path>
                </a:pathLst>
              </a:cu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nvGrpSpPr>
          <p:cNvPr id="21" name="Group 20">
            <a:extLst>
              <a:ext uri="{FF2B5EF4-FFF2-40B4-BE49-F238E27FC236}">
                <a16:creationId xmlns:a16="http://schemas.microsoft.com/office/drawing/2014/main" id="{F44B3494-C672-4476-BED3-B56021648280}"/>
              </a:ext>
            </a:extLst>
          </p:cNvPr>
          <p:cNvGrpSpPr>
            <a:grpSpLocks noChangeAspect="1"/>
          </p:cNvGrpSpPr>
          <p:nvPr/>
        </p:nvGrpSpPr>
        <p:grpSpPr bwMode="gray">
          <a:xfrm>
            <a:off x="10838975" y="2494889"/>
            <a:ext cx="821049" cy="821046"/>
            <a:chOff x="5802712" y="2234973"/>
            <a:chExt cx="571279" cy="571277"/>
          </a:xfrm>
        </p:grpSpPr>
        <p:sp>
          <p:nvSpPr>
            <p:cNvPr id="22" name="Oval 21">
              <a:extLst>
                <a:ext uri="{FF2B5EF4-FFF2-40B4-BE49-F238E27FC236}">
                  <a16:creationId xmlns:a16="http://schemas.microsoft.com/office/drawing/2014/main" id="{D1892353-A4A0-4573-8362-A0DE599EA938}"/>
                </a:ext>
              </a:extLst>
            </p:cNvPr>
            <p:cNvSpPr/>
            <p:nvPr/>
          </p:nvSpPr>
          <p:spPr bwMode="gray">
            <a:xfrm>
              <a:off x="5802712" y="2234973"/>
              <a:ext cx="571279" cy="571277"/>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23" name="Group 22">
              <a:extLst>
                <a:ext uri="{FF2B5EF4-FFF2-40B4-BE49-F238E27FC236}">
                  <a16:creationId xmlns:a16="http://schemas.microsoft.com/office/drawing/2014/main" id="{39EA8587-8ACB-4416-BD4B-9BA9100DE6E8}"/>
                </a:ext>
              </a:extLst>
            </p:cNvPr>
            <p:cNvGrpSpPr/>
            <p:nvPr/>
          </p:nvGrpSpPr>
          <p:grpSpPr bwMode="gray">
            <a:xfrm>
              <a:off x="5919587" y="2312876"/>
              <a:ext cx="330294" cy="377370"/>
              <a:chOff x="5909061" y="2544110"/>
              <a:chExt cx="705098" cy="805596"/>
            </a:xfrm>
          </p:grpSpPr>
          <p:sp>
            <p:nvSpPr>
              <p:cNvPr id="24" name="Trapezoid 23">
                <a:extLst>
                  <a:ext uri="{FF2B5EF4-FFF2-40B4-BE49-F238E27FC236}">
                    <a16:creationId xmlns:a16="http://schemas.microsoft.com/office/drawing/2014/main" id="{B775E88C-8FF1-4F1C-B7E8-030D5310146A}"/>
                  </a:ext>
                </a:extLst>
              </p:cNvPr>
              <p:cNvSpPr/>
              <p:nvPr/>
            </p:nvSpPr>
            <p:spPr bwMode="gray">
              <a:xfrm>
                <a:off x="5909061" y="2544110"/>
                <a:ext cx="365620" cy="805596"/>
              </a:xfrm>
              <a:prstGeom prst="trapezoid">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grpSp>
            <p:nvGrpSpPr>
              <p:cNvPr id="26" name="Group 25">
                <a:extLst>
                  <a:ext uri="{FF2B5EF4-FFF2-40B4-BE49-F238E27FC236}">
                    <a16:creationId xmlns:a16="http://schemas.microsoft.com/office/drawing/2014/main" id="{718CD995-51F6-4253-9702-526D1B2445B0}"/>
                  </a:ext>
                </a:extLst>
              </p:cNvPr>
              <p:cNvGrpSpPr/>
              <p:nvPr/>
            </p:nvGrpSpPr>
            <p:grpSpPr bwMode="gray">
              <a:xfrm>
                <a:off x="6032240" y="2941201"/>
                <a:ext cx="581919" cy="408505"/>
                <a:chOff x="6927340" y="4231102"/>
                <a:chExt cx="2136491" cy="1499809"/>
              </a:xfrm>
              <a:solidFill>
                <a:schemeClr val="bg1"/>
              </a:solidFill>
            </p:grpSpPr>
            <p:grpSp>
              <p:nvGrpSpPr>
                <p:cNvPr id="27" name="Group 26">
                  <a:extLst>
                    <a:ext uri="{FF2B5EF4-FFF2-40B4-BE49-F238E27FC236}">
                      <a16:creationId xmlns:a16="http://schemas.microsoft.com/office/drawing/2014/main" id="{D482BF4C-E133-4EAB-86C7-496DBEF20CA0}"/>
                    </a:ext>
                  </a:extLst>
                </p:cNvPr>
                <p:cNvGrpSpPr/>
                <p:nvPr/>
              </p:nvGrpSpPr>
              <p:grpSpPr bwMode="gray">
                <a:xfrm>
                  <a:off x="6927340" y="4231102"/>
                  <a:ext cx="869444" cy="359343"/>
                  <a:chOff x="6927340" y="4242623"/>
                  <a:chExt cx="869444" cy="359343"/>
                </a:xfrm>
                <a:grpFill/>
              </p:grpSpPr>
              <p:sp>
                <p:nvSpPr>
                  <p:cNvPr id="35" name="Rectangle 34">
                    <a:extLst>
                      <a:ext uri="{FF2B5EF4-FFF2-40B4-BE49-F238E27FC236}">
                        <a16:creationId xmlns:a16="http://schemas.microsoft.com/office/drawing/2014/main" id="{FA429E43-5618-4892-9296-CBB26A557B5A}"/>
                      </a:ext>
                    </a:extLst>
                  </p:cNvPr>
                  <p:cNvSpPr/>
                  <p:nvPr/>
                </p:nvSpPr>
                <p:spPr bwMode="gray">
                  <a:xfrm>
                    <a:off x="6927340" y="4377294"/>
                    <a:ext cx="783688" cy="90000"/>
                  </a:xfrm>
                  <a:prstGeom prst="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36" name="Rectangle 35">
                    <a:extLst>
                      <a:ext uri="{FF2B5EF4-FFF2-40B4-BE49-F238E27FC236}">
                        <a16:creationId xmlns:a16="http://schemas.microsoft.com/office/drawing/2014/main" id="{32DDF60D-A6A3-4EDE-A0A5-A9201399606E}"/>
                      </a:ext>
                    </a:extLst>
                  </p:cNvPr>
                  <p:cNvSpPr/>
                  <p:nvPr/>
                </p:nvSpPr>
                <p:spPr bwMode="gray">
                  <a:xfrm>
                    <a:off x="7709163" y="4242623"/>
                    <a:ext cx="87621" cy="359343"/>
                  </a:xfrm>
                  <a:prstGeom prst="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grpSp>
            <p:sp>
              <p:nvSpPr>
                <p:cNvPr id="28" name="Rectangle 27">
                  <a:extLst>
                    <a:ext uri="{FF2B5EF4-FFF2-40B4-BE49-F238E27FC236}">
                      <a16:creationId xmlns:a16="http://schemas.microsoft.com/office/drawing/2014/main" id="{18596015-4601-4378-92A5-64AA15D63252}"/>
                    </a:ext>
                  </a:extLst>
                </p:cNvPr>
                <p:cNvSpPr/>
                <p:nvPr/>
              </p:nvSpPr>
              <p:spPr bwMode="gray">
                <a:xfrm>
                  <a:off x="8309039" y="4231102"/>
                  <a:ext cx="754792" cy="1499809"/>
                </a:xfrm>
                <a:prstGeom prst="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29" name="Rectangle 788">
                  <a:extLst>
                    <a:ext uri="{FF2B5EF4-FFF2-40B4-BE49-F238E27FC236}">
                      <a16:creationId xmlns:a16="http://schemas.microsoft.com/office/drawing/2014/main" id="{DBBECCFF-C264-44C1-A16A-61C5597136E5}"/>
                    </a:ext>
                  </a:extLst>
                </p:cNvPr>
                <p:cNvSpPr/>
                <p:nvPr/>
              </p:nvSpPr>
              <p:spPr bwMode="gray">
                <a:xfrm>
                  <a:off x="8423682" y="4401108"/>
                  <a:ext cx="552638" cy="252028"/>
                </a:xfrm>
                <a:custGeom>
                  <a:avLst/>
                  <a:gdLst/>
                  <a:ahLst/>
                  <a:cxnLst/>
                  <a:rect l="l" t="t" r="r" b="b"/>
                  <a:pathLst>
                    <a:path w="552638" h="252028">
                      <a:moveTo>
                        <a:pt x="336614" y="58941"/>
                      </a:moveTo>
                      <a:lnTo>
                        <a:pt x="336614" y="175364"/>
                      </a:lnTo>
                      <a:lnTo>
                        <a:pt x="480630" y="175364"/>
                      </a:lnTo>
                      <a:lnTo>
                        <a:pt x="480630" y="58941"/>
                      </a:lnTo>
                      <a:close/>
                      <a:moveTo>
                        <a:pt x="48582" y="43701"/>
                      </a:moveTo>
                      <a:lnTo>
                        <a:pt x="48582" y="50901"/>
                      </a:lnTo>
                      <a:lnTo>
                        <a:pt x="95523" y="50901"/>
                      </a:lnTo>
                      <a:lnTo>
                        <a:pt x="95523" y="43701"/>
                      </a:lnTo>
                      <a:close/>
                      <a:moveTo>
                        <a:pt x="0" y="0"/>
                      </a:moveTo>
                      <a:lnTo>
                        <a:pt x="552638" y="0"/>
                      </a:lnTo>
                      <a:lnTo>
                        <a:pt x="552638" y="252028"/>
                      </a:lnTo>
                      <a:lnTo>
                        <a:pt x="0" y="252028"/>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30" name="Rectangle 788">
                  <a:extLst>
                    <a:ext uri="{FF2B5EF4-FFF2-40B4-BE49-F238E27FC236}">
                      <a16:creationId xmlns:a16="http://schemas.microsoft.com/office/drawing/2014/main" id="{DAEE130A-1992-4029-8FBB-9E2974E88B3F}"/>
                    </a:ext>
                  </a:extLst>
                </p:cNvPr>
                <p:cNvSpPr/>
                <p:nvPr/>
              </p:nvSpPr>
              <p:spPr bwMode="gray">
                <a:xfrm>
                  <a:off x="8423682" y="4647095"/>
                  <a:ext cx="552638" cy="252028"/>
                </a:xfrm>
                <a:custGeom>
                  <a:avLst/>
                  <a:gdLst>
                    <a:gd name="connsiteX0" fmla="*/ 336614 w 552638"/>
                    <a:gd name="connsiteY0" fmla="*/ 58941 h 252028"/>
                    <a:gd name="connsiteX1" fmla="*/ 336614 w 552638"/>
                    <a:gd name="connsiteY1" fmla="*/ 175364 h 252028"/>
                    <a:gd name="connsiteX2" fmla="*/ 480630 w 552638"/>
                    <a:gd name="connsiteY2" fmla="*/ 175364 h 252028"/>
                    <a:gd name="connsiteX3" fmla="*/ 336614 w 552638"/>
                    <a:gd name="connsiteY3" fmla="*/ 58941 h 252028"/>
                    <a:gd name="connsiteX4" fmla="*/ 48582 w 552638"/>
                    <a:gd name="connsiteY4" fmla="*/ 43701 h 252028"/>
                    <a:gd name="connsiteX5" fmla="*/ 48582 w 552638"/>
                    <a:gd name="connsiteY5" fmla="*/ 50901 h 252028"/>
                    <a:gd name="connsiteX6" fmla="*/ 95523 w 552638"/>
                    <a:gd name="connsiteY6" fmla="*/ 50901 h 252028"/>
                    <a:gd name="connsiteX7" fmla="*/ 95523 w 552638"/>
                    <a:gd name="connsiteY7" fmla="*/ 43701 h 252028"/>
                    <a:gd name="connsiteX8" fmla="*/ 48582 w 552638"/>
                    <a:gd name="connsiteY8" fmla="*/ 43701 h 252028"/>
                    <a:gd name="connsiteX9" fmla="*/ 0 w 552638"/>
                    <a:gd name="connsiteY9" fmla="*/ 0 h 252028"/>
                    <a:gd name="connsiteX10" fmla="*/ 552638 w 552638"/>
                    <a:gd name="connsiteY10" fmla="*/ 0 h 252028"/>
                    <a:gd name="connsiteX11" fmla="*/ 552638 w 552638"/>
                    <a:gd name="connsiteY11" fmla="*/ 252028 h 252028"/>
                    <a:gd name="connsiteX12" fmla="*/ 0 w 552638"/>
                    <a:gd name="connsiteY12" fmla="*/ 252028 h 252028"/>
                    <a:gd name="connsiteX13" fmla="*/ 0 w 552638"/>
                    <a:gd name="connsiteY13" fmla="*/ 0 h 252028"/>
                    <a:gd name="connsiteX0" fmla="*/ 480630 w 552638"/>
                    <a:gd name="connsiteY0" fmla="*/ 175364 h 252028"/>
                    <a:gd name="connsiteX1" fmla="*/ 336614 w 552638"/>
                    <a:gd name="connsiteY1" fmla="*/ 175364 h 252028"/>
                    <a:gd name="connsiteX2" fmla="*/ 480630 w 552638"/>
                    <a:gd name="connsiteY2" fmla="*/ 175364 h 252028"/>
                    <a:gd name="connsiteX3" fmla="*/ 48582 w 552638"/>
                    <a:gd name="connsiteY3" fmla="*/ 43701 h 252028"/>
                    <a:gd name="connsiteX4" fmla="*/ 48582 w 552638"/>
                    <a:gd name="connsiteY4" fmla="*/ 50901 h 252028"/>
                    <a:gd name="connsiteX5" fmla="*/ 95523 w 552638"/>
                    <a:gd name="connsiteY5" fmla="*/ 50901 h 252028"/>
                    <a:gd name="connsiteX6" fmla="*/ 95523 w 552638"/>
                    <a:gd name="connsiteY6" fmla="*/ 43701 h 252028"/>
                    <a:gd name="connsiteX7" fmla="*/ 48582 w 552638"/>
                    <a:gd name="connsiteY7" fmla="*/ 43701 h 252028"/>
                    <a:gd name="connsiteX8" fmla="*/ 0 w 552638"/>
                    <a:gd name="connsiteY8" fmla="*/ 0 h 252028"/>
                    <a:gd name="connsiteX9" fmla="*/ 552638 w 552638"/>
                    <a:gd name="connsiteY9" fmla="*/ 0 h 252028"/>
                    <a:gd name="connsiteX10" fmla="*/ 552638 w 552638"/>
                    <a:gd name="connsiteY10" fmla="*/ 252028 h 252028"/>
                    <a:gd name="connsiteX11" fmla="*/ 0 w 552638"/>
                    <a:gd name="connsiteY11" fmla="*/ 252028 h 252028"/>
                    <a:gd name="connsiteX12" fmla="*/ 0 w 552638"/>
                    <a:gd name="connsiteY12" fmla="*/ 0 h 252028"/>
                    <a:gd name="connsiteX0" fmla="*/ 48582 w 552638"/>
                    <a:gd name="connsiteY0" fmla="*/ 43701 h 252028"/>
                    <a:gd name="connsiteX1" fmla="*/ 48582 w 552638"/>
                    <a:gd name="connsiteY1" fmla="*/ 50901 h 252028"/>
                    <a:gd name="connsiteX2" fmla="*/ 95523 w 552638"/>
                    <a:gd name="connsiteY2" fmla="*/ 50901 h 252028"/>
                    <a:gd name="connsiteX3" fmla="*/ 95523 w 552638"/>
                    <a:gd name="connsiteY3" fmla="*/ 43701 h 252028"/>
                    <a:gd name="connsiteX4" fmla="*/ 48582 w 552638"/>
                    <a:gd name="connsiteY4" fmla="*/ 43701 h 252028"/>
                    <a:gd name="connsiteX5" fmla="*/ 0 w 552638"/>
                    <a:gd name="connsiteY5" fmla="*/ 0 h 252028"/>
                    <a:gd name="connsiteX6" fmla="*/ 552638 w 552638"/>
                    <a:gd name="connsiteY6" fmla="*/ 0 h 252028"/>
                    <a:gd name="connsiteX7" fmla="*/ 552638 w 552638"/>
                    <a:gd name="connsiteY7" fmla="*/ 252028 h 252028"/>
                    <a:gd name="connsiteX8" fmla="*/ 0 w 552638"/>
                    <a:gd name="connsiteY8" fmla="*/ 252028 h 252028"/>
                    <a:gd name="connsiteX9" fmla="*/ 0 w 552638"/>
                    <a:gd name="connsiteY9" fmla="*/ 0 h 25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638" h="252028">
                      <a:moveTo>
                        <a:pt x="48582" y="43701"/>
                      </a:moveTo>
                      <a:lnTo>
                        <a:pt x="48582" y="50901"/>
                      </a:lnTo>
                      <a:lnTo>
                        <a:pt x="95523" y="50901"/>
                      </a:lnTo>
                      <a:lnTo>
                        <a:pt x="95523" y="43701"/>
                      </a:lnTo>
                      <a:lnTo>
                        <a:pt x="48582" y="43701"/>
                      </a:lnTo>
                      <a:close/>
                      <a:moveTo>
                        <a:pt x="0" y="0"/>
                      </a:moveTo>
                      <a:lnTo>
                        <a:pt x="552638" y="0"/>
                      </a:lnTo>
                      <a:lnTo>
                        <a:pt x="552638" y="252028"/>
                      </a:lnTo>
                      <a:lnTo>
                        <a:pt x="0" y="252028"/>
                      </a:lnTo>
                      <a:lnTo>
                        <a:pt x="0" y="0"/>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31" name="Rectangle 788">
                  <a:extLst>
                    <a:ext uri="{FF2B5EF4-FFF2-40B4-BE49-F238E27FC236}">
                      <a16:creationId xmlns:a16="http://schemas.microsoft.com/office/drawing/2014/main" id="{680C298A-8AEF-4970-B27C-50CB6B538017}"/>
                    </a:ext>
                  </a:extLst>
                </p:cNvPr>
                <p:cNvSpPr/>
                <p:nvPr/>
              </p:nvSpPr>
              <p:spPr bwMode="gray">
                <a:xfrm>
                  <a:off x="8423682" y="4899310"/>
                  <a:ext cx="552638" cy="252028"/>
                </a:xfrm>
                <a:custGeom>
                  <a:avLst/>
                  <a:gdLst>
                    <a:gd name="connsiteX0" fmla="*/ 336614 w 552638"/>
                    <a:gd name="connsiteY0" fmla="*/ 58941 h 252028"/>
                    <a:gd name="connsiteX1" fmla="*/ 336614 w 552638"/>
                    <a:gd name="connsiteY1" fmla="*/ 175364 h 252028"/>
                    <a:gd name="connsiteX2" fmla="*/ 480630 w 552638"/>
                    <a:gd name="connsiteY2" fmla="*/ 175364 h 252028"/>
                    <a:gd name="connsiteX3" fmla="*/ 336614 w 552638"/>
                    <a:gd name="connsiteY3" fmla="*/ 58941 h 252028"/>
                    <a:gd name="connsiteX4" fmla="*/ 48582 w 552638"/>
                    <a:gd name="connsiteY4" fmla="*/ 43701 h 252028"/>
                    <a:gd name="connsiteX5" fmla="*/ 48582 w 552638"/>
                    <a:gd name="connsiteY5" fmla="*/ 50901 h 252028"/>
                    <a:gd name="connsiteX6" fmla="*/ 95523 w 552638"/>
                    <a:gd name="connsiteY6" fmla="*/ 50901 h 252028"/>
                    <a:gd name="connsiteX7" fmla="*/ 95523 w 552638"/>
                    <a:gd name="connsiteY7" fmla="*/ 43701 h 252028"/>
                    <a:gd name="connsiteX8" fmla="*/ 48582 w 552638"/>
                    <a:gd name="connsiteY8" fmla="*/ 43701 h 252028"/>
                    <a:gd name="connsiteX9" fmla="*/ 0 w 552638"/>
                    <a:gd name="connsiteY9" fmla="*/ 0 h 252028"/>
                    <a:gd name="connsiteX10" fmla="*/ 552638 w 552638"/>
                    <a:gd name="connsiteY10" fmla="*/ 0 h 252028"/>
                    <a:gd name="connsiteX11" fmla="*/ 552638 w 552638"/>
                    <a:gd name="connsiteY11" fmla="*/ 252028 h 252028"/>
                    <a:gd name="connsiteX12" fmla="*/ 0 w 552638"/>
                    <a:gd name="connsiteY12" fmla="*/ 252028 h 252028"/>
                    <a:gd name="connsiteX13" fmla="*/ 0 w 552638"/>
                    <a:gd name="connsiteY13" fmla="*/ 0 h 252028"/>
                    <a:gd name="connsiteX0" fmla="*/ 480630 w 552638"/>
                    <a:gd name="connsiteY0" fmla="*/ 175364 h 252028"/>
                    <a:gd name="connsiteX1" fmla="*/ 336614 w 552638"/>
                    <a:gd name="connsiteY1" fmla="*/ 175364 h 252028"/>
                    <a:gd name="connsiteX2" fmla="*/ 480630 w 552638"/>
                    <a:gd name="connsiteY2" fmla="*/ 175364 h 252028"/>
                    <a:gd name="connsiteX3" fmla="*/ 48582 w 552638"/>
                    <a:gd name="connsiteY3" fmla="*/ 43701 h 252028"/>
                    <a:gd name="connsiteX4" fmla="*/ 48582 w 552638"/>
                    <a:gd name="connsiteY4" fmla="*/ 50901 h 252028"/>
                    <a:gd name="connsiteX5" fmla="*/ 95523 w 552638"/>
                    <a:gd name="connsiteY5" fmla="*/ 50901 h 252028"/>
                    <a:gd name="connsiteX6" fmla="*/ 95523 w 552638"/>
                    <a:gd name="connsiteY6" fmla="*/ 43701 h 252028"/>
                    <a:gd name="connsiteX7" fmla="*/ 48582 w 552638"/>
                    <a:gd name="connsiteY7" fmla="*/ 43701 h 252028"/>
                    <a:gd name="connsiteX8" fmla="*/ 0 w 552638"/>
                    <a:gd name="connsiteY8" fmla="*/ 0 h 252028"/>
                    <a:gd name="connsiteX9" fmla="*/ 552638 w 552638"/>
                    <a:gd name="connsiteY9" fmla="*/ 0 h 252028"/>
                    <a:gd name="connsiteX10" fmla="*/ 552638 w 552638"/>
                    <a:gd name="connsiteY10" fmla="*/ 252028 h 252028"/>
                    <a:gd name="connsiteX11" fmla="*/ 0 w 552638"/>
                    <a:gd name="connsiteY11" fmla="*/ 252028 h 252028"/>
                    <a:gd name="connsiteX12" fmla="*/ 0 w 552638"/>
                    <a:gd name="connsiteY12" fmla="*/ 0 h 252028"/>
                    <a:gd name="connsiteX0" fmla="*/ 48582 w 552638"/>
                    <a:gd name="connsiteY0" fmla="*/ 43701 h 252028"/>
                    <a:gd name="connsiteX1" fmla="*/ 48582 w 552638"/>
                    <a:gd name="connsiteY1" fmla="*/ 50901 h 252028"/>
                    <a:gd name="connsiteX2" fmla="*/ 95523 w 552638"/>
                    <a:gd name="connsiteY2" fmla="*/ 50901 h 252028"/>
                    <a:gd name="connsiteX3" fmla="*/ 95523 w 552638"/>
                    <a:gd name="connsiteY3" fmla="*/ 43701 h 252028"/>
                    <a:gd name="connsiteX4" fmla="*/ 48582 w 552638"/>
                    <a:gd name="connsiteY4" fmla="*/ 43701 h 252028"/>
                    <a:gd name="connsiteX5" fmla="*/ 0 w 552638"/>
                    <a:gd name="connsiteY5" fmla="*/ 0 h 252028"/>
                    <a:gd name="connsiteX6" fmla="*/ 552638 w 552638"/>
                    <a:gd name="connsiteY6" fmla="*/ 0 h 252028"/>
                    <a:gd name="connsiteX7" fmla="*/ 552638 w 552638"/>
                    <a:gd name="connsiteY7" fmla="*/ 252028 h 252028"/>
                    <a:gd name="connsiteX8" fmla="*/ 0 w 552638"/>
                    <a:gd name="connsiteY8" fmla="*/ 252028 h 252028"/>
                    <a:gd name="connsiteX9" fmla="*/ 0 w 552638"/>
                    <a:gd name="connsiteY9" fmla="*/ 0 h 25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2638" h="252028">
                      <a:moveTo>
                        <a:pt x="48582" y="43701"/>
                      </a:moveTo>
                      <a:lnTo>
                        <a:pt x="48582" y="50901"/>
                      </a:lnTo>
                      <a:lnTo>
                        <a:pt x="95523" y="50901"/>
                      </a:lnTo>
                      <a:lnTo>
                        <a:pt x="95523" y="43701"/>
                      </a:lnTo>
                      <a:lnTo>
                        <a:pt x="48582" y="43701"/>
                      </a:lnTo>
                      <a:close/>
                      <a:moveTo>
                        <a:pt x="0" y="0"/>
                      </a:moveTo>
                      <a:lnTo>
                        <a:pt x="552638" y="0"/>
                      </a:lnTo>
                      <a:lnTo>
                        <a:pt x="552638" y="252028"/>
                      </a:lnTo>
                      <a:lnTo>
                        <a:pt x="0" y="252028"/>
                      </a:lnTo>
                      <a:lnTo>
                        <a:pt x="0" y="0"/>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32" name="Rectangle 793">
                  <a:extLst>
                    <a:ext uri="{FF2B5EF4-FFF2-40B4-BE49-F238E27FC236}">
                      <a16:creationId xmlns:a16="http://schemas.microsoft.com/office/drawing/2014/main" id="{0BE766B2-0E9E-4E59-8433-14DECCE9D403}"/>
                    </a:ext>
                  </a:extLst>
                </p:cNvPr>
                <p:cNvSpPr/>
                <p:nvPr/>
              </p:nvSpPr>
              <p:spPr bwMode="gray">
                <a:xfrm>
                  <a:off x="8423701" y="5326730"/>
                  <a:ext cx="262753" cy="241031"/>
                </a:xfrm>
                <a:custGeom>
                  <a:avLst/>
                  <a:gdLst/>
                  <a:ahLst/>
                  <a:cxnLst/>
                  <a:rect l="l" t="t" r="r" b="b"/>
                  <a:pathLst>
                    <a:path w="262753" h="241031">
                      <a:moveTo>
                        <a:pt x="178828" y="192226"/>
                      </a:moveTo>
                      <a:lnTo>
                        <a:pt x="178828" y="199426"/>
                      </a:lnTo>
                      <a:lnTo>
                        <a:pt x="224547" y="199426"/>
                      </a:lnTo>
                      <a:lnTo>
                        <a:pt x="224547" y="192226"/>
                      </a:lnTo>
                      <a:close/>
                      <a:moveTo>
                        <a:pt x="131377" y="18570"/>
                      </a:moveTo>
                      <a:cubicBezTo>
                        <a:pt x="101658" y="18570"/>
                        <a:pt x="77566" y="42662"/>
                        <a:pt x="77566" y="72381"/>
                      </a:cubicBezTo>
                      <a:cubicBezTo>
                        <a:pt x="77566" y="102100"/>
                        <a:pt x="101658" y="126192"/>
                        <a:pt x="131377" y="126192"/>
                      </a:cubicBezTo>
                      <a:cubicBezTo>
                        <a:pt x="161096" y="126192"/>
                        <a:pt x="185188" y="102100"/>
                        <a:pt x="185188" y="72381"/>
                      </a:cubicBezTo>
                      <a:cubicBezTo>
                        <a:pt x="185188" y="42662"/>
                        <a:pt x="161096" y="18570"/>
                        <a:pt x="131377" y="18570"/>
                      </a:cubicBezTo>
                      <a:close/>
                      <a:moveTo>
                        <a:pt x="0" y="0"/>
                      </a:moveTo>
                      <a:lnTo>
                        <a:pt x="262753" y="0"/>
                      </a:lnTo>
                      <a:lnTo>
                        <a:pt x="262753" y="241031"/>
                      </a:lnTo>
                      <a:lnTo>
                        <a:pt x="0" y="241031"/>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sp>
              <p:nvSpPr>
                <p:cNvPr id="33" name="Rectangle 794">
                  <a:extLst>
                    <a:ext uri="{FF2B5EF4-FFF2-40B4-BE49-F238E27FC236}">
                      <a16:creationId xmlns:a16="http://schemas.microsoft.com/office/drawing/2014/main" id="{A355A2A2-BAAE-4440-9515-DFDF955F97EE}"/>
                    </a:ext>
                  </a:extLst>
                </p:cNvPr>
                <p:cNvSpPr/>
                <p:nvPr/>
              </p:nvSpPr>
              <p:spPr bwMode="gray">
                <a:xfrm>
                  <a:off x="8686417" y="5326730"/>
                  <a:ext cx="262753" cy="241031"/>
                </a:xfrm>
                <a:custGeom>
                  <a:avLst/>
                  <a:gdLst/>
                  <a:ahLst/>
                  <a:cxnLst/>
                  <a:rect l="l" t="t" r="r" b="b"/>
                  <a:pathLst>
                    <a:path w="262753" h="241031">
                      <a:moveTo>
                        <a:pt x="181891" y="192226"/>
                      </a:moveTo>
                      <a:lnTo>
                        <a:pt x="181891" y="199426"/>
                      </a:lnTo>
                      <a:lnTo>
                        <a:pt x="227610" y="199426"/>
                      </a:lnTo>
                      <a:lnTo>
                        <a:pt x="227610" y="192226"/>
                      </a:lnTo>
                      <a:close/>
                      <a:moveTo>
                        <a:pt x="76455" y="37947"/>
                      </a:moveTo>
                      <a:lnTo>
                        <a:pt x="76455" y="106373"/>
                      </a:lnTo>
                      <a:lnTo>
                        <a:pt x="184003" y="106373"/>
                      </a:lnTo>
                      <a:lnTo>
                        <a:pt x="184003" y="37947"/>
                      </a:lnTo>
                      <a:close/>
                      <a:moveTo>
                        <a:pt x="0" y="0"/>
                      </a:moveTo>
                      <a:lnTo>
                        <a:pt x="262753" y="0"/>
                      </a:lnTo>
                      <a:lnTo>
                        <a:pt x="262753" y="241031"/>
                      </a:lnTo>
                      <a:lnTo>
                        <a:pt x="0" y="241031"/>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1100"/>
                    </a:spcBef>
                    <a:spcAft>
                      <a:spcPts val="0"/>
                    </a:spcAft>
                    <a:buClr>
                      <a:srgbClr val="D90000"/>
                    </a:buClr>
                    <a:buSzPct val="70000"/>
                    <a:buFont typeface="Wingdings" pitchFamily="2" charset="2"/>
                    <a:buNone/>
                    <a:tabLst/>
                    <a:defRPr/>
                  </a:pPr>
                  <a:endParaRPr kumimoji="0" lang="de-DE" sz="1800" b="0" i="0" u="none" strike="noStrike" kern="1200" cap="none" spc="0" normalizeH="0" baseline="0" noProof="0" dirty="0" err="1">
                    <a:ln>
                      <a:noFill/>
                    </a:ln>
                    <a:solidFill>
                      <a:srgbClr val="FFFFFF"/>
                    </a:solidFill>
                    <a:effectLst/>
                    <a:uLnTx/>
                    <a:uFillTx/>
                    <a:latin typeface="Arial" pitchFamily="34" charset="0"/>
                    <a:ea typeface="ABBvoice"/>
                    <a:cs typeface="Arial" pitchFamily="34" charset="0"/>
                  </a:endParaRPr>
                </a:p>
              </p:txBody>
            </p:sp>
            <p:cxnSp>
              <p:nvCxnSpPr>
                <p:cNvPr id="34" name="Elbow Connector 730">
                  <a:extLst>
                    <a:ext uri="{FF2B5EF4-FFF2-40B4-BE49-F238E27FC236}">
                      <a16:creationId xmlns:a16="http://schemas.microsoft.com/office/drawing/2014/main" id="{07F516F3-8204-450A-90FF-1BFB133DE158}"/>
                    </a:ext>
                  </a:extLst>
                </p:cNvPr>
                <p:cNvCxnSpPr>
                  <a:stCxn id="36" idx="3"/>
                  <a:endCxn id="28" idx="1"/>
                </p:cNvCxnSpPr>
                <p:nvPr/>
              </p:nvCxnSpPr>
              <p:spPr bwMode="gray">
                <a:xfrm>
                  <a:off x="7796784" y="4410774"/>
                  <a:ext cx="512255" cy="570233"/>
                </a:xfrm>
                <a:prstGeom prst="bentConnector3">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42" name="Group 41">
            <a:extLst>
              <a:ext uri="{FF2B5EF4-FFF2-40B4-BE49-F238E27FC236}">
                <a16:creationId xmlns:a16="http://schemas.microsoft.com/office/drawing/2014/main" id="{5CC149B9-5084-43E9-8793-E25C0CFDD1EB}"/>
              </a:ext>
            </a:extLst>
          </p:cNvPr>
          <p:cNvGrpSpPr>
            <a:grpSpLocks noChangeAspect="1"/>
          </p:cNvGrpSpPr>
          <p:nvPr/>
        </p:nvGrpSpPr>
        <p:grpSpPr bwMode="gray">
          <a:xfrm>
            <a:off x="532562" y="4511867"/>
            <a:ext cx="833938" cy="833935"/>
            <a:chOff x="4460522" y="3577164"/>
            <a:chExt cx="571277" cy="571275"/>
          </a:xfrm>
        </p:grpSpPr>
        <p:sp>
          <p:nvSpPr>
            <p:cNvPr id="43" name="Oval 42">
              <a:extLst>
                <a:ext uri="{FF2B5EF4-FFF2-40B4-BE49-F238E27FC236}">
                  <a16:creationId xmlns:a16="http://schemas.microsoft.com/office/drawing/2014/main" id="{501978F2-6CB1-4A3C-B73B-FFC220200BA4}"/>
                </a:ext>
              </a:extLst>
            </p:cNvPr>
            <p:cNvSpPr/>
            <p:nvPr/>
          </p:nvSpPr>
          <p:spPr bwMode="gray">
            <a:xfrm>
              <a:off x="4460522" y="3577164"/>
              <a:ext cx="571277" cy="571275"/>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44" name="Group 43">
              <a:extLst>
                <a:ext uri="{FF2B5EF4-FFF2-40B4-BE49-F238E27FC236}">
                  <a16:creationId xmlns:a16="http://schemas.microsoft.com/office/drawing/2014/main" id="{D4C97A16-0899-46E5-B47C-B32B2FA28CB9}"/>
                </a:ext>
              </a:extLst>
            </p:cNvPr>
            <p:cNvGrpSpPr/>
            <p:nvPr/>
          </p:nvGrpSpPr>
          <p:grpSpPr bwMode="gray">
            <a:xfrm>
              <a:off x="4599570" y="3674481"/>
              <a:ext cx="293180" cy="376641"/>
              <a:chOff x="4570500" y="2442210"/>
              <a:chExt cx="447501" cy="574893"/>
            </a:xfrm>
          </p:grpSpPr>
          <p:grpSp>
            <p:nvGrpSpPr>
              <p:cNvPr id="45" name="Group 44">
                <a:extLst>
                  <a:ext uri="{FF2B5EF4-FFF2-40B4-BE49-F238E27FC236}">
                    <a16:creationId xmlns:a16="http://schemas.microsoft.com/office/drawing/2014/main" id="{345B61CD-A9BB-459D-8932-9AA5BDCC0568}"/>
                  </a:ext>
                </a:extLst>
              </p:cNvPr>
              <p:cNvGrpSpPr/>
              <p:nvPr/>
            </p:nvGrpSpPr>
            <p:grpSpPr bwMode="gray">
              <a:xfrm rot="4500000">
                <a:off x="4662281" y="2390435"/>
                <a:ext cx="263940" cy="367490"/>
                <a:chOff x="10885376" y="954087"/>
                <a:chExt cx="243036" cy="338384"/>
              </a:xfrm>
              <a:solidFill>
                <a:schemeClr val="bg1"/>
              </a:solidFill>
            </p:grpSpPr>
            <p:sp>
              <p:nvSpPr>
                <p:cNvPr id="54" name="Rounded Rectangle 681">
                  <a:extLst>
                    <a:ext uri="{FF2B5EF4-FFF2-40B4-BE49-F238E27FC236}">
                      <a16:creationId xmlns:a16="http://schemas.microsoft.com/office/drawing/2014/main" id="{3556FC08-F294-4095-AEA0-8DD5B29832B1}"/>
                    </a:ext>
                  </a:extLst>
                </p:cNvPr>
                <p:cNvSpPr/>
                <p:nvPr/>
              </p:nvSpPr>
              <p:spPr bwMode="gray">
                <a:xfrm rot="900000">
                  <a:off x="10885376" y="954087"/>
                  <a:ext cx="243036" cy="338384"/>
                </a:xfrm>
                <a:prstGeom prst="roundRect">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5" name="Rounded Rectangle 682">
                  <a:extLst>
                    <a:ext uri="{FF2B5EF4-FFF2-40B4-BE49-F238E27FC236}">
                      <a16:creationId xmlns:a16="http://schemas.microsoft.com/office/drawing/2014/main" id="{9A081672-219E-47D7-B02B-DE7E01654CD3}"/>
                    </a:ext>
                  </a:extLst>
                </p:cNvPr>
                <p:cNvSpPr/>
                <p:nvPr/>
              </p:nvSpPr>
              <p:spPr bwMode="gray">
                <a:xfrm rot="900000">
                  <a:off x="10910203" y="974409"/>
                  <a:ext cx="167411" cy="290770"/>
                </a:xfrm>
                <a:prstGeom prst="roundRect">
                  <a:avLst>
                    <a:gd name="adj" fmla="val 9634"/>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nvGrpSpPr>
              <p:cNvPr id="46" name="Group 45">
                <a:extLst>
                  <a:ext uri="{FF2B5EF4-FFF2-40B4-BE49-F238E27FC236}">
                    <a16:creationId xmlns:a16="http://schemas.microsoft.com/office/drawing/2014/main" id="{368E8A65-C827-47FA-9542-BA61A08BF6FA}"/>
                  </a:ext>
                </a:extLst>
              </p:cNvPr>
              <p:cNvGrpSpPr/>
              <p:nvPr/>
            </p:nvGrpSpPr>
            <p:grpSpPr bwMode="gray">
              <a:xfrm>
                <a:off x="4570500" y="2486694"/>
                <a:ext cx="447501" cy="530409"/>
                <a:chOff x="9669203" y="206632"/>
                <a:chExt cx="804061" cy="953034"/>
              </a:xfrm>
              <a:solidFill>
                <a:schemeClr val="bg1"/>
              </a:solidFill>
            </p:grpSpPr>
            <p:sp>
              <p:nvSpPr>
                <p:cNvPr id="51" name="Rounded Rectangle 25">
                  <a:extLst>
                    <a:ext uri="{FF2B5EF4-FFF2-40B4-BE49-F238E27FC236}">
                      <a16:creationId xmlns:a16="http://schemas.microsoft.com/office/drawing/2014/main" id="{E349FD41-5A72-46E1-95EB-0B6203998C59}"/>
                    </a:ext>
                  </a:extLst>
                </p:cNvPr>
                <p:cNvSpPr/>
                <p:nvPr/>
              </p:nvSpPr>
              <p:spPr bwMode="gray">
                <a:xfrm rot="21372172" flipH="1">
                  <a:off x="9873222" y="561096"/>
                  <a:ext cx="412946" cy="239497"/>
                </a:xfrm>
                <a:custGeom>
                  <a:avLst/>
                  <a:gdLst/>
                  <a:ahLst/>
                  <a:cxnLst/>
                  <a:rect l="l" t="t" r="r" b="b"/>
                  <a:pathLst>
                    <a:path w="412946" h="239497">
                      <a:moveTo>
                        <a:pt x="412946" y="0"/>
                      </a:moveTo>
                      <a:lnTo>
                        <a:pt x="336086" y="50718"/>
                      </a:lnTo>
                      <a:lnTo>
                        <a:pt x="240000" y="58157"/>
                      </a:lnTo>
                      <a:lnTo>
                        <a:pt x="240064" y="59000"/>
                      </a:lnTo>
                      <a:lnTo>
                        <a:pt x="201710" y="61123"/>
                      </a:lnTo>
                      <a:lnTo>
                        <a:pt x="163411" y="64087"/>
                      </a:lnTo>
                      <a:lnTo>
                        <a:pt x="163363" y="63244"/>
                      </a:lnTo>
                      <a:lnTo>
                        <a:pt x="67137" y="68568"/>
                      </a:lnTo>
                      <a:lnTo>
                        <a:pt x="0" y="36075"/>
                      </a:lnTo>
                      <a:lnTo>
                        <a:pt x="6957" y="88249"/>
                      </a:lnTo>
                      <a:cubicBezTo>
                        <a:pt x="8814" y="102190"/>
                        <a:pt x="21596" y="111996"/>
                        <a:pt x="35524" y="110152"/>
                      </a:cubicBezTo>
                      <a:cubicBezTo>
                        <a:pt x="56981" y="172765"/>
                        <a:pt x="100502" y="220738"/>
                        <a:pt x="153345" y="239497"/>
                      </a:cubicBezTo>
                      <a:lnTo>
                        <a:pt x="226051" y="234672"/>
                      </a:lnTo>
                      <a:lnTo>
                        <a:pt x="287830" y="230571"/>
                      </a:lnTo>
                      <a:cubicBezTo>
                        <a:pt x="337731" y="204993"/>
                        <a:pt x="374528" y="151690"/>
                        <a:pt x="387522" y="86791"/>
                      </a:cubicBezTo>
                      <a:cubicBezTo>
                        <a:pt x="401573" y="86778"/>
                        <a:pt x="412945" y="75369"/>
                        <a:pt x="412946" y="61305"/>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2" name="Rounded Rectangle 43">
                  <a:extLst>
                    <a:ext uri="{FF2B5EF4-FFF2-40B4-BE49-F238E27FC236}">
                      <a16:creationId xmlns:a16="http://schemas.microsoft.com/office/drawing/2014/main" id="{03FEBF19-C95F-4A0E-95ED-02132F12BC52}"/>
                    </a:ext>
                  </a:extLst>
                </p:cNvPr>
                <p:cNvSpPr/>
                <p:nvPr/>
              </p:nvSpPr>
              <p:spPr bwMode="gray">
                <a:xfrm>
                  <a:off x="9833169" y="206632"/>
                  <a:ext cx="494794" cy="415822"/>
                </a:xfrm>
                <a:custGeom>
                  <a:avLst/>
                  <a:gdLst/>
                  <a:ahLst/>
                  <a:cxnLst/>
                  <a:rect l="l" t="t" r="r" b="b"/>
                  <a:pathLst>
                    <a:path w="494794" h="415822">
                      <a:moveTo>
                        <a:pt x="183237" y="0"/>
                      </a:moveTo>
                      <a:lnTo>
                        <a:pt x="212796" y="0"/>
                      </a:lnTo>
                      <a:lnTo>
                        <a:pt x="229220" y="0"/>
                      </a:lnTo>
                      <a:lnTo>
                        <a:pt x="233061" y="0"/>
                      </a:lnTo>
                      <a:lnTo>
                        <a:pt x="261733" y="0"/>
                      </a:lnTo>
                      <a:lnTo>
                        <a:pt x="265574" y="0"/>
                      </a:lnTo>
                      <a:lnTo>
                        <a:pt x="281998" y="0"/>
                      </a:lnTo>
                      <a:lnTo>
                        <a:pt x="311557" y="0"/>
                      </a:lnTo>
                      <a:cubicBezTo>
                        <a:pt x="327529" y="5063"/>
                        <a:pt x="338283" y="10270"/>
                        <a:pt x="344104" y="30378"/>
                      </a:cubicBezTo>
                      <a:cubicBezTo>
                        <a:pt x="349925" y="50486"/>
                        <a:pt x="342912" y="119114"/>
                        <a:pt x="346483" y="120651"/>
                      </a:cubicBezTo>
                      <a:lnTo>
                        <a:pt x="346483" y="39598"/>
                      </a:lnTo>
                      <a:cubicBezTo>
                        <a:pt x="435021" y="77636"/>
                        <a:pt x="470220" y="146216"/>
                        <a:pt x="470220" y="229974"/>
                      </a:cubicBezTo>
                      <a:lnTo>
                        <a:pt x="494794" y="256561"/>
                      </a:lnTo>
                      <a:lnTo>
                        <a:pt x="494794" y="323091"/>
                      </a:lnTo>
                      <a:cubicBezTo>
                        <a:pt x="494794" y="332277"/>
                        <a:pt x="481632" y="362584"/>
                        <a:pt x="472446" y="362584"/>
                      </a:cubicBezTo>
                      <a:lnTo>
                        <a:pt x="382167" y="413917"/>
                      </a:lnTo>
                      <a:lnTo>
                        <a:pt x="285800" y="414977"/>
                      </a:lnTo>
                      <a:lnTo>
                        <a:pt x="285808" y="415822"/>
                      </a:lnTo>
                      <a:lnTo>
                        <a:pt x="247397" y="415400"/>
                      </a:lnTo>
                      <a:lnTo>
                        <a:pt x="208986" y="415822"/>
                      </a:lnTo>
                      <a:lnTo>
                        <a:pt x="208994" y="414977"/>
                      </a:lnTo>
                      <a:lnTo>
                        <a:pt x="112627" y="413917"/>
                      </a:lnTo>
                      <a:lnTo>
                        <a:pt x="22348" y="362584"/>
                      </a:lnTo>
                      <a:cubicBezTo>
                        <a:pt x="13162" y="362584"/>
                        <a:pt x="0" y="332277"/>
                        <a:pt x="0" y="323091"/>
                      </a:cubicBezTo>
                      <a:lnTo>
                        <a:pt x="0" y="256561"/>
                      </a:lnTo>
                      <a:lnTo>
                        <a:pt x="24574" y="229974"/>
                      </a:lnTo>
                      <a:cubicBezTo>
                        <a:pt x="24574" y="146216"/>
                        <a:pt x="59773" y="77636"/>
                        <a:pt x="148311" y="39598"/>
                      </a:cubicBezTo>
                      <a:lnTo>
                        <a:pt x="148311" y="120651"/>
                      </a:lnTo>
                      <a:cubicBezTo>
                        <a:pt x="151882" y="119114"/>
                        <a:pt x="144869" y="50486"/>
                        <a:pt x="150690" y="30378"/>
                      </a:cubicBezTo>
                      <a:cubicBezTo>
                        <a:pt x="156511" y="10270"/>
                        <a:pt x="167265" y="5063"/>
                        <a:pt x="183237" y="0"/>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3" name="Freeform 680">
                  <a:extLst>
                    <a:ext uri="{FF2B5EF4-FFF2-40B4-BE49-F238E27FC236}">
                      <a16:creationId xmlns:a16="http://schemas.microsoft.com/office/drawing/2014/main" id="{D903CF62-020B-4257-BD5F-AE02ABE64B80}"/>
                    </a:ext>
                  </a:extLst>
                </p:cNvPr>
                <p:cNvSpPr/>
                <p:nvPr/>
              </p:nvSpPr>
              <p:spPr bwMode="gray">
                <a:xfrm>
                  <a:off x="9669203" y="796811"/>
                  <a:ext cx="804061" cy="362855"/>
                </a:xfrm>
                <a:custGeom>
                  <a:avLst/>
                  <a:gdLst/>
                  <a:ahLst/>
                  <a:cxnLst/>
                  <a:rect l="l" t="t" r="r" b="b"/>
                  <a:pathLst>
                    <a:path w="804061" h="362855">
                      <a:moveTo>
                        <a:pt x="278804" y="0"/>
                      </a:moveTo>
                      <a:lnTo>
                        <a:pt x="402030" y="1"/>
                      </a:lnTo>
                      <a:lnTo>
                        <a:pt x="525257" y="0"/>
                      </a:lnTo>
                      <a:lnTo>
                        <a:pt x="529040" y="46661"/>
                      </a:lnTo>
                      <a:cubicBezTo>
                        <a:pt x="559515" y="59091"/>
                        <a:pt x="668503" y="63518"/>
                        <a:pt x="708108" y="74580"/>
                      </a:cubicBezTo>
                      <a:cubicBezTo>
                        <a:pt x="715658" y="76689"/>
                        <a:pt x="721173" y="83243"/>
                        <a:pt x="727706" y="87575"/>
                      </a:cubicBezTo>
                      <a:cubicBezTo>
                        <a:pt x="751541" y="103326"/>
                        <a:pt x="758333" y="142326"/>
                        <a:pt x="773775" y="201578"/>
                      </a:cubicBezTo>
                      <a:cubicBezTo>
                        <a:pt x="785782" y="247651"/>
                        <a:pt x="798598" y="315021"/>
                        <a:pt x="804061" y="362855"/>
                      </a:cubicBezTo>
                      <a:lnTo>
                        <a:pt x="703683" y="362855"/>
                      </a:lnTo>
                      <a:lnTo>
                        <a:pt x="609251" y="362855"/>
                      </a:lnTo>
                      <a:lnTo>
                        <a:pt x="599307" y="362855"/>
                      </a:lnTo>
                      <a:lnTo>
                        <a:pt x="440537" y="362855"/>
                      </a:lnTo>
                      <a:lnTo>
                        <a:pt x="430593" y="362855"/>
                      </a:lnTo>
                      <a:lnTo>
                        <a:pt x="411872" y="362855"/>
                      </a:lnTo>
                      <a:lnTo>
                        <a:pt x="392189" y="362855"/>
                      </a:lnTo>
                      <a:lnTo>
                        <a:pt x="373468" y="362855"/>
                      </a:lnTo>
                      <a:lnTo>
                        <a:pt x="363524" y="362855"/>
                      </a:lnTo>
                      <a:lnTo>
                        <a:pt x="204754" y="362855"/>
                      </a:lnTo>
                      <a:lnTo>
                        <a:pt x="194810" y="362855"/>
                      </a:lnTo>
                      <a:lnTo>
                        <a:pt x="100378" y="362855"/>
                      </a:lnTo>
                      <a:lnTo>
                        <a:pt x="0" y="362855"/>
                      </a:lnTo>
                      <a:cubicBezTo>
                        <a:pt x="5463" y="315021"/>
                        <a:pt x="18279" y="247651"/>
                        <a:pt x="30286" y="201578"/>
                      </a:cubicBezTo>
                      <a:cubicBezTo>
                        <a:pt x="45728" y="142326"/>
                        <a:pt x="52520" y="103326"/>
                        <a:pt x="76355" y="87575"/>
                      </a:cubicBezTo>
                      <a:cubicBezTo>
                        <a:pt x="82888" y="83243"/>
                        <a:pt x="88403" y="76689"/>
                        <a:pt x="95953" y="74580"/>
                      </a:cubicBezTo>
                      <a:cubicBezTo>
                        <a:pt x="135558" y="63518"/>
                        <a:pt x="244546" y="59091"/>
                        <a:pt x="275021" y="46661"/>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nvGrpSpPr>
              <p:cNvPr id="47" name="Group 46">
                <a:extLst>
                  <a:ext uri="{FF2B5EF4-FFF2-40B4-BE49-F238E27FC236}">
                    <a16:creationId xmlns:a16="http://schemas.microsoft.com/office/drawing/2014/main" id="{FDCCDBF6-4C71-4CA2-A6E7-3A6F4460E15D}"/>
                  </a:ext>
                </a:extLst>
              </p:cNvPr>
              <p:cNvGrpSpPr/>
              <p:nvPr/>
            </p:nvGrpSpPr>
            <p:grpSpPr bwMode="gray">
              <a:xfrm>
                <a:off x="4570500" y="2486694"/>
                <a:ext cx="447501" cy="530409"/>
                <a:chOff x="9669203" y="206632"/>
                <a:chExt cx="804061" cy="953034"/>
              </a:xfrm>
              <a:solidFill>
                <a:schemeClr val="bg1"/>
              </a:solidFill>
            </p:grpSpPr>
            <p:sp>
              <p:nvSpPr>
                <p:cNvPr id="48" name="Rounded Rectangle 25">
                  <a:extLst>
                    <a:ext uri="{FF2B5EF4-FFF2-40B4-BE49-F238E27FC236}">
                      <a16:creationId xmlns:a16="http://schemas.microsoft.com/office/drawing/2014/main" id="{337CB811-AB59-4597-B47D-42ACA9CCC916}"/>
                    </a:ext>
                  </a:extLst>
                </p:cNvPr>
                <p:cNvSpPr/>
                <p:nvPr/>
              </p:nvSpPr>
              <p:spPr bwMode="gray">
                <a:xfrm rot="21372172" flipH="1">
                  <a:off x="9873222" y="561096"/>
                  <a:ext cx="412946" cy="239497"/>
                </a:xfrm>
                <a:custGeom>
                  <a:avLst/>
                  <a:gdLst/>
                  <a:ahLst/>
                  <a:cxnLst/>
                  <a:rect l="l" t="t" r="r" b="b"/>
                  <a:pathLst>
                    <a:path w="412946" h="239497">
                      <a:moveTo>
                        <a:pt x="412946" y="0"/>
                      </a:moveTo>
                      <a:lnTo>
                        <a:pt x="336086" y="50718"/>
                      </a:lnTo>
                      <a:lnTo>
                        <a:pt x="240000" y="58157"/>
                      </a:lnTo>
                      <a:lnTo>
                        <a:pt x="240064" y="59000"/>
                      </a:lnTo>
                      <a:lnTo>
                        <a:pt x="201710" y="61123"/>
                      </a:lnTo>
                      <a:lnTo>
                        <a:pt x="163411" y="64087"/>
                      </a:lnTo>
                      <a:lnTo>
                        <a:pt x="163363" y="63244"/>
                      </a:lnTo>
                      <a:lnTo>
                        <a:pt x="67137" y="68568"/>
                      </a:lnTo>
                      <a:lnTo>
                        <a:pt x="0" y="36075"/>
                      </a:lnTo>
                      <a:lnTo>
                        <a:pt x="6957" y="88249"/>
                      </a:lnTo>
                      <a:cubicBezTo>
                        <a:pt x="8814" y="102190"/>
                        <a:pt x="21596" y="111996"/>
                        <a:pt x="35524" y="110152"/>
                      </a:cubicBezTo>
                      <a:cubicBezTo>
                        <a:pt x="56981" y="172765"/>
                        <a:pt x="100502" y="220738"/>
                        <a:pt x="153345" y="239497"/>
                      </a:cubicBezTo>
                      <a:lnTo>
                        <a:pt x="226051" y="234672"/>
                      </a:lnTo>
                      <a:lnTo>
                        <a:pt x="287830" y="230571"/>
                      </a:lnTo>
                      <a:cubicBezTo>
                        <a:pt x="337731" y="204993"/>
                        <a:pt x="374528" y="151690"/>
                        <a:pt x="387522" y="86791"/>
                      </a:cubicBezTo>
                      <a:cubicBezTo>
                        <a:pt x="401573" y="86778"/>
                        <a:pt x="412945" y="75369"/>
                        <a:pt x="412946" y="61305"/>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49" name="Rounded Rectangle 43">
                  <a:extLst>
                    <a:ext uri="{FF2B5EF4-FFF2-40B4-BE49-F238E27FC236}">
                      <a16:creationId xmlns:a16="http://schemas.microsoft.com/office/drawing/2014/main" id="{BBA1DC7C-EC58-4442-874E-DA1A71CB3426}"/>
                    </a:ext>
                  </a:extLst>
                </p:cNvPr>
                <p:cNvSpPr/>
                <p:nvPr/>
              </p:nvSpPr>
              <p:spPr bwMode="gray">
                <a:xfrm>
                  <a:off x="9833169" y="206632"/>
                  <a:ext cx="494794" cy="415822"/>
                </a:xfrm>
                <a:custGeom>
                  <a:avLst/>
                  <a:gdLst/>
                  <a:ahLst/>
                  <a:cxnLst/>
                  <a:rect l="l" t="t" r="r" b="b"/>
                  <a:pathLst>
                    <a:path w="494794" h="415822">
                      <a:moveTo>
                        <a:pt x="183237" y="0"/>
                      </a:moveTo>
                      <a:lnTo>
                        <a:pt x="212796" y="0"/>
                      </a:lnTo>
                      <a:lnTo>
                        <a:pt x="229220" y="0"/>
                      </a:lnTo>
                      <a:lnTo>
                        <a:pt x="233061" y="0"/>
                      </a:lnTo>
                      <a:lnTo>
                        <a:pt x="261733" y="0"/>
                      </a:lnTo>
                      <a:lnTo>
                        <a:pt x="265574" y="0"/>
                      </a:lnTo>
                      <a:lnTo>
                        <a:pt x="281998" y="0"/>
                      </a:lnTo>
                      <a:lnTo>
                        <a:pt x="311557" y="0"/>
                      </a:lnTo>
                      <a:cubicBezTo>
                        <a:pt x="327529" y="5063"/>
                        <a:pt x="338283" y="10270"/>
                        <a:pt x="344104" y="30378"/>
                      </a:cubicBezTo>
                      <a:cubicBezTo>
                        <a:pt x="349925" y="50486"/>
                        <a:pt x="342912" y="119114"/>
                        <a:pt x="346483" y="120651"/>
                      </a:cubicBezTo>
                      <a:lnTo>
                        <a:pt x="346483" y="39598"/>
                      </a:lnTo>
                      <a:cubicBezTo>
                        <a:pt x="435021" y="77636"/>
                        <a:pt x="470220" y="146216"/>
                        <a:pt x="470220" y="229974"/>
                      </a:cubicBezTo>
                      <a:lnTo>
                        <a:pt x="494794" y="256561"/>
                      </a:lnTo>
                      <a:lnTo>
                        <a:pt x="494794" y="323091"/>
                      </a:lnTo>
                      <a:cubicBezTo>
                        <a:pt x="494794" y="332277"/>
                        <a:pt x="481632" y="362584"/>
                        <a:pt x="472446" y="362584"/>
                      </a:cubicBezTo>
                      <a:lnTo>
                        <a:pt x="382167" y="413917"/>
                      </a:lnTo>
                      <a:lnTo>
                        <a:pt x="285800" y="414977"/>
                      </a:lnTo>
                      <a:lnTo>
                        <a:pt x="285808" y="415822"/>
                      </a:lnTo>
                      <a:lnTo>
                        <a:pt x="247397" y="415400"/>
                      </a:lnTo>
                      <a:lnTo>
                        <a:pt x="208986" y="415822"/>
                      </a:lnTo>
                      <a:lnTo>
                        <a:pt x="208994" y="414977"/>
                      </a:lnTo>
                      <a:lnTo>
                        <a:pt x="112627" y="413917"/>
                      </a:lnTo>
                      <a:lnTo>
                        <a:pt x="22348" y="362584"/>
                      </a:lnTo>
                      <a:cubicBezTo>
                        <a:pt x="13162" y="362584"/>
                        <a:pt x="0" y="332277"/>
                        <a:pt x="0" y="323091"/>
                      </a:cubicBezTo>
                      <a:lnTo>
                        <a:pt x="0" y="256561"/>
                      </a:lnTo>
                      <a:lnTo>
                        <a:pt x="24574" y="229974"/>
                      </a:lnTo>
                      <a:cubicBezTo>
                        <a:pt x="24574" y="146216"/>
                        <a:pt x="59773" y="77636"/>
                        <a:pt x="148311" y="39598"/>
                      </a:cubicBezTo>
                      <a:lnTo>
                        <a:pt x="148311" y="120651"/>
                      </a:lnTo>
                      <a:cubicBezTo>
                        <a:pt x="151882" y="119114"/>
                        <a:pt x="144869" y="50486"/>
                        <a:pt x="150690" y="30378"/>
                      </a:cubicBezTo>
                      <a:cubicBezTo>
                        <a:pt x="156511" y="10270"/>
                        <a:pt x="167265" y="5063"/>
                        <a:pt x="183237" y="0"/>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sp>
              <p:nvSpPr>
                <p:cNvPr id="50" name="Freeform 677">
                  <a:extLst>
                    <a:ext uri="{FF2B5EF4-FFF2-40B4-BE49-F238E27FC236}">
                      <a16:creationId xmlns:a16="http://schemas.microsoft.com/office/drawing/2014/main" id="{ACBBB704-8B22-4BC3-9FB0-6D664F90CB76}"/>
                    </a:ext>
                  </a:extLst>
                </p:cNvPr>
                <p:cNvSpPr/>
                <p:nvPr/>
              </p:nvSpPr>
              <p:spPr bwMode="gray">
                <a:xfrm>
                  <a:off x="9669203" y="796811"/>
                  <a:ext cx="804061" cy="362855"/>
                </a:xfrm>
                <a:custGeom>
                  <a:avLst/>
                  <a:gdLst/>
                  <a:ahLst/>
                  <a:cxnLst/>
                  <a:rect l="l" t="t" r="r" b="b"/>
                  <a:pathLst>
                    <a:path w="804061" h="362855">
                      <a:moveTo>
                        <a:pt x="278804" y="0"/>
                      </a:moveTo>
                      <a:lnTo>
                        <a:pt x="402030" y="1"/>
                      </a:lnTo>
                      <a:lnTo>
                        <a:pt x="525257" y="0"/>
                      </a:lnTo>
                      <a:lnTo>
                        <a:pt x="529040" y="46661"/>
                      </a:lnTo>
                      <a:cubicBezTo>
                        <a:pt x="559515" y="59091"/>
                        <a:pt x="668503" y="63518"/>
                        <a:pt x="708108" y="74580"/>
                      </a:cubicBezTo>
                      <a:cubicBezTo>
                        <a:pt x="715658" y="76689"/>
                        <a:pt x="721173" y="83243"/>
                        <a:pt x="727706" y="87575"/>
                      </a:cubicBezTo>
                      <a:cubicBezTo>
                        <a:pt x="751541" y="103326"/>
                        <a:pt x="758333" y="142326"/>
                        <a:pt x="773775" y="201578"/>
                      </a:cubicBezTo>
                      <a:cubicBezTo>
                        <a:pt x="785782" y="247651"/>
                        <a:pt x="798598" y="315021"/>
                        <a:pt x="804061" y="362855"/>
                      </a:cubicBezTo>
                      <a:lnTo>
                        <a:pt x="703683" y="362855"/>
                      </a:lnTo>
                      <a:lnTo>
                        <a:pt x="609251" y="362855"/>
                      </a:lnTo>
                      <a:lnTo>
                        <a:pt x="599307" y="362855"/>
                      </a:lnTo>
                      <a:lnTo>
                        <a:pt x="440537" y="362855"/>
                      </a:lnTo>
                      <a:lnTo>
                        <a:pt x="430593" y="362855"/>
                      </a:lnTo>
                      <a:lnTo>
                        <a:pt x="411872" y="362855"/>
                      </a:lnTo>
                      <a:lnTo>
                        <a:pt x="392189" y="362855"/>
                      </a:lnTo>
                      <a:lnTo>
                        <a:pt x="373468" y="362855"/>
                      </a:lnTo>
                      <a:lnTo>
                        <a:pt x="363524" y="362855"/>
                      </a:lnTo>
                      <a:lnTo>
                        <a:pt x="204754" y="362855"/>
                      </a:lnTo>
                      <a:lnTo>
                        <a:pt x="194810" y="362855"/>
                      </a:lnTo>
                      <a:lnTo>
                        <a:pt x="100378" y="362855"/>
                      </a:lnTo>
                      <a:lnTo>
                        <a:pt x="0" y="362855"/>
                      </a:lnTo>
                      <a:cubicBezTo>
                        <a:pt x="5463" y="315021"/>
                        <a:pt x="18279" y="247651"/>
                        <a:pt x="30286" y="201578"/>
                      </a:cubicBezTo>
                      <a:cubicBezTo>
                        <a:pt x="45728" y="142326"/>
                        <a:pt x="52520" y="103326"/>
                        <a:pt x="76355" y="87575"/>
                      </a:cubicBezTo>
                      <a:cubicBezTo>
                        <a:pt x="82888" y="83243"/>
                        <a:pt x="88403" y="76689"/>
                        <a:pt x="95953" y="74580"/>
                      </a:cubicBezTo>
                      <a:cubicBezTo>
                        <a:pt x="135558" y="63518"/>
                        <a:pt x="244546" y="59091"/>
                        <a:pt x="275021" y="46661"/>
                      </a:cubicBez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grpSp>
      <p:grpSp>
        <p:nvGrpSpPr>
          <p:cNvPr id="56" name="Group 55">
            <a:extLst>
              <a:ext uri="{FF2B5EF4-FFF2-40B4-BE49-F238E27FC236}">
                <a16:creationId xmlns:a16="http://schemas.microsoft.com/office/drawing/2014/main" id="{954B0EF9-7F5B-4B6B-B2B5-A3A9C583F67C}"/>
              </a:ext>
            </a:extLst>
          </p:cNvPr>
          <p:cNvGrpSpPr>
            <a:grpSpLocks noChangeAspect="1"/>
          </p:cNvGrpSpPr>
          <p:nvPr/>
        </p:nvGrpSpPr>
        <p:grpSpPr bwMode="gray">
          <a:xfrm>
            <a:off x="10818596" y="4529560"/>
            <a:ext cx="840842" cy="840838"/>
            <a:chOff x="4853641" y="4526236"/>
            <a:chExt cx="571278" cy="571275"/>
          </a:xfrm>
        </p:grpSpPr>
        <p:sp>
          <p:nvSpPr>
            <p:cNvPr id="57" name="Oval 56">
              <a:extLst>
                <a:ext uri="{FF2B5EF4-FFF2-40B4-BE49-F238E27FC236}">
                  <a16:creationId xmlns:a16="http://schemas.microsoft.com/office/drawing/2014/main" id="{87629150-43BA-4492-AE7C-5FF90D4FBDCF}"/>
                </a:ext>
              </a:extLst>
            </p:cNvPr>
            <p:cNvSpPr/>
            <p:nvPr/>
          </p:nvSpPr>
          <p:spPr bwMode="gray">
            <a:xfrm>
              <a:off x="4853641" y="4526236"/>
              <a:ext cx="571278" cy="571275"/>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nvGrpSpPr>
            <p:cNvPr id="58" name="Group 57">
              <a:extLst>
                <a:ext uri="{FF2B5EF4-FFF2-40B4-BE49-F238E27FC236}">
                  <a16:creationId xmlns:a16="http://schemas.microsoft.com/office/drawing/2014/main" id="{4E309DC3-F9C0-48B3-8D98-471901F44347}"/>
                </a:ext>
              </a:extLst>
            </p:cNvPr>
            <p:cNvGrpSpPr/>
            <p:nvPr/>
          </p:nvGrpSpPr>
          <p:grpSpPr bwMode="gray">
            <a:xfrm>
              <a:off x="4986953" y="4617132"/>
              <a:ext cx="304654" cy="389482"/>
              <a:chOff x="4227228" y="-3516112"/>
              <a:chExt cx="695117" cy="888671"/>
            </a:xfrm>
            <a:solidFill>
              <a:schemeClr val="bg1"/>
            </a:solidFill>
          </p:grpSpPr>
          <p:grpSp>
            <p:nvGrpSpPr>
              <p:cNvPr id="59" name="Group 58">
                <a:extLst>
                  <a:ext uri="{FF2B5EF4-FFF2-40B4-BE49-F238E27FC236}">
                    <a16:creationId xmlns:a16="http://schemas.microsoft.com/office/drawing/2014/main" id="{89710BA6-B799-4143-8D04-7E432E286746}"/>
                  </a:ext>
                </a:extLst>
              </p:cNvPr>
              <p:cNvGrpSpPr/>
              <p:nvPr/>
            </p:nvGrpSpPr>
            <p:grpSpPr bwMode="gray">
              <a:xfrm rot="18900000">
                <a:off x="4543651" y="-3516112"/>
                <a:ext cx="112716" cy="888671"/>
                <a:chOff x="4536031" y="-3565642"/>
                <a:chExt cx="112716" cy="888671"/>
              </a:xfrm>
              <a:grpFill/>
            </p:grpSpPr>
            <p:sp>
              <p:nvSpPr>
                <p:cNvPr id="64" name="Snip Same Side Corner Rectangle 60">
                  <a:extLst>
                    <a:ext uri="{FF2B5EF4-FFF2-40B4-BE49-F238E27FC236}">
                      <a16:creationId xmlns:a16="http://schemas.microsoft.com/office/drawing/2014/main" id="{CFFC2E68-F46A-4E0F-A0D6-EF1F01F067A0}"/>
                    </a:ext>
                  </a:extLst>
                </p:cNvPr>
                <p:cNvSpPr/>
                <p:nvPr/>
              </p:nvSpPr>
              <p:spPr bwMode="gray">
                <a:xfrm>
                  <a:off x="4536031" y="-3565642"/>
                  <a:ext cx="112716" cy="513846"/>
                </a:xfrm>
                <a:custGeom>
                  <a:avLst/>
                  <a:gdLst/>
                  <a:ahLst/>
                  <a:cxnLst/>
                  <a:rect l="l" t="t" r="r" b="b"/>
                  <a:pathLst>
                    <a:path w="112716" h="513846">
                      <a:moveTo>
                        <a:pt x="10701" y="0"/>
                      </a:moveTo>
                      <a:lnTo>
                        <a:pt x="102015" y="0"/>
                      </a:lnTo>
                      <a:lnTo>
                        <a:pt x="112716" y="10701"/>
                      </a:lnTo>
                      <a:lnTo>
                        <a:pt x="112716" y="45216"/>
                      </a:lnTo>
                      <a:lnTo>
                        <a:pt x="112716" y="468630"/>
                      </a:lnTo>
                      <a:lnTo>
                        <a:pt x="112716" y="503145"/>
                      </a:lnTo>
                      <a:lnTo>
                        <a:pt x="102015" y="513846"/>
                      </a:lnTo>
                      <a:lnTo>
                        <a:pt x="10701" y="513846"/>
                      </a:lnTo>
                      <a:lnTo>
                        <a:pt x="0" y="503145"/>
                      </a:lnTo>
                      <a:lnTo>
                        <a:pt x="0" y="468630"/>
                      </a:lnTo>
                      <a:lnTo>
                        <a:pt x="0" y="45216"/>
                      </a:lnTo>
                      <a:lnTo>
                        <a:pt x="0" y="10701"/>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65" name="Straight Connector 64">
                  <a:extLst>
                    <a:ext uri="{FF2B5EF4-FFF2-40B4-BE49-F238E27FC236}">
                      <a16:creationId xmlns:a16="http://schemas.microsoft.com/office/drawing/2014/main" id="{91EAF1D3-F0E5-4B86-B0C5-39854234D8F5}"/>
                    </a:ext>
                  </a:extLst>
                </p:cNvPr>
                <p:cNvCxnSpPr/>
                <p:nvPr/>
              </p:nvCxnSpPr>
              <p:spPr bwMode="gray">
                <a:xfrm>
                  <a:off x="4592389" y="-3521120"/>
                  <a:ext cx="0" cy="4248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66" name="Straight Connector 65">
                  <a:extLst>
                    <a:ext uri="{FF2B5EF4-FFF2-40B4-BE49-F238E27FC236}">
                      <a16:creationId xmlns:a16="http://schemas.microsoft.com/office/drawing/2014/main" id="{0E884422-DAF3-450F-B990-A789B7C76CFC}"/>
                    </a:ext>
                  </a:extLst>
                </p:cNvPr>
                <p:cNvCxnSpPr/>
                <p:nvPr/>
              </p:nvCxnSpPr>
              <p:spPr bwMode="gray">
                <a:xfrm>
                  <a:off x="4592389" y="-3041571"/>
                  <a:ext cx="0" cy="2376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67" name="Snip Same Side Corner Rectangle 69">
                  <a:extLst>
                    <a:ext uri="{FF2B5EF4-FFF2-40B4-BE49-F238E27FC236}">
                      <a16:creationId xmlns:a16="http://schemas.microsoft.com/office/drawing/2014/main" id="{133C0A82-2C20-4FC4-8E44-A21273C588AD}"/>
                    </a:ext>
                  </a:extLst>
                </p:cNvPr>
                <p:cNvSpPr/>
                <p:nvPr/>
              </p:nvSpPr>
              <p:spPr bwMode="gray">
                <a:xfrm rot="10800000">
                  <a:off x="4560620" y="-2790458"/>
                  <a:ext cx="63538" cy="66860"/>
                </a:xfrm>
                <a:custGeom>
                  <a:avLst/>
                  <a:gdLst/>
                  <a:ahLst/>
                  <a:cxnLst/>
                  <a:rect l="l" t="t" r="r" b="b"/>
                  <a:pathLst>
                    <a:path w="63538" h="66860">
                      <a:moveTo>
                        <a:pt x="55918" y="66860"/>
                      </a:moveTo>
                      <a:lnTo>
                        <a:pt x="7620" y="66860"/>
                      </a:lnTo>
                      <a:lnTo>
                        <a:pt x="0" y="59240"/>
                      </a:lnTo>
                      <a:lnTo>
                        <a:pt x="0" y="45719"/>
                      </a:lnTo>
                      <a:lnTo>
                        <a:pt x="0" y="21141"/>
                      </a:lnTo>
                      <a:lnTo>
                        <a:pt x="0" y="7620"/>
                      </a:lnTo>
                      <a:lnTo>
                        <a:pt x="7620" y="0"/>
                      </a:lnTo>
                      <a:lnTo>
                        <a:pt x="55918" y="0"/>
                      </a:lnTo>
                      <a:lnTo>
                        <a:pt x="63538" y="7620"/>
                      </a:lnTo>
                      <a:lnTo>
                        <a:pt x="63538" y="21141"/>
                      </a:lnTo>
                      <a:lnTo>
                        <a:pt x="63538" y="45719"/>
                      </a:lnTo>
                      <a:lnTo>
                        <a:pt x="63538" y="59240"/>
                      </a:lnTo>
                      <a:close/>
                    </a:path>
                  </a:pathLst>
                </a:cu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68" name="Straight Connector 67">
                  <a:extLst>
                    <a:ext uri="{FF2B5EF4-FFF2-40B4-BE49-F238E27FC236}">
                      <a16:creationId xmlns:a16="http://schemas.microsoft.com/office/drawing/2014/main" id="{73100311-CA38-4EAF-A624-F2F09DC8822A}"/>
                    </a:ext>
                  </a:extLst>
                </p:cNvPr>
                <p:cNvCxnSpPr/>
                <p:nvPr/>
              </p:nvCxnSpPr>
              <p:spPr bwMode="gray">
                <a:xfrm>
                  <a:off x="4592389" y="-2712971"/>
                  <a:ext cx="0" cy="360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grpSp>
          <p:sp>
            <p:nvSpPr>
              <p:cNvPr id="60" name="Oval 73">
                <a:extLst>
                  <a:ext uri="{FF2B5EF4-FFF2-40B4-BE49-F238E27FC236}">
                    <a16:creationId xmlns:a16="http://schemas.microsoft.com/office/drawing/2014/main" id="{B122145E-3151-4E24-A8B4-3DD7E88C8180}"/>
                  </a:ext>
                </a:extLst>
              </p:cNvPr>
              <p:cNvSpPr/>
              <p:nvPr/>
            </p:nvSpPr>
            <p:spPr bwMode="gray">
              <a:xfrm>
                <a:off x="4227228" y="-2948375"/>
                <a:ext cx="199701" cy="201640"/>
              </a:xfrm>
              <a:custGeom>
                <a:avLst/>
                <a:gdLst>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7" fmla="*/ 189584 w 201640"/>
                  <a:gd name="connsiteY7" fmla="*/ 192429 h 201640"/>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193986"/>
                  <a:gd name="connsiteY0" fmla="*/ 97179 h 201640"/>
                  <a:gd name="connsiteX1" fmla="*/ 93166 w 193986"/>
                  <a:gd name="connsiteY1" fmla="*/ 0 h 201640"/>
                  <a:gd name="connsiteX2" fmla="*/ 193986 w 193986"/>
                  <a:gd name="connsiteY2" fmla="*/ 100820 h 201640"/>
                  <a:gd name="connsiteX3" fmla="*/ 93166 w 193986"/>
                  <a:gd name="connsiteY3" fmla="*/ 201640 h 201640"/>
                  <a:gd name="connsiteX0" fmla="*/ 0 w 199701"/>
                  <a:gd name="connsiteY0" fmla="*/ 97179 h 201640"/>
                  <a:gd name="connsiteX1" fmla="*/ 98881 w 199701"/>
                  <a:gd name="connsiteY1" fmla="*/ 0 h 201640"/>
                  <a:gd name="connsiteX2" fmla="*/ 199701 w 199701"/>
                  <a:gd name="connsiteY2" fmla="*/ 100820 h 201640"/>
                  <a:gd name="connsiteX3" fmla="*/ 98881 w 199701"/>
                  <a:gd name="connsiteY3" fmla="*/ 201640 h 201640"/>
                </a:gdLst>
                <a:ahLst/>
                <a:cxnLst>
                  <a:cxn ang="0">
                    <a:pos x="connsiteX0" y="connsiteY0"/>
                  </a:cxn>
                  <a:cxn ang="0">
                    <a:pos x="connsiteX1" y="connsiteY1"/>
                  </a:cxn>
                  <a:cxn ang="0">
                    <a:pos x="connsiteX2" y="connsiteY2"/>
                  </a:cxn>
                  <a:cxn ang="0">
                    <a:pos x="connsiteX3" y="connsiteY3"/>
                  </a:cxn>
                </a:cxnLst>
                <a:rect l="l" t="t" r="r" b="b"/>
                <a:pathLst>
                  <a:path w="199701" h="201640">
                    <a:moveTo>
                      <a:pt x="0" y="97179"/>
                    </a:moveTo>
                    <a:cubicBezTo>
                      <a:pt x="42" y="38040"/>
                      <a:pt x="51945" y="28"/>
                      <a:pt x="98881" y="0"/>
                    </a:cubicBezTo>
                    <a:cubicBezTo>
                      <a:pt x="154562" y="0"/>
                      <a:pt x="199701" y="45139"/>
                      <a:pt x="199701" y="100820"/>
                    </a:cubicBezTo>
                    <a:cubicBezTo>
                      <a:pt x="199701" y="156501"/>
                      <a:pt x="154562" y="201640"/>
                      <a:pt x="98881" y="201640"/>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cxnSp>
            <p:nvCxnSpPr>
              <p:cNvPr id="61" name="Straight Connector 60">
                <a:extLst>
                  <a:ext uri="{FF2B5EF4-FFF2-40B4-BE49-F238E27FC236}">
                    <a16:creationId xmlns:a16="http://schemas.microsoft.com/office/drawing/2014/main" id="{8787A408-AC51-4861-A228-97F9FA3FB1A5}"/>
                  </a:ext>
                </a:extLst>
              </p:cNvPr>
              <p:cNvCxnSpPr/>
              <p:nvPr/>
            </p:nvCxnSpPr>
            <p:spPr bwMode="gray">
              <a:xfrm rot="2700000" flipH="1">
                <a:off x="4465155" y="-3075854"/>
                <a:ext cx="0" cy="1800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cxnSp>
            <p:nvCxnSpPr>
              <p:cNvPr id="62" name="Straight Connector 61">
                <a:extLst>
                  <a:ext uri="{FF2B5EF4-FFF2-40B4-BE49-F238E27FC236}">
                    <a16:creationId xmlns:a16="http://schemas.microsoft.com/office/drawing/2014/main" id="{4A9C1789-4893-47EE-979B-19B6FE342498}"/>
                  </a:ext>
                </a:extLst>
              </p:cNvPr>
              <p:cNvCxnSpPr/>
              <p:nvPr/>
            </p:nvCxnSpPr>
            <p:spPr bwMode="gray">
              <a:xfrm rot="2700000" flipH="1">
                <a:off x="4687107" y="-3298109"/>
                <a:ext cx="0" cy="180000"/>
              </a:xfrm>
              <a:prstGeom prst="line">
                <a:avLst/>
              </a:prstGeom>
              <a:grp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cxnSp>
          <p:sp>
            <p:nvSpPr>
              <p:cNvPr id="63" name="Oval 73">
                <a:extLst>
                  <a:ext uri="{FF2B5EF4-FFF2-40B4-BE49-F238E27FC236}">
                    <a16:creationId xmlns:a16="http://schemas.microsoft.com/office/drawing/2014/main" id="{99FEA57B-97C4-41B8-8C0B-C8DFCEDD1AED}"/>
                  </a:ext>
                </a:extLst>
              </p:cNvPr>
              <p:cNvSpPr/>
              <p:nvPr/>
            </p:nvSpPr>
            <p:spPr bwMode="gray">
              <a:xfrm rot="10800000">
                <a:off x="4722644" y="-3443847"/>
                <a:ext cx="199701" cy="201640"/>
              </a:xfrm>
              <a:custGeom>
                <a:avLst/>
                <a:gdLst>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7" fmla="*/ 189584 w 201640"/>
                  <a:gd name="connsiteY7" fmla="*/ 192429 h 201640"/>
                  <a:gd name="connsiteX0" fmla="*/ 98144 w 201640"/>
                  <a:gd name="connsiteY0" fmla="*/ 100989 h 201640"/>
                  <a:gd name="connsiteX1" fmla="*/ 34 w 201640"/>
                  <a:gd name="connsiteY1" fmla="*/ 100989 h 201640"/>
                  <a:gd name="connsiteX2" fmla="*/ 0 w 201640"/>
                  <a:gd name="connsiteY2" fmla="*/ 100820 h 201640"/>
                  <a:gd name="connsiteX3" fmla="*/ 100820 w 201640"/>
                  <a:gd name="connsiteY3" fmla="*/ 0 h 201640"/>
                  <a:gd name="connsiteX4" fmla="*/ 201640 w 201640"/>
                  <a:gd name="connsiteY4" fmla="*/ 100820 h 201640"/>
                  <a:gd name="connsiteX5" fmla="*/ 100820 w 201640"/>
                  <a:gd name="connsiteY5" fmla="*/ 201640 h 201640"/>
                  <a:gd name="connsiteX6" fmla="*/ 98144 w 201640"/>
                  <a:gd name="connsiteY6"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5" fmla="*/ 98144 w 201640"/>
                  <a:gd name="connsiteY5" fmla="*/ 20110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34 w 201640"/>
                  <a:gd name="connsiteY0" fmla="*/ 100989 h 201640"/>
                  <a:gd name="connsiteX1" fmla="*/ 0 w 201640"/>
                  <a:gd name="connsiteY1" fmla="*/ 100820 h 201640"/>
                  <a:gd name="connsiteX2" fmla="*/ 100820 w 201640"/>
                  <a:gd name="connsiteY2" fmla="*/ 0 h 201640"/>
                  <a:gd name="connsiteX3" fmla="*/ 201640 w 201640"/>
                  <a:gd name="connsiteY3" fmla="*/ 100820 h 201640"/>
                  <a:gd name="connsiteX4" fmla="*/ 100820 w 201640"/>
                  <a:gd name="connsiteY4"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201606"/>
                  <a:gd name="connsiteY0" fmla="*/ 100989 h 201640"/>
                  <a:gd name="connsiteX1" fmla="*/ 100786 w 201606"/>
                  <a:gd name="connsiteY1" fmla="*/ 0 h 201640"/>
                  <a:gd name="connsiteX2" fmla="*/ 201606 w 201606"/>
                  <a:gd name="connsiteY2" fmla="*/ 100820 h 201640"/>
                  <a:gd name="connsiteX3" fmla="*/ 100786 w 201606"/>
                  <a:gd name="connsiteY3" fmla="*/ 201640 h 201640"/>
                  <a:gd name="connsiteX0" fmla="*/ 0 w 193986"/>
                  <a:gd name="connsiteY0" fmla="*/ 97179 h 201640"/>
                  <a:gd name="connsiteX1" fmla="*/ 93166 w 193986"/>
                  <a:gd name="connsiteY1" fmla="*/ 0 h 201640"/>
                  <a:gd name="connsiteX2" fmla="*/ 193986 w 193986"/>
                  <a:gd name="connsiteY2" fmla="*/ 100820 h 201640"/>
                  <a:gd name="connsiteX3" fmla="*/ 93166 w 193986"/>
                  <a:gd name="connsiteY3" fmla="*/ 201640 h 201640"/>
                  <a:gd name="connsiteX0" fmla="*/ 0 w 199701"/>
                  <a:gd name="connsiteY0" fmla="*/ 97179 h 201640"/>
                  <a:gd name="connsiteX1" fmla="*/ 98881 w 199701"/>
                  <a:gd name="connsiteY1" fmla="*/ 0 h 201640"/>
                  <a:gd name="connsiteX2" fmla="*/ 199701 w 199701"/>
                  <a:gd name="connsiteY2" fmla="*/ 100820 h 201640"/>
                  <a:gd name="connsiteX3" fmla="*/ 98881 w 199701"/>
                  <a:gd name="connsiteY3" fmla="*/ 201640 h 201640"/>
                </a:gdLst>
                <a:ahLst/>
                <a:cxnLst>
                  <a:cxn ang="0">
                    <a:pos x="connsiteX0" y="connsiteY0"/>
                  </a:cxn>
                  <a:cxn ang="0">
                    <a:pos x="connsiteX1" y="connsiteY1"/>
                  </a:cxn>
                  <a:cxn ang="0">
                    <a:pos x="connsiteX2" y="connsiteY2"/>
                  </a:cxn>
                  <a:cxn ang="0">
                    <a:pos x="connsiteX3" y="connsiteY3"/>
                  </a:cxn>
                </a:cxnLst>
                <a:rect l="l" t="t" r="r" b="b"/>
                <a:pathLst>
                  <a:path w="199701" h="201640">
                    <a:moveTo>
                      <a:pt x="0" y="97179"/>
                    </a:moveTo>
                    <a:cubicBezTo>
                      <a:pt x="42" y="38040"/>
                      <a:pt x="51945" y="28"/>
                      <a:pt x="98881" y="0"/>
                    </a:cubicBezTo>
                    <a:cubicBezTo>
                      <a:pt x="154562" y="0"/>
                      <a:pt x="199701" y="45139"/>
                      <a:pt x="199701" y="100820"/>
                    </a:cubicBezTo>
                    <a:cubicBezTo>
                      <a:pt x="199701" y="156501"/>
                      <a:pt x="154562" y="201640"/>
                      <a:pt x="98881" y="201640"/>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err="1">
                  <a:ln>
                    <a:noFill/>
                  </a:ln>
                  <a:solidFill>
                    <a:srgbClr val="FFFFFF"/>
                  </a:solidFill>
                  <a:effectLst/>
                  <a:uLnTx/>
                  <a:uFillTx/>
                  <a:latin typeface="ABBvoice"/>
                  <a:ea typeface="ABBvoice"/>
                  <a:cs typeface="ABBvoice"/>
                </a:endParaRPr>
              </a:p>
            </p:txBody>
          </p:sp>
        </p:grpSp>
      </p:grpSp>
    </p:spTree>
    <p:custDataLst>
      <p:tags r:id="rId1"/>
    </p:custDataLst>
    <p:extLst>
      <p:ext uri="{BB962C8B-B14F-4D97-AF65-F5344CB8AC3E}">
        <p14:creationId xmlns:p14="http://schemas.microsoft.com/office/powerpoint/2010/main" val="65760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75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750"/>
                                        <p:tgtEl>
                                          <p:spTgt spid="10"/>
                                        </p:tgtEl>
                                      </p:cBhvr>
                                    </p:animEffect>
                                  </p:childTnLst>
                                </p:cTn>
                              </p:par>
                            </p:childTnLst>
                          </p:cTn>
                        </p:par>
                        <p:par>
                          <p:cTn id="11" fill="hold">
                            <p:stCondLst>
                              <p:cond delay="750"/>
                            </p:stCondLst>
                            <p:childTnLst>
                              <p:par>
                                <p:cTn id="12" presetID="10" presetClass="entr" presetSubtype="0" fill="hold" grpId="0"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750"/>
                                        <p:tgtEl>
                                          <p:spTgt spid="11"/>
                                        </p:tgtEl>
                                      </p:cBhvr>
                                    </p:animEffect>
                                  </p:childTnLst>
                                </p:cTn>
                              </p:par>
                              <p:par>
                                <p:cTn id="15" presetID="10" presetClass="entr" presetSubtype="0"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750"/>
                                        <p:tgtEl>
                                          <p:spTgt spid="21"/>
                                        </p:tgtEl>
                                      </p:cBhvr>
                                    </p:animEffect>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750"/>
                                        <p:tgtEl>
                                          <p:spTgt spid="12"/>
                                        </p:tgtEl>
                                      </p:cBhvr>
                                    </p:animEffect>
                                  </p:childTnLst>
                                </p:cTn>
                              </p:par>
                              <p:par>
                                <p:cTn id="22" presetID="10" presetClass="entr" presetSubtype="0" fill="hold"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fade">
                                      <p:cBhvr>
                                        <p:cTn id="24" dur="750"/>
                                        <p:tgtEl>
                                          <p:spTgt spid="42"/>
                                        </p:tgtEl>
                                      </p:cBhvr>
                                    </p:animEffect>
                                  </p:childTnLst>
                                </p:cTn>
                              </p:par>
                            </p:childTnLst>
                          </p:cTn>
                        </p:par>
                        <p:par>
                          <p:cTn id="25" fill="hold">
                            <p:stCondLst>
                              <p:cond delay="2250"/>
                            </p:stCondLst>
                            <p:childTnLst>
                              <p:par>
                                <p:cTn id="26" presetID="10" presetClass="entr" presetSubtype="0" fill="hold" grpId="0" nodeType="after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750"/>
                                        <p:tgtEl>
                                          <p:spTgt spid="13"/>
                                        </p:tgtEl>
                                      </p:cBhvr>
                                    </p:animEffect>
                                  </p:childTnLst>
                                </p:cTn>
                              </p:par>
                              <p:par>
                                <p:cTn id="29" presetID="10" presetClass="entr" presetSubtype="0" fill="hold" nodeType="withEffect">
                                  <p:stCondLst>
                                    <p:cond delay="0"/>
                                  </p:stCondLst>
                                  <p:childTnLst>
                                    <p:set>
                                      <p:cBhvr>
                                        <p:cTn id="30" dur="1" fill="hold">
                                          <p:stCondLst>
                                            <p:cond delay="0"/>
                                          </p:stCondLst>
                                        </p:cTn>
                                        <p:tgtEl>
                                          <p:spTgt spid="56"/>
                                        </p:tgtEl>
                                        <p:attrNameLst>
                                          <p:attrName>style.visibility</p:attrName>
                                        </p:attrNameLst>
                                      </p:cBhvr>
                                      <p:to>
                                        <p:strVal val="visible"/>
                                      </p:to>
                                    </p:set>
                                    <p:animEffect transition="in" filter="fade">
                                      <p:cBhvr>
                                        <p:cTn id="31" dur="75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A4FEB-DD82-431E-96DB-974DEA3B5F7F}"/>
              </a:ext>
            </a:extLst>
          </p:cNvPr>
          <p:cNvSpPr>
            <a:spLocks noGrp="1"/>
          </p:cNvSpPr>
          <p:nvPr>
            <p:ph type="title"/>
          </p:nvPr>
        </p:nvSpPr>
        <p:spPr bwMode="gray"/>
        <p:txBody>
          <a:bodyPr/>
          <a:lstStyle/>
          <a:p>
            <a:r>
              <a:rPr lang="de-DE" dirty="0"/>
              <a:t>Magnos27</a:t>
            </a:r>
            <a:endParaRPr lang="en-US" dirty="0"/>
          </a:p>
        </p:txBody>
      </p:sp>
      <p:sp>
        <p:nvSpPr>
          <p:cNvPr id="3" name="Footer Placeholder 2">
            <a:extLst>
              <a:ext uri="{FF2B5EF4-FFF2-40B4-BE49-F238E27FC236}">
                <a16:creationId xmlns:a16="http://schemas.microsoft.com/office/drawing/2014/main" id="{99C8EF8F-4C6B-402A-8717-330021361776}"/>
              </a:ext>
            </a:extLst>
          </p:cNvPr>
          <p:cNvSpPr>
            <a:spLocks noGrp="1"/>
          </p:cNvSpPr>
          <p:nvPr>
            <p:ph type="ftr" sz="quarter" idx="10"/>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Indication</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only</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depends</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on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measuring</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component</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nd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application</a:t>
            </a: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4" name="Date Placeholder 3">
            <a:extLst>
              <a:ext uri="{FF2B5EF4-FFF2-40B4-BE49-F238E27FC236}">
                <a16:creationId xmlns:a16="http://schemas.microsoft.com/office/drawing/2014/main" id="{0BF74DBF-3620-4999-A3DB-6353C7BE791B}"/>
              </a:ext>
            </a:extLst>
          </p:cNvPr>
          <p:cNvSpPr>
            <a:spLocks noGrp="1"/>
          </p:cNvSpPr>
          <p:nvPr>
            <p:ph type="dt" sz="half"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8FF341-9601-47A6-A4C1-F2885A66BAA5}"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4D10351D-1F9B-4C35-B046-3DF31CCC3E52}"/>
              </a:ext>
            </a:extLst>
          </p:cNvPr>
          <p:cNvSpPr>
            <a:spLocks noGrp="1"/>
          </p:cNvSpPr>
          <p:nvPr>
            <p:ph type="sldNum" sz="quarter" idx="12"/>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7" name="Content Placeholder 6">
            <a:extLst>
              <a:ext uri="{FF2B5EF4-FFF2-40B4-BE49-F238E27FC236}">
                <a16:creationId xmlns:a16="http://schemas.microsoft.com/office/drawing/2014/main" id="{8DF7FF26-40E6-4E2D-B5E3-EC07744075A3}"/>
              </a:ext>
            </a:extLst>
          </p:cNvPr>
          <p:cNvSpPr>
            <a:spLocks noGrp="1"/>
          </p:cNvSpPr>
          <p:nvPr>
            <p:ph sz="quarter" idx="19"/>
          </p:nvPr>
        </p:nvSpPr>
        <p:spPr bwMode="gray">
          <a:xfrm>
            <a:off x="332367" y="2081882"/>
            <a:ext cx="5603434" cy="3830230"/>
          </a:xfrm>
        </p:spPr>
        <p:txBody>
          <a:bodyPr/>
          <a:lstStyle/>
          <a:p>
            <a:pPr>
              <a:spcBef>
                <a:spcPts val="1800"/>
              </a:spcBef>
            </a:pPr>
            <a:r>
              <a:rPr lang="de-DE" dirty="0">
                <a:solidFill>
                  <a:schemeClr val="tx1"/>
                </a:solidFill>
              </a:rPr>
              <a:t>	Heavy-</a:t>
            </a:r>
            <a:r>
              <a:rPr lang="de-DE" dirty="0" err="1">
                <a:solidFill>
                  <a:schemeClr val="tx1"/>
                </a:solidFill>
              </a:rPr>
              <a:t>duty</a:t>
            </a:r>
            <a:r>
              <a:rPr lang="de-DE" dirty="0">
                <a:solidFill>
                  <a:schemeClr val="tx1"/>
                </a:solidFill>
              </a:rPr>
              <a:t> </a:t>
            </a:r>
            <a:r>
              <a:rPr lang="de-DE" dirty="0" err="1">
                <a:solidFill>
                  <a:schemeClr val="tx1"/>
                </a:solidFill>
              </a:rPr>
              <a:t>thermomagnetic</a:t>
            </a:r>
            <a:r>
              <a:rPr lang="de-DE" dirty="0">
                <a:solidFill>
                  <a:schemeClr val="tx1"/>
                </a:solidFill>
              </a:rPr>
              <a:t> </a:t>
            </a:r>
            <a:r>
              <a:rPr lang="de-DE" dirty="0" err="1">
                <a:solidFill>
                  <a:schemeClr val="tx1"/>
                </a:solidFill>
              </a:rPr>
              <a:t>detector</a:t>
            </a:r>
            <a:endParaRPr lang="de-DE" dirty="0">
              <a:solidFill>
                <a:schemeClr val="tx1"/>
              </a:solidFill>
            </a:endParaRPr>
          </a:p>
          <a:p>
            <a:endParaRPr lang="de-DE" sz="1600" dirty="0"/>
          </a:p>
          <a:p>
            <a:r>
              <a:rPr lang="de-DE" dirty="0" err="1"/>
              <a:t>Capabilities</a:t>
            </a:r>
            <a:endParaRPr lang="de-DE" dirty="0"/>
          </a:p>
          <a:p>
            <a:pPr lvl="1">
              <a:spcBef>
                <a:spcPts val="300"/>
              </a:spcBef>
            </a:pPr>
            <a:r>
              <a:rPr lang="de-DE" dirty="0"/>
              <a:t>Components:	O</a:t>
            </a:r>
            <a:r>
              <a:rPr lang="de-DE" baseline="-25000" dirty="0"/>
              <a:t>2</a:t>
            </a:r>
            <a:endParaRPr lang="de-DE" dirty="0"/>
          </a:p>
          <a:p>
            <a:pPr lvl="1">
              <a:spcBef>
                <a:spcPts val="300"/>
              </a:spcBef>
            </a:pPr>
            <a:r>
              <a:rPr lang="de-DE" dirty="0"/>
              <a:t>Ranges*: 	0 – 10 vol% </a:t>
            </a:r>
            <a:r>
              <a:rPr lang="de-DE" dirty="0" err="1"/>
              <a:t>up</a:t>
            </a:r>
            <a:r>
              <a:rPr lang="de-DE" dirty="0"/>
              <a:t> </a:t>
            </a:r>
            <a:r>
              <a:rPr lang="de-DE" dirty="0" err="1"/>
              <a:t>to</a:t>
            </a:r>
            <a:r>
              <a:rPr lang="de-DE" dirty="0"/>
              <a:t> 100 vol%</a:t>
            </a:r>
          </a:p>
          <a:p>
            <a:pPr>
              <a:spcBef>
                <a:spcPts val="1800"/>
              </a:spcBef>
            </a:pPr>
            <a:r>
              <a:rPr lang="de-DE" dirty="0"/>
              <a:t>Advantages</a:t>
            </a:r>
          </a:p>
          <a:p>
            <a:pPr lvl="1">
              <a:spcBef>
                <a:spcPts val="300"/>
              </a:spcBef>
            </a:pPr>
            <a:r>
              <a:rPr lang="de-DE" dirty="0"/>
              <a:t>Reliable </a:t>
            </a:r>
            <a:r>
              <a:rPr lang="de-DE" dirty="0" err="1"/>
              <a:t>measurement</a:t>
            </a:r>
            <a:r>
              <a:rPr lang="de-DE" dirty="0"/>
              <a:t> </a:t>
            </a:r>
            <a:r>
              <a:rPr lang="de-DE" dirty="0" err="1"/>
              <a:t>for</a:t>
            </a:r>
            <a:r>
              <a:rPr lang="de-DE" dirty="0"/>
              <a:t> </a:t>
            </a:r>
            <a:r>
              <a:rPr lang="de-DE" dirty="0" err="1"/>
              <a:t>flue</a:t>
            </a:r>
            <a:r>
              <a:rPr lang="de-DE" dirty="0"/>
              <a:t> gas </a:t>
            </a:r>
            <a:r>
              <a:rPr lang="de-DE" dirty="0" err="1"/>
              <a:t>applications</a:t>
            </a:r>
            <a:endParaRPr lang="de-DE" dirty="0"/>
          </a:p>
          <a:p>
            <a:pPr lvl="1">
              <a:spcBef>
                <a:spcPts val="300"/>
              </a:spcBef>
            </a:pPr>
            <a:r>
              <a:rPr lang="de-DE" dirty="0"/>
              <a:t>Robust </a:t>
            </a:r>
            <a:r>
              <a:rPr lang="de-DE" dirty="0" err="1"/>
              <a:t>cell</a:t>
            </a:r>
            <a:r>
              <a:rPr lang="de-DE" dirty="0"/>
              <a:t> design ideal </a:t>
            </a:r>
            <a:r>
              <a:rPr lang="de-DE" dirty="0" err="1"/>
              <a:t>for</a:t>
            </a:r>
            <a:r>
              <a:rPr lang="de-DE" dirty="0"/>
              <a:t> </a:t>
            </a:r>
            <a:r>
              <a:rPr lang="de-DE" dirty="0" err="1"/>
              <a:t>corrosive</a:t>
            </a:r>
            <a:r>
              <a:rPr lang="de-DE" dirty="0"/>
              <a:t> </a:t>
            </a:r>
            <a:r>
              <a:rPr lang="de-DE" dirty="0" err="1"/>
              <a:t>samples</a:t>
            </a:r>
            <a:endParaRPr lang="de-DE" dirty="0"/>
          </a:p>
          <a:p>
            <a:pPr lvl="1">
              <a:spcBef>
                <a:spcPts val="300"/>
              </a:spcBef>
            </a:pPr>
            <a:r>
              <a:rPr lang="de-DE" dirty="0"/>
              <a:t>Easy </a:t>
            </a:r>
            <a:r>
              <a:rPr lang="de-DE" dirty="0" err="1"/>
              <a:t>to</a:t>
            </a:r>
            <a:r>
              <a:rPr lang="de-DE" dirty="0"/>
              <a:t> clean </a:t>
            </a:r>
            <a:r>
              <a:rPr lang="de-DE" dirty="0" err="1"/>
              <a:t>even</a:t>
            </a:r>
            <a:r>
              <a:rPr lang="de-DE" dirty="0"/>
              <a:t> after liquid/</a:t>
            </a:r>
            <a:r>
              <a:rPr lang="de-DE" dirty="0" err="1"/>
              <a:t>acid</a:t>
            </a:r>
            <a:r>
              <a:rPr lang="de-DE" dirty="0"/>
              <a:t> </a:t>
            </a:r>
            <a:r>
              <a:rPr lang="de-DE" dirty="0" err="1"/>
              <a:t>contamination</a:t>
            </a:r>
            <a:endParaRPr lang="de-DE" dirty="0"/>
          </a:p>
          <a:p>
            <a:pPr lvl="1">
              <a:spcBef>
                <a:spcPts val="300"/>
              </a:spcBef>
            </a:pPr>
            <a:r>
              <a:rPr lang="de-DE" dirty="0"/>
              <a:t>Very </a:t>
            </a:r>
            <a:r>
              <a:rPr lang="de-DE" dirty="0" err="1"/>
              <a:t>popular</a:t>
            </a:r>
            <a:r>
              <a:rPr lang="de-DE" dirty="0"/>
              <a:t> </a:t>
            </a:r>
            <a:r>
              <a:rPr lang="de-DE" dirty="0" err="1"/>
              <a:t>for</a:t>
            </a:r>
            <a:r>
              <a:rPr lang="de-DE" dirty="0"/>
              <a:t> </a:t>
            </a:r>
            <a:r>
              <a:rPr lang="de-DE" dirty="0" err="1"/>
              <a:t>cement</a:t>
            </a:r>
            <a:r>
              <a:rPr lang="de-DE" dirty="0"/>
              <a:t> and </a:t>
            </a:r>
            <a:r>
              <a:rPr lang="de-DE" dirty="0" err="1"/>
              <a:t>metals</a:t>
            </a:r>
            <a:r>
              <a:rPr lang="de-DE" dirty="0"/>
              <a:t> </a:t>
            </a:r>
            <a:r>
              <a:rPr lang="de-DE" dirty="0" err="1"/>
              <a:t>applications</a:t>
            </a:r>
            <a:endParaRPr lang="de-DE" dirty="0"/>
          </a:p>
          <a:p>
            <a:pPr lvl="1"/>
            <a:endParaRPr lang="en-US" dirty="0"/>
          </a:p>
        </p:txBody>
      </p:sp>
      <p:sp>
        <p:nvSpPr>
          <p:cNvPr id="8" name="Subtitle 7">
            <a:extLst>
              <a:ext uri="{FF2B5EF4-FFF2-40B4-BE49-F238E27FC236}">
                <a16:creationId xmlns:a16="http://schemas.microsoft.com/office/drawing/2014/main" id="{0A22AA71-A8DB-47E5-B616-A5CB321F6A04}"/>
              </a:ext>
            </a:extLst>
          </p:cNvPr>
          <p:cNvSpPr>
            <a:spLocks noGrp="1"/>
          </p:cNvSpPr>
          <p:nvPr>
            <p:ph type="subTitle" idx="13"/>
          </p:nvPr>
        </p:nvSpPr>
        <p:spPr bwMode="gray"/>
        <p:txBody>
          <a:bodyPr/>
          <a:lstStyle/>
          <a:p>
            <a:r>
              <a:rPr lang="de-DE" dirty="0" err="1"/>
              <a:t>Thermomagnetic</a:t>
            </a:r>
            <a:r>
              <a:rPr lang="de-DE" dirty="0"/>
              <a:t> </a:t>
            </a:r>
            <a:r>
              <a:rPr lang="de-DE" dirty="0" err="1"/>
              <a:t>detector</a:t>
            </a:r>
            <a:r>
              <a:rPr lang="de-DE" dirty="0"/>
              <a:t> (TMD)</a:t>
            </a:r>
            <a:endParaRPr lang="en-US" dirty="0"/>
          </a:p>
        </p:txBody>
      </p:sp>
      <p:grpSp>
        <p:nvGrpSpPr>
          <p:cNvPr id="22" name="Group 21">
            <a:extLst>
              <a:ext uri="{FF2B5EF4-FFF2-40B4-BE49-F238E27FC236}">
                <a16:creationId xmlns:a16="http://schemas.microsoft.com/office/drawing/2014/main" id="{A4BC9035-C8AD-4FB6-A6BA-330B51880D4E}"/>
              </a:ext>
            </a:extLst>
          </p:cNvPr>
          <p:cNvGrpSpPr/>
          <p:nvPr/>
        </p:nvGrpSpPr>
        <p:grpSpPr bwMode="gray">
          <a:xfrm>
            <a:off x="336550" y="1933574"/>
            <a:ext cx="597600" cy="597600"/>
            <a:chOff x="3926446" y="-4145799"/>
            <a:chExt cx="597600" cy="597600"/>
          </a:xfrm>
        </p:grpSpPr>
        <p:sp>
          <p:nvSpPr>
            <p:cNvPr id="24" name="Text Box 240">
              <a:extLst>
                <a:ext uri="{FF2B5EF4-FFF2-40B4-BE49-F238E27FC236}">
                  <a16:creationId xmlns:a16="http://schemas.microsoft.com/office/drawing/2014/main" id="{010ABBBB-055C-40D6-8E73-7BC097BA351F}"/>
                </a:ext>
              </a:extLst>
            </p:cNvPr>
            <p:cNvSpPr txBox="1">
              <a:spLocks noChangeArrowheads="1"/>
            </p:cNvSpPr>
            <p:nvPr/>
          </p:nvSpPr>
          <p:spPr bwMode="gray">
            <a:xfrm>
              <a:off x="3926446" y="-4145799"/>
              <a:ext cx="597600" cy="597600"/>
            </a:xfrm>
            <a:prstGeom prst="ellipse">
              <a:avLst/>
            </a:prstGeom>
            <a:solidFill>
              <a:schemeClr val="bg1"/>
            </a:solidFill>
            <a:ln w="28575">
              <a:solidFill>
                <a:schemeClr val="tx2"/>
              </a:solid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25" name="Group 24">
              <a:extLst>
                <a:ext uri="{FF2B5EF4-FFF2-40B4-BE49-F238E27FC236}">
                  <a16:creationId xmlns:a16="http://schemas.microsoft.com/office/drawing/2014/main" id="{034D1458-A0CC-4F8C-9A06-AAA44FB90A6F}"/>
                </a:ext>
              </a:extLst>
            </p:cNvPr>
            <p:cNvGrpSpPr/>
            <p:nvPr/>
          </p:nvGrpSpPr>
          <p:grpSpPr bwMode="gray">
            <a:xfrm>
              <a:off x="3960774" y="-3928443"/>
              <a:ext cx="528943" cy="162889"/>
              <a:chOff x="5561561" y="3580012"/>
              <a:chExt cx="1068879" cy="329166"/>
            </a:xfrm>
            <a:solidFill>
              <a:schemeClr val="bg1"/>
            </a:solidFill>
          </p:grpSpPr>
          <p:sp>
            <p:nvSpPr>
              <p:cNvPr id="26" name="Oval 25">
                <a:extLst>
                  <a:ext uri="{FF2B5EF4-FFF2-40B4-BE49-F238E27FC236}">
                    <a16:creationId xmlns:a16="http://schemas.microsoft.com/office/drawing/2014/main" id="{B6A8C829-D003-425A-B96A-641A2D6A7793}"/>
                  </a:ext>
                </a:extLst>
              </p:cNvPr>
              <p:cNvSpPr/>
              <p:nvPr/>
            </p:nvSpPr>
            <p:spPr bwMode="gray">
              <a:xfrm>
                <a:off x="5561561" y="3580012"/>
                <a:ext cx="329166" cy="329166"/>
              </a:xfrm>
              <a:prstGeom prst="ellips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27" name="Oval 26">
                <a:extLst>
                  <a:ext uri="{FF2B5EF4-FFF2-40B4-BE49-F238E27FC236}">
                    <a16:creationId xmlns:a16="http://schemas.microsoft.com/office/drawing/2014/main" id="{539DAC44-7F76-4660-BB6C-BBC8AC97EEAA}"/>
                  </a:ext>
                </a:extLst>
              </p:cNvPr>
              <p:cNvSpPr/>
              <p:nvPr/>
            </p:nvSpPr>
            <p:spPr bwMode="gray">
              <a:xfrm>
                <a:off x="6301274" y="3580012"/>
                <a:ext cx="329166" cy="329166"/>
              </a:xfrm>
              <a:prstGeom prst="ellipse">
                <a:avLst/>
              </a:pr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cxnSp>
            <p:nvCxnSpPr>
              <p:cNvPr id="28" name="Straight Connector 27">
                <a:extLst>
                  <a:ext uri="{FF2B5EF4-FFF2-40B4-BE49-F238E27FC236}">
                    <a16:creationId xmlns:a16="http://schemas.microsoft.com/office/drawing/2014/main" id="{C6C01666-7593-48FB-B82C-B9D052C9B3A0}"/>
                  </a:ext>
                </a:extLst>
              </p:cNvPr>
              <p:cNvCxnSpPr>
                <a:stCxn id="26" idx="6"/>
                <a:endCxn id="27" idx="2"/>
              </p:cNvCxnSpPr>
              <p:nvPr/>
            </p:nvCxnSpPr>
            <p:spPr bwMode="gray">
              <a:xfrm>
                <a:off x="5890727" y="3744595"/>
                <a:ext cx="410547" cy="0"/>
              </a:xfrm>
              <a:prstGeom prst="line">
                <a:avLst/>
              </a:prstGeom>
              <a:grpFill/>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188CA25-8DA7-4170-80A0-F3084A0BA987}"/>
                  </a:ext>
                </a:extLst>
              </p:cNvPr>
              <p:cNvCxnSpPr/>
              <p:nvPr/>
            </p:nvCxnSpPr>
            <p:spPr bwMode="gray">
              <a:xfrm>
                <a:off x="6062617" y="3669857"/>
                <a:ext cx="66766" cy="149477"/>
              </a:xfrm>
              <a:prstGeom prst="line">
                <a:avLst/>
              </a:prstGeom>
              <a:grpFill/>
              <a:ln w="19050">
                <a:solidFill>
                  <a:schemeClr val="tx2"/>
                </a:solidFill>
              </a:ln>
            </p:spPr>
            <p:style>
              <a:lnRef idx="1">
                <a:schemeClr val="accent1"/>
              </a:lnRef>
              <a:fillRef idx="0">
                <a:schemeClr val="accent1"/>
              </a:fillRef>
              <a:effectRef idx="0">
                <a:schemeClr val="accent1"/>
              </a:effectRef>
              <a:fontRef idx="minor">
                <a:schemeClr val="tx1"/>
              </a:fontRef>
            </p:style>
          </p:cxnSp>
        </p:grpSp>
      </p:grpSp>
      <p:pic>
        <p:nvPicPr>
          <p:cNvPr id="18" name="Picture 10" descr="R:\BusinessDevelopment_FD\2 MARCOM\BILDARCHIV\ANALYZERS\Magnos\Magnos27_A_hr.JPG">
            <a:extLst>
              <a:ext uri="{FF2B5EF4-FFF2-40B4-BE49-F238E27FC236}">
                <a16:creationId xmlns:a16="http://schemas.microsoft.com/office/drawing/2014/main" id="{51676C04-52AC-4572-A5B3-D4736DA44C10}"/>
              </a:ext>
            </a:extLst>
          </p:cNvPr>
          <p:cNvPicPr>
            <a:picLocks noGrp="1" noChangeAspect="1" noChangeArrowheads="1"/>
          </p:cNvPicPr>
          <p:nvPr>
            <p:ph sz="quarter" idx="20"/>
          </p:nvPr>
        </p:nvPicPr>
        <p:blipFill>
          <a:blip r:embed="rId3">
            <a:extLst>
              <a:ext uri="{28A0092B-C50C-407E-A947-70E740481C1C}">
                <a14:useLocalDpi xmlns:a14="http://schemas.microsoft.com/office/drawing/2010/main" val="0"/>
              </a:ext>
            </a:extLst>
          </a:blip>
          <a:srcRect/>
          <a:stretch>
            <a:fillRect/>
          </a:stretch>
        </p:blipFill>
        <p:spPr bwMode="gray">
          <a:xfrm>
            <a:off x="7656927" y="1901605"/>
            <a:ext cx="2777857" cy="3012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AutoShape 6">
            <a:hlinkClick r:id="rId4" action="ppaction://hlinksldjump" highlightClick="1"/>
            <a:extLst>
              <a:ext uri="{FF2B5EF4-FFF2-40B4-BE49-F238E27FC236}">
                <a16:creationId xmlns:a16="http://schemas.microsoft.com/office/drawing/2014/main" id="{74D062DB-D6FB-4476-97A0-A9A6E5201B2E}"/>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pic>
        <p:nvPicPr>
          <p:cNvPr id="34" name="Content Placeholder 10">
            <a:extLst>
              <a:ext uri="{FF2B5EF4-FFF2-40B4-BE49-F238E27FC236}">
                <a16:creationId xmlns:a16="http://schemas.microsoft.com/office/drawing/2014/main" id="{9E0E9173-AC0B-4F00-8F09-6DB890CEE108}"/>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0262108" y="5448787"/>
            <a:ext cx="407558" cy="324000"/>
          </a:xfrm>
          <a:prstGeom prst="rect">
            <a:avLst/>
          </a:prstGeom>
          <a:noFill/>
          <a:ln w="9525">
            <a:noFill/>
            <a:miter lim="800000"/>
            <a:headEnd/>
            <a:tailEnd/>
          </a:ln>
        </p:spPr>
      </p:pic>
      <p:pic>
        <p:nvPicPr>
          <p:cNvPr id="39" name="Picture 10">
            <a:extLst>
              <a:ext uri="{FF2B5EF4-FFF2-40B4-BE49-F238E27FC236}">
                <a16:creationId xmlns:a16="http://schemas.microsoft.com/office/drawing/2014/main" id="{214E4CBE-E093-4B9E-9B04-D46A986D36E0}"/>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1307006" y="5399375"/>
            <a:ext cx="395864" cy="396000"/>
          </a:xfrm>
          <a:prstGeom prst="rect">
            <a:avLst/>
          </a:prstGeom>
          <a:noFill/>
          <a:ln w="9525">
            <a:noFill/>
            <a:miter lim="800000"/>
            <a:headEnd/>
            <a:tailEnd/>
          </a:ln>
        </p:spPr>
      </p:pic>
      <p:sp>
        <p:nvSpPr>
          <p:cNvPr id="42" name="Flowchart: Terminator 41">
            <a:extLst>
              <a:ext uri="{FF2B5EF4-FFF2-40B4-BE49-F238E27FC236}">
                <a16:creationId xmlns:a16="http://schemas.microsoft.com/office/drawing/2014/main" id="{07DD44FE-3376-419E-8046-90C0B4AC8291}"/>
              </a:ext>
            </a:extLst>
          </p:cNvPr>
          <p:cNvSpPr/>
          <p:nvPr/>
        </p:nvSpPr>
        <p:spPr bwMode="gray">
          <a:xfrm>
            <a:off x="10120342" y="5292283"/>
            <a:ext cx="1739381"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pic>
        <p:nvPicPr>
          <p:cNvPr id="43" name="Picture 42">
            <a:extLst>
              <a:ext uri="{FF2B5EF4-FFF2-40B4-BE49-F238E27FC236}">
                <a16:creationId xmlns:a16="http://schemas.microsoft.com/office/drawing/2014/main" id="{0BB07EE4-9E94-4E89-A92D-4FF49EDE1BBD}"/>
              </a:ext>
            </a:extLst>
          </p:cNvPr>
          <p:cNvPicPr>
            <a:picLocks noChangeAspect="1"/>
          </p:cNvPicPr>
          <p:nvPr/>
        </p:nvPicPr>
        <p:blipFill>
          <a:blip r:embed="rId7">
            <a:duotone>
              <a:schemeClr val="accent3">
                <a:shade val="45000"/>
                <a:satMod val="135000"/>
              </a:schemeClr>
              <a:prstClr val="white"/>
            </a:duotone>
          </a:blip>
          <a:stretch>
            <a:fillRect/>
          </a:stretch>
        </p:blipFill>
        <p:spPr>
          <a:xfrm>
            <a:off x="10760567" y="5448787"/>
            <a:ext cx="466725" cy="333375"/>
          </a:xfrm>
          <a:prstGeom prst="rect">
            <a:avLst/>
          </a:prstGeom>
        </p:spPr>
      </p:pic>
      <p:sp>
        <p:nvSpPr>
          <p:cNvPr id="46" name="TextBox 45">
            <a:extLst>
              <a:ext uri="{FF2B5EF4-FFF2-40B4-BE49-F238E27FC236}">
                <a16:creationId xmlns:a16="http://schemas.microsoft.com/office/drawing/2014/main" id="{AC3E6267-6DC3-40DC-9E47-8013A752CF51}"/>
              </a:ext>
            </a:extLst>
          </p:cNvPr>
          <p:cNvSpPr txBox="1"/>
          <p:nvPr/>
        </p:nvSpPr>
        <p:spPr bwMode="gray">
          <a:xfrm>
            <a:off x="10347637" y="5008080"/>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Safety</a:t>
            </a:r>
            <a:endParaRPr lang="en-US" sz="1200" dirty="0" err="1">
              <a:solidFill>
                <a:schemeClr val="accent2"/>
              </a:solidFill>
            </a:endParaRPr>
          </a:p>
        </p:txBody>
      </p:sp>
    </p:spTree>
    <p:custDataLst>
      <p:tags r:id="rId1"/>
    </p:custDataLst>
    <p:extLst>
      <p:ext uri="{BB962C8B-B14F-4D97-AF65-F5344CB8AC3E}">
        <p14:creationId xmlns:p14="http://schemas.microsoft.com/office/powerpoint/2010/main" val="17629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A4FEB-DD82-431E-96DB-974DEA3B5F7F}"/>
              </a:ext>
            </a:extLst>
          </p:cNvPr>
          <p:cNvSpPr>
            <a:spLocks noGrp="1"/>
          </p:cNvSpPr>
          <p:nvPr>
            <p:ph type="title"/>
          </p:nvPr>
        </p:nvSpPr>
        <p:spPr bwMode="gray"/>
        <p:txBody>
          <a:bodyPr/>
          <a:lstStyle/>
          <a:p>
            <a:r>
              <a:rPr lang="de-DE" dirty="0"/>
              <a:t>Caldos27</a:t>
            </a:r>
            <a:endParaRPr lang="en-US" dirty="0"/>
          </a:p>
        </p:txBody>
      </p:sp>
      <p:sp>
        <p:nvSpPr>
          <p:cNvPr id="3" name="Footer Placeholder 2">
            <a:extLst>
              <a:ext uri="{FF2B5EF4-FFF2-40B4-BE49-F238E27FC236}">
                <a16:creationId xmlns:a16="http://schemas.microsoft.com/office/drawing/2014/main" id="{99C8EF8F-4C6B-402A-8717-330021361776}"/>
              </a:ext>
            </a:extLst>
          </p:cNvPr>
          <p:cNvSpPr>
            <a:spLocks noGrp="1"/>
          </p:cNvSpPr>
          <p:nvPr>
            <p:ph type="ftr" sz="quarter" idx="10"/>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Indication</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only</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depends</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on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measuring</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component</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nd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application</a:t>
            </a: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4" name="Date Placeholder 3">
            <a:extLst>
              <a:ext uri="{FF2B5EF4-FFF2-40B4-BE49-F238E27FC236}">
                <a16:creationId xmlns:a16="http://schemas.microsoft.com/office/drawing/2014/main" id="{0BF74DBF-3620-4999-A3DB-6353C7BE791B}"/>
              </a:ext>
            </a:extLst>
          </p:cNvPr>
          <p:cNvSpPr>
            <a:spLocks noGrp="1"/>
          </p:cNvSpPr>
          <p:nvPr>
            <p:ph type="dt" sz="half"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8FF341-9601-47A6-A4C1-F2885A66BAA5}"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4D10351D-1F9B-4C35-B046-3DF31CCC3E52}"/>
              </a:ext>
            </a:extLst>
          </p:cNvPr>
          <p:cNvSpPr>
            <a:spLocks noGrp="1"/>
          </p:cNvSpPr>
          <p:nvPr>
            <p:ph type="sldNum" sz="quarter" idx="12"/>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7" name="Content Placeholder 6">
            <a:extLst>
              <a:ext uri="{FF2B5EF4-FFF2-40B4-BE49-F238E27FC236}">
                <a16:creationId xmlns:a16="http://schemas.microsoft.com/office/drawing/2014/main" id="{8DF7FF26-40E6-4E2D-B5E3-EC07744075A3}"/>
              </a:ext>
            </a:extLst>
          </p:cNvPr>
          <p:cNvSpPr>
            <a:spLocks noGrp="1"/>
          </p:cNvSpPr>
          <p:nvPr>
            <p:ph sz="quarter" idx="19"/>
          </p:nvPr>
        </p:nvSpPr>
        <p:spPr bwMode="gray">
          <a:xfrm>
            <a:off x="332367" y="2081882"/>
            <a:ext cx="5603434" cy="3830230"/>
          </a:xfrm>
        </p:spPr>
        <p:txBody>
          <a:bodyPr/>
          <a:lstStyle/>
          <a:p>
            <a:pPr>
              <a:spcBef>
                <a:spcPts val="1800"/>
              </a:spcBef>
            </a:pPr>
            <a:r>
              <a:rPr lang="de-DE" dirty="0">
                <a:solidFill>
                  <a:schemeClr val="tx1"/>
                </a:solidFill>
              </a:rPr>
              <a:t>	Fast thermal </a:t>
            </a:r>
            <a:r>
              <a:rPr lang="de-DE" dirty="0" err="1">
                <a:solidFill>
                  <a:schemeClr val="tx1"/>
                </a:solidFill>
              </a:rPr>
              <a:t>conductivity</a:t>
            </a:r>
            <a:r>
              <a:rPr lang="de-DE" dirty="0">
                <a:solidFill>
                  <a:schemeClr val="tx1"/>
                </a:solidFill>
              </a:rPr>
              <a:t> </a:t>
            </a:r>
            <a:r>
              <a:rPr lang="de-DE" dirty="0" err="1">
                <a:solidFill>
                  <a:schemeClr val="tx1"/>
                </a:solidFill>
              </a:rPr>
              <a:t>detector</a:t>
            </a:r>
            <a:endParaRPr lang="de-DE" dirty="0">
              <a:solidFill>
                <a:schemeClr val="tx1"/>
              </a:solidFill>
            </a:endParaRPr>
          </a:p>
          <a:p>
            <a:endParaRPr lang="de-DE" sz="1600" dirty="0"/>
          </a:p>
          <a:p>
            <a:r>
              <a:rPr lang="de-DE" dirty="0" err="1"/>
              <a:t>Capabilities</a:t>
            </a:r>
            <a:endParaRPr lang="de-DE" dirty="0"/>
          </a:p>
          <a:p>
            <a:pPr lvl="1">
              <a:spcBef>
                <a:spcPts val="300"/>
              </a:spcBef>
            </a:pPr>
            <a:r>
              <a:rPr lang="de-DE" dirty="0"/>
              <a:t>Components:	</a:t>
            </a:r>
            <a:r>
              <a:rPr lang="en-US" dirty="0"/>
              <a:t>H</a:t>
            </a:r>
            <a:r>
              <a:rPr lang="en-US" baseline="-25000" dirty="0"/>
              <a:t>2</a:t>
            </a:r>
            <a:r>
              <a:rPr lang="en-US" dirty="0"/>
              <a:t>, He, </a:t>
            </a:r>
            <a:r>
              <a:rPr lang="en-US" dirty="0" err="1"/>
              <a:t>Ar</a:t>
            </a:r>
            <a:r>
              <a:rPr lang="en-US" dirty="0"/>
              <a:t>, N</a:t>
            </a:r>
            <a:r>
              <a:rPr lang="en-US" baseline="-25000" dirty="0"/>
              <a:t>2</a:t>
            </a:r>
            <a:r>
              <a:rPr lang="en-US" dirty="0"/>
              <a:t>, …</a:t>
            </a:r>
            <a:endParaRPr lang="de-DE" dirty="0"/>
          </a:p>
          <a:p>
            <a:pPr lvl="1">
              <a:spcBef>
                <a:spcPts val="300"/>
              </a:spcBef>
            </a:pPr>
            <a:r>
              <a:rPr lang="de-DE" dirty="0"/>
              <a:t>Ranges*: 	0 – 1 vol% </a:t>
            </a:r>
            <a:r>
              <a:rPr lang="de-DE" dirty="0" err="1"/>
              <a:t>up</a:t>
            </a:r>
            <a:r>
              <a:rPr lang="de-DE" dirty="0"/>
              <a:t> </a:t>
            </a:r>
            <a:r>
              <a:rPr lang="de-DE" dirty="0" err="1"/>
              <a:t>to</a:t>
            </a:r>
            <a:r>
              <a:rPr lang="de-DE" dirty="0"/>
              <a:t> 100 vol%</a:t>
            </a:r>
          </a:p>
          <a:p>
            <a:pPr>
              <a:spcBef>
                <a:spcPts val="1800"/>
              </a:spcBef>
            </a:pPr>
            <a:r>
              <a:rPr lang="de-DE" dirty="0"/>
              <a:t>Advantages</a:t>
            </a:r>
          </a:p>
          <a:p>
            <a:pPr lvl="1">
              <a:spcBef>
                <a:spcPts val="300"/>
              </a:spcBef>
            </a:pPr>
            <a:r>
              <a:rPr lang="de-DE" dirty="0" err="1"/>
              <a:t>Flexibility</a:t>
            </a:r>
            <a:r>
              <a:rPr lang="de-DE" dirty="0"/>
              <a:t> </a:t>
            </a:r>
            <a:r>
              <a:rPr lang="de-DE" dirty="0" err="1"/>
              <a:t>to</a:t>
            </a:r>
            <a:r>
              <a:rPr lang="de-DE" dirty="0"/>
              <a:t> </a:t>
            </a:r>
            <a:r>
              <a:rPr lang="de-DE" dirty="0" err="1"/>
              <a:t>cover</a:t>
            </a:r>
            <a:r>
              <a:rPr lang="de-DE" dirty="0"/>
              <a:t> </a:t>
            </a:r>
            <a:r>
              <a:rPr lang="de-DE" dirty="0" err="1"/>
              <a:t>wide</a:t>
            </a:r>
            <a:r>
              <a:rPr lang="de-DE" dirty="0"/>
              <a:t> </a:t>
            </a:r>
            <a:r>
              <a:rPr lang="de-DE" dirty="0" err="1"/>
              <a:t>variety</a:t>
            </a:r>
            <a:r>
              <a:rPr lang="de-DE" dirty="0"/>
              <a:t> </a:t>
            </a:r>
            <a:r>
              <a:rPr lang="de-DE" dirty="0" err="1"/>
              <a:t>of</a:t>
            </a:r>
            <a:r>
              <a:rPr lang="de-DE" dirty="0"/>
              <a:t> </a:t>
            </a:r>
            <a:r>
              <a:rPr lang="de-DE" dirty="0" err="1"/>
              <a:t>applications</a:t>
            </a:r>
            <a:endParaRPr lang="de-DE" dirty="0"/>
          </a:p>
          <a:p>
            <a:pPr lvl="1">
              <a:spcBef>
                <a:spcPts val="300"/>
              </a:spcBef>
            </a:pPr>
            <a:r>
              <a:rPr lang="de-DE" dirty="0"/>
              <a:t>Fast </a:t>
            </a:r>
            <a:r>
              <a:rPr lang="de-DE" dirty="0" err="1"/>
              <a:t>response</a:t>
            </a:r>
            <a:r>
              <a:rPr lang="de-DE" dirty="0"/>
              <a:t> (t</a:t>
            </a:r>
            <a:r>
              <a:rPr lang="de-DE" baseline="30000" dirty="0"/>
              <a:t>90</a:t>
            </a:r>
            <a:r>
              <a:rPr lang="de-DE" dirty="0"/>
              <a:t> &lt; 2s) </a:t>
            </a:r>
            <a:r>
              <a:rPr lang="de-DE" dirty="0" err="1"/>
              <a:t>for</a:t>
            </a:r>
            <a:r>
              <a:rPr lang="de-DE" dirty="0"/>
              <a:t> </a:t>
            </a:r>
            <a:r>
              <a:rPr lang="de-DE" dirty="0" err="1"/>
              <a:t>improved</a:t>
            </a:r>
            <a:r>
              <a:rPr lang="de-DE" dirty="0"/>
              <a:t> </a:t>
            </a:r>
            <a:r>
              <a:rPr lang="de-DE" dirty="0" err="1"/>
              <a:t>process</a:t>
            </a:r>
            <a:r>
              <a:rPr lang="de-DE" dirty="0"/>
              <a:t> </a:t>
            </a:r>
            <a:r>
              <a:rPr lang="de-DE" dirty="0" err="1"/>
              <a:t>control</a:t>
            </a:r>
            <a:endParaRPr lang="de-DE" dirty="0"/>
          </a:p>
          <a:p>
            <a:pPr lvl="1">
              <a:spcBef>
                <a:spcPts val="300"/>
              </a:spcBef>
            </a:pPr>
            <a:r>
              <a:rPr lang="de-DE" dirty="0"/>
              <a:t>Standard </a:t>
            </a:r>
            <a:r>
              <a:rPr lang="de-DE" dirty="0" err="1"/>
              <a:t>application</a:t>
            </a:r>
            <a:r>
              <a:rPr lang="de-DE" dirty="0"/>
              <a:t> </a:t>
            </a:r>
            <a:r>
              <a:rPr lang="de-DE" dirty="0" err="1"/>
              <a:t>for</a:t>
            </a:r>
            <a:r>
              <a:rPr lang="de-DE" dirty="0"/>
              <a:t> H</a:t>
            </a:r>
            <a:r>
              <a:rPr lang="de-DE" baseline="-25000" dirty="0"/>
              <a:t>2</a:t>
            </a:r>
            <a:r>
              <a:rPr lang="de-DE" dirty="0"/>
              <a:t> </a:t>
            </a:r>
            <a:r>
              <a:rPr lang="de-DE" dirty="0" err="1"/>
              <a:t>cooled</a:t>
            </a:r>
            <a:r>
              <a:rPr lang="de-DE" dirty="0"/>
              <a:t> </a:t>
            </a:r>
            <a:r>
              <a:rPr lang="de-DE" dirty="0" err="1"/>
              <a:t>turbogenerator</a:t>
            </a:r>
            <a:endParaRPr lang="en-US" dirty="0"/>
          </a:p>
          <a:p>
            <a:pPr lvl="1">
              <a:spcBef>
                <a:spcPts val="300"/>
              </a:spcBef>
            </a:pPr>
            <a:r>
              <a:rPr lang="de-DE" dirty="0"/>
              <a:t>S</a:t>
            </a:r>
            <a:r>
              <a:rPr lang="en-US" dirty="0" err="1"/>
              <a:t>tandard</a:t>
            </a:r>
            <a:r>
              <a:rPr lang="en-US" dirty="0"/>
              <a:t> application for blast furnace with Uras26</a:t>
            </a:r>
            <a:endParaRPr lang="de-DE" dirty="0"/>
          </a:p>
        </p:txBody>
      </p:sp>
      <p:sp>
        <p:nvSpPr>
          <p:cNvPr id="8" name="Subtitle 7">
            <a:extLst>
              <a:ext uri="{FF2B5EF4-FFF2-40B4-BE49-F238E27FC236}">
                <a16:creationId xmlns:a16="http://schemas.microsoft.com/office/drawing/2014/main" id="{0A22AA71-A8DB-47E5-B616-A5CB321F6A04}"/>
              </a:ext>
            </a:extLst>
          </p:cNvPr>
          <p:cNvSpPr>
            <a:spLocks noGrp="1"/>
          </p:cNvSpPr>
          <p:nvPr>
            <p:ph type="subTitle" idx="13"/>
          </p:nvPr>
        </p:nvSpPr>
        <p:spPr bwMode="gray"/>
        <p:txBody>
          <a:bodyPr/>
          <a:lstStyle/>
          <a:p>
            <a:r>
              <a:rPr lang="de-DE" dirty="0"/>
              <a:t>Thermal </a:t>
            </a:r>
            <a:r>
              <a:rPr lang="de-DE" dirty="0" err="1"/>
              <a:t>conductivity</a:t>
            </a:r>
            <a:r>
              <a:rPr lang="de-DE" dirty="0"/>
              <a:t> </a:t>
            </a:r>
            <a:r>
              <a:rPr lang="de-DE" dirty="0" err="1"/>
              <a:t>detector</a:t>
            </a:r>
            <a:r>
              <a:rPr lang="de-DE" dirty="0"/>
              <a:t> (TCD)</a:t>
            </a:r>
            <a:endParaRPr lang="en-US" dirty="0"/>
          </a:p>
        </p:txBody>
      </p:sp>
      <p:pic>
        <p:nvPicPr>
          <p:cNvPr id="23" name="Content Placeholder 10">
            <a:extLst>
              <a:ext uri="{FF2B5EF4-FFF2-40B4-BE49-F238E27FC236}">
                <a16:creationId xmlns:a16="http://schemas.microsoft.com/office/drawing/2014/main" id="{1CD9C100-B7B9-4FC8-80AB-DEB3555F0350}"/>
              </a:ext>
            </a:extLst>
          </p:cNvPr>
          <p:cNvPicPr>
            <a:picLocks noGrp="1" noChangeAspect="1"/>
          </p:cNvPicPr>
          <p:nvPr>
            <p:ph sz="quarter" idx="20"/>
          </p:nvPr>
        </p:nvPicPr>
        <p:blipFill>
          <a:blip r:embed="rId3"/>
          <a:stretch>
            <a:fillRect/>
          </a:stretch>
        </p:blipFill>
        <p:spPr bwMode="gray">
          <a:xfrm>
            <a:off x="7723506" y="1808419"/>
            <a:ext cx="2615191" cy="3361085"/>
          </a:xfrm>
        </p:spPr>
      </p:pic>
      <p:grpSp>
        <p:nvGrpSpPr>
          <p:cNvPr id="33" name="Group 32">
            <a:extLst>
              <a:ext uri="{FF2B5EF4-FFF2-40B4-BE49-F238E27FC236}">
                <a16:creationId xmlns:a16="http://schemas.microsoft.com/office/drawing/2014/main" id="{E756AD84-0120-472C-9D41-3ABDF46919D2}"/>
              </a:ext>
            </a:extLst>
          </p:cNvPr>
          <p:cNvGrpSpPr/>
          <p:nvPr/>
        </p:nvGrpSpPr>
        <p:grpSpPr bwMode="gray">
          <a:xfrm>
            <a:off x="338276" y="1935659"/>
            <a:ext cx="597600" cy="597600"/>
            <a:chOff x="4892270" y="-4691538"/>
            <a:chExt cx="597600" cy="597600"/>
          </a:xfrm>
        </p:grpSpPr>
        <p:sp>
          <p:nvSpPr>
            <p:cNvPr id="34" name="Rechteck 91">
              <a:extLst>
                <a:ext uri="{FF2B5EF4-FFF2-40B4-BE49-F238E27FC236}">
                  <a16:creationId xmlns:a16="http://schemas.microsoft.com/office/drawing/2014/main" id="{2A123E85-BA0F-4734-B008-8F5F8135FF08}"/>
                </a:ext>
              </a:extLst>
            </p:cNvPr>
            <p:cNvSpPr/>
            <p:nvPr/>
          </p:nvSpPr>
          <p:spPr bwMode="gray">
            <a:xfrm>
              <a:off x="4892270" y="-4691538"/>
              <a:ext cx="597600" cy="597600"/>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90000"/>
                </a:lnSpc>
                <a:spcBef>
                  <a:spcPts val="1100"/>
                </a:spcBef>
                <a:spcAft>
                  <a:spcPts val="0"/>
                </a:spcAft>
                <a:buClr>
                  <a:srgbClr val="002897"/>
                </a:buClr>
                <a:buSzPct val="70000"/>
                <a:buFontTx/>
                <a:buNone/>
                <a:tabLst/>
                <a:defRPr/>
              </a:pPr>
              <a:endParaRPr kumimoji="0" lang="en-US" sz="1000" b="1"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35" name="Rectangle 77">
              <a:extLst>
                <a:ext uri="{FF2B5EF4-FFF2-40B4-BE49-F238E27FC236}">
                  <a16:creationId xmlns:a16="http://schemas.microsoft.com/office/drawing/2014/main" id="{365ACA3B-DB24-4B2C-914F-C23FFDB1A735}"/>
                </a:ext>
              </a:extLst>
            </p:cNvPr>
            <p:cNvSpPr>
              <a:spLocks noChangeAspect="1"/>
            </p:cNvSpPr>
            <p:nvPr/>
          </p:nvSpPr>
          <p:spPr bwMode="gray">
            <a:xfrm>
              <a:off x="4952961" y="-4474155"/>
              <a:ext cx="476218" cy="243413"/>
            </a:xfrm>
            <a:custGeom>
              <a:avLst/>
              <a:gdLst>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6347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736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1279 w 4335715"/>
                <a:gd name="connsiteY160" fmla="*/ 8999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89185 w 4335715"/>
                <a:gd name="connsiteY158" fmla="*/ 10486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85414 w 4335715"/>
                <a:gd name="connsiteY159" fmla="*/ 7882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216 h 2214235"/>
                <a:gd name="connsiteX1" fmla="*/ 3334579 w 4335715"/>
                <a:gd name="connsiteY1" fmla="*/ 773262 h 2214235"/>
                <a:gd name="connsiteX2" fmla="*/ 3380985 w 4335715"/>
                <a:gd name="connsiteY2" fmla="*/ 1063685 h 2214235"/>
                <a:gd name="connsiteX3" fmla="*/ 3416474 w 4335715"/>
                <a:gd name="connsiteY3" fmla="*/ 773262 h 2214235"/>
                <a:gd name="connsiteX4" fmla="*/ 3371112 w 4335715"/>
                <a:gd name="connsiteY4" fmla="*/ 448216 h 2214235"/>
                <a:gd name="connsiteX5" fmla="*/ 2880217 w 4335715"/>
                <a:gd name="connsiteY5" fmla="*/ 448216 h 2214235"/>
                <a:gd name="connsiteX6" fmla="*/ 2843683 w 4335715"/>
                <a:gd name="connsiteY6" fmla="*/ 773262 h 2214235"/>
                <a:gd name="connsiteX7" fmla="*/ 2890090 w 4335715"/>
                <a:gd name="connsiteY7" fmla="*/ 1063685 h 2214235"/>
                <a:gd name="connsiteX8" fmla="*/ 2925579 w 4335715"/>
                <a:gd name="connsiteY8" fmla="*/ 773262 h 2214235"/>
                <a:gd name="connsiteX9" fmla="*/ 2880217 w 4335715"/>
                <a:gd name="connsiteY9" fmla="*/ 448216 h 2214235"/>
                <a:gd name="connsiteX10" fmla="*/ 2389322 w 4335715"/>
                <a:gd name="connsiteY10" fmla="*/ 448216 h 2214235"/>
                <a:gd name="connsiteX11" fmla="*/ 2352788 w 4335715"/>
                <a:gd name="connsiteY11" fmla="*/ 773262 h 2214235"/>
                <a:gd name="connsiteX12" fmla="*/ 2399195 w 4335715"/>
                <a:gd name="connsiteY12" fmla="*/ 1063685 h 2214235"/>
                <a:gd name="connsiteX13" fmla="*/ 2434683 w 4335715"/>
                <a:gd name="connsiteY13" fmla="*/ 773262 h 2214235"/>
                <a:gd name="connsiteX14" fmla="*/ 2389322 w 4335715"/>
                <a:gd name="connsiteY14" fmla="*/ 448216 h 2214235"/>
                <a:gd name="connsiteX15" fmla="*/ 1898426 w 4335715"/>
                <a:gd name="connsiteY15" fmla="*/ 448216 h 2214235"/>
                <a:gd name="connsiteX16" fmla="*/ 1861893 w 4335715"/>
                <a:gd name="connsiteY16" fmla="*/ 773262 h 2214235"/>
                <a:gd name="connsiteX17" fmla="*/ 1908299 w 4335715"/>
                <a:gd name="connsiteY17" fmla="*/ 1063678 h 2214235"/>
                <a:gd name="connsiteX18" fmla="*/ 1943788 w 4335715"/>
                <a:gd name="connsiteY18" fmla="*/ 773262 h 2214235"/>
                <a:gd name="connsiteX19" fmla="*/ 1898426 w 4335715"/>
                <a:gd name="connsiteY19" fmla="*/ 448216 h 2214235"/>
                <a:gd name="connsiteX20" fmla="*/ 1407531 w 4335715"/>
                <a:gd name="connsiteY20" fmla="*/ 448216 h 2214235"/>
                <a:gd name="connsiteX21" fmla="*/ 1370998 w 4335715"/>
                <a:gd name="connsiteY21" fmla="*/ 773262 h 2214235"/>
                <a:gd name="connsiteX22" fmla="*/ 1417404 w 4335715"/>
                <a:gd name="connsiteY22" fmla="*/ 1063685 h 2214235"/>
                <a:gd name="connsiteX23" fmla="*/ 1452893 w 4335715"/>
                <a:gd name="connsiteY23" fmla="*/ 773262 h 2214235"/>
                <a:gd name="connsiteX24" fmla="*/ 1407531 w 4335715"/>
                <a:gd name="connsiteY24" fmla="*/ 448216 h 2214235"/>
                <a:gd name="connsiteX25" fmla="*/ 916636 w 4335715"/>
                <a:gd name="connsiteY25" fmla="*/ 448216 h 2214235"/>
                <a:gd name="connsiteX26" fmla="*/ 880102 w 4335715"/>
                <a:gd name="connsiteY26" fmla="*/ 773262 h 2214235"/>
                <a:gd name="connsiteX27" fmla="*/ 926509 w 4335715"/>
                <a:gd name="connsiteY27" fmla="*/ 1063685 h 2214235"/>
                <a:gd name="connsiteX28" fmla="*/ 961997 w 4335715"/>
                <a:gd name="connsiteY28" fmla="*/ 773262 h 2214235"/>
                <a:gd name="connsiteX29" fmla="*/ 916636 w 4335715"/>
                <a:gd name="connsiteY29" fmla="*/ 448216 h 2214235"/>
                <a:gd name="connsiteX30" fmla="*/ 3613900 w 4335715"/>
                <a:gd name="connsiteY30" fmla="*/ 129632 h 2214235"/>
                <a:gd name="connsiteX31" fmla="*/ 3564779 w 4335715"/>
                <a:gd name="connsiteY31" fmla="*/ 148841 h 2214235"/>
                <a:gd name="connsiteX32" fmla="*/ 3397420 w 4335715"/>
                <a:gd name="connsiteY32" fmla="*/ 374445 h 2214235"/>
                <a:gd name="connsiteX33" fmla="*/ 3463220 w 4335715"/>
                <a:gd name="connsiteY33" fmla="*/ 773269 h 2214235"/>
                <a:gd name="connsiteX34" fmla="*/ 3407544 w 4335715"/>
                <a:gd name="connsiteY34" fmla="*/ 1150373 h 2214235"/>
                <a:gd name="connsiteX35" fmla="*/ 3620977 w 4335715"/>
                <a:gd name="connsiteY35" fmla="*/ 1393412 h 2214235"/>
                <a:gd name="connsiteX36" fmla="*/ 3907369 w 4335715"/>
                <a:gd name="connsiteY36" fmla="*/ 773262 h 2214235"/>
                <a:gd name="connsiteX37" fmla="*/ 3700538 w 4335715"/>
                <a:gd name="connsiteY37" fmla="*/ 181840 h 2214235"/>
                <a:gd name="connsiteX38" fmla="*/ 3613900 w 4335715"/>
                <a:gd name="connsiteY38" fmla="*/ 129632 h 2214235"/>
                <a:gd name="connsiteX39" fmla="*/ 3123005 w 4335715"/>
                <a:gd name="connsiteY39" fmla="*/ 129632 h 2214235"/>
                <a:gd name="connsiteX40" fmla="*/ 3073884 w 4335715"/>
                <a:gd name="connsiteY40" fmla="*/ 148841 h 2214235"/>
                <a:gd name="connsiteX41" fmla="*/ 2906525 w 4335715"/>
                <a:gd name="connsiteY41" fmla="*/ 374445 h 2214235"/>
                <a:gd name="connsiteX42" fmla="*/ 2972324 w 4335715"/>
                <a:gd name="connsiteY42" fmla="*/ 773269 h 2214235"/>
                <a:gd name="connsiteX43" fmla="*/ 2916649 w 4335715"/>
                <a:gd name="connsiteY43" fmla="*/ 1150373 h 2214235"/>
                <a:gd name="connsiteX44" fmla="*/ 3130082 w 4335715"/>
                <a:gd name="connsiteY44" fmla="*/ 1393412 h 2214235"/>
                <a:gd name="connsiteX45" fmla="*/ 3349724 w 4335715"/>
                <a:gd name="connsiteY45" fmla="*/ 1164205 h 2214235"/>
                <a:gd name="connsiteX46" fmla="*/ 3287833 w 4335715"/>
                <a:gd name="connsiteY46" fmla="*/ 773269 h 2214235"/>
                <a:gd name="connsiteX47" fmla="*/ 3342599 w 4335715"/>
                <a:gd name="connsiteY47" fmla="*/ 384504 h 2214235"/>
                <a:gd name="connsiteX48" fmla="*/ 3209643 w 4335715"/>
                <a:gd name="connsiteY48" fmla="*/ 181840 h 2214235"/>
                <a:gd name="connsiteX49" fmla="*/ 3123005 w 4335715"/>
                <a:gd name="connsiteY49" fmla="*/ 129632 h 2214235"/>
                <a:gd name="connsiteX50" fmla="*/ 2632109 w 4335715"/>
                <a:gd name="connsiteY50" fmla="*/ 129632 h 2214235"/>
                <a:gd name="connsiteX51" fmla="*/ 2582989 w 4335715"/>
                <a:gd name="connsiteY51" fmla="*/ 148841 h 2214235"/>
                <a:gd name="connsiteX52" fmla="*/ 2415629 w 4335715"/>
                <a:gd name="connsiteY52" fmla="*/ 374445 h 2214235"/>
                <a:gd name="connsiteX53" fmla="*/ 2481429 w 4335715"/>
                <a:gd name="connsiteY53" fmla="*/ 773269 h 2214235"/>
                <a:gd name="connsiteX54" fmla="*/ 2425753 w 4335715"/>
                <a:gd name="connsiteY54" fmla="*/ 1150373 h 2214235"/>
                <a:gd name="connsiteX55" fmla="*/ 2639187 w 4335715"/>
                <a:gd name="connsiteY55" fmla="*/ 1393412 h 2214235"/>
                <a:gd name="connsiteX56" fmla="*/ 2858829 w 4335715"/>
                <a:gd name="connsiteY56" fmla="*/ 1164205 h 2214235"/>
                <a:gd name="connsiteX57" fmla="*/ 2796938 w 4335715"/>
                <a:gd name="connsiteY57" fmla="*/ 773269 h 2214235"/>
                <a:gd name="connsiteX58" fmla="*/ 2851704 w 4335715"/>
                <a:gd name="connsiteY58" fmla="*/ 384504 h 2214235"/>
                <a:gd name="connsiteX59" fmla="*/ 2718748 w 4335715"/>
                <a:gd name="connsiteY59" fmla="*/ 181840 h 2214235"/>
                <a:gd name="connsiteX60" fmla="*/ 2632109 w 4335715"/>
                <a:gd name="connsiteY60" fmla="*/ 129632 h 2214235"/>
                <a:gd name="connsiteX61" fmla="*/ 2141214 w 4335715"/>
                <a:gd name="connsiteY61" fmla="*/ 129632 h 2214235"/>
                <a:gd name="connsiteX62" fmla="*/ 2092093 w 4335715"/>
                <a:gd name="connsiteY62" fmla="*/ 148841 h 2214235"/>
                <a:gd name="connsiteX63" fmla="*/ 1924734 w 4335715"/>
                <a:gd name="connsiteY63" fmla="*/ 374445 h 2214235"/>
                <a:gd name="connsiteX64" fmla="*/ 1990534 w 4335715"/>
                <a:gd name="connsiteY64" fmla="*/ 773269 h 2214235"/>
                <a:gd name="connsiteX65" fmla="*/ 1934858 w 4335715"/>
                <a:gd name="connsiteY65" fmla="*/ 1150373 h 2214235"/>
                <a:gd name="connsiteX66" fmla="*/ 2148291 w 4335715"/>
                <a:gd name="connsiteY66" fmla="*/ 1393412 h 2214235"/>
                <a:gd name="connsiteX67" fmla="*/ 2367934 w 4335715"/>
                <a:gd name="connsiteY67" fmla="*/ 1164205 h 2214235"/>
                <a:gd name="connsiteX68" fmla="*/ 2306036 w 4335715"/>
                <a:gd name="connsiteY68" fmla="*/ 773269 h 2214235"/>
                <a:gd name="connsiteX69" fmla="*/ 2360809 w 4335715"/>
                <a:gd name="connsiteY69" fmla="*/ 384504 h 2214235"/>
                <a:gd name="connsiteX70" fmla="*/ 2227852 w 4335715"/>
                <a:gd name="connsiteY70" fmla="*/ 181840 h 2214235"/>
                <a:gd name="connsiteX71" fmla="*/ 2141214 w 4335715"/>
                <a:gd name="connsiteY71" fmla="*/ 129632 h 2214235"/>
                <a:gd name="connsiteX72" fmla="*/ 1650319 w 4335715"/>
                <a:gd name="connsiteY72" fmla="*/ 129632 h 2214235"/>
                <a:gd name="connsiteX73" fmla="*/ 1601198 w 4335715"/>
                <a:gd name="connsiteY73" fmla="*/ 148841 h 2214235"/>
                <a:gd name="connsiteX74" fmla="*/ 1433839 w 4335715"/>
                <a:gd name="connsiteY74" fmla="*/ 374445 h 2214235"/>
                <a:gd name="connsiteX75" fmla="*/ 1499638 w 4335715"/>
                <a:gd name="connsiteY75" fmla="*/ 773269 h 2214235"/>
                <a:gd name="connsiteX76" fmla="*/ 1443963 w 4335715"/>
                <a:gd name="connsiteY76" fmla="*/ 1150373 h 2214235"/>
                <a:gd name="connsiteX77" fmla="*/ 1657396 w 4335715"/>
                <a:gd name="connsiteY77" fmla="*/ 1393412 h 2214235"/>
                <a:gd name="connsiteX78" fmla="*/ 1877038 w 4335715"/>
                <a:gd name="connsiteY78" fmla="*/ 1164205 h 2214235"/>
                <a:gd name="connsiteX79" fmla="*/ 1815140 w 4335715"/>
                <a:gd name="connsiteY79" fmla="*/ 773269 h 2214235"/>
                <a:gd name="connsiteX80" fmla="*/ 1869913 w 4335715"/>
                <a:gd name="connsiteY80" fmla="*/ 384504 h 2214235"/>
                <a:gd name="connsiteX81" fmla="*/ 1736957 w 4335715"/>
                <a:gd name="connsiteY81" fmla="*/ 181840 h 2214235"/>
                <a:gd name="connsiteX82" fmla="*/ 1650319 w 4335715"/>
                <a:gd name="connsiteY82" fmla="*/ 129632 h 2214235"/>
                <a:gd name="connsiteX83" fmla="*/ 1159423 w 4335715"/>
                <a:gd name="connsiteY83" fmla="*/ 129632 h 2214235"/>
                <a:gd name="connsiteX84" fmla="*/ 1110303 w 4335715"/>
                <a:gd name="connsiteY84" fmla="*/ 148841 h 2214235"/>
                <a:gd name="connsiteX85" fmla="*/ 942937 w 4335715"/>
                <a:gd name="connsiteY85" fmla="*/ 374445 h 2214235"/>
                <a:gd name="connsiteX86" fmla="*/ 1008736 w 4335715"/>
                <a:gd name="connsiteY86" fmla="*/ 773269 h 2214235"/>
                <a:gd name="connsiteX87" fmla="*/ 953068 w 4335715"/>
                <a:gd name="connsiteY87" fmla="*/ 1150373 h 2214235"/>
                <a:gd name="connsiteX88" fmla="*/ 1166494 w 4335715"/>
                <a:gd name="connsiteY88" fmla="*/ 1393412 h 2214235"/>
                <a:gd name="connsiteX89" fmla="*/ 1386143 w 4335715"/>
                <a:gd name="connsiteY89" fmla="*/ 1164205 h 2214235"/>
                <a:gd name="connsiteX90" fmla="*/ 1324245 w 4335715"/>
                <a:gd name="connsiteY90" fmla="*/ 773269 h 2214235"/>
                <a:gd name="connsiteX91" fmla="*/ 1379018 w 4335715"/>
                <a:gd name="connsiteY91" fmla="*/ 384504 h 2214235"/>
                <a:gd name="connsiteX92" fmla="*/ 1246062 w 4335715"/>
                <a:gd name="connsiteY92" fmla="*/ 181840 h 2214235"/>
                <a:gd name="connsiteX93" fmla="*/ 1159423 w 4335715"/>
                <a:gd name="connsiteY93" fmla="*/ 129632 h 2214235"/>
                <a:gd name="connsiteX94" fmla="*/ 658140 w 4335715"/>
                <a:gd name="connsiteY94" fmla="*/ 129625 h 2214235"/>
                <a:gd name="connsiteX95" fmla="*/ 619408 w 4335715"/>
                <a:gd name="connsiteY95" fmla="*/ 148841 h 2214235"/>
                <a:gd name="connsiteX96" fmla="*/ 389207 w 4335715"/>
                <a:gd name="connsiteY96" fmla="*/ 773262 h 2214235"/>
                <a:gd name="connsiteX97" fmla="*/ 675599 w 4335715"/>
                <a:gd name="connsiteY97" fmla="*/ 1393412 h 2214235"/>
                <a:gd name="connsiteX98" fmla="*/ 895248 w 4335715"/>
                <a:gd name="connsiteY98" fmla="*/ 1164205 h 2214235"/>
                <a:gd name="connsiteX99" fmla="*/ 833350 w 4335715"/>
                <a:gd name="connsiteY99" fmla="*/ 773269 h 2214235"/>
                <a:gd name="connsiteX100" fmla="*/ 888123 w 4335715"/>
                <a:gd name="connsiteY100" fmla="*/ 384504 h 2214235"/>
                <a:gd name="connsiteX101" fmla="*/ 755166 w 4335715"/>
                <a:gd name="connsiteY101" fmla="*/ 181840 h 2214235"/>
                <a:gd name="connsiteX102" fmla="*/ 658140 w 4335715"/>
                <a:gd name="connsiteY102" fmla="*/ 129625 h 2214235"/>
                <a:gd name="connsiteX103" fmla="*/ 1394777 w 4335715"/>
                <a:gd name="connsiteY103" fmla="*/ 84746 h 2214235"/>
                <a:gd name="connsiteX104" fmla="*/ 1242866 w 4335715"/>
                <a:gd name="connsiteY104" fmla="*/ 99936 h 2214235"/>
                <a:gd name="connsiteX105" fmla="*/ 1407246 w 4335715"/>
                <a:gd name="connsiteY105" fmla="*/ 314104 h 2214235"/>
                <a:gd name="connsiteX106" fmla="*/ 1563185 w 4335715"/>
                <a:gd name="connsiteY106" fmla="*/ 104869 h 2214235"/>
                <a:gd name="connsiteX107" fmla="*/ 1430968 w 4335715"/>
                <a:gd name="connsiteY107" fmla="*/ 85115 h 2214235"/>
                <a:gd name="connsiteX108" fmla="*/ 1394777 w 4335715"/>
                <a:gd name="connsiteY108" fmla="*/ 84746 h 2214235"/>
                <a:gd name="connsiteX109" fmla="*/ 3365982 w 4335715"/>
                <a:gd name="connsiteY109" fmla="*/ 81982 h 2214235"/>
                <a:gd name="connsiteX110" fmla="*/ 3206447 w 4335715"/>
                <a:gd name="connsiteY110" fmla="*/ 99936 h 2214235"/>
                <a:gd name="connsiteX111" fmla="*/ 3370827 w 4335715"/>
                <a:gd name="connsiteY111" fmla="*/ 314104 h 2214235"/>
                <a:gd name="connsiteX112" fmla="*/ 3526773 w 4335715"/>
                <a:gd name="connsiteY112" fmla="*/ 104869 h 2214235"/>
                <a:gd name="connsiteX113" fmla="*/ 3365982 w 4335715"/>
                <a:gd name="connsiteY113" fmla="*/ 81982 h 2214235"/>
                <a:gd name="connsiteX114" fmla="*/ 2371204 w 4335715"/>
                <a:gd name="connsiteY114" fmla="*/ 81246 h 2214235"/>
                <a:gd name="connsiteX115" fmla="*/ 2224656 w 4335715"/>
                <a:gd name="connsiteY115" fmla="*/ 99936 h 2214235"/>
                <a:gd name="connsiteX116" fmla="*/ 2389037 w 4335715"/>
                <a:gd name="connsiteY116" fmla="*/ 314104 h 2214235"/>
                <a:gd name="connsiteX117" fmla="*/ 2544976 w 4335715"/>
                <a:gd name="connsiteY117" fmla="*/ 104869 h 2214235"/>
                <a:gd name="connsiteX118" fmla="*/ 2371204 w 4335715"/>
                <a:gd name="connsiteY118" fmla="*/ 81246 h 2214235"/>
                <a:gd name="connsiteX119" fmla="*/ 1895889 w 4335715"/>
                <a:gd name="connsiteY119" fmla="*/ 81246 h 2214235"/>
                <a:gd name="connsiteX120" fmla="*/ 1733761 w 4335715"/>
                <a:gd name="connsiteY120" fmla="*/ 99936 h 2214235"/>
                <a:gd name="connsiteX121" fmla="*/ 1898141 w 4335715"/>
                <a:gd name="connsiteY121" fmla="*/ 314104 h 2214235"/>
                <a:gd name="connsiteX122" fmla="*/ 2054081 w 4335715"/>
                <a:gd name="connsiteY122" fmla="*/ 104869 h 2214235"/>
                <a:gd name="connsiteX123" fmla="*/ 1895889 w 4335715"/>
                <a:gd name="connsiteY123" fmla="*/ 81246 h 2214235"/>
                <a:gd name="connsiteX124" fmla="*/ 2877686 w 4335715"/>
                <a:gd name="connsiteY124" fmla="*/ 80672 h 2214235"/>
                <a:gd name="connsiteX125" fmla="*/ 2715552 w 4335715"/>
                <a:gd name="connsiteY125" fmla="*/ 99936 h 2214235"/>
                <a:gd name="connsiteX126" fmla="*/ 2879932 w 4335715"/>
                <a:gd name="connsiteY126" fmla="*/ 314104 h 2214235"/>
                <a:gd name="connsiteX127" fmla="*/ 3035878 w 4335715"/>
                <a:gd name="connsiteY127" fmla="*/ 104869 h 2214235"/>
                <a:gd name="connsiteX128" fmla="*/ 2877686 w 4335715"/>
                <a:gd name="connsiteY128" fmla="*/ 80672 h 2214235"/>
                <a:gd name="connsiteX129" fmla="*/ 893321 w 4335715"/>
                <a:gd name="connsiteY129" fmla="*/ 77383 h 2214235"/>
                <a:gd name="connsiteX130" fmla="*/ 751970 w 4335715"/>
                <a:gd name="connsiteY130" fmla="*/ 99936 h 2214235"/>
                <a:gd name="connsiteX131" fmla="*/ 916351 w 4335715"/>
                <a:gd name="connsiteY131" fmla="*/ 314104 h 2214235"/>
                <a:gd name="connsiteX132" fmla="*/ 1072290 w 4335715"/>
                <a:gd name="connsiteY132" fmla="*/ 104869 h 2214235"/>
                <a:gd name="connsiteX133" fmla="*/ 893321 w 4335715"/>
                <a:gd name="connsiteY133" fmla="*/ 77383 h 2214235"/>
                <a:gd name="connsiteX134" fmla="*/ 3898116 w 4335715"/>
                <a:gd name="connsiteY134" fmla="*/ 97 h 2214235"/>
                <a:gd name="connsiteX135" fmla="*/ 4335715 w 4335715"/>
                <a:gd name="connsiteY135" fmla="*/ 899978 h 2214235"/>
                <a:gd name="connsiteX136" fmla="*/ 4331822 w 4335715"/>
                <a:gd name="connsiteY136" fmla="*/ 899978 h 2214235"/>
                <a:gd name="connsiteX137" fmla="*/ 4331822 w 4335715"/>
                <a:gd name="connsiteY137" fmla="*/ 2214235 h 2214235"/>
                <a:gd name="connsiteX138" fmla="*/ 4281422 w 4335715"/>
                <a:gd name="connsiteY138" fmla="*/ 2214235 h 2214235"/>
                <a:gd name="connsiteX139" fmla="*/ 4281422 w 4335715"/>
                <a:gd name="connsiteY139" fmla="*/ 894337 h 2214235"/>
                <a:gd name="connsiteX140" fmla="*/ 4284549 w 4335715"/>
                <a:gd name="connsiteY140" fmla="*/ 894337 h 2214235"/>
                <a:gd name="connsiteX141" fmla="*/ 3924991 w 4335715"/>
                <a:gd name="connsiteY141" fmla="*/ 66042 h 2214235"/>
                <a:gd name="connsiteX142" fmla="*/ 3684110 w 4335715"/>
                <a:gd name="connsiteY142" fmla="*/ 96606 h 2214235"/>
                <a:gd name="connsiteX143" fmla="*/ 3954115 w 4335715"/>
                <a:gd name="connsiteY143" fmla="*/ 773269 h 2214235"/>
                <a:gd name="connsiteX144" fmla="*/ 3620971 w 4335715"/>
                <a:gd name="connsiteY144" fmla="*/ 1465675 h 2214235"/>
                <a:gd name="connsiteX145" fmla="*/ 3376310 w 4335715"/>
                <a:gd name="connsiteY145" fmla="*/ 1236741 h 2214235"/>
                <a:gd name="connsiteX146" fmla="*/ 3130075 w 4335715"/>
                <a:gd name="connsiteY146" fmla="*/ 1465675 h 2214235"/>
                <a:gd name="connsiteX147" fmla="*/ 2885415 w 4335715"/>
                <a:gd name="connsiteY147" fmla="*/ 1236741 h 2214235"/>
                <a:gd name="connsiteX148" fmla="*/ 2639180 w 4335715"/>
                <a:gd name="connsiteY148" fmla="*/ 1465675 h 2214235"/>
                <a:gd name="connsiteX149" fmla="*/ 2394519 w 4335715"/>
                <a:gd name="connsiteY149" fmla="*/ 1236741 h 2214235"/>
                <a:gd name="connsiteX150" fmla="*/ 2148285 w 4335715"/>
                <a:gd name="connsiteY150" fmla="*/ 1465675 h 2214235"/>
                <a:gd name="connsiteX151" fmla="*/ 1903624 w 4335715"/>
                <a:gd name="connsiteY151" fmla="*/ 1236741 h 2214235"/>
                <a:gd name="connsiteX152" fmla="*/ 1657389 w 4335715"/>
                <a:gd name="connsiteY152" fmla="*/ 1465675 h 2214235"/>
                <a:gd name="connsiteX153" fmla="*/ 1412729 w 4335715"/>
                <a:gd name="connsiteY153" fmla="*/ 1236741 h 2214235"/>
                <a:gd name="connsiteX154" fmla="*/ 1166494 w 4335715"/>
                <a:gd name="connsiteY154" fmla="*/ 1465675 h 2214235"/>
                <a:gd name="connsiteX155" fmla="*/ 921834 w 4335715"/>
                <a:gd name="connsiteY155" fmla="*/ 1236741 h 2214235"/>
                <a:gd name="connsiteX156" fmla="*/ 675599 w 4335715"/>
                <a:gd name="connsiteY156" fmla="*/ 1465675 h 2214235"/>
                <a:gd name="connsiteX157" fmla="*/ 342454 w 4335715"/>
                <a:gd name="connsiteY157" fmla="*/ 773269 h 2214235"/>
                <a:gd name="connsiteX158" fmla="*/ 596805 w 4335715"/>
                <a:gd name="connsiteY158" fmla="*/ 94709 h 2214235"/>
                <a:gd name="connsiteX159" fmla="*/ 395574 w 4335715"/>
                <a:gd name="connsiteY159" fmla="*/ 101683 h 2214235"/>
                <a:gd name="connsiteX160" fmla="*/ 56359 w 4335715"/>
                <a:gd name="connsiteY160" fmla="*/ 887278 h 2214235"/>
                <a:gd name="connsiteX161" fmla="*/ 55480 w 4335715"/>
                <a:gd name="connsiteY161" fmla="*/ 999038 h 2214235"/>
                <a:gd name="connsiteX162" fmla="*/ 50400 w 4335715"/>
                <a:gd name="connsiteY162" fmla="*/ 2214235 h 2214235"/>
                <a:gd name="connsiteX163" fmla="*/ 0 w 4335715"/>
                <a:gd name="connsiteY163" fmla="*/ 2214235 h 2214235"/>
                <a:gd name="connsiteX164" fmla="*/ 0 w 4335715"/>
                <a:gd name="connsiteY164" fmla="*/ 899978 h 2214235"/>
                <a:gd name="connsiteX165" fmla="*/ 0 w 4335715"/>
                <a:gd name="connsiteY165" fmla="*/ 894337 h 2214235"/>
                <a:gd name="connsiteX166" fmla="*/ 408 w 4335715"/>
                <a:gd name="connsiteY166" fmla="*/ 894337 h 2214235"/>
                <a:gd name="connsiteX167" fmla="*/ 381804 w 4335715"/>
                <a:gd name="connsiteY167" fmla="*/ 22323 h 2214235"/>
                <a:gd name="connsiteX168" fmla="*/ 664016 w 4335715"/>
                <a:gd name="connsiteY168" fmla="*/ 52272 h 2214235"/>
                <a:gd name="connsiteX169" fmla="*/ 890905 w 4335715"/>
                <a:gd name="connsiteY169" fmla="*/ 16229 h 2214235"/>
                <a:gd name="connsiteX170" fmla="*/ 1154911 w 4335715"/>
                <a:gd name="connsiteY170" fmla="*/ 52272 h 2214235"/>
                <a:gd name="connsiteX171" fmla="*/ 1389590 w 4335715"/>
                <a:gd name="connsiteY171" fmla="*/ 12360 h 2214235"/>
                <a:gd name="connsiteX172" fmla="*/ 1645806 w 4335715"/>
                <a:gd name="connsiteY172" fmla="*/ 52272 h 2214235"/>
                <a:gd name="connsiteX173" fmla="*/ 1880485 w 4335715"/>
                <a:gd name="connsiteY173" fmla="*/ 16229 h 2214235"/>
                <a:gd name="connsiteX174" fmla="*/ 2136702 w 4335715"/>
                <a:gd name="connsiteY174" fmla="*/ 52272 h 2214235"/>
                <a:gd name="connsiteX175" fmla="*/ 2355801 w 4335715"/>
                <a:gd name="connsiteY175" fmla="*/ 20099 h 2214235"/>
                <a:gd name="connsiteX176" fmla="*/ 2627597 w 4335715"/>
                <a:gd name="connsiteY176" fmla="*/ 52272 h 2214235"/>
                <a:gd name="connsiteX177" fmla="*/ 2869889 w 4335715"/>
                <a:gd name="connsiteY177" fmla="*/ 15697 h 2214235"/>
                <a:gd name="connsiteX178" fmla="*/ 3118492 w 4335715"/>
                <a:gd name="connsiteY178" fmla="*/ 52272 h 2214235"/>
                <a:gd name="connsiteX179" fmla="*/ 3373772 w 4335715"/>
                <a:gd name="connsiteY179" fmla="*/ 15697 h 2214235"/>
                <a:gd name="connsiteX180" fmla="*/ 3614585 w 4335715"/>
                <a:gd name="connsiteY180" fmla="*/ 60003 h 2214235"/>
                <a:gd name="connsiteX181" fmla="*/ 3813457 w 4335715"/>
                <a:gd name="connsiteY181" fmla="*/ 8287 h 2214235"/>
                <a:gd name="connsiteX182" fmla="*/ 3898116 w 4335715"/>
                <a:gd name="connsiteY182" fmla="*/ 97 h 2214235"/>
                <a:gd name="connsiteX0" fmla="*/ 3371112 w 4335715"/>
                <a:gd name="connsiteY0" fmla="*/ 448544 h 2214563"/>
                <a:gd name="connsiteX1" fmla="*/ 3334579 w 4335715"/>
                <a:gd name="connsiteY1" fmla="*/ 773590 h 2214563"/>
                <a:gd name="connsiteX2" fmla="*/ 3380985 w 4335715"/>
                <a:gd name="connsiteY2" fmla="*/ 1064013 h 2214563"/>
                <a:gd name="connsiteX3" fmla="*/ 3416474 w 4335715"/>
                <a:gd name="connsiteY3" fmla="*/ 773590 h 2214563"/>
                <a:gd name="connsiteX4" fmla="*/ 3371112 w 4335715"/>
                <a:gd name="connsiteY4" fmla="*/ 448544 h 2214563"/>
                <a:gd name="connsiteX5" fmla="*/ 2880217 w 4335715"/>
                <a:gd name="connsiteY5" fmla="*/ 448544 h 2214563"/>
                <a:gd name="connsiteX6" fmla="*/ 2843683 w 4335715"/>
                <a:gd name="connsiteY6" fmla="*/ 773590 h 2214563"/>
                <a:gd name="connsiteX7" fmla="*/ 2890090 w 4335715"/>
                <a:gd name="connsiteY7" fmla="*/ 1064013 h 2214563"/>
                <a:gd name="connsiteX8" fmla="*/ 2925579 w 4335715"/>
                <a:gd name="connsiteY8" fmla="*/ 773590 h 2214563"/>
                <a:gd name="connsiteX9" fmla="*/ 2880217 w 4335715"/>
                <a:gd name="connsiteY9" fmla="*/ 448544 h 2214563"/>
                <a:gd name="connsiteX10" fmla="*/ 2389322 w 4335715"/>
                <a:gd name="connsiteY10" fmla="*/ 448544 h 2214563"/>
                <a:gd name="connsiteX11" fmla="*/ 2352788 w 4335715"/>
                <a:gd name="connsiteY11" fmla="*/ 773590 h 2214563"/>
                <a:gd name="connsiteX12" fmla="*/ 2399195 w 4335715"/>
                <a:gd name="connsiteY12" fmla="*/ 1064013 h 2214563"/>
                <a:gd name="connsiteX13" fmla="*/ 2434683 w 4335715"/>
                <a:gd name="connsiteY13" fmla="*/ 773590 h 2214563"/>
                <a:gd name="connsiteX14" fmla="*/ 2389322 w 4335715"/>
                <a:gd name="connsiteY14" fmla="*/ 448544 h 2214563"/>
                <a:gd name="connsiteX15" fmla="*/ 1898426 w 4335715"/>
                <a:gd name="connsiteY15" fmla="*/ 448544 h 2214563"/>
                <a:gd name="connsiteX16" fmla="*/ 1861893 w 4335715"/>
                <a:gd name="connsiteY16" fmla="*/ 773590 h 2214563"/>
                <a:gd name="connsiteX17" fmla="*/ 1908299 w 4335715"/>
                <a:gd name="connsiteY17" fmla="*/ 1064006 h 2214563"/>
                <a:gd name="connsiteX18" fmla="*/ 1943788 w 4335715"/>
                <a:gd name="connsiteY18" fmla="*/ 773590 h 2214563"/>
                <a:gd name="connsiteX19" fmla="*/ 1898426 w 4335715"/>
                <a:gd name="connsiteY19" fmla="*/ 448544 h 2214563"/>
                <a:gd name="connsiteX20" fmla="*/ 1407531 w 4335715"/>
                <a:gd name="connsiteY20" fmla="*/ 448544 h 2214563"/>
                <a:gd name="connsiteX21" fmla="*/ 1370998 w 4335715"/>
                <a:gd name="connsiteY21" fmla="*/ 773590 h 2214563"/>
                <a:gd name="connsiteX22" fmla="*/ 1417404 w 4335715"/>
                <a:gd name="connsiteY22" fmla="*/ 1064013 h 2214563"/>
                <a:gd name="connsiteX23" fmla="*/ 1452893 w 4335715"/>
                <a:gd name="connsiteY23" fmla="*/ 773590 h 2214563"/>
                <a:gd name="connsiteX24" fmla="*/ 1407531 w 4335715"/>
                <a:gd name="connsiteY24" fmla="*/ 448544 h 2214563"/>
                <a:gd name="connsiteX25" fmla="*/ 916636 w 4335715"/>
                <a:gd name="connsiteY25" fmla="*/ 448544 h 2214563"/>
                <a:gd name="connsiteX26" fmla="*/ 880102 w 4335715"/>
                <a:gd name="connsiteY26" fmla="*/ 773590 h 2214563"/>
                <a:gd name="connsiteX27" fmla="*/ 926509 w 4335715"/>
                <a:gd name="connsiteY27" fmla="*/ 1064013 h 2214563"/>
                <a:gd name="connsiteX28" fmla="*/ 961997 w 4335715"/>
                <a:gd name="connsiteY28" fmla="*/ 773590 h 2214563"/>
                <a:gd name="connsiteX29" fmla="*/ 916636 w 4335715"/>
                <a:gd name="connsiteY29" fmla="*/ 448544 h 2214563"/>
                <a:gd name="connsiteX30" fmla="*/ 3613900 w 4335715"/>
                <a:gd name="connsiteY30" fmla="*/ 129960 h 2214563"/>
                <a:gd name="connsiteX31" fmla="*/ 3564779 w 4335715"/>
                <a:gd name="connsiteY31" fmla="*/ 149169 h 2214563"/>
                <a:gd name="connsiteX32" fmla="*/ 3397420 w 4335715"/>
                <a:gd name="connsiteY32" fmla="*/ 374773 h 2214563"/>
                <a:gd name="connsiteX33" fmla="*/ 3463220 w 4335715"/>
                <a:gd name="connsiteY33" fmla="*/ 773597 h 2214563"/>
                <a:gd name="connsiteX34" fmla="*/ 3407544 w 4335715"/>
                <a:gd name="connsiteY34" fmla="*/ 1150701 h 2214563"/>
                <a:gd name="connsiteX35" fmla="*/ 3620977 w 4335715"/>
                <a:gd name="connsiteY35" fmla="*/ 1393740 h 2214563"/>
                <a:gd name="connsiteX36" fmla="*/ 3907369 w 4335715"/>
                <a:gd name="connsiteY36" fmla="*/ 773590 h 2214563"/>
                <a:gd name="connsiteX37" fmla="*/ 3700538 w 4335715"/>
                <a:gd name="connsiteY37" fmla="*/ 182168 h 2214563"/>
                <a:gd name="connsiteX38" fmla="*/ 3613900 w 4335715"/>
                <a:gd name="connsiteY38" fmla="*/ 129960 h 2214563"/>
                <a:gd name="connsiteX39" fmla="*/ 3123005 w 4335715"/>
                <a:gd name="connsiteY39" fmla="*/ 129960 h 2214563"/>
                <a:gd name="connsiteX40" fmla="*/ 3073884 w 4335715"/>
                <a:gd name="connsiteY40" fmla="*/ 149169 h 2214563"/>
                <a:gd name="connsiteX41" fmla="*/ 2906525 w 4335715"/>
                <a:gd name="connsiteY41" fmla="*/ 374773 h 2214563"/>
                <a:gd name="connsiteX42" fmla="*/ 2972324 w 4335715"/>
                <a:gd name="connsiteY42" fmla="*/ 773597 h 2214563"/>
                <a:gd name="connsiteX43" fmla="*/ 2916649 w 4335715"/>
                <a:gd name="connsiteY43" fmla="*/ 1150701 h 2214563"/>
                <a:gd name="connsiteX44" fmla="*/ 3130082 w 4335715"/>
                <a:gd name="connsiteY44" fmla="*/ 1393740 h 2214563"/>
                <a:gd name="connsiteX45" fmla="*/ 3349724 w 4335715"/>
                <a:gd name="connsiteY45" fmla="*/ 1164533 h 2214563"/>
                <a:gd name="connsiteX46" fmla="*/ 3287833 w 4335715"/>
                <a:gd name="connsiteY46" fmla="*/ 773597 h 2214563"/>
                <a:gd name="connsiteX47" fmla="*/ 3342599 w 4335715"/>
                <a:gd name="connsiteY47" fmla="*/ 384832 h 2214563"/>
                <a:gd name="connsiteX48" fmla="*/ 3209643 w 4335715"/>
                <a:gd name="connsiteY48" fmla="*/ 182168 h 2214563"/>
                <a:gd name="connsiteX49" fmla="*/ 3123005 w 4335715"/>
                <a:gd name="connsiteY49" fmla="*/ 129960 h 2214563"/>
                <a:gd name="connsiteX50" fmla="*/ 2632109 w 4335715"/>
                <a:gd name="connsiteY50" fmla="*/ 129960 h 2214563"/>
                <a:gd name="connsiteX51" fmla="*/ 2582989 w 4335715"/>
                <a:gd name="connsiteY51" fmla="*/ 149169 h 2214563"/>
                <a:gd name="connsiteX52" fmla="*/ 2415629 w 4335715"/>
                <a:gd name="connsiteY52" fmla="*/ 374773 h 2214563"/>
                <a:gd name="connsiteX53" fmla="*/ 2481429 w 4335715"/>
                <a:gd name="connsiteY53" fmla="*/ 773597 h 2214563"/>
                <a:gd name="connsiteX54" fmla="*/ 2425753 w 4335715"/>
                <a:gd name="connsiteY54" fmla="*/ 1150701 h 2214563"/>
                <a:gd name="connsiteX55" fmla="*/ 2639187 w 4335715"/>
                <a:gd name="connsiteY55" fmla="*/ 1393740 h 2214563"/>
                <a:gd name="connsiteX56" fmla="*/ 2858829 w 4335715"/>
                <a:gd name="connsiteY56" fmla="*/ 1164533 h 2214563"/>
                <a:gd name="connsiteX57" fmla="*/ 2796938 w 4335715"/>
                <a:gd name="connsiteY57" fmla="*/ 773597 h 2214563"/>
                <a:gd name="connsiteX58" fmla="*/ 2851704 w 4335715"/>
                <a:gd name="connsiteY58" fmla="*/ 384832 h 2214563"/>
                <a:gd name="connsiteX59" fmla="*/ 2718748 w 4335715"/>
                <a:gd name="connsiteY59" fmla="*/ 182168 h 2214563"/>
                <a:gd name="connsiteX60" fmla="*/ 2632109 w 4335715"/>
                <a:gd name="connsiteY60" fmla="*/ 129960 h 2214563"/>
                <a:gd name="connsiteX61" fmla="*/ 2141214 w 4335715"/>
                <a:gd name="connsiteY61" fmla="*/ 129960 h 2214563"/>
                <a:gd name="connsiteX62" fmla="*/ 2092093 w 4335715"/>
                <a:gd name="connsiteY62" fmla="*/ 149169 h 2214563"/>
                <a:gd name="connsiteX63" fmla="*/ 1924734 w 4335715"/>
                <a:gd name="connsiteY63" fmla="*/ 374773 h 2214563"/>
                <a:gd name="connsiteX64" fmla="*/ 1990534 w 4335715"/>
                <a:gd name="connsiteY64" fmla="*/ 773597 h 2214563"/>
                <a:gd name="connsiteX65" fmla="*/ 1934858 w 4335715"/>
                <a:gd name="connsiteY65" fmla="*/ 1150701 h 2214563"/>
                <a:gd name="connsiteX66" fmla="*/ 2148291 w 4335715"/>
                <a:gd name="connsiteY66" fmla="*/ 1393740 h 2214563"/>
                <a:gd name="connsiteX67" fmla="*/ 2367934 w 4335715"/>
                <a:gd name="connsiteY67" fmla="*/ 1164533 h 2214563"/>
                <a:gd name="connsiteX68" fmla="*/ 2306036 w 4335715"/>
                <a:gd name="connsiteY68" fmla="*/ 773597 h 2214563"/>
                <a:gd name="connsiteX69" fmla="*/ 2360809 w 4335715"/>
                <a:gd name="connsiteY69" fmla="*/ 384832 h 2214563"/>
                <a:gd name="connsiteX70" fmla="*/ 2227852 w 4335715"/>
                <a:gd name="connsiteY70" fmla="*/ 182168 h 2214563"/>
                <a:gd name="connsiteX71" fmla="*/ 2141214 w 4335715"/>
                <a:gd name="connsiteY71" fmla="*/ 129960 h 2214563"/>
                <a:gd name="connsiteX72" fmla="*/ 1650319 w 4335715"/>
                <a:gd name="connsiteY72" fmla="*/ 129960 h 2214563"/>
                <a:gd name="connsiteX73" fmla="*/ 1601198 w 4335715"/>
                <a:gd name="connsiteY73" fmla="*/ 149169 h 2214563"/>
                <a:gd name="connsiteX74" fmla="*/ 1433839 w 4335715"/>
                <a:gd name="connsiteY74" fmla="*/ 374773 h 2214563"/>
                <a:gd name="connsiteX75" fmla="*/ 1499638 w 4335715"/>
                <a:gd name="connsiteY75" fmla="*/ 773597 h 2214563"/>
                <a:gd name="connsiteX76" fmla="*/ 1443963 w 4335715"/>
                <a:gd name="connsiteY76" fmla="*/ 1150701 h 2214563"/>
                <a:gd name="connsiteX77" fmla="*/ 1657396 w 4335715"/>
                <a:gd name="connsiteY77" fmla="*/ 1393740 h 2214563"/>
                <a:gd name="connsiteX78" fmla="*/ 1877038 w 4335715"/>
                <a:gd name="connsiteY78" fmla="*/ 1164533 h 2214563"/>
                <a:gd name="connsiteX79" fmla="*/ 1815140 w 4335715"/>
                <a:gd name="connsiteY79" fmla="*/ 773597 h 2214563"/>
                <a:gd name="connsiteX80" fmla="*/ 1869913 w 4335715"/>
                <a:gd name="connsiteY80" fmla="*/ 384832 h 2214563"/>
                <a:gd name="connsiteX81" fmla="*/ 1736957 w 4335715"/>
                <a:gd name="connsiteY81" fmla="*/ 182168 h 2214563"/>
                <a:gd name="connsiteX82" fmla="*/ 1650319 w 4335715"/>
                <a:gd name="connsiteY82" fmla="*/ 129960 h 2214563"/>
                <a:gd name="connsiteX83" fmla="*/ 1159423 w 4335715"/>
                <a:gd name="connsiteY83" fmla="*/ 129960 h 2214563"/>
                <a:gd name="connsiteX84" fmla="*/ 1110303 w 4335715"/>
                <a:gd name="connsiteY84" fmla="*/ 149169 h 2214563"/>
                <a:gd name="connsiteX85" fmla="*/ 942937 w 4335715"/>
                <a:gd name="connsiteY85" fmla="*/ 374773 h 2214563"/>
                <a:gd name="connsiteX86" fmla="*/ 1008736 w 4335715"/>
                <a:gd name="connsiteY86" fmla="*/ 773597 h 2214563"/>
                <a:gd name="connsiteX87" fmla="*/ 953068 w 4335715"/>
                <a:gd name="connsiteY87" fmla="*/ 1150701 h 2214563"/>
                <a:gd name="connsiteX88" fmla="*/ 1166494 w 4335715"/>
                <a:gd name="connsiteY88" fmla="*/ 1393740 h 2214563"/>
                <a:gd name="connsiteX89" fmla="*/ 1386143 w 4335715"/>
                <a:gd name="connsiteY89" fmla="*/ 1164533 h 2214563"/>
                <a:gd name="connsiteX90" fmla="*/ 1324245 w 4335715"/>
                <a:gd name="connsiteY90" fmla="*/ 773597 h 2214563"/>
                <a:gd name="connsiteX91" fmla="*/ 1379018 w 4335715"/>
                <a:gd name="connsiteY91" fmla="*/ 384832 h 2214563"/>
                <a:gd name="connsiteX92" fmla="*/ 1246062 w 4335715"/>
                <a:gd name="connsiteY92" fmla="*/ 182168 h 2214563"/>
                <a:gd name="connsiteX93" fmla="*/ 1159423 w 4335715"/>
                <a:gd name="connsiteY93" fmla="*/ 129960 h 2214563"/>
                <a:gd name="connsiteX94" fmla="*/ 658140 w 4335715"/>
                <a:gd name="connsiteY94" fmla="*/ 129953 h 2214563"/>
                <a:gd name="connsiteX95" fmla="*/ 619408 w 4335715"/>
                <a:gd name="connsiteY95" fmla="*/ 149169 h 2214563"/>
                <a:gd name="connsiteX96" fmla="*/ 389207 w 4335715"/>
                <a:gd name="connsiteY96" fmla="*/ 773590 h 2214563"/>
                <a:gd name="connsiteX97" fmla="*/ 675599 w 4335715"/>
                <a:gd name="connsiteY97" fmla="*/ 1393740 h 2214563"/>
                <a:gd name="connsiteX98" fmla="*/ 895248 w 4335715"/>
                <a:gd name="connsiteY98" fmla="*/ 1164533 h 2214563"/>
                <a:gd name="connsiteX99" fmla="*/ 833350 w 4335715"/>
                <a:gd name="connsiteY99" fmla="*/ 773597 h 2214563"/>
                <a:gd name="connsiteX100" fmla="*/ 888123 w 4335715"/>
                <a:gd name="connsiteY100" fmla="*/ 384832 h 2214563"/>
                <a:gd name="connsiteX101" fmla="*/ 755166 w 4335715"/>
                <a:gd name="connsiteY101" fmla="*/ 182168 h 2214563"/>
                <a:gd name="connsiteX102" fmla="*/ 658140 w 4335715"/>
                <a:gd name="connsiteY102" fmla="*/ 129953 h 2214563"/>
                <a:gd name="connsiteX103" fmla="*/ 1394777 w 4335715"/>
                <a:gd name="connsiteY103" fmla="*/ 85074 h 2214563"/>
                <a:gd name="connsiteX104" fmla="*/ 1242866 w 4335715"/>
                <a:gd name="connsiteY104" fmla="*/ 100264 h 2214563"/>
                <a:gd name="connsiteX105" fmla="*/ 1407246 w 4335715"/>
                <a:gd name="connsiteY105" fmla="*/ 314432 h 2214563"/>
                <a:gd name="connsiteX106" fmla="*/ 1563185 w 4335715"/>
                <a:gd name="connsiteY106" fmla="*/ 105197 h 2214563"/>
                <a:gd name="connsiteX107" fmla="*/ 1430968 w 4335715"/>
                <a:gd name="connsiteY107" fmla="*/ 85443 h 2214563"/>
                <a:gd name="connsiteX108" fmla="*/ 1394777 w 4335715"/>
                <a:gd name="connsiteY108" fmla="*/ 85074 h 2214563"/>
                <a:gd name="connsiteX109" fmla="*/ 3365982 w 4335715"/>
                <a:gd name="connsiteY109" fmla="*/ 82310 h 2214563"/>
                <a:gd name="connsiteX110" fmla="*/ 3206447 w 4335715"/>
                <a:gd name="connsiteY110" fmla="*/ 100264 h 2214563"/>
                <a:gd name="connsiteX111" fmla="*/ 3370827 w 4335715"/>
                <a:gd name="connsiteY111" fmla="*/ 314432 h 2214563"/>
                <a:gd name="connsiteX112" fmla="*/ 3526773 w 4335715"/>
                <a:gd name="connsiteY112" fmla="*/ 105197 h 2214563"/>
                <a:gd name="connsiteX113" fmla="*/ 3365982 w 4335715"/>
                <a:gd name="connsiteY113" fmla="*/ 82310 h 2214563"/>
                <a:gd name="connsiteX114" fmla="*/ 2371204 w 4335715"/>
                <a:gd name="connsiteY114" fmla="*/ 81574 h 2214563"/>
                <a:gd name="connsiteX115" fmla="*/ 2224656 w 4335715"/>
                <a:gd name="connsiteY115" fmla="*/ 100264 h 2214563"/>
                <a:gd name="connsiteX116" fmla="*/ 2389037 w 4335715"/>
                <a:gd name="connsiteY116" fmla="*/ 314432 h 2214563"/>
                <a:gd name="connsiteX117" fmla="*/ 2544976 w 4335715"/>
                <a:gd name="connsiteY117" fmla="*/ 105197 h 2214563"/>
                <a:gd name="connsiteX118" fmla="*/ 2371204 w 4335715"/>
                <a:gd name="connsiteY118" fmla="*/ 81574 h 2214563"/>
                <a:gd name="connsiteX119" fmla="*/ 1895889 w 4335715"/>
                <a:gd name="connsiteY119" fmla="*/ 81574 h 2214563"/>
                <a:gd name="connsiteX120" fmla="*/ 1733761 w 4335715"/>
                <a:gd name="connsiteY120" fmla="*/ 100264 h 2214563"/>
                <a:gd name="connsiteX121" fmla="*/ 1898141 w 4335715"/>
                <a:gd name="connsiteY121" fmla="*/ 314432 h 2214563"/>
                <a:gd name="connsiteX122" fmla="*/ 2054081 w 4335715"/>
                <a:gd name="connsiteY122" fmla="*/ 105197 h 2214563"/>
                <a:gd name="connsiteX123" fmla="*/ 1895889 w 4335715"/>
                <a:gd name="connsiteY123" fmla="*/ 81574 h 2214563"/>
                <a:gd name="connsiteX124" fmla="*/ 2877686 w 4335715"/>
                <a:gd name="connsiteY124" fmla="*/ 81000 h 2214563"/>
                <a:gd name="connsiteX125" fmla="*/ 2715552 w 4335715"/>
                <a:gd name="connsiteY125" fmla="*/ 100264 h 2214563"/>
                <a:gd name="connsiteX126" fmla="*/ 2879932 w 4335715"/>
                <a:gd name="connsiteY126" fmla="*/ 314432 h 2214563"/>
                <a:gd name="connsiteX127" fmla="*/ 3035878 w 4335715"/>
                <a:gd name="connsiteY127" fmla="*/ 105197 h 2214563"/>
                <a:gd name="connsiteX128" fmla="*/ 2877686 w 4335715"/>
                <a:gd name="connsiteY128" fmla="*/ 81000 h 2214563"/>
                <a:gd name="connsiteX129" fmla="*/ 893321 w 4335715"/>
                <a:gd name="connsiteY129" fmla="*/ 77711 h 2214563"/>
                <a:gd name="connsiteX130" fmla="*/ 751970 w 4335715"/>
                <a:gd name="connsiteY130" fmla="*/ 100264 h 2214563"/>
                <a:gd name="connsiteX131" fmla="*/ 916351 w 4335715"/>
                <a:gd name="connsiteY131" fmla="*/ 314432 h 2214563"/>
                <a:gd name="connsiteX132" fmla="*/ 1072290 w 4335715"/>
                <a:gd name="connsiteY132" fmla="*/ 105197 h 2214563"/>
                <a:gd name="connsiteX133" fmla="*/ 893321 w 4335715"/>
                <a:gd name="connsiteY133" fmla="*/ 77711 h 2214563"/>
                <a:gd name="connsiteX134" fmla="*/ 3898116 w 4335715"/>
                <a:gd name="connsiteY134" fmla="*/ 425 h 2214563"/>
                <a:gd name="connsiteX135" fmla="*/ 4335715 w 4335715"/>
                <a:gd name="connsiteY135" fmla="*/ 900306 h 2214563"/>
                <a:gd name="connsiteX136" fmla="*/ 4331822 w 4335715"/>
                <a:gd name="connsiteY136" fmla="*/ 900306 h 2214563"/>
                <a:gd name="connsiteX137" fmla="*/ 4331822 w 4335715"/>
                <a:gd name="connsiteY137" fmla="*/ 2214563 h 2214563"/>
                <a:gd name="connsiteX138" fmla="*/ 4281422 w 4335715"/>
                <a:gd name="connsiteY138" fmla="*/ 2214563 h 2214563"/>
                <a:gd name="connsiteX139" fmla="*/ 4281422 w 4335715"/>
                <a:gd name="connsiteY139" fmla="*/ 894665 h 2214563"/>
                <a:gd name="connsiteX140" fmla="*/ 4284549 w 4335715"/>
                <a:gd name="connsiteY140" fmla="*/ 894665 h 2214563"/>
                <a:gd name="connsiteX141" fmla="*/ 3924991 w 4335715"/>
                <a:gd name="connsiteY141" fmla="*/ 66370 h 2214563"/>
                <a:gd name="connsiteX142" fmla="*/ 3684110 w 4335715"/>
                <a:gd name="connsiteY142" fmla="*/ 96934 h 2214563"/>
                <a:gd name="connsiteX143" fmla="*/ 3954115 w 4335715"/>
                <a:gd name="connsiteY143" fmla="*/ 773597 h 2214563"/>
                <a:gd name="connsiteX144" fmla="*/ 3620971 w 4335715"/>
                <a:gd name="connsiteY144" fmla="*/ 1466003 h 2214563"/>
                <a:gd name="connsiteX145" fmla="*/ 3376310 w 4335715"/>
                <a:gd name="connsiteY145" fmla="*/ 1237069 h 2214563"/>
                <a:gd name="connsiteX146" fmla="*/ 3130075 w 4335715"/>
                <a:gd name="connsiteY146" fmla="*/ 1466003 h 2214563"/>
                <a:gd name="connsiteX147" fmla="*/ 2885415 w 4335715"/>
                <a:gd name="connsiteY147" fmla="*/ 1237069 h 2214563"/>
                <a:gd name="connsiteX148" fmla="*/ 2639180 w 4335715"/>
                <a:gd name="connsiteY148" fmla="*/ 1466003 h 2214563"/>
                <a:gd name="connsiteX149" fmla="*/ 2394519 w 4335715"/>
                <a:gd name="connsiteY149" fmla="*/ 1237069 h 2214563"/>
                <a:gd name="connsiteX150" fmla="*/ 2148285 w 4335715"/>
                <a:gd name="connsiteY150" fmla="*/ 1466003 h 2214563"/>
                <a:gd name="connsiteX151" fmla="*/ 1903624 w 4335715"/>
                <a:gd name="connsiteY151" fmla="*/ 1237069 h 2214563"/>
                <a:gd name="connsiteX152" fmla="*/ 1657389 w 4335715"/>
                <a:gd name="connsiteY152" fmla="*/ 1466003 h 2214563"/>
                <a:gd name="connsiteX153" fmla="*/ 1412729 w 4335715"/>
                <a:gd name="connsiteY153" fmla="*/ 1237069 h 2214563"/>
                <a:gd name="connsiteX154" fmla="*/ 1166494 w 4335715"/>
                <a:gd name="connsiteY154" fmla="*/ 1466003 h 2214563"/>
                <a:gd name="connsiteX155" fmla="*/ 921834 w 4335715"/>
                <a:gd name="connsiteY155" fmla="*/ 1237069 h 2214563"/>
                <a:gd name="connsiteX156" fmla="*/ 675599 w 4335715"/>
                <a:gd name="connsiteY156" fmla="*/ 1466003 h 2214563"/>
                <a:gd name="connsiteX157" fmla="*/ 342454 w 4335715"/>
                <a:gd name="connsiteY157" fmla="*/ 773597 h 2214563"/>
                <a:gd name="connsiteX158" fmla="*/ 596805 w 4335715"/>
                <a:gd name="connsiteY158" fmla="*/ 95037 h 2214563"/>
                <a:gd name="connsiteX159" fmla="*/ 395574 w 4335715"/>
                <a:gd name="connsiteY159" fmla="*/ 102011 h 2214563"/>
                <a:gd name="connsiteX160" fmla="*/ 56359 w 4335715"/>
                <a:gd name="connsiteY160" fmla="*/ 887606 h 2214563"/>
                <a:gd name="connsiteX161" fmla="*/ 55480 w 4335715"/>
                <a:gd name="connsiteY161" fmla="*/ 999366 h 2214563"/>
                <a:gd name="connsiteX162" fmla="*/ 50400 w 4335715"/>
                <a:gd name="connsiteY162" fmla="*/ 2214563 h 2214563"/>
                <a:gd name="connsiteX163" fmla="*/ 0 w 4335715"/>
                <a:gd name="connsiteY163" fmla="*/ 2214563 h 2214563"/>
                <a:gd name="connsiteX164" fmla="*/ 0 w 4335715"/>
                <a:gd name="connsiteY164" fmla="*/ 900306 h 2214563"/>
                <a:gd name="connsiteX165" fmla="*/ 0 w 4335715"/>
                <a:gd name="connsiteY165" fmla="*/ 894665 h 2214563"/>
                <a:gd name="connsiteX166" fmla="*/ 408 w 4335715"/>
                <a:gd name="connsiteY166" fmla="*/ 894665 h 2214563"/>
                <a:gd name="connsiteX167" fmla="*/ 381804 w 4335715"/>
                <a:gd name="connsiteY167" fmla="*/ 22651 h 2214563"/>
                <a:gd name="connsiteX168" fmla="*/ 664016 w 4335715"/>
                <a:gd name="connsiteY168" fmla="*/ 52600 h 2214563"/>
                <a:gd name="connsiteX169" fmla="*/ 890905 w 4335715"/>
                <a:gd name="connsiteY169" fmla="*/ 16557 h 2214563"/>
                <a:gd name="connsiteX170" fmla="*/ 1154911 w 4335715"/>
                <a:gd name="connsiteY170" fmla="*/ 52600 h 2214563"/>
                <a:gd name="connsiteX171" fmla="*/ 1389590 w 4335715"/>
                <a:gd name="connsiteY171" fmla="*/ 12688 h 2214563"/>
                <a:gd name="connsiteX172" fmla="*/ 1645806 w 4335715"/>
                <a:gd name="connsiteY172" fmla="*/ 52600 h 2214563"/>
                <a:gd name="connsiteX173" fmla="*/ 1880485 w 4335715"/>
                <a:gd name="connsiteY173" fmla="*/ 16557 h 2214563"/>
                <a:gd name="connsiteX174" fmla="*/ 2136702 w 4335715"/>
                <a:gd name="connsiteY174" fmla="*/ 52600 h 2214563"/>
                <a:gd name="connsiteX175" fmla="*/ 2355801 w 4335715"/>
                <a:gd name="connsiteY175" fmla="*/ 20427 h 2214563"/>
                <a:gd name="connsiteX176" fmla="*/ 2627597 w 4335715"/>
                <a:gd name="connsiteY176" fmla="*/ 52600 h 2214563"/>
                <a:gd name="connsiteX177" fmla="*/ 2869889 w 4335715"/>
                <a:gd name="connsiteY177" fmla="*/ 16025 h 2214563"/>
                <a:gd name="connsiteX178" fmla="*/ 3118492 w 4335715"/>
                <a:gd name="connsiteY178" fmla="*/ 52600 h 2214563"/>
                <a:gd name="connsiteX179" fmla="*/ 3373772 w 4335715"/>
                <a:gd name="connsiteY179" fmla="*/ 16025 h 2214563"/>
                <a:gd name="connsiteX180" fmla="*/ 3614585 w 4335715"/>
                <a:gd name="connsiteY180" fmla="*/ 60331 h 2214563"/>
                <a:gd name="connsiteX181" fmla="*/ 3813457 w 4335715"/>
                <a:gd name="connsiteY181" fmla="*/ 8615 h 2214563"/>
                <a:gd name="connsiteX182" fmla="*/ 3898116 w 4335715"/>
                <a:gd name="connsiteY182" fmla="*/ 425 h 2214563"/>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5715"/>
                <a:gd name="connsiteY0" fmla="*/ 448217 h 2214236"/>
                <a:gd name="connsiteX1" fmla="*/ 3334579 w 4335715"/>
                <a:gd name="connsiteY1" fmla="*/ 773263 h 2214236"/>
                <a:gd name="connsiteX2" fmla="*/ 3380985 w 4335715"/>
                <a:gd name="connsiteY2" fmla="*/ 1063686 h 2214236"/>
                <a:gd name="connsiteX3" fmla="*/ 3416474 w 4335715"/>
                <a:gd name="connsiteY3" fmla="*/ 773263 h 2214236"/>
                <a:gd name="connsiteX4" fmla="*/ 3371112 w 4335715"/>
                <a:gd name="connsiteY4" fmla="*/ 448217 h 2214236"/>
                <a:gd name="connsiteX5" fmla="*/ 2880217 w 4335715"/>
                <a:gd name="connsiteY5" fmla="*/ 448217 h 2214236"/>
                <a:gd name="connsiteX6" fmla="*/ 2843683 w 4335715"/>
                <a:gd name="connsiteY6" fmla="*/ 773263 h 2214236"/>
                <a:gd name="connsiteX7" fmla="*/ 2890090 w 4335715"/>
                <a:gd name="connsiteY7" fmla="*/ 1063686 h 2214236"/>
                <a:gd name="connsiteX8" fmla="*/ 2925579 w 4335715"/>
                <a:gd name="connsiteY8" fmla="*/ 773263 h 2214236"/>
                <a:gd name="connsiteX9" fmla="*/ 2880217 w 4335715"/>
                <a:gd name="connsiteY9" fmla="*/ 448217 h 2214236"/>
                <a:gd name="connsiteX10" fmla="*/ 2389322 w 4335715"/>
                <a:gd name="connsiteY10" fmla="*/ 448217 h 2214236"/>
                <a:gd name="connsiteX11" fmla="*/ 2352788 w 4335715"/>
                <a:gd name="connsiteY11" fmla="*/ 773263 h 2214236"/>
                <a:gd name="connsiteX12" fmla="*/ 2399195 w 4335715"/>
                <a:gd name="connsiteY12" fmla="*/ 1063686 h 2214236"/>
                <a:gd name="connsiteX13" fmla="*/ 2434683 w 4335715"/>
                <a:gd name="connsiteY13" fmla="*/ 773263 h 2214236"/>
                <a:gd name="connsiteX14" fmla="*/ 2389322 w 4335715"/>
                <a:gd name="connsiteY14" fmla="*/ 448217 h 2214236"/>
                <a:gd name="connsiteX15" fmla="*/ 1898426 w 4335715"/>
                <a:gd name="connsiteY15" fmla="*/ 448217 h 2214236"/>
                <a:gd name="connsiteX16" fmla="*/ 1861893 w 4335715"/>
                <a:gd name="connsiteY16" fmla="*/ 773263 h 2214236"/>
                <a:gd name="connsiteX17" fmla="*/ 1908299 w 4335715"/>
                <a:gd name="connsiteY17" fmla="*/ 1063679 h 2214236"/>
                <a:gd name="connsiteX18" fmla="*/ 1943788 w 4335715"/>
                <a:gd name="connsiteY18" fmla="*/ 773263 h 2214236"/>
                <a:gd name="connsiteX19" fmla="*/ 1898426 w 4335715"/>
                <a:gd name="connsiteY19" fmla="*/ 448217 h 2214236"/>
                <a:gd name="connsiteX20" fmla="*/ 1407531 w 4335715"/>
                <a:gd name="connsiteY20" fmla="*/ 448217 h 2214236"/>
                <a:gd name="connsiteX21" fmla="*/ 1370998 w 4335715"/>
                <a:gd name="connsiteY21" fmla="*/ 773263 h 2214236"/>
                <a:gd name="connsiteX22" fmla="*/ 1417404 w 4335715"/>
                <a:gd name="connsiteY22" fmla="*/ 1063686 h 2214236"/>
                <a:gd name="connsiteX23" fmla="*/ 1452893 w 4335715"/>
                <a:gd name="connsiteY23" fmla="*/ 773263 h 2214236"/>
                <a:gd name="connsiteX24" fmla="*/ 1407531 w 4335715"/>
                <a:gd name="connsiteY24" fmla="*/ 448217 h 2214236"/>
                <a:gd name="connsiteX25" fmla="*/ 916636 w 4335715"/>
                <a:gd name="connsiteY25" fmla="*/ 448217 h 2214236"/>
                <a:gd name="connsiteX26" fmla="*/ 880102 w 4335715"/>
                <a:gd name="connsiteY26" fmla="*/ 773263 h 2214236"/>
                <a:gd name="connsiteX27" fmla="*/ 926509 w 4335715"/>
                <a:gd name="connsiteY27" fmla="*/ 1063686 h 2214236"/>
                <a:gd name="connsiteX28" fmla="*/ 961997 w 4335715"/>
                <a:gd name="connsiteY28" fmla="*/ 773263 h 2214236"/>
                <a:gd name="connsiteX29" fmla="*/ 916636 w 4335715"/>
                <a:gd name="connsiteY29" fmla="*/ 448217 h 2214236"/>
                <a:gd name="connsiteX30" fmla="*/ 3613900 w 4335715"/>
                <a:gd name="connsiteY30" fmla="*/ 129633 h 2214236"/>
                <a:gd name="connsiteX31" fmla="*/ 3564779 w 4335715"/>
                <a:gd name="connsiteY31" fmla="*/ 148842 h 2214236"/>
                <a:gd name="connsiteX32" fmla="*/ 3397420 w 4335715"/>
                <a:gd name="connsiteY32" fmla="*/ 374446 h 2214236"/>
                <a:gd name="connsiteX33" fmla="*/ 3463220 w 4335715"/>
                <a:gd name="connsiteY33" fmla="*/ 773270 h 2214236"/>
                <a:gd name="connsiteX34" fmla="*/ 3407544 w 4335715"/>
                <a:gd name="connsiteY34" fmla="*/ 1150374 h 2214236"/>
                <a:gd name="connsiteX35" fmla="*/ 3620977 w 4335715"/>
                <a:gd name="connsiteY35" fmla="*/ 1393413 h 2214236"/>
                <a:gd name="connsiteX36" fmla="*/ 3907369 w 4335715"/>
                <a:gd name="connsiteY36" fmla="*/ 773263 h 2214236"/>
                <a:gd name="connsiteX37" fmla="*/ 3700538 w 4335715"/>
                <a:gd name="connsiteY37" fmla="*/ 181841 h 2214236"/>
                <a:gd name="connsiteX38" fmla="*/ 3613900 w 4335715"/>
                <a:gd name="connsiteY38" fmla="*/ 129633 h 2214236"/>
                <a:gd name="connsiteX39" fmla="*/ 3123005 w 4335715"/>
                <a:gd name="connsiteY39" fmla="*/ 129633 h 2214236"/>
                <a:gd name="connsiteX40" fmla="*/ 3073884 w 4335715"/>
                <a:gd name="connsiteY40" fmla="*/ 148842 h 2214236"/>
                <a:gd name="connsiteX41" fmla="*/ 2906525 w 4335715"/>
                <a:gd name="connsiteY41" fmla="*/ 374446 h 2214236"/>
                <a:gd name="connsiteX42" fmla="*/ 2972324 w 4335715"/>
                <a:gd name="connsiteY42" fmla="*/ 773270 h 2214236"/>
                <a:gd name="connsiteX43" fmla="*/ 2916649 w 4335715"/>
                <a:gd name="connsiteY43" fmla="*/ 1150374 h 2214236"/>
                <a:gd name="connsiteX44" fmla="*/ 3130082 w 4335715"/>
                <a:gd name="connsiteY44" fmla="*/ 1393413 h 2214236"/>
                <a:gd name="connsiteX45" fmla="*/ 3349724 w 4335715"/>
                <a:gd name="connsiteY45" fmla="*/ 1164206 h 2214236"/>
                <a:gd name="connsiteX46" fmla="*/ 3287833 w 4335715"/>
                <a:gd name="connsiteY46" fmla="*/ 773270 h 2214236"/>
                <a:gd name="connsiteX47" fmla="*/ 3342599 w 4335715"/>
                <a:gd name="connsiteY47" fmla="*/ 384505 h 2214236"/>
                <a:gd name="connsiteX48" fmla="*/ 3209643 w 4335715"/>
                <a:gd name="connsiteY48" fmla="*/ 181841 h 2214236"/>
                <a:gd name="connsiteX49" fmla="*/ 3123005 w 4335715"/>
                <a:gd name="connsiteY49" fmla="*/ 129633 h 2214236"/>
                <a:gd name="connsiteX50" fmla="*/ 2632109 w 4335715"/>
                <a:gd name="connsiteY50" fmla="*/ 129633 h 2214236"/>
                <a:gd name="connsiteX51" fmla="*/ 2582989 w 4335715"/>
                <a:gd name="connsiteY51" fmla="*/ 148842 h 2214236"/>
                <a:gd name="connsiteX52" fmla="*/ 2415629 w 4335715"/>
                <a:gd name="connsiteY52" fmla="*/ 374446 h 2214236"/>
                <a:gd name="connsiteX53" fmla="*/ 2481429 w 4335715"/>
                <a:gd name="connsiteY53" fmla="*/ 773270 h 2214236"/>
                <a:gd name="connsiteX54" fmla="*/ 2425753 w 4335715"/>
                <a:gd name="connsiteY54" fmla="*/ 1150374 h 2214236"/>
                <a:gd name="connsiteX55" fmla="*/ 2639187 w 4335715"/>
                <a:gd name="connsiteY55" fmla="*/ 1393413 h 2214236"/>
                <a:gd name="connsiteX56" fmla="*/ 2858829 w 4335715"/>
                <a:gd name="connsiteY56" fmla="*/ 1164206 h 2214236"/>
                <a:gd name="connsiteX57" fmla="*/ 2796938 w 4335715"/>
                <a:gd name="connsiteY57" fmla="*/ 773270 h 2214236"/>
                <a:gd name="connsiteX58" fmla="*/ 2851704 w 4335715"/>
                <a:gd name="connsiteY58" fmla="*/ 384505 h 2214236"/>
                <a:gd name="connsiteX59" fmla="*/ 2718748 w 4335715"/>
                <a:gd name="connsiteY59" fmla="*/ 181841 h 2214236"/>
                <a:gd name="connsiteX60" fmla="*/ 2632109 w 4335715"/>
                <a:gd name="connsiteY60" fmla="*/ 129633 h 2214236"/>
                <a:gd name="connsiteX61" fmla="*/ 2141214 w 4335715"/>
                <a:gd name="connsiteY61" fmla="*/ 129633 h 2214236"/>
                <a:gd name="connsiteX62" fmla="*/ 2092093 w 4335715"/>
                <a:gd name="connsiteY62" fmla="*/ 148842 h 2214236"/>
                <a:gd name="connsiteX63" fmla="*/ 1924734 w 4335715"/>
                <a:gd name="connsiteY63" fmla="*/ 374446 h 2214236"/>
                <a:gd name="connsiteX64" fmla="*/ 1990534 w 4335715"/>
                <a:gd name="connsiteY64" fmla="*/ 773270 h 2214236"/>
                <a:gd name="connsiteX65" fmla="*/ 1934858 w 4335715"/>
                <a:gd name="connsiteY65" fmla="*/ 1150374 h 2214236"/>
                <a:gd name="connsiteX66" fmla="*/ 2148291 w 4335715"/>
                <a:gd name="connsiteY66" fmla="*/ 1393413 h 2214236"/>
                <a:gd name="connsiteX67" fmla="*/ 2367934 w 4335715"/>
                <a:gd name="connsiteY67" fmla="*/ 1164206 h 2214236"/>
                <a:gd name="connsiteX68" fmla="*/ 2306036 w 4335715"/>
                <a:gd name="connsiteY68" fmla="*/ 773270 h 2214236"/>
                <a:gd name="connsiteX69" fmla="*/ 2360809 w 4335715"/>
                <a:gd name="connsiteY69" fmla="*/ 384505 h 2214236"/>
                <a:gd name="connsiteX70" fmla="*/ 2227852 w 4335715"/>
                <a:gd name="connsiteY70" fmla="*/ 181841 h 2214236"/>
                <a:gd name="connsiteX71" fmla="*/ 2141214 w 4335715"/>
                <a:gd name="connsiteY71" fmla="*/ 129633 h 2214236"/>
                <a:gd name="connsiteX72" fmla="*/ 1650319 w 4335715"/>
                <a:gd name="connsiteY72" fmla="*/ 129633 h 2214236"/>
                <a:gd name="connsiteX73" fmla="*/ 1601198 w 4335715"/>
                <a:gd name="connsiteY73" fmla="*/ 148842 h 2214236"/>
                <a:gd name="connsiteX74" fmla="*/ 1433839 w 4335715"/>
                <a:gd name="connsiteY74" fmla="*/ 374446 h 2214236"/>
                <a:gd name="connsiteX75" fmla="*/ 1499638 w 4335715"/>
                <a:gd name="connsiteY75" fmla="*/ 773270 h 2214236"/>
                <a:gd name="connsiteX76" fmla="*/ 1443963 w 4335715"/>
                <a:gd name="connsiteY76" fmla="*/ 1150374 h 2214236"/>
                <a:gd name="connsiteX77" fmla="*/ 1657396 w 4335715"/>
                <a:gd name="connsiteY77" fmla="*/ 1393413 h 2214236"/>
                <a:gd name="connsiteX78" fmla="*/ 1877038 w 4335715"/>
                <a:gd name="connsiteY78" fmla="*/ 1164206 h 2214236"/>
                <a:gd name="connsiteX79" fmla="*/ 1815140 w 4335715"/>
                <a:gd name="connsiteY79" fmla="*/ 773270 h 2214236"/>
                <a:gd name="connsiteX80" fmla="*/ 1869913 w 4335715"/>
                <a:gd name="connsiteY80" fmla="*/ 384505 h 2214236"/>
                <a:gd name="connsiteX81" fmla="*/ 1736957 w 4335715"/>
                <a:gd name="connsiteY81" fmla="*/ 181841 h 2214236"/>
                <a:gd name="connsiteX82" fmla="*/ 1650319 w 4335715"/>
                <a:gd name="connsiteY82" fmla="*/ 129633 h 2214236"/>
                <a:gd name="connsiteX83" fmla="*/ 1159423 w 4335715"/>
                <a:gd name="connsiteY83" fmla="*/ 129633 h 2214236"/>
                <a:gd name="connsiteX84" fmla="*/ 1110303 w 4335715"/>
                <a:gd name="connsiteY84" fmla="*/ 148842 h 2214236"/>
                <a:gd name="connsiteX85" fmla="*/ 942937 w 4335715"/>
                <a:gd name="connsiteY85" fmla="*/ 374446 h 2214236"/>
                <a:gd name="connsiteX86" fmla="*/ 1008736 w 4335715"/>
                <a:gd name="connsiteY86" fmla="*/ 773270 h 2214236"/>
                <a:gd name="connsiteX87" fmla="*/ 953068 w 4335715"/>
                <a:gd name="connsiteY87" fmla="*/ 1150374 h 2214236"/>
                <a:gd name="connsiteX88" fmla="*/ 1166494 w 4335715"/>
                <a:gd name="connsiteY88" fmla="*/ 1393413 h 2214236"/>
                <a:gd name="connsiteX89" fmla="*/ 1386143 w 4335715"/>
                <a:gd name="connsiteY89" fmla="*/ 1164206 h 2214236"/>
                <a:gd name="connsiteX90" fmla="*/ 1324245 w 4335715"/>
                <a:gd name="connsiteY90" fmla="*/ 773270 h 2214236"/>
                <a:gd name="connsiteX91" fmla="*/ 1379018 w 4335715"/>
                <a:gd name="connsiteY91" fmla="*/ 384505 h 2214236"/>
                <a:gd name="connsiteX92" fmla="*/ 1246062 w 4335715"/>
                <a:gd name="connsiteY92" fmla="*/ 181841 h 2214236"/>
                <a:gd name="connsiteX93" fmla="*/ 1159423 w 4335715"/>
                <a:gd name="connsiteY93" fmla="*/ 129633 h 2214236"/>
                <a:gd name="connsiteX94" fmla="*/ 658140 w 4335715"/>
                <a:gd name="connsiteY94" fmla="*/ 129626 h 2214236"/>
                <a:gd name="connsiteX95" fmla="*/ 619408 w 4335715"/>
                <a:gd name="connsiteY95" fmla="*/ 148842 h 2214236"/>
                <a:gd name="connsiteX96" fmla="*/ 389207 w 4335715"/>
                <a:gd name="connsiteY96" fmla="*/ 773263 h 2214236"/>
                <a:gd name="connsiteX97" fmla="*/ 675599 w 4335715"/>
                <a:gd name="connsiteY97" fmla="*/ 1393413 h 2214236"/>
                <a:gd name="connsiteX98" fmla="*/ 895248 w 4335715"/>
                <a:gd name="connsiteY98" fmla="*/ 1164206 h 2214236"/>
                <a:gd name="connsiteX99" fmla="*/ 833350 w 4335715"/>
                <a:gd name="connsiteY99" fmla="*/ 773270 h 2214236"/>
                <a:gd name="connsiteX100" fmla="*/ 888123 w 4335715"/>
                <a:gd name="connsiteY100" fmla="*/ 384505 h 2214236"/>
                <a:gd name="connsiteX101" fmla="*/ 755166 w 4335715"/>
                <a:gd name="connsiteY101" fmla="*/ 181841 h 2214236"/>
                <a:gd name="connsiteX102" fmla="*/ 658140 w 4335715"/>
                <a:gd name="connsiteY102" fmla="*/ 129626 h 2214236"/>
                <a:gd name="connsiteX103" fmla="*/ 1394777 w 4335715"/>
                <a:gd name="connsiteY103" fmla="*/ 84747 h 2214236"/>
                <a:gd name="connsiteX104" fmla="*/ 1242866 w 4335715"/>
                <a:gd name="connsiteY104" fmla="*/ 99937 h 2214236"/>
                <a:gd name="connsiteX105" fmla="*/ 1407246 w 4335715"/>
                <a:gd name="connsiteY105" fmla="*/ 314105 h 2214236"/>
                <a:gd name="connsiteX106" fmla="*/ 1563185 w 4335715"/>
                <a:gd name="connsiteY106" fmla="*/ 104870 h 2214236"/>
                <a:gd name="connsiteX107" fmla="*/ 1430968 w 4335715"/>
                <a:gd name="connsiteY107" fmla="*/ 85116 h 2214236"/>
                <a:gd name="connsiteX108" fmla="*/ 1394777 w 4335715"/>
                <a:gd name="connsiteY108" fmla="*/ 84747 h 2214236"/>
                <a:gd name="connsiteX109" fmla="*/ 3365982 w 4335715"/>
                <a:gd name="connsiteY109" fmla="*/ 81983 h 2214236"/>
                <a:gd name="connsiteX110" fmla="*/ 3206447 w 4335715"/>
                <a:gd name="connsiteY110" fmla="*/ 99937 h 2214236"/>
                <a:gd name="connsiteX111" fmla="*/ 3370827 w 4335715"/>
                <a:gd name="connsiteY111" fmla="*/ 314105 h 2214236"/>
                <a:gd name="connsiteX112" fmla="*/ 3526773 w 4335715"/>
                <a:gd name="connsiteY112" fmla="*/ 104870 h 2214236"/>
                <a:gd name="connsiteX113" fmla="*/ 3365982 w 4335715"/>
                <a:gd name="connsiteY113" fmla="*/ 81983 h 2214236"/>
                <a:gd name="connsiteX114" fmla="*/ 2371204 w 4335715"/>
                <a:gd name="connsiteY114" fmla="*/ 81247 h 2214236"/>
                <a:gd name="connsiteX115" fmla="*/ 2224656 w 4335715"/>
                <a:gd name="connsiteY115" fmla="*/ 99937 h 2214236"/>
                <a:gd name="connsiteX116" fmla="*/ 2389037 w 4335715"/>
                <a:gd name="connsiteY116" fmla="*/ 314105 h 2214236"/>
                <a:gd name="connsiteX117" fmla="*/ 2544976 w 4335715"/>
                <a:gd name="connsiteY117" fmla="*/ 104870 h 2214236"/>
                <a:gd name="connsiteX118" fmla="*/ 2371204 w 4335715"/>
                <a:gd name="connsiteY118" fmla="*/ 81247 h 2214236"/>
                <a:gd name="connsiteX119" fmla="*/ 1895889 w 4335715"/>
                <a:gd name="connsiteY119" fmla="*/ 81247 h 2214236"/>
                <a:gd name="connsiteX120" fmla="*/ 1733761 w 4335715"/>
                <a:gd name="connsiteY120" fmla="*/ 99937 h 2214236"/>
                <a:gd name="connsiteX121" fmla="*/ 1898141 w 4335715"/>
                <a:gd name="connsiteY121" fmla="*/ 314105 h 2214236"/>
                <a:gd name="connsiteX122" fmla="*/ 2054081 w 4335715"/>
                <a:gd name="connsiteY122" fmla="*/ 104870 h 2214236"/>
                <a:gd name="connsiteX123" fmla="*/ 1895889 w 4335715"/>
                <a:gd name="connsiteY123" fmla="*/ 81247 h 2214236"/>
                <a:gd name="connsiteX124" fmla="*/ 2877686 w 4335715"/>
                <a:gd name="connsiteY124" fmla="*/ 80673 h 2214236"/>
                <a:gd name="connsiteX125" fmla="*/ 2715552 w 4335715"/>
                <a:gd name="connsiteY125" fmla="*/ 99937 h 2214236"/>
                <a:gd name="connsiteX126" fmla="*/ 2879932 w 4335715"/>
                <a:gd name="connsiteY126" fmla="*/ 314105 h 2214236"/>
                <a:gd name="connsiteX127" fmla="*/ 3035878 w 4335715"/>
                <a:gd name="connsiteY127" fmla="*/ 104870 h 2214236"/>
                <a:gd name="connsiteX128" fmla="*/ 2877686 w 4335715"/>
                <a:gd name="connsiteY128" fmla="*/ 80673 h 2214236"/>
                <a:gd name="connsiteX129" fmla="*/ 893321 w 4335715"/>
                <a:gd name="connsiteY129" fmla="*/ 77384 h 2214236"/>
                <a:gd name="connsiteX130" fmla="*/ 751970 w 4335715"/>
                <a:gd name="connsiteY130" fmla="*/ 99937 h 2214236"/>
                <a:gd name="connsiteX131" fmla="*/ 916351 w 4335715"/>
                <a:gd name="connsiteY131" fmla="*/ 314105 h 2214236"/>
                <a:gd name="connsiteX132" fmla="*/ 1072290 w 4335715"/>
                <a:gd name="connsiteY132" fmla="*/ 104870 h 2214236"/>
                <a:gd name="connsiteX133" fmla="*/ 893321 w 4335715"/>
                <a:gd name="connsiteY133" fmla="*/ 77384 h 2214236"/>
                <a:gd name="connsiteX134" fmla="*/ 3898116 w 4335715"/>
                <a:gd name="connsiteY134" fmla="*/ 98 h 2214236"/>
                <a:gd name="connsiteX135" fmla="*/ 4335715 w 4335715"/>
                <a:gd name="connsiteY135" fmla="*/ 899979 h 2214236"/>
                <a:gd name="connsiteX136" fmla="*/ 4331822 w 4335715"/>
                <a:gd name="connsiteY136" fmla="*/ 899979 h 2214236"/>
                <a:gd name="connsiteX137" fmla="*/ 4331822 w 4335715"/>
                <a:gd name="connsiteY137" fmla="*/ 2214236 h 2214236"/>
                <a:gd name="connsiteX138" fmla="*/ 4281422 w 4335715"/>
                <a:gd name="connsiteY138" fmla="*/ 2214236 h 2214236"/>
                <a:gd name="connsiteX139" fmla="*/ 4281422 w 4335715"/>
                <a:gd name="connsiteY139" fmla="*/ 894338 h 2214236"/>
                <a:gd name="connsiteX140" fmla="*/ 4284549 w 4335715"/>
                <a:gd name="connsiteY140" fmla="*/ 894338 h 2214236"/>
                <a:gd name="connsiteX141" fmla="*/ 3924991 w 4335715"/>
                <a:gd name="connsiteY141" fmla="*/ 66043 h 2214236"/>
                <a:gd name="connsiteX142" fmla="*/ 3684110 w 4335715"/>
                <a:gd name="connsiteY142" fmla="*/ 96607 h 2214236"/>
                <a:gd name="connsiteX143" fmla="*/ 3954115 w 4335715"/>
                <a:gd name="connsiteY143" fmla="*/ 773270 h 2214236"/>
                <a:gd name="connsiteX144" fmla="*/ 3620971 w 4335715"/>
                <a:gd name="connsiteY144" fmla="*/ 1465676 h 2214236"/>
                <a:gd name="connsiteX145" fmla="*/ 3376310 w 4335715"/>
                <a:gd name="connsiteY145" fmla="*/ 1236742 h 2214236"/>
                <a:gd name="connsiteX146" fmla="*/ 3130075 w 4335715"/>
                <a:gd name="connsiteY146" fmla="*/ 1465676 h 2214236"/>
                <a:gd name="connsiteX147" fmla="*/ 2885415 w 4335715"/>
                <a:gd name="connsiteY147" fmla="*/ 1236742 h 2214236"/>
                <a:gd name="connsiteX148" fmla="*/ 2639180 w 4335715"/>
                <a:gd name="connsiteY148" fmla="*/ 1465676 h 2214236"/>
                <a:gd name="connsiteX149" fmla="*/ 2394519 w 4335715"/>
                <a:gd name="connsiteY149" fmla="*/ 1236742 h 2214236"/>
                <a:gd name="connsiteX150" fmla="*/ 2148285 w 4335715"/>
                <a:gd name="connsiteY150" fmla="*/ 1465676 h 2214236"/>
                <a:gd name="connsiteX151" fmla="*/ 1903624 w 4335715"/>
                <a:gd name="connsiteY151" fmla="*/ 1236742 h 2214236"/>
                <a:gd name="connsiteX152" fmla="*/ 1657389 w 4335715"/>
                <a:gd name="connsiteY152" fmla="*/ 1465676 h 2214236"/>
                <a:gd name="connsiteX153" fmla="*/ 1412729 w 4335715"/>
                <a:gd name="connsiteY153" fmla="*/ 1236742 h 2214236"/>
                <a:gd name="connsiteX154" fmla="*/ 1166494 w 4335715"/>
                <a:gd name="connsiteY154" fmla="*/ 1465676 h 2214236"/>
                <a:gd name="connsiteX155" fmla="*/ 921834 w 4335715"/>
                <a:gd name="connsiteY155" fmla="*/ 1236742 h 2214236"/>
                <a:gd name="connsiteX156" fmla="*/ 675599 w 4335715"/>
                <a:gd name="connsiteY156" fmla="*/ 1465676 h 2214236"/>
                <a:gd name="connsiteX157" fmla="*/ 342454 w 4335715"/>
                <a:gd name="connsiteY157" fmla="*/ 773270 h 2214236"/>
                <a:gd name="connsiteX158" fmla="*/ 596805 w 4335715"/>
                <a:gd name="connsiteY158" fmla="*/ 94710 h 2214236"/>
                <a:gd name="connsiteX159" fmla="*/ 395574 w 4335715"/>
                <a:gd name="connsiteY159" fmla="*/ 101684 h 2214236"/>
                <a:gd name="connsiteX160" fmla="*/ 56359 w 4335715"/>
                <a:gd name="connsiteY160" fmla="*/ 887279 h 2214236"/>
                <a:gd name="connsiteX161" fmla="*/ 55480 w 4335715"/>
                <a:gd name="connsiteY161" fmla="*/ 999039 h 2214236"/>
                <a:gd name="connsiteX162" fmla="*/ 50400 w 4335715"/>
                <a:gd name="connsiteY162" fmla="*/ 2214236 h 2214236"/>
                <a:gd name="connsiteX163" fmla="*/ 0 w 4335715"/>
                <a:gd name="connsiteY163" fmla="*/ 2214236 h 2214236"/>
                <a:gd name="connsiteX164" fmla="*/ 0 w 4335715"/>
                <a:gd name="connsiteY164" fmla="*/ 899979 h 2214236"/>
                <a:gd name="connsiteX165" fmla="*/ 0 w 4335715"/>
                <a:gd name="connsiteY165" fmla="*/ 894338 h 2214236"/>
                <a:gd name="connsiteX166" fmla="*/ 408 w 4335715"/>
                <a:gd name="connsiteY166" fmla="*/ 894338 h 2214236"/>
                <a:gd name="connsiteX167" fmla="*/ 333544 w 4335715"/>
                <a:gd name="connsiteY167" fmla="*/ 60424 h 2214236"/>
                <a:gd name="connsiteX168" fmla="*/ 664016 w 4335715"/>
                <a:gd name="connsiteY168" fmla="*/ 52273 h 2214236"/>
                <a:gd name="connsiteX169" fmla="*/ 890905 w 4335715"/>
                <a:gd name="connsiteY169" fmla="*/ 16230 h 2214236"/>
                <a:gd name="connsiteX170" fmla="*/ 1154911 w 4335715"/>
                <a:gd name="connsiteY170" fmla="*/ 52273 h 2214236"/>
                <a:gd name="connsiteX171" fmla="*/ 1389590 w 4335715"/>
                <a:gd name="connsiteY171" fmla="*/ 12361 h 2214236"/>
                <a:gd name="connsiteX172" fmla="*/ 1645806 w 4335715"/>
                <a:gd name="connsiteY172" fmla="*/ 52273 h 2214236"/>
                <a:gd name="connsiteX173" fmla="*/ 1880485 w 4335715"/>
                <a:gd name="connsiteY173" fmla="*/ 16230 h 2214236"/>
                <a:gd name="connsiteX174" fmla="*/ 2136702 w 4335715"/>
                <a:gd name="connsiteY174" fmla="*/ 52273 h 2214236"/>
                <a:gd name="connsiteX175" fmla="*/ 2355801 w 4335715"/>
                <a:gd name="connsiteY175" fmla="*/ 20100 h 2214236"/>
                <a:gd name="connsiteX176" fmla="*/ 2627597 w 4335715"/>
                <a:gd name="connsiteY176" fmla="*/ 52273 h 2214236"/>
                <a:gd name="connsiteX177" fmla="*/ 2869889 w 4335715"/>
                <a:gd name="connsiteY177" fmla="*/ 15698 h 2214236"/>
                <a:gd name="connsiteX178" fmla="*/ 3118492 w 4335715"/>
                <a:gd name="connsiteY178" fmla="*/ 52273 h 2214236"/>
                <a:gd name="connsiteX179" fmla="*/ 3373772 w 4335715"/>
                <a:gd name="connsiteY179" fmla="*/ 15698 h 2214236"/>
                <a:gd name="connsiteX180" fmla="*/ 3614585 w 4335715"/>
                <a:gd name="connsiteY180" fmla="*/ 60004 h 2214236"/>
                <a:gd name="connsiteX181" fmla="*/ 3813457 w 4335715"/>
                <a:gd name="connsiteY181" fmla="*/ 8288 h 2214236"/>
                <a:gd name="connsiteX182" fmla="*/ 3898116 w 4335715"/>
                <a:gd name="connsiteY182"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84549 w 4331822"/>
                <a:gd name="connsiteY139" fmla="*/ 894338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4292169 w 4331822"/>
                <a:gd name="connsiteY139" fmla="*/ 797183 h 2214236"/>
                <a:gd name="connsiteX140" fmla="*/ 3924991 w 4331822"/>
                <a:gd name="connsiteY140" fmla="*/ 66043 h 2214236"/>
                <a:gd name="connsiteX141" fmla="*/ 3684110 w 4331822"/>
                <a:gd name="connsiteY141" fmla="*/ 96607 h 2214236"/>
                <a:gd name="connsiteX142" fmla="*/ 3954115 w 4331822"/>
                <a:gd name="connsiteY142" fmla="*/ 773270 h 2214236"/>
                <a:gd name="connsiteX143" fmla="*/ 3620971 w 4331822"/>
                <a:gd name="connsiteY143" fmla="*/ 1465676 h 2214236"/>
                <a:gd name="connsiteX144" fmla="*/ 3376310 w 4331822"/>
                <a:gd name="connsiteY144" fmla="*/ 1236742 h 2214236"/>
                <a:gd name="connsiteX145" fmla="*/ 3130075 w 4331822"/>
                <a:gd name="connsiteY145" fmla="*/ 1465676 h 2214236"/>
                <a:gd name="connsiteX146" fmla="*/ 2885415 w 4331822"/>
                <a:gd name="connsiteY146" fmla="*/ 1236742 h 2214236"/>
                <a:gd name="connsiteX147" fmla="*/ 2639180 w 4331822"/>
                <a:gd name="connsiteY147" fmla="*/ 1465676 h 2214236"/>
                <a:gd name="connsiteX148" fmla="*/ 2394519 w 4331822"/>
                <a:gd name="connsiteY148" fmla="*/ 1236742 h 2214236"/>
                <a:gd name="connsiteX149" fmla="*/ 2148285 w 4331822"/>
                <a:gd name="connsiteY149" fmla="*/ 1465676 h 2214236"/>
                <a:gd name="connsiteX150" fmla="*/ 1903624 w 4331822"/>
                <a:gd name="connsiteY150" fmla="*/ 1236742 h 2214236"/>
                <a:gd name="connsiteX151" fmla="*/ 1657389 w 4331822"/>
                <a:gd name="connsiteY151" fmla="*/ 1465676 h 2214236"/>
                <a:gd name="connsiteX152" fmla="*/ 1412729 w 4331822"/>
                <a:gd name="connsiteY152" fmla="*/ 1236742 h 2214236"/>
                <a:gd name="connsiteX153" fmla="*/ 1166494 w 4331822"/>
                <a:gd name="connsiteY153" fmla="*/ 1465676 h 2214236"/>
                <a:gd name="connsiteX154" fmla="*/ 921834 w 4331822"/>
                <a:gd name="connsiteY154" fmla="*/ 1236742 h 2214236"/>
                <a:gd name="connsiteX155" fmla="*/ 675599 w 4331822"/>
                <a:gd name="connsiteY155" fmla="*/ 1465676 h 2214236"/>
                <a:gd name="connsiteX156" fmla="*/ 342454 w 4331822"/>
                <a:gd name="connsiteY156" fmla="*/ 773270 h 2214236"/>
                <a:gd name="connsiteX157" fmla="*/ 596805 w 4331822"/>
                <a:gd name="connsiteY157" fmla="*/ 94710 h 2214236"/>
                <a:gd name="connsiteX158" fmla="*/ 395574 w 4331822"/>
                <a:gd name="connsiteY158" fmla="*/ 101684 h 2214236"/>
                <a:gd name="connsiteX159" fmla="*/ 56359 w 4331822"/>
                <a:gd name="connsiteY159" fmla="*/ 887279 h 2214236"/>
                <a:gd name="connsiteX160" fmla="*/ 55480 w 4331822"/>
                <a:gd name="connsiteY160" fmla="*/ 999039 h 2214236"/>
                <a:gd name="connsiteX161" fmla="*/ 50400 w 4331822"/>
                <a:gd name="connsiteY161" fmla="*/ 2214236 h 2214236"/>
                <a:gd name="connsiteX162" fmla="*/ 0 w 4331822"/>
                <a:gd name="connsiteY162" fmla="*/ 2214236 h 2214236"/>
                <a:gd name="connsiteX163" fmla="*/ 0 w 4331822"/>
                <a:gd name="connsiteY163" fmla="*/ 899979 h 2214236"/>
                <a:gd name="connsiteX164" fmla="*/ 0 w 4331822"/>
                <a:gd name="connsiteY164" fmla="*/ 894338 h 2214236"/>
                <a:gd name="connsiteX165" fmla="*/ 408 w 4331822"/>
                <a:gd name="connsiteY165" fmla="*/ 894338 h 2214236"/>
                <a:gd name="connsiteX166" fmla="*/ 333544 w 4331822"/>
                <a:gd name="connsiteY166" fmla="*/ 60424 h 2214236"/>
                <a:gd name="connsiteX167" fmla="*/ 664016 w 4331822"/>
                <a:gd name="connsiteY167" fmla="*/ 52273 h 2214236"/>
                <a:gd name="connsiteX168" fmla="*/ 890905 w 4331822"/>
                <a:gd name="connsiteY168" fmla="*/ 16230 h 2214236"/>
                <a:gd name="connsiteX169" fmla="*/ 1154911 w 4331822"/>
                <a:gd name="connsiteY169" fmla="*/ 52273 h 2214236"/>
                <a:gd name="connsiteX170" fmla="*/ 1389590 w 4331822"/>
                <a:gd name="connsiteY170" fmla="*/ 12361 h 2214236"/>
                <a:gd name="connsiteX171" fmla="*/ 1645806 w 4331822"/>
                <a:gd name="connsiteY171" fmla="*/ 52273 h 2214236"/>
                <a:gd name="connsiteX172" fmla="*/ 1880485 w 4331822"/>
                <a:gd name="connsiteY172" fmla="*/ 16230 h 2214236"/>
                <a:gd name="connsiteX173" fmla="*/ 2136702 w 4331822"/>
                <a:gd name="connsiteY173" fmla="*/ 52273 h 2214236"/>
                <a:gd name="connsiteX174" fmla="*/ 2355801 w 4331822"/>
                <a:gd name="connsiteY174" fmla="*/ 20100 h 2214236"/>
                <a:gd name="connsiteX175" fmla="*/ 2627597 w 4331822"/>
                <a:gd name="connsiteY175" fmla="*/ 52273 h 2214236"/>
                <a:gd name="connsiteX176" fmla="*/ 2869889 w 4331822"/>
                <a:gd name="connsiteY176" fmla="*/ 15698 h 2214236"/>
                <a:gd name="connsiteX177" fmla="*/ 3118492 w 4331822"/>
                <a:gd name="connsiteY177" fmla="*/ 52273 h 2214236"/>
                <a:gd name="connsiteX178" fmla="*/ 3373772 w 4331822"/>
                <a:gd name="connsiteY178" fmla="*/ 15698 h 2214236"/>
                <a:gd name="connsiteX179" fmla="*/ 3614585 w 4331822"/>
                <a:gd name="connsiteY179" fmla="*/ 60004 h 2214236"/>
                <a:gd name="connsiteX180" fmla="*/ 3813457 w 4331822"/>
                <a:gd name="connsiteY180" fmla="*/ 8288 h 2214236"/>
                <a:gd name="connsiteX181" fmla="*/ 3898116 w 4331822"/>
                <a:gd name="connsiteY181"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48217 h 2214236"/>
                <a:gd name="connsiteX1" fmla="*/ 3334579 w 4331822"/>
                <a:gd name="connsiteY1" fmla="*/ 773263 h 2214236"/>
                <a:gd name="connsiteX2" fmla="*/ 3380985 w 4331822"/>
                <a:gd name="connsiteY2" fmla="*/ 1063686 h 2214236"/>
                <a:gd name="connsiteX3" fmla="*/ 3416474 w 4331822"/>
                <a:gd name="connsiteY3" fmla="*/ 773263 h 2214236"/>
                <a:gd name="connsiteX4" fmla="*/ 3371112 w 4331822"/>
                <a:gd name="connsiteY4" fmla="*/ 448217 h 2214236"/>
                <a:gd name="connsiteX5" fmla="*/ 2880217 w 4331822"/>
                <a:gd name="connsiteY5" fmla="*/ 448217 h 2214236"/>
                <a:gd name="connsiteX6" fmla="*/ 2843683 w 4331822"/>
                <a:gd name="connsiteY6" fmla="*/ 773263 h 2214236"/>
                <a:gd name="connsiteX7" fmla="*/ 2890090 w 4331822"/>
                <a:gd name="connsiteY7" fmla="*/ 1063686 h 2214236"/>
                <a:gd name="connsiteX8" fmla="*/ 2925579 w 4331822"/>
                <a:gd name="connsiteY8" fmla="*/ 773263 h 2214236"/>
                <a:gd name="connsiteX9" fmla="*/ 2880217 w 4331822"/>
                <a:gd name="connsiteY9" fmla="*/ 448217 h 2214236"/>
                <a:gd name="connsiteX10" fmla="*/ 2389322 w 4331822"/>
                <a:gd name="connsiteY10" fmla="*/ 448217 h 2214236"/>
                <a:gd name="connsiteX11" fmla="*/ 2352788 w 4331822"/>
                <a:gd name="connsiteY11" fmla="*/ 773263 h 2214236"/>
                <a:gd name="connsiteX12" fmla="*/ 2399195 w 4331822"/>
                <a:gd name="connsiteY12" fmla="*/ 1063686 h 2214236"/>
                <a:gd name="connsiteX13" fmla="*/ 2434683 w 4331822"/>
                <a:gd name="connsiteY13" fmla="*/ 773263 h 2214236"/>
                <a:gd name="connsiteX14" fmla="*/ 2389322 w 4331822"/>
                <a:gd name="connsiteY14" fmla="*/ 448217 h 2214236"/>
                <a:gd name="connsiteX15" fmla="*/ 1898426 w 4331822"/>
                <a:gd name="connsiteY15" fmla="*/ 448217 h 2214236"/>
                <a:gd name="connsiteX16" fmla="*/ 1861893 w 4331822"/>
                <a:gd name="connsiteY16" fmla="*/ 773263 h 2214236"/>
                <a:gd name="connsiteX17" fmla="*/ 1908299 w 4331822"/>
                <a:gd name="connsiteY17" fmla="*/ 1063679 h 2214236"/>
                <a:gd name="connsiteX18" fmla="*/ 1943788 w 4331822"/>
                <a:gd name="connsiteY18" fmla="*/ 773263 h 2214236"/>
                <a:gd name="connsiteX19" fmla="*/ 1898426 w 4331822"/>
                <a:gd name="connsiteY19" fmla="*/ 448217 h 2214236"/>
                <a:gd name="connsiteX20" fmla="*/ 1407531 w 4331822"/>
                <a:gd name="connsiteY20" fmla="*/ 448217 h 2214236"/>
                <a:gd name="connsiteX21" fmla="*/ 1370998 w 4331822"/>
                <a:gd name="connsiteY21" fmla="*/ 773263 h 2214236"/>
                <a:gd name="connsiteX22" fmla="*/ 1417404 w 4331822"/>
                <a:gd name="connsiteY22" fmla="*/ 1063686 h 2214236"/>
                <a:gd name="connsiteX23" fmla="*/ 1452893 w 4331822"/>
                <a:gd name="connsiteY23" fmla="*/ 773263 h 2214236"/>
                <a:gd name="connsiteX24" fmla="*/ 1407531 w 4331822"/>
                <a:gd name="connsiteY24" fmla="*/ 448217 h 2214236"/>
                <a:gd name="connsiteX25" fmla="*/ 916636 w 4331822"/>
                <a:gd name="connsiteY25" fmla="*/ 448217 h 2214236"/>
                <a:gd name="connsiteX26" fmla="*/ 880102 w 4331822"/>
                <a:gd name="connsiteY26" fmla="*/ 773263 h 2214236"/>
                <a:gd name="connsiteX27" fmla="*/ 926509 w 4331822"/>
                <a:gd name="connsiteY27" fmla="*/ 1063686 h 2214236"/>
                <a:gd name="connsiteX28" fmla="*/ 961997 w 4331822"/>
                <a:gd name="connsiteY28" fmla="*/ 773263 h 2214236"/>
                <a:gd name="connsiteX29" fmla="*/ 916636 w 4331822"/>
                <a:gd name="connsiteY29" fmla="*/ 448217 h 2214236"/>
                <a:gd name="connsiteX30" fmla="*/ 3613900 w 4331822"/>
                <a:gd name="connsiteY30" fmla="*/ 129633 h 2214236"/>
                <a:gd name="connsiteX31" fmla="*/ 3564779 w 4331822"/>
                <a:gd name="connsiteY31" fmla="*/ 148842 h 2214236"/>
                <a:gd name="connsiteX32" fmla="*/ 3397420 w 4331822"/>
                <a:gd name="connsiteY32" fmla="*/ 374446 h 2214236"/>
                <a:gd name="connsiteX33" fmla="*/ 3463220 w 4331822"/>
                <a:gd name="connsiteY33" fmla="*/ 773270 h 2214236"/>
                <a:gd name="connsiteX34" fmla="*/ 3407544 w 4331822"/>
                <a:gd name="connsiteY34" fmla="*/ 1150374 h 2214236"/>
                <a:gd name="connsiteX35" fmla="*/ 3620977 w 4331822"/>
                <a:gd name="connsiteY35" fmla="*/ 1393413 h 2214236"/>
                <a:gd name="connsiteX36" fmla="*/ 3907369 w 4331822"/>
                <a:gd name="connsiteY36" fmla="*/ 773263 h 2214236"/>
                <a:gd name="connsiteX37" fmla="*/ 3700538 w 4331822"/>
                <a:gd name="connsiteY37" fmla="*/ 181841 h 2214236"/>
                <a:gd name="connsiteX38" fmla="*/ 3613900 w 4331822"/>
                <a:gd name="connsiteY38" fmla="*/ 129633 h 2214236"/>
                <a:gd name="connsiteX39" fmla="*/ 3123005 w 4331822"/>
                <a:gd name="connsiteY39" fmla="*/ 129633 h 2214236"/>
                <a:gd name="connsiteX40" fmla="*/ 3073884 w 4331822"/>
                <a:gd name="connsiteY40" fmla="*/ 148842 h 2214236"/>
                <a:gd name="connsiteX41" fmla="*/ 2906525 w 4331822"/>
                <a:gd name="connsiteY41" fmla="*/ 374446 h 2214236"/>
                <a:gd name="connsiteX42" fmla="*/ 2972324 w 4331822"/>
                <a:gd name="connsiteY42" fmla="*/ 773270 h 2214236"/>
                <a:gd name="connsiteX43" fmla="*/ 2916649 w 4331822"/>
                <a:gd name="connsiteY43" fmla="*/ 1150374 h 2214236"/>
                <a:gd name="connsiteX44" fmla="*/ 3130082 w 4331822"/>
                <a:gd name="connsiteY44" fmla="*/ 1393413 h 2214236"/>
                <a:gd name="connsiteX45" fmla="*/ 3349724 w 4331822"/>
                <a:gd name="connsiteY45" fmla="*/ 1164206 h 2214236"/>
                <a:gd name="connsiteX46" fmla="*/ 3287833 w 4331822"/>
                <a:gd name="connsiteY46" fmla="*/ 773270 h 2214236"/>
                <a:gd name="connsiteX47" fmla="*/ 3342599 w 4331822"/>
                <a:gd name="connsiteY47" fmla="*/ 384505 h 2214236"/>
                <a:gd name="connsiteX48" fmla="*/ 3209643 w 4331822"/>
                <a:gd name="connsiteY48" fmla="*/ 181841 h 2214236"/>
                <a:gd name="connsiteX49" fmla="*/ 3123005 w 4331822"/>
                <a:gd name="connsiteY49" fmla="*/ 129633 h 2214236"/>
                <a:gd name="connsiteX50" fmla="*/ 2632109 w 4331822"/>
                <a:gd name="connsiteY50" fmla="*/ 129633 h 2214236"/>
                <a:gd name="connsiteX51" fmla="*/ 2582989 w 4331822"/>
                <a:gd name="connsiteY51" fmla="*/ 148842 h 2214236"/>
                <a:gd name="connsiteX52" fmla="*/ 2415629 w 4331822"/>
                <a:gd name="connsiteY52" fmla="*/ 374446 h 2214236"/>
                <a:gd name="connsiteX53" fmla="*/ 2481429 w 4331822"/>
                <a:gd name="connsiteY53" fmla="*/ 773270 h 2214236"/>
                <a:gd name="connsiteX54" fmla="*/ 2425753 w 4331822"/>
                <a:gd name="connsiteY54" fmla="*/ 1150374 h 2214236"/>
                <a:gd name="connsiteX55" fmla="*/ 2639187 w 4331822"/>
                <a:gd name="connsiteY55" fmla="*/ 1393413 h 2214236"/>
                <a:gd name="connsiteX56" fmla="*/ 2858829 w 4331822"/>
                <a:gd name="connsiteY56" fmla="*/ 1164206 h 2214236"/>
                <a:gd name="connsiteX57" fmla="*/ 2796938 w 4331822"/>
                <a:gd name="connsiteY57" fmla="*/ 773270 h 2214236"/>
                <a:gd name="connsiteX58" fmla="*/ 2851704 w 4331822"/>
                <a:gd name="connsiteY58" fmla="*/ 384505 h 2214236"/>
                <a:gd name="connsiteX59" fmla="*/ 2718748 w 4331822"/>
                <a:gd name="connsiteY59" fmla="*/ 181841 h 2214236"/>
                <a:gd name="connsiteX60" fmla="*/ 2632109 w 4331822"/>
                <a:gd name="connsiteY60" fmla="*/ 129633 h 2214236"/>
                <a:gd name="connsiteX61" fmla="*/ 2141214 w 4331822"/>
                <a:gd name="connsiteY61" fmla="*/ 129633 h 2214236"/>
                <a:gd name="connsiteX62" fmla="*/ 2092093 w 4331822"/>
                <a:gd name="connsiteY62" fmla="*/ 148842 h 2214236"/>
                <a:gd name="connsiteX63" fmla="*/ 1924734 w 4331822"/>
                <a:gd name="connsiteY63" fmla="*/ 374446 h 2214236"/>
                <a:gd name="connsiteX64" fmla="*/ 1990534 w 4331822"/>
                <a:gd name="connsiteY64" fmla="*/ 773270 h 2214236"/>
                <a:gd name="connsiteX65" fmla="*/ 1934858 w 4331822"/>
                <a:gd name="connsiteY65" fmla="*/ 1150374 h 2214236"/>
                <a:gd name="connsiteX66" fmla="*/ 2148291 w 4331822"/>
                <a:gd name="connsiteY66" fmla="*/ 1393413 h 2214236"/>
                <a:gd name="connsiteX67" fmla="*/ 2367934 w 4331822"/>
                <a:gd name="connsiteY67" fmla="*/ 1164206 h 2214236"/>
                <a:gd name="connsiteX68" fmla="*/ 2306036 w 4331822"/>
                <a:gd name="connsiteY68" fmla="*/ 773270 h 2214236"/>
                <a:gd name="connsiteX69" fmla="*/ 2360809 w 4331822"/>
                <a:gd name="connsiteY69" fmla="*/ 384505 h 2214236"/>
                <a:gd name="connsiteX70" fmla="*/ 2227852 w 4331822"/>
                <a:gd name="connsiteY70" fmla="*/ 181841 h 2214236"/>
                <a:gd name="connsiteX71" fmla="*/ 2141214 w 4331822"/>
                <a:gd name="connsiteY71" fmla="*/ 129633 h 2214236"/>
                <a:gd name="connsiteX72" fmla="*/ 1650319 w 4331822"/>
                <a:gd name="connsiteY72" fmla="*/ 129633 h 2214236"/>
                <a:gd name="connsiteX73" fmla="*/ 1601198 w 4331822"/>
                <a:gd name="connsiteY73" fmla="*/ 148842 h 2214236"/>
                <a:gd name="connsiteX74" fmla="*/ 1433839 w 4331822"/>
                <a:gd name="connsiteY74" fmla="*/ 374446 h 2214236"/>
                <a:gd name="connsiteX75" fmla="*/ 1499638 w 4331822"/>
                <a:gd name="connsiteY75" fmla="*/ 773270 h 2214236"/>
                <a:gd name="connsiteX76" fmla="*/ 1443963 w 4331822"/>
                <a:gd name="connsiteY76" fmla="*/ 1150374 h 2214236"/>
                <a:gd name="connsiteX77" fmla="*/ 1657396 w 4331822"/>
                <a:gd name="connsiteY77" fmla="*/ 1393413 h 2214236"/>
                <a:gd name="connsiteX78" fmla="*/ 1877038 w 4331822"/>
                <a:gd name="connsiteY78" fmla="*/ 1164206 h 2214236"/>
                <a:gd name="connsiteX79" fmla="*/ 1815140 w 4331822"/>
                <a:gd name="connsiteY79" fmla="*/ 773270 h 2214236"/>
                <a:gd name="connsiteX80" fmla="*/ 1869913 w 4331822"/>
                <a:gd name="connsiteY80" fmla="*/ 384505 h 2214236"/>
                <a:gd name="connsiteX81" fmla="*/ 1736957 w 4331822"/>
                <a:gd name="connsiteY81" fmla="*/ 181841 h 2214236"/>
                <a:gd name="connsiteX82" fmla="*/ 1650319 w 4331822"/>
                <a:gd name="connsiteY82" fmla="*/ 129633 h 2214236"/>
                <a:gd name="connsiteX83" fmla="*/ 1159423 w 4331822"/>
                <a:gd name="connsiteY83" fmla="*/ 129633 h 2214236"/>
                <a:gd name="connsiteX84" fmla="*/ 1110303 w 4331822"/>
                <a:gd name="connsiteY84" fmla="*/ 148842 h 2214236"/>
                <a:gd name="connsiteX85" fmla="*/ 942937 w 4331822"/>
                <a:gd name="connsiteY85" fmla="*/ 374446 h 2214236"/>
                <a:gd name="connsiteX86" fmla="*/ 1008736 w 4331822"/>
                <a:gd name="connsiteY86" fmla="*/ 773270 h 2214236"/>
                <a:gd name="connsiteX87" fmla="*/ 953068 w 4331822"/>
                <a:gd name="connsiteY87" fmla="*/ 1150374 h 2214236"/>
                <a:gd name="connsiteX88" fmla="*/ 1166494 w 4331822"/>
                <a:gd name="connsiteY88" fmla="*/ 1393413 h 2214236"/>
                <a:gd name="connsiteX89" fmla="*/ 1386143 w 4331822"/>
                <a:gd name="connsiteY89" fmla="*/ 1164206 h 2214236"/>
                <a:gd name="connsiteX90" fmla="*/ 1324245 w 4331822"/>
                <a:gd name="connsiteY90" fmla="*/ 773270 h 2214236"/>
                <a:gd name="connsiteX91" fmla="*/ 1379018 w 4331822"/>
                <a:gd name="connsiteY91" fmla="*/ 384505 h 2214236"/>
                <a:gd name="connsiteX92" fmla="*/ 1246062 w 4331822"/>
                <a:gd name="connsiteY92" fmla="*/ 181841 h 2214236"/>
                <a:gd name="connsiteX93" fmla="*/ 1159423 w 4331822"/>
                <a:gd name="connsiteY93" fmla="*/ 129633 h 2214236"/>
                <a:gd name="connsiteX94" fmla="*/ 658140 w 4331822"/>
                <a:gd name="connsiteY94" fmla="*/ 129626 h 2214236"/>
                <a:gd name="connsiteX95" fmla="*/ 619408 w 4331822"/>
                <a:gd name="connsiteY95" fmla="*/ 148842 h 2214236"/>
                <a:gd name="connsiteX96" fmla="*/ 389207 w 4331822"/>
                <a:gd name="connsiteY96" fmla="*/ 773263 h 2214236"/>
                <a:gd name="connsiteX97" fmla="*/ 675599 w 4331822"/>
                <a:gd name="connsiteY97" fmla="*/ 1393413 h 2214236"/>
                <a:gd name="connsiteX98" fmla="*/ 895248 w 4331822"/>
                <a:gd name="connsiteY98" fmla="*/ 1164206 h 2214236"/>
                <a:gd name="connsiteX99" fmla="*/ 833350 w 4331822"/>
                <a:gd name="connsiteY99" fmla="*/ 773270 h 2214236"/>
                <a:gd name="connsiteX100" fmla="*/ 888123 w 4331822"/>
                <a:gd name="connsiteY100" fmla="*/ 384505 h 2214236"/>
                <a:gd name="connsiteX101" fmla="*/ 755166 w 4331822"/>
                <a:gd name="connsiteY101" fmla="*/ 181841 h 2214236"/>
                <a:gd name="connsiteX102" fmla="*/ 658140 w 4331822"/>
                <a:gd name="connsiteY102" fmla="*/ 129626 h 2214236"/>
                <a:gd name="connsiteX103" fmla="*/ 1394777 w 4331822"/>
                <a:gd name="connsiteY103" fmla="*/ 84747 h 2214236"/>
                <a:gd name="connsiteX104" fmla="*/ 1242866 w 4331822"/>
                <a:gd name="connsiteY104" fmla="*/ 99937 h 2214236"/>
                <a:gd name="connsiteX105" fmla="*/ 1407246 w 4331822"/>
                <a:gd name="connsiteY105" fmla="*/ 314105 h 2214236"/>
                <a:gd name="connsiteX106" fmla="*/ 1563185 w 4331822"/>
                <a:gd name="connsiteY106" fmla="*/ 104870 h 2214236"/>
                <a:gd name="connsiteX107" fmla="*/ 1430968 w 4331822"/>
                <a:gd name="connsiteY107" fmla="*/ 85116 h 2214236"/>
                <a:gd name="connsiteX108" fmla="*/ 1394777 w 4331822"/>
                <a:gd name="connsiteY108" fmla="*/ 84747 h 2214236"/>
                <a:gd name="connsiteX109" fmla="*/ 3365982 w 4331822"/>
                <a:gd name="connsiteY109" fmla="*/ 81983 h 2214236"/>
                <a:gd name="connsiteX110" fmla="*/ 3206447 w 4331822"/>
                <a:gd name="connsiteY110" fmla="*/ 99937 h 2214236"/>
                <a:gd name="connsiteX111" fmla="*/ 3370827 w 4331822"/>
                <a:gd name="connsiteY111" fmla="*/ 314105 h 2214236"/>
                <a:gd name="connsiteX112" fmla="*/ 3526773 w 4331822"/>
                <a:gd name="connsiteY112" fmla="*/ 104870 h 2214236"/>
                <a:gd name="connsiteX113" fmla="*/ 3365982 w 4331822"/>
                <a:gd name="connsiteY113" fmla="*/ 81983 h 2214236"/>
                <a:gd name="connsiteX114" fmla="*/ 2371204 w 4331822"/>
                <a:gd name="connsiteY114" fmla="*/ 81247 h 2214236"/>
                <a:gd name="connsiteX115" fmla="*/ 2224656 w 4331822"/>
                <a:gd name="connsiteY115" fmla="*/ 99937 h 2214236"/>
                <a:gd name="connsiteX116" fmla="*/ 2389037 w 4331822"/>
                <a:gd name="connsiteY116" fmla="*/ 314105 h 2214236"/>
                <a:gd name="connsiteX117" fmla="*/ 2544976 w 4331822"/>
                <a:gd name="connsiteY117" fmla="*/ 104870 h 2214236"/>
                <a:gd name="connsiteX118" fmla="*/ 2371204 w 4331822"/>
                <a:gd name="connsiteY118" fmla="*/ 81247 h 2214236"/>
                <a:gd name="connsiteX119" fmla="*/ 1895889 w 4331822"/>
                <a:gd name="connsiteY119" fmla="*/ 81247 h 2214236"/>
                <a:gd name="connsiteX120" fmla="*/ 1733761 w 4331822"/>
                <a:gd name="connsiteY120" fmla="*/ 99937 h 2214236"/>
                <a:gd name="connsiteX121" fmla="*/ 1898141 w 4331822"/>
                <a:gd name="connsiteY121" fmla="*/ 314105 h 2214236"/>
                <a:gd name="connsiteX122" fmla="*/ 2054081 w 4331822"/>
                <a:gd name="connsiteY122" fmla="*/ 104870 h 2214236"/>
                <a:gd name="connsiteX123" fmla="*/ 1895889 w 4331822"/>
                <a:gd name="connsiteY123" fmla="*/ 81247 h 2214236"/>
                <a:gd name="connsiteX124" fmla="*/ 2877686 w 4331822"/>
                <a:gd name="connsiteY124" fmla="*/ 80673 h 2214236"/>
                <a:gd name="connsiteX125" fmla="*/ 2715552 w 4331822"/>
                <a:gd name="connsiteY125" fmla="*/ 99937 h 2214236"/>
                <a:gd name="connsiteX126" fmla="*/ 2879932 w 4331822"/>
                <a:gd name="connsiteY126" fmla="*/ 314105 h 2214236"/>
                <a:gd name="connsiteX127" fmla="*/ 3035878 w 4331822"/>
                <a:gd name="connsiteY127" fmla="*/ 104870 h 2214236"/>
                <a:gd name="connsiteX128" fmla="*/ 2877686 w 4331822"/>
                <a:gd name="connsiteY128" fmla="*/ 80673 h 2214236"/>
                <a:gd name="connsiteX129" fmla="*/ 893321 w 4331822"/>
                <a:gd name="connsiteY129" fmla="*/ 77384 h 2214236"/>
                <a:gd name="connsiteX130" fmla="*/ 751970 w 4331822"/>
                <a:gd name="connsiteY130" fmla="*/ 99937 h 2214236"/>
                <a:gd name="connsiteX131" fmla="*/ 916351 w 4331822"/>
                <a:gd name="connsiteY131" fmla="*/ 314105 h 2214236"/>
                <a:gd name="connsiteX132" fmla="*/ 1072290 w 4331822"/>
                <a:gd name="connsiteY132" fmla="*/ 104870 h 2214236"/>
                <a:gd name="connsiteX133" fmla="*/ 893321 w 4331822"/>
                <a:gd name="connsiteY133" fmla="*/ 77384 h 2214236"/>
                <a:gd name="connsiteX134" fmla="*/ 3898116 w 4331822"/>
                <a:gd name="connsiteY134" fmla="*/ 98 h 2214236"/>
                <a:gd name="connsiteX135" fmla="*/ 4331822 w 4331822"/>
                <a:gd name="connsiteY135" fmla="*/ 899979 h 2214236"/>
                <a:gd name="connsiteX136" fmla="*/ 4331822 w 4331822"/>
                <a:gd name="connsiteY136" fmla="*/ 2214236 h 2214236"/>
                <a:gd name="connsiteX137" fmla="*/ 4281422 w 4331822"/>
                <a:gd name="connsiteY137" fmla="*/ 2214236 h 2214236"/>
                <a:gd name="connsiteX138" fmla="*/ 4281422 w 4331822"/>
                <a:gd name="connsiteY138" fmla="*/ 894338 h 2214236"/>
                <a:gd name="connsiteX139" fmla="*/ 3924991 w 4331822"/>
                <a:gd name="connsiteY139" fmla="*/ 66043 h 2214236"/>
                <a:gd name="connsiteX140" fmla="*/ 3684110 w 4331822"/>
                <a:gd name="connsiteY140" fmla="*/ 96607 h 2214236"/>
                <a:gd name="connsiteX141" fmla="*/ 3954115 w 4331822"/>
                <a:gd name="connsiteY141" fmla="*/ 773270 h 2214236"/>
                <a:gd name="connsiteX142" fmla="*/ 3620971 w 4331822"/>
                <a:gd name="connsiteY142" fmla="*/ 1465676 h 2214236"/>
                <a:gd name="connsiteX143" fmla="*/ 3376310 w 4331822"/>
                <a:gd name="connsiteY143" fmla="*/ 1236742 h 2214236"/>
                <a:gd name="connsiteX144" fmla="*/ 3130075 w 4331822"/>
                <a:gd name="connsiteY144" fmla="*/ 1465676 h 2214236"/>
                <a:gd name="connsiteX145" fmla="*/ 2885415 w 4331822"/>
                <a:gd name="connsiteY145" fmla="*/ 1236742 h 2214236"/>
                <a:gd name="connsiteX146" fmla="*/ 2639180 w 4331822"/>
                <a:gd name="connsiteY146" fmla="*/ 1465676 h 2214236"/>
                <a:gd name="connsiteX147" fmla="*/ 2394519 w 4331822"/>
                <a:gd name="connsiteY147" fmla="*/ 1236742 h 2214236"/>
                <a:gd name="connsiteX148" fmla="*/ 2148285 w 4331822"/>
                <a:gd name="connsiteY148" fmla="*/ 1465676 h 2214236"/>
                <a:gd name="connsiteX149" fmla="*/ 1903624 w 4331822"/>
                <a:gd name="connsiteY149" fmla="*/ 1236742 h 2214236"/>
                <a:gd name="connsiteX150" fmla="*/ 1657389 w 4331822"/>
                <a:gd name="connsiteY150" fmla="*/ 1465676 h 2214236"/>
                <a:gd name="connsiteX151" fmla="*/ 1412729 w 4331822"/>
                <a:gd name="connsiteY151" fmla="*/ 1236742 h 2214236"/>
                <a:gd name="connsiteX152" fmla="*/ 1166494 w 4331822"/>
                <a:gd name="connsiteY152" fmla="*/ 1465676 h 2214236"/>
                <a:gd name="connsiteX153" fmla="*/ 921834 w 4331822"/>
                <a:gd name="connsiteY153" fmla="*/ 1236742 h 2214236"/>
                <a:gd name="connsiteX154" fmla="*/ 675599 w 4331822"/>
                <a:gd name="connsiteY154" fmla="*/ 1465676 h 2214236"/>
                <a:gd name="connsiteX155" fmla="*/ 342454 w 4331822"/>
                <a:gd name="connsiteY155" fmla="*/ 773270 h 2214236"/>
                <a:gd name="connsiteX156" fmla="*/ 596805 w 4331822"/>
                <a:gd name="connsiteY156" fmla="*/ 94710 h 2214236"/>
                <a:gd name="connsiteX157" fmla="*/ 395574 w 4331822"/>
                <a:gd name="connsiteY157" fmla="*/ 101684 h 2214236"/>
                <a:gd name="connsiteX158" fmla="*/ 56359 w 4331822"/>
                <a:gd name="connsiteY158" fmla="*/ 887279 h 2214236"/>
                <a:gd name="connsiteX159" fmla="*/ 55480 w 4331822"/>
                <a:gd name="connsiteY159" fmla="*/ 999039 h 2214236"/>
                <a:gd name="connsiteX160" fmla="*/ 50400 w 4331822"/>
                <a:gd name="connsiteY160" fmla="*/ 2214236 h 2214236"/>
                <a:gd name="connsiteX161" fmla="*/ 0 w 4331822"/>
                <a:gd name="connsiteY161" fmla="*/ 2214236 h 2214236"/>
                <a:gd name="connsiteX162" fmla="*/ 0 w 4331822"/>
                <a:gd name="connsiteY162" fmla="*/ 899979 h 2214236"/>
                <a:gd name="connsiteX163" fmla="*/ 0 w 4331822"/>
                <a:gd name="connsiteY163" fmla="*/ 894338 h 2214236"/>
                <a:gd name="connsiteX164" fmla="*/ 408 w 4331822"/>
                <a:gd name="connsiteY164" fmla="*/ 894338 h 2214236"/>
                <a:gd name="connsiteX165" fmla="*/ 333544 w 4331822"/>
                <a:gd name="connsiteY165" fmla="*/ 60424 h 2214236"/>
                <a:gd name="connsiteX166" fmla="*/ 664016 w 4331822"/>
                <a:gd name="connsiteY166" fmla="*/ 52273 h 2214236"/>
                <a:gd name="connsiteX167" fmla="*/ 890905 w 4331822"/>
                <a:gd name="connsiteY167" fmla="*/ 16230 h 2214236"/>
                <a:gd name="connsiteX168" fmla="*/ 1154911 w 4331822"/>
                <a:gd name="connsiteY168" fmla="*/ 52273 h 2214236"/>
                <a:gd name="connsiteX169" fmla="*/ 1389590 w 4331822"/>
                <a:gd name="connsiteY169" fmla="*/ 12361 h 2214236"/>
                <a:gd name="connsiteX170" fmla="*/ 1645806 w 4331822"/>
                <a:gd name="connsiteY170" fmla="*/ 52273 h 2214236"/>
                <a:gd name="connsiteX171" fmla="*/ 1880485 w 4331822"/>
                <a:gd name="connsiteY171" fmla="*/ 16230 h 2214236"/>
                <a:gd name="connsiteX172" fmla="*/ 2136702 w 4331822"/>
                <a:gd name="connsiteY172" fmla="*/ 52273 h 2214236"/>
                <a:gd name="connsiteX173" fmla="*/ 2355801 w 4331822"/>
                <a:gd name="connsiteY173" fmla="*/ 20100 h 2214236"/>
                <a:gd name="connsiteX174" fmla="*/ 2627597 w 4331822"/>
                <a:gd name="connsiteY174" fmla="*/ 52273 h 2214236"/>
                <a:gd name="connsiteX175" fmla="*/ 2869889 w 4331822"/>
                <a:gd name="connsiteY175" fmla="*/ 15698 h 2214236"/>
                <a:gd name="connsiteX176" fmla="*/ 3118492 w 4331822"/>
                <a:gd name="connsiteY176" fmla="*/ 52273 h 2214236"/>
                <a:gd name="connsiteX177" fmla="*/ 3373772 w 4331822"/>
                <a:gd name="connsiteY177" fmla="*/ 15698 h 2214236"/>
                <a:gd name="connsiteX178" fmla="*/ 3614585 w 4331822"/>
                <a:gd name="connsiteY178" fmla="*/ 60004 h 2214236"/>
                <a:gd name="connsiteX179" fmla="*/ 3813457 w 4331822"/>
                <a:gd name="connsiteY179" fmla="*/ 8288 h 2214236"/>
                <a:gd name="connsiteX180" fmla="*/ 3898116 w 4331822"/>
                <a:gd name="connsiteY180" fmla="*/ 98 h 2214236"/>
                <a:gd name="connsiteX0" fmla="*/ 3371112 w 4331822"/>
                <a:gd name="connsiteY0" fmla="*/ 498263 h 2264282"/>
                <a:gd name="connsiteX1" fmla="*/ 3334579 w 4331822"/>
                <a:gd name="connsiteY1" fmla="*/ 823309 h 2264282"/>
                <a:gd name="connsiteX2" fmla="*/ 3380985 w 4331822"/>
                <a:gd name="connsiteY2" fmla="*/ 1113732 h 2264282"/>
                <a:gd name="connsiteX3" fmla="*/ 3416474 w 4331822"/>
                <a:gd name="connsiteY3" fmla="*/ 823309 h 2264282"/>
                <a:gd name="connsiteX4" fmla="*/ 3371112 w 4331822"/>
                <a:gd name="connsiteY4" fmla="*/ 498263 h 2264282"/>
                <a:gd name="connsiteX5" fmla="*/ 2880217 w 4331822"/>
                <a:gd name="connsiteY5" fmla="*/ 498263 h 2264282"/>
                <a:gd name="connsiteX6" fmla="*/ 2843683 w 4331822"/>
                <a:gd name="connsiteY6" fmla="*/ 823309 h 2264282"/>
                <a:gd name="connsiteX7" fmla="*/ 2890090 w 4331822"/>
                <a:gd name="connsiteY7" fmla="*/ 1113732 h 2264282"/>
                <a:gd name="connsiteX8" fmla="*/ 2925579 w 4331822"/>
                <a:gd name="connsiteY8" fmla="*/ 823309 h 2264282"/>
                <a:gd name="connsiteX9" fmla="*/ 2880217 w 4331822"/>
                <a:gd name="connsiteY9" fmla="*/ 498263 h 2264282"/>
                <a:gd name="connsiteX10" fmla="*/ 2389322 w 4331822"/>
                <a:gd name="connsiteY10" fmla="*/ 498263 h 2264282"/>
                <a:gd name="connsiteX11" fmla="*/ 2352788 w 4331822"/>
                <a:gd name="connsiteY11" fmla="*/ 823309 h 2264282"/>
                <a:gd name="connsiteX12" fmla="*/ 2399195 w 4331822"/>
                <a:gd name="connsiteY12" fmla="*/ 1113732 h 2264282"/>
                <a:gd name="connsiteX13" fmla="*/ 2434683 w 4331822"/>
                <a:gd name="connsiteY13" fmla="*/ 823309 h 2264282"/>
                <a:gd name="connsiteX14" fmla="*/ 2389322 w 4331822"/>
                <a:gd name="connsiteY14" fmla="*/ 498263 h 2264282"/>
                <a:gd name="connsiteX15" fmla="*/ 1898426 w 4331822"/>
                <a:gd name="connsiteY15" fmla="*/ 498263 h 2264282"/>
                <a:gd name="connsiteX16" fmla="*/ 1861893 w 4331822"/>
                <a:gd name="connsiteY16" fmla="*/ 823309 h 2264282"/>
                <a:gd name="connsiteX17" fmla="*/ 1908299 w 4331822"/>
                <a:gd name="connsiteY17" fmla="*/ 1113725 h 2264282"/>
                <a:gd name="connsiteX18" fmla="*/ 1943788 w 4331822"/>
                <a:gd name="connsiteY18" fmla="*/ 823309 h 2264282"/>
                <a:gd name="connsiteX19" fmla="*/ 1898426 w 4331822"/>
                <a:gd name="connsiteY19" fmla="*/ 498263 h 2264282"/>
                <a:gd name="connsiteX20" fmla="*/ 1407531 w 4331822"/>
                <a:gd name="connsiteY20" fmla="*/ 498263 h 2264282"/>
                <a:gd name="connsiteX21" fmla="*/ 1370998 w 4331822"/>
                <a:gd name="connsiteY21" fmla="*/ 823309 h 2264282"/>
                <a:gd name="connsiteX22" fmla="*/ 1417404 w 4331822"/>
                <a:gd name="connsiteY22" fmla="*/ 1113732 h 2264282"/>
                <a:gd name="connsiteX23" fmla="*/ 1452893 w 4331822"/>
                <a:gd name="connsiteY23" fmla="*/ 823309 h 2264282"/>
                <a:gd name="connsiteX24" fmla="*/ 1407531 w 4331822"/>
                <a:gd name="connsiteY24" fmla="*/ 498263 h 2264282"/>
                <a:gd name="connsiteX25" fmla="*/ 916636 w 4331822"/>
                <a:gd name="connsiteY25" fmla="*/ 498263 h 2264282"/>
                <a:gd name="connsiteX26" fmla="*/ 880102 w 4331822"/>
                <a:gd name="connsiteY26" fmla="*/ 823309 h 2264282"/>
                <a:gd name="connsiteX27" fmla="*/ 926509 w 4331822"/>
                <a:gd name="connsiteY27" fmla="*/ 1113732 h 2264282"/>
                <a:gd name="connsiteX28" fmla="*/ 961997 w 4331822"/>
                <a:gd name="connsiteY28" fmla="*/ 823309 h 2264282"/>
                <a:gd name="connsiteX29" fmla="*/ 916636 w 4331822"/>
                <a:gd name="connsiteY29" fmla="*/ 498263 h 2264282"/>
                <a:gd name="connsiteX30" fmla="*/ 3613900 w 4331822"/>
                <a:gd name="connsiteY30" fmla="*/ 179679 h 2264282"/>
                <a:gd name="connsiteX31" fmla="*/ 3564779 w 4331822"/>
                <a:gd name="connsiteY31" fmla="*/ 198888 h 2264282"/>
                <a:gd name="connsiteX32" fmla="*/ 3397420 w 4331822"/>
                <a:gd name="connsiteY32" fmla="*/ 424492 h 2264282"/>
                <a:gd name="connsiteX33" fmla="*/ 3463220 w 4331822"/>
                <a:gd name="connsiteY33" fmla="*/ 823316 h 2264282"/>
                <a:gd name="connsiteX34" fmla="*/ 3407544 w 4331822"/>
                <a:gd name="connsiteY34" fmla="*/ 1200420 h 2264282"/>
                <a:gd name="connsiteX35" fmla="*/ 3620977 w 4331822"/>
                <a:gd name="connsiteY35" fmla="*/ 1443459 h 2264282"/>
                <a:gd name="connsiteX36" fmla="*/ 3907369 w 4331822"/>
                <a:gd name="connsiteY36" fmla="*/ 823309 h 2264282"/>
                <a:gd name="connsiteX37" fmla="*/ 3700538 w 4331822"/>
                <a:gd name="connsiteY37" fmla="*/ 231887 h 2264282"/>
                <a:gd name="connsiteX38" fmla="*/ 3613900 w 4331822"/>
                <a:gd name="connsiteY38" fmla="*/ 179679 h 2264282"/>
                <a:gd name="connsiteX39" fmla="*/ 3123005 w 4331822"/>
                <a:gd name="connsiteY39" fmla="*/ 179679 h 2264282"/>
                <a:gd name="connsiteX40" fmla="*/ 3073884 w 4331822"/>
                <a:gd name="connsiteY40" fmla="*/ 198888 h 2264282"/>
                <a:gd name="connsiteX41" fmla="*/ 2906525 w 4331822"/>
                <a:gd name="connsiteY41" fmla="*/ 424492 h 2264282"/>
                <a:gd name="connsiteX42" fmla="*/ 2972324 w 4331822"/>
                <a:gd name="connsiteY42" fmla="*/ 823316 h 2264282"/>
                <a:gd name="connsiteX43" fmla="*/ 2916649 w 4331822"/>
                <a:gd name="connsiteY43" fmla="*/ 1200420 h 2264282"/>
                <a:gd name="connsiteX44" fmla="*/ 3130082 w 4331822"/>
                <a:gd name="connsiteY44" fmla="*/ 1443459 h 2264282"/>
                <a:gd name="connsiteX45" fmla="*/ 3349724 w 4331822"/>
                <a:gd name="connsiteY45" fmla="*/ 1214252 h 2264282"/>
                <a:gd name="connsiteX46" fmla="*/ 3287833 w 4331822"/>
                <a:gd name="connsiteY46" fmla="*/ 823316 h 2264282"/>
                <a:gd name="connsiteX47" fmla="*/ 3342599 w 4331822"/>
                <a:gd name="connsiteY47" fmla="*/ 434551 h 2264282"/>
                <a:gd name="connsiteX48" fmla="*/ 3209643 w 4331822"/>
                <a:gd name="connsiteY48" fmla="*/ 231887 h 2264282"/>
                <a:gd name="connsiteX49" fmla="*/ 3123005 w 4331822"/>
                <a:gd name="connsiteY49" fmla="*/ 179679 h 2264282"/>
                <a:gd name="connsiteX50" fmla="*/ 2632109 w 4331822"/>
                <a:gd name="connsiteY50" fmla="*/ 179679 h 2264282"/>
                <a:gd name="connsiteX51" fmla="*/ 2582989 w 4331822"/>
                <a:gd name="connsiteY51" fmla="*/ 198888 h 2264282"/>
                <a:gd name="connsiteX52" fmla="*/ 2415629 w 4331822"/>
                <a:gd name="connsiteY52" fmla="*/ 424492 h 2264282"/>
                <a:gd name="connsiteX53" fmla="*/ 2481429 w 4331822"/>
                <a:gd name="connsiteY53" fmla="*/ 823316 h 2264282"/>
                <a:gd name="connsiteX54" fmla="*/ 2425753 w 4331822"/>
                <a:gd name="connsiteY54" fmla="*/ 1200420 h 2264282"/>
                <a:gd name="connsiteX55" fmla="*/ 2639187 w 4331822"/>
                <a:gd name="connsiteY55" fmla="*/ 1443459 h 2264282"/>
                <a:gd name="connsiteX56" fmla="*/ 2858829 w 4331822"/>
                <a:gd name="connsiteY56" fmla="*/ 1214252 h 2264282"/>
                <a:gd name="connsiteX57" fmla="*/ 2796938 w 4331822"/>
                <a:gd name="connsiteY57" fmla="*/ 823316 h 2264282"/>
                <a:gd name="connsiteX58" fmla="*/ 2851704 w 4331822"/>
                <a:gd name="connsiteY58" fmla="*/ 434551 h 2264282"/>
                <a:gd name="connsiteX59" fmla="*/ 2718748 w 4331822"/>
                <a:gd name="connsiteY59" fmla="*/ 231887 h 2264282"/>
                <a:gd name="connsiteX60" fmla="*/ 2632109 w 4331822"/>
                <a:gd name="connsiteY60" fmla="*/ 179679 h 2264282"/>
                <a:gd name="connsiteX61" fmla="*/ 2141214 w 4331822"/>
                <a:gd name="connsiteY61" fmla="*/ 179679 h 2264282"/>
                <a:gd name="connsiteX62" fmla="*/ 2092093 w 4331822"/>
                <a:gd name="connsiteY62" fmla="*/ 198888 h 2264282"/>
                <a:gd name="connsiteX63" fmla="*/ 1924734 w 4331822"/>
                <a:gd name="connsiteY63" fmla="*/ 424492 h 2264282"/>
                <a:gd name="connsiteX64" fmla="*/ 1990534 w 4331822"/>
                <a:gd name="connsiteY64" fmla="*/ 823316 h 2264282"/>
                <a:gd name="connsiteX65" fmla="*/ 1934858 w 4331822"/>
                <a:gd name="connsiteY65" fmla="*/ 1200420 h 2264282"/>
                <a:gd name="connsiteX66" fmla="*/ 2148291 w 4331822"/>
                <a:gd name="connsiteY66" fmla="*/ 1443459 h 2264282"/>
                <a:gd name="connsiteX67" fmla="*/ 2367934 w 4331822"/>
                <a:gd name="connsiteY67" fmla="*/ 1214252 h 2264282"/>
                <a:gd name="connsiteX68" fmla="*/ 2306036 w 4331822"/>
                <a:gd name="connsiteY68" fmla="*/ 823316 h 2264282"/>
                <a:gd name="connsiteX69" fmla="*/ 2360809 w 4331822"/>
                <a:gd name="connsiteY69" fmla="*/ 434551 h 2264282"/>
                <a:gd name="connsiteX70" fmla="*/ 2227852 w 4331822"/>
                <a:gd name="connsiteY70" fmla="*/ 231887 h 2264282"/>
                <a:gd name="connsiteX71" fmla="*/ 2141214 w 4331822"/>
                <a:gd name="connsiteY71" fmla="*/ 179679 h 2264282"/>
                <a:gd name="connsiteX72" fmla="*/ 1650319 w 4331822"/>
                <a:gd name="connsiteY72" fmla="*/ 179679 h 2264282"/>
                <a:gd name="connsiteX73" fmla="*/ 1601198 w 4331822"/>
                <a:gd name="connsiteY73" fmla="*/ 198888 h 2264282"/>
                <a:gd name="connsiteX74" fmla="*/ 1433839 w 4331822"/>
                <a:gd name="connsiteY74" fmla="*/ 424492 h 2264282"/>
                <a:gd name="connsiteX75" fmla="*/ 1499638 w 4331822"/>
                <a:gd name="connsiteY75" fmla="*/ 823316 h 2264282"/>
                <a:gd name="connsiteX76" fmla="*/ 1443963 w 4331822"/>
                <a:gd name="connsiteY76" fmla="*/ 1200420 h 2264282"/>
                <a:gd name="connsiteX77" fmla="*/ 1657396 w 4331822"/>
                <a:gd name="connsiteY77" fmla="*/ 1443459 h 2264282"/>
                <a:gd name="connsiteX78" fmla="*/ 1877038 w 4331822"/>
                <a:gd name="connsiteY78" fmla="*/ 1214252 h 2264282"/>
                <a:gd name="connsiteX79" fmla="*/ 1815140 w 4331822"/>
                <a:gd name="connsiteY79" fmla="*/ 823316 h 2264282"/>
                <a:gd name="connsiteX80" fmla="*/ 1869913 w 4331822"/>
                <a:gd name="connsiteY80" fmla="*/ 434551 h 2264282"/>
                <a:gd name="connsiteX81" fmla="*/ 1736957 w 4331822"/>
                <a:gd name="connsiteY81" fmla="*/ 231887 h 2264282"/>
                <a:gd name="connsiteX82" fmla="*/ 1650319 w 4331822"/>
                <a:gd name="connsiteY82" fmla="*/ 179679 h 2264282"/>
                <a:gd name="connsiteX83" fmla="*/ 1159423 w 4331822"/>
                <a:gd name="connsiteY83" fmla="*/ 179679 h 2264282"/>
                <a:gd name="connsiteX84" fmla="*/ 1110303 w 4331822"/>
                <a:gd name="connsiteY84" fmla="*/ 198888 h 2264282"/>
                <a:gd name="connsiteX85" fmla="*/ 942937 w 4331822"/>
                <a:gd name="connsiteY85" fmla="*/ 424492 h 2264282"/>
                <a:gd name="connsiteX86" fmla="*/ 1008736 w 4331822"/>
                <a:gd name="connsiteY86" fmla="*/ 823316 h 2264282"/>
                <a:gd name="connsiteX87" fmla="*/ 953068 w 4331822"/>
                <a:gd name="connsiteY87" fmla="*/ 1200420 h 2264282"/>
                <a:gd name="connsiteX88" fmla="*/ 1166494 w 4331822"/>
                <a:gd name="connsiteY88" fmla="*/ 1443459 h 2264282"/>
                <a:gd name="connsiteX89" fmla="*/ 1386143 w 4331822"/>
                <a:gd name="connsiteY89" fmla="*/ 1214252 h 2264282"/>
                <a:gd name="connsiteX90" fmla="*/ 1324245 w 4331822"/>
                <a:gd name="connsiteY90" fmla="*/ 823316 h 2264282"/>
                <a:gd name="connsiteX91" fmla="*/ 1379018 w 4331822"/>
                <a:gd name="connsiteY91" fmla="*/ 434551 h 2264282"/>
                <a:gd name="connsiteX92" fmla="*/ 1246062 w 4331822"/>
                <a:gd name="connsiteY92" fmla="*/ 231887 h 2264282"/>
                <a:gd name="connsiteX93" fmla="*/ 1159423 w 4331822"/>
                <a:gd name="connsiteY93" fmla="*/ 179679 h 2264282"/>
                <a:gd name="connsiteX94" fmla="*/ 658140 w 4331822"/>
                <a:gd name="connsiteY94" fmla="*/ 179672 h 2264282"/>
                <a:gd name="connsiteX95" fmla="*/ 619408 w 4331822"/>
                <a:gd name="connsiteY95" fmla="*/ 198888 h 2264282"/>
                <a:gd name="connsiteX96" fmla="*/ 389207 w 4331822"/>
                <a:gd name="connsiteY96" fmla="*/ 823309 h 2264282"/>
                <a:gd name="connsiteX97" fmla="*/ 675599 w 4331822"/>
                <a:gd name="connsiteY97" fmla="*/ 1443459 h 2264282"/>
                <a:gd name="connsiteX98" fmla="*/ 895248 w 4331822"/>
                <a:gd name="connsiteY98" fmla="*/ 1214252 h 2264282"/>
                <a:gd name="connsiteX99" fmla="*/ 833350 w 4331822"/>
                <a:gd name="connsiteY99" fmla="*/ 823316 h 2264282"/>
                <a:gd name="connsiteX100" fmla="*/ 888123 w 4331822"/>
                <a:gd name="connsiteY100" fmla="*/ 434551 h 2264282"/>
                <a:gd name="connsiteX101" fmla="*/ 755166 w 4331822"/>
                <a:gd name="connsiteY101" fmla="*/ 231887 h 2264282"/>
                <a:gd name="connsiteX102" fmla="*/ 658140 w 4331822"/>
                <a:gd name="connsiteY102" fmla="*/ 179672 h 2264282"/>
                <a:gd name="connsiteX103" fmla="*/ 1394777 w 4331822"/>
                <a:gd name="connsiteY103" fmla="*/ 134793 h 2264282"/>
                <a:gd name="connsiteX104" fmla="*/ 1242866 w 4331822"/>
                <a:gd name="connsiteY104" fmla="*/ 149983 h 2264282"/>
                <a:gd name="connsiteX105" fmla="*/ 1407246 w 4331822"/>
                <a:gd name="connsiteY105" fmla="*/ 364151 h 2264282"/>
                <a:gd name="connsiteX106" fmla="*/ 1563185 w 4331822"/>
                <a:gd name="connsiteY106" fmla="*/ 154916 h 2264282"/>
                <a:gd name="connsiteX107" fmla="*/ 1430968 w 4331822"/>
                <a:gd name="connsiteY107" fmla="*/ 135162 h 2264282"/>
                <a:gd name="connsiteX108" fmla="*/ 1394777 w 4331822"/>
                <a:gd name="connsiteY108" fmla="*/ 134793 h 2264282"/>
                <a:gd name="connsiteX109" fmla="*/ 3365982 w 4331822"/>
                <a:gd name="connsiteY109" fmla="*/ 132029 h 2264282"/>
                <a:gd name="connsiteX110" fmla="*/ 3206447 w 4331822"/>
                <a:gd name="connsiteY110" fmla="*/ 149983 h 2264282"/>
                <a:gd name="connsiteX111" fmla="*/ 3370827 w 4331822"/>
                <a:gd name="connsiteY111" fmla="*/ 364151 h 2264282"/>
                <a:gd name="connsiteX112" fmla="*/ 3526773 w 4331822"/>
                <a:gd name="connsiteY112" fmla="*/ 154916 h 2264282"/>
                <a:gd name="connsiteX113" fmla="*/ 3365982 w 4331822"/>
                <a:gd name="connsiteY113" fmla="*/ 132029 h 2264282"/>
                <a:gd name="connsiteX114" fmla="*/ 2371204 w 4331822"/>
                <a:gd name="connsiteY114" fmla="*/ 131293 h 2264282"/>
                <a:gd name="connsiteX115" fmla="*/ 2224656 w 4331822"/>
                <a:gd name="connsiteY115" fmla="*/ 149983 h 2264282"/>
                <a:gd name="connsiteX116" fmla="*/ 2389037 w 4331822"/>
                <a:gd name="connsiteY116" fmla="*/ 364151 h 2264282"/>
                <a:gd name="connsiteX117" fmla="*/ 2544976 w 4331822"/>
                <a:gd name="connsiteY117" fmla="*/ 154916 h 2264282"/>
                <a:gd name="connsiteX118" fmla="*/ 2371204 w 4331822"/>
                <a:gd name="connsiteY118" fmla="*/ 131293 h 2264282"/>
                <a:gd name="connsiteX119" fmla="*/ 1895889 w 4331822"/>
                <a:gd name="connsiteY119" fmla="*/ 131293 h 2264282"/>
                <a:gd name="connsiteX120" fmla="*/ 1733761 w 4331822"/>
                <a:gd name="connsiteY120" fmla="*/ 149983 h 2264282"/>
                <a:gd name="connsiteX121" fmla="*/ 1898141 w 4331822"/>
                <a:gd name="connsiteY121" fmla="*/ 364151 h 2264282"/>
                <a:gd name="connsiteX122" fmla="*/ 2054081 w 4331822"/>
                <a:gd name="connsiteY122" fmla="*/ 154916 h 2264282"/>
                <a:gd name="connsiteX123" fmla="*/ 1895889 w 4331822"/>
                <a:gd name="connsiteY123" fmla="*/ 131293 h 2264282"/>
                <a:gd name="connsiteX124" fmla="*/ 2877686 w 4331822"/>
                <a:gd name="connsiteY124" fmla="*/ 130719 h 2264282"/>
                <a:gd name="connsiteX125" fmla="*/ 2715552 w 4331822"/>
                <a:gd name="connsiteY125" fmla="*/ 149983 h 2264282"/>
                <a:gd name="connsiteX126" fmla="*/ 2879932 w 4331822"/>
                <a:gd name="connsiteY126" fmla="*/ 364151 h 2264282"/>
                <a:gd name="connsiteX127" fmla="*/ 3035878 w 4331822"/>
                <a:gd name="connsiteY127" fmla="*/ 154916 h 2264282"/>
                <a:gd name="connsiteX128" fmla="*/ 2877686 w 4331822"/>
                <a:gd name="connsiteY128" fmla="*/ 130719 h 2264282"/>
                <a:gd name="connsiteX129" fmla="*/ 893321 w 4331822"/>
                <a:gd name="connsiteY129" fmla="*/ 127430 h 2264282"/>
                <a:gd name="connsiteX130" fmla="*/ 751970 w 4331822"/>
                <a:gd name="connsiteY130" fmla="*/ 149983 h 2264282"/>
                <a:gd name="connsiteX131" fmla="*/ 916351 w 4331822"/>
                <a:gd name="connsiteY131" fmla="*/ 364151 h 2264282"/>
                <a:gd name="connsiteX132" fmla="*/ 1072290 w 4331822"/>
                <a:gd name="connsiteY132" fmla="*/ 154916 h 2264282"/>
                <a:gd name="connsiteX133" fmla="*/ 893321 w 4331822"/>
                <a:gd name="connsiteY133" fmla="*/ 127430 h 2264282"/>
                <a:gd name="connsiteX134" fmla="*/ 3898116 w 4331822"/>
                <a:gd name="connsiteY134" fmla="*/ 50144 h 2264282"/>
                <a:gd name="connsiteX135" fmla="*/ 4331822 w 4331822"/>
                <a:gd name="connsiteY135" fmla="*/ 950025 h 2264282"/>
                <a:gd name="connsiteX136" fmla="*/ 4331822 w 4331822"/>
                <a:gd name="connsiteY136" fmla="*/ 2264282 h 2264282"/>
                <a:gd name="connsiteX137" fmla="*/ 4281422 w 4331822"/>
                <a:gd name="connsiteY137" fmla="*/ 2264282 h 2264282"/>
                <a:gd name="connsiteX138" fmla="*/ 4281422 w 4331822"/>
                <a:gd name="connsiteY138" fmla="*/ 944384 h 2264282"/>
                <a:gd name="connsiteX139" fmla="*/ 3924991 w 4331822"/>
                <a:gd name="connsiteY139" fmla="*/ 116089 h 2264282"/>
                <a:gd name="connsiteX140" fmla="*/ 3684110 w 4331822"/>
                <a:gd name="connsiteY140" fmla="*/ 146653 h 2264282"/>
                <a:gd name="connsiteX141" fmla="*/ 3954115 w 4331822"/>
                <a:gd name="connsiteY141" fmla="*/ 823316 h 2264282"/>
                <a:gd name="connsiteX142" fmla="*/ 3620971 w 4331822"/>
                <a:gd name="connsiteY142" fmla="*/ 1515722 h 2264282"/>
                <a:gd name="connsiteX143" fmla="*/ 3376310 w 4331822"/>
                <a:gd name="connsiteY143" fmla="*/ 1286788 h 2264282"/>
                <a:gd name="connsiteX144" fmla="*/ 3130075 w 4331822"/>
                <a:gd name="connsiteY144" fmla="*/ 1515722 h 2264282"/>
                <a:gd name="connsiteX145" fmla="*/ 2885415 w 4331822"/>
                <a:gd name="connsiteY145" fmla="*/ 1286788 h 2264282"/>
                <a:gd name="connsiteX146" fmla="*/ 2639180 w 4331822"/>
                <a:gd name="connsiteY146" fmla="*/ 1515722 h 2264282"/>
                <a:gd name="connsiteX147" fmla="*/ 2394519 w 4331822"/>
                <a:gd name="connsiteY147" fmla="*/ 1286788 h 2264282"/>
                <a:gd name="connsiteX148" fmla="*/ 2148285 w 4331822"/>
                <a:gd name="connsiteY148" fmla="*/ 1515722 h 2264282"/>
                <a:gd name="connsiteX149" fmla="*/ 1903624 w 4331822"/>
                <a:gd name="connsiteY149" fmla="*/ 1286788 h 2264282"/>
                <a:gd name="connsiteX150" fmla="*/ 1657389 w 4331822"/>
                <a:gd name="connsiteY150" fmla="*/ 1515722 h 2264282"/>
                <a:gd name="connsiteX151" fmla="*/ 1412729 w 4331822"/>
                <a:gd name="connsiteY151" fmla="*/ 1286788 h 2264282"/>
                <a:gd name="connsiteX152" fmla="*/ 1166494 w 4331822"/>
                <a:gd name="connsiteY152" fmla="*/ 1515722 h 2264282"/>
                <a:gd name="connsiteX153" fmla="*/ 921834 w 4331822"/>
                <a:gd name="connsiteY153" fmla="*/ 1286788 h 2264282"/>
                <a:gd name="connsiteX154" fmla="*/ 675599 w 4331822"/>
                <a:gd name="connsiteY154" fmla="*/ 1515722 h 2264282"/>
                <a:gd name="connsiteX155" fmla="*/ 342454 w 4331822"/>
                <a:gd name="connsiteY155" fmla="*/ 823316 h 2264282"/>
                <a:gd name="connsiteX156" fmla="*/ 596805 w 4331822"/>
                <a:gd name="connsiteY156" fmla="*/ 144756 h 2264282"/>
                <a:gd name="connsiteX157" fmla="*/ 395574 w 4331822"/>
                <a:gd name="connsiteY157" fmla="*/ 151730 h 2264282"/>
                <a:gd name="connsiteX158" fmla="*/ 56359 w 4331822"/>
                <a:gd name="connsiteY158" fmla="*/ 937325 h 2264282"/>
                <a:gd name="connsiteX159" fmla="*/ 55480 w 4331822"/>
                <a:gd name="connsiteY159" fmla="*/ 1049085 h 2264282"/>
                <a:gd name="connsiteX160" fmla="*/ 50400 w 4331822"/>
                <a:gd name="connsiteY160" fmla="*/ 2264282 h 2264282"/>
                <a:gd name="connsiteX161" fmla="*/ 0 w 4331822"/>
                <a:gd name="connsiteY161" fmla="*/ 2264282 h 2264282"/>
                <a:gd name="connsiteX162" fmla="*/ 0 w 4331822"/>
                <a:gd name="connsiteY162" fmla="*/ 950025 h 2264282"/>
                <a:gd name="connsiteX163" fmla="*/ 0 w 4331822"/>
                <a:gd name="connsiteY163" fmla="*/ 944384 h 2264282"/>
                <a:gd name="connsiteX164" fmla="*/ 408 w 4331822"/>
                <a:gd name="connsiteY164" fmla="*/ 944384 h 2264282"/>
                <a:gd name="connsiteX165" fmla="*/ 333544 w 4331822"/>
                <a:gd name="connsiteY165" fmla="*/ 110470 h 2264282"/>
                <a:gd name="connsiteX166" fmla="*/ 664016 w 4331822"/>
                <a:gd name="connsiteY166" fmla="*/ 102319 h 2264282"/>
                <a:gd name="connsiteX167" fmla="*/ 890905 w 4331822"/>
                <a:gd name="connsiteY167" fmla="*/ 66276 h 2264282"/>
                <a:gd name="connsiteX168" fmla="*/ 1154911 w 4331822"/>
                <a:gd name="connsiteY168" fmla="*/ 102319 h 2264282"/>
                <a:gd name="connsiteX169" fmla="*/ 1389590 w 4331822"/>
                <a:gd name="connsiteY169" fmla="*/ 62407 h 2264282"/>
                <a:gd name="connsiteX170" fmla="*/ 1645806 w 4331822"/>
                <a:gd name="connsiteY170" fmla="*/ 102319 h 2264282"/>
                <a:gd name="connsiteX171" fmla="*/ 1880485 w 4331822"/>
                <a:gd name="connsiteY171" fmla="*/ 66276 h 2264282"/>
                <a:gd name="connsiteX172" fmla="*/ 2136702 w 4331822"/>
                <a:gd name="connsiteY172" fmla="*/ 102319 h 2264282"/>
                <a:gd name="connsiteX173" fmla="*/ 2355801 w 4331822"/>
                <a:gd name="connsiteY173" fmla="*/ 70146 h 2264282"/>
                <a:gd name="connsiteX174" fmla="*/ 2627597 w 4331822"/>
                <a:gd name="connsiteY174" fmla="*/ 102319 h 2264282"/>
                <a:gd name="connsiteX175" fmla="*/ 2869889 w 4331822"/>
                <a:gd name="connsiteY175" fmla="*/ 65744 h 2264282"/>
                <a:gd name="connsiteX176" fmla="*/ 3118492 w 4331822"/>
                <a:gd name="connsiteY176" fmla="*/ 102319 h 2264282"/>
                <a:gd name="connsiteX177" fmla="*/ 3373772 w 4331822"/>
                <a:gd name="connsiteY177" fmla="*/ 65744 h 2264282"/>
                <a:gd name="connsiteX178" fmla="*/ 3614585 w 4331822"/>
                <a:gd name="connsiteY178" fmla="*/ 110050 h 2264282"/>
                <a:gd name="connsiteX179" fmla="*/ 3898116 w 4331822"/>
                <a:gd name="connsiteY179" fmla="*/ 50144 h 2264282"/>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14585 w 4331822"/>
                <a:gd name="connsiteY178" fmla="*/ 115378 h 2269610"/>
                <a:gd name="connsiteX179" fmla="*/ 3898116 w 4331822"/>
                <a:gd name="connsiteY179" fmla="*/ 55472 h 2269610"/>
                <a:gd name="connsiteX0" fmla="*/ 3371112 w 4331822"/>
                <a:gd name="connsiteY0" fmla="*/ 503591 h 2269610"/>
                <a:gd name="connsiteX1" fmla="*/ 3334579 w 4331822"/>
                <a:gd name="connsiteY1" fmla="*/ 828637 h 2269610"/>
                <a:gd name="connsiteX2" fmla="*/ 3380985 w 4331822"/>
                <a:gd name="connsiteY2" fmla="*/ 1119060 h 2269610"/>
                <a:gd name="connsiteX3" fmla="*/ 3416474 w 4331822"/>
                <a:gd name="connsiteY3" fmla="*/ 828637 h 2269610"/>
                <a:gd name="connsiteX4" fmla="*/ 3371112 w 4331822"/>
                <a:gd name="connsiteY4" fmla="*/ 503591 h 2269610"/>
                <a:gd name="connsiteX5" fmla="*/ 2880217 w 4331822"/>
                <a:gd name="connsiteY5" fmla="*/ 503591 h 2269610"/>
                <a:gd name="connsiteX6" fmla="*/ 2843683 w 4331822"/>
                <a:gd name="connsiteY6" fmla="*/ 828637 h 2269610"/>
                <a:gd name="connsiteX7" fmla="*/ 2890090 w 4331822"/>
                <a:gd name="connsiteY7" fmla="*/ 1119060 h 2269610"/>
                <a:gd name="connsiteX8" fmla="*/ 2925579 w 4331822"/>
                <a:gd name="connsiteY8" fmla="*/ 828637 h 2269610"/>
                <a:gd name="connsiteX9" fmla="*/ 2880217 w 4331822"/>
                <a:gd name="connsiteY9" fmla="*/ 503591 h 2269610"/>
                <a:gd name="connsiteX10" fmla="*/ 2389322 w 4331822"/>
                <a:gd name="connsiteY10" fmla="*/ 503591 h 2269610"/>
                <a:gd name="connsiteX11" fmla="*/ 2352788 w 4331822"/>
                <a:gd name="connsiteY11" fmla="*/ 828637 h 2269610"/>
                <a:gd name="connsiteX12" fmla="*/ 2399195 w 4331822"/>
                <a:gd name="connsiteY12" fmla="*/ 1119060 h 2269610"/>
                <a:gd name="connsiteX13" fmla="*/ 2434683 w 4331822"/>
                <a:gd name="connsiteY13" fmla="*/ 828637 h 2269610"/>
                <a:gd name="connsiteX14" fmla="*/ 2389322 w 4331822"/>
                <a:gd name="connsiteY14" fmla="*/ 503591 h 2269610"/>
                <a:gd name="connsiteX15" fmla="*/ 1898426 w 4331822"/>
                <a:gd name="connsiteY15" fmla="*/ 503591 h 2269610"/>
                <a:gd name="connsiteX16" fmla="*/ 1861893 w 4331822"/>
                <a:gd name="connsiteY16" fmla="*/ 828637 h 2269610"/>
                <a:gd name="connsiteX17" fmla="*/ 1908299 w 4331822"/>
                <a:gd name="connsiteY17" fmla="*/ 1119053 h 2269610"/>
                <a:gd name="connsiteX18" fmla="*/ 1943788 w 4331822"/>
                <a:gd name="connsiteY18" fmla="*/ 828637 h 2269610"/>
                <a:gd name="connsiteX19" fmla="*/ 1898426 w 4331822"/>
                <a:gd name="connsiteY19" fmla="*/ 503591 h 2269610"/>
                <a:gd name="connsiteX20" fmla="*/ 1407531 w 4331822"/>
                <a:gd name="connsiteY20" fmla="*/ 503591 h 2269610"/>
                <a:gd name="connsiteX21" fmla="*/ 1370998 w 4331822"/>
                <a:gd name="connsiteY21" fmla="*/ 828637 h 2269610"/>
                <a:gd name="connsiteX22" fmla="*/ 1417404 w 4331822"/>
                <a:gd name="connsiteY22" fmla="*/ 1119060 h 2269610"/>
                <a:gd name="connsiteX23" fmla="*/ 1452893 w 4331822"/>
                <a:gd name="connsiteY23" fmla="*/ 828637 h 2269610"/>
                <a:gd name="connsiteX24" fmla="*/ 1407531 w 4331822"/>
                <a:gd name="connsiteY24" fmla="*/ 503591 h 2269610"/>
                <a:gd name="connsiteX25" fmla="*/ 916636 w 4331822"/>
                <a:gd name="connsiteY25" fmla="*/ 503591 h 2269610"/>
                <a:gd name="connsiteX26" fmla="*/ 880102 w 4331822"/>
                <a:gd name="connsiteY26" fmla="*/ 828637 h 2269610"/>
                <a:gd name="connsiteX27" fmla="*/ 926509 w 4331822"/>
                <a:gd name="connsiteY27" fmla="*/ 1119060 h 2269610"/>
                <a:gd name="connsiteX28" fmla="*/ 961997 w 4331822"/>
                <a:gd name="connsiteY28" fmla="*/ 828637 h 2269610"/>
                <a:gd name="connsiteX29" fmla="*/ 916636 w 4331822"/>
                <a:gd name="connsiteY29" fmla="*/ 503591 h 2269610"/>
                <a:gd name="connsiteX30" fmla="*/ 3613900 w 4331822"/>
                <a:gd name="connsiteY30" fmla="*/ 185007 h 2269610"/>
                <a:gd name="connsiteX31" fmla="*/ 3564779 w 4331822"/>
                <a:gd name="connsiteY31" fmla="*/ 204216 h 2269610"/>
                <a:gd name="connsiteX32" fmla="*/ 3397420 w 4331822"/>
                <a:gd name="connsiteY32" fmla="*/ 429820 h 2269610"/>
                <a:gd name="connsiteX33" fmla="*/ 3463220 w 4331822"/>
                <a:gd name="connsiteY33" fmla="*/ 828644 h 2269610"/>
                <a:gd name="connsiteX34" fmla="*/ 3407544 w 4331822"/>
                <a:gd name="connsiteY34" fmla="*/ 1205748 h 2269610"/>
                <a:gd name="connsiteX35" fmla="*/ 3620977 w 4331822"/>
                <a:gd name="connsiteY35" fmla="*/ 1448787 h 2269610"/>
                <a:gd name="connsiteX36" fmla="*/ 3907369 w 4331822"/>
                <a:gd name="connsiteY36" fmla="*/ 828637 h 2269610"/>
                <a:gd name="connsiteX37" fmla="*/ 3700538 w 4331822"/>
                <a:gd name="connsiteY37" fmla="*/ 237215 h 2269610"/>
                <a:gd name="connsiteX38" fmla="*/ 3613900 w 4331822"/>
                <a:gd name="connsiteY38" fmla="*/ 185007 h 2269610"/>
                <a:gd name="connsiteX39" fmla="*/ 3123005 w 4331822"/>
                <a:gd name="connsiteY39" fmla="*/ 185007 h 2269610"/>
                <a:gd name="connsiteX40" fmla="*/ 3073884 w 4331822"/>
                <a:gd name="connsiteY40" fmla="*/ 204216 h 2269610"/>
                <a:gd name="connsiteX41" fmla="*/ 2906525 w 4331822"/>
                <a:gd name="connsiteY41" fmla="*/ 429820 h 2269610"/>
                <a:gd name="connsiteX42" fmla="*/ 2972324 w 4331822"/>
                <a:gd name="connsiteY42" fmla="*/ 828644 h 2269610"/>
                <a:gd name="connsiteX43" fmla="*/ 2916649 w 4331822"/>
                <a:gd name="connsiteY43" fmla="*/ 1205748 h 2269610"/>
                <a:gd name="connsiteX44" fmla="*/ 3130082 w 4331822"/>
                <a:gd name="connsiteY44" fmla="*/ 1448787 h 2269610"/>
                <a:gd name="connsiteX45" fmla="*/ 3349724 w 4331822"/>
                <a:gd name="connsiteY45" fmla="*/ 1219580 h 2269610"/>
                <a:gd name="connsiteX46" fmla="*/ 3287833 w 4331822"/>
                <a:gd name="connsiteY46" fmla="*/ 828644 h 2269610"/>
                <a:gd name="connsiteX47" fmla="*/ 3342599 w 4331822"/>
                <a:gd name="connsiteY47" fmla="*/ 439879 h 2269610"/>
                <a:gd name="connsiteX48" fmla="*/ 3209643 w 4331822"/>
                <a:gd name="connsiteY48" fmla="*/ 237215 h 2269610"/>
                <a:gd name="connsiteX49" fmla="*/ 3123005 w 4331822"/>
                <a:gd name="connsiteY49" fmla="*/ 185007 h 2269610"/>
                <a:gd name="connsiteX50" fmla="*/ 2632109 w 4331822"/>
                <a:gd name="connsiteY50" fmla="*/ 185007 h 2269610"/>
                <a:gd name="connsiteX51" fmla="*/ 2582989 w 4331822"/>
                <a:gd name="connsiteY51" fmla="*/ 204216 h 2269610"/>
                <a:gd name="connsiteX52" fmla="*/ 2415629 w 4331822"/>
                <a:gd name="connsiteY52" fmla="*/ 429820 h 2269610"/>
                <a:gd name="connsiteX53" fmla="*/ 2481429 w 4331822"/>
                <a:gd name="connsiteY53" fmla="*/ 828644 h 2269610"/>
                <a:gd name="connsiteX54" fmla="*/ 2425753 w 4331822"/>
                <a:gd name="connsiteY54" fmla="*/ 1205748 h 2269610"/>
                <a:gd name="connsiteX55" fmla="*/ 2639187 w 4331822"/>
                <a:gd name="connsiteY55" fmla="*/ 1448787 h 2269610"/>
                <a:gd name="connsiteX56" fmla="*/ 2858829 w 4331822"/>
                <a:gd name="connsiteY56" fmla="*/ 1219580 h 2269610"/>
                <a:gd name="connsiteX57" fmla="*/ 2796938 w 4331822"/>
                <a:gd name="connsiteY57" fmla="*/ 828644 h 2269610"/>
                <a:gd name="connsiteX58" fmla="*/ 2851704 w 4331822"/>
                <a:gd name="connsiteY58" fmla="*/ 439879 h 2269610"/>
                <a:gd name="connsiteX59" fmla="*/ 2718748 w 4331822"/>
                <a:gd name="connsiteY59" fmla="*/ 237215 h 2269610"/>
                <a:gd name="connsiteX60" fmla="*/ 2632109 w 4331822"/>
                <a:gd name="connsiteY60" fmla="*/ 185007 h 2269610"/>
                <a:gd name="connsiteX61" fmla="*/ 2141214 w 4331822"/>
                <a:gd name="connsiteY61" fmla="*/ 185007 h 2269610"/>
                <a:gd name="connsiteX62" fmla="*/ 2092093 w 4331822"/>
                <a:gd name="connsiteY62" fmla="*/ 204216 h 2269610"/>
                <a:gd name="connsiteX63" fmla="*/ 1924734 w 4331822"/>
                <a:gd name="connsiteY63" fmla="*/ 429820 h 2269610"/>
                <a:gd name="connsiteX64" fmla="*/ 1990534 w 4331822"/>
                <a:gd name="connsiteY64" fmla="*/ 828644 h 2269610"/>
                <a:gd name="connsiteX65" fmla="*/ 1934858 w 4331822"/>
                <a:gd name="connsiteY65" fmla="*/ 1205748 h 2269610"/>
                <a:gd name="connsiteX66" fmla="*/ 2148291 w 4331822"/>
                <a:gd name="connsiteY66" fmla="*/ 1448787 h 2269610"/>
                <a:gd name="connsiteX67" fmla="*/ 2367934 w 4331822"/>
                <a:gd name="connsiteY67" fmla="*/ 1219580 h 2269610"/>
                <a:gd name="connsiteX68" fmla="*/ 2306036 w 4331822"/>
                <a:gd name="connsiteY68" fmla="*/ 828644 h 2269610"/>
                <a:gd name="connsiteX69" fmla="*/ 2360809 w 4331822"/>
                <a:gd name="connsiteY69" fmla="*/ 439879 h 2269610"/>
                <a:gd name="connsiteX70" fmla="*/ 2227852 w 4331822"/>
                <a:gd name="connsiteY70" fmla="*/ 237215 h 2269610"/>
                <a:gd name="connsiteX71" fmla="*/ 2141214 w 4331822"/>
                <a:gd name="connsiteY71" fmla="*/ 185007 h 2269610"/>
                <a:gd name="connsiteX72" fmla="*/ 1650319 w 4331822"/>
                <a:gd name="connsiteY72" fmla="*/ 185007 h 2269610"/>
                <a:gd name="connsiteX73" fmla="*/ 1601198 w 4331822"/>
                <a:gd name="connsiteY73" fmla="*/ 204216 h 2269610"/>
                <a:gd name="connsiteX74" fmla="*/ 1433839 w 4331822"/>
                <a:gd name="connsiteY74" fmla="*/ 429820 h 2269610"/>
                <a:gd name="connsiteX75" fmla="*/ 1499638 w 4331822"/>
                <a:gd name="connsiteY75" fmla="*/ 828644 h 2269610"/>
                <a:gd name="connsiteX76" fmla="*/ 1443963 w 4331822"/>
                <a:gd name="connsiteY76" fmla="*/ 1205748 h 2269610"/>
                <a:gd name="connsiteX77" fmla="*/ 1657396 w 4331822"/>
                <a:gd name="connsiteY77" fmla="*/ 1448787 h 2269610"/>
                <a:gd name="connsiteX78" fmla="*/ 1877038 w 4331822"/>
                <a:gd name="connsiteY78" fmla="*/ 1219580 h 2269610"/>
                <a:gd name="connsiteX79" fmla="*/ 1815140 w 4331822"/>
                <a:gd name="connsiteY79" fmla="*/ 828644 h 2269610"/>
                <a:gd name="connsiteX80" fmla="*/ 1869913 w 4331822"/>
                <a:gd name="connsiteY80" fmla="*/ 439879 h 2269610"/>
                <a:gd name="connsiteX81" fmla="*/ 1736957 w 4331822"/>
                <a:gd name="connsiteY81" fmla="*/ 237215 h 2269610"/>
                <a:gd name="connsiteX82" fmla="*/ 1650319 w 4331822"/>
                <a:gd name="connsiteY82" fmla="*/ 185007 h 2269610"/>
                <a:gd name="connsiteX83" fmla="*/ 1159423 w 4331822"/>
                <a:gd name="connsiteY83" fmla="*/ 185007 h 2269610"/>
                <a:gd name="connsiteX84" fmla="*/ 1110303 w 4331822"/>
                <a:gd name="connsiteY84" fmla="*/ 204216 h 2269610"/>
                <a:gd name="connsiteX85" fmla="*/ 942937 w 4331822"/>
                <a:gd name="connsiteY85" fmla="*/ 429820 h 2269610"/>
                <a:gd name="connsiteX86" fmla="*/ 1008736 w 4331822"/>
                <a:gd name="connsiteY86" fmla="*/ 828644 h 2269610"/>
                <a:gd name="connsiteX87" fmla="*/ 953068 w 4331822"/>
                <a:gd name="connsiteY87" fmla="*/ 1205748 h 2269610"/>
                <a:gd name="connsiteX88" fmla="*/ 1166494 w 4331822"/>
                <a:gd name="connsiteY88" fmla="*/ 1448787 h 2269610"/>
                <a:gd name="connsiteX89" fmla="*/ 1386143 w 4331822"/>
                <a:gd name="connsiteY89" fmla="*/ 1219580 h 2269610"/>
                <a:gd name="connsiteX90" fmla="*/ 1324245 w 4331822"/>
                <a:gd name="connsiteY90" fmla="*/ 828644 h 2269610"/>
                <a:gd name="connsiteX91" fmla="*/ 1379018 w 4331822"/>
                <a:gd name="connsiteY91" fmla="*/ 439879 h 2269610"/>
                <a:gd name="connsiteX92" fmla="*/ 1246062 w 4331822"/>
                <a:gd name="connsiteY92" fmla="*/ 237215 h 2269610"/>
                <a:gd name="connsiteX93" fmla="*/ 1159423 w 4331822"/>
                <a:gd name="connsiteY93" fmla="*/ 185007 h 2269610"/>
                <a:gd name="connsiteX94" fmla="*/ 658140 w 4331822"/>
                <a:gd name="connsiteY94" fmla="*/ 185000 h 2269610"/>
                <a:gd name="connsiteX95" fmla="*/ 619408 w 4331822"/>
                <a:gd name="connsiteY95" fmla="*/ 204216 h 2269610"/>
                <a:gd name="connsiteX96" fmla="*/ 389207 w 4331822"/>
                <a:gd name="connsiteY96" fmla="*/ 828637 h 2269610"/>
                <a:gd name="connsiteX97" fmla="*/ 675599 w 4331822"/>
                <a:gd name="connsiteY97" fmla="*/ 1448787 h 2269610"/>
                <a:gd name="connsiteX98" fmla="*/ 895248 w 4331822"/>
                <a:gd name="connsiteY98" fmla="*/ 1219580 h 2269610"/>
                <a:gd name="connsiteX99" fmla="*/ 833350 w 4331822"/>
                <a:gd name="connsiteY99" fmla="*/ 828644 h 2269610"/>
                <a:gd name="connsiteX100" fmla="*/ 888123 w 4331822"/>
                <a:gd name="connsiteY100" fmla="*/ 439879 h 2269610"/>
                <a:gd name="connsiteX101" fmla="*/ 755166 w 4331822"/>
                <a:gd name="connsiteY101" fmla="*/ 237215 h 2269610"/>
                <a:gd name="connsiteX102" fmla="*/ 658140 w 4331822"/>
                <a:gd name="connsiteY102" fmla="*/ 185000 h 2269610"/>
                <a:gd name="connsiteX103" fmla="*/ 1394777 w 4331822"/>
                <a:gd name="connsiteY103" fmla="*/ 140121 h 2269610"/>
                <a:gd name="connsiteX104" fmla="*/ 1242866 w 4331822"/>
                <a:gd name="connsiteY104" fmla="*/ 155311 h 2269610"/>
                <a:gd name="connsiteX105" fmla="*/ 1407246 w 4331822"/>
                <a:gd name="connsiteY105" fmla="*/ 369479 h 2269610"/>
                <a:gd name="connsiteX106" fmla="*/ 1563185 w 4331822"/>
                <a:gd name="connsiteY106" fmla="*/ 160244 h 2269610"/>
                <a:gd name="connsiteX107" fmla="*/ 1430968 w 4331822"/>
                <a:gd name="connsiteY107" fmla="*/ 140490 h 2269610"/>
                <a:gd name="connsiteX108" fmla="*/ 1394777 w 4331822"/>
                <a:gd name="connsiteY108" fmla="*/ 140121 h 2269610"/>
                <a:gd name="connsiteX109" fmla="*/ 3365982 w 4331822"/>
                <a:gd name="connsiteY109" fmla="*/ 137357 h 2269610"/>
                <a:gd name="connsiteX110" fmla="*/ 3206447 w 4331822"/>
                <a:gd name="connsiteY110" fmla="*/ 155311 h 2269610"/>
                <a:gd name="connsiteX111" fmla="*/ 3370827 w 4331822"/>
                <a:gd name="connsiteY111" fmla="*/ 369479 h 2269610"/>
                <a:gd name="connsiteX112" fmla="*/ 3526773 w 4331822"/>
                <a:gd name="connsiteY112" fmla="*/ 160244 h 2269610"/>
                <a:gd name="connsiteX113" fmla="*/ 3365982 w 4331822"/>
                <a:gd name="connsiteY113" fmla="*/ 137357 h 2269610"/>
                <a:gd name="connsiteX114" fmla="*/ 2371204 w 4331822"/>
                <a:gd name="connsiteY114" fmla="*/ 136621 h 2269610"/>
                <a:gd name="connsiteX115" fmla="*/ 2224656 w 4331822"/>
                <a:gd name="connsiteY115" fmla="*/ 155311 h 2269610"/>
                <a:gd name="connsiteX116" fmla="*/ 2389037 w 4331822"/>
                <a:gd name="connsiteY116" fmla="*/ 369479 h 2269610"/>
                <a:gd name="connsiteX117" fmla="*/ 2544976 w 4331822"/>
                <a:gd name="connsiteY117" fmla="*/ 160244 h 2269610"/>
                <a:gd name="connsiteX118" fmla="*/ 2371204 w 4331822"/>
                <a:gd name="connsiteY118" fmla="*/ 136621 h 2269610"/>
                <a:gd name="connsiteX119" fmla="*/ 1895889 w 4331822"/>
                <a:gd name="connsiteY119" fmla="*/ 136621 h 2269610"/>
                <a:gd name="connsiteX120" fmla="*/ 1733761 w 4331822"/>
                <a:gd name="connsiteY120" fmla="*/ 155311 h 2269610"/>
                <a:gd name="connsiteX121" fmla="*/ 1898141 w 4331822"/>
                <a:gd name="connsiteY121" fmla="*/ 369479 h 2269610"/>
                <a:gd name="connsiteX122" fmla="*/ 2054081 w 4331822"/>
                <a:gd name="connsiteY122" fmla="*/ 160244 h 2269610"/>
                <a:gd name="connsiteX123" fmla="*/ 1895889 w 4331822"/>
                <a:gd name="connsiteY123" fmla="*/ 136621 h 2269610"/>
                <a:gd name="connsiteX124" fmla="*/ 2877686 w 4331822"/>
                <a:gd name="connsiteY124" fmla="*/ 136047 h 2269610"/>
                <a:gd name="connsiteX125" fmla="*/ 2715552 w 4331822"/>
                <a:gd name="connsiteY125" fmla="*/ 155311 h 2269610"/>
                <a:gd name="connsiteX126" fmla="*/ 2879932 w 4331822"/>
                <a:gd name="connsiteY126" fmla="*/ 369479 h 2269610"/>
                <a:gd name="connsiteX127" fmla="*/ 3035878 w 4331822"/>
                <a:gd name="connsiteY127" fmla="*/ 160244 h 2269610"/>
                <a:gd name="connsiteX128" fmla="*/ 2877686 w 4331822"/>
                <a:gd name="connsiteY128" fmla="*/ 136047 h 2269610"/>
                <a:gd name="connsiteX129" fmla="*/ 893321 w 4331822"/>
                <a:gd name="connsiteY129" fmla="*/ 132758 h 2269610"/>
                <a:gd name="connsiteX130" fmla="*/ 751970 w 4331822"/>
                <a:gd name="connsiteY130" fmla="*/ 155311 h 2269610"/>
                <a:gd name="connsiteX131" fmla="*/ 916351 w 4331822"/>
                <a:gd name="connsiteY131" fmla="*/ 369479 h 2269610"/>
                <a:gd name="connsiteX132" fmla="*/ 1072290 w 4331822"/>
                <a:gd name="connsiteY132" fmla="*/ 160244 h 2269610"/>
                <a:gd name="connsiteX133" fmla="*/ 893321 w 4331822"/>
                <a:gd name="connsiteY133" fmla="*/ 132758 h 2269610"/>
                <a:gd name="connsiteX134" fmla="*/ 3898116 w 4331822"/>
                <a:gd name="connsiteY134" fmla="*/ 55472 h 2269610"/>
                <a:gd name="connsiteX135" fmla="*/ 4331822 w 4331822"/>
                <a:gd name="connsiteY135" fmla="*/ 955353 h 2269610"/>
                <a:gd name="connsiteX136" fmla="*/ 4331822 w 4331822"/>
                <a:gd name="connsiteY136" fmla="*/ 2269610 h 2269610"/>
                <a:gd name="connsiteX137" fmla="*/ 4281422 w 4331822"/>
                <a:gd name="connsiteY137" fmla="*/ 2269610 h 2269610"/>
                <a:gd name="connsiteX138" fmla="*/ 4281422 w 4331822"/>
                <a:gd name="connsiteY138" fmla="*/ 949712 h 2269610"/>
                <a:gd name="connsiteX139" fmla="*/ 3924991 w 4331822"/>
                <a:gd name="connsiteY139" fmla="*/ 121417 h 2269610"/>
                <a:gd name="connsiteX140" fmla="*/ 3684110 w 4331822"/>
                <a:gd name="connsiteY140" fmla="*/ 151981 h 2269610"/>
                <a:gd name="connsiteX141" fmla="*/ 3954115 w 4331822"/>
                <a:gd name="connsiteY141" fmla="*/ 828644 h 2269610"/>
                <a:gd name="connsiteX142" fmla="*/ 3620971 w 4331822"/>
                <a:gd name="connsiteY142" fmla="*/ 1521050 h 2269610"/>
                <a:gd name="connsiteX143" fmla="*/ 3376310 w 4331822"/>
                <a:gd name="connsiteY143" fmla="*/ 1292116 h 2269610"/>
                <a:gd name="connsiteX144" fmla="*/ 3130075 w 4331822"/>
                <a:gd name="connsiteY144" fmla="*/ 1521050 h 2269610"/>
                <a:gd name="connsiteX145" fmla="*/ 2885415 w 4331822"/>
                <a:gd name="connsiteY145" fmla="*/ 1292116 h 2269610"/>
                <a:gd name="connsiteX146" fmla="*/ 2639180 w 4331822"/>
                <a:gd name="connsiteY146" fmla="*/ 1521050 h 2269610"/>
                <a:gd name="connsiteX147" fmla="*/ 2394519 w 4331822"/>
                <a:gd name="connsiteY147" fmla="*/ 1292116 h 2269610"/>
                <a:gd name="connsiteX148" fmla="*/ 2148285 w 4331822"/>
                <a:gd name="connsiteY148" fmla="*/ 1521050 h 2269610"/>
                <a:gd name="connsiteX149" fmla="*/ 1903624 w 4331822"/>
                <a:gd name="connsiteY149" fmla="*/ 1292116 h 2269610"/>
                <a:gd name="connsiteX150" fmla="*/ 1657389 w 4331822"/>
                <a:gd name="connsiteY150" fmla="*/ 1521050 h 2269610"/>
                <a:gd name="connsiteX151" fmla="*/ 1412729 w 4331822"/>
                <a:gd name="connsiteY151" fmla="*/ 1292116 h 2269610"/>
                <a:gd name="connsiteX152" fmla="*/ 1166494 w 4331822"/>
                <a:gd name="connsiteY152" fmla="*/ 1521050 h 2269610"/>
                <a:gd name="connsiteX153" fmla="*/ 921834 w 4331822"/>
                <a:gd name="connsiteY153" fmla="*/ 1292116 h 2269610"/>
                <a:gd name="connsiteX154" fmla="*/ 675599 w 4331822"/>
                <a:gd name="connsiteY154" fmla="*/ 1521050 h 2269610"/>
                <a:gd name="connsiteX155" fmla="*/ 342454 w 4331822"/>
                <a:gd name="connsiteY155" fmla="*/ 828644 h 2269610"/>
                <a:gd name="connsiteX156" fmla="*/ 596805 w 4331822"/>
                <a:gd name="connsiteY156" fmla="*/ 150084 h 2269610"/>
                <a:gd name="connsiteX157" fmla="*/ 395574 w 4331822"/>
                <a:gd name="connsiteY157" fmla="*/ 157058 h 2269610"/>
                <a:gd name="connsiteX158" fmla="*/ 56359 w 4331822"/>
                <a:gd name="connsiteY158" fmla="*/ 942653 h 2269610"/>
                <a:gd name="connsiteX159" fmla="*/ 55480 w 4331822"/>
                <a:gd name="connsiteY159" fmla="*/ 1054413 h 2269610"/>
                <a:gd name="connsiteX160" fmla="*/ 50400 w 4331822"/>
                <a:gd name="connsiteY160" fmla="*/ 2269610 h 2269610"/>
                <a:gd name="connsiteX161" fmla="*/ 0 w 4331822"/>
                <a:gd name="connsiteY161" fmla="*/ 2269610 h 2269610"/>
                <a:gd name="connsiteX162" fmla="*/ 0 w 4331822"/>
                <a:gd name="connsiteY162" fmla="*/ 955353 h 2269610"/>
                <a:gd name="connsiteX163" fmla="*/ 0 w 4331822"/>
                <a:gd name="connsiteY163" fmla="*/ 949712 h 2269610"/>
                <a:gd name="connsiteX164" fmla="*/ 408 w 4331822"/>
                <a:gd name="connsiteY164" fmla="*/ 949712 h 2269610"/>
                <a:gd name="connsiteX165" fmla="*/ 333544 w 4331822"/>
                <a:gd name="connsiteY165" fmla="*/ 115798 h 2269610"/>
                <a:gd name="connsiteX166" fmla="*/ 664016 w 4331822"/>
                <a:gd name="connsiteY166" fmla="*/ 107647 h 2269610"/>
                <a:gd name="connsiteX167" fmla="*/ 890905 w 4331822"/>
                <a:gd name="connsiteY167" fmla="*/ 71604 h 2269610"/>
                <a:gd name="connsiteX168" fmla="*/ 1154911 w 4331822"/>
                <a:gd name="connsiteY168" fmla="*/ 107647 h 2269610"/>
                <a:gd name="connsiteX169" fmla="*/ 1389590 w 4331822"/>
                <a:gd name="connsiteY169" fmla="*/ 67735 h 2269610"/>
                <a:gd name="connsiteX170" fmla="*/ 1645806 w 4331822"/>
                <a:gd name="connsiteY170" fmla="*/ 107647 h 2269610"/>
                <a:gd name="connsiteX171" fmla="*/ 1880485 w 4331822"/>
                <a:gd name="connsiteY171" fmla="*/ 71604 h 2269610"/>
                <a:gd name="connsiteX172" fmla="*/ 2136702 w 4331822"/>
                <a:gd name="connsiteY172" fmla="*/ 107647 h 2269610"/>
                <a:gd name="connsiteX173" fmla="*/ 2355801 w 4331822"/>
                <a:gd name="connsiteY173" fmla="*/ 75474 h 2269610"/>
                <a:gd name="connsiteX174" fmla="*/ 2627597 w 4331822"/>
                <a:gd name="connsiteY174" fmla="*/ 107647 h 2269610"/>
                <a:gd name="connsiteX175" fmla="*/ 2869889 w 4331822"/>
                <a:gd name="connsiteY175" fmla="*/ 71072 h 2269610"/>
                <a:gd name="connsiteX176" fmla="*/ 3118492 w 4331822"/>
                <a:gd name="connsiteY176" fmla="*/ 107647 h 2269610"/>
                <a:gd name="connsiteX177" fmla="*/ 3373772 w 4331822"/>
                <a:gd name="connsiteY177" fmla="*/ 71072 h 2269610"/>
                <a:gd name="connsiteX178" fmla="*/ 3637445 w 4331822"/>
                <a:gd name="connsiteY178" fmla="*/ 115378 h 2269610"/>
                <a:gd name="connsiteX179" fmla="*/ 3898116 w 4331822"/>
                <a:gd name="connsiteY179" fmla="*/ 55472 h 2269610"/>
                <a:gd name="connsiteX0" fmla="*/ 3371112 w 4331822"/>
                <a:gd name="connsiteY0" fmla="*/ 504625 h 2270644"/>
                <a:gd name="connsiteX1" fmla="*/ 3334579 w 4331822"/>
                <a:gd name="connsiteY1" fmla="*/ 829671 h 2270644"/>
                <a:gd name="connsiteX2" fmla="*/ 3380985 w 4331822"/>
                <a:gd name="connsiteY2" fmla="*/ 1120094 h 2270644"/>
                <a:gd name="connsiteX3" fmla="*/ 3416474 w 4331822"/>
                <a:gd name="connsiteY3" fmla="*/ 829671 h 2270644"/>
                <a:gd name="connsiteX4" fmla="*/ 3371112 w 4331822"/>
                <a:gd name="connsiteY4" fmla="*/ 504625 h 2270644"/>
                <a:gd name="connsiteX5" fmla="*/ 2880217 w 4331822"/>
                <a:gd name="connsiteY5" fmla="*/ 504625 h 2270644"/>
                <a:gd name="connsiteX6" fmla="*/ 2843683 w 4331822"/>
                <a:gd name="connsiteY6" fmla="*/ 829671 h 2270644"/>
                <a:gd name="connsiteX7" fmla="*/ 2890090 w 4331822"/>
                <a:gd name="connsiteY7" fmla="*/ 1120094 h 2270644"/>
                <a:gd name="connsiteX8" fmla="*/ 2925579 w 4331822"/>
                <a:gd name="connsiteY8" fmla="*/ 829671 h 2270644"/>
                <a:gd name="connsiteX9" fmla="*/ 2880217 w 4331822"/>
                <a:gd name="connsiteY9" fmla="*/ 504625 h 2270644"/>
                <a:gd name="connsiteX10" fmla="*/ 2389322 w 4331822"/>
                <a:gd name="connsiteY10" fmla="*/ 504625 h 2270644"/>
                <a:gd name="connsiteX11" fmla="*/ 2352788 w 4331822"/>
                <a:gd name="connsiteY11" fmla="*/ 829671 h 2270644"/>
                <a:gd name="connsiteX12" fmla="*/ 2399195 w 4331822"/>
                <a:gd name="connsiteY12" fmla="*/ 1120094 h 2270644"/>
                <a:gd name="connsiteX13" fmla="*/ 2434683 w 4331822"/>
                <a:gd name="connsiteY13" fmla="*/ 829671 h 2270644"/>
                <a:gd name="connsiteX14" fmla="*/ 2389322 w 4331822"/>
                <a:gd name="connsiteY14" fmla="*/ 504625 h 2270644"/>
                <a:gd name="connsiteX15" fmla="*/ 1898426 w 4331822"/>
                <a:gd name="connsiteY15" fmla="*/ 504625 h 2270644"/>
                <a:gd name="connsiteX16" fmla="*/ 1861893 w 4331822"/>
                <a:gd name="connsiteY16" fmla="*/ 829671 h 2270644"/>
                <a:gd name="connsiteX17" fmla="*/ 1908299 w 4331822"/>
                <a:gd name="connsiteY17" fmla="*/ 1120087 h 2270644"/>
                <a:gd name="connsiteX18" fmla="*/ 1943788 w 4331822"/>
                <a:gd name="connsiteY18" fmla="*/ 829671 h 2270644"/>
                <a:gd name="connsiteX19" fmla="*/ 1898426 w 4331822"/>
                <a:gd name="connsiteY19" fmla="*/ 504625 h 2270644"/>
                <a:gd name="connsiteX20" fmla="*/ 1407531 w 4331822"/>
                <a:gd name="connsiteY20" fmla="*/ 504625 h 2270644"/>
                <a:gd name="connsiteX21" fmla="*/ 1370998 w 4331822"/>
                <a:gd name="connsiteY21" fmla="*/ 829671 h 2270644"/>
                <a:gd name="connsiteX22" fmla="*/ 1417404 w 4331822"/>
                <a:gd name="connsiteY22" fmla="*/ 1120094 h 2270644"/>
                <a:gd name="connsiteX23" fmla="*/ 1452893 w 4331822"/>
                <a:gd name="connsiteY23" fmla="*/ 829671 h 2270644"/>
                <a:gd name="connsiteX24" fmla="*/ 1407531 w 4331822"/>
                <a:gd name="connsiteY24" fmla="*/ 504625 h 2270644"/>
                <a:gd name="connsiteX25" fmla="*/ 916636 w 4331822"/>
                <a:gd name="connsiteY25" fmla="*/ 504625 h 2270644"/>
                <a:gd name="connsiteX26" fmla="*/ 880102 w 4331822"/>
                <a:gd name="connsiteY26" fmla="*/ 829671 h 2270644"/>
                <a:gd name="connsiteX27" fmla="*/ 926509 w 4331822"/>
                <a:gd name="connsiteY27" fmla="*/ 1120094 h 2270644"/>
                <a:gd name="connsiteX28" fmla="*/ 961997 w 4331822"/>
                <a:gd name="connsiteY28" fmla="*/ 829671 h 2270644"/>
                <a:gd name="connsiteX29" fmla="*/ 916636 w 4331822"/>
                <a:gd name="connsiteY29" fmla="*/ 504625 h 2270644"/>
                <a:gd name="connsiteX30" fmla="*/ 3613900 w 4331822"/>
                <a:gd name="connsiteY30" fmla="*/ 186041 h 2270644"/>
                <a:gd name="connsiteX31" fmla="*/ 3564779 w 4331822"/>
                <a:gd name="connsiteY31" fmla="*/ 205250 h 2270644"/>
                <a:gd name="connsiteX32" fmla="*/ 3397420 w 4331822"/>
                <a:gd name="connsiteY32" fmla="*/ 430854 h 2270644"/>
                <a:gd name="connsiteX33" fmla="*/ 3463220 w 4331822"/>
                <a:gd name="connsiteY33" fmla="*/ 829678 h 2270644"/>
                <a:gd name="connsiteX34" fmla="*/ 3407544 w 4331822"/>
                <a:gd name="connsiteY34" fmla="*/ 1206782 h 2270644"/>
                <a:gd name="connsiteX35" fmla="*/ 3620977 w 4331822"/>
                <a:gd name="connsiteY35" fmla="*/ 1449821 h 2270644"/>
                <a:gd name="connsiteX36" fmla="*/ 3907369 w 4331822"/>
                <a:gd name="connsiteY36" fmla="*/ 829671 h 2270644"/>
                <a:gd name="connsiteX37" fmla="*/ 3700538 w 4331822"/>
                <a:gd name="connsiteY37" fmla="*/ 238249 h 2270644"/>
                <a:gd name="connsiteX38" fmla="*/ 3613900 w 4331822"/>
                <a:gd name="connsiteY38" fmla="*/ 186041 h 2270644"/>
                <a:gd name="connsiteX39" fmla="*/ 3123005 w 4331822"/>
                <a:gd name="connsiteY39" fmla="*/ 186041 h 2270644"/>
                <a:gd name="connsiteX40" fmla="*/ 3073884 w 4331822"/>
                <a:gd name="connsiteY40" fmla="*/ 205250 h 2270644"/>
                <a:gd name="connsiteX41" fmla="*/ 2906525 w 4331822"/>
                <a:gd name="connsiteY41" fmla="*/ 430854 h 2270644"/>
                <a:gd name="connsiteX42" fmla="*/ 2972324 w 4331822"/>
                <a:gd name="connsiteY42" fmla="*/ 829678 h 2270644"/>
                <a:gd name="connsiteX43" fmla="*/ 2916649 w 4331822"/>
                <a:gd name="connsiteY43" fmla="*/ 1206782 h 2270644"/>
                <a:gd name="connsiteX44" fmla="*/ 3130082 w 4331822"/>
                <a:gd name="connsiteY44" fmla="*/ 1449821 h 2270644"/>
                <a:gd name="connsiteX45" fmla="*/ 3349724 w 4331822"/>
                <a:gd name="connsiteY45" fmla="*/ 1220614 h 2270644"/>
                <a:gd name="connsiteX46" fmla="*/ 3287833 w 4331822"/>
                <a:gd name="connsiteY46" fmla="*/ 829678 h 2270644"/>
                <a:gd name="connsiteX47" fmla="*/ 3342599 w 4331822"/>
                <a:gd name="connsiteY47" fmla="*/ 440913 h 2270644"/>
                <a:gd name="connsiteX48" fmla="*/ 3209643 w 4331822"/>
                <a:gd name="connsiteY48" fmla="*/ 238249 h 2270644"/>
                <a:gd name="connsiteX49" fmla="*/ 3123005 w 4331822"/>
                <a:gd name="connsiteY49" fmla="*/ 186041 h 2270644"/>
                <a:gd name="connsiteX50" fmla="*/ 2632109 w 4331822"/>
                <a:gd name="connsiteY50" fmla="*/ 186041 h 2270644"/>
                <a:gd name="connsiteX51" fmla="*/ 2582989 w 4331822"/>
                <a:gd name="connsiteY51" fmla="*/ 205250 h 2270644"/>
                <a:gd name="connsiteX52" fmla="*/ 2415629 w 4331822"/>
                <a:gd name="connsiteY52" fmla="*/ 430854 h 2270644"/>
                <a:gd name="connsiteX53" fmla="*/ 2481429 w 4331822"/>
                <a:gd name="connsiteY53" fmla="*/ 829678 h 2270644"/>
                <a:gd name="connsiteX54" fmla="*/ 2425753 w 4331822"/>
                <a:gd name="connsiteY54" fmla="*/ 1206782 h 2270644"/>
                <a:gd name="connsiteX55" fmla="*/ 2639187 w 4331822"/>
                <a:gd name="connsiteY55" fmla="*/ 1449821 h 2270644"/>
                <a:gd name="connsiteX56" fmla="*/ 2858829 w 4331822"/>
                <a:gd name="connsiteY56" fmla="*/ 1220614 h 2270644"/>
                <a:gd name="connsiteX57" fmla="*/ 2796938 w 4331822"/>
                <a:gd name="connsiteY57" fmla="*/ 829678 h 2270644"/>
                <a:gd name="connsiteX58" fmla="*/ 2851704 w 4331822"/>
                <a:gd name="connsiteY58" fmla="*/ 440913 h 2270644"/>
                <a:gd name="connsiteX59" fmla="*/ 2718748 w 4331822"/>
                <a:gd name="connsiteY59" fmla="*/ 238249 h 2270644"/>
                <a:gd name="connsiteX60" fmla="*/ 2632109 w 4331822"/>
                <a:gd name="connsiteY60" fmla="*/ 186041 h 2270644"/>
                <a:gd name="connsiteX61" fmla="*/ 2141214 w 4331822"/>
                <a:gd name="connsiteY61" fmla="*/ 186041 h 2270644"/>
                <a:gd name="connsiteX62" fmla="*/ 2092093 w 4331822"/>
                <a:gd name="connsiteY62" fmla="*/ 205250 h 2270644"/>
                <a:gd name="connsiteX63" fmla="*/ 1924734 w 4331822"/>
                <a:gd name="connsiteY63" fmla="*/ 430854 h 2270644"/>
                <a:gd name="connsiteX64" fmla="*/ 1990534 w 4331822"/>
                <a:gd name="connsiteY64" fmla="*/ 829678 h 2270644"/>
                <a:gd name="connsiteX65" fmla="*/ 1934858 w 4331822"/>
                <a:gd name="connsiteY65" fmla="*/ 1206782 h 2270644"/>
                <a:gd name="connsiteX66" fmla="*/ 2148291 w 4331822"/>
                <a:gd name="connsiteY66" fmla="*/ 1449821 h 2270644"/>
                <a:gd name="connsiteX67" fmla="*/ 2367934 w 4331822"/>
                <a:gd name="connsiteY67" fmla="*/ 1220614 h 2270644"/>
                <a:gd name="connsiteX68" fmla="*/ 2306036 w 4331822"/>
                <a:gd name="connsiteY68" fmla="*/ 829678 h 2270644"/>
                <a:gd name="connsiteX69" fmla="*/ 2360809 w 4331822"/>
                <a:gd name="connsiteY69" fmla="*/ 440913 h 2270644"/>
                <a:gd name="connsiteX70" fmla="*/ 2227852 w 4331822"/>
                <a:gd name="connsiteY70" fmla="*/ 238249 h 2270644"/>
                <a:gd name="connsiteX71" fmla="*/ 2141214 w 4331822"/>
                <a:gd name="connsiteY71" fmla="*/ 186041 h 2270644"/>
                <a:gd name="connsiteX72" fmla="*/ 1650319 w 4331822"/>
                <a:gd name="connsiteY72" fmla="*/ 186041 h 2270644"/>
                <a:gd name="connsiteX73" fmla="*/ 1601198 w 4331822"/>
                <a:gd name="connsiteY73" fmla="*/ 205250 h 2270644"/>
                <a:gd name="connsiteX74" fmla="*/ 1433839 w 4331822"/>
                <a:gd name="connsiteY74" fmla="*/ 430854 h 2270644"/>
                <a:gd name="connsiteX75" fmla="*/ 1499638 w 4331822"/>
                <a:gd name="connsiteY75" fmla="*/ 829678 h 2270644"/>
                <a:gd name="connsiteX76" fmla="*/ 1443963 w 4331822"/>
                <a:gd name="connsiteY76" fmla="*/ 1206782 h 2270644"/>
                <a:gd name="connsiteX77" fmla="*/ 1657396 w 4331822"/>
                <a:gd name="connsiteY77" fmla="*/ 1449821 h 2270644"/>
                <a:gd name="connsiteX78" fmla="*/ 1877038 w 4331822"/>
                <a:gd name="connsiteY78" fmla="*/ 1220614 h 2270644"/>
                <a:gd name="connsiteX79" fmla="*/ 1815140 w 4331822"/>
                <a:gd name="connsiteY79" fmla="*/ 829678 h 2270644"/>
                <a:gd name="connsiteX80" fmla="*/ 1869913 w 4331822"/>
                <a:gd name="connsiteY80" fmla="*/ 440913 h 2270644"/>
                <a:gd name="connsiteX81" fmla="*/ 1736957 w 4331822"/>
                <a:gd name="connsiteY81" fmla="*/ 238249 h 2270644"/>
                <a:gd name="connsiteX82" fmla="*/ 1650319 w 4331822"/>
                <a:gd name="connsiteY82" fmla="*/ 186041 h 2270644"/>
                <a:gd name="connsiteX83" fmla="*/ 1159423 w 4331822"/>
                <a:gd name="connsiteY83" fmla="*/ 186041 h 2270644"/>
                <a:gd name="connsiteX84" fmla="*/ 1110303 w 4331822"/>
                <a:gd name="connsiteY84" fmla="*/ 205250 h 2270644"/>
                <a:gd name="connsiteX85" fmla="*/ 942937 w 4331822"/>
                <a:gd name="connsiteY85" fmla="*/ 430854 h 2270644"/>
                <a:gd name="connsiteX86" fmla="*/ 1008736 w 4331822"/>
                <a:gd name="connsiteY86" fmla="*/ 829678 h 2270644"/>
                <a:gd name="connsiteX87" fmla="*/ 953068 w 4331822"/>
                <a:gd name="connsiteY87" fmla="*/ 1206782 h 2270644"/>
                <a:gd name="connsiteX88" fmla="*/ 1166494 w 4331822"/>
                <a:gd name="connsiteY88" fmla="*/ 1449821 h 2270644"/>
                <a:gd name="connsiteX89" fmla="*/ 1386143 w 4331822"/>
                <a:gd name="connsiteY89" fmla="*/ 1220614 h 2270644"/>
                <a:gd name="connsiteX90" fmla="*/ 1324245 w 4331822"/>
                <a:gd name="connsiteY90" fmla="*/ 829678 h 2270644"/>
                <a:gd name="connsiteX91" fmla="*/ 1379018 w 4331822"/>
                <a:gd name="connsiteY91" fmla="*/ 440913 h 2270644"/>
                <a:gd name="connsiteX92" fmla="*/ 1246062 w 4331822"/>
                <a:gd name="connsiteY92" fmla="*/ 238249 h 2270644"/>
                <a:gd name="connsiteX93" fmla="*/ 1159423 w 4331822"/>
                <a:gd name="connsiteY93" fmla="*/ 186041 h 2270644"/>
                <a:gd name="connsiteX94" fmla="*/ 658140 w 4331822"/>
                <a:gd name="connsiteY94" fmla="*/ 186034 h 2270644"/>
                <a:gd name="connsiteX95" fmla="*/ 619408 w 4331822"/>
                <a:gd name="connsiteY95" fmla="*/ 205250 h 2270644"/>
                <a:gd name="connsiteX96" fmla="*/ 389207 w 4331822"/>
                <a:gd name="connsiteY96" fmla="*/ 829671 h 2270644"/>
                <a:gd name="connsiteX97" fmla="*/ 675599 w 4331822"/>
                <a:gd name="connsiteY97" fmla="*/ 1449821 h 2270644"/>
                <a:gd name="connsiteX98" fmla="*/ 895248 w 4331822"/>
                <a:gd name="connsiteY98" fmla="*/ 1220614 h 2270644"/>
                <a:gd name="connsiteX99" fmla="*/ 833350 w 4331822"/>
                <a:gd name="connsiteY99" fmla="*/ 829678 h 2270644"/>
                <a:gd name="connsiteX100" fmla="*/ 888123 w 4331822"/>
                <a:gd name="connsiteY100" fmla="*/ 440913 h 2270644"/>
                <a:gd name="connsiteX101" fmla="*/ 755166 w 4331822"/>
                <a:gd name="connsiteY101" fmla="*/ 238249 h 2270644"/>
                <a:gd name="connsiteX102" fmla="*/ 658140 w 4331822"/>
                <a:gd name="connsiteY102" fmla="*/ 186034 h 2270644"/>
                <a:gd name="connsiteX103" fmla="*/ 1394777 w 4331822"/>
                <a:gd name="connsiteY103" fmla="*/ 141155 h 2270644"/>
                <a:gd name="connsiteX104" fmla="*/ 1242866 w 4331822"/>
                <a:gd name="connsiteY104" fmla="*/ 156345 h 2270644"/>
                <a:gd name="connsiteX105" fmla="*/ 1407246 w 4331822"/>
                <a:gd name="connsiteY105" fmla="*/ 370513 h 2270644"/>
                <a:gd name="connsiteX106" fmla="*/ 1563185 w 4331822"/>
                <a:gd name="connsiteY106" fmla="*/ 161278 h 2270644"/>
                <a:gd name="connsiteX107" fmla="*/ 1430968 w 4331822"/>
                <a:gd name="connsiteY107" fmla="*/ 141524 h 2270644"/>
                <a:gd name="connsiteX108" fmla="*/ 1394777 w 4331822"/>
                <a:gd name="connsiteY108" fmla="*/ 141155 h 2270644"/>
                <a:gd name="connsiteX109" fmla="*/ 3365982 w 4331822"/>
                <a:gd name="connsiteY109" fmla="*/ 138391 h 2270644"/>
                <a:gd name="connsiteX110" fmla="*/ 3206447 w 4331822"/>
                <a:gd name="connsiteY110" fmla="*/ 156345 h 2270644"/>
                <a:gd name="connsiteX111" fmla="*/ 3370827 w 4331822"/>
                <a:gd name="connsiteY111" fmla="*/ 370513 h 2270644"/>
                <a:gd name="connsiteX112" fmla="*/ 3526773 w 4331822"/>
                <a:gd name="connsiteY112" fmla="*/ 161278 h 2270644"/>
                <a:gd name="connsiteX113" fmla="*/ 3365982 w 4331822"/>
                <a:gd name="connsiteY113" fmla="*/ 138391 h 2270644"/>
                <a:gd name="connsiteX114" fmla="*/ 2371204 w 4331822"/>
                <a:gd name="connsiteY114" fmla="*/ 137655 h 2270644"/>
                <a:gd name="connsiteX115" fmla="*/ 2224656 w 4331822"/>
                <a:gd name="connsiteY115" fmla="*/ 156345 h 2270644"/>
                <a:gd name="connsiteX116" fmla="*/ 2389037 w 4331822"/>
                <a:gd name="connsiteY116" fmla="*/ 370513 h 2270644"/>
                <a:gd name="connsiteX117" fmla="*/ 2544976 w 4331822"/>
                <a:gd name="connsiteY117" fmla="*/ 161278 h 2270644"/>
                <a:gd name="connsiteX118" fmla="*/ 2371204 w 4331822"/>
                <a:gd name="connsiteY118" fmla="*/ 137655 h 2270644"/>
                <a:gd name="connsiteX119" fmla="*/ 1895889 w 4331822"/>
                <a:gd name="connsiteY119" fmla="*/ 137655 h 2270644"/>
                <a:gd name="connsiteX120" fmla="*/ 1733761 w 4331822"/>
                <a:gd name="connsiteY120" fmla="*/ 156345 h 2270644"/>
                <a:gd name="connsiteX121" fmla="*/ 1898141 w 4331822"/>
                <a:gd name="connsiteY121" fmla="*/ 370513 h 2270644"/>
                <a:gd name="connsiteX122" fmla="*/ 2054081 w 4331822"/>
                <a:gd name="connsiteY122" fmla="*/ 161278 h 2270644"/>
                <a:gd name="connsiteX123" fmla="*/ 1895889 w 4331822"/>
                <a:gd name="connsiteY123" fmla="*/ 137655 h 2270644"/>
                <a:gd name="connsiteX124" fmla="*/ 2877686 w 4331822"/>
                <a:gd name="connsiteY124" fmla="*/ 137081 h 2270644"/>
                <a:gd name="connsiteX125" fmla="*/ 2715552 w 4331822"/>
                <a:gd name="connsiteY125" fmla="*/ 156345 h 2270644"/>
                <a:gd name="connsiteX126" fmla="*/ 2879932 w 4331822"/>
                <a:gd name="connsiteY126" fmla="*/ 370513 h 2270644"/>
                <a:gd name="connsiteX127" fmla="*/ 3035878 w 4331822"/>
                <a:gd name="connsiteY127" fmla="*/ 161278 h 2270644"/>
                <a:gd name="connsiteX128" fmla="*/ 2877686 w 4331822"/>
                <a:gd name="connsiteY128" fmla="*/ 137081 h 2270644"/>
                <a:gd name="connsiteX129" fmla="*/ 893321 w 4331822"/>
                <a:gd name="connsiteY129" fmla="*/ 133792 h 2270644"/>
                <a:gd name="connsiteX130" fmla="*/ 751970 w 4331822"/>
                <a:gd name="connsiteY130" fmla="*/ 156345 h 2270644"/>
                <a:gd name="connsiteX131" fmla="*/ 916351 w 4331822"/>
                <a:gd name="connsiteY131" fmla="*/ 370513 h 2270644"/>
                <a:gd name="connsiteX132" fmla="*/ 1072290 w 4331822"/>
                <a:gd name="connsiteY132" fmla="*/ 161278 h 2270644"/>
                <a:gd name="connsiteX133" fmla="*/ 893321 w 4331822"/>
                <a:gd name="connsiteY133" fmla="*/ 133792 h 2270644"/>
                <a:gd name="connsiteX134" fmla="*/ 3898116 w 4331822"/>
                <a:gd name="connsiteY134" fmla="*/ 56506 h 2270644"/>
                <a:gd name="connsiteX135" fmla="*/ 4331822 w 4331822"/>
                <a:gd name="connsiteY135" fmla="*/ 956387 h 2270644"/>
                <a:gd name="connsiteX136" fmla="*/ 4331822 w 4331822"/>
                <a:gd name="connsiteY136" fmla="*/ 2270644 h 2270644"/>
                <a:gd name="connsiteX137" fmla="*/ 4281422 w 4331822"/>
                <a:gd name="connsiteY137" fmla="*/ 2270644 h 2270644"/>
                <a:gd name="connsiteX138" fmla="*/ 4281422 w 4331822"/>
                <a:gd name="connsiteY138" fmla="*/ 950746 h 2270644"/>
                <a:gd name="connsiteX139" fmla="*/ 3924991 w 4331822"/>
                <a:gd name="connsiteY139" fmla="*/ 122451 h 2270644"/>
                <a:gd name="connsiteX140" fmla="*/ 3684110 w 4331822"/>
                <a:gd name="connsiteY140" fmla="*/ 153015 h 2270644"/>
                <a:gd name="connsiteX141" fmla="*/ 3954115 w 4331822"/>
                <a:gd name="connsiteY141" fmla="*/ 829678 h 2270644"/>
                <a:gd name="connsiteX142" fmla="*/ 3620971 w 4331822"/>
                <a:gd name="connsiteY142" fmla="*/ 1522084 h 2270644"/>
                <a:gd name="connsiteX143" fmla="*/ 3376310 w 4331822"/>
                <a:gd name="connsiteY143" fmla="*/ 1293150 h 2270644"/>
                <a:gd name="connsiteX144" fmla="*/ 3130075 w 4331822"/>
                <a:gd name="connsiteY144" fmla="*/ 1522084 h 2270644"/>
                <a:gd name="connsiteX145" fmla="*/ 2885415 w 4331822"/>
                <a:gd name="connsiteY145" fmla="*/ 1293150 h 2270644"/>
                <a:gd name="connsiteX146" fmla="*/ 2639180 w 4331822"/>
                <a:gd name="connsiteY146" fmla="*/ 1522084 h 2270644"/>
                <a:gd name="connsiteX147" fmla="*/ 2394519 w 4331822"/>
                <a:gd name="connsiteY147" fmla="*/ 1293150 h 2270644"/>
                <a:gd name="connsiteX148" fmla="*/ 2148285 w 4331822"/>
                <a:gd name="connsiteY148" fmla="*/ 1522084 h 2270644"/>
                <a:gd name="connsiteX149" fmla="*/ 1903624 w 4331822"/>
                <a:gd name="connsiteY149" fmla="*/ 1293150 h 2270644"/>
                <a:gd name="connsiteX150" fmla="*/ 1657389 w 4331822"/>
                <a:gd name="connsiteY150" fmla="*/ 1522084 h 2270644"/>
                <a:gd name="connsiteX151" fmla="*/ 1412729 w 4331822"/>
                <a:gd name="connsiteY151" fmla="*/ 1293150 h 2270644"/>
                <a:gd name="connsiteX152" fmla="*/ 1166494 w 4331822"/>
                <a:gd name="connsiteY152" fmla="*/ 1522084 h 2270644"/>
                <a:gd name="connsiteX153" fmla="*/ 921834 w 4331822"/>
                <a:gd name="connsiteY153" fmla="*/ 1293150 h 2270644"/>
                <a:gd name="connsiteX154" fmla="*/ 675599 w 4331822"/>
                <a:gd name="connsiteY154" fmla="*/ 1522084 h 2270644"/>
                <a:gd name="connsiteX155" fmla="*/ 342454 w 4331822"/>
                <a:gd name="connsiteY155" fmla="*/ 829678 h 2270644"/>
                <a:gd name="connsiteX156" fmla="*/ 596805 w 4331822"/>
                <a:gd name="connsiteY156" fmla="*/ 151118 h 2270644"/>
                <a:gd name="connsiteX157" fmla="*/ 395574 w 4331822"/>
                <a:gd name="connsiteY157" fmla="*/ 158092 h 2270644"/>
                <a:gd name="connsiteX158" fmla="*/ 56359 w 4331822"/>
                <a:gd name="connsiteY158" fmla="*/ 943687 h 2270644"/>
                <a:gd name="connsiteX159" fmla="*/ 55480 w 4331822"/>
                <a:gd name="connsiteY159" fmla="*/ 1055447 h 2270644"/>
                <a:gd name="connsiteX160" fmla="*/ 50400 w 4331822"/>
                <a:gd name="connsiteY160" fmla="*/ 2270644 h 2270644"/>
                <a:gd name="connsiteX161" fmla="*/ 0 w 4331822"/>
                <a:gd name="connsiteY161" fmla="*/ 2270644 h 2270644"/>
                <a:gd name="connsiteX162" fmla="*/ 0 w 4331822"/>
                <a:gd name="connsiteY162" fmla="*/ 956387 h 2270644"/>
                <a:gd name="connsiteX163" fmla="*/ 0 w 4331822"/>
                <a:gd name="connsiteY163" fmla="*/ 950746 h 2270644"/>
                <a:gd name="connsiteX164" fmla="*/ 408 w 4331822"/>
                <a:gd name="connsiteY164" fmla="*/ 950746 h 2270644"/>
                <a:gd name="connsiteX165" fmla="*/ 333544 w 4331822"/>
                <a:gd name="connsiteY165" fmla="*/ 116832 h 2270644"/>
                <a:gd name="connsiteX166" fmla="*/ 664016 w 4331822"/>
                <a:gd name="connsiteY166" fmla="*/ 108681 h 2270644"/>
                <a:gd name="connsiteX167" fmla="*/ 890905 w 4331822"/>
                <a:gd name="connsiteY167" fmla="*/ 72638 h 2270644"/>
                <a:gd name="connsiteX168" fmla="*/ 1154911 w 4331822"/>
                <a:gd name="connsiteY168" fmla="*/ 108681 h 2270644"/>
                <a:gd name="connsiteX169" fmla="*/ 1389590 w 4331822"/>
                <a:gd name="connsiteY169" fmla="*/ 68769 h 2270644"/>
                <a:gd name="connsiteX170" fmla="*/ 1645806 w 4331822"/>
                <a:gd name="connsiteY170" fmla="*/ 108681 h 2270644"/>
                <a:gd name="connsiteX171" fmla="*/ 1880485 w 4331822"/>
                <a:gd name="connsiteY171" fmla="*/ 72638 h 2270644"/>
                <a:gd name="connsiteX172" fmla="*/ 2136702 w 4331822"/>
                <a:gd name="connsiteY172" fmla="*/ 108681 h 2270644"/>
                <a:gd name="connsiteX173" fmla="*/ 2355801 w 4331822"/>
                <a:gd name="connsiteY173" fmla="*/ 76508 h 2270644"/>
                <a:gd name="connsiteX174" fmla="*/ 2627597 w 4331822"/>
                <a:gd name="connsiteY174" fmla="*/ 108681 h 2270644"/>
                <a:gd name="connsiteX175" fmla="*/ 2869889 w 4331822"/>
                <a:gd name="connsiteY175" fmla="*/ 72106 h 2270644"/>
                <a:gd name="connsiteX176" fmla="*/ 3118492 w 4331822"/>
                <a:gd name="connsiteY176" fmla="*/ 108681 h 2270644"/>
                <a:gd name="connsiteX177" fmla="*/ 3373772 w 4331822"/>
                <a:gd name="connsiteY177" fmla="*/ 72106 h 2270644"/>
                <a:gd name="connsiteX178" fmla="*/ 3637445 w 4331822"/>
                <a:gd name="connsiteY178" fmla="*/ 116412 h 2270644"/>
                <a:gd name="connsiteX179" fmla="*/ 3898116 w 4331822"/>
                <a:gd name="connsiteY179" fmla="*/ 56506 h 2270644"/>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13900 w 4331822"/>
                <a:gd name="connsiteY30" fmla="*/ 12953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13900 w 4331822"/>
                <a:gd name="connsiteY38" fmla="*/ 12953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6280 w 4331822"/>
                <a:gd name="connsiteY30" fmla="*/ 12191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6280 w 4331822"/>
                <a:gd name="connsiteY38" fmla="*/ 12191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 name="connsiteX0" fmla="*/ 3371112 w 4331822"/>
                <a:gd name="connsiteY0" fmla="*/ 448119 h 2214138"/>
                <a:gd name="connsiteX1" fmla="*/ 3334579 w 4331822"/>
                <a:gd name="connsiteY1" fmla="*/ 773165 h 2214138"/>
                <a:gd name="connsiteX2" fmla="*/ 3380985 w 4331822"/>
                <a:gd name="connsiteY2" fmla="*/ 1063588 h 2214138"/>
                <a:gd name="connsiteX3" fmla="*/ 3416474 w 4331822"/>
                <a:gd name="connsiteY3" fmla="*/ 773165 h 2214138"/>
                <a:gd name="connsiteX4" fmla="*/ 3371112 w 4331822"/>
                <a:gd name="connsiteY4" fmla="*/ 448119 h 2214138"/>
                <a:gd name="connsiteX5" fmla="*/ 2880217 w 4331822"/>
                <a:gd name="connsiteY5" fmla="*/ 448119 h 2214138"/>
                <a:gd name="connsiteX6" fmla="*/ 2843683 w 4331822"/>
                <a:gd name="connsiteY6" fmla="*/ 773165 h 2214138"/>
                <a:gd name="connsiteX7" fmla="*/ 2890090 w 4331822"/>
                <a:gd name="connsiteY7" fmla="*/ 1063588 h 2214138"/>
                <a:gd name="connsiteX8" fmla="*/ 2925579 w 4331822"/>
                <a:gd name="connsiteY8" fmla="*/ 773165 h 2214138"/>
                <a:gd name="connsiteX9" fmla="*/ 2880217 w 4331822"/>
                <a:gd name="connsiteY9" fmla="*/ 448119 h 2214138"/>
                <a:gd name="connsiteX10" fmla="*/ 2389322 w 4331822"/>
                <a:gd name="connsiteY10" fmla="*/ 448119 h 2214138"/>
                <a:gd name="connsiteX11" fmla="*/ 2352788 w 4331822"/>
                <a:gd name="connsiteY11" fmla="*/ 773165 h 2214138"/>
                <a:gd name="connsiteX12" fmla="*/ 2399195 w 4331822"/>
                <a:gd name="connsiteY12" fmla="*/ 1063588 h 2214138"/>
                <a:gd name="connsiteX13" fmla="*/ 2434683 w 4331822"/>
                <a:gd name="connsiteY13" fmla="*/ 773165 h 2214138"/>
                <a:gd name="connsiteX14" fmla="*/ 2389322 w 4331822"/>
                <a:gd name="connsiteY14" fmla="*/ 448119 h 2214138"/>
                <a:gd name="connsiteX15" fmla="*/ 1898426 w 4331822"/>
                <a:gd name="connsiteY15" fmla="*/ 448119 h 2214138"/>
                <a:gd name="connsiteX16" fmla="*/ 1861893 w 4331822"/>
                <a:gd name="connsiteY16" fmla="*/ 773165 h 2214138"/>
                <a:gd name="connsiteX17" fmla="*/ 1908299 w 4331822"/>
                <a:gd name="connsiteY17" fmla="*/ 1063581 h 2214138"/>
                <a:gd name="connsiteX18" fmla="*/ 1943788 w 4331822"/>
                <a:gd name="connsiteY18" fmla="*/ 773165 h 2214138"/>
                <a:gd name="connsiteX19" fmla="*/ 1898426 w 4331822"/>
                <a:gd name="connsiteY19" fmla="*/ 448119 h 2214138"/>
                <a:gd name="connsiteX20" fmla="*/ 1407531 w 4331822"/>
                <a:gd name="connsiteY20" fmla="*/ 448119 h 2214138"/>
                <a:gd name="connsiteX21" fmla="*/ 1370998 w 4331822"/>
                <a:gd name="connsiteY21" fmla="*/ 773165 h 2214138"/>
                <a:gd name="connsiteX22" fmla="*/ 1417404 w 4331822"/>
                <a:gd name="connsiteY22" fmla="*/ 1063588 h 2214138"/>
                <a:gd name="connsiteX23" fmla="*/ 1452893 w 4331822"/>
                <a:gd name="connsiteY23" fmla="*/ 773165 h 2214138"/>
                <a:gd name="connsiteX24" fmla="*/ 1407531 w 4331822"/>
                <a:gd name="connsiteY24" fmla="*/ 448119 h 2214138"/>
                <a:gd name="connsiteX25" fmla="*/ 916636 w 4331822"/>
                <a:gd name="connsiteY25" fmla="*/ 448119 h 2214138"/>
                <a:gd name="connsiteX26" fmla="*/ 880102 w 4331822"/>
                <a:gd name="connsiteY26" fmla="*/ 773165 h 2214138"/>
                <a:gd name="connsiteX27" fmla="*/ 926509 w 4331822"/>
                <a:gd name="connsiteY27" fmla="*/ 1063588 h 2214138"/>
                <a:gd name="connsiteX28" fmla="*/ 961997 w 4331822"/>
                <a:gd name="connsiteY28" fmla="*/ 773165 h 2214138"/>
                <a:gd name="connsiteX29" fmla="*/ 916636 w 4331822"/>
                <a:gd name="connsiteY29" fmla="*/ 448119 h 2214138"/>
                <a:gd name="connsiteX30" fmla="*/ 3608185 w 4331822"/>
                <a:gd name="connsiteY30" fmla="*/ 125725 h 2214138"/>
                <a:gd name="connsiteX31" fmla="*/ 3564779 w 4331822"/>
                <a:gd name="connsiteY31" fmla="*/ 148744 h 2214138"/>
                <a:gd name="connsiteX32" fmla="*/ 3397420 w 4331822"/>
                <a:gd name="connsiteY32" fmla="*/ 374348 h 2214138"/>
                <a:gd name="connsiteX33" fmla="*/ 3463220 w 4331822"/>
                <a:gd name="connsiteY33" fmla="*/ 773172 h 2214138"/>
                <a:gd name="connsiteX34" fmla="*/ 3407544 w 4331822"/>
                <a:gd name="connsiteY34" fmla="*/ 1150276 h 2214138"/>
                <a:gd name="connsiteX35" fmla="*/ 3620977 w 4331822"/>
                <a:gd name="connsiteY35" fmla="*/ 1393315 h 2214138"/>
                <a:gd name="connsiteX36" fmla="*/ 3907369 w 4331822"/>
                <a:gd name="connsiteY36" fmla="*/ 773165 h 2214138"/>
                <a:gd name="connsiteX37" fmla="*/ 3700538 w 4331822"/>
                <a:gd name="connsiteY37" fmla="*/ 181743 h 2214138"/>
                <a:gd name="connsiteX38" fmla="*/ 3608185 w 4331822"/>
                <a:gd name="connsiteY38" fmla="*/ 125725 h 2214138"/>
                <a:gd name="connsiteX39" fmla="*/ 3123005 w 4331822"/>
                <a:gd name="connsiteY39" fmla="*/ 129535 h 2214138"/>
                <a:gd name="connsiteX40" fmla="*/ 3073884 w 4331822"/>
                <a:gd name="connsiteY40" fmla="*/ 148744 h 2214138"/>
                <a:gd name="connsiteX41" fmla="*/ 2906525 w 4331822"/>
                <a:gd name="connsiteY41" fmla="*/ 374348 h 2214138"/>
                <a:gd name="connsiteX42" fmla="*/ 2972324 w 4331822"/>
                <a:gd name="connsiteY42" fmla="*/ 773172 h 2214138"/>
                <a:gd name="connsiteX43" fmla="*/ 2916649 w 4331822"/>
                <a:gd name="connsiteY43" fmla="*/ 1150276 h 2214138"/>
                <a:gd name="connsiteX44" fmla="*/ 3130082 w 4331822"/>
                <a:gd name="connsiteY44" fmla="*/ 1393315 h 2214138"/>
                <a:gd name="connsiteX45" fmla="*/ 3349724 w 4331822"/>
                <a:gd name="connsiteY45" fmla="*/ 1164108 h 2214138"/>
                <a:gd name="connsiteX46" fmla="*/ 3287833 w 4331822"/>
                <a:gd name="connsiteY46" fmla="*/ 773172 h 2214138"/>
                <a:gd name="connsiteX47" fmla="*/ 3342599 w 4331822"/>
                <a:gd name="connsiteY47" fmla="*/ 384407 h 2214138"/>
                <a:gd name="connsiteX48" fmla="*/ 3209643 w 4331822"/>
                <a:gd name="connsiteY48" fmla="*/ 181743 h 2214138"/>
                <a:gd name="connsiteX49" fmla="*/ 3123005 w 4331822"/>
                <a:gd name="connsiteY49" fmla="*/ 129535 h 2214138"/>
                <a:gd name="connsiteX50" fmla="*/ 2632109 w 4331822"/>
                <a:gd name="connsiteY50" fmla="*/ 129535 h 2214138"/>
                <a:gd name="connsiteX51" fmla="*/ 2582989 w 4331822"/>
                <a:gd name="connsiteY51" fmla="*/ 148744 h 2214138"/>
                <a:gd name="connsiteX52" fmla="*/ 2415629 w 4331822"/>
                <a:gd name="connsiteY52" fmla="*/ 374348 h 2214138"/>
                <a:gd name="connsiteX53" fmla="*/ 2481429 w 4331822"/>
                <a:gd name="connsiteY53" fmla="*/ 773172 h 2214138"/>
                <a:gd name="connsiteX54" fmla="*/ 2425753 w 4331822"/>
                <a:gd name="connsiteY54" fmla="*/ 1150276 h 2214138"/>
                <a:gd name="connsiteX55" fmla="*/ 2639187 w 4331822"/>
                <a:gd name="connsiteY55" fmla="*/ 1393315 h 2214138"/>
                <a:gd name="connsiteX56" fmla="*/ 2858829 w 4331822"/>
                <a:gd name="connsiteY56" fmla="*/ 1164108 h 2214138"/>
                <a:gd name="connsiteX57" fmla="*/ 2796938 w 4331822"/>
                <a:gd name="connsiteY57" fmla="*/ 773172 h 2214138"/>
                <a:gd name="connsiteX58" fmla="*/ 2851704 w 4331822"/>
                <a:gd name="connsiteY58" fmla="*/ 384407 h 2214138"/>
                <a:gd name="connsiteX59" fmla="*/ 2718748 w 4331822"/>
                <a:gd name="connsiteY59" fmla="*/ 181743 h 2214138"/>
                <a:gd name="connsiteX60" fmla="*/ 2632109 w 4331822"/>
                <a:gd name="connsiteY60" fmla="*/ 129535 h 2214138"/>
                <a:gd name="connsiteX61" fmla="*/ 2141214 w 4331822"/>
                <a:gd name="connsiteY61" fmla="*/ 129535 h 2214138"/>
                <a:gd name="connsiteX62" fmla="*/ 2092093 w 4331822"/>
                <a:gd name="connsiteY62" fmla="*/ 148744 h 2214138"/>
                <a:gd name="connsiteX63" fmla="*/ 1924734 w 4331822"/>
                <a:gd name="connsiteY63" fmla="*/ 374348 h 2214138"/>
                <a:gd name="connsiteX64" fmla="*/ 1990534 w 4331822"/>
                <a:gd name="connsiteY64" fmla="*/ 773172 h 2214138"/>
                <a:gd name="connsiteX65" fmla="*/ 1934858 w 4331822"/>
                <a:gd name="connsiteY65" fmla="*/ 1150276 h 2214138"/>
                <a:gd name="connsiteX66" fmla="*/ 2148291 w 4331822"/>
                <a:gd name="connsiteY66" fmla="*/ 1393315 h 2214138"/>
                <a:gd name="connsiteX67" fmla="*/ 2367934 w 4331822"/>
                <a:gd name="connsiteY67" fmla="*/ 1164108 h 2214138"/>
                <a:gd name="connsiteX68" fmla="*/ 2306036 w 4331822"/>
                <a:gd name="connsiteY68" fmla="*/ 773172 h 2214138"/>
                <a:gd name="connsiteX69" fmla="*/ 2360809 w 4331822"/>
                <a:gd name="connsiteY69" fmla="*/ 384407 h 2214138"/>
                <a:gd name="connsiteX70" fmla="*/ 2227852 w 4331822"/>
                <a:gd name="connsiteY70" fmla="*/ 181743 h 2214138"/>
                <a:gd name="connsiteX71" fmla="*/ 2141214 w 4331822"/>
                <a:gd name="connsiteY71" fmla="*/ 129535 h 2214138"/>
                <a:gd name="connsiteX72" fmla="*/ 1650319 w 4331822"/>
                <a:gd name="connsiteY72" fmla="*/ 129535 h 2214138"/>
                <a:gd name="connsiteX73" fmla="*/ 1601198 w 4331822"/>
                <a:gd name="connsiteY73" fmla="*/ 148744 h 2214138"/>
                <a:gd name="connsiteX74" fmla="*/ 1433839 w 4331822"/>
                <a:gd name="connsiteY74" fmla="*/ 374348 h 2214138"/>
                <a:gd name="connsiteX75" fmla="*/ 1499638 w 4331822"/>
                <a:gd name="connsiteY75" fmla="*/ 773172 h 2214138"/>
                <a:gd name="connsiteX76" fmla="*/ 1443963 w 4331822"/>
                <a:gd name="connsiteY76" fmla="*/ 1150276 h 2214138"/>
                <a:gd name="connsiteX77" fmla="*/ 1657396 w 4331822"/>
                <a:gd name="connsiteY77" fmla="*/ 1393315 h 2214138"/>
                <a:gd name="connsiteX78" fmla="*/ 1877038 w 4331822"/>
                <a:gd name="connsiteY78" fmla="*/ 1164108 h 2214138"/>
                <a:gd name="connsiteX79" fmla="*/ 1815140 w 4331822"/>
                <a:gd name="connsiteY79" fmla="*/ 773172 h 2214138"/>
                <a:gd name="connsiteX80" fmla="*/ 1869913 w 4331822"/>
                <a:gd name="connsiteY80" fmla="*/ 384407 h 2214138"/>
                <a:gd name="connsiteX81" fmla="*/ 1736957 w 4331822"/>
                <a:gd name="connsiteY81" fmla="*/ 181743 h 2214138"/>
                <a:gd name="connsiteX82" fmla="*/ 1650319 w 4331822"/>
                <a:gd name="connsiteY82" fmla="*/ 129535 h 2214138"/>
                <a:gd name="connsiteX83" fmla="*/ 1159423 w 4331822"/>
                <a:gd name="connsiteY83" fmla="*/ 129535 h 2214138"/>
                <a:gd name="connsiteX84" fmla="*/ 1110303 w 4331822"/>
                <a:gd name="connsiteY84" fmla="*/ 148744 h 2214138"/>
                <a:gd name="connsiteX85" fmla="*/ 942937 w 4331822"/>
                <a:gd name="connsiteY85" fmla="*/ 374348 h 2214138"/>
                <a:gd name="connsiteX86" fmla="*/ 1008736 w 4331822"/>
                <a:gd name="connsiteY86" fmla="*/ 773172 h 2214138"/>
                <a:gd name="connsiteX87" fmla="*/ 953068 w 4331822"/>
                <a:gd name="connsiteY87" fmla="*/ 1150276 h 2214138"/>
                <a:gd name="connsiteX88" fmla="*/ 1166494 w 4331822"/>
                <a:gd name="connsiteY88" fmla="*/ 1393315 h 2214138"/>
                <a:gd name="connsiteX89" fmla="*/ 1386143 w 4331822"/>
                <a:gd name="connsiteY89" fmla="*/ 1164108 h 2214138"/>
                <a:gd name="connsiteX90" fmla="*/ 1324245 w 4331822"/>
                <a:gd name="connsiteY90" fmla="*/ 773172 h 2214138"/>
                <a:gd name="connsiteX91" fmla="*/ 1379018 w 4331822"/>
                <a:gd name="connsiteY91" fmla="*/ 384407 h 2214138"/>
                <a:gd name="connsiteX92" fmla="*/ 1246062 w 4331822"/>
                <a:gd name="connsiteY92" fmla="*/ 181743 h 2214138"/>
                <a:gd name="connsiteX93" fmla="*/ 1159423 w 4331822"/>
                <a:gd name="connsiteY93" fmla="*/ 129535 h 2214138"/>
                <a:gd name="connsiteX94" fmla="*/ 658140 w 4331822"/>
                <a:gd name="connsiteY94" fmla="*/ 129528 h 2214138"/>
                <a:gd name="connsiteX95" fmla="*/ 619408 w 4331822"/>
                <a:gd name="connsiteY95" fmla="*/ 148744 h 2214138"/>
                <a:gd name="connsiteX96" fmla="*/ 389207 w 4331822"/>
                <a:gd name="connsiteY96" fmla="*/ 773165 h 2214138"/>
                <a:gd name="connsiteX97" fmla="*/ 675599 w 4331822"/>
                <a:gd name="connsiteY97" fmla="*/ 1393315 h 2214138"/>
                <a:gd name="connsiteX98" fmla="*/ 895248 w 4331822"/>
                <a:gd name="connsiteY98" fmla="*/ 1164108 h 2214138"/>
                <a:gd name="connsiteX99" fmla="*/ 833350 w 4331822"/>
                <a:gd name="connsiteY99" fmla="*/ 773172 h 2214138"/>
                <a:gd name="connsiteX100" fmla="*/ 888123 w 4331822"/>
                <a:gd name="connsiteY100" fmla="*/ 384407 h 2214138"/>
                <a:gd name="connsiteX101" fmla="*/ 755166 w 4331822"/>
                <a:gd name="connsiteY101" fmla="*/ 181743 h 2214138"/>
                <a:gd name="connsiteX102" fmla="*/ 658140 w 4331822"/>
                <a:gd name="connsiteY102" fmla="*/ 129528 h 2214138"/>
                <a:gd name="connsiteX103" fmla="*/ 1394777 w 4331822"/>
                <a:gd name="connsiteY103" fmla="*/ 84649 h 2214138"/>
                <a:gd name="connsiteX104" fmla="*/ 1242866 w 4331822"/>
                <a:gd name="connsiteY104" fmla="*/ 99839 h 2214138"/>
                <a:gd name="connsiteX105" fmla="*/ 1407246 w 4331822"/>
                <a:gd name="connsiteY105" fmla="*/ 314007 h 2214138"/>
                <a:gd name="connsiteX106" fmla="*/ 1563185 w 4331822"/>
                <a:gd name="connsiteY106" fmla="*/ 104772 h 2214138"/>
                <a:gd name="connsiteX107" fmla="*/ 1430968 w 4331822"/>
                <a:gd name="connsiteY107" fmla="*/ 85018 h 2214138"/>
                <a:gd name="connsiteX108" fmla="*/ 1394777 w 4331822"/>
                <a:gd name="connsiteY108" fmla="*/ 84649 h 2214138"/>
                <a:gd name="connsiteX109" fmla="*/ 3365982 w 4331822"/>
                <a:gd name="connsiteY109" fmla="*/ 81885 h 2214138"/>
                <a:gd name="connsiteX110" fmla="*/ 3206447 w 4331822"/>
                <a:gd name="connsiteY110" fmla="*/ 99839 h 2214138"/>
                <a:gd name="connsiteX111" fmla="*/ 3370827 w 4331822"/>
                <a:gd name="connsiteY111" fmla="*/ 314007 h 2214138"/>
                <a:gd name="connsiteX112" fmla="*/ 3526773 w 4331822"/>
                <a:gd name="connsiteY112" fmla="*/ 104772 h 2214138"/>
                <a:gd name="connsiteX113" fmla="*/ 3365982 w 4331822"/>
                <a:gd name="connsiteY113" fmla="*/ 81885 h 2214138"/>
                <a:gd name="connsiteX114" fmla="*/ 2371204 w 4331822"/>
                <a:gd name="connsiteY114" fmla="*/ 81149 h 2214138"/>
                <a:gd name="connsiteX115" fmla="*/ 2224656 w 4331822"/>
                <a:gd name="connsiteY115" fmla="*/ 99839 h 2214138"/>
                <a:gd name="connsiteX116" fmla="*/ 2389037 w 4331822"/>
                <a:gd name="connsiteY116" fmla="*/ 314007 h 2214138"/>
                <a:gd name="connsiteX117" fmla="*/ 2544976 w 4331822"/>
                <a:gd name="connsiteY117" fmla="*/ 104772 h 2214138"/>
                <a:gd name="connsiteX118" fmla="*/ 2371204 w 4331822"/>
                <a:gd name="connsiteY118" fmla="*/ 81149 h 2214138"/>
                <a:gd name="connsiteX119" fmla="*/ 1895889 w 4331822"/>
                <a:gd name="connsiteY119" fmla="*/ 81149 h 2214138"/>
                <a:gd name="connsiteX120" fmla="*/ 1733761 w 4331822"/>
                <a:gd name="connsiteY120" fmla="*/ 99839 h 2214138"/>
                <a:gd name="connsiteX121" fmla="*/ 1898141 w 4331822"/>
                <a:gd name="connsiteY121" fmla="*/ 314007 h 2214138"/>
                <a:gd name="connsiteX122" fmla="*/ 2054081 w 4331822"/>
                <a:gd name="connsiteY122" fmla="*/ 104772 h 2214138"/>
                <a:gd name="connsiteX123" fmla="*/ 1895889 w 4331822"/>
                <a:gd name="connsiteY123" fmla="*/ 81149 h 2214138"/>
                <a:gd name="connsiteX124" fmla="*/ 2877686 w 4331822"/>
                <a:gd name="connsiteY124" fmla="*/ 80575 h 2214138"/>
                <a:gd name="connsiteX125" fmla="*/ 2715552 w 4331822"/>
                <a:gd name="connsiteY125" fmla="*/ 99839 h 2214138"/>
                <a:gd name="connsiteX126" fmla="*/ 2879932 w 4331822"/>
                <a:gd name="connsiteY126" fmla="*/ 314007 h 2214138"/>
                <a:gd name="connsiteX127" fmla="*/ 3035878 w 4331822"/>
                <a:gd name="connsiteY127" fmla="*/ 104772 h 2214138"/>
                <a:gd name="connsiteX128" fmla="*/ 2877686 w 4331822"/>
                <a:gd name="connsiteY128" fmla="*/ 80575 h 2214138"/>
                <a:gd name="connsiteX129" fmla="*/ 893321 w 4331822"/>
                <a:gd name="connsiteY129" fmla="*/ 77286 h 2214138"/>
                <a:gd name="connsiteX130" fmla="*/ 751970 w 4331822"/>
                <a:gd name="connsiteY130" fmla="*/ 99839 h 2214138"/>
                <a:gd name="connsiteX131" fmla="*/ 916351 w 4331822"/>
                <a:gd name="connsiteY131" fmla="*/ 314007 h 2214138"/>
                <a:gd name="connsiteX132" fmla="*/ 1072290 w 4331822"/>
                <a:gd name="connsiteY132" fmla="*/ 104772 h 2214138"/>
                <a:gd name="connsiteX133" fmla="*/ 893321 w 4331822"/>
                <a:gd name="connsiteY133" fmla="*/ 77286 h 2214138"/>
                <a:gd name="connsiteX134" fmla="*/ 3898116 w 4331822"/>
                <a:gd name="connsiteY134" fmla="*/ 0 h 2214138"/>
                <a:gd name="connsiteX135" fmla="*/ 4331822 w 4331822"/>
                <a:gd name="connsiteY135" fmla="*/ 899881 h 2214138"/>
                <a:gd name="connsiteX136" fmla="*/ 4331822 w 4331822"/>
                <a:gd name="connsiteY136" fmla="*/ 2214138 h 2214138"/>
                <a:gd name="connsiteX137" fmla="*/ 4281422 w 4331822"/>
                <a:gd name="connsiteY137" fmla="*/ 2214138 h 2214138"/>
                <a:gd name="connsiteX138" fmla="*/ 4281422 w 4331822"/>
                <a:gd name="connsiteY138" fmla="*/ 894240 h 2214138"/>
                <a:gd name="connsiteX139" fmla="*/ 3924991 w 4331822"/>
                <a:gd name="connsiteY139" fmla="*/ 65945 h 2214138"/>
                <a:gd name="connsiteX140" fmla="*/ 3684110 w 4331822"/>
                <a:gd name="connsiteY140" fmla="*/ 96509 h 2214138"/>
                <a:gd name="connsiteX141" fmla="*/ 3954115 w 4331822"/>
                <a:gd name="connsiteY141" fmla="*/ 773172 h 2214138"/>
                <a:gd name="connsiteX142" fmla="*/ 3620971 w 4331822"/>
                <a:gd name="connsiteY142" fmla="*/ 1465578 h 2214138"/>
                <a:gd name="connsiteX143" fmla="*/ 3376310 w 4331822"/>
                <a:gd name="connsiteY143" fmla="*/ 1236644 h 2214138"/>
                <a:gd name="connsiteX144" fmla="*/ 3130075 w 4331822"/>
                <a:gd name="connsiteY144" fmla="*/ 1465578 h 2214138"/>
                <a:gd name="connsiteX145" fmla="*/ 2885415 w 4331822"/>
                <a:gd name="connsiteY145" fmla="*/ 1236644 h 2214138"/>
                <a:gd name="connsiteX146" fmla="*/ 2639180 w 4331822"/>
                <a:gd name="connsiteY146" fmla="*/ 1465578 h 2214138"/>
                <a:gd name="connsiteX147" fmla="*/ 2394519 w 4331822"/>
                <a:gd name="connsiteY147" fmla="*/ 1236644 h 2214138"/>
                <a:gd name="connsiteX148" fmla="*/ 2148285 w 4331822"/>
                <a:gd name="connsiteY148" fmla="*/ 1465578 h 2214138"/>
                <a:gd name="connsiteX149" fmla="*/ 1903624 w 4331822"/>
                <a:gd name="connsiteY149" fmla="*/ 1236644 h 2214138"/>
                <a:gd name="connsiteX150" fmla="*/ 1657389 w 4331822"/>
                <a:gd name="connsiteY150" fmla="*/ 1465578 h 2214138"/>
                <a:gd name="connsiteX151" fmla="*/ 1412729 w 4331822"/>
                <a:gd name="connsiteY151" fmla="*/ 1236644 h 2214138"/>
                <a:gd name="connsiteX152" fmla="*/ 1166494 w 4331822"/>
                <a:gd name="connsiteY152" fmla="*/ 1465578 h 2214138"/>
                <a:gd name="connsiteX153" fmla="*/ 921834 w 4331822"/>
                <a:gd name="connsiteY153" fmla="*/ 1236644 h 2214138"/>
                <a:gd name="connsiteX154" fmla="*/ 675599 w 4331822"/>
                <a:gd name="connsiteY154" fmla="*/ 1465578 h 2214138"/>
                <a:gd name="connsiteX155" fmla="*/ 342454 w 4331822"/>
                <a:gd name="connsiteY155" fmla="*/ 773172 h 2214138"/>
                <a:gd name="connsiteX156" fmla="*/ 596805 w 4331822"/>
                <a:gd name="connsiteY156" fmla="*/ 94612 h 2214138"/>
                <a:gd name="connsiteX157" fmla="*/ 395574 w 4331822"/>
                <a:gd name="connsiteY157" fmla="*/ 101586 h 2214138"/>
                <a:gd name="connsiteX158" fmla="*/ 56359 w 4331822"/>
                <a:gd name="connsiteY158" fmla="*/ 887181 h 2214138"/>
                <a:gd name="connsiteX159" fmla="*/ 55480 w 4331822"/>
                <a:gd name="connsiteY159" fmla="*/ 998941 h 2214138"/>
                <a:gd name="connsiteX160" fmla="*/ 50400 w 4331822"/>
                <a:gd name="connsiteY160" fmla="*/ 2214138 h 2214138"/>
                <a:gd name="connsiteX161" fmla="*/ 0 w 4331822"/>
                <a:gd name="connsiteY161" fmla="*/ 2214138 h 2214138"/>
                <a:gd name="connsiteX162" fmla="*/ 0 w 4331822"/>
                <a:gd name="connsiteY162" fmla="*/ 899881 h 2214138"/>
                <a:gd name="connsiteX163" fmla="*/ 0 w 4331822"/>
                <a:gd name="connsiteY163" fmla="*/ 894240 h 2214138"/>
                <a:gd name="connsiteX164" fmla="*/ 408 w 4331822"/>
                <a:gd name="connsiteY164" fmla="*/ 894240 h 2214138"/>
                <a:gd name="connsiteX165" fmla="*/ 333544 w 4331822"/>
                <a:gd name="connsiteY165" fmla="*/ 60326 h 2214138"/>
                <a:gd name="connsiteX166" fmla="*/ 664016 w 4331822"/>
                <a:gd name="connsiteY166" fmla="*/ 52175 h 2214138"/>
                <a:gd name="connsiteX167" fmla="*/ 890905 w 4331822"/>
                <a:gd name="connsiteY167" fmla="*/ 16132 h 2214138"/>
                <a:gd name="connsiteX168" fmla="*/ 1154911 w 4331822"/>
                <a:gd name="connsiteY168" fmla="*/ 52175 h 2214138"/>
                <a:gd name="connsiteX169" fmla="*/ 1389590 w 4331822"/>
                <a:gd name="connsiteY169" fmla="*/ 12263 h 2214138"/>
                <a:gd name="connsiteX170" fmla="*/ 1645806 w 4331822"/>
                <a:gd name="connsiteY170" fmla="*/ 52175 h 2214138"/>
                <a:gd name="connsiteX171" fmla="*/ 1880485 w 4331822"/>
                <a:gd name="connsiteY171" fmla="*/ 16132 h 2214138"/>
                <a:gd name="connsiteX172" fmla="*/ 2136702 w 4331822"/>
                <a:gd name="connsiteY172" fmla="*/ 52175 h 2214138"/>
                <a:gd name="connsiteX173" fmla="*/ 2355801 w 4331822"/>
                <a:gd name="connsiteY173" fmla="*/ 20002 h 2214138"/>
                <a:gd name="connsiteX174" fmla="*/ 2627597 w 4331822"/>
                <a:gd name="connsiteY174" fmla="*/ 52175 h 2214138"/>
                <a:gd name="connsiteX175" fmla="*/ 2869889 w 4331822"/>
                <a:gd name="connsiteY175" fmla="*/ 15600 h 2214138"/>
                <a:gd name="connsiteX176" fmla="*/ 3118492 w 4331822"/>
                <a:gd name="connsiteY176" fmla="*/ 52175 h 2214138"/>
                <a:gd name="connsiteX177" fmla="*/ 3373772 w 4331822"/>
                <a:gd name="connsiteY177" fmla="*/ 15600 h 2214138"/>
                <a:gd name="connsiteX178" fmla="*/ 3637445 w 4331822"/>
                <a:gd name="connsiteY178" fmla="*/ 59906 h 2214138"/>
                <a:gd name="connsiteX179" fmla="*/ 3898116 w 4331822"/>
                <a:gd name="connsiteY179" fmla="*/ 0 h 221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4331822" h="2214138">
                  <a:moveTo>
                    <a:pt x="3371112" y="448119"/>
                  </a:moveTo>
                  <a:cubicBezTo>
                    <a:pt x="3339682" y="554439"/>
                    <a:pt x="3336309" y="663898"/>
                    <a:pt x="3334579" y="773165"/>
                  </a:cubicBezTo>
                  <a:cubicBezTo>
                    <a:pt x="3336974" y="872245"/>
                    <a:pt x="3352018" y="974177"/>
                    <a:pt x="3380985" y="1063588"/>
                  </a:cubicBezTo>
                  <a:cubicBezTo>
                    <a:pt x="3404104" y="976921"/>
                    <a:pt x="3416474" y="877554"/>
                    <a:pt x="3416474" y="773165"/>
                  </a:cubicBezTo>
                  <a:cubicBezTo>
                    <a:pt x="3421183" y="668661"/>
                    <a:pt x="3406167" y="553620"/>
                    <a:pt x="3371112" y="448119"/>
                  </a:cubicBezTo>
                  <a:close/>
                  <a:moveTo>
                    <a:pt x="2880217" y="448119"/>
                  </a:moveTo>
                  <a:cubicBezTo>
                    <a:pt x="2848786" y="554439"/>
                    <a:pt x="2845414" y="663898"/>
                    <a:pt x="2843683" y="773165"/>
                  </a:cubicBezTo>
                  <a:cubicBezTo>
                    <a:pt x="2846079" y="872245"/>
                    <a:pt x="2861122" y="974177"/>
                    <a:pt x="2890090" y="1063588"/>
                  </a:cubicBezTo>
                  <a:cubicBezTo>
                    <a:pt x="2913208" y="976921"/>
                    <a:pt x="2925579" y="877554"/>
                    <a:pt x="2925579" y="773165"/>
                  </a:cubicBezTo>
                  <a:cubicBezTo>
                    <a:pt x="2930288" y="668661"/>
                    <a:pt x="2915271" y="553620"/>
                    <a:pt x="2880217" y="448119"/>
                  </a:cubicBezTo>
                  <a:close/>
                  <a:moveTo>
                    <a:pt x="2389322" y="448119"/>
                  </a:moveTo>
                  <a:cubicBezTo>
                    <a:pt x="2357891" y="554439"/>
                    <a:pt x="2354518" y="663898"/>
                    <a:pt x="2352788" y="773165"/>
                  </a:cubicBezTo>
                  <a:cubicBezTo>
                    <a:pt x="2355183" y="872245"/>
                    <a:pt x="2370227" y="974177"/>
                    <a:pt x="2399195" y="1063588"/>
                  </a:cubicBezTo>
                  <a:cubicBezTo>
                    <a:pt x="2422313" y="976921"/>
                    <a:pt x="2434683" y="877554"/>
                    <a:pt x="2434683" y="773165"/>
                  </a:cubicBezTo>
                  <a:cubicBezTo>
                    <a:pt x="2439392" y="668661"/>
                    <a:pt x="2424376" y="553620"/>
                    <a:pt x="2389322" y="448119"/>
                  </a:cubicBezTo>
                  <a:close/>
                  <a:moveTo>
                    <a:pt x="1898426" y="448119"/>
                  </a:moveTo>
                  <a:cubicBezTo>
                    <a:pt x="1866996" y="554439"/>
                    <a:pt x="1863623" y="663898"/>
                    <a:pt x="1861893" y="773165"/>
                  </a:cubicBezTo>
                  <a:cubicBezTo>
                    <a:pt x="1864288" y="872245"/>
                    <a:pt x="1879332" y="974177"/>
                    <a:pt x="1908299" y="1063581"/>
                  </a:cubicBezTo>
                  <a:cubicBezTo>
                    <a:pt x="1931418" y="976921"/>
                    <a:pt x="1943788" y="877554"/>
                    <a:pt x="1943788" y="773165"/>
                  </a:cubicBezTo>
                  <a:cubicBezTo>
                    <a:pt x="1948497" y="668661"/>
                    <a:pt x="1933481" y="553620"/>
                    <a:pt x="1898426" y="448119"/>
                  </a:cubicBezTo>
                  <a:close/>
                  <a:moveTo>
                    <a:pt x="1407531" y="448119"/>
                  </a:moveTo>
                  <a:cubicBezTo>
                    <a:pt x="1376100" y="554439"/>
                    <a:pt x="1372728" y="663898"/>
                    <a:pt x="1370998" y="773165"/>
                  </a:cubicBezTo>
                  <a:cubicBezTo>
                    <a:pt x="1373393" y="872245"/>
                    <a:pt x="1388437" y="974177"/>
                    <a:pt x="1417404" y="1063588"/>
                  </a:cubicBezTo>
                  <a:cubicBezTo>
                    <a:pt x="1440523" y="976921"/>
                    <a:pt x="1452893" y="877554"/>
                    <a:pt x="1452893" y="773165"/>
                  </a:cubicBezTo>
                  <a:cubicBezTo>
                    <a:pt x="1457602" y="668661"/>
                    <a:pt x="1442585" y="553620"/>
                    <a:pt x="1407531" y="448119"/>
                  </a:cubicBezTo>
                  <a:close/>
                  <a:moveTo>
                    <a:pt x="916636" y="448119"/>
                  </a:moveTo>
                  <a:cubicBezTo>
                    <a:pt x="885205" y="554439"/>
                    <a:pt x="881833" y="663898"/>
                    <a:pt x="880102" y="773165"/>
                  </a:cubicBezTo>
                  <a:cubicBezTo>
                    <a:pt x="882498" y="872245"/>
                    <a:pt x="897541" y="974177"/>
                    <a:pt x="926509" y="1063588"/>
                  </a:cubicBezTo>
                  <a:cubicBezTo>
                    <a:pt x="949627" y="976921"/>
                    <a:pt x="961997" y="877554"/>
                    <a:pt x="961997" y="773165"/>
                  </a:cubicBezTo>
                  <a:cubicBezTo>
                    <a:pt x="966707" y="668661"/>
                    <a:pt x="951690" y="553620"/>
                    <a:pt x="916636" y="448119"/>
                  </a:cubicBezTo>
                  <a:close/>
                  <a:moveTo>
                    <a:pt x="3608185" y="125725"/>
                  </a:moveTo>
                  <a:cubicBezTo>
                    <a:pt x="3591811" y="132128"/>
                    <a:pt x="3590678" y="129006"/>
                    <a:pt x="3564779" y="148744"/>
                  </a:cubicBezTo>
                  <a:cubicBezTo>
                    <a:pt x="3483346" y="221048"/>
                    <a:pt x="3431097" y="296674"/>
                    <a:pt x="3397420" y="374348"/>
                  </a:cubicBezTo>
                  <a:cubicBezTo>
                    <a:pt x="3439355" y="484387"/>
                    <a:pt x="3462487" y="620185"/>
                    <a:pt x="3463220" y="773172"/>
                  </a:cubicBezTo>
                  <a:cubicBezTo>
                    <a:pt x="3465920" y="897090"/>
                    <a:pt x="3446296" y="1032779"/>
                    <a:pt x="3407544" y="1150276"/>
                  </a:cubicBezTo>
                  <a:cubicBezTo>
                    <a:pt x="3456231" y="1293048"/>
                    <a:pt x="3532840" y="1393315"/>
                    <a:pt x="3620977" y="1393315"/>
                  </a:cubicBezTo>
                  <a:cubicBezTo>
                    <a:pt x="3779149" y="1393315"/>
                    <a:pt x="3907369" y="1109252"/>
                    <a:pt x="3907369" y="773165"/>
                  </a:cubicBezTo>
                  <a:cubicBezTo>
                    <a:pt x="3886958" y="535490"/>
                    <a:pt x="3848152" y="316088"/>
                    <a:pt x="3700538" y="181743"/>
                  </a:cubicBezTo>
                  <a:cubicBezTo>
                    <a:pt x="3658671" y="144998"/>
                    <a:pt x="3629275" y="135388"/>
                    <a:pt x="3608185" y="125725"/>
                  </a:cubicBezTo>
                  <a:close/>
                  <a:moveTo>
                    <a:pt x="3123005" y="129535"/>
                  </a:moveTo>
                  <a:lnTo>
                    <a:pt x="3073884" y="148744"/>
                  </a:lnTo>
                  <a:cubicBezTo>
                    <a:pt x="2992450" y="221048"/>
                    <a:pt x="2940195" y="296674"/>
                    <a:pt x="2906525" y="374348"/>
                  </a:cubicBezTo>
                  <a:cubicBezTo>
                    <a:pt x="2948459" y="484387"/>
                    <a:pt x="2971591" y="620185"/>
                    <a:pt x="2972324" y="773172"/>
                  </a:cubicBezTo>
                  <a:cubicBezTo>
                    <a:pt x="2975025" y="897090"/>
                    <a:pt x="2955401" y="1032779"/>
                    <a:pt x="2916649" y="1150276"/>
                  </a:cubicBezTo>
                  <a:cubicBezTo>
                    <a:pt x="2965335" y="1293048"/>
                    <a:pt x="3041944" y="1393315"/>
                    <a:pt x="3130082" y="1393315"/>
                  </a:cubicBezTo>
                  <a:cubicBezTo>
                    <a:pt x="3219007" y="1393315"/>
                    <a:pt x="3298473" y="1303522"/>
                    <a:pt x="3349724" y="1164108"/>
                  </a:cubicBezTo>
                  <a:cubicBezTo>
                    <a:pt x="3306677" y="1041009"/>
                    <a:pt x="3285309" y="897418"/>
                    <a:pt x="3287833" y="773172"/>
                  </a:cubicBezTo>
                  <a:cubicBezTo>
                    <a:pt x="3291151" y="644430"/>
                    <a:pt x="3298405" y="510024"/>
                    <a:pt x="3342599" y="384407"/>
                  </a:cubicBezTo>
                  <a:cubicBezTo>
                    <a:pt x="3312404" y="303478"/>
                    <a:pt x="3266988" y="233931"/>
                    <a:pt x="3209643" y="181743"/>
                  </a:cubicBezTo>
                  <a:cubicBezTo>
                    <a:pt x="3167776" y="144998"/>
                    <a:pt x="3144094" y="139198"/>
                    <a:pt x="3123005" y="129535"/>
                  </a:cubicBezTo>
                  <a:close/>
                  <a:moveTo>
                    <a:pt x="2632109" y="129535"/>
                  </a:moveTo>
                  <a:lnTo>
                    <a:pt x="2582989" y="148744"/>
                  </a:lnTo>
                  <a:cubicBezTo>
                    <a:pt x="2501555" y="221048"/>
                    <a:pt x="2449299" y="296674"/>
                    <a:pt x="2415629" y="374348"/>
                  </a:cubicBezTo>
                  <a:cubicBezTo>
                    <a:pt x="2457557" y="484387"/>
                    <a:pt x="2480696" y="620185"/>
                    <a:pt x="2481429" y="773172"/>
                  </a:cubicBezTo>
                  <a:cubicBezTo>
                    <a:pt x="2484130" y="897090"/>
                    <a:pt x="2464506" y="1032779"/>
                    <a:pt x="2425753" y="1150276"/>
                  </a:cubicBezTo>
                  <a:cubicBezTo>
                    <a:pt x="2474440" y="1293048"/>
                    <a:pt x="2551049" y="1393315"/>
                    <a:pt x="2639187" y="1393315"/>
                  </a:cubicBezTo>
                  <a:cubicBezTo>
                    <a:pt x="2728112" y="1393315"/>
                    <a:pt x="2807571" y="1303522"/>
                    <a:pt x="2858829" y="1164108"/>
                  </a:cubicBezTo>
                  <a:cubicBezTo>
                    <a:pt x="2815774" y="1041009"/>
                    <a:pt x="2794413" y="897418"/>
                    <a:pt x="2796938" y="773172"/>
                  </a:cubicBezTo>
                  <a:cubicBezTo>
                    <a:pt x="2800256" y="644430"/>
                    <a:pt x="2807510" y="510024"/>
                    <a:pt x="2851704" y="384407"/>
                  </a:cubicBezTo>
                  <a:cubicBezTo>
                    <a:pt x="2821508" y="303478"/>
                    <a:pt x="2776092" y="233931"/>
                    <a:pt x="2718748" y="181743"/>
                  </a:cubicBezTo>
                  <a:cubicBezTo>
                    <a:pt x="2676881" y="144998"/>
                    <a:pt x="2653199" y="139198"/>
                    <a:pt x="2632109" y="129535"/>
                  </a:cubicBezTo>
                  <a:close/>
                  <a:moveTo>
                    <a:pt x="2141214" y="129535"/>
                  </a:moveTo>
                  <a:lnTo>
                    <a:pt x="2092093" y="148744"/>
                  </a:lnTo>
                  <a:cubicBezTo>
                    <a:pt x="2010660" y="221048"/>
                    <a:pt x="1958404" y="296674"/>
                    <a:pt x="1924734" y="374348"/>
                  </a:cubicBezTo>
                  <a:cubicBezTo>
                    <a:pt x="1966662" y="484387"/>
                    <a:pt x="1989801" y="620185"/>
                    <a:pt x="1990534" y="773172"/>
                  </a:cubicBezTo>
                  <a:cubicBezTo>
                    <a:pt x="1993234" y="897090"/>
                    <a:pt x="1973611" y="1032779"/>
                    <a:pt x="1934858" y="1150276"/>
                  </a:cubicBezTo>
                  <a:cubicBezTo>
                    <a:pt x="1983545" y="1293048"/>
                    <a:pt x="2060154" y="1393315"/>
                    <a:pt x="2148291" y="1393315"/>
                  </a:cubicBezTo>
                  <a:cubicBezTo>
                    <a:pt x="2237216" y="1393315"/>
                    <a:pt x="2316675" y="1303522"/>
                    <a:pt x="2367934" y="1164108"/>
                  </a:cubicBezTo>
                  <a:cubicBezTo>
                    <a:pt x="2324879" y="1041009"/>
                    <a:pt x="2303518" y="897418"/>
                    <a:pt x="2306036" y="773172"/>
                  </a:cubicBezTo>
                  <a:cubicBezTo>
                    <a:pt x="2309361" y="644430"/>
                    <a:pt x="2316614" y="510024"/>
                    <a:pt x="2360809" y="384407"/>
                  </a:cubicBezTo>
                  <a:cubicBezTo>
                    <a:pt x="2330613" y="303478"/>
                    <a:pt x="2285197" y="233931"/>
                    <a:pt x="2227852" y="181743"/>
                  </a:cubicBezTo>
                  <a:cubicBezTo>
                    <a:pt x="2185985" y="144998"/>
                    <a:pt x="2162304" y="139198"/>
                    <a:pt x="2141214" y="129535"/>
                  </a:cubicBezTo>
                  <a:close/>
                  <a:moveTo>
                    <a:pt x="1650319" y="129535"/>
                  </a:moveTo>
                  <a:lnTo>
                    <a:pt x="1601198" y="148744"/>
                  </a:lnTo>
                  <a:cubicBezTo>
                    <a:pt x="1519764" y="221048"/>
                    <a:pt x="1467509" y="296674"/>
                    <a:pt x="1433839" y="374348"/>
                  </a:cubicBezTo>
                  <a:cubicBezTo>
                    <a:pt x="1475767" y="484387"/>
                    <a:pt x="1498906" y="620185"/>
                    <a:pt x="1499638" y="773172"/>
                  </a:cubicBezTo>
                  <a:cubicBezTo>
                    <a:pt x="1502339" y="897090"/>
                    <a:pt x="1482715" y="1032779"/>
                    <a:pt x="1443963" y="1150276"/>
                  </a:cubicBezTo>
                  <a:cubicBezTo>
                    <a:pt x="1492649" y="1293048"/>
                    <a:pt x="1569258" y="1393315"/>
                    <a:pt x="1657396" y="1393315"/>
                  </a:cubicBezTo>
                  <a:cubicBezTo>
                    <a:pt x="1746321" y="1393315"/>
                    <a:pt x="1825780" y="1303522"/>
                    <a:pt x="1877038" y="1164108"/>
                  </a:cubicBezTo>
                  <a:cubicBezTo>
                    <a:pt x="1833984" y="1041009"/>
                    <a:pt x="1812616" y="897418"/>
                    <a:pt x="1815140" y="773172"/>
                  </a:cubicBezTo>
                  <a:cubicBezTo>
                    <a:pt x="1818458" y="644430"/>
                    <a:pt x="1825719" y="510024"/>
                    <a:pt x="1869913" y="384407"/>
                  </a:cubicBezTo>
                  <a:cubicBezTo>
                    <a:pt x="1839718" y="303478"/>
                    <a:pt x="1794302" y="233931"/>
                    <a:pt x="1736957" y="181743"/>
                  </a:cubicBezTo>
                  <a:cubicBezTo>
                    <a:pt x="1695090" y="144998"/>
                    <a:pt x="1671408" y="139198"/>
                    <a:pt x="1650319" y="129535"/>
                  </a:cubicBezTo>
                  <a:close/>
                  <a:moveTo>
                    <a:pt x="1159423" y="129535"/>
                  </a:moveTo>
                  <a:lnTo>
                    <a:pt x="1110303" y="148744"/>
                  </a:lnTo>
                  <a:cubicBezTo>
                    <a:pt x="1028869" y="221048"/>
                    <a:pt x="976614" y="296674"/>
                    <a:pt x="942937" y="374348"/>
                  </a:cubicBezTo>
                  <a:cubicBezTo>
                    <a:pt x="984872" y="484387"/>
                    <a:pt x="1008010" y="620185"/>
                    <a:pt x="1008736" y="773172"/>
                  </a:cubicBezTo>
                  <a:cubicBezTo>
                    <a:pt x="1011444" y="897090"/>
                    <a:pt x="991820" y="1032779"/>
                    <a:pt x="953068" y="1150276"/>
                  </a:cubicBezTo>
                  <a:cubicBezTo>
                    <a:pt x="1001747" y="1293048"/>
                    <a:pt x="1078363" y="1393315"/>
                    <a:pt x="1166494" y="1393315"/>
                  </a:cubicBezTo>
                  <a:cubicBezTo>
                    <a:pt x="1255426" y="1393315"/>
                    <a:pt x="1334885" y="1303522"/>
                    <a:pt x="1386143" y="1164108"/>
                  </a:cubicBezTo>
                  <a:cubicBezTo>
                    <a:pt x="1343089" y="1041009"/>
                    <a:pt x="1321721" y="897418"/>
                    <a:pt x="1324245" y="773172"/>
                  </a:cubicBezTo>
                  <a:cubicBezTo>
                    <a:pt x="1327563" y="644430"/>
                    <a:pt x="1334824" y="510024"/>
                    <a:pt x="1379018" y="384407"/>
                  </a:cubicBezTo>
                  <a:cubicBezTo>
                    <a:pt x="1348822" y="303478"/>
                    <a:pt x="1303400" y="233931"/>
                    <a:pt x="1246062" y="181743"/>
                  </a:cubicBezTo>
                  <a:cubicBezTo>
                    <a:pt x="1204195" y="144998"/>
                    <a:pt x="1180506" y="139198"/>
                    <a:pt x="1159423" y="129535"/>
                  </a:cubicBezTo>
                  <a:close/>
                  <a:moveTo>
                    <a:pt x="658140" y="129528"/>
                  </a:moveTo>
                  <a:cubicBezTo>
                    <a:pt x="634838" y="139805"/>
                    <a:pt x="632314" y="142343"/>
                    <a:pt x="619408" y="148744"/>
                  </a:cubicBezTo>
                  <a:cubicBezTo>
                    <a:pt x="402412" y="341411"/>
                    <a:pt x="392620" y="557660"/>
                    <a:pt x="389207" y="773165"/>
                  </a:cubicBezTo>
                  <a:cubicBezTo>
                    <a:pt x="396379" y="1070398"/>
                    <a:pt x="517427" y="1393315"/>
                    <a:pt x="675599" y="1393315"/>
                  </a:cubicBezTo>
                  <a:cubicBezTo>
                    <a:pt x="764531" y="1393315"/>
                    <a:pt x="843990" y="1303522"/>
                    <a:pt x="895248" y="1164108"/>
                  </a:cubicBezTo>
                  <a:cubicBezTo>
                    <a:pt x="852193" y="1041009"/>
                    <a:pt x="830826" y="897418"/>
                    <a:pt x="833350" y="773172"/>
                  </a:cubicBezTo>
                  <a:cubicBezTo>
                    <a:pt x="836668" y="644430"/>
                    <a:pt x="843928" y="510024"/>
                    <a:pt x="888123" y="384407"/>
                  </a:cubicBezTo>
                  <a:cubicBezTo>
                    <a:pt x="857927" y="303478"/>
                    <a:pt x="812505" y="233931"/>
                    <a:pt x="755166" y="181743"/>
                  </a:cubicBezTo>
                  <a:cubicBezTo>
                    <a:pt x="713299" y="144998"/>
                    <a:pt x="679222" y="139198"/>
                    <a:pt x="658140" y="129528"/>
                  </a:cubicBezTo>
                  <a:close/>
                  <a:moveTo>
                    <a:pt x="1394777" y="84649"/>
                  </a:moveTo>
                  <a:cubicBezTo>
                    <a:pt x="1318783" y="85268"/>
                    <a:pt x="1297727" y="95516"/>
                    <a:pt x="1242866" y="99839"/>
                  </a:cubicBezTo>
                  <a:cubicBezTo>
                    <a:pt x="1309683" y="144036"/>
                    <a:pt x="1366919" y="216326"/>
                    <a:pt x="1407246" y="314007"/>
                  </a:cubicBezTo>
                  <a:cubicBezTo>
                    <a:pt x="1441018" y="238755"/>
                    <a:pt x="1491007" y="168369"/>
                    <a:pt x="1563185" y="104772"/>
                  </a:cubicBezTo>
                  <a:cubicBezTo>
                    <a:pt x="1513922" y="92967"/>
                    <a:pt x="1483835" y="88498"/>
                    <a:pt x="1430968" y="85018"/>
                  </a:cubicBezTo>
                  <a:cubicBezTo>
                    <a:pt x="1417611" y="84668"/>
                    <a:pt x="1405634" y="84560"/>
                    <a:pt x="1394777" y="84649"/>
                  </a:cubicBezTo>
                  <a:close/>
                  <a:moveTo>
                    <a:pt x="3365982" y="81885"/>
                  </a:moveTo>
                  <a:cubicBezTo>
                    <a:pt x="3268983" y="83748"/>
                    <a:pt x="3267463" y="85898"/>
                    <a:pt x="3206447" y="99839"/>
                  </a:cubicBezTo>
                  <a:cubicBezTo>
                    <a:pt x="3273264" y="144036"/>
                    <a:pt x="3330501" y="216326"/>
                    <a:pt x="3370827" y="314007"/>
                  </a:cubicBezTo>
                  <a:cubicBezTo>
                    <a:pt x="3404599" y="238755"/>
                    <a:pt x="3454588" y="168369"/>
                    <a:pt x="3526773" y="104772"/>
                  </a:cubicBezTo>
                  <a:cubicBezTo>
                    <a:pt x="3468818" y="93165"/>
                    <a:pt x="3419371" y="82711"/>
                    <a:pt x="3365982" y="81885"/>
                  </a:cubicBezTo>
                  <a:close/>
                  <a:moveTo>
                    <a:pt x="2371204" y="81149"/>
                  </a:moveTo>
                  <a:lnTo>
                    <a:pt x="2224656" y="99839"/>
                  </a:lnTo>
                  <a:cubicBezTo>
                    <a:pt x="2291474" y="144036"/>
                    <a:pt x="2348710" y="216326"/>
                    <a:pt x="2389037" y="314007"/>
                  </a:cubicBezTo>
                  <a:cubicBezTo>
                    <a:pt x="2422808" y="238755"/>
                    <a:pt x="2472798" y="168369"/>
                    <a:pt x="2544976" y="104772"/>
                  </a:cubicBezTo>
                  <a:cubicBezTo>
                    <a:pt x="2495713" y="92967"/>
                    <a:pt x="2424064" y="84629"/>
                    <a:pt x="2371204" y="81149"/>
                  </a:cubicBezTo>
                  <a:close/>
                  <a:moveTo>
                    <a:pt x="1895889" y="81149"/>
                  </a:moveTo>
                  <a:cubicBezTo>
                    <a:pt x="1794227" y="82220"/>
                    <a:pt x="1796460" y="94898"/>
                    <a:pt x="1733761" y="99839"/>
                  </a:cubicBezTo>
                  <a:cubicBezTo>
                    <a:pt x="1800578" y="144036"/>
                    <a:pt x="1857815" y="216326"/>
                    <a:pt x="1898141" y="314007"/>
                  </a:cubicBezTo>
                  <a:cubicBezTo>
                    <a:pt x="1931913" y="238755"/>
                    <a:pt x="1981903" y="168369"/>
                    <a:pt x="2054081" y="104772"/>
                  </a:cubicBezTo>
                  <a:cubicBezTo>
                    <a:pt x="2004817" y="92967"/>
                    <a:pt x="1948755" y="84629"/>
                    <a:pt x="1895889" y="81149"/>
                  </a:cubicBezTo>
                  <a:close/>
                  <a:moveTo>
                    <a:pt x="2877686" y="80575"/>
                  </a:moveTo>
                  <a:lnTo>
                    <a:pt x="2715552" y="99839"/>
                  </a:lnTo>
                  <a:cubicBezTo>
                    <a:pt x="2782369" y="144036"/>
                    <a:pt x="2839605" y="216326"/>
                    <a:pt x="2879932" y="314007"/>
                  </a:cubicBezTo>
                  <a:cubicBezTo>
                    <a:pt x="2913704" y="238755"/>
                    <a:pt x="2963693" y="168369"/>
                    <a:pt x="3035878" y="104772"/>
                  </a:cubicBezTo>
                  <a:cubicBezTo>
                    <a:pt x="2986608" y="92967"/>
                    <a:pt x="2930546" y="83018"/>
                    <a:pt x="2877686" y="80575"/>
                  </a:cubicBezTo>
                  <a:close/>
                  <a:moveTo>
                    <a:pt x="893321" y="77286"/>
                  </a:moveTo>
                  <a:lnTo>
                    <a:pt x="751970" y="99839"/>
                  </a:lnTo>
                  <a:cubicBezTo>
                    <a:pt x="818781" y="144036"/>
                    <a:pt x="876024" y="216326"/>
                    <a:pt x="916351" y="314007"/>
                  </a:cubicBezTo>
                  <a:cubicBezTo>
                    <a:pt x="950123" y="238755"/>
                    <a:pt x="1000112" y="168369"/>
                    <a:pt x="1072290" y="104772"/>
                  </a:cubicBezTo>
                  <a:cubicBezTo>
                    <a:pt x="1023027" y="92967"/>
                    <a:pt x="946180" y="80766"/>
                    <a:pt x="893321" y="77286"/>
                  </a:cubicBezTo>
                  <a:close/>
                  <a:moveTo>
                    <a:pt x="3898116" y="0"/>
                  </a:moveTo>
                  <a:cubicBezTo>
                    <a:pt x="3952125" y="3835"/>
                    <a:pt x="4320498" y="26033"/>
                    <a:pt x="4331822" y="899881"/>
                  </a:cubicBezTo>
                  <a:lnTo>
                    <a:pt x="4331822" y="2214138"/>
                  </a:lnTo>
                  <a:lnTo>
                    <a:pt x="4281422" y="2214138"/>
                  </a:lnTo>
                  <a:lnTo>
                    <a:pt x="4281422" y="894240"/>
                  </a:lnTo>
                  <a:cubicBezTo>
                    <a:pt x="4271197" y="663862"/>
                    <a:pt x="4232396" y="142018"/>
                    <a:pt x="3924991" y="65945"/>
                  </a:cubicBezTo>
                  <a:cubicBezTo>
                    <a:pt x="3836155" y="53014"/>
                    <a:pt x="3773965" y="78010"/>
                    <a:pt x="3684110" y="96509"/>
                  </a:cubicBezTo>
                  <a:cubicBezTo>
                    <a:pt x="3836684" y="197438"/>
                    <a:pt x="3952561" y="448194"/>
                    <a:pt x="3954115" y="773172"/>
                  </a:cubicBezTo>
                  <a:cubicBezTo>
                    <a:pt x="3960867" y="1082681"/>
                    <a:pt x="3828338" y="1465578"/>
                    <a:pt x="3620971" y="1465578"/>
                  </a:cubicBezTo>
                  <a:cubicBezTo>
                    <a:pt x="3516778" y="1465578"/>
                    <a:pt x="3433248" y="1369494"/>
                    <a:pt x="3376310" y="1236644"/>
                  </a:cubicBezTo>
                  <a:cubicBezTo>
                    <a:pt x="3318192" y="1370463"/>
                    <a:pt x="3233433" y="1465578"/>
                    <a:pt x="3130075" y="1465578"/>
                  </a:cubicBezTo>
                  <a:cubicBezTo>
                    <a:pt x="3025883" y="1465578"/>
                    <a:pt x="2942352" y="1369494"/>
                    <a:pt x="2885415" y="1236644"/>
                  </a:cubicBezTo>
                  <a:cubicBezTo>
                    <a:pt x="2827296" y="1370463"/>
                    <a:pt x="2742538" y="1465578"/>
                    <a:pt x="2639180" y="1465578"/>
                  </a:cubicBezTo>
                  <a:cubicBezTo>
                    <a:pt x="2534981" y="1465578"/>
                    <a:pt x="2451457" y="1369494"/>
                    <a:pt x="2394519" y="1236644"/>
                  </a:cubicBezTo>
                  <a:cubicBezTo>
                    <a:pt x="2336401" y="1370463"/>
                    <a:pt x="2251636" y="1465578"/>
                    <a:pt x="2148285" y="1465578"/>
                  </a:cubicBezTo>
                  <a:cubicBezTo>
                    <a:pt x="2044085" y="1465578"/>
                    <a:pt x="1960562" y="1369494"/>
                    <a:pt x="1903624" y="1236644"/>
                  </a:cubicBezTo>
                  <a:cubicBezTo>
                    <a:pt x="1845506" y="1370463"/>
                    <a:pt x="1760740" y="1465578"/>
                    <a:pt x="1657389" y="1465578"/>
                  </a:cubicBezTo>
                  <a:cubicBezTo>
                    <a:pt x="1553190" y="1465578"/>
                    <a:pt x="1469667" y="1369494"/>
                    <a:pt x="1412729" y="1236644"/>
                  </a:cubicBezTo>
                  <a:cubicBezTo>
                    <a:pt x="1354610" y="1370463"/>
                    <a:pt x="1269845" y="1465578"/>
                    <a:pt x="1166494" y="1465578"/>
                  </a:cubicBezTo>
                  <a:cubicBezTo>
                    <a:pt x="1062295" y="1465578"/>
                    <a:pt x="978771" y="1369494"/>
                    <a:pt x="921834" y="1236644"/>
                  </a:cubicBezTo>
                  <a:cubicBezTo>
                    <a:pt x="863715" y="1370463"/>
                    <a:pt x="778950" y="1465578"/>
                    <a:pt x="675599" y="1465578"/>
                  </a:cubicBezTo>
                  <a:cubicBezTo>
                    <a:pt x="463041" y="1465578"/>
                    <a:pt x="355586" y="1001666"/>
                    <a:pt x="342454" y="773172"/>
                  </a:cubicBezTo>
                  <a:cubicBezTo>
                    <a:pt x="329322" y="544678"/>
                    <a:pt x="382408" y="283512"/>
                    <a:pt x="596805" y="94612"/>
                  </a:cubicBezTo>
                  <a:cubicBezTo>
                    <a:pt x="525224" y="83810"/>
                    <a:pt x="480518" y="67662"/>
                    <a:pt x="395574" y="101586"/>
                  </a:cubicBezTo>
                  <a:cubicBezTo>
                    <a:pt x="230077" y="185821"/>
                    <a:pt x="100274" y="389000"/>
                    <a:pt x="56359" y="887181"/>
                  </a:cubicBezTo>
                  <a:cubicBezTo>
                    <a:pt x="57759" y="908348"/>
                    <a:pt x="56620" y="924434"/>
                    <a:pt x="55480" y="998941"/>
                  </a:cubicBezTo>
                  <a:cubicBezTo>
                    <a:pt x="53787" y="1415860"/>
                    <a:pt x="52093" y="1797219"/>
                    <a:pt x="50400" y="2214138"/>
                  </a:cubicBezTo>
                  <a:lnTo>
                    <a:pt x="0" y="2214138"/>
                  </a:lnTo>
                  <a:lnTo>
                    <a:pt x="0" y="899881"/>
                  </a:lnTo>
                  <a:lnTo>
                    <a:pt x="0" y="894240"/>
                  </a:lnTo>
                  <a:lnTo>
                    <a:pt x="408" y="894240"/>
                  </a:lnTo>
                  <a:cubicBezTo>
                    <a:pt x="14426" y="432884"/>
                    <a:pt x="192357" y="141767"/>
                    <a:pt x="333544" y="60326"/>
                  </a:cubicBezTo>
                  <a:cubicBezTo>
                    <a:pt x="449371" y="8112"/>
                    <a:pt x="563827" y="20097"/>
                    <a:pt x="664016" y="52175"/>
                  </a:cubicBezTo>
                  <a:cubicBezTo>
                    <a:pt x="725697" y="24478"/>
                    <a:pt x="799374" y="17279"/>
                    <a:pt x="890905" y="16132"/>
                  </a:cubicBezTo>
                  <a:cubicBezTo>
                    <a:pt x="988427" y="15252"/>
                    <a:pt x="1065179" y="37579"/>
                    <a:pt x="1154911" y="52175"/>
                  </a:cubicBezTo>
                  <a:cubicBezTo>
                    <a:pt x="1216592" y="24478"/>
                    <a:pt x="1298059" y="13410"/>
                    <a:pt x="1389590" y="12263"/>
                  </a:cubicBezTo>
                  <a:cubicBezTo>
                    <a:pt x="1492310" y="11383"/>
                    <a:pt x="1556074" y="37579"/>
                    <a:pt x="1645806" y="52175"/>
                  </a:cubicBezTo>
                  <a:cubicBezTo>
                    <a:pt x="1707487" y="24478"/>
                    <a:pt x="1788955" y="17279"/>
                    <a:pt x="1880485" y="16132"/>
                  </a:cubicBezTo>
                  <a:cubicBezTo>
                    <a:pt x="1978014" y="11383"/>
                    <a:pt x="2046969" y="37579"/>
                    <a:pt x="2136702" y="52175"/>
                  </a:cubicBezTo>
                  <a:cubicBezTo>
                    <a:pt x="2198389" y="24478"/>
                    <a:pt x="2264264" y="21148"/>
                    <a:pt x="2355801" y="20002"/>
                  </a:cubicBezTo>
                  <a:cubicBezTo>
                    <a:pt x="2450724" y="19121"/>
                    <a:pt x="2537865" y="37579"/>
                    <a:pt x="2627597" y="52175"/>
                  </a:cubicBezTo>
                  <a:cubicBezTo>
                    <a:pt x="2700922" y="19258"/>
                    <a:pt x="2776052" y="12100"/>
                    <a:pt x="2869889" y="15600"/>
                  </a:cubicBezTo>
                  <a:cubicBezTo>
                    <a:pt x="2990666" y="15600"/>
                    <a:pt x="3036679" y="52175"/>
                    <a:pt x="3118492" y="52175"/>
                  </a:cubicBezTo>
                  <a:cubicBezTo>
                    <a:pt x="3191817" y="19258"/>
                    <a:pt x="3287280" y="14312"/>
                    <a:pt x="3373772" y="15600"/>
                  </a:cubicBezTo>
                  <a:cubicBezTo>
                    <a:pt x="3460264" y="16888"/>
                    <a:pt x="3565830" y="45140"/>
                    <a:pt x="3637445" y="59906"/>
                  </a:cubicBezTo>
                  <a:cubicBezTo>
                    <a:pt x="3740076" y="19206"/>
                    <a:pt x="3782387" y="10499"/>
                    <a:pt x="3898116" y="0"/>
                  </a:cubicBezTo>
                  <a:close/>
                </a:path>
              </a:pathLst>
            </a:cu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BBvoice"/>
                <a:ea typeface="ABBvoice"/>
                <a:cs typeface="ABBvoice"/>
              </a:endParaRPr>
            </a:p>
          </p:txBody>
        </p:sp>
      </p:grpSp>
      <p:sp>
        <p:nvSpPr>
          <p:cNvPr id="21" name="AutoShape 6">
            <a:hlinkClick r:id="rId4" action="ppaction://hlinksldjump" highlightClick="1"/>
            <a:extLst>
              <a:ext uri="{FF2B5EF4-FFF2-40B4-BE49-F238E27FC236}">
                <a16:creationId xmlns:a16="http://schemas.microsoft.com/office/drawing/2014/main" id="{773FEDD3-A800-40C3-8DC1-322AE2D1C5A1}"/>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pic>
        <p:nvPicPr>
          <p:cNvPr id="22" name="Content Placeholder 10">
            <a:extLst>
              <a:ext uri="{FF2B5EF4-FFF2-40B4-BE49-F238E27FC236}">
                <a16:creationId xmlns:a16="http://schemas.microsoft.com/office/drawing/2014/main" id="{EEC9FA11-A952-4792-BCDB-1F2F6DE9FBB4}"/>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0262108" y="5448787"/>
            <a:ext cx="407558" cy="324000"/>
          </a:xfrm>
          <a:prstGeom prst="rect">
            <a:avLst/>
          </a:prstGeom>
          <a:noFill/>
          <a:ln w="9525">
            <a:noFill/>
            <a:miter lim="800000"/>
            <a:headEnd/>
            <a:tailEnd/>
          </a:ln>
        </p:spPr>
      </p:pic>
      <p:pic>
        <p:nvPicPr>
          <p:cNvPr id="24" name="Picture 11">
            <a:extLst>
              <a:ext uri="{FF2B5EF4-FFF2-40B4-BE49-F238E27FC236}">
                <a16:creationId xmlns:a16="http://schemas.microsoft.com/office/drawing/2014/main" id="{11B328BB-497F-4F3C-A5FB-85BD624606D9}"/>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8542033" y="5351629"/>
            <a:ext cx="503823" cy="504000"/>
          </a:xfrm>
          <a:prstGeom prst="rect">
            <a:avLst/>
          </a:prstGeom>
          <a:noFill/>
          <a:ln w="9525">
            <a:noFill/>
            <a:miter lim="800000"/>
            <a:headEnd/>
            <a:tailEnd/>
          </a:ln>
        </p:spPr>
      </p:pic>
      <p:pic>
        <p:nvPicPr>
          <p:cNvPr id="28" name="Picture 10">
            <a:extLst>
              <a:ext uri="{FF2B5EF4-FFF2-40B4-BE49-F238E27FC236}">
                <a16:creationId xmlns:a16="http://schemas.microsoft.com/office/drawing/2014/main" id="{CED4E21C-086C-4E04-BCE2-3517AA00DD59}"/>
              </a:ext>
            </a:extLst>
          </p:cNvPr>
          <p:cNvPicPr>
            <a:picLocks noChangeAspect="1"/>
          </p:cNvPicPr>
          <p:nvPr/>
        </p:nvPicPr>
        <p:blipFill>
          <a:blip r:embed="rId7"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1307006" y="5399375"/>
            <a:ext cx="395864" cy="396000"/>
          </a:xfrm>
          <a:prstGeom prst="rect">
            <a:avLst/>
          </a:prstGeom>
          <a:noFill/>
          <a:ln w="9525">
            <a:noFill/>
            <a:miter lim="800000"/>
            <a:headEnd/>
            <a:tailEnd/>
          </a:ln>
        </p:spPr>
      </p:pic>
      <p:pic>
        <p:nvPicPr>
          <p:cNvPr id="29" name="Grafik 20">
            <a:extLst>
              <a:ext uri="{FF2B5EF4-FFF2-40B4-BE49-F238E27FC236}">
                <a16:creationId xmlns:a16="http://schemas.microsoft.com/office/drawing/2014/main" id="{11E14C8C-FD5B-4E64-BF37-41B9B6449D82}"/>
              </a:ext>
            </a:extLst>
          </p:cNvPr>
          <p:cNvPicPr>
            <a:picLocks noChangeAspect="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bwMode="gray">
          <a:xfrm>
            <a:off x="9149807" y="5410473"/>
            <a:ext cx="396000" cy="396000"/>
          </a:xfrm>
          <a:prstGeom prst="rect">
            <a:avLst/>
          </a:prstGeom>
        </p:spPr>
      </p:pic>
      <p:sp>
        <p:nvSpPr>
          <p:cNvPr id="31" name="Flowchart: Terminator 30">
            <a:extLst>
              <a:ext uri="{FF2B5EF4-FFF2-40B4-BE49-F238E27FC236}">
                <a16:creationId xmlns:a16="http://schemas.microsoft.com/office/drawing/2014/main" id="{FA7E0D60-F363-43C4-BA6A-133AB4204B68}"/>
              </a:ext>
            </a:extLst>
          </p:cNvPr>
          <p:cNvSpPr/>
          <p:nvPr/>
        </p:nvSpPr>
        <p:spPr bwMode="gray">
          <a:xfrm>
            <a:off x="10120342" y="5292283"/>
            <a:ext cx="1739381"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pic>
        <p:nvPicPr>
          <p:cNvPr id="32" name="Picture 31">
            <a:extLst>
              <a:ext uri="{FF2B5EF4-FFF2-40B4-BE49-F238E27FC236}">
                <a16:creationId xmlns:a16="http://schemas.microsoft.com/office/drawing/2014/main" id="{662D05B5-F64B-4D08-84B5-2AFD6BF1309E}"/>
              </a:ext>
            </a:extLst>
          </p:cNvPr>
          <p:cNvPicPr>
            <a:picLocks noChangeAspect="1"/>
          </p:cNvPicPr>
          <p:nvPr/>
        </p:nvPicPr>
        <p:blipFill>
          <a:blip r:embed="rId9">
            <a:duotone>
              <a:schemeClr val="accent3">
                <a:shade val="45000"/>
                <a:satMod val="135000"/>
              </a:schemeClr>
              <a:prstClr val="white"/>
            </a:duotone>
          </a:blip>
          <a:stretch>
            <a:fillRect/>
          </a:stretch>
        </p:blipFill>
        <p:spPr>
          <a:xfrm>
            <a:off x="10760567" y="5448787"/>
            <a:ext cx="466725" cy="333375"/>
          </a:xfrm>
          <a:prstGeom prst="rect">
            <a:avLst/>
          </a:prstGeom>
        </p:spPr>
      </p:pic>
      <p:sp>
        <p:nvSpPr>
          <p:cNvPr id="36" name="Flowchart: Terminator 35">
            <a:extLst>
              <a:ext uri="{FF2B5EF4-FFF2-40B4-BE49-F238E27FC236}">
                <a16:creationId xmlns:a16="http://schemas.microsoft.com/office/drawing/2014/main" id="{C582D6B5-1557-46FE-A75E-15D213E99EFA}"/>
              </a:ext>
            </a:extLst>
          </p:cNvPr>
          <p:cNvSpPr/>
          <p:nvPr/>
        </p:nvSpPr>
        <p:spPr bwMode="gray">
          <a:xfrm>
            <a:off x="8220675" y="5285144"/>
            <a:ext cx="1739381"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sp>
        <p:nvSpPr>
          <p:cNvPr id="38" name="TextBox 37">
            <a:extLst>
              <a:ext uri="{FF2B5EF4-FFF2-40B4-BE49-F238E27FC236}">
                <a16:creationId xmlns:a16="http://schemas.microsoft.com/office/drawing/2014/main" id="{4A5BC788-8DAF-42B5-A0ED-5F085FF16B89}"/>
              </a:ext>
            </a:extLst>
          </p:cNvPr>
          <p:cNvSpPr txBox="1"/>
          <p:nvPr/>
        </p:nvSpPr>
        <p:spPr bwMode="gray">
          <a:xfrm>
            <a:off x="10347637" y="5008080"/>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Safety</a:t>
            </a:r>
            <a:endParaRPr lang="en-US" sz="1200" dirty="0" err="1">
              <a:solidFill>
                <a:schemeClr val="accent2"/>
              </a:solidFill>
            </a:endParaRPr>
          </a:p>
        </p:txBody>
      </p:sp>
      <p:sp>
        <p:nvSpPr>
          <p:cNvPr id="39" name="TextBox 38">
            <a:extLst>
              <a:ext uri="{FF2B5EF4-FFF2-40B4-BE49-F238E27FC236}">
                <a16:creationId xmlns:a16="http://schemas.microsoft.com/office/drawing/2014/main" id="{0A4DDB26-D3DF-49D6-8BE8-7533AEA3EFC0}"/>
              </a:ext>
            </a:extLst>
          </p:cNvPr>
          <p:cNvSpPr txBox="1"/>
          <p:nvPr/>
        </p:nvSpPr>
        <p:spPr bwMode="gray">
          <a:xfrm>
            <a:off x="8447970" y="5001466"/>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HazLoc</a:t>
            </a:r>
            <a:endParaRPr lang="en-US" sz="1200" dirty="0" err="1">
              <a:solidFill>
                <a:schemeClr val="accent2"/>
              </a:solidFill>
            </a:endParaRPr>
          </a:p>
        </p:txBody>
      </p:sp>
    </p:spTree>
    <p:custDataLst>
      <p:tags r:id="rId1"/>
    </p:custDataLst>
    <p:extLst>
      <p:ext uri="{BB962C8B-B14F-4D97-AF65-F5344CB8AC3E}">
        <p14:creationId xmlns:p14="http://schemas.microsoft.com/office/powerpoint/2010/main" val="3549378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A4FEB-DD82-431E-96DB-974DEA3B5F7F}"/>
              </a:ext>
            </a:extLst>
          </p:cNvPr>
          <p:cNvSpPr>
            <a:spLocks noGrp="1"/>
          </p:cNvSpPr>
          <p:nvPr>
            <p:ph type="title"/>
          </p:nvPr>
        </p:nvSpPr>
        <p:spPr bwMode="gray"/>
        <p:txBody>
          <a:bodyPr/>
          <a:lstStyle/>
          <a:p>
            <a:r>
              <a:rPr lang="de-DE" dirty="0"/>
              <a:t>Fidas24</a:t>
            </a:r>
            <a:endParaRPr lang="en-US" dirty="0"/>
          </a:p>
        </p:txBody>
      </p:sp>
      <p:sp>
        <p:nvSpPr>
          <p:cNvPr id="3" name="Footer Placeholder 2">
            <a:extLst>
              <a:ext uri="{FF2B5EF4-FFF2-40B4-BE49-F238E27FC236}">
                <a16:creationId xmlns:a16="http://schemas.microsoft.com/office/drawing/2014/main" id="{99C8EF8F-4C6B-402A-8717-330021361776}"/>
              </a:ext>
            </a:extLst>
          </p:cNvPr>
          <p:cNvSpPr>
            <a:spLocks noGrp="1"/>
          </p:cNvSpPr>
          <p:nvPr>
            <p:ph type="ftr" sz="quarter" idx="10"/>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Indication</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only</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depends</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on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measuring</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component</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nd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application</a:t>
            </a: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4" name="Date Placeholder 3">
            <a:extLst>
              <a:ext uri="{FF2B5EF4-FFF2-40B4-BE49-F238E27FC236}">
                <a16:creationId xmlns:a16="http://schemas.microsoft.com/office/drawing/2014/main" id="{0BF74DBF-3620-4999-A3DB-6353C7BE791B}"/>
              </a:ext>
            </a:extLst>
          </p:cNvPr>
          <p:cNvSpPr>
            <a:spLocks noGrp="1"/>
          </p:cNvSpPr>
          <p:nvPr>
            <p:ph type="dt" sz="half"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8FF341-9601-47A6-A4C1-F2885A66BAA5}"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4D10351D-1F9B-4C35-B046-3DF31CCC3E52}"/>
              </a:ext>
            </a:extLst>
          </p:cNvPr>
          <p:cNvSpPr>
            <a:spLocks noGrp="1"/>
          </p:cNvSpPr>
          <p:nvPr>
            <p:ph type="sldNum" sz="quarter" idx="12"/>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7" name="Content Placeholder 6">
            <a:extLst>
              <a:ext uri="{FF2B5EF4-FFF2-40B4-BE49-F238E27FC236}">
                <a16:creationId xmlns:a16="http://schemas.microsoft.com/office/drawing/2014/main" id="{8DF7FF26-40E6-4E2D-B5E3-EC07744075A3}"/>
              </a:ext>
            </a:extLst>
          </p:cNvPr>
          <p:cNvSpPr>
            <a:spLocks noGrp="1"/>
          </p:cNvSpPr>
          <p:nvPr>
            <p:ph sz="quarter" idx="19"/>
          </p:nvPr>
        </p:nvSpPr>
        <p:spPr bwMode="gray">
          <a:xfrm>
            <a:off x="332367" y="2081882"/>
            <a:ext cx="5603434" cy="3830230"/>
          </a:xfrm>
        </p:spPr>
        <p:txBody>
          <a:bodyPr/>
          <a:lstStyle/>
          <a:p>
            <a:pPr>
              <a:spcBef>
                <a:spcPts val="1800"/>
              </a:spcBef>
            </a:pPr>
            <a:r>
              <a:rPr lang="de-DE" dirty="0">
                <a:solidFill>
                  <a:schemeClr val="tx1"/>
                </a:solidFill>
              </a:rPr>
              <a:t>	Flame </a:t>
            </a:r>
            <a:r>
              <a:rPr lang="de-DE" dirty="0" err="1">
                <a:solidFill>
                  <a:schemeClr val="tx1"/>
                </a:solidFill>
              </a:rPr>
              <a:t>ionization</a:t>
            </a:r>
            <a:r>
              <a:rPr lang="de-DE" dirty="0">
                <a:solidFill>
                  <a:schemeClr val="tx1"/>
                </a:solidFill>
              </a:rPr>
              <a:t> </a:t>
            </a:r>
            <a:r>
              <a:rPr lang="de-DE" dirty="0" err="1">
                <a:solidFill>
                  <a:schemeClr val="tx1"/>
                </a:solidFill>
              </a:rPr>
              <a:t>detector</a:t>
            </a:r>
            <a:endParaRPr lang="de-DE" dirty="0">
              <a:solidFill>
                <a:schemeClr val="tx1"/>
              </a:solidFill>
            </a:endParaRPr>
          </a:p>
          <a:p>
            <a:endParaRPr lang="de-DE" sz="1600" dirty="0"/>
          </a:p>
          <a:p>
            <a:r>
              <a:rPr lang="de-DE" dirty="0" err="1"/>
              <a:t>Capabilities</a:t>
            </a:r>
            <a:endParaRPr lang="de-DE" dirty="0"/>
          </a:p>
          <a:p>
            <a:pPr lvl="1">
              <a:spcBef>
                <a:spcPts val="300"/>
              </a:spcBef>
            </a:pPr>
            <a:r>
              <a:rPr lang="de-DE" dirty="0"/>
              <a:t>Components:	</a:t>
            </a:r>
            <a:r>
              <a:rPr lang="en-US" dirty="0"/>
              <a:t>THC, TOC, VOC, </a:t>
            </a:r>
            <a:r>
              <a:rPr lang="en-US" dirty="0" err="1"/>
              <a:t>C</a:t>
            </a:r>
            <a:r>
              <a:rPr lang="en-US" baseline="-25000" dirty="0" err="1"/>
              <a:t>n</a:t>
            </a:r>
            <a:r>
              <a:rPr lang="en-US" dirty="0" err="1"/>
              <a:t>H</a:t>
            </a:r>
            <a:r>
              <a:rPr lang="en-US" baseline="-25000" dirty="0" err="1"/>
              <a:t>m</a:t>
            </a:r>
            <a:endParaRPr lang="de-DE" dirty="0"/>
          </a:p>
          <a:p>
            <a:pPr lvl="1">
              <a:spcBef>
                <a:spcPts val="300"/>
              </a:spcBef>
            </a:pPr>
            <a:r>
              <a:rPr lang="de-DE" dirty="0"/>
              <a:t>Ranges*: 	0 – 10 ppm </a:t>
            </a:r>
            <a:r>
              <a:rPr lang="de-DE" dirty="0" err="1"/>
              <a:t>up</a:t>
            </a:r>
            <a:r>
              <a:rPr lang="de-DE" dirty="0"/>
              <a:t> </a:t>
            </a:r>
            <a:r>
              <a:rPr lang="de-DE" dirty="0" err="1"/>
              <a:t>to</a:t>
            </a:r>
            <a:r>
              <a:rPr lang="de-DE" dirty="0"/>
              <a:t> 10,000 ppm</a:t>
            </a:r>
          </a:p>
          <a:p>
            <a:pPr>
              <a:spcBef>
                <a:spcPts val="1800"/>
              </a:spcBef>
            </a:pPr>
            <a:r>
              <a:rPr lang="de-DE" dirty="0"/>
              <a:t>Advantages</a:t>
            </a:r>
          </a:p>
          <a:p>
            <a:pPr lvl="1">
              <a:spcBef>
                <a:spcPts val="300"/>
              </a:spcBef>
            </a:pPr>
            <a:r>
              <a:rPr lang="de-DE" dirty="0" err="1"/>
              <a:t>Excellent</a:t>
            </a:r>
            <a:r>
              <a:rPr lang="de-DE" dirty="0"/>
              <a:t> </a:t>
            </a:r>
            <a:r>
              <a:rPr lang="de-DE" dirty="0" err="1"/>
              <a:t>temp</a:t>
            </a:r>
            <a:r>
              <a:rPr lang="de-DE" dirty="0"/>
              <a:t>. </a:t>
            </a:r>
            <a:r>
              <a:rPr lang="de-DE" dirty="0" err="1"/>
              <a:t>stability</a:t>
            </a:r>
            <a:r>
              <a:rPr lang="de-DE" dirty="0"/>
              <a:t> </a:t>
            </a:r>
            <a:r>
              <a:rPr lang="de-DE" dirty="0" err="1"/>
              <a:t>through</a:t>
            </a:r>
            <a:r>
              <a:rPr lang="de-DE" dirty="0"/>
              <a:t> </a:t>
            </a:r>
            <a:r>
              <a:rPr lang="de-DE" dirty="0" err="1"/>
              <a:t>single</a:t>
            </a:r>
            <a:r>
              <a:rPr lang="de-DE" dirty="0"/>
              <a:t> block design</a:t>
            </a:r>
          </a:p>
          <a:p>
            <a:pPr lvl="1">
              <a:spcBef>
                <a:spcPts val="300"/>
              </a:spcBef>
            </a:pPr>
            <a:r>
              <a:rPr lang="de-DE" dirty="0" err="1"/>
              <a:t>Automatic</a:t>
            </a:r>
            <a:r>
              <a:rPr lang="de-DE" dirty="0"/>
              <a:t> and reliable </a:t>
            </a:r>
            <a:r>
              <a:rPr lang="de-DE" dirty="0" err="1"/>
              <a:t>re-ignition</a:t>
            </a:r>
            <a:r>
              <a:rPr lang="de-DE" dirty="0"/>
              <a:t> on </a:t>
            </a:r>
            <a:r>
              <a:rPr lang="de-DE" dirty="0" err="1"/>
              <a:t>flame</a:t>
            </a:r>
            <a:r>
              <a:rPr lang="de-DE" dirty="0"/>
              <a:t> out</a:t>
            </a:r>
          </a:p>
          <a:p>
            <a:pPr lvl="1">
              <a:spcBef>
                <a:spcPts val="300"/>
              </a:spcBef>
            </a:pPr>
            <a:r>
              <a:rPr lang="de-DE" dirty="0" err="1"/>
              <a:t>Injector</a:t>
            </a:r>
            <a:r>
              <a:rPr lang="de-DE" dirty="0"/>
              <a:t> </a:t>
            </a:r>
            <a:r>
              <a:rPr lang="de-DE" dirty="0" err="1"/>
              <a:t>for</a:t>
            </a:r>
            <a:r>
              <a:rPr lang="de-DE" dirty="0"/>
              <a:t> sample </a:t>
            </a:r>
            <a:r>
              <a:rPr lang="de-DE" dirty="0" err="1"/>
              <a:t>transport</a:t>
            </a:r>
            <a:r>
              <a:rPr lang="de-DE" dirty="0"/>
              <a:t> </a:t>
            </a:r>
            <a:r>
              <a:rPr lang="de-DE" dirty="0" err="1"/>
              <a:t>with</a:t>
            </a:r>
            <a:r>
              <a:rPr lang="de-DE" dirty="0"/>
              <a:t> </a:t>
            </a:r>
            <a:r>
              <a:rPr lang="de-DE" dirty="0" err="1"/>
              <a:t>no</a:t>
            </a:r>
            <a:r>
              <a:rPr lang="de-DE" dirty="0"/>
              <a:t> </a:t>
            </a:r>
            <a:r>
              <a:rPr lang="de-DE" dirty="0" err="1"/>
              <a:t>moving</a:t>
            </a:r>
            <a:r>
              <a:rPr lang="de-DE" dirty="0"/>
              <a:t> </a:t>
            </a:r>
            <a:r>
              <a:rPr lang="de-DE" dirty="0" err="1"/>
              <a:t>parts</a:t>
            </a:r>
            <a:endParaRPr lang="de-DE" dirty="0"/>
          </a:p>
          <a:p>
            <a:pPr lvl="1">
              <a:spcBef>
                <a:spcPts val="300"/>
              </a:spcBef>
            </a:pPr>
            <a:r>
              <a:rPr lang="de-DE" dirty="0"/>
              <a:t>Optional </a:t>
            </a:r>
            <a:r>
              <a:rPr lang="de-DE" dirty="0" err="1"/>
              <a:t>heated</a:t>
            </a:r>
            <a:r>
              <a:rPr lang="de-DE" dirty="0"/>
              <a:t> </a:t>
            </a:r>
            <a:r>
              <a:rPr lang="de-DE" dirty="0" err="1"/>
              <a:t>connector</a:t>
            </a:r>
            <a:r>
              <a:rPr lang="de-DE" dirty="0"/>
              <a:t> block </a:t>
            </a:r>
            <a:r>
              <a:rPr lang="de-DE" dirty="0" err="1"/>
              <a:t>to</a:t>
            </a:r>
            <a:r>
              <a:rPr lang="de-DE" dirty="0"/>
              <a:t> </a:t>
            </a:r>
            <a:r>
              <a:rPr lang="de-DE" dirty="0" err="1"/>
              <a:t>avoid</a:t>
            </a:r>
            <a:r>
              <a:rPr lang="de-DE" dirty="0"/>
              <a:t> </a:t>
            </a:r>
            <a:r>
              <a:rPr lang="de-DE" dirty="0" err="1"/>
              <a:t>cold</a:t>
            </a:r>
            <a:r>
              <a:rPr lang="de-DE" dirty="0"/>
              <a:t> </a:t>
            </a:r>
            <a:r>
              <a:rPr lang="de-DE" dirty="0" err="1"/>
              <a:t>spots</a:t>
            </a:r>
            <a:endParaRPr lang="de-DE" dirty="0"/>
          </a:p>
          <a:p>
            <a:pPr lvl="1">
              <a:spcBef>
                <a:spcPts val="300"/>
              </a:spcBef>
            </a:pPr>
            <a:r>
              <a:rPr lang="de-DE" dirty="0"/>
              <a:t>Optional internal pump </a:t>
            </a:r>
            <a:r>
              <a:rPr lang="de-DE" dirty="0" err="1"/>
              <a:t>for</a:t>
            </a:r>
            <a:r>
              <a:rPr lang="de-DE" dirty="0"/>
              <a:t> mobile </a:t>
            </a:r>
            <a:r>
              <a:rPr lang="de-DE" dirty="0" err="1"/>
              <a:t>applications</a:t>
            </a:r>
            <a:endParaRPr lang="de-DE" dirty="0"/>
          </a:p>
        </p:txBody>
      </p:sp>
      <p:sp>
        <p:nvSpPr>
          <p:cNvPr id="8" name="Subtitle 7">
            <a:extLst>
              <a:ext uri="{FF2B5EF4-FFF2-40B4-BE49-F238E27FC236}">
                <a16:creationId xmlns:a16="http://schemas.microsoft.com/office/drawing/2014/main" id="{0A22AA71-A8DB-47E5-B616-A5CB321F6A04}"/>
              </a:ext>
            </a:extLst>
          </p:cNvPr>
          <p:cNvSpPr>
            <a:spLocks noGrp="1"/>
          </p:cNvSpPr>
          <p:nvPr>
            <p:ph type="subTitle" idx="13"/>
          </p:nvPr>
        </p:nvSpPr>
        <p:spPr bwMode="gray"/>
        <p:txBody>
          <a:bodyPr/>
          <a:lstStyle/>
          <a:p>
            <a:r>
              <a:rPr lang="de-DE" dirty="0"/>
              <a:t>Flame </a:t>
            </a:r>
            <a:r>
              <a:rPr lang="de-DE" dirty="0" err="1"/>
              <a:t>ionization</a:t>
            </a:r>
            <a:r>
              <a:rPr lang="de-DE" dirty="0"/>
              <a:t> </a:t>
            </a:r>
            <a:r>
              <a:rPr lang="de-DE" dirty="0" err="1"/>
              <a:t>detector</a:t>
            </a:r>
            <a:r>
              <a:rPr lang="de-DE" dirty="0"/>
              <a:t> (FID)</a:t>
            </a:r>
            <a:endParaRPr lang="en-US" dirty="0"/>
          </a:p>
        </p:txBody>
      </p:sp>
      <p:pic>
        <p:nvPicPr>
          <p:cNvPr id="11" name="Content Placeholder 10">
            <a:extLst>
              <a:ext uri="{FF2B5EF4-FFF2-40B4-BE49-F238E27FC236}">
                <a16:creationId xmlns:a16="http://schemas.microsoft.com/office/drawing/2014/main" id="{D47B6835-D454-4AA3-AA2E-F0EBDB023C30}"/>
              </a:ext>
            </a:extLst>
          </p:cNvPr>
          <p:cNvPicPr>
            <a:picLocks noGrp="1" noChangeAspect="1"/>
          </p:cNvPicPr>
          <p:nvPr>
            <p:ph sz="quarter" idx="20"/>
          </p:nvPr>
        </p:nvPicPr>
        <p:blipFill>
          <a:blip r:embed="rId3"/>
          <a:stretch>
            <a:fillRect/>
          </a:stretch>
        </p:blipFill>
        <p:spPr bwMode="gray">
          <a:xfrm>
            <a:off x="7061974" y="1891793"/>
            <a:ext cx="3967764" cy="3266693"/>
          </a:xfrm>
        </p:spPr>
      </p:pic>
      <p:grpSp>
        <p:nvGrpSpPr>
          <p:cNvPr id="33" name="Group 32">
            <a:extLst>
              <a:ext uri="{FF2B5EF4-FFF2-40B4-BE49-F238E27FC236}">
                <a16:creationId xmlns:a16="http://schemas.microsoft.com/office/drawing/2014/main" id="{6681D1A8-4B5A-4DD9-84AD-8FD0D217965B}"/>
              </a:ext>
            </a:extLst>
          </p:cNvPr>
          <p:cNvGrpSpPr/>
          <p:nvPr/>
        </p:nvGrpSpPr>
        <p:grpSpPr bwMode="gray">
          <a:xfrm>
            <a:off x="332366" y="1935659"/>
            <a:ext cx="597600" cy="597600"/>
            <a:chOff x="6718394" y="-4671180"/>
            <a:chExt cx="597600" cy="597600"/>
          </a:xfrm>
        </p:grpSpPr>
        <p:sp>
          <p:nvSpPr>
            <p:cNvPr id="34" name="Text Box 240">
              <a:extLst>
                <a:ext uri="{FF2B5EF4-FFF2-40B4-BE49-F238E27FC236}">
                  <a16:creationId xmlns:a16="http://schemas.microsoft.com/office/drawing/2014/main" id="{883B0E09-B40C-4146-87F0-FC73FFD96EE3}"/>
                </a:ext>
              </a:extLst>
            </p:cNvPr>
            <p:cNvSpPr txBox="1">
              <a:spLocks noChangeArrowheads="1"/>
            </p:cNvSpPr>
            <p:nvPr/>
          </p:nvSpPr>
          <p:spPr bwMode="gray">
            <a:xfrm>
              <a:off x="6718394" y="-4671180"/>
              <a:ext cx="597600" cy="597600"/>
            </a:xfrm>
            <a:prstGeom prst="ellipse">
              <a:avLst/>
            </a:prstGeom>
            <a:solidFill>
              <a:schemeClr val="bg1"/>
            </a:solidFill>
            <a:ln w="28575">
              <a:solidFill>
                <a:schemeClr val="tx2"/>
              </a:solidFill>
            </a:ln>
            <a:extLst/>
          </p:spPr>
          <p:txBody>
            <a:bodyPr vert="horz" lIns="72000" tIns="72000" rIns="144000" bIns="72000" rtlCol="0" anchor="ctr">
              <a:noAutofit/>
            </a:bodyPr>
            <a:lstStyle>
              <a:defPPr>
                <a:defRPr lang="en-US"/>
              </a:defPPr>
              <a:lvl1pPr indent="0" algn="ctr">
                <a:spcBef>
                  <a:spcPct val="20000"/>
                </a:spcBef>
                <a:buFont typeface="Arial" panose="020B0604020202020204" pitchFamily="34" charset="0"/>
                <a:buNone/>
                <a:defRPr sz="1600" b="1">
                  <a:solidFill>
                    <a:schemeClr val="bg1"/>
                  </a:solidFill>
                </a:defRPr>
              </a:lvl1pPr>
              <a:lvl2pPr marL="0" indent="0">
                <a:spcBef>
                  <a:spcPct val="20000"/>
                </a:spcBef>
                <a:buFont typeface="ABBvoiceOffice" panose="020D0603020503020204" pitchFamily="34" charset="0"/>
                <a:buNone/>
                <a:defRPr sz="1600" b="1">
                  <a:solidFill>
                    <a:schemeClr val="tx2"/>
                  </a:solidFill>
                </a:defRPr>
              </a:lvl2pPr>
              <a:lvl3pPr marL="0" indent="0">
                <a:spcBef>
                  <a:spcPct val="20000"/>
                </a:spcBef>
                <a:buFont typeface="Arial" panose="020B0604020202020204" pitchFamily="34" charset="0"/>
                <a:buNone/>
                <a:defRPr sz="1600" b="1">
                  <a:solidFill>
                    <a:schemeClr val="tx2"/>
                  </a:solidFill>
                </a:defRPr>
              </a:lvl3pPr>
              <a:lvl4pPr marL="0" indent="0">
                <a:spcBef>
                  <a:spcPct val="20000"/>
                </a:spcBef>
                <a:buFont typeface="Arial" panose="020B0604020202020204" pitchFamily="34" charset="0"/>
                <a:buNone/>
                <a:defRPr sz="1600" b="1">
                  <a:solidFill>
                    <a:schemeClr val="tx2"/>
                  </a:solidFill>
                </a:defRPr>
              </a:lvl4pPr>
              <a:lvl5pPr marL="0" indent="0">
                <a:spcBef>
                  <a:spcPct val="20000"/>
                </a:spcBef>
                <a:buFont typeface="Arial" panose="020B0604020202020204" pitchFamily="34" charset="0"/>
                <a:buNone/>
                <a:defRPr sz="1600" b="1">
                  <a:solidFill>
                    <a:schemeClr val="tx2"/>
                  </a:solidFill>
                </a:defRPr>
              </a:lvl5pPr>
              <a:lvl6pPr marL="0" indent="0">
                <a:spcBef>
                  <a:spcPct val="20000"/>
                </a:spcBef>
                <a:buFont typeface="Arial" panose="020B0604020202020204" pitchFamily="34" charset="0"/>
                <a:buNone/>
                <a:defRPr sz="1600" b="1">
                  <a:solidFill>
                    <a:schemeClr val="tx2"/>
                  </a:solidFill>
                </a:defRPr>
              </a:lvl6pPr>
              <a:lvl7pPr marL="0" indent="0">
                <a:spcBef>
                  <a:spcPct val="20000"/>
                </a:spcBef>
                <a:buFont typeface="Arial" panose="020B0604020202020204" pitchFamily="34" charset="0"/>
                <a:buNone/>
                <a:defRPr sz="1600" b="1">
                  <a:solidFill>
                    <a:schemeClr val="tx2"/>
                  </a:solidFill>
                </a:defRPr>
              </a:lvl7pPr>
              <a:lvl8pPr marL="0" indent="0">
                <a:spcBef>
                  <a:spcPct val="20000"/>
                </a:spcBef>
                <a:buFont typeface="Arial" panose="020B0604020202020204" pitchFamily="34" charset="0"/>
                <a:buNone/>
                <a:defRPr sz="1600" b="1">
                  <a:solidFill>
                    <a:schemeClr val="tx2"/>
                  </a:solidFill>
                </a:defRPr>
              </a:lvl8pPr>
              <a:lvl9pPr marL="0" indent="0">
                <a:spcBef>
                  <a:spcPct val="20000"/>
                </a:spcBef>
                <a:buFont typeface="Arial" panose="020B0604020202020204" pitchFamily="34" charset="0"/>
                <a:buNone/>
                <a:defRPr sz="1600" b="1">
                  <a:solidFill>
                    <a:schemeClr val="tx2"/>
                  </a:solidFill>
                </a:defRPr>
              </a:lvl9pPr>
            </a:lstStyle>
            <a:p>
              <a:pPr marL="0" marR="0" lvl="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en-US" sz="1400" b="1" i="0" u="none" strike="noStrike" kern="1200" cap="none" spc="0" normalizeH="0" baseline="0" noProof="0" dirty="0">
                <a:ln>
                  <a:noFill/>
                </a:ln>
                <a:solidFill>
                  <a:srgbClr val="FFFFFF"/>
                </a:solidFill>
                <a:effectLst/>
                <a:uLnTx/>
                <a:uFillTx/>
                <a:latin typeface="ABBvoice"/>
                <a:ea typeface="ABBvoice"/>
                <a:cs typeface="ABBvoice"/>
              </a:endParaRPr>
            </a:p>
          </p:txBody>
        </p:sp>
        <p:grpSp>
          <p:nvGrpSpPr>
            <p:cNvPr id="35" name="Group 34">
              <a:extLst>
                <a:ext uri="{FF2B5EF4-FFF2-40B4-BE49-F238E27FC236}">
                  <a16:creationId xmlns:a16="http://schemas.microsoft.com/office/drawing/2014/main" id="{A4ACB8AB-A255-4C4C-ACFC-5CFA6FAE0803}"/>
                </a:ext>
              </a:extLst>
            </p:cNvPr>
            <p:cNvGrpSpPr/>
            <p:nvPr/>
          </p:nvGrpSpPr>
          <p:grpSpPr bwMode="gray">
            <a:xfrm>
              <a:off x="6852638" y="-4522652"/>
              <a:ext cx="329112" cy="300546"/>
              <a:chOff x="-967926" y="3169597"/>
              <a:chExt cx="575910" cy="644168"/>
            </a:xfrm>
            <a:solidFill>
              <a:schemeClr val="bg1"/>
            </a:solidFill>
          </p:grpSpPr>
          <p:sp>
            <p:nvSpPr>
              <p:cNvPr id="36" name="Freeform 404">
                <a:extLst>
                  <a:ext uri="{FF2B5EF4-FFF2-40B4-BE49-F238E27FC236}">
                    <a16:creationId xmlns:a16="http://schemas.microsoft.com/office/drawing/2014/main" id="{8963D062-E39B-4B31-832B-4FF6D1477549}"/>
                  </a:ext>
                </a:extLst>
              </p:cNvPr>
              <p:cNvSpPr/>
              <p:nvPr/>
            </p:nvSpPr>
            <p:spPr bwMode="gray">
              <a:xfrm>
                <a:off x="-967926" y="3169597"/>
                <a:ext cx="575910" cy="644168"/>
              </a:xfrm>
              <a:custGeom>
                <a:avLst/>
                <a:gdLst>
                  <a:gd name="connsiteX0" fmla="*/ 394445 w 915582"/>
                  <a:gd name="connsiteY0" fmla="*/ 1530534 h 1530534"/>
                  <a:gd name="connsiteX1" fmla="*/ 2559 w 915582"/>
                  <a:gd name="connsiteY1" fmla="*/ 937681 h 1530534"/>
                  <a:gd name="connsiteX2" fmla="*/ 223623 w 915582"/>
                  <a:gd name="connsiteY2" fmla="*/ 596037 h 1530534"/>
                  <a:gd name="connsiteX3" fmla="*/ 193478 w 915582"/>
                  <a:gd name="connsiteY3" fmla="*/ 3184 h 1530534"/>
                  <a:gd name="connsiteX4" fmla="*/ 906911 w 915582"/>
                  <a:gd name="connsiteY4" fmla="*/ 877391 h 1530534"/>
                  <a:gd name="connsiteX5" fmla="*/ 525073 w 915582"/>
                  <a:gd name="connsiteY5" fmla="*/ 1530534 h 1530534"/>
                  <a:gd name="connsiteX0" fmla="*/ 63771 w 1112883"/>
                  <a:gd name="connsiteY0" fmla="*/ 1460487 h 1530534"/>
                  <a:gd name="connsiteX1" fmla="*/ 199860 w 1112883"/>
                  <a:gd name="connsiteY1" fmla="*/ 937681 h 1530534"/>
                  <a:gd name="connsiteX2" fmla="*/ 420924 w 1112883"/>
                  <a:gd name="connsiteY2" fmla="*/ 596037 h 1530534"/>
                  <a:gd name="connsiteX3" fmla="*/ 390779 w 1112883"/>
                  <a:gd name="connsiteY3" fmla="*/ 3184 h 1530534"/>
                  <a:gd name="connsiteX4" fmla="*/ 1104212 w 1112883"/>
                  <a:gd name="connsiteY4" fmla="*/ 877391 h 1530534"/>
                  <a:gd name="connsiteX5" fmla="*/ 722374 w 1112883"/>
                  <a:gd name="connsiteY5" fmla="*/ 1530534 h 1530534"/>
                  <a:gd name="connsiteX0" fmla="*/ 63772 w 1109482"/>
                  <a:gd name="connsiteY0" fmla="*/ 1460487 h 1514369"/>
                  <a:gd name="connsiteX1" fmla="*/ 199861 w 1109482"/>
                  <a:gd name="connsiteY1" fmla="*/ 937681 h 1514369"/>
                  <a:gd name="connsiteX2" fmla="*/ 420925 w 1109482"/>
                  <a:gd name="connsiteY2" fmla="*/ 596037 h 1514369"/>
                  <a:gd name="connsiteX3" fmla="*/ 390780 w 1109482"/>
                  <a:gd name="connsiteY3" fmla="*/ 3184 h 1514369"/>
                  <a:gd name="connsiteX4" fmla="*/ 1104213 w 1109482"/>
                  <a:gd name="connsiteY4" fmla="*/ 877391 h 1514369"/>
                  <a:gd name="connsiteX5" fmla="*/ 548092 w 1109482"/>
                  <a:gd name="connsiteY5" fmla="*/ 1514369 h 1514369"/>
                  <a:gd name="connsiteX0" fmla="*/ 63772 w 874709"/>
                  <a:gd name="connsiteY0" fmla="*/ 1460715 h 1514597"/>
                  <a:gd name="connsiteX1" fmla="*/ 199861 w 874709"/>
                  <a:gd name="connsiteY1" fmla="*/ 937909 h 1514597"/>
                  <a:gd name="connsiteX2" fmla="*/ 420925 w 874709"/>
                  <a:gd name="connsiteY2" fmla="*/ 596265 h 1514597"/>
                  <a:gd name="connsiteX3" fmla="*/ 390780 w 874709"/>
                  <a:gd name="connsiteY3" fmla="*/ 3412 h 1514597"/>
                  <a:gd name="connsiteX4" fmla="*/ 863293 w 874709"/>
                  <a:gd name="connsiteY4" fmla="*/ 888395 h 1514597"/>
                  <a:gd name="connsiteX5" fmla="*/ 548092 w 874709"/>
                  <a:gd name="connsiteY5" fmla="*/ 1514597 h 1514597"/>
                  <a:gd name="connsiteX0" fmla="*/ 191224 w 1002160"/>
                  <a:gd name="connsiteY0" fmla="*/ 1460745 h 1514627"/>
                  <a:gd name="connsiteX1" fmla="*/ 24880 w 1002160"/>
                  <a:gd name="connsiteY1" fmla="*/ 964881 h 1514627"/>
                  <a:gd name="connsiteX2" fmla="*/ 548377 w 1002160"/>
                  <a:gd name="connsiteY2" fmla="*/ 596295 h 1514627"/>
                  <a:gd name="connsiteX3" fmla="*/ 518232 w 1002160"/>
                  <a:gd name="connsiteY3" fmla="*/ 3442 h 1514627"/>
                  <a:gd name="connsiteX4" fmla="*/ 990745 w 1002160"/>
                  <a:gd name="connsiteY4" fmla="*/ 888425 h 1514627"/>
                  <a:gd name="connsiteX5" fmla="*/ 675544 w 1002160"/>
                  <a:gd name="connsiteY5" fmla="*/ 1514627 h 1514627"/>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63378 h 1517260"/>
                  <a:gd name="connsiteX1" fmla="*/ 6383 w 983663"/>
                  <a:gd name="connsiteY1" fmla="*/ 967514 h 1517260"/>
                  <a:gd name="connsiteX2" fmla="*/ 268455 w 983663"/>
                  <a:gd name="connsiteY2" fmla="*/ 523494 h 1517260"/>
                  <a:gd name="connsiteX3" fmla="*/ 499735 w 983663"/>
                  <a:gd name="connsiteY3" fmla="*/ 6075 h 1517260"/>
                  <a:gd name="connsiteX4" fmla="*/ 972248 w 983663"/>
                  <a:gd name="connsiteY4" fmla="*/ 891058 h 1517260"/>
                  <a:gd name="connsiteX5" fmla="*/ 657047 w 983663"/>
                  <a:gd name="connsiteY5" fmla="*/ 1517260 h 1517260"/>
                  <a:gd name="connsiteX0" fmla="*/ 172727 w 983663"/>
                  <a:gd name="connsiteY0" fmla="*/ 1472063 h 1525945"/>
                  <a:gd name="connsiteX1" fmla="*/ 6383 w 983663"/>
                  <a:gd name="connsiteY1" fmla="*/ 976199 h 1525945"/>
                  <a:gd name="connsiteX2" fmla="*/ 268455 w 983663"/>
                  <a:gd name="connsiteY2" fmla="*/ 532179 h 1525945"/>
                  <a:gd name="connsiteX3" fmla="*/ 499735 w 983663"/>
                  <a:gd name="connsiteY3" fmla="*/ 14760 h 1525945"/>
                  <a:gd name="connsiteX4" fmla="*/ 972248 w 983663"/>
                  <a:gd name="connsiteY4" fmla="*/ 899743 h 1525945"/>
                  <a:gd name="connsiteX5" fmla="*/ 657047 w 983663"/>
                  <a:gd name="connsiteY5" fmla="*/ 1525945 h 1525945"/>
                  <a:gd name="connsiteX0" fmla="*/ 172727 w 983663"/>
                  <a:gd name="connsiteY0" fmla="*/ 1456181 h 1510063"/>
                  <a:gd name="connsiteX1" fmla="*/ 6383 w 983663"/>
                  <a:gd name="connsiteY1" fmla="*/ 960317 h 1510063"/>
                  <a:gd name="connsiteX2" fmla="*/ 268455 w 983663"/>
                  <a:gd name="connsiteY2" fmla="*/ 516297 h 1510063"/>
                  <a:gd name="connsiteX3" fmla="*/ 443349 w 983663"/>
                  <a:gd name="connsiteY3" fmla="*/ 15043 h 1510063"/>
                  <a:gd name="connsiteX4" fmla="*/ 972248 w 983663"/>
                  <a:gd name="connsiteY4" fmla="*/ 883861 h 1510063"/>
                  <a:gd name="connsiteX5" fmla="*/ 657047 w 983663"/>
                  <a:gd name="connsiteY5" fmla="*/ 1510063 h 1510063"/>
                  <a:gd name="connsiteX0" fmla="*/ 171348 w 982284"/>
                  <a:gd name="connsiteY0" fmla="*/ 1447162 h 1501044"/>
                  <a:gd name="connsiteX1" fmla="*/ 5004 w 982284"/>
                  <a:gd name="connsiteY1" fmla="*/ 951298 h 1501044"/>
                  <a:gd name="connsiteX2" fmla="*/ 246573 w 982284"/>
                  <a:gd name="connsiteY2" fmla="*/ 512666 h 1501044"/>
                  <a:gd name="connsiteX3" fmla="*/ 441970 w 982284"/>
                  <a:gd name="connsiteY3" fmla="*/ 6024 h 1501044"/>
                  <a:gd name="connsiteX4" fmla="*/ 970869 w 982284"/>
                  <a:gd name="connsiteY4" fmla="*/ 874842 h 1501044"/>
                  <a:gd name="connsiteX5" fmla="*/ 655668 w 982284"/>
                  <a:gd name="connsiteY5" fmla="*/ 1501044 h 1501044"/>
                  <a:gd name="connsiteX0" fmla="*/ 171348 w 982284"/>
                  <a:gd name="connsiteY0" fmla="*/ 1457131 h 1511013"/>
                  <a:gd name="connsiteX1" fmla="*/ 5004 w 982284"/>
                  <a:gd name="connsiteY1" fmla="*/ 961267 h 1511013"/>
                  <a:gd name="connsiteX2" fmla="*/ 246573 w 982284"/>
                  <a:gd name="connsiteY2" fmla="*/ 522635 h 1511013"/>
                  <a:gd name="connsiteX3" fmla="*/ 441970 w 982284"/>
                  <a:gd name="connsiteY3" fmla="*/ 15993 h 1511013"/>
                  <a:gd name="connsiteX4" fmla="*/ 970869 w 982284"/>
                  <a:gd name="connsiteY4" fmla="*/ 884811 h 1511013"/>
                  <a:gd name="connsiteX5" fmla="*/ 655668 w 982284"/>
                  <a:gd name="connsiteY5" fmla="*/ 1511013 h 1511013"/>
                  <a:gd name="connsiteX0" fmla="*/ 184998 w 995934"/>
                  <a:gd name="connsiteY0" fmla="*/ 1441330 h 1495212"/>
                  <a:gd name="connsiteX1" fmla="*/ 18654 w 995934"/>
                  <a:gd name="connsiteY1" fmla="*/ 945466 h 1495212"/>
                  <a:gd name="connsiteX2" fmla="*/ 455620 w 995934"/>
                  <a:gd name="connsiteY2" fmla="*/ 192 h 1495212"/>
                  <a:gd name="connsiteX3" fmla="*/ 984519 w 995934"/>
                  <a:gd name="connsiteY3" fmla="*/ 869010 h 1495212"/>
                  <a:gd name="connsiteX4" fmla="*/ 669318 w 995934"/>
                  <a:gd name="connsiteY4" fmla="*/ 1495212 h 1495212"/>
                  <a:gd name="connsiteX0" fmla="*/ 184998 w 995934"/>
                  <a:gd name="connsiteY0" fmla="*/ 1462589 h 1516471"/>
                  <a:gd name="connsiteX1" fmla="*/ 18654 w 995934"/>
                  <a:gd name="connsiteY1" fmla="*/ 966725 h 1516471"/>
                  <a:gd name="connsiteX2" fmla="*/ 455620 w 995934"/>
                  <a:gd name="connsiteY2" fmla="*/ 21451 h 1516471"/>
                  <a:gd name="connsiteX3" fmla="*/ 984519 w 995934"/>
                  <a:gd name="connsiteY3" fmla="*/ 890269 h 1516471"/>
                  <a:gd name="connsiteX4" fmla="*/ 669318 w 995934"/>
                  <a:gd name="connsiteY4" fmla="*/ 1516471 h 1516471"/>
                  <a:gd name="connsiteX0" fmla="*/ 178447 w 989383"/>
                  <a:gd name="connsiteY0" fmla="*/ 1462589 h 1516471"/>
                  <a:gd name="connsiteX1" fmla="*/ 12103 w 989383"/>
                  <a:gd name="connsiteY1" fmla="*/ 966725 h 1516471"/>
                  <a:gd name="connsiteX2" fmla="*/ 449069 w 989383"/>
                  <a:gd name="connsiteY2" fmla="*/ 21451 h 1516471"/>
                  <a:gd name="connsiteX3" fmla="*/ 977968 w 989383"/>
                  <a:gd name="connsiteY3" fmla="*/ 890269 h 1516471"/>
                  <a:gd name="connsiteX4" fmla="*/ 662767 w 989383"/>
                  <a:gd name="connsiteY4" fmla="*/ 1516471 h 1516471"/>
                  <a:gd name="connsiteX0" fmla="*/ 172077 w 983013"/>
                  <a:gd name="connsiteY0" fmla="*/ 1462589 h 1516471"/>
                  <a:gd name="connsiteX1" fmla="*/ 5733 w 983013"/>
                  <a:gd name="connsiteY1" fmla="*/ 966725 h 1516471"/>
                  <a:gd name="connsiteX2" fmla="*/ 442699 w 983013"/>
                  <a:gd name="connsiteY2" fmla="*/ 21451 h 1516471"/>
                  <a:gd name="connsiteX3" fmla="*/ 971598 w 983013"/>
                  <a:gd name="connsiteY3" fmla="*/ 890269 h 1516471"/>
                  <a:gd name="connsiteX4" fmla="*/ 656397 w 983013"/>
                  <a:gd name="connsiteY4" fmla="*/ 1516471 h 1516471"/>
                  <a:gd name="connsiteX0" fmla="*/ 167713 w 978649"/>
                  <a:gd name="connsiteY0" fmla="*/ 1462589 h 1516471"/>
                  <a:gd name="connsiteX1" fmla="*/ 1369 w 978649"/>
                  <a:gd name="connsiteY1" fmla="*/ 966725 h 1516471"/>
                  <a:gd name="connsiteX2" fmla="*/ 438335 w 978649"/>
                  <a:gd name="connsiteY2" fmla="*/ 21451 h 1516471"/>
                  <a:gd name="connsiteX3" fmla="*/ 967234 w 978649"/>
                  <a:gd name="connsiteY3" fmla="*/ 890269 h 1516471"/>
                  <a:gd name="connsiteX4" fmla="*/ 652033 w 978649"/>
                  <a:gd name="connsiteY4" fmla="*/ 1516471 h 1516471"/>
                  <a:gd name="connsiteX0" fmla="*/ 194053 w 984485"/>
                  <a:gd name="connsiteY0" fmla="*/ 1489530 h 1516471"/>
                  <a:gd name="connsiteX1" fmla="*/ 7205 w 984485"/>
                  <a:gd name="connsiteY1" fmla="*/ 966725 h 1516471"/>
                  <a:gd name="connsiteX2" fmla="*/ 444171 w 984485"/>
                  <a:gd name="connsiteY2" fmla="*/ 21451 h 1516471"/>
                  <a:gd name="connsiteX3" fmla="*/ 973070 w 984485"/>
                  <a:gd name="connsiteY3" fmla="*/ 890269 h 1516471"/>
                  <a:gd name="connsiteX4" fmla="*/ 657869 w 984485"/>
                  <a:gd name="connsiteY4" fmla="*/ 1516471 h 1516471"/>
                  <a:gd name="connsiteX0" fmla="*/ 194054 w 983258"/>
                  <a:gd name="connsiteY0" fmla="*/ 1489530 h 1489530"/>
                  <a:gd name="connsiteX1" fmla="*/ 7206 w 983258"/>
                  <a:gd name="connsiteY1" fmla="*/ 966725 h 1489530"/>
                  <a:gd name="connsiteX2" fmla="*/ 444172 w 983258"/>
                  <a:gd name="connsiteY2" fmla="*/ 21451 h 1489530"/>
                  <a:gd name="connsiteX3" fmla="*/ 973071 w 983258"/>
                  <a:gd name="connsiteY3" fmla="*/ 890269 h 1489530"/>
                  <a:gd name="connsiteX4" fmla="*/ 632240 w 983258"/>
                  <a:gd name="connsiteY4" fmla="*/ 1489530 h 1489530"/>
                  <a:gd name="connsiteX0" fmla="*/ 194054 w 958856"/>
                  <a:gd name="connsiteY0" fmla="*/ 1468401 h 1468401"/>
                  <a:gd name="connsiteX1" fmla="*/ 7206 w 958856"/>
                  <a:gd name="connsiteY1" fmla="*/ 945596 h 1468401"/>
                  <a:gd name="connsiteX2" fmla="*/ 444172 w 958856"/>
                  <a:gd name="connsiteY2" fmla="*/ 322 h 1468401"/>
                  <a:gd name="connsiteX3" fmla="*/ 947441 w 958856"/>
                  <a:gd name="connsiteY3" fmla="*/ 847587 h 1468401"/>
                  <a:gd name="connsiteX4" fmla="*/ 632240 w 958856"/>
                  <a:gd name="connsiteY4" fmla="*/ 1468401 h 1468401"/>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786 h 1473786"/>
                  <a:gd name="connsiteX1" fmla="*/ 6054 w 957704"/>
                  <a:gd name="connsiteY1" fmla="*/ 950981 h 1473786"/>
                  <a:gd name="connsiteX2" fmla="*/ 417391 w 957704"/>
                  <a:gd name="connsiteY2" fmla="*/ 319 h 1473786"/>
                  <a:gd name="connsiteX3" fmla="*/ 946289 w 957704"/>
                  <a:gd name="connsiteY3" fmla="*/ 852972 h 1473786"/>
                  <a:gd name="connsiteX4" fmla="*/ 631088 w 957704"/>
                  <a:gd name="connsiteY4" fmla="*/ 1473786 h 1473786"/>
                  <a:gd name="connsiteX0" fmla="*/ 192902 w 957704"/>
                  <a:gd name="connsiteY0" fmla="*/ 1473466 h 1473466"/>
                  <a:gd name="connsiteX1" fmla="*/ 6054 w 957704"/>
                  <a:gd name="connsiteY1" fmla="*/ 950661 h 1473466"/>
                  <a:gd name="connsiteX2" fmla="*/ 417391 w 957704"/>
                  <a:gd name="connsiteY2" fmla="*/ -1 h 1473466"/>
                  <a:gd name="connsiteX3" fmla="*/ 946289 w 957704"/>
                  <a:gd name="connsiteY3" fmla="*/ 852652 h 1473466"/>
                  <a:gd name="connsiteX4" fmla="*/ 631088 w 957704"/>
                  <a:gd name="connsiteY4" fmla="*/ 1473466 h 1473466"/>
                  <a:gd name="connsiteX0" fmla="*/ 192902 w 943205"/>
                  <a:gd name="connsiteY0" fmla="*/ 1473467 h 1473467"/>
                  <a:gd name="connsiteX1" fmla="*/ 6054 w 943205"/>
                  <a:gd name="connsiteY1" fmla="*/ 950662 h 1473467"/>
                  <a:gd name="connsiteX2" fmla="*/ 417391 w 943205"/>
                  <a:gd name="connsiteY2" fmla="*/ 0 h 1473467"/>
                  <a:gd name="connsiteX3" fmla="*/ 930912 w 943205"/>
                  <a:gd name="connsiteY3" fmla="*/ 852653 h 1473467"/>
                  <a:gd name="connsiteX4" fmla="*/ 631088 w 943205"/>
                  <a:gd name="connsiteY4" fmla="*/ 1473467 h 1473467"/>
                  <a:gd name="connsiteX0" fmla="*/ 190405 w 940708"/>
                  <a:gd name="connsiteY0" fmla="*/ 1495020 h 1495020"/>
                  <a:gd name="connsiteX1" fmla="*/ 3557 w 940708"/>
                  <a:gd name="connsiteY1" fmla="*/ 972215 h 1495020"/>
                  <a:gd name="connsiteX2" fmla="*/ 353382 w 940708"/>
                  <a:gd name="connsiteY2" fmla="*/ 0 h 1495020"/>
                  <a:gd name="connsiteX3" fmla="*/ 928415 w 940708"/>
                  <a:gd name="connsiteY3" fmla="*/ 874206 h 1495020"/>
                  <a:gd name="connsiteX4" fmla="*/ 628591 w 940708"/>
                  <a:gd name="connsiteY4" fmla="*/ 1495020 h 1495020"/>
                  <a:gd name="connsiteX0" fmla="*/ 281357 w 1031660"/>
                  <a:gd name="connsiteY0" fmla="*/ 1495020 h 1495020"/>
                  <a:gd name="connsiteX1" fmla="*/ 2242 w 1031660"/>
                  <a:gd name="connsiteY1" fmla="*/ 934498 h 1495020"/>
                  <a:gd name="connsiteX2" fmla="*/ 444334 w 1031660"/>
                  <a:gd name="connsiteY2" fmla="*/ 0 h 1495020"/>
                  <a:gd name="connsiteX3" fmla="*/ 1019367 w 1031660"/>
                  <a:gd name="connsiteY3" fmla="*/ 874206 h 1495020"/>
                  <a:gd name="connsiteX4" fmla="*/ 719543 w 1031660"/>
                  <a:gd name="connsiteY4" fmla="*/ 1495020 h 1495020"/>
                  <a:gd name="connsiteX0" fmla="*/ 280647 w 1030950"/>
                  <a:gd name="connsiteY0" fmla="*/ 1495020 h 1495020"/>
                  <a:gd name="connsiteX1" fmla="*/ 1532 w 1030950"/>
                  <a:gd name="connsiteY1" fmla="*/ 934498 h 1495020"/>
                  <a:gd name="connsiteX2" fmla="*/ 443624 w 1030950"/>
                  <a:gd name="connsiteY2" fmla="*/ 0 h 1495020"/>
                  <a:gd name="connsiteX3" fmla="*/ 1018657 w 1030950"/>
                  <a:gd name="connsiteY3" fmla="*/ 874206 h 1495020"/>
                  <a:gd name="connsiteX4" fmla="*/ 718833 w 1030950"/>
                  <a:gd name="connsiteY4" fmla="*/ 1495020 h 1495020"/>
                  <a:gd name="connsiteX0" fmla="*/ 298745 w 1031106"/>
                  <a:gd name="connsiteY0" fmla="*/ 1503102 h 1503102"/>
                  <a:gd name="connsiteX1" fmla="*/ 1688 w 1031106"/>
                  <a:gd name="connsiteY1" fmla="*/ 934498 h 1503102"/>
                  <a:gd name="connsiteX2" fmla="*/ 443780 w 1031106"/>
                  <a:gd name="connsiteY2" fmla="*/ 0 h 1503102"/>
                  <a:gd name="connsiteX3" fmla="*/ 1018813 w 1031106"/>
                  <a:gd name="connsiteY3" fmla="*/ 874206 h 1503102"/>
                  <a:gd name="connsiteX4" fmla="*/ 718989 w 1031106"/>
                  <a:gd name="connsiteY4" fmla="*/ 1495020 h 1503102"/>
                  <a:gd name="connsiteX0" fmla="*/ 299147 w 1031508"/>
                  <a:gd name="connsiteY0" fmla="*/ 1503102 h 1503102"/>
                  <a:gd name="connsiteX1" fmla="*/ 2090 w 1031508"/>
                  <a:gd name="connsiteY1" fmla="*/ 934498 h 1503102"/>
                  <a:gd name="connsiteX2" fmla="*/ 444182 w 1031508"/>
                  <a:gd name="connsiteY2" fmla="*/ 0 h 1503102"/>
                  <a:gd name="connsiteX3" fmla="*/ 1019215 w 1031508"/>
                  <a:gd name="connsiteY3" fmla="*/ 874206 h 1503102"/>
                  <a:gd name="connsiteX4" fmla="*/ 719391 w 1031508"/>
                  <a:gd name="connsiteY4" fmla="*/ 1495020 h 1503102"/>
                  <a:gd name="connsiteX0" fmla="*/ 301686 w 1034047"/>
                  <a:gd name="connsiteY0" fmla="*/ 1503102 h 1503102"/>
                  <a:gd name="connsiteX1" fmla="*/ 2065 w 1034047"/>
                  <a:gd name="connsiteY1" fmla="*/ 972215 h 1503102"/>
                  <a:gd name="connsiteX2" fmla="*/ 446721 w 1034047"/>
                  <a:gd name="connsiteY2" fmla="*/ 0 h 1503102"/>
                  <a:gd name="connsiteX3" fmla="*/ 1021754 w 1034047"/>
                  <a:gd name="connsiteY3" fmla="*/ 874206 h 1503102"/>
                  <a:gd name="connsiteX4" fmla="*/ 721930 w 1034047"/>
                  <a:gd name="connsiteY4" fmla="*/ 1495020 h 1503102"/>
                  <a:gd name="connsiteX0" fmla="*/ 316925 w 1049286"/>
                  <a:gd name="connsiteY0" fmla="*/ 1503102 h 1503102"/>
                  <a:gd name="connsiteX1" fmla="*/ 1926 w 1049286"/>
                  <a:gd name="connsiteY1" fmla="*/ 988380 h 1503102"/>
                  <a:gd name="connsiteX2" fmla="*/ 461960 w 1049286"/>
                  <a:gd name="connsiteY2" fmla="*/ 0 h 1503102"/>
                  <a:gd name="connsiteX3" fmla="*/ 1036993 w 1049286"/>
                  <a:gd name="connsiteY3" fmla="*/ 874206 h 1503102"/>
                  <a:gd name="connsiteX4" fmla="*/ 737169 w 1049286"/>
                  <a:gd name="connsiteY4" fmla="*/ 1495020 h 1503102"/>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 name="connsiteX0" fmla="*/ 316575 w 1048936"/>
                  <a:gd name="connsiteY0" fmla="*/ 1434920 h 1434920"/>
                  <a:gd name="connsiteX1" fmla="*/ 1576 w 1048936"/>
                  <a:gd name="connsiteY1" fmla="*/ 920198 h 1434920"/>
                  <a:gd name="connsiteX2" fmla="*/ 446440 w 1048936"/>
                  <a:gd name="connsiteY2" fmla="*/ 0 h 1434920"/>
                  <a:gd name="connsiteX3" fmla="*/ 1036643 w 1048936"/>
                  <a:gd name="connsiteY3" fmla="*/ 806024 h 1434920"/>
                  <a:gd name="connsiteX4" fmla="*/ 736819 w 1048936"/>
                  <a:gd name="connsiteY4" fmla="*/ 1426838 h 1434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936" h="1434920">
                    <a:moveTo>
                      <a:pt x="316575" y="1434920"/>
                    </a:moveTo>
                    <a:cubicBezTo>
                      <a:pt x="186127" y="1313356"/>
                      <a:pt x="-20068" y="1159351"/>
                      <a:pt x="1576" y="920198"/>
                    </a:cubicBezTo>
                    <a:cubicBezTo>
                      <a:pt x="23220" y="681045"/>
                      <a:pt x="453766" y="420451"/>
                      <a:pt x="446440" y="0"/>
                    </a:cubicBezTo>
                    <a:cubicBezTo>
                      <a:pt x="674910" y="255427"/>
                      <a:pt x="981377" y="551466"/>
                      <a:pt x="1036643" y="806024"/>
                    </a:cubicBezTo>
                    <a:cubicBezTo>
                      <a:pt x="1091909" y="1060582"/>
                      <a:pt x="955371" y="1227545"/>
                      <a:pt x="736819" y="1426838"/>
                    </a:cubicBezTo>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37" name="Freeform 405">
                <a:extLst>
                  <a:ext uri="{FF2B5EF4-FFF2-40B4-BE49-F238E27FC236}">
                    <a16:creationId xmlns:a16="http://schemas.microsoft.com/office/drawing/2014/main" id="{ECA0E578-3631-4448-B9EA-7C09C25100A4}"/>
                  </a:ext>
                </a:extLst>
              </p:cNvPr>
              <p:cNvSpPr/>
              <p:nvPr/>
            </p:nvSpPr>
            <p:spPr bwMode="gray">
              <a:xfrm>
                <a:off x="-886112" y="3346900"/>
                <a:ext cx="408180" cy="466865"/>
              </a:xfrm>
              <a:custGeom>
                <a:avLst/>
                <a:gdLst>
                  <a:gd name="connsiteX0" fmla="*/ 312344 w 730519"/>
                  <a:gd name="connsiteY0" fmla="*/ 1257698 h 1257698"/>
                  <a:gd name="connsiteX1" fmla="*/ 845 w 730519"/>
                  <a:gd name="connsiteY1" fmla="*/ 745232 h 1257698"/>
                  <a:gd name="connsiteX2" fmla="*/ 221909 w 730519"/>
                  <a:gd name="connsiteY2" fmla="*/ 443782 h 1257698"/>
                  <a:gd name="connsiteX3" fmla="*/ 272151 w 730519"/>
                  <a:gd name="connsiteY3" fmla="*/ 1654 h 1257698"/>
                  <a:gd name="connsiteX4" fmla="*/ 724326 w 730519"/>
                  <a:gd name="connsiteY4" fmla="*/ 614604 h 1257698"/>
                  <a:gd name="connsiteX5" fmla="*/ 493214 w 730519"/>
                  <a:gd name="connsiteY5" fmla="*/ 1257698 h 1257698"/>
                  <a:gd name="connsiteX0" fmla="*/ 236291 w 654466"/>
                  <a:gd name="connsiteY0" fmla="*/ 1257760 h 1257760"/>
                  <a:gd name="connsiteX1" fmla="*/ 1236 w 654466"/>
                  <a:gd name="connsiteY1" fmla="*/ 826117 h 1257760"/>
                  <a:gd name="connsiteX2" fmla="*/ 145856 w 654466"/>
                  <a:gd name="connsiteY2" fmla="*/ 443844 h 1257760"/>
                  <a:gd name="connsiteX3" fmla="*/ 196098 w 654466"/>
                  <a:gd name="connsiteY3" fmla="*/ 1716 h 1257760"/>
                  <a:gd name="connsiteX4" fmla="*/ 648273 w 654466"/>
                  <a:gd name="connsiteY4" fmla="*/ 614666 h 1257760"/>
                  <a:gd name="connsiteX5" fmla="*/ 417161 w 654466"/>
                  <a:gd name="connsiteY5" fmla="*/ 1257760 h 1257760"/>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4849 h 1214849"/>
                  <a:gd name="connsiteX1" fmla="*/ 1566 w 654796"/>
                  <a:gd name="connsiteY1" fmla="*/ 783206 h 1214849"/>
                  <a:gd name="connsiteX2" fmla="*/ 146186 w 654796"/>
                  <a:gd name="connsiteY2" fmla="*/ 400933 h 1214849"/>
                  <a:gd name="connsiteX3" fmla="*/ 376615 w 654796"/>
                  <a:gd name="connsiteY3" fmla="*/ 1910 h 1214849"/>
                  <a:gd name="connsiteX4" fmla="*/ 648603 w 654796"/>
                  <a:gd name="connsiteY4" fmla="*/ 571755 h 1214849"/>
                  <a:gd name="connsiteX5" fmla="*/ 417491 w 654796"/>
                  <a:gd name="connsiteY5" fmla="*/ 1214849 h 1214849"/>
                  <a:gd name="connsiteX0" fmla="*/ 236621 w 654796"/>
                  <a:gd name="connsiteY0" fmla="*/ 1212938 h 1212938"/>
                  <a:gd name="connsiteX1" fmla="*/ 1566 w 654796"/>
                  <a:gd name="connsiteY1" fmla="*/ 781295 h 1212938"/>
                  <a:gd name="connsiteX2" fmla="*/ 146186 w 654796"/>
                  <a:gd name="connsiteY2" fmla="*/ 399022 h 1212938"/>
                  <a:gd name="connsiteX3" fmla="*/ 376615 w 654796"/>
                  <a:gd name="connsiteY3" fmla="*/ -1 h 1212938"/>
                  <a:gd name="connsiteX4" fmla="*/ 648603 w 654796"/>
                  <a:gd name="connsiteY4" fmla="*/ 569844 h 1212938"/>
                  <a:gd name="connsiteX5" fmla="*/ 417491 w 654796"/>
                  <a:gd name="connsiteY5" fmla="*/ 1212938 h 1212938"/>
                  <a:gd name="connsiteX0" fmla="*/ 236621 w 654796"/>
                  <a:gd name="connsiteY0" fmla="*/ 1212939 h 1212939"/>
                  <a:gd name="connsiteX1" fmla="*/ 1566 w 654796"/>
                  <a:gd name="connsiteY1" fmla="*/ 781296 h 1212939"/>
                  <a:gd name="connsiteX2" fmla="*/ 146186 w 654796"/>
                  <a:gd name="connsiteY2" fmla="*/ 399023 h 1212939"/>
                  <a:gd name="connsiteX3" fmla="*/ 376615 w 654796"/>
                  <a:gd name="connsiteY3" fmla="*/ 0 h 1212939"/>
                  <a:gd name="connsiteX4" fmla="*/ 648603 w 654796"/>
                  <a:gd name="connsiteY4" fmla="*/ 569845 h 1212939"/>
                  <a:gd name="connsiteX5" fmla="*/ 417491 w 654796"/>
                  <a:gd name="connsiteY5" fmla="*/ 1212939 h 1212939"/>
                  <a:gd name="connsiteX0" fmla="*/ 236621 w 691880"/>
                  <a:gd name="connsiteY0" fmla="*/ 1212939 h 1212939"/>
                  <a:gd name="connsiteX1" fmla="*/ 1566 w 691880"/>
                  <a:gd name="connsiteY1" fmla="*/ 781296 h 1212939"/>
                  <a:gd name="connsiteX2" fmla="*/ 146186 w 691880"/>
                  <a:gd name="connsiteY2" fmla="*/ 399023 h 1212939"/>
                  <a:gd name="connsiteX3" fmla="*/ 376615 w 691880"/>
                  <a:gd name="connsiteY3" fmla="*/ 0 h 1212939"/>
                  <a:gd name="connsiteX4" fmla="*/ 686825 w 691880"/>
                  <a:gd name="connsiteY4" fmla="*/ 666832 h 1212939"/>
                  <a:gd name="connsiteX5" fmla="*/ 417491 w 691880"/>
                  <a:gd name="connsiteY5" fmla="*/ 1212939 h 1212939"/>
                  <a:gd name="connsiteX0" fmla="*/ 236621 w 701317"/>
                  <a:gd name="connsiteY0" fmla="*/ 1212939 h 1212939"/>
                  <a:gd name="connsiteX1" fmla="*/ 1566 w 701317"/>
                  <a:gd name="connsiteY1" fmla="*/ 781296 h 1212939"/>
                  <a:gd name="connsiteX2" fmla="*/ 146186 w 701317"/>
                  <a:gd name="connsiteY2" fmla="*/ 399023 h 1212939"/>
                  <a:gd name="connsiteX3" fmla="*/ 376615 w 701317"/>
                  <a:gd name="connsiteY3" fmla="*/ 0 h 1212939"/>
                  <a:gd name="connsiteX4" fmla="*/ 686825 w 701317"/>
                  <a:gd name="connsiteY4" fmla="*/ 666832 h 1212939"/>
                  <a:gd name="connsiteX5" fmla="*/ 559456 w 701317"/>
                  <a:gd name="connsiteY5" fmla="*/ 1185998 h 1212939"/>
                  <a:gd name="connsiteX0" fmla="*/ 236621 w 739946"/>
                  <a:gd name="connsiteY0" fmla="*/ 1212939 h 1212939"/>
                  <a:gd name="connsiteX1" fmla="*/ 1566 w 739946"/>
                  <a:gd name="connsiteY1" fmla="*/ 781296 h 1212939"/>
                  <a:gd name="connsiteX2" fmla="*/ 146186 w 739946"/>
                  <a:gd name="connsiteY2" fmla="*/ 399023 h 1212939"/>
                  <a:gd name="connsiteX3" fmla="*/ 376615 w 739946"/>
                  <a:gd name="connsiteY3" fmla="*/ 0 h 1212939"/>
                  <a:gd name="connsiteX4" fmla="*/ 730507 w 739946"/>
                  <a:gd name="connsiteY4" fmla="*/ 634503 h 1212939"/>
                  <a:gd name="connsiteX5" fmla="*/ 559456 w 739946"/>
                  <a:gd name="connsiteY5" fmla="*/ 1185998 h 1212939"/>
                  <a:gd name="connsiteX0" fmla="*/ 236572 w 739897"/>
                  <a:gd name="connsiteY0" fmla="*/ 1164445 h 1164445"/>
                  <a:gd name="connsiteX1" fmla="*/ 1517 w 739897"/>
                  <a:gd name="connsiteY1" fmla="*/ 732802 h 1164445"/>
                  <a:gd name="connsiteX2" fmla="*/ 146137 w 739897"/>
                  <a:gd name="connsiteY2" fmla="*/ 350529 h 1164445"/>
                  <a:gd name="connsiteX3" fmla="*/ 354725 w 739897"/>
                  <a:gd name="connsiteY3" fmla="*/ 0 h 1164445"/>
                  <a:gd name="connsiteX4" fmla="*/ 730458 w 739897"/>
                  <a:gd name="connsiteY4" fmla="*/ 586009 h 1164445"/>
                  <a:gd name="connsiteX5" fmla="*/ 559407 w 739897"/>
                  <a:gd name="connsiteY5"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37400 w 740725"/>
                  <a:gd name="connsiteY0" fmla="*/ 1164445 h 1164445"/>
                  <a:gd name="connsiteX1" fmla="*/ 2345 w 740725"/>
                  <a:gd name="connsiteY1" fmla="*/ 732802 h 1164445"/>
                  <a:gd name="connsiteX2" fmla="*/ 355553 w 740725"/>
                  <a:gd name="connsiteY2" fmla="*/ 0 h 1164445"/>
                  <a:gd name="connsiteX3" fmla="*/ 731286 w 740725"/>
                  <a:gd name="connsiteY3" fmla="*/ 586009 h 1164445"/>
                  <a:gd name="connsiteX4" fmla="*/ 560235 w 740725"/>
                  <a:gd name="connsiteY4" fmla="*/ 1137504 h 1164445"/>
                  <a:gd name="connsiteX0" fmla="*/ 242766 w 746091"/>
                  <a:gd name="connsiteY0" fmla="*/ 1164445 h 1164445"/>
                  <a:gd name="connsiteX1" fmla="*/ 2250 w 746091"/>
                  <a:gd name="connsiteY1" fmla="*/ 700472 h 1164445"/>
                  <a:gd name="connsiteX2" fmla="*/ 360919 w 746091"/>
                  <a:gd name="connsiteY2" fmla="*/ 0 h 1164445"/>
                  <a:gd name="connsiteX3" fmla="*/ 736652 w 746091"/>
                  <a:gd name="connsiteY3" fmla="*/ 586009 h 1164445"/>
                  <a:gd name="connsiteX4" fmla="*/ 565601 w 746091"/>
                  <a:gd name="connsiteY4" fmla="*/ 1137504 h 1164445"/>
                  <a:gd name="connsiteX0" fmla="*/ 182965 w 751812"/>
                  <a:gd name="connsiteY0" fmla="*/ 1148280 h 1148280"/>
                  <a:gd name="connsiteX1" fmla="*/ 7971 w 751812"/>
                  <a:gd name="connsiteY1" fmla="*/ 700472 h 1148280"/>
                  <a:gd name="connsiteX2" fmla="*/ 366640 w 751812"/>
                  <a:gd name="connsiteY2" fmla="*/ 0 h 1148280"/>
                  <a:gd name="connsiteX3" fmla="*/ 742373 w 751812"/>
                  <a:gd name="connsiteY3" fmla="*/ 586009 h 1148280"/>
                  <a:gd name="connsiteX4" fmla="*/ 571322 w 751812"/>
                  <a:gd name="connsiteY4" fmla="*/ 1137504 h 1148280"/>
                  <a:gd name="connsiteX0" fmla="*/ 205889 w 748841"/>
                  <a:gd name="connsiteY0" fmla="*/ 1142892 h 1142892"/>
                  <a:gd name="connsiteX1" fmla="*/ 5000 w 748841"/>
                  <a:gd name="connsiteY1" fmla="*/ 700472 h 1142892"/>
                  <a:gd name="connsiteX2" fmla="*/ 363669 w 748841"/>
                  <a:gd name="connsiteY2" fmla="*/ 0 h 1142892"/>
                  <a:gd name="connsiteX3" fmla="*/ 739402 w 748841"/>
                  <a:gd name="connsiteY3" fmla="*/ 586009 h 1142892"/>
                  <a:gd name="connsiteX4" fmla="*/ 568351 w 748841"/>
                  <a:gd name="connsiteY4" fmla="*/ 1137504 h 1142892"/>
                  <a:gd name="connsiteX0" fmla="*/ 187451 w 751119"/>
                  <a:gd name="connsiteY0" fmla="*/ 1142892 h 1142892"/>
                  <a:gd name="connsiteX1" fmla="*/ 7278 w 751119"/>
                  <a:gd name="connsiteY1" fmla="*/ 700472 h 1142892"/>
                  <a:gd name="connsiteX2" fmla="*/ 365947 w 751119"/>
                  <a:gd name="connsiteY2" fmla="*/ 0 h 1142892"/>
                  <a:gd name="connsiteX3" fmla="*/ 741680 w 751119"/>
                  <a:gd name="connsiteY3" fmla="*/ 586009 h 1142892"/>
                  <a:gd name="connsiteX4" fmla="*/ 570629 w 751119"/>
                  <a:gd name="connsiteY4" fmla="*/ 1137504 h 11428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119" h="1142892">
                    <a:moveTo>
                      <a:pt x="187451" y="1142892"/>
                    </a:moveTo>
                    <a:cubicBezTo>
                      <a:pt x="39237" y="954485"/>
                      <a:pt x="-22471" y="890954"/>
                      <a:pt x="7278" y="700472"/>
                    </a:cubicBezTo>
                    <a:cubicBezTo>
                      <a:pt x="37027" y="509990"/>
                      <a:pt x="320900" y="272324"/>
                      <a:pt x="365947" y="0"/>
                    </a:cubicBezTo>
                    <a:cubicBezTo>
                      <a:pt x="504285" y="195504"/>
                      <a:pt x="704836" y="376668"/>
                      <a:pt x="741680" y="586009"/>
                    </a:cubicBezTo>
                    <a:cubicBezTo>
                      <a:pt x="778524" y="795350"/>
                      <a:pt x="704607" y="920627"/>
                      <a:pt x="570629" y="1137504"/>
                    </a:cubicBezTo>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38" name="Freeform 406">
                <a:extLst>
                  <a:ext uri="{FF2B5EF4-FFF2-40B4-BE49-F238E27FC236}">
                    <a16:creationId xmlns:a16="http://schemas.microsoft.com/office/drawing/2014/main" id="{8528058D-115E-42AB-B03A-50D98FD5BE53}"/>
                  </a:ext>
                </a:extLst>
              </p:cNvPr>
              <p:cNvSpPr/>
              <p:nvPr/>
            </p:nvSpPr>
            <p:spPr bwMode="gray">
              <a:xfrm>
                <a:off x="-820606" y="3535648"/>
                <a:ext cx="273691" cy="278112"/>
              </a:xfrm>
              <a:custGeom>
                <a:avLst/>
                <a:gdLst>
                  <a:gd name="connsiteX0" fmla="*/ 95316 w 319358"/>
                  <a:gd name="connsiteY0" fmla="*/ 870562 h 870562"/>
                  <a:gd name="connsiteX1" fmla="*/ 66 w 319358"/>
                  <a:gd name="connsiteY1" fmla="*/ 483212 h 870562"/>
                  <a:gd name="connsiteX2" fmla="*/ 108016 w 319358"/>
                  <a:gd name="connsiteY2" fmla="*/ 324462 h 870562"/>
                  <a:gd name="connsiteX3" fmla="*/ 165166 w 319358"/>
                  <a:gd name="connsiteY3" fmla="*/ 612 h 870562"/>
                  <a:gd name="connsiteX4" fmla="*/ 317566 w 319358"/>
                  <a:gd name="connsiteY4" fmla="*/ 413362 h 870562"/>
                  <a:gd name="connsiteX5" fmla="*/ 235016 w 319358"/>
                  <a:gd name="connsiteY5" fmla="*/ 864212 h 870562"/>
                  <a:gd name="connsiteX0" fmla="*/ 95316 w 342347"/>
                  <a:gd name="connsiteY0" fmla="*/ 870562 h 870562"/>
                  <a:gd name="connsiteX1" fmla="*/ 66 w 342347"/>
                  <a:gd name="connsiteY1" fmla="*/ 483212 h 870562"/>
                  <a:gd name="connsiteX2" fmla="*/ 108016 w 342347"/>
                  <a:gd name="connsiteY2" fmla="*/ 324462 h 870562"/>
                  <a:gd name="connsiteX3" fmla="*/ 165166 w 342347"/>
                  <a:gd name="connsiteY3" fmla="*/ 612 h 870562"/>
                  <a:gd name="connsiteX4" fmla="*/ 317566 w 342347"/>
                  <a:gd name="connsiteY4" fmla="*/ 413362 h 870562"/>
                  <a:gd name="connsiteX5" fmla="*/ 319044 w 342347"/>
                  <a:gd name="connsiteY5" fmla="*/ 842659 h 870562"/>
                  <a:gd name="connsiteX0" fmla="*/ 95316 w 371927"/>
                  <a:gd name="connsiteY0" fmla="*/ 870562 h 870562"/>
                  <a:gd name="connsiteX1" fmla="*/ 66 w 371927"/>
                  <a:gd name="connsiteY1" fmla="*/ 483212 h 870562"/>
                  <a:gd name="connsiteX2" fmla="*/ 108016 w 371927"/>
                  <a:gd name="connsiteY2" fmla="*/ 324462 h 870562"/>
                  <a:gd name="connsiteX3" fmla="*/ 165166 w 371927"/>
                  <a:gd name="connsiteY3" fmla="*/ 612 h 870562"/>
                  <a:gd name="connsiteX4" fmla="*/ 367982 w 371927"/>
                  <a:gd name="connsiteY4" fmla="*/ 413363 h 870562"/>
                  <a:gd name="connsiteX5" fmla="*/ 319044 w 371927"/>
                  <a:gd name="connsiteY5" fmla="*/ 842659 h 870562"/>
                  <a:gd name="connsiteX0" fmla="*/ 95316 w 371927"/>
                  <a:gd name="connsiteY0" fmla="*/ 827551 h 827551"/>
                  <a:gd name="connsiteX1" fmla="*/ 66 w 371927"/>
                  <a:gd name="connsiteY1" fmla="*/ 440201 h 827551"/>
                  <a:gd name="connsiteX2" fmla="*/ 108016 w 371927"/>
                  <a:gd name="connsiteY2" fmla="*/ 281451 h 827551"/>
                  <a:gd name="connsiteX3" fmla="*/ 205499 w 371927"/>
                  <a:gd name="connsiteY3" fmla="*/ 707 h 827551"/>
                  <a:gd name="connsiteX4" fmla="*/ 367982 w 371927"/>
                  <a:gd name="connsiteY4" fmla="*/ 370352 h 827551"/>
                  <a:gd name="connsiteX5" fmla="*/ 319044 w 371927"/>
                  <a:gd name="connsiteY5" fmla="*/ 799648 h 827551"/>
                  <a:gd name="connsiteX0" fmla="*/ 98435 w 375046"/>
                  <a:gd name="connsiteY0" fmla="*/ 826844 h 826844"/>
                  <a:gd name="connsiteX1" fmla="*/ 3185 w 375046"/>
                  <a:gd name="connsiteY1" fmla="*/ 439494 h 826844"/>
                  <a:gd name="connsiteX2" fmla="*/ 208618 w 375046"/>
                  <a:gd name="connsiteY2" fmla="*/ 0 h 826844"/>
                  <a:gd name="connsiteX3" fmla="*/ 371101 w 375046"/>
                  <a:gd name="connsiteY3" fmla="*/ 369645 h 826844"/>
                  <a:gd name="connsiteX4" fmla="*/ 322163 w 375046"/>
                  <a:gd name="connsiteY4" fmla="*/ 798941 h 826844"/>
                  <a:gd name="connsiteX0" fmla="*/ 47224 w 323835"/>
                  <a:gd name="connsiteY0" fmla="*/ 826845 h 826845"/>
                  <a:gd name="connsiteX1" fmla="*/ 9112 w 323835"/>
                  <a:gd name="connsiteY1" fmla="*/ 374836 h 826845"/>
                  <a:gd name="connsiteX2" fmla="*/ 157407 w 323835"/>
                  <a:gd name="connsiteY2" fmla="*/ 1 h 826845"/>
                  <a:gd name="connsiteX3" fmla="*/ 319890 w 323835"/>
                  <a:gd name="connsiteY3" fmla="*/ 369646 h 826845"/>
                  <a:gd name="connsiteX4" fmla="*/ 270952 w 323835"/>
                  <a:gd name="connsiteY4" fmla="*/ 798942 h 826845"/>
                  <a:gd name="connsiteX0" fmla="*/ 48467 w 325078"/>
                  <a:gd name="connsiteY0" fmla="*/ 810682 h 810682"/>
                  <a:gd name="connsiteX1" fmla="*/ 10355 w 325078"/>
                  <a:gd name="connsiteY1" fmla="*/ 358673 h 810682"/>
                  <a:gd name="connsiteX2" fmla="*/ 175456 w 325078"/>
                  <a:gd name="connsiteY2" fmla="*/ 3 h 810682"/>
                  <a:gd name="connsiteX3" fmla="*/ 321133 w 325078"/>
                  <a:gd name="connsiteY3" fmla="*/ 353483 h 810682"/>
                  <a:gd name="connsiteX4" fmla="*/ 272195 w 325078"/>
                  <a:gd name="connsiteY4" fmla="*/ 782779 h 810682"/>
                  <a:gd name="connsiteX0" fmla="*/ 55744 w 322272"/>
                  <a:gd name="connsiteY0" fmla="*/ 805294 h 805294"/>
                  <a:gd name="connsiteX1" fmla="*/ 7549 w 322272"/>
                  <a:gd name="connsiteY1" fmla="*/ 358673 h 805294"/>
                  <a:gd name="connsiteX2" fmla="*/ 172650 w 322272"/>
                  <a:gd name="connsiteY2" fmla="*/ 3 h 805294"/>
                  <a:gd name="connsiteX3" fmla="*/ 318327 w 322272"/>
                  <a:gd name="connsiteY3" fmla="*/ 353483 h 805294"/>
                  <a:gd name="connsiteX4" fmla="*/ 269389 w 322272"/>
                  <a:gd name="connsiteY4" fmla="*/ 782779 h 805294"/>
                  <a:gd name="connsiteX0" fmla="*/ 55744 w 321540"/>
                  <a:gd name="connsiteY0" fmla="*/ 805294 h 805294"/>
                  <a:gd name="connsiteX1" fmla="*/ 7549 w 321540"/>
                  <a:gd name="connsiteY1" fmla="*/ 358673 h 805294"/>
                  <a:gd name="connsiteX2" fmla="*/ 172650 w 321540"/>
                  <a:gd name="connsiteY2" fmla="*/ 3 h 805294"/>
                  <a:gd name="connsiteX3" fmla="*/ 318327 w 321540"/>
                  <a:gd name="connsiteY3" fmla="*/ 353483 h 805294"/>
                  <a:gd name="connsiteX4" fmla="*/ 262564 w 321540"/>
                  <a:gd name="connsiteY4" fmla="*/ 798944 h 805294"/>
                  <a:gd name="connsiteX0" fmla="*/ 55744 w 321540"/>
                  <a:gd name="connsiteY0" fmla="*/ 789129 h 798944"/>
                  <a:gd name="connsiteX1" fmla="*/ 7549 w 321540"/>
                  <a:gd name="connsiteY1" fmla="*/ 358673 h 798944"/>
                  <a:gd name="connsiteX2" fmla="*/ 172650 w 321540"/>
                  <a:gd name="connsiteY2" fmla="*/ 3 h 798944"/>
                  <a:gd name="connsiteX3" fmla="*/ 318327 w 321540"/>
                  <a:gd name="connsiteY3" fmla="*/ 353483 h 798944"/>
                  <a:gd name="connsiteX4" fmla="*/ 262564 w 321540"/>
                  <a:gd name="connsiteY4" fmla="*/ 798944 h 798944"/>
                  <a:gd name="connsiteX0" fmla="*/ 55744 w 322748"/>
                  <a:gd name="connsiteY0" fmla="*/ 789129 h 789129"/>
                  <a:gd name="connsiteX1" fmla="*/ 7549 w 322748"/>
                  <a:gd name="connsiteY1" fmla="*/ 358673 h 789129"/>
                  <a:gd name="connsiteX2" fmla="*/ 172650 w 322748"/>
                  <a:gd name="connsiteY2" fmla="*/ 3 h 789129"/>
                  <a:gd name="connsiteX3" fmla="*/ 318327 w 322748"/>
                  <a:gd name="connsiteY3" fmla="*/ 353483 h 789129"/>
                  <a:gd name="connsiteX4" fmla="*/ 272801 w 322748"/>
                  <a:gd name="connsiteY4" fmla="*/ 782779 h 789129"/>
                  <a:gd name="connsiteX0" fmla="*/ 61546 w 328550"/>
                  <a:gd name="connsiteY0" fmla="*/ 789600 h 789600"/>
                  <a:gd name="connsiteX1" fmla="*/ 6527 w 328550"/>
                  <a:gd name="connsiteY1" fmla="*/ 426496 h 789600"/>
                  <a:gd name="connsiteX2" fmla="*/ 178452 w 328550"/>
                  <a:gd name="connsiteY2" fmla="*/ 474 h 789600"/>
                  <a:gd name="connsiteX3" fmla="*/ 324129 w 328550"/>
                  <a:gd name="connsiteY3" fmla="*/ 353954 h 789600"/>
                  <a:gd name="connsiteX4" fmla="*/ 278603 w 328550"/>
                  <a:gd name="connsiteY4" fmla="*/ 783250 h 789600"/>
                  <a:gd name="connsiteX0" fmla="*/ 61546 w 331487"/>
                  <a:gd name="connsiteY0" fmla="*/ 789171 h 789171"/>
                  <a:gd name="connsiteX1" fmla="*/ 6527 w 331487"/>
                  <a:gd name="connsiteY1" fmla="*/ 426067 h 789171"/>
                  <a:gd name="connsiteX2" fmla="*/ 178452 w 331487"/>
                  <a:gd name="connsiteY2" fmla="*/ 45 h 789171"/>
                  <a:gd name="connsiteX3" fmla="*/ 327542 w 331487"/>
                  <a:gd name="connsiteY3" fmla="*/ 402018 h 789171"/>
                  <a:gd name="connsiteX4" fmla="*/ 278603 w 331487"/>
                  <a:gd name="connsiteY4" fmla="*/ 782821 h 789171"/>
                  <a:gd name="connsiteX0" fmla="*/ 61895 w 331836"/>
                  <a:gd name="connsiteY0" fmla="*/ 724528 h 724528"/>
                  <a:gd name="connsiteX1" fmla="*/ 6876 w 331836"/>
                  <a:gd name="connsiteY1" fmla="*/ 361424 h 724528"/>
                  <a:gd name="connsiteX2" fmla="*/ 183919 w 331836"/>
                  <a:gd name="connsiteY2" fmla="*/ 61 h 724528"/>
                  <a:gd name="connsiteX3" fmla="*/ 327891 w 331836"/>
                  <a:gd name="connsiteY3" fmla="*/ 337375 h 724528"/>
                  <a:gd name="connsiteX4" fmla="*/ 278952 w 331836"/>
                  <a:gd name="connsiteY4" fmla="*/ 718178 h 724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836" h="724528">
                    <a:moveTo>
                      <a:pt x="61895" y="724528"/>
                    </a:moveTo>
                    <a:cubicBezTo>
                      <a:pt x="13211" y="576361"/>
                      <a:pt x="-13461" y="482169"/>
                      <a:pt x="6876" y="361424"/>
                    </a:cubicBezTo>
                    <a:cubicBezTo>
                      <a:pt x="27213" y="240680"/>
                      <a:pt x="130417" y="4069"/>
                      <a:pt x="183919" y="61"/>
                    </a:cubicBezTo>
                    <a:cubicBezTo>
                      <a:pt x="237422" y="-3947"/>
                      <a:pt x="316249" y="193442"/>
                      <a:pt x="327891" y="337375"/>
                    </a:cubicBezTo>
                    <a:cubicBezTo>
                      <a:pt x="339533" y="481308"/>
                      <a:pt x="326048" y="564719"/>
                      <a:pt x="278952" y="718178"/>
                    </a:cubicBezTo>
                  </a:path>
                </a:pathLst>
              </a:custGeom>
              <a:grp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BBvoice"/>
                  <a:ea typeface="ABBvoice"/>
                  <a:cs typeface="ABBvoice"/>
                </a:endParaRPr>
              </a:p>
            </p:txBody>
          </p:sp>
        </p:grpSp>
      </p:grpSp>
      <p:sp>
        <p:nvSpPr>
          <p:cNvPr id="24" name="AutoShape 6">
            <a:hlinkClick r:id="rId4" action="ppaction://hlinksldjump" highlightClick="1"/>
            <a:extLst>
              <a:ext uri="{FF2B5EF4-FFF2-40B4-BE49-F238E27FC236}">
                <a16:creationId xmlns:a16="http://schemas.microsoft.com/office/drawing/2014/main" id="{33E0B09B-0ECF-4B31-95A8-29ECF7FD7BE2}"/>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pic>
        <p:nvPicPr>
          <p:cNvPr id="27" name="Picture 26" descr="TÜV">
            <a:extLst>
              <a:ext uri="{FF2B5EF4-FFF2-40B4-BE49-F238E27FC236}">
                <a16:creationId xmlns:a16="http://schemas.microsoft.com/office/drawing/2014/main" id="{0ABC826A-78F6-4422-852F-4651F22B55C3}"/>
              </a:ext>
            </a:extLst>
          </p:cNvPr>
          <p:cNvPicPr>
            <a:picLocks noChangeAspect="1" noChangeArrowheads="1"/>
          </p:cNvPicPr>
          <p:nvPr/>
        </p:nvPicPr>
        <p:blipFill rotWithShape="1">
          <a:blip r:embed="rId5"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bwMode="gray">
          <a:xfrm>
            <a:off x="6160526" y="5357114"/>
            <a:ext cx="667408" cy="50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5" descr="mcerts_logo1">
            <a:extLst>
              <a:ext uri="{FF2B5EF4-FFF2-40B4-BE49-F238E27FC236}">
                <a16:creationId xmlns:a16="http://schemas.microsoft.com/office/drawing/2014/main" id="{065F2CC5-68EA-4BA2-82DE-DB5050D9A111}"/>
              </a:ext>
            </a:extLst>
          </p:cNvPr>
          <p:cNvPicPr>
            <a:picLocks noChangeAspect="1" noChangeArrowheads="1"/>
          </p:cNvPicPr>
          <p:nvPr/>
        </p:nvPicPr>
        <p:blipFill rotWithShape="1">
          <a:blip r:embed="rId6" cstate="email">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rcRect r="5842"/>
          <a:stretch/>
        </p:blipFill>
        <p:spPr bwMode="gray">
          <a:xfrm>
            <a:off x="7432093" y="5377243"/>
            <a:ext cx="408788" cy="50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a:extLst>
              <a:ext uri="{FF2B5EF4-FFF2-40B4-BE49-F238E27FC236}">
                <a16:creationId xmlns:a16="http://schemas.microsoft.com/office/drawing/2014/main" id="{6B0100EE-9D9E-4E81-A904-C14F8F52FB8C}"/>
              </a:ext>
            </a:extLst>
          </p:cNvPr>
          <p:cNvPicPr>
            <a:picLocks noChangeAspect="1"/>
          </p:cNvPicPr>
          <p:nvPr/>
        </p:nvPicPr>
        <p:blipFill>
          <a:blip r:embed="rId7">
            <a:duotone>
              <a:schemeClr val="accent3">
                <a:shade val="45000"/>
                <a:satMod val="135000"/>
              </a:schemeClr>
              <a:prstClr val="white"/>
            </a:duotone>
          </a:blip>
          <a:stretch>
            <a:fillRect/>
          </a:stretch>
        </p:blipFill>
        <p:spPr bwMode="gray">
          <a:xfrm>
            <a:off x="6765830" y="5463567"/>
            <a:ext cx="644693" cy="360000"/>
          </a:xfrm>
          <a:prstGeom prst="rect">
            <a:avLst/>
          </a:prstGeom>
        </p:spPr>
      </p:pic>
      <p:sp>
        <p:nvSpPr>
          <p:cNvPr id="32" name="Flowchart: Terminator 31">
            <a:extLst>
              <a:ext uri="{FF2B5EF4-FFF2-40B4-BE49-F238E27FC236}">
                <a16:creationId xmlns:a16="http://schemas.microsoft.com/office/drawing/2014/main" id="{2B090C98-A621-4541-990B-8C4D48AFAFA6}"/>
              </a:ext>
            </a:extLst>
          </p:cNvPr>
          <p:cNvSpPr/>
          <p:nvPr/>
        </p:nvSpPr>
        <p:spPr bwMode="gray">
          <a:xfrm>
            <a:off x="6115965" y="5289992"/>
            <a:ext cx="1944425"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sp>
        <p:nvSpPr>
          <p:cNvPr id="42" name="TextBox 41">
            <a:extLst>
              <a:ext uri="{FF2B5EF4-FFF2-40B4-BE49-F238E27FC236}">
                <a16:creationId xmlns:a16="http://schemas.microsoft.com/office/drawing/2014/main" id="{FE887B66-E114-4DA7-A786-AE59D2487D57}"/>
              </a:ext>
            </a:extLst>
          </p:cNvPr>
          <p:cNvSpPr txBox="1"/>
          <p:nvPr/>
        </p:nvSpPr>
        <p:spPr bwMode="gray">
          <a:xfrm>
            <a:off x="6438716" y="5018249"/>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Emissions</a:t>
            </a:r>
            <a:endParaRPr lang="en-US" sz="1200" dirty="0" err="1">
              <a:solidFill>
                <a:schemeClr val="accent2"/>
              </a:solidFill>
            </a:endParaRPr>
          </a:p>
        </p:txBody>
      </p:sp>
      <p:pic>
        <p:nvPicPr>
          <p:cNvPr id="26" name="Content Placeholder 10">
            <a:extLst>
              <a:ext uri="{FF2B5EF4-FFF2-40B4-BE49-F238E27FC236}">
                <a16:creationId xmlns:a16="http://schemas.microsoft.com/office/drawing/2014/main" id="{ACEA459E-2CA5-4BAA-9986-BF34443E90AB}"/>
              </a:ext>
            </a:extLst>
          </p:cNvPr>
          <p:cNvPicPr>
            <a:picLocks noChangeAspect="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0262108" y="5448787"/>
            <a:ext cx="407558" cy="324000"/>
          </a:xfrm>
          <a:prstGeom prst="rect">
            <a:avLst/>
          </a:prstGeom>
          <a:noFill/>
          <a:ln w="9525">
            <a:noFill/>
            <a:miter lim="800000"/>
            <a:headEnd/>
            <a:tailEnd/>
          </a:ln>
        </p:spPr>
      </p:pic>
      <p:pic>
        <p:nvPicPr>
          <p:cNvPr id="31" name="Picture 10">
            <a:extLst>
              <a:ext uri="{FF2B5EF4-FFF2-40B4-BE49-F238E27FC236}">
                <a16:creationId xmlns:a16="http://schemas.microsoft.com/office/drawing/2014/main" id="{04BF3ED3-F4BD-4960-ADCF-04D53D98B4F5}"/>
              </a:ext>
            </a:extLst>
          </p:cNvPr>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1307006" y="5399375"/>
            <a:ext cx="395864" cy="396000"/>
          </a:xfrm>
          <a:prstGeom prst="rect">
            <a:avLst/>
          </a:prstGeom>
          <a:noFill/>
          <a:ln w="9525">
            <a:noFill/>
            <a:miter lim="800000"/>
            <a:headEnd/>
            <a:tailEnd/>
          </a:ln>
        </p:spPr>
      </p:pic>
      <p:sp>
        <p:nvSpPr>
          <p:cNvPr id="40" name="Flowchart: Terminator 39">
            <a:extLst>
              <a:ext uri="{FF2B5EF4-FFF2-40B4-BE49-F238E27FC236}">
                <a16:creationId xmlns:a16="http://schemas.microsoft.com/office/drawing/2014/main" id="{387F8CD2-4B4F-4876-BE5E-216453D28DE3}"/>
              </a:ext>
            </a:extLst>
          </p:cNvPr>
          <p:cNvSpPr/>
          <p:nvPr/>
        </p:nvSpPr>
        <p:spPr bwMode="gray">
          <a:xfrm>
            <a:off x="10120342" y="5292283"/>
            <a:ext cx="1739381"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pic>
        <p:nvPicPr>
          <p:cNvPr id="41" name="Picture 40">
            <a:extLst>
              <a:ext uri="{FF2B5EF4-FFF2-40B4-BE49-F238E27FC236}">
                <a16:creationId xmlns:a16="http://schemas.microsoft.com/office/drawing/2014/main" id="{DA1869F2-CEE6-41C9-B9F9-D143BADA113F}"/>
              </a:ext>
            </a:extLst>
          </p:cNvPr>
          <p:cNvPicPr>
            <a:picLocks noChangeAspect="1"/>
          </p:cNvPicPr>
          <p:nvPr/>
        </p:nvPicPr>
        <p:blipFill>
          <a:blip r:embed="rId10">
            <a:duotone>
              <a:schemeClr val="accent3">
                <a:shade val="45000"/>
                <a:satMod val="135000"/>
              </a:schemeClr>
              <a:prstClr val="white"/>
            </a:duotone>
          </a:blip>
          <a:stretch>
            <a:fillRect/>
          </a:stretch>
        </p:blipFill>
        <p:spPr>
          <a:xfrm>
            <a:off x="10760567" y="5448787"/>
            <a:ext cx="466725" cy="333375"/>
          </a:xfrm>
          <a:prstGeom prst="rect">
            <a:avLst/>
          </a:prstGeom>
        </p:spPr>
      </p:pic>
      <p:sp>
        <p:nvSpPr>
          <p:cNvPr id="44" name="TextBox 43">
            <a:extLst>
              <a:ext uri="{FF2B5EF4-FFF2-40B4-BE49-F238E27FC236}">
                <a16:creationId xmlns:a16="http://schemas.microsoft.com/office/drawing/2014/main" id="{1E9167B3-3F21-4A4E-B793-BC3CF3B1E490}"/>
              </a:ext>
            </a:extLst>
          </p:cNvPr>
          <p:cNvSpPr txBox="1"/>
          <p:nvPr/>
        </p:nvSpPr>
        <p:spPr bwMode="gray">
          <a:xfrm>
            <a:off x="10347637" y="5008080"/>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Safety</a:t>
            </a:r>
            <a:endParaRPr lang="en-US" sz="1200" dirty="0" err="1">
              <a:solidFill>
                <a:schemeClr val="accent2"/>
              </a:solidFill>
            </a:endParaRPr>
          </a:p>
        </p:txBody>
      </p:sp>
    </p:spTree>
    <p:custDataLst>
      <p:tags r:id="rId1"/>
    </p:custDataLst>
    <p:extLst>
      <p:ext uri="{BB962C8B-B14F-4D97-AF65-F5344CB8AC3E}">
        <p14:creationId xmlns:p14="http://schemas.microsoft.com/office/powerpoint/2010/main" val="373061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A4FEB-DD82-431E-96DB-974DEA3B5F7F}"/>
              </a:ext>
            </a:extLst>
          </p:cNvPr>
          <p:cNvSpPr>
            <a:spLocks noGrp="1"/>
          </p:cNvSpPr>
          <p:nvPr>
            <p:ph type="title"/>
          </p:nvPr>
        </p:nvSpPr>
        <p:spPr bwMode="gray"/>
        <p:txBody>
          <a:bodyPr/>
          <a:lstStyle/>
          <a:p>
            <a:r>
              <a:rPr lang="de-DE" dirty="0"/>
              <a:t>O</a:t>
            </a:r>
            <a:r>
              <a:rPr lang="de-DE" baseline="-25000" dirty="0"/>
              <a:t>2</a:t>
            </a:r>
            <a:r>
              <a:rPr lang="de-DE" dirty="0"/>
              <a:t> </a:t>
            </a:r>
            <a:r>
              <a:rPr lang="de-DE" dirty="0" err="1"/>
              <a:t>sensor</a:t>
            </a:r>
            <a:endParaRPr lang="en-US" dirty="0"/>
          </a:p>
        </p:txBody>
      </p:sp>
      <p:sp>
        <p:nvSpPr>
          <p:cNvPr id="3" name="Footer Placeholder 2">
            <a:extLst>
              <a:ext uri="{FF2B5EF4-FFF2-40B4-BE49-F238E27FC236}">
                <a16:creationId xmlns:a16="http://schemas.microsoft.com/office/drawing/2014/main" id="{99C8EF8F-4C6B-402A-8717-330021361776}"/>
              </a:ext>
            </a:extLst>
          </p:cNvPr>
          <p:cNvSpPr>
            <a:spLocks noGrp="1"/>
          </p:cNvSpPr>
          <p:nvPr>
            <p:ph type="ftr" sz="quarter" idx="10"/>
          </p:nvPr>
        </p:nvSpPr>
        <p:spPr bwMode="gray"/>
        <p:txBody>
          <a:bodyPr/>
          <a:lstStyle/>
          <a:p>
            <a:pPr marL="171450" marR="0" lvl="8"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Indication</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only</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depends</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on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measuring</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component</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nd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application</a:t>
            </a:r>
            <a:endParaRPr kumimoji="0" lang="de-DE" sz="1000" b="0" i="0" u="none" strike="noStrike" kern="1200" cap="none" spc="0" normalizeH="0" baseline="0" noProof="0" dirty="0">
              <a:ln>
                <a:noFill/>
              </a:ln>
              <a:solidFill>
                <a:srgbClr val="A9A9A9"/>
              </a:solidFill>
              <a:effectLst/>
              <a:uLnTx/>
              <a:uFillTx/>
              <a:latin typeface="ABBvoice"/>
              <a:ea typeface="ABBvoice"/>
              <a:cs typeface="ABBvoice"/>
            </a:endParaRPr>
          </a:p>
          <a:p>
            <a:pPr lvl="8">
              <a:defRPr/>
            </a:pPr>
            <a:r>
              <a:rPr lang="de-DE" dirty="0"/>
              <a:t>** </a:t>
            </a:r>
            <a:r>
              <a:rPr lang="de-DE" dirty="0" err="1"/>
              <a:t>Combination</a:t>
            </a:r>
            <a:r>
              <a:rPr lang="de-DE" dirty="0"/>
              <a:t> </a:t>
            </a:r>
            <a:r>
              <a:rPr lang="de-DE" dirty="0" err="1"/>
              <a:t>only</a:t>
            </a:r>
            <a:r>
              <a:rPr lang="de-DE" dirty="0"/>
              <a:t> </a:t>
            </a:r>
            <a:r>
              <a:rPr lang="de-DE" dirty="0" err="1"/>
              <a:t>available</a:t>
            </a:r>
            <a:r>
              <a:rPr lang="de-DE" dirty="0"/>
              <a:t> in </a:t>
            </a:r>
            <a:r>
              <a:rPr lang="de-DE" dirty="0" err="1"/>
              <a:t>rack</a:t>
            </a:r>
            <a:r>
              <a:rPr lang="de-DE" dirty="0"/>
              <a:t> mount </a:t>
            </a:r>
            <a:r>
              <a:rPr lang="de-DE" dirty="0" err="1"/>
              <a:t>housing</a:t>
            </a:r>
            <a:endParaRPr lang="en-US" dirty="0"/>
          </a:p>
          <a:p>
            <a:pPr marL="171450" marR="0" lvl="8"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4" name="Date Placeholder 3">
            <a:extLst>
              <a:ext uri="{FF2B5EF4-FFF2-40B4-BE49-F238E27FC236}">
                <a16:creationId xmlns:a16="http://schemas.microsoft.com/office/drawing/2014/main" id="{0BF74DBF-3620-4999-A3DB-6353C7BE791B}"/>
              </a:ext>
            </a:extLst>
          </p:cNvPr>
          <p:cNvSpPr>
            <a:spLocks noGrp="1"/>
          </p:cNvSpPr>
          <p:nvPr>
            <p:ph type="dt" sz="half"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8FF341-9601-47A6-A4C1-F2885A66BAA5}"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4D10351D-1F9B-4C35-B046-3DF31CCC3E52}"/>
              </a:ext>
            </a:extLst>
          </p:cNvPr>
          <p:cNvSpPr>
            <a:spLocks noGrp="1"/>
          </p:cNvSpPr>
          <p:nvPr>
            <p:ph type="sldNum" sz="quarter" idx="12"/>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93</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7" name="Content Placeholder 6">
            <a:extLst>
              <a:ext uri="{FF2B5EF4-FFF2-40B4-BE49-F238E27FC236}">
                <a16:creationId xmlns:a16="http://schemas.microsoft.com/office/drawing/2014/main" id="{8DF7FF26-40E6-4E2D-B5E3-EC07744075A3}"/>
              </a:ext>
            </a:extLst>
          </p:cNvPr>
          <p:cNvSpPr>
            <a:spLocks noGrp="1"/>
          </p:cNvSpPr>
          <p:nvPr>
            <p:ph sz="quarter" idx="19"/>
          </p:nvPr>
        </p:nvSpPr>
        <p:spPr bwMode="gray">
          <a:xfrm>
            <a:off x="332367" y="2081882"/>
            <a:ext cx="5603434" cy="3830230"/>
          </a:xfrm>
        </p:spPr>
        <p:txBody>
          <a:bodyPr/>
          <a:lstStyle/>
          <a:p>
            <a:pPr>
              <a:spcBef>
                <a:spcPts val="1800"/>
              </a:spcBef>
            </a:pPr>
            <a:r>
              <a:rPr lang="de-DE" dirty="0">
                <a:solidFill>
                  <a:schemeClr val="tx1"/>
                </a:solidFill>
              </a:rPr>
              <a:t>	</a:t>
            </a:r>
            <a:r>
              <a:rPr lang="de-DE" dirty="0" err="1">
                <a:solidFill>
                  <a:schemeClr val="tx1"/>
                </a:solidFill>
              </a:rPr>
              <a:t>Electrochemical</a:t>
            </a:r>
            <a:r>
              <a:rPr lang="de-DE" dirty="0">
                <a:solidFill>
                  <a:schemeClr val="tx1"/>
                </a:solidFill>
              </a:rPr>
              <a:t> </a:t>
            </a:r>
            <a:r>
              <a:rPr lang="de-DE" dirty="0" err="1">
                <a:solidFill>
                  <a:schemeClr val="tx1"/>
                </a:solidFill>
              </a:rPr>
              <a:t>sensor</a:t>
            </a:r>
            <a:endParaRPr lang="de-DE" dirty="0">
              <a:solidFill>
                <a:schemeClr val="tx1"/>
              </a:solidFill>
            </a:endParaRPr>
          </a:p>
          <a:p>
            <a:endParaRPr lang="de-DE" sz="1600" dirty="0"/>
          </a:p>
          <a:p>
            <a:r>
              <a:rPr lang="de-DE" dirty="0" err="1"/>
              <a:t>Capabilities</a:t>
            </a:r>
            <a:endParaRPr lang="de-DE" dirty="0"/>
          </a:p>
          <a:p>
            <a:pPr lvl="1">
              <a:spcBef>
                <a:spcPts val="300"/>
              </a:spcBef>
            </a:pPr>
            <a:r>
              <a:rPr lang="de-DE" dirty="0"/>
              <a:t>Components:	</a:t>
            </a:r>
            <a:r>
              <a:rPr lang="en-US" dirty="0"/>
              <a:t>O</a:t>
            </a:r>
            <a:r>
              <a:rPr lang="en-US" baseline="-25000" dirty="0"/>
              <a:t>2</a:t>
            </a:r>
            <a:endParaRPr lang="de-DE" dirty="0"/>
          </a:p>
          <a:p>
            <a:pPr lvl="1">
              <a:spcBef>
                <a:spcPts val="300"/>
              </a:spcBef>
            </a:pPr>
            <a:r>
              <a:rPr lang="de-DE" dirty="0"/>
              <a:t>Ranges*: 	0 – 10 vol% </a:t>
            </a:r>
            <a:r>
              <a:rPr lang="de-DE" dirty="0" err="1"/>
              <a:t>up</a:t>
            </a:r>
            <a:r>
              <a:rPr lang="de-DE" dirty="0"/>
              <a:t> </a:t>
            </a:r>
            <a:r>
              <a:rPr lang="de-DE" dirty="0" err="1"/>
              <a:t>to</a:t>
            </a:r>
            <a:r>
              <a:rPr lang="de-DE" dirty="0"/>
              <a:t> 25 vol%</a:t>
            </a:r>
          </a:p>
          <a:p>
            <a:pPr>
              <a:spcBef>
                <a:spcPts val="1800"/>
              </a:spcBef>
            </a:pPr>
            <a:r>
              <a:rPr lang="de-DE" dirty="0"/>
              <a:t>Advantages</a:t>
            </a:r>
          </a:p>
          <a:p>
            <a:pPr lvl="1">
              <a:spcBef>
                <a:spcPts val="300"/>
              </a:spcBef>
            </a:pPr>
            <a:r>
              <a:rPr lang="de-DE" dirty="0"/>
              <a:t>Low initial </a:t>
            </a:r>
            <a:r>
              <a:rPr lang="de-DE" dirty="0" err="1"/>
              <a:t>cost</a:t>
            </a:r>
            <a:r>
              <a:rPr lang="de-DE" dirty="0"/>
              <a:t> </a:t>
            </a:r>
            <a:r>
              <a:rPr lang="de-DE" dirty="0" err="1"/>
              <a:t>option</a:t>
            </a:r>
            <a:r>
              <a:rPr lang="de-DE" dirty="0"/>
              <a:t> </a:t>
            </a:r>
            <a:r>
              <a:rPr lang="de-DE" dirty="0" err="1"/>
              <a:t>for</a:t>
            </a:r>
            <a:r>
              <a:rPr lang="de-DE" dirty="0"/>
              <a:t> O</a:t>
            </a:r>
            <a:r>
              <a:rPr lang="de-DE" baseline="-25000" dirty="0"/>
              <a:t>2</a:t>
            </a:r>
            <a:r>
              <a:rPr lang="de-DE" dirty="0"/>
              <a:t> </a:t>
            </a:r>
            <a:r>
              <a:rPr lang="de-DE" dirty="0" err="1"/>
              <a:t>measurement</a:t>
            </a:r>
            <a:endParaRPr lang="de-DE" dirty="0"/>
          </a:p>
          <a:p>
            <a:pPr lvl="1">
              <a:spcBef>
                <a:spcPts val="300"/>
              </a:spcBef>
            </a:pPr>
            <a:r>
              <a:rPr lang="de-DE" dirty="0" err="1"/>
              <a:t>Combined</a:t>
            </a:r>
            <a:r>
              <a:rPr lang="de-DE" dirty="0"/>
              <a:t> </a:t>
            </a:r>
            <a:r>
              <a:rPr lang="de-DE" dirty="0" err="1"/>
              <a:t>as</a:t>
            </a:r>
            <a:r>
              <a:rPr lang="de-DE" dirty="0"/>
              <a:t> </a:t>
            </a:r>
            <a:r>
              <a:rPr lang="de-DE" dirty="0" err="1"/>
              <a:t>add</a:t>
            </a:r>
            <a:r>
              <a:rPr lang="de-DE" dirty="0"/>
              <a:t>-on </a:t>
            </a:r>
            <a:r>
              <a:rPr lang="de-DE" dirty="0" err="1"/>
              <a:t>with</a:t>
            </a:r>
            <a:r>
              <a:rPr lang="de-DE" dirty="0"/>
              <a:t> Uras </a:t>
            </a:r>
            <a:r>
              <a:rPr lang="de-DE" dirty="0" err="1"/>
              <a:t>or</a:t>
            </a:r>
            <a:r>
              <a:rPr lang="de-DE" dirty="0"/>
              <a:t> Limas </a:t>
            </a:r>
            <a:r>
              <a:rPr lang="de-DE" dirty="0" err="1"/>
              <a:t>modules</a:t>
            </a:r>
            <a:endParaRPr lang="de-DE" dirty="0"/>
          </a:p>
          <a:p>
            <a:pPr lvl="1">
              <a:spcBef>
                <a:spcPts val="300"/>
              </a:spcBef>
            </a:pPr>
            <a:r>
              <a:rPr lang="de-DE" dirty="0"/>
              <a:t>Up </a:t>
            </a:r>
            <a:r>
              <a:rPr lang="de-DE" dirty="0" err="1"/>
              <a:t>to</a:t>
            </a:r>
            <a:r>
              <a:rPr lang="de-DE" dirty="0"/>
              <a:t> </a:t>
            </a:r>
            <a:r>
              <a:rPr lang="de-DE" dirty="0" err="1"/>
              <a:t>two</a:t>
            </a:r>
            <a:r>
              <a:rPr lang="de-DE" dirty="0"/>
              <a:t> </a:t>
            </a:r>
            <a:r>
              <a:rPr lang="de-DE" dirty="0" err="1"/>
              <a:t>sensors</a:t>
            </a:r>
            <a:r>
              <a:rPr lang="de-DE" dirty="0"/>
              <a:t> possible </a:t>
            </a:r>
            <a:r>
              <a:rPr lang="de-DE" dirty="0" err="1"/>
              <a:t>together</a:t>
            </a:r>
            <a:r>
              <a:rPr lang="de-DE" dirty="0"/>
              <a:t> </a:t>
            </a:r>
            <a:r>
              <a:rPr lang="de-DE" dirty="0" err="1"/>
              <a:t>with</a:t>
            </a:r>
            <a:r>
              <a:rPr lang="de-DE" dirty="0"/>
              <a:t> </a:t>
            </a:r>
            <a:r>
              <a:rPr lang="de-DE" dirty="0" err="1"/>
              <a:t>Uras</a:t>
            </a:r>
            <a:r>
              <a:rPr lang="de-DE" dirty="0"/>
              <a:t>**</a:t>
            </a:r>
          </a:p>
          <a:p>
            <a:pPr lvl="1">
              <a:spcBef>
                <a:spcPts val="300"/>
              </a:spcBef>
            </a:pPr>
            <a:r>
              <a:rPr lang="de-DE" dirty="0"/>
              <a:t>6 - 24 </a:t>
            </a:r>
            <a:r>
              <a:rPr lang="de-DE" dirty="0" err="1"/>
              <a:t>months</a:t>
            </a:r>
            <a:r>
              <a:rPr lang="de-DE" dirty="0"/>
              <a:t> </a:t>
            </a:r>
            <a:r>
              <a:rPr lang="de-DE" dirty="0" err="1"/>
              <a:t>lifetime</a:t>
            </a:r>
            <a:r>
              <a:rPr lang="de-DE" dirty="0"/>
              <a:t> </a:t>
            </a:r>
            <a:r>
              <a:rPr lang="de-DE" dirty="0" err="1"/>
              <a:t>depending</a:t>
            </a:r>
            <a:r>
              <a:rPr lang="de-DE" dirty="0"/>
              <a:t> on gas </a:t>
            </a:r>
            <a:r>
              <a:rPr lang="de-DE" dirty="0" err="1"/>
              <a:t>composition</a:t>
            </a:r>
            <a:endParaRPr lang="de-DE" dirty="0"/>
          </a:p>
          <a:p>
            <a:pPr lvl="1">
              <a:spcBef>
                <a:spcPts val="300"/>
              </a:spcBef>
            </a:pPr>
            <a:r>
              <a:rPr lang="de-DE" dirty="0"/>
              <a:t>Certified </a:t>
            </a:r>
            <a:r>
              <a:rPr lang="de-DE" dirty="0" err="1"/>
              <a:t>for</a:t>
            </a:r>
            <a:r>
              <a:rPr lang="de-DE" dirty="0"/>
              <a:t> </a:t>
            </a:r>
            <a:r>
              <a:rPr lang="de-DE" dirty="0" err="1"/>
              <a:t>continuous</a:t>
            </a:r>
            <a:r>
              <a:rPr lang="de-DE" dirty="0"/>
              <a:t> </a:t>
            </a:r>
            <a:r>
              <a:rPr lang="de-DE" dirty="0" err="1"/>
              <a:t>emission</a:t>
            </a:r>
            <a:r>
              <a:rPr lang="de-DE" dirty="0"/>
              <a:t> </a:t>
            </a:r>
            <a:r>
              <a:rPr lang="de-DE" dirty="0" err="1"/>
              <a:t>measurement</a:t>
            </a:r>
            <a:endParaRPr lang="de-DE" dirty="0"/>
          </a:p>
        </p:txBody>
      </p:sp>
      <p:sp>
        <p:nvSpPr>
          <p:cNvPr id="8" name="Subtitle 7">
            <a:extLst>
              <a:ext uri="{FF2B5EF4-FFF2-40B4-BE49-F238E27FC236}">
                <a16:creationId xmlns:a16="http://schemas.microsoft.com/office/drawing/2014/main" id="{0A22AA71-A8DB-47E5-B616-A5CB321F6A04}"/>
              </a:ext>
            </a:extLst>
          </p:cNvPr>
          <p:cNvSpPr>
            <a:spLocks noGrp="1"/>
          </p:cNvSpPr>
          <p:nvPr>
            <p:ph type="subTitle" idx="13"/>
          </p:nvPr>
        </p:nvSpPr>
        <p:spPr bwMode="gray"/>
        <p:txBody>
          <a:bodyPr/>
          <a:lstStyle/>
          <a:p>
            <a:r>
              <a:rPr lang="de-DE" dirty="0" err="1"/>
              <a:t>Electrochemical</a:t>
            </a:r>
            <a:r>
              <a:rPr lang="de-DE" dirty="0"/>
              <a:t> </a:t>
            </a:r>
            <a:r>
              <a:rPr lang="de-DE" dirty="0" err="1"/>
              <a:t>sensor</a:t>
            </a:r>
            <a:endParaRPr lang="en-US" dirty="0"/>
          </a:p>
        </p:txBody>
      </p:sp>
      <p:pic>
        <p:nvPicPr>
          <p:cNvPr id="10" name="Content Placeholder 9">
            <a:extLst>
              <a:ext uri="{FF2B5EF4-FFF2-40B4-BE49-F238E27FC236}">
                <a16:creationId xmlns:a16="http://schemas.microsoft.com/office/drawing/2014/main" id="{FEFE3615-F52B-4FBE-BC69-2ED40355E312}"/>
              </a:ext>
            </a:extLst>
          </p:cNvPr>
          <p:cNvPicPr>
            <a:picLocks noGrp="1" noChangeAspect="1"/>
          </p:cNvPicPr>
          <p:nvPr>
            <p:ph sz="quarter" idx="20"/>
          </p:nvPr>
        </p:nvPicPr>
        <p:blipFill>
          <a:blip r:embed="rId3"/>
          <a:stretch>
            <a:fillRect/>
          </a:stretch>
        </p:blipFill>
        <p:spPr bwMode="gray">
          <a:xfrm>
            <a:off x="7515224" y="1822259"/>
            <a:ext cx="2791135" cy="3336228"/>
          </a:xfrm>
        </p:spPr>
      </p:pic>
      <p:grpSp>
        <p:nvGrpSpPr>
          <p:cNvPr id="12" name="Group 11">
            <a:extLst>
              <a:ext uri="{FF2B5EF4-FFF2-40B4-BE49-F238E27FC236}">
                <a16:creationId xmlns:a16="http://schemas.microsoft.com/office/drawing/2014/main" id="{C789F100-1CA7-4497-B8D4-AEBA055545CE}"/>
              </a:ext>
            </a:extLst>
          </p:cNvPr>
          <p:cNvGrpSpPr>
            <a:grpSpLocks noChangeAspect="1"/>
          </p:cNvGrpSpPr>
          <p:nvPr/>
        </p:nvGrpSpPr>
        <p:grpSpPr bwMode="gray">
          <a:xfrm>
            <a:off x="338473" y="1933575"/>
            <a:ext cx="597600" cy="597600"/>
            <a:chOff x="6456283" y="2877364"/>
            <a:chExt cx="598382" cy="598382"/>
          </a:xfrm>
          <a:noFill/>
        </p:grpSpPr>
        <p:sp>
          <p:nvSpPr>
            <p:cNvPr id="13" name="Oval 12">
              <a:extLst>
                <a:ext uri="{FF2B5EF4-FFF2-40B4-BE49-F238E27FC236}">
                  <a16:creationId xmlns:a16="http://schemas.microsoft.com/office/drawing/2014/main" id="{60F40D2E-1B73-4053-92BD-4CC50619D086}"/>
                </a:ext>
              </a:extLst>
            </p:cNvPr>
            <p:cNvSpPr>
              <a:spLocks noChangeAspect="1"/>
            </p:cNvSpPr>
            <p:nvPr/>
          </p:nvSpPr>
          <p:spPr bwMode="gray">
            <a:xfrm>
              <a:off x="6456283" y="2877364"/>
              <a:ext cx="598382" cy="598382"/>
            </a:xfrm>
            <a:prstGeom prst="ellipse">
              <a:avLst/>
            </a:prstGeom>
            <a:grpFill/>
            <a:ln w="28575">
              <a:solidFill>
                <a:schemeClr val="tx2"/>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14" name="Can 29">
              <a:extLst>
                <a:ext uri="{FF2B5EF4-FFF2-40B4-BE49-F238E27FC236}">
                  <a16:creationId xmlns:a16="http://schemas.microsoft.com/office/drawing/2014/main" id="{FC973870-0247-457E-AA25-535056199F0C}"/>
                </a:ext>
              </a:extLst>
            </p:cNvPr>
            <p:cNvSpPr>
              <a:spLocks noChangeAspect="1"/>
            </p:cNvSpPr>
            <p:nvPr/>
          </p:nvSpPr>
          <p:spPr bwMode="gray">
            <a:xfrm>
              <a:off x="6556329" y="3083731"/>
              <a:ext cx="398290" cy="275457"/>
            </a:xfrm>
            <a:custGeom>
              <a:avLst/>
              <a:gdLst/>
              <a:ahLst/>
              <a:cxnLst/>
              <a:rect l="l" t="t" r="r" b="b"/>
              <a:pathLst>
                <a:path w="352242" h="243610">
                  <a:moveTo>
                    <a:pt x="176121" y="0"/>
                  </a:moveTo>
                  <a:lnTo>
                    <a:pt x="237951" y="3589"/>
                  </a:lnTo>
                  <a:lnTo>
                    <a:pt x="239926" y="3874"/>
                  </a:lnTo>
                  <a:lnTo>
                    <a:pt x="239926" y="44223"/>
                  </a:lnTo>
                  <a:cubicBezTo>
                    <a:pt x="239926" y="52438"/>
                    <a:pt x="255949" y="59098"/>
                    <a:pt x="275713" y="59098"/>
                  </a:cubicBezTo>
                  <a:cubicBezTo>
                    <a:pt x="295478" y="59098"/>
                    <a:pt x="311501" y="52438"/>
                    <a:pt x="311501" y="44223"/>
                  </a:cubicBezTo>
                  <a:cubicBezTo>
                    <a:pt x="311501" y="35710"/>
                    <a:pt x="311501" y="27197"/>
                    <a:pt x="311501" y="18685"/>
                  </a:cubicBezTo>
                  <a:cubicBezTo>
                    <a:pt x="336993" y="27060"/>
                    <a:pt x="352242" y="38333"/>
                    <a:pt x="352242" y="50630"/>
                  </a:cubicBezTo>
                  <a:cubicBezTo>
                    <a:pt x="352242" y="98080"/>
                    <a:pt x="352242" y="145530"/>
                    <a:pt x="352242" y="192980"/>
                  </a:cubicBezTo>
                  <a:cubicBezTo>
                    <a:pt x="352242" y="220942"/>
                    <a:pt x="273389" y="243610"/>
                    <a:pt x="176121" y="243610"/>
                  </a:cubicBezTo>
                  <a:cubicBezTo>
                    <a:pt x="78852" y="243610"/>
                    <a:pt x="0" y="220942"/>
                    <a:pt x="0" y="192980"/>
                  </a:cubicBezTo>
                  <a:cubicBezTo>
                    <a:pt x="0" y="145530"/>
                    <a:pt x="1" y="98080"/>
                    <a:pt x="1" y="50630"/>
                  </a:cubicBezTo>
                  <a:cubicBezTo>
                    <a:pt x="1" y="38012"/>
                    <a:pt x="16055" y="26474"/>
                    <a:pt x="42716" y="17919"/>
                  </a:cubicBezTo>
                  <a:lnTo>
                    <a:pt x="42716" y="44223"/>
                  </a:lnTo>
                  <a:lnTo>
                    <a:pt x="42716" y="44223"/>
                  </a:lnTo>
                  <a:lnTo>
                    <a:pt x="42716" y="44223"/>
                  </a:lnTo>
                  <a:cubicBezTo>
                    <a:pt x="42716" y="52438"/>
                    <a:pt x="58739" y="59098"/>
                    <a:pt x="78504" y="59098"/>
                  </a:cubicBezTo>
                  <a:cubicBezTo>
                    <a:pt x="98269" y="59098"/>
                    <a:pt x="114291" y="52438"/>
                    <a:pt x="114291" y="44223"/>
                  </a:cubicBezTo>
                  <a:cubicBezTo>
                    <a:pt x="114291" y="44223"/>
                    <a:pt x="114291" y="44222"/>
                    <a:pt x="114291" y="44222"/>
                  </a:cubicBezTo>
                  <a:cubicBezTo>
                    <a:pt x="114291" y="30678"/>
                    <a:pt x="114291" y="17133"/>
                    <a:pt x="114292" y="3589"/>
                  </a:cubicBezTo>
                  <a:cubicBezTo>
                    <a:pt x="133500" y="1136"/>
                    <a:pt x="154349" y="0"/>
                    <a:pt x="176121" y="0"/>
                  </a:cubicBezTo>
                  <a:close/>
                </a:path>
              </a:pathLst>
            </a:custGeom>
            <a:grpFill/>
            <a:ln w="19050">
              <a:solidFill>
                <a:schemeClr val="tx2"/>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15" name="Oval 119">
              <a:extLst>
                <a:ext uri="{FF2B5EF4-FFF2-40B4-BE49-F238E27FC236}">
                  <a16:creationId xmlns:a16="http://schemas.microsoft.com/office/drawing/2014/main" id="{AD1A7DAF-CF26-424A-9CD6-DF34049A8309}"/>
                </a:ext>
              </a:extLst>
            </p:cNvPr>
            <p:cNvSpPr>
              <a:spLocks noChangeAspect="1"/>
            </p:cNvSpPr>
            <p:nvPr/>
          </p:nvSpPr>
          <p:spPr bwMode="gray">
            <a:xfrm>
              <a:off x="6556329" y="3083731"/>
              <a:ext cx="398289" cy="114495"/>
            </a:xfrm>
            <a:custGeom>
              <a:avLst/>
              <a:gdLst/>
              <a:ahLst/>
              <a:cxnLst/>
              <a:rect l="l" t="t" r="r" b="b"/>
              <a:pathLst>
                <a:path w="352241" h="101258">
                  <a:moveTo>
                    <a:pt x="176120" y="0"/>
                  </a:moveTo>
                  <a:lnTo>
                    <a:pt x="239926" y="3703"/>
                  </a:lnTo>
                  <a:lnTo>
                    <a:pt x="239925" y="44222"/>
                  </a:lnTo>
                  <a:cubicBezTo>
                    <a:pt x="239925" y="52437"/>
                    <a:pt x="255948" y="59097"/>
                    <a:pt x="275713" y="59097"/>
                  </a:cubicBezTo>
                  <a:cubicBezTo>
                    <a:pt x="295478" y="59097"/>
                    <a:pt x="311500" y="52437"/>
                    <a:pt x="311500" y="44222"/>
                  </a:cubicBezTo>
                  <a:cubicBezTo>
                    <a:pt x="311500" y="35684"/>
                    <a:pt x="311500" y="27145"/>
                    <a:pt x="311500" y="18607"/>
                  </a:cubicBezTo>
                  <a:cubicBezTo>
                    <a:pt x="336984" y="27054"/>
                    <a:pt x="352241" y="38329"/>
                    <a:pt x="352241" y="50629"/>
                  </a:cubicBezTo>
                  <a:cubicBezTo>
                    <a:pt x="352241" y="78591"/>
                    <a:pt x="273389" y="101258"/>
                    <a:pt x="176120" y="101258"/>
                  </a:cubicBezTo>
                  <a:cubicBezTo>
                    <a:pt x="78852" y="101258"/>
                    <a:pt x="0" y="78591"/>
                    <a:pt x="0" y="50629"/>
                  </a:cubicBezTo>
                  <a:cubicBezTo>
                    <a:pt x="0" y="38045"/>
                    <a:pt x="15971" y="26533"/>
                    <a:pt x="42716" y="18610"/>
                  </a:cubicBezTo>
                  <a:lnTo>
                    <a:pt x="42716" y="44223"/>
                  </a:lnTo>
                  <a:cubicBezTo>
                    <a:pt x="42716" y="52438"/>
                    <a:pt x="58739" y="59098"/>
                    <a:pt x="78504" y="59098"/>
                  </a:cubicBezTo>
                  <a:cubicBezTo>
                    <a:pt x="98269" y="59098"/>
                    <a:pt x="114291" y="52438"/>
                    <a:pt x="114291" y="44223"/>
                  </a:cubicBezTo>
                  <a:cubicBezTo>
                    <a:pt x="114291" y="30678"/>
                    <a:pt x="114291" y="17133"/>
                    <a:pt x="114292" y="3588"/>
                  </a:cubicBezTo>
                  <a:cubicBezTo>
                    <a:pt x="133500" y="1136"/>
                    <a:pt x="154348" y="0"/>
                    <a:pt x="176120" y="0"/>
                  </a:cubicBezTo>
                  <a:close/>
                </a:path>
              </a:pathLst>
            </a:custGeom>
            <a:grpFill/>
            <a:ln w="19050">
              <a:solidFill>
                <a:schemeClr val="tx2"/>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16" name="Can 221">
              <a:extLst>
                <a:ext uri="{FF2B5EF4-FFF2-40B4-BE49-F238E27FC236}">
                  <a16:creationId xmlns:a16="http://schemas.microsoft.com/office/drawing/2014/main" id="{E2A907E2-8CB3-420B-BFF8-3BD4CC602EB0}"/>
                </a:ext>
              </a:extLst>
            </p:cNvPr>
            <p:cNvSpPr>
              <a:spLocks noChangeAspect="1"/>
            </p:cNvSpPr>
            <p:nvPr/>
          </p:nvSpPr>
          <p:spPr bwMode="gray">
            <a:xfrm>
              <a:off x="6604629" y="3043461"/>
              <a:ext cx="80933" cy="107094"/>
            </a:xfrm>
            <a:custGeom>
              <a:avLst/>
              <a:gdLst/>
              <a:ahLst/>
              <a:cxnLst/>
              <a:rect l="l" t="t" r="r" b="b"/>
              <a:pathLst>
                <a:path w="138065" h="182695">
                  <a:moveTo>
                    <a:pt x="69033" y="0"/>
                  </a:moveTo>
                  <a:cubicBezTo>
                    <a:pt x="107158" y="0"/>
                    <a:pt x="138065" y="12847"/>
                    <a:pt x="138065" y="28694"/>
                  </a:cubicBezTo>
                  <a:cubicBezTo>
                    <a:pt x="138065" y="70463"/>
                    <a:pt x="138064" y="112232"/>
                    <a:pt x="138064" y="154001"/>
                  </a:cubicBezTo>
                  <a:cubicBezTo>
                    <a:pt x="138064" y="169848"/>
                    <a:pt x="107157" y="182695"/>
                    <a:pt x="69032" y="182695"/>
                  </a:cubicBezTo>
                  <a:cubicBezTo>
                    <a:pt x="30907" y="182695"/>
                    <a:pt x="0" y="169848"/>
                    <a:pt x="0" y="154001"/>
                  </a:cubicBezTo>
                  <a:cubicBezTo>
                    <a:pt x="0" y="112232"/>
                    <a:pt x="1" y="70463"/>
                    <a:pt x="1" y="28694"/>
                  </a:cubicBezTo>
                  <a:cubicBezTo>
                    <a:pt x="1" y="12847"/>
                    <a:pt x="30908" y="0"/>
                    <a:pt x="69033" y="0"/>
                  </a:cubicBezTo>
                  <a:close/>
                </a:path>
              </a:pathLst>
            </a:custGeom>
            <a:grpFill/>
            <a:ln w="19050">
              <a:solidFill>
                <a:schemeClr val="tx2"/>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17" name="Can 222">
              <a:extLst>
                <a:ext uri="{FF2B5EF4-FFF2-40B4-BE49-F238E27FC236}">
                  <a16:creationId xmlns:a16="http://schemas.microsoft.com/office/drawing/2014/main" id="{5FFF7307-A3E4-4FC2-90E6-674BEFAEFFA2}"/>
                </a:ext>
              </a:extLst>
            </p:cNvPr>
            <p:cNvSpPr>
              <a:spLocks noChangeAspect="1"/>
            </p:cNvSpPr>
            <p:nvPr/>
          </p:nvSpPr>
          <p:spPr bwMode="gray">
            <a:xfrm>
              <a:off x="6827620" y="3043461"/>
              <a:ext cx="80933" cy="107094"/>
            </a:xfrm>
            <a:custGeom>
              <a:avLst/>
              <a:gdLst/>
              <a:ahLst/>
              <a:cxnLst/>
              <a:rect l="l" t="t" r="r" b="b"/>
              <a:pathLst>
                <a:path w="138065" h="182695">
                  <a:moveTo>
                    <a:pt x="69033" y="0"/>
                  </a:moveTo>
                  <a:cubicBezTo>
                    <a:pt x="107158" y="0"/>
                    <a:pt x="138065" y="12847"/>
                    <a:pt x="138065" y="28694"/>
                  </a:cubicBezTo>
                  <a:cubicBezTo>
                    <a:pt x="138065" y="70463"/>
                    <a:pt x="138064" y="112232"/>
                    <a:pt x="138064" y="154001"/>
                  </a:cubicBezTo>
                  <a:cubicBezTo>
                    <a:pt x="138064" y="169848"/>
                    <a:pt x="107157" y="182695"/>
                    <a:pt x="69032" y="182695"/>
                  </a:cubicBezTo>
                  <a:cubicBezTo>
                    <a:pt x="30907" y="182695"/>
                    <a:pt x="0" y="169848"/>
                    <a:pt x="0" y="154001"/>
                  </a:cubicBezTo>
                  <a:cubicBezTo>
                    <a:pt x="0" y="112232"/>
                    <a:pt x="1" y="70463"/>
                    <a:pt x="1" y="28694"/>
                  </a:cubicBezTo>
                  <a:cubicBezTo>
                    <a:pt x="1" y="12847"/>
                    <a:pt x="30908" y="0"/>
                    <a:pt x="69033" y="0"/>
                  </a:cubicBezTo>
                  <a:close/>
                </a:path>
              </a:pathLst>
            </a:custGeom>
            <a:grpFill/>
            <a:ln w="19050">
              <a:solidFill>
                <a:schemeClr val="tx2"/>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grpSp>
          <p:nvGrpSpPr>
            <p:cNvPr id="21" name="Group 20">
              <a:extLst>
                <a:ext uri="{FF2B5EF4-FFF2-40B4-BE49-F238E27FC236}">
                  <a16:creationId xmlns:a16="http://schemas.microsoft.com/office/drawing/2014/main" id="{137B1C11-BDF9-4CD0-86BE-45EC7B3C20D3}"/>
                </a:ext>
              </a:extLst>
            </p:cNvPr>
            <p:cNvGrpSpPr>
              <a:grpSpLocks noChangeAspect="1"/>
            </p:cNvGrpSpPr>
            <p:nvPr/>
          </p:nvGrpSpPr>
          <p:grpSpPr bwMode="gray">
            <a:xfrm>
              <a:off x="6645096" y="2946863"/>
              <a:ext cx="222982" cy="110243"/>
              <a:chOff x="9985390" y="1226001"/>
              <a:chExt cx="167775" cy="90696"/>
            </a:xfrm>
            <a:grpFill/>
          </p:grpSpPr>
          <p:cxnSp>
            <p:nvCxnSpPr>
              <p:cNvPr id="25" name="Straight Connector 24">
                <a:extLst>
                  <a:ext uri="{FF2B5EF4-FFF2-40B4-BE49-F238E27FC236}">
                    <a16:creationId xmlns:a16="http://schemas.microsoft.com/office/drawing/2014/main" id="{401790FF-E417-4AD4-AD31-0CB15A1E64C1}"/>
                  </a:ext>
                </a:extLst>
              </p:cNvPr>
              <p:cNvCxnSpPr/>
              <p:nvPr/>
            </p:nvCxnSpPr>
            <p:spPr bwMode="gray">
              <a:xfrm flipV="1">
                <a:off x="9985451" y="1276774"/>
                <a:ext cx="109" cy="39923"/>
              </a:xfrm>
              <a:prstGeom prst="line">
                <a:avLst/>
              </a:prstGeom>
              <a:grpFill/>
              <a:ln w="19050">
                <a:solidFill>
                  <a:schemeClr val="tx2"/>
                </a:solidFill>
                <a:prstDash val="solid"/>
                <a:round/>
                <a:headEnd/>
                <a:tailEnd/>
              </a:ln>
              <a:extLst/>
            </p:spPr>
          </p:cxnSp>
          <p:sp>
            <p:nvSpPr>
              <p:cNvPr id="26" name="Freeform 102">
                <a:extLst>
                  <a:ext uri="{FF2B5EF4-FFF2-40B4-BE49-F238E27FC236}">
                    <a16:creationId xmlns:a16="http://schemas.microsoft.com/office/drawing/2014/main" id="{3F5D6509-4C48-46F4-8039-9A93F814656C}"/>
                  </a:ext>
                </a:extLst>
              </p:cNvPr>
              <p:cNvSpPr/>
              <p:nvPr/>
            </p:nvSpPr>
            <p:spPr bwMode="gray">
              <a:xfrm>
                <a:off x="9985390" y="1226001"/>
                <a:ext cx="167622" cy="63112"/>
              </a:xfrm>
              <a:custGeom>
                <a:avLst/>
                <a:gdLst>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31520 w 767554"/>
                  <a:gd name="connsiteY22" fmla="*/ 21619 h 25429"/>
                  <a:gd name="connsiteX23" fmla="*/ 737235 w 767554"/>
                  <a:gd name="connsiteY23" fmla="*/ 19714 h 25429"/>
                  <a:gd name="connsiteX24" fmla="*/ 750570 w 767554"/>
                  <a:gd name="connsiteY24" fmla="*/ 15904 h 25429"/>
                  <a:gd name="connsiteX25" fmla="*/ 762000 w 767554"/>
                  <a:gd name="connsiteY25" fmla="*/ 8284 h 25429"/>
                  <a:gd name="connsiteX26" fmla="*/ 763905 w 767554"/>
                  <a:gd name="connsiteY26" fmla="*/ 2569 h 25429"/>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31520 w 767554"/>
                  <a:gd name="connsiteY22" fmla="*/ 21619 h 25429"/>
                  <a:gd name="connsiteX23" fmla="*/ 750570 w 767554"/>
                  <a:gd name="connsiteY23" fmla="*/ 15904 h 25429"/>
                  <a:gd name="connsiteX24" fmla="*/ 762000 w 767554"/>
                  <a:gd name="connsiteY24" fmla="*/ 8284 h 25429"/>
                  <a:gd name="connsiteX25" fmla="*/ 763905 w 767554"/>
                  <a:gd name="connsiteY25" fmla="*/ 2569 h 25429"/>
                  <a:gd name="connsiteX0" fmla="*/ 0 w 767554"/>
                  <a:gd name="connsiteY0" fmla="*/ 10189 h 25429"/>
                  <a:gd name="connsiteX1" fmla="*/ 11430 w 767554"/>
                  <a:gd name="connsiteY1" fmla="*/ 8284 h 25429"/>
                  <a:gd name="connsiteX2" fmla="*/ 28575 w 767554"/>
                  <a:gd name="connsiteY2" fmla="*/ 4474 h 25429"/>
                  <a:gd name="connsiteX3" fmla="*/ 57150 w 767554"/>
                  <a:gd name="connsiteY3" fmla="*/ 2569 h 25429"/>
                  <a:gd name="connsiteX4" fmla="*/ 104775 w 767554"/>
                  <a:gd name="connsiteY4" fmla="*/ 4474 h 25429"/>
                  <a:gd name="connsiteX5" fmla="*/ 133350 w 767554"/>
                  <a:gd name="connsiteY5" fmla="*/ 6379 h 25429"/>
                  <a:gd name="connsiteX6" fmla="*/ 169545 w 767554"/>
                  <a:gd name="connsiteY6" fmla="*/ 8284 h 25429"/>
                  <a:gd name="connsiteX7" fmla="*/ 262890 w 767554"/>
                  <a:gd name="connsiteY7" fmla="*/ 12094 h 25429"/>
                  <a:gd name="connsiteX8" fmla="*/ 289560 w 767554"/>
                  <a:gd name="connsiteY8" fmla="*/ 10189 h 25429"/>
                  <a:gd name="connsiteX9" fmla="*/ 300990 w 767554"/>
                  <a:gd name="connsiteY9" fmla="*/ 8284 h 25429"/>
                  <a:gd name="connsiteX10" fmla="*/ 350520 w 767554"/>
                  <a:gd name="connsiteY10" fmla="*/ 10189 h 25429"/>
                  <a:gd name="connsiteX11" fmla="*/ 390525 w 767554"/>
                  <a:gd name="connsiteY11" fmla="*/ 8284 h 25429"/>
                  <a:gd name="connsiteX12" fmla="*/ 419100 w 767554"/>
                  <a:gd name="connsiteY12" fmla="*/ 6379 h 25429"/>
                  <a:gd name="connsiteX13" fmla="*/ 491490 w 767554"/>
                  <a:gd name="connsiteY13" fmla="*/ 2569 h 25429"/>
                  <a:gd name="connsiteX14" fmla="*/ 575310 w 767554"/>
                  <a:gd name="connsiteY14" fmla="*/ 2569 h 25429"/>
                  <a:gd name="connsiteX15" fmla="*/ 586740 w 767554"/>
                  <a:gd name="connsiteY15" fmla="*/ 4474 h 25429"/>
                  <a:gd name="connsiteX16" fmla="*/ 617220 w 767554"/>
                  <a:gd name="connsiteY16" fmla="*/ 6379 h 25429"/>
                  <a:gd name="connsiteX17" fmla="*/ 661035 w 767554"/>
                  <a:gd name="connsiteY17" fmla="*/ 12094 h 25429"/>
                  <a:gd name="connsiteX18" fmla="*/ 678180 w 767554"/>
                  <a:gd name="connsiteY18" fmla="*/ 15904 h 25429"/>
                  <a:gd name="connsiteX19" fmla="*/ 689610 w 767554"/>
                  <a:gd name="connsiteY19" fmla="*/ 19714 h 25429"/>
                  <a:gd name="connsiteX20" fmla="*/ 699135 w 767554"/>
                  <a:gd name="connsiteY20" fmla="*/ 21619 h 25429"/>
                  <a:gd name="connsiteX21" fmla="*/ 716280 w 767554"/>
                  <a:gd name="connsiteY21" fmla="*/ 25429 h 25429"/>
                  <a:gd name="connsiteX22" fmla="*/ 750570 w 767554"/>
                  <a:gd name="connsiteY22" fmla="*/ 15904 h 25429"/>
                  <a:gd name="connsiteX23" fmla="*/ 762000 w 767554"/>
                  <a:gd name="connsiteY23" fmla="*/ 8284 h 25429"/>
                  <a:gd name="connsiteX24" fmla="*/ 763905 w 767554"/>
                  <a:gd name="connsiteY24" fmla="*/ 2569 h 25429"/>
                  <a:gd name="connsiteX0" fmla="*/ 0 w 766977"/>
                  <a:gd name="connsiteY0" fmla="*/ 10189 h 25429"/>
                  <a:gd name="connsiteX1" fmla="*/ 11430 w 766977"/>
                  <a:gd name="connsiteY1" fmla="*/ 8284 h 25429"/>
                  <a:gd name="connsiteX2" fmla="*/ 28575 w 766977"/>
                  <a:gd name="connsiteY2" fmla="*/ 4474 h 25429"/>
                  <a:gd name="connsiteX3" fmla="*/ 57150 w 766977"/>
                  <a:gd name="connsiteY3" fmla="*/ 2569 h 25429"/>
                  <a:gd name="connsiteX4" fmla="*/ 104775 w 766977"/>
                  <a:gd name="connsiteY4" fmla="*/ 4474 h 25429"/>
                  <a:gd name="connsiteX5" fmla="*/ 133350 w 766977"/>
                  <a:gd name="connsiteY5" fmla="*/ 6379 h 25429"/>
                  <a:gd name="connsiteX6" fmla="*/ 169545 w 766977"/>
                  <a:gd name="connsiteY6" fmla="*/ 8284 h 25429"/>
                  <a:gd name="connsiteX7" fmla="*/ 262890 w 766977"/>
                  <a:gd name="connsiteY7" fmla="*/ 12094 h 25429"/>
                  <a:gd name="connsiteX8" fmla="*/ 289560 w 766977"/>
                  <a:gd name="connsiteY8" fmla="*/ 10189 h 25429"/>
                  <a:gd name="connsiteX9" fmla="*/ 300990 w 766977"/>
                  <a:gd name="connsiteY9" fmla="*/ 8284 h 25429"/>
                  <a:gd name="connsiteX10" fmla="*/ 350520 w 766977"/>
                  <a:gd name="connsiteY10" fmla="*/ 10189 h 25429"/>
                  <a:gd name="connsiteX11" fmla="*/ 390525 w 766977"/>
                  <a:gd name="connsiteY11" fmla="*/ 8284 h 25429"/>
                  <a:gd name="connsiteX12" fmla="*/ 419100 w 766977"/>
                  <a:gd name="connsiteY12" fmla="*/ 6379 h 25429"/>
                  <a:gd name="connsiteX13" fmla="*/ 491490 w 766977"/>
                  <a:gd name="connsiteY13" fmla="*/ 2569 h 25429"/>
                  <a:gd name="connsiteX14" fmla="*/ 575310 w 766977"/>
                  <a:gd name="connsiteY14" fmla="*/ 2569 h 25429"/>
                  <a:gd name="connsiteX15" fmla="*/ 586740 w 766977"/>
                  <a:gd name="connsiteY15" fmla="*/ 4474 h 25429"/>
                  <a:gd name="connsiteX16" fmla="*/ 617220 w 766977"/>
                  <a:gd name="connsiteY16" fmla="*/ 6379 h 25429"/>
                  <a:gd name="connsiteX17" fmla="*/ 661035 w 766977"/>
                  <a:gd name="connsiteY17" fmla="*/ 12094 h 25429"/>
                  <a:gd name="connsiteX18" fmla="*/ 678180 w 766977"/>
                  <a:gd name="connsiteY18" fmla="*/ 15904 h 25429"/>
                  <a:gd name="connsiteX19" fmla="*/ 689610 w 766977"/>
                  <a:gd name="connsiteY19" fmla="*/ 19714 h 25429"/>
                  <a:gd name="connsiteX20" fmla="*/ 699135 w 766977"/>
                  <a:gd name="connsiteY20" fmla="*/ 21619 h 25429"/>
                  <a:gd name="connsiteX21" fmla="*/ 716280 w 766977"/>
                  <a:gd name="connsiteY21" fmla="*/ 25429 h 25429"/>
                  <a:gd name="connsiteX22" fmla="*/ 762000 w 766977"/>
                  <a:gd name="connsiteY22" fmla="*/ 8284 h 25429"/>
                  <a:gd name="connsiteX23" fmla="*/ 763905 w 766977"/>
                  <a:gd name="connsiteY23" fmla="*/ 2569 h 25429"/>
                  <a:gd name="connsiteX0" fmla="*/ 0 w 762000"/>
                  <a:gd name="connsiteY0" fmla="*/ 10189 h 25429"/>
                  <a:gd name="connsiteX1" fmla="*/ 11430 w 762000"/>
                  <a:gd name="connsiteY1" fmla="*/ 8284 h 25429"/>
                  <a:gd name="connsiteX2" fmla="*/ 28575 w 762000"/>
                  <a:gd name="connsiteY2" fmla="*/ 4474 h 25429"/>
                  <a:gd name="connsiteX3" fmla="*/ 57150 w 762000"/>
                  <a:gd name="connsiteY3" fmla="*/ 2569 h 25429"/>
                  <a:gd name="connsiteX4" fmla="*/ 104775 w 762000"/>
                  <a:gd name="connsiteY4" fmla="*/ 4474 h 25429"/>
                  <a:gd name="connsiteX5" fmla="*/ 133350 w 762000"/>
                  <a:gd name="connsiteY5" fmla="*/ 6379 h 25429"/>
                  <a:gd name="connsiteX6" fmla="*/ 169545 w 762000"/>
                  <a:gd name="connsiteY6" fmla="*/ 8284 h 25429"/>
                  <a:gd name="connsiteX7" fmla="*/ 262890 w 762000"/>
                  <a:gd name="connsiteY7" fmla="*/ 12094 h 25429"/>
                  <a:gd name="connsiteX8" fmla="*/ 289560 w 762000"/>
                  <a:gd name="connsiteY8" fmla="*/ 10189 h 25429"/>
                  <a:gd name="connsiteX9" fmla="*/ 300990 w 762000"/>
                  <a:gd name="connsiteY9" fmla="*/ 8284 h 25429"/>
                  <a:gd name="connsiteX10" fmla="*/ 350520 w 762000"/>
                  <a:gd name="connsiteY10" fmla="*/ 10189 h 25429"/>
                  <a:gd name="connsiteX11" fmla="*/ 390525 w 762000"/>
                  <a:gd name="connsiteY11" fmla="*/ 8284 h 25429"/>
                  <a:gd name="connsiteX12" fmla="*/ 419100 w 762000"/>
                  <a:gd name="connsiteY12" fmla="*/ 6379 h 25429"/>
                  <a:gd name="connsiteX13" fmla="*/ 491490 w 762000"/>
                  <a:gd name="connsiteY13" fmla="*/ 2569 h 25429"/>
                  <a:gd name="connsiteX14" fmla="*/ 575310 w 762000"/>
                  <a:gd name="connsiteY14" fmla="*/ 2569 h 25429"/>
                  <a:gd name="connsiteX15" fmla="*/ 586740 w 762000"/>
                  <a:gd name="connsiteY15" fmla="*/ 4474 h 25429"/>
                  <a:gd name="connsiteX16" fmla="*/ 617220 w 762000"/>
                  <a:gd name="connsiteY16" fmla="*/ 6379 h 25429"/>
                  <a:gd name="connsiteX17" fmla="*/ 661035 w 762000"/>
                  <a:gd name="connsiteY17" fmla="*/ 12094 h 25429"/>
                  <a:gd name="connsiteX18" fmla="*/ 678180 w 762000"/>
                  <a:gd name="connsiteY18" fmla="*/ 15904 h 25429"/>
                  <a:gd name="connsiteX19" fmla="*/ 689610 w 762000"/>
                  <a:gd name="connsiteY19" fmla="*/ 19714 h 25429"/>
                  <a:gd name="connsiteX20" fmla="*/ 699135 w 762000"/>
                  <a:gd name="connsiteY20" fmla="*/ 21619 h 25429"/>
                  <a:gd name="connsiteX21" fmla="*/ 716280 w 762000"/>
                  <a:gd name="connsiteY21" fmla="*/ 25429 h 25429"/>
                  <a:gd name="connsiteX22" fmla="*/ 762000 w 762000"/>
                  <a:gd name="connsiteY22" fmla="*/ 8284 h 25429"/>
                  <a:gd name="connsiteX0" fmla="*/ 0 w 762000"/>
                  <a:gd name="connsiteY0" fmla="*/ 10189 h 26852"/>
                  <a:gd name="connsiteX1" fmla="*/ 11430 w 762000"/>
                  <a:gd name="connsiteY1" fmla="*/ 8284 h 26852"/>
                  <a:gd name="connsiteX2" fmla="*/ 28575 w 762000"/>
                  <a:gd name="connsiteY2" fmla="*/ 4474 h 26852"/>
                  <a:gd name="connsiteX3" fmla="*/ 57150 w 762000"/>
                  <a:gd name="connsiteY3" fmla="*/ 2569 h 26852"/>
                  <a:gd name="connsiteX4" fmla="*/ 104775 w 762000"/>
                  <a:gd name="connsiteY4" fmla="*/ 4474 h 26852"/>
                  <a:gd name="connsiteX5" fmla="*/ 133350 w 762000"/>
                  <a:gd name="connsiteY5" fmla="*/ 6379 h 26852"/>
                  <a:gd name="connsiteX6" fmla="*/ 169545 w 762000"/>
                  <a:gd name="connsiteY6" fmla="*/ 8284 h 26852"/>
                  <a:gd name="connsiteX7" fmla="*/ 262890 w 762000"/>
                  <a:gd name="connsiteY7" fmla="*/ 12094 h 26852"/>
                  <a:gd name="connsiteX8" fmla="*/ 289560 w 762000"/>
                  <a:gd name="connsiteY8" fmla="*/ 10189 h 26852"/>
                  <a:gd name="connsiteX9" fmla="*/ 300990 w 762000"/>
                  <a:gd name="connsiteY9" fmla="*/ 8284 h 26852"/>
                  <a:gd name="connsiteX10" fmla="*/ 350520 w 762000"/>
                  <a:gd name="connsiteY10" fmla="*/ 10189 h 26852"/>
                  <a:gd name="connsiteX11" fmla="*/ 390525 w 762000"/>
                  <a:gd name="connsiteY11" fmla="*/ 8284 h 26852"/>
                  <a:gd name="connsiteX12" fmla="*/ 419100 w 762000"/>
                  <a:gd name="connsiteY12" fmla="*/ 6379 h 26852"/>
                  <a:gd name="connsiteX13" fmla="*/ 491490 w 762000"/>
                  <a:gd name="connsiteY13" fmla="*/ 2569 h 26852"/>
                  <a:gd name="connsiteX14" fmla="*/ 575310 w 762000"/>
                  <a:gd name="connsiteY14" fmla="*/ 2569 h 26852"/>
                  <a:gd name="connsiteX15" fmla="*/ 586740 w 762000"/>
                  <a:gd name="connsiteY15" fmla="*/ 4474 h 26852"/>
                  <a:gd name="connsiteX16" fmla="*/ 617220 w 762000"/>
                  <a:gd name="connsiteY16" fmla="*/ 6379 h 26852"/>
                  <a:gd name="connsiteX17" fmla="*/ 661035 w 762000"/>
                  <a:gd name="connsiteY17" fmla="*/ 12094 h 26852"/>
                  <a:gd name="connsiteX18" fmla="*/ 678180 w 762000"/>
                  <a:gd name="connsiteY18" fmla="*/ 15904 h 26852"/>
                  <a:gd name="connsiteX19" fmla="*/ 689610 w 762000"/>
                  <a:gd name="connsiteY19" fmla="*/ 19714 h 26852"/>
                  <a:gd name="connsiteX20" fmla="*/ 699135 w 762000"/>
                  <a:gd name="connsiteY20" fmla="*/ 21619 h 26852"/>
                  <a:gd name="connsiteX21" fmla="*/ 706756 w 762000"/>
                  <a:gd name="connsiteY21" fmla="*/ 25429 h 26852"/>
                  <a:gd name="connsiteX22" fmla="*/ 716280 w 762000"/>
                  <a:gd name="connsiteY22" fmla="*/ 25429 h 26852"/>
                  <a:gd name="connsiteX23" fmla="*/ 762000 w 762000"/>
                  <a:gd name="connsiteY23" fmla="*/ 8284 h 26852"/>
                  <a:gd name="connsiteX0" fmla="*/ 0 w 762000"/>
                  <a:gd name="connsiteY0" fmla="*/ 10189 h 26852"/>
                  <a:gd name="connsiteX1" fmla="*/ 11430 w 762000"/>
                  <a:gd name="connsiteY1" fmla="*/ 8284 h 26852"/>
                  <a:gd name="connsiteX2" fmla="*/ 28575 w 762000"/>
                  <a:gd name="connsiteY2" fmla="*/ 4474 h 26852"/>
                  <a:gd name="connsiteX3" fmla="*/ 57150 w 762000"/>
                  <a:gd name="connsiteY3" fmla="*/ 2569 h 26852"/>
                  <a:gd name="connsiteX4" fmla="*/ 104775 w 762000"/>
                  <a:gd name="connsiteY4" fmla="*/ 4474 h 26852"/>
                  <a:gd name="connsiteX5" fmla="*/ 133350 w 762000"/>
                  <a:gd name="connsiteY5" fmla="*/ 6379 h 26852"/>
                  <a:gd name="connsiteX6" fmla="*/ 169545 w 762000"/>
                  <a:gd name="connsiteY6" fmla="*/ 8284 h 26852"/>
                  <a:gd name="connsiteX7" fmla="*/ 262890 w 762000"/>
                  <a:gd name="connsiteY7" fmla="*/ 12094 h 26852"/>
                  <a:gd name="connsiteX8" fmla="*/ 289560 w 762000"/>
                  <a:gd name="connsiteY8" fmla="*/ 10189 h 26852"/>
                  <a:gd name="connsiteX9" fmla="*/ 300990 w 762000"/>
                  <a:gd name="connsiteY9" fmla="*/ 8284 h 26852"/>
                  <a:gd name="connsiteX10" fmla="*/ 350520 w 762000"/>
                  <a:gd name="connsiteY10" fmla="*/ 10189 h 26852"/>
                  <a:gd name="connsiteX11" fmla="*/ 390525 w 762000"/>
                  <a:gd name="connsiteY11" fmla="*/ 8284 h 26852"/>
                  <a:gd name="connsiteX12" fmla="*/ 419100 w 762000"/>
                  <a:gd name="connsiteY12" fmla="*/ 6379 h 26852"/>
                  <a:gd name="connsiteX13" fmla="*/ 491490 w 762000"/>
                  <a:gd name="connsiteY13" fmla="*/ 2569 h 26852"/>
                  <a:gd name="connsiteX14" fmla="*/ 575310 w 762000"/>
                  <a:gd name="connsiteY14" fmla="*/ 2569 h 26852"/>
                  <a:gd name="connsiteX15" fmla="*/ 586740 w 762000"/>
                  <a:gd name="connsiteY15" fmla="*/ 4474 h 26852"/>
                  <a:gd name="connsiteX16" fmla="*/ 617220 w 762000"/>
                  <a:gd name="connsiteY16" fmla="*/ 6379 h 26852"/>
                  <a:gd name="connsiteX17" fmla="*/ 661035 w 762000"/>
                  <a:gd name="connsiteY17" fmla="*/ 12094 h 26852"/>
                  <a:gd name="connsiteX18" fmla="*/ 678180 w 762000"/>
                  <a:gd name="connsiteY18" fmla="*/ 15904 h 26852"/>
                  <a:gd name="connsiteX19" fmla="*/ 699135 w 762000"/>
                  <a:gd name="connsiteY19" fmla="*/ 21619 h 26852"/>
                  <a:gd name="connsiteX20" fmla="*/ 706756 w 762000"/>
                  <a:gd name="connsiteY20" fmla="*/ 25429 h 26852"/>
                  <a:gd name="connsiteX21" fmla="*/ 716280 w 762000"/>
                  <a:gd name="connsiteY21" fmla="*/ 25429 h 26852"/>
                  <a:gd name="connsiteX22" fmla="*/ 762000 w 762000"/>
                  <a:gd name="connsiteY22" fmla="*/ 8284 h 26852"/>
                  <a:gd name="connsiteX0" fmla="*/ 0 w 716280"/>
                  <a:gd name="connsiteY0" fmla="*/ 10189 h 26852"/>
                  <a:gd name="connsiteX1" fmla="*/ 11430 w 716280"/>
                  <a:gd name="connsiteY1" fmla="*/ 8284 h 26852"/>
                  <a:gd name="connsiteX2" fmla="*/ 28575 w 716280"/>
                  <a:gd name="connsiteY2" fmla="*/ 4474 h 26852"/>
                  <a:gd name="connsiteX3" fmla="*/ 57150 w 716280"/>
                  <a:gd name="connsiteY3" fmla="*/ 2569 h 26852"/>
                  <a:gd name="connsiteX4" fmla="*/ 104775 w 716280"/>
                  <a:gd name="connsiteY4" fmla="*/ 4474 h 26852"/>
                  <a:gd name="connsiteX5" fmla="*/ 133350 w 716280"/>
                  <a:gd name="connsiteY5" fmla="*/ 6379 h 26852"/>
                  <a:gd name="connsiteX6" fmla="*/ 169545 w 716280"/>
                  <a:gd name="connsiteY6" fmla="*/ 8284 h 26852"/>
                  <a:gd name="connsiteX7" fmla="*/ 262890 w 716280"/>
                  <a:gd name="connsiteY7" fmla="*/ 12094 h 26852"/>
                  <a:gd name="connsiteX8" fmla="*/ 289560 w 716280"/>
                  <a:gd name="connsiteY8" fmla="*/ 10189 h 26852"/>
                  <a:gd name="connsiteX9" fmla="*/ 300990 w 716280"/>
                  <a:gd name="connsiteY9" fmla="*/ 8284 h 26852"/>
                  <a:gd name="connsiteX10" fmla="*/ 350520 w 716280"/>
                  <a:gd name="connsiteY10" fmla="*/ 10189 h 26852"/>
                  <a:gd name="connsiteX11" fmla="*/ 390525 w 716280"/>
                  <a:gd name="connsiteY11" fmla="*/ 8284 h 26852"/>
                  <a:gd name="connsiteX12" fmla="*/ 419100 w 716280"/>
                  <a:gd name="connsiteY12" fmla="*/ 6379 h 26852"/>
                  <a:gd name="connsiteX13" fmla="*/ 491490 w 716280"/>
                  <a:gd name="connsiteY13" fmla="*/ 2569 h 26852"/>
                  <a:gd name="connsiteX14" fmla="*/ 575310 w 716280"/>
                  <a:gd name="connsiteY14" fmla="*/ 2569 h 26852"/>
                  <a:gd name="connsiteX15" fmla="*/ 586740 w 716280"/>
                  <a:gd name="connsiteY15" fmla="*/ 4474 h 26852"/>
                  <a:gd name="connsiteX16" fmla="*/ 617220 w 716280"/>
                  <a:gd name="connsiteY16" fmla="*/ 6379 h 26852"/>
                  <a:gd name="connsiteX17" fmla="*/ 661035 w 716280"/>
                  <a:gd name="connsiteY17" fmla="*/ 12094 h 26852"/>
                  <a:gd name="connsiteX18" fmla="*/ 678180 w 716280"/>
                  <a:gd name="connsiteY18" fmla="*/ 15904 h 26852"/>
                  <a:gd name="connsiteX19" fmla="*/ 699135 w 716280"/>
                  <a:gd name="connsiteY19" fmla="*/ 21619 h 26852"/>
                  <a:gd name="connsiteX20" fmla="*/ 706756 w 716280"/>
                  <a:gd name="connsiteY20" fmla="*/ 25429 h 26852"/>
                  <a:gd name="connsiteX21" fmla="*/ 716280 w 716280"/>
                  <a:gd name="connsiteY21" fmla="*/ 25429 h 26852"/>
                  <a:gd name="connsiteX0" fmla="*/ 0 w 706756"/>
                  <a:gd name="connsiteY0" fmla="*/ 10189 h 25429"/>
                  <a:gd name="connsiteX1" fmla="*/ 11430 w 706756"/>
                  <a:gd name="connsiteY1" fmla="*/ 8284 h 25429"/>
                  <a:gd name="connsiteX2" fmla="*/ 28575 w 706756"/>
                  <a:gd name="connsiteY2" fmla="*/ 4474 h 25429"/>
                  <a:gd name="connsiteX3" fmla="*/ 57150 w 706756"/>
                  <a:gd name="connsiteY3" fmla="*/ 2569 h 25429"/>
                  <a:gd name="connsiteX4" fmla="*/ 104775 w 706756"/>
                  <a:gd name="connsiteY4" fmla="*/ 4474 h 25429"/>
                  <a:gd name="connsiteX5" fmla="*/ 133350 w 706756"/>
                  <a:gd name="connsiteY5" fmla="*/ 6379 h 25429"/>
                  <a:gd name="connsiteX6" fmla="*/ 169545 w 706756"/>
                  <a:gd name="connsiteY6" fmla="*/ 8284 h 25429"/>
                  <a:gd name="connsiteX7" fmla="*/ 262890 w 706756"/>
                  <a:gd name="connsiteY7" fmla="*/ 12094 h 25429"/>
                  <a:gd name="connsiteX8" fmla="*/ 289560 w 706756"/>
                  <a:gd name="connsiteY8" fmla="*/ 10189 h 25429"/>
                  <a:gd name="connsiteX9" fmla="*/ 300990 w 706756"/>
                  <a:gd name="connsiteY9" fmla="*/ 8284 h 25429"/>
                  <a:gd name="connsiteX10" fmla="*/ 350520 w 706756"/>
                  <a:gd name="connsiteY10" fmla="*/ 10189 h 25429"/>
                  <a:gd name="connsiteX11" fmla="*/ 390525 w 706756"/>
                  <a:gd name="connsiteY11" fmla="*/ 8284 h 25429"/>
                  <a:gd name="connsiteX12" fmla="*/ 419100 w 706756"/>
                  <a:gd name="connsiteY12" fmla="*/ 6379 h 25429"/>
                  <a:gd name="connsiteX13" fmla="*/ 491490 w 706756"/>
                  <a:gd name="connsiteY13" fmla="*/ 2569 h 25429"/>
                  <a:gd name="connsiteX14" fmla="*/ 575310 w 706756"/>
                  <a:gd name="connsiteY14" fmla="*/ 2569 h 25429"/>
                  <a:gd name="connsiteX15" fmla="*/ 586740 w 706756"/>
                  <a:gd name="connsiteY15" fmla="*/ 4474 h 25429"/>
                  <a:gd name="connsiteX16" fmla="*/ 617220 w 706756"/>
                  <a:gd name="connsiteY16" fmla="*/ 6379 h 25429"/>
                  <a:gd name="connsiteX17" fmla="*/ 661035 w 706756"/>
                  <a:gd name="connsiteY17" fmla="*/ 12094 h 25429"/>
                  <a:gd name="connsiteX18" fmla="*/ 678180 w 706756"/>
                  <a:gd name="connsiteY18" fmla="*/ 15904 h 25429"/>
                  <a:gd name="connsiteX19" fmla="*/ 699135 w 706756"/>
                  <a:gd name="connsiteY19" fmla="*/ 21619 h 25429"/>
                  <a:gd name="connsiteX20" fmla="*/ 706756 w 706756"/>
                  <a:gd name="connsiteY20" fmla="*/ 25429 h 2542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61035 w 699135"/>
                  <a:gd name="connsiteY17" fmla="*/ 12094 h 21619"/>
                  <a:gd name="connsiteX18" fmla="*/ 678180 w 699135"/>
                  <a:gd name="connsiteY18" fmla="*/ 15904 h 21619"/>
                  <a:gd name="connsiteX19" fmla="*/ 699135 w 699135"/>
                  <a:gd name="connsiteY19" fmla="*/ 21619 h 2161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78180 w 699135"/>
                  <a:gd name="connsiteY17" fmla="*/ 15904 h 21619"/>
                  <a:gd name="connsiteX18" fmla="*/ 699135 w 699135"/>
                  <a:gd name="connsiteY18" fmla="*/ 21619 h 21619"/>
                  <a:gd name="connsiteX0" fmla="*/ 0 w 699135"/>
                  <a:gd name="connsiteY0" fmla="*/ 10189 h 21619"/>
                  <a:gd name="connsiteX1" fmla="*/ 11430 w 699135"/>
                  <a:gd name="connsiteY1" fmla="*/ 8284 h 21619"/>
                  <a:gd name="connsiteX2" fmla="*/ 28575 w 699135"/>
                  <a:gd name="connsiteY2" fmla="*/ 4474 h 21619"/>
                  <a:gd name="connsiteX3" fmla="*/ 57150 w 699135"/>
                  <a:gd name="connsiteY3" fmla="*/ 2569 h 21619"/>
                  <a:gd name="connsiteX4" fmla="*/ 104775 w 699135"/>
                  <a:gd name="connsiteY4" fmla="*/ 4474 h 21619"/>
                  <a:gd name="connsiteX5" fmla="*/ 133350 w 699135"/>
                  <a:gd name="connsiteY5" fmla="*/ 6379 h 21619"/>
                  <a:gd name="connsiteX6" fmla="*/ 169545 w 699135"/>
                  <a:gd name="connsiteY6" fmla="*/ 8284 h 21619"/>
                  <a:gd name="connsiteX7" fmla="*/ 262890 w 699135"/>
                  <a:gd name="connsiteY7" fmla="*/ 12094 h 21619"/>
                  <a:gd name="connsiteX8" fmla="*/ 289560 w 699135"/>
                  <a:gd name="connsiteY8" fmla="*/ 10189 h 21619"/>
                  <a:gd name="connsiteX9" fmla="*/ 300990 w 699135"/>
                  <a:gd name="connsiteY9" fmla="*/ 8284 h 21619"/>
                  <a:gd name="connsiteX10" fmla="*/ 350520 w 699135"/>
                  <a:gd name="connsiteY10" fmla="*/ 10189 h 21619"/>
                  <a:gd name="connsiteX11" fmla="*/ 390525 w 699135"/>
                  <a:gd name="connsiteY11" fmla="*/ 8284 h 21619"/>
                  <a:gd name="connsiteX12" fmla="*/ 419100 w 699135"/>
                  <a:gd name="connsiteY12" fmla="*/ 6379 h 21619"/>
                  <a:gd name="connsiteX13" fmla="*/ 491490 w 699135"/>
                  <a:gd name="connsiteY13" fmla="*/ 2569 h 21619"/>
                  <a:gd name="connsiteX14" fmla="*/ 575310 w 699135"/>
                  <a:gd name="connsiteY14" fmla="*/ 2569 h 21619"/>
                  <a:gd name="connsiteX15" fmla="*/ 586740 w 699135"/>
                  <a:gd name="connsiteY15" fmla="*/ 4474 h 21619"/>
                  <a:gd name="connsiteX16" fmla="*/ 617220 w 699135"/>
                  <a:gd name="connsiteY16" fmla="*/ 6379 h 21619"/>
                  <a:gd name="connsiteX17" fmla="*/ 699135 w 699135"/>
                  <a:gd name="connsiteY17" fmla="*/ 21619 h 21619"/>
                  <a:gd name="connsiteX0" fmla="*/ 0 w 617220"/>
                  <a:gd name="connsiteY0" fmla="*/ 10189 h 12094"/>
                  <a:gd name="connsiteX1" fmla="*/ 11430 w 617220"/>
                  <a:gd name="connsiteY1" fmla="*/ 8284 h 12094"/>
                  <a:gd name="connsiteX2" fmla="*/ 28575 w 617220"/>
                  <a:gd name="connsiteY2" fmla="*/ 4474 h 12094"/>
                  <a:gd name="connsiteX3" fmla="*/ 57150 w 617220"/>
                  <a:gd name="connsiteY3" fmla="*/ 2569 h 12094"/>
                  <a:gd name="connsiteX4" fmla="*/ 104775 w 617220"/>
                  <a:gd name="connsiteY4" fmla="*/ 4474 h 12094"/>
                  <a:gd name="connsiteX5" fmla="*/ 133350 w 617220"/>
                  <a:gd name="connsiteY5" fmla="*/ 6379 h 12094"/>
                  <a:gd name="connsiteX6" fmla="*/ 169545 w 617220"/>
                  <a:gd name="connsiteY6" fmla="*/ 8284 h 12094"/>
                  <a:gd name="connsiteX7" fmla="*/ 262890 w 617220"/>
                  <a:gd name="connsiteY7" fmla="*/ 12094 h 12094"/>
                  <a:gd name="connsiteX8" fmla="*/ 289560 w 617220"/>
                  <a:gd name="connsiteY8" fmla="*/ 10189 h 12094"/>
                  <a:gd name="connsiteX9" fmla="*/ 300990 w 617220"/>
                  <a:gd name="connsiteY9" fmla="*/ 8284 h 12094"/>
                  <a:gd name="connsiteX10" fmla="*/ 350520 w 617220"/>
                  <a:gd name="connsiteY10" fmla="*/ 10189 h 12094"/>
                  <a:gd name="connsiteX11" fmla="*/ 390525 w 617220"/>
                  <a:gd name="connsiteY11" fmla="*/ 8284 h 12094"/>
                  <a:gd name="connsiteX12" fmla="*/ 419100 w 617220"/>
                  <a:gd name="connsiteY12" fmla="*/ 6379 h 12094"/>
                  <a:gd name="connsiteX13" fmla="*/ 491490 w 617220"/>
                  <a:gd name="connsiteY13" fmla="*/ 2569 h 12094"/>
                  <a:gd name="connsiteX14" fmla="*/ 575310 w 617220"/>
                  <a:gd name="connsiteY14" fmla="*/ 2569 h 12094"/>
                  <a:gd name="connsiteX15" fmla="*/ 586740 w 617220"/>
                  <a:gd name="connsiteY15" fmla="*/ 4474 h 12094"/>
                  <a:gd name="connsiteX16" fmla="*/ 617220 w 617220"/>
                  <a:gd name="connsiteY16" fmla="*/ 6379 h 12094"/>
                  <a:gd name="connsiteX0" fmla="*/ 0 w 763905"/>
                  <a:gd name="connsiteY0" fmla="*/ 10189 h 12094"/>
                  <a:gd name="connsiteX1" fmla="*/ 11430 w 763905"/>
                  <a:gd name="connsiteY1" fmla="*/ 8284 h 12094"/>
                  <a:gd name="connsiteX2" fmla="*/ 28575 w 763905"/>
                  <a:gd name="connsiteY2" fmla="*/ 4474 h 12094"/>
                  <a:gd name="connsiteX3" fmla="*/ 57150 w 763905"/>
                  <a:gd name="connsiteY3" fmla="*/ 2569 h 12094"/>
                  <a:gd name="connsiteX4" fmla="*/ 104775 w 763905"/>
                  <a:gd name="connsiteY4" fmla="*/ 4474 h 12094"/>
                  <a:gd name="connsiteX5" fmla="*/ 133350 w 763905"/>
                  <a:gd name="connsiteY5" fmla="*/ 6379 h 12094"/>
                  <a:gd name="connsiteX6" fmla="*/ 169545 w 763905"/>
                  <a:gd name="connsiteY6" fmla="*/ 8284 h 12094"/>
                  <a:gd name="connsiteX7" fmla="*/ 262890 w 763905"/>
                  <a:gd name="connsiteY7" fmla="*/ 12094 h 12094"/>
                  <a:gd name="connsiteX8" fmla="*/ 289560 w 763905"/>
                  <a:gd name="connsiteY8" fmla="*/ 10189 h 12094"/>
                  <a:gd name="connsiteX9" fmla="*/ 300990 w 763905"/>
                  <a:gd name="connsiteY9" fmla="*/ 8284 h 12094"/>
                  <a:gd name="connsiteX10" fmla="*/ 350520 w 763905"/>
                  <a:gd name="connsiteY10" fmla="*/ 10189 h 12094"/>
                  <a:gd name="connsiteX11" fmla="*/ 390525 w 763905"/>
                  <a:gd name="connsiteY11" fmla="*/ 8284 h 12094"/>
                  <a:gd name="connsiteX12" fmla="*/ 419100 w 763905"/>
                  <a:gd name="connsiteY12" fmla="*/ 6379 h 12094"/>
                  <a:gd name="connsiteX13" fmla="*/ 491490 w 763905"/>
                  <a:gd name="connsiteY13" fmla="*/ 2569 h 12094"/>
                  <a:gd name="connsiteX14" fmla="*/ 575310 w 763905"/>
                  <a:gd name="connsiteY14" fmla="*/ 2569 h 12094"/>
                  <a:gd name="connsiteX15" fmla="*/ 586740 w 763905"/>
                  <a:gd name="connsiteY15" fmla="*/ 4474 h 12094"/>
                  <a:gd name="connsiteX16" fmla="*/ 763905 w 763905"/>
                  <a:gd name="connsiteY16" fmla="*/ 8284 h 12094"/>
                  <a:gd name="connsiteX0" fmla="*/ 0 w 763905"/>
                  <a:gd name="connsiteY0" fmla="*/ 9527 h 11432"/>
                  <a:gd name="connsiteX1" fmla="*/ 11430 w 763905"/>
                  <a:gd name="connsiteY1" fmla="*/ 7622 h 11432"/>
                  <a:gd name="connsiteX2" fmla="*/ 28575 w 763905"/>
                  <a:gd name="connsiteY2" fmla="*/ 3812 h 11432"/>
                  <a:gd name="connsiteX3" fmla="*/ 57150 w 763905"/>
                  <a:gd name="connsiteY3" fmla="*/ 1907 h 11432"/>
                  <a:gd name="connsiteX4" fmla="*/ 104775 w 763905"/>
                  <a:gd name="connsiteY4" fmla="*/ 3812 h 11432"/>
                  <a:gd name="connsiteX5" fmla="*/ 133350 w 763905"/>
                  <a:gd name="connsiteY5" fmla="*/ 5717 h 11432"/>
                  <a:gd name="connsiteX6" fmla="*/ 169545 w 763905"/>
                  <a:gd name="connsiteY6" fmla="*/ 7622 h 11432"/>
                  <a:gd name="connsiteX7" fmla="*/ 262890 w 763905"/>
                  <a:gd name="connsiteY7" fmla="*/ 11432 h 11432"/>
                  <a:gd name="connsiteX8" fmla="*/ 289560 w 763905"/>
                  <a:gd name="connsiteY8" fmla="*/ 9527 h 11432"/>
                  <a:gd name="connsiteX9" fmla="*/ 300990 w 763905"/>
                  <a:gd name="connsiteY9" fmla="*/ 7622 h 11432"/>
                  <a:gd name="connsiteX10" fmla="*/ 350520 w 763905"/>
                  <a:gd name="connsiteY10" fmla="*/ 9527 h 11432"/>
                  <a:gd name="connsiteX11" fmla="*/ 390525 w 763905"/>
                  <a:gd name="connsiteY11" fmla="*/ 7622 h 11432"/>
                  <a:gd name="connsiteX12" fmla="*/ 419100 w 763905"/>
                  <a:gd name="connsiteY12" fmla="*/ 5717 h 11432"/>
                  <a:gd name="connsiteX13" fmla="*/ 491490 w 763905"/>
                  <a:gd name="connsiteY13" fmla="*/ 1907 h 11432"/>
                  <a:gd name="connsiteX14" fmla="*/ 575310 w 763905"/>
                  <a:gd name="connsiteY14" fmla="*/ 1907 h 11432"/>
                  <a:gd name="connsiteX15" fmla="*/ 763905 w 763905"/>
                  <a:gd name="connsiteY15" fmla="*/ 7622 h 11432"/>
                  <a:gd name="connsiteX0" fmla="*/ 0 w 763905"/>
                  <a:gd name="connsiteY0" fmla="*/ 7620 h 9525"/>
                  <a:gd name="connsiteX1" fmla="*/ 11430 w 763905"/>
                  <a:gd name="connsiteY1" fmla="*/ 5715 h 9525"/>
                  <a:gd name="connsiteX2" fmla="*/ 28575 w 763905"/>
                  <a:gd name="connsiteY2" fmla="*/ 1905 h 9525"/>
                  <a:gd name="connsiteX3" fmla="*/ 57150 w 763905"/>
                  <a:gd name="connsiteY3" fmla="*/ 0 h 9525"/>
                  <a:gd name="connsiteX4" fmla="*/ 104775 w 763905"/>
                  <a:gd name="connsiteY4" fmla="*/ 1905 h 9525"/>
                  <a:gd name="connsiteX5" fmla="*/ 133350 w 763905"/>
                  <a:gd name="connsiteY5" fmla="*/ 3810 h 9525"/>
                  <a:gd name="connsiteX6" fmla="*/ 169545 w 763905"/>
                  <a:gd name="connsiteY6" fmla="*/ 5715 h 9525"/>
                  <a:gd name="connsiteX7" fmla="*/ 262890 w 763905"/>
                  <a:gd name="connsiteY7" fmla="*/ 9525 h 9525"/>
                  <a:gd name="connsiteX8" fmla="*/ 289560 w 763905"/>
                  <a:gd name="connsiteY8" fmla="*/ 7620 h 9525"/>
                  <a:gd name="connsiteX9" fmla="*/ 300990 w 763905"/>
                  <a:gd name="connsiteY9" fmla="*/ 5715 h 9525"/>
                  <a:gd name="connsiteX10" fmla="*/ 350520 w 763905"/>
                  <a:gd name="connsiteY10" fmla="*/ 7620 h 9525"/>
                  <a:gd name="connsiteX11" fmla="*/ 390525 w 763905"/>
                  <a:gd name="connsiteY11" fmla="*/ 5715 h 9525"/>
                  <a:gd name="connsiteX12" fmla="*/ 419100 w 763905"/>
                  <a:gd name="connsiteY12" fmla="*/ 3810 h 9525"/>
                  <a:gd name="connsiteX13" fmla="*/ 491490 w 763905"/>
                  <a:gd name="connsiteY13" fmla="*/ 0 h 9525"/>
                  <a:gd name="connsiteX14" fmla="*/ 763905 w 763905"/>
                  <a:gd name="connsiteY14" fmla="*/ 5715 h 9525"/>
                  <a:gd name="connsiteX0" fmla="*/ 0 w 10000"/>
                  <a:gd name="connsiteY0" fmla="*/ 8000 h 10000"/>
                  <a:gd name="connsiteX1" fmla="*/ 150 w 10000"/>
                  <a:gd name="connsiteY1" fmla="*/ 6000 h 10000"/>
                  <a:gd name="connsiteX2" fmla="*/ 748 w 10000"/>
                  <a:gd name="connsiteY2" fmla="*/ 0 h 10000"/>
                  <a:gd name="connsiteX3" fmla="*/ 1372 w 10000"/>
                  <a:gd name="connsiteY3" fmla="*/ 2000 h 10000"/>
                  <a:gd name="connsiteX4" fmla="*/ 1746 w 10000"/>
                  <a:gd name="connsiteY4" fmla="*/ 4000 h 10000"/>
                  <a:gd name="connsiteX5" fmla="*/ 2219 w 10000"/>
                  <a:gd name="connsiteY5" fmla="*/ 6000 h 10000"/>
                  <a:gd name="connsiteX6" fmla="*/ 3441 w 10000"/>
                  <a:gd name="connsiteY6" fmla="*/ 10000 h 10000"/>
                  <a:gd name="connsiteX7" fmla="*/ 3791 w 10000"/>
                  <a:gd name="connsiteY7" fmla="*/ 8000 h 10000"/>
                  <a:gd name="connsiteX8" fmla="*/ 3940 w 10000"/>
                  <a:gd name="connsiteY8" fmla="*/ 6000 h 10000"/>
                  <a:gd name="connsiteX9" fmla="*/ 4589 w 10000"/>
                  <a:gd name="connsiteY9" fmla="*/ 8000 h 10000"/>
                  <a:gd name="connsiteX10" fmla="*/ 5112 w 10000"/>
                  <a:gd name="connsiteY10" fmla="*/ 6000 h 10000"/>
                  <a:gd name="connsiteX11" fmla="*/ 5486 w 10000"/>
                  <a:gd name="connsiteY11" fmla="*/ 4000 h 10000"/>
                  <a:gd name="connsiteX12" fmla="*/ 6434 w 10000"/>
                  <a:gd name="connsiteY12" fmla="*/ 0 h 10000"/>
                  <a:gd name="connsiteX13" fmla="*/ 10000 w 10000"/>
                  <a:gd name="connsiteY13" fmla="*/ 6000 h 10000"/>
                  <a:gd name="connsiteX0" fmla="*/ 0 w 10000"/>
                  <a:gd name="connsiteY0" fmla="*/ 8000 h 10000"/>
                  <a:gd name="connsiteX1" fmla="*/ 748 w 10000"/>
                  <a:gd name="connsiteY1" fmla="*/ 0 h 10000"/>
                  <a:gd name="connsiteX2" fmla="*/ 1372 w 10000"/>
                  <a:gd name="connsiteY2" fmla="*/ 2000 h 10000"/>
                  <a:gd name="connsiteX3" fmla="*/ 1746 w 10000"/>
                  <a:gd name="connsiteY3" fmla="*/ 4000 h 10000"/>
                  <a:gd name="connsiteX4" fmla="*/ 2219 w 10000"/>
                  <a:gd name="connsiteY4" fmla="*/ 6000 h 10000"/>
                  <a:gd name="connsiteX5" fmla="*/ 3441 w 10000"/>
                  <a:gd name="connsiteY5" fmla="*/ 10000 h 10000"/>
                  <a:gd name="connsiteX6" fmla="*/ 3791 w 10000"/>
                  <a:gd name="connsiteY6" fmla="*/ 8000 h 10000"/>
                  <a:gd name="connsiteX7" fmla="*/ 3940 w 10000"/>
                  <a:gd name="connsiteY7" fmla="*/ 6000 h 10000"/>
                  <a:gd name="connsiteX8" fmla="*/ 4589 w 10000"/>
                  <a:gd name="connsiteY8" fmla="*/ 8000 h 10000"/>
                  <a:gd name="connsiteX9" fmla="*/ 5112 w 10000"/>
                  <a:gd name="connsiteY9" fmla="*/ 6000 h 10000"/>
                  <a:gd name="connsiteX10" fmla="*/ 5486 w 10000"/>
                  <a:gd name="connsiteY10" fmla="*/ 4000 h 10000"/>
                  <a:gd name="connsiteX11" fmla="*/ 6434 w 10000"/>
                  <a:gd name="connsiteY11" fmla="*/ 0 h 10000"/>
                  <a:gd name="connsiteX12" fmla="*/ 10000 w 10000"/>
                  <a:gd name="connsiteY12" fmla="*/ 6000 h 10000"/>
                  <a:gd name="connsiteX0" fmla="*/ 0 w 10000"/>
                  <a:gd name="connsiteY0" fmla="*/ 8000 h 10000"/>
                  <a:gd name="connsiteX1" fmla="*/ 1372 w 10000"/>
                  <a:gd name="connsiteY1" fmla="*/ 2000 h 10000"/>
                  <a:gd name="connsiteX2" fmla="*/ 1746 w 10000"/>
                  <a:gd name="connsiteY2" fmla="*/ 4000 h 10000"/>
                  <a:gd name="connsiteX3" fmla="*/ 2219 w 10000"/>
                  <a:gd name="connsiteY3" fmla="*/ 6000 h 10000"/>
                  <a:gd name="connsiteX4" fmla="*/ 3441 w 10000"/>
                  <a:gd name="connsiteY4" fmla="*/ 10000 h 10000"/>
                  <a:gd name="connsiteX5" fmla="*/ 3791 w 10000"/>
                  <a:gd name="connsiteY5" fmla="*/ 8000 h 10000"/>
                  <a:gd name="connsiteX6" fmla="*/ 3940 w 10000"/>
                  <a:gd name="connsiteY6" fmla="*/ 6000 h 10000"/>
                  <a:gd name="connsiteX7" fmla="*/ 4589 w 10000"/>
                  <a:gd name="connsiteY7" fmla="*/ 8000 h 10000"/>
                  <a:gd name="connsiteX8" fmla="*/ 5112 w 10000"/>
                  <a:gd name="connsiteY8" fmla="*/ 6000 h 10000"/>
                  <a:gd name="connsiteX9" fmla="*/ 5486 w 10000"/>
                  <a:gd name="connsiteY9" fmla="*/ 4000 h 10000"/>
                  <a:gd name="connsiteX10" fmla="*/ 6434 w 10000"/>
                  <a:gd name="connsiteY10" fmla="*/ 0 h 10000"/>
                  <a:gd name="connsiteX11" fmla="*/ 10000 w 10000"/>
                  <a:gd name="connsiteY11" fmla="*/ 6000 h 10000"/>
                  <a:gd name="connsiteX0" fmla="*/ 0 w 10000"/>
                  <a:gd name="connsiteY0" fmla="*/ 8000 h 10000"/>
                  <a:gd name="connsiteX1" fmla="*/ 1372 w 10000"/>
                  <a:gd name="connsiteY1" fmla="*/ 2000 h 10000"/>
                  <a:gd name="connsiteX2" fmla="*/ 2219 w 10000"/>
                  <a:gd name="connsiteY2" fmla="*/ 6000 h 10000"/>
                  <a:gd name="connsiteX3" fmla="*/ 3441 w 10000"/>
                  <a:gd name="connsiteY3" fmla="*/ 10000 h 10000"/>
                  <a:gd name="connsiteX4" fmla="*/ 3791 w 10000"/>
                  <a:gd name="connsiteY4" fmla="*/ 8000 h 10000"/>
                  <a:gd name="connsiteX5" fmla="*/ 3940 w 10000"/>
                  <a:gd name="connsiteY5" fmla="*/ 6000 h 10000"/>
                  <a:gd name="connsiteX6" fmla="*/ 4589 w 10000"/>
                  <a:gd name="connsiteY6" fmla="*/ 8000 h 10000"/>
                  <a:gd name="connsiteX7" fmla="*/ 5112 w 10000"/>
                  <a:gd name="connsiteY7" fmla="*/ 6000 h 10000"/>
                  <a:gd name="connsiteX8" fmla="*/ 5486 w 10000"/>
                  <a:gd name="connsiteY8" fmla="*/ 4000 h 10000"/>
                  <a:gd name="connsiteX9" fmla="*/ 6434 w 10000"/>
                  <a:gd name="connsiteY9" fmla="*/ 0 h 10000"/>
                  <a:gd name="connsiteX10" fmla="*/ 10000 w 10000"/>
                  <a:gd name="connsiteY10" fmla="*/ 6000 h 10000"/>
                  <a:gd name="connsiteX0" fmla="*/ 0 w 10000"/>
                  <a:gd name="connsiteY0" fmla="*/ 8000 h 10000"/>
                  <a:gd name="connsiteX1" fmla="*/ 2219 w 10000"/>
                  <a:gd name="connsiteY1" fmla="*/ 6000 h 10000"/>
                  <a:gd name="connsiteX2" fmla="*/ 3441 w 10000"/>
                  <a:gd name="connsiteY2" fmla="*/ 10000 h 10000"/>
                  <a:gd name="connsiteX3" fmla="*/ 3791 w 10000"/>
                  <a:gd name="connsiteY3" fmla="*/ 8000 h 10000"/>
                  <a:gd name="connsiteX4" fmla="*/ 3940 w 10000"/>
                  <a:gd name="connsiteY4" fmla="*/ 6000 h 10000"/>
                  <a:gd name="connsiteX5" fmla="*/ 4589 w 10000"/>
                  <a:gd name="connsiteY5" fmla="*/ 8000 h 10000"/>
                  <a:gd name="connsiteX6" fmla="*/ 5112 w 10000"/>
                  <a:gd name="connsiteY6" fmla="*/ 6000 h 10000"/>
                  <a:gd name="connsiteX7" fmla="*/ 5486 w 10000"/>
                  <a:gd name="connsiteY7" fmla="*/ 4000 h 10000"/>
                  <a:gd name="connsiteX8" fmla="*/ 6434 w 10000"/>
                  <a:gd name="connsiteY8" fmla="*/ 0 h 10000"/>
                  <a:gd name="connsiteX9" fmla="*/ 10000 w 10000"/>
                  <a:gd name="connsiteY9" fmla="*/ 6000 h 10000"/>
                  <a:gd name="connsiteX0" fmla="*/ 0 w 10000"/>
                  <a:gd name="connsiteY0" fmla="*/ 8000 h 10000"/>
                  <a:gd name="connsiteX1" fmla="*/ 3441 w 10000"/>
                  <a:gd name="connsiteY1" fmla="*/ 10000 h 10000"/>
                  <a:gd name="connsiteX2" fmla="*/ 3791 w 10000"/>
                  <a:gd name="connsiteY2" fmla="*/ 8000 h 10000"/>
                  <a:gd name="connsiteX3" fmla="*/ 3940 w 10000"/>
                  <a:gd name="connsiteY3" fmla="*/ 6000 h 10000"/>
                  <a:gd name="connsiteX4" fmla="*/ 4589 w 10000"/>
                  <a:gd name="connsiteY4" fmla="*/ 8000 h 10000"/>
                  <a:gd name="connsiteX5" fmla="*/ 5112 w 10000"/>
                  <a:gd name="connsiteY5" fmla="*/ 6000 h 10000"/>
                  <a:gd name="connsiteX6" fmla="*/ 5486 w 10000"/>
                  <a:gd name="connsiteY6" fmla="*/ 4000 h 10000"/>
                  <a:gd name="connsiteX7" fmla="*/ 6434 w 10000"/>
                  <a:gd name="connsiteY7" fmla="*/ 0 h 10000"/>
                  <a:gd name="connsiteX8" fmla="*/ 10000 w 10000"/>
                  <a:gd name="connsiteY8" fmla="*/ 6000 h 10000"/>
                  <a:gd name="connsiteX0" fmla="*/ 0 w 10125"/>
                  <a:gd name="connsiteY0" fmla="*/ 8000 h 10000"/>
                  <a:gd name="connsiteX1" fmla="*/ 3566 w 10125"/>
                  <a:gd name="connsiteY1" fmla="*/ 10000 h 10000"/>
                  <a:gd name="connsiteX2" fmla="*/ 3916 w 10125"/>
                  <a:gd name="connsiteY2" fmla="*/ 8000 h 10000"/>
                  <a:gd name="connsiteX3" fmla="*/ 4065 w 10125"/>
                  <a:gd name="connsiteY3" fmla="*/ 6000 h 10000"/>
                  <a:gd name="connsiteX4" fmla="*/ 4714 w 10125"/>
                  <a:gd name="connsiteY4" fmla="*/ 8000 h 10000"/>
                  <a:gd name="connsiteX5" fmla="*/ 5237 w 10125"/>
                  <a:gd name="connsiteY5" fmla="*/ 6000 h 10000"/>
                  <a:gd name="connsiteX6" fmla="*/ 5611 w 10125"/>
                  <a:gd name="connsiteY6" fmla="*/ 4000 h 10000"/>
                  <a:gd name="connsiteX7" fmla="*/ 6559 w 10125"/>
                  <a:gd name="connsiteY7" fmla="*/ 0 h 10000"/>
                  <a:gd name="connsiteX8" fmla="*/ 10125 w 10125"/>
                  <a:gd name="connsiteY8" fmla="*/ 6000 h 10000"/>
                  <a:gd name="connsiteX0" fmla="*/ 0 w 10175"/>
                  <a:gd name="connsiteY0" fmla="*/ 8000 h 10000"/>
                  <a:gd name="connsiteX1" fmla="*/ 3566 w 10175"/>
                  <a:gd name="connsiteY1" fmla="*/ 10000 h 10000"/>
                  <a:gd name="connsiteX2" fmla="*/ 3916 w 10175"/>
                  <a:gd name="connsiteY2" fmla="*/ 8000 h 10000"/>
                  <a:gd name="connsiteX3" fmla="*/ 4065 w 10175"/>
                  <a:gd name="connsiteY3" fmla="*/ 6000 h 10000"/>
                  <a:gd name="connsiteX4" fmla="*/ 4714 w 10175"/>
                  <a:gd name="connsiteY4" fmla="*/ 8000 h 10000"/>
                  <a:gd name="connsiteX5" fmla="*/ 5237 w 10175"/>
                  <a:gd name="connsiteY5" fmla="*/ 6000 h 10000"/>
                  <a:gd name="connsiteX6" fmla="*/ 5611 w 10175"/>
                  <a:gd name="connsiteY6" fmla="*/ 4000 h 10000"/>
                  <a:gd name="connsiteX7" fmla="*/ 6559 w 10175"/>
                  <a:gd name="connsiteY7" fmla="*/ 0 h 10000"/>
                  <a:gd name="connsiteX8" fmla="*/ 10175 w 10175"/>
                  <a:gd name="connsiteY8" fmla="*/ 10000 h 10000"/>
                  <a:gd name="connsiteX0" fmla="*/ 0 w 10175"/>
                  <a:gd name="connsiteY0" fmla="*/ 4000 h 6000"/>
                  <a:gd name="connsiteX1" fmla="*/ 3566 w 10175"/>
                  <a:gd name="connsiteY1" fmla="*/ 6000 h 6000"/>
                  <a:gd name="connsiteX2" fmla="*/ 3916 w 10175"/>
                  <a:gd name="connsiteY2" fmla="*/ 4000 h 6000"/>
                  <a:gd name="connsiteX3" fmla="*/ 4065 w 10175"/>
                  <a:gd name="connsiteY3" fmla="*/ 2000 h 6000"/>
                  <a:gd name="connsiteX4" fmla="*/ 4714 w 10175"/>
                  <a:gd name="connsiteY4" fmla="*/ 4000 h 6000"/>
                  <a:gd name="connsiteX5" fmla="*/ 5237 w 10175"/>
                  <a:gd name="connsiteY5" fmla="*/ 2000 h 6000"/>
                  <a:gd name="connsiteX6" fmla="*/ 5611 w 10175"/>
                  <a:gd name="connsiteY6" fmla="*/ 0 h 6000"/>
                  <a:gd name="connsiteX7" fmla="*/ 6509 w 10175"/>
                  <a:gd name="connsiteY7" fmla="*/ 2000 h 6000"/>
                  <a:gd name="connsiteX8" fmla="*/ 10175 w 10175"/>
                  <a:gd name="connsiteY8" fmla="*/ 6000 h 6000"/>
                  <a:gd name="connsiteX0" fmla="*/ 0 w 10000"/>
                  <a:gd name="connsiteY0" fmla="*/ 7264 h 17286"/>
                  <a:gd name="connsiteX1" fmla="*/ 3505 w 10000"/>
                  <a:gd name="connsiteY1" fmla="*/ 10597 h 17286"/>
                  <a:gd name="connsiteX2" fmla="*/ 3849 w 10000"/>
                  <a:gd name="connsiteY2" fmla="*/ 7264 h 17286"/>
                  <a:gd name="connsiteX3" fmla="*/ 3995 w 10000"/>
                  <a:gd name="connsiteY3" fmla="*/ 3930 h 17286"/>
                  <a:gd name="connsiteX4" fmla="*/ 4633 w 10000"/>
                  <a:gd name="connsiteY4" fmla="*/ 7264 h 17286"/>
                  <a:gd name="connsiteX5" fmla="*/ 5147 w 10000"/>
                  <a:gd name="connsiteY5" fmla="*/ 3930 h 17286"/>
                  <a:gd name="connsiteX6" fmla="*/ 5514 w 10000"/>
                  <a:gd name="connsiteY6" fmla="*/ 597 h 17286"/>
                  <a:gd name="connsiteX7" fmla="*/ 6250 w 10000"/>
                  <a:gd name="connsiteY7" fmla="*/ 17264 h 17286"/>
                  <a:gd name="connsiteX8" fmla="*/ 10000 w 10000"/>
                  <a:gd name="connsiteY8" fmla="*/ 10597 h 17286"/>
                  <a:gd name="connsiteX0" fmla="*/ 0 w 10000"/>
                  <a:gd name="connsiteY0" fmla="*/ 6883 h 10294"/>
                  <a:gd name="connsiteX1" fmla="*/ 3505 w 10000"/>
                  <a:gd name="connsiteY1" fmla="*/ 10216 h 10294"/>
                  <a:gd name="connsiteX2" fmla="*/ 3849 w 10000"/>
                  <a:gd name="connsiteY2" fmla="*/ 6883 h 10294"/>
                  <a:gd name="connsiteX3" fmla="*/ 3995 w 10000"/>
                  <a:gd name="connsiteY3" fmla="*/ 3549 h 10294"/>
                  <a:gd name="connsiteX4" fmla="*/ 4633 w 10000"/>
                  <a:gd name="connsiteY4" fmla="*/ 6883 h 10294"/>
                  <a:gd name="connsiteX5" fmla="*/ 5147 w 10000"/>
                  <a:gd name="connsiteY5" fmla="*/ 3549 h 10294"/>
                  <a:gd name="connsiteX6" fmla="*/ 5514 w 10000"/>
                  <a:gd name="connsiteY6" fmla="*/ 216 h 10294"/>
                  <a:gd name="connsiteX7" fmla="*/ 6176 w 10000"/>
                  <a:gd name="connsiteY7" fmla="*/ 10216 h 10294"/>
                  <a:gd name="connsiteX8" fmla="*/ 10000 w 10000"/>
                  <a:gd name="connsiteY8" fmla="*/ 10216 h 10294"/>
                  <a:gd name="connsiteX0" fmla="*/ 0 w 10000"/>
                  <a:gd name="connsiteY0" fmla="*/ 6881 h 10292"/>
                  <a:gd name="connsiteX1" fmla="*/ 3505 w 10000"/>
                  <a:gd name="connsiteY1" fmla="*/ 10214 h 10292"/>
                  <a:gd name="connsiteX2" fmla="*/ 3995 w 10000"/>
                  <a:gd name="connsiteY2" fmla="*/ 3547 h 10292"/>
                  <a:gd name="connsiteX3" fmla="*/ 4633 w 10000"/>
                  <a:gd name="connsiteY3" fmla="*/ 6881 h 10292"/>
                  <a:gd name="connsiteX4" fmla="*/ 5147 w 10000"/>
                  <a:gd name="connsiteY4" fmla="*/ 3547 h 10292"/>
                  <a:gd name="connsiteX5" fmla="*/ 5514 w 10000"/>
                  <a:gd name="connsiteY5" fmla="*/ 214 h 10292"/>
                  <a:gd name="connsiteX6" fmla="*/ 6176 w 10000"/>
                  <a:gd name="connsiteY6" fmla="*/ 10214 h 10292"/>
                  <a:gd name="connsiteX7" fmla="*/ 10000 w 10000"/>
                  <a:gd name="connsiteY7" fmla="*/ 10214 h 10292"/>
                  <a:gd name="connsiteX0" fmla="*/ 0 w 10000"/>
                  <a:gd name="connsiteY0" fmla="*/ 10127 h 76793"/>
                  <a:gd name="connsiteX1" fmla="*/ 3505 w 10000"/>
                  <a:gd name="connsiteY1" fmla="*/ 13460 h 76793"/>
                  <a:gd name="connsiteX2" fmla="*/ 3995 w 10000"/>
                  <a:gd name="connsiteY2" fmla="*/ 6793 h 76793"/>
                  <a:gd name="connsiteX3" fmla="*/ 4535 w 10000"/>
                  <a:gd name="connsiteY3" fmla="*/ 76793 h 76793"/>
                  <a:gd name="connsiteX4" fmla="*/ 5147 w 10000"/>
                  <a:gd name="connsiteY4" fmla="*/ 6793 h 76793"/>
                  <a:gd name="connsiteX5" fmla="*/ 5514 w 10000"/>
                  <a:gd name="connsiteY5" fmla="*/ 3460 h 76793"/>
                  <a:gd name="connsiteX6" fmla="*/ 6176 w 10000"/>
                  <a:gd name="connsiteY6" fmla="*/ 13460 h 76793"/>
                  <a:gd name="connsiteX7" fmla="*/ 10000 w 10000"/>
                  <a:gd name="connsiteY7" fmla="*/ 13460 h 76793"/>
                  <a:gd name="connsiteX0" fmla="*/ 0 w 10000"/>
                  <a:gd name="connsiteY0" fmla="*/ 74224 h 140890"/>
                  <a:gd name="connsiteX1" fmla="*/ 3505 w 10000"/>
                  <a:gd name="connsiteY1" fmla="*/ 77557 h 140890"/>
                  <a:gd name="connsiteX2" fmla="*/ 4093 w 10000"/>
                  <a:gd name="connsiteY2" fmla="*/ 891 h 140890"/>
                  <a:gd name="connsiteX3" fmla="*/ 4535 w 10000"/>
                  <a:gd name="connsiteY3" fmla="*/ 140890 h 140890"/>
                  <a:gd name="connsiteX4" fmla="*/ 5147 w 10000"/>
                  <a:gd name="connsiteY4" fmla="*/ 70890 h 140890"/>
                  <a:gd name="connsiteX5" fmla="*/ 5514 w 10000"/>
                  <a:gd name="connsiteY5" fmla="*/ 67557 h 140890"/>
                  <a:gd name="connsiteX6" fmla="*/ 6176 w 10000"/>
                  <a:gd name="connsiteY6" fmla="*/ 77557 h 140890"/>
                  <a:gd name="connsiteX7" fmla="*/ 10000 w 10000"/>
                  <a:gd name="connsiteY7" fmla="*/ 77557 h 140890"/>
                  <a:gd name="connsiteX0" fmla="*/ 0 w 10000"/>
                  <a:gd name="connsiteY0" fmla="*/ 74765 h 141431"/>
                  <a:gd name="connsiteX1" fmla="*/ 3505 w 10000"/>
                  <a:gd name="connsiteY1" fmla="*/ 78098 h 141431"/>
                  <a:gd name="connsiteX2" fmla="*/ 4093 w 10000"/>
                  <a:gd name="connsiteY2" fmla="*/ 1432 h 141431"/>
                  <a:gd name="connsiteX3" fmla="*/ 4535 w 10000"/>
                  <a:gd name="connsiteY3" fmla="*/ 141431 h 141431"/>
                  <a:gd name="connsiteX4" fmla="*/ 5147 w 10000"/>
                  <a:gd name="connsiteY4" fmla="*/ 71431 h 141431"/>
                  <a:gd name="connsiteX5" fmla="*/ 5514 w 10000"/>
                  <a:gd name="connsiteY5" fmla="*/ 68098 h 141431"/>
                  <a:gd name="connsiteX6" fmla="*/ 6176 w 10000"/>
                  <a:gd name="connsiteY6" fmla="*/ 78098 h 141431"/>
                  <a:gd name="connsiteX7" fmla="*/ 10000 w 10000"/>
                  <a:gd name="connsiteY7" fmla="*/ 78098 h 141431"/>
                  <a:gd name="connsiteX0" fmla="*/ 0 w 10000"/>
                  <a:gd name="connsiteY0" fmla="*/ 73867 h 140533"/>
                  <a:gd name="connsiteX1" fmla="*/ 3505 w 10000"/>
                  <a:gd name="connsiteY1" fmla="*/ 77200 h 140533"/>
                  <a:gd name="connsiteX2" fmla="*/ 4093 w 10000"/>
                  <a:gd name="connsiteY2" fmla="*/ 534 h 140533"/>
                  <a:gd name="connsiteX3" fmla="*/ 4535 w 10000"/>
                  <a:gd name="connsiteY3" fmla="*/ 140533 h 140533"/>
                  <a:gd name="connsiteX4" fmla="*/ 5147 w 10000"/>
                  <a:gd name="connsiteY4" fmla="*/ 70533 h 140533"/>
                  <a:gd name="connsiteX5" fmla="*/ 5514 w 10000"/>
                  <a:gd name="connsiteY5" fmla="*/ 67200 h 140533"/>
                  <a:gd name="connsiteX6" fmla="*/ 6176 w 10000"/>
                  <a:gd name="connsiteY6" fmla="*/ 77200 h 140533"/>
                  <a:gd name="connsiteX7" fmla="*/ 10000 w 10000"/>
                  <a:gd name="connsiteY7" fmla="*/ 77200 h 140533"/>
                  <a:gd name="connsiteX0" fmla="*/ 0 w 10000"/>
                  <a:gd name="connsiteY0" fmla="*/ 73867 h 140533"/>
                  <a:gd name="connsiteX1" fmla="*/ 3505 w 10000"/>
                  <a:gd name="connsiteY1" fmla="*/ 77200 h 140533"/>
                  <a:gd name="connsiteX2" fmla="*/ 4093 w 10000"/>
                  <a:gd name="connsiteY2" fmla="*/ 534 h 140533"/>
                  <a:gd name="connsiteX3" fmla="*/ 4535 w 10000"/>
                  <a:gd name="connsiteY3" fmla="*/ 140533 h 140533"/>
                  <a:gd name="connsiteX4" fmla="*/ 5147 w 10000"/>
                  <a:gd name="connsiteY4" fmla="*/ 70533 h 140533"/>
                  <a:gd name="connsiteX5" fmla="*/ 5514 w 10000"/>
                  <a:gd name="connsiteY5" fmla="*/ 67200 h 140533"/>
                  <a:gd name="connsiteX6" fmla="*/ 6176 w 10000"/>
                  <a:gd name="connsiteY6" fmla="*/ 77200 h 140533"/>
                  <a:gd name="connsiteX7" fmla="*/ 10000 w 10000"/>
                  <a:gd name="connsiteY7" fmla="*/ 77200 h 140533"/>
                  <a:gd name="connsiteX0" fmla="*/ 0 w 10000"/>
                  <a:gd name="connsiteY0" fmla="*/ 76346 h 143012"/>
                  <a:gd name="connsiteX1" fmla="*/ 3505 w 10000"/>
                  <a:gd name="connsiteY1" fmla="*/ 79679 h 143012"/>
                  <a:gd name="connsiteX2" fmla="*/ 4093 w 10000"/>
                  <a:gd name="connsiteY2" fmla="*/ 3013 h 143012"/>
                  <a:gd name="connsiteX3" fmla="*/ 4535 w 10000"/>
                  <a:gd name="connsiteY3" fmla="*/ 143012 h 143012"/>
                  <a:gd name="connsiteX4" fmla="*/ 5147 w 10000"/>
                  <a:gd name="connsiteY4" fmla="*/ 73012 h 143012"/>
                  <a:gd name="connsiteX5" fmla="*/ 5514 w 10000"/>
                  <a:gd name="connsiteY5" fmla="*/ 69679 h 143012"/>
                  <a:gd name="connsiteX6" fmla="*/ 6176 w 10000"/>
                  <a:gd name="connsiteY6" fmla="*/ 79679 h 143012"/>
                  <a:gd name="connsiteX7" fmla="*/ 10000 w 10000"/>
                  <a:gd name="connsiteY7" fmla="*/ 79679 h 143012"/>
                  <a:gd name="connsiteX0" fmla="*/ 0 w 10000"/>
                  <a:gd name="connsiteY0" fmla="*/ 76348 h 143014"/>
                  <a:gd name="connsiteX1" fmla="*/ 3505 w 10000"/>
                  <a:gd name="connsiteY1" fmla="*/ 79681 h 143014"/>
                  <a:gd name="connsiteX2" fmla="*/ 4093 w 10000"/>
                  <a:gd name="connsiteY2" fmla="*/ 3015 h 143014"/>
                  <a:gd name="connsiteX3" fmla="*/ 4535 w 10000"/>
                  <a:gd name="connsiteY3" fmla="*/ 143014 h 143014"/>
                  <a:gd name="connsiteX4" fmla="*/ 5147 w 10000"/>
                  <a:gd name="connsiteY4" fmla="*/ 73014 h 143014"/>
                  <a:gd name="connsiteX5" fmla="*/ 5514 w 10000"/>
                  <a:gd name="connsiteY5" fmla="*/ 69681 h 143014"/>
                  <a:gd name="connsiteX6" fmla="*/ 6176 w 10000"/>
                  <a:gd name="connsiteY6" fmla="*/ 79681 h 143014"/>
                  <a:gd name="connsiteX7" fmla="*/ 10000 w 10000"/>
                  <a:gd name="connsiteY7" fmla="*/ 79681 h 143014"/>
                  <a:gd name="connsiteX0" fmla="*/ 0 w 10000"/>
                  <a:gd name="connsiteY0" fmla="*/ 73333 h 139999"/>
                  <a:gd name="connsiteX1" fmla="*/ 3505 w 10000"/>
                  <a:gd name="connsiteY1" fmla="*/ 76666 h 139999"/>
                  <a:gd name="connsiteX2" fmla="*/ 4093 w 10000"/>
                  <a:gd name="connsiteY2" fmla="*/ 0 h 139999"/>
                  <a:gd name="connsiteX3" fmla="*/ 4535 w 10000"/>
                  <a:gd name="connsiteY3" fmla="*/ 139999 h 139999"/>
                  <a:gd name="connsiteX4" fmla="*/ 5147 w 10000"/>
                  <a:gd name="connsiteY4" fmla="*/ 69999 h 139999"/>
                  <a:gd name="connsiteX5" fmla="*/ 5514 w 10000"/>
                  <a:gd name="connsiteY5" fmla="*/ 66666 h 139999"/>
                  <a:gd name="connsiteX6" fmla="*/ 6176 w 10000"/>
                  <a:gd name="connsiteY6" fmla="*/ 76666 h 139999"/>
                  <a:gd name="connsiteX7" fmla="*/ 10000 w 10000"/>
                  <a:gd name="connsiteY7" fmla="*/ 76666 h 139999"/>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73333 h 146666"/>
                  <a:gd name="connsiteX1" fmla="*/ 3505 w 10000"/>
                  <a:gd name="connsiteY1" fmla="*/ 76666 h 146666"/>
                  <a:gd name="connsiteX2" fmla="*/ 4093 w 10000"/>
                  <a:gd name="connsiteY2" fmla="*/ 0 h 146666"/>
                  <a:gd name="connsiteX3" fmla="*/ 4609 w 10000"/>
                  <a:gd name="connsiteY3" fmla="*/ 146666 h 146666"/>
                  <a:gd name="connsiteX4" fmla="*/ 5147 w 10000"/>
                  <a:gd name="connsiteY4" fmla="*/ 69999 h 146666"/>
                  <a:gd name="connsiteX5" fmla="*/ 5514 w 10000"/>
                  <a:gd name="connsiteY5" fmla="*/ 66666 h 146666"/>
                  <a:gd name="connsiteX6" fmla="*/ 6176 w 10000"/>
                  <a:gd name="connsiteY6" fmla="*/ 76666 h 146666"/>
                  <a:gd name="connsiteX7" fmla="*/ 10000 w 10000"/>
                  <a:gd name="connsiteY7" fmla="*/ 76666 h 146666"/>
                  <a:gd name="connsiteX0" fmla="*/ 0 w 10000"/>
                  <a:gd name="connsiteY0" fmla="*/ 88187 h 161520"/>
                  <a:gd name="connsiteX1" fmla="*/ 3505 w 10000"/>
                  <a:gd name="connsiteY1" fmla="*/ 91520 h 161520"/>
                  <a:gd name="connsiteX2" fmla="*/ 4093 w 10000"/>
                  <a:gd name="connsiteY2" fmla="*/ 14854 h 161520"/>
                  <a:gd name="connsiteX3" fmla="*/ 4609 w 10000"/>
                  <a:gd name="connsiteY3" fmla="*/ 161520 h 161520"/>
                  <a:gd name="connsiteX4" fmla="*/ 5245 w 10000"/>
                  <a:gd name="connsiteY4" fmla="*/ 1521 h 161520"/>
                  <a:gd name="connsiteX5" fmla="*/ 5514 w 10000"/>
                  <a:gd name="connsiteY5" fmla="*/ 81520 h 161520"/>
                  <a:gd name="connsiteX6" fmla="*/ 6176 w 10000"/>
                  <a:gd name="connsiteY6" fmla="*/ 91520 h 161520"/>
                  <a:gd name="connsiteX7" fmla="*/ 10000 w 10000"/>
                  <a:gd name="connsiteY7" fmla="*/ 91520 h 161520"/>
                  <a:gd name="connsiteX0" fmla="*/ 0 w 10000"/>
                  <a:gd name="connsiteY0" fmla="*/ 88187 h 161520"/>
                  <a:gd name="connsiteX1" fmla="*/ 3505 w 10000"/>
                  <a:gd name="connsiteY1" fmla="*/ 91520 h 161520"/>
                  <a:gd name="connsiteX2" fmla="*/ 4093 w 10000"/>
                  <a:gd name="connsiteY2" fmla="*/ 14854 h 161520"/>
                  <a:gd name="connsiteX3" fmla="*/ 4609 w 10000"/>
                  <a:gd name="connsiteY3" fmla="*/ 161520 h 161520"/>
                  <a:gd name="connsiteX4" fmla="*/ 5245 w 10000"/>
                  <a:gd name="connsiteY4" fmla="*/ 1521 h 161520"/>
                  <a:gd name="connsiteX5" fmla="*/ 5514 w 10000"/>
                  <a:gd name="connsiteY5" fmla="*/ 81520 h 161520"/>
                  <a:gd name="connsiteX6" fmla="*/ 6176 w 10000"/>
                  <a:gd name="connsiteY6" fmla="*/ 91520 h 161520"/>
                  <a:gd name="connsiteX7" fmla="*/ 10000 w 10000"/>
                  <a:gd name="connsiteY7" fmla="*/ 91520 h 161520"/>
                  <a:gd name="connsiteX0" fmla="*/ 0 w 10000"/>
                  <a:gd name="connsiteY0" fmla="*/ 88918 h 162251"/>
                  <a:gd name="connsiteX1" fmla="*/ 3505 w 10000"/>
                  <a:gd name="connsiteY1" fmla="*/ 92251 h 162251"/>
                  <a:gd name="connsiteX2" fmla="*/ 4093 w 10000"/>
                  <a:gd name="connsiteY2" fmla="*/ 15585 h 162251"/>
                  <a:gd name="connsiteX3" fmla="*/ 4609 w 10000"/>
                  <a:gd name="connsiteY3" fmla="*/ 162251 h 162251"/>
                  <a:gd name="connsiteX4" fmla="*/ 5245 w 10000"/>
                  <a:gd name="connsiteY4" fmla="*/ 2252 h 162251"/>
                  <a:gd name="connsiteX5" fmla="*/ 5514 w 10000"/>
                  <a:gd name="connsiteY5" fmla="*/ 82251 h 162251"/>
                  <a:gd name="connsiteX6" fmla="*/ 6176 w 10000"/>
                  <a:gd name="connsiteY6" fmla="*/ 92251 h 162251"/>
                  <a:gd name="connsiteX7" fmla="*/ 10000 w 10000"/>
                  <a:gd name="connsiteY7" fmla="*/ 92251 h 162251"/>
                  <a:gd name="connsiteX0" fmla="*/ 0 w 10000"/>
                  <a:gd name="connsiteY0" fmla="*/ 88918 h 162251"/>
                  <a:gd name="connsiteX1" fmla="*/ 3505 w 10000"/>
                  <a:gd name="connsiteY1" fmla="*/ 92251 h 162251"/>
                  <a:gd name="connsiteX2" fmla="*/ 4093 w 10000"/>
                  <a:gd name="connsiteY2" fmla="*/ 15585 h 162251"/>
                  <a:gd name="connsiteX3" fmla="*/ 4609 w 10000"/>
                  <a:gd name="connsiteY3" fmla="*/ 162251 h 162251"/>
                  <a:gd name="connsiteX4" fmla="*/ 5245 w 10000"/>
                  <a:gd name="connsiteY4" fmla="*/ 2252 h 162251"/>
                  <a:gd name="connsiteX5" fmla="*/ 5514 w 10000"/>
                  <a:gd name="connsiteY5" fmla="*/ 82251 h 162251"/>
                  <a:gd name="connsiteX6" fmla="*/ 6176 w 10000"/>
                  <a:gd name="connsiteY6" fmla="*/ 92251 h 162251"/>
                  <a:gd name="connsiteX7" fmla="*/ 10000 w 10000"/>
                  <a:gd name="connsiteY7" fmla="*/ 92251 h 162251"/>
                  <a:gd name="connsiteX0" fmla="*/ 0 w 10000"/>
                  <a:gd name="connsiteY0" fmla="*/ 87898 h 161231"/>
                  <a:gd name="connsiteX1" fmla="*/ 3505 w 10000"/>
                  <a:gd name="connsiteY1" fmla="*/ 91231 h 161231"/>
                  <a:gd name="connsiteX2" fmla="*/ 4093 w 10000"/>
                  <a:gd name="connsiteY2" fmla="*/ 14565 h 161231"/>
                  <a:gd name="connsiteX3" fmla="*/ 4609 w 10000"/>
                  <a:gd name="connsiteY3" fmla="*/ 161231 h 161231"/>
                  <a:gd name="connsiteX4" fmla="*/ 5245 w 10000"/>
                  <a:gd name="connsiteY4" fmla="*/ 1232 h 161231"/>
                  <a:gd name="connsiteX5" fmla="*/ 5416 w 10000"/>
                  <a:gd name="connsiteY5" fmla="*/ 131230 h 161231"/>
                  <a:gd name="connsiteX6" fmla="*/ 6176 w 10000"/>
                  <a:gd name="connsiteY6" fmla="*/ 91231 h 161231"/>
                  <a:gd name="connsiteX7" fmla="*/ 10000 w 10000"/>
                  <a:gd name="connsiteY7" fmla="*/ 91231 h 161231"/>
                  <a:gd name="connsiteX0" fmla="*/ 0 w 10000"/>
                  <a:gd name="connsiteY0" fmla="*/ 87641 h 160974"/>
                  <a:gd name="connsiteX1" fmla="*/ 3505 w 10000"/>
                  <a:gd name="connsiteY1" fmla="*/ 90974 h 160974"/>
                  <a:gd name="connsiteX2" fmla="*/ 4093 w 10000"/>
                  <a:gd name="connsiteY2" fmla="*/ 14308 h 160974"/>
                  <a:gd name="connsiteX3" fmla="*/ 4609 w 10000"/>
                  <a:gd name="connsiteY3" fmla="*/ 160974 h 160974"/>
                  <a:gd name="connsiteX4" fmla="*/ 5245 w 10000"/>
                  <a:gd name="connsiteY4" fmla="*/ 975 h 160974"/>
                  <a:gd name="connsiteX5" fmla="*/ 5416 w 10000"/>
                  <a:gd name="connsiteY5" fmla="*/ 130973 h 160974"/>
                  <a:gd name="connsiteX6" fmla="*/ 5882 w 10000"/>
                  <a:gd name="connsiteY6" fmla="*/ 94307 h 160974"/>
                  <a:gd name="connsiteX7" fmla="*/ 6176 w 10000"/>
                  <a:gd name="connsiteY7" fmla="*/ 90974 h 160974"/>
                  <a:gd name="connsiteX8" fmla="*/ 10000 w 10000"/>
                  <a:gd name="connsiteY8" fmla="*/ 90974 h 160974"/>
                  <a:gd name="connsiteX0" fmla="*/ 0 w 10000"/>
                  <a:gd name="connsiteY0" fmla="*/ 96964 h 170297"/>
                  <a:gd name="connsiteX1" fmla="*/ 3505 w 10000"/>
                  <a:gd name="connsiteY1" fmla="*/ 100297 h 170297"/>
                  <a:gd name="connsiteX2" fmla="*/ 4093 w 10000"/>
                  <a:gd name="connsiteY2" fmla="*/ 23631 h 170297"/>
                  <a:gd name="connsiteX3" fmla="*/ 4609 w 10000"/>
                  <a:gd name="connsiteY3" fmla="*/ 170297 h 170297"/>
                  <a:gd name="connsiteX4" fmla="*/ 5245 w 10000"/>
                  <a:gd name="connsiteY4" fmla="*/ 10298 h 170297"/>
                  <a:gd name="connsiteX5" fmla="*/ 5416 w 10000"/>
                  <a:gd name="connsiteY5" fmla="*/ 140296 h 170297"/>
                  <a:gd name="connsiteX6" fmla="*/ 5833 w 10000"/>
                  <a:gd name="connsiteY6" fmla="*/ 298 h 170297"/>
                  <a:gd name="connsiteX7" fmla="*/ 6176 w 10000"/>
                  <a:gd name="connsiteY7" fmla="*/ 100297 h 170297"/>
                  <a:gd name="connsiteX8" fmla="*/ 10000 w 10000"/>
                  <a:gd name="connsiteY8" fmla="*/ 100297 h 170297"/>
                  <a:gd name="connsiteX0" fmla="*/ 0 w 10000"/>
                  <a:gd name="connsiteY0" fmla="*/ 96964 h 170297"/>
                  <a:gd name="connsiteX1" fmla="*/ 3505 w 10000"/>
                  <a:gd name="connsiteY1" fmla="*/ 100297 h 170297"/>
                  <a:gd name="connsiteX2" fmla="*/ 3970 w 10000"/>
                  <a:gd name="connsiteY2" fmla="*/ 20297 h 170297"/>
                  <a:gd name="connsiteX3" fmla="*/ 4609 w 10000"/>
                  <a:gd name="connsiteY3" fmla="*/ 170297 h 170297"/>
                  <a:gd name="connsiteX4" fmla="*/ 5245 w 10000"/>
                  <a:gd name="connsiteY4" fmla="*/ 10298 h 170297"/>
                  <a:gd name="connsiteX5" fmla="*/ 5416 w 10000"/>
                  <a:gd name="connsiteY5" fmla="*/ 140296 h 170297"/>
                  <a:gd name="connsiteX6" fmla="*/ 5833 w 10000"/>
                  <a:gd name="connsiteY6" fmla="*/ 298 h 170297"/>
                  <a:gd name="connsiteX7" fmla="*/ 6176 w 10000"/>
                  <a:gd name="connsiteY7" fmla="*/ 100297 h 170297"/>
                  <a:gd name="connsiteX8" fmla="*/ 10000 w 10000"/>
                  <a:gd name="connsiteY8" fmla="*/ 100297 h 170297"/>
                  <a:gd name="connsiteX0" fmla="*/ 0 w 10000"/>
                  <a:gd name="connsiteY0" fmla="*/ 96964 h 176218"/>
                  <a:gd name="connsiteX1" fmla="*/ 3505 w 10000"/>
                  <a:gd name="connsiteY1" fmla="*/ 100297 h 176218"/>
                  <a:gd name="connsiteX2" fmla="*/ 3970 w 10000"/>
                  <a:gd name="connsiteY2" fmla="*/ 20297 h 176218"/>
                  <a:gd name="connsiteX3" fmla="*/ 4609 w 10000"/>
                  <a:gd name="connsiteY3" fmla="*/ 170297 h 176218"/>
                  <a:gd name="connsiteX4" fmla="*/ 4436 w 10000"/>
                  <a:gd name="connsiteY4" fmla="*/ 120294 h 176218"/>
                  <a:gd name="connsiteX5" fmla="*/ 5245 w 10000"/>
                  <a:gd name="connsiteY5" fmla="*/ 10298 h 176218"/>
                  <a:gd name="connsiteX6" fmla="*/ 5416 w 10000"/>
                  <a:gd name="connsiteY6" fmla="*/ 140296 h 176218"/>
                  <a:gd name="connsiteX7" fmla="*/ 5833 w 10000"/>
                  <a:gd name="connsiteY7" fmla="*/ 298 h 176218"/>
                  <a:gd name="connsiteX8" fmla="*/ 6176 w 10000"/>
                  <a:gd name="connsiteY8" fmla="*/ 100297 h 176218"/>
                  <a:gd name="connsiteX9" fmla="*/ 10000 w 10000"/>
                  <a:gd name="connsiteY9" fmla="*/ 100297 h 176218"/>
                  <a:gd name="connsiteX0" fmla="*/ 0 w 10000"/>
                  <a:gd name="connsiteY0" fmla="*/ 113357 h 192613"/>
                  <a:gd name="connsiteX1" fmla="*/ 3505 w 10000"/>
                  <a:gd name="connsiteY1" fmla="*/ 116690 h 192613"/>
                  <a:gd name="connsiteX2" fmla="*/ 3970 w 10000"/>
                  <a:gd name="connsiteY2" fmla="*/ 36690 h 192613"/>
                  <a:gd name="connsiteX3" fmla="*/ 4609 w 10000"/>
                  <a:gd name="connsiteY3" fmla="*/ 186690 h 192613"/>
                  <a:gd name="connsiteX4" fmla="*/ 4436 w 10000"/>
                  <a:gd name="connsiteY4" fmla="*/ 136687 h 192613"/>
                  <a:gd name="connsiteX5" fmla="*/ 5000 w 10000"/>
                  <a:gd name="connsiteY5" fmla="*/ 24 h 192613"/>
                  <a:gd name="connsiteX6" fmla="*/ 5416 w 10000"/>
                  <a:gd name="connsiteY6" fmla="*/ 156689 h 192613"/>
                  <a:gd name="connsiteX7" fmla="*/ 5833 w 10000"/>
                  <a:gd name="connsiteY7" fmla="*/ 16691 h 192613"/>
                  <a:gd name="connsiteX8" fmla="*/ 6176 w 10000"/>
                  <a:gd name="connsiteY8" fmla="*/ 116690 h 192613"/>
                  <a:gd name="connsiteX9" fmla="*/ 10000 w 10000"/>
                  <a:gd name="connsiteY9" fmla="*/ 116690 h 192613"/>
                  <a:gd name="connsiteX0" fmla="*/ 0 w 10000"/>
                  <a:gd name="connsiteY0" fmla="*/ 113359 h 157828"/>
                  <a:gd name="connsiteX1" fmla="*/ 3505 w 10000"/>
                  <a:gd name="connsiteY1" fmla="*/ 116692 h 157828"/>
                  <a:gd name="connsiteX2" fmla="*/ 3970 w 10000"/>
                  <a:gd name="connsiteY2" fmla="*/ 36692 h 157828"/>
                  <a:gd name="connsiteX3" fmla="*/ 4436 w 10000"/>
                  <a:gd name="connsiteY3" fmla="*/ 136689 h 157828"/>
                  <a:gd name="connsiteX4" fmla="*/ 5000 w 10000"/>
                  <a:gd name="connsiteY4" fmla="*/ 26 h 157828"/>
                  <a:gd name="connsiteX5" fmla="*/ 5416 w 10000"/>
                  <a:gd name="connsiteY5" fmla="*/ 156691 h 157828"/>
                  <a:gd name="connsiteX6" fmla="*/ 5833 w 10000"/>
                  <a:gd name="connsiteY6" fmla="*/ 16693 h 157828"/>
                  <a:gd name="connsiteX7" fmla="*/ 6176 w 10000"/>
                  <a:gd name="connsiteY7" fmla="*/ 116692 h 157828"/>
                  <a:gd name="connsiteX8" fmla="*/ 10000 w 10000"/>
                  <a:gd name="connsiteY8" fmla="*/ 116692 h 157828"/>
                  <a:gd name="connsiteX0" fmla="*/ 0 w 10000"/>
                  <a:gd name="connsiteY0" fmla="*/ 113362 h 136955"/>
                  <a:gd name="connsiteX1" fmla="*/ 3505 w 10000"/>
                  <a:gd name="connsiteY1" fmla="*/ 116695 h 136955"/>
                  <a:gd name="connsiteX2" fmla="*/ 3970 w 10000"/>
                  <a:gd name="connsiteY2" fmla="*/ 36695 h 136955"/>
                  <a:gd name="connsiteX3" fmla="*/ 4436 w 10000"/>
                  <a:gd name="connsiteY3" fmla="*/ 136692 h 136955"/>
                  <a:gd name="connsiteX4" fmla="*/ 5000 w 10000"/>
                  <a:gd name="connsiteY4" fmla="*/ 29 h 136955"/>
                  <a:gd name="connsiteX5" fmla="*/ 5293 w 10000"/>
                  <a:gd name="connsiteY5" fmla="*/ 133361 h 136955"/>
                  <a:gd name="connsiteX6" fmla="*/ 5833 w 10000"/>
                  <a:gd name="connsiteY6" fmla="*/ 16696 h 136955"/>
                  <a:gd name="connsiteX7" fmla="*/ 6176 w 10000"/>
                  <a:gd name="connsiteY7" fmla="*/ 116695 h 136955"/>
                  <a:gd name="connsiteX8" fmla="*/ 10000 w 10000"/>
                  <a:gd name="connsiteY8" fmla="*/ 116695 h 136955"/>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833 w 10000"/>
                  <a:gd name="connsiteY6" fmla="*/ 26694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710 w 10000"/>
                  <a:gd name="connsiteY6" fmla="*/ 36694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710 w 10000"/>
                  <a:gd name="connsiteY6" fmla="*/ 36694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710 w 10000"/>
                  <a:gd name="connsiteY6" fmla="*/ 36694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685 w 10000"/>
                  <a:gd name="connsiteY6" fmla="*/ 23361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60 h 146953"/>
                  <a:gd name="connsiteX1" fmla="*/ 3505 w 10000"/>
                  <a:gd name="connsiteY1" fmla="*/ 126693 h 146953"/>
                  <a:gd name="connsiteX2" fmla="*/ 3970 w 10000"/>
                  <a:gd name="connsiteY2" fmla="*/ 46693 h 146953"/>
                  <a:gd name="connsiteX3" fmla="*/ 4436 w 10000"/>
                  <a:gd name="connsiteY3" fmla="*/ 146690 h 146953"/>
                  <a:gd name="connsiteX4" fmla="*/ 4902 w 10000"/>
                  <a:gd name="connsiteY4" fmla="*/ 28 h 146953"/>
                  <a:gd name="connsiteX5" fmla="*/ 5293 w 10000"/>
                  <a:gd name="connsiteY5" fmla="*/ 143359 h 146953"/>
                  <a:gd name="connsiteX6" fmla="*/ 5685 w 10000"/>
                  <a:gd name="connsiteY6" fmla="*/ 23361 h 146953"/>
                  <a:gd name="connsiteX7" fmla="*/ 6176 w 10000"/>
                  <a:gd name="connsiteY7" fmla="*/ 126693 h 146953"/>
                  <a:gd name="connsiteX8" fmla="*/ 10000 w 10000"/>
                  <a:gd name="connsiteY8" fmla="*/ 126693 h 146953"/>
                  <a:gd name="connsiteX0" fmla="*/ 0 w 10000"/>
                  <a:gd name="connsiteY0" fmla="*/ 123360 h 146951"/>
                  <a:gd name="connsiteX1" fmla="*/ 3505 w 10000"/>
                  <a:gd name="connsiteY1" fmla="*/ 126693 h 146951"/>
                  <a:gd name="connsiteX2" fmla="*/ 3970 w 10000"/>
                  <a:gd name="connsiteY2" fmla="*/ 46693 h 146951"/>
                  <a:gd name="connsiteX3" fmla="*/ 4436 w 10000"/>
                  <a:gd name="connsiteY3" fmla="*/ 146690 h 146951"/>
                  <a:gd name="connsiteX4" fmla="*/ 4902 w 10000"/>
                  <a:gd name="connsiteY4" fmla="*/ 28 h 146951"/>
                  <a:gd name="connsiteX5" fmla="*/ 5293 w 10000"/>
                  <a:gd name="connsiteY5" fmla="*/ 143359 h 146951"/>
                  <a:gd name="connsiteX6" fmla="*/ 5685 w 10000"/>
                  <a:gd name="connsiteY6" fmla="*/ 23361 h 146951"/>
                  <a:gd name="connsiteX7" fmla="*/ 6176 w 10000"/>
                  <a:gd name="connsiteY7" fmla="*/ 126693 h 146951"/>
                  <a:gd name="connsiteX8" fmla="*/ 10000 w 10000"/>
                  <a:gd name="connsiteY8" fmla="*/ 126693 h 146951"/>
                  <a:gd name="connsiteX0" fmla="*/ 0 w 10000"/>
                  <a:gd name="connsiteY0" fmla="*/ 123332 h 146925"/>
                  <a:gd name="connsiteX1" fmla="*/ 3505 w 10000"/>
                  <a:gd name="connsiteY1" fmla="*/ 126665 h 146925"/>
                  <a:gd name="connsiteX2" fmla="*/ 3970 w 10000"/>
                  <a:gd name="connsiteY2" fmla="*/ 46665 h 146925"/>
                  <a:gd name="connsiteX3" fmla="*/ 4436 w 10000"/>
                  <a:gd name="connsiteY3" fmla="*/ 146662 h 146925"/>
                  <a:gd name="connsiteX4" fmla="*/ 4902 w 10000"/>
                  <a:gd name="connsiteY4" fmla="*/ 0 h 146925"/>
                  <a:gd name="connsiteX5" fmla="*/ 5293 w 10000"/>
                  <a:gd name="connsiteY5" fmla="*/ 143331 h 146925"/>
                  <a:gd name="connsiteX6" fmla="*/ 5685 w 10000"/>
                  <a:gd name="connsiteY6" fmla="*/ 23333 h 146925"/>
                  <a:gd name="connsiteX7" fmla="*/ 6176 w 10000"/>
                  <a:gd name="connsiteY7" fmla="*/ 126665 h 146925"/>
                  <a:gd name="connsiteX8" fmla="*/ 10000 w 10000"/>
                  <a:gd name="connsiteY8" fmla="*/ 126665 h 146925"/>
                  <a:gd name="connsiteX0" fmla="*/ 0 w 10000"/>
                  <a:gd name="connsiteY0" fmla="*/ 123332 h 146923"/>
                  <a:gd name="connsiteX1" fmla="*/ 3505 w 10000"/>
                  <a:gd name="connsiteY1" fmla="*/ 126665 h 146923"/>
                  <a:gd name="connsiteX2" fmla="*/ 3970 w 10000"/>
                  <a:gd name="connsiteY2" fmla="*/ 46665 h 146923"/>
                  <a:gd name="connsiteX3" fmla="*/ 4436 w 10000"/>
                  <a:gd name="connsiteY3" fmla="*/ 146662 h 146923"/>
                  <a:gd name="connsiteX4" fmla="*/ 4902 w 10000"/>
                  <a:gd name="connsiteY4" fmla="*/ 0 h 146923"/>
                  <a:gd name="connsiteX5" fmla="*/ 5293 w 10000"/>
                  <a:gd name="connsiteY5" fmla="*/ 143331 h 146923"/>
                  <a:gd name="connsiteX6" fmla="*/ 5685 w 10000"/>
                  <a:gd name="connsiteY6" fmla="*/ 23333 h 146923"/>
                  <a:gd name="connsiteX7" fmla="*/ 6176 w 10000"/>
                  <a:gd name="connsiteY7" fmla="*/ 126665 h 146923"/>
                  <a:gd name="connsiteX8" fmla="*/ 10000 w 10000"/>
                  <a:gd name="connsiteY8" fmla="*/ 126665 h 146923"/>
                  <a:gd name="connsiteX0" fmla="*/ 0 w 10000"/>
                  <a:gd name="connsiteY0" fmla="*/ 123332 h 146925"/>
                  <a:gd name="connsiteX1" fmla="*/ 3505 w 10000"/>
                  <a:gd name="connsiteY1" fmla="*/ 126665 h 146925"/>
                  <a:gd name="connsiteX2" fmla="*/ 3970 w 10000"/>
                  <a:gd name="connsiteY2" fmla="*/ 46665 h 146925"/>
                  <a:gd name="connsiteX3" fmla="*/ 4436 w 10000"/>
                  <a:gd name="connsiteY3" fmla="*/ 146662 h 146925"/>
                  <a:gd name="connsiteX4" fmla="*/ 4902 w 10000"/>
                  <a:gd name="connsiteY4" fmla="*/ 0 h 146925"/>
                  <a:gd name="connsiteX5" fmla="*/ 5293 w 10000"/>
                  <a:gd name="connsiteY5" fmla="*/ 143331 h 146925"/>
                  <a:gd name="connsiteX6" fmla="*/ 5685 w 10000"/>
                  <a:gd name="connsiteY6" fmla="*/ 23333 h 146925"/>
                  <a:gd name="connsiteX7" fmla="*/ 6176 w 10000"/>
                  <a:gd name="connsiteY7" fmla="*/ 126665 h 146925"/>
                  <a:gd name="connsiteX8" fmla="*/ 10000 w 10000"/>
                  <a:gd name="connsiteY8" fmla="*/ 126665 h 146925"/>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46663"/>
                  <a:gd name="connsiteX1" fmla="*/ 3505 w 10000"/>
                  <a:gd name="connsiteY1" fmla="*/ 126665 h 146663"/>
                  <a:gd name="connsiteX2" fmla="*/ 3970 w 10000"/>
                  <a:gd name="connsiteY2" fmla="*/ 46665 h 146663"/>
                  <a:gd name="connsiteX3" fmla="*/ 4436 w 10000"/>
                  <a:gd name="connsiteY3" fmla="*/ 146662 h 146663"/>
                  <a:gd name="connsiteX4" fmla="*/ 4902 w 10000"/>
                  <a:gd name="connsiteY4" fmla="*/ 0 h 146663"/>
                  <a:gd name="connsiteX5" fmla="*/ 5293 w 10000"/>
                  <a:gd name="connsiteY5" fmla="*/ 143331 h 146663"/>
                  <a:gd name="connsiteX6" fmla="*/ 5685 w 10000"/>
                  <a:gd name="connsiteY6" fmla="*/ 23333 h 146663"/>
                  <a:gd name="connsiteX7" fmla="*/ 6176 w 10000"/>
                  <a:gd name="connsiteY7" fmla="*/ 126665 h 146663"/>
                  <a:gd name="connsiteX8" fmla="*/ 10000 w 10000"/>
                  <a:gd name="connsiteY8" fmla="*/ 126665 h 146663"/>
                  <a:gd name="connsiteX0" fmla="*/ 0 w 10000"/>
                  <a:gd name="connsiteY0" fmla="*/ 123332 h 146661"/>
                  <a:gd name="connsiteX1" fmla="*/ 3505 w 10000"/>
                  <a:gd name="connsiteY1" fmla="*/ 126665 h 146661"/>
                  <a:gd name="connsiteX2" fmla="*/ 3970 w 10000"/>
                  <a:gd name="connsiteY2" fmla="*/ 46665 h 146661"/>
                  <a:gd name="connsiteX3" fmla="*/ 4436 w 10000"/>
                  <a:gd name="connsiteY3" fmla="*/ 146662 h 146661"/>
                  <a:gd name="connsiteX4" fmla="*/ 4902 w 10000"/>
                  <a:gd name="connsiteY4" fmla="*/ 0 h 146661"/>
                  <a:gd name="connsiteX5" fmla="*/ 5293 w 10000"/>
                  <a:gd name="connsiteY5" fmla="*/ 143331 h 146661"/>
                  <a:gd name="connsiteX6" fmla="*/ 5685 w 10000"/>
                  <a:gd name="connsiteY6" fmla="*/ 23333 h 146661"/>
                  <a:gd name="connsiteX7" fmla="*/ 6176 w 10000"/>
                  <a:gd name="connsiteY7" fmla="*/ 126665 h 146661"/>
                  <a:gd name="connsiteX8" fmla="*/ 10000 w 10000"/>
                  <a:gd name="connsiteY8" fmla="*/ 126665 h 14666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685 w 10000"/>
                  <a:gd name="connsiteY6" fmla="*/ 23333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436 w 10000"/>
                  <a:gd name="connsiteY3" fmla="*/ 146662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23332 h 153331"/>
                  <a:gd name="connsiteX1" fmla="*/ 3505 w 10000"/>
                  <a:gd name="connsiteY1" fmla="*/ 126665 h 153331"/>
                  <a:gd name="connsiteX2" fmla="*/ 3970 w 10000"/>
                  <a:gd name="connsiteY2" fmla="*/ 46665 h 153331"/>
                  <a:gd name="connsiteX3" fmla="*/ 4387 w 10000"/>
                  <a:gd name="connsiteY3" fmla="*/ 146663 h 153331"/>
                  <a:gd name="connsiteX4" fmla="*/ 4902 w 10000"/>
                  <a:gd name="connsiteY4" fmla="*/ 0 h 153331"/>
                  <a:gd name="connsiteX5" fmla="*/ 5268 w 10000"/>
                  <a:gd name="connsiteY5" fmla="*/ 153331 h 153331"/>
                  <a:gd name="connsiteX6" fmla="*/ 5759 w 10000"/>
                  <a:gd name="connsiteY6" fmla="*/ 30000 h 153331"/>
                  <a:gd name="connsiteX7" fmla="*/ 6176 w 10000"/>
                  <a:gd name="connsiteY7" fmla="*/ 126665 h 153331"/>
                  <a:gd name="connsiteX8" fmla="*/ 10000 w 10000"/>
                  <a:gd name="connsiteY8" fmla="*/ 126665 h 153331"/>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70 w 10000"/>
                  <a:gd name="connsiteY2" fmla="*/ 3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05 w 10000"/>
                  <a:gd name="connsiteY1" fmla="*/ 119998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6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555 w 10000"/>
                  <a:gd name="connsiteY1" fmla="*/ 113973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5479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405 w 10000"/>
                  <a:gd name="connsiteY1" fmla="*/ 118492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 name="connsiteX0" fmla="*/ 0 w 10000"/>
                  <a:gd name="connsiteY0" fmla="*/ 116665 h 146664"/>
                  <a:gd name="connsiteX1" fmla="*/ 3355 w 10000"/>
                  <a:gd name="connsiteY1" fmla="*/ 116985 h 146664"/>
                  <a:gd name="connsiteX2" fmla="*/ 3921 w 10000"/>
                  <a:gd name="connsiteY2" fmla="*/ 29998 h 146664"/>
                  <a:gd name="connsiteX3" fmla="*/ 4387 w 10000"/>
                  <a:gd name="connsiteY3" fmla="*/ 139996 h 146664"/>
                  <a:gd name="connsiteX4" fmla="*/ 4828 w 10000"/>
                  <a:gd name="connsiteY4" fmla="*/ 0 h 146664"/>
                  <a:gd name="connsiteX5" fmla="*/ 5268 w 10000"/>
                  <a:gd name="connsiteY5" fmla="*/ 146664 h 146664"/>
                  <a:gd name="connsiteX6" fmla="*/ 5759 w 10000"/>
                  <a:gd name="connsiteY6" fmla="*/ 23333 h 146664"/>
                  <a:gd name="connsiteX7" fmla="*/ 6176 w 10000"/>
                  <a:gd name="connsiteY7" fmla="*/ 119998 h 146664"/>
                  <a:gd name="connsiteX8" fmla="*/ 10000 w 10000"/>
                  <a:gd name="connsiteY8" fmla="*/ 119998 h 146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0" h="146664">
                    <a:moveTo>
                      <a:pt x="0" y="116665"/>
                    </a:moveTo>
                    <a:cubicBezTo>
                      <a:pt x="705" y="117360"/>
                      <a:pt x="2183" y="116985"/>
                      <a:pt x="3355" y="116985"/>
                    </a:cubicBezTo>
                    <a:cubicBezTo>
                      <a:pt x="3530" y="79762"/>
                      <a:pt x="3752" y="69442"/>
                      <a:pt x="3921" y="29998"/>
                    </a:cubicBezTo>
                    <a:cubicBezTo>
                      <a:pt x="4101" y="79997"/>
                      <a:pt x="4215" y="106107"/>
                      <a:pt x="4387" y="139996"/>
                    </a:cubicBezTo>
                    <a:cubicBezTo>
                      <a:pt x="4608" y="87218"/>
                      <a:pt x="4643" y="55555"/>
                      <a:pt x="4828" y="0"/>
                    </a:cubicBezTo>
                    <a:cubicBezTo>
                      <a:pt x="5062" y="74443"/>
                      <a:pt x="5187" y="97776"/>
                      <a:pt x="5268" y="146664"/>
                    </a:cubicBezTo>
                    <a:cubicBezTo>
                      <a:pt x="5496" y="88887"/>
                      <a:pt x="5509" y="76665"/>
                      <a:pt x="5759" y="23333"/>
                    </a:cubicBezTo>
                    <a:cubicBezTo>
                      <a:pt x="5960" y="69999"/>
                      <a:pt x="6029" y="77221"/>
                      <a:pt x="6176" y="119998"/>
                    </a:cubicBezTo>
                    <a:cubicBezTo>
                      <a:pt x="6915" y="120553"/>
                      <a:pt x="9270" y="117916"/>
                      <a:pt x="10000" y="119998"/>
                    </a:cubicBezTo>
                  </a:path>
                </a:pathLst>
              </a:custGeom>
              <a:grpFill/>
              <a:ln w="19050">
                <a:solidFill>
                  <a:schemeClr val="tx2"/>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cxnSp>
            <p:nvCxnSpPr>
              <p:cNvPr id="27" name="Straight Connector 26">
                <a:extLst>
                  <a:ext uri="{FF2B5EF4-FFF2-40B4-BE49-F238E27FC236}">
                    <a16:creationId xmlns:a16="http://schemas.microsoft.com/office/drawing/2014/main" id="{FD478FF4-3F93-4B7B-B7C6-1BCE412AAFCB}"/>
                  </a:ext>
                </a:extLst>
              </p:cNvPr>
              <p:cNvCxnSpPr/>
              <p:nvPr/>
            </p:nvCxnSpPr>
            <p:spPr bwMode="gray">
              <a:xfrm flipV="1">
                <a:off x="10153056" y="1276774"/>
                <a:ext cx="109" cy="39923"/>
              </a:xfrm>
              <a:prstGeom prst="line">
                <a:avLst/>
              </a:prstGeom>
              <a:grpFill/>
              <a:ln w="19050">
                <a:solidFill>
                  <a:schemeClr val="tx2"/>
                </a:solidFill>
                <a:prstDash val="solid"/>
                <a:round/>
                <a:headEnd/>
                <a:tailEnd/>
              </a:ln>
              <a:extLst/>
            </p:spPr>
          </p:cxnSp>
        </p:grpSp>
        <p:sp>
          <p:nvSpPr>
            <p:cNvPr id="22" name="Oval 119">
              <a:extLst>
                <a:ext uri="{FF2B5EF4-FFF2-40B4-BE49-F238E27FC236}">
                  <a16:creationId xmlns:a16="http://schemas.microsoft.com/office/drawing/2014/main" id="{C788950B-AE81-41B2-BA23-C990B82BA565}"/>
                </a:ext>
              </a:extLst>
            </p:cNvPr>
            <p:cNvSpPr>
              <a:spLocks noChangeAspect="1"/>
            </p:cNvSpPr>
            <p:nvPr/>
          </p:nvSpPr>
          <p:spPr bwMode="gray">
            <a:xfrm>
              <a:off x="6604630" y="3043461"/>
              <a:ext cx="80932" cy="30368"/>
            </a:xfrm>
            <a:prstGeom prst="ellipse">
              <a:avLst/>
            </a:prstGeom>
            <a:grpFill/>
            <a:ln w="19050">
              <a:solidFill>
                <a:schemeClr val="tx2"/>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sp>
          <p:nvSpPr>
            <p:cNvPr id="23" name="Oval 119">
              <a:extLst>
                <a:ext uri="{FF2B5EF4-FFF2-40B4-BE49-F238E27FC236}">
                  <a16:creationId xmlns:a16="http://schemas.microsoft.com/office/drawing/2014/main" id="{0E724B2B-43B2-4842-AA8C-68A75121C146}"/>
                </a:ext>
              </a:extLst>
            </p:cNvPr>
            <p:cNvSpPr>
              <a:spLocks noChangeAspect="1"/>
            </p:cNvSpPr>
            <p:nvPr/>
          </p:nvSpPr>
          <p:spPr bwMode="gray">
            <a:xfrm>
              <a:off x="6827621" y="3043461"/>
              <a:ext cx="80932" cy="30368"/>
            </a:xfrm>
            <a:prstGeom prst="ellipse">
              <a:avLst/>
            </a:prstGeom>
            <a:grpFill/>
            <a:ln w="19050">
              <a:solidFill>
                <a:schemeClr val="tx2"/>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BBvoice"/>
                <a:ea typeface="ABBvoice"/>
                <a:cs typeface="ABBvoice"/>
              </a:endParaRPr>
            </a:p>
          </p:txBody>
        </p:sp>
        <p:cxnSp>
          <p:nvCxnSpPr>
            <p:cNvPr id="24" name="Straight Connector 23">
              <a:extLst>
                <a:ext uri="{FF2B5EF4-FFF2-40B4-BE49-F238E27FC236}">
                  <a16:creationId xmlns:a16="http://schemas.microsoft.com/office/drawing/2014/main" id="{B8A54B8A-8C66-4D0B-BD30-68C55D9C6C63}"/>
                </a:ext>
              </a:extLst>
            </p:cNvPr>
            <p:cNvCxnSpPr>
              <a:cxnSpLocks noChangeAspect="1"/>
            </p:cNvCxnSpPr>
            <p:nvPr/>
          </p:nvCxnSpPr>
          <p:spPr bwMode="gray">
            <a:xfrm>
              <a:off x="6756487" y="3083731"/>
              <a:ext cx="0" cy="114495"/>
            </a:xfrm>
            <a:prstGeom prst="line">
              <a:avLst/>
            </a:prstGeom>
            <a:grpFill/>
            <a:ln w="19050">
              <a:solidFill>
                <a:schemeClr val="tx2"/>
              </a:solidFill>
              <a:prstDash val="solid"/>
              <a:round/>
              <a:headEnd/>
              <a:tailEnd/>
            </a:ln>
            <a:extLst/>
          </p:spPr>
        </p:cxnSp>
      </p:grpSp>
      <p:sp>
        <p:nvSpPr>
          <p:cNvPr id="37" name="AutoShape 6">
            <a:hlinkClick r:id="rId4" action="ppaction://hlinksldjump" highlightClick="1"/>
            <a:extLst>
              <a:ext uri="{FF2B5EF4-FFF2-40B4-BE49-F238E27FC236}">
                <a16:creationId xmlns:a16="http://schemas.microsoft.com/office/drawing/2014/main" id="{143F5BC4-AA11-49F7-9BCA-7B639D2F1AA7}"/>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pic>
        <p:nvPicPr>
          <p:cNvPr id="38" name="Content Placeholder 10">
            <a:extLst>
              <a:ext uri="{FF2B5EF4-FFF2-40B4-BE49-F238E27FC236}">
                <a16:creationId xmlns:a16="http://schemas.microsoft.com/office/drawing/2014/main" id="{57DB7DAF-EB39-4BAA-AC4D-F3444BF6EC93}"/>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0262108" y="5448787"/>
            <a:ext cx="407558" cy="324000"/>
          </a:xfrm>
          <a:prstGeom prst="rect">
            <a:avLst/>
          </a:prstGeom>
          <a:noFill/>
          <a:ln w="9525">
            <a:noFill/>
            <a:miter lim="800000"/>
            <a:headEnd/>
            <a:tailEnd/>
          </a:ln>
        </p:spPr>
      </p:pic>
      <p:pic>
        <p:nvPicPr>
          <p:cNvPr id="40" name="Picture 39" descr="TÜV">
            <a:extLst>
              <a:ext uri="{FF2B5EF4-FFF2-40B4-BE49-F238E27FC236}">
                <a16:creationId xmlns:a16="http://schemas.microsoft.com/office/drawing/2014/main" id="{450269FF-1AC3-4FA9-A652-487350485154}"/>
              </a:ext>
            </a:extLst>
          </p:cNvPr>
          <p:cNvPicPr>
            <a:picLocks noChangeAspect="1" noChangeArrowheads="1"/>
          </p:cNvPicPr>
          <p:nvPr/>
        </p:nvPicPr>
        <p:blipFill rotWithShape="1">
          <a:blip r:embed="rId6" cstate="screen">
            <a:duotone>
              <a:schemeClr val="accent3">
                <a:shade val="45000"/>
                <a:satMod val="135000"/>
              </a:schemeClr>
              <a:prstClr val="white"/>
            </a:duotone>
            <a:extLst>
              <a:ext uri="{28A0092B-C50C-407E-A947-70E740481C1C}">
                <a14:useLocalDpi xmlns:a14="http://schemas.microsoft.com/office/drawing/2010/main"/>
              </a:ext>
            </a:extLst>
          </a:blip>
          <a:srcRect/>
          <a:stretch/>
        </p:blipFill>
        <p:spPr bwMode="gray">
          <a:xfrm>
            <a:off x="6160526" y="5357114"/>
            <a:ext cx="667408" cy="504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5" descr="mcerts_logo1">
            <a:extLst>
              <a:ext uri="{FF2B5EF4-FFF2-40B4-BE49-F238E27FC236}">
                <a16:creationId xmlns:a16="http://schemas.microsoft.com/office/drawing/2014/main" id="{97DB3287-1AE6-4A3B-988E-C947D89251D5}"/>
              </a:ext>
            </a:extLst>
          </p:cNvPr>
          <p:cNvPicPr>
            <a:picLocks noChangeAspect="1" noChangeArrowheads="1"/>
          </p:cNvPicPr>
          <p:nvPr/>
        </p:nvPicPr>
        <p:blipFill rotWithShape="1">
          <a:blip r:embed="rId7" cstate="email">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rcRect r="5842"/>
          <a:stretch/>
        </p:blipFill>
        <p:spPr bwMode="gray">
          <a:xfrm>
            <a:off x="7432093" y="5377243"/>
            <a:ext cx="408788" cy="50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41">
            <a:extLst>
              <a:ext uri="{FF2B5EF4-FFF2-40B4-BE49-F238E27FC236}">
                <a16:creationId xmlns:a16="http://schemas.microsoft.com/office/drawing/2014/main" id="{D01D2D2D-B0CC-4096-95AF-DAC9631B7B15}"/>
              </a:ext>
            </a:extLst>
          </p:cNvPr>
          <p:cNvPicPr>
            <a:picLocks noChangeAspect="1"/>
          </p:cNvPicPr>
          <p:nvPr/>
        </p:nvPicPr>
        <p:blipFill>
          <a:blip r:embed="rId8">
            <a:duotone>
              <a:schemeClr val="accent3">
                <a:shade val="45000"/>
                <a:satMod val="135000"/>
              </a:schemeClr>
              <a:prstClr val="white"/>
            </a:duotone>
          </a:blip>
          <a:stretch>
            <a:fillRect/>
          </a:stretch>
        </p:blipFill>
        <p:spPr bwMode="gray">
          <a:xfrm>
            <a:off x="6765830" y="5463567"/>
            <a:ext cx="644693" cy="360000"/>
          </a:xfrm>
          <a:prstGeom prst="rect">
            <a:avLst/>
          </a:prstGeom>
        </p:spPr>
      </p:pic>
      <p:pic>
        <p:nvPicPr>
          <p:cNvPr id="43" name="Picture 10">
            <a:extLst>
              <a:ext uri="{FF2B5EF4-FFF2-40B4-BE49-F238E27FC236}">
                <a16:creationId xmlns:a16="http://schemas.microsoft.com/office/drawing/2014/main" id="{64210406-469F-42ED-8B6B-F09F5D1E5A80}"/>
              </a:ext>
            </a:extLst>
          </p:cNvPr>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1307006" y="5399375"/>
            <a:ext cx="395864" cy="396000"/>
          </a:xfrm>
          <a:prstGeom prst="rect">
            <a:avLst/>
          </a:prstGeom>
          <a:noFill/>
          <a:ln w="9525">
            <a:noFill/>
            <a:miter lim="800000"/>
            <a:headEnd/>
            <a:tailEnd/>
          </a:ln>
        </p:spPr>
      </p:pic>
      <p:sp>
        <p:nvSpPr>
          <p:cNvPr id="45" name="Flowchart: Terminator 44">
            <a:extLst>
              <a:ext uri="{FF2B5EF4-FFF2-40B4-BE49-F238E27FC236}">
                <a16:creationId xmlns:a16="http://schemas.microsoft.com/office/drawing/2014/main" id="{092FD246-13D1-45EA-9422-A499D169B884}"/>
              </a:ext>
            </a:extLst>
          </p:cNvPr>
          <p:cNvSpPr/>
          <p:nvPr/>
        </p:nvSpPr>
        <p:spPr bwMode="gray">
          <a:xfrm>
            <a:off x="6115965" y="5289992"/>
            <a:ext cx="1944425"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sp>
        <p:nvSpPr>
          <p:cNvPr id="46" name="Flowchart: Terminator 45">
            <a:extLst>
              <a:ext uri="{FF2B5EF4-FFF2-40B4-BE49-F238E27FC236}">
                <a16:creationId xmlns:a16="http://schemas.microsoft.com/office/drawing/2014/main" id="{DC0FE6A8-82C7-4804-9400-457FDFA053A6}"/>
              </a:ext>
            </a:extLst>
          </p:cNvPr>
          <p:cNvSpPr/>
          <p:nvPr/>
        </p:nvSpPr>
        <p:spPr bwMode="gray">
          <a:xfrm>
            <a:off x="10120342" y="5292283"/>
            <a:ext cx="1739381"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pic>
        <p:nvPicPr>
          <p:cNvPr id="47" name="Picture 46">
            <a:extLst>
              <a:ext uri="{FF2B5EF4-FFF2-40B4-BE49-F238E27FC236}">
                <a16:creationId xmlns:a16="http://schemas.microsoft.com/office/drawing/2014/main" id="{C6D512DF-2D8C-46C5-BD2C-605D877ABC4C}"/>
              </a:ext>
            </a:extLst>
          </p:cNvPr>
          <p:cNvPicPr>
            <a:picLocks noChangeAspect="1"/>
          </p:cNvPicPr>
          <p:nvPr/>
        </p:nvPicPr>
        <p:blipFill>
          <a:blip r:embed="rId10">
            <a:duotone>
              <a:schemeClr val="accent3">
                <a:shade val="45000"/>
                <a:satMod val="135000"/>
              </a:schemeClr>
              <a:prstClr val="white"/>
            </a:duotone>
          </a:blip>
          <a:stretch>
            <a:fillRect/>
          </a:stretch>
        </p:blipFill>
        <p:spPr>
          <a:xfrm>
            <a:off x="10760567" y="5448787"/>
            <a:ext cx="466725" cy="333375"/>
          </a:xfrm>
          <a:prstGeom prst="rect">
            <a:avLst/>
          </a:prstGeom>
        </p:spPr>
      </p:pic>
      <p:sp>
        <p:nvSpPr>
          <p:cNvPr id="49" name="TextBox 48">
            <a:extLst>
              <a:ext uri="{FF2B5EF4-FFF2-40B4-BE49-F238E27FC236}">
                <a16:creationId xmlns:a16="http://schemas.microsoft.com/office/drawing/2014/main" id="{DAA09FB3-1E8A-4FA7-89D6-F1674731ED61}"/>
              </a:ext>
            </a:extLst>
          </p:cNvPr>
          <p:cNvSpPr txBox="1"/>
          <p:nvPr/>
        </p:nvSpPr>
        <p:spPr bwMode="gray">
          <a:xfrm>
            <a:off x="6438716" y="5018249"/>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Emissions</a:t>
            </a:r>
            <a:endParaRPr lang="en-US" sz="1200" dirty="0" err="1">
              <a:solidFill>
                <a:schemeClr val="accent2"/>
              </a:solidFill>
            </a:endParaRPr>
          </a:p>
        </p:txBody>
      </p:sp>
      <p:sp>
        <p:nvSpPr>
          <p:cNvPr id="50" name="TextBox 49">
            <a:extLst>
              <a:ext uri="{FF2B5EF4-FFF2-40B4-BE49-F238E27FC236}">
                <a16:creationId xmlns:a16="http://schemas.microsoft.com/office/drawing/2014/main" id="{0F0B1299-BD05-4011-A91A-2CFD97A6F20F}"/>
              </a:ext>
            </a:extLst>
          </p:cNvPr>
          <p:cNvSpPr txBox="1"/>
          <p:nvPr/>
        </p:nvSpPr>
        <p:spPr bwMode="gray">
          <a:xfrm>
            <a:off x="10347637" y="5008080"/>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Safety</a:t>
            </a:r>
            <a:endParaRPr lang="en-US" sz="1200" dirty="0" err="1">
              <a:solidFill>
                <a:schemeClr val="accent2"/>
              </a:solidFill>
            </a:endParaRPr>
          </a:p>
        </p:txBody>
      </p:sp>
    </p:spTree>
    <p:custDataLst>
      <p:tags r:id="rId1"/>
    </p:custDataLst>
    <p:extLst>
      <p:ext uri="{BB962C8B-B14F-4D97-AF65-F5344CB8AC3E}">
        <p14:creationId xmlns:p14="http://schemas.microsoft.com/office/powerpoint/2010/main" val="2731425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5A4FEB-DD82-431E-96DB-974DEA3B5F7F}"/>
              </a:ext>
            </a:extLst>
          </p:cNvPr>
          <p:cNvSpPr>
            <a:spLocks noGrp="1"/>
          </p:cNvSpPr>
          <p:nvPr>
            <p:ph type="title"/>
          </p:nvPr>
        </p:nvSpPr>
        <p:spPr bwMode="gray"/>
        <p:txBody>
          <a:bodyPr/>
          <a:lstStyle/>
          <a:p>
            <a:r>
              <a:rPr lang="de-DE" dirty="0"/>
              <a:t>ZO23</a:t>
            </a:r>
            <a:endParaRPr lang="en-US" dirty="0"/>
          </a:p>
        </p:txBody>
      </p:sp>
      <p:sp>
        <p:nvSpPr>
          <p:cNvPr id="3" name="Footer Placeholder 2">
            <a:extLst>
              <a:ext uri="{FF2B5EF4-FFF2-40B4-BE49-F238E27FC236}">
                <a16:creationId xmlns:a16="http://schemas.microsoft.com/office/drawing/2014/main" id="{99C8EF8F-4C6B-402A-8717-330021361776}"/>
              </a:ext>
            </a:extLst>
          </p:cNvPr>
          <p:cNvSpPr>
            <a:spLocks noGrp="1"/>
          </p:cNvSpPr>
          <p:nvPr>
            <p:ph type="ftr" sz="quarter" idx="10"/>
          </p:nvPr>
        </p:nvSpPr>
        <p:spPr bwMode="gray"/>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Indication</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only</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depends</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on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measuring</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component</a:t>
            </a:r>
            <a:r>
              <a:rPr kumimoji="0" lang="de-DE" sz="1000" b="0" i="0" u="none" strike="noStrike" kern="1200" cap="none" spc="0" normalizeH="0" baseline="0" noProof="0" dirty="0">
                <a:ln>
                  <a:noFill/>
                </a:ln>
                <a:solidFill>
                  <a:srgbClr val="A9A9A9"/>
                </a:solidFill>
                <a:effectLst/>
                <a:uLnTx/>
                <a:uFillTx/>
                <a:latin typeface="ABBvoice"/>
                <a:ea typeface="ABBvoice"/>
                <a:cs typeface="ABBvoice"/>
              </a:rPr>
              <a:t> and </a:t>
            </a:r>
            <a:r>
              <a:rPr kumimoji="0" lang="de-DE" sz="1000" b="0" i="0" u="none" strike="noStrike" kern="1200" cap="none" spc="0" normalizeH="0" baseline="0" noProof="0" dirty="0" err="1">
                <a:ln>
                  <a:noFill/>
                </a:ln>
                <a:solidFill>
                  <a:srgbClr val="A9A9A9"/>
                </a:solidFill>
                <a:effectLst/>
                <a:uLnTx/>
                <a:uFillTx/>
                <a:latin typeface="ABBvoice"/>
                <a:ea typeface="ABBvoice"/>
                <a:cs typeface="ABBvoice"/>
              </a:rPr>
              <a:t>application</a:t>
            </a:r>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4" name="Date Placeholder 3">
            <a:extLst>
              <a:ext uri="{FF2B5EF4-FFF2-40B4-BE49-F238E27FC236}">
                <a16:creationId xmlns:a16="http://schemas.microsoft.com/office/drawing/2014/main" id="{0BF74DBF-3620-4999-A3DB-6353C7BE791B}"/>
              </a:ext>
            </a:extLst>
          </p:cNvPr>
          <p:cNvSpPr>
            <a:spLocks noGrp="1"/>
          </p:cNvSpPr>
          <p:nvPr>
            <p:ph type="dt" sz="half"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F8FF341-9601-47A6-A4C1-F2885A66BAA5}" type="datetime4">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September 8, 2019</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5" name="Slide Number Placeholder 4">
            <a:extLst>
              <a:ext uri="{FF2B5EF4-FFF2-40B4-BE49-F238E27FC236}">
                <a16:creationId xmlns:a16="http://schemas.microsoft.com/office/drawing/2014/main" id="{4D10351D-1F9B-4C35-B046-3DF31CCC3E52}"/>
              </a:ext>
            </a:extLst>
          </p:cNvPr>
          <p:cNvSpPr>
            <a:spLocks noGrp="1"/>
          </p:cNvSpPr>
          <p:nvPr>
            <p:ph type="sldNum" sz="quarter" idx="12"/>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Slide </a:t>
            </a:r>
            <a:fld id="{619F89D8-7AE3-494A-97F3-03D680869632}" type="slidenum">
              <a:rPr kumimoji="0" lang="en-US" sz="1000" b="0" i="0" u="none" strike="noStrike" kern="1200" cap="none" spc="0" normalizeH="0" baseline="0" noProof="0" smtClean="0">
                <a:ln>
                  <a:noFill/>
                </a:ln>
                <a:solidFill>
                  <a:srgbClr val="A9A9A9"/>
                </a:solidFill>
                <a:effectLst/>
                <a:uLnTx/>
                <a:uFillTx/>
                <a:latin typeface="ABBvoice"/>
                <a:ea typeface="ABBvoice"/>
                <a:cs typeface="ABBvoice"/>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en-US" sz="1000" b="0" i="0" u="none" strike="noStrike" kern="1200" cap="none" spc="0" normalizeH="0" baseline="0" noProof="0" dirty="0">
              <a:ln>
                <a:noFill/>
              </a:ln>
              <a:solidFill>
                <a:srgbClr val="A9A9A9"/>
              </a:solidFill>
              <a:effectLst/>
              <a:uLnTx/>
              <a:uFillTx/>
              <a:latin typeface="ABBvoice"/>
              <a:ea typeface="ABBvoice"/>
              <a:cs typeface="ABBvoice"/>
            </a:endParaRPr>
          </a:p>
        </p:txBody>
      </p:sp>
      <p:sp>
        <p:nvSpPr>
          <p:cNvPr id="7" name="Content Placeholder 6">
            <a:extLst>
              <a:ext uri="{FF2B5EF4-FFF2-40B4-BE49-F238E27FC236}">
                <a16:creationId xmlns:a16="http://schemas.microsoft.com/office/drawing/2014/main" id="{8DF7FF26-40E6-4E2D-B5E3-EC07744075A3}"/>
              </a:ext>
            </a:extLst>
          </p:cNvPr>
          <p:cNvSpPr>
            <a:spLocks noGrp="1"/>
          </p:cNvSpPr>
          <p:nvPr>
            <p:ph sz="quarter" idx="19"/>
          </p:nvPr>
        </p:nvSpPr>
        <p:spPr bwMode="gray">
          <a:xfrm>
            <a:off x="332367" y="2081882"/>
            <a:ext cx="5603434" cy="3830230"/>
          </a:xfrm>
        </p:spPr>
        <p:txBody>
          <a:bodyPr/>
          <a:lstStyle/>
          <a:p>
            <a:pPr>
              <a:spcBef>
                <a:spcPts val="1800"/>
              </a:spcBef>
            </a:pPr>
            <a:r>
              <a:rPr lang="de-DE" dirty="0">
                <a:solidFill>
                  <a:schemeClr val="tx1"/>
                </a:solidFill>
              </a:rPr>
              <a:t>	Zirconium </a:t>
            </a:r>
            <a:r>
              <a:rPr lang="de-DE" dirty="0" err="1">
                <a:solidFill>
                  <a:schemeClr val="tx1"/>
                </a:solidFill>
              </a:rPr>
              <a:t>dioxide</a:t>
            </a:r>
            <a:r>
              <a:rPr lang="de-DE" dirty="0">
                <a:solidFill>
                  <a:schemeClr val="tx1"/>
                </a:solidFill>
              </a:rPr>
              <a:t> </a:t>
            </a:r>
            <a:r>
              <a:rPr lang="de-DE" dirty="0" err="1">
                <a:solidFill>
                  <a:schemeClr val="tx1"/>
                </a:solidFill>
              </a:rPr>
              <a:t>sensor</a:t>
            </a:r>
            <a:endParaRPr lang="de-DE" dirty="0">
              <a:solidFill>
                <a:schemeClr val="tx1"/>
              </a:solidFill>
            </a:endParaRPr>
          </a:p>
          <a:p>
            <a:endParaRPr lang="de-DE" sz="1600" dirty="0"/>
          </a:p>
          <a:p>
            <a:r>
              <a:rPr lang="de-DE" dirty="0" err="1"/>
              <a:t>Capabilities</a:t>
            </a:r>
            <a:endParaRPr lang="de-DE" dirty="0"/>
          </a:p>
          <a:p>
            <a:pPr lvl="1">
              <a:spcBef>
                <a:spcPts val="300"/>
              </a:spcBef>
            </a:pPr>
            <a:r>
              <a:rPr lang="de-DE" dirty="0"/>
              <a:t>Components:	</a:t>
            </a:r>
            <a:r>
              <a:rPr lang="en-US" dirty="0"/>
              <a:t>O</a:t>
            </a:r>
            <a:r>
              <a:rPr lang="en-US" baseline="-25000" dirty="0"/>
              <a:t>2</a:t>
            </a:r>
            <a:endParaRPr lang="de-DE" dirty="0"/>
          </a:p>
          <a:p>
            <a:pPr lvl="1">
              <a:spcBef>
                <a:spcPts val="300"/>
              </a:spcBef>
            </a:pPr>
            <a:r>
              <a:rPr lang="de-DE" dirty="0"/>
              <a:t>Ranges*: 	0 – 1 ppm </a:t>
            </a:r>
            <a:r>
              <a:rPr lang="de-DE" dirty="0" err="1"/>
              <a:t>up</a:t>
            </a:r>
            <a:r>
              <a:rPr lang="de-DE" dirty="0"/>
              <a:t> </a:t>
            </a:r>
            <a:r>
              <a:rPr lang="de-DE" dirty="0" err="1"/>
              <a:t>to</a:t>
            </a:r>
            <a:r>
              <a:rPr lang="de-DE" dirty="0"/>
              <a:t> 250,000 ppm</a:t>
            </a:r>
          </a:p>
          <a:p>
            <a:pPr>
              <a:spcBef>
                <a:spcPts val="1800"/>
              </a:spcBef>
            </a:pPr>
            <a:r>
              <a:rPr lang="de-DE" dirty="0"/>
              <a:t>Advantages</a:t>
            </a:r>
          </a:p>
          <a:p>
            <a:pPr lvl="1">
              <a:spcBef>
                <a:spcPts val="300"/>
              </a:spcBef>
            </a:pPr>
            <a:r>
              <a:rPr lang="de-DE" dirty="0"/>
              <a:t>Trace </a:t>
            </a:r>
            <a:r>
              <a:rPr lang="de-DE" dirty="0" err="1"/>
              <a:t>level</a:t>
            </a:r>
            <a:r>
              <a:rPr lang="de-DE" dirty="0"/>
              <a:t> </a:t>
            </a:r>
            <a:r>
              <a:rPr lang="de-DE" dirty="0" err="1"/>
              <a:t>measurement</a:t>
            </a:r>
            <a:r>
              <a:rPr lang="de-DE" dirty="0"/>
              <a:t> </a:t>
            </a:r>
            <a:r>
              <a:rPr lang="de-DE" dirty="0" err="1"/>
              <a:t>for</a:t>
            </a:r>
            <a:r>
              <a:rPr lang="de-DE" dirty="0"/>
              <a:t> </a:t>
            </a:r>
            <a:r>
              <a:rPr lang="de-DE" dirty="0" err="1"/>
              <a:t>purity</a:t>
            </a:r>
            <a:r>
              <a:rPr lang="de-DE" dirty="0"/>
              <a:t> </a:t>
            </a:r>
            <a:r>
              <a:rPr lang="de-DE" dirty="0" err="1"/>
              <a:t>applications</a:t>
            </a:r>
            <a:endParaRPr lang="de-DE" dirty="0"/>
          </a:p>
          <a:p>
            <a:pPr lvl="1">
              <a:spcBef>
                <a:spcPts val="300"/>
              </a:spcBef>
            </a:pPr>
            <a:r>
              <a:rPr lang="de-DE" dirty="0" err="1"/>
              <a:t>Catalytically</a:t>
            </a:r>
            <a:r>
              <a:rPr lang="de-DE" dirty="0"/>
              <a:t> </a:t>
            </a:r>
            <a:r>
              <a:rPr lang="de-DE" dirty="0" err="1"/>
              <a:t>inactive</a:t>
            </a:r>
            <a:r>
              <a:rPr lang="de-DE" dirty="0"/>
              <a:t> </a:t>
            </a:r>
            <a:r>
              <a:rPr lang="de-DE" dirty="0" err="1"/>
              <a:t>cell</a:t>
            </a:r>
            <a:r>
              <a:rPr lang="de-DE" dirty="0"/>
              <a:t> </a:t>
            </a:r>
            <a:r>
              <a:rPr lang="de-DE" dirty="0" err="1"/>
              <a:t>minimizes</a:t>
            </a:r>
            <a:r>
              <a:rPr lang="de-DE" dirty="0"/>
              <a:t> </a:t>
            </a:r>
            <a:r>
              <a:rPr lang="de-DE" dirty="0" err="1"/>
              <a:t>influence</a:t>
            </a:r>
            <a:r>
              <a:rPr lang="de-DE" dirty="0"/>
              <a:t> </a:t>
            </a:r>
            <a:r>
              <a:rPr lang="de-DE" dirty="0" err="1"/>
              <a:t>from</a:t>
            </a:r>
            <a:r>
              <a:rPr lang="de-DE" dirty="0"/>
              <a:t> </a:t>
            </a:r>
            <a:r>
              <a:rPr lang="de-DE" dirty="0" err="1"/>
              <a:t>flammable</a:t>
            </a:r>
            <a:r>
              <a:rPr lang="de-DE" dirty="0"/>
              <a:t> </a:t>
            </a:r>
            <a:r>
              <a:rPr lang="de-DE" dirty="0" err="1"/>
              <a:t>gases</a:t>
            </a:r>
            <a:endParaRPr lang="de-DE" dirty="0"/>
          </a:p>
          <a:p>
            <a:pPr lvl="1">
              <a:spcBef>
                <a:spcPts val="300"/>
              </a:spcBef>
            </a:pPr>
            <a:r>
              <a:rPr lang="de-DE" dirty="0"/>
              <a:t>Wide </a:t>
            </a:r>
            <a:r>
              <a:rPr lang="de-DE" dirty="0" err="1"/>
              <a:t>dynamic</a:t>
            </a:r>
            <a:r>
              <a:rPr lang="de-DE" dirty="0"/>
              <a:t> </a:t>
            </a:r>
            <a:r>
              <a:rPr lang="de-DE" dirty="0" err="1"/>
              <a:t>range</a:t>
            </a:r>
            <a:r>
              <a:rPr lang="de-DE" dirty="0"/>
              <a:t> </a:t>
            </a:r>
            <a:r>
              <a:rPr lang="de-DE" dirty="0" err="1"/>
              <a:t>for</a:t>
            </a:r>
            <a:r>
              <a:rPr lang="de-DE" dirty="0"/>
              <a:t> </a:t>
            </a:r>
            <a:r>
              <a:rPr lang="de-DE" dirty="0" err="1"/>
              <a:t>start-up</a:t>
            </a:r>
            <a:r>
              <a:rPr lang="de-DE" dirty="0"/>
              <a:t> / </a:t>
            </a:r>
            <a:r>
              <a:rPr lang="de-DE" dirty="0" err="1"/>
              <a:t>shut</a:t>
            </a:r>
            <a:r>
              <a:rPr lang="de-DE" dirty="0"/>
              <a:t>-down </a:t>
            </a:r>
            <a:r>
              <a:rPr lang="de-DE" dirty="0" err="1"/>
              <a:t>operation</a:t>
            </a:r>
            <a:endParaRPr lang="de-DE" dirty="0"/>
          </a:p>
          <a:p>
            <a:pPr lvl="1">
              <a:spcBef>
                <a:spcPts val="300"/>
              </a:spcBef>
            </a:pPr>
            <a:r>
              <a:rPr lang="en-US" dirty="0"/>
              <a:t>T</a:t>
            </a:r>
            <a:r>
              <a:rPr lang="en-US" baseline="-25000" dirty="0"/>
              <a:t>90</a:t>
            </a:r>
            <a:r>
              <a:rPr lang="en-US" dirty="0"/>
              <a:t> response time &lt;60 sec for alternation of 2 test gases</a:t>
            </a:r>
            <a:endParaRPr lang="de-DE" dirty="0"/>
          </a:p>
          <a:p>
            <a:pPr lvl="1">
              <a:spcBef>
                <a:spcPts val="300"/>
              </a:spcBef>
            </a:pPr>
            <a:r>
              <a:rPr lang="de-DE" dirty="0" err="1"/>
              <a:t>Automatic</a:t>
            </a:r>
            <a:r>
              <a:rPr lang="de-DE" dirty="0"/>
              <a:t> </a:t>
            </a:r>
            <a:r>
              <a:rPr lang="de-DE" dirty="0" err="1"/>
              <a:t>self</a:t>
            </a:r>
            <a:r>
              <a:rPr lang="de-DE" dirty="0"/>
              <a:t>-check </a:t>
            </a:r>
            <a:r>
              <a:rPr lang="de-DE" dirty="0" err="1"/>
              <a:t>function</a:t>
            </a:r>
            <a:r>
              <a:rPr lang="de-DE" dirty="0"/>
              <a:t> </a:t>
            </a:r>
            <a:r>
              <a:rPr lang="de-DE" dirty="0" err="1"/>
              <a:t>without</a:t>
            </a:r>
            <a:r>
              <a:rPr lang="de-DE" dirty="0"/>
              <a:t> </a:t>
            </a:r>
            <a:r>
              <a:rPr lang="de-DE" dirty="0" err="1"/>
              <a:t>test</a:t>
            </a:r>
            <a:r>
              <a:rPr lang="de-DE" dirty="0"/>
              <a:t> </a:t>
            </a:r>
            <a:r>
              <a:rPr lang="de-DE" dirty="0" err="1"/>
              <a:t>gases</a:t>
            </a:r>
            <a:endParaRPr lang="de-DE" dirty="0"/>
          </a:p>
        </p:txBody>
      </p:sp>
      <p:sp>
        <p:nvSpPr>
          <p:cNvPr id="8" name="Subtitle 7">
            <a:extLst>
              <a:ext uri="{FF2B5EF4-FFF2-40B4-BE49-F238E27FC236}">
                <a16:creationId xmlns:a16="http://schemas.microsoft.com/office/drawing/2014/main" id="{0A22AA71-A8DB-47E5-B616-A5CB321F6A04}"/>
              </a:ext>
            </a:extLst>
          </p:cNvPr>
          <p:cNvSpPr>
            <a:spLocks noGrp="1"/>
          </p:cNvSpPr>
          <p:nvPr>
            <p:ph type="subTitle" idx="13"/>
          </p:nvPr>
        </p:nvSpPr>
        <p:spPr bwMode="gray"/>
        <p:txBody>
          <a:bodyPr/>
          <a:lstStyle/>
          <a:p>
            <a:r>
              <a:rPr lang="de-DE" dirty="0"/>
              <a:t>Zirconium </a:t>
            </a:r>
            <a:r>
              <a:rPr lang="de-DE" dirty="0" err="1"/>
              <a:t>dioxide</a:t>
            </a:r>
            <a:r>
              <a:rPr lang="de-DE" dirty="0"/>
              <a:t> </a:t>
            </a:r>
            <a:r>
              <a:rPr lang="de-DE" dirty="0" err="1"/>
              <a:t>detector</a:t>
            </a:r>
            <a:endParaRPr lang="en-US" dirty="0"/>
          </a:p>
        </p:txBody>
      </p:sp>
      <p:pic>
        <p:nvPicPr>
          <p:cNvPr id="10" name="Content Placeholder 9">
            <a:extLst>
              <a:ext uri="{FF2B5EF4-FFF2-40B4-BE49-F238E27FC236}">
                <a16:creationId xmlns:a16="http://schemas.microsoft.com/office/drawing/2014/main" id="{B03E4FCC-F420-4B22-8BF1-B4D13E3422AD}"/>
              </a:ext>
            </a:extLst>
          </p:cNvPr>
          <p:cNvPicPr>
            <a:picLocks noGrp="1" noChangeAspect="1"/>
          </p:cNvPicPr>
          <p:nvPr>
            <p:ph sz="quarter" idx="20"/>
          </p:nvPr>
        </p:nvPicPr>
        <p:blipFill>
          <a:blip r:embed="rId3">
            <a:extLst>
              <a:ext uri="{BEBA8EAE-BF5A-486C-A8C5-ECC9F3942E4B}">
                <a14:imgProps xmlns:a14="http://schemas.microsoft.com/office/drawing/2010/main">
                  <a14:imgLayer r:embed="rId4">
                    <a14:imgEffect>
                      <a14:backgroundRemoval t="9659" b="93561" l="3348" r="93814">
                        <a14:foregroundMark x1="11681" y1="93561" x2="11681" y2="93561"/>
                        <a14:foregroundMark x1="10990" y1="93110" x2="10990" y2="93110"/>
                        <a14:foregroundMark x1="13537" y1="93561" x2="13537" y2="93561"/>
                        <a14:foregroundMark x1="8224" y1="92337" x2="8224" y2="92337"/>
                        <a14:foregroundMark x1="6841" y1="92337" x2="6841" y2="92337"/>
                        <a14:foregroundMark x1="4294" y1="91500" x2="4294" y2="91500"/>
                        <a14:foregroundMark x1="4076" y1="91887" x2="4076" y2="91887"/>
                        <a14:foregroundMark x1="3603" y1="91887" x2="3603" y2="91887"/>
                        <a14:foregroundMark x1="5677" y1="92337" x2="5677" y2="92337"/>
                        <a14:foregroundMark x1="9134" y1="89440" x2="9134" y2="89440"/>
                        <a14:foregroundMark x1="7533" y1="89826" x2="7533" y2="89826"/>
                        <a14:foregroundMark x1="4512" y1="90663" x2="4512" y2="90663"/>
                        <a14:foregroundMark x1="6150" y1="90663" x2="6150" y2="90663"/>
                        <a14:foregroundMark x1="3384" y1="91050" x2="3384" y2="91050"/>
                        <a14:foregroundMark x1="92649" y1="26014" x2="92649" y2="26014"/>
                        <a14:foregroundMark x1="92868" y1="22730" x2="92868" y2="22730"/>
                        <a14:foregroundMark x1="93814" y1="16162" x2="93814" y2="16162"/>
                        <a14:foregroundMark x1="73908" y1="10431" x2="73908" y2="10431"/>
                        <a14:foregroundMark x1="74127" y1="10431" x2="74127" y2="10431"/>
                        <a14:foregroundMark x1="73217" y1="10045" x2="73217" y2="10045"/>
                        <a14:foregroundMark x1="72744" y1="9659" x2="72744" y2="9659"/>
                      </a14:backgroundRemoval>
                    </a14:imgEffect>
                  </a14:imgLayer>
                </a14:imgProps>
              </a:ext>
            </a:extLst>
          </a:blip>
          <a:stretch>
            <a:fillRect/>
          </a:stretch>
        </p:blipFill>
        <p:spPr bwMode="gray">
          <a:xfrm>
            <a:off x="6585913" y="2358988"/>
            <a:ext cx="4569756" cy="2582543"/>
          </a:xfrm>
        </p:spPr>
      </p:pic>
      <p:grpSp>
        <p:nvGrpSpPr>
          <p:cNvPr id="18" name="Group 17">
            <a:extLst>
              <a:ext uri="{FF2B5EF4-FFF2-40B4-BE49-F238E27FC236}">
                <a16:creationId xmlns:a16="http://schemas.microsoft.com/office/drawing/2014/main" id="{30C337B7-38FD-49E3-BA54-DEC5160AA6E9}"/>
              </a:ext>
            </a:extLst>
          </p:cNvPr>
          <p:cNvGrpSpPr/>
          <p:nvPr/>
        </p:nvGrpSpPr>
        <p:grpSpPr bwMode="gray">
          <a:xfrm>
            <a:off x="330542" y="1936343"/>
            <a:ext cx="596916" cy="596916"/>
            <a:chOff x="7683267" y="-4177952"/>
            <a:chExt cx="596916" cy="596916"/>
          </a:xfrm>
        </p:grpSpPr>
        <p:sp>
          <p:nvSpPr>
            <p:cNvPr id="19" name="Rechteck 91">
              <a:extLst>
                <a:ext uri="{FF2B5EF4-FFF2-40B4-BE49-F238E27FC236}">
                  <a16:creationId xmlns:a16="http://schemas.microsoft.com/office/drawing/2014/main" id="{A3314498-8C36-4E2D-8984-80E767A1BC16}"/>
                </a:ext>
              </a:extLst>
            </p:cNvPr>
            <p:cNvSpPr/>
            <p:nvPr/>
          </p:nvSpPr>
          <p:spPr bwMode="gray">
            <a:xfrm>
              <a:off x="7683267" y="-4177952"/>
              <a:ext cx="596916" cy="596916"/>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914400" rtl="0" eaLnBrk="1" fontAlgn="auto" latinLnBrk="0" hangingPunct="1">
                <a:lnSpc>
                  <a:spcPct val="90000"/>
                </a:lnSpc>
                <a:spcBef>
                  <a:spcPts val="1100"/>
                </a:spcBef>
                <a:spcAft>
                  <a:spcPts val="0"/>
                </a:spcAft>
                <a:buClr>
                  <a:srgbClr val="002897"/>
                </a:buClr>
                <a:buSzPct val="70000"/>
                <a:buFontTx/>
                <a:buNone/>
                <a:tabLst/>
                <a:defRPr/>
              </a:pPr>
              <a:endParaRPr kumimoji="0" lang="en-US" sz="1000" b="1" i="0" u="none" strike="noStrike" kern="1200" cap="none" spc="0" normalizeH="0" baseline="0" noProof="0" dirty="0">
                <a:ln>
                  <a:noFill/>
                </a:ln>
                <a:solidFill>
                  <a:srgbClr val="FFFFFF"/>
                </a:solidFill>
                <a:effectLst/>
                <a:uLnTx/>
                <a:uFillTx/>
                <a:latin typeface="ABBvoice"/>
                <a:ea typeface="ABBvoice"/>
                <a:cs typeface="ABBvoice"/>
              </a:endParaRPr>
            </a:p>
          </p:txBody>
        </p:sp>
        <p:sp>
          <p:nvSpPr>
            <p:cNvPr id="20" name="Rectangle 2">
              <a:extLst>
                <a:ext uri="{FF2B5EF4-FFF2-40B4-BE49-F238E27FC236}">
                  <a16:creationId xmlns:a16="http://schemas.microsoft.com/office/drawing/2014/main" id="{B254E5F0-5EC2-4F48-87FE-584099B01C1D}"/>
                </a:ext>
              </a:extLst>
            </p:cNvPr>
            <p:cNvSpPr/>
            <p:nvPr/>
          </p:nvSpPr>
          <p:spPr bwMode="gray">
            <a:xfrm rot="10800000" flipH="1">
              <a:off x="7762510" y="-4003682"/>
              <a:ext cx="438432" cy="248375"/>
            </a:xfrm>
            <a:custGeom>
              <a:avLst/>
              <a:gdLst/>
              <a:ahLst/>
              <a:cxnLst/>
              <a:rect l="l" t="t" r="r" b="b"/>
              <a:pathLst>
                <a:path w="420238" h="218437">
                  <a:moveTo>
                    <a:pt x="0" y="218437"/>
                  </a:moveTo>
                  <a:lnTo>
                    <a:pt x="420238" y="218437"/>
                  </a:lnTo>
                  <a:lnTo>
                    <a:pt x="420238" y="0"/>
                  </a:lnTo>
                  <a:lnTo>
                    <a:pt x="0" y="0"/>
                  </a:lnTo>
                  <a:lnTo>
                    <a:pt x="0" y="49819"/>
                  </a:lnTo>
                  <a:lnTo>
                    <a:pt x="360926" y="49819"/>
                  </a:lnTo>
                  <a:lnTo>
                    <a:pt x="360926" y="168619"/>
                  </a:lnTo>
                  <a:lnTo>
                    <a:pt x="0" y="168619"/>
                  </a:lnTo>
                  <a:close/>
                </a:path>
              </a:pathLst>
            </a:custGeom>
            <a:solidFill>
              <a:schemeClr val="bg1"/>
            </a:solidFill>
            <a:ln w="19050">
              <a:solidFill>
                <a:schemeClr val="tx2"/>
              </a:solidFill>
              <a:prstDash val="sysDash"/>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BBvoice"/>
                <a:ea typeface="ABBvoice"/>
                <a:cs typeface="ABBvoice"/>
              </a:endParaRPr>
            </a:p>
          </p:txBody>
        </p:sp>
      </p:grpSp>
      <p:sp>
        <p:nvSpPr>
          <p:cNvPr id="24" name="AutoShape 6">
            <a:hlinkClick r:id="rId5" action="ppaction://hlinksldjump" highlightClick="1"/>
            <a:extLst>
              <a:ext uri="{FF2B5EF4-FFF2-40B4-BE49-F238E27FC236}">
                <a16:creationId xmlns:a16="http://schemas.microsoft.com/office/drawing/2014/main" id="{934287EB-61F5-4E5B-AE46-D3AF732E3D8C}"/>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pic>
        <p:nvPicPr>
          <p:cNvPr id="25" name="Content Placeholder 10">
            <a:extLst>
              <a:ext uri="{FF2B5EF4-FFF2-40B4-BE49-F238E27FC236}">
                <a16:creationId xmlns:a16="http://schemas.microsoft.com/office/drawing/2014/main" id="{D059F058-5FC1-4047-9A9B-82E9EC91F0D8}"/>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0262108" y="5448787"/>
            <a:ext cx="407558" cy="324000"/>
          </a:xfrm>
          <a:prstGeom prst="rect">
            <a:avLst/>
          </a:prstGeom>
          <a:noFill/>
          <a:ln w="9525">
            <a:noFill/>
            <a:miter lim="800000"/>
            <a:headEnd/>
            <a:tailEnd/>
          </a:ln>
        </p:spPr>
      </p:pic>
      <p:pic>
        <p:nvPicPr>
          <p:cNvPr id="30" name="Picture 10">
            <a:extLst>
              <a:ext uri="{FF2B5EF4-FFF2-40B4-BE49-F238E27FC236}">
                <a16:creationId xmlns:a16="http://schemas.microsoft.com/office/drawing/2014/main" id="{A1337B7C-26C9-49C6-8E6D-90AC0B618E56}"/>
              </a:ext>
            </a:extLst>
          </p:cNvPr>
          <p:cNvPicPr>
            <a:picLocks noChangeAspect="1"/>
          </p:cNvPicPr>
          <p:nvPr/>
        </p:nvPicPr>
        <p:blipFill>
          <a:blip r:embed="rId7" cstate="email">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gray">
          <a:xfrm>
            <a:off x="11307006" y="5399375"/>
            <a:ext cx="395864" cy="396000"/>
          </a:xfrm>
          <a:prstGeom prst="rect">
            <a:avLst/>
          </a:prstGeom>
          <a:noFill/>
          <a:ln w="9525">
            <a:noFill/>
            <a:miter lim="800000"/>
            <a:headEnd/>
            <a:tailEnd/>
          </a:ln>
        </p:spPr>
      </p:pic>
      <p:sp>
        <p:nvSpPr>
          <p:cNvPr id="33" name="Flowchart: Terminator 32">
            <a:extLst>
              <a:ext uri="{FF2B5EF4-FFF2-40B4-BE49-F238E27FC236}">
                <a16:creationId xmlns:a16="http://schemas.microsoft.com/office/drawing/2014/main" id="{D30D29BF-BD77-4CC2-9E8A-452599EAD313}"/>
              </a:ext>
            </a:extLst>
          </p:cNvPr>
          <p:cNvSpPr/>
          <p:nvPr/>
        </p:nvSpPr>
        <p:spPr bwMode="gray">
          <a:xfrm>
            <a:off x="10120342" y="5292283"/>
            <a:ext cx="1739381" cy="636969"/>
          </a:xfrm>
          <a:prstGeom prst="flowChartTerminator">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100" dirty="0" err="1">
              <a:solidFill>
                <a:schemeClr val="accent2"/>
              </a:solidFill>
            </a:endParaRPr>
          </a:p>
        </p:txBody>
      </p:sp>
      <p:pic>
        <p:nvPicPr>
          <p:cNvPr id="34" name="Picture 33">
            <a:extLst>
              <a:ext uri="{FF2B5EF4-FFF2-40B4-BE49-F238E27FC236}">
                <a16:creationId xmlns:a16="http://schemas.microsoft.com/office/drawing/2014/main" id="{8D042ED6-A57B-480E-B174-B36AE44E2C6D}"/>
              </a:ext>
            </a:extLst>
          </p:cNvPr>
          <p:cNvPicPr>
            <a:picLocks noChangeAspect="1"/>
          </p:cNvPicPr>
          <p:nvPr/>
        </p:nvPicPr>
        <p:blipFill>
          <a:blip r:embed="rId8">
            <a:duotone>
              <a:schemeClr val="accent3">
                <a:shade val="45000"/>
                <a:satMod val="135000"/>
              </a:schemeClr>
              <a:prstClr val="white"/>
            </a:duotone>
          </a:blip>
          <a:stretch>
            <a:fillRect/>
          </a:stretch>
        </p:blipFill>
        <p:spPr>
          <a:xfrm>
            <a:off x="10760567" y="5448787"/>
            <a:ext cx="466725" cy="333375"/>
          </a:xfrm>
          <a:prstGeom prst="rect">
            <a:avLst/>
          </a:prstGeom>
        </p:spPr>
      </p:pic>
      <p:sp>
        <p:nvSpPr>
          <p:cNvPr id="37" name="TextBox 36">
            <a:extLst>
              <a:ext uri="{FF2B5EF4-FFF2-40B4-BE49-F238E27FC236}">
                <a16:creationId xmlns:a16="http://schemas.microsoft.com/office/drawing/2014/main" id="{BCCCCA2E-FABE-4B4A-A71A-32FF1D8C24E2}"/>
              </a:ext>
            </a:extLst>
          </p:cNvPr>
          <p:cNvSpPr txBox="1"/>
          <p:nvPr/>
        </p:nvSpPr>
        <p:spPr bwMode="gray">
          <a:xfrm>
            <a:off x="10347637" y="5008080"/>
            <a:ext cx="1284790" cy="250436"/>
          </a:xfrm>
          <a:prstGeom prst="rect">
            <a:avLst/>
          </a:prstGeom>
          <a:noFill/>
        </p:spPr>
        <p:txBody>
          <a:bodyPr wrap="square" lIns="72000" tIns="72000" rIns="72000" bIns="72000" rtlCol="0">
            <a:noAutofit/>
          </a:bodyPr>
          <a:lstStyle/>
          <a:p>
            <a:pPr algn="ctr"/>
            <a:r>
              <a:rPr lang="de-DE" sz="1200" dirty="0" err="1">
                <a:solidFill>
                  <a:schemeClr val="accent2"/>
                </a:solidFill>
              </a:rPr>
              <a:t>Safety</a:t>
            </a:r>
            <a:endParaRPr lang="en-US" sz="1200" dirty="0" err="1">
              <a:solidFill>
                <a:schemeClr val="accent2"/>
              </a:solidFill>
            </a:endParaRPr>
          </a:p>
        </p:txBody>
      </p:sp>
      <p:sp>
        <p:nvSpPr>
          <p:cNvPr id="39" name="TextBox 38">
            <a:extLst>
              <a:ext uri="{FF2B5EF4-FFF2-40B4-BE49-F238E27FC236}">
                <a16:creationId xmlns:a16="http://schemas.microsoft.com/office/drawing/2014/main" id="{26C68192-B850-4E0E-9855-33B36F954BB1}"/>
              </a:ext>
            </a:extLst>
          </p:cNvPr>
          <p:cNvSpPr txBox="1"/>
          <p:nvPr/>
        </p:nvSpPr>
        <p:spPr bwMode="gray">
          <a:xfrm>
            <a:off x="8622081" y="642837"/>
            <a:ext cx="2401785" cy="375827"/>
          </a:xfrm>
          <a:prstGeom prst="rect">
            <a:avLst/>
          </a:prstGeom>
          <a:noFill/>
        </p:spPr>
        <p:txBody>
          <a:bodyPr wrap="square" lIns="72000" tIns="72000" rIns="72000" bIns="72000" rtlCol="0">
            <a:noAutofit/>
          </a:bodyPr>
          <a:lstStyle/>
          <a:p>
            <a:pPr algn="r"/>
            <a:r>
              <a:rPr lang="en-US" sz="1400" b="1" dirty="0">
                <a:solidFill>
                  <a:schemeClr val="tx2"/>
                </a:solidFill>
              </a:rPr>
              <a:t>Back to previous section</a:t>
            </a:r>
          </a:p>
        </p:txBody>
      </p:sp>
    </p:spTree>
    <p:custDataLst>
      <p:tags r:id="rId1"/>
    </p:custDataLst>
    <p:extLst>
      <p:ext uri="{BB962C8B-B14F-4D97-AF65-F5344CB8AC3E}">
        <p14:creationId xmlns:p14="http://schemas.microsoft.com/office/powerpoint/2010/main" val="2686560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bwMode="gray"/>
        <p:txBody>
          <a:bodyPr/>
          <a:lstStyle/>
          <a:p>
            <a:r>
              <a:rPr lang="de-DE" dirty="0"/>
              <a:t>Lower </a:t>
            </a:r>
            <a:r>
              <a:rPr lang="de-DE" dirty="0" err="1"/>
              <a:t>your</a:t>
            </a:r>
            <a:r>
              <a:rPr lang="de-DE" dirty="0"/>
              <a:t> </a:t>
            </a:r>
            <a:r>
              <a:rPr lang="de-DE" dirty="0" err="1"/>
              <a:t>cost</a:t>
            </a:r>
            <a:r>
              <a:rPr lang="de-DE" dirty="0"/>
              <a:t> </a:t>
            </a:r>
            <a:r>
              <a:rPr lang="de-DE" dirty="0" err="1"/>
              <a:t>of</a:t>
            </a:r>
            <a:r>
              <a:rPr lang="de-DE" dirty="0"/>
              <a:t> </a:t>
            </a:r>
            <a:r>
              <a:rPr lang="de-DE" dirty="0" err="1"/>
              <a:t>ownership</a:t>
            </a:r>
            <a:endParaRPr lang="en-US" dirty="0"/>
          </a:p>
        </p:txBody>
      </p:sp>
      <p:sp>
        <p:nvSpPr>
          <p:cNvPr id="4" name="Subtitle 3"/>
          <p:cNvSpPr>
            <a:spLocks noGrp="1"/>
          </p:cNvSpPr>
          <p:nvPr>
            <p:ph type="subTitle" idx="1"/>
          </p:nvPr>
        </p:nvSpPr>
        <p:spPr bwMode="gray"/>
        <p:txBody>
          <a:bodyPr/>
          <a:lstStyle/>
          <a:p>
            <a:r>
              <a:rPr lang="de-DE" dirty="0"/>
              <a:t>Up </a:t>
            </a:r>
            <a:r>
              <a:rPr lang="de-DE" dirty="0" err="1"/>
              <a:t>to</a:t>
            </a:r>
            <a:r>
              <a:rPr lang="de-DE" dirty="0"/>
              <a:t> 95% </a:t>
            </a:r>
            <a:r>
              <a:rPr lang="de-DE" dirty="0" err="1"/>
              <a:t>reduction</a:t>
            </a:r>
            <a:r>
              <a:rPr lang="de-DE" dirty="0"/>
              <a:t> in </a:t>
            </a:r>
            <a:r>
              <a:rPr lang="de-DE" dirty="0" err="1"/>
              <a:t>calibration</a:t>
            </a:r>
            <a:r>
              <a:rPr lang="de-DE" dirty="0"/>
              <a:t> </a:t>
            </a:r>
            <a:r>
              <a:rPr lang="de-DE" dirty="0" err="1"/>
              <a:t>costs</a:t>
            </a:r>
            <a:endParaRPr lang="en-US" dirty="0"/>
          </a:p>
        </p:txBody>
      </p:sp>
      <p:grpSp>
        <p:nvGrpSpPr>
          <p:cNvPr id="5" name="Group 4">
            <a:extLst>
              <a:ext uri="{FF2B5EF4-FFF2-40B4-BE49-F238E27FC236}">
                <a16:creationId xmlns:a16="http://schemas.microsoft.com/office/drawing/2014/main" id="{42DD1FB0-BA92-4FD5-8C41-E21B0505A6C9}"/>
              </a:ext>
            </a:extLst>
          </p:cNvPr>
          <p:cNvGrpSpPr>
            <a:grpSpLocks noChangeAspect="1"/>
          </p:cNvGrpSpPr>
          <p:nvPr/>
        </p:nvGrpSpPr>
        <p:grpSpPr bwMode="gray">
          <a:xfrm>
            <a:off x="5100603" y="2696005"/>
            <a:ext cx="1995329" cy="2462940"/>
            <a:chOff x="1462933" y="2597527"/>
            <a:chExt cx="324097" cy="400050"/>
          </a:xfrm>
        </p:grpSpPr>
        <p:grpSp>
          <p:nvGrpSpPr>
            <p:cNvPr id="6" name="Group 5">
              <a:extLst>
                <a:ext uri="{FF2B5EF4-FFF2-40B4-BE49-F238E27FC236}">
                  <a16:creationId xmlns:a16="http://schemas.microsoft.com/office/drawing/2014/main" id="{CD181857-C20A-4F88-A00A-F059F1A60798}"/>
                </a:ext>
              </a:extLst>
            </p:cNvPr>
            <p:cNvGrpSpPr/>
            <p:nvPr/>
          </p:nvGrpSpPr>
          <p:grpSpPr bwMode="gray">
            <a:xfrm rot="18900000">
              <a:off x="1502996" y="2758660"/>
              <a:ext cx="238015" cy="84799"/>
              <a:chOff x="4744822" y="2006391"/>
              <a:chExt cx="238015" cy="84799"/>
            </a:xfrm>
          </p:grpSpPr>
          <p:sp>
            <p:nvSpPr>
              <p:cNvPr id="12" name="Rectangle 1516">
                <a:extLst>
                  <a:ext uri="{FF2B5EF4-FFF2-40B4-BE49-F238E27FC236}">
                    <a16:creationId xmlns:a16="http://schemas.microsoft.com/office/drawing/2014/main" id="{BC345FC5-D512-45D3-93BD-30DC470D1898}"/>
                  </a:ext>
                </a:extLst>
              </p:cNvPr>
              <p:cNvSpPr/>
              <p:nvPr/>
            </p:nvSpPr>
            <p:spPr bwMode="gray">
              <a:xfrm>
                <a:off x="4773312" y="2006391"/>
                <a:ext cx="209525" cy="84799"/>
              </a:xfrm>
              <a:custGeom>
                <a:avLst/>
                <a:gdLst>
                  <a:gd name="connsiteX0" fmla="*/ 0 w 209525"/>
                  <a:gd name="connsiteY0" fmla="*/ 0 h 84799"/>
                  <a:gd name="connsiteX1" fmla="*/ 209525 w 209525"/>
                  <a:gd name="connsiteY1" fmla="*/ 0 h 84799"/>
                  <a:gd name="connsiteX2" fmla="*/ 209525 w 209525"/>
                  <a:gd name="connsiteY2" fmla="*/ 84799 h 84799"/>
                  <a:gd name="connsiteX3" fmla="*/ 0 w 209525"/>
                  <a:gd name="connsiteY3" fmla="*/ 84799 h 84799"/>
                  <a:gd name="connsiteX4" fmla="*/ 0 w 209525"/>
                  <a:gd name="connsiteY4" fmla="*/ 0 h 84799"/>
                  <a:gd name="connsiteX0" fmla="*/ 0 w 209525"/>
                  <a:gd name="connsiteY0" fmla="*/ 0 h 84799"/>
                  <a:gd name="connsiteX1" fmla="*/ 209525 w 209525"/>
                  <a:gd name="connsiteY1" fmla="*/ 0 h 84799"/>
                  <a:gd name="connsiteX2" fmla="*/ 209525 w 209525"/>
                  <a:gd name="connsiteY2" fmla="*/ 84799 h 84799"/>
                  <a:gd name="connsiteX3" fmla="*/ 116192 w 209525"/>
                  <a:gd name="connsiteY3" fmla="*/ 81489 h 84799"/>
                  <a:gd name="connsiteX4" fmla="*/ 0 w 209525"/>
                  <a:gd name="connsiteY4" fmla="*/ 84799 h 84799"/>
                  <a:gd name="connsiteX5" fmla="*/ 0 w 209525"/>
                  <a:gd name="connsiteY5" fmla="*/ 0 h 84799"/>
                  <a:gd name="connsiteX0" fmla="*/ 0 w 209525"/>
                  <a:gd name="connsiteY0" fmla="*/ 0 h 84799"/>
                  <a:gd name="connsiteX1" fmla="*/ 209525 w 209525"/>
                  <a:gd name="connsiteY1" fmla="*/ 0 h 84799"/>
                  <a:gd name="connsiteX2" fmla="*/ 209525 w 209525"/>
                  <a:gd name="connsiteY2" fmla="*/ 84799 h 84799"/>
                  <a:gd name="connsiteX3" fmla="*/ 0 w 209525"/>
                  <a:gd name="connsiteY3" fmla="*/ 84799 h 84799"/>
                  <a:gd name="connsiteX4" fmla="*/ 0 w 209525"/>
                  <a:gd name="connsiteY4" fmla="*/ 0 h 84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25" h="84799">
                    <a:moveTo>
                      <a:pt x="0" y="0"/>
                    </a:moveTo>
                    <a:lnTo>
                      <a:pt x="209525" y="0"/>
                    </a:lnTo>
                    <a:lnTo>
                      <a:pt x="209525" y="84799"/>
                    </a:lnTo>
                    <a:lnTo>
                      <a:pt x="0" y="84799"/>
                    </a:lnTo>
                    <a:lnTo>
                      <a:pt x="0" y="0"/>
                    </a:lnTo>
                    <a:close/>
                  </a:path>
                </a:pathLst>
              </a:custGeom>
              <a:noFill/>
              <a:ln w="285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13" name="Oval 12">
                <a:extLst>
                  <a:ext uri="{FF2B5EF4-FFF2-40B4-BE49-F238E27FC236}">
                    <a16:creationId xmlns:a16="http://schemas.microsoft.com/office/drawing/2014/main" id="{C418BDD6-5F51-48CE-9377-81CCB1088968}"/>
                  </a:ext>
                </a:extLst>
              </p:cNvPr>
              <p:cNvSpPr/>
              <p:nvPr/>
            </p:nvSpPr>
            <p:spPr bwMode="gray">
              <a:xfrm>
                <a:off x="4804487" y="2019301"/>
                <a:ext cx="58984" cy="58982"/>
              </a:xfrm>
              <a:prstGeom prst="ellipse">
                <a:avLst/>
              </a:prstGeom>
              <a:noFill/>
              <a:ln w="285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14" name="Oval 13">
                <a:extLst>
                  <a:ext uri="{FF2B5EF4-FFF2-40B4-BE49-F238E27FC236}">
                    <a16:creationId xmlns:a16="http://schemas.microsoft.com/office/drawing/2014/main" id="{48661BAB-CA0E-444C-962A-7065C55DB54B}"/>
                  </a:ext>
                </a:extLst>
              </p:cNvPr>
              <p:cNvSpPr/>
              <p:nvPr/>
            </p:nvSpPr>
            <p:spPr bwMode="gray">
              <a:xfrm>
                <a:off x="4892679" y="2019301"/>
                <a:ext cx="58984" cy="58982"/>
              </a:xfrm>
              <a:prstGeom prst="ellipse">
                <a:avLst/>
              </a:prstGeom>
              <a:noFill/>
              <a:ln w="285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cxnSp>
            <p:nvCxnSpPr>
              <p:cNvPr id="15" name="Straight Connector 14">
                <a:extLst>
                  <a:ext uri="{FF2B5EF4-FFF2-40B4-BE49-F238E27FC236}">
                    <a16:creationId xmlns:a16="http://schemas.microsoft.com/office/drawing/2014/main" id="{3F9E0A74-9394-4F18-8BBE-D060C6F6C39D}"/>
                  </a:ext>
                </a:extLst>
              </p:cNvPr>
              <p:cNvCxnSpPr>
                <a:cxnSpLocks/>
                <a:stCxn id="13" idx="2"/>
                <a:endCxn id="13" idx="6"/>
              </p:cNvCxnSpPr>
              <p:nvPr/>
            </p:nvCxnSpPr>
            <p:spPr bwMode="gray">
              <a:xfrm>
                <a:off x="4804487" y="2048792"/>
                <a:ext cx="58984" cy="0"/>
              </a:xfrm>
              <a:prstGeom prst="line">
                <a:avLst/>
              </a:prstGeom>
              <a:noFill/>
              <a:ln w="285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cxnSp>
          <p:grpSp>
            <p:nvGrpSpPr>
              <p:cNvPr id="16" name="Group 15">
                <a:extLst>
                  <a:ext uri="{FF2B5EF4-FFF2-40B4-BE49-F238E27FC236}">
                    <a16:creationId xmlns:a16="http://schemas.microsoft.com/office/drawing/2014/main" id="{69C59EC8-5905-4DFA-9F3F-865E66B2A469}"/>
                  </a:ext>
                </a:extLst>
              </p:cNvPr>
              <p:cNvGrpSpPr/>
              <p:nvPr/>
            </p:nvGrpSpPr>
            <p:grpSpPr bwMode="gray">
              <a:xfrm>
                <a:off x="4744822" y="2020589"/>
                <a:ext cx="28490" cy="56402"/>
                <a:chOff x="4744822" y="2020848"/>
                <a:chExt cx="28490" cy="56402"/>
              </a:xfrm>
            </p:grpSpPr>
            <p:sp>
              <p:nvSpPr>
                <p:cNvPr id="17" name="Rectangle: Top Corners Snipped 24">
                  <a:extLst>
                    <a:ext uri="{FF2B5EF4-FFF2-40B4-BE49-F238E27FC236}">
                      <a16:creationId xmlns:a16="http://schemas.microsoft.com/office/drawing/2014/main" id="{9CCC0F3B-0C05-4436-B1C0-850A6797D3F3}"/>
                    </a:ext>
                  </a:extLst>
                </p:cNvPr>
                <p:cNvSpPr/>
                <p:nvPr/>
              </p:nvSpPr>
              <p:spPr bwMode="gray">
                <a:xfrm rot="16200000" flipH="1">
                  <a:off x="4749746" y="2015924"/>
                  <a:ext cx="18641" cy="28490"/>
                </a:xfrm>
                <a:custGeom>
                  <a:avLst/>
                  <a:gdLst>
                    <a:gd name="connsiteX0" fmla="*/ 36938 w 221625"/>
                    <a:gd name="connsiteY0" fmla="*/ 0 h 338709"/>
                    <a:gd name="connsiteX1" fmla="*/ 184687 w 221625"/>
                    <a:gd name="connsiteY1" fmla="*/ 0 h 338709"/>
                    <a:gd name="connsiteX2" fmla="*/ 221625 w 221625"/>
                    <a:gd name="connsiteY2" fmla="*/ 36938 h 338709"/>
                    <a:gd name="connsiteX3" fmla="*/ 221625 w 221625"/>
                    <a:gd name="connsiteY3" fmla="*/ 338709 h 338709"/>
                    <a:gd name="connsiteX4" fmla="*/ 221625 w 221625"/>
                    <a:gd name="connsiteY4" fmla="*/ 338709 h 338709"/>
                    <a:gd name="connsiteX5" fmla="*/ 0 w 221625"/>
                    <a:gd name="connsiteY5" fmla="*/ 338709 h 338709"/>
                    <a:gd name="connsiteX6" fmla="*/ 0 w 221625"/>
                    <a:gd name="connsiteY6" fmla="*/ 338709 h 338709"/>
                    <a:gd name="connsiteX7" fmla="*/ 0 w 221625"/>
                    <a:gd name="connsiteY7" fmla="*/ 36938 h 338709"/>
                    <a:gd name="connsiteX8" fmla="*/ 36938 w 221625"/>
                    <a:gd name="connsiteY8" fmla="*/ 0 h 338709"/>
                    <a:gd name="connsiteX0" fmla="*/ 36938 w 221625"/>
                    <a:gd name="connsiteY0" fmla="*/ 0 h 339090"/>
                    <a:gd name="connsiteX1" fmla="*/ 184687 w 221625"/>
                    <a:gd name="connsiteY1" fmla="*/ 0 h 339090"/>
                    <a:gd name="connsiteX2" fmla="*/ 221625 w 221625"/>
                    <a:gd name="connsiteY2" fmla="*/ 36938 h 339090"/>
                    <a:gd name="connsiteX3" fmla="*/ 221625 w 221625"/>
                    <a:gd name="connsiteY3" fmla="*/ 338709 h 339090"/>
                    <a:gd name="connsiteX4" fmla="*/ 221625 w 221625"/>
                    <a:gd name="connsiteY4" fmla="*/ 338709 h 339090"/>
                    <a:gd name="connsiteX5" fmla="*/ 96652 w 221625"/>
                    <a:gd name="connsiteY5" fmla="*/ 339090 h 339090"/>
                    <a:gd name="connsiteX6" fmla="*/ 0 w 221625"/>
                    <a:gd name="connsiteY6" fmla="*/ 338709 h 339090"/>
                    <a:gd name="connsiteX7" fmla="*/ 0 w 221625"/>
                    <a:gd name="connsiteY7" fmla="*/ 338709 h 339090"/>
                    <a:gd name="connsiteX8" fmla="*/ 0 w 221625"/>
                    <a:gd name="connsiteY8" fmla="*/ 36938 h 339090"/>
                    <a:gd name="connsiteX9" fmla="*/ 36938 w 221625"/>
                    <a:gd name="connsiteY9" fmla="*/ 0 h 339090"/>
                    <a:gd name="connsiteX0" fmla="*/ 96652 w 221625"/>
                    <a:gd name="connsiteY0" fmla="*/ 339090 h 430530"/>
                    <a:gd name="connsiteX1" fmla="*/ 0 w 221625"/>
                    <a:gd name="connsiteY1" fmla="*/ 338709 h 430530"/>
                    <a:gd name="connsiteX2" fmla="*/ 0 w 221625"/>
                    <a:gd name="connsiteY2" fmla="*/ 338709 h 430530"/>
                    <a:gd name="connsiteX3" fmla="*/ 0 w 221625"/>
                    <a:gd name="connsiteY3" fmla="*/ 36938 h 430530"/>
                    <a:gd name="connsiteX4" fmla="*/ 36938 w 221625"/>
                    <a:gd name="connsiteY4" fmla="*/ 0 h 430530"/>
                    <a:gd name="connsiteX5" fmla="*/ 184687 w 221625"/>
                    <a:gd name="connsiteY5" fmla="*/ 0 h 430530"/>
                    <a:gd name="connsiteX6" fmla="*/ 221625 w 221625"/>
                    <a:gd name="connsiteY6" fmla="*/ 36938 h 430530"/>
                    <a:gd name="connsiteX7" fmla="*/ 221625 w 221625"/>
                    <a:gd name="connsiteY7" fmla="*/ 338709 h 430530"/>
                    <a:gd name="connsiteX8" fmla="*/ 221625 w 221625"/>
                    <a:gd name="connsiteY8" fmla="*/ 338709 h 430530"/>
                    <a:gd name="connsiteX9" fmla="*/ 188092 w 221625"/>
                    <a:gd name="connsiteY9" fmla="*/ 430530 h 430530"/>
                    <a:gd name="connsiteX0" fmla="*/ 0 w 221625"/>
                    <a:gd name="connsiteY0" fmla="*/ 338709 h 430530"/>
                    <a:gd name="connsiteX1" fmla="*/ 0 w 221625"/>
                    <a:gd name="connsiteY1" fmla="*/ 338709 h 430530"/>
                    <a:gd name="connsiteX2" fmla="*/ 0 w 221625"/>
                    <a:gd name="connsiteY2" fmla="*/ 36938 h 430530"/>
                    <a:gd name="connsiteX3" fmla="*/ 36938 w 221625"/>
                    <a:gd name="connsiteY3" fmla="*/ 0 h 430530"/>
                    <a:gd name="connsiteX4" fmla="*/ 184687 w 221625"/>
                    <a:gd name="connsiteY4" fmla="*/ 0 h 430530"/>
                    <a:gd name="connsiteX5" fmla="*/ 221625 w 221625"/>
                    <a:gd name="connsiteY5" fmla="*/ 36938 h 430530"/>
                    <a:gd name="connsiteX6" fmla="*/ 221625 w 221625"/>
                    <a:gd name="connsiteY6" fmla="*/ 338709 h 430530"/>
                    <a:gd name="connsiteX7" fmla="*/ 221625 w 221625"/>
                    <a:gd name="connsiteY7" fmla="*/ 338709 h 430530"/>
                    <a:gd name="connsiteX8" fmla="*/ 188092 w 221625"/>
                    <a:gd name="connsiteY8" fmla="*/ 430530 h 430530"/>
                    <a:gd name="connsiteX0" fmla="*/ 0 w 221625"/>
                    <a:gd name="connsiteY0" fmla="*/ 338709 h 338709"/>
                    <a:gd name="connsiteX1" fmla="*/ 0 w 221625"/>
                    <a:gd name="connsiteY1" fmla="*/ 338709 h 338709"/>
                    <a:gd name="connsiteX2" fmla="*/ 0 w 221625"/>
                    <a:gd name="connsiteY2" fmla="*/ 36938 h 338709"/>
                    <a:gd name="connsiteX3" fmla="*/ 36938 w 221625"/>
                    <a:gd name="connsiteY3" fmla="*/ 0 h 338709"/>
                    <a:gd name="connsiteX4" fmla="*/ 184687 w 221625"/>
                    <a:gd name="connsiteY4" fmla="*/ 0 h 338709"/>
                    <a:gd name="connsiteX5" fmla="*/ 221625 w 221625"/>
                    <a:gd name="connsiteY5" fmla="*/ 36938 h 338709"/>
                    <a:gd name="connsiteX6" fmla="*/ 221625 w 221625"/>
                    <a:gd name="connsiteY6" fmla="*/ 338709 h 338709"/>
                    <a:gd name="connsiteX7" fmla="*/ 221625 w 221625"/>
                    <a:gd name="connsiteY7" fmla="*/ 338709 h 338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625" h="338709">
                      <a:moveTo>
                        <a:pt x="0" y="338709"/>
                      </a:moveTo>
                      <a:lnTo>
                        <a:pt x="0" y="338709"/>
                      </a:lnTo>
                      <a:lnTo>
                        <a:pt x="0" y="36938"/>
                      </a:lnTo>
                      <a:lnTo>
                        <a:pt x="36938" y="0"/>
                      </a:lnTo>
                      <a:lnTo>
                        <a:pt x="184687" y="0"/>
                      </a:lnTo>
                      <a:lnTo>
                        <a:pt x="221625" y="36938"/>
                      </a:lnTo>
                      <a:lnTo>
                        <a:pt x="221625" y="338709"/>
                      </a:lnTo>
                      <a:lnTo>
                        <a:pt x="221625" y="338709"/>
                      </a:lnTo>
                    </a:path>
                  </a:pathLst>
                </a:custGeom>
                <a:noFill/>
                <a:ln w="285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18" name="Rectangle: Top Corners Snipped 24">
                  <a:extLst>
                    <a:ext uri="{FF2B5EF4-FFF2-40B4-BE49-F238E27FC236}">
                      <a16:creationId xmlns:a16="http://schemas.microsoft.com/office/drawing/2014/main" id="{97F9FF06-7DD6-4480-8CA7-5C55DCC5CB20}"/>
                    </a:ext>
                  </a:extLst>
                </p:cNvPr>
                <p:cNvSpPr/>
                <p:nvPr/>
              </p:nvSpPr>
              <p:spPr bwMode="gray">
                <a:xfrm rot="16200000" flipH="1">
                  <a:off x="4753992" y="2057931"/>
                  <a:ext cx="18641" cy="19997"/>
                </a:xfrm>
                <a:custGeom>
                  <a:avLst/>
                  <a:gdLst>
                    <a:gd name="connsiteX0" fmla="*/ 36938 w 221625"/>
                    <a:gd name="connsiteY0" fmla="*/ 0 h 237744"/>
                    <a:gd name="connsiteX1" fmla="*/ 184687 w 221625"/>
                    <a:gd name="connsiteY1" fmla="*/ 0 h 237744"/>
                    <a:gd name="connsiteX2" fmla="*/ 221625 w 221625"/>
                    <a:gd name="connsiteY2" fmla="*/ 36938 h 237744"/>
                    <a:gd name="connsiteX3" fmla="*/ 221625 w 221625"/>
                    <a:gd name="connsiteY3" fmla="*/ 237744 h 237744"/>
                    <a:gd name="connsiteX4" fmla="*/ 221625 w 221625"/>
                    <a:gd name="connsiteY4" fmla="*/ 237744 h 237744"/>
                    <a:gd name="connsiteX5" fmla="*/ 0 w 221625"/>
                    <a:gd name="connsiteY5" fmla="*/ 237744 h 237744"/>
                    <a:gd name="connsiteX6" fmla="*/ 0 w 221625"/>
                    <a:gd name="connsiteY6" fmla="*/ 237744 h 237744"/>
                    <a:gd name="connsiteX7" fmla="*/ 0 w 221625"/>
                    <a:gd name="connsiteY7" fmla="*/ 36938 h 237744"/>
                    <a:gd name="connsiteX8" fmla="*/ 36938 w 221625"/>
                    <a:gd name="connsiteY8" fmla="*/ 0 h 237744"/>
                    <a:gd name="connsiteX0" fmla="*/ 36938 w 221625"/>
                    <a:gd name="connsiteY0" fmla="*/ 0 h 237744"/>
                    <a:gd name="connsiteX1" fmla="*/ 184687 w 221625"/>
                    <a:gd name="connsiteY1" fmla="*/ 0 h 237744"/>
                    <a:gd name="connsiteX2" fmla="*/ 221625 w 221625"/>
                    <a:gd name="connsiteY2" fmla="*/ 36938 h 237744"/>
                    <a:gd name="connsiteX3" fmla="*/ 221625 w 221625"/>
                    <a:gd name="connsiteY3" fmla="*/ 237744 h 237744"/>
                    <a:gd name="connsiteX4" fmla="*/ 221625 w 221625"/>
                    <a:gd name="connsiteY4" fmla="*/ 237744 h 237744"/>
                    <a:gd name="connsiteX5" fmla="*/ 89032 w 221625"/>
                    <a:gd name="connsiteY5" fmla="*/ 236221 h 237744"/>
                    <a:gd name="connsiteX6" fmla="*/ 0 w 221625"/>
                    <a:gd name="connsiteY6" fmla="*/ 237744 h 237744"/>
                    <a:gd name="connsiteX7" fmla="*/ 0 w 221625"/>
                    <a:gd name="connsiteY7" fmla="*/ 237744 h 237744"/>
                    <a:gd name="connsiteX8" fmla="*/ 0 w 221625"/>
                    <a:gd name="connsiteY8" fmla="*/ 36938 h 237744"/>
                    <a:gd name="connsiteX9" fmla="*/ 36938 w 221625"/>
                    <a:gd name="connsiteY9" fmla="*/ 0 h 237744"/>
                    <a:gd name="connsiteX0" fmla="*/ 89032 w 221625"/>
                    <a:gd name="connsiteY0" fmla="*/ 236221 h 327661"/>
                    <a:gd name="connsiteX1" fmla="*/ 0 w 221625"/>
                    <a:gd name="connsiteY1" fmla="*/ 237744 h 327661"/>
                    <a:gd name="connsiteX2" fmla="*/ 0 w 221625"/>
                    <a:gd name="connsiteY2" fmla="*/ 237744 h 327661"/>
                    <a:gd name="connsiteX3" fmla="*/ 0 w 221625"/>
                    <a:gd name="connsiteY3" fmla="*/ 36938 h 327661"/>
                    <a:gd name="connsiteX4" fmla="*/ 36938 w 221625"/>
                    <a:gd name="connsiteY4" fmla="*/ 0 h 327661"/>
                    <a:gd name="connsiteX5" fmla="*/ 184687 w 221625"/>
                    <a:gd name="connsiteY5" fmla="*/ 0 h 327661"/>
                    <a:gd name="connsiteX6" fmla="*/ 221625 w 221625"/>
                    <a:gd name="connsiteY6" fmla="*/ 36938 h 327661"/>
                    <a:gd name="connsiteX7" fmla="*/ 221625 w 221625"/>
                    <a:gd name="connsiteY7" fmla="*/ 237744 h 327661"/>
                    <a:gd name="connsiteX8" fmla="*/ 221625 w 221625"/>
                    <a:gd name="connsiteY8" fmla="*/ 237744 h 327661"/>
                    <a:gd name="connsiteX9" fmla="*/ 180472 w 221625"/>
                    <a:gd name="connsiteY9" fmla="*/ 327661 h 327661"/>
                    <a:gd name="connsiteX0" fmla="*/ 0 w 221625"/>
                    <a:gd name="connsiteY0" fmla="*/ 237744 h 327661"/>
                    <a:gd name="connsiteX1" fmla="*/ 0 w 221625"/>
                    <a:gd name="connsiteY1" fmla="*/ 237744 h 327661"/>
                    <a:gd name="connsiteX2" fmla="*/ 0 w 221625"/>
                    <a:gd name="connsiteY2" fmla="*/ 36938 h 327661"/>
                    <a:gd name="connsiteX3" fmla="*/ 36938 w 221625"/>
                    <a:gd name="connsiteY3" fmla="*/ 0 h 327661"/>
                    <a:gd name="connsiteX4" fmla="*/ 184687 w 221625"/>
                    <a:gd name="connsiteY4" fmla="*/ 0 h 327661"/>
                    <a:gd name="connsiteX5" fmla="*/ 221625 w 221625"/>
                    <a:gd name="connsiteY5" fmla="*/ 36938 h 327661"/>
                    <a:gd name="connsiteX6" fmla="*/ 221625 w 221625"/>
                    <a:gd name="connsiteY6" fmla="*/ 237744 h 327661"/>
                    <a:gd name="connsiteX7" fmla="*/ 221625 w 221625"/>
                    <a:gd name="connsiteY7" fmla="*/ 237744 h 327661"/>
                    <a:gd name="connsiteX8" fmla="*/ 180472 w 221625"/>
                    <a:gd name="connsiteY8" fmla="*/ 327661 h 327661"/>
                    <a:gd name="connsiteX0" fmla="*/ 0 w 221625"/>
                    <a:gd name="connsiteY0" fmla="*/ 237744 h 237744"/>
                    <a:gd name="connsiteX1" fmla="*/ 0 w 221625"/>
                    <a:gd name="connsiteY1" fmla="*/ 237744 h 237744"/>
                    <a:gd name="connsiteX2" fmla="*/ 0 w 221625"/>
                    <a:gd name="connsiteY2" fmla="*/ 36938 h 237744"/>
                    <a:gd name="connsiteX3" fmla="*/ 36938 w 221625"/>
                    <a:gd name="connsiteY3" fmla="*/ 0 h 237744"/>
                    <a:gd name="connsiteX4" fmla="*/ 184687 w 221625"/>
                    <a:gd name="connsiteY4" fmla="*/ 0 h 237744"/>
                    <a:gd name="connsiteX5" fmla="*/ 221625 w 221625"/>
                    <a:gd name="connsiteY5" fmla="*/ 36938 h 237744"/>
                    <a:gd name="connsiteX6" fmla="*/ 221625 w 221625"/>
                    <a:gd name="connsiteY6" fmla="*/ 237744 h 237744"/>
                    <a:gd name="connsiteX7" fmla="*/ 221625 w 221625"/>
                    <a:gd name="connsiteY7" fmla="*/ 237744 h 237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1625" h="237744">
                      <a:moveTo>
                        <a:pt x="0" y="237744"/>
                      </a:moveTo>
                      <a:lnTo>
                        <a:pt x="0" y="237744"/>
                      </a:lnTo>
                      <a:lnTo>
                        <a:pt x="0" y="36938"/>
                      </a:lnTo>
                      <a:lnTo>
                        <a:pt x="36938" y="0"/>
                      </a:lnTo>
                      <a:lnTo>
                        <a:pt x="184687" y="0"/>
                      </a:lnTo>
                      <a:lnTo>
                        <a:pt x="221625" y="36938"/>
                      </a:lnTo>
                      <a:lnTo>
                        <a:pt x="221625" y="237744"/>
                      </a:lnTo>
                      <a:lnTo>
                        <a:pt x="221625" y="237744"/>
                      </a:lnTo>
                    </a:path>
                  </a:pathLst>
                </a:custGeom>
                <a:noFill/>
                <a:ln w="2857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grpSp>
        </p:grpSp>
        <p:grpSp>
          <p:nvGrpSpPr>
            <p:cNvPr id="7" name="Group 6">
              <a:extLst>
                <a:ext uri="{FF2B5EF4-FFF2-40B4-BE49-F238E27FC236}">
                  <a16:creationId xmlns:a16="http://schemas.microsoft.com/office/drawing/2014/main" id="{A1120B3E-CC52-4115-A667-99F32FB41C33}"/>
                </a:ext>
              </a:extLst>
            </p:cNvPr>
            <p:cNvGrpSpPr/>
            <p:nvPr/>
          </p:nvGrpSpPr>
          <p:grpSpPr bwMode="gray">
            <a:xfrm>
              <a:off x="1462933" y="2597527"/>
              <a:ext cx="324097" cy="400050"/>
              <a:chOff x="5041982" y="4630340"/>
              <a:chExt cx="324097" cy="400050"/>
            </a:xfrm>
          </p:grpSpPr>
          <p:sp>
            <p:nvSpPr>
              <p:cNvPr id="8" name="Freeform 230">
                <a:extLst>
                  <a:ext uri="{FF2B5EF4-FFF2-40B4-BE49-F238E27FC236}">
                    <a16:creationId xmlns:a16="http://schemas.microsoft.com/office/drawing/2014/main" id="{636F8569-9520-4152-AEA5-C3F447A107FF}"/>
                  </a:ext>
                </a:extLst>
              </p:cNvPr>
              <p:cNvSpPr>
                <a:spLocks/>
              </p:cNvSpPr>
              <p:nvPr/>
            </p:nvSpPr>
            <p:spPr bwMode="gray">
              <a:xfrm rot="10800000" flipH="1">
                <a:off x="5041982" y="4667488"/>
                <a:ext cx="169862" cy="309563"/>
              </a:xfrm>
              <a:custGeom>
                <a:avLst/>
                <a:gdLst>
                  <a:gd name="connsiteX0" fmla="*/ 170607 w 325437"/>
                  <a:gd name="connsiteY0" fmla="*/ 325247 h 325438"/>
                  <a:gd name="connsiteX1" fmla="*/ 4847 w 325437"/>
                  <a:gd name="connsiteY1" fmla="*/ 202138 h 325438"/>
                  <a:gd name="connsiteX2" fmla="*/ 93283 w 325437"/>
                  <a:gd name="connsiteY2" fmla="*/ 15560 h 325438"/>
                  <a:gd name="connsiteX3" fmla="*/ 162719 w 325437"/>
                  <a:gd name="connsiteY3" fmla="*/ 162719 h 325438"/>
                  <a:gd name="connsiteX4" fmla="*/ 170607 w 325437"/>
                  <a:gd name="connsiteY4" fmla="*/ 325247 h 325438"/>
                  <a:gd name="connsiteX0" fmla="*/ 162737 w 254177"/>
                  <a:gd name="connsiteY0" fmla="*/ 147159 h 309880"/>
                  <a:gd name="connsiteX1" fmla="*/ 170625 w 254177"/>
                  <a:gd name="connsiteY1" fmla="*/ 309687 h 309880"/>
                  <a:gd name="connsiteX2" fmla="*/ 4865 w 254177"/>
                  <a:gd name="connsiteY2" fmla="*/ 186578 h 309880"/>
                  <a:gd name="connsiteX3" fmla="*/ 93301 w 254177"/>
                  <a:gd name="connsiteY3" fmla="*/ 0 h 309880"/>
                  <a:gd name="connsiteX4" fmla="*/ 254177 w 254177"/>
                  <a:gd name="connsiteY4" fmla="*/ 238599 h 309880"/>
                  <a:gd name="connsiteX0" fmla="*/ 170625 w 254177"/>
                  <a:gd name="connsiteY0" fmla="*/ 309687 h 309880"/>
                  <a:gd name="connsiteX1" fmla="*/ 4865 w 254177"/>
                  <a:gd name="connsiteY1" fmla="*/ 186578 h 309880"/>
                  <a:gd name="connsiteX2" fmla="*/ 93301 w 254177"/>
                  <a:gd name="connsiteY2" fmla="*/ 0 h 309880"/>
                  <a:gd name="connsiteX3" fmla="*/ 254177 w 254177"/>
                  <a:gd name="connsiteY3" fmla="*/ 238599 h 309880"/>
                  <a:gd name="connsiteX0" fmla="*/ 170625 w 170625"/>
                  <a:gd name="connsiteY0" fmla="*/ 309687 h 309880"/>
                  <a:gd name="connsiteX1" fmla="*/ 4865 w 170625"/>
                  <a:gd name="connsiteY1" fmla="*/ 186578 h 309880"/>
                  <a:gd name="connsiteX2" fmla="*/ 93301 w 170625"/>
                  <a:gd name="connsiteY2" fmla="*/ 0 h 309880"/>
                </a:gdLst>
                <a:ahLst/>
                <a:cxnLst>
                  <a:cxn ang="0">
                    <a:pos x="connsiteX0" y="connsiteY0"/>
                  </a:cxn>
                  <a:cxn ang="0">
                    <a:pos x="connsiteX1" y="connsiteY1"/>
                  </a:cxn>
                  <a:cxn ang="0">
                    <a:pos x="connsiteX2" y="connsiteY2"/>
                  </a:cxn>
                </a:cxnLst>
                <a:rect l="l" t="t" r="r" b="b"/>
                <a:pathLst>
                  <a:path w="170625" h="309880">
                    <a:moveTo>
                      <a:pt x="170625" y="309687"/>
                    </a:moveTo>
                    <a:cubicBezTo>
                      <a:pt x="93077" y="313451"/>
                      <a:pt x="23672" y="261904"/>
                      <a:pt x="4865" y="186578"/>
                    </a:cubicBezTo>
                    <a:cubicBezTo>
                      <a:pt x="-13943" y="111251"/>
                      <a:pt x="23086" y="33130"/>
                      <a:pt x="93301" y="0"/>
                    </a:cubicBezTo>
                  </a:path>
                </a:pathLst>
              </a:custGeom>
              <a:noFill/>
              <a:ln w="28575">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9" name="Freeform 231">
                <a:extLst>
                  <a:ext uri="{FF2B5EF4-FFF2-40B4-BE49-F238E27FC236}">
                    <a16:creationId xmlns:a16="http://schemas.microsoft.com/office/drawing/2014/main" id="{667CFDFC-C92E-406A-8C45-4D00FE76D41A}"/>
                  </a:ext>
                </a:extLst>
              </p:cNvPr>
              <p:cNvSpPr>
                <a:spLocks/>
              </p:cNvSpPr>
              <p:nvPr/>
            </p:nvSpPr>
            <p:spPr bwMode="gray">
              <a:xfrm>
                <a:off x="5177148" y="4630340"/>
                <a:ext cx="36512" cy="76200"/>
              </a:xfrm>
              <a:custGeom>
                <a:avLst/>
                <a:gdLst>
                  <a:gd name="T0" fmla="*/ 0 w 23"/>
                  <a:gd name="T1" fmla="*/ 0 h 48"/>
                  <a:gd name="T2" fmla="*/ 23 w 23"/>
                  <a:gd name="T3" fmla="*/ 24 h 48"/>
                  <a:gd name="T4" fmla="*/ 0 w 23"/>
                  <a:gd name="T5" fmla="*/ 48 h 48"/>
                </a:gdLst>
                <a:ahLst/>
                <a:cxnLst>
                  <a:cxn ang="0">
                    <a:pos x="T0" y="T1"/>
                  </a:cxn>
                  <a:cxn ang="0">
                    <a:pos x="T2" y="T3"/>
                  </a:cxn>
                  <a:cxn ang="0">
                    <a:pos x="T4" y="T5"/>
                  </a:cxn>
                </a:cxnLst>
                <a:rect l="0" t="0" r="r" b="b"/>
                <a:pathLst>
                  <a:path w="23" h="48">
                    <a:moveTo>
                      <a:pt x="0" y="0"/>
                    </a:moveTo>
                    <a:lnTo>
                      <a:pt x="23" y="24"/>
                    </a:lnTo>
                    <a:lnTo>
                      <a:pt x="0" y="48"/>
                    </a:lnTo>
                  </a:path>
                </a:pathLst>
              </a:custGeom>
              <a:noFill/>
              <a:ln w="28575">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10" name="Freeform 232">
                <a:extLst>
                  <a:ext uri="{FF2B5EF4-FFF2-40B4-BE49-F238E27FC236}">
                    <a16:creationId xmlns:a16="http://schemas.microsoft.com/office/drawing/2014/main" id="{4F0A296F-3713-4D9D-B33E-0303DF510B1C}"/>
                  </a:ext>
                </a:extLst>
              </p:cNvPr>
              <p:cNvSpPr>
                <a:spLocks/>
              </p:cNvSpPr>
              <p:nvPr/>
            </p:nvSpPr>
            <p:spPr bwMode="gray">
              <a:xfrm>
                <a:off x="5196198" y="4954190"/>
                <a:ext cx="36512" cy="76200"/>
              </a:xfrm>
              <a:custGeom>
                <a:avLst/>
                <a:gdLst>
                  <a:gd name="T0" fmla="*/ 23 w 23"/>
                  <a:gd name="T1" fmla="*/ 0 h 48"/>
                  <a:gd name="T2" fmla="*/ 0 w 23"/>
                  <a:gd name="T3" fmla="*/ 24 h 48"/>
                  <a:gd name="T4" fmla="*/ 23 w 23"/>
                  <a:gd name="T5" fmla="*/ 48 h 48"/>
                </a:gdLst>
                <a:ahLst/>
                <a:cxnLst>
                  <a:cxn ang="0">
                    <a:pos x="T0" y="T1"/>
                  </a:cxn>
                  <a:cxn ang="0">
                    <a:pos x="T2" y="T3"/>
                  </a:cxn>
                  <a:cxn ang="0">
                    <a:pos x="T4" y="T5"/>
                  </a:cxn>
                </a:cxnLst>
                <a:rect l="0" t="0" r="r" b="b"/>
                <a:pathLst>
                  <a:path w="23" h="48">
                    <a:moveTo>
                      <a:pt x="23" y="0"/>
                    </a:moveTo>
                    <a:lnTo>
                      <a:pt x="0" y="24"/>
                    </a:lnTo>
                    <a:lnTo>
                      <a:pt x="23" y="48"/>
                    </a:lnTo>
                  </a:path>
                </a:pathLst>
              </a:custGeom>
              <a:noFill/>
              <a:ln w="28575">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sp>
            <p:nvSpPr>
              <p:cNvPr id="11" name="Freeform 230">
                <a:extLst>
                  <a:ext uri="{FF2B5EF4-FFF2-40B4-BE49-F238E27FC236}">
                    <a16:creationId xmlns:a16="http://schemas.microsoft.com/office/drawing/2014/main" id="{D7DA87F0-8D88-48B8-831C-F707DBA8D223}"/>
                  </a:ext>
                </a:extLst>
              </p:cNvPr>
              <p:cNvSpPr>
                <a:spLocks/>
              </p:cNvSpPr>
              <p:nvPr/>
            </p:nvSpPr>
            <p:spPr bwMode="gray">
              <a:xfrm flipH="1">
                <a:off x="5196217" y="4682728"/>
                <a:ext cx="169862" cy="309563"/>
              </a:xfrm>
              <a:custGeom>
                <a:avLst/>
                <a:gdLst>
                  <a:gd name="connsiteX0" fmla="*/ 170607 w 325437"/>
                  <a:gd name="connsiteY0" fmla="*/ 325247 h 325438"/>
                  <a:gd name="connsiteX1" fmla="*/ 4847 w 325437"/>
                  <a:gd name="connsiteY1" fmla="*/ 202138 h 325438"/>
                  <a:gd name="connsiteX2" fmla="*/ 93283 w 325437"/>
                  <a:gd name="connsiteY2" fmla="*/ 15560 h 325438"/>
                  <a:gd name="connsiteX3" fmla="*/ 162719 w 325437"/>
                  <a:gd name="connsiteY3" fmla="*/ 162719 h 325438"/>
                  <a:gd name="connsiteX4" fmla="*/ 170607 w 325437"/>
                  <a:gd name="connsiteY4" fmla="*/ 325247 h 325438"/>
                  <a:gd name="connsiteX0" fmla="*/ 162737 w 254177"/>
                  <a:gd name="connsiteY0" fmla="*/ 147159 h 309880"/>
                  <a:gd name="connsiteX1" fmla="*/ 170625 w 254177"/>
                  <a:gd name="connsiteY1" fmla="*/ 309687 h 309880"/>
                  <a:gd name="connsiteX2" fmla="*/ 4865 w 254177"/>
                  <a:gd name="connsiteY2" fmla="*/ 186578 h 309880"/>
                  <a:gd name="connsiteX3" fmla="*/ 93301 w 254177"/>
                  <a:gd name="connsiteY3" fmla="*/ 0 h 309880"/>
                  <a:gd name="connsiteX4" fmla="*/ 254177 w 254177"/>
                  <a:gd name="connsiteY4" fmla="*/ 238599 h 309880"/>
                  <a:gd name="connsiteX0" fmla="*/ 170625 w 254177"/>
                  <a:gd name="connsiteY0" fmla="*/ 309687 h 309880"/>
                  <a:gd name="connsiteX1" fmla="*/ 4865 w 254177"/>
                  <a:gd name="connsiteY1" fmla="*/ 186578 h 309880"/>
                  <a:gd name="connsiteX2" fmla="*/ 93301 w 254177"/>
                  <a:gd name="connsiteY2" fmla="*/ 0 h 309880"/>
                  <a:gd name="connsiteX3" fmla="*/ 254177 w 254177"/>
                  <a:gd name="connsiteY3" fmla="*/ 238599 h 309880"/>
                  <a:gd name="connsiteX0" fmla="*/ 170625 w 170625"/>
                  <a:gd name="connsiteY0" fmla="*/ 309687 h 309880"/>
                  <a:gd name="connsiteX1" fmla="*/ 4865 w 170625"/>
                  <a:gd name="connsiteY1" fmla="*/ 186578 h 309880"/>
                  <a:gd name="connsiteX2" fmla="*/ 93301 w 170625"/>
                  <a:gd name="connsiteY2" fmla="*/ 0 h 309880"/>
                </a:gdLst>
                <a:ahLst/>
                <a:cxnLst>
                  <a:cxn ang="0">
                    <a:pos x="connsiteX0" y="connsiteY0"/>
                  </a:cxn>
                  <a:cxn ang="0">
                    <a:pos x="connsiteX1" y="connsiteY1"/>
                  </a:cxn>
                  <a:cxn ang="0">
                    <a:pos x="connsiteX2" y="connsiteY2"/>
                  </a:cxn>
                </a:cxnLst>
                <a:rect l="l" t="t" r="r" b="b"/>
                <a:pathLst>
                  <a:path w="170625" h="309880">
                    <a:moveTo>
                      <a:pt x="170625" y="309687"/>
                    </a:moveTo>
                    <a:cubicBezTo>
                      <a:pt x="93077" y="313451"/>
                      <a:pt x="23672" y="261904"/>
                      <a:pt x="4865" y="186578"/>
                    </a:cubicBezTo>
                    <a:cubicBezTo>
                      <a:pt x="-13943" y="111251"/>
                      <a:pt x="23086" y="33130"/>
                      <a:pt x="93301" y="0"/>
                    </a:cubicBezTo>
                  </a:path>
                </a:pathLst>
              </a:custGeom>
              <a:noFill/>
              <a:ln w="28575">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bodyPr>
              <a:lstStyle/>
              <a:p>
                <a:endParaRPr lang="en-US" sz="1000"/>
              </a:p>
            </p:txBody>
          </p:sp>
        </p:grpSp>
      </p:grpSp>
    </p:spTree>
    <p:custDataLst>
      <p:tags r:id="rId1"/>
    </p:custDataLst>
    <p:extLst>
      <p:ext uri="{BB962C8B-B14F-4D97-AF65-F5344CB8AC3E}">
        <p14:creationId xmlns:p14="http://schemas.microsoft.com/office/powerpoint/2010/main" val="39142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bration concepts</a:t>
            </a:r>
          </a:p>
        </p:txBody>
      </p:sp>
      <p:sp>
        <p:nvSpPr>
          <p:cNvPr id="3" name="Footer Placeholder 2"/>
          <p:cNvSpPr>
            <a:spLocks noGrp="1"/>
          </p:cNvSpPr>
          <p:nvPr>
            <p:ph type="ftr" sz="quarter" idx="10"/>
          </p:nvPr>
        </p:nvSpPr>
        <p:spPr/>
        <p:txBody>
          <a:bodyPr/>
          <a:lstStyle/>
          <a:p>
            <a:pPr lvl="8"/>
            <a:endParaRPr lang="en-US" dirty="0"/>
          </a:p>
        </p:txBody>
      </p:sp>
      <p:sp>
        <p:nvSpPr>
          <p:cNvPr id="4" name="Date Placeholder 3"/>
          <p:cNvSpPr>
            <a:spLocks noGrp="1"/>
          </p:cNvSpPr>
          <p:nvPr>
            <p:ph type="dt" sz="half" idx="11"/>
          </p:nvPr>
        </p:nvSpPr>
        <p:spPr/>
        <p:txBody>
          <a:bodyPr/>
          <a:lstStyle/>
          <a:p>
            <a:fld id="{8F8FF341-9601-47A6-A4C1-F2885A66BAA5}" type="datetime4">
              <a:rPr lang="en-US" smtClean="0"/>
              <a:t>September 8, 2019</a:t>
            </a:fld>
            <a:endParaRPr lang="en-US" dirty="0"/>
          </a:p>
        </p:txBody>
      </p:sp>
      <p:sp>
        <p:nvSpPr>
          <p:cNvPr id="5" name="Slide Number Placeholder 4"/>
          <p:cNvSpPr>
            <a:spLocks noGrp="1"/>
          </p:cNvSpPr>
          <p:nvPr>
            <p:ph type="sldNum" sz="quarter" idx="12"/>
          </p:nvPr>
        </p:nvSpPr>
        <p:spPr/>
        <p:txBody>
          <a:bodyPr/>
          <a:lstStyle/>
          <a:p>
            <a:r>
              <a:rPr lang="en-US" dirty="0"/>
              <a:t>Slide </a:t>
            </a:r>
            <a:fld id="{619F89D8-7AE3-494A-97F3-03D680869632}" type="slidenum">
              <a:rPr lang="en-US" smtClean="0"/>
              <a:pPr/>
              <a:t>96</a:t>
            </a:fld>
            <a:endParaRPr lang="en-US" dirty="0"/>
          </a:p>
        </p:txBody>
      </p:sp>
      <p:pic>
        <p:nvPicPr>
          <p:cNvPr id="9" name="Content Placeholder 8"/>
          <p:cNvPicPr>
            <a:picLocks noGrp="1" noChangeAspect="1"/>
          </p:cNvPicPr>
          <p:nvPr>
            <p:ph sz="quarter" idx="20"/>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905651" y="1929080"/>
            <a:ext cx="2192753" cy="2192753"/>
          </a:xfrm>
        </p:spPr>
      </p:pic>
      <p:sp>
        <p:nvSpPr>
          <p:cNvPr id="7" name="Content Placeholder 6"/>
          <p:cNvSpPr>
            <a:spLocks noGrp="1"/>
          </p:cNvSpPr>
          <p:nvPr>
            <p:ph sz="quarter" idx="19"/>
          </p:nvPr>
        </p:nvSpPr>
        <p:spPr>
          <a:xfrm>
            <a:off x="332366" y="1931194"/>
            <a:ext cx="6518599" cy="3980918"/>
          </a:xfrm>
        </p:spPr>
        <p:txBody>
          <a:bodyPr/>
          <a:lstStyle/>
          <a:p>
            <a:pPr lvl="1"/>
            <a:r>
              <a:rPr lang="en-US" sz="1800" dirty="0"/>
              <a:t>Calibration is necessary for all gas analyzers</a:t>
            </a:r>
          </a:p>
          <a:p>
            <a:pPr lvl="2"/>
            <a:r>
              <a:rPr lang="en-US" sz="1600" dirty="0"/>
              <a:t>Some require more frequently than others</a:t>
            </a:r>
          </a:p>
          <a:p>
            <a:pPr lvl="1">
              <a:spcBef>
                <a:spcPts val="1200"/>
              </a:spcBef>
            </a:pPr>
            <a:r>
              <a:rPr lang="en-US" sz="1800" dirty="0"/>
              <a:t>Effort/costs vary significantly depending on approach</a:t>
            </a:r>
          </a:p>
          <a:p>
            <a:pPr lvl="1">
              <a:spcBef>
                <a:spcPts val="1200"/>
              </a:spcBef>
            </a:pPr>
            <a:r>
              <a:rPr lang="en-US" sz="1800" dirty="0"/>
              <a:t>Regulatory aspects can also have a big impact</a:t>
            </a:r>
          </a:p>
          <a:p>
            <a:pPr lvl="2"/>
            <a:r>
              <a:rPr lang="en-US" sz="1600" dirty="0"/>
              <a:t>e.g. daily validation required according to US EPA</a:t>
            </a:r>
          </a:p>
          <a:p>
            <a:pPr lvl="1">
              <a:spcBef>
                <a:spcPts val="1200"/>
              </a:spcBef>
            </a:pPr>
            <a:r>
              <a:rPr lang="en-US" sz="1800" dirty="0"/>
              <a:t>Costs of gas cylinders should not be underestimated</a:t>
            </a:r>
          </a:p>
        </p:txBody>
      </p:sp>
      <p:sp>
        <p:nvSpPr>
          <p:cNvPr id="8" name="Subtitle 7"/>
          <p:cNvSpPr>
            <a:spLocks noGrp="1"/>
          </p:cNvSpPr>
          <p:nvPr>
            <p:ph type="subTitle" idx="13"/>
          </p:nvPr>
        </p:nvSpPr>
        <p:spPr/>
        <p:txBody>
          <a:bodyPr/>
          <a:lstStyle/>
          <a:p>
            <a:r>
              <a:rPr lang="en-US" dirty="0"/>
              <a:t>Worth paying attention to the details</a:t>
            </a:r>
          </a:p>
        </p:txBody>
      </p:sp>
      <p:sp>
        <p:nvSpPr>
          <p:cNvPr id="11" name="AutoShape 6">
            <a:hlinkClick r:id="rId4" action="ppaction://hlinksldjump" highlightClick="1"/>
            <a:extLst>
              <a:ext uri="{FF2B5EF4-FFF2-40B4-BE49-F238E27FC236}">
                <a16:creationId xmlns:a16="http://schemas.microsoft.com/office/drawing/2014/main" id="{67EF59C7-D934-409B-8CE4-6B0C795C992A}"/>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extLst>
      <p:ext uri="{BB962C8B-B14F-4D97-AF65-F5344CB8AC3E}">
        <p14:creationId xmlns:p14="http://schemas.microsoft.com/office/powerpoint/2010/main" val="1707542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7">
                                            <p:txEl>
                                              <p:pRg st="0" end="0"/>
                                            </p:txEl>
                                          </p:spTgt>
                                        </p:tgtEl>
                                        <p:attrNameLst>
                                          <p:attrName>style.visibility</p:attrName>
                                        </p:attrNameLst>
                                      </p:cBhvr>
                                      <p:to>
                                        <p:strVal val="visible"/>
                                      </p:to>
                                    </p:set>
                                    <p:animEffect transition="in" filter="fade">
                                      <p:cBhvr>
                                        <p:cTn id="12" dur="1000"/>
                                        <p:tgtEl>
                                          <p:spTgt spid="7">
                                            <p:txEl>
                                              <p:pRg st="0" end="0"/>
                                            </p:txEl>
                                          </p:spTgt>
                                        </p:tgtEl>
                                      </p:cBhvr>
                                    </p:animEffect>
                                    <p:anim calcmode="lin" valueType="num">
                                      <p:cBhvr>
                                        <p:cTn id="13"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7">
                                            <p:txEl>
                                              <p:pRg st="0" end="0"/>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animEffect transition="in" filter="fade">
                                      <p:cBhvr>
                                        <p:cTn id="17" dur="1000"/>
                                        <p:tgtEl>
                                          <p:spTgt spid="7">
                                            <p:txEl>
                                              <p:pRg st="1" end="1"/>
                                            </p:txEl>
                                          </p:spTgt>
                                        </p:tgtEl>
                                      </p:cBhvr>
                                    </p:animEffect>
                                    <p:anim calcmode="lin" valueType="num">
                                      <p:cBhvr>
                                        <p:cTn id="18"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19"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7">
                                            <p:txEl>
                                              <p:pRg st="2" end="2"/>
                                            </p:txEl>
                                          </p:spTgt>
                                        </p:tgtEl>
                                        <p:attrNameLst>
                                          <p:attrName>style.visibility</p:attrName>
                                        </p:attrNameLst>
                                      </p:cBhvr>
                                      <p:to>
                                        <p:strVal val="visible"/>
                                      </p:to>
                                    </p:set>
                                    <p:animEffect transition="in" filter="fade">
                                      <p:cBhvr>
                                        <p:cTn id="24" dur="1000"/>
                                        <p:tgtEl>
                                          <p:spTgt spid="7">
                                            <p:txEl>
                                              <p:pRg st="2" end="2"/>
                                            </p:txEl>
                                          </p:spTgt>
                                        </p:tgtEl>
                                      </p:cBhvr>
                                    </p:animEffect>
                                    <p:anim calcmode="lin" valueType="num">
                                      <p:cBhvr>
                                        <p:cTn id="25"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26"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7">
                                            <p:txEl>
                                              <p:pRg st="3" end="3"/>
                                            </p:txEl>
                                          </p:spTgt>
                                        </p:tgtEl>
                                        <p:attrNameLst>
                                          <p:attrName>style.visibility</p:attrName>
                                        </p:attrNameLst>
                                      </p:cBhvr>
                                      <p:to>
                                        <p:strVal val="visible"/>
                                      </p:to>
                                    </p:set>
                                    <p:animEffect transition="in" filter="fade">
                                      <p:cBhvr>
                                        <p:cTn id="31" dur="1000"/>
                                        <p:tgtEl>
                                          <p:spTgt spid="7">
                                            <p:txEl>
                                              <p:pRg st="3" end="3"/>
                                            </p:txEl>
                                          </p:spTgt>
                                        </p:tgtEl>
                                      </p:cBhvr>
                                    </p:animEffect>
                                    <p:anim calcmode="lin" valueType="num">
                                      <p:cBhvr>
                                        <p:cTn id="32" dur="10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33" dur="1000" fill="hold"/>
                                        <p:tgtEl>
                                          <p:spTgt spid="7">
                                            <p:txEl>
                                              <p:pRg st="3" end="3"/>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7">
                                            <p:txEl>
                                              <p:pRg st="4" end="4"/>
                                            </p:txEl>
                                          </p:spTgt>
                                        </p:tgtEl>
                                        <p:attrNameLst>
                                          <p:attrName>style.visibility</p:attrName>
                                        </p:attrNameLst>
                                      </p:cBhvr>
                                      <p:to>
                                        <p:strVal val="visible"/>
                                      </p:to>
                                    </p:set>
                                    <p:animEffect transition="in" filter="fade">
                                      <p:cBhvr>
                                        <p:cTn id="36" dur="1000"/>
                                        <p:tgtEl>
                                          <p:spTgt spid="7">
                                            <p:txEl>
                                              <p:pRg st="4" end="4"/>
                                            </p:txEl>
                                          </p:spTgt>
                                        </p:tgtEl>
                                      </p:cBhvr>
                                    </p:animEffect>
                                    <p:anim calcmode="lin" valueType="num">
                                      <p:cBhvr>
                                        <p:cTn id="37" dur="1000" fill="hold"/>
                                        <p:tgtEl>
                                          <p:spTgt spid="7">
                                            <p:txEl>
                                              <p:pRg st="4" end="4"/>
                                            </p:txEl>
                                          </p:spTgt>
                                        </p:tgtEl>
                                        <p:attrNameLst>
                                          <p:attrName>ppt_x</p:attrName>
                                        </p:attrNameLst>
                                      </p:cBhvr>
                                      <p:tavLst>
                                        <p:tav tm="0">
                                          <p:val>
                                            <p:strVal val="#ppt_x"/>
                                          </p:val>
                                        </p:tav>
                                        <p:tav tm="100000">
                                          <p:val>
                                            <p:strVal val="#ppt_x"/>
                                          </p:val>
                                        </p:tav>
                                      </p:tavLst>
                                    </p:anim>
                                    <p:anim calcmode="lin" valueType="num">
                                      <p:cBhvr>
                                        <p:cTn id="38" dur="1000" fill="hold"/>
                                        <p:tgtEl>
                                          <p:spTgt spid="7">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7">
                                            <p:txEl>
                                              <p:pRg st="5" end="5"/>
                                            </p:txEl>
                                          </p:spTgt>
                                        </p:tgtEl>
                                        <p:attrNameLst>
                                          <p:attrName>style.visibility</p:attrName>
                                        </p:attrNameLst>
                                      </p:cBhvr>
                                      <p:to>
                                        <p:strVal val="visible"/>
                                      </p:to>
                                    </p:set>
                                    <p:animEffect transition="in" filter="fade">
                                      <p:cBhvr>
                                        <p:cTn id="43" dur="1000"/>
                                        <p:tgtEl>
                                          <p:spTgt spid="7">
                                            <p:txEl>
                                              <p:pRg st="5" end="5"/>
                                            </p:txEl>
                                          </p:spTgt>
                                        </p:tgtEl>
                                      </p:cBhvr>
                                    </p:animEffect>
                                    <p:anim calcmode="lin" valueType="num">
                                      <p:cBhvr>
                                        <p:cTn id="44" dur="1000" fill="hold"/>
                                        <p:tgtEl>
                                          <p:spTgt spid="7">
                                            <p:txEl>
                                              <p:pRg st="5" end="5"/>
                                            </p:txEl>
                                          </p:spTgt>
                                        </p:tgtEl>
                                        <p:attrNameLst>
                                          <p:attrName>ppt_x</p:attrName>
                                        </p:attrNameLst>
                                      </p:cBhvr>
                                      <p:tavLst>
                                        <p:tav tm="0">
                                          <p:val>
                                            <p:strVal val="#ppt_x"/>
                                          </p:val>
                                        </p:tav>
                                        <p:tav tm="100000">
                                          <p:val>
                                            <p:strVal val="#ppt_x"/>
                                          </p:val>
                                        </p:tav>
                                      </p:tavLst>
                                    </p:anim>
                                    <p:anim calcmode="lin" valueType="num">
                                      <p:cBhvr>
                                        <p:cTn id="45" dur="1000" fill="hold"/>
                                        <p:tgtEl>
                                          <p:spTgt spid="7">
                                            <p:txEl>
                                              <p:pRg st="5" end="5"/>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Group 57"/>
          <p:cNvGrpSpPr/>
          <p:nvPr/>
        </p:nvGrpSpPr>
        <p:grpSpPr bwMode="gray">
          <a:xfrm>
            <a:off x="-1013858" y="4096835"/>
            <a:ext cx="978870" cy="1158581"/>
            <a:chOff x="297465" y="4032662"/>
            <a:chExt cx="978870" cy="1158581"/>
          </a:xfrm>
        </p:grpSpPr>
        <p:sp>
          <p:nvSpPr>
            <p:cNvPr id="59" name="Text Box 111"/>
            <p:cNvSpPr txBox="1">
              <a:spLocks noChangeArrowheads="1"/>
            </p:cNvSpPr>
            <p:nvPr/>
          </p:nvSpPr>
          <p:spPr bwMode="gray">
            <a:xfrm>
              <a:off x="297465" y="4032662"/>
              <a:ext cx="55496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0"/>
                </a:spcBef>
                <a:buClrTx/>
                <a:buSzTx/>
                <a:buFontTx/>
                <a:buNone/>
              </a:pPr>
              <a:r>
                <a:rPr lang="de-DE" altLang="de-DE" sz="1200" b="0" dirty="0">
                  <a:solidFill>
                    <a:schemeClr val="tx1"/>
                  </a:solidFill>
                  <a:latin typeface="+mn-lt"/>
                </a:rPr>
                <a:t>Test</a:t>
              </a:r>
            </a:p>
            <a:p>
              <a:pPr algn="ctr">
                <a:spcBef>
                  <a:spcPct val="0"/>
                </a:spcBef>
                <a:buClrTx/>
                <a:buSzTx/>
                <a:buFontTx/>
                <a:buNone/>
              </a:pPr>
              <a:r>
                <a:rPr lang="de-DE" altLang="de-DE" sz="1200" b="0" dirty="0">
                  <a:solidFill>
                    <a:schemeClr val="tx1"/>
                  </a:solidFill>
                  <a:latin typeface="+mn-lt"/>
                </a:rPr>
                <a:t>gas 1</a:t>
              </a:r>
              <a:endParaRPr lang="en-US" altLang="de-DE" sz="1200" b="0" dirty="0">
                <a:solidFill>
                  <a:schemeClr val="tx1"/>
                </a:solidFill>
                <a:latin typeface="+mn-lt"/>
              </a:endParaRPr>
            </a:p>
          </p:txBody>
        </p:sp>
        <p:grpSp>
          <p:nvGrpSpPr>
            <p:cNvPr id="60" name="Group 59"/>
            <p:cNvGrpSpPr/>
            <p:nvPr/>
          </p:nvGrpSpPr>
          <p:grpSpPr bwMode="gray">
            <a:xfrm>
              <a:off x="647685" y="4278206"/>
              <a:ext cx="628650" cy="913037"/>
              <a:chOff x="1874144" y="4298775"/>
              <a:chExt cx="628650" cy="913037"/>
            </a:xfrm>
          </p:grpSpPr>
          <p:grpSp>
            <p:nvGrpSpPr>
              <p:cNvPr id="61" name="Group 112"/>
              <p:cNvGrpSpPr>
                <a:grpSpLocks/>
              </p:cNvGrpSpPr>
              <p:nvPr/>
            </p:nvGrpSpPr>
            <p:grpSpPr bwMode="gray">
              <a:xfrm rot="1027960">
                <a:off x="1982083" y="4298775"/>
                <a:ext cx="265115" cy="768352"/>
                <a:chOff x="1170" y="3202"/>
                <a:chExt cx="167" cy="484"/>
              </a:xfrm>
            </p:grpSpPr>
            <p:sp>
              <p:nvSpPr>
                <p:cNvPr id="66" name="Freeform 113"/>
                <p:cNvSpPr>
                  <a:spLocks noChangeAspect="1"/>
                </p:cNvSpPr>
                <p:nvPr/>
              </p:nvSpPr>
              <p:spPr bwMode="gray">
                <a:xfrm>
                  <a:off x="1170" y="3395"/>
                  <a:ext cx="122" cy="291"/>
                </a:xfrm>
                <a:custGeom>
                  <a:avLst/>
                  <a:gdLst>
                    <a:gd name="T0" fmla="*/ 0 w 156"/>
                    <a:gd name="T1" fmla="*/ 0 h 404"/>
                    <a:gd name="T2" fmla="*/ 0 w 156"/>
                    <a:gd name="T3" fmla="*/ 22 h 404"/>
                    <a:gd name="T4" fmla="*/ 16 w 156"/>
                    <a:gd name="T5" fmla="*/ 22 h 404"/>
                    <a:gd name="T6" fmla="*/ 16 w 156"/>
                    <a:gd name="T7" fmla="*/ 0 h 40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6" h="404">
                      <a:moveTo>
                        <a:pt x="0" y="0"/>
                      </a:moveTo>
                      <a:lnTo>
                        <a:pt x="0" y="403"/>
                      </a:lnTo>
                      <a:lnTo>
                        <a:pt x="155" y="403"/>
                      </a:lnTo>
                      <a:lnTo>
                        <a:pt x="155" y="0"/>
                      </a:lnTo>
                    </a:path>
                  </a:pathLst>
                </a:custGeom>
                <a:solidFill>
                  <a:schemeClr val="bg1"/>
                </a:solidFill>
                <a:ln w="1905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67" name="Arc 114"/>
                <p:cNvSpPr>
                  <a:spLocks noChangeAspect="1"/>
                </p:cNvSpPr>
                <p:nvPr/>
              </p:nvSpPr>
              <p:spPr bwMode="gray">
                <a:xfrm>
                  <a:off x="1229" y="3342"/>
                  <a:ext cx="61" cy="55"/>
                </a:xfrm>
                <a:custGeom>
                  <a:avLst/>
                  <a:gdLst>
                    <a:gd name="T0" fmla="*/ 0 w 21882"/>
                    <a:gd name="T1" fmla="*/ 0 h 21600"/>
                    <a:gd name="T2" fmla="*/ 0 w 21882"/>
                    <a:gd name="T3" fmla="*/ 0 h 21600"/>
                    <a:gd name="T4" fmla="*/ 0 w 21882"/>
                    <a:gd name="T5" fmla="*/ 0 h 21600"/>
                    <a:gd name="T6" fmla="*/ 0 60000 65536"/>
                    <a:gd name="T7" fmla="*/ 0 60000 65536"/>
                    <a:gd name="T8" fmla="*/ 0 60000 65536"/>
                  </a:gdLst>
                  <a:ahLst/>
                  <a:cxnLst>
                    <a:cxn ang="T6">
                      <a:pos x="T0" y="T1"/>
                    </a:cxn>
                    <a:cxn ang="T7">
                      <a:pos x="T2" y="T3"/>
                    </a:cxn>
                    <a:cxn ang="T8">
                      <a:pos x="T4" y="T5"/>
                    </a:cxn>
                  </a:cxnLst>
                  <a:rect l="0" t="0" r="r" b="b"/>
                  <a:pathLst>
                    <a:path w="21882" h="21600" fill="none" extrusionOk="0">
                      <a:moveTo>
                        <a:pt x="-1" y="1"/>
                      </a:moveTo>
                      <a:cubicBezTo>
                        <a:pt x="93" y="0"/>
                        <a:pt x="187" y="-1"/>
                        <a:pt x="282" y="0"/>
                      </a:cubicBezTo>
                      <a:cubicBezTo>
                        <a:pt x="12211" y="0"/>
                        <a:pt x="21882" y="9670"/>
                        <a:pt x="21882" y="21600"/>
                      </a:cubicBezTo>
                    </a:path>
                    <a:path w="21882" h="21600" stroke="0" extrusionOk="0">
                      <a:moveTo>
                        <a:pt x="-1" y="1"/>
                      </a:moveTo>
                      <a:cubicBezTo>
                        <a:pt x="93" y="0"/>
                        <a:pt x="187" y="-1"/>
                        <a:pt x="282" y="0"/>
                      </a:cubicBezTo>
                      <a:cubicBezTo>
                        <a:pt x="12211" y="0"/>
                        <a:pt x="21882" y="9670"/>
                        <a:pt x="21882" y="21600"/>
                      </a:cubicBezTo>
                      <a:lnTo>
                        <a:pt x="282" y="21600"/>
                      </a:lnTo>
                      <a:lnTo>
                        <a:pt x="-1" y="1"/>
                      </a:lnTo>
                      <a:close/>
                    </a:path>
                  </a:pathLst>
                </a:custGeom>
                <a:solidFill>
                  <a:schemeClr val="bg1"/>
                </a:solidFill>
                <a:ln w="19050" cap="rnd">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8" name="Arc 115"/>
                <p:cNvSpPr>
                  <a:spLocks noChangeAspect="1"/>
                </p:cNvSpPr>
                <p:nvPr/>
              </p:nvSpPr>
              <p:spPr bwMode="gray">
                <a:xfrm>
                  <a:off x="1170" y="3342"/>
                  <a:ext cx="60" cy="55"/>
                </a:xfrm>
                <a:custGeom>
                  <a:avLst/>
                  <a:gdLst>
                    <a:gd name="T0" fmla="*/ 0 w 21600"/>
                    <a:gd name="T1" fmla="*/ 0 h 21598"/>
                    <a:gd name="T2" fmla="*/ 0 w 21600"/>
                    <a:gd name="T3" fmla="*/ 0 h 21598"/>
                    <a:gd name="T4" fmla="*/ 0 w 21600"/>
                    <a:gd name="T5" fmla="*/ 0 h 21598"/>
                    <a:gd name="T6" fmla="*/ 0 60000 65536"/>
                    <a:gd name="T7" fmla="*/ 0 60000 65536"/>
                    <a:gd name="T8" fmla="*/ 0 60000 65536"/>
                  </a:gdLst>
                  <a:ahLst/>
                  <a:cxnLst>
                    <a:cxn ang="T6">
                      <a:pos x="T0" y="T1"/>
                    </a:cxn>
                    <a:cxn ang="T7">
                      <a:pos x="T2" y="T3"/>
                    </a:cxn>
                    <a:cxn ang="T8">
                      <a:pos x="T4" y="T5"/>
                    </a:cxn>
                  </a:cxnLst>
                  <a:rect l="0" t="0" r="r" b="b"/>
                  <a:pathLst>
                    <a:path w="21600" h="21598" fill="none" extrusionOk="0">
                      <a:moveTo>
                        <a:pt x="0" y="21598"/>
                      </a:moveTo>
                      <a:cubicBezTo>
                        <a:pt x="0" y="9778"/>
                        <a:pt x="9499" y="154"/>
                        <a:pt x="21317" y="-1"/>
                      </a:cubicBezTo>
                    </a:path>
                    <a:path w="21600" h="21598" stroke="0" extrusionOk="0">
                      <a:moveTo>
                        <a:pt x="0" y="21598"/>
                      </a:moveTo>
                      <a:cubicBezTo>
                        <a:pt x="0" y="9778"/>
                        <a:pt x="9499" y="154"/>
                        <a:pt x="21317" y="-1"/>
                      </a:cubicBezTo>
                      <a:lnTo>
                        <a:pt x="21600" y="21598"/>
                      </a:lnTo>
                      <a:lnTo>
                        <a:pt x="0" y="21598"/>
                      </a:lnTo>
                      <a:close/>
                    </a:path>
                  </a:pathLst>
                </a:custGeom>
                <a:solidFill>
                  <a:schemeClr val="bg1"/>
                </a:solidFill>
                <a:ln w="19050" cap="rnd">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9" name="Line 116"/>
                <p:cNvSpPr>
                  <a:spLocks noChangeAspect="1" noChangeShapeType="1"/>
                </p:cNvSpPr>
                <p:nvPr/>
              </p:nvSpPr>
              <p:spPr bwMode="gray">
                <a:xfrm flipV="1">
                  <a:off x="1229" y="3299"/>
                  <a:ext cx="0" cy="47"/>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grpSp>
              <p:nvGrpSpPr>
                <p:cNvPr id="70" name="Group 117"/>
                <p:cNvGrpSpPr>
                  <a:grpSpLocks noChangeAspect="1"/>
                </p:cNvGrpSpPr>
                <p:nvPr/>
              </p:nvGrpSpPr>
              <p:grpSpPr bwMode="gray">
                <a:xfrm>
                  <a:off x="1196" y="3202"/>
                  <a:ext cx="141" cy="93"/>
                  <a:chOff x="4913" y="3063"/>
                  <a:chExt cx="179" cy="128"/>
                </a:xfrm>
              </p:grpSpPr>
              <p:grpSp>
                <p:nvGrpSpPr>
                  <p:cNvPr id="71" name="Group 118"/>
                  <p:cNvGrpSpPr>
                    <a:grpSpLocks noChangeAspect="1"/>
                  </p:cNvGrpSpPr>
                  <p:nvPr/>
                </p:nvGrpSpPr>
                <p:grpSpPr bwMode="gray">
                  <a:xfrm>
                    <a:off x="5007" y="3084"/>
                    <a:ext cx="85" cy="89"/>
                    <a:chOff x="5007" y="3084"/>
                    <a:chExt cx="85" cy="89"/>
                  </a:xfrm>
                </p:grpSpPr>
                <p:sp>
                  <p:nvSpPr>
                    <p:cNvPr id="76" name="Line 119"/>
                    <p:cNvSpPr>
                      <a:spLocks noChangeAspect="1" noChangeShapeType="1"/>
                    </p:cNvSpPr>
                    <p:nvPr/>
                  </p:nvSpPr>
                  <p:spPr bwMode="gray">
                    <a:xfrm flipV="1">
                      <a:off x="5007" y="3114"/>
                      <a:ext cx="58" cy="59"/>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7" name="Oval 120"/>
                    <p:cNvSpPr>
                      <a:spLocks noChangeArrowheads="1"/>
                    </p:cNvSpPr>
                    <p:nvPr/>
                  </p:nvSpPr>
                  <p:spPr bwMode="gray">
                    <a:xfrm rot="19320000">
                      <a:off x="5053" y="3084"/>
                      <a:ext cx="39" cy="41"/>
                    </a:xfrm>
                    <a:prstGeom prst="ellipse">
                      <a:avLst/>
                    </a:prstGeom>
                    <a:solidFill>
                      <a:schemeClr val="bg1"/>
                    </a:solidFill>
                    <a:ln w="1905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grpSp>
              <p:sp>
                <p:nvSpPr>
                  <p:cNvPr id="72" name="AutoShape 121"/>
                  <p:cNvSpPr>
                    <a:spLocks noChangeAspect="1" noChangeArrowheads="1"/>
                  </p:cNvSpPr>
                  <p:nvPr/>
                </p:nvSpPr>
                <p:spPr bwMode="gray">
                  <a:xfrm>
                    <a:off x="4932" y="3151"/>
                    <a:ext cx="46" cy="40"/>
                  </a:xfrm>
                  <a:prstGeom prst="triangle">
                    <a:avLst>
                      <a:gd name="adj" fmla="val 49995"/>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73" name="AutoShape 122"/>
                  <p:cNvSpPr>
                    <a:spLocks noChangeAspect="1" noChangeArrowheads="1"/>
                  </p:cNvSpPr>
                  <p:nvPr/>
                </p:nvSpPr>
                <p:spPr bwMode="gray">
                  <a:xfrm rot="10800000">
                    <a:off x="4913" y="3063"/>
                    <a:ext cx="79" cy="78"/>
                  </a:xfrm>
                  <a:prstGeom prst="triangle">
                    <a:avLst>
                      <a:gd name="adj" fmla="val 46148"/>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74" name="Line 123"/>
                  <p:cNvSpPr>
                    <a:spLocks noChangeAspect="1" noChangeShapeType="1"/>
                  </p:cNvSpPr>
                  <p:nvPr/>
                </p:nvSpPr>
                <p:spPr bwMode="gray">
                  <a:xfrm>
                    <a:off x="4959" y="3156"/>
                    <a:ext cx="28"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75" name="Oval 124"/>
                  <p:cNvSpPr>
                    <a:spLocks noChangeArrowheads="1"/>
                  </p:cNvSpPr>
                  <p:nvPr/>
                </p:nvSpPr>
                <p:spPr bwMode="gray">
                  <a:xfrm>
                    <a:off x="4999" y="3132"/>
                    <a:ext cx="52" cy="56"/>
                  </a:xfrm>
                  <a:prstGeom prst="ellipse">
                    <a:avLst/>
                  </a:prstGeom>
                  <a:solidFill>
                    <a:schemeClr val="bg1"/>
                  </a:solidFill>
                  <a:ln w="1905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grpSp>
          </p:grpSp>
          <p:sp>
            <p:nvSpPr>
              <p:cNvPr id="62" name="Freeform 61"/>
              <p:cNvSpPr/>
              <p:nvPr/>
            </p:nvSpPr>
            <p:spPr bwMode="gray">
              <a:xfrm rot="21281176">
                <a:off x="1874144" y="4502829"/>
                <a:ext cx="628650" cy="636529"/>
              </a:xfrm>
              <a:custGeom>
                <a:avLst/>
                <a:gdLst>
                  <a:gd name="connsiteX0" fmla="*/ 0 w 628650"/>
                  <a:gd name="connsiteY0" fmla="*/ 526740 h 636529"/>
                  <a:gd name="connsiteX1" fmla="*/ 175260 w 628650"/>
                  <a:gd name="connsiteY1" fmla="*/ 602940 h 636529"/>
                  <a:gd name="connsiteX2" fmla="*/ 426720 w 628650"/>
                  <a:gd name="connsiteY2" fmla="*/ 46680 h 636529"/>
                  <a:gd name="connsiteX3" fmla="*/ 628650 w 628650"/>
                  <a:gd name="connsiteY3" fmla="*/ 31440 h 636529"/>
                  <a:gd name="connsiteX4" fmla="*/ 628650 w 628650"/>
                  <a:gd name="connsiteY4" fmla="*/ 31440 h 636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650" h="636529">
                    <a:moveTo>
                      <a:pt x="0" y="526740"/>
                    </a:moveTo>
                    <a:cubicBezTo>
                      <a:pt x="52070" y="604845"/>
                      <a:pt x="104140" y="682950"/>
                      <a:pt x="175260" y="602940"/>
                    </a:cubicBezTo>
                    <a:cubicBezTo>
                      <a:pt x="246380" y="522930"/>
                      <a:pt x="351155" y="141930"/>
                      <a:pt x="426720" y="46680"/>
                    </a:cubicBezTo>
                    <a:cubicBezTo>
                      <a:pt x="502285" y="-48570"/>
                      <a:pt x="628650" y="31440"/>
                      <a:pt x="628650" y="31440"/>
                    </a:cubicBezTo>
                    <a:lnTo>
                      <a:pt x="628650" y="3144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63" name="Group 62"/>
              <p:cNvGrpSpPr/>
              <p:nvPr/>
            </p:nvGrpSpPr>
            <p:grpSpPr bwMode="gray">
              <a:xfrm>
                <a:off x="2017713" y="5107412"/>
                <a:ext cx="103981" cy="104400"/>
                <a:chOff x="2017713" y="4908428"/>
                <a:chExt cx="295276" cy="315781"/>
              </a:xfrm>
            </p:grpSpPr>
            <p:sp>
              <p:nvSpPr>
                <p:cNvPr id="64" name="Oval 63"/>
                <p:cNvSpPr/>
                <p:nvPr/>
              </p:nvSpPr>
              <p:spPr bwMode="gray">
                <a:xfrm>
                  <a:off x="2017713" y="4908428"/>
                  <a:ext cx="295276" cy="315781"/>
                </a:xfrm>
                <a:prstGeom prst="ellipse">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endParaRPr lang="de-DE" dirty="0" err="1">
                    <a:solidFill>
                      <a:schemeClr val="tx1"/>
                    </a:solidFill>
                    <a:latin typeface="Arial" panose="020B0604020202020204" pitchFamily="34" charset="0"/>
                    <a:cs typeface="Arial" panose="020B0604020202020204" pitchFamily="34" charset="0"/>
                  </a:endParaRPr>
                </a:p>
              </p:txBody>
            </p:sp>
            <p:sp>
              <p:nvSpPr>
                <p:cNvPr id="65" name="Oval 64"/>
                <p:cNvSpPr/>
                <p:nvPr/>
              </p:nvSpPr>
              <p:spPr bwMode="gray">
                <a:xfrm>
                  <a:off x="2116933" y="5011874"/>
                  <a:ext cx="96837" cy="108890"/>
                </a:xfrm>
                <a:prstGeom prst="ellipse">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endParaRPr lang="de-DE" dirty="0" err="1">
                    <a:solidFill>
                      <a:schemeClr val="tx1"/>
                    </a:solidFill>
                    <a:latin typeface="Arial" panose="020B0604020202020204" pitchFamily="34" charset="0"/>
                    <a:cs typeface="Arial" panose="020B0604020202020204" pitchFamily="34" charset="0"/>
                  </a:endParaRPr>
                </a:p>
              </p:txBody>
            </p:sp>
          </p:grpSp>
        </p:grpSp>
      </p:grpSp>
      <p:sp>
        <p:nvSpPr>
          <p:cNvPr id="197" name="Text Placeholder 9"/>
          <p:cNvSpPr txBox="1">
            <a:spLocks/>
          </p:cNvSpPr>
          <p:nvPr/>
        </p:nvSpPr>
        <p:spPr bwMode="gray">
          <a:xfrm>
            <a:off x="336000" y="5452639"/>
            <a:ext cx="11520000" cy="460800"/>
          </a:xfrm>
          <a:prstGeom prst="rect">
            <a:avLst/>
          </a:prstGeom>
          <a:solidFill>
            <a:schemeClr val="bg1">
              <a:lumMod val="65000"/>
            </a:schemeClr>
          </a:solidFill>
        </p:spPr>
        <p:txBody>
          <a:bodyPr vert="horz" lIns="72000" tIns="72000" rIns="72000" bIns="72000" rtlCol="0" anchor="ctr">
            <a:noAutofit/>
          </a:bodyPr>
          <a:lstStyle>
            <a:defPPr>
              <a:defRPr lang="en-US"/>
            </a:defPPr>
            <a:lvl1pPr marL="0" indent="0" algn="ctr" defTabSz="914400" rtl="0" eaLnBrk="1" latinLnBrk="0" hangingPunct="1">
              <a:buFont typeface="Arial" panose="020B0604020202020204" pitchFamily="34" charset="0"/>
              <a:buNone/>
              <a:defRPr sz="1400" kern="1200">
                <a:solidFill>
                  <a:schemeClr val="bg1"/>
                </a:solidFill>
                <a:latin typeface="+mn-lt"/>
                <a:ea typeface="+mn-ea"/>
                <a:cs typeface="+mn-cs"/>
              </a:defRPr>
            </a:lvl1pPr>
            <a:lvl2pPr marL="0" indent="0" algn="ctr" defTabSz="914400" rtl="0" eaLnBrk="1" latinLnBrk="0" hangingPunct="1">
              <a:buNone/>
              <a:defRPr sz="1400" kern="1200">
                <a:solidFill>
                  <a:schemeClr val="bg1"/>
                </a:solidFill>
                <a:latin typeface="+mn-lt"/>
                <a:ea typeface="+mn-ea"/>
                <a:cs typeface="+mn-cs"/>
              </a:defRPr>
            </a:lvl2pPr>
            <a:lvl3pPr marL="0" indent="0" algn="ctr" defTabSz="914400" rtl="0" eaLnBrk="1" latinLnBrk="0" hangingPunct="1">
              <a:buNone/>
              <a:defRPr sz="1400" kern="1200">
                <a:solidFill>
                  <a:schemeClr val="bg1"/>
                </a:solidFill>
                <a:latin typeface="+mn-lt"/>
                <a:ea typeface="+mn-ea"/>
                <a:cs typeface="+mn-cs"/>
              </a:defRPr>
            </a:lvl3pPr>
            <a:lvl4pPr marL="0" indent="0" algn="ctr" defTabSz="914400" rtl="0" eaLnBrk="1" latinLnBrk="0" hangingPunct="1">
              <a:buNone/>
              <a:defRPr sz="1400" kern="1200">
                <a:solidFill>
                  <a:schemeClr val="bg1"/>
                </a:solidFill>
                <a:latin typeface="+mn-lt"/>
                <a:ea typeface="+mn-ea"/>
                <a:cs typeface="+mn-cs"/>
              </a:defRPr>
            </a:lvl4pPr>
            <a:lvl5pPr marL="0" indent="0" algn="ctr" defTabSz="914400" rtl="0" eaLnBrk="1" latinLnBrk="0" hangingPunct="1">
              <a:buNone/>
              <a:defRPr sz="1400" kern="1200">
                <a:solidFill>
                  <a:schemeClr val="bg1"/>
                </a:solidFill>
                <a:latin typeface="+mn-lt"/>
                <a:ea typeface="+mn-ea"/>
                <a:cs typeface="+mn-cs"/>
              </a:defRPr>
            </a:lvl5pPr>
            <a:lvl6pPr marL="0" indent="0" algn="ctr" defTabSz="914400" rtl="0" eaLnBrk="1" latinLnBrk="0" hangingPunct="1">
              <a:buNone/>
              <a:defRPr sz="1400" kern="1200">
                <a:solidFill>
                  <a:schemeClr val="bg1"/>
                </a:solidFill>
                <a:latin typeface="+mn-lt"/>
                <a:ea typeface="+mn-ea"/>
                <a:cs typeface="+mn-cs"/>
              </a:defRPr>
            </a:lvl6pPr>
            <a:lvl7pPr marL="0" indent="0" algn="ctr" defTabSz="914400" rtl="0" eaLnBrk="1" latinLnBrk="0" hangingPunct="1">
              <a:buNone/>
              <a:defRPr sz="1400" kern="1200">
                <a:solidFill>
                  <a:schemeClr val="bg1"/>
                </a:solidFill>
                <a:latin typeface="+mn-lt"/>
                <a:ea typeface="+mn-ea"/>
                <a:cs typeface="+mn-cs"/>
              </a:defRPr>
            </a:lvl7pPr>
            <a:lvl8pPr marL="0" indent="0" algn="ctr" defTabSz="914400" rtl="0" eaLnBrk="1" latinLnBrk="0" hangingPunct="1">
              <a:buNone/>
              <a:defRPr sz="1400" kern="1200">
                <a:solidFill>
                  <a:schemeClr val="bg1"/>
                </a:solidFill>
                <a:latin typeface="+mn-lt"/>
                <a:ea typeface="+mn-ea"/>
                <a:cs typeface="+mn-cs"/>
              </a:defRPr>
            </a:lvl8pPr>
            <a:lvl9pPr marL="0" indent="0" algn="ctr" defTabSz="914400" rtl="0" eaLnBrk="1" latinLnBrk="0" hangingPunct="1">
              <a:buNone/>
              <a:defRPr sz="1400" kern="1200">
                <a:solidFill>
                  <a:schemeClr val="bg1"/>
                </a:solidFill>
                <a:latin typeface="+mn-lt"/>
                <a:ea typeface="+mn-ea"/>
                <a:cs typeface="+mn-cs"/>
              </a:defRPr>
            </a:lvl9pPr>
          </a:lstStyle>
          <a:p>
            <a:r>
              <a:rPr lang="en-US" sz="1600" b="1" dirty="0"/>
              <a:t>Calibration cells minimize operating costs and handling of test gases</a:t>
            </a:r>
          </a:p>
        </p:txBody>
      </p:sp>
      <p:sp>
        <p:nvSpPr>
          <p:cNvPr id="12" name="Title 11"/>
          <p:cNvSpPr>
            <a:spLocks noGrp="1"/>
          </p:cNvSpPr>
          <p:nvPr>
            <p:ph type="title"/>
          </p:nvPr>
        </p:nvSpPr>
        <p:spPr bwMode="gray"/>
        <p:txBody>
          <a:bodyPr/>
          <a:lstStyle/>
          <a:p>
            <a:r>
              <a:rPr lang="de-DE" dirty="0"/>
              <a:t>Calibration </a:t>
            </a:r>
            <a:r>
              <a:rPr lang="de-DE" dirty="0" err="1"/>
              <a:t>concepts</a:t>
            </a:r>
            <a:endParaRPr lang="de-DE" dirty="0"/>
          </a:p>
        </p:txBody>
      </p:sp>
      <p:sp>
        <p:nvSpPr>
          <p:cNvPr id="5" name="Date Placeholder 4"/>
          <p:cNvSpPr>
            <a:spLocks noGrp="1"/>
          </p:cNvSpPr>
          <p:nvPr>
            <p:ph type="dt" sz="half" idx="14"/>
          </p:nvPr>
        </p:nvSpPr>
        <p:spPr bwMode="gray"/>
        <p:txBody>
          <a:bodyPr/>
          <a:lstStyle/>
          <a:p>
            <a:fld id="{DBD28BA9-C92F-478D-BB00-7FC234D5433F}" type="datetime4">
              <a:rPr lang="en-US" smtClean="0"/>
              <a:t>September 8, 2019</a:t>
            </a:fld>
            <a:endParaRPr lang="en-US" dirty="0"/>
          </a:p>
        </p:txBody>
      </p:sp>
      <p:sp>
        <p:nvSpPr>
          <p:cNvPr id="185" name="Footer Placeholder 2"/>
          <p:cNvSpPr>
            <a:spLocks noGrp="1"/>
          </p:cNvSpPr>
          <p:nvPr>
            <p:ph type="ftr" sz="quarter" idx="15"/>
          </p:nvPr>
        </p:nvSpPr>
        <p:spPr bwMode="gray"/>
        <p:txBody>
          <a:bodyPr/>
          <a:lstStyle/>
          <a:p>
            <a:pPr lvl="8"/>
            <a:endParaRPr lang="en-US" dirty="0"/>
          </a:p>
        </p:txBody>
      </p:sp>
      <p:sp>
        <p:nvSpPr>
          <p:cNvPr id="7" name="Slide Number Placeholder 6"/>
          <p:cNvSpPr>
            <a:spLocks noGrp="1"/>
          </p:cNvSpPr>
          <p:nvPr>
            <p:ph type="sldNum" sz="quarter" idx="16"/>
          </p:nvPr>
        </p:nvSpPr>
        <p:spPr bwMode="gray"/>
        <p:txBody>
          <a:bodyPr/>
          <a:lstStyle/>
          <a:p>
            <a:r>
              <a:rPr lang="en-US"/>
              <a:t>Slide </a:t>
            </a:r>
            <a:fld id="{619F89D8-7AE3-494A-97F3-03D680869632}" type="slidenum">
              <a:rPr lang="en-US" smtClean="0"/>
              <a:pPr/>
              <a:t>97</a:t>
            </a:fld>
            <a:endParaRPr lang="en-US" dirty="0"/>
          </a:p>
        </p:txBody>
      </p:sp>
      <p:sp>
        <p:nvSpPr>
          <p:cNvPr id="13" name="Subtitle 12"/>
          <p:cNvSpPr>
            <a:spLocks noGrp="1"/>
          </p:cNvSpPr>
          <p:nvPr>
            <p:ph type="subTitle" idx="13"/>
          </p:nvPr>
        </p:nvSpPr>
        <p:spPr bwMode="gray"/>
        <p:txBody>
          <a:bodyPr/>
          <a:lstStyle/>
          <a:p>
            <a:r>
              <a:rPr lang="de-DE" dirty="0"/>
              <a:t>Save </a:t>
            </a:r>
            <a:r>
              <a:rPr lang="de-DE" dirty="0" err="1"/>
              <a:t>money</a:t>
            </a:r>
            <a:r>
              <a:rPr lang="de-DE" dirty="0"/>
              <a:t> </a:t>
            </a:r>
            <a:r>
              <a:rPr lang="de-DE" dirty="0" err="1"/>
              <a:t>by</a:t>
            </a:r>
            <a:r>
              <a:rPr lang="de-DE" dirty="0"/>
              <a:t> </a:t>
            </a:r>
            <a:r>
              <a:rPr lang="de-DE" dirty="0" err="1"/>
              <a:t>picking</a:t>
            </a:r>
            <a:r>
              <a:rPr lang="de-DE" dirty="0"/>
              <a:t> </a:t>
            </a:r>
            <a:r>
              <a:rPr lang="de-DE" dirty="0" err="1"/>
              <a:t>the</a:t>
            </a:r>
            <a:r>
              <a:rPr lang="de-DE" dirty="0"/>
              <a:t> </a:t>
            </a:r>
            <a:r>
              <a:rPr lang="de-DE" dirty="0" err="1"/>
              <a:t>right</a:t>
            </a:r>
            <a:r>
              <a:rPr lang="de-DE" dirty="0"/>
              <a:t> </a:t>
            </a:r>
            <a:r>
              <a:rPr lang="de-DE" dirty="0" err="1"/>
              <a:t>solution</a:t>
            </a:r>
            <a:endParaRPr lang="de-DE" dirty="0"/>
          </a:p>
        </p:txBody>
      </p:sp>
      <p:grpSp>
        <p:nvGrpSpPr>
          <p:cNvPr id="175" name="Group 174"/>
          <p:cNvGrpSpPr/>
          <p:nvPr/>
        </p:nvGrpSpPr>
        <p:grpSpPr bwMode="gray">
          <a:xfrm>
            <a:off x="8987093" y="2456583"/>
            <a:ext cx="2500448" cy="1961853"/>
            <a:chOff x="8987093" y="2456583"/>
            <a:chExt cx="2500448" cy="1961853"/>
          </a:xfrm>
        </p:grpSpPr>
        <p:sp>
          <p:nvSpPr>
            <p:cNvPr id="151" name="Freeform 6"/>
            <p:cNvSpPr>
              <a:spLocks/>
            </p:cNvSpPr>
            <p:nvPr/>
          </p:nvSpPr>
          <p:spPr bwMode="gray">
            <a:xfrm>
              <a:off x="9436492" y="3286846"/>
              <a:ext cx="990000" cy="0"/>
            </a:xfrm>
            <a:custGeom>
              <a:avLst/>
              <a:gdLst>
                <a:gd name="connsiteX0" fmla="*/ 0 w 1593849"/>
                <a:gd name="connsiteY0" fmla="*/ 0 h 533400"/>
                <a:gd name="connsiteX1" fmla="*/ 1593849 w 1593849"/>
                <a:gd name="connsiteY1" fmla="*/ 0 h 533400"/>
                <a:gd name="connsiteX2" fmla="*/ 1593849 w 1593849"/>
                <a:gd name="connsiteY2" fmla="*/ 533400 h 533400"/>
                <a:gd name="connsiteX3" fmla="*/ 0 w 1593849"/>
                <a:gd name="connsiteY3" fmla="*/ 533400 h 533400"/>
                <a:gd name="connsiteX4" fmla="*/ 0 w 1593849"/>
                <a:gd name="connsiteY4" fmla="*/ 0 h 533400"/>
                <a:gd name="connsiteX0" fmla="*/ 0 w 1593849"/>
                <a:gd name="connsiteY0" fmla="*/ 0 h 533400"/>
                <a:gd name="connsiteX1" fmla="*/ 1593849 w 1593849"/>
                <a:gd name="connsiteY1" fmla="*/ 0 h 533400"/>
                <a:gd name="connsiteX2" fmla="*/ 1593849 w 1593849"/>
                <a:gd name="connsiteY2" fmla="*/ 533400 h 533400"/>
                <a:gd name="connsiteX3" fmla="*/ 0 w 1593849"/>
                <a:gd name="connsiteY3" fmla="*/ 533400 h 533400"/>
                <a:gd name="connsiteX4" fmla="*/ 91440 w 1593849"/>
                <a:gd name="connsiteY4" fmla="*/ 91440 h 533400"/>
                <a:gd name="connsiteX0" fmla="*/ 1593849 w 1593849"/>
                <a:gd name="connsiteY0" fmla="*/ 0 h 533400"/>
                <a:gd name="connsiteX1" fmla="*/ 1593849 w 1593849"/>
                <a:gd name="connsiteY1" fmla="*/ 533400 h 533400"/>
                <a:gd name="connsiteX2" fmla="*/ 0 w 1593849"/>
                <a:gd name="connsiteY2" fmla="*/ 533400 h 533400"/>
                <a:gd name="connsiteX3" fmla="*/ 91440 w 1593849"/>
                <a:gd name="connsiteY3" fmla="*/ 91440 h 533400"/>
                <a:gd name="connsiteX0" fmla="*/ 1593849 w 1593849"/>
                <a:gd name="connsiteY0" fmla="*/ 0 h 533400"/>
                <a:gd name="connsiteX1" fmla="*/ 1593849 w 1593849"/>
                <a:gd name="connsiteY1" fmla="*/ 533400 h 533400"/>
                <a:gd name="connsiteX2" fmla="*/ 0 w 1593849"/>
                <a:gd name="connsiteY2" fmla="*/ 533400 h 533400"/>
                <a:gd name="connsiteX0" fmla="*/ 1593849 w 1593849"/>
                <a:gd name="connsiteY0" fmla="*/ 0 h 0"/>
                <a:gd name="connsiteX1" fmla="*/ 0 w 1593849"/>
                <a:gd name="connsiteY1" fmla="*/ 0 h 0"/>
              </a:gdLst>
              <a:ahLst/>
              <a:cxnLst>
                <a:cxn ang="0">
                  <a:pos x="connsiteX0" y="connsiteY0"/>
                </a:cxn>
                <a:cxn ang="0">
                  <a:pos x="connsiteX1" y="connsiteY1"/>
                </a:cxn>
              </a:cxnLst>
              <a:rect l="l" t="t" r="r" b="b"/>
              <a:pathLst>
                <a:path w="1593849">
                  <a:moveTo>
                    <a:pt x="1593849" y="0"/>
                  </a:moveTo>
                  <a:lnTo>
                    <a:pt x="0" y="0"/>
                  </a:ln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nvGrpSpPr>
            <p:cNvPr id="152" name="Group 7"/>
            <p:cNvGrpSpPr>
              <a:grpSpLocks/>
            </p:cNvGrpSpPr>
            <p:nvPr/>
          </p:nvGrpSpPr>
          <p:grpSpPr bwMode="gray">
            <a:xfrm>
              <a:off x="10420741" y="2905846"/>
              <a:ext cx="338137" cy="787400"/>
              <a:chOff x="1947" y="1755"/>
              <a:chExt cx="213" cy="496"/>
            </a:xfrm>
          </p:grpSpPr>
          <p:sp>
            <p:nvSpPr>
              <p:cNvPr id="153" name="Rectangle 8"/>
              <p:cNvSpPr>
                <a:spLocks noChangeAspect="1" noChangeArrowheads="1"/>
              </p:cNvSpPr>
              <p:nvPr/>
            </p:nvSpPr>
            <p:spPr bwMode="gray">
              <a:xfrm>
                <a:off x="1947" y="1878"/>
                <a:ext cx="213" cy="238"/>
              </a:xfrm>
              <a:prstGeom prst="rect">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154" name="Text Box 9"/>
              <p:cNvSpPr txBox="1">
                <a:spLocks noChangeArrowheads="1"/>
              </p:cNvSpPr>
              <p:nvPr/>
            </p:nvSpPr>
            <p:spPr bwMode="gray">
              <a:xfrm rot="16200000">
                <a:off x="1800" y="1926"/>
                <a:ext cx="496"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50000"/>
                  </a:spcBef>
                  <a:buClrTx/>
                  <a:buSzTx/>
                  <a:buFontTx/>
                  <a:buNone/>
                </a:pPr>
                <a:r>
                  <a:rPr lang="de-DE" altLang="de-DE" sz="1000" b="0">
                    <a:solidFill>
                      <a:schemeClr val="tx1"/>
                    </a:solidFill>
                  </a:rPr>
                  <a:t> </a:t>
                </a:r>
              </a:p>
            </p:txBody>
          </p:sp>
        </p:grpSp>
        <p:grpSp>
          <p:nvGrpSpPr>
            <p:cNvPr id="155" name="Group 10"/>
            <p:cNvGrpSpPr>
              <a:grpSpLocks/>
            </p:cNvGrpSpPr>
            <p:nvPr/>
          </p:nvGrpSpPr>
          <p:grpSpPr bwMode="gray">
            <a:xfrm>
              <a:off x="10844603" y="2904258"/>
              <a:ext cx="338137" cy="574675"/>
              <a:chOff x="1947" y="1754"/>
              <a:chExt cx="213" cy="362"/>
            </a:xfrm>
          </p:grpSpPr>
          <p:sp>
            <p:nvSpPr>
              <p:cNvPr id="156" name="Rectangle 11"/>
              <p:cNvSpPr>
                <a:spLocks noChangeAspect="1" noChangeArrowheads="1"/>
              </p:cNvSpPr>
              <p:nvPr/>
            </p:nvSpPr>
            <p:spPr bwMode="gray">
              <a:xfrm>
                <a:off x="1947" y="1878"/>
                <a:ext cx="213" cy="238"/>
              </a:xfrm>
              <a:prstGeom prst="rect">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157" name="Text Box 12"/>
              <p:cNvSpPr txBox="1">
                <a:spLocks noChangeArrowheads="1"/>
              </p:cNvSpPr>
              <p:nvPr/>
            </p:nvSpPr>
            <p:spPr bwMode="gray">
              <a:xfrm rot="16200000">
                <a:off x="1942" y="1783"/>
                <a:ext cx="212"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50000"/>
                  </a:spcBef>
                  <a:buClrTx/>
                  <a:buSzTx/>
                  <a:buFontTx/>
                  <a:buNone/>
                </a:pPr>
                <a:endParaRPr lang="de-DE" altLang="de-DE" sz="1000" b="0">
                  <a:solidFill>
                    <a:schemeClr val="tx1"/>
                  </a:solidFill>
                </a:endParaRPr>
              </a:p>
            </p:txBody>
          </p:sp>
        </p:grpSp>
        <p:grpSp>
          <p:nvGrpSpPr>
            <p:cNvPr id="158" name="Group 13"/>
            <p:cNvGrpSpPr>
              <a:grpSpLocks/>
            </p:cNvGrpSpPr>
            <p:nvPr/>
          </p:nvGrpSpPr>
          <p:grpSpPr bwMode="gray">
            <a:xfrm rot="16200000">
              <a:off x="9871466" y="3121747"/>
              <a:ext cx="341312" cy="214312"/>
              <a:chOff x="1465" y="2792"/>
              <a:chExt cx="215" cy="135"/>
            </a:xfrm>
          </p:grpSpPr>
          <p:sp>
            <p:nvSpPr>
              <p:cNvPr id="159" name="Line 14"/>
              <p:cNvSpPr>
                <a:spLocks noChangeShapeType="1"/>
              </p:cNvSpPr>
              <p:nvPr/>
            </p:nvSpPr>
            <p:spPr bwMode="gray">
              <a:xfrm rot="5400000" flipV="1">
                <a:off x="1560" y="2837"/>
                <a:ext cx="0" cy="4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nvGrpSpPr>
              <p:cNvPr id="160" name="Group 15"/>
              <p:cNvGrpSpPr>
                <a:grpSpLocks/>
              </p:cNvGrpSpPr>
              <p:nvPr/>
            </p:nvGrpSpPr>
            <p:grpSpPr bwMode="gray">
              <a:xfrm>
                <a:off x="1465" y="2792"/>
                <a:ext cx="108" cy="135"/>
                <a:chOff x="1465" y="2792"/>
                <a:chExt cx="108" cy="135"/>
              </a:xfrm>
            </p:grpSpPr>
            <p:sp>
              <p:nvSpPr>
                <p:cNvPr id="163" name="AutoShape 16"/>
                <p:cNvSpPr>
                  <a:spLocks noChangeAspect="1" noChangeArrowheads="1"/>
                </p:cNvSpPr>
                <p:nvPr/>
              </p:nvSpPr>
              <p:spPr bwMode="gray">
                <a:xfrm flipV="1">
                  <a:off x="1503" y="2792"/>
                  <a:ext cx="70" cy="66"/>
                </a:xfrm>
                <a:prstGeom prst="triangle">
                  <a:avLst>
                    <a:gd name="adj" fmla="val 50000"/>
                  </a:avLst>
                </a:prstGeom>
                <a:solidFill>
                  <a:schemeClr val="bg1"/>
                </a:solidFill>
                <a:ln w="12700">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164" name="AutoShape 17"/>
                <p:cNvSpPr>
                  <a:spLocks noChangeAspect="1" noChangeArrowheads="1"/>
                </p:cNvSpPr>
                <p:nvPr/>
              </p:nvSpPr>
              <p:spPr bwMode="gray">
                <a:xfrm>
                  <a:off x="1503" y="2861"/>
                  <a:ext cx="70" cy="66"/>
                </a:xfrm>
                <a:prstGeom prst="triangle">
                  <a:avLst>
                    <a:gd name="adj" fmla="val 50000"/>
                  </a:avLst>
                </a:prstGeom>
                <a:solidFill>
                  <a:schemeClr val="bg1"/>
                </a:solidFill>
                <a:ln w="12700">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165" name="AutoShape 18"/>
                <p:cNvSpPr>
                  <a:spLocks noChangeAspect="1" noChangeArrowheads="1"/>
                </p:cNvSpPr>
                <p:nvPr/>
              </p:nvSpPr>
              <p:spPr bwMode="gray">
                <a:xfrm rot="5400000">
                  <a:off x="1462" y="2827"/>
                  <a:ext cx="71" cy="66"/>
                </a:xfrm>
                <a:prstGeom prst="triangle">
                  <a:avLst>
                    <a:gd name="adj" fmla="val 50000"/>
                  </a:avLst>
                </a:prstGeom>
                <a:solidFill>
                  <a:schemeClr val="tx1"/>
                </a:solidFill>
                <a:ln w="12700">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grpSp>
          <p:sp>
            <p:nvSpPr>
              <p:cNvPr id="161" name="Rectangle 19"/>
              <p:cNvSpPr>
                <a:spLocks noChangeArrowheads="1"/>
              </p:cNvSpPr>
              <p:nvPr/>
            </p:nvSpPr>
            <p:spPr bwMode="gray">
              <a:xfrm rot="5400000">
                <a:off x="1608" y="2812"/>
                <a:ext cx="48" cy="96"/>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162" name="Line 20"/>
              <p:cNvSpPr>
                <a:spLocks noChangeShapeType="1"/>
              </p:cNvSpPr>
              <p:nvPr/>
            </p:nvSpPr>
            <p:spPr bwMode="gray">
              <a:xfrm rot="5400000" flipV="1">
                <a:off x="1608" y="2812"/>
                <a:ext cx="48" cy="96"/>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sp>
          <p:nvSpPr>
            <p:cNvPr id="166" name="Text Box 21"/>
            <p:cNvSpPr txBox="1">
              <a:spLocks noChangeArrowheads="1"/>
            </p:cNvSpPr>
            <p:nvPr/>
          </p:nvSpPr>
          <p:spPr bwMode="gray">
            <a:xfrm>
              <a:off x="8987093" y="3058246"/>
              <a:ext cx="48763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0"/>
                </a:spcBef>
                <a:buClrTx/>
                <a:buSzTx/>
                <a:buFontTx/>
                <a:buNone/>
              </a:pPr>
              <a:r>
                <a:rPr lang="de-DE" altLang="de-DE" sz="1200" b="0" dirty="0" err="1">
                  <a:solidFill>
                    <a:schemeClr val="tx1"/>
                  </a:solidFill>
                  <a:latin typeface="+mn-lt"/>
                </a:rPr>
                <a:t>Flue</a:t>
              </a:r>
              <a:endParaRPr lang="de-DE" altLang="de-DE" sz="1200" b="0" dirty="0">
                <a:solidFill>
                  <a:schemeClr val="tx1"/>
                </a:solidFill>
                <a:latin typeface="+mn-lt"/>
              </a:endParaRPr>
            </a:p>
            <a:p>
              <a:pPr algn="ctr">
                <a:spcBef>
                  <a:spcPct val="0"/>
                </a:spcBef>
                <a:buClrTx/>
                <a:buSzTx/>
                <a:buFontTx/>
                <a:buNone/>
              </a:pPr>
              <a:r>
                <a:rPr lang="de-DE" altLang="de-DE" sz="1200" b="0" dirty="0">
                  <a:solidFill>
                    <a:schemeClr val="tx1"/>
                  </a:solidFill>
                  <a:latin typeface="+mn-lt"/>
                </a:rPr>
                <a:t>gas</a:t>
              </a:r>
              <a:endParaRPr lang="en-US" altLang="de-DE" sz="1200" b="0" dirty="0">
                <a:solidFill>
                  <a:schemeClr val="tx1"/>
                </a:solidFill>
                <a:latin typeface="+mn-lt"/>
              </a:endParaRPr>
            </a:p>
          </p:txBody>
        </p:sp>
        <p:sp>
          <p:nvSpPr>
            <p:cNvPr id="167" name="Text Box 22"/>
            <p:cNvSpPr txBox="1">
              <a:spLocks noChangeArrowheads="1"/>
            </p:cNvSpPr>
            <p:nvPr/>
          </p:nvSpPr>
          <p:spPr bwMode="gray">
            <a:xfrm>
              <a:off x="9655491" y="3956771"/>
              <a:ext cx="80342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0"/>
                </a:spcBef>
                <a:buClrTx/>
                <a:buSzTx/>
                <a:buFontTx/>
                <a:buNone/>
              </a:pPr>
              <a:r>
                <a:rPr lang="de-DE" altLang="de-DE" sz="1200" b="0" dirty="0" err="1">
                  <a:solidFill>
                    <a:schemeClr val="tx1"/>
                  </a:solidFill>
                  <a:latin typeface="+mn-lt"/>
                </a:rPr>
                <a:t>Ambient</a:t>
              </a:r>
              <a:br>
                <a:rPr lang="de-DE" altLang="de-DE" sz="1200" b="0" dirty="0">
                  <a:solidFill>
                    <a:schemeClr val="tx1"/>
                  </a:solidFill>
                  <a:latin typeface="+mn-lt"/>
                </a:rPr>
              </a:br>
              <a:r>
                <a:rPr lang="de-DE" altLang="de-DE" sz="1200" b="0" dirty="0" err="1">
                  <a:solidFill>
                    <a:schemeClr val="tx1"/>
                  </a:solidFill>
                  <a:latin typeface="+mn-lt"/>
                </a:rPr>
                <a:t>air</a:t>
              </a:r>
              <a:endParaRPr lang="de-DE" altLang="de-DE" sz="1200" b="0" dirty="0">
                <a:solidFill>
                  <a:schemeClr val="tx1"/>
                </a:solidFill>
                <a:latin typeface="+mn-lt"/>
              </a:endParaRPr>
            </a:p>
          </p:txBody>
        </p:sp>
        <p:sp>
          <p:nvSpPr>
            <p:cNvPr id="168" name="Rectangle 23"/>
            <p:cNvSpPr>
              <a:spLocks noChangeAspect="1" noChangeArrowheads="1"/>
            </p:cNvSpPr>
            <p:nvPr/>
          </p:nvSpPr>
          <p:spPr bwMode="gray">
            <a:xfrm>
              <a:off x="10408041" y="2456583"/>
              <a:ext cx="787400" cy="295275"/>
            </a:xfrm>
            <a:prstGeom prst="rect">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169" name="Text Box 24"/>
            <p:cNvSpPr txBox="1">
              <a:spLocks noChangeArrowheads="1"/>
            </p:cNvSpPr>
            <p:nvPr/>
          </p:nvSpPr>
          <p:spPr bwMode="gray">
            <a:xfrm>
              <a:off x="10066242" y="2716830"/>
              <a:ext cx="101091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spcBef>
                  <a:spcPct val="50000"/>
                </a:spcBef>
                <a:buClrTx/>
                <a:buSzTx/>
                <a:buFontTx/>
                <a:buNone/>
              </a:pPr>
              <a:r>
                <a:rPr lang="de-DE" altLang="de-DE" sz="1200" b="0" dirty="0">
                  <a:solidFill>
                    <a:schemeClr val="tx1"/>
                  </a:solidFill>
                  <a:latin typeface="+mn-lt"/>
                </a:rPr>
                <a:t>Analyzer</a:t>
              </a:r>
            </a:p>
          </p:txBody>
        </p:sp>
        <p:sp>
          <p:nvSpPr>
            <p:cNvPr id="170" name="Rectangle 25"/>
            <p:cNvSpPr>
              <a:spLocks noChangeAspect="1" noChangeArrowheads="1"/>
            </p:cNvSpPr>
            <p:nvPr/>
          </p:nvSpPr>
          <p:spPr bwMode="gray">
            <a:xfrm>
              <a:off x="10976366" y="2532783"/>
              <a:ext cx="161925" cy="131762"/>
            </a:xfrm>
            <a:prstGeom prst="rect">
              <a:avLst/>
            </a:prstGeom>
            <a:noFill/>
            <a:ln w="19050">
              <a:solidFill>
                <a:srgbClr val="33333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171" name="Line 94"/>
            <p:cNvSpPr>
              <a:spLocks noChangeShapeType="1"/>
            </p:cNvSpPr>
            <p:nvPr/>
          </p:nvSpPr>
          <p:spPr bwMode="gray">
            <a:xfrm>
              <a:off x="10042916" y="3400352"/>
              <a:ext cx="0" cy="534193"/>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72" name="Text Box 143"/>
            <p:cNvSpPr txBox="1">
              <a:spLocks noChangeArrowheads="1"/>
            </p:cNvSpPr>
            <p:nvPr/>
          </p:nvSpPr>
          <p:spPr bwMode="gray">
            <a:xfrm>
              <a:off x="10144516" y="3482108"/>
              <a:ext cx="69056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r">
                <a:spcBef>
                  <a:spcPct val="50000"/>
                </a:spcBef>
                <a:buClrTx/>
                <a:buSzTx/>
                <a:buFontTx/>
                <a:buNone/>
              </a:pPr>
              <a:r>
                <a:rPr lang="de-DE" altLang="de-DE" sz="1200" b="0" dirty="0">
                  <a:solidFill>
                    <a:schemeClr val="tx1"/>
                  </a:solidFill>
                  <a:latin typeface="+mn-lt"/>
                </a:rPr>
                <a:t>Cooler</a:t>
              </a:r>
            </a:p>
          </p:txBody>
        </p:sp>
        <p:sp>
          <p:nvSpPr>
            <p:cNvPr id="173" name="Text Box 144"/>
            <p:cNvSpPr txBox="1">
              <a:spLocks noChangeArrowheads="1"/>
            </p:cNvSpPr>
            <p:nvPr/>
          </p:nvSpPr>
          <p:spPr bwMode="gray">
            <a:xfrm>
              <a:off x="10768403" y="3482108"/>
              <a:ext cx="71913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spcBef>
                  <a:spcPct val="50000"/>
                </a:spcBef>
                <a:buClrTx/>
                <a:buSzTx/>
                <a:buFontTx/>
                <a:buNone/>
              </a:pPr>
              <a:r>
                <a:rPr lang="de-DE" altLang="de-DE" sz="1200" b="0" dirty="0">
                  <a:solidFill>
                    <a:schemeClr val="tx1"/>
                  </a:solidFill>
                  <a:latin typeface="+mn-lt"/>
                </a:rPr>
                <a:t>Pump</a:t>
              </a:r>
            </a:p>
          </p:txBody>
        </p:sp>
        <p:sp>
          <p:nvSpPr>
            <p:cNvPr id="342" name="Freeform 6"/>
            <p:cNvSpPr>
              <a:spLocks/>
            </p:cNvSpPr>
            <p:nvPr/>
          </p:nvSpPr>
          <p:spPr bwMode="gray">
            <a:xfrm>
              <a:off x="10768403" y="3286846"/>
              <a:ext cx="72000" cy="0"/>
            </a:xfrm>
            <a:custGeom>
              <a:avLst/>
              <a:gdLst>
                <a:gd name="connsiteX0" fmla="*/ 0 w 1593849"/>
                <a:gd name="connsiteY0" fmla="*/ 0 h 533400"/>
                <a:gd name="connsiteX1" fmla="*/ 1593849 w 1593849"/>
                <a:gd name="connsiteY1" fmla="*/ 0 h 533400"/>
                <a:gd name="connsiteX2" fmla="*/ 1593849 w 1593849"/>
                <a:gd name="connsiteY2" fmla="*/ 533400 h 533400"/>
                <a:gd name="connsiteX3" fmla="*/ 0 w 1593849"/>
                <a:gd name="connsiteY3" fmla="*/ 533400 h 533400"/>
                <a:gd name="connsiteX4" fmla="*/ 0 w 1593849"/>
                <a:gd name="connsiteY4" fmla="*/ 0 h 533400"/>
                <a:gd name="connsiteX0" fmla="*/ 0 w 1593849"/>
                <a:gd name="connsiteY0" fmla="*/ 0 h 533400"/>
                <a:gd name="connsiteX1" fmla="*/ 1593849 w 1593849"/>
                <a:gd name="connsiteY1" fmla="*/ 0 h 533400"/>
                <a:gd name="connsiteX2" fmla="*/ 1593849 w 1593849"/>
                <a:gd name="connsiteY2" fmla="*/ 533400 h 533400"/>
                <a:gd name="connsiteX3" fmla="*/ 0 w 1593849"/>
                <a:gd name="connsiteY3" fmla="*/ 533400 h 533400"/>
                <a:gd name="connsiteX4" fmla="*/ 91440 w 1593849"/>
                <a:gd name="connsiteY4" fmla="*/ 91440 h 533400"/>
                <a:gd name="connsiteX0" fmla="*/ 1593849 w 1593849"/>
                <a:gd name="connsiteY0" fmla="*/ 0 h 533400"/>
                <a:gd name="connsiteX1" fmla="*/ 1593849 w 1593849"/>
                <a:gd name="connsiteY1" fmla="*/ 533400 h 533400"/>
                <a:gd name="connsiteX2" fmla="*/ 0 w 1593849"/>
                <a:gd name="connsiteY2" fmla="*/ 533400 h 533400"/>
                <a:gd name="connsiteX3" fmla="*/ 91440 w 1593849"/>
                <a:gd name="connsiteY3" fmla="*/ 91440 h 533400"/>
                <a:gd name="connsiteX0" fmla="*/ 1593849 w 1593849"/>
                <a:gd name="connsiteY0" fmla="*/ 0 h 533400"/>
                <a:gd name="connsiteX1" fmla="*/ 1593849 w 1593849"/>
                <a:gd name="connsiteY1" fmla="*/ 533400 h 533400"/>
                <a:gd name="connsiteX2" fmla="*/ 0 w 1593849"/>
                <a:gd name="connsiteY2" fmla="*/ 533400 h 533400"/>
                <a:gd name="connsiteX0" fmla="*/ 1593849 w 1593849"/>
                <a:gd name="connsiteY0" fmla="*/ 0 h 0"/>
                <a:gd name="connsiteX1" fmla="*/ 0 w 1593849"/>
                <a:gd name="connsiteY1" fmla="*/ 0 h 0"/>
              </a:gdLst>
              <a:ahLst/>
              <a:cxnLst>
                <a:cxn ang="0">
                  <a:pos x="connsiteX0" y="connsiteY0"/>
                </a:cxn>
                <a:cxn ang="0">
                  <a:pos x="connsiteX1" y="connsiteY1"/>
                </a:cxn>
              </a:cxnLst>
              <a:rect l="l" t="t" r="r" b="b"/>
              <a:pathLst>
                <a:path w="1593849">
                  <a:moveTo>
                    <a:pt x="1593849" y="0"/>
                  </a:moveTo>
                  <a:lnTo>
                    <a:pt x="0" y="0"/>
                  </a:ln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43" name="Freeform 6"/>
            <p:cNvSpPr>
              <a:spLocks/>
            </p:cNvSpPr>
            <p:nvPr/>
          </p:nvSpPr>
          <p:spPr bwMode="gray">
            <a:xfrm rot="16200000">
              <a:off x="10850291" y="2927744"/>
              <a:ext cx="342000" cy="0"/>
            </a:xfrm>
            <a:custGeom>
              <a:avLst/>
              <a:gdLst>
                <a:gd name="connsiteX0" fmla="*/ 0 w 1593849"/>
                <a:gd name="connsiteY0" fmla="*/ 0 h 533400"/>
                <a:gd name="connsiteX1" fmla="*/ 1593849 w 1593849"/>
                <a:gd name="connsiteY1" fmla="*/ 0 h 533400"/>
                <a:gd name="connsiteX2" fmla="*/ 1593849 w 1593849"/>
                <a:gd name="connsiteY2" fmla="*/ 533400 h 533400"/>
                <a:gd name="connsiteX3" fmla="*/ 0 w 1593849"/>
                <a:gd name="connsiteY3" fmla="*/ 533400 h 533400"/>
                <a:gd name="connsiteX4" fmla="*/ 0 w 1593849"/>
                <a:gd name="connsiteY4" fmla="*/ 0 h 533400"/>
                <a:gd name="connsiteX0" fmla="*/ 0 w 1593849"/>
                <a:gd name="connsiteY0" fmla="*/ 0 h 533400"/>
                <a:gd name="connsiteX1" fmla="*/ 1593849 w 1593849"/>
                <a:gd name="connsiteY1" fmla="*/ 0 h 533400"/>
                <a:gd name="connsiteX2" fmla="*/ 1593849 w 1593849"/>
                <a:gd name="connsiteY2" fmla="*/ 533400 h 533400"/>
                <a:gd name="connsiteX3" fmla="*/ 0 w 1593849"/>
                <a:gd name="connsiteY3" fmla="*/ 533400 h 533400"/>
                <a:gd name="connsiteX4" fmla="*/ 91440 w 1593849"/>
                <a:gd name="connsiteY4" fmla="*/ 91440 h 533400"/>
                <a:gd name="connsiteX0" fmla="*/ 1593849 w 1593849"/>
                <a:gd name="connsiteY0" fmla="*/ 0 h 533400"/>
                <a:gd name="connsiteX1" fmla="*/ 1593849 w 1593849"/>
                <a:gd name="connsiteY1" fmla="*/ 533400 h 533400"/>
                <a:gd name="connsiteX2" fmla="*/ 0 w 1593849"/>
                <a:gd name="connsiteY2" fmla="*/ 533400 h 533400"/>
                <a:gd name="connsiteX3" fmla="*/ 91440 w 1593849"/>
                <a:gd name="connsiteY3" fmla="*/ 91440 h 533400"/>
                <a:gd name="connsiteX0" fmla="*/ 1593849 w 1593849"/>
                <a:gd name="connsiteY0" fmla="*/ 0 h 533400"/>
                <a:gd name="connsiteX1" fmla="*/ 1593849 w 1593849"/>
                <a:gd name="connsiteY1" fmla="*/ 533400 h 533400"/>
                <a:gd name="connsiteX2" fmla="*/ 0 w 1593849"/>
                <a:gd name="connsiteY2" fmla="*/ 533400 h 533400"/>
                <a:gd name="connsiteX0" fmla="*/ 1593849 w 1593849"/>
                <a:gd name="connsiteY0" fmla="*/ 0 h 0"/>
                <a:gd name="connsiteX1" fmla="*/ 0 w 1593849"/>
                <a:gd name="connsiteY1" fmla="*/ 0 h 0"/>
              </a:gdLst>
              <a:ahLst/>
              <a:cxnLst>
                <a:cxn ang="0">
                  <a:pos x="connsiteX0" y="connsiteY0"/>
                </a:cxn>
                <a:cxn ang="0">
                  <a:pos x="connsiteX1" y="connsiteY1"/>
                </a:cxn>
              </a:cxnLst>
              <a:rect l="l" t="t" r="r" b="b"/>
              <a:pathLst>
                <a:path w="1593849">
                  <a:moveTo>
                    <a:pt x="1593849" y="0"/>
                  </a:moveTo>
                  <a:lnTo>
                    <a:pt x="0" y="0"/>
                  </a:ln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grpSp>
        <p:nvGrpSpPr>
          <p:cNvPr id="178" name="Group 99"/>
          <p:cNvGrpSpPr>
            <a:grpSpLocks/>
          </p:cNvGrpSpPr>
          <p:nvPr/>
        </p:nvGrpSpPr>
        <p:grpSpPr bwMode="gray">
          <a:xfrm rot="13061873">
            <a:off x="11137107" y="2420663"/>
            <a:ext cx="954500" cy="474393"/>
            <a:chOff x="3049" y="3499"/>
            <a:chExt cx="635" cy="239"/>
          </a:xfrm>
        </p:grpSpPr>
        <p:sp>
          <p:nvSpPr>
            <p:cNvPr id="179" name="Freeform 100"/>
            <p:cNvSpPr>
              <a:spLocks noChangeAspect="1"/>
            </p:cNvSpPr>
            <p:nvPr/>
          </p:nvSpPr>
          <p:spPr bwMode="gray">
            <a:xfrm>
              <a:off x="3049" y="3499"/>
              <a:ext cx="635" cy="239"/>
            </a:xfrm>
            <a:custGeom>
              <a:avLst/>
              <a:gdLst>
                <a:gd name="T0" fmla="*/ 90 w 680"/>
                <a:gd name="T1" fmla="*/ 681 h 681"/>
                <a:gd name="T2" fmla="*/ 0 w 680"/>
                <a:gd name="T3" fmla="*/ 0 h 681"/>
                <a:gd name="T4" fmla="*/ 680 w 680"/>
                <a:gd name="T5" fmla="*/ 46 h 681"/>
                <a:gd name="T6" fmla="*/ 680 w 680"/>
                <a:gd name="T7" fmla="*/ 590 h 681"/>
                <a:gd name="T8" fmla="*/ 90 w 680"/>
                <a:gd name="T9" fmla="*/ 681 h 681"/>
              </a:gdLst>
              <a:ahLst/>
              <a:cxnLst>
                <a:cxn ang="0">
                  <a:pos x="T0" y="T1"/>
                </a:cxn>
                <a:cxn ang="0">
                  <a:pos x="T2" y="T3"/>
                </a:cxn>
                <a:cxn ang="0">
                  <a:pos x="T4" y="T5"/>
                </a:cxn>
                <a:cxn ang="0">
                  <a:pos x="T6" y="T7"/>
                </a:cxn>
                <a:cxn ang="0">
                  <a:pos x="T8" y="T9"/>
                </a:cxn>
              </a:cxnLst>
              <a:rect l="0" t="0" r="r" b="b"/>
              <a:pathLst>
                <a:path w="680" h="681">
                  <a:moveTo>
                    <a:pt x="90" y="681"/>
                  </a:moveTo>
                  <a:lnTo>
                    <a:pt x="0" y="0"/>
                  </a:lnTo>
                  <a:lnTo>
                    <a:pt x="680" y="46"/>
                  </a:lnTo>
                  <a:lnTo>
                    <a:pt x="680" y="590"/>
                  </a:lnTo>
                  <a:lnTo>
                    <a:pt x="90" y="681"/>
                  </a:lnTo>
                  <a:close/>
                </a:path>
              </a:pathLst>
            </a:cu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endParaRPr lang="de-DE">
                <a:latin typeface="Arial" panose="020B0604020202020204" pitchFamily="34" charset="0"/>
                <a:cs typeface="Arial" panose="020B0604020202020204" pitchFamily="34" charset="0"/>
              </a:endParaRPr>
            </a:p>
          </p:txBody>
        </p:sp>
        <p:sp>
          <p:nvSpPr>
            <p:cNvPr id="180" name="Oval 101"/>
            <p:cNvSpPr>
              <a:spLocks noChangeArrowheads="1"/>
            </p:cNvSpPr>
            <p:nvPr/>
          </p:nvSpPr>
          <p:spPr bwMode="gray">
            <a:xfrm>
              <a:off x="3148" y="3549"/>
              <a:ext cx="223" cy="147"/>
            </a:xfrm>
            <a:prstGeom prst="ellipse">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endParaRPr lang="de-DE">
                <a:latin typeface="Arial" panose="020B0604020202020204" pitchFamily="34" charset="0"/>
                <a:cs typeface="Arial" panose="020B0604020202020204" pitchFamily="34" charset="0"/>
              </a:endParaRPr>
            </a:p>
          </p:txBody>
        </p:sp>
        <p:sp>
          <p:nvSpPr>
            <p:cNvPr id="181" name="Oval 102"/>
            <p:cNvSpPr>
              <a:spLocks noChangeArrowheads="1"/>
            </p:cNvSpPr>
            <p:nvPr/>
          </p:nvSpPr>
          <p:spPr bwMode="gray">
            <a:xfrm>
              <a:off x="3427" y="3550"/>
              <a:ext cx="206" cy="138"/>
            </a:xfrm>
            <a:prstGeom prst="ellipse">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endParaRPr lang="de-DE">
                <a:latin typeface="Arial" panose="020B0604020202020204" pitchFamily="34" charset="0"/>
                <a:cs typeface="Arial" panose="020B0604020202020204" pitchFamily="34" charset="0"/>
              </a:endParaRPr>
            </a:p>
          </p:txBody>
        </p:sp>
        <p:sp>
          <p:nvSpPr>
            <p:cNvPr id="182" name="Line 103"/>
            <p:cNvSpPr>
              <a:spLocks noChangeShapeType="1"/>
            </p:cNvSpPr>
            <p:nvPr/>
          </p:nvSpPr>
          <p:spPr bwMode="gray">
            <a:xfrm>
              <a:off x="3425" y="3619"/>
              <a:ext cx="215" cy="0"/>
            </a:xfrm>
            <a:prstGeom prst="line">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endParaRPr lang="de-DE">
                <a:latin typeface="Arial" panose="020B0604020202020204" pitchFamily="34" charset="0"/>
                <a:cs typeface="Arial" panose="020B0604020202020204" pitchFamily="34" charset="0"/>
              </a:endParaRPr>
            </a:p>
          </p:txBody>
        </p:sp>
        <p:sp>
          <p:nvSpPr>
            <p:cNvPr id="183" name="Line 104"/>
            <p:cNvSpPr>
              <a:spLocks noChangeShapeType="1"/>
            </p:cNvSpPr>
            <p:nvPr/>
          </p:nvSpPr>
          <p:spPr bwMode="gray">
            <a:xfrm>
              <a:off x="3156" y="3629"/>
              <a:ext cx="215" cy="0"/>
            </a:xfrm>
            <a:prstGeom prst="line">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endParaRPr lang="de-DE">
                <a:latin typeface="Arial" panose="020B0604020202020204" pitchFamily="34" charset="0"/>
                <a:cs typeface="Arial" panose="020B0604020202020204" pitchFamily="34" charset="0"/>
              </a:endParaRPr>
            </a:p>
          </p:txBody>
        </p:sp>
      </p:grpSp>
      <p:sp>
        <p:nvSpPr>
          <p:cNvPr id="184" name="Text Box 103"/>
          <p:cNvSpPr txBox="1">
            <a:spLocks noChangeArrowheads="1"/>
          </p:cNvSpPr>
          <p:nvPr/>
        </p:nvSpPr>
        <p:spPr bwMode="gray">
          <a:xfrm>
            <a:off x="9836784" y="4668421"/>
            <a:ext cx="992579"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0"/>
              </a:spcBef>
              <a:buClrTx/>
              <a:buSzTx/>
              <a:buFontTx/>
              <a:buNone/>
            </a:pPr>
            <a:r>
              <a:rPr lang="de-DE" altLang="de-DE" sz="1200" b="0" dirty="0">
                <a:solidFill>
                  <a:schemeClr val="tx1"/>
                </a:solidFill>
                <a:latin typeface="+mn-lt"/>
              </a:rPr>
              <a:t>Calibration</a:t>
            </a:r>
            <a:br>
              <a:rPr lang="de-DE" altLang="de-DE" sz="1200" b="0" dirty="0">
                <a:solidFill>
                  <a:schemeClr val="tx1"/>
                </a:solidFill>
                <a:latin typeface="+mn-lt"/>
              </a:rPr>
            </a:br>
            <a:r>
              <a:rPr lang="de-DE" altLang="de-DE" sz="1200" b="0" dirty="0" err="1">
                <a:solidFill>
                  <a:schemeClr val="tx1"/>
                </a:solidFill>
                <a:latin typeface="+mn-lt"/>
              </a:rPr>
              <a:t>cells</a:t>
            </a:r>
            <a:endParaRPr lang="en-US" altLang="de-DE" sz="1200" b="0" dirty="0">
              <a:solidFill>
                <a:schemeClr val="tx1"/>
              </a:solidFill>
              <a:latin typeface="+mn-lt"/>
            </a:endParaRPr>
          </a:p>
        </p:txBody>
      </p:sp>
      <p:grpSp>
        <p:nvGrpSpPr>
          <p:cNvPr id="2" name="Group 1"/>
          <p:cNvGrpSpPr/>
          <p:nvPr/>
        </p:nvGrpSpPr>
        <p:grpSpPr bwMode="gray">
          <a:xfrm>
            <a:off x="4271795" y="1816571"/>
            <a:ext cx="3643200" cy="379065"/>
            <a:chOff x="2539994" y="1816571"/>
            <a:chExt cx="4511579" cy="379065"/>
          </a:xfrm>
        </p:grpSpPr>
        <p:cxnSp>
          <p:nvCxnSpPr>
            <p:cNvPr id="187" name="Straight Connector 186"/>
            <p:cNvCxnSpPr/>
            <p:nvPr/>
          </p:nvCxnSpPr>
          <p:spPr bwMode="gray">
            <a:xfrm>
              <a:off x="2539994" y="2186113"/>
              <a:ext cx="4504326"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88" name="Text Placeholder 7"/>
            <p:cNvSpPr txBox="1">
              <a:spLocks/>
            </p:cNvSpPr>
            <p:nvPr/>
          </p:nvSpPr>
          <p:spPr bwMode="gray">
            <a:xfrm>
              <a:off x="2539994" y="1816571"/>
              <a:ext cx="4511579"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lgn="ctr">
                <a:spcBef>
                  <a:spcPts val="600"/>
                </a:spcBef>
              </a:pPr>
              <a:r>
                <a:rPr lang="en-US" dirty="0"/>
                <a:t>Automated</a:t>
              </a:r>
            </a:p>
          </p:txBody>
        </p:sp>
      </p:grpSp>
      <p:grpSp>
        <p:nvGrpSpPr>
          <p:cNvPr id="190" name="Group 189"/>
          <p:cNvGrpSpPr/>
          <p:nvPr/>
        </p:nvGrpSpPr>
        <p:grpSpPr bwMode="gray">
          <a:xfrm>
            <a:off x="333264" y="1816571"/>
            <a:ext cx="3643200" cy="379065"/>
            <a:chOff x="2539994" y="1816571"/>
            <a:chExt cx="4511579" cy="379065"/>
          </a:xfrm>
        </p:grpSpPr>
        <p:cxnSp>
          <p:nvCxnSpPr>
            <p:cNvPr id="191" name="Straight Connector 190"/>
            <p:cNvCxnSpPr/>
            <p:nvPr/>
          </p:nvCxnSpPr>
          <p:spPr bwMode="gray">
            <a:xfrm>
              <a:off x="2539994" y="2186113"/>
              <a:ext cx="4504326"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2" name="Text Placeholder 7"/>
            <p:cNvSpPr txBox="1">
              <a:spLocks/>
            </p:cNvSpPr>
            <p:nvPr/>
          </p:nvSpPr>
          <p:spPr bwMode="gray">
            <a:xfrm>
              <a:off x="2539994" y="1816571"/>
              <a:ext cx="4511579"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lgn="ctr">
                <a:spcBef>
                  <a:spcPts val="600"/>
                </a:spcBef>
              </a:pPr>
              <a:r>
                <a:rPr lang="en-US" dirty="0"/>
                <a:t>Manual</a:t>
              </a:r>
            </a:p>
          </p:txBody>
        </p:sp>
      </p:grpSp>
      <p:grpSp>
        <p:nvGrpSpPr>
          <p:cNvPr id="193" name="Group 192"/>
          <p:cNvGrpSpPr/>
          <p:nvPr/>
        </p:nvGrpSpPr>
        <p:grpSpPr bwMode="gray">
          <a:xfrm>
            <a:off x="8210327" y="1816571"/>
            <a:ext cx="3643200" cy="379065"/>
            <a:chOff x="2539994" y="1816571"/>
            <a:chExt cx="4511579" cy="379065"/>
          </a:xfrm>
        </p:grpSpPr>
        <p:cxnSp>
          <p:nvCxnSpPr>
            <p:cNvPr id="194" name="Straight Connector 193"/>
            <p:cNvCxnSpPr/>
            <p:nvPr/>
          </p:nvCxnSpPr>
          <p:spPr bwMode="gray">
            <a:xfrm>
              <a:off x="2539994" y="2186113"/>
              <a:ext cx="4504326"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5" name="Text Placeholder 7"/>
            <p:cNvSpPr txBox="1">
              <a:spLocks/>
            </p:cNvSpPr>
            <p:nvPr/>
          </p:nvSpPr>
          <p:spPr bwMode="gray">
            <a:xfrm>
              <a:off x="2539994" y="1816571"/>
              <a:ext cx="4511579"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lgn="ctr">
                <a:spcBef>
                  <a:spcPts val="600"/>
                </a:spcBef>
              </a:pPr>
              <a:r>
                <a:rPr lang="en-US" dirty="0"/>
                <a:t>Automated with Calibration Cells</a:t>
              </a:r>
            </a:p>
          </p:txBody>
        </p:sp>
      </p:grpSp>
      <p:grpSp>
        <p:nvGrpSpPr>
          <p:cNvPr id="201" name="Group 200"/>
          <p:cNvGrpSpPr/>
          <p:nvPr/>
        </p:nvGrpSpPr>
        <p:grpSpPr bwMode="gray">
          <a:xfrm>
            <a:off x="-1686474" y="4138745"/>
            <a:ext cx="984480" cy="1158581"/>
            <a:chOff x="291855" y="4032662"/>
            <a:chExt cx="984480" cy="1158581"/>
          </a:xfrm>
        </p:grpSpPr>
        <p:sp>
          <p:nvSpPr>
            <p:cNvPr id="202" name="Text Box 111"/>
            <p:cNvSpPr txBox="1">
              <a:spLocks noChangeArrowheads="1"/>
            </p:cNvSpPr>
            <p:nvPr/>
          </p:nvSpPr>
          <p:spPr bwMode="gray">
            <a:xfrm>
              <a:off x="291855" y="4032662"/>
              <a:ext cx="56618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0"/>
                </a:spcBef>
                <a:buClrTx/>
                <a:buSzTx/>
                <a:buFontTx/>
                <a:buNone/>
              </a:pPr>
              <a:r>
                <a:rPr lang="de-DE" altLang="de-DE" sz="1200" b="0" dirty="0">
                  <a:solidFill>
                    <a:schemeClr val="tx1"/>
                  </a:solidFill>
                  <a:latin typeface="+mn-lt"/>
                </a:rPr>
                <a:t>Test</a:t>
              </a:r>
            </a:p>
            <a:p>
              <a:pPr algn="ctr">
                <a:spcBef>
                  <a:spcPct val="0"/>
                </a:spcBef>
                <a:buClrTx/>
                <a:buSzTx/>
                <a:buFontTx/>
                <a:buNone/>
              </a:pPr>
              <a:r>
                <a:rPr lang="de-DE" altLang="de-DE" sz="1200" b="0" dirty="0">
                  <a:solidFill>
                    <a:schemeClr val="tx1"/>
                  </a:solidFill>
                  <a:latin typeface="+mn-lt"/>
                </a:rPr>
                <a:t>gas 2</a:t>
              </a:r>
              <a:endParaRPr lang="en-US" altLang="de-DE" sz="1200" b="0" dirty="0">
                <a:solidFill>
                  <a:schemeClr val="tx1"/>
                </a:solidFill>
                <a:latin typeface="+mn-lt"/>
              </a:endParaRPr>
            </a:p>
          </p:txBody>
        </p:sp>
        <p:grpSp>
          <p:nvGrpSpPr>
            <p:cNvPr id="203" name="Group 202"/>
            <p:cNvGrpSpPr/>
            <p:nvPr/>
          </p:nvGrpSpPr>
          <p:grpSpPr bwMode="gray">
            <a:xfrm>
              <a:off x="647685" y="4278206"/>
              <a:ext cx="628650" cy="913037"/>
              <a:chOff x="1874144" y="4298775"/>
              <a:chExt cx="628650" cy="913037"/>
            </a:xfrm>
          </p:grpSpPr>
          <p:grpSp>
            <p:nvGrpSpPr>
              <p:cNvPr id="204" name="Group 112"/>
              <p:cNvGrpSpPr>
                <a:grpSpLocks/>
              </p:cNvGrpSpPr>
              <p:nvPr/>
            </p:nvGrpSpPr>
            <p:grpSpPr bwMode="gray">
              <a:xfrm rot="1027960">
                <a:off x="1982083" y="4298775"/>
                <a:ext cx="265115" cy="768352"/>
                <a:chOff x="1170" y="3202"/>
                <a:chExt cx="167" cy="484"/>
              </a:xfrm>
            </p:grpSpPr>
            <p:sp>
              <p:nvSpPr>
                <p:cNvPr id="209" name="Freeform 113"/>
                <p:cNvSpPr>
                  <a:spLocks noChangeAspect="1"/>
                </p:cNvSpPr>
                <p:nvPr/>
              </p:nvSpPr>
              <p:spPr bwMode="gray">
                <a:xfrm>
                  <a:off x="1170" y="3395"/>
                  <a:ext cx="122" cy="291"/>
                </a:xfrm>
                <a:custGeom>
                  <a:avLst/>
                  <a:gdLst>
                    <a:gd name="T0" fmla="*/ 0 w 156"/>
                    <a:gd name="T1" fmla="*/ 0 h 404"/>
                    <a:gd name="T2" fmla="*/ 0 w 156"/>
                    <a:gd name="T3" fmla="*/ 22 h 404"/>
                    <a:gd name="T4" fmla="*/ 16 w 156"/>
                    <a:gd name="T5" fmla="*/ 22 h 404"/>
                    <a:gd name="T6" fmla="*/ 16 w 156"/>
                    <a:gd name="T7" fmla="*/ 0 h 40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6" h="404">
                      <a:moveTo>
                        <a:pt x="0" y="0"/>
                      </a:moveTo>
                      <a:lnTo>
                        <a:pt x="0" y="403"/>
                      </a:lnTo>
                      <a:lnTo>
                        <a:pt x="155" y="403"/>
                      </a:lnTo>
                      <a:lnTo>
                        <a:pt x="155" y="0"/>
                      </a:lnTo>
                    </a:path>
                  </a:pathLst>
                </a:custGeom>
                <a:solidFill>
                  <a:schemeClr val="bg1"/>
                </a:solidFill>
                <a:ln w="1905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10" name="Arc 114"/>
                <p:cNvSpPr>
                  <a:spLocks noChangeAspect="1"/>
                </p:cNvSpPr>
                <p:nvPr/>
              </p:nvSpPr>
              <p:spPr bwMode="gray">
                <a:xfrm>
                  <a:off x="1229" y="3342"/>
                  <a:ext cx="61" cy="55"/>
                </a:xfrm>
                <a:custGeom>
                  <a:avLst/>
                  <a:gdLst>
                    <a:gd name="T0" fmla="*/ 0 w 21882"/>
                    <a:gd name="T1" fmla="*/ 0 h 21600"/>
                    <a:gd name="T2" fmla="*/ 0 w 21882"/>
                    <a:gd name="T3" fmla="*/ 0 h 21600"/>
                    <a:gd name="T4" fmla="*/ 0 w 21882"/>
                    <a:gd name="T5" fmla="*/ 0 h 21600"/>
                    <a:gd name="T6" fmla="*/ 0 60000 65536"/>
                    <a:gd name="T7" fmla="*/ 0 60000 65536"/>
                    <a:gd name="T8" fmla="*/ 0 60000 65536"/>
                  </a:gdLst>
                  <a:ahLst/>
                  <a:cxnLst>
                    <a:cxn ang="T6">
                      <a:pos x="T0" y="T1"/>
                    </a:cxn>
                    <a:cxn ang="T7">
                      <a:pos x="T2" y="T3"/>
                    </a:cxn>
                    <a:cxn ang="T8">
                      <a:pos x="T4" y="T5"/>
                    </a:cxn>
                  </a:cxnLst>
                  <a:rect l="0" t="0" r="r" b="b"/>
                  <a:pathLst>
                    <a:path w="21882" h="21600" fill="none" extrusionOk="0">
                      <a:moveTo>
                        <a:pt x="-1" y="1"/>
                      </a:moveTo>
                      <a:cubicBezTo>
                        <a:pt x="93" y="0"/>
                        <a:pt x="187" y="-1"/>
                        <a:pt x="282" y="0"/>
                      </a:cubicBezTo>
                      <a:cubicBezTo>
                        <a:pt x="12211" y="0"/>
                        <a:pt x="21882" y="9670"/>
                        <a:pt x="21882" y="21600"/>
                      </a:cubicBezTo>
                    </a:path>
                    <a:path w="21882" h="21600" stroke="0" extrusionOk="0">
                      <a:moveTo>
                        <a:pt x="-1" y="1"/>
                      </a:moveTo>
                      <a:cubicBezTo>
                        <a:pt x="93" y="0"/>
                        <a:pt x="187" y="-1"/>
                        <a:pt x="282" y="0"/>
                      </a:cubicBezTo>
                      <a:cubicBezTo>
                        <a:pt x="12211" y="0"/>
                        <a:pt x="21882" y="9670"/>
                        <a:pt x="21882" y="21600"/>
                      </a:cubicBezTo>
                      <a:lnTo>
                        <a:pt x="282" y="21600"/>
                      </a:lnTo>
                      <a:lnTo>
                        <a:pt x="-1" y="1"/>
                      </a:lnTo>
                      <a:close/>
                    </a:path>
                  </a:pathLst>
                </a:custGeom>
                <a:solidFill>
                  <a:schemeClr val="bg1"/>
                </a:solidFill>
                <a:ln w="19050" cap="rnd">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11" name="Arc 115"/>
                <p:cNvSpPr>
                  <a:spLocks noChangeAspect="1"/>
                </p:cNvSpPr>
                <p:nvPr/>
              </p:nvSpPr>
              <p:spPr bwMode="gray">
                <a:xfrm>
                  <a:off x="1170" y="3342"/>
                  <a:ext cx="60" cy="55"/>
                </a:xfrm>
                <a:custGeom>
                  <a:avLst/>
                  <a:gdLst>
                    <a:gd name="T0" fmla="*/ 0 w 21600"/>
                    <a:gd name="T1" fmla="*/ 0 h 21598"/>
                    <a:gd name="T2" fmla="*/ 0 w 21600"/>
                    <a:gd name="T3" fmla="*/ 0 h 21598"/>
                    <a:gd name="T4" fmla="*/ 0 w 21600"/>
                    <a:gd name="T5" fmla="*/ 0 h 21598"/>
                    <a:gd name="T6" fmla="*/ 0 60000 65536"/>
                    <a:gd name="T7" fmla="*/ 0 60000 65536"/>
                    <a:gd name="T8" fmla="*/ 0 60000 65536"/>
                  </a:gdLst>
                  <a:ahLst/>
                  <a:cxnLst>
                    <a:cxn ang="T6">
                      <a:pos x="T0" y="T1"/>
                    </a:cxn>
                    <a:cxn ang="T7">
                      <a:pos x="T2" y="T3"/>
                    </a:cxn>
                    <a:cxn ang="T8">
                      <a:pos x="T4" y="T5"/>
                    </a:cxn>
                  </a:cxnLst>
                  <a:rect l="0" t="0" r="r" b="b"/>
                  <a:pathLst>
                    <a:path w="21600" h="21598" fill="none" extrusionOk="0">
                      <a:moveTo>
                        <a:pt x="0" y="21598"/>
                      </a:moveTo>
                      <a:cubicBezTo>
                        <a:pt x="0" y="9778"/>
                        <a:pt x="9499" y="154"/>
                        <a:pt x="21317" y="-1"/>
                      </a:cubicBezTo>
                    </a:path>
                    <a:path w="21600" h="21598" stroke="0" extrusionOk="0">
                      <a:moveTo>
                        <a:pt x="0" y="21598"/>
                      </a:moveTo>
                      <a:cubicBezTo>
                        <a:pt x="0" y="9778"/>
                        <a:pt x="9499" y="154"/>
                        <a:pt x="21317" y="-1"/>
                      </a:cubicBezTo>
                      <a:lnTo>
                        <a:pt x="21600" y="21598"/>
                      </a:lnTo>
                      <a:lnTo>
                        <a:pt x="0" y="21598"/>
                      </a:lnTo>
                      <a:close/>
                    </a:path>
                  </a:pathLst>
                </a:custGeom>
                <a:solidFill>
                  <a:schemeClr val="bg1"/>
                </a:solidFill>
                <a:ln w="19050" cap="rnd">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12" name="Line 116"/>
                <p:cNvSpPr>
                  <a:spLocks noChangeAspect="1" noChangeShapeType="1"/>
                </p:cNvSpPr>
                <p:nvPr/>
              </p:nvSpPr>
              <p:spPr bwMode="gray">
                <a:xfrm flipV="1">
                  <a:off x="1229" y="3299"/>
                  <a:ext cx="0" cy="47"/>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grpSp>
              <p:nvGrpSpPr>
                <p:cNvPr id="213" name="Group 117"/>
                <p:cNvGrpSpPr>
                  <a:grpSpLocks noChangeAspect="1"/>
                </p:cNvGrpSpPr>
                <p:nvPr/>
              </p:nvGrpSpPr>
              <p:grpSpPr bwMode="gray">
                <a:xfrm>
                  <a:off x="1196" y="3202"/>
                  <a:ext cx="141" cy="93"/>
                  <a:chOff x="4913" y="3063"/>
                  <a:chExt cx="179" cy="128"/>
                </a:xfrm>
              </p:grpSpPr>
              <p:grpSp>
                <p:nvGrpSpPr>
                  <p:cNvPr id="214" name="Group 118"/>
                  <p:cNvGrpSpPr>
                    <a:grpSpLocks noChangeAspect="1"/>
                  </p:cNvGrpSpPr>
                  <p:nvPr/>
                </p:nvGrpSpPr>
                <p:grpSpPr bwMode="gray">
                  <a:xfrm>
                    <a:off x="5007" y="3084"/>
                    <a:ext cx="85" cy="89"/>
                    <a:chOff x="5007" y="3084"/>
                    <a:chExt cx="85" cy="89"/>
                  </a:xfrm>
                </p:grpSpPr>
                <p:sp>
                  <p:nvSpPr>
                    <p:cNvPr id="219" name="Line 119"/>
                    <p:cNvSpPr>
                      <a:spLocks noChangeAspect="1" noChangeShapeType="1"/>
                    </p:cNvSpPr>
                    <p:nvPr/>
                  </p:nvSpPr>
                  <p:spPr bwMode="gray">
                    <a:xfrm flipV="1">
                      <a:off x="5007" y="3114"/>
                      <a:ext cx="58" cy="59"/>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20" name="Oval 120"/>
                    <p:cNvSpPr>
                      <a:spLocks noChangeArrowheads="1"/>
                    </p:cNvSpPr>
                    <p:nvPr/>
                  </p:nvSpPr>
                  <p:spPr bwMode="gray">
                    <a:xfrm rot="19320000">
                      <a:off x="5053" y="3084"/>
                      <a:ext cx="39" cy="41"/>
                    </a:xfrm>
                    <a:prstGeom prst="ellipse">
                      <a:avLst/>
                    </a:prstGeom>
                    <a:solidFill>
                      <a:schemeClr val="bg1"/>
                    </a:solidFill>
                    <a:ln w="1905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grpSp>
              <p:sp>
                <p:nvSpPr>
                  <p:cNvPr id="215" name="AutoShape 121"/>
                  <p:cNvSpPr>
                    <a:spLocks noChangeAspect="1" noChangeArrowheads="1"/>
                  </p:cNvSpPr>
                  <p:nvPr/>
                </p:nvSpPr>
                <p:spPr bwMode="gray">
                  <a:xfrm>
                    <a:off x="4932" y="3151"/>
                    <a:ext cx="46" cy="40"/>
                  </a:xfrm>
                  <a:prstGeom prst="triangle">
                    <a:avLst>
                      <a:gd name="adj" fmla="val 49995"/>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16" name="AutoShape 122"/>
                  <p:cNvSpPr>
                    <a:spLocks noChangeAspect="1" noChangeArrowheads="1"/>
                  </p:cNvSpPr>
                  <p:nvPr/>
                </p:nvSpPr>
                <p:spPr bwMode="gray">
                  <a:xfrm rot="10800000">
                    <a:off x="4913" y="3063"/>
                    <a:ext cx="79" cy="78"/>
                  </a:xfrm>
                  <a:prstGeom prst="triangle">
                    <a:avLst>
                      <a:gd name="adj" fmla="val 46148"/>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17" name="Line 123"/>
                  <p:cNvSpPr>
                    <a:spLocks noChangeAspect="1" noChangeShapeType="1"/>
                  </p:cNvSpPr>
                  <p:nvPr/>
                </p:nvSpPr>
                <p:spPr bwMode="gray">
                  <a:xfrm>
                    <a:off x="4959" y="3156"/>
                    <a:ext cx="28"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18" name="Oval 124"/>
                  <p:cNvSpPr>
                    <a:spLocks noChangeArrowheads="1"/>
                  </p:cNvSpPr>
                  <p:nvPr/>
                </p:nvSpPr>
                <p:spPr bwMode="gray">
                  <a:xfrm>
                    <a:off x="4999" y="3132"/>
                    <a:ext cx="52" cy="56"/>
                  </a:xfrm>
                  <a:prstGeom prst="ellipse">
                    <a:avLst/>
                  </a:prstGeom>
                  <a:solidFill>
                    <a:schemeClr val="bg1"/>
                  </a:solidFill>
                  <a:ln w="1905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grpSp>
          </p:grpSp>
          <p:sp>
            <p:nvSpPr>
              <p:cNvPr id="205" name="Freeform 204"/>
              <p:cNvSpPr/>
              <p:nvPr/>
            </p:nvSpPr>
            <p:spPr bwMode="gray">
              <a:xfrm rot="21281176">
                <a:off x="1874144" y="4502829"/>
                <a:ext cx="628650" cy="636529"/>
              </a:xfrm>
              <a:custGeom>
                <a:avLst/>
                <a:gdLst>
                  <a:gd name="connsiteX0" fmla="*/ 0 w 628650"/>
                  <a:gd name="connsiteY0" fmla="*/ 526740 h 636529"/>
                  <a:gd name="connsiteX1" fmla="*/ 175260 w 628650"/>
                  <a:gd name="connsiteY1" fmla="*/ 602940 h 636529"/>
                  <a:gd name="connsiteX2" fmla="*/ 426720 w 628650"/>
                  <a:gd name="connsiteY2" fmla="*/ 46680 h 636529"/>
                  <a:gd name="connsiteX3" fmla="*/ 628650 w 628650"/>
                  <a:gd name="connsiteY3" fmla="*/ 31440 h 636529"/>
                  <a:gd name="connsiteX4" fmla="*/ 628650 w 628650"/>
                  <a:gd name="connsiteY4" fmla="*/ 31440 h 6365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8650" h="636529">
                    <a:moveTo>
                      <a:pt x="0" y="526740"/>
                    </a:moveTo>
                    <a:cubicBezTo>
                      <a:pt x="52070" y="604845"/>
                      <a:pt x="104140" y="682950"/>
                      <a:pt x="175260" y="602940"/>
                    </a:cubicBezTo>
                    <a:cubicBezTo>
                      <a:pt x="246380" y="522930"/>
                      <a:pt x="351155" y="141930"/>
                      <a:pt x="426720" y="46680"/>
                    </a:cubicBezTo>
                    <a:cubicBezTo>
                      <a:pt x="502285" y="-48570"/>
                      <a:pt x="628650" y="31440"/>
                      <a:pt x="628650" y="31440"/>
                    </a:cubicBezTo>
                    <a:lnTo>
                      <a:pt x="628650" y="3144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06" name="Group 205"/>
              <p:cNvGrpSpPr/>
              <p:nvPr/>
            </p:nvGrpSpPr>
            <p:grpSpPr bwMode="gray">
              <a:xfrm>
                <a:off x="2017713" y="5107412"/>
                <a:ext cx="103981" cy="104400"/>
                <a:chOff x="2017713" y="4908428"/>
                <a:chExt cx="295276" cy="315781"/>
              </a:xfrm>
            </p:grpSpPr>
            <p:sp>
              <p:nvSpPr>
                <p:cNvPr id="207" name="Oval 206"/>
                <p:cNvSpPr/>
                <p:nvPr/>
              </p:nvSpPr>
              <p:spPr bwMode="gray">
                <a:xfrm>
                  <a:off x="2017713" y="4908428"/>
                  <a:ext cx="295276" cy="315781"/>
                </a:xfrm>
                <a:prstGeom prst="ellipse">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endParaRPr lang="de-DE" dirty="0" err="1">
                    <a:solidFill>
                      <a:schemeClr val="tx1"/>
                    </a:solidFill>
                    <a:latin typeface="Arial" panose="020B0604020202020204" pitchFamily="34" charset="0"/>
                    <a:cs typeface="Arial" panose="020B0604020202020204" pitchFamily="34" charset="0"/>
                  </a:endParaRPr>
                </a:p>
              </p:txBody>
            </p:sp>
            <p:sp>
              <p:nvSpPr>
                <p:cNvPr id="208" name="Oval 207"/>
                <p:cNvSpPr/>
                <p:nvPr/>
              </p:nvSpPr>
              <p:spPr bwMode="gray">
                <a:xfrm>
                  <a:off x="2116933" y="5011874"/>
                  <a:ext cx="96837" cy="108890"/>
                </a:xfrm>
                <a:prstGeom prst="ellipse">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spcBef>
                      <a:spcPct val="0"/>
                    </a:spcBef>
                  </a:pPr>
                  <a:endParaRPr lang="de-DE" dirty="0" err="1">
                    <a:solidFill>
                      <a:schemeClr val="tx1"/>
                    </a:solidFill>
                    <a:latin typeface="Arial" panose="020B0604020202020204" pitchFamily="34" charset="0"/>
                    <a:cs typeface="Arial" panose="020B0604020202020204" pitchFamily="34" charset="0"/>
                  </a:endParaRPr>
                </a:p>
              </p:txBody>
            </p:sp>
          </p:grpSp>
        </p:grpSp>
      </p:grpSp>
      <p:grpSp>
        <p:nvGrpSpPr>
          <p:cNvPr id="321" name="Group 320"/>
          <p:cNvGrpSpPr/>
          <p:nvPr/>
        </p:nvGrpSpPr>
        <p:grpSpPr bwMode="gray">
          <a:xfrm>
            <a:off x="4667100" y="2456584"/>
            <a:ext cx="2857801" cy="2815927"/>
            <a:chOff x="4726228" y="6201308"/>
            <a:chExt cx="2857801" cy="2815927"/>
          </a:xfrm>
        </p:grpSpPr>
        <p:sp>
          <p:nvSpPr>
            <p:cNvPr id="344" name="Line 28"/>
            <p:cNvSpPr>
              <a:spLocks noChangeShapeType="1"/>
            </p:cNvSpPr>
            <p:nvPr/>
          </p:nvSpPr>
          <p:spPr bwMode="gray">
            <a:xfrm>
              <a:off x="6137817" y="7713784"/>
              <a:ext cx="0" cy="384586"/>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45" name="Line 28"/>
            <p:cNvSpPr>
              <a:spLocks noChangeShapeType="1"/>
            </p:cNvSpPr>
            <p:nvPr/>
          </p:nvSpPr>
          <p:spPr bwMode="gray">
            <a:xfrm>
              <a:off x="6137817" y="7137720"/>
              <a:ext cx="0" cy="36375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17" name="Line 51"/>
            <p:cNvSpPr>
              <a:spLocks noChangeShapeType="1"/>
            </p:cNvSpPr>
            <p:nvPr/>
          </p:nvSpPr>
          <p:spPr bwMode="gray">
            <a:xfrm flipH="1">
              <a:off x="6140993" y="8206638"/>
              <a:ext cx="73023"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48" name="Line 51"/>
            <p:cNvSpPr>
              <a:spLocks noChangeShapeType="1"/>
            </p:cNvSpPr>
            <p:nvPr/>
          </p:nvSpPr>
          <p:spPr bwMode="gray">
            <a:xfrm flipH="1">
              <a:off x="6140993" y="7607833"/>
              <a:ext cx="73023"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43" name="Line 28"/>
            <p:cNvSpPr>
              <a:spLocks noChangeShapeType="1"/>
            </p:cNvSpPr>
            <p:nvPr/>
          </p:nvSpPr>
          <p:spPr bwMode="gray">
            <a:xfrm>
              <a:off x="6137817" y="8317138"/>
              <a:ext cx="0" cy="238431"/>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nvGrpSpPr>
            <p:cNvPr id="244" name="Group 29"/>
            <p:cNvGrpSpPr>
              <a:grpSpLocks/>
            </p:cNvGrpSpPr>
            <p:nvPr/>
          </p:nvGrpSpPr>
          <p:grpSpPr bwMode="gray">
            <a:xfrm>
              <a:off x="6518817" y="6650570"/>
              <a:ext cx="338137" cy="787400"/>
              <a:chOff x="1947" y="1755"/>
              <a:chExt cx="213" cy="496"/>
            </a:xfrm>
          </p:grpSpPr>
          <p:sp>
            <p:nvSpPr>
              <p:cNvPr id="304" name="Rectangle 30"/>
              <p:cNvSpPr>
                <a:spLocks noChangeAspect="1" noChangeArrowheads="1"/>
              </p:cNvSpPr>
              <p:nvPr/>
            </p:nvSpPr>
            <p:spPr bwMode="gray">
              <a:xfrm>
                <a:off x="1947" y="1878"/>
                <a:ext cx="213" cy="238"/>
              </a:xfrm>
              <a:prstGeom prst="rect">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305" name="Text Box 31"/>
              <p:cNvSpPr txBox="1">
                <a:spLocks noChangeArrowheads="1"/>
              </p:cNvSpPr>
              <p:nvPr/>
            </p:nvSpPr>
            <p:spPr bwMode="gray">
              <a:xfrm rot="16200000">
                <a:off x="1800" y="1926"/>
                <a:ext cx="496" cy="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50000"/>
                  </a:spcBef>
                  <a:buClrTx/>
                  <a:buSzTx/>
                  <a:buFontTx/>
                  <a:buNone/>
                </a:pPr>
                <a:r>
                  <a:rPr lang="de-DE" altLang="de-DE" sz="1000" b="0">
                    <a:solidFill>
                      <a:schemeClr val="tx1"/>
                    </a:solidFill>
                  </a:rPr>
                  <a:t> </a:t>
                </a:r>
              </a:p>
            </p:txBody>
          </p:sp>
        </p:grpSp>
        <p:grpSp>
          <p:nvGrpSpPr>
            <p:cNvPr id="245" name="Group 32"/>
            <p:cNvGrpSpPr>
              <a:grpSpLocks/>
            </p:cNvGrpSpPr>
            <p:nvPr/>
          </p:nvGrpSpPr>
          <p:grpSpPr bwMode="gray">
            <a:xfrm>
              <a:off x="6942679" y="6648983"/>
              <a:ext cx="338137" cy="574675"/>
              <a:chOff x="1947" y="1754"/>
              <a:chExt cx="213" cy="362"/>
            </a:xfrm>
          </p:grpSpPr>
          <p:sp>
            <p:nvSpPr>
              <p:cNvPr id="302" name="Rectangle 33"/>
              <p:cNvSpPr>
                <a:spLocks noChangeAspect="1" noChangeArrowheads="1"/>
              </p:cNvSpPr>
              <p:nvPr/>
            </p:nvSpPr>
            <p:spPr bwMode="gray">
              <a:xfrm>
                <a:off x="1947" y="1878"/>
                <a:ext cx="213" cy="238"/>
              </a:xfrm>
              <a:prstGeom prst="rect">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303" name="Text Box 34"/>
              <p:cNvSpPr txBox="1">
                <a:spLocks noChangeArrowheads="1"/>
              </p:cNvSpPr>
              <p:nvPr/>
            </p:nvSpPr>
            <p:spPr bwMode="gray">
              <a:xfrm rot="16200000">
                <a:off x="1942" y="1783"/>
                <a:ext cx="212" cy="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50000"/>
                  </a:spcBef>
                  <a:buClrTx/>
                  <a:buSzTx/>
                  <a:buFontTx/>
                  <a:buNone/>
                </a:pPr>
                <a:endParaRPr lang="de-DE" altLang="de-DE" sz="1000" b="0">
                  <a:solidFill>
                    <a:schemeClr val="tx1"/>
                  </a:solidFill>
                </a:endParaRPr>
              </a:p>
            </p:txBody>
          </p:sp>
        </p:grpSp>
        <p:grpSp>
          <p:nvGrpSpPr>
            <p:cNvPr id="246" name="Group 35"/>
            <p:cNvGrpSpPr>
              <a:grpSpLocks/>
            </p:cNvGrpSpPr>
            <p:nvPr/>
          </p:nvGrpSpPr>
          <p:grpSpPr bwMode="gray">
            <a:xfrm>
              <a:off x="6025105" y="7501470"/>
              <a:ext cx="341312" cy="214313"/>
              <a:chOff x="1465" y="2792"/>
              <a:chExt cx="215" cy="135"/>
            </a:xfrm>
          </p:grpSpPr>
          <p:grpSp>
            <p:nvGrpSpPr>
              <p:cNvPr id="296" name="Group 37"/>
              <p:cNvGrpSpPr>
                <a:grpSpLocks/>
              </p:cNvGrpSpPr>
              <p:nvPr/>
            </p:nvGrpSpPr>
            <p:grpSpPr bwMode="gray">
              <a:xfrm>
                <a:off x="1465" y="2792"/>
                <a:ext cx="106" cy="135"/>
                <a:chOff x="1465" y="2792"/>
                <a:chExt cx="106" cy="135"/>
              </a:xfrm>
            </p:grpSpPr>
            <p:sp>
              <p:nvSpPr>
                <p:cNvPr id="299" name="AutoShape 38"/>
                <p:cNvSpPr>
                  <a:spLocks noChangeAspect="1" noChangeArrowheads="1"/>
                </p:cNvSpPr>
                <p:nvPr/>
              </p:nvSpPr>
              <p:spPr bwMode="gray">
                <a:xfrm flipV="1">
                  <a:off x="1501" y="2792"/>
                  <a:ext cx="70" cy="66"/>
                </a:xfrm>
                <a:prstGeom prst="triangle">
                  <a:avLst>
                    <a:gd name="adj" fmla="val 50000"/>
                  </a:avLst>
                </a:prstGeom>
                <a:solidFill>
                  <a:schemeClr val="bg1"/>
                </a:solidFill>
                <a:ln w="12700">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300" name="AutoShape 39"/>
                <p:cNvSpPr>
                  <a:spLocks noChangeAspect="1" noChangeArrowheads="1"/>
                </p:cNvSpPr>
                <p:nvPr/>
              </p:nvSpPr>
              <p:spPr bwMode="gray">
                <a:xfrm>
                  <a:off x="1501" y="2861"/>
                  <a:ext cx="70" cy="66"/>
                </a:xfrm>
                <a:prstGeom prst="triangle">
                  <a:avLst>
                    <a:gd name="adj" fmla="val 50000"/>
                  </a:avLst>
                </a:prstGeom>
                <a:solidFill>
                  <a:schemeClr val="bg1"/>
                </a:solidFill>
                <a:ln w="12700">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301" name="AutoShape 40"/>
                <p:cNvSpPr>
                  <a:spLocks noChangeAspect="1" noChangeArrowheads="1"/>
                </p:cNvSpPr>
                <p:nvPr/>
              </p:nvSpPr>
              <p:spPr bwMode="gray">
                <a:xfrm rot="5400000">
                  <a:off x="1462" y="2827"/>
                  <a:ext cx="71" cy="66"/>
                </a:xfrm>
                <a:prstGeom prst="triangle">
                  <a:avLst>
                    <a:gd name="adj" fmla="val 50000"/>
                  </a:avLst>
                </a:prstGeom>
                <a:solidFill>
                  <a:schemeClr val="tx1"/>
                </a:solidFill>
                <a:ln w="9525">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grpSp>
          <p:sp>
            <p:nvSpPr>
              <p:cNvPr id="297" name="Rectangle 41"/>
              <p:cNvSpPr>
                <a:spLocks noChangeArrowheads="1"/>
              </p:cNvSpPr>
              <p:nvPr/>
            </p:nvSpPr>
            <p:spPr bwMode="gray">
              <a:xfrm rot="5400000">
                <a:off x="1608" y="2810"/>
                <a:ext cx="48" cy="96"/>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98" name="Line 42"/>
              <p:cNvSpPr>
                <a:spLocks noChangeShapeType="1"/>
              </p:cNvSpPr>
              <p:nvPr/>
            </p:nvSpPr>
            <p:spPr bwMode="gray">
              <a:xfrm rot="5400000" flipV="1">
                <a:off x="1608" y="2810"/>
                <a:ext cx="48" cy="9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grpSp>
          <p:nvGrpSpPr>
            <p:cNvPr id="247" name="Group 43"/>
            <p:cNvGrpSpPr>
              <a:grpSpLocks/>
            </p:cNvGrpSpPr>
            <p:nvPr/>
          </p:nvGrpSpPr>
          <p:grpSpPr bwMode="gray">
            <a:xfrm rot="16200000">
              <a:off x="5963670" y="6858054"/>
              <a:ext cx="342901" cy="214312"/>
              <a:chOff x="1465" y="2792"/>
              <a:chExt cx="216" cy="135"/>
            </a:xfrm>
          </p:grpSpPr>
          <p:sp>
            <p:nvSpPr>
              <p:cNvPr id="288" name="Line 44"/>
              <p:cNvSpPr>
                <a:spLocks noChangeShapeType="1"/>
              </p:cNvSpPr>
              <p:nvPr/>
            </p:nvSpPr>
            <p:spPr bwMode="gray">
              <a:xfrm rot="5400000" flipV="1">
                <a:off x="1570" y="2825"/>
                <a:ext cx="0" cy="71"/>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nvGrpSpPr>
              <p:cNvPr id="289" name="Group 45"/>
              <p:cNvGrpSpPr>
                <a:grpSpLocks/>
              </p:cNvGrpSpPr>
              <p:nvPr/>
            </p:nvGrpSpPr>
            <p:grpSpPr bwMode="gray">
              <a:xfrm>
                <a:off x="1465" y="2792"/>
                <a:ext cx="104" cy="135"/>
                <a:chOff x="1465" y="2792"/>
                <a:chExt cx="104" cy="135"/>
              </a:xfrm>
            </p:grpSpPr>
            <p:sp>
              <p:nvSpPr>
                <p:cNvPr id="292" name="AutoShape 46"/>
                <p:cNvSpPr>
                  <a:spLocks noChangeAspect="1" noChangeArrowheads="1"/>
                </p:cNvSpPr>
                <p:nvPr/>
              </p:nvSpPr>
              <p:spPr bwMode="gray">
                <a:xfrm flipV="1">
                  <a:off x="1499" y="2792"/>
                  <a:ext cx="70" cy="66"/>
                </a:xfrm>
                <a:prstGeom prst="triangle">
                  <a:avLst>
                    <a:gd name="adj" fmla="val 50000"/>
                  </a:avLst>
                </a:prstGeom>
                <a:solidFill>
                  <a:schemeClr val="bg1"/>
                </a:solidFill>
                <a:ln w="12700">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93" name="AutoShape 47"/>
                <p:cNvSpPr>
                  <a:spLocks noChangeAspect="1" noChangeArrowheads="1"/>
                </p:cNvSpPr>
                <p:nvPr/>
              </p:nvSpPr>
              <p:spPr bwMode="gray">
                <a:xfrm>
                  <a:off x="1499" y="2861"/>
                  <a:ext cx="70" cy="66"/>
                </a:xfrm>
                <a:prstGeom prst="triangle">
                  <a:avLst>
                    <a:gd name="adj" fmla="val 50000"/>
                  </a:avLst>
                </a:prstGeom>
                <a:solidFill>
                  <a:schemeClr val="bg1"/>
                </a:solidFill>
                <a:ln w="12700">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94" name="AutoShape 48"/>
                <p:cNvSpPr>
                  <a:spLocks noChangeAspect="1" noChangeArrowheads="1"/>
                </p:cNvSpPr>
                <p:nvPr/>
              </p:nvSpPr>
              <p:spPr bwMode="gray">
                <a:xfrm rot="5400000">
                  <a:off x="1462" y="2827"/>
                  <a:ext cx="71" cy="66"/>
                </a:xfrm>
                <a:prstGeom prst="triangle">
                  <a:avLst>
                    <a:gd name="adj" fmla="val 50000"/>
                  </a:avLst>
                </a:prstGeom>
                <a:solidFill>
                  <a:schemeClr val="tx1"/>
                </a:solidFill>
                <a:ln w="12700">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grpSp>
          <p:sp>
            <p:nvSpPr>
              <p:cNvPr id="290" name="Rectangle 49"/>
              <p:cNvSpPr>
                <a:spLocks noChangeArrowheads="1"/>
              </p:cNvSpPr>
              <p:nvPr/>
            </p:nvSpPr>
            <p:spPr bwMode="gray">
              <a:xfrm rot="5400000">
                <a:off x="1608" y="2812"/>
                <a:ext cx="48" cy="96"/>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91" name="Line 50"/>
              <p:cNvSpPr>
                <a:spLocks noChangeShapeType="1"/>
              </p:cNvSpPr>
              <p:nvPr/>
            </p:nvSpPr>
            <p:spPr bwMode="gray">
              <a:xfrm rot="5400000" flipV="1">
                <a:off x="1609" y="2813"/>
                <a:ext cx="48" cy="96"/>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sp>
          <p:nvSpPr>
            <p:cNvPr id="249" name="Text Box 52"/>
            <p:cNvSpPr txBox="1">
              <a:spLocks noChangeArrowheads="1"/>
            </p:cNvSpPr>
            <p:nvPr/>
          </p:nvSpPr>
          <p:spPr bwMode="gray">
            <a:xfrm>
              <a:off x="4726228" y="7818335"/>
              <a:ext cx="554960"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0"/>
                </a:spcBef>
                <a:buClrTx/>
                <a:buSzTx/>
                <a:buFontTx/>
                <a:buNone/>
              </a:pPr>
              <a:r>
                <a:rPr lang="de-DE" altLang="de-DE" sz="1200" b="0" dirty="0">
                  <a:solidFill>
                    <a:schemeClr val="tx1"/>
                  </a:solidFill>
                </a:rPr>
                <a:t>Test</a:t>
              </a:r>
              <a:endParaRPr lang="de-DE" altLang="de-DE" sz="1200" b="0" dirty="0">
                <a:solidFill>
                  <a:schemeClr val="tx1"/>
                </a:solidFill>
                <a:latin typeface="+mn-lt"/>
              </a:endParaRPr>
            </a:p>
            <a:p>
              <a:pPr algn="ctr">
                <a:spcBef>
                  <a:spcPct val="0"/>
                </a:spcBef>
                <a:buClrTx/>
                <a:buSzTx/>
                <a:buFontTx/>
                <a:buNone/>
              </a:pPr>
              <a:r>
                <a:rPr lang="de-DE" altLang="de-DE" sz="1200" b="0" dirty="0">
                  <a:solidFill>
                    <a:schemeClr val="tx1"/>
                  </a:solidFill>
                  <a:latin typeface="+mn-lt"/>
                </a:rPr>
                <a:t>gas 1</a:t>
              </a:r>
              <a:endParaRPr lang="en-US" altLang="de-DE" sz="1200" b="0" dirty="0">
                <a:solidFill>
                  <a:schemeClr val="tx1"/>
                </a:solidFill>
                <a:latin typeface="+mn-lt"/>
              </a:endParaRPr>
            </a:p>
          </p:txBody>
        </p:sp>
        <p:sp>
          <p:nvSpPr>
            <p:cNvPr id="287" name="Line 57"/>
            <p:cNvSpPr>
              <a:spLocks noChangeAspect="1" noChangeShapeType="1"/>
            </p:cNvSpPr>
            <p:nvPr/>
          </p:nvSpPr>
          <p:spPr bwMode="gray">
            <a:xfrm flipV="1">
              <a:off x="5652352" y="8313957"/>
              <a:ext cx="0" cy="74613"/>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grpSp>
          <p:nvGrpSpPr>
            <p:cNvPr id="251" name="Group 66"/>
            <p:cNvGrpSpPr>
              <a:grpSpLocks/>
            </p:cNvGrpSpPr>
            <p:nvPr/>
          </p:nvGrpSpPr>
          <p:grpSpPr bwMode="gray">
            <a:xfrm>
              <a:off x="6025105" y="8098370"/>
              <a:ext cx="341312" cy="214313"/>
              <a:chOff x="1465" y="2792"/>
              <a:chExt cx="215" cy="135"/>
            </a:xfrm>
          </p:grpSpPr>
          <p:grpSp>
            <p:nvGrpSpPr>
              <p:cNvPr id="278" name="Group 68"/>
              <p:cNvGrpSpPr>
                <a:grpSpLocks/>
              </p:cNvGrpSpPr>
              <p:nvPr/>
            </p:nvGrpSpPr>
            <p:grpSpPr bwMode="gray">
              <a:xfrm>
                <a:off x="1465" y="2792"/>
                <a:ext cx="106" cy="135"/>
                <a:chOff x="1465" y="2792"/>
                <a:chExt cx="106" cy="135"/>
              </a:xfrm>
            </p:grpSpPr>
            <p:sp>
              <p:nvSpPr>
                <p:cNvPr id="281" name="AutoShape 69"/>
                <p:cNvSpPr>
                  <a:spLocks noChangeAspect="1" noChangeArrowheads="1"/>
                </p:cNvSpPr>
                <p:nvPr/>
              </p:nvSpPr>
              <p:spPr bwMode="gray">
                <a:xfrm flipV="1">
                  <a:off x="1501" y="2792"/>
                  <a:ext cx="70" cy="66"/>
                </a:xfrm>
                <a:prstGeom prst="triangle">
                  <a:avLst>
                    <a:gd name="adj" fmla="val 50000"/>
                  </a:avLst>
                </a:prstGeom>
                <a:solidFill>
                  <a:schemeClr val="bg1"/>
                </a:solidFill>
                <a:ln w="12700">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82" name="AutoShape 70"/>
                <p:cNvSpPr>
                  <a:spLocks noChangeAspect="1" noChangeArrowheads="1"/>
                </p:cNvSpPr>
                <p:nvPr/>
              </p:nvSpPr>
              <p:spPr bwMode="gray">
                <a:xfrm>
                  <a:off x="1501" y="2861"/>
                  <a:ext cx="70" cy="66"/>
                </a:xfrm>
                <a:prstGeom prst="triangle">
                  <a:avLst>
                    <a:gd name="adj" fmla="val 50000"/>
                  </a:avLst>
                </a:prstGeom>
                <a:solidFill>
                  <a:schemeClr val="bg1"/>
                </a:solidFill>
                <a:ln w="12700">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83" name="AutoShape 71"/>
                <p:cNvSpPr>
                  <a:spLocks noChangeAspect="1" noChangeArrowheads="1"/>
                </p:cNvSpPr>
                <p:nvPr/>
              </p:nvSpPr>
              <p:spPr bwMode="gray">
                <a:xfrm rot="5400000">
                  <a:off x="1462" y="2827"/>
                  <a:ext cx="71" cy="66"/>
                </a:xfrm>
                <a:prstGeom prst="triangle">
                  <a:avLst>
                    <a:gd name="adj" fmla="val 50000"/>
                  </a:avLst>
                </a:prstGeom>
                <a:solidFill>
                  <a:schemeClr val="tx1"/>
                </a:solidFill>
                <a:ln w="9525">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grpSp>
          <p:sp>
            <p:nvSpPr>
              <p:cNvPr id="279" name="Rectangle 72"/>
              <p:cNvSpPr>
                <a:spLocks noChangeArrowheads="1"/>
              </p:cNvSpPr>
              <p:nvPr/>
            </p:nvSpPr>
            <p:spPr bwMode="gray">
              <a:xfrm rot="5400000">
                <a:off x="1608" y="2810"/>
                <a:ext cx="48" cy="96"/>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80" name="Line 73"/>
              <p:cNvSpPr>
                <a:spLocks noChangeShapeType="1"/>
              </p:cNvSpPr>
              <p:nvPr/>
            </p:nvSpPr>
            <p:spPr bwMode="gray">
              <a:xfrm rot="5400000" flipV="1">
                <a:off x="1608" y="2810"/>
                <a:ext cx="48" cy="96"/>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sp>
          <p:nvSpPr>
            <p:cNvPr id="252" name="Text Box 74"/>
            <p:cNvSpPr txBox="1">
              <a:spLocks noChangeArrowheads="1"/>
            </p:cNvSpPr>
            <p:nvPr/>
          </p:nvSpPr>
          <p:spPr bwMode="gray">
            <a:xfrm>
              <a:off x="5026210" y="8415235"/>
              <a:ext cx="56618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0"/>
                </a:spcBef>
                <a:buClrTx/>
                <a:buSzTx/>
                <a:buFontTx/>
                <a:buNone/>
              </a:pPr>
              <a:r>
                <a:rPr lang="de-DE" altLang="de-DE" sz="1200" b="0" dirty="0">
                  <a:solidFill>
                    <a:schemeClr val="tx1"/>
                  </a:solidFill>
                </a:rPr>
                <a:t>Test</a:t>
              </a:r>
              <a:endParaRPr lang="de-DE" altLang="de-DE" sz="1200" b="0" dirty="0">
                <a:solidFill>
                  <a:schemeClr val="tx1"/>
                </a:solidFill>
                <a:latin typeface="+mn-lt"/>
              </a:endParaRPr>
            </a:p>
            <a:p>
              <a:pPr algn="ctr">
                <a:spcBef>
                  <a:spcPct val="0"/>
                </a:spcBef>
                <a:buClrTx/>
                <a:buSzTx/>
                <a:buFontTx/>
                <a:buNone/>
              </a:pPr>
              <a:r>
                <a:rPr lang="de-DE" altLang="de-DE" sz="1200" b="0" dirty="0">
                  <a:solidFill>
                    <a:schemeClr val="tx1"/>
                  </a:solidFill>
                  <a:latin typeface="+mn-lt"/>
                </a:rPr>
                <a:t>gas 2</a:t>
              </a:r>
              <a:endParaRPr lang="en-US" altLang="de-DE" sz="1200" b="0" dirty="0">
                <a:solidFill>
                  <a:schemeClr val="tx1"/>
                </a:solidFill>
                <a:latin typeface="+mn-lt"/>
              </a:endParaRPr>
            </a:p>
          </p:txBody>
        </p:sp>
        <p:sp>
          <p:nvSpPr>
            <p:cNvPr id="254" name="Text Box 76"/>
            <p:cNvSpPr txBox="1">
              <a:spLocks noChangeArrowheads="1"/>
            </p:cNvSpPr>
            <p:nvPr/>
          </p:nvSpPr>
          <p:spPr bwMode="gray">
            <a:xfrm>
              <a:off x="5085169" y="6802970"/>
              <a:ext cx="48763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0"/>
                </a:spcBef>
                <a:buClrTx/>
                <a:buSzTx/>
                <a:buFontTx/>
                <a:buNone/>
              </a:pPr>
              <a:r>
                <a:rPr lang="de-DE" altLang="de-DE" sz="1200" b="0" dirty="0" err="1">
                  <a:solidFill>
                    <a:schemeClr val="tx1"/>
                  </a:solidFill>
                  <a:latin typeface="+mn-lt"/>
                </a:rPr>
                <a:t>Flue</a:t>
              </a:r>
              <a:endParaRPr lang="de-DE" altLang="de-DE" sz="1200" b="0" dirty="0">
                <a:solidFill>
                  <a:schemeClr val="tx1"/>
                </a:solidFill>
                <a:latin typeface="+mn-lt"/>
              </a:endParaRPr>
            </a:p>
            <a:p>
              <a:pPr algn="ctr">
                <a:spcBef>
                  <a:spcPct val="0"/>
                </a:spcBef>
                <a:buClrTx/>
                <a:buSzTx/>
                <a:buFontTx/>
                <a:buNone/>
              </a:pPr>
              <a:r>
                <a:rPr lang="de-DE" altLang="de-DE" sz="1200" b="0" dirty="0">
                  <a:solidFill>
                    <a:schemeClr val="tx1"/>
                  </a:solidFill>
                  <a:latin typeface="+mn-lt"/>
                </a:rPr>
                <a:t>gas</a:t>
              </a:r>
              <a:endParaRPr lang="en-US" altLang="de-DE" sz="1200" b="0" dirty="0">
                <a:solidFill>
                  <a:schemeClr val="tx1"/>
                </a:solidFill>
                <a:latin typeface="+mn-lt"/>
              </a:endParaRPr>
            </a:p>
          </p:txBody>
        </p:sp>
        <p:sp>
          <p:nvSpPr>
            <p:cNvPr id="262" name="Freeform 78"/>
            <p:cNvSpPr>
              <a:spLocks noChangeAspect="1"/>
            </p:cNvSpPr>
            <p:nvPr/>
          </p:nvSpPr>
          <p:spPr bwMode="gray">
            <a:xfrm>
              <a:off x="5248865" y="7779929"/>
              <a:ext cx="193675" cy="546100"/>
            </a:xfrm>
            <a:custGeom>
              <a:avLst/>
              <a:gdLst>
                <a:gd name="connsiteX0" fmla="*/ 0 w 193675"/>
                <a:gd name="connsiteY0" fmla="*/ 96838 h 557213"/>
                <a:gd name="connsiteX1" fmla="*/ 96838 w 193675"/>
                <a:gd name="connsiteY1" fmla="*/ 0 h 557213"/>
                <a:gd name="connsiteX2" fmla="*/ 96838 w 193675"/>
                <a:gd name="connsiteY2" fmla="*/ 0 h 557213"/>
                <a:gd name="connsiteX3" fmla="*/ 193676 w 193675"/>
                <a:gd name="connsiteY3" fmla="*/ 96838 h 557213"/>
                <a:gd name="connsiteX4" fmla="*/ 193675 w 193675"/>
                <a:gd name="connsiteY4" fmla="*/ 460376 h 557213"/>
                <a:gd name="connsiteX5" fmla="*/ 96837 w 193675"/>
                <a:gd name="connsiteY5" fmla="*/ 557214 h 557213"/>
                <a:gd name="connsiteX6" fmla="*/ 96838 w 193675"/>
                <a:gd name="connsiteY6" fmla="*/ 557213 h 557213"/>
                <a:gd name="connsiteX7" fmla="*/ 0 w 193675"/>
                <a:gd name="connsiteY7" fmla="*/ 460375 h 557213"/>
                <a:gd name="connsiteX8" fmla="*/ 0 w 193675"/>
                <a:gd name="connsiteY8" fmla="*/ 96838 h 557213"/>
                <a:gd name="connsiteX0" fmla="*/ 0 w 193676"/>
                <a:gd name="connsiteY0" fmla="*/ 96838 h 557214"/>
                <a:gd name="connsiteX1" fmla="*/ 96838 w 193676"/>
                <a:gd name="connsiteY1" fmla="*/ 0 h 557214"/>
                <a:gd name="connsiteX2" fmla="*/ 96838 w 193676"/>
                <a:gd name="connsiteY2" fmla="*/ 0 h 557214"/>
                <a:gd name="connsiteX3" fmla="*/ 193676 w 193676"/>
                <a:gd name="connsiteY3" fmla="*/ 96838 h 557214"/>
                <a:gd name="connsiteX4" fmla="*/ 193675 w 193676"/>
                <a:gd name="connsiteY4" fmla="*/ 460376 h 557214"/>
                <a:gd name="connsiteX5" fmla="*/ 96837 w 193676"/>
                <a:gd name="connsiteY5" fmla="*/ 557214 h 557214"/>
                <a:gd name="connsiteX6" fmla="*/ 0 w 193676"/>
                <a:gd name="connsiteY6" fmla="*/ 460375 h 557214"/>
                <a:gd name="connsiteX7" fmla="*/ 0 w 193676"/>
                <a:gd name="connsiteY7" fmla="*/ 96838 h 557214"/>
                <a:gd name="connsiteX0" fmla="*/ 0 w 208021"/>
                <a:gd name="connsiteY0" fmla="*/ 96838 h 505817"/>
                <a:gd name="connsiteX1" fmla="*/ 96838 w 208021"/>
                <a:gd name="connsiteY1" fmla="*/ 0 h 505817"/>
                <a:gd name="connsiteX2" fmla="*/ 96838 w 208021"/>
                <a:gd name="connsiteY2" fmla="*/ 0 h 505817"/>
                <a:gd name="connsiteX3" fmla="*/ 193676 w 208021"/>
                <a:gd name="connsiteY3" fmla="*/ 96838 h 505817"/>
                <a:gd name="connsiteX4" fmla="*/ 193675 w 208021"/>
                <a:gd name="connsiteY4" fmla="*/ 460376 h 505817"/>
                <a:gd name="connsiteX5" fmla="*/ 0 w 208021"/>
                <a:gd name="connsiteY5" fmla="*/ 460375 h 505817"/>
                <a:gd name="connsiteX6" fmla="*/ 0 w 208021"/>
                <a:gd name="connsiteY6" fmla="*/ 96838 h 505817"/>
                <a:gd name="connsiteX0" fmla="*/ 0 w 208021"/>
                <a:gd name="connsiteY0" fmla="*/ 96838 h 505817"/>
                <a:gd name="connsiteX1" fmla="*/ 96838 w 208021"/>
                <a:gd name="connsiteY1" fmla="*/ 0 h 505817"/>
                <a:gd name="connsiteX2" fmla="*/ 96838 w 208021"/>
                <a:gd name="connsiteY2" fmla="*/ 0 h 505817"/>
                <a:gd name="connsiteX3" fmla="*/ 193676 w 208021"/>
                <a:gd name="connsiteY3" fmla="*/ 96838 h 505817"/>
                <a:gd name="connsiteX4" fmla="*/ 193675 w 208021"/>
                <a:gd name="connsiteY4" fmla="*/ 460376 h 505817"/>
                <a:gd name="connsiteX5" fmla="*/ 0 w 208021"/>
                <a:gd name="connsiteY5" fmla="*/ 460375 h 505817"/>
                <a:gd name="connsiteX6" fmla="*/ 0 w 208021"/>
                <a:gd name="connsiteY6" fmla="*/ 96838 h 505817"/>
                <a:gd name="connsiteX0" fmla="*/ 0 w 208021"/>
                <a:gd name="connsiteY0" fmla="*/ 96838 h 487237"/>
                <a:gd name="connsiteX1" fmla="*/ 96838 w 208021"/>
                <a:gd name="connsiteY1" fmla="*/ 0 h 487237"/>
                <a:gd name="connsiteX2" fmla="*/ 96838 w 208021"/>
                <a:gd name="connsiteY2" fmla="*/ 0 h 487237"/>
                <a:gd name="connsiteX3" fmla="*/ 193676 w 208021"/>
                <a:gd name="connsiteY3" fmla="*/ 96838 h 487237"/>
                <a:gd name="connsiteX4" fmla="*/ 193675 w 208021"/>
                <a:gd name="connsiteY4" fmla="*/ 460376 h 487237"/>
                <a:gd name="connsiteX5" fmla="*/ 0 w 208021"/>
                <a:gd name="connsiteY5" fmla="*/ 460375 h 487237"/>
                <a:gd name="connsiteX6" fmla="*/ 0 w 208021"/>
                <a:gd name="connsiteY6" fmla="*/ 96838 h 487237"/>
                <a:gd name="connsiteX0" fmla="*/ 0 w 193676"/>
                <a:gd name="connsiteY0" fmla="*/ 96838 h 487237"/>
                <a:gd name="connsiteX1" fmla="*/ 96838 w 193676"/>
                <a:gd name="connsiteY1" fmla="*/ 0 h 487237"/>
                <a:gd name="connsiteX2" fmla="*/ 96838 w 193676"/>
                <a:gd name="connsiteY2" fmla="*/ 0 h 487237"/>
                <a:gd name="connsiteX3" fmla="*/ 193676 w 193676"/>
                <a:gd name="connsiteY3" fmla="*/ 96838 h 487237"/>
                <a:gd name="connsiteX4" fmla="*/ 193675 w 193676"/>
                <a:gd name="connsiteY4" fmla="*/ 460376 h 487237"/>
                <a:gd name="connsiteX5" fmla="*/ 0 w 193676"/>
                <a:gd name="connsiteY5" fmla="*/ 460375 h 487237"/>
                <a:gd name="connsiteX6" fmla="*/ 0 w 193676"/>
                <a:gd name="connsiteY6" fmla="*/ 96838 h 487237"/>
                <a:gd name="connsiteX0" fmla="*/ 0 w 193676"/>
                <a:gd name="connsiteY0" fmla="*/ 96838 h 487237"/>
                <a:gd name="connsiteX1" fmla="*/ 96838 w 193676"/>
                <a:gd name="connsiteY1" fmla="*/ 0 h 487237"/>
                <a:gd name="connsiteX2" fmla="*/ 96838 w 193676"/>
                <a:gd name="connsiteY2" fmla="*/ 0 h 487237"/>
                <a:gd name="connsiteX3" fmla="*/ 193676 w 193676"/>
                <a:gd name="connsiteY3" fmla="*/ 96838 h 487237"/>
                <a:gd name="connsiteX4" fmla="*/ 193675 w 193676"/>
                <a:gd name="connsiteY4" fmla="*/ 460376 h 487237"/>
                <a:gd name="connsiteX5" fmla="*/ 0 w 193676"/>
                <a:gd name="connsiteY5" fmla="*/ 460375 h 487237"/>
                <a:gd name="connsiteX6" fmla="*/ 0 w 193676"/>
                <a:gd name="connsiteY6" fmla="*/ 96838 h 487237"/>
                <a:gd name="connsiteX0" fmla="*/ 0 w 193676"/>
                <a:gd name="connsiteY0" fmla="*/ 96838 h 461223"/>
                <a:gd name="connsiteX1" fmla="*/ 96838 w 193676"/>
                <a:gd name="connsiteY1" fmla="*/ 0 h 461223"/>
                <a:gd name="connsiteX2" fmla="*/ 96838 w 193676"/>
                <a:gd name="connsiteY2" fmla="*/ 0 h 461223"/>
                <a:gd name="connsiteX3" fmla="*/ 193676 w 193676"/>
                <a:gd name="connsiteY3" fmla="*/ 96838 h 461223"/>
                <a:gd name="connsiteX4" fmla="*/ 193675 w 193676"/>
                <a:gd name="connsiteY4" fmla="*/ 460376 h 461223"/>
                <a:gd name="connsiteX5" fmla="*/ 0 w 193676"/>
                <a:gd name="connsiteY5" fmla="*/ 460375 h 461223"/>
                <a:gd name="connsiteX6" fmla="*/ 0 w 193676"/>
                <a:gd name="connsiteY6" fmla="*/ 96838 h 46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676" h="461223">
                  <a:moveTo>
                    <a:pt x="0" y="96838"/>
                  </a:moveTo>
                  <a:cubicBezTo>
                    <a:pt x="0" y="43356"/>
                    <a:pt x="43356" y="0"/>
                    <a:pt x="96838" y="0"/>
                  </a:cubicBezTo>
                  <a:lnTo>
                    <a:pt x="96838" y="0"/>
                  </a:lnTo>
                  <a:cubicBezTo>
                    <a:pt x="150320" y="0"/>
                    <a:pt x="193676" y="43356"/>
                    <a:pt x="193676" y="96838"/>
                  </a:cubicBezTo>
                  <a:cubicBezTo>
                    <a:pt x="193676" y="218017"/>
                    <a:pt x="192988" y="348805"/>
                    <a:pt x="193675" y="460376"/>
                  </a:cubicBezTo>
                  <a:cubicBezTo>
                    <a:pt x="80093" y="460077"/>
                    <a:pt x="93239" y="462425"/>
                    <a:pt x="0" y="460375"/>
                  </a:cubicBezTo>
                  <a:lnTo>
                    <a:pt x="0" y="96838"/>
                  </a:lnTo>
                  <a:close/>
                </a:path>
              </a:pathLst>
            </a:custGeom>
            <a:solidFill>
              <a:schemeClr val="bg1"/>
            </a:solidFill>
            <a:ln w="1905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63" name="Line 81"/>
            <p:cNvSpPr>
              <a:spLocks noChangeAspect="1" noChangeShapeType="1"/>
            </p:cNvSpPr>
            <p:nvPr/>
          </p:nvSpPr>
          <p:spPr bwMode="gray">
            <a:xfrm flipV="1">
              <a:off x="5347884" y="7719603"/>
              <a:ext cx="0" cy="6350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73" name="AutoShape 86"/>
            <p:cNvSpPr>
              <a:spLocks noChangeAspect="1" noChangeArrowheads="1"/>
            </p:cNvSpPr>
            <p:nvPr/>
          </p:nvSpPr>
          <p:spPr bwMode="gray">
            <a:xfrm>
              <a:off x="5316843" y="7675165"/>
              <a:ext cx="57720" cy="45610"/>
            </a:xfrm>
            <a:prstGeom prst="triangle">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74" name="AutoShape 87"/>
            <p:cNvSpPr>
              <a:spLocks noChangeAspect="1" noChangeArrowheads="1"/>
            </p:cNvSpPr>
            <p:nvPr/>
          </p:nvSpPr>
          <p:spPr bwMode="gray">
            <a:xfrm rot="10800000">
              <a:off x="5296766" y="7574823"/>
              <a:ext cx="99129" cy="88939"/>
            </a:xfrm>
            <a:prstGeom prst="triangle">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75" name="AutoShape 86"/>
            <p:cNvSpPr>
              <a:spLocks noChangeAspect="1" noChangeArrowheads="1"/>
            </p:cNvSpPr>
            <p:nvPr/>
          </p:nvSpPr>
          <p:spPr bwMode="gray">
            <a:xfrm>
              <a:off x="5624107" y="8271529"/>
              <a:ext cx="57720" cy="45610"/>
            </a:xfrm>
            <a:prstGeom prst="triangle">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76" name="AutoShape 87"/>
            <p:cNvSpPr>
              <a:spLocks noChangeAspect="1" noChangeArrowheads="1"/>
            </p:cNvSpPr>
            <p:nvPr/>
          </p:nvSpPr>
          <p:spPr bwMode="gray">
            <a:xfrm rot="10800000">
              <a:off x="5603403" y="8171187"/>
              <a:ext cx="99129" cy="88939"/>
            </a:xfrm>
            <a:prstGeom prst="triangle">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65" name="Freeform 78"/>
            <p:cNvSpPr>
              <a:spLocks/>
            </p:cNvSpPr>
            <p:nvPr/>
          </p:nvSpPr>
          <p:spPr bwMode="gray">
            <a:xfrm>
              <a:off x="5490441" y="7585618"/>
              <a:ext cx="39688" cy="39688"/>
            </a:xfrm>
            <a:prstGeom prst="ellipse">
              <a:avLst/>
            </a:prstGeom>
            <a:solidFill>
              <a:schemeClr val="bg1"/>
            </a:solidFill>
            <a:ln w="1905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66" name="Freeform 78"/>
            <p:cNvSpPr>
              <a:spLocks noChangeAspect="1"/>
            </p:cNvSpPr>
            <p:nvPr/>
          </p:nvSpPr>
          <p:spPr bwMode="gray">
            <a:xfrm>
              <a:off x="5400271" y="7635466"/>
              <a:ext cx="65088" cy="65088"/>
            </a:xfrm>
            <a:prstGeom prst="ellipse">
              <a:avLst/>
            </a:prstGeom>
            <a:solidFill>
              <a:schemeClr val="bg1"/>
            </a:solidFill>
            <a:ln w="1905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67" name="Freeform 78"/>
            <p:cNvSpPr>
              <a:spLocks noChangeAspect="1"/>
            </p:cNvSpPr>
            <p:nvPr/>
          </p:nvSpPr>
          <p:spPr bwMode="gray">
            <a:xfrm>
              <a:off x="5358996" y="7668803"/>
              <a:ext cx="36513" cy="0"/>
            </a:xfrm>
            <a:custGeom>
              <a:avLst/>
              <a:gdLst>
                <a:gd name="connsiteX0" fmla="*/ 0 w 65088"/>
                <a:gd name="connsiteY0" fmla="*/ 0 h 65088"/>
                <a:gd name="connsiteX1" fmla="*/ 65088 w 65088"/>
                <a:gd name="connsiteY1" fmla="*/ 0 h 65088"/>
                <a:gd name="connsiteX2" fmla="*/ 65088 w 65088"/>
                <a:gd name="connsiteY2" fmla="*/ 65088 h 65088"/>
                <a:gd name="connsiteX3" fmla="*/ 0 w 65088"/>
                <a:gd name="connsiteY3" fmla="*/ 65088 h 65088"/>
                <a:gd name="connsiteX4" fmla="*/ 0 w 65088"/>
                <a:gd name="connsiteY4" fmla="*/ 0 h 65088"/>
                <a:gd name="connsiteX0" fmla="*/ 65088 w 156528"/>
                <a:gd name="connsiteY0" fmla="*/ 0 h 91440"/>
                <a:gd name="connsiteX1" fmla="*/ 65088 w 156528"/>
                <a:gd name="connsiteY1" fmla="*/ 65088 h 91440"/>
                <a:gd name="connsiteX2" fmla="*/ 0 w 156528"/>
                <a:gd name="connsiteY2" fmla="*/ 65088 h 91440"/>
                <a:gd name="connsiteX3" fmla="*/ 0 w 156528"/>
                <a:gd name="connsiteY3" fmla="*/ 0 h 91440"/>
                <a:gd name="connsiteX4" fmla="*/ 156528 w 156528"/>
                <a:gd name="connsiteY4" fmla="*/ 91440 h 91440"/>
                <a:gd name="connsiteX0" fmla="*/ 65088 w 65088"/>
                <a:gd name="connsiteY0" fmla="*/ 0 h 65088"/>
                <a:gd name="connsiteX1" fmla="*/ 65088 w 65088"/>
                <a:gd name="connsiteY1" fmla="*/ 65088 h 65088"/>
                <a:gd name="connsiteX2" fmla="*/ 0 w 65088"/>
                <a:gd name="connsiteY2" fmla="*/ 65088 h 65088"/>
                <a:gd name="connsiteX3" fmla="*/ 0 w 65088"/>
                <a:gd name="connsiteY3" fmla="*/ 0 h 65088"/>
                <a:gd name="connsiteX0" fmla="*/ 65088 w 65088"/>
                <a:gd name="connsiteY0" fmla="*/ 0 h 65088"/>
                <a:gd name="connsiteX1" fmla="*/ 65088 w 65088"/>
                <a:gd name="connsiteY1" fmla="*/ 65088 h 65088"/>
                <a:gd name="connsiteX2" fmla="*/ 0 w 65088"/>
                <a:gd name="connsiteY2" fmla="*/ 65088 h 65088"/>
                <a:gd name="connsiteX0" fmla="*/ 65088 w 65088"/>
                <a:gd name="connsiteY0" fmla="*/ 0 h 0"/>
                <a:gd name="connsiteX1" fmla="*/ 0 w 65088"/>
                <a:gd name="connsiteY1" fmla="*/ 0 h 0"/>
                <a:gd name="connsiteX0" fmla="*/ 10000 w 10000"/>
                <a:gd name="connsiteY0" fmla="*/ 0 h 0"/>
                <a:gd name="connsiteX1" fmla="*/ 4208 w 10000"/>
                <a:gd name="connsiteY1" fmla="*/ 863 h 0"/>
                <a:gd name="connsiteX2" fmla="*/ 0 w 10000"/>
                <a:gd name="connsiteY2" fmla="*/ 0 h 0"/>
                <a:gd name="connsiteX0" fmla="*/ 10000 w 10000"/>
                <a:gd name="connsiteY0" fmla="*/ 0 h 0"/>
                <a:gd name="connsiteX1" fmla="*/ 0 w 10000"/>
                <a:gd name="connsiteY1" fmla="*/ 0 h 0"/>
              </a:gdLst>
              <a:ahLst/>
              <a:cxnLst>
                <a:cxn ang="0">
                  <a:pos x="connsiteX0" y="connsiteY0"/>
                </a:cxn>
                <a:cxn ang="0">
                  <a:pos x="connsiteX1" y="connsiteY1"/>
                </a:cxn>
              </a:cxnLst>
              <a:rect l="l" t="t" r="r" b="b"/>
              <a:pathLst>
                <a:path w="10000">
                  <a:moveTo>
                    <a:pt x="10000" y="0"/>
                  </a:moveTo>
                  <a:lnTo>
                    <a:pt x="0" y="0"/>
                  </a:lnTo>
                </a:path>
              </a:pathLst>
            </a:custGeom>
            <a:solidFill>
              <a:schemeClr val="bg1"/>
            </a:solidFill>
            <a:ln w="1905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68" name="Freeform 78"/>
            <p:cNvSpPr>
              <a:spLocks/>
            </p:cNvSpPr>
            <p:nvPr/>
          </p:nvSpPr>
          <p:spPr bwMode="gray">
            <a:xfrm rot="19007758" flipV="1">
              <a:off x="5446309" y="7602128"/>
              <a:ext cx="36513" cy="36513"/>
            </a:xfrm>
            <a:custGeom>
              <a:avLst/>
              <a:gdLst>
                <a:gd name="connsiteX0" fmla="*/ 0 w 65088"/>
                <a:gd name="connsiteY0" fmla="*/ 0 h 65088"/>
                <a:gd name="connsiteX1" fmla="*/ 65088 w 65088"/>
                <a:gd name="connsiteY1" fmla="*/ 0 h 65088"/>
                <a:gd name="connsiteX2" fmla="*/ 65088 w 65088"/>
                <a:gd name="connsiteY2" fmla="*/ 65088 h 65088"/>
                <a:gd name="connsiteX3" fmla="*/ 0 w 65088"/>
                <a:gd name="connsiteY3" fmla="*/ 65088 h 65088"/>
                <a:gd name="connsiteX4" fmla="*/ 0 w 65088"/>
                <a:gd name="connsiteY4" fmla="*/ 0 h 65088"/>
                <a:gd name="connsiteX0" fmla="*/ 65088 w 156528"/>
                <a:gd name="connsiteY0" fmla="*/ 0 h 91440"/>
                <a:gd name="connsiteX1" fmla="*/ 65088 w 156528"/>
                <a:gd name="connsiteY1" fmla="*/ 65088 h 91440"/>
                <a:gd name="connsiteX2" fmla="*/ 0 w 156528"/>
                <a:gd name="connsiteY2" fmla="*/ 65088 h 91440"/>
                <a:gd name="connsiteX3" fmla="*/ 0 w 156528"/>
                <a:gd name="connsiteY3" fmla="*/ 0 h 91440"/>
                <a:gd name="connsiteX4" fmla="*/ 156528 w 156528"/>
                <a:gd name="connsiteY4" fmla="*/ 91440 h 91440"/>
                <a:gd name="connsiteX0" fmla="*/ 65088 w 65088"/>
                <a:gd name="connsiteY0" fmla="*/ 0 h 65088"/>
                <a:gd name="connsiteX1" fmla="*/ 65088 w 65088"/>
                <a:gd name="connsiteY1" fmla="*/ 65088 h 65088"/>
                <a:gd name="connsiteX2" fmla="*/ 0 w 65088"/>
                <a:gd name="connsiteY2" fmla="*/ 65088 h 65088"/>
                <a:gd name="connsiteX3" fmla="*/ 0 w 65088"/>
                <a:gd name="connsiteY3" fmla="*/ 0 h 65088"/>
                <a:gd name="connsiteX0" fmla="*/ 65088 w 65088"/>
                <a:gd name="connsiteY0" fmla="*/ 0 h 65088"/>
                <a:gd name="connsiteX1" fmla="*/ 65088 w 65088"/>
                <a:gd name="connsiteY1" fmla="*/ 65088 h 65088"/>
                <a:gd name="connsiteX2" fmla="*/ 0 w 65088"/>
                <a:gd name="connsiteY2" fmla="*/ 65088 h 65088"/>
                <a:gd name="connsiteX0" fmla="*/ 65088 w 65088"/>
                <a:gd name="connsiteY0" fmla="*/ 0 h 0"/>
                <a:gd name="connsiteX1" fmla="*/ 0 w 65088"/>
                <a:gd name="connsiteY1" fmla="*/ 0 h 0"/>
                <a:gd name="connsiteX0" fmla="*/ 10000 w 10000"/>
                <a:gd name="connsiteY0" fmla="*/ 0 h 0"/>
                <a:gd name="connsiteX1" fmla="*/ 4208 w 10000"/>
                <a:gd name="connsiteY1" fmla="*/ 863 h 0"/>
                <a:gd name="connsiteX2" fmla="*/ 0 w 10000"/>
                <a:gd name="connsiteY2" fmla="*/ 0 h 0"/>
                <a:gd name="connsiteX0" fmla="*/ 10000 w 10000"/>
                <a:gd name="connsiteY0" fmla="*/ 0 h 0"/>
                <a:gd name="connsiteX1" fmla="*/ 0 w 10000"/>
                <a:gd name="connsiteY1" fmla="*/ 0 h 0"/>
              </a:gdLst>
              <a:ahLst/>
              <a:cxnLst>
                <a:cxn ang="0">
                  <a:pos x="connsiteX0" y="connsiteY0"/>
                </a:cxn>
                <a:cxn ang="0">
                  <a:pos x="connsiteX1" y="connsiteY1"/>
                </a:cxn>
              </a:cxnLst>
              <a:rect l="l" t="t" r="r" b="b"/>
              <a:pathLst>
                <a:path w="10000">
                  <a:moveTo>
                    <a:pt x="10000" y="0"/>
                  </a:moveTo>
                  <a:lnTo>
                    <a:pt x="0" y="0"/>
                  </a:lnTo>
                </a:path>
              </a:pathLst>
            </a:custGeom>
            <a:solidFill>
              <a:schemeClr val="bg1"/>
            </a:solidFill>
            <a:ln w="1905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69" name="Freeform 78"/>
            <p:cNvSpPr>
              <a:spLocks/>
            </p:cNvSpPr>
            <p:nvPr/>
          </p:nvSpPr>
          <p:spPr bwMode="gray">
            <a:xfrm>
              <a:off x="5801274" y="8183789"/>
              <a:ext cx="39688" cy="39688"/>
            </a:xfrm>
            <a:prstGeom prst="ellipse">
              <a:avLst/>
            </a:prstGeom>
            <a:solidFill>
              <a:schemeClr val="bg1"/>
            </a:solidFill>
            <a:ln w="1905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70" name="Freeform 78"/>
            <p:cNvSpPr>
              <a:spLocks noChangeAspect="1"/>
            </p:cNvSpPr>
            <p:nvPr/>
          </p:nvSpPr>
          <p:spPr bwMode="gray">
            <a:xfrm>
              <a:off x="5711104" y="8229827"/>
              <a:ext cx="65088" cy="65088"/>
            </a:xfrm>
            <a:prstGeom prst="ellipse">
              <a:avLst/>
            </a:prstGeom>
            <a:solidFill>
              <a:schemeClr val="bg1"/>
            </a:solidFill>
            <a:ln w="1905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71" name="Freeform 78"/>
            <p:cNvSpPr>
              <a:spLocks noChangeAspect="1"/>
            </p:cNvSpPr>
            <p:nvPr/>
          </p:nvSpPr>
          <p:spPr bwMode="gray">
            <a:xfrm>
              <a:off x="5669829" y="8263164"/>
              <a:ext cx="36513" cy="0"/>
            </a:xfrm>
            <a:custGeom>
              <a:avLst/>
              <a:gdLst>
                <a:gd name="connsiteX0" fmla="*/ 0 w 65088"/>
                <a:gd name="connsiteY0" fmla="*/ 0 h 65088"/>
                <a:gd name="connsiteX1" fmla="*/ 65088 w 65088"/>
                <a:gd name="connsiteY1" fmla="*/ 0 h 65088"/>
                <a:gd name="connsiteX2" fmla="*/ 65088 w 65088"/>
                <a:gd name="connsiteY2" fmla="*/ 65088 h 65088"/>
                <a:gd name="connsiteX3" fmla="*/ 0 w 65088"/>
                <a:gd name="connsiteY3" fmla="*/ 65088 h 65088"/>
                <a:gd name="connsiteX4" fmla="*/ 0 w 65088"/>
                <a:gd name="connsiteY4" fmla="*/ 0 h 65088"/>
                <a:gd name="connsiteX0" fmla="*/ 65088 w 156528"/>
                <a:gd name="connsiteY0" fmla="*/ 0 h 91440"/>
                <a:gd name="connsiteX1" fmla="*/ 65088 w 156528"/>
                <a:gd name="connsiteY1" fmla="*/ 65088 h 91440"/>
                <a:gd name="connsiteX2" fmla="*/ 0 w 156528"/>
                <a:gd name="connsiteY2" fmla="*/ 65088 h 91440"/>
                <a:gd name="connsiteX3" fmla="*/ 0 w 156528"/>
                <a:gd name="connsiteY3" fmla="*/ 0 h 91440"/>
                <a:gd name="connsiteX4" fmla="*/ 156528 w 156528"/>
                <a:gd name="connsiteY4" fmla="*/ 91440 h 91440"/>
                <a:gd name="connsiteX0" fmla="*/ 65088 w 65088"/>
                <a:gd name="connsiteY0" fmla="*/ 0 h 65088"/>
                <a:gd name="connsiteX1" fmla="*/ 65088 w 65088"/>
                <a:gd name="connsiteY1" fmla="*/ 65088 h 65088"/>
                <a:gd name="connsiteX2" fmla="*/ 0 w 65088"/>
                <a:gd name="connsiteY2" fmla="*/ 65088 h 65088"/>
                <a:gd name="connsiteX3" fmla="*/ 0 w 65088"/>
                <a:gd name="connsiteY3" fmla="*/ 0 h 65088"/>
                <a:gd name="connsiteX0" fmla="*/ 65088 w 65088"/>
                <a:gd name="connsiteY0" fmla="*/ 0 h 65088"/>
                <a:gd name="connsiteX1" fmla="*/ 65088 w 65088"/>
                <a:gd name="connsiteY1" fmla="*/ 65088 h 65088"/>
                <a:gd name="connsiteX2" fmla="*/ 0 w 65088"/>
                <a:gd name="connsiteY2" fmla="*/ 65088 h 65088"/>
                <a:gd name="connsiteX0" fmla="*/ 65088 w 65088"/>
                <a:gd name="connsiteY0" fmla="*/ 0 h 0"/>
                <a:gd name="connsiteX1" fmla="*/ 0 w 65088"/>
                <a:gd name="connsiteY1" fmla="*/ 0 h 0"/>
                <a:gd name="connsiteX0" fmla="*/ 10000 w 10000"/>
                <a:gd name="connsiteY0" fmla="*/ 0 h 0"/>
                <a:gd name="connsiteX1" fmla="*/ 4208 w 10000"/>
                <a:gd name="connsiteY1" fmla="*/ 863 h 0"/>
                <a:gd name="connsiteX2" fmla="*/ 0 w 10000"/>
                <a:gd name="connsiteY2" fmla="*/ 0 h 0"/>
                <a:gd name="connsiteX0" fmla="*/ 10000 w 10000"/>
                <a:gd name="connsiteY0" fmla="*/ 0 h 0"/>
                <a:gd name="connsiteX1" fmla="*/ 0 w 10000"/>
                <a:gd name="connsiteY1" fmla="*/ 0 h 0"/>
              </a:gdLst>
              <a:ahLst/>
              <a:cxnLst>
                <a:cxn ang="0">
                  <a:pos x="connsiteX0" y="connsiteY0"/>
                </a:cxn>
                <a:cxn ang="0">
                  <a:pos x="connsiteX1" y="connsiteY1"/>
                </a:cxn>
              </a:cxnLst>
              <a:rect l="l" t="t" r="r" b="b"/>
              <a:pathLst>
                <a:path w="10000">
                  <a:moveTo>
                    <a:pt x="10000" y="0"/>
                  </a:moveTo>
                  <a:lnTo>
                    <a:pt x="0" y="0"/>
                  </a:lnTo>
                </a:path>
              </a:pathLst>
            </a:custGeom>
            <a:solidFill>
              <a:schemeClr val="bg1"/>
            </a:solidFill>
            <a:ln w="1905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72" name="Freeform 78"/>
            <p:cNvSpPr>
              <a:spLocks/>
            </p:cNvSpPr>
            <p:nvPr/>
          </p:nvSpPr>
          <p:spPr bwMode="gray">
            <a:xfrm rot="19007758" flipV="1">
              <a:off x="5759047" y="8196489"/>
              <a:ext cx="36513" cy="36513"/>
            </a:xfrm>
            <a:custGeom>
              <a:avLst/>
              <a:gdLst>
                <a:gd name="connsiteX0" fmla="*/ 0 w 65088"/>
                <a:gd name="connsiteY0" fmla="*/ 0 h 65088"/>
                <a:gd name="connsiteX1" fmla="*/ 65088 w 65088"/>
                <a:gd name="connsiteY1" fmla="*/ 0 h 65088"/>
                <a:gd name="connsiteX2" fmla="*/ 65088 w 65088"/>
                <a:gd name="connsiteY2" fmla="*/ 65088 h 65088"/>
                <a:gd name="connsiteX3" fmla="*/ 0 w 65088"/>
                <a:gd name="connsiteY3" fmla="*/ 65088 h 65088"/>
                <a:gd name="connsiteX4" fmla="*/ 0 w 65088"/>
                <a:gd name="connsiteY4" fmla="*/ 0 h 65088"/>
                <a:gd name="connsiteX0" fmla="*/ 65088 w 156528"/>
                <a:gd name="connsiteY0" fmla="*/ 0 h 91440"/>
                <a:gd name="connsiteX1" fmla="*/ 65088 w 156528"/>
                <a:gd name="connsiteY1" fmla="*/ 65088 h 91440"/>
                <a:gd name="connsiteX2" fmla="*/ 0 w 156528"/>
                <a:gd name="connsiteY2" fmla="*/ 65088 h 91440"/>
                <a:gd name="connsiteX3" fmla="*/ 0 w 156528"/>
                <a:gd name="connsiteY3" fmla="*/ 0 h 91440"/>
                <a:gd name="connsiteX4" fmla="*/ 156528 w 156528"/>
                <a:gd name="connsiteY4" fmla="*/ 91440 h 91440"/>
                <a:gd name="connsiteX0" fmla="*/ 65088 w 65088"/>
                <a:gd name="connsiteY0" fmla="*/ 0 h 65088"/>
                <a:gd name="connsiteX1" fmla="*/ 65088 w 65088"/>
                <a:gd name="connsiteY1" fmla="*/ 65088 h 65088"/>
                <a:gd name="connsiteX2" fmla="*/ 0 w 65088"/>
                <a:gd name="connsiteY2" fmla="*/ 65088 h 65088"/>
                <a:gd name="connsiteX3" fmla="*/ 0 w 65088"/>
                <a:gd name="connsiteY3" fmla="*/ 0 h 65088"/>
                <a:gd name="connsiteX0" fmla="*/ 65088 w 65088"/>
                <a:gd name="connsiteY0" fmla="*/ 0 h 65088"/>
                <a:gd name="connsiteX1" fmla="*/ 65088 w 65088"/>
                <a:gd name="connsiteY1" fmla="*/ 65088 h 65088"/>
                <a:gd name="connsiteX2" fmla="*/ 0 w 65088"/>
                <a:gd name="connsiteY2" fmla="*/ 65088 h 65088"/>
                <a:gd name="connsiteX0" fmla="*/ 65088 w 65088"/>
                <a:gd name="connsiteY0" fmla="*/ 0 h 0"/>
                <a:gd name="connsiteX1" fmla="*/ 0 w 65088"/>
                <a:gd name="connsiteY1" fmla="*/ 0 h 0"/>
                <a:gd name="connsiteX0" fmla="*/ 10000 w 10000"/>
                <a:gd name="connsiteY0" fmla="*/ 0 h 0"/>
                <a:gd name="connsiteX1" fmla="*/ 4208 w 10000"/>
                <a:gd name="connsiteY1" fmla="*/ 863 h 0"/>
                <a:gd name="connsiteX2" fmla="*/ 0 w 10000"/>
                <a:gd name="connsiteY2" fmla="*/ 0 h 0"/>
                <a:gd name="connsiteX0" fmla="*/ 10000 w 10000"/>
                <a:gd name="connsiteY0" fmla="*/ 0 h 0"/>
                <a:gd name="connsiteX1" fmla="*/ 0 w 10000"/>
                <a:gd name="connsiteY1" fmla="*/ 0 h 0"/>
              </a:gdLst>
              <a:ahLst/>
              <a:cxnLst>
                <a:cxn ang="0">
                  <a:pos x="connsiteX0" y="connsiteY0"/>
                </a:cxn>
                <a:cxn ang="0">
                  <a:pos x="connsiteX1" y="connsiteY1"/>
                </a:cxn>
              </a:cxnLst>
              <a:rect l="l" t="t" r="r" b="b"/>
              <a:pathLst>
                <a:path w="10000">
                  <a:moveTo>
                    <a:pt x="10000" y="0"/>
                  </a:moveTo>
                  <a:lnTo>
                    <a:pt x="0" y="0"/>
                  </a:lnTo>
                </a:path>
              </a:pathLst>
            </a:custGeom>
            <a:solidFill>
              <a:schemeClr val="bg1"/>
            </a:solidFill>
            <a:ln w="1905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256" name="Text Box 90"/>
            <p:cNvSpPr txBox="1">
              <a:spLocks noChangeArrowheads="1"/>
            </p:cNvSpPr>
            <p:nvPr/>
          </p:nvSpPr>
          <p:spPr bwMode="gray">
            <a:xfrm>
              <a:off x="5897405" y="8555570"/>
              <a:ext cx="803425"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0"/>
                </a:spcBef>
                <a:buClrTx/>
                <a:buSzTx/>
                <a:buFontTx/>
                <a:buNone/>
              </a:pPr>
              <a:r>
                <a:rPr lang="de-DE" altLang="de-DE" sz="1200" b="0" dirty="0" err="1">
                  <a:solidFill>
                    <a:schemeClr val="tx1"/>
                  </a:solidFill>
                  <a:latin typeface="+mn-lt"/>
                </a:rPr>
                <a:t>Ambient</a:t>
              </a:r>
              <a:br>
                <a:rPr lang="de-DE" altLang="de-DE" sz="1200" b="0" dirty="0">
                  <a:solidFill>
                    <a:schemeClr val="tx1"/>
                  </a:solidFill>
                  <a:latin typeface="+mn-lt"/>
                </a:rPr>
              </a:br>
              <a:r>
                <a:rPr lang="de-DE" altLang="de-DE" sz="1200" b="0" dirty="0" err="1">
                  <a:solidFill>
                    <a:schemeClr val="tx1"/>
                  </a:solidFill>
                  <a:latin typeface="+mn-lt"/>
                </a:rPr>
                <a:t>air</a:t>
              </a:r>
              <a:endParaRPr lang="en-US" altLang="de-DE" sz="1200" b="0" dirty="0">
                <a:solidFill>
                  <a:schemeClr val="tx1"/>
                </a:solidFill>
                <a:latin typeface="+mn-lt"/>
              </a:endParaRPr>
            </a:p>
          </p:txBody>
        </p:sp>
        <p:sp>
          <p:nvSpPr>
            <p:cNvPr id="257" name="Rectangle 91"/>
            <p:cNvSpPr>
              <a:spLocks noChangeAspect="1" noChangeArrowheads="1"/>
            </p:cNvSpPr>
            <p:nvPr/>
          </p:nvSpPr>
          <p:spPr bwMode="gray">
            <a:xfrm>
              <a:off x="6506117" y="6201308"/>
              <a:ext cx="787400" cy="295275"/>
            </a:xfrm>
            <a:prstGeom prst="rect">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58" name="Text Box 92"/>
            <p:cNvSpPr txBox="1">
              <a:spLocks noChangeArrowheads="1"/>
            </p:cNvSpPr>
            <p:nvPr/>
          </p:nvSpPr>
          <p:spPr bwMode="gray">
            <a:xfrm>
              <a:off x="6175919" y="6461555"/>
              <a:ext cx="84591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spcBef>
                  <a:spcPct val="50000"/>
                </a:spcBef>
                <a:buClrTx/>
                <a:buSzTx/>
                <a:buFontTx/>
                <a:buNone/>
              </a:pPr>
              <a:r>
                <a:rPr lang="de-DE" altLang="de-DE" sz="1200" b="0" dirty="0">
                  <a:solidFill>
                    <a:schemeClr val="tx1"/>
                  </a:solidFill>
                  <a:latin typeface="+mn-lt"/>
                </a:rPr>
                <a:t>Analyzer</a:t>
              </a:r>
            </a:p>
          </p:txBody>
        </p:sp>
        <p:sp>
          <p:nvSpPr>
            <p:cNvPr id="259" name="Rectangle 93"/>
            <p:cNvSpPr>
              <a:spLocks noChangeAspect="1" noChangeArrowheads="1"/>
            </p:cNvSpPr>
            <p:nvPr/>
          </p:nvSpPr>
          <p:spPr bwMode="gray">
            <a:xfrm>
              <a:off x="7074442" y="6277508"/>
              <a:ext cx="161925" cy="131763"/>
            </a:xfrm>
            <a:prstGeom prst="rect">
              <a:avLst/>
            </a:prstGeom>
            <a:noFill/>
            <a:ln w="19050">
              <a:solidFill>
                <a:srgbClr val="33333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260" name="Text Box 141"/>
            <p:cNvSpPr txBox="1">
              <a:spLocks noChangeArrowheads="1"/>
            </p:cNvSpPr>
            <p:nvPr/>
          </p:nvSpPr>
          <p:spPr bwMode="gray">
            <a:xfrm>
              <a:off x="6255292" y="7227607"/>
              <a:ext cx="696912"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r">
                <a:spcBef>
                  <a:spcPct val="50000"/>
                </a:spcBef>
                <a:buClrTx/>
                <a:buSzTx/>
                <a:buFontTx/>
                <a:buNone/>
              </a:pPr>
              <a:r>
                <a:rPr lang="de-DE" altLang="de-DE" sz="1200" b="0" dirty="0">
                  <a:solidFill>
                    <a:schemeClr val="tx1"/>
                  </a:solidFill>
                  <a:latin typeface="+mn-lt"/>
                </a:rPr>
                <a:t>Cooler</a:t>
              </a:r>
            </a:p>
          </p:txBody>
        </p:sp>
        <p:sp>
          <p:nvSpPr>
            <p:cNvPr id="261" name="Text Box 142"/>
            <p:cNvSpPr txBox="1">
              <a:spLocks noChangeArrowheads="1"/>
            </p:cNvSpPr>
            <p:nvPr/>
          </p:nvSpPr>
          <p:spPr bwMode="gray">
            <a:xfrm>
              <a:off x="6885529" y="7226833"/>
              <a:ext cx="6985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spcBef>
                  <a:spcPct val="50000"/>
                </a:spcBef>
                <a:buClrTx/>
                <a:buSzTx/>
                <a:buFontTx/>
                <a:buNone/>
              </a:pPr>
              <a:r>
                <a:rPr lang="de-DE" altLang="de-DE" sz="1200" b="0" dirty="0">
                  <a:solidFill>
                    <a:schemeClr val="tx1"/>
                  </a:solidFill>
                  <a:latin typeface="+mn-lt"/>
                </a:rPr>
                <a:t>Pump</a:t>
              </a:r>
            </a:p>
          </p:txBody>
        </p:sp>
        <p:cxnSp>
          <p:nvCxnSpPr>
            <p:cNvPr id="6" name="Straight Connector 5"/>
            <p:cNvCxnSpPr/>
            <p:nvPr/>
          </p:nvCxnSpPr>
          <p:spPr bwMode="gray">
            <a:xfrm flipV="1">
              <a:off x="7129498" y="6498171"/>
              <a:ext cx="0" cy="347662"/>
            </a:xfrm>
            <a:prstGeom prst="line">
              <a:avLst/>
            </a:pr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6" name="Freeform 78"/>
            <p:cNvSpPr>
              <a:spLocks noChangeAspect="1"/>
            </p:cNvSpPr>
            <p:nvPr/>
          </p:nvSpPr>
          <p:spPr bwMode="gray">
            <a:xfrm>
              <a:off x="5554852" y="8382221"/>
              <a:ext cx="193675" cy="546100"/>
            </a:xfrm>
            <a:custGeom>
              <a:avLst/>
              <a:gdLst>
                <a:gd name="connsiteX0" fmla="*/ 0 w 193675"/>
                <a:gd name="connsiteY0" fmla="*/ 96838 h 557213"/>
                <a:gd name="connsiteX1" fmla="*/ 96838 w 193675"/>
                <a:gd name="connsiteY1" fmla="*/ 0 h 557213"/>
                <a:gd name="connsiteX2" fmla="*/ 96838 w 193675"/>
                <a:gd name="connsiteY2" fmla="*/ 0 h 557213"/>
                <a:gd name="connsiteX3" fmla="*/ 193676 w 193675"/>
                <a:gd name="connsiteY3" fmla="*/ 96838 h 557213"/>
                <a:gd name="connsiteX4" fmla="*/ 193675 w 193675"/>
                <a:gd name="connsiteY4" fmla="*/ 460376 h 557213"/>
                <a:gd name="connsiteX5" fmla="*/ 96837 w 193675"/>
                <a:gd name="connsiteY5" fmla="*/ 557214 h 557213"/>
                <a:gd name="connsiteX6" fmla="*/ 96838 w 193675"/>
                <a:gd name="connsiteY6" fmla="*/ 557213 h 557213"/>
                <a:gd name="connsiteX7" fmla="*/ 0 w 193675"/>
                <a:gd name="connsiteY7" fmla="*/ 460375 h 557213"/>
                <a:gd name="connsiteX8" fmla="*/ 0 w 193675"/>
                <a:gd name="connsiteY8" fmla="*/ 96838 h 557213"/>
                <a:gd name="connsiteX0" fmla="*/ 0 w 193676"/>
                <a:gd name="connsiteY0" fmla="*/ 96838 h 557214"/>
                <a:gd name="connsiteX1" fmla="*/ 96838 w 193676"/>
                <a:gd name="connsiteY1" fmla="*/ 0 h 557214"/>
                <a:gd name="connsiteX2" fmla="*/ 96838 w 193676"/>
                <a:gd name="connsiteY2" fmla="*/ 0 h 557214"/>
                <a:gd name="connsiteX3" fmla="*/ 193676 w 193676"/>
                <a:gd name="connsiteY3" fmla="*/ 96838 h 557214"/>
                <a:gd name="connsiteX4" fmla="*/ 193675 w 193676"/>
                <a:gd name="connsiteY4" fmla="*/ 460376 h 557214"/>
                <a:gd name="connsiteX5" fmla="*/ 96837 w 193676"/>
                <a:gd name="connsiteY5" fmla="*/ 557214 h 557214"/>
                <a:gd name="connsiteX6" fmla="*/ 0 w 193676"/>
                <a:gd name="connsiteY6" fmla="*/ 460375 h 557214"/>
                <a:gd name="connsiteX7" fmla="*/ 0 w 193676"/>
                <a:gd name="connsiteY7" fmla="*/ 96838 h 557214"/>
                <a:gd name="connsiteX0" fmla="*/ 0 w 208021"/>
                <a:gd name="connsiteY0" fmla="*/ 96838 h 505817"/>
                <a:gd name="connsiteX1" fmla="*/ 96838 w 208021"/>
                <a:gd name="connsiteY1" fmla="*/ 0 h 505817"/>
                <a:gd name="connsiteX2" fmla="*/ 96838 w 208021"/>
                <a:gd name="connsiteY2" fmla="*/ 0 h 505817"/>
                <a:gd name="connsiteX3" fmla="*/ 193676 w 208021"/>
                <a:gd name="connsiteY3" fmla="*/ 96838 h 505817"/>
                <a:gd name="connsiteX4" fmla="*/ 193675 w 208021"/>
                <a:gd name="connsiteY4" fmla="*/ 460376 h 505817"/>
                <a:gd name="connsiteX5" fmla="*/ 0 w 208021"/>
                <a:gd name="connsiteY5" fmla="*/ 460375 h 505817"/>
                <a:gd name="connsiteX6" fmla="*/ 0 w 208021"/>
                <a:gd name="connsiteY6" fmla="*/ 96838 h 505817"/>
                <a:gd name="connsiteX0" fmla="*/ 0 w 208021"/>
                <a:gd name="connsiteY0" fmla="*/ 96838 h 505817"/>
                <a:gd name="connsiteX1" fmla="*/ 96838 w 208021"/>
                <a:gd name="connsiteY1" fmla="*/ 0 h 505817"/>
                <a:gd name="connsiteX2" fmla="*/ 96838 w 208021"/>
                <a:gd name="connsiteY2" fmla="*/ 0 h 505817"/>
                <a:gd name="connsiteX3" fmla="*/ 193676 w 208021"/>
                <a:gd name="connsiteY3" fmla="*/ 96838 h 505817"/>
                <a:gd name="connsiteX4" fmla="*/ 193675 w 208021"/>
                <a:gd name="connsiteY4" fmla="*/ 460376 h 505817"/>
                <a:gd name="connsiteX5" fmla="*/ 0 w 208021"/>
                <a:gd name="connsiteY5" fmla="*/ 460375 h 505817"/>
                <a:gd name="connsiteX6" fmla="*/ 0 w 208021"/>
                <a:gd name="connsiteY6" fmla="*/ 96838 h 505817"/>
                <a:gd name="connsiteX0" fmla="*/ 0 w 208021"/>
                <a:gd name="connsiteY0" fmla="*/ 96838 h 487237"/>
                <a:gd name="connsiteX1" fmla="*/ 96838 w 208021"/>
                <a:gd name="connsiteY1" fmla="*/ 0 h 487237"/>
                <a:gd name="connsiteX2" fmla="*/ 96838 w 208021"/>
                <a:gd name="connsiteY2" fmla="*/ 0 h 487237"/>
                <a:gd name="connsiteX3" fmla="*/ 193676 w 208021"/>
                <a:gd name="connsiteY3" fmla="*/ 96838 h 487237"/>
                <a:gd name="connsiteX4" fmla="*/ 193675 w 208021"/>
                <a:gd name="connsiteY4" fmla="*/ 460376 h 487237"/>
                <a:gd name="connsiteX5" fmla="*/ 0 w 208021"/>
                <a:gd name="connsiteY5" fmla="*/ 460375 h 487237"/>
                <a:gd name="connsiteX6" fmla="*/ 0 w 208021"/>
                <a:gd name="connsiteY6" fmla="*/ 96838 h 487237"/>
                <a:gd name="connsiteX0" fmla="*/ 0 w 193676"/>
                <a:gd name="connsiteY0" fmla="*/ 96838 h 487237"/>
                <a:gd name="connsiteX1" fmla="*/ 96838 w 193676"/>
                <a:gd name="connsiteY1" fmla="*/ 0 h 487237"/>
                <a:gd name="connsiteX2" fmla="*/ 96838 w 193676"/>
                <a:gd name="connsiteY2" fmla="*/ 0 h 487237"/>
                <a:gd name="connsiteX3" fmla="*/ 193676 w 193676"/>
                <a:gd name="connsiteY3" fmla="*/ 96838 h 487237"/>
                <a:gd name="connsiteX4" fmla="*/ 193675 w 193676"/>
                <a:gd name="connsiteY4" fmla="*/ 460376 h 487237"/>
                <a:gd name="connsiteX5" fmla="*/ 0 w 193676"/>
                <a:gd name="connsiteY5" fmla="*/ 460375 h 487237"/>
                <a:gd name="connsiteX6" fmla="*/ 0 w 193676"/>
                <a:gd name="connsiteY6" fmla="*/ 96838 h 487237"/>
                <a:gd name="connsiteX0" fmla="*/ 0 w 193676"/>
                <a:gd name="connsiteY0" fmla="*/ 96838 h 487237"/>
                <a:gd name="connsiteX1" fmla="*/ 96838 w 193676"/>
                <a:gd name="connsiteY1" fmla="*/ 0 h 487237"/>
                <a:gd name="connsiteX2" fmla="*/ 96838 w 193676"/>
                <a:gd name="connsiteY2" fmla="*/ 0 h 487237"/>
                <a:gd name="connsiteX3" fmla="*/ 193676 w 193676"/>
                <a:gd name="connsiteY3" fmla="*/ 96838 h 487237"/>
                <a:gd name="connsiteX4" fmla="*/ 193675 w 193676"/>
                <a:gd name="connsiteY4" fmla="*/ 460376 h 487237"/>
                <a:gd name="connsiteX5" fmla="*/ 0 w 193676"/>
                <a:gd name="connsiteY5" fmla="*/ 460375 h 487237"/>
                <a:gd name="connsiteX6" fmla="*/ 0 w 193676"/>
                <a:gd name="connsiteY6" fmla="*/ 96838 h 487237"/>
                <a:gd name="connsiteX0" fmla="*/ 0 w 193676"/>
                <a:gd name="connsiteY0" fmla="*/ 96838 h 461223"/>
                <a:gd name="connsiteX1" fmla="*/ 96838 w 193676"/>
                <a:gd name="connsiteY1" fmla="*/ 0 h 461223"/>
                <a:gd name="connsiteX2" fmla="*/ 96838 w 193676"/>
                <a:gd name="connsiteY2" fmla="*/ 0 h 461223"/>
                <a:gd name="connsiteX3" fmla="*/ 193676 w 193676"/>
                <a:gd name="connsiteY3" fmla="*/ 96838 h 461223"/>
                <a:gd name="connsiteX4" fmla="*/ 193675 w 193676"/>
                <a:gd name="connsiteY4" fmla="*/ 460376 h 461223"/>
                <a:gd name="connsiteX5" fmla="*/ 0 w 193676"/>
                <a:gd name="connsiteY5" fmla="*/ 460375 h 461223"/>
                <a:gd name="connsiteX6" fmla="*/ 0 w 193676"/>
                <a:gd name="connsiteY6" fmla="*/ 96838 h 46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676" h="461223">
                  <a:moveTo>
                    <a:pt x="0" y="96838"/>
                  </a:moveTo>
                  <a:cubicBezTo>
                    <a:pt x="0" y="43356"/>
                    <a:pt x="43356" y="0"/>
                    <a:pt x="96838" y="0"/>
                  </a:cubicBezTo>
                  <a:lnTo>
                    <a:pt x="96838" y="0"/>
                  </a:lnTo>
                  <a:cubicBezTo>
                    <a:pt x="150320" y="0"/>
                    <a:pt x="193676" y="43356"/>
                    <a:pt x="193676" y="96838"/>
                  </a:cubicBezTo>
                  <a:cubicBezTo>
                    <a:pt x="193676" y="218017"/>
                    <a:pt x="192988" y="348805"/>
                    <a:pt x="193675" y="460376"/>
                  </a:cubicBezTo>
                  <a:cubicBezTo>
                    <a:pt x="80093" y="460077"/>
                    <a:pt x="93239" y="462425"/>
                    <a:pt x="0" y="460375"/>
                  </a:cubicBezTo>
                  <a:lnTo>
                    <a:pt x="0" y="96838"/>
                  </a:lnTo>
                  <a:close/>
                </a:path>
              </a:pathLst>
            </a:custGeom>
            <a:solidFill>
              <a:schemeClr val="bg1"/>
            </a:solidFill>
            <a:ln w="19050" cap="rnd" cmpd="sng">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cxnSp>
          <p:nvCxnSpPr>
            <p:cNvPr id="307" name="Straight Connector 306"/>
            <p:cNvCxnSpPr/>
            <p:nvPr/>
          </p:nvCxnSpPr>
          <p:spPr bwMode="gray">
            <a:xfrm flipH="1">
              <a:off x="5541136" y="7031570"/>
              <a:ext cx="482381" cy="0"/>
            </a:xfrm>
            <a:prstGeom prst="line">
              <a:avLst/>
            </a:pr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1" name="Straight Connector 310"/>
            <p:cNvCxnSpPr/>
            <p:nvPr/>
          </p:nvCxnSpPr>
          <p:spPr bwMode="gray">
            <a:xfrm flipH="1">
              <a:off x="6247672" y="7031570"/>
              <a:ext cx="270000" cy="0"/>
            </a:xfrm>
            <a:prstGeom prst="line">
              <a:avLst/>
            </a:pr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4" name="Straight Connector 313"/>
            <p:cNvCxnSpPr/>
            <p:nvPr/>
          </p:nvCxnSpPr>
          <p:spPr bwMode="gray">
            <a:xfrm flipH="1">
              <a:off x="6862975" y="7031570"/>
              <a:ext cx="72000" cy="0"/>
            </a:xfrm>
            <a:prstGeom prst="line">
              <a:avLst/>
            </a:pr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6" name="Straight Connector 315"/>
            <p:cNvCxnSpPr/>
            <p:nvPr/>
          </p:nvCxnSpPr>
          <p:spPr bwMode="gray">
            <a:xfrm flipH="1">
              <a:off x="5537326" y="7606245"/>
              <a:ext cx="482381" cy="0"/>
            </a:xfrm>
            <a:prstGeom prst="line">
              <a:avLst/>
            </a:pr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8" name="Straight Connector 317"/>
            <p:cNvCxnSpPr/>
            <p:nvPr/>
          </p:nvCxnSpPr>
          <p:spPr bwMode="gray">
            <a:xfrm flipH="1">
              <a:off x="5842450" y="8205050"/>
              <a:ext cx="180000" cy="0"/>
            </a:xfrm>
            <a:prstGeom prst="line">
              <a:avLst/>
            </a:pr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322" name="Group 321"/>
          <p:cNvGrpSpPr/>
          <p:nvPr/>
        </p:nvGrpSpPr>
        <p:grpSpPr bwMode="gray">
          <a:xfrm>
            <a:off x="1145283" y="2452568"/>
            <a:ext cx="2206760" cy="1301750"/>
            <a:chOff x="1145283" y="2452568"/>
            <a:chExt cx="2206760" cy="1301750"/>
          </a:xfrm>
        </p:grpSpPr>
        <p:sp>
          <p:nvSpPr>
            <p:cNvPr id="324" name="Freeform 96"/>
            <p:cNvSpPr>
              <a:spLocks/>
            </p:cNvSpPr>
            <p:nvPr/>
          </p:nvSpPr>
          <p:spPr bwMode="gray">
            <a:xfrm>
              <a:off x="1593093" y="3282830"/>
              <a:ext cx="990000" cy="0"/>
            </a:xfrm>
            <a:custGeom>
              <a:avLst/>
              <a:gdLst>
                <a:gd name="connsiteX0" fmla="*/ 0 w 1593850"/>
                <a:gd name="connsiteY0" fmla="*/ 0 h 533400"/>
                <a:gd name="connsiteX1" fmla="*/ 1593850 w 1593850"/>
                <a:gd name="connsiteY1" fmla="*/ 0 h 533400"/>
                <a:gd name="connsiteX2" fmla="*/ 1593850 w 1593850"/>
                <a:gd name="connsiteY2" fmla="*/ 533400 h 533400"/>
                <a:gd name="connsiteX3" fmla="*/ 0 w 1593850"/>
                <a:gd name="connsiteY3" fmla="*/ 533400 h 533400"/>
                <a:gd name="connsiteX4" fmla="*/ 0 w 1593850"/>
                <a:gd name="connsiteY4" fmla="*/ 0 h 533400"/>
                <a:gd name="connsiteX0" fmla="*/ 0 w 1593850"/>
                <a:gd name="connsiteY0" fmla="*/ 0 h 533400"/>
                <a:gd name="connsiteX1" fmla="*/ 1593850 w 1593850"/>
                <a:gd name="connsiteY1" fmla="*/ 0 h 533400"/>
                <a:gd name="connsiteX2" fmla="*/ 1593850 w 1593850"/>
                <a:gd name="connsiteY2" fmla="*/ 533400 h 533400"/>
                <a:gd name="connsiteX3" fmla="*/ 0 w 1593850"/>
                <a:gd name="connsiteY3" fmla="*/ 533400 h 533400"/>
                <a:gd name="connsiteX4" fmla="*/ 91440 w 1593850"/>
                <a:gd name="connsiteY4" fmla="*/ 91440 h 533400"/>
                <a:gd name="connsiteX0" fmla="*/ 1593850 w 1593850"/>
                <a:gd name="connsiteY0" fmla="*/ 0 h 533400"/>
                <a:gd name="connsiteX1" fmla="*/ 1593850 w 1593850"/>
                <a:gd name="connsiteY1" fmla="*/ 533400 h 533400"/>
                <a:gd name="connsiteX2" fmla="*/ 0 w 1593850"/>
                <a:gd name="connsiteY2" fmla="*/ 533400 h 533400"/>
                <a:gd name="connsiteX3" fmla="*/ 91440 w 1593850"/>
                <a:gd name="connsiteY3" fmla="*/ 91440 h 533400"/>
                <a:gd name="connsiteX0" fmla="*/ 1593850 w 1593850"/>
                <a:gd name="connsiteY0" fmla="*/ 0 h 533400"/>
                <a:gd name="connsiteX1" fmla="*/ 1593850 w 1593850"/>
                <a:gd name="connsiteY1" fmla="*/ 533400 h 533400"/>
                <a:gd name="connsiteX2" fmla="*/ 0 w 1593850"/>
                <a:gd name="connsiteY2" fmla="*/ 533400 h 533400"/>
                <a:gd name="connsiteX0" fmla="*/ 1593850 w 1593850"/>
                <a:gd name="connsiteY0" fmla="*/ 0 h 0"/>
                <a:gd name="connsiteX1" fmla="*/ 0 w 1593850"/>
                <a:gd name="connsiteY1" fmla="*/ 0 h 0"/>
              </a:gdLst>
              <a:ahLst/>
              <a:cxnLst>
                <a:cxn ang="0">
                  <a:pos x="connsiteX0" y="connsiteY0"/>
                </a:cxn>
                <a:cxn ang="0">
                  <a:pos x="connsiteX1" y="connsiteY1"/>
                </a:cxn>
              </a:cxnLst>
              <a:rect l="l" t="t" r="r" b="b"/>
              <a:pathLst>
                <a:path w="1593850">
                  <a:moveTo>
                    <a:pt x="1593850" y="0"/>
                  </a:moveTo>
                  <a:lnTo>
                    <a:pt x="0" y="0"/>
                  </a:ln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38" name="Rectangle 98"/>
            <p:cNvSpPr>
              <a:spLocks noChangeAspect="1" noChangeArrowheads="1"/>
            </p:cNvSpPr>
            <p:nvPr/>
          </p:nvSpPr>
          <p:spPr bwMode="gray">
            <a:xfrm>
              <a:off x="2577343" y="3097093"/>
              <a:ext cx="338138" cy="377825"/>
            </a:xfrm>
            <a:prstGeom prst="rect">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336" name="Rectangle 101"/>
            <p:cNvSpPr>
              <a:spLocks noChangeAspect="1" noChangeArrowheads="1"/>
            </p:cNvSpPr>
            <p:nvPr/>
          </p:nvSpPr>
          <p:spPr bwMode="gray">
            <a:xfrm>
              <a:off x="3001206" y="3097090"/>
              <a:ext cx="338138" cy="377825"/>
            </a:xfrm>
            <a:prstGeom prst="rect">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327" name="Text Box 103"/>
            <p:cNvSpPr txBox="1">
              <a:spLocks noChangeArrowheads="1"/>
            </p:cNvSpPr>
            <p:nvPr/>
          </p:nvSpPr>
          <p:spPr bwMode="gray">
            <a:xfrm>
              <a:off x="1145283" y="3054230"/>
              <a:ext cx="48763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ctr">
                <a:spcBef>
                  <a:spcPct val="0"/>
                </a:spcBef>
                <a:buClrTx/>
                <a:buSzTx/>
                <a:buFontTx/>
                <a:buNone/>
              </a:pPr>
              <a:r>
                <a:rPr lang="de-DE" altLang="de-DE" sz="1200" b="0" dirty="0" err="1">
                  <a:solidFill>
                    <a:schemeClr val="tx1"/>
                  </a:solidFill>
                  <a:latin typeface="+mn-lt"/>
                </a:rPr>
                <a:t>Flue</a:t>
              </a:r>
              <a:endParaRPr lang="de-DE" altLang="de-DE" sz="1200" b="0" dirty="0">
                <a:solidFill>
                  <a:schemeClr val="tx1"/>
                </a:solidFill>
                <a:latin typeface="+mn-lt"/>
              </a:endParaRPr>
            </a:p>
            <a:p>
              <a:pPr algn="ctr">
                <a:spcBef>
                  <a:spcPct val="0"/>
                </a:spcBef>
                <a:buClrTx/>
                <a:buSzTx/>
                <a:buFontTx/>
                <a:buNone/>
              </a:pPr>
              <a:r>
                <a:rPr lang="de-DE" altLang="de-DE" sz="1200" b="0" dirty="0">
                  <a:solidFill>
                    <a:schemeClr val="tx1"/>
                  </a:solidFill>
                  <a:latin typeface="+mn-lt"/>
                </a:rPr>
                <a:t>gas</a:t>
              </a:r>
              <a:endParaRPr lang="en-US" altLang="de-DE" sz="1200" b="0" dirty="0">
                <a:solidFill>
                  <a:schemeClr val="tx1"/>
                </a:solidFill>
                <a:latin typeface="+mn-lt"/>
              </a:endParaRPr>
            </a:p>
          </p:txBody>
        </p:sp>
        <p:sp>
          <p:nvSpPr>
            <p:cNvPr id="328" name="Rectangle 104"/>
            <p:cNvSpPr>
              <a:spLocks noChangeAspect="1" noChangeArrowheads="1"/>
            </p:cNvSpPr>
            <p:nvPr/>
          </p:nvSpPr>
          <p:spPr bwMode="gray">
            <a:xfrm>
              <a:off x="2564643" y="2452568"/>
              <a:ext cx="787400" cy="295275"/>
            </a:xfrm>
            <a:prstGeom prst="rect">
              <a:avLst/>
            </a:prstGeom>
            <a:solidFill>
              <a:schemeClr val="bg1"/>
            </a:solidFill>
            <a:ln w="190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329" name="Text Box 105"/>
            <p:cNvSpPr txBox="1">
              <a:spLocks noChangeArrowheads="1"/>
            </p:cNvSpPr>
            <p:nvPr/>
          </p:nvSpPr>
          <p:spPr bwMode="gray">
            <a:xfrm>
              <a:off x="2221911" y="2717577"/>
              <a:ext cx="83370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spcBef>
                  <a:spcPct val="50000"/>
                </a:spcBef>
                <a:buClrTx/>
                <a:buSzTx/>
                <a:buFontTx/>
                <a:buNone/>
              </a:pPr>
              <a:r>
                <a:rPr lang="de-DE" altLang="de-DE" sz="1200" b="0" dirty="0">
                  <a:solidFill>
                    <a:schemeClr val="tx1"/>
                  </a:solidFill>
                  <a:latin typeface="+mn-lt"/>
                </a:rPr>
                <a:t>Analyzer</a:t>
              </a:r>
              <a:endParaRPr lang="de-DE" altLang="de-DE" sz="1000" b="0" dirty="0">
                <a:solidFill>
                  <a:schemeClr val="tx1"/>
                </a:solidFill>
                <a:latin typeface="+mn-lt"/>
              </a:endParaRPr>
            </a:p>
          </p:txBody>
        </p:sp>
        <p:sp>
          <p:nvSpPr>
            <p:cNvPr id="330" name="Rectangle 106"/>
            <p:cNvSpPr>
              <a:spLocks noChangeAspect="1" noChangeArrowheads="1"/>
            </p:cNvSpPr>
            <p:nvPr/>
          </p:nvSpPr>
          <p:spPr bwMode="gray">
            <a:xfrm>
              <a:off x="3132968" y="2528768"/>
              <a:ext cx="161925" cy="131763"/>
            </a:xfrm>
            <a:prstGeom prst="rect">
              <a:avLst/>
            </a:prstGeom>
            <a:noFill/>
            <a:ln w="19050">
              <a:solidFill>
                <a:srgbClr val="33333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grpSp>
          <p:nvGrpSpPr>
            <p:cNvPr id="331" name="Group 107"/>
            <p:cNvGrpSpPr>
              <a:grpSpLocks/>
            </p:cNvGrpSpPr>
            <p:nvPr/>
          </p:nvGrpSpPr>
          <p:grpSpPr bwMode="gray">
            <a:xfrm rot="16200000">
              <a:off x="1867731" y="3195519"/>
              <a:ext cx="165100" cy="214313"/>
              <a:chOff x="1465" y="2792"/>
              <a:chExt cx="104" cy="135"/>
            </a:xfrm>
          </p:grpSpPr>
          <p:sp>
            <p:nvSpPr>
              <p:cNvPr id="333" name="AutoShape 108"/>
              <p:cNvSpPr>
                <a:spLocks noChangeAspect="1" noChangeArrowheads="1"/>
              </p:cNvSpPr>
              <p:nvPr/>
            </p:nvSpPr>
            <p:spPr bwMode="gray">
              <a:xfrm flipV="1">
                <a:off x="1499" y="2792"/>
                <a:ext cx="70" cy="66"/>
              </a:xfrm>
              <a:prstGeom prst="triangle">
                <a:avLst>
                  <a:gd name="adj" fmla="val 50000"/>
                </a:avLst>
              </a:prstGeom>
              <a:solidFill>
                <a:schemeClr val="bg1"/>
              </a:solidFill>
              <a:ln w="12700">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334" name="AutoShape 109"/>
              <p:cNvSpPr>
                <a:spLocks noChangeAspect="1" noChangeArrowheads="1"/>
              </p:cNvSpPr>
              <p:nvPr/>
            </p:nvSpPr>
            <p:spPr bwMode="gray">
              <a:xfrm>
                <a:off x="1499" y="2861"/>
                <a:ext cx="70" cy="66"/>
              </a:xfrm>
              <a:prstGeom prst="triangle">
                <a:avLst>
                  <a:gd name="adj" fmla="val 50000"/>
                </a:avLst>
              </a:prstGeom>
              <a:solidFill>
                <a:schemeClr val="bg1"/>
              </a:solidFill>
              <a:ln w="12700">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sp>
            <p:nvSpPr>
              <p:cNvPr id="335" name="AutoShape 110"/>
              <p:cNvSpPr>
                <a:spLocks noChangeAspect="1" noChangeArrowheads="1"/>
              </p:cNvSpPr>
              <p:nvPr/>
            </p:nvSpPr>
            <p:spPr bwMode="gray">
              <a:xfrm rot="5400000">
                <a:off x="1462" y="2827"/>
                <a:ext cx="71" cy="66"/>
              </a:xfrm>
              <a:prstGeom prst="triangle">
                <a:avLst>
                  <a:gd name="adj" fmla="val 50000"/>
                </a:avLst>
              </a:prstGeom>
              <a:solidFill>
                <a:schemeClr val="tx1"/>
              </a:solidFill>
              <a:ln w="12700">
                <a:solidFill>
                  <a:srgbClr val="333333"/>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eaLnBrk="1" hangingPunct="1">
                  <a:spcBef>
                    <a:spcPct val="0"/>
                  </a:spcBef>
                  <a:buClrTx/>
                  <a:buSzTx/>
                  <a:buFontTx/>
                  <a:buNone/>
                </a:pPr>
                <a:endParaRPr lang="en-US" altLang="de-DE" b="0">
                  <a:solidFill>
                    <a:schemeClr val="tx1"/>
                  </a:solidFill>
                </a:endParaRPr>
              </a:p>
            </p:txBody>
          </p:sp>
        </p:grpSp>
        <p:sp>
          <p:nvSpPr>
            <p:cNvPr id="332" name="Text Box 139"/>
            <p:cNvSpPr txBox="1">
              <a:spLocks noChangeArrowheads="1"/>
            </p:cNvSpPr>
            <p:nvPr/>
          </p:nvSpPr>
          <p:spPr bwMode="gray">
            <a:xfrm>
              <a:off x="2321756" y="3478093"/>
              <a:ext cx="658813" cy="276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333333"/>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100000"/>
                </a:spcBef>
                <a:buClr>
                  <a:schemeClr val="tx2"/>
                </a:buClr>
                <a:buSzPct val="70000"/>
                <a:buFont typeface="Wingdings" panose="05000000000000000000" pitchFamily="2" charset="2"/>
                <a:defRPr b="1">
                  <a:solidFill>
                    <a:srgbClr val="000000"/>
                  </a:solidFill>
                  <a:latin typeface="Arial" panose="020B0604020202020204" pitchFamily="34" charset="0"/>
                  <a:cs typeface="Arial" panose="020B0604020202020204" pitchFamily="34" charset="0"/>
                </a:defRPr>
              </a:lvl1pPr>
              <a:lvl2pPr marL="742950" indent="-28575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2pPr>
              <a:lvl3pPr marL="11430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3pPr>
              <a:lvl4pPr marL="16002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4pPr>
              <a:lvl5pPr marL="2057400" indent="-228600">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buClr>
                  <a:schemeClr val="tx2"/>
                </a:buClr>
                <a:buSzPct val="70000"/>
                <a:buFont typeface="Wingdings" panose="05000000000000000000" pitchFamily="2" charset="2"/>
                <a:buChar char="§"/>
                <a:defRPr>
                  <a:solidFill>
                    <a:srgbClr val="000000"/>
                  </a:solidFill>
                  <a:latin typeface="Arial" panose="020B0604020202020204" pitchFamily="34" charset="0"/>
                  <a:cs typeface="Arial" panose="020B0604020202020204" pitchFamily="34" charset="0"/>
                </a:defRPr>
              </a:lvl9pPr>
            </a:lstStyle>
            <a:p>
              <a:pPr algn="r">
                <a:spcBef>
                  <a:spcPct val="50000"/>
                </a:spcBef>
                <a:buClrTx/>
                <a:buSzTx/>
                <a:buFontTx/>
                <a:buNone/>
              </a:pPr>
              <a:r>
                <a:rPr lang="de-DE" altLang="de-DE" sz="1200" b="0" dirty="0">
                  <a:solidFill>
                    <a:schemeClr val="tx1"/>
                  </a:solidFill>
                  <a:latin typeface="+mn-lt"/>
                </a:rPr>
                <a:t>Cooler</a:t>
              </a:r>
              <a:endParaRPr lang="de-DE" altLang="de-DE" sz="1100" b="0" dirty="0">
                <a:solidFill>
                  <a:schemeClr val="tx1"/>
                </a:solidFill>
                <a:latin typeface="+mn-lt"/>
              </a:endParaRPr>
            </a:p>
          </p:txBody>
        </p:sp>
        <p:sp>
          <p:nvSpPr>
            <p:cNvPr id="340" name="Freeform 96"/>
            <p:cNvSpPr>
              <a:spLocks/>
            </p:cNvSpPr>
            <p:nvPr/>
          </p:nvSpPr>
          <p:spPr bwMode="gray">
            <a:xfrm>
              <a:off x="2910070" y="3282830"/>
              <a:ext cx="90000" cy="0"/>
            </a:xfrm>
            <a:custGeom>
              <a:avLst/>
              <a:gdLst>
                <a:gd name="connsiteX0" fmla="*/ 0 w 1593850"/>
                <a:gd name="connsiteY0" fmla="*/ 0 h 533400"/>
                <a:gd name="connsiteX1" fmla="*/ 1593850 w 1593850"/>
                <a:gd name="connsiteY1" fmla="*/ 0 h 533400"/>
                <a:gd name="connsiteX2" fmla="*/ 1593850 w 1593850"/>
                <a:gd name="connsiteY2" fmla="*/ 533400 h 533400"/>
                <a:gd name="connsiteX3" fmla="*/ 0 w 1593850"/>
                <a:gd name="connsiteY3" fmla="*/ 533400 h 533400"/>
                <a:gd name="connsiteX4" fmla="*/ 0 w 1593850"/>
                <a:gd name="connsiteY4" fmla="*/ 0 h 533400"/>
                <a:gd name="connsiteX0" fmla="*/ 0 w 1593850"/>
                <a:gd name="connsiteY0" fmla="*/ 0 h 533400"/>
                <a:gd name="connsiteX1" fmla="*/ 1593850 w 1593850"/>
                <a:gd name="connsiteY1" fmla="*/ 0 h 533400"/>
                <a:gd name="connsiteX2" fmla="*/ 1593850 w 1593850"/>
                <a:gd name="connsiteY2" fmla="*/ 533400 h 533400"/>
                <a:gd name="connsiteX3" fmla="*/ 0 w 1593850"/>
                <a:gd name="connsiteY3" fmla="*/ 533400 h 533400"/>
                <a:gd name="connsiteX4" fmla="*/ 91440 w 1593850"/>
                <a:gd name="connsiteY4" fmla="*/ 91440 h 533400"/>
                <a:gd name="connsiteX0" fmla="*/ 1593850 w 1593850"/>
                <a:gd name="connsiteY0" fmla="*/ 0 h 533400"/>
                <a:gd name="connsiteX1" fmla="*/ 1593850 w 1593850"/>
                <a:gd name="connsiteY1" fmla="*/ 533400 h 533400"/>
                <a:gd name="connsiteX2" fmla="*/ 0 w 1593850"/>
                <a:gd name="connsiteY2" fmla="*/ 533400 h 533400"/>
                <a:gd name="connsiteX3" fmla="*/ 91440 w 1593850"/>
                <a:gd name="connsiteY3" fmla="*/ 91440 h 533400"/>
                <a:gd name="connsiteX0" fmla="*/ 1593850 w 1593850"/>
                <a:gd name="connsiteY0" fmla="*/ 0 h 533400"/>
                <a:gd name="connsiteX1" fmla="*/ 1593850 w 1593850"/>
                <a:gd name="connsiteY1" fmla="*/ 533400 h 533400"/>
                <a:gd name="connsiteX2" fmla="*/ 0 w 1593850"/>
                <a:gd name="connsiteY2" fmla="*/ 533400 h 533400"/>
                <a:gd name="connsiteX0" fmla="*/ 1593850 w 1593850"/>
                <a:gd name="connsiteY0" fmla="*/ 0 h 0"/>
                <a:gd name="connsiteX1" fmla="*/ 0 w 1593850"/>
                <a:gd name="connsiteY1" fmla="*/ 0 h 0"/>
              </a:gdLst>
              <a:ahLst/>
              <a:cxnLst>
                <a:cxn ang="0">
                  <a:pos x="connsiteX0" y="connsiteY0"/>
                </a:cxn>
                <a:cxn ang="0">
                  <a:pos x="connsiteX1" y="connsiteY1"/>
                </a:cxn>
              </a:cxnLst>
              <a:rect l="l" t="t" r="r" b="b"/>
              <a:pathLst>
                <a:path w="1593850">
                  <a:moveTo>
                    <a:pt x="1593850" y="0"/>
                  </a:moveTo>
                  <a:lnTo>
                    <a:pt x="0" y="0"/>
                  </a:ln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341" name="Freeform 96"/>
            <p:cNvSpPr>
              <a:spLocks/>
            </p:cNvSpPr>
            <p:nvPr/>
          </p:nvSpPr>
          <p:spPr bwMode="gray">
            <a:xfrm rot="5400000">
              <a:off x="2984666" y="2902861"/>
              <a:ext cx="344548" cy="45719"/>
            </a:xfrm>
            <a:custGeom>
              <a:avLst/>
              <a:gdLst>
                <a:gd name="connsiteX0" fmla="*/ 0 w 1593850"/>
                <a:gd name="connsiteY0" fmla="*/ 0 h 533400"/>
                <a:gd name="connsiteX1" fmla="*/ 1593850 w 1593850"/>
                <a:gd name="connsiteY1" fmla="*/ 0 h 533400"/>
                <a:gd name="connsiteX2" fmla="*/ 1593850 w 1593850"/>
                <a:gd name="connsiteY2" fmla="*/ 533400 h 533400"/>
                <a:gd name="connsiteX3" fmla="*/ 0 w 1593850"/>
                <a:gd name="connsiteY3" fmla="*/ 533400 h 533400"/>
                <a:gd name="connsiteX4" fmla="*/ 0 w 1593850"/>
                <a:gd name="connsiteY4" fmla="*/ 0 h 533400"/>
                <a:gd name="connsiteX0" fmla="*/ 0 w 1593850"/>
                <a:gd name="connsiteY0" fmla="*/ 0 h 533400"/>
                <a:gd name="connsiteX1" fmla="*/ 1593850 w 1593850"/>
                <a:gd name="connsiteY1" fmla="*/ 0 h 533400"/>
                <a:gd name="connsiteX2" fmla="*/ 1593850 w 1593850"/>
                <a:gd name="connsiteY2" fmla="*/ 533400 h 533400"/>
                <a:gd name="connsiteX3" fmla="*/ 0 w 1593850"/>
                <a:gd name="connsiteY3" fmla="*/ 533400 h 533400"/>
                <a:gd name="connsiteX4" fmla="*/ 91440 w 1593850"/>
                <a:gd name="connsiteY4" fmla="*/ 91440 h 533400"/>
                <a:gd name="connsiteX0" fmla="*/ 1593850 w 1593850"/>
                <a:gd name="connsiteY0" fmla="*/ 0 h 533400"/>
                <a:gd name="connsiteX1" fmla="*/ 1593850 w 1593850"/>
                <a:gd name="connsiteY1" fmla="*/ 533400 h 533400"/>
                <a:gd name="connsiteX2" fmla="*/ 0 w 1593850"/>
                <a:gd name="connsiteY2" fmla="*/ 533400 h 533400"/>
                <a:gd name="connsiteX3" fmla="*/ 91440 w 1593850"/>
                <a:gd name="connsiteY3" fmla="*/ 91440 h 533400"/>
                <a:gd name="connsiteX0" fmla="*/ 1593850 w 1593850"/>
                <a:gd name="connsiteY0" fmla="*/ 0 h 533400"/>
                <a:gd name="connsiteX1" fmla="*/ 1593850 w 1593850"/>
                <a:gd name="connsiteY1" fmla="*/ 533400 h 533400"/>
                <a:gd name="connsiteX2" fmla="*/ 0 w 1593850"/>
                <a:gd name="connsiteY2" fmla="*/ 533400 h 533400"/>
                <a:gd name="connsiteX0" fmla="*/ 1593850 w 1593850"/>
                <a:gd name="connsiteY0" fmla="*/ 0 h 0"/>
                <a:gd name="connsiteX1" fmla="*/ 0 w 1593850"/>
                <a:gd name="connsiteY1" fmla="*/ 0 h 0"/>
              </a:gdLst>
              <a:ahLst/>
              <a:cxnLst>
                <a:cxn ang="0">
                  <a:pos x="connsiteX0" y="connsiteY0"/>
                </a:cxn>
                <a:cxn ang="0">
                  <a:pos x="connsiteX1" y="connsiteY1"/>
                </a:cxn>
              </a:cxnLst>
              <a:rect l="l" t="t" r="r" b="b"/>
              <a:pathLst>
                <a:path w="1593850">
                  <a:moveTo>
                    <a:pt x="1593850" y="0"/>
                  </a:moveTo>
                  <a:lnTo>
                    <a:pt x="0" y="0"/>
                  </a:lnTo>
                </a:path>
              </a:pathLst>
            </a:custGeom>
            <a:noFill/>
            <a:ln w="1905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grpSp>
      <p:sp>
        <p:nvSpPr>
          <p:cNvPr id="176" name="AutoShape 6">
            <a:hlinkClick r:id="rId4" action="ppaction://hlinksldjump" highlightClick="1"/>
            <a:extLst>
              <a:ext uri="{FF2B5EF4-FFF2-40B4-BE49-F238E27FC236}">
                <a16:creationId xmlns:a16="http://schemas.microsoft.com/office/drawing/2014/main" id="{9513F96D-412F-440A-9BF3-4F567C0C5C3A}"/>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271242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90"/>
                                        </p:tgtEl>
                                        <p:attrNameLst>
                                          <p:attrName>style.visibility</p:attrName>
                                        </p:attrNameLst>
                                      </p:cBhvr>
                                      <p:to>
                                        <p:strVal val="visible"/>
                                      </p:to>
                                    </p:set>
                                    <p:animEffect transition="in" filter="fade">
                                      <p:cBhvr>
                                        <p:cTn id="7" dur="1000"/>
                                        <p:tgtEl>
                                          <p:spTgt spid="190"/>
                                        </p:tgtEl>
                                      </p:cBhvr>
                                    </p:animEffect>
                                  </p:childTnLst>
                                </p:cTn>
                              </p:par>
                              <p:par>
                                <p:cTn id="8" presetID="42" presetClass="entr" presetSubtype="0" fill="hold" nodeType="withEffect">
                                  <p:stCondLst>
                                    <p:cond delay="0"/>
                                  </p:stCondLst>
                                  <p:childTnLst>
                                    <p:set>
                                      <p:cBhvr>
                                        <p:cTn id="9" dur="1" fill="hold">
                                          <p:stCondLst>
                                            <p:cond delay="0"/>
                                          </p:stCondLst>
                                        </p:cTn>
                                        <p:tgtEl>
                                          <p:spTgt spid="322"/>
                                        </p:tgtEl>
                                        <p:attrNameLst>
                                          <p:attrName>style.visibility</p:attrName>
                                        </p:attrNameLst>
                                      </p:cBhvr>
                                      <p:to>
                                        <p:strVal val="visible"/>
                                      </p:to>
                                    </p:set>
                                    <p:animEffect transition="in" filter="fade">
                                      <p:cBhvr>
                                        <p:cTn id="10" dur="1000"/>
                                        <p:tgtEl>
                                          <p:spTgt spid="322"/>
                                        </p:tgtEl>
                                      </p:cBhvr>
                                    </p:animEffect>
                                    <p:anim calcmode="lin" valueType="num">
                                      <p:cBhvr>
                                        <p:cTn id="11" dur="1000" fill="hold"/>
                                        <p:tgtEl>
                                          <p:spTgt spid="322"/>
                                        </p:tgtEl>
                                        <p:attrNameLst>
                                          <p:attrName>ppt_x</p:attrName>
                                        </p:attrNameLst>
                                      </p:cBhvr>
                                      <p:tavLst>
                                        <p:tav tm="0">
                                          <p:val>
                                            <p:strVal val="#ppt_x"/>
                                          </p:val>
                                        </p:tav>
                                        <p:tav tm="100000">
                                          <p:val>
                                            <p:strVal val="#ppt_x"/>
                                          </p:val>
                                        </p:tav>
                                      </p:tavLst>
                                    </p:anim>
                                    <p:anim calcmode="lin" valueType="num">
                                      <p:cBhvr>
                                        <p:cTn id="12" dur="1000" fill="hold"/>
                                        <p:tgtEl>
                                          <p:spTgt spid="322"/>
                                        </p:tgtEl>
                                        <p:attrNameLst>
                                          <p:attrName>ppt_y</p:attrName>
                                        </p:attrNameLst>
                                      </p:cBhvr>
                                      <p:tavLst>
                                        <p:tav tm="0">
                                          <p:val>
                                            <p:strVal val="#ppt_y+.1"/>
                                          </p:val>
                                        </p:tav>
                                        <p:tav tm="100000">
                                          <p:val>
                                            <p:strVal val="#ppt_y"/>
                                          </p:val>
                                        </p:tav>
                                      </p:tavLst>
                                    </p:anim>
                                  </p:childTnLst>
                                </p:cTn>
                              </p:par>
                            </p:childTnLst>
                          </p:cTn>
                        </p:par>
                        <p:par>
                          <p:cTn id="13" fill="hold">
                            <p:stCondLst>
                              <p:cond delay="1000"/>
                            </p:stCondLst>
                            <p:childTnLst>
                              <p:par>
                                <p:cTn id="14" presetID="42" presetClass="path" presetSubtype="0" decel="50000" fill="hold" nodeType="afterEffect">
                                  <p:stCondLst>
                                    <p:cond delay="0"/>
                                  </p:stCondLst>
                                  <p:childTnLst>
                                    <p:animMotion origin="layout" path="M 0.00521 -0.01829 L 0.25972 -0.02407 " pathEditMode="relative" rAng="0" ptsTypes="AA">
                                      <p:cBhvr>
                                        <p:cTn id="15" dur="3000" fill="hold"/>
                                        <p:tgtEl>
                                          <p:spTgt spid="58"/>
                                        </p:tgtEl>
                                        <p:attrNameLst>
                                          <p:attrName>ppt_x</p:attrName>
                                          <p:attrName>ppt_y</p:attrName>
                                        </p:attrNameLst>
                                      </p:cBhvr>
                                      <p:rCtr x="12726" y="-301"/>
                                    </p:animMotion>
                                  </p:childTnLst>
                                </p:cTn>
                              </p:par>
                              <p:par>
                                <p:cTn id="16" presetID="42" presetClass="path" presetSubtype="0" decel="50000" fill="hold" nodeType="withEffect">
                                  <p:stCondLst>
                                    <p:cond delay="1000"/>
                                  </p:stCondLst>
                                  <p:childTnLst>
                                    <p:animMotion origin="layout" path="M -1.38889E-6 3.7037E-7 L 0.21979 -0.01944 " pathEditMode="relative" rAng="0" ptsTypes="AA">
                                      <p:cBhvr>
                                        <p:cTn id="17" dur="3000" fill="hold"/>
                                        <p:tgtEl>
                                          <p:spTgt spid="201"/>
                                        </p:tgtEl>
                                        <p:attrNameLst>
                                          <p:attrName>ppt_x</p:attrName>
                                          <p:attrName>ppt_y</p:attrName>
                                        </p:attrNameLst>
                                      </p:cBhvr>
                                      <p:rCtr x="10990" y="-972"/>
                                    </p:animMotion>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1000"/>
                                        <p:tgtEl>
                                          <p:spTgt spid="2"/>
                                        </p:tgtEl>
                                      </p:cBhvr>
                                    </p:animEffect>
                                  </p:childTnLst>
                                </p:cTn>
                              </p:par>
                              <p:par>
                                <p:cTn id="23" presetID="42" presetClass="entr" presetSubtype="0" fill="hold" nodeType="withEffect">
                                  <p:stCondLst>
                                    <p:cond delay="0"/>
                                  </p:stCondLst>
                                  <p:childTnLst>
                                    <p:set>
                                      <p:cBhvr>
                                        <p:cTn id="24" dur="1" fill="hold">
                                          <p:stCondLst>
                                            <p:cond delay="0"/>
                                          </p:stCondLst>
                                        </p:cTn>
                                        <p:tgtEl>
                                          <p:spTgt spid="321"/>
                                        </p:tgtEl>
                                        <p:attrNameLst>
                                          <p:attrName>style.visibility</p:attrName>
                                        </p:attrNameLst>
                                      </p:cBhvr>
                                      <p:to>
                                        <p:strVal val="visible"/>
                                      </p:to>
                                    </p:set>
                                    <p:animEffect transition="in" filter="fade">
                                      <p:cBhvr>
                                        <p:cTn id="25" dur="1000"/>
                                        <p:tgtEl>
                                          <p:spTgt spid="321"/>
                                        </p:tgtEl>
                                      </p:cBhvr>
                                    </p:animEffect>
                                    <p:anim calcmode="lin" valueType="num">
                                      <p:cBhvr>
                                        <p:cTn id="26" dur="1000" fill="hold"/>
                                        <p:tgtEl>
                                          <p:spTgt spid="321"/>
                                        </p:tgtEl>
                                        <p:attrNameLst>
                                          <p:attrName>ppt_x</p:attrName>
                                        </p:attrNameLst>
                                      </p:cBhvr>
                                      <p:tavLst>
                                        <p:tav tm="0">
                                          <p:val>
                                            <p:strVal val="#ppt_x"/>
                                          </p:val>
                                        </p:tav>
                                        <p:tav tm="100000">
                                          <p:val>
                                            <p:strVal val="#ppt_x"/>
                                          </p:val>
                                        </p:tav>
                                      </p:tavLst>
                                    </p:anim>
                                    <p:anim calcmode="lin" valueType="num">
                                      <p:cBhvr>
                                        <p:cTn id="27" dur="1000" fill="hold"/>
                                        <p:tgtEl>
                                          <p:spTgt spid="321"/>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93"/>
                                        </p:tgtEl>
                                        <p:attrNameLst>
                                          <p:attrName>style.visibility</p:attrName>
                                        </p:attrNameLst>
                                      </p:cBhvr>
                                      <p:to>
                                        <p:strVal val="visible"/>
                                      </p:to>
                                    </p:set>
                                    <p:animEffect transition="in" filter="fade">
                                      <p:cBhvr>
                                        <p:cTn id="32" dur="1000"/>
                                        <p:tgtEl>
                                          <p:spTgt spid="193"/>
                                        </p:tgtEl>
                                      </p:cBhvr>
                                    </p:animEffect>
                                  </p:childTnLst>
                                </p:cTn>
                              </p:par>
                              <p:par>
                                <p:cTn id="33" presetID="42" presetClass="entr" presetSubtype="0" fill="hold" nodeType="withEffect">
                                  <p:stCondLst>
                                    <p:cond delay="0"/>
                                  </p:stCondLst>
                                  <p:childTnLst>
                                    <p:set>
                                      <p:cBhvr>
                                        <p:cTn id="34" dur="1" fill="hold">
                                          <p:stCondLst>
                                            <p:cond delay="0"/>
                                          </p:stCondLst>
                                        </p:cTn>
                                        <p:tgtEl>
                                          <p:spTgt spid="175"/>
                                        </p:tgtEl>
                                        <p:attrNameLst>
                                          <p:attrName>style.visibility</p:attrName>
                                        </p:attrNameLst>
                                      </p:cBhvr>
                                      <p:to>
                                        <p:strVal val="visible"/>
                                      </p:to>
                                    </p:set>
                                    <p:animEffect transition="in" filter="fade">
                                      <p:cBhvr>
                                        <p:cTn id="35" dur="1000"/>
                                        <p:tgtEl>
                                          <p:spTgt spid="175"/>
                                        </p:tgtEl>
                                      </p:cBhvr>
                                    </p:animEffect>
                                    <p:anim calcmode="lin" valueType="num">
                                      <p:cBhvr>
                                        <p:cTn id="36" dur="1000" fill="hold"/>
                                        <p:tgtEl>
                                          <p:spTgt spid="175"/>
                                        </p:tgtEl>
                                        <p:attrNameLst>
                                          <p:attrName>ppt_x</p:attrName>
                                        </p:attrNameLst>
                                      </p:cBhvr>
                                      <p:tavLst>
                                        <p:tav tm="0">
                                          <p:val>
                                            <p:strVal val="#ppt_x"/>
                                          </p:val>
                                        </p:tav>
                                        <p:tav tm="100000">
                                          <p:val>
                                            <p:strVal val="#ppt_x"/>
                                          </p:val>
                                        </p:tav>
                                      </p:tavLst>
                                    </p:anim>
                                    <p:anim calcmode="lin" valueType="num">
                                      <p:cBhvr>
                                        <p:cTn id="37" dur="1000" fill="hold"/>
                                        <p:tgtEl>
                                          <p:spTgt spid="175"/>
                                        </p:tgtEl>
                                        <p:attrNameLst>
                                          <p:attrName>ppt_y</p:attrName>
                                        </p:attrNameLst>
                                      </p:cBhvr>
                                      <p:tavLst>
                                        <p:tav tm="0">
                                          <p:val>
                                            <p:strVal val="#ppt_y+.1"/>
                                          </p:val>
                                        </p:tav>
                                        <p:tav tm="100000">
                                          <p:val>
                                            <p:strVal val="#ppt_y"/>
                                          </p:val>
                                        </p:tav>
                                      </p:tavLst>
                                    </p:anim>
                                  </p:childTnLst>
                                </p:cTn>
                              </p:par>
                            </p:childTnLst>
                          </p:cTn>
                        </p:par>
                        <p:par>
                          <p:cTn id="38" fill="hold">
                            <p:stCondLst>
                              <p:cond delay="1000"/>
                            </p:stCondLst>
                            <p:childTnLst>
                              <p:par>
                                <p:cTn id="39" presetID="23" presetClass="entr" presetSubtype="16" fill="hold" nodeType="afterEffect">
                                  <p:stCondLst>
                                    <p:cond delay="0"/>
                                  </p:stCondLst>
                                  <p:childTnLst>
                                    <p:set>
                                      <p:cBhvr>
                                        <p:cTn id="40" dur="1" fill="hold">
                                          <p:stCondLst>
                                            <p:cond delay="0"/>
                                          </p:stCondLst>
                                        </p:cTn>
                                        <p:tgtEl>
                                          <p:spTgt spid="178"/>
                                        </p:tgtEl>
                                        <p:attrNameLst>
                                          <p:attrName>style.visibility</p:attrName>
                                        </p:attrNameLst>
                                      </p:cBhvr>
                                      <p:to>
                                        <p:strVal val="visible"/>
                                      </p:to>
                                    </p:set>
                                    <p:anim calcmode="lin" valueType="num">
                                      <p:cBhvr>
                                        <p:cTn id="41" dur="1000" fill="hold"/>
                                        <p:tgtEl>
                                          <p:spTgt spid="178"/>
                                        </p:tgtEl>
                                        <p:attrNameLst>
                                          <p:attrName>ppt_w</p:attrName>
                                        </p:attrNameLst>
                                      </p:cBhvr>
                                      <p:tavLst>
                                        <p:tav tm="0">
                                          <p:val>
                                            <p:fltVal val="0"/>
                                          </p:val>
                                        </p:tav>
                                        <p:tav tm="100000">
                                          <p:val>
                                            <p:strVal val="#ppt_w"/>
                                          </p:val>
                                        </p:tav>
                                      </p:tavLst>
                                    </p:anim>
                                    <p:anim calcmode="lin" valueType="num">
                                      <p:cBhvr>
                                        <p:cTn id="42" dur="1000" fill="hold"/>
                                        <p:tgtEl>
                                          <p:spTgt spid="178"/>
                                        </p:tgtEl>
                                        <p:attrNameLst>
                                          <p:attrName>ppt_h</p:attrName>
                                        </p:attrNameLst>
                                      </p:cBhvr>
                                      <p:tavLst>
                                        <p:tav tm="0">
                                          <p:val>
                                            <p:fltVal val="0"/>
                                          </p:val>
                                        </p:tav>
                                        <p:tav tm="100000">
                                          <p:val>
                                            <p:strVal val="#ppt_h"/>
                                          </p:val>
                                        </p:tav>
                                      </p:tavLst>
                                    </p:anim>
                                  </p:childTnLst>
                                </p:cTn>
                              </p:par>
                              <p:par>
                                <p:cTn id="43" presetID="50" presetClass="path" presetSubtype="0" accel="50000" decel="50000" fill="hold" nodeType="withEffect">
                                  <p:stCondLst>
                                    <p:cond delay="0"/>
                                  </p:stCondLst>
                                  <p:childTnLst>
                                    <p:animMotion origin="layout" path="M -0.00455 -0.025 C -0.00455 -0.02477 0.01159 0.05093 0.00573 0.1044 C -0.00013 0.15787 -0.03411 0.21042 -0.06471 0.24167 C -0.09531 0.27292 -0.15442 0.28148 -0.17799 0.2919 " pathEditMode="relative" rAng="0" ptsTypes="assa">
                                      <p:cBhvr>
                                        <p:cTn id="44" dur="3000" fill="hold"/>
                                        <p:tgtEl>
                                          <p:spTgt spid="178"/>
                                        </p:tgtEl>
                                        <p:attrNameLst>
                                          <p:attrName>ppt_x</p:attrName>
                                          <p:attrName>ppt_y</p:attrName>
                                        </p:attrNameLst>
                                      </p:cBhvr>
                                      <p:rCtr x="-7865" y="15833"/>
                                    </p:animMotion>
                                  </p:childTnLst>
                                </p:cTn>
                              </p:par>
                            </p:childTnLst>
                          </p:cTn>
                        </p:par>
                        <p:par>
                          <p:cTn id="45" fill="hold">
                            <p:stCondLst>
                              <p:cond delay="4000"/>
                            </p:stCondLst>
                            <p:childTnLst>
                              <p:par>
                                <p:cTn id="46" presetID="10" presetClass="entr" presetSubtype="0" fill="hold" grpId="0" nodeType="afterEffect">
                                  <p:stCondLst>
                                    <p:cond delay="0"/>
                                  </p:stCondLst>
                                  <p:childTnLst>
                                    <p:set>
                                      <p:cBhvr>
                                        <p:cTn id="47" dur="1" fill="hold">
                                          <p:stCondLst>
                                            <p:cond delay="0"/>
                                          </p:stCondLst>
                                        </p:cTn>
                                        <p:tgtEl>
                                          <p:spTgt spid="184"/>
                                        </p:tgtEl>
                                        <p:attrNameLst>
                                          <p:attrName>style.visibility</p:attrName>
                                        </p:attrNameLst>
                                      </p:cBhvr>
                                      <p:to>
                                        <p:strVal val="visible"/>
                                      </p:to>
                                    </p:set>
                                    <p:animEffect transition="in" filter="fade">
                                      <p:cBhvr>
                                        <p:cTn id="48" dur="250"/>
                                        <p:tgtEl>
                                          <p:spTgt spid="184"/>
                                        </p:tgtEl>
                                      </p:cBhvr>
                                    </p:animEffect>
                                  </p:childTnLst>
                                </p:cTn>
                              </p:par>
                            </p:childTnLst>
                          </p:cTn>
                        </p:par>
                        <p:par>
                          <p:cTn id="49" fill="hold">
                            <p:stCondLst>
                              <p:cond delay="4250"/>
                            </p:stCondLst>
                            <p:childTnLst>
                              <p:par>
                                <p:cTn id="50" presetID="22" presetClass="entr" presetSubtype="8" fill="hold" grpId="0" nodeType="afterEffect">
                                  <p:stCondLst>
                                    <p:cond delay="0"/>
                                  </p:stCondLst>
                                  <p:childTnLst>
                                    <p:set>
                                      <p:cBhvr>
                                        <p:cTn id="51" dur="1" fill="hold">
                                          <p:stCondLst>
                                            <p:cond delay="0"/>
                                          </p:stCondLst>
                                        </p:cTn>
                                        <p:tgtEl>
                                          <p:spTgt spid="197"/>
                                        </p:tgtEl>
                                        <p:attrNameLst>
                                          <p:attrName>style.visibility</p:attrName>
                                        </p:attrNameLst>
                                      </p:cBhvr>
                                      <p:to>
                                        <p:strVal val="visible"/>
                                      </p:to>
                                    </p:set>
                                    <p:animEffect transition="in" filter="wipe(left)">
                                      <p:cBhvr>
                                        <p:cTn id="52" dur="1000"/>
                                        <p:tgtEl>
                                          <p:spTgt spid="1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7" grpId="0" animBg="1"/>
      <p:bldP spid="184"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bwMode="gray"/>
        <p:txBody>
          <a:bodyPr/>
          <a:lstStyle/>
          <a:p>
            <a:r>
              <a:rPr lang="en-US" dirty="0"/>
              <a:t>Calibration cells</a:t>
            </a:r>
            <a:endParaRPr lang="de-DE" dirty="0"/>
          </a:p>
        </p:txBody>
      </p:sp>
      <p:sp>
        <p:nvSpPr>
          <p:cNvPr id="5" name="Date Placeholder 4"/>
          <p:cNvSpPr>
            <a:spLocks noGrp="1"/>
          </p:cNvSpPr>
          <p:nvPr>
            <p:ph type="dt" sz="half" idx="14"/>
          </p:nvPr>
        </p:nvSpPr>
        <p:spPr bwMode="gray"/>
        <p:txBody>
          <a:bodyPr/>
          <a:lstStyle/>
          <a:p>
            <a:fld id="{86F86C5A-086E-4096-B694-19CDD342EB12}" type="datetime4">
              <a:rPr lang="en-US" smtClean="0"/>
              <a:t>September 8, 2019</a:t>
            </a:fld>
            <a:endParaRPr lang="en-US" dirty="0"/>
          </a:p>
        </p:txBody>
      </p:sp>
      <p:sp>
        <p:nvSpPr>
          <p:cNvPr id="146" name="Footer Placeholder 2"/>
          <p:cNvSpPr>
            <a:spLocks noGrp="1"/>
          </p:cNvSpPr>
          <p:nvPr>
            <p:ph type="ftr" sz="quarter" idx="15"/>
          </p:nvPr>
        </p:nvSpPr>
        <p:spPr bwMode="gray"/>
        <p:txBody>
          <a:bodyPr/>
          <a:lstStyle/>
          <a:p>
            <a:pPr lvl="8"/>
            <a:endParaRPr lang="en-US" dirty="0"/>
          </a:p>
        </p:txBody>
      </p:sp>
      <p:sp>
        <p:nvSpPr>
          <p:cNvPr id="6" name="Slide Number Placeholder 5"/>
          <p:cNvSpPr>
            <a:spLocks noGrp="1"/>
          </p:cNvSpPr>
          <p:nvPr>
            <p:ph type="sldNum" sz="quarter" idx="16"/>
          </p:nvPr>
        </p:nvSpPr>
        <p:spPr bwMode="gray"/>
        <p:txBody>
          <a:bodyPr/>
          <a:lstStyle/>
          <a:p>
            <a:r>
              <a:rPr lang="en-US"/>
              <a:t>Slide </a:t>
            </a:r>
            <a:fld id="{619F89D8-7AE3-494A-97F3-03D680869632}" type="slidenum">
              <a:rPr lang="en-US" smtClean="0"/>
              <a:pPr/>
              <a:t>98</a:t>
            </a:fld>
            <a:endParaRPr lang="en-US" dirty="0"/>
          </a:p>
        </p:txBody>
      </p:sp>
      <p:sp>
        <p:nvSpPr>
          <p:cNvPr id="23" name="Subtitle 22"/>
          <p:cNvSpPr>
            <a:spLocks noGrp="1"/>
          </p:cNvSpPr>
          <p:nvPr>
            <p:ph type="subTitle" idx="13"/>
          </p:nvPr>
        </p:nvSpPr>
        <p:spPr bwMode="gray"/>
        <p:txBody>
          <a:bodyPr/>
          <a:lstStyle/>
          <a:p>
            <a:r>
              <a:rPr lang="de-DE" dirty="0" err="1"/>
              <a:t>Optionally</a:t>
            </a:r>
            <a:r>
              <a:rPr lang="de-DE" dirty="0"/>
              <a:t> </a:t>
            </a:r>
            <a:r>
              <a:rPr lang="de-DE" dirty="0" err="1"/>
              <a:t>available</a:t>
            </a:r>
            <a:r>
              <a:rPr lang="de-DE" dirty="0"/>
              <a:t> </a:t>
            </a:r>
            <a:r>
              <a:rPr lang="de-DE" dirty="0" err="1"/>
              <a:t>for</a:t>
            </a:r>
            <a:r>
              <a:rPr lang="de-DE" dirty="0"/>
              <a:t> AO2000, EL3000, EL3060 and ACX</a:t>
            </a:r>
          </a:p>
        </p:txBody>
      </p:sp>
      <p:pic>
        <p:nvPicPr>
          <p:cNvPr id="38" name="Picture 37" descr="TÜV"/>
          <p:cNvPicPr>
            <a:picLocks noChangeAspect="1" noChangeArrowheads="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gray">
          <a:xfrm>
            <a:off x="9339556" y="2423726"/>
            <a:ext cx="1384742" cy="1045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Text Placeholder 9"/>
          <p:cNvSpPr txBox="1">
            <a:spLocks/>
          </p:cNvSpPr>
          <p:nvPr/>
        </p:nvSpPr>
        <p:spPr bwMode="gray">
          <a:xfrm>
            <a:off x="336000" y="5452639"/>
            <a:ext cx="11520000" cy="460800"/>
          </a:xfrm>
          <a:prstGeom prst="rect">
            <a:avLst/>
          </a:prstGeom>
          <a:solidFill>
            <a:schemeClr val="bg1">
              <a:lumMod val="65000"/>
            </a:schemeClr>
          </a:solidFill>
        </p:spPr>
        <p:txBody>
          <a:bodyPr vert="horz" lIns="72000" tIns="72000" rIns="72000" bIns="72000" rtlCol="0" anchor="ctr">
            <a:noAutofit/>
          </a:bodyPr>
          <a:lstStyle>
            <a:defPPr>
              <a:defRPr lang="en-US"/>
            </a:defPPr>
            <a:lvl1pPr marL="0" indent="0" algn="ctr" defTabSz="914400" rtl="0" eaLnBrk="1" latinLnBrk="0" hangingPunct="1">
              <a:buFont typeface="Arial" panose="020B0604020202020204" pitchFamily="34" charset="0"/>
              <a:buNone/>
              <a:defRPr sz="1400" kern="1200">
                <a:solidFill>
                  <a:schemeClr val="bg1"/>
                </a:solidFill>
                <a:latin typeface="+mn-lt"/>
                <a:ea typeface="+mn-ea"/>
                <a:cs typeface="+mn-cs"/>
              </a:defRPr>
            </a:lvl1pPr>
            <a:lvl2pPr marL="0" indent="0" algn="ctr" defTabSz="914400" rtl="0" eaLnBrk="1" latinLnBrk="0" hangingPunct="1">
              <a:buNone/>
              <a:defRPr sz="1400" kern="1200">
                <a:solidFill>
                  <a:schemeClr val="bg1"/>
                </a:solidFill>
                <a:latin typeface="+mn-lt"/>
                <a:ea typeface="+mn-ea"/>
                <a:cs typeface="+mn-cs"/>
              </a:defRPr>
            </a:lvl2pPr>
            <a:lvl3pPr marL="0" indent="0" algn="ctr" defTabSz="914400" rtl="0" eaLnBrk="1" latinLnBrk="0" hangingPunct="1">
              <a:buNone/>
              <a:defRPr sz="1400" kern="1200">
                <a:solidFill>
                  <a:schemeClr val="bg1"/>
                </a:solidFill>
                <a:latin typeface="+mn-lt"/>
                <a:ea typeface="+mn-ea"/>
                <a:cs typeface="+mn-cs"/>
              </a:defRPr>
            </a:lvl3pPr>
            <a:lvl4pPr marL="0" indent="0" algn="ctr" defTabSz="914400" rtl="0" eaLnBrk="1" latinLnBrk="0" hangingPunct="1">
              <a:buNone/>
              <a:defRPr sz="1400" kern="1200">
                <a:solidFill>
                  <a:schemeClr val="bg1"/>
                </a:solidFill>
                <a:latin typeface="+mn-lt"/>
                <a:ea typeface="+mn-ea"/>
                <a:cs typeface="+mn-cs"/>
              </a:defRPr>
            </a:lvl4pPr>
            <a:lvl5pPr marL="0" indent="0" algn="ctr" defTabSz="914400" rtl="0" eaLnBrk="1" latinLnBrk="0" hangingPunct="1">
              <a:buNone/>
              <a:defRPr sz="1400" kern="1200">
                <a:solidFill>
                  <a:schemeClr val="bg1"/>
                </a:solidFill>
                <a:latin typeface="+mn-lt"/>
                <a:ea typeface="+mn-ea"/>
                <a:cs typeface="+mn-cs"/>
              </a:defRPr>
            </a:lvl5pPr>
            <a:lvl6pPr marL="0" indent="0" algn="ctr" defTabSz="914400" rtl="0" eaLnBrk="1" latinLnBrk="0" hangingPunct="1">
              <a:buNone/>
              <a:defRPr sz="1400" kern="1200">
                <a:solidFill>
                  <a:schemeClr val="bg1"/>
                </a:solidFill>
                <a:latin typeface="+mn-lt"/>
                <a:ea typeface="+mn-ea"/>
                <a:cs typeface="+mn-cs"/>
              </a:defRPr>
            </a:lvl6pPr>
            <a:lvl7pPr marL="0" indent="0" algn="ctr" defTabSz="914400" rtl="0" eaLnBrk="1" latinLnBrk="0" hangingPunct="1">
              <a:buNone/>
              <a:defRPr sz="1400" kern="1200">
                <a:solidFill>
                  <a:schemeClr val="bg1"/>
                </a:solidFill>
                <a:latin typeface="+mn-lt"/>
                <a:ea typeface="+mn-ea"/>
                <a:cs typeface="+mn-cs"/>
              </a:defRPr>
            </a:lvl7pPr>
            <a:lvl8pPr marL="0" indent="0" algn="ctr" defTabSz="914400" rtl="0" eaLnBrk="1" latinLnBrk="0" hangingPunct="1">
              <a:buNone/>
              <a:defRPr sz="1400" kern="1200">
                <a:solidFill>
                  <a:schemeClr val="bg1"/>
                </a:solidFill>
                <a:latin typeface="+mn-lt"/>
                <a:ea typeface="+mn-ea"/>
                <a:cs typeface="+mn-cs"/>
              </a:defRPr>
            </a:lvl8pPr>
            <a:lvl9pPr marL="0" indent="0" algn="ctr" defTabSz="914400" rtl="0" eaLnBrk="1" latinLnBrk="0" hangingPunct="1">
              <a:buNone/>
              <a:defRPr sz="1400" kern="1200">
                <a:solidFill>
                  <a:schemeClr val="bg1"/>
                </a:solidFill>
                <a:latin typeface="+mn-lt"/>
                <a:ea typeface="+mn-ea"/>
                <a:cs typeface="+mn-cs"/>
              </a:defRPr>
            </a:lvl9pPr>
          </a:lstStyle>
          <a:p>
            <a:r>
              <a:rPr lang="en-US" sz="1600" b="1" dirty="0"/>
              <a:t>Up to 95% reduction in calibration costs!</a:t>
            </a:r>
          </a:p>
        </p:txBody>
      </p:sp>
      <p:grpSp>
        <p:nvGrpSpPr>
          <p:cNvPr id="41" name="Group 40"/>
          <p:cNvGrpSpPr/>
          <p:nvPr/>
        </p:nvGrpSpPr>
        <p:grpSpPr bwMode="gray">
          <a:xfrm>
            <a:off x="4271795" y="1816571"/>
            <a:ext cx="3643200" cy="379065"/>
            <a:chOff x="2539994" y="1816571"/>
            <a:chExt cx="4511579" cy="379065"/>
          </a:xfrm>
        </p:grpSpPr>
        <p:cxnSp>
          <p:nvCxnSpPr>
            <p:cNvPr id="42" name="Straight Connector 41"/>
            <p:cNvCxnSpPr/>
            <p:nvPr/>
          </p:nvCxnSpPr>
          <p:spPr bwMode="gray">
            <a:xfrm>
              <a:off x="2539994" y="2186113"/>
              <a:ext cx="4504326"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Text Placeholder 7"/>
            <p:cNvSpPr txBox="1">
              <a:spLocks/>
            </p:cNvSpPr>
            <p:nvPr/>
          </p:nvSpPr>
          <p:spPr bwMode="gray">
            <a:xfrm>
              <a:off x="2539994" y="1816571"/>
              <a:ext cx="4511579"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lgn="ctr">
                <a:spcBef>
                  <a:spcPts val="600"/>
                </a:spcBef>
              </a:pPr>
              <a:r>
                <a:rPr lang="en-US" dirty="0"/>
                <a:t>Suitability</a:t>
              </a:r>
            </a:p>
          </p:txBody>
        </p:sp>
      </p:grpSp>
      <p:grpSp>
        <p:nvGrpSpPr>
          <p:cNvPr id="44" name="Group 43"/>
          <p:cNvGrpSpPr/>
          <p:nvPr/>
        </p:nvGrpSpPr>
        <p:grpSpPr bwMode="gray">
          <a:xfrm>
            <a:off x="333264" y="1816571"/>
            <a:ext cx="3643200" cy="379065"/>
            <a:chOff x="2539994" y="1816571"/>
            <a:chExt cx="4511579" cy="379065"/>
          </a:xfrm>
        </p:grpSpPr>
        <p:cxnSp>
          <p:nvCxnSpPr>
            <p:cNvPr id="45" name="Straight Connector 44"/>
            <p:cNvCxnSpPr/>
            <p:nvPr/>
          </p:nvCxnSpPr>
          <p:spPr bwMode="gray">
            <a:xfrm>
              <a:off x="2539994" y="2186113"/>
              <a:ext cx="4504326"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6" name="Text Placeholder 7"/>
            <p:cNvSpPr txBox="1">
              <a:spLocks/>
            </p:cNvSpPr>
            <p:nvPr/>
          </p:nvSpPr>
          <p:spPr bwMode="gray">
            <a:xfrm>
              <a:off x="2539994" y="1816571"/>
              <a:ext cx="4511579"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lgn="ctr">
                <a:spcBef>
                  <a:spcPts val="600"/>
                </a:spcBef>
              </a:pPr>
              <a:r>
                <a:rPr lang="en-US" dirty="0"/>
                <a:t>Manufacturing</a:t>
              </a:r>
            </a:p>
          </p:txBody>
        </p:sp>
      </p:grpSp>
      <p:grpSp>
        <p:nvGrpSpPr>
          <p:cNvPr id="47" name="Group 46"/>
          <p:cNvGrpSpPr/>
          <p:nvPr/>
        </p:nvGrpSpPr>
        <p:grpSpPr bwMode="gray">
          <a:xfrm>
            <a:off x="8210327" y="1816571"/>
            <a:ext cx="3643200" cy="379065"/>
            <a:chOff x="2539994" y="1816571"/>
            <a:chExt cx="4511579" cy="379065"/>
          </a:xfrm>
        </p:grpSpPr>
        <p:cxnSp>
          <p:nvCxnSpPr>
            <p:cNvPr id="48" name="Straight Connector 47"/>
            <p:cNvCxnSpPr/>
            <p:nvPr/>
          </p:nvCxnSpPr>
          <p:spPr bwMode="gray">
            <a:xfrm>
              <a:off x="2539994" y="2186113"/>
              <a:ext cx="4504326"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9" name="Text Placeholder 7"/>
            <p:cNvSpPr txBox="1">
              <a:spLocks/>
            </p:cNvSpPr>
            <p:nvPr/>
          </p:nvSpPr>
          <p:spPr bwMode="gray">
            <a:xfrm>
              <a:off x="2539994" y="1816571"/>
              <a:ext cx="4511579" cy="379065"/>
            </a:xfrm>
            <a:prstGeom prst="rect">
              <a:avLst/>
            </a:prstGeom>
          </p:spPr>
          <p:txBody>
            <a:bodyPr vert="horz" lIns="72000" tIns="72000" rIns="72000" bIns="72000" rtlCol="0" anchor="b">
              <a:noAutofit/>
            </a:bodyPr>
            <a:lstStyle>
              <a:lvl1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ct val="20000"/>
                </a:spcBef>
                <a:buFont typeface="ABBvoiceOffice" panose="020D0603020503020204" pitchFamily="34" charset="0"/>
                <a:buNone/>
                <a:defRPr sz="1600" b="1" kern="1200">
                  <a:solidFill>
                    <a:schemeClr val="tx2"/>
                  </a:solidFill>
                  <a:latin typeface="+mn-lt"/>
                  <a:ea typeface="+mn-ea"/>
                  <a:cs typeface="+mn-cs"/>
                </a:defRPr>
              </a:lvl2pPr>
              <a:lvl3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3pPr>
              <a:lvl4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4pPr>
              <a:lvl5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5pPr>
              <a:lvl6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6pPr>
              <a:lvl7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7pPr>
              <a:lvl8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8pPr>
              <a:lvl9pPr marL="0" indent="0" algn="l" defTabSz="914400" rtl="0" eaLnBrk="1" latinLnBrk="0" hangingPunct="1">
                <a:spcBef>
                  <a:spcPct val="20000"/>
                </a:spcBef>
                <a:buFont typeface="Arial" panose="020B0604020202020204" pitchFamily="34" charset="0"/>
                <a:buNone/>
                <a:defRPr sz="1600" b="1" kern="1200">
                  <a:solidFill>
                    <a:schemeClr val="tx2"/>
                  </a:solidFill>
                  <a:latin typeface="+mn-lt"/>
                  <a:ea typeface="+mn-ea"/>
                  <a:cs typeface="+mn-cs"/>
                </a:defRPr>
              </a:lvl9pPr>
            </a:lstStyle>
            <a:p>
              <a:pPr algn="ctr">
                <a:spcBef>
                  <a:spcPts val="600"/>
                </a:spcBef>
              </a:pPr>
              <a:r>
                <a:rPr lang="en-US" dirty="0"/>
                <a:t>Proven technology</a:t>
              </a:r>
            </a:p>
          </p:txBody>
        </p:sp>
      </p:grpSp>
      <p:sp>
        <p:nvSpPr>
          <p:cNvPr id="50" name="Text Placeholder 5"/>
          <p:cNvSpPr txBox="1">
            <a:spLocks/>
          </p:cNvSpPr>
          <p:nvPr/>
        </p:nvSpPr>
        <p:spPr bwMode="gray">
          <a:xfrm>
            <a:off x="333265" y="3666701"/>
            <a:ext cx="3643200" cy="1672930"/>
          </a:xfrm>
          <a:prstGeom prst="rect">
            <a:avLst/>
          </a:prstGeom>
        </p:spPr>
        <p:txBody>
          <a:bodyPr lIns="72000" tIns="72000" rIns="72000" bIns="72000"/>
          <a:lstStyle>
            <a:lvl1pPr marL="0" indent="0" algn="l" defTabSz="914400"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spcBef>
                <a:spcPct val="20000"/>
              </a:spcBef>
              <a:buFont typeface="ABBvoiceOffice" panose="020D0603020503020204" pitchFamily="34" charset="0"/>
              <a:buChar char="–"/>
              <a:defRPr sz="1400" kern="1200">
                <a:solidFill>
                  <a:schemeClr val="tx1"/>
                </a:solidFill>
                <a:latin typeface="+mn-lt"/>
                <a:ea typeface="+mn-ea"/>
                <a:cs typeface="+mn-cs"/>
              </a:defRPr>
            </a:lvl2pPr>
            <a:lvl3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9pPr>
          </a:lstStyle>
          <a:p>
            <a:pPr lvl="1">
              <a:spcBef>
                <a:spcPts val="600"/>
              </a:spcBef>
            </a:pPr>
            <a:r>
              <a:rPr lang="en-US" dirty="0"/>
              <a:t>Gas-filled cell </a:t>
            </a:r>
          </a:p>
          <a:p>
            <a:pPr lvl="1">
              <a:spcBef>
                <a:spcPts val="600"/>
              </a:spcBef>
            </a:pPr>
            <a:r>
              <a:rPr lang="en-US" dirty="0"/>
              <a:t>Tightness guaranteed by proprietary sputter and soldering technique</a:t>
            </a:r>
          </a:p>
          <a:p>
            <a:pPr lvl="1">
              <a:spcBef>
                <a:spcPts val="600"/>
              </a:spcBef>
            </a:pPr>
            <a:r>
              <a:rPr lang="en-US" dirty="0"/>
              <a:t>30 years’ manufacturing experience</a:t>
            </a:r>
          </a:p>
        </p:txBody>
      </p:sp>
      <p:sp>
        <p:nvSpPr>
          <p:cNvPr id="51" name="Text Placeholder 5"/>
          <p:cNvSpPr txBox="1">
            <a:spLocks/>
          </p:cNvSpPr>
          <p:nvPr/>
        </p:nvSpPr>
        <p:spPr bwMode="gray">
          <a:xfrm>
            <a:off x="4271795" y="3666701"/>
            <a:ext cx="3643200" cy="1672930"/>
          </a:xfrm>
          <a:prstGeom prst="rect">
            <a:avLst/>
          </a:prstGeom>
        </p:spPr>
        <p:txBody>
          <a:bodyPr lIns="72000" tIns="72000" rIns="72000" bIns="72000"/>
          <a:lstStyle>
            <a:lvl1pPr marL="0" indent="0" algn="l" defTabSz="914400"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spcBef>
                <a:spcPct val="20000"/>
              </a:spcBef>
              <a:buFont typeface="ABBvoiceOffice" panose="020D0603020503020204" pitchFamily="34" charset="0"/>
              <a:buChar char="–"/>
              <a:defRPr sz="1400" kern="1200">
                <a:solidFill>
                  <a:schemeClr val="tx1"/>
                </a:solidFill>
                <a:latin typeface="+mn-lt"/>
                <a:ea typeface="+mn-ea"/>
                <a:cs typeface="+mn-cs"/>
              </a:defRPr>
            </a:lvl2pPr>
            <a:lvl3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9pPr>
          </a:lstStyle>
          <a:p>
            <a:pPr lvl="1">
              <a:spcBef>
                <a:spcPts val="600"/>
              </a:spcBef>
            </a:pPr>
            <a:r>
              <a:rPr lang="en-US" dirty="0"/>
              <a:t>Alternative to flowing test gas</a:t>
            </a:r>
          </a:p>
          <a:p>
            <a:pPr lvl="1">
              <a:spcBef>
                <a:spcPts val="600"/>
              </a:spcBef>
            </a:pPr>
            <a:r>
              <a:rPr lang="en-US" dirty="0"/>
              <a:t>Available in both Uras and Limas photometers</a:t>
            </a:r>
          </a:p>
          <a:p>
            <a:pPr lvl="1">
              <a:spcBef>
                <a:spcPts val="600"/>
              </a:spcBef>
            </a:pPr>
            <a:r>
              <a:rPr lang="en-US" dirty="0"/>
              <a:t>Compliant with </a:t>
            </a:r>
            <a:r>
              <a:rPr lang="en-US" b="1" dirty="0">
                <a:solidFill>
                  <a:srgbClr val="FF0000"/>
                </a:solidFill>
              </a:rPr>
              <a:t>EN 14181</a:t>
            </a:r>
            <a:r>
              <a:rPr lang="en-US" dirty="0"/>
              <a:t> and </a:t>
            </a:r>
            <a:br>
              <a:rPr lang="en-US" dirty="0"/>
            </a:br>
            <a:r>
              <a:rPr lang="en-US" b="1" dirty="0">
                <a:solidFill>
                  <a:srgbClr val="FF0000"/>
                </a:solidFill>
              </a:rPr>
              <a:t>US EPA 40 CFR Part 60</a:t>
            </a:r>
          </a:p>
        </p:txBody>
      </p:sp>
      <p:sp>
        <p:nvSpPr>
          <p:cNvPr id="52" name="Text Placeholder 5"/>
          <p:cNvSpPr txBox="1">
            <a:spLocks/>
          </p:cNvSpPr>
          <p:nvPr/>
        </p:nvSpPr>
        <p:spPr bwMode="gray">
          <a:xfrm>
            <a:off x="8210327" y="3666701"/>
            <a:ext cx="3643200" cy="1672930"/>
          </a:xfrm>
          <a:prstGeom prst="rect">
            <a:avLst/>
          </a:prstGeom>
        </p:spPr>
        <p:txBody>
          <a:bodyPr lIns="72000" tIns="72000" rIns="72000" bIns="72000"/>
          <a:lstStyle>
            <a:lvl1pPr marL="0" indent="0" algn="l" defTabSz="914400"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180000" indent="-180000" algn="l" defTabSz="914400" rtl="0" eaLnBrk="1" latinLnBrk="0" hangingPunct="1">
              <a:spcBef>
                <a:spcPct val="20000"/>
              </a:spcBef>
              <a:buFont typeface="ABBvoiceOffice" panose="020D0603020503020204" pitchFamily="34" charset="0"/>
              <a:buChar char="–"/>
              <a:defRPr sz="1400" kern="1200">
                <a:solidFill>
                  <a:schemeClr val="tx1"/>
                </a:solidFill>
                <a:latin typeface="+mn-lt"/>
                <a:ea typeface="+mn-ea"/>
                <a:cs typeface="+mn-cs"/>
              </a:defRPr>
            </a:lvl2pPr>
            <a:lvl3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3pPr>
            <a:lvl4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360000" indent="-1800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9pPr>
          </a:lstStyle>
          <a:p>
            <a:pPr lvl="1">
              <a:spcBef>
                <a:spcPts val="600"/>
              </a:spcBef>
            </a:pPr>
            <a:r>
              <a:rPr lang="en-US" dirty="0"/>
              <a:t>Tested by TÜV for over 10 years</a:t>
            </a:r>
          </a:p>
          <a:p>
            <a:pPr lvl="1">
              <a:spcBef>
                <a:spcPts val="600"/>
              </a:spcBef>
            </a:pPr>
            <a:r>
              <a:rPr lang="en-US" dirty="0"/>
              <a:t>Stability superior to many test gases</a:t>
            </a:r>
          </a:p>
          <a:p>
            <a:pPr lvl="1">
              <a:spcBef>
                <a:spcPts val="600"/>
              </a:spcBef>
            </a:pPr>
            <a:r>
              <a:rPr lang="en-US" dirty="0"/>
              <a:t>Drift &lt; 0.5% per year</a:t>
            </a:r>
          </a:p>
          <a:p>
            <a:pPr lvl="1">
              <a:spcBef>
                <a:spcPts val="600"/>
              </a:spcBef>
            </a:pPr>
            <a:r>
              <a:rPr lang="en-US" b="1" dirty="0">
                <a:solidFill>
                  <a:srgbClr val="FF0000"/>
                </a:solidFill>
              </a:rPr>
              <a:t>Certified</a:t>
            </a:r>
            <a:r>
              <a:rPr lang="en-US" dirty="0"/>
              <a:t> acc. </a:t>
            </a:r>
            <a:r>
              <a:rPr lang="en-US" b="1" dirty="0">
                <a:solidFill>
                  <a:srgbClr val="FF0000"/>
                </a:solidFill>
              </a:rPr>
              <a:t>EN 15267</a:t>
            </a:r>
          </a:p>
        </p:txBody>
      </p:sp>
      <p:pic>
        <p:nvPicPr>
          <p:cNvPr id="53" name="Picture 52"/>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bwMode="gray">
          <a:xfrm>
            <a:off x="1077833" y="2518173"/>
            <a:ext cx="2154064" cy="1000648"/>
          </a:xfrm>
          <a:prstGeom prst="rect">
            <a:avLst/>
          </a:prstGeom>
        </p:spPr>
      </p:pic>
      <p:pic>
        <p:nvPicPr>
          <p:cNvPr id="2054" name="Picture 6" descr="C:\Users\Samuel Rackstraw.SAMMY-LAPTOP\Desktop\Desktop_Orga\CUSTOMERS\ABB\54_CEMS_customer_presentation\CEMS_webinar\AO2020_edit.png"/>
          <p:cNvPicPr>
            <a:picLocks noChangeAspect="1" noChangeArrowheads="1"/>
          </p:cNvPicPr>
          <p:nvPr/>
        </p:nvPicPr>
        <p:blipFill rotWithShape="1">
          <a:blip r:embed="rId6">
            <a:extLst>
              <a:ext uri="{28A0092B-C50C-407E-A947-70E740481C1C}">
                <a14:useLocalDpi xmlns:a14="http://schemas.microsoft.com/office/drawing/2010/main" val="0"/>
              </a:ext>
            </a:extLst>
          </a:blip>
          <a:srcRect t="25334" b="24994"/>
          <a:stretch/>
        </p:blipFill>
        <p:spPr bwMode="gray">
          <a:xfrm>
            <a:off x="5283564" y="2766323"/>
            <a:ext cx="1594392" cy="791986"/>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7"/>
          <p:cNvPicPr>
            <a:picLocks noChangeAspect="1" noChangeArrowheads="1"/>
          </p:cNvPicPr>
          <p:nvPr/>
        </p:nvPicPr>
        <p:blipFill rotWithShape="1">
          <a:blip r:embed="rId7">
            <a:extLst>
              <a:ext uri="{28A0092B-C50C-407E-A947-70E740481C1C}">
                <a14:useLocalDpi xmlns:a14="http://schemas.microsoft.com/office/drawing/2010/main" val="0"/>
              </a:ext>
            </a:extLst>
          </a:blip>
          <a:srcRect t="16291" b="25245"/>
          <a:stretch/>
        </p:blipFill>
        <p:spPr bwMode="gray">
          <a:xfrm>
            <a:off x="5314917" y="2369585"/>
            <a:ext cx="1563039" cy="609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AutoShape 6">
            <a:hlinkClick r:id="rId8" action="ppaction://hlinksldjump" highlightClick="1"/>
            <a:extLst>
              <a:ext uri="{FF2B5EF4-FFF2-40B4-BE49-F238E27FC236}">
                <a16:creationId xmlns:a16="http://schemas.microsoft.com/office/drawing/2014/main" id="{8155979B-A7B4-48BE-864F-841B0EF6832C}"/>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Tree>
    <p:custDataLst>
      <p:tags r:id="rId1"/>
    </p:custDataLst>
    <p:extLst>
      <p:ext uri="{BB962C8B-B14F-4D97-AF65-F5344CB8AC3E}">
        <p14:creationId xmlns:p14="http://schemas.microsoft.com/office/powerpoint/2010/main" val="2545249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1000"/>
                                        <p:tgtEl>
                                          <p:spTgt spid="44"/>
                                        </p:tgtEl>
                                      </p:cBhvr>
                                    </p:animEffect>
                                    <p:anim calcmode="lin" valueType="num">
                                      <p:cBhvr>
                                        <p:cTn id="8" dur="1000" fill="hold"/>
                                        <p:tgtEl>
                                          <p:spTgt spid="44"/>
                                        </p:tgtEl>
                                        <p:attrNameLst>
                                          <p:attrName>ppt_x</p:attrName>
                                        </p:attrNameLst>
                                      </p:cBhvr>
                                      <p:tavLst>
                                        <p:tav tm="0">
                                          <p:val>
                                            <p:strVal val="#ppt_x"/>
                                          </p:val>
                                        </p:tav>
                                        <p:tav tm="100000">
                                          <p:val>
                                            <p:strVal val="#ppt_x"/>
                                          </p:val>
                                        </p:tav>
                                      </p:tavLst>
                                    </p:anim>
                                    <p:anim calcmode="lin" valueType="num">
                                      <p:cBhvr>
                                        <p:cTn id="9" dur="1000" fill="hold"/>
                                        <p:tgtEl>
                                          <p:spTgt spid="4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fade">
                                      <p:cBhvr>
                                        <p:cTn id="12" dur="1000"/>
                                        <p:tgtEl>
                                          <p:spTgt spid="53"/>
                                        </p:tgtEl>
                                      </p:cBhvr>
                                    </p:animEffect>
                                    <p:anim calcmode="lin" valueType="num">
                                      <p:cBhvr>
                                        <p:cTn id="13" dur="1000" fill="hold"/>
                                        <p:tgtEl>
                                          <p:spTgt spid="53"/>
                                        </p:tgtEl>
                                        <p:attrNameLst>
                                          <p:attrName>ppt_x</p:attrName>
                                        </p:attrNameLst>
                                      </p:cBhvr>
                                      <p:tavLst>
                                        <p:tav tm="0">
                                          <p:val>
                                            <p:strVal val="#ppt_x"/>
                                          </p:val>
                                        </p:tav>
                                        <p:tav tm="100000">
                                          <p:val>
                                            <p:strVal val="#ppt_x"/>
                                          </p:val>
                                        </p:tav>
                                      </p:tavLst>
                                    </p:anim>
                                    <p:anim calcmode="lin" valueType="num">
                                      <p:cBhvr>
                                        <p:cTn id="14" dur="1000" fill="hold"/>
                                        <p:tgtEl>
                                          <p:spTgt spid="5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0">
                                            <p:txEl>
                                              <p:pRg st="0" end="0"/>
                                            </p:txEl>
                                          </p:spTgt>
                                        </p:tgtEl>
                                        <p:attrNameLst>
                                          <p:attrName>style.visibility</p:attrName>
                                        </p:attrNameLst>
                                      </p:cBhvr>
                                      <p:to>
                                        <p:strVal val="visible"/>
                                      </p:to>
                                    </p:set>
                                    <p:animEffect transition="in" filter="fade">
                                      <p:cBhvr>
                                        <p:cTn id="17" dur="1000"/>
                                        <p:tgtEl>
                                          <p:spTgt spid="50">
                                            <p:txEl>
                                              <p:pRg st="0" end="0"/>
                                            </p:txEl>
                                          </p:spTgt>
                                        </p:tgtEl>
                                      </p:cBhvr>
                                    </p:animEffect>
                                    <p:anim calcmode="lin" valueType="num">
                                      <p:cBhvr>
                                        <p:cTn id="18" dur="1000" fill="hold"/>
                                        <p:tgtEl>
                                          <p:spTgt spid="50">
                                            <p:txEl>
                                              <p:pRg st="0" end="0"/>
                                            </p:txEl>
                                          </p:spTgt>
                                        </p:tgtEl>
                                        <p:attrNameLst>
                                          <p:attrName>ppt_x</p:attrName>
                                        </p:attrNameLst>
                                      </p:cBhvr>
                                      <p:tavLst>
                                        <p:tav tm="0">
                                          <p:val>
                                            <p:strVal val="#ppt_x"/>
                                          </p:val>
                                        </p:tav>
                                        <p:tav tm="100000">
                                          <p:val>
                                            <p:strVal val="#ppt_x"/>
                                          </p:val>
                                        </p:tav>
                                      </p:tavLst>
                                    </p:anim>
                                    <p:anim calcmode="lin" valueType="num">
                                      <p:cBhvr>
                                        <p:cTn id="19" dur="1000" fill="hold"/>
                                        <p:tgtEl>
                                          <p:spTgt spid="50">
                                            <p:txEl>
                                              <p:pRg st="0" end="0"/>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50">
                                            <p:txEl>
                                              <p:pRg st="1" end="1"/>
                                            </p:txEl>
                                          </p:spTgt>
                                        </p:tgtEl>
                                        <p:attrNameLst>
                                          <p:attrName>style.visibility</p:attrName>
                                        </p:attrNameLst>
                                      </p:cBhvr>
                                      <p:to>
                                        <p:strVal val="visible"/>
                                      </p:to>
                                    </p:set>
                                    <p:animEffect transition="in" filter="fade">
                                      <p:cBhvr>
                                        <p:cTn id="22" dur="1000"/>
                                        <p:tgtEl>
                                          <p:spTgt spid="50">
                                            <p:txEl>
                                              <p:pRg st="1" end="1"/>
                                            </p:txEl>
                                          </p:spTgt>
                                        </p:tgtEl>
                                      </p:cBhvr>
                                    </p:animEffect>
                                    <p:anim calcmode="lin" valueType="num">
                                      <p:cBhvr>
                                        <p:cTn id="23" dur="1000" fill="hold"/>
                                        <p:tgtEl>
                                          <p:spTgt spid="50">
                                            <p:txEl>
                                              <p:pRg st="1" end="1"/>
                                            </p:txEl>
                                          </p:spTgt>
                                        </p:tgtEl>
                                        <p:attrNameLst>
                                          <p:attrName>ppt_x</p:attrName>
                                        </p:attrNameLst>
                                      </p:cBhvr>
                                      <p:tavLst>
                                        <p:tav tm="0">
                                          <p:val>
                                            <p:strVal val="#ppt_x"/>
                                          </p:val>
                                        </p:tav>
                                        <p:tav tm="100000">
                                          <p:val>
                                            <p:strVal val="#ppt_x"/>
                                          </p:val>
                                        </p:tav>
                                      </p:tavLst>
                                    </p:anim>
                                    <p:anim calcmode="lin" valueType="num">
                                      <p:cBhvr>
                                        <p:cTn id="24" dur="1000" fill="hold"/>
                                        <p:tgtEl>
                                          <p:spTgt spid="50">
                                            <p:txEl>
                                              <p:pRg st="1" end="1"/>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50">
                                            <p:txEl>
                                              <p:pRg st="2" end="2"/>
                                            </p:txEl>
                                          </p:spTgt>
                                        </p:tgtEl>
                                        <p:attrNameLst>
                                          <p:attrName>style.visibility</p:attrName>
                                        </p:attrNameLst>
                                      </p:cBhvr>
                                      <p:to>
                                        <p:strVal val="visible"/>
                                      </p:to>
                                    </p:set>
                                    <p:animEffect transition="in" filter="fade">
                                      <p:cBhvr>
                                        <p:cTn id="27" dur="1000"/>
                                        <p:tgtEl>
                                          <p:spTgt spid="50">
                                            <p:txEl>
                                              <p:pRg st="2" end="2"/>
                                            </p:txEl>
                                          </p:spTgt>
                                        </p:tgtEl>
                                      </p:cBhvr>
                                    </p:animEffect>
                                    <p:anim calcmode="lin" valueType="num">
                                      <p:cBhvr>
                                        <p:cTn id="28" dur="1000" fill="hold"/>
                                        <p:tgtEl>
                                          <p:spTgt spid="50">
                                            <p:txEl>
                                              <p:pRg st="2" end="2"/>
                                            </p:txEl>
                                          </p:spTgt>
                                        </p:tgtEl>
                                        <p:attrNameLst>
                                          <p:attrName>ppt_x</p:attrName>
                                        </p:attrNameLst>
                                      </p:cBhvr>
                                      <p:tavLst>
                                        <p:tav tm="0">
                                          <p:val>
                                            <p:strVal val="#ppt_x"/>
                                          </p:val>
                                        </p:tav>
                                        <p:tav tm="100000">
                                          <p:val>
                                            <p:strVal val="#ppt_x"/>
                                          </p:val>
                                        </p:tav>
                                      </p:tavLst>
                                    </p:anim>
                                    <p:anim calcmode="lin" valueType="num">
                                      <p:cBhvr>
                                        <p:cTn id="29" dur="1000" fill="hold"/>
                                        <p:tgtEl>
                                          <p:spTgt spid="50">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41"/>
                                        </p:tgtEl>
                                        <p:attrNameLst>
                                          <p:attrName>style.visibility</p:attrName>
                                        </p:attrNameLst>
                                      </p:cBhvr>
                                      <p:to>
                                        <p:strVal val="visible"/>
                                      </p:to>
                                    </p:set>
                                    <p:animEffect transition="in" filter="fade">
                                      <p:cBhvr>
                                        <p:cTn id="34" dur="1000"/>
                                        <p:tgtEl>
                                          <p:spTgt spid="41"/>
                                        </p:tgtEl>
                                      </p:cBhvr>
                                    </p:animEffect>
                                    <p:anim calcmode="lin" valueType="num">
                                      <p:cBhvr>
                                        <p:cTn id="35" dur="1000" fill="hold"/>
                                        <p:tgtEl>
                                          <p:spTgt spid="41"/>
                                        </p:tgtEl>
                                        <p:attrNameLst>
                                          <p:attrName>ppt_x</p:attrName>
                                        </p:attrNameLst>
                                      </p:cBhvr>
                                      <p:tavLst>
                                        <p:tav tm="0">
                                          <p:val>
                                            <p:strVal val="#ppt_x"/>
                                          </p:val>
                                        </p:tav>
                                        <p:tav tm="100000">
                                          <p:val>
                                            <p:strVal val="#ppt_x"/>
                                          </p:val>
                                        </p:tav>
                                      </p:tavLst>
                                    </p:anim>
                                    <p:anim calcmode="lin" valueType="num">
                                      <p:cBhvr>
                                        <p:cTn id="36" dur="1000" fill="hold"/>
                                        <p:tgtEl>
                                          <p:spTgt spid="41"/>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51">
                                            <p:txEl>
                                              <p:pRg st="0" end="0"/>
                                            </p:txEl>
                                          </p:spTgt>
                                        </p:tgtEl>
                                        <p:attrNameLst>
                                          <p:attrName>style.visibility</p:attrName>
                                        </p:attrNameLst>
                                      </p:cBhvr>
                                      <p:to>
                                        <p:strVal val="visible"/>
                                      </p:to>
                                    </p:set>
                                    <p:animEffect transition="in" filter="fade">
                                      <p:cBhvr>
                                        <p:cTn id="39" dur="1000"/>
                                        <p:tgtEl>
                                          <p:spTgt spid="51">
                                            <p:txEl>
                                              <p:pRg st="0" end="0"/>
                                            </p:txEl>
                                          </p:spTgt>
                                        </p:tgtEl>
                                      </p:cBhvr>
                                    </p:animEffect>
                                    <p:anim calcmode="lin" valueType="num">
                                      <p:cBhvr>
                                        <p:cTn id="40" dur="1000" fill="hold"/>
                                        <p:tgtEl>
                                          <p:spTgt spid="51">
                                            <p:txEl>
                                              <p:pRg st="0" end="0"/>
                                            </p:txEl>
                                          </p:spTgt>
                                        </p:tgtEl>
                                        <p:attrNameLst>
                                          <p:attrName>ppt_x</p:attrName>
                                        </p:attrNameLst>
                                      </p:cBhvr>
                                      <p:tavLst>
                                        <p:tav tm="0">
                                          <p:val>
                                            <p:strVal val="#ppt_x"/>
                                          </p:val>
                                        </p:tav>
                                        <p:tav tm="100000">
                                          <p:val>
                                            <p:strVal val="#ppt_x"/>
                                          </p:val>
                                        </p:tav>
                                      </p:tavLst>
                                    </p:anim>
                                    <p:anim calcmode="lin" valueType="num">
                                      <p:cBhvr>
                                        <p:cTn id="41" dur="1000" fill="hold"/>
                                        <p:tgtEl>
                                          <p:spTgt spid="51">
                                            <p:txEl>
                                              <p:pRg st="0" end="0"/>
                                            </p:txEl>
                                          </p:spTgt>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51">
                                            <p:txEl>
                                              <p:pRg st="1" end="1"/>
                                            </p:txEl>
                                          </p:spTgt>
                                        </p:tgtEl>
                                        <p:attrNameLst>
                                          <p:attrName>style.visibility</p:attrName>
                                        </p:attrNameLst>
                                      </p:cBhvr>
                                      <p:to>
                                        <p:strVal val="visible"/>
                                      </p:to>
                                    </p:set>
                                    <p:animEffect transition="in" filter="fade">
                                      <p:cBhvr>
                                        <p:cTn id="44" dur="1000"/>
                                        <p:tgtEl>
                                          <p:spTgt spid="51">
                                            <p:txEl>
                                              <p:pRg st="1" end="1"/>
                                            </p:txEl>
                                          </p:spTgt>
                                        </p:tgtEl>
                                      </p:cBhvr>
                                    </p:animEffect>
                                    <p:anim calcmode="lin" valueType="num">
                                      <p:cBhvr>
                                        <p:cTn id="45" dur="1000" fill="hold"/>
                                        <p:tgtEl>
                                          <p:spTgt spid="51">
                                            <p:txEl>
                                              <p:pRg st="1" end="1"/>
                                            </p:txEl>
                                          </p:spTgt>
                                        </p:tgtEl>
                                        <p:attrNameLst>
                                          <p:attrName>ppt_x</p:attrName>
                                        </p:attrNameLst>
                                      </p:cBhvr>
                                      <p:tavLst>
                                        <p:tav tm="0">
                                          <p:val>
                                            <p:strVal val="#ppt_x"/>
                                          </p:val>
                                        </p:tav>
                                        <p:tav tm="100000">
                                          <p:val>
                                            <p:strVal val="#ppt_x"/>
                                          </p:val>
                                        </p:tav>
                                      </p:tavLst>
                                    </p:anim>
                                    <p:anim calcmode="lin" valueType="num">
                                      <p:cBhvr>
                                        <p:cTn id="46" dur="1000" fill="hold"/>
                                        <p:tgtEl>
                                          <p:spTgt spid="51">
                                            <p:txEl>
                                              <p:pRg st="1" end="1"/>
                                            </p:txEl>
                                          </p:spTgt>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51">
                                            <p:txEl>
                                              <p:pRg st="2" end="2"/>
                                            </p:txEl>
                                          </p:spTgt>
                                        </p:tgtEl>
                                        <p:attrNameLst>
                                          <p:attrName>style.visibility</p:attrName>
                                        </p:attrNameLst>
                                      </p:cBhvr>
                                      <p:to>
                                        <p:strVal val="visible"/>
                                      </p:to>
                                    </p:set>
                                    <p:animEffect transition="in" filter="fade">
                                      <p:cBhvr>
                                        <p:cTn id="49" dur="1000"/>
                                        <p:tgtEl>
                                          <p:spTgt spid="51">
                                            <p:txEl>
                                              <p:pRg st="2" end="2"/>
                                            </p:txEl>
                                          </p:spTgt>
                                        </p:tgtEl>
                                      </p:cBhvr>
                                    </p:animEffect>
                                    <p:anim calcmode="lin" valueType="num">
                                      <p:cBhvr>
                                        <p:cTn id="50" dur="1000" fill="hold"/>
                                        <p:tgtEl>
                                          <p:spTgt spid="51">
                                            <p:txEl>
                                              <p:pRg st="2" end="2"/>
                                            </p:txEl>
                                          </p:spTgt>
                                        </p:tgtEl>
                                        <p:attrNameLst>
                                          <p:attrName>ppt_x</p:attrName>
                                        </p:attrNameLst>
                                      </p:cBhvr>
                                      <p:tavLst>
                                        <p:tav tm="0">
                                          <p:val>
                                            <p:strVal val="#ppt_x"/>
                                          </p:val>
                                        </p:tav>
                                        <p:tav tm="100000">
                                          <p:val>
                                            <p:strVal val="#ppt_x"/>
                                          </p:val>
                                        </p:tav>
                                      </p:tavLst>
                                    </p:anim>
                                    <p:anim calcmode="lin" valueType="num">
                                      <p:cBhvr>
                                        <p:cTn id="51" dur="1000" fill="hold"/>
                                        <p:tgtEl>
                                          <p:spTgt spid="51">
                                            <p:txEl>
                                              <p:pRg st="2" end="2"/>
                                            </p:txEl>
                                          </p:spTgt>
                                        </p:tgtEl>
                                        <p:attrNameLst>
                                          <p:attrName>ppt_y</p:attrName>
                                        </p:attrNameLst>
                                      </p:cBhvr>
                                      <p:tavLst>
                                        <p:tav tm="0">
                                          <p:val>
                                            <p:strVal val="#ppt_y+.1"/>
                                          </p:val>
                                        </p:tav>
                                        <p:tav tm="100000">
                                          <p:val>
                                            <p:strVal val="#ppt_y"/>
                                          </p:val>
                                        </p:tav>
                                      </p:tavLst>
                                    </p:anim>
                                  </p:childTnLst>
                                </p:cTn>
                              </p:par>
                              <p:par>
                                <p:cTn id="52" presetID="10" presetClass="entr" presetSubtype="0" fill="hold" nodeType="withEffect">
                                  <p:stCondLst>
                                    <p:cond delay="500"/>
                                  </p:stCondLst>
                                  <p:childTnLst>
                                    <p:set>
                                      <p:cBhvr>
                                        <p:cTn id="53" dur="1" fill="hold">
                                          <p:stCondLst>
                                            <p:cond delay="0"/>
                                          </p:stCondLst>
                                        </p:cTn>
                                        <p:tgtEl>
                                          <p:spTgt spid="2054"/>
                                        </p:tgtEl>
                                        <p:attrNameLst>
                                          <p:attrName>style.visibility</p:attrName>
                                        </p:attrNameLst>
                                      </p:cBhvr>
                                      <p:to>
                                        <p:strVal val="visible"/>
                                      </p:to>
                                    </p:set>
                                    <p:animEffect transition="in" filter="fade">
                                      <p:cBhvr>
                                        <p:cTn id="54" dur="500"/>
                                        <p:tgtEl>
                                          <p:spTgt spid="2054"/>
                                        </p:tgtEl>
                                      </p:cBhvr>
                                    </p:animEffect>
                                  </p:childTnLst>
                                </p:cTn>
                              </p:par>
                              <p:par>
                                <p:cTn id="55" presetID="64" presetClass="path" presetSubtype="0" decel="50000" fill="hold" nodeType="withEffect">
                                  <p:stCondLst>
                                    <p:cond delay="500"/>
                                  </p:stCondLst>
                                  <p:childTnLst>
                                    <p:animMotion origin="layout" path="M -0.03242 0.03287 L 0 -1.48148E-6 " pathEditMode="relative" rAng="0" ptsTypes="AA">
                                      <p:cBhvr>
                                        <p:cTn id="56" dur="1000" fill="hold"/>
                                        <p:tgtEl>
                                          <p:spTgt spid="2054"/>
                                        </p:tgtEl>
                                        <p:attrNameLst>
                                          <p:attrName>ppt_x</p:attrName>
                                          <p:attrName>ppt_y</p:attrName>
                                        </p:attrNameLst>
                                      </p:cBhvr>
                                      <p:rCtr x="1615" y="-1644"/>
                                    </p:animMotion>
                                  </p:childTnLst>
                                </p:cTn>
                              </p:par>
                              <p:par>
                                <p:cTn id="57" presetID="10" presetClass="entr" presetSubtype="0" fill="hold" nodeType="withEffect">
                                  <p:stCondLst>
                                    <p:cond delay="1000"/>
                                  </p:stCondLst>
                                  <p:childTnLst>
                                    <p:set>
                                      <p:cBhvr>
                                        <p:cTn id="58" dur="1" fill="hold">
                                          <p:stCondLst>
                                            <p:cond delay="0"/>
                                          </p:stCondLst>
                                        </p:cTn>
                                        <p:tgtEl>
                                          <p:spTgt spid="2055"/>
                                        </p:tgtEl>
                                        <p:attrNameLst>
                                          <p:attrName>style.visibility</p:attrName>
                                        </p:attrNameLst>
                                      </p:cBhvr>
                                      <p:to>
                                        <p:strVal val="visible"/>
                                      </p:to>
                                    </p:set>
                                    <p:animEffect transition="in" filter="fade">
                                      <p:cBhvr>
                                        <p:cTn id="59" dur="500"/>
                                        <p:tgtEl>
                                          <p:spTgt spid="2055"/>
                                        </p:tgtEl>
                                      </p:cBhvr>
                                    </p:animEffect>
                                  </p:childTnLst>
                                </p:cTn>
                              </p:par>
                              <p:par>
                                <p:cTn id="60" presetID="64" presetClass="path" presetSubtype="0" decel="50000" fill="hold" nodeType="withEffect">
                                  <p:stCondLst>
                                    <p:cond delay="1000"/>
                                  </p:stCondLst>
                                  <p:childTnLst>
                                    <p:animMotion origin="layout" path="M -0.03086 0.02963 L -2.08333E-6 3.33333E-6 " pathEditMode="relative" rAng="0" ptsTypes="AA">
                                      <p:cBhvr>
                                        <p:cTn id="61" dur="1000" fill="hold"/>
                                        <p:tgtEl>
                                          <p:spTgt spid="2055"/>
                                        </p:tgtEl>
                                        <p:attrNameLst>
                                          <p:attrName>ppt_x</p:attrName>
                                          <p:attrName>ppt_y</p:attrName>
                                        </p:attrNameLst>
                                      </p:cBhvr>
                                      <p:rCtr x="1536" y="-1481"/>
                                    </p:animMotion>
                                  </p:childTnLst>
                                </p:cTn>
                              </p:par>
                            </p:childTnLst>
                          </p:cTn>
                        </p:par>
                      </p:childTnLst>
                    </p:cTn>
                  </p:par>
                  <p:par>
                    <p:cTn id="62" fill="hold">
                      <p:stCondLst>
                        <p:cond delay="indefinite"/>
                      </p:stCondLst>
                      <p:childTnLst>
                        <p:par>
                          <p:cTn id="63" fill="hold">
                            <p:stCondLst>
                              <p:cond delay="0"/>
                            </p:stCondLst>
                            <p:childTnLst>
                              <p:par>
                                <p:cTn id="64" presetID="42" presetClass="entr" presetSubtype="0" fill="hold" nodeType="clickEffect">
                                  <p:stCondLst>
                                    <p:cond delay="0"/>
                                  </p:stCondLst>
                                  <p:childTnLst>
                                    <p:set>
                                      <p:cBhvr>
                                        <p:cTn id="65" dur="1" fill="hold">
                                          <p:stCondLst>
                                            <p:cond delay="0"/>
                                          </p:stCondLst>
                                        </p:cTn>
                                        <p:tgtEl>
                                          <p:spTgt spid="47"/>
                                        </p:tgtEl>
                                        <p:attrNameLst>
                                          <p:attrName>style.visibility</p:attrName>
                                        </p:attrNameLst>
                                      </p:cBhvr>
                                      <p:to>
                                        <p:strVal val="visible"/>
                                      </p:to>
                                    </p:set>
                                    <p:animEffect transition="in" filter="fade">
                                      <p:cBhvr>
                                        <p:cTn id="66" dur="1000"/>
                                        <p:tgtEl>
                                          <p:spTgt spid="47"/>
                                        </p:tgtEl>
                                      </p:cBhvr>
                                    </p:animEffect>
                                    <p:anim calcmode="lin" valueType="num">
                                      <p:cBhvr>
                                        <p:cTn id="67" dur="1000" fill="hold"/>
                                        <p:tgtEl>
                                          <p:spTgt spid="47"/>
                                        </p:tgtEl>
                                        <p:attrNameLst>
                                          <p:attrName>ppt_x</p:attrName>
                                        </p:attrNameLst>
                                      </p:cBhvr>
                                      <p:tavLst>
                                        <p:tav tm="0">
                                          <p:val>
                                            <p:strVal val="#ppt_x"/>
                                          </p:val>
                                        </p:tav>
                                        <p:tav tm="100000">
                                          <p:val>
                                            <p:strVal val="#ppt_x"/>
                                          </p:val>
                                        </p:tav>
                                      </p:tavLst>
                                    </p:anim>
                                    <p:anim calcmode="lin" valueType="num">
                                      <p:cBhvr>
                                        <p:cTn id="68" dur="1000" fill="hold"/>
                                        <p:tgtEl>
                                          <p:spTgt spid="47"/>
                                        </p:tgtEl>
                                        <p:attrNameLst>
                                          <p:attrName>ppt_y</p:attrName>
                                        </p:attrNameLst>
                                      </p:cBhvr>
                                      <p:tavLst>
                                        <p:tav tm="0">
                                          <p:val>
                                            <p:strVal val="#ppt_y+.1"/>
                                          </p:val>
                                        </p:tav>
                                        <p:tav tm="100000">
                                          <p:val>
                                            <p:strVal val="#ppt_y"/>
                                          </p:val>
                                        </p:tav>
                                      </p:tavLst>
                                    </p:anim>
                                  </p:childTnLst>
                                </p:cTn>
                              </p:par>
                              <p:par>
                                <p:cTn id="69" presetID="42" presetClass="entr" presetSubtype="0" fill="hold" nodeType="withEffect">
                                  <p:stCondLst>
                                    <p:cond delay="0"/>
                                  </p:stCondLst>
                                  <p:childTnLst>
                                    <p:set>
                                      <p:cBhvr>
                                        <p:cTn id="70" dur="1" fill="hold">
                                          <p:stCondLst>
                                            <p:cond delay="0"/>
                                          </p:stCondLst>
                                        </p:cTn>
                                        <p:tgtEl>
                                          <p:spTgt spid="38"/>
                                        </p:tgtEl>
                                        <p:attrNameLst>
                                          <p:attrName>style.visibility</p:attrName>
                                        </p:attrNameLst>
                                      </p:cBhvr>
                                      <p:to>
                                        <p:strVal val="visible"/>
                                      </p:to>
                                    </p:set>
                                    <p:animEffect transition="in" filter="fade">
                                      <p:cBhvr>
                                        <p:cTn id="71" dur="1000"/>
                                        <p:tgtEl>
                                          <p:spTgt spid="38"/>
                                        </p:tgtEl>
                                      </p:cBhvr>
                                    </p:animEffect>
                                    <p:anim calcmode="lin" valueType="num">
                                      <p:cBhvr>
                                        <p:cTn id="72" dur="1000" fill="hold"/>
                                        <p:tgtEl>
                                          <p:spTgt spid="38"/>
                                        </p:tgtEl>
                                        <p:attrNameLst>
                                          <p:attrName>ppt_x</p:attrName>
                                        </p:attrNameLst>
                                      </p:cBhvr>
                                      <p:tavLst>
                                        <p:tav tm="0">
                                          <p:val>
                                            <p:strVal val="#ppt_x"/>
                                          </p:val>
                                        </p:tav>
                                        <p:tav tm="100000">
                                          <p:val>
                                            <p:strVal val="#ppt_x"/>
                                          </p:val>
                                        </p:tav>
                                      </p:tavLst>
                                    </p:anim>
                                    <p:anim calcmode="lin" valueType="num">
                                      <p:cBhvr>
                                        <p:cTn id="73" dur="1000" fill="hold"/>
                                        <p:tgtEl>
                                          <p:spTgt spid="38"/>
                                        </p:tgtEl>
                                        <p:attrNameLst>
                                          <p:attrName>ppt_y</p:attrName>
                                        </p:attrNameLst>
                                      </p:cBhvr>
                                      <p:tavLst>
                                        <p:tav tm="0">
                                          <p:val>
                                            <p:strVal val="#ppt_y+.1"/>
                                          </p:val>
                                        </p:tav>
                                        <p:tav tm="100000">
                                          <p:val>
                                            <p:strVal val="#ppt_y"/>
                                          </p:val>
                                        </p:tav>
                                      </p:tavLst>
                                    </p:anim>
                                  </p:childTnLst>
                                </p:cTn>
                              </p:par>
                              <p:par>
                                <p:cTn id="74" presetID="42" presetClass="entr" presetSubtype="0" fill="hold" nodeType="withEffect">
                                  <p:stCondLst>
                                    <p:cond delay="0"/>
                                  </p:stCondLst>
                                  <p:childTnLst>
                                    <p:set>
                                      <p:cBhvr>
                                        <p:cTn id="75" dur="1" fill="hold">
                                          <p:stCondLst>
                                            <p:cond delay="0"/>
                                          </p:stCondLst>
                                        </p:cTn>
                                        <p:tgtEl>
                                          <p:spTgt spid="52">
                                            <p:txEl>
                                              <p:pRg st="0" end="0"/>
                                            </p:txEl>
                                          </p:spTgt>
                                        </p:tgtEl>
                                        <p:attrNameLst>
                                          <p:attrName>style.visibility</p:attrName>
                                        </p:attrNameLst>
                                      </p:cBhvr>
                                      <p:to>
                                        <p:strVal val="visible"/>
                                      </p:to>
                                    </p:set>
                                    <p:animEffect transition="in" filter="fade">
                                      <p:cBhvr>
                                        <p:cTn id="76" dur="1000"/>
                                        <p:tgtEl>
                                          <p:spTgt spid="52">
                                            <p:txEl>
                                              <p:pRg st="0" end="0"/>
                                            </p:txEl>
                                          </p:spTgt>
                                        </p:tgtEl>
                                      </p:cBhvr>
                                    </p:animEffect>
                                    <p:anim calcmode="lin" valueType="num">
                                      <p:cBhvr>
                                        <p:cTn id="77" dur="1000" fill="hold"/>
                                        <p:tgtEl>
                                          <p:spTgt spid="52">
                                            <p:txEl>
                                              <p:pRg st="0" end="0"/>
                                            </p:txEl>
                                          </p:spTgt>
                                        </p:tgtEl>
                                        <p:attrNameLst>
                                          <p:attrName>ppt_x</p:attrName>
                                        </p:attrNameLst>
                                      </p:cBhvr>
                                      <p:tavLst>
                                        <p:tav tm="0">
                                          <p:val>
                                            <p:strVal val="#ppt_x"/>
                                          </p:val>
                                        </p:tav>
                                        <p:tav tm="100000">
                                          <p:val>
                                            <p:strVal val="#ppt_x"/>
                                          </p:val>
                                        </p:tav>
                                      </p:tavLst>
                                    </p:anim>
                                    <p:anim calcmode="lin" valueType="num">
                                      <p:cBhvr>
                                        <p:cTn id="78" dur="1000" fill="hold"/>
                                        <p:tgtEl>
                                          <p:spTgt spid="52">
                                            <p:txEl>
                                              <p:pRg st="0" end="0"/>
                                            </p:txEl>
                                          </p:spTgt>
                                        </p:tgtEl>
                                        <p:attrNameLst>
                                          <p:attrName>ppt_y</p:attrName>
                                        </p:attrNameLst>
                                      </p:cBhvr>
                                      <p:tavLst>
                                        <p:tav tm="0">
                                          <p:val>
                                            <p:strVal val="#ppt_y+.1"/>
                                          </p:val>
                                        </p:tav>
                                        <p:tav tm="100000">
                                          <p:val>
                                            <p:strVal val="#ppt_y"/>
                                          </p:val>
                                        </p:tav>
                                      </p:tavLst>
                                    </p:anim>
                                  </p:childTnLst>
                                </p:cTn>
                              </p:par>
                              <p:par>
                                <p:cTn id="79" presetID="42" presetClass="entr" presetSubtype="0" fill="hold" nodeType="withEffect">
                                  <p:stCondLst>
                                    <p:cond delay="0"/>
                                  </p:stCondLst>
                                  <p:childTnLst>
                                    <p:set>
                                      <p:cBhvr>
                                        <p:cTn id="80" dur="1" fill="hold">
                                          <p:stCondLst>
                                            <p:cond delay="0"/>
                                          </p:stCondLst>
                                        </p:cTn>
                                        <p:tgtEl>
                                          <p:spTgt spid="52">
                                            <p:txEl>
                                              <p:pRg st="1" end="1"/>
                                            </p:txEl>
                                          </p:spTgt>
                                        </p:tgtEl>
                                        <p:attrNameLst>
                                          <p:attrName>style.visibility</p:attrName>
                                        </p:attrNameLst>
                                      </p:cBhvr>
                                      <p:to>
                                        <p:strVal val="visible"/>
                                      </p:to>
                                    </p:set>
                                    <p:animEffect transition="in" filter="fade">
                                      <p:cBhvr>
                                        <p:cTn id="81" dur="1000"/>
                                        <p:tgtEl>
                                          <p:spTgt spid="52">
                                            <p:txEl>
                                              <p:pRg st="1" end="1"/>
                                            </p:txEl>
                                          </p:spTgt>
                                        </p:tgtEl>
                                      </p:cBhvr>
                                    </p:animEffect>
                                    <p:anim calcmode="lin" valueType="num">
                                      <p:cBhvr>
                                        <p:cTn id="82" dur="1000" fill="hold"/>
                                        <p:tgtEl>
                                          <p:spTgt spid="52">
                                            <p:txEl>
                                              <p:pRg st="1" end="1"/>
                                            </p:txEl>
                                          </p:spTgt>
                                        </p:tgtEl>
                                        <p:attrNameLst>
                                          <p:attrName>ppt_x</p:attrName>
                                        </p:attrNameLst>
                                      </p:cBhvr>
                                      <p:tavLst>
                                        <p:tav tm="0">
                                          <p:val>
                                            <p:strVal val="#ppt_x"/>
                                          </p:val>
                                        </p:tav>
                                        <p:tav tm="100000">
                                          <p:val>
                                            <p:strVal val="#ppt_x"/>
                                          </p:val>
                                        </p:tav>
                                      </p:tavLst>
                                    </p:anim>
                                    <p:anim calcmode="lin" valueType="num">
                                      <p:cBhvr>
                                        <p:cTn id="83" dur="1000" fill="hold"/>
                                        <p:tgtEl>
                                          <p:spTgt spid="52">
                                            <p:txEl>
                                              <p:pRg st="1" end="1"/>
                                            </p:txEl>
                                          </p:spTgt>
                                        </p:tgtEl>
                                        <p:attrNameLst>
                                          <p:attrName>ppt_y</p:attrName>
                                        </p:attrNameLst>
                                      </p:cBhvr>
                                      <p:tavLst>
                                        <p:tav tm="0">
                                          <p:val>
                                            <p:strVal val="#ppt_y+.1"/>
                                          </p:val>
                                        </p:tav>
                                        <p:tav tm="100000">
                                          <p:val>
                                            <p:strVal val="#ppt_y"/>
                                          </p:val>
                                        </p:tav>
                                      </p:tavLst>
                                    </p:anim>
                                  </p:childTnLst>
                                </p:cTn>
                              </p:par>
                              <p:par>
                                <p:cTn id="84" presetID="42" presetClass="entr" presetSubtype="0" fill="hold" nodeType="withEffect">
                                  <p:stCondLst>
                                    <p:cond delay="0"/>
                                  </p:stCondLst>
                                  <p:childTnLst>
                                    <p:set>
                                      <p:cBhvr>
                                        <p:cTn id="85" dur="1" fill="hold">
                                          <p:stCondLst>
                                            <p:cond delay="0"/>
                                          </p:stCondLst>
                                        </p:cTn>
                                        <p:tgtEl>
                                          <p:spTgt spid="52">
                                            <p:txEl>
                                              <p:pRg st="2" end="2"/>
                                            </p:txEl>
                                          </p:spTgt>
                                        </p:tgtEl>
                                        <p:attrNameLst>
                                          <p:attrName>style.visibility</p:attrName>
                                        </p:attrNameLst>
                                      </p:cBhvr>
                                      <p:to>
                                        <p:strVal val="visible"/>
                                      </p:to>
                                    </p:set>
                                    <p:animEffect transition="in" filter="fade">
                                      <p:cBhvr>
                                        <p:cTn id="86" dur="1000"/>
                                        <p:tgtEl>
                                          <p:spTgt spid="52">
                                            <p:txEl>
                                              <p:pRg st="2" end="2"/>
                                            </p:txEl>
                                          </p:spTgt>
                                        </p:tgtEl>
                                      </p:cBhvr>
                                    </p:animEffect>
                                    <p:anim calcmode="lin" valueType="num">
                                      <p:cBhvr>
                                        <p:cTn id="87" dur="1000" fill="hold"/>
                                        <p:tgtEl>
                                          <p:spTgt spid="52">
                                            <p:txEl>
                                              <p:pRg st="2" end="2"/>
                                            </p:txEl>
                                          </p:spTgt>
                                        </p:tgtEl>
                                        <p:attrNameLst>
                                          <p:attrName>ppt_x</p:attrName>
                                        </p:attrNameLst>
                                      </p:cBhvr>
                                      <p:tavLst>
                                        <p:tav tm="0">
                                          <p:val>
                                            <p:strVal val="#ppt_x"/>
                                          </p:val>
                                        </p:tav>
                                        <p:tav tm="100000">
                                          <p:val>
                                            <p:strVal val="#ppt_x"/>
                                          </p:val>
                                        </p:tav>
                                      </p:tavLst>
                                    </p:anim>
                                    <p:anim calcmode="lin" valueType="num">
                                      <p:cBhvr>
                                        <p:cTn id="88" dur="1000" fill="hold"/>
                                        <p:tgtEl>
                                          <p:spTgt spid="52">
                                            <p:txEl>
                                              <p:pRg st="2" end="2"/>
                                            </p:txEl>
                                          </p:spTgt>
                                        </p:tgtEl>
                                        <p:attrNameLst>
                                          <p:attrName>ppt_y</p:attrName>
                                        </p:attrNameLst>
                                      </p:cBhvr>
                                      <p:tavLst>
                                        <p:tav tm="0">
                                          <p:val>
                                            <p:strVal val="#ppt_y+.1"/>
                                          </p:val>
                                        </p:tav>
                                        <p:tav tm="100000">
                                          <p:val>
                                            <p:strVal val="#ppt_y"/>
                                          </p:val>
                                        </p:tav>
                                      </p:tavLst>
                                    </p:anim>
                                  </p:childTnLst>
                                </p:cTn>
                              </p:par>
                              <p:par>
                                <p:cTn id="89" presetID="42" presetClass="entr" presetSubtype="0" fill="hold" nodeType="withEffect">
                                  <p:stCondLst>
                                    <p:cond delay="0"/>
                                  </p:stCondLst>
                                  <p:childTnLst>
                                    <p:set>
                                      <p:cBhvr>
                                        <p:cTn id="90" dur="1" fill="hold">
                                          <p:stCondLst>
                                            <p:cond delay="0"/>
                                          </p:stCondLst>
                                        </p:cTn>
                                        <p:tgtEl>
                                          <p:spTgt spid="52">
                                            <p:txEl>
                                              <p:pRg st="3" end="3"/>
                                            </p:txEl>
                                          </p:spTgt>
                                        </p:tgtEl>
                                        <p:attrNameLst>
                                          <p:attrName>style.visibility</p:attrName>
                                        </p:attrNameLst>
                                      </p:cBhvr>
                                      <p:to>
                                        <p:strVal val="visible"/>
                                      </p:to>
                                    </p:set>
                                    <p:animEffect transition="in" filter="fade">
                                      <p:cBhvr>
                                        <p:cTn id="91" dur="1000"/>
                                        <p:tgtEl>
                                          <p:spTgt spid="52">
                                            <p:txEl>
                                              <p:pRg st="3" end="3"/>
                                            </p:txEl>
                                          </p:spTgt>
                                        </p:tgtEl>
                                      </p:cBhvr>
                                    </p:animEffect>
                                    <p:anim calcmode="lin" valueType="num">
                                      <p:cBhvr>
                                        <p:cTn id="92" dur="1000" fill="hold"/>
                                        <p:tgtEl>
                                          <p:spTgt spid="52">
                                            <p:txEl>
                                              <p:pRg st="3" end="3"/>
                                            </p:txEl>
                                          </p:spTgt>
                                        </p:tgtEl>
                                        <p:attrNameLst>
                                          <p:attrName>ppt_x</p:attrName>
                                        </p:attrNameLst>
                                      </p:cBhvr>
                                      <p:tavLst>
                                        <p:tav tm="0">
                                          <p:val>
                                            <p:strVal val="#ppt_x"/>
                                          </p:val>
                                        </p:tav>
                                        <p:tav tm="100000">
                                          <p:val>
                                            <p:strVal val="#ppt_x"/>
                                          </p:val>
                                        </p:tav>
                                      </p:tavLst>
                                    </p:anim>
                                    <p:anim calcmode="lin" valueType="num">
                                      <p:cBhvr>
                                        <p:cTn id="93" dur="1000" fill="hold"/>
                                        <p:tgtEl>
                                          <p:spTgt spid="52">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22" presetClass="entr" presetSubtype="8" fill="hold" grpId="0" nodeType="clickEffect">
                                  <p:stCondLst>
                                    <p:cond delay="0"/>
                                  </p:stCondLst>
                                  <p:childTnLst>
                                    <p:set>
                                      <p:cBhvr>
                                        <p:cTn id="97" dur="1" fill="hold">
                                          <p:stCondLst>
                                            <p:cond delay="0"/>
                                          </p:stCondLst>
                                        </p:cTn>
                                        <p:tgtEl>
                                          <p:spTgt spid="40"/>
                                        </p:tgtEl>
                                        <p:attrNameLst>
                                          <p:attrName>style.visibility</p:attrName>
                                        </p:attrNameLst>
                                      </p:cBhvr>
                                      <p:to>
                                        <p:strVal val="visible"/>
                                      </p:to>
                                    </p:set>
                                    <p:animEffect transition="in" filter="wipe(left)">
                                      <p:cBhvr>
                                        <p:cTn id="98"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bwMode="gray"/>
        <p:txBody>
          <a:bodyPr/>
          <a:lstStyle/>
          <a:p>
            <a:r>
              <a:rPr lang="en-US" dirty="0"/>
              <a:t>Return on investment (ROI) calculation</a:t>
            </a:r>
          </a:p>
        </p:txBody>
      </p:sp>
      <p:sp>
        <p:nvSpPr>
          <p:cNvPr id="4" name="Date Placeholder 3"/>
          <p:cNvSpPr>
            <a:spLocks noGrp="1"/>
          </p:cNvSpPr>
          <p:nvPr>
            <p:ph type="dt" sz="half" idx="14"/>
          </p:nvPr>
        </p:nvSpPr>
        <p:spPr bwMode="gray"/>
        <p:txBody>
          <a:bodyPr/>
          <a:lstStyle/>
          <a:p>
            <a:fld id="{FFAB2352-921F-4DD8-A99A-A1474F6943FF}" type="datetime4">
              <a:rPr lang="en-US" smtClean="0"/>
              <a:t>September 8, 2019</a:t>
            </a:fld>
            <a:endParaRPr lang="en-US" dirty="0"/>
          </a:p>
        </p:txBody>
      </p:sp>
      <p:sp>
        <p:nvSpPr>
          <p:cNvPr id="5" name="Footer Placeholder 4"/>
          <p:cNvSpPr>
            <a:spLocks noGrp="1"/>
          </p:cNvSpPr>
          <p:nvPr>
            <p:ph type="ftr" sz="quarter" idx="15"/>
          </p:nvPr>
        </p:nvSpPr>
        <p:spPr bwMode="gray"/>
        <p:txBody>
          <a:bodyPr/>
          <a:lstStyle/>
          <a:p>
            <a:pPr lvl="8"/>
            <a:endParaRPr lang="en-US" dirty="0"/>
          </a:p>
        </p:txBody>
      </p:sp>
      <p:sp>
        <p:nvSpPr>
          <p:cNvPr id="6" name="Slide Number Placeholder 5"/>
          <p:cNvSpPr>
            <a:spLocks noGrp="1"/>
          </p:cNvSpPr>
          <p:nvPr>
            <p:ph type="sldNum" sz="quarter" idx="16"/>
          </p:nvPr>
        </p:nvSpPr>
        <p:spPr bwMode="gray"/>
        <p:txBody>
          <a:bodyPr/>
          <a:lstStyle/>
          <a:p>
            <a:r>
              <a:rPr lang="en-US"/>
              <a:t>Slide </a:t>
            </a:r>
            <a:fld id="{619F89D8-7AE3-494A-97F3-03D680869632}" type="slidenum">
              <a:rPr lang="en-US" smtClean="0"/>
              <a:pPr/>
              <a:t>99</a:t>
            </a:fld>
            <a:endParaRPr lang="en-US" dirty="0"/>
          </a:p>
        </p:txBody>
      </p:sp>
      <p:sp>
        <p:nvSpPr>
          <p:cNvPr id="7" name="Subtitle 6"/>
          <p:cNvSpPr>
            <a:spLocks noGrp="1"/>
          </p:cNvSpPr>
          <p:nvPr>
            <p:ph type="subTitle" idx="13"/>
          </p:nvPr>
        </p:nvSpPr>
        <p:spPr bwMode="gray"/>
        <p:txBody>
          <a:bodyPr/>
          <a:lstStyle/>
          <a:p>
            <a:r>
              <a:rPr lang="de-DE" dirty="0" err="1"/>
              <a:t>Calibration</a:t>
            </a:r>
            <a:r>
              <a:rPr lang="de-DE" dirty="0"/>
              <a:t> </a:t>
            </a:r>
            <a:r>
              <a:rPr lang="de-DE" dirty="0" err="1"/>
              <a:t>cells</a:t>
            </a:r>
            <a:endParaRPr lang="en-US" dirty="0"/>
          </a:p>
        </p:txBody>
      </p:sp>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gray">
          <a:xfrm rot="358008">
            <a:off x="6970220" y="2309104"/>
            <a:ext cx="2194020" cy="3104078"/>
          </a:xfrm>
          <a:prstGeom prst="rect">
            <a:avLst/>
          </a:prstGeom>
          <a:ln w="3175">
            <a:noFill/>
          </a:ln>
        </p:spPr>
      </p:pic>
      <p:grpSp>
        <p:nvGrpSpPr>
          <p:cNvPr id="9" name="Group 8"/>
          <p:cNvGrpSpPr/>
          <p:nvPr/>
        </p:nvGrpSpPr>
        <p:grpSpPr bwMode="gray">
          <a:xfrm>
            <a:off x="330032" y="3414204"/>
            <a:ext cx="6289132" cy="915418"/>
            <a:chOff x="330031" y="3465004"/>
            <a:chExt cx="6304449" cy="915418"/>
          </a:xfrm>
        </p:grpSpPr>
        <p:sp>
          <p:nvSpPr>
            <p:cNvPr id="12" name="Content Placeholder 1"/>
            <p:cNvSpPr txBox="1">
              <a:spLocks/>
            </p:cNvSpPr>
            <p:nvPr/>
          </p:nvSpPr>
          <p:spPr bwMode="gray">
            <a:xfrm>
              <a:off x="464004" y="3465004"/>
              <a:ext cx="90010" cy="915418"/>
            </a:xfrm>
            <a:prstGeom prst="rect">
              <a:avLst/>
            </a:prstGeom>
            <a:solidFill>
              <a:schemeClr val="tx2"/>
            </a:solidFill>
          </p:spPr>
          <p:txBody>
            <a:bodyPr vert="horz" lIns="18000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endParaRPr lang="en-US" sz="1800" b="1" dirty="0">
                <a:solidFill>
                  <a:schemeClr val="bg1"/>
                </a:solidFill>
              </a:endParaRPr>
            </a:p>
          </p:txBody>
        </p:sp>
        <p:sp>
          <p:nvSpPr>
            <p:cNvPr id="13" name="Content Placeholder 1"/>
            <p:cNvSpPr txBox="1">
              <a:spLocks/>
            </p:cNvSpPr>
            <p:nvPr/>
          </p:nvSpPr>
          <p:spPr bwMode="gray">
            <a:xfrm>
              <a:off x="383158" y="3465004"/>
              <a:ext cx="45719" cy="915418"/>
            </a:xfrm>
            <a:prstGeom prst="rect">
              <a:avLst/>
            </a:prstGeom>
            <a:solidFill>
              <a:schemeClr val="tx2"/>
            </a:solidFill>
          </p:spPr>
          <p:txBody>
            <a:bodyPr vert="horz" lIns="18000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endParaRPr lang="en-US" sz="1800" b="1" dirty="0">
                <a:solidFill>
                  <a:schemeClr val="bg1"/>
                </a:solidFill>
              </a:endParaRPr>
            </a:p>
          </p:txBody>
        </p:sp>
        <p:sp>
          <p:nvSpPr>
            <p:cNvPr id="14" name="Content Placeholder 1"/>
            <p:cNvSpPr txBox="1">
              <a:spLocks/>
            </p:cNvSpPr>
            <p:nvPr/>
          </p:nvSpPr>
          <p:spPr bwMode="gray">
            <a:xfrm>
              <a:off x="330031" y="3465004"/>
              <a:ext cx="18000" cy="915418"/>
            </a:xfrm>
            <a:prstGeom prst="rect">
              <a:avLst/>
            </a:prstGeom>
            <a:solidFill>
              <a:schemeClr val="tx2"/>
            </a:solidFill>
          </p:spPr>
          <p:txBody>
            <a:bodyPr vert="horz" lIns="18000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endParaRPr lang="en-US" sz="1800" b="1" dirty="0">
                <a:solidFill>
                  <a:schemeClr val="bg1"/>
                </a:solidFill>
              </a:endParaRPr>
            </a:p>
          </p:txBody>
        </p:sp>
        <p:sp>
          <p:nvSpPr>
            <p:cNvPr id="15" name="Content Placeholder 1"/>
            <p:cNvSpPr txBox="1">
              <a:spLocks/>
            </p:cNvSpPr>
            <p:nvPr/>
          </p:nvSpPr>
          <p:spPr bwMode="gray">
            <a:xfrm>
              <a:off x="589141" y="3465004"/>
              <a:ext cx="144016" cy="915418"/>
            </a:xfrm>
            <a:prstGeom prst="rect">
              <a:avLst/>
            </a:prstGeom>
            <a:solidFill>
              <a:schemeClr val="tx2"/>
            </a:solidFill>
          </p:spPr>
          <p:txBody>
            <a:bodyPr vert="horz" lIns="18000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endParaRPr lang="en-US" sz="1800" b="1" dirty="0">
                <a:solidFill>
                  <a:schemeClr val="bg1"/>
                </a:solidFill>
              </a:endParaRPr>
            </a:p>
          </p:txBody>
        </p:sp>
        <p:sp>
          <p:nvSpPr>
            <p:cNvPr id="16" name="Content Placeholder 1"/>
            <p:cNvSpPr txBox="1">
              <a:spLocks/>
            </p:cNvSpPr>
            <p:nvPr/>
          </p:nvSpPr>
          <p:spPr bwMode="gray">
            <a:xfrm>
              <a:off x="768284" y="3465004"/>
              <a:ext cx="216024" cy="915418"/>
            </a:xfrm>
            <a:prstGeom prst="rect">
              <a:avLst/>
            </a:prstGeom>
            <a:solidFill>
              <a:schemeClr val="tx2"/>
            </a:solidFill>
          </p:spPr>
          <p:txBody>
            <a:bodyPr vert="horz" lIns="18000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endParaRPr lang="en-US" sz="1800" b="1" dirty="0">
                <a:solidFill>
                  <a:schemeClr val="bg1"/>
                </a:solidFill>
              </a:endParaRPr>
            </a:p>
          </p:txBody>
        </p:sp>
        <p:sp>
          <p:nvSpPr>
            <p:cNvPr id="19" name="Content Placeholder 1"/>
            <p:cNvSpPr txBox="1">
              <a:spLocks/>
            </p:cNvSpPr>
            <p:nvPr/>
          </p:nvSpPr>
          <p:spPr bwMode="gray">
            <a:xfrm>
              <a:off x="1019436" y="3465004"/>
              <a:ext cx="5615044" cy="915418"/>
            </a:xfrm>
            <a:prstGeom prst="homePlate">
              <a:avLst>
                <a:gd name="adj" fmla="val 34338"/>
              </a:avLst>
            </a:prstGeom>
            <a:solidFill>
              <a:schemeClr val="tx2"/>
            </a:solidFill>
          </p:spPr>
          <p:txBody>
            <a:bodyPr vert="horz" lIns="180000" tIns="0" rIns="0" bIns="0" rtlCol="0" anchor="ctr" anchorCtr="0">
              <a:noAutofit/>
            </a:bodyPr>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de-DE" sz="1800" b="1" dirty="0">
                  <a:solidFill>
                    <a:schemeClr val="bg1"/>
                  </a:solidFill>
                </a:rPr>
                <a:t>Ask </a:t>
              </a:r>
              <a:r>
                <a:rPr lang="de-DE" sz="1800" b="1" dirty="0" err="1">
                  <a:solidFill>
                    <a:schemeClr val="bg1"/>
                  </a:solidFill>
                </a:rPr>
                <a:t>your</a:t>
              </a:r>
              <a:r>
                <a:rPr lang="de-DE" sz="1800" b="1" dirty="0">
                  <a:solidFill>
                    <a:schemeClr val="bg1"/>
                  </a:solidFill>
                </a:rPr>
                <a:t> </a:t>
              </a:r>
              <a:r>
                <a:rPr lang="de-DE" sz="1800" b="1" dirty="0" err="1">
                  <a:solidFill>
                    <a:schemeClr val="bg1"/>
                  </a:solidFill>
                </a:rPr>
                <a:t>local</a:t>
              </a:r>
              <a:r>
                <a:rPr lang="de-DE" sz="1800" b="1" dirty="0">
                  <a:solidFill>
                    <a:schemeClr val="bg1"/>
                  </a:solidFill>
                </a:rPr>
                <a:t> </a:t>
              </a:r>
              <a:r>
                <a:rPr lang="de-DE" sz="1800" b="1" dirty="0" err="1">
                  <a:solidFill>
                    <a:schemeClr val="bg1"/>
                  </a:solidFill>
                </a:rPr>
                <a:t>sales</a:t>
              </a:r>
              <a:r>
                <a:rPr lang="de-DE" sz="1800" b="1" dirty="0">
                  <a:solidFill>
                    <a:schemeClr val="bg1"/>
                  </a:solidFill>
                </a:rPr>
                <a:t> </a:t>
              </a:r>
              <a:r>
                <a:rPr lang="de-DE" sz="1800" b="1" dirty="0" err="1">
                  <a:solidFill>
                    <a:schemeClr val="bg1"/>
                  </a:solidFill>
                </a:rPr>
                <a:t>representative</a:t>
              </a:r>
              <a:r>
                <a:rPr lang="de-DE" sz="1800" b="1" dirty="0">
                  <a:solidFill>
                    <a:schemeClr val="bg1"/>
                  </a:solidFill>
                </a:rPr>
                <a:t> </a:t>
              </a:r>
              <a:r>
                <a:rPr lang="de-DE" sz="1800" b="1" dirty="0" err="1">
                  <a:solidFill>
                    <a:schemeClr val="bg1"/>
                  </a:solidFill>
                </a:rPr>
                <a:t>for</a:t>
              </a:r>
              <a:r>
                <a:rPr lang="de-DE" sz="1800" b="1" dirty="0">
                  <a:solidFill>
                    <a:schemeClr val="bg1"/>
                  </a:solidFill>
                </a:rPr>
                <a:t> </a:t>
              </a:r>
              <a:r>
                <a:rPr lang="de-DE" sz="1800" b="1" dirty="0" err="1">
                  <a:solidFill>
                    <a:schemeClr val="bg1"/>
                  </a:solidFill>
                </a:rPr>
                <a:t>this</a:t>
              </a:r>
              <a:r>
                <a:rPr lang="de-DE" sz="1800" b="1" dirty="0">
                  <a:solidFill>
                    <a:schemeClr val="bg1"/>
                  </a:solidFill>
                </a:rPr>
                <a:t> </a:t>
              </a:r>
              <a:br>
                <a:rPr lang="de-DE" sz="1800" b="1" dirty="0">
                  <a:solidFill>
                    <a:schemeClr val="bg1"/>
                  </a:solidFill>
                </a:rPr>
              </a:br>
              <a:r>
                <a:rPr lang="de-DE" sz="1800" b="1" dirty="0" err="1">
                  <a:solidFill>
                    <a:schemeClr val="bg1"/>
                  </a:solidFill>
                </a:rPr>
                <a:t>tool</a:t>
              </a:r>
              <a:r>
                <a:rPr lang="de-DE" sz="1800" b="1" dirty="0">
                  <a:solidFill>
                    <a:schemeClr val="bg1"/>
                  </a:solidFill>
                </a:rPr>
                <a:t> and </a:t>
              </a:r>
              <a:r>
                <a:rPr lang="de-DE" sz="1800" b="1" dirty="0" err="1">
                  <a:solidFill>
                    <a:schemeClr val="bg1"/>
                  </a:solidFill>
                </a:rPr>
                <a:t>see</a:t>
              </a:r>
              <a:r>
                <a:rPr lang="de-DE" sz="1800" b="1" dirty="0">
                  <a:solidFill>
                    <a:schemeClr val="bg1"/>
                  </a:solidFill>
                </a:rPr>
                <a:t> </a:t>
              </a:r>
              <a:r>
                <a:rPr lang="de-DE" sz="1800" b="1" dirty="0" err="1">
                  <a:solidFill>
                    <a:schemeClr val="bg1"/>
                  </a:solidFill>
                </a:rPr>
                <a:t>how</a:t>
              </a:r>
              <a:r>
                <a:rPr lang="de-DE" sz="1800" b="1" dirty="0">
                  <a:solidFill>
                    <a:schemeClr val="bg1"/>
                  </a:solidFill>
                </a:rPr>
                <a:t> </a:t>
              </a:r>
              <a:r>
                <a:rPr lang="de-DE" sz="1800" b="1" dirty="0" err="1">
                  <a:solidFill>
                    <a:schemeClr val="bg1"/>
                  </a:solidFill>
                </a:rPr>
                <a:t>much</a:t>
              </a:r>
              <a:r>
                <a:rPr lang="de-DE" sz="1800" b="1" dirty="0">
                  <a:solidFill>
                    <a:schemeClr val="bg1"/>
                  </a:solidFill>
                </a:rPr>
                <a:t> </a:t>
              </a:r>
              <a:r>
                <a:rPr lang="de-DE" sz="1800" b="1" dirty="0" err="1">
                  <a:solidFill>
                    <a:schemeClr val="bg1"/>
                  </a:solidFill>
                </a:rPr>
                <a:t>you</a:t>
              </a:r>
              <a:r>
                <a:rPr lang="de-DE" sz="1800" b="1" dirty="0">
                  <a:solidFill>
                    <a:schemeClr val="bg1"/>
                  </a:solidFill>
                </a:rPr>
                <a:t> </a:t>
              </a:r>
              <a:r>
                <a:rPr lang="de-DE" sz="1800" b="1" dirty="0" err="1">
                  <a:solidFill>
                    <a:schemeClr val="bg1"/>
                  </a:solidFill>
                </a:rPr>
                <a:t>could</a:t>
              </a:r>
              <a:r>
                <a:rPr lang="de-DE" sz="1800" b="1" dirty="0">
                  <a:solidFill>
                    <a:schemeClr val="bg1"/>
                  </a:solidFill>
                </a:rPr>
                <a:t> save!</a:t>
              </a:r>
              <a:endParaRPr lang="en-US" sz="1800" b="1" dirty="0">
                <a:solidFill>
                  <a:schemeClr val="bg1"/>
                </a:solidFill>
              </a:endParaRPr>
            </a:p>
          </p:txBody>
        </p:sp>
      </p:grpSp>
      <p:sp>
        <p:nvSpPr>
          <p:cNvPr id="18" name="AutoShape 6">
            <a:hlinkClick r:id="rId5" action="ppaction://hlinksldjump" highlightClick="1"/>
            <a:extLst>
              <a:ext uri="{FF2B5EF4-FFF2-40B4-BE49-F238E27FC236}">
                <a16:creationId xmlns:a16="http://schemas.microsoft.com/office/drawing/2014/main" id="{F6398E74-0435-42B0-88F0-B658D9626815}"/>
              </a:ext>
            </a:extLst>
          </p:cNvPr>
          <p:cNvSpPr>
            <a:spLocks noChangeArrowheads="1"/>
          </p:cNvSpPr>
          <p:nvPr/>
        </p:nvSpPr>
        <p:spPr bwMode="gray">
          <a:xfrm>
            <a:off x="11096044" y="712485"/>
            <a:ext cx="748033" cy="230400"/>
          </a:xfrm>
          <a:prstGeom prst="roundRect">
            <a:avLst>
              <a:gd name="adj" fmla="val 50000"/>
            </a:avLst>
          </a:prstGeom>
          <a:solidFill>
            <a:schemeClr val="accent3"/>
          </a:solidFill>
          <a:ln w="12700">
            <a:solidFill>
              <a:schemeClr val="accent2"/>
            </a:solidFill>
            <a:miter lim="800000"/>
            <a:headEnd type="none" w="sm" len="sm"/>
            <a:tailEnd type="none" w="sm" len="sm"/>
          </a:ln>
          <a:effectLst/>
          <a:extLst/>
        </p:spPr>
        <p:txBody>
          <a:bodyPr wrap="none" lIns="0" tIns="0" rIns="0" bIns="0" anchor="ctr"/>
          <a:lstStyle/>
          <a:p>
            <a:pPr algn="ctr"/>
            <a:r>
              <a:rPr lang="en-US" sz="1200" b="1">
                <a:solidFill>
                  <a:schemeClr val="bg1"/>
                </a:solidFill>
                <a:latin typeface="Arial Black" panose="020B0A04020102020204" pitchFamily="34" charset="0"/>
              </a:rPr>
              <a:t>◄</a:t>
            </a:r>
            <a:endParaRPr lang="en-US" sz="1200" b="1" dirty="0">
              <a:solidFill>
                <a:schemeClr val="bg1"/>
              </a:solidFill>
            </a:endParaRPr>
          </a:p>
        </p:txBody>
      </p:sp>
      <p:sp>
        <p:nvSpPr>
          <p:cNvPr id="20" name="TextBox 19">
            <a:extLst>
              <a:ext uri="{FF2B5EF4-FFF2-40B4-BE49-F238E27FC236}">
                <a16:creationId xmlns:a16="http://schemas.microsoft.com/office/drawing/2014/main" id="{B2F2BE0B-D878-47BC-BECF-09170AA127A9}"/>
              </a:ext>
            </a:extLst>
          </p:cNvPr>
          <p:cNvSpPr txBox="1"/>
          <p:nvPr/>
        </p:nvSpPr>
        <p:spPr bwMode="gray">
          <a:xfrm>
            <a:off x="8622081" y="642837"/>
            <a:ext cx="2401785" cy="375827"/>
          </a:xfrm>
          <a:prstGeom prst="rect">
            <a:avLst/>
          </a:prstGeom>
          <a:noFill/>
        </p:spPr>
        <p:txBody>
          <a:bodyPr wrap="square" lIns="72000" tIns="72000" rIns="72000" bIns="72000" rtlCol="0">
            <a:noAutofit/>
          </a:bodyPr>
          <a:lstStyle/>
          <a:p>
            <a:pPr algn="r"/>
            <a:r>
              <a:rPr lang="en-US" sz="1400" b="1" dirty="0">
                <a:solidFill>
                  <a:schemeClr val="tx2"/>
                </a:solidFill>
              </a:rPr>
              <a:t>Back to previous section</a:t>
            </a:r>
          </a:p>
        </p:txBody>
      </p:sp>
    </p:spTree>
    <p:custDataLst>
      <p:tags r:id="rId1"/>
    </p:custDataLst>
    <p:extLst>
      <p:ext uri="{BB962C8B-B14F-4D97-AF65-F5344CB8AC3E}">
        <p14:creationId xmlns:p14="http://schemas.microsoft.com/office/powerpoint/2010/main" val="56289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75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0-#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2" presetClass="entr" presetSubtype="8" fill="hold" nodeType="withEffect">
                                  <p:stCondLst>
                                    <p:cond delay="1750"/>
                                  </p:stCondLst>
                                  <p:childTnLst>
                                    <p:set>
                                      <p:cBhvr>
                                        <p:cTn id="10" dur="1" fill="hold">
                                          <p:stCondLst>
                                            <p:cond delay="0"/>
                                          </p:stCondLst>
                                        </p:cTn>
                                        <p:tgtEl>
                                          <p:spTgt spid="9"/>
                                        </p:tgtEl>
                                        <p:attrNameLst>
                                          <p:attrName>style.visibility</p:attrName>
                                        </p:attrNameLst>
                                      </p:cBhvr>
                                      <p:to>
                                        <p:strVal val="visible"/>
                                      </p:to>
                                    </p:set>
                                    <p:animEffect transition="in" filter="wipe(left)">
                                      <p:cBhvr>
                                        <p:cTn id="11"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DESIGN_ID_ABB MASTER" val="lhaNGl3G"/>
  <p:tag name="ARTICULATE_SLIDE_COUNT" val="89"/>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PAUSE" val="0"/>
  <p:tag name="ARTICULATE_NAV_LEVEL" val="1"/>
  <p:tag name="ARTICULATE_PLAYLIST_ID" val="-1"/>
  <p:tag name="ARTICULATE_LOCK_SLIDE" val="0"/>
  <p:tag name="ARTICULATE_SLIDE_GUID" val="ce66bc8d-d3ea-4bcf-b3a1-c9ef4583756a"/>
  <p:tag name="TIMING" val="|11.9|5.4|21.6"/>
  <p:tag name="ARTICULATE_SLIDE_NAV" val="11"/>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PAUSE" val="0"/>
  <p:tag name="ARTICULATE_NAV_LEVEL" val="1"/>
  <p:tag name="ARTICULATE_PLAYLIST_ID" val="-1"/>
  <p:tag name="ARTICULATE_LOCK_SLIDE" val="0"/>
  <p:tag name="ARTICULATE_SLIDE_GUID" val="bd390f13-5408-41b3-b040-bbd340a00b5d"/>
  <p:tag name="TIMING" val="|8.2|3.9|2.5|4.2|8.2|9.6|7.5"/>
  <p:tag name="ARTICULATE_SLIDE_NAV" val="6"/>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43.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44.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45.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 name="TIMING" val="|4.4|3.9|5.7|4.6|6.3|6.3|4.9|3.2"/>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IMING" val="|136.8|51|32.3|78.3"/>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 name="TIMING" val="|23.6|15.8|18.1|18.9|11.4"/>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 name="TIMING" val="|76.1|44.2|70.9"/>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IMING" val="|10.7|49.2|27"/>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ABB Master">
  <a:themeElements>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PMU Frankfurt PowerPoint Template 16by9.potx" id="{79EC8A8E-4AD9-4793-B94B-454CB7C22430}" vid="{F2A8B651-83A2-41C2-BE0A-2999439E9871}"/>
    </a:ext>
  </a:extLst>
</a:theme>
</file>

<file path=ppt/theme/theme2.xml><?xml version="1.0" encoding="utf-8"?>
<a:theme xmlns:a="http://schemas.openxmlformats.org/drawingml/2006/main" name="1_ABB Master">
  <a:themeElements>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Presentation4" id="{AB123FCC-75BF-413D-9ADE-5DE1BC5101C9}" vid="{30A3DC37-1BE1-4015-B67A-9AB1D23BAC10}"/>
    </a:ext>
  </a:extLst>
</a:theme>
</file>

<file path=ppt/theme/theme3.xml><?xml version="1.0" encoding="utf-8"?>
<a:theme xmlns:a="http://schemas.openxmlformats.org/drawingml/2006/main" name="2_ABB Master">
  <a:themeElements>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PMU Frankfurt PowerPoint Template 16by9.potx" id="{79EC8A8E-4AD9-4793-B94B-454CB7C22430}" vid="{F2A8B651-83A2-41C2-BE0A-2999439E9871}"/>
    </a:ext>
  </a:extLst>
</a:theme>
</file>

<file path=ppt/theme/theme4.xml><?xml version="1.0" encoding="utf-8"?>
<a:theme xmlns:a="http://schemas.openxmlformats.org/drawingml/2006/main" name="3_ABB Master">
  <a:themeElements>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Presentation4" id="{AB123FCC-75BF-413D-9ADE-5DE1BC5101C9}" vid="{30A3DC37-1BE1-4015-B67A-9AB1D23BAC10}"/>
    </a:ext>
  </a:extLst>
</a:theme>
</file>

<file path=ppt/theme/theme5.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ABB">
      <a:dk1>
        <a:srgbClr val="000000"/>
      </a:dk1>
      <a:lt1>
        <a:srgbClr val="FFFFFF"/>
      </a:lt1>
      <a:dk2>
        <a:srgbClr val="D90000"/>
      </a:dk2>
      <a:lt2>
        <a:srgbClr val="FF000F"/>
      </a:lt2>
      <a:accent1>
        <a:srgbClr val="1E1E1E"/>
      </a:accent1>
      <a:accent2>
        <a:srgbClr val="3C3C3C"/>
      </a:accent2>
      <a:accent3>
        <a:srgbClr val="6E6E6E"/>
      </a:accent3>
      <a:accent4>
        <a:srgbClr val="A0A0A0"/>
      </a:accent4>
      <a:accent5>
        <a:srgbClr val="D2D2D2"/>
      </a:accent5>
      <a:accent6>
        <a:srgbClr val="F0F0F0"/>
      </a:accent6>
      <a:hlink>
        <a:srgbClr val="D90000"/>
      </a:hlink>
      <a:folHlink>
        <a:srgbClr val="FF000F"/>
      </a:folHlink>
    </a:clrScheme>
    <a:fontScheme name="ABBvoiceOffice">
      <a:majorFont>
        <a:latin typeface="ABBvoiceOffice"/>
        <a:ea typeface="ABBvoiceOffice"/>
        <a:cs typeface="ABBvoiceOffice"/>
      </a:majorFont>
      <a:minorFont>
        <a:latin typeface="ABBvoiceOffice"/>
        <a:ea typeface="ABBvoiceOffice"/>
        <a:cs typeface="ABBvoiceOff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2CF50BE0A3485F4CACF4CE67ECCC33FF" ma:contentTypeVersion="8" ma:contentTypeDescription="Ein neues Dokument erstellen." ma:contentTypeScope="" ma:versionID="495b0a8f1cbf1bf2b1f1a9695b7c7879">
  <xsd:schema xmlns:xsd="http://www.w3.org/2001/XMLSchema" xmlns:xs="http://www.w3.org/2001/XMLSchema" xmlns:p="http://schemas.microsoft.com/office/2006/metadata/properties" xmlns:ns2="6cac1bce-a38b-4890-8b43-b19abd585746" xmlns:ns3="74956b79-791e-41b9-8a2a-72bc93a83177" targetNamespace="http://schemas.microsoft.com/office/2006/metadata/properties" ma:root="true" ma:fieldsID="4502553820b7955a89c7b72fdced0766" ns2:_="" ns3:_="">
    <xsd:import namespace="6cac1bce-a38b-4890-8b43-b19abd585746"/>
    <xsd:import namespace="74956b79-791e-41b9-8a2a-72bc93a8317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ac1bce-a38b-4890-8b43-b19abd5857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4956b79-791e-41b9-8a2a-72bc93a83177" elementFormDefault="qualified">
    <xsd:import namespace="http://schemas.microsoft.com/office/2006/documentManagement/types"/>
    <xsd:import namespace="http://schemas.microsoft.com/office/infopath/2007/PartnerControls"/>
    <xsd:element name="SharedWithUsers" ma:index="14"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FF49023-B3B5-4F7B-BCB9-223877809C4F}">
  <ds:schemaRefs>
    <ds:schemaRef ds:uri="http://schemas.microsoft.com/sharepoint/v3/contenttype/forms"/>
  </ds:schemaRefs>
</ds:datastoreItem>
</file>

<file path=customXml/itemProps2.xml><?xml version="1.0" encoding="utf-8"?>
<ds:datastoreItem xmlns:ds="http://schemas.openxmlformats.org/officeDocument/2006/customXml" ds:itemID="{E03ABA82-B600-4459-B0AF-EA3C6CE1C3E8}"/>
</file>

<file path=customXml/itemProps3.xml><?xml version="1.0" encoding="utf-8"?>
<ds:datastoreItem xmlns:ds="http://schemas.openxmlformats.org/officeDocument/2006/customXml" ds:itemID="{F5784612-89D5-4067-BAD8-28947D5823C9}">
  <ds:schemaRefs>
    <ds:schemaRef ds:uri="http://schemas.microsoft.com/office/2006/metadata/properties"/>
    <ds:schemaRef ds:uri="http://schemas.microsoft.com/office/2006/documentManagement/types"/>
    <ds:schemaRef ds:uri="http://purl.org/dc/elements/1.1/"/>
    <ds:schemaRef ds:uri="6d645698-2c7a-42e5-8c51-3a954d8ce452"/>
    <ds:schemaRef ds:uri="http://schemas.microsoft.com/office/infopath/2007/PartnerControls"/>
    <ds:schemaRef ds:uri="http://schemas.openxmlformats.org/package/2006/metadata/core-properties"/>
    <ds:schemaRef ds:uri="http://purl.org/dc/terms/"/>
    <ds:schemaRef ds:uri="10bc91ab-ddb9-457e-8189-ed65633f9dc6"/>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MU Frankfurt PowerPoint Template 16by9</Template>
  <TotalTime>0</TotalTime>
  <Words>11606</Words>
  <Application>Microsoft Office PowerPoint</Application>
  <PresentationFormat>Widescreen</PresentationFormat>
  <Paragraphs>2606</Paragraphs>
  <Slides>118</Slides>
  <Notes>73</Notes>
  <HiddenSlides>2</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18</vt:i4>
      </vt:variant>
    </vt:vector>
  </HeadingPairs>
  <TitlesOfParts>
    <vt:vector size="130" baseType="lpstr">
      <vt:lpstr>ABBvoice</vt:lpstr>
      <vt:lpstr>ABBvoiceOffice</vt:lpstr>
      <vt:lpstr>Arial</vt:lpstr>
      <vt:lpstr>Arial Black</vt:lpstr>
      <vt:lpstr>Symbol</vt:lpstr>
      <vt:lpstr>Times New Roman</vt:lpstr>
      <vt:lpstr>Wingdings</vt:lpstr>
      <vt:lpstr>ABB Master</vt:lpstr>
      <vt:lpstr>1_ABB Master</vt:lpstr>
      <vt:lpstr>2_ABB Master</vt:lpstr>
      <vt:lpstr>3_ABB Master</vt:lpstr>
      <vt:lpstr>think-cell Slide</vt:lpstr>
      <vt:lpstr>Industrial Gas</vt:lpstr>
      <vt:lpstr>Agenda</vt:lpstr>
      <vt:lpstr>Pure class for industrial gas</vt:lpstr>
      <vt:lpstr>Pure class for industrial gas</vt:lpstr>
      <vt:lpstr>Continuous Gas Analyzers (CGA)</vt:lpstr>
      <vt:lpstr>The analyzer modules</vt:lpstr>
      <vt:lpstr>EasyLine series (EL3000)</vt:lpstr>
      <vt:lpstr>EasyLine combinations</vt:lpstr>
      <vt:lpstr>EasyLine Continuous Gas Analyzers</vt:lpstr>
      <vt:lpstr>Easy configuration</vt:lpstr>
      <vt:lpstr>Easy integration</vt:lpstr>
      <vt:lpstr>Easy operation</vt:lpstr>
      <vt:lpstr>Easy maintenance</vt:lpstr>
      <vt:lpstr>EasyLine Continuous Gas Analyzers</vt:lpstr>
      <vt:lpstr>Advance Optima series (AO2000)</vt:lpstr>
      <vt:lpstr>Advance Optima series (AO2000)</vt:lpstr>
      <vt:lpstr>EL3060</vt:lpstr>
      <vt:lpstr>AZ20 – Zirconia oxygen analyzer</vt:lpstr>
      <vt:lpstr>PGC1000 – Process Gas Chromatograph</vt:lpstr>
      <vt:lpstr>PGC1000</vt:lpstr>
      <vt:lpstr>PGC5000 – Process Gas Chromatograph</vt:lpstr>
      <vt:lpstr>PGC5000</vt:lpstr>
      <vt:lpstr>RVP4500 – Reid Vapor Pressure analyzer</vt:lpstr>
      <vt:lpstr>LGR-ICOSTM 950 Series – Off-Axis ICOS laser technology</vt:lpstr>
      <vt:lpstr>OA-ICOS: Off-Axis Integrated Cavity Output Spectroscopy</vt:lpstr>
      <vt:lpstr>ABB OA-ICOS Technology</vt:lpstr>
      <vt:lpstr>Overview</vt:lpstr>
      <vt:lpstr>Air separation &amp; argon purification</vt:lpstr>
      <vt:lpstr>Air separation</vt:lpstr>
      <vt:lpstr>Air separation unit (ASU)</vt:lpstr>
      <vt:lpstr>Air separation</vt:lpstr>
      <vt:lpstr>Air separation</vt:lpstr>
      <vt:lpstr>Air separation unit (ASU)</vt:lpstr>
      <vt:lpstr>Air separation unit (ASU)</vt:lpstr>
      <vt:lpstr>Magnos28</vt:lpstr>
      <vt:lpstr>Magnos28 featured in gasworld in June 2019</vt:lpstr>
      <vt:lpstr>Air separation unit (ASU)</vt:lpstr>
      <vt:lpstr>Air separation unit (ASU)</vt:lpstr>
      <vt:lpstr>Air separation unit (ASU)</vt:lpstr>
      <vt:lpstr>Air separation unit (ASU)</vt:lpstr>
      <vt:lpstr>Hydrogen, carbon monoxide &amp; syngas production</vt:lpstr>
      <vt:lpstr>Steam Methane Reformer (SMR)</vt:lpstr>
      <vt:lpstr>Hydrogen, carbon monoxide &amp; syngas production</vt:lpstr>
      <vt:lpstr>Hydrogen, carbon monoxide &amp; syngas production</vt:lpstr>
      <vt:lpstr>Hydrogen, carbon monoxide &amp; syngas production</vt:lpstr>
      <vt:lpstr>Air separation unit (ASU)</vt:lpstr>
      <vt:lpstr>Air separation unit (ASU)</vt:lpstr>
      <vt:lpstr>Air separation unit (ASU)</vt:lpstr>
      <vt:lpstr>Air separation unit (ASU)</vt:lpstr>
      <vt:lpstr>Interlinks with petrochemical industry</vt:lpstr>
      <vt:lpstr>Methanol production</vt:lpstr>
      <vt:lpstr>Ammonia production </vt:lpstr>
      <vt:lpstr>Ethylene Oxide production (feed to MEG, PET/Polyester etc.)</vt:lpstr>
      <vt:lpstr>FCC catalyst regeneration</vt:lpstr>
      <vt:lpstr>Refinery liquid fuels desulphurisation</vt:lpstr>
      <vt:lpstr>Coal or refinery coke gasification</vt:lpstr>
      <vt:lpstr>Gasification of coal and refinery residue</vt:lpstr>
      <vt:lpstr>Integrated Gasification Combined Cycle (IGCC) power generation</vt:lpstr>
      <vt:lpstr>Other applications</vt:lpstr>
      <vt:lpstr>Large scale CO2</vt:lpstr>
      <vt:lpstr>CO2 as by-product from large SMRs</vt:lpstr>
      <vt:lpstr>CO2 from fermentation process</vt:lpstr>
      <vt:lpstr>Large scale CO2 production</vt:lpstr>
      <vt:lpstr>Natural gas</vt:lpstr>
      <vt:lpstr>Liquefied Natural Gas (LNG) plant</vt:lpstr>
      <vt:lpstr>ABB solutions for LNG plants</vt:lpstr>
      <vt:lpstr>LNG Plant </vt:lpstr>
      <vt:lpstr>Biomethane &amp; small-scale CO2</vt:lpstr>
      <vt:lpstr>Biogas purification</vt:lpstr>
      <vt:lpstr>Biogas purification</vt:lpstr>
      <vt:lpstr>Developing Market: CO2 recovery plants</vt:lpstr>
      <vt:lpstr>Small scale CO2 production</vt:lpstr>
      <vt:lpstr>Hydrogen</vt:lpstr>
      <vt:lpstr>Hydrogen</vt:lpstr>
      <vt:lpstr>Hydrogen production</vt:lpstr>
      <vt:lpstr>Cylinder / specialty gases</vt:lpstr>
      <vt:lpstr>Cylinder gases</vt:lpstr>
      <vt:lpstr>Medical gases</vt:lpstr>
      <vt:lpstr>Industrial / welding gases / gas mixtures</vt:lpstr>
      <vt:lpstr>Filling stations</vt:lpstr>
      <vt:lpstr>Food and beverage gas mixtures</vt:lpstr>
      <vt:lpstr>Specialty gases / gas mixtures</vt:lpstr>
      <vt:lpstr>Electronic specialty gases – bulk and cylinder</vt:lpstr>
      <vt:lpstr>Summary</vt:lpstr>
      <vt:lpstr>Conclusion</vt:lpstr>
      <vt:lpstr>PowerPoint Presentation</vt:lpstr>
      <vt:lpstr>Uras26</vt:lpstr>
      <vt:lpstr>Limas23</vt:lpstr>
      <vt:lpstr>Magnos28</vt:lpstr>
      <vt:lpstr>Magnos27</vt:lpstr>
      <vt:lpstr>Caldos27</vt:lpstr>
      <vt:lpstr>Fidas24</vt:lpstr>
      <vt:lpstr>O2 sensor</vt:lpstr>
      <vt:lpstr>ZO23</vt:lpstr>
      <vt:lpstr>Lower your cost of ownership</vt:lpstr>
      <vt:lpstr>Calibration concepts</vt:lpstr>
      <vt:lpstr>Calibration concepts</vt:lpstr>
      <vt:lpstr>Calibration cells</vt:lpstr>
      <vt:lpstr>Return on investment (ROI) calculation</vt:lpstr>
      <vt:lpstr>Advanced digital services</vt:lpstr>
      <vt:lpstr>Common scenario</vt:lpstr>
      <vt:lpstr>Dynamic QR Codes</vt:lpstr>
      <vt:lpstr>Dynamic QR Codes</vt:lpstr>
      <vt:lpstr>myIB</vt:lpstr>
      <vt:lpstr>You can easily download application from stores</vt:lpstr>
      <vt:lpstr>myABB</vt:lpstr>
      <vt:lpstr>myABB</vt:lpstr>
      <vt:lpstr>Advanced digital services</vt:lpstr>
      <vt:lpstr>Hazardous applications</vt:lpstr>
      <vt:lpstr>Hazardous applications</vt:lpstr>
      <vt:lpstr>General Purpose</vt:lpstr>
      <vt:lpstr>Zone 2</vt:lpstr>
      <vt:lpstr>Zone 1</vt:lpstr>
      <vt:lpstr>General Purpose</vt:lpstr>
      <vt:lpstr>Zone 2</vt:lpstr>
      <vt:lpstr>Zone 2</vt:lpstr>
      <vt:lpstr>Class I, Division 2</vt:lpstr>
      <vt:lpstr>Safety Integrity Level (SI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phen Gibbons</dc:creator>
  <cp:lastModifiedBy>Stephen Gibbons</cp:lastModifiedBy>
  <cp:revision>2384</cp:revision>
  <cp:lastPrinted>2019-06-21T16:07:05Z</cp:lastPrinted>
  <dcterms:created xsi:type="dcterms:W3CDTF">2017-08-30T05:24:16Z</dcterms:created>
  <dcterms:modified xsi:type="dcterms:W3CDTF">2019-09-08T16:4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7B297163-FC5F-4E0B-88F3-4CBEC88A8857</vt:lpwstr>
  </property>
  <property fmtid="{D5CDD505-2E9C-101B-9397-08002B2CF9AE}" pid="3" name="ArticulatePath">
    <vt:lpwstr>CEMS_customer_presentation_design1</vt:lpwstr>
  </property>
  <property fmtid="{D5CDD505-2E9C-101B-9397-08002B2CF9AE}" pid="4" name="ContentTypeId">
    <vt:lpwstr>0x0101002CF50BE0A3485F4CACF4CE67ECCC33FF</vt:lpwstr>
  </property>
</Properties>
</file>